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lsm" ContentType="application/vnd.ms-excel.sheet.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charts/chart9.xml" ContentType="application/vnd.openxmlformats-officedocument.drawingml.chart+xml"/>
  <Override PartName="/ppt/charts/style4.xml" ContentType="application/vnd.ms-office.chartstyle+xml"/>
  <Override PartName="/ppt/charts/colors4.xml" ContentType="application/vnd.ms-office.chartcolorstyle+xml"/>
  <Override PartName="/ppt/charts/chart10.xml" ContentType="application/vnd.openxmlformats-officedocument.drawingml.chart+xml"/>
  <Override PartName="/ppt/charts/style5.xml" ContentType="application/vnd.ms-office.chartstyle+xml"/>
  <Override PartName="/ppt/charts/colors5.xml" ContentType="application/vnd.ms-office.chartcolorstyle+xml"/>
  <Override PartName="/ppt/charts/chart11.xml" ContentType="application/vnd.openxmlformats-officedocument.drawingml.chart+xml"/>
  <Override PartName="/ppt/charts/style6.xml" ContentType="application/vnd.ms-office.chartstyle+xml"/>
  <Override PartName="/ppt/charts/colors6.xml" ContentType="application/vnd.ms-office.chartcolorstyle+xml"/>
  <Override PartName="/ppt/charts/chart12.xml" ContentType="application/vnd.openxmlformats-officedocument.drawingml.chart+xml"/>
  <Override PartName="/ppt/charts/style7.xml" ContentType="application/vnd.ms-office.chartstyle+xml"/>
  <Override PartName="/ppt/charts/colors7.xml" ContentType="application/vnd.ms-office.chartcolorstyle+xml"/>
  <Override PartName="/ppt/charts/chart13.xml" ContentType="application/vnd.openxmlformats-officedocument.drawingml.chart+xml"/>
  <Override PartName="/ppt/charts/style8.xml" ContentType="application/vnd.ms-office.chartstyle+xml"/>
  <Override PartName="/ppt/charts/colors8.xml" ContentType="application/vnd.ms-office.chartcolorstyle+xml"/>
  <Override PartName="/ppt/charts/chart14.xml" ContentType="application/vnd.openxmlformats-officedocument.drawingml.chart+xml"/>
  <Override PartName="/ppt/charts/style9.xml" ContentType="application/vnd.ms-office.chartstyle+xml"/>
  <Override PartName="/ppt/charts/colors9.xml" ContentType="application/vnd.ms-office.chartcolorstyle+xml"/>
  <Override PartName="/ppt/charts/chart15.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6.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7.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8.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9.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0.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1.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2.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3.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4.xml" ContentType="application/vnd.openxmlformats-officedocument.drawingml.chart+xml"/>
  <Override PartName="/ppt/charts/style19.xml" ContentType="application/vnd.ms-office.chartstyle+xml"/>
  <Override PartName="/ppt/charts/colors19.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67"/>
  </p:notesMasterIdLst>
  <p:sldIdLst>
    <p:sldId id="256" r:id="rId2"/>
    <p:sldId id="258" r:id="rId3"/>
    <p:sldId id="257" r:id="rId4"/>
    <p:sldId id="259" r:id="rId5"/>
    <p:sldId id="260" r:id="rId6"/>
    <p:sldId id="360" r:id="rId7"/>
    <p:sldId id="329" r:id="rId8"/>
    <p:sldId id="330" r:id="rId9"/>
    <p:sldId id="361" r:id="rId10"/>
    <p:sldId id="362" r:id="rId11"/>
    <p:sldId id="363" r:id="rId12"/>
    <p:sldId id="367" r:id="rId13"/>
    <p:sldId id="368" r:id="rId14"/>
    <p:sldId id="365" r:id="rId15"/>
    <p:sldId id="366" r:id="rId16"/>
    <p:sldId id="369" r:id="rId17"/>
    <p:sldId id="370" r:id="rId18"/>
    <p:sldId id="371" r:id="rId19"/>
    <p:sldId id="373" r:id="rId20"/>
    <p:sldId id="372" r:id="rId21"/>
    <p:sldId id="374" r:id="rId22"/>
    <p:sldId id="375" r:id="rId23"/>
    <p:sldId id="376" r:id="rId24"/>
    <p:sldId id="377" r:id="rId25"/>
    <p:sldId id="378" r:id="rId26"/>
    <p:sldId id="379" r:id="rId27"/>
    <p:sldId id="380" r:id="rId28"/>
    <p:sldId id="382" r:id="rId29"/>
    <p:sldId id="383" r:id="rId30"/>
    <p:sldId id="384" r:id="rId31"/>
    <p:sldId id="385" r:id="rId32"/>
    <p:sldId id="386" r:id="rId33"/>
    <p:sldId id="268" r:id="rId34"/>
    <p:sldId id="476" r:id="rId35"/>
    <p:sldId id="288" r:id="rId36"/>
    <p:sldId id="3209" r:id="rId37"/>
    <p:sldId id="3204" r:id="rId38"/>
    <p:sldId id="3210" r:id="rId39"/>
    <p:sldId id="3211" r:id="rId40"/>
    <p:sldId id="3212" r:id="rId41"/>
    <p:sldId id="3221" r:id="rId42"/>
    <p:sldId id="2288" r:id="rId43"/>
    <p:sldId id="3198" r:id="rId44"/>
    <p:sldId id="3197" r:id="rId45"/>
    <p:sldId id="3196" r:id="rId46"/>
    <p:sldId id="3213" r:id="rId47"/>
    <p:sldId id="3201" r:id="rId48"/>
    <p:sldId id="485" r:id="rId49"/>
    <p:sldId id="489" r:id="rId50"/>
    <p:sldId id="488" r:id="rId51"/>
    <p:sldId id="270" r:id="rId52"/>
    <p:sldId id="269" r:id="rId53"/>
    <p:sldId id="262" r:id="rId54"/>
    <p:sldId id="493" r:id="rId55"/>
    <p:sldId id="3223" r:id="rId56"/>
    <p:sldId id="479" r:id="rId57"/>
    <p:sldId id="263" r:id="rId58"/>
    <p:sldId id="272" r:id="rId59"/>
    <p:sldId id="266" r:id="rId60"/>
    <p:sldId id="483" r:id="rId61"/>
    <p:sldId id="277" r:id="rId62"/>
    <p:sldId id="275" r:id="rId63"/>
    <p:sldId id="278" r:id="rId64"/>
    <p:sldId id="271" r:id="rId65"/>
    <p:sldId id="481" r:id="rId66"/>
    <p:sldId id="264" r:id="rId67"/>
    <p:sldId id="478" r:id="rId68"/>
    <p:sldId id="285" r:id="rId69"/>
    <p:sldId id="273" r:id="rId70"/>
    <p:sldId id="3216" r:id="rId71"/>
    <p:sldId id="279" r:id="rId72"/>
    <p:sldId id="3217" r:id="rId73"/>
    <p:sldId id="3224" r:id="rId74"/>
    <p:sldId id="261" r:id="rId75"/>
    <p:sldId id="3191" r:id="rId76"/>
    <p:sldId id="3192" r:id="rId77"/>
    <p:sldId id="3193" r:id="rId78"/>
    <p:sldId id="387" r:id="rId79"/>
    <p:sldId id="388" r:id="rId80"/>
    <p:sldId id="389" r:id="rId81"/>
    <p:sldId id="390" r:id="rId82"/>
    <p:sldId id="391" r:id="rId83"/>
    <p:sldId id="392" r:id="rId84"/>
    <p:sldId id="393" r:id="rId85"/>
    <p:sldId id="394" r:id="rId86"/>
    <p:sldId id="395" r:id="rId87"/>
    <p:sldId id="396" r:id="rId88"/>
    <p:sldId id="397" r:id="rId89"/>
    <p:sldId id="398" r:id="rId90"/>
    <p:sldId id="399" r:id="rId91"/>
    <p:sldId id="400" r:id="rId92"/>
    <p:sldId id="401" r:id="rId93"/>
    <p:sldId id="402" r:id="rId94"/>
    <p:sldId id="403" r:id="rId95"/>
    <p:sldId id="404" r:id="rId96"/>
    <p:sldId id="405" r:id="rId97"/>
    <p:sldId id="406" r:id="rId98"/>
    <p:sldId id="407" r:id="rId99"/>
    <p:sldId id="408" r:id="rId100"/>
    <p:sldId id="409" r:id="rId101"/>
    <p:sldId id="410" r:id="rId102"/>
    <p:sldId id="411" r:id="rId103"/>
    <p:sldId id="412" r:id="rId104"/>
    <p:sldId id="413" r:id="rId105"/>
    <p:sldId id="415" r:id="rId106"/>
    <p:sldId id="414" r:id="rId107"/>
    <p:sldId id="417" r:id="rId108"/>
    <p:sldId id="416" r:id="rId109"/>
    <p:sldId id="419" r:id="rId110"/>
    <p:sldId id="420" r:id="rId111"/>
    <p:sldId id="421" r:id="rId112"/>
    <p:sldId id="423" r:id="rId113"/>
    <p:sldId id="422" r:id="rId114"/>
    <p:sldId id="424" r:id="rId115"/>
    <p:sldId id="425" r:id="rId116"/>
    <p:sldId id="426" r:id="rId117"/>
    <p:sldId id="427" r:id="rId118"/>
    <p:sldId id="428" r:id="rId119"/>
    <p:sldId id="429" r:id="rId120"/>
    <p:sldId id="430" r:id="rId121"/>
    <p:sldId id="431" r:id="rId122"/>
    <p:sldId id="432" r:id="rId123"/>
    <p:sldId id="433" r:id="rId124"/>
    <p:sldId id="434" r:id="rId125"/>
    <p:sldId id="435" r:id="rId126"/>
    <p:sldId id="436" r:id="rId127"/>
    <p:sldId id="437" r:id="rId128"/>
    <p:sldId id="438" r:id="rId129"/>
    <p:sldId id="439" r:id="rId130"/>
    <p:sldId id="440" r:id="rId131"/>
    <p:sldId id="441" r:id="rId132"/>
    <p:sldId id="442" r:id="rId133"/>
    <p:sldId id="443" r:id="rId134"/>
    <p:sldId id="444" r:id="rId135"/>
    <p:sldId id="445" r:id="rId136"/>
    <p:sldId id="446" r:id="rId137"/>
    <p:sldId id="447" r:id="rId138"/>
    <p:sldId id="448" r:id="rId139"/>
    <p:sldId id="449" r:id="rId140"/>
    <p:sldId id="450" r:id="rId141"/>
    <p:sldId id="451" r:id="rId142"/>
    <p:sldId id="452" r:id="rId143"/>
    <p:sldId id="453" r:id="rId144"/>
    <p:sldId id="454" r:id="rId145"/>
    <p:sldId id="455" r:id="rId146"/>
    <p:sldId id="456" r:id="rId147"/>
    <p:sldId id="457" r:id="rId148"/>
    <p:sldId id="458" r:id="rId149"/>
    <p:sldId id="459" r:id="rId150"/>
    <p:sldId id="460" r:id="rId151"/>
    <p:sldId id="461" r:id="rId152"/>
    <p:sldId id="462" r:id="rId153"/>
    <p:sldId id="463" r:id="rId154"/>
    <p:sldId id="464" r:id="rId155"/>
    <p:sldId id="465" r:id="rId156"/>
    <p:sldId id="466" r:id="rId157"/>
    <p:sldId id="467" r:id="rId158"/>
    <p:sldId id="468" r:id="rId159"/>
    <p:sldId id="469" r:id="rId160"/>
    <p:sldId id="470" r:id="rId161"/>
    <p:sldId id="471" r:id="rId162"/>
    <p:sldId id="472" r:id="rId163"/>
    <p:sldId id="473" r:id="rId164"/>
    <p:sldId id="474" r:id="rId165"/>
    <p:sldId id="475" r:id="rId166"/>
  </p:sldIdLst>
  <p:sldSz cx="24382413" cy="13716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878" autoAdjust="0"/>
    <p:restoredTop sz="94558"/>
  </p:normalViewPr>
  <p:slideViewPr>
    <p:cSldViewPr snapToGrid="0">
      <p:cViewPr varScale="1">
        <p:scale>
          <a:sx n="58" d="100"/>
          <a:sy n="58" d="100"/>
        </p:scale>
        <p:origin x="1216" y="22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theme" Target="theme/theme1.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tableStyles" Target="tableStyles.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slide" Target="slides/slide160.xml"/><Relationship Id="rId166" Type="http://schemas.openxmlformats.org/officeDocument/2006/relationships/slide" Target="slides/slide16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9.xml"/><Relationship Id="rId1" Type="http://schemas.microsoft.com/office/2011/relationships/chartStyle" Target="style9.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0.xml"/><Relationship Id="rId1" Type="http://schemas.microsoft.com/office/2011/relationships/chartStyle" Target="style10.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1.xml"/><Relationship Id="rId1" Type="http://schemas.microsoft.com/office/2011/relationships/chartStyle" Target="style11.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2.xml"/><Relationship Id="rId1" Type="http://schemas.microsoft.com/office/2011/relationships/chartStyle" Target="style12.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3.xml"/><Relationship Id="rId1" Type="http://schemas.microsoft.com/office/2011/relationships/chartStyle" Target="style13.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Macro-Enabled_Worksheet.xlsm"/><Relationship Id="rId2" Type="http://schemas.microsoft.com/office/2011/relationships/chartColorStyle" Target="colors1.xml"/><Relationship Id="rId1" Type="http://schemas.microsoft.com/office/2011/relationships/chartStyle" Target="style1.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5.xml"/><Relationship Id="rId1" Type="http://schemas.microsoft.com/office/2011/relationships/chartStyle" Target="style15.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6.xml"/><Relationship Id="rId1" Type="http://schemas.microsoft.com/office/2011/relationships/chartStyle" Target="style16.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7.xml"/><Relationship Id="rId1" Type="http://schemas.microsoft.com/office/2011/relationships/chartStyle" Target="style17.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8.xml"/><Relationship Id="rId1" Type="http://schemas.microsoft.com/office/2011/relationships/chartStyle" Target="style18.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9.xml"/><Relationship Id="rId1" Type="http://schemas.microsoft.com/office/2011/relationships/chartStyle" Target="style1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Series 1</c:v>
                </c:pt>
              </c:strCache>
            </c:strRef>
          </c:tx>
          <c:spPr>
            <a:solidFill>
              <a:schemeClr val="accent2"/>
            </a:solidFill>
          </c:spPr>
          <c:invertIfNegative val="0"/>
          <c:dPt>
            <c:idx val="0"/>
            <c:invertIfNegative val="0"/>
            <c:bubble3D val="0"/>
            <c:extLst>
              <c:ext xmlns:c16="http://schemas.microsoft.com/office/drawing/2014/chart" uri="{C3380CC4-5D6E-409C-BE32-E72D297353CC}">
                <c16:uniqueId val="{00000000-3676-174B-A1A4-60740A027A73}"/>
              </c:ext>
            </c:extLst>
          </c:dPt>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1-3676-174B-A1A4-60740A027A73}"/>
            </c:ext>
          </c:extLst>
        </c:ser>
        <c:ser>
          <c:idx val="1"/>
          <c:order val="1"/>
          <c:tx>
            <c:strRef>
              <c:f>Sheet1!$C$1</c:f>
              <c:strCache>
                <c:ptCount val="1"/>
                <c:pt idx="0">
                  <c:v>Series 2</c:v>
                </c:pt>
              </c:strCache>
            </c:strRef>
          </c:tx>
          <c:spPr>
            <a:solidFill>
              <a:schemeClr val="accent3"/>
            </a:solidFill>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2-3676-174B-A1A4-60740A027A73}"/>
            </c:ext>
          </c:extLst>
        </c:ser>
        <c:ser>
          <c:idx val="2"/>
          <c:order val="2"/>
          <c:tx>
            <c:strRef>
              <c:f>Sheet1!$D$1</c:f>
              <c:strCache>
                <c:ptCount val="1"/>
                <c:pt idx="0">
                  <c:v>Series 3</c:v>
                </c:pt>
              </c:strCache>
            </c:strRef>
          </c:tx>
          <c:spPr>
            <a:solidFill>
              <a:schemeClr val="tx2"/>
            </a:solidFill>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3-3676-174B-A1A4-60740A027A73}"/>
            </c:ext>
          </c:extLst>
        </c:ser>
        <c:dLbls>
          <c:showLegendKey val="0"/>
          <c:showVal val="0"/>
          <c:showCatName val="0"/>
          <c:showSerName val="0"/>
          <c:showPercent val="0"/>
          <c:showBubbleSize val="0"/>
        </c:dLbls>
        <c:gapWidth val="150"/>
        <c:axId val="-713654944"/>
        <c:axId val="-713653168"/>
      </c:barChart>
      <c:catAx>
        <c:axId val="-713654944"/>
        <c:scaling>
          <c:orientation val="minMax"/>
        </c:scaling>
        <c:delete val="0"/>
        <c:axPos val="b"/>
        <c:numFmt formatCode="General" sourceLinked="0"/>
        <c:majorTickMark val="out"/>
        <c:minorTickMark val="none"/>
        <c:tickLblPos val="nextTo"/>
        <c:txPr>
          <a:bodyPr/>
          <a:lstStyle/>
          <a:p>
            <a:pPr>
              <a:defRPr sz="1400"/>
            </a:pPr>
            <a:endParaRPr lang="en-US"/>
          </a:p>
        </c:txPr>
        <c:crossAx val="-713653168"/>
        <c:crosses val="autoZero"/>
        <c:auto val="1"/>
        <c:lblAlgn val="ctr"/>
        <c:lblOffset val="100"/>
        <c:noMultiLvlLbl val="0"/>
      </c:catAx>
      <c:valAx>
        <c:axId val="-713653168"/>
        <c:scaling>
          <c:orientation val="minMax"/>
        </c:scaling>
        <c:delete val="0"/>
        <c:axPos val="l"/>
        <c:majorGridlines/>
        <c:numFmt formatCode="General" sourceLinked="1"/>
        <c:majorTickMark val="out"/>
        <c:minorTickMark val="none"/>
        <c:tickLblPos val="nextTo"/>
        <c:crossAx val="-713654944"/>
        <c:crosses val="autoZero"/>
        <c:crossBetween val="between"/>
      </c:valAx>
    </c:plotArea>
    <c:legend>
      <c:legendPos val="r"/>
      <c:overlay val="0"/>
    </c:legend>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1-AD8D-45AF-996A-C1197E314F80}"/>
              </c:ext>
            </c:extLst>
          </c:dPt>
          <c:dPt>
            <c:idx val="1"/>
            <c:bubble3D val="0"/>
            <c:spPr>
              <a:solidFill>
                <a:schemeClr val="tx1">
                  <a:lumMod val="75000"/>
                  <a:lumOff val="25000"/>
                </a:schemeClr>
              </a:solidFill>
              <a:ln w="19050">
                <a:solidFill>
                  <a:schemeClr val="lt1"/>
                </a:solidFill>
              </a:ln>
              <a:effectLst/>
            </c:spPr>
            <c:extLst>
              <c:ext xmlns:c16="http://schemas.microsoft.com/office/drawing/2014/chart" uri="{C3380CC4-5D6E-409C-BE32-E72D297353CC}">
                <c16:uniqueId val="{00000003-AD8D-45AF-996A-C1197E314F80}"/>
              </c:ext>
            </c:extLst>
          </c:dPt>
          <c:cat>
            <c:strRef>
              <c:f>Sheet1!$A$2:$A$3</c:f>
              <c:strCache>
                <c:ptCount val="2"/>
                <c:pt idx="0">
                  <c:v>1st Qtr</c:v>
                </c:pt>
                <c:pt idx="1">
                  <c:v>2nd Qtr</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AD8D-45AF-996A-C1197E314F8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tx1">
                  <a:lumMod val="75000"/>
                  <a:lumOff val="25000"/>
                </a:schemeClr>
              </a:solidFill>
              <a:ln w="19050">
                <a:solidFill>
                  <a:schemeClr val="lt1"/>
                </a:solidFill>
              </a:ln>
              <a:effectLst/>
            </c:spPr>
            <c:extLst>
              <c:ext xmlns:c16="http://schemas.microsoft.com/office/drawing/2014/chart" uri="{C3380CC4-5D6E-409C-BE32-E72D297353CC}">
                <c16:uniqueId val="{00000001-D6CF-491B-ABCA-325AD41F97C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6CF-491B-ABCA-325AD41F97C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00F-4CAC-8223-06A7482EC52A}"/>
              </c:ext>
            </c:extLst>
          </c:dPt>
          <c:dPt>
            <c:idx val="3"/>
            <c:bubble3D val="0"/>
            <c:spPr>
              <a:solidFill>
                <a:schemeClr val="accent2">
                  <a:lumMod val="75000"/>
                </a:schemeClr>
              </a:solidFill>
              <a:ln w="19050">
                <a:solidFill>
                  <a:schemeClr val="lt1"/>
                </a:solidFill>
              </a:ln>
              <a:effectLst/>
            </c:spPr>
            <c:extLst>
              <c:ext xmlns:c16="http://schemas.microsoft.com/office/drawing/2014/chart" uri="{C3380CC4-5D6E-409C-BE32-E72D297353CC}">
                <c16:uniqueId val="{00000007-D6CF-491B-ABCA-325AD41F97C0}"/>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45</c:v>
                </c:pt>
                <c:pt idx="1">
                  <c:v>20</c:v>
                </c:pt>
                <c:pt idx="2">
                  <c:v>10</c:v>
                </c:pt>
                <c:pt idx="3">
                  <c:v>25</c:v>
                </c:pt>
              </c:numCache>
            </c:numRef>
          </c:val>
          <c:extLst>
            <c:ext xmlns:c16="http://schemas.microsoft.com/office/drawing/2014/chart" uri="{C3380CC4-5D6E-409C-BE32-E72D297353CC}">
              <c16:uniqueId val="{00000004-D6CF-491B-ABCA-325AD41F97C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tx1">
                  <a:lumMod val="75000"/>
                  <a:lumOff val="25000"/>
                </a:schemeClr>
              </a:solidFill>
              <a:ln w="19050">
                <a:noFill/>
              </a:ln>
              <a:effectLst/>
            </c:spPr>
            <c:extLst>
              <c:ext xmlns:c16="http://schemas.microsoft.com/office/drawing/2014/chart" uri="{C3380CC4-5D6E-409C-BE32-E72D297353CC}">
                <c16:uniqueId val="{00000001-B463-4735-9095-E16E2FFB0AD0}"/>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B463-4735-9095-E16E2FFB0AD0}"/>
              </c:ext>
            </c:extLst>
          </c:dPt>
          <c:cat>
            <c:strRef>
              <c:f>Sheet1!$A$2:$A$3</c:f>
              <c:strCache>
                <c:ptCount val="2"/>
                <c:pt idx="0">
                  <c:v>1st Qtr</c:v>
                </c:pt>
                <c:pt idx="1">
                  <c:v>2nd Qtr</c:v>
                </c:pt>
              </c:strCache>
            </c:strRef>
          </c:cat>
          <c:val>
            <c:numRef>
              <c:f>Sheet1!$B$2:$B$3</c:f>
              <c:numCache>
                <c:formatCode>General</c:formatCode>
                <c:ptCount val="2"/>
                <c:pt idx="0">
                  <c:v>90</c:v>
                </c:pt>
                <c:pt idx="1">
                  <c:v>10</c:v>
                </c:pt>
              </c:numCache>
            </c:numRef>
          </c:val>
          <c:extLst>
            <c:ext xmlns:c16="http://schemas.microsoft.com/office/drawing/2014/chart" uri="{C3380CC4-5D6E-409C-BE32-E72D297353CC}">
              <c16:uniqueId val="{00000004-B463-4735-9095-E16E2FFB0AD0}"/>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B463-4735-9095-E16E2FFB0AD0}"/>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B463-4735-9095-E16E2FFB0AD0}"/>
              </c:ext>
            </c:extLst>
          </c:dPt>
          <c:cat>
            <c:strRef>
              <c:f>Sheet1!$A$2:$A$3</c:f>
              <c:strCache>
                <c:ptCount val="2"/>
                <c:pt idx="0">
                  <c:v>1st Qtr</c:v>
                </c:pt>
                <c:pt idx="1">
                  <c:v>2nd Qtr</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B463-4735-9095-E16E2FFB0AD0}"/>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B463-4735-9095-E16E2FFB0AD0}"/>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B463-4735-9095-E16E2FFB0AD0}"/>
              </c:ext>
            </c:extLst>
          </c:dPt>
          <c:cat>
            <c:strRef>
              <c:f>Sheet1!$A$2:$A$3</c:f>
              <c:strCache>
                <c:ptCount val="2"/>
                <c:pt idx="0">
                  <c:v>1st Qtr</c:v>
                </c:pt>
                <c:pt idx="1">
                  <c:v>2nd Qtr</c:v>
                </c:pt>
              </c:strCache>
            </c:strRef>
          </c:cat>
          <c:val>
            <c:numRef>
              <c:f>Sheet1!$B$2:$B$3</c:f>
              <c:numCache>
                <c:formatCode>General</c:formatCode>
                <c:ptCount val="2"/>
                <c:pt idx="0">
                  <c:v>65</c:v>
                </c:pt>
                <c:pt idx="1">
                  <c:v>35</c:v>
                </c:pt>
              </c:numCache>
            </c:numRef>
          </c:val>
          <c:extLst>
            <c:ext xmlns:c16="http://schemas.microsoft.com/office/drawing/2014/chart" uri="{C3380CC4-5D6E-409C-BE32-E72D297353CC}">
              <c16:uniqueId val="{00000004-B463-4735-9095-E16E2FFB0AD0}"/>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tx1">
                  <a:lumMod val="75000"/>
                  <a:lumOff val="25000"/>
                </a:schemeClr>
              </a:solidFill>
              <a:ln w="19050">
                <a:noFill/>
              </a:ln>
              <a:effectLst/>
            </c:spPr>
            <c:extLst>
              <c:ext xmlns:c16="http://schemas.microsoft.com/office/drawing/2014/chart" uri="{C3380CC4-5D6E-409C-BE32-E72D297353CC}">
                <c16:uniqueId val="{00000001-B463-4735-9095-E16E2FFB0AD0}"/>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B463-4735-9095-E16E2FFB0AD0}"/>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B463-4735-9095-E16E2FFB0AD0}"/>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B463-4735-9095-E16E2FFB0AD0}"/>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B463-4735-9095-E16E2FFB0AD0}"/>
              </c:ext>
            </c:extLst>
          </c:dPt>
          <c:cat>
            <c:strRef>
              <c:f>Sheet1!$A$2:$A$3</c:f>
              <c:strCache>
                <c:ptCount val="2"/>
                <c:pt idx="0">
                  <c:v>1st Qtr</c:v>
                </c:pt>
                <c:pt idx="1">
                  <c:v>2nd Qtr</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4-B463-4735-9095-E16E2FFB0AD0}"/>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B463-4735-9095-E16E2FFB0AD0}"/>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B463-4735-9095-E16E2FFB0AD0}"/>
              </c:ext>
            </c:extLst>
          </c:dPt>
          <c:cat>
            <c:strRef>
              <c:f>Sheet1!$A$2:$A$3</c:f>
              <c:strCache>
                <c:ptCount val="2"/>
                <c:pt idx="0">
                  <c:v>1st Qtr</c:v>
                </c:pt>
                <c:pt idx="1">
                  <c:v>2nd Qtr</c:v>
                </c:pt>
              </c:strCache>
            </c:strRef>
          </c:cat>
          <c:val>
            <c:numRef>
              <c:f>Sheet1!$B$2:$B$3</c:f>
              <c:numCache>
                <c:formatCode>General</c:formatCode>
                <c:ptCount val="2"/>
                <c:pt idx="0">
                  <c:v>20</c:v>
                </c:pt>
                <c:pt idx="1">
                  <c:v>80</c:v>
                </c:pt>
              </c:numCache>
            </c:numRef>
          </c:val>
          <c:extLst>
            <c:ext xmlns:c16="http://schemas.microsoft.com/office/drawing/2014/chart" uri="{C3380CC4-5D6E-409C-BE32-E72D297353CC}">
              <c16:uniqueId val="{00000004-B463-4735-9095-E16E2FFB0AD0}"/>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ED1D-4B8C-B7EF-402495591A85}"/>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ED1D-4B8C-B7EF-402495591A85}"/>
              </c:ext>
            </c:extLst>
          </c:dPt>
          <c:cat>
            <c:strRef>
              <c:f>Sheet1!$A$2:$A$3</c:f>
              <c:strCache>
                <c:ptCount val="2"/>
                <c:pt idx="0">
                  <c:v>1st Qtr</c:v>
                </c:pt>
                <c:pt idx="1">
                  <c:v>2nd Qtr</c:v>
                </c:pt>
              </c:strCache>
            </c:strRef>
          </c:cat>
          <c:val>
            <c:numRef>
              <c:f>Sheet1!$B$2:$B$3</c:f>
              <c:numCache>
                <c:formatCode>General</c:formatCode>
                <c:ptCount val="2"/>
                <c:pt idx="0">
                  <c:v>25</c:v>
                </c:pt>
                <c:pt idx="1">
                  <c:v>75</c:v>
                </c:pt>
              </c:numCache>
            </c:numRef>
          </c:val>
          <c:extLst>
            <c:ext xmlns:c16="http://schemas.microsoft.com/office/drawing/2014/chart" uri="{C3380CC4-5D6E-409C-BE32-E72D297353CC}">
              <c16:uniqueId val="{00000004-ED1D-4B8C-B7EF-402495591A85}"/>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237B-44F1-AE24-CE0488351CDF}"/>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237B-44F1-AE24-CE0488351CDF}"/>
              </c:ext>
            </c:extLst>
          </c:dPt>
          <c:cat>
            <c:strRef>
              <c:f>Sheet1!$A$2:$A$3</c:f>
              <c:strCache>
                <c:ptCount val="2"/>
                <c:pt idx="0">
                  <c:v>1st Qtr</c:v>
                </c:pt>
                <c:pt idx="1">
                  <c:v>2nd Qtr</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237B-44F1-AE24-CE0488351CDF}"/>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3767" b="1" i="0" u="none" strike="noStrike" kern="1200" baseline="0">
                <a:solidFill>
                  <a:schemeClr val="tx1"/>
                </a:solidFill>
                <a:latin typeface="Helvetica Neue LT Std 55 Roman"/>
                <a:ea typeface="+mn-ea"/>
                <a:cs typeface="+mn-cs"/>
              </a:defRPr>
            </a:pPr>
            <a:r>
              <a:rPr lang="en-US" dirty="0">
                <a:latin typeface="+mj-lt"/>
              </a:rPr>
              <a:t>Sales</a:t>
            </a:r>
          </a:p>
        </c:rich>
      </c:tx>
      <c:overlay val="0"/>
      <c:spPr>
        <a:noFill/>
        <a:ln>
          <a:noFill/>
        </a:ln>
        <a:effectLst/>
      </c:spPr>
      <c:txPr>
        <a:bodyPr rot="0" spcFirstLastPara="1" vertOverflow="ellipsis" vert="horz" wrap="square" anchor="ctr" anchorCtr="1"/>
        <a:lstStyle/>
        <a:p>
          <a:pPr>
            <a:defRPr sz="3767" b="1" i="0" u="none" strike="noStrike" kern="1200" baseline="0">
              <a:solidFill>
                <a:schemeClr val="tx1"/>
              </a:solidFill>
              <a:latin typeface="Helvetica Neue LT Std 55 Roman"/>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solidFill>
                <a:schemeClr val="tx2"/>
              </a:solidFill>
              <a:ln>
                <a:noFill/>
              </a:ln>
              <a:effectLst/>
            </c:spPr>
            <c:extLst>
              <c:ext xmlns:c16="http://schemas.microsoft.com/office/drawing/2014/chart" uri="{C3380CC4-5D6E-409C-BE32-E72D297353CC}">
                <c16:uniqueId val="{00000001-8142-D046-A320-42C7F651D310}"/>
              </c:ext>
            </c:extLst>
          </c:dPt>
          <c:dPt>
            <c:idx val="1"/>
            <c:bubble3D val="0"/>
            <c:spPr>
              <a:solidFill>
                <a:schemeClr val="accent3"/>
              </a:solidFill>
              <a:ln>
                <a:noFill/>
              </a:ln>
              <a:effectLst/>
            </c:spPr>
            <c:extLst>
              <c:ext xmlns:c16="http://schemas.microsoft.com/office/drawing/2014/chart" uri="{C3380CC4-5D6E-409C-BE32-E72D297353CC}">
                <c16:uniqueId val="{00000003-8142-D046-A320-42C7F651D310}"/>
              </c:ext>
            </c:extLst>
          </c:dPt>
          <c:dPt>
            <c:idx val="2"/>
            <c:bubble3D val="0"/>
            <c:spPr>
              <a:solidFill>
                <a:schemeClr val="accent5"/>
              </a:solidFill>
              <a:ln>
                <a:noFill/>
              </a:ln>
              <a:effectLst/>
            </c:spPr>
            <c:extLst>
              <c:ext xmlns:c16="http://schemas.microsoft.com/office/drawing/2014/chart" uri="{C3380CC4-5D6E-409C-BE32-E72D297353CC}">
                <c16:uniqueId val="{00000005-8142-D046-A320-42C7F651D310}"/>
              </c:ext>
            </c:extLst>
          </c:dPt>
          <c:dPt>
            <c:idx val="3"/>
            <c:bubble3D val="0"/>
            <c:spPr>
              <a:solidFill>
                <a:schemeClr val="accent2"/>
              </a:solidFill>
              <a:ln>
                <a:noFill/>
              </a:ln>
              <a:effectLst/>
            </c:spPr>
            <c:extLst>
              <c:ext xmlns:c16="http://schemas.microsoft.com/office/drawing/2014/chart" uri="{C3380CC4-5D6E-409C-BE32-E72D297353CC}">
                <c16:uniqueId val="{00000007-8142-D046-A320-42C7F651D310}"/>
              </c:ext>
            </c:extLst>
          </c:dPt>
          <c:dLbls>
            <c:dLbl>
              <c:idx val="0"/>
              <c:layout>
                <c:manualLayout>
                  <c:x val="-0.184795952879139"/>
                  <c:y val="-8.859041978767769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42-D046-A320-42C7F651D310}"/>
                </c:ext>
              </c:extLst>
            </c:dLbl>
            <c:dLbl>
              <c:idx val="1"/>
              <c:layout>
                <c:manualLayout>
                  <c:x val="0.13050789806070387"/>
                  <c:y val="-2.90293994940773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142-D046-A320-42C7F651D310}"/>
                </c:ext>
              </c:extLst>
            </c:dLbl>
            <c:dLbl>
              <c:idx val="2"/>
              <c:layout>
                <c:manualLayout>
                  <c:x val="9.7616069223230573E-2"/>
                  <c:y val="9.34944047487021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142-D046-A320-42C7F651D310}"/>
                </c:ext>
              </c:extLst>
            </c:dLbl>
            <c:dLbl>
              <c:idx val="3"/>
              <c:layout>
                <c:manualLayout>
                  <c:x val="5.1620816444690812E-2"/>
                  <c:y val="0.1246652619126834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142-D046-A320-42C7F651D310}"/>
                </c:ext>
              </c:extLst>
            </c:dLbl>
            <c:spPr>
              <a:noFill/>
              <a:ln>
                <a:noFill/>
              </a:ln>
              <a:effectLst/>
            </c:spPr>
            <c:txPr>
              <a:bodyPr rot="0" spcFirstLastPara="1" vertOverflow="ellipsis" vert="horz" wrap="square" anchor="ctr" anchorCtr="1"/>
              <a:lstStyle/>
              <a:p>
                <a:pPr>
                  <a:defRPr sz="3139"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shade val="95000"/>
                      <a:satMod val="105000"/>
                    </a:schemeClr>
                  </a:solidFill>
                  <a:prstDash val="solid"/>
                  <a:round/>
                </a:ln>
                <a:effectLst/>
              </c:spPr>
            </c:leaderLines>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8-8142-D046-A320-42C7F651D310}"/>
            </c:ext>
          </c:extLst>
        </c:ser>
        <c:dLbls>
          <c:showLegendKey val="0"/>
          <c:showVal val="0"/>
          <c:showCatName val="0"/>
          <c:showSerName val="0"/>
          <c:showPercent val="0"/>
          <c:showBubbleSize val="0"/>
          <c:showLeaderLines val="1"/>
        </c:dLbls>
        <c:firstSliceAng val="0"/>
      </c:pieChart>
      <c:spPr>
        <a:noFill/>
        <a:ln w="44299">
          <a:noFill/>
        </a:ln>
        <a:effectLst/>
      </c:spPr>
    </c:plotArea>
    <c:plotVisOnly val="1"/>
    <c:dispBlanksAs val="zero"/>
    <c:showDLblsOverMax val="0"/>
  </c:chart>
  <c:spPr>
    <a:noFill/>
    <a:ln w="6350" cap="flat" cmpd="sng" algn="ctr">
      <a:noFill/>
      <a:prstDash val="solid"/>
      <a:miter lim="800000"/>
    </a:ln>
    <a:effectLst/>
  </c:spPr>
  <c:txPr>
    <a:bodyPr/>
    <a:lstStyle/>
    <a:p>
      <a:pPr>
        <a:defRPr sz="3139"/>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tx1">
                  <a:lumMod val="75000"/>
                  <a:lumOff val="25000"/>
                </a:schemeClr>
              </a:solidFill>
              <a:ln w="19050">
                <a:noFill/>
              </a:ln>
              <a:effectLst/>
            </c:spPr>
            <c:extLst>
              <c:ext xmlns:c16="http://schemas.microsoft.com/office/drawing/2014/chart" uri="{C3380CC4-5D6E-409C-BE32-E72D297353CC}">
                <c16:uniqueId val="{00000001-B463-4735-9095-E16E2FFB0AD0}"/>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B463-4735-9095-E16E2FFB0AD0}"/>
              </c:ext>
            </c:extLst>
          </c:dPt>
          <c:cat>
            <c:strRef>
              <c:f>Sheet1!$A$2:$A$3</c:f>
              <c:strCache>
                <c:ptCount val="2"/>
                <c:pt idx="0">
                  <c:v>1st Qtr</c:v>
                </c:pt>
                <c:pt idx="1">
                  <c:v>2nd Qtr</c:v>
                </c:pt>
              </c:strCache>
            </c:strRef>
          </c:cat>
          <c:val>
            <c:numRef>
              <c:f>Sheet1!$B$2:$B$3</c:f>
              <c:numCache>
                <c:formatCode>General</c:formatCode>
                <c:ptCount val="2"/>
                <c:pt idx="0">
                  <c:v>60</c:v>
                </c:pt>
                <c:pt idx="1">
                  <c:v>40</c:v>
                </c:pt>
              </c:numCache>
            </c:numRef>
          </c:val>
          <c:extLst>
            <c:ext xmlns:c16="http://schemas.microsoft.com/office/drawing/2014/chart" uri="{C3380CC4-5D6E-409C-BE32-E72D297353CC}">
              <c16:uniqueId val="{00000004-B463-4735-9095-E16E2FFB0AD0}"/>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EDA3-4EC9-825A-6CBB2F8729C7}"/>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EDA3-4EC9-825A-6CBB2F8729C7}"/>
              </c:ext>
            </c:extLst>
          </c:dPt>
          <c:cat>
            <c:strRef>
              <c:f>Sheet1!$A$2:$A$3</c:f>
              <c:strCache>
                <c:ptCount val="2"/>
                <c:pt idx="0">
                  <c:v>1st Qtr</c:v>
                </c:pt>
                <c:pt idx="1">
                  <c:v>2nd Qtr</c:v>
                </c:pt>
              </c:strCache>
            </c:strRef>
          </c:cat>
          <c:val>
            <c:numRef>
              <c:f>Sheet1!$B$2:$B$3</c:f>
              <c:numCache>
                <c:formatCode>General</c:formatCode>
                <c:ptCount val="2"/>
                <c:pt idx="0">
                  <c:v>80</c:v>
                </c:pt>
                <c:pt idx="1">
                  <c:v>20</c:v>
                </c:pt>
              </c:numCache>
            </c:numRef>
          </c:val>
          <c:extLst>
            <c:ext xmlns:c16="http://schemas.microsoft.com/office/drawing/2014/chart" uri="{C3380CC4-5D6E-409C-BE32-E72D297353CC}">
              <c16:uniqueId val="{00000004-EDA3-4EC9-825A-6CBB2F8729C7}"/>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1634-4BD5-A506-995CEC45B632}"/>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1634-4BD5-A506-995CEC45B632}"/>
              </c:ext>
            </c:extLst>
          </c:dPt>
          <c:cat>
            <c:strRef>
              <c:f>Sheet1!$A$2:$A$3</c:f>
              <c:strCache>
                <c:ptCount val="2"/>
                <c:pt idx="0">
                  <c:v>1st Qtr</c:v>
                </c:pt>
                <c:pt idx="1">
                  <c:v>2nd Qtr</c:v>
                </c:pt>
              </c:strCache>
            </c:strRef>
          </c:cat>
          <c:val>
            <c:numRef>
              <c:f>Sheet1!$B$2:$B$3</c:f>
              <c:numCache>
                <c:formatCode>General</c:formatCode>
                <c:ptCount val="2"/>
                <c:pt idx="0">
                  <c:v>35</c:v>
                </c:pt>
                <c:pt idx="1">
                  <c:v>65</c:v>
                </c:pt>
              </c:numCache>
            </c:numRef>
          </c:val>
          <c:extLst>
            <c:ext xmlns:c16="http://schemas.microsoft.com/office/drawing/2014/chart" uri="{C3380CC4-5D6E-409C-BE32-E72D297353CC}">
              <c16:uniqueId val="{00000004-1634-4BD5-A506-995CEC45B632}"/>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tx1">
                  <a:lumMod val="75000"/>
                  <a:lumOff val="25000"/>
                </a:schemeClr>
              </a:solidFill>
              <a:ln w="19050">
                <a:noFill/>
              </a:ln>
              <a:effectLst/>
            </c:spPr>
            <c:extLst>
              <c:ext xmlns:c16="http://schemas.microsoft.com/office/drawing/2014/chart" uri="{C3380CC4-5D6E-409C-BE32-E72D297353CC}">
                <c16:uniqueId val="{00000001-AA86-4222-964D-2B6E178F2743}"/>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AA86-4222-964D-2B6E178F2743}"/>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AA86-4222-964D-2B6E178F2743}"/>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ndard"/>
        <c:varyColors val="0"/>
        <c:ser>
          <c:idx val="0"/>
          <c:order val="0"/>
          <c:tx>
            <c:strRef>
              <c:f>Sheet1!$B$1</c:f>
              <c:strCache>
                <c:ptCount val="1"/>
                <c:pt idx="0">
                  <c:v>Series 1</c:v>
                </c:pt>
              </c:strCache>
            </c:strRef>
          </c:tx>
          <c:spPr>
            <a:solidFill>
              <a:schemeClr val="accent1"/>
            </a:solidFill>
            <a:ln>
              <a:noFill/>
            </a:ln>
            <a:effectLst/>
            <a:sp3d/>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FD8A-4301-A365-9DACA8D2CE4A}"/>
            </c:ext>
          </c:extLst>
        </c:ser>
        <c:ser>
          <c:idx val="1"/>
          <c:order val="1"/>
          <c:tx>
            <c:strRef>
              <c:f>Sheet1!$C$1</c:f>
              <c:strCache>
                <c:ptCount val="1"/>
                <c:pt idx="0">
                  <c:v>Series 2</c:v>
                </c:pt>
              </c:strCache>
            </c:strRef>
          </c:tx>
          <c:spPr>
            <a:solidFill>
              <a:schemeClr val="accent2"/>
            </a:solidFill>
            <a:ln>
              <a:noFill/>
            </a:ln>
            <a:effectLst/>
            <a:sp3d/>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FD8A-4301-A365-9DACA8D2CE4A}"/>
            </c:ext>
          </c:extLst>
        </c:ser>
        <c:ser>
          <c:idx val="2"/>
          <c:order val="2"/>
          <c:tx>
            <c:strRef>
              <c:f>Sheet1!$D$1</c:f>
              <c:strCache>
                <c:ptCount val="1"/>
                <c:pt idx="0">
                  <c:v>Series 3</c:v>
                </c:pt>
              </c:strCache>
            </c:strRef>
          </c:tx>
          <c:spPr>
            <a:solidFill>
              <a:schemeClr val="accent3"/>
            </a:solidFill>
            <a:ln>
              <a:noFill/>
            </a:ln>
            <a:effectLst/>
            <a:sp3d/>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FD8A-4301-A365-9DACA8D2CE4A}"/>
            </c:ext>
          </c:extLst>
        </c:ser>
        <c:dLbls>
          <c:showLegendKey val="0"/>
          <c:showVal val="0"/>
          <c:showCatName val="0"/>
          <c:showSerName val="0"/>
          <c:showPercent val="0"/>
          <c:showBubbleSize val="0"/>
        </c:dLbls>
        <c:gapWidth val="150"/>
        <c:shape val="box"/>
        <c:axId val="609825632"/>
        <c:axId val="609826944"/>
        <c:axId val="602736384"/>
      </c:bar3DChart>
      <c:catAx>
        <c:axId val="60982563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crossAx val="609826944"/>
        <c:crosses val="autoZero"/>
        <c:auto val="1"/>
        <c:lblAlgn val="ctr"/>
        <c:lblOffset val="100"/>
        <c:noMultiLvlLbl val="0"/>
      </c:catAx>
      <c:valAx>
        <c:axId val="6098269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crossAx val="609825632"/>
        <c:crosses val="autoZero"/>
        <c:crossBetween val="between"/>
      </c:valAx>
      <c:serAx>
        <c:axId val="602736384"/>
        <c:scaling>
          <c:orientation val="minMax"/>
        </c:scaling>
        <c:delete val="0"/>
        <c:axPos val="b"/>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crossAx val="609826944"/>
        <c:crosses val="autoZero"/>
      </c:ser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FD95-4637-8447-639640A3C7FA}"/>
            </c:ext>
          </c:extLst>
        </c:ser>
        <c:ser>
          <c:idx val="1"/>
          <c:order val="1"/>
          <c:tx>
            <c:strRef>
              <c:f>Sheet1!$C$1</c:f>
              <c:strCache>
                <c:ptCount val="1"/>
                <c:pt idx="0">
                  <c:v>Series 2</c:v>
                </c:pt>
              </c:strCache>
            </c:strRef>
          </c:tx>
          <c:spPr>
            <a:solidFill>
              <a:schemeClr val="accent4"/>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FD95-4637-8447-639640A3C7FA}"/>
            </c:ext>
          </c:extLst>
        </c:ser>
        <c:dLbls>
          <c:showLegendKey val="0"/>
          <c:showVal val="0"/>
          <c:showCatName val="0"/>
          <c:showSerName val="0"/>
          <c:showPercent val="0"/>
          <c:showBubbleSize val="0"/>
        </c:dLbls>
        <c:gapWidth val="219"/>
        <c:overlap val="-27"/>
        <c:axId val="172274608"/>
        <c:axId val="148360384"/>
      </c:barChart>
      <c:catAx>
        <c:axId val="1722746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8360384"/>
        <c:crosses val="autoZero"/>
        <c:auto val="1"/>
        <c:lblAlgn val="ctr"/>
        <c:lblOffset val="100"/>
        <c:noMultiLvlLbl val="0"/>
      </c:catAx>
      <c:valAx>
        <c:axId val="148360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274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2"/>
              </a:solidFill>
            </c:spPr>
            <c:extLst>
              <c:ext xmlns:c16="http://schemas.microsoft.com/office/drawing/2014/chart" uri="{C3380CC4-5D6E-409C-BE32-E72D297353CC}">
                <c16:uniqueId val="{00000001-2970-4A1D-8A5F-B245C9F57FDE}"/>
              </c:ext>
            </c:extLst>
          </c:dPt>
          <c:dPt>
            <c:idx val="1"/>
            <c:bubble3D val="0"/>
            <c:spPr>
              <a:solidFill>
                <a:schemeClr val="accent3"/>
              </a:solidFill>
            </c:spPr>
            <c:extLst>
              <c:ext xmlns:c16="http://schemas.microsoft.com/office/drawing/2014/chart" uri="{C3380CC4-5D6E-409C-BE32-E72D297353CC}">
                <c16:uniqueId val="{00000003-2970-4A1D-8A5F-B245C9F57FDE}"/>
              </c:ext>
            </c:extLst>
          </c:dPt>
          <c:dPt>
            <c:idx val="2"/>
            <c:bubble3D val="0"/>
            <c:spPr>
              <a:solidFill>
                <a:schemeClr val="tx2"/>
              </a:solidFill>
            </c:spPr>
            <c:extLst>
              <c:ext xmlns:c16="http://schemas.microsoft.com/office/drawing/2014/chart" uri="{C3380CC4-5D6E-409C-BE32-E72D297353CC}">
                <c16:uniqueId val="{00000005-2970-4A1D-8A5F-B245C9F57FDE}"/>
              </c:ext>
            </c:extLst>
          </c:dPt>
          <c:dPt>
            <c:idx val="3"/>
            <c:bubble3D val="0"/>
            <c:spPr>
              <a:solidFill>
                <a:schemeClr val="accent1"/>
              </a:solidFill>
            </c:spPr>
            <c:extLst>
              <c:ext xmlns:c16="http://schemas.microsoft.com/office/drawing/2014/chart" uri="{C3380CC4-5D6E-409C-BE32-E72D297353CC}">
                <c16:uniqueId val="{00000007-2970-4A1D-8A5F-B245C9F57FDE}"/>
              </c:ext>
            </c:extLst>
          </c:dPt>
          <c:cat>
            <c:numRef>
              <c:f>Sheet1!$A$2:$A$5</c:f>
              <c:numCache>
                <c:formatCode>General</c:formatCode>
                <c:ptCount val="4"/>
                <c:pt idx="0">
                  <c:v>2011</c:v>
                </c:pt>
                <c:pt idx="1">
                  <c:v>2012</c:v>
                </c:pt>
                <c:pt idx="2">
                  <c:v>2013</c:v>
                </c:pt>
                <c:pt idx="3">
                  <c:v>2014</c:v>
                </c:pt>
              </c:numCache>
            </c:num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2970-4A1D-8A5F-B245C9F57FDE}"/>
            </c:ext>
          </c:extLst>
        </c:ser>
        <c:dLbls>
          <c:showLegendKey val="0"/>
          <c:showVal val="0"/>
          <c:showCatName val="0"/>
          <c:showSerName val="0"/>
          <c:showPercent val="0"/>
          <c:showBubbleSize val="0"/>
          <c:showLeaderLines val="1"/>
        </c:dLbls>
        <c:firstSliceAng val="0"/>
      </c:pieChart>
      <c:spPr>
        <a:noFill/>
        <a:ln w="25385">
          <a:noFill/>
        </a:ln>
      </c:spPr>
    </c:plotArea>
    <c:legend>
      <c:legendPos val="r"/>
      <c:layout>
        <c:manualLayout>
          <c:xMode val="edge"/>
          <c:yMode val="edge"/>
          <c:x val="0.76694975601917115"/>
          <c:y val="0.24987681241740359"/>
          <c:w val="0.16478350802176223"/>
          <c:h val="0.50024614798797806"/>
        </c:manualLayout>
      </c:layout>
      <c:overlay val="0"/>
      <c:txPr>
        <a:bodyPr/>
        <a:lstStyle/>
        <a:p>
          <a:pPr>
            <a:defRPr>
              <a:solidFill>
                <a:schemeClr val="tx1">
                  <a:lumMod val="75000"/>
                  <a:lumOff val="25000"/>
                </a:schemeClr>
              </a:solidFill>
            </a:defRPr>
          </a:pPr>
          <a:endParaRPr lang="en-US"/>
        </a:p>
      </c:txPr>
    </c:legend>
    <c:plotVisOnly val="1"/>
    <c:dispBlanksAs val="gap"/>
    <c:showDLblsOverMax val="0"/>
  </c:chart>
  <c:txPr>
    <a:bodyPr/>
    <a:lstStyle/>
    <a:p>
      <a:pPr>
        <a:defRPr sz="999"/>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2"/>
              </a:solidFill>
            </c:spPr>
            <c:extLst>
              <c:ext xmlns:c16="http://schemas.microsoft.com/office/drawing/2014/chart" uri="{C3380CC4-5D6E-409C-BE32-E72D297353CC}">
                <c16:uniqueId val="{00000001-311E-45EA-B5AA-7966B85C4D52}"/>
              </c:ext>
            </c:extLst>
          </c:dPt>
          <c:dPt>
            <c:idx val="1"/>
            <c:bubble3D val="0"/>
            <c:spPr>
              <a:solidFill>
                <a:schemeClr val="accent3"/>
              </a:solidFill>
            </c:spPr>
            <c:extLst>
              <c:ext xmlns:c16="http://schemas.microsoft.com/office/drawing/2014/chart" uri="{C3380CC4-5D6E-409C-BE32-E72D297353CC}">
                <c16:uniqueId val="{00000003-311E-45EA-B5AA-7966B85C4D52}"/>
              </c:ext>
            </c:extLst>
          </c:dPt>
          <c:dPt>
            <c:idx val="2"/>
            <c:bubble3D val="0"/>
            <c:spPr>
              <a:solidFill>
                <a:schemeClr val="tx2"/>
              </a:solidFill>
            </c:spPr>
            <c:extLst>
              <c:ext xmlns:c16="http://schemas.microsoft.com/office/drawing/2014/chart" uri="{C3380CC4-5D6E-409C-BE32-E72D297353CC}">
                <c16:uniqueId val="{00000005-311E-45EA-B5AA-7966B85C4D52}"/>
              </c:ext>
            </c:extLst>
          </c:dPt>
          <c:dPt>
            <c:idx val="3"/>
            <c:bubble3D val="0"/>
            <c:spPr>
              <a:solidFill>
                <a:schemeClr val="accent1"/>
              </a:solidFill>
            </c:spPr>
            <c:extLst>
              <c:ext xmlns:c16="http://schemas.microsoft.com/office/drawing/2014/chart" uri="{C3380CC4-5D6E-409C-BE32-E72D297353CC}">
                <c16:uniqueId val="{00000007-311E-45EA-B5AA-7966B85C4D52}"/>
              </c:ext>
            </c:extLst>
          </c:dPt>
          <c:cat>
            <c:strRef>
              <c:f>Sheet1!$A$2:$A$5</c:f>
              <c:strCache>
                <c:ptCount val="4"/>
                <c:pt idx="0">
                  <c:v>Q1</c:v>
                </c:pt>
                <c:pt idx="1">
                  <c:v>Q2</c:v>
                </c:pt>
                <c:pt idx="2">
                  <c:v>Q3</c:v>
                </c:pt>
                <c:pt idx="3">
                  <c:v>Q4</c:v>
                </c:pt>
              </c:strCache>
            </c:strRef>
          </c:cat>
          <c:val>
            <c:numRef>
              <c:f>Sheet1!$B$2:$B$5</c:f>
              <c:numCache>
                <c:formatCode>General</c:formatCode>
                <c:ptCount val="4"/>
                <c:pt idx="0">
                  <c:v>2.2000000000000002</c:v>
                </c:pt>
                <c:pt idx="1">
                  <c:v>3.3</c:v>
                </c:pt>
                <c:pt idx="2">
                  <c:v>6.2</c:v>
                </c:pt>
                <c:pt idx="3">
                  <c:v>1.2</c:v>
                </c:pt>
              </c:numCache>
            </c:numRef>
          </c:val>
          <c:extLst>
            <c:ext xmlns:c16="http://schemas.microsoft.com/office/drawing/2014/chart" uri="{C3380CC4-5D6E-409C-BE32-E72D297353CC}">
              <c16:uniqueId val="{00000008-311E-45EA-B5AA-7966B85C4D52}"/>
            </c:ext>
          </c:extLst>
        </c:ser>
        <c:dLbls>
          <c:showLegendKey val="0"/>
          <c:showVal val="0"/>
          <c:showCatName val="0"/>
          <c:showSerName val="0"/>
          <c:showPercent val="0"/>
          <c:showBubbleSize val="0"/>
          <c:showLeaderLines val="1"/>
        </c:dLbls>
        <c:firstSliceAng val="0"/>
      </c:pieChart>
      <c:spPr>
        <a:noFill/>
        <a:ln w="25385">
          <a:noFill/>
        </a:ln>
      </c:spPr>
    </c:plotArea>
    <c:legend>
      <c:legendPos val="r"/>
      <c:layout>
        <c:manualLayout>
          <c:xMode val="edge"/>
          <c:yMode val="edge"/>
          <c:x val="0.79016353988879018"/>
          <c:y val="0.24685219704964254"/>
          <c:w val="0.16478350802176223"/>
          <c:h val="0.50024614798797806"/>
        </c:manualLayout>
      </c:layout>
      <c:overlay val="0"/>
      <c:txPr>
        <a:bodyPr/>
        <a:lstStyle/>
        <a:p>
          <a:pPr>
            <a:defRPr>
              <a:solidFill>
                <a:schemeClr val="tx1">
                  <a:lumMod val="75000"/>
                  <a:lumOff val="25000"/>
                </a:schemeClr>
              </a:solidFill>
            </a:defRPr>
          </a:pPr>
          <a:endParaRPr lang="en-US"/>
        </a:p>
      </c:txPr>
    </c:legend>
    <c:plotVisOnly val="1"/>
    <c:dispBlanksAs val="gap"/>
    <c:showDLblsOverMax val="0"/>
  </c:chart>
  <c:txPr>
    <a:bodyPr/>
    <a:lstStyle/>
    <a:p>
      <a:pPr>
        <a:defRPr sz="999"/>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c:spPr>
            <c:extLst>
              <c:ext xmlns:c16="http://schemas.microsoft.com/office/drawing/2014/chart" uri="{C3380CC4-5D6E-409C-BE32-E72D297353CC}">
                <c16:uniqueId val="{00000001-A76B-4A42-8725-D872EB5C284E}"/>
              </c:ext>
            </c:extLst>
          </c:dPt>
          <c:dPt>
            <c:idx val="1"/>
            <c:bubble3D val="0"/>
            <c:spPr>
              <a:solidFill>
                <a:schemeClr val="accent2"/>
              </a:solidFill>
            </c:spPr>
            <c:extLst>
              <c:ext xmlns:c16="http://schemas.microsoft.com/office/drawing/2014/chart" uri="{C3380CC4-5D6E-409C-BE32-E72D297353CC}">
                <c16:uniqueId val="{00000003-A76B-4A42-8725-D872EB5C284E}"/>
              </c:ext>
            </c:extLst>
          </c:dPt>
          <c:dPt>
            <c:idx val="2"/>
            <c:bubble3D val="0"/>
            <c:spPr>
              <a:solidFill>
                <a:schemeClr val="accent3"/>
              </a:solidFill>
            </c:spPr>
            <c:extLst>
              <c:ext xmlns:c16="http://schemas.microsoft.com/office/drawing/2014/chart" uri="{C3380CC4-5D6E-409C-BE32-E72D297353CC}">
                <c16:uniqueId val="{00000005-A76B-4A42-8725-D872EB5C284E}"/>
              </c:ext>
            </c:extLst>
          </c:dPt>
          <c:dPt>
            <c:idx val="3"/>
            <c:bubble3D val="0"/>
            <c:spPr>
              <a:solidFill>
                <a:schemeClr val="tx2"/>
              </a:solidFill>
            </c:spPr>
            <c:extLst>
              <c:ext xmlns:c16="http://schemas.microsoft.com/office/drawing/2014/chart" uri="{C3380CC4-5D6E-409C-BE32-E72D297353CC}">
                <c16:uniqueId val="{00000007-A76B-4A42-8725-D872EB5C284E}"/>
              </c:ext>
            </c:extLst>
          </c:dPt>
          <c:cat>
            <c:strRef>
              <c:f>Sheet1!$A$2:$A$5</c:f>
              <c:strCache>
                <c:ptCount val="4"/>
                <c:pt idx="0">
                  <c:v>Spring</c:v>
                </c:pt>
                <c:pt idx="1">
                  <c:v>Summer</c:v>
                </c:pt>
                <c:pt idx="2">
                  <c:v>Fall</c:v>
                </c:pt>
                <c:pt idx="3">
                  <c:v>Winter</c:v>
                </c:pt>
              </c:strCache>
            </c:strRef>
          </c:cat>
          <c:val>
            <c:numRef>
              <c:f>Sheet1!$B$2:$B$5</c:f>
              <c:numCache>
                <c:formatCode>General</c:formatCode>
                <c:ptCount val="4"/>
                <c:pt idx="0">
                  <c:v>1.2</c:v>
                </c:pt>
                <c:pt idx="1">
                  <c:v>3.2</c:v>
                </c:pt>
                <c:pt idx="2">
                  <c:v>2.5</c:v>
                </c:pt>
                <c:pt idx="3">
                  <c:v>6.3</c:v>
                </c:pt>
              </c:numCache>
            </c:numRef>
          </c:val>
          <c:extLst>
            <c:ext xmlns:c16="http://schemas.microsoft.com/office/drawing/2014/chart" uri="{C3380CC4-5D6E-409C-BE32-E72D297353CC}">
              <c16:uniqueId val="{00000008-A76B-4A42-8725-D872EB5C284E}"/>
            </c:ext>
          </c:extLst>
        </c:ser>
        <c:dLbls>
          <c:showLegendKey val="0"/>
          <c:showVal val="0"/>
          <c:showCatName val="0"/>
          <c:showSerName val="0"/>
          <c:showPercent val="0"/>
          <c:showBubbleSize val="0"/>
          <c:showLeaderLines val="1"/>
        </c:dLbls>
        <c:firstSliceAng val="0"/>
      </c:pieChart>
      <c:spPr>
        <a:noFill/>
        <a:ln w="25395">
          <a:noFill/>
        </a:ln>
      </c:spPr>
    </c:plotArea>
    <c:legend>
      <c:legendPos val="r"/>
      <c:layout>
        <c:manualLayout>
          <c:xMode val="edge"/>
          <c:yMode val="edge"/>
          <c:x val="0.72462812992297398"/>
          <c:y val="0.24987681241740359"/>
          <c:w val="0.23995724044428224"/>
          <c:h val="0.50024614798797806"/>
        </c:manualLayout>
      </c:layout>
      <c:overlay val="0"/>
      <c:txPr>
        <a:bodyPr/>
        <a:lstStyle/>
        <a:p>
          <a:pPr>
            <a:defRPr>
              <a:solidFill>
                <a:schemeClr val="tx1">
                  <a:lumMod val="75000"/>
                  <a:lumOff val="25000"/>
                </a:schemeClr>
              </a:solidFill>
            </a:defRPr>
          </a:pPr>
          <a:endParaRPr lang="en-US"/>
        </a:p>
      </c:txPr>
    </c:legend>
    <c:plotVisOnly val="1"/>
    <c:dispBlanksAs val="gap"/>
    <c:showDLblsOverMax val="0"/>
  </c:chart>
  <c:txPr>
    <a:bodyPr/>
    <a:lstStyle/>
    <a:p>
      <a:pPr>
        <a:defRPr sz="10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lineChart>
        <c:grouping val="standard"/>
        <c:varyColors val="0"/>
        <c:ser>
          <c:idx val="0"/>
          <c:order val="0"/>
          <c:tx>
            <c:strRef>
              <c:f>Sheet1!$B$1</c:f>
              <c:strCache>
                <c:ptCount val="1"/>
                <c:pt idx="0">
                  <c:v>Series 1</c:v>
                </c:pt>
              </c:strCache>
            </c:strRef>
          </c:tx>
          <c:spPr>
            <a:ln>
              <a:solidFill>
                <a:schemeClr val="accent3"/>
              </a:solidFill>
            </a:ln>
          </c:spPr>
          <c:marker>
            <c:symbol val="none"/>
          </c:marker>
          <c:cat>
            <c:strRef>
              <c:f>Sheet1!$A$2:$A$13</c:f>
              <c:strCache>
                <c:ptCount val="12"/>
                <c:pt idx="0">
                  <c:v>Jan</c:v>
                </c:pt>
                <c:pt idx="1">
                  <c:v>Feb</c:v>
                </c:pt>
                <c:pt idx="2">
                  <c:v>March</c:v>
                </c:pt>
                <c:pt idx="3">
                  <c:v>April</c:v>
                </c:pt>
                <c:pt idx="4">
                  <c:v>May</c:v>
                </c:pt>
                <c:pt idx="5">
                  <c:v>June</c:v>
                </c:pt>
                <c:pt idx="6">
                  <c:v>July</c:v>
                </c:pt>
                <c:pt idx="7">
                  <c:v>Aug</c:v>
                </c:pt>
                <c:pt idx="8">
                  <c:v>Sept</c:v>
                </c:pt>
                <c:pt idx="9">
                  <c:v>Oct</c:v>
                </c:pt>
                <c:pt idx="10">
                  <c:v>Nov</c:v>
                </c:pt>
                <c:pt idx="11">
                  <c:v>Dec</c:v>
                </c:pt>
              </c:strCache>
            </c:strRef>
          </c:cat>
          <c:val>
            <c:numRef>
              <c:f>Sheet1!$B$2:$B$13</c:f>
              <c:numCache>
                <c:formatCode>General</c:formatCode>
                <c:ptCount val="12"/>
                <c:pt idx="0">
                  <c:v>4.3</c:v>
                </c:pt>
                <c:pt idx="1">
                  <c:v>4</c:v>
                </c:pt>
                <c:pt idx="2">
                  <c:v>4.2</c:v>
                </c:pt>
                <c:pt idx="3">
                  <c:v>3</c:v>
                </c:pt>
                <c:pt idx="4">
                  <c:v>3.6</c:v>
                </c:pt>
                <c:pt idx="5">
                  <c:v>6</c:v>
                </c:pt>
                <c:pt idx="6">
                  <c:v>3</c:v>
                </c:pt>
                <c:pt idx="7">
                  <c:v>3</c:v>
                </c:pt>
                <c:pt idx="8">
                  <c:v>3</c:v>
                </c:pt>
                <c:pt idx="9">
                  <c:v>6</c:v>
                </c:pt>
                <c:pt idx="10">
                  <c:v>5.3</c:v>
                </c:pt>
                <c:pt idx="11">
                  <c:v>3</c:v>
                </c:pt>
              </c:numCache>
            </c:numRef>
          </c:val>
          <c:smooth val="1"/>
          <c:extLst>
            <c:ext xmlns:c16="http://schemas.microsoft.com/office/drawing/2014/chart" uri="{C3380CC4-5D6E-409C-BE32-E72D297353CC}">
              <c16:uniqueId val="{00000000-027E-4D52-A1AC-B53E03BE3D21}"/>
            </c:ext>
          </c:extLst>
        </c:ser>
        <c:ser>
          <c:idx val="1"/>
          <c:order val="1"/>
          <c:tx>
            <c:strRef>
              <c:f>Sheet1!$C$1</c:f>
              <c:strCache>
                <c:ptCount val="1"/>
                <c:pt idx="0">
                  <c:v>Series 2</c:v>
                </c:pt>
              </c:strCache>
            </c:strRef>
          </c:tx>
          <c:spPr>
            <a:ln>
              <a:solidFill>
                <a:schemeClr val="accent1"/>
              </a:solidFill>
            </a:ln>
          </c:spPr>
          <c:marker>
            <c:symbol val="none"/>
          </c:marker>
          <c:cat>
            <c:strRef>
              <c:f>Sheet1!$A$2:$A$13</c:f>
              <c:strCache>
                <c:ptCount val="12"/>
                <c:pt idx="0">
                  <c:v>Jan</c:v>
                </c:pt>
                <c:pt idx="1">
                  <c:v>Feb</c:v>
                </c:pt>
                <c:pt idx="2">
                  <c:v>March</c:v>
                </c:pt>
                <c:pt idx="3">
                  <c:v>April</c:v>
                </c:pt>
                <c:pt idx="4">
                  <c:v>May</c:v>
                </c:pt>
                <c:pt idx="5">
                  <c:v>June</c:v>
                </c:pt>
                <c:pt idx="6">
                  <c:v>July</c:v>
                </c:pt>
                <c:pt idx="7">
                  <c:v>Aug</c:v>
                </c:pt>
                <c:pt idx="8">
                  <c:v>Sept</c:v>
                </c:pt>
                <c:pt idx="9">
                  <c:v>Oct</c:v>
                </c:pt>
                <c:pt idx="10">
                  <c:v>Nov</c:v>
                </c:pt>
                <c:pt idx="11">
                  <c:v>Dec</c:v>
                </c:pt>
              </c:strCache>
            </c:strRef>
          </c:cat>
          <c:val>
            <c:numRef>
              <c:f>Sheet1!$C$2:$C$13</c:f>
              <c:numCache>
                <c:formatCode>General</c:formatCode>
                <c:ptCount val="12"/>
                <c:pt idx="0">
                  <c:v>2.4</c:v>
                </c:pt>
                <c:pt idx="1">
                  <c:v>4.5</c:v>
                </c:pt>
                <c:pt idx="2">
                  <c:v>2</c:v>
                </c:pt>
                <c:pt idx="3">
                  <c:v>2.4</c:v>
                </c:pt>
                <c:pt idx="4">
                  <c:v>2</c:v>
                </c:pt>
                <c:pt idx="5">
                  <c:v>3.4</c:v>
                </c:pt>
                <c:pt idx="6">
                  <c:v>2.6</c:v>
                </c:pt>
                <c:pt idx="7">
                  <c:v>5.5</c:v>
                </c:pt>
                <c:pt idx="8">
                  <c:v>2</c:v>
                </c:pt>
                <c:pt idx="9">
                  <c:v>3</c:v>
                </c:pt>
                <c:pt idx="10">
                  <c:v>4</c:v>
                </c:pt>
                <c:pt idx="11">
                  <c:v>3</c:v>
                </c:pt>
              </c:numCache>
            </c:numRef>
          </c:val>
          <c:smooth val="1"/>
          <c:extLst>
            <c:ext xmlns:c16="http://schemas.microsoft.com/office/drawing/2014/chart" uri="{C3380CC4-5D6E-409C-BE32-E72D297353CC}">
              <c16:uniqueId val="{00000001-027E-4D52-A1AC-B53E03BE3D21}"/>
            </c:ext>
          </c:extLst>
        </c:ser>
        <c:ser>
          <c:idx val="2"/>
          <c:order val="2"/>
          <c:tx>
            <c:strRef>
              <c:f>Sheet1!$D$1</c:f>
              <c:strCache>
                <c:ptCount val="1"/>
                <c:pt idx="0">
                  <c:v>Series 3</c:v>
                </c:pt>
              </c:strCache>
            </c:strRef>
          </c:tx>
          <c:spPr>
            <a:ln>
              <a:solidFill>
                <a:schemeClr val="accent2"/>
              </a:solidFill>
            </a:ln>
          </c:spPr>
          <c:marker>
            <c:symbol val="none"/>
          </c:marker>
          <c:cat>
            <c:strRef>
              <c:f>Sheet1!$A$2:$A$13</c:f>
              <c:strCache>
                <c:ptCount val="12"/>
                <c:pt idx="0">
                  <c:v>Jan</c:v>
                </c:pt>
                <c:pt idx="1">
                  <c:v>Feb</c:v>
                </c:pt>
                <c:pt idx="2">
                  <c:v>March</c:v>
                </c:pt>
                <c:pt idx="3">
                  <c:v>April</c:v>
                </c:pt>
                <c:pt idx="4">
                  <c:v>May</c:v>
                </c:pt>
                <c:pt idx="5">
                  <c:v>June</c:v>
                </c:pt>
                <c:pt idx="6">
                  <c:v>July</c:v>
                </c:pt>
                <c:pt idx="7">
                  <c:v>Aug</c:v>
                </c:pt>
                <c:pt idx="8">
                  <c:v>Sept</c:v>
                </c:pt>
                <c:pt idx="9">
                  <c:v>Oct</c:v>
                </c:pt>
                <c:pt idx="10">
                  <c:v>Nov</c:v>
                </c:pt>
                <c:pt idx="11">
                  <c:v>Dec</c:v>
                </c:pt>
              </c:strCache>
            </c:strRef>
          </c:cat>
          <c:val>
            <c:numRef>
              <c:f>Sheet1!$D$2:$D$13</c:f>
              <c:numCache>
                <c:formatCode>General</c:formatCode>
                <c:ptCount val="12"/>
                <c:pt idx="0">
                  <c:v>2</c:v>
                </c:pt>
                <c:pt idx="1">
                  <c:v>2</c:v>
                </c:pt>
                <c:pt idx="2">
                  <c:v>2.4</c:v>
                </c:pt>
                <c:pt idx="3">
                  <c:v>2.4</c:v>
                </c:pt>
                <c:pt idx="4">
                  <c:v>4</c:v>
                </c:pt>
                <c:pt idx="5">
                  <c:v>3</c:v>
                </c:pt>
                <c:pt idx="6">
                  <c:v>3.4</c:v>
                </c:pt>
                <c:pt idx="7">
                  <c:v>2</c:v>
                </c:pt>
                <c:pt idx="8">
                  <c:v>5</c:v>
                </c:pt>
                <c:pt idx="9">
                  <c:v>5</c:v>
                </c:pt>
                <c:pt idx="10">
                  <c:v>2.5</c:v>
                </c:pt>
                <c:pt idx="11">
                  <c:v>5</c:v>
                </c:pt>
              </c:numCache>
            </c:numRef>
          </c:val>
          <c:smooth val="1"/>
          <c:extLst>
            <c:ext xmlns:c16="http://schemas.microsoft.com/office/drawing/2014/chart" uri="{C3380CC4-5D6E-409C-BE32-E72D297353CC}">
              <c16:uniqueId val="{00000002-027E-4D52-A1AC-B53E03BE3D21}"/>
            </c:ext>
          </c:extLst>
        </c:ser>
        <c:dLbls>
          <c:showLegendKey val="0"/>
          <c:showVal val="0"/>
          <c:showCatName val="0"/>
          <c:showSerName val="0"/>
          <c:showPercent val="0"/>
          <c:showBubbleSize val="0"/>
        </c:dLbls>
        <c:smooth val="0"/>
        <c:axId val="336702528"/>
        <c:axId val="336703312"/>
      </c:lineChart>
      <c:catAx>
        <c:axId val="336702528"/>
        <c:scaling>
          <c:orientation val="minMax"/>
        </c:scaling>
        <c:delete val="0"/>
        <c:axPos val="b"/>
        <c:numFmt formatCode="General" sourceLinked="1"/>
        <c:majorTickMark val="out"/>
        <c:minorTickMark val="none"/>
        <c:tickLblPos val="nextTo"/>
        <c:txPr>
          <a:bodyPr/>
          <a:lstStyle/>
          <a:p>
            <a:pPr>
              <a:defRPr sz="1000">
                <a:solidFill>
                  <a:schemeClr val="tx1">
                    <a:lumMod val="75000"/>
                    <a:lumOff val="25000"/>
                  </a:schemeClr>
                </a:solidFill>
              </a:defRPr>
            </a:pPr>
            <a:endParaRPr lang="en-US"/>
          </a:p>
        </c:txPr>
        <c:crossAx val="336703312"/>
        <c:crosses val="autoZero"/>
        <c:auto val="1"/>
        <c:lblAlgn val="ctr"/>
        <c:lblOffset val="100"/>
        <c:noMultiLvlLbl val="0"/>
      </c:catAx>
      <c:valAx>
        <c:axId val="336703312"/>
        <c:scaling>
          <c:orientation val="minMax"/>
        </c:scaling>
        <c:delete val="0"/>
        <c:axPos val="l"/>
        <c:majorGridlines/>
        <c:numFmt formatCode="General" sourceLinked="1"/>
        <c:majorTickMark val="out"/>
        <c:minorTickMark val="none"/>
        <c:tickLblPos val="nextTo"/>
        <c:txPr>
          <a:bodyPr/>
          <a:lstStyle/>
          <a:p>
            <a:pPr>
              <a:defRPr sz="1000">
                <a:solidFill>
                  <a:schemeClr val="tx1">
                    <a:lumMod val="75000"/>
                    <a:lumOff val="25000"/>
                  </a:schemeClr>
                </a:solidFill>
              </a:defRPr>
            </a:pPr>
            <a:endParaRPr lang="en-US"/>
          </a:p>
        </c:txPr>
        <c:crossAx val="336702528"/>
        <c:crosses val="autoZero"/>
        <c:crossBetween val="between"/>
      </c:valAx>
      <c:spPr>
        <a:noFill/>
        <a:ln w="25388">
          <a:noFill/>
        </a:ln>
      </c:spPr>
    </c:plotArea>
    <c:plotVisOnly val="1"/>
    <c:dispBlanksAs val="gap"/>
    <c:showDLblsOverMax val="0"/>
  </c:chart>
  <c:spPr>
    <a:ln>
      <a:noFill/>
    </a:ln>
  </c:spPr>
  <c:txPr>
    <a:bodyPr/>
    <a:lstStyle/>
    <a:p>
      <a:pPr>
        <a:defRPr sz="1099"/>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1-AD8D-45AF-996A-C1197E314F8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D8D-45AF-996A-C1197E314F80}"/>
              </c:ext>
            </c:extLst>
          </c:dPt>
          <c:cat>
            <c:strRef>
              <c:f>Sheet1!$A$2:$A$3</c:f>
              <c:strCache>
                <c:ptCount val="2"/>
                <c:pt idx="0">
                  <c:v>1st Qtr</c:v>
                </c:pt>
                <c:pt idx="1">
                  <c:v>2nd Qtr</c:v>
                </c:pt>
              </c:strCache>
            </c:strRef>
          </c:cat>
          <c:val>
            <c:numRef>
              <c:f>Sheet1!$B$2:$B$3</c:f>
              <c:numCache>
                <c:formatCode>General</c:formatCode>
                <c:ptCount val="2"/>
                <c:pt idx="0">
                  <c:v>30</c:v>
                </c:pt>
                <c:pt idx="1">
                  <c:v>70</c:v>
                </c:pt>
              </c:numCache>
            </c:numRef>
          </c:val>
          <c:extLst>
            <c:ext xmlns:c16="http://schemas.microsoft.com/office/drawing/2014/chart" uri="{C3380CC4-5D6E-409C-BE32-E72D297353CC}">
              <c16:uniqueId val="{00000004-AD8D-45AF-996A-C1197E314F8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1-AD8D-45AF-996A-C1197E314F80}"/>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AD8D-45AF-996A-C1197E314F80}"/>
              </c:ext>
            </c:extLst>
          </c:dPt>
          <c:cat>
            <c:strRef>
              <c:f>Sheet1!$A$2:$A$3</c:f>
              <c:strCache>
                <c:ptCount val="2"/>
                <c:pt idx="0">
                  <c:v>1st Qtr</c:v>
                </c:pt>
                <c:pt idx="1">
                  <c:v>2nd Qtr</c:v>
                </c:pt>
              </c:strCache>
            </c:strRef>
          </c:cat>
          <c:val>
            <c:numRef>
              <c:f>Sheet1!$B$2:$B$3</c:f>
              <c:numCache>
                <c:formatCode>General</c:formatCode>
                <c:ptCount val="2"/>
                <c:pt idx="0">
                  <c:v>60</c:v>
                </c:pt>
                <c:pt idx="1">
                  <c:v>40</c:v>
                </c:pt>
              </c:numCache>
            </c:numRef>
          </c:val>
          <c:extLst>
            <c:ext xmlns:c16="http://schemas.microsoft.com/office/drawing/2014/chart" uri="{C3380CC4-5D6E-409C-BE32-E72D297353CC}">
              <c16:uniqueId val="{00000004-AD8D-45AF-996A-C1197E314F8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E979D7-F5AC-074B-B585-7868A6C62342}" type="datetimeFigureOut">
              <a:rPr lang="en-US" smtClean="0"/>
              <a:t>4/29/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1E8DDD1-F227-FC43-8955-1CA4E721BDAD}" type="slidenum">
              <a:rPr lang="en-US" smtClean="0"/>
              <a:t>‹#›</a:t>
            </a:fld>
            <a:endParaRPr lang="en-US"/>
          </a:p>
        </p:txBody>
      </p:sp>
    </p:spTree>
    <p:extLst>
      <p:ext uri="{BB962C8B-B14F-4D97-AF65-F5344CB8AC3E}">
        <p14:creationId xmlns:p14="http://schemas.microsoft.com/office/powerpoint/2010/main" val="22093535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6467022-1A2E-7141-8B66-5520D8C1752F}" type="slidenum">
              <a:rPr lang="uk-UA" smtClean="0"/>
              <a:pPr>
                <a:defRPr/>
              </a:pPr>
              <a:t>6</a:t>
            </a:fld>
            <a:endParaRPr lang="uk-UA"/>
          </a:p>
        </p:txBody>
      </p:sp>
    </p:spTree>
    <p:extLst>
      <p:ext uri="{BB962C8B-B14F-4D97-AF65-F5344CB8AC3E}">
        <p14:creationId xmlns:p14="http://schemas.microsoft.com/office/powerpoint/2010/main" val="1687460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57</a:t>
            </a:fld>
            <a:endParaRPr lang="en-US"/>
          </a:p>
        </p:txBody>
      </p:sp>
    </p:spTree>
    <p:extLst>
      <p:ext uri="{BB962C8B-B14F-4D97-AF65-F5344CB8AC3E}">
        <p14:creationId xmlns:p14="http://schemas.microsoft.com/office/powerpoint/2010/main" val="1464788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66</a:t>
            </a:fld>
            <a:endParaRPr lang="en-US"/>
          </a:p>
        </p:txBody>
      </p:sp>
    </p:spTree>
    <p:extLst>
      <p:ext uri="{BB962C8B-B14F-4D97-AF65-F5344CB8AC3E}">
        <p14:creationId xmlns:p14="http://schemas.microsoft.com/office/powerpoint/2010/main" val="28214352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67</a:t>
            </a:fld>
            <a:endParaRPr lang="en-US"/>
          </a:p>
        </p:txBody>
      </p:sp>
    </p:spTree>
    <p:extLst>
      <p:ext uri="{BB962C8B-B14F-4D97-AF65-F5344CB8AC3E}">
        <p14:creationId xmlns:p14="http://schemas.microsoft.com/office/powerpoint/2010/main" val="34067854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68</a:t>
            </a:fld>
            <a:endParaRPr lang="en-US"/>
          </a:p>
        </p:txBody>
      </p:sp>
    </p:spTree>
    <p:extLst>
      <p:ext uri="{BB962C8B-B14F-4D97-AF65-F5344CB8AC3E}">
        <p14:creationId xmlns:p14="http://schemas.microsoft.com/office/powerpoint/2010/main" val="27180355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467022-1A2E-7141-8B66-5520D8C17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3598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1E8DDD1-F227-FC43-8955-1CA4E721BDAD}" type="slidenum">
              <a:rPr lang="en-US" smtClean="0"/>
              <a:t>76</a:t>
            </a:fld>
            <a:endParaRPr lang="en-US"/>
          </a:p>
        </p:txBody>
      </p:sp>
    </p:spTree>
    <p:extLst>
      <p:ext uri="{BB962C8B-B14F-4D97-AF65-F5344CB8AC3E}">
        <p14:creationId xmlns:p14="http://schemas.microsoft.com/office/powerpoint/2010/main" val="36063789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6467022-1A2E-7141-8B66-5520D8C1752F}" type="slidenum">
              <a:rPr lang="en-CA" smtClean="0"/>
              <a:pPr>
                <a:defRPr/>
              </a:pPr>
              <a:t>7</a:t>
            </a:fld>
            <a:endParaRPr lang="en-CA"/>
          </a:p>
        </p:txBody>
      </p:sp>
    </p:spTree>
    <p:extLst>
      <p:ext uri="{BB962C8B-B14F-4D97-AF65-F5344CB8AC3E}">
        <p14:creationId xmlns:p14="http://schemas.microsoft.com/office/powerpoint/2010/main" val="1331289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6467022-1A2E-7141-8B66-5520D8C1752F}" type="slidenum">
              <a:rPr lang="uk-UA" smtClean="0"/>
              <a:pPr>
                <a:defRPr/>
              </a:pPr>
              <a:t>8</a:t>
            </a:fld>
            <a:endParaRPr lang="uk-UA"/>
          </a:p>
        </p:txBody>
      </p:sp>
    </p:spTree>
    <p:extLst>
      <p:ext uri="{BB962C8B-B14F-4D97-AF65-F5344CB8AC3E}">
        <p14:creationId xmlns:p14="http://schemas.microsoft.com/office/powerpoint/2010/main" val="13283686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1E8DDD1-F227-FC43-8955-1CA4E721BDAD}" type="slidenum">
              <a:rPr lang="en-US" smtClean="0"/>
              <a:t>38</a:t>
            </a:fld>
            <a:endParaRPr lang="en-US"/>
          </a:p>
        </p:txBody>
      </p:sp>
    </p:spTree>
    <p:extLst>
      <p:ext uri="{BB962C8B-B14F-4D97-AF65-F5344CB8AC3E}">
        <p14:creationId xmlns:p14="http://schemas.microsoft.com/office/powerpoint/2010/main" val="31667624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B7B8D2FB-811A-4CEF-8302-85D8E9CB3DD5}" type="datetime1">
              <a:rPr lang="en-US" smtClean="0"/>
              <a:t>4/29/20</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4EF65EAE-C12A-4817-B3A9-56A9DC4CA02A}" type="slidenum">
              <a:rPr lang="en-US" smtClean="0"/>
              <a:t>39</a:t>
            </a:fld>
            <a:endParaRPr lang="en-US"/>
          </a:p>
        </p:txBody>
      </p:sp>
    </p:spTree>
    <p:extLst>
      <p:ext uri="{BB962C8B-B14F-4D97-AF65-F5344CB8AC3E}">
        <p14:creationId xmlns:p14="http://schemas.microsoft.com/office/powerpoint/2010/main" val="36561703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1E8DDD1-F227-FC43-8955-1CA4E721BDAD}" type="slidenum">
              <a:rPr lang="en-US" smtClean="0"/>
              <a:t>40</a:t>
            </a:fld>
            <a:endParaRPr lang="en-US"/>
          </a:p>
        </p:txBody>
      </p:sp>
    </p:spTree>
    <p:extLst>
      <p:ext uri="{BB962C8B-B14F-4D97-AF65-F5344CB8AC3E}">
        <p14:creationId xmlns:p14="http://schemas.microsoft.com/office/powerpoint/2010/main" val="11468307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1E8DDD1-F227-FC43-8955-1CA4E721BDAD}" type="slidenum">
              <a:rPr lang="en-US" smtClean="0"/>
              <a:t>41</a:t>
            </a:fld>
            <a:endParaRPr lang="en-US"/>
          </a:p>
        </p:txBody>
      </p:sp>
    </p:spTree>
    <p:extLst>
      <p:ext uri="{BB962C8B-B14F-4D97-AF65-F5344CB8AC3E}">
        <p14:creationId xmlns:p14="http://schemas.microsoft.com/office/powerpoint/2010/main" val="2614820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6467022-1A2E-7141-8B66-5520D8C1752F}" type="slidenum">
              <a:rPr lang="en-CA" smtClean="0"/>
              <a:pPr>
                <a:defRPr/>
              </a:pPr>
              <a:t>42</a:t>
            </a:fld>
            <a:endParaRPr lang="en-CA" dirty="0"/>
          </a:p>
        </p:txBody>
      </p:sp>
    </p:spTree>
    <p:extLst>
      <p:ext uri="{BB962C8B-B14F-4D97-AF65-F5344CB8AC3E}">
        <p14:creationId xmlns:p14="http://schemas.microsoft.com/office/powerpoint/2010/main" val="2367352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1E8DDD1-F227-FC43-8955-1CA4E721BDAD}" type="slidenum">
              <a:rPr lang="en-US" smtClean="0"/>
              <a:t>56</a:t>
            </a:fld>
            <a:endParaRPr lang="en-US"/>
          </a:p>
        </p:txBody>
      </p:sp>
    </p:spTree>
    <p:extLst>
      <p:ext uri="{BB962C8B-B14F-4D97-AF65-F5344CB8AC3E}">
        <p14:creationId xmlns:p14="http://schemas.microsoft.com/office/powerpoint/2010/main" val="38703584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18B400-B481-A545-8EF7-2EC6BC9610E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24384004" cy="13716000"/>
          </a:xfrm>
          <a:prstGeom prst="rect">
            <a:avLst/>
          </a:prstGeom>
        </p:spPr>
      </p:pic>
      <p:pic>
        <p:nvPicPr>
          <p:cNvPr id="8" name="Picture 7">
            <a:extLst>
              <a:ext uri="{FF2B5EF4-FFF2-40B4-BE49-F238E27FC236}">
                <a16:creationId xmlns:a16="http://schemas.microsoft.com/office/drawing/2014/main" id="{7B297EAB-8B05-B24D-9DD3-DBD9BB8F43B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46188" y="2170984"/>
            <a:ext cx="6056199" cy="1153042"/>
          </a:xfrm>
          <a:prstGeom prst="rect">
            <a:avLst/>
          </a:prstGeom>
        </p:spPr>
      </p:pic>
      <p:sp>
        <p:nvSpPr>
          <p:cNvPr id="2" name="Title 1"/>
          <p:cNvSpPr>
            <a:spLocks noGrp="1"/>
          </p:cNvSpPr>
          <p:nvPr>
            <p:ph type="ctrTitle"/>
          </p:nvPr>
        </p:nvSpPr>
        <p:spPr>
          <a:xfrm>
            <a:off x="1246188" y="4306528"/>
            <a:ext cx="20088424" cy="2713397"/>
          </a:xfrm>
        </p:spPr>
        <p:txBody>
          <a:bodyPr anchor="b">
            <a:normAutofit/>
          </a:bodyPr>
          <a:lstStyle>
            <a:lvl1pPr algn="l">
              <a:defRPr sz="70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257300" y="7204076"/>
            <a:ext cx="20077312" cy="1305743"/>
          </a:xfrm>
          <a:prstGeom prst="rect">
            <a:avLst/>
          </a:prstGeom>
        </p:spPr>
        <p:txBody>
          <a:bodyPr>
            <a:normAutofit/>
          </a:bodyPr>
          <a:lstStyle>
            <a:lvl1pPr marL="0" indent="0" algn="l">
              <a:buNone/>
              <a:defRPr sz="4000">
                <a:solidFill>
                  <a:schemeClr val="accent3"/>
                </a:solidFill>
              </a:defRPr>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4" indent="0" algn="ctr">
              <a:buNone/>
              <a:defRPr sz="3200"/>
            </a:lvl9pPr>
          </a:lstStyle>
          <a:p>
            <a:r>
              <a:rPr lang="en-US" dirty="0"/>
              <a:t>Click to edit Master subtitle style</a:t>
            </a:r>
          </a:p>
        </p:txBody>
      </p:sp>
      <p:sp>
        <p:nvSpPr>
          <p:cNvPr id="9" name="Text Placeholder 2">
            <a:extLst>
              <a:ext uri="{FF2B5EF4-FFF2-40B4-BE49-F238E27FC236}">
                <a16:creationId xmlns:a16="http://schemas.microsoft.com/office/drawing/2014/main" id="{200D6079-2AB4-9846-A094-5620B915C664}"/>
              </a:ext>
            </a:extLst>
          </p:cNvPr>
          <p:cNvSpPr>
            <a:spLocks noGrp="1"/>
          </p:cNvSpPr>
          <p:nvPr>
            <p:ph type="body" idx="11" hasCustomPrompt="1"/>
          </p:nvPr>
        </p:nvSpPr>
        <p:spPr>
          <a:xfrm>
            <a:off x="1142415" y="11860575"/>
            <a:ext cx="13092236" cy="942250"/>
          </a:xfrm>
          <a:prstGeom prst="rect">
            <a:avLst/>
          </a:prstGeom>
        </p:spPr>
        <p:txBody>
          <a:bodyPr>
            <a:normAutofit/>
          </a:bodyPr>
          <a:lstStyle>
            <a:lvl1pPr marL="0" indent="0">
              <a:buNone/>
              <a:defRPr sz="4000" b="0" baseline="0">
                <a:solidFill>
                  <a:schemeClr val="bg1"/>
                </a:solidFill>
                <a:latin typeface="Arial" charset="0"/>
              </a:defRPr>
            </a:lvl1pPr>
            <a:lvl2pPr marL="1219124" indent="0">
              <a:buNone/>
              <a:defRPr sz="4800">
                <a:solidFill>
                  <a:schemeClr val="tx1">
                    <a:tint val="75000"/>
                  </a:schemeClr>
                </a:solidFill>
              </a:defRPr>
            </a:lvl2pPr>
            <a:lvl3pPr marL="2438248" indent="0">
              <a:buNone/>
              <a:defRPr sz="4266">
                <a:solidFill>
                  <a:schemeClr val="tx1">
                    <a:tint val="75000"/>
                  </a:schemeClr>
                </a:solidFill>
              </a:defRPr>
            </a:lvl3pPr>
            <a:lvl4pPr marL="3657371" indent="0">
              <a:buNone/>
              <a:defRPr sz="3733">
                <a:solidFill>
                  <a:schemeClr val="tx1">
                    <a:tint val="75000"/>
                  </a:schemeClr>
                </a:solidFill>
              </a:defRPr>
            </a:lvl4pPr>
            <a:lvl5pPr marL="4876495" indent="0">
              <a:buNone/>
              <a:defRPr sz="3733">
                <a:solidFill>
                  <a:schemeClr val="tx1">
                    <a:tint val="75000"/>
                  </a:schemeClr>
                </a:solidFill>
              </a:defRPr>
            </a:lvl5pPr>
            <a:lvl6pPr marL="6095619" indent="0">
              <a:buNone/>
              <a:defRPr sz="3733">
                <a:solidFill>
                  <a:schemeClr val="tx1">
                    <a:tint val="75000"/>
                  </a:schemeClr>
                </a:solidFill>
              </a:defRPr>
            </a:lvl6pPr>
            <a:lvl7pPr marL="7314743" indent="0">
              <a:buNone/>
              <a:defRPr sz="3733">
                <a:solidFill>
                  <a:schemeClr val="tx1">
                    <a:tint val="75000"/>
                  </a:schemeClr>
                </a:solidFill>
              </a:defRPr>
            </a:lvl7pPr>
            <a:lvl8pPr marL="8533867" indent="0">
              <a:buNone/>
              <a:defRPr sz="3733">
                <a:solidFill>
                  <a:schemeClr val="tx1">
                    <a:tint val="75000"/>
                  </a:schemeClr>
                </a:solidFill>
              </a:defRPr>
            </a:lvl8pPr>
            <a:lvl9pPr marL="9752990" indent="0">
              <a:buNone/>
              <a:defRPr sz="3733">
                <a:solidFill>
                  <a:schemeClr val="tx1">
                    <a:tint val="75000"/>
                  </a:schemeClr>
                </a:solidFill>
              </a:defRPr>
            </a:lvl9pPr>
          </a:lstStyle>
          <a:p>
            <a:pPr lvl="0"/>
            <a:r>
              <a:rPr lang="en-US" dirty="0"/>
              <a:t>Date  |  Presenter name</a:t>
            </a:r>
          </a:p>
        </p:txBody>
      </p:sp>
    </p:spTree>
    <p:extLst>
      <p:ext uri="{BB962C8B-B14F-4D97-AF65-F5344CB8AC3E}">
        <p14:creationId xmlns:p14="http://schemas.microsoft.com/office/powerpoint/2010/main" val="24649889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62AE7129-85F1-034B-B12D-DE36DA763EA8}"/>
              </a:ext>
            </a:extLst>
          </p:cNvPr>
          <p:cNvSpPr>
            <a:spLocks noGrp="1"/>
          </p:cNvSpPr>
          <p:nvPr>
            <p:ph type="body" sz="quarter" idx="15" hasCustomPrompt="1"/>
          </p:nvPr>
        </p:nvSpPr>
        <p:spPr>
          <a:xfrm>
            <a:off x="3334222" y="3200400"/>
            <a:ext cx="19786128" cy="4876800"/>
          </a:xfrm>
        </p:spPr>
        <p:txBody>
          <a:bodyPr>
            <a:noAutofit/>
          </a:bodyPr>
          <a:lstStyle>
            <a:lvl1pPr marL="0" indent="0">
              <a:lnSpc>
                <a:spcPct val="120000"/>
              </a:lnSpc>
              <a:spcBef>
                <a:spcPts val="0"/>
              </a:spcBef>
              <a:buNone/>
              <a:defRPr sz="7200" i="1" baseline="0">
                <a:solidFill>
                  <a:schemeClr val="accent2"/>
                </a:solidFill>
                <a:latin typeface="+mj-lt"/>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A customer testimonial can go in this space. Quotes should be concise and to the point. Don’t forget to include a quote source below.</a:t>
            </a:r>
          </a:p>
        </p:txBody>
      </p:sp>
      <p:sp>
        <p:nvSpPr>
          <p:cNvPr id="3" name="Text Placeholder 11">
            <a:extLst>
              <a:ext uri="{FF2B5EF4-FFF2-40B4-BE49-F238E27FC236}">
                <a16:creationId xmlns:a16="http://schemas.microsoft.com/office/drawing/2014/main" id="{925188AD-8560-9848-97AE-6224E61C90F1}"/>
              </a:ext>
            </a:extLst>
          </p:cNvPr>
          <p:cNvSpPr>
            <a:spLocks noGrp="1"/>
          </p:cNvSpPr>
          <p:nvPr>
            <p:ph type="body" sz="quarter" idx="16" hasCustomPrompt="1"/>
          </p:nvPr>
        </p:nvSpPr>
        <p:spPr>
          <a:xfrm>
            <a:off x="3334222" y="8370168"/>
            <a:ext cx="19786128" cy="2133600"/>
          </a:xfrm>
        </p:spPr>
        <p:txBody>
          <a:bodyPr>
            <a:noAutofit/>
          </a:bodyPr>
          <a:lstStyle>
            <a:lvl1pPr marL="0" indent="0" algn="l">
              <a:lnSpc>
                <a:spcPct val="100000"/>
              </a:lnSpc>
              <a:spcBef>
                <a:spcPts val="0"/>
              </a:spcBef>
              <a:buNone/>
              <a:defRPr sz="5400" baseline="0">
                <a:solidFill>
                  <a:schemeClr val="bg1">
                    <a:lumMod val="50000"/>
                  </a:schemeClr>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John Smith, Chief Financial Officer, XYZ Company</a:t>
            </a:r>
          </a:p>
        </p:txBody>
      </p:sp>
      <p:pic>
        <p:nvPicPr>
          <p:cNvPr id="4" name="Picture 3">
            <a:extLst>
              <a:ext uri="{FF2B5EF4-FFF2-40B4-BE49-F238E27FC236}">
                <a16:creationId xmlns:a16="http://schemas.microsoft.com/office/drawing/2014/main" id="{979DA2FD-583D-7F4C-BB33-F4121E1D6C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34022" y="3113584"/>
            <a:ext cx="1261113" cy="1152127"/>
          </a:xfrm>
          <a:prstGeom prst="rect">
            <a:avLst/>
          </a:prstGeom>
        </p:spPr>
      </p:pic>
    </p:spTree>
    <p:extLst>
      <p:ext uri="{BB962C8B-B14F-4D97-AF65-F5344CB8AC3E}">
        <p14:creationId xmlns:p14="http://schemas.microsoft.com/office/powerpoint/2010/main" val="40050126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without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36773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Video-Full Screen">
    <p:bg>
      <p:bgPr>
        <a:solidFill>
          <a:schemeClr val="tx1"/>
        </a:solidFill>
        <a:effectLst/>
      </p:bgPr>
    </p:bg>
    <p:spTree>
      <p:nvGrpSpPr>
        <p:cNvPr id="1" name=""/>
        <p:cNvGrpSpPr/>
        <p:nvPr/>
      </p:nvGrpSpPr>
      <p:grpSpPr>
        <a:xfrm>
          <a:off x="0" y="0"/>
          <a:ext cx="0" cy="0"/>
          <a:chOff x="0" y="0"/>
          <a:chExt cx="0" cy="0"/>
        </a:xfrm>
      </p:grpSpPr>
      <p:sp>
        <p:nvSpPr>
          <p:cNvPr id="3" name="Rectangle 2"/>
          <p:cNvSpPr/>
          <p:nvPr/>
        </p:nvSpPr>
        <p:spPr>
          <a:xfrm>
            <a:off x="-12699" y="0"/>
            <a:ext cx="24395114" cy="137350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 name="Media Placeholder 4"/>
          <p:cNvSpPr>
            <a:spLocks noGrp="1"/>
          </p:cNvSpPr>
          <p:nvPr>
            <p:ph type="media" sz="quarter" idx="10" hasCustomPrompt="1"/>
          </p:nvPr>
        </p:nvSpPr>
        <p:spPr>
          <a:xfrm>
            <a:off x="0" y="0"/>
            <a:ext cx="24382413" cy="13716000"/>
          </a:xfrm>
          <a:prstGeom prst="rect">
            <a:avLst/>
          </a:prstGeom>
        </p:spPr>
        <p:txBody>
          <a:bodyPr anchor="t"/>
          <a:lstStyle>
            <a:lvl1pPr marL="118526" indent="0" algn="ctr">
              <a:buNone/>
              <a:defRPr baseline="0">
                <a:solidFill>
                  <a:schemeClr val="bg1"/>
                </a:solidFill>
              </a:defRPr>
            </a:lvl1pPr>
          </a:lstStyle>
          <a:p>
            <a:r>
              <a:rPr lang="en-US" dirty="0"/>
              <a:t>Click on the icon to insert your video</a:t>
            </a:r>
          </a:p>
        </p:txBody>
      </p:sp>
    </p:spTree>
    <p:extLst>
      <p:ext uri="{BB962C8B-B14F-4D97-AF65-F5344CB8AC3E}">
        <p14:creationId xmlns:p14="http://schemas.microsoft.com/office/powerpoint/2010/main" val="6964589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67A34-9D8B-4448-9240-55969E348760}"/>
              </a:ext>
            </a:extLst>
          </p:cNvPr>
          <p:cNvSpPr>
            <a:spLocks noGrp="1"/>
          </p:cNvSpPr>
          <p:nvPr>
            <p:ph type="title"/>
          </p:nvPr>
        </p:nvSpPr>
        <p:spPr>
          <a:xfrm>
            <a:off x="1156922" y="4495800"/>
            <a:ext cx="17474063" cy="1682496"/>
          </a:xfrm>
        </p:spPr>
        <p:txBody>
          <a:bodyPr/>
          <a:lstStyle/>
          <a:p>
            <a:r>
              <a:rPr lang="en-US" dirty="0"/>
              <a:t>Thank you</a:t>
            </a:r>
          </a:p>
        </p:txBody>
      </p:sp>
      <p:pic>
        <p:nvPicPr>
          <p:cNvPr id="3" name="Picture 2">
            <a:extLst>
              <a:ext uri="{FF2B5EF4-FFF2-40B4-BE49-F238E27FC236}">
                <a16:creationId xmlns:a16="http://schemas.microsoft.com/office/drawing/2014/main" id="{DB7E02F0-4CF8-4B4E-BABE-8E8DD2B3A3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46188" y="2150532"/>
            <a:ext cx="4936180" cy="939801"/>
          </a:xfrm>
          <a:prstGeom prst="rect">
            <a:avLst/>
          </a:prstGeom>
        </p:spPr>
      </p:pic>
    </p:spTree>
    <p:extLst>
      <p:ext uri="{BB962C8B-B14F-4D97-AF65-F5344CB8AC3E}">
        <p14:creationId xmlns:p14="http://schemas.microsoft.com/office/powerpoint/2010/main" val="14724018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January 2019">
    <p:spTree>
      <p:nvGrpSpPr>
        <p:cNvPr id="1" name=""/>
        <p:cNvGrpSpPr/>
        <p:nvPr/>
      </p:nvGrpSpPr>
      <p:grpSpPr>
        <a:xfrm>
          <a:off x="0" y="0"/>
          <a:ext cx="0" cy="0"/>
          <a:chOff x="0" y="0"/>
          <a:chExt cx="0" cy="0"/>
        </a:xfrm>
      </p:grpSpPr>
      <p:sp>
        <p:nvSpPr>
          <p:cNvPr id="1792" name="TextBox 1791"/>
          <p:cNvSpPr txBox="1"/>
          <p:nvPr/>
        </p:nvSpPr>
        <p:spPr>
          <a:xfrm>
            <a:off x="1093019" y="1641844"/>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cap="none" spc="0" dirty="0">
                <a:ln w="0"/>
                <a:solidFill>
                  <a:schemeClr val="bg1">
                    <a:lumMod val="85000"/>
                  </a:schemeClr>
                </a:solidFill>
                <a:effectLst/>
              </a:rPr>
              <a:t>31 December</a:t>
            </a:r>
            <a:endParaRPr lang="en-US" sz="2600" b="0" dirty="0">
              <a:solidFill>
                <a:schemeClr val="bg1">
                  <a:lumMod val="85000"/>
                </a:schemeClr>
              </a:solidFill>
              <a:effectLst/>
            </a:endParaRPr>
          </a:p>
        </p:txBody>
      </p:sp>
      <p:sp>
        <p:nvSpPr>
          <p:cNvPr id="1793" name="TextBox 1792"/>
          <p:cNvSpPr txBox="1"/>
          <p:nvPr/>
        </p:nvSpPr>
        <p:spPr>
          <a:xfrm>
            <a:off x="4764373" y="1641844"/>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cap="none" spc="0" dirty="0">
                <a:ln w="0"/>
                <a:solidFill>
                  <a:schemeClr val="tx1"/>
                </a:solidFill>
                <a:effectLst>
                  <a:outerShdw blurRad="38100" dist="19050" dir="2700000" algn="tl" rotWithShape="0">
                    <a:schemeClr val="dk1">
                      <a:alpha val="40000"/>
                    </a:schemeClr>
                  </a:outerShdw>
                </a:effectLst>
              </a:rPr>
              <a:t>1 January</a:t>
            </a:r>
            <a:endParaRPr lang="en-US" sz="2600" b="0" dirty="0">
              <a:solidFill>
                <a:schemeClr val="tx1"/>
              </a:solidFill>
            </a:endParaRPr>
          </a:p>
        </p:txBody>
      </p:sp>
      <p:sp>
        <p:nvSpPr>
          <p:cNvPr id="1794" name="TextBox 1793"/>
          <p:cNvSpPr txBox="1"/>
          <p:nvPr userDrawn="1"/>
        </p:nvSpPr>
        <p:spPr>
          <a:xfrm>
            <a:off x="8512830" y="1641844"/>
            <a:ext cx="3657362" cy="768096"/>
          </a:xfrm>
          <a:prstGeom prst="rect">
            <a:avLst/>
          </a:prstGeom>
          <a:noFill/>
        </p:spPr>
        <p:txBody>
          <a:bodyPr wrap="square" tIns="0" bIns="0" rtlCol="0" anchor="ctr">
            <a:noAutofit/>
          </a:bodyPr>
          <a:lstStyle/>
          <a:p>
            <a:pPr algn="l"/>
            <a:r>
              <a:rPr lang="en-US" sz="2600" b="0" dirty="0">
                <a:solidFill>
                  <a:schemeClr val="tx1"/>
                </a:solidFill>
              </a:rPr>
              <a:t>2</a:t>
            </a:r>
          </a:p>
        </p:txBody>
      </p:sp>
      <p:sp>
        <p:nvSpPr>
          <p:cNvPr id="1795" name="TextBox 1794"/>
          <p:cNvSpPr txBox="1"/>
          <p:nvPr userDrawn="1"/>
        </p:nvSpPr>
        <p:spPr>
          <a:xfrm>
            <a:off x="12191204" y="1641844"/>
            <a:ext cx="3657362" cy="768096"/>
          </a:xfrm>
          <a:prstGeom prst="rect">
            <a:avLst/>
          </a:prstGeom>
          <a:noFill/>
        </p:spPr>
        <p:txBody>
          <a:bodyPr wrap="square" tIns="0" bIns="0" rtlCol="0" anchor="ctr">
            <a:noAutofit/>
          </a:bodyPr>
          <a:lstStyle>
            <a:defPPr>
              <a:defRPr lang="en-US"/>
            </a:defPPr>
            <a:lvl1pPr marR="0" indent="0" fontAlgn="auto">
              <a:lnSpc>
                <a:spcPct val="100000"/>
              </a:lnSpc>
              <a:spcBef>
                <a:spcPts val="0"/>
              </a:spcBef>
              <a:spcAft>
                <a:spcPts val="0"/>
              </a:spcAft>
              <a:buClrTx/>
              <a:buSzTx/>
              <a:buFontTx/>
              <a:buNone/>
              <a:tabLst/>
              <a:defRPr sz="1300" b="0">
                <a:solidFill>
                  <a:schemeClr val="bg2">
                    <a:lumMod val="90000"/>
                  </a:schemeClr>
                </a:solidFill>
              </a:defRPr>
            </a:lvl1pPr>
          </a:lstStyle>
          <a:p>
            <a:pPr algn="l"/>
            <a:r>
              <a:rPr lang="en-US" sz="2600" b="0" dirty="0">
                <a:solidFill>
                  <a:schemeClr val="tx1"/>
                </a:solidFill>
              </a:rPr>
              <a:t>3</a:t>
            </a:r>
          </a:p>
        </p:txBody>
      </p:sp>
      <p:sp>
        <p:nvSpPr>
          <p:cNvPr id="1796" name="TextBox 1795"/>
          <p:cNvSpPr txBox="1"/>
          <p:nvPr/>
        </p:nvSpPr>
        <p:spPr>
          <a:xfrm>
            <a:off x="15925635" y="1641844"/>
            <a:ext cx="3657362" cy="768096"/>
          </a:xfrm>
          <a:prstGeom prst="rect">
            <a:avLst/>
          </a:prstGeom>
          <a:noFill/>
        </p:spPr>
        <p:txBody>
          <a:bodyPr wrap="square" tIns="0" bIns="0" rtlCol="0" anchor="ctr">
            <a:noAutofit/>
          </a:bodyPr>
          <a:lstStyle>
            <a:defPPr>
              <a:defRPr lang="en-US"/>
            </a:defPPr>
            <a:lvl1pPr marR="0" lvl="0" indent="0" fontAlgn="auto">
              <a:lnSpc>
                <a:spcPct val="100000"/>
              </a:lnSpc>
              <a:spcBef>
                <a:spcPts val="0"/>
              </a:spcBef>
              <a:spcAft>
                <a:spcPts val="0"/>
              </a:spcAft>
              <a:buClrTx/>
              <a:buSzTx/>
              <a:buFontTx/>
              <a:buNone/>
              <a:tabLst/>
              <a:defRPr sz="1300" b="0">
                <a:solidFill>
                  <a:schemeClr val="bg2">
                    <a:lumMod val="90000"/>
                  </a:schemeClr>
                </a:solidFill>
              </a:defRPr>
            </a:lvl1pPr>
          </a:lstStyle>
          <a:p>
            <a:pPr algn="l"/>
            <a:r>
              <a:rPr lang="en-US" sz="2600" b="0" dirty="0">
                <a:solidFill>
                  <a:schemeClr val="tx1"/>
                </a:solidFill>
              </a:rPr>
              <a:t>4</a:t>
            </a:r>
          </a:p>
        </p:txBody>
      </p:sp>
      <p:sp>
        <p:nvSpPr>
          <p:cNvPr id="1797" name="TextBox 1796"/>
          <p:cNvSpPr txBox="1"/>
          <p:nvPr userDrawn="1"/>
        </p:nvSpPr>
        <p:spPr>
          <a:xfrm>
            <a:off x="19649854" y="1641844"/>
            <a:ext cx="3657362" cy="768096"/>
          </a:xfrm>
          <a:prstGeom prst="rect">
            <a:avLst/>
          </a:prstGeom>
          <a:noFill/>
        </p:spPr>
        <p:txBody>
          <a:bodyPr wrap="square" tIns="0" bIns="0" rtlCol="0" anchor="ctr">
            <a:noAutofit/>
          </a:bodyPr>
          <a:lstStyle/>
          <a:p>
            <a:pPr algn="l"/>
            <a:r>
              <a:rPr lang="en-US" sz="2600" b="0" dirty="0">
                <a:solidFill>
                  <a:schemeClr val="tx1"/>
                </a:solidFill>
              </a:rPr>
              <a:t>5/6</a:t>
            </a:r>
          </a:p>
        </p:txBody>
      </p:sp>
      <p:sp>
        <p:nvSpPr>
          <p:cNvPr id="1798" name="TextBox 1797"/>
          <p:cNvSpPr txBox="1"/>
          <p:nvPr/>
        </p:nvSpPr>
        <p:spPr>
          <a:xfrm>
            <a:off x="1093025" y="3471672"/>
            <a:ext cx="3657362" cy="768096"/>
          </a:xfrm>
          <a:prstGeom prst="rect">
            <a:avLst/>
          </a:prstGeom>
          <a:noFill/>
        </p:spPr>
        <p:txBody>
          <a:bodyPr wrap="square" tIns="0" bIns="0" rtlCol="0" anchor="ctr">
            <a:noAutofit/>
          </a:bodyPr>
          <a:lstStyle/>
          <a:p>
            <a:pPr algn="l"/>
            <a:r>
              <a:rPr lang="en-US" sz="2600" b="0" dirty="0">
                <a:solidFill>
                  <a:schemeClr val="tx1"/>
                </a:solidFill>
              </a:rPr>
              <a:t>7</a:t>
            </a:r>
          </a:p>
        </p:txBody>
      </p:sp>
      <p:sp>
        <p:nvSpPr>
          <p:cNvPr id="1799" name="TextBox 1798"/>
          <p:cNvSpPr txBox="1"/>
          <p:nvPr/>
        </p:nvSpPr>
        <p:spPr>
          <a:xfrm>
            <a:off x="4764373" y="3471672"/>
            <a:ext cx="3657362" cy="768096"/>
          </a:xfrm>
          <a:prstGeom prst="rect">
            <a:avLst/>
          </a:prstGeom>
          <a:noFill/>
        </p:spPr>
        <p:txBody>
          <a:bodyPr wrap="square" tIns="0" bIns="0" rtlCol="0" anchor="ctr">
            <a:noAutofit/>
          </a:bodyPr>
          <a:lstStyle/>
          <a:p>
            <a:pPr algn="l"/>
            <a:r>
              <a:rPr lang="en-US" sz="2600" b="0" dirty="0">
                <a:solidFill>
                  <a:schemeClr val="tx1"/>
                </a:solidFill>
              </a:rPr>
              <a:t>8</a:t>
            </a:r>
            <a:endParaRPr sz="2600" b="0" dirty="0">
              <a:solidFill>
                <a:schemeClr val="tx1"/>
              </a:solidFill>
            </a:endParaRPr>
          </a:p>
        </p:txBody>
      </p:sp>
      <p:sp>
        <p:nvSpPr>
          <p:cNvPr id="1800" name="TextBox 1799"/>
          <p:cNvSpPr txBox="1"/>
          <p:nvPr/>
        </p:nvSpPr>
        <p:spPr>
          <a:xfrm>
            <a:off x="8512830" y="3471672"/>
            <a:ext cx="3657362" cy="768096"/>
          </a:xfrm>
          <a:prstGeom prst="rect">
            <a:avLst/>
          </a:prstGeom>
          <a:noFill/>
        </p:spPr>
        <p:txBody>
          <a:bodyPr wrap="square" tIns="0" bIns="0" rtlCol="0" anchor="ctr">
            <a:noAutofit/>
          </a:bodyPr>
          <a:lstStyle/>
          <a:p>
            <a:pPr algn="l"/>
            <a:r>
              <a:rPr lang="en-US" sz="2600" b="0" dirty="0">
                <a:solidFill>
                  <a:schemeClr val="tx1"/>
                </a:solidFill>
              </a:rPr>
              <a:t>9</a:t>
            </a:r>
            <a:endParaRPr sz="2600" b="0" dirty="0">
              <a:solidFill>
                <a:schemeClr val="tx1"/>
              </a:solidFill>
            </a:endParaRPr>
          </a:p>
        </p:txBody>
      </p:sp>
      <p:sp>
        <p:nvSpPr>
          <p:cNvPr id="1801" name="TextBox 1800"/>
          <p:cNvSpPr txBox="1"/>
          <p:nvPr/>
        </p:nvSpPr>
        <p:spPr>
          <a:xfrm>
            <a:off x="12191204" y="3471672"/>
            <a:ext cx="3657362" cy="768096"/>
          </a:xfrm>
          <a:prstGeom prst="rect">
            <a:avLst/>
          </a:prstGeom>
          <a:noFill/>
        </p:spPr>
        <p:txBody>
          <a:bodyPr wrap="square" tIns="0" bIns="0" rtlCol="0" anchor="ctr">
            <a:noAutofit/>
          </a:bodyPr>
          <a:lstStyle/>
          <a:p>
            <a:pPr algn="l"/>
            <a:r>
              <a:rPr lang="en-US" sz="2600" b="0" dirty="0">
                <a:solidFill>
                  <a:schemeClr val="tx1"/>
                </a:solidFill>
              </a:rPr>
              <a:t>10</a:t>
            </a:r>
            <a:endParaRPr sz="2600" b="0" dirty="0">
              <a:solidFill>
                <a:schemeClr val="tx1"/>
              </a:solidFill>
            </a:endParaRPr>
          </a:p>
        </p:txBody>
      </p:sp>
      <p:sp>
        <p:nvSpPr>
          <p:cNvPr id="1802" name="TextBox 1801"/>
          <p:cNvSpPr txBox="1"/>
          <p:nvPr/>
        </p:nvSpPr>
        <p:spPr>
          <a:xfrm>
            <a:off x="15925635" y="3471672"/>
            <a:ext cx="3657362" cy="768096"/>
          </a:xfrm>
          <a:prstGeom prst="rect">
            <a:avLst/>
          </a:prstGeom>
          <a:noFill/>
        </p:spPr>
        <p:txBody>
          <a:bodyPr wrap="square" tIns="0" bIns="0" rtlCol="0" anchor="ctr">
            <a:noAutofit/>
          </a:bodyPr>
          <a:lstStyle/>
          <a:p>
            <a:pPr algn="l"/>
            <a:r>
              <a:rPr lang="en-US" sz="2600" b="0" dirty="0">
                <a:solidFill>
                  <a:schemeClr val="tx1"/>
                </a:solidFill>
              </a:rPr>
              <a:t>11</a:t>
            </a:r>
            <a:endParaRPr sz="2600" b="0" dirty="0">
              <a:solidFill>
                <a:schemeClr val="tx1"/>
              </a:solidFill>
            </a:endParaRPr>
          </a:p>
        </p:txBody>
      </p:sp>
      <p:sp>
        <p:nvSpPr>
          <p:cNvPr id="1803" name="TextBox 1802"/>
          <p:cNvSpPr txBox="1"/>
          <p:nvPr userDrawn="1"/>
        </p:nvSpPr>
        <p:spPr>
          <a:xfrm>
            <a:off x="19649854" y="3471672"/>
            <a:ext cx="3657362" cy="768096"/>
          </a:xfrm>
          <a:prstGeom prst="rect">
            <a:avLst/>
          </a:prstGeom>
          <a:noFill/>
        </p:spPr>
        <p:txBody>
          <a:bodyPr wrap="square" tIns="0" bIns="0" rtlCol="0" anchor="ctr">
            <a:noAutofit/>
          </a:bodyPr>
          <a:lstStyle/>
          <a:p>
            <a:pPr algn="l"/>
            <a:r>
              <a:rPr lang="en-ZA" sz="2600" b="0" dirty="0">
                <a:solidFill>
                  <a:schemeClr val="tx1"/>
                </a:solidFill>
              </a:rPr>
              <a:t>12/13</a:t>
            </a:r>
            <a:endParaRPr sz="2600" b="0" dirty="0">
              <a:solidFill>
                <a:schemeClr val="tx1"/>
              </a:solidFill>
            </a:endParaRPr>
          </a:p>
        </p:txBody>
      </p:sp>
      <p:sp>
        <p:nvSpPr>
          <p:cNvPr id="1804" name="TextBox 1803"/>
          <p:cNvSpPr txBox="1"/>
          <p:nvPr/>
        </p:nvSpPr>
        <p:spPr>
          <a:xfrm>
            <a:off x="1093025" y="5300472"/>
            <a:ext cx="3657362" cy="768096"/>
          </a:xfrm>
          <a:prstGeom prst="rect">
            <a:avLst/>
          </a:prstGeom>
          <a:noFill/>
        </p:spPr>
        <p:txBody>
          <a:bodyPr wrap="square" tIns="0" bIns="0" rtlCol="0" anchor="ctr">
            <a:noAutofit/>
          </a:bodyPr>
          <a:lstStyle/>
          <a:p>
            <a:pPr algn="l"/>
            <a:r>
              <a:rPr lang="en-US" sz="2600" b="0" dirty="0">
                <a:solidFill>
                  <a:schemeClr val="tx1"/>
                </a:solidFill>
              </a:rPr>
              <a:t>14</a:t>
            </a:r>
            <a:endParaRPr sz="2600" b="0" dirty="0">
              <a:solidFill>
                <a:schemeClr val="tx1"/>
              </a:solidFill>
            </a:endParaRPr>
          </a:p>
        </p:txBody>
      </p:sp>
      <p:sp>
        <p:nvSpPr>
          <p:cNvPr id="1805" name="TextBox 1804"/>
          <p:cNvSpPr txBox="1"/>
          <p:nvPr/>
        </p:nvSpPr>
        <p:spPr>
          <a:xfrm>
            <a:off x="4764373" y="5300472"/>
            <a:ext cx="3657362" cy="768096"/>
          </a:xfrm>
          <a:prstGeom prst="rect">
            <a:avLst/>
          </a:prstGeom>
          <a:noFill/>
        </p:spPr>
        <p:txBody>
          <a:bodyPr wrap="square" tIns="0" bIns="0" rtlCol="0" anchor="ctr">
            <a:noAutofit/>
          </a:bodyPr>
          <a:lstStyle/>
          <a:p>
            <a:pPr algn="l"/>
            <a:r>
              <a:rPr lang="en-US" sz="2600" b="0" dirty="0">
                <a:solidFill>
                  <a:schemeClr val="tx1"/>
                </a:solidFill>
              </a:rPr>
              <a:t>15</a:t>
            </a:r>
            <a:endParaRPr sz="2600" b="0" dirty="0">
              <a:solidFill>
                <a:schemeClr val="tx1"/>
              </a:solidFill>
            </a:endParaRPr>
          </a:p>
        </p:txBody>
      </p:sp>
      <p:sp>
        <p:nvSpPr>
          <p:cNvPr id="1806" name="TextBox 1805"/>
          <p:cNvSpPr txBox="1"/>
          <p:nvPr/>
        </p:nvSpPr>
        <p:spPr>
          <a:xfrm>
            <a:off x="8512830" y="5300472"/>
            <a:ext cx="3657362" cy="768096"/>
          </a:xfrm>
          <a:prstGeom prst="rect">
            <a:avLst/>
          </a:prstGeom>
          <a:noFill/>
        </p:spPr>
        <p:txBody>
          <a:bodyPr wrap="square" tIns="0" bIns="0" rtlCol="0" anchor="ctr">
            <a:noAutofit/>
          </a:bodyPr>
          <a:lstStyle/>
          <a:p>
            <a:pPr algn="l"/>
            <a:r>
              <a:rPr lang="en-US" sz="2600" b="0" dirty="0">
                <a:solidFill>
                  <a:schemeClr val="tx1"/>
                </a:solidFill>
              </a:rPr>
              <a:t>16</a:t>
            </a:r>
            <a:endParaRPr sz="2600" b="0" dirty="0">
              <a:solidFill>
                <a:schemeClr val="tx1"/>
              </a:solidFill>
            </a:endParaRPr>
          </a:p>
        </p:txBody>
      </p:sp>
      <p:sp>
        <p:nvSpPr>
          <p:cNvPr id="1807" name="TextBox 1806"/>
          <p:cNvSpPr txBox="1"/>
          <p:nvPr/>
        </p:nvSpPr>
        <p:spPr>
          <a:xfrm>
            <a:off x="12191204" y="5300472"/>
            <a:ext cx="3657362" cy="768096"/>
          </a:xfrm>
          <a:prstGeom prst="rect">
            <a:avLst/>
          </a:prstGeom>
          <a:noFill/>
        </p:spPr>
        <p:txBody>
          <a:bodyPr wrap="square" tIns="0" bIns="0" rtlCol="0" anchor="ctr">
            <a:noAutofit/>
          </a:bodyPr>
          <a:lstStyle/>
          <a:p>
            <a:pPr algn="l"/>
            <a:r>
              <a:rPr lang="en-US" sz="2600" b="0" dirty="0">
                <a:solidFill>
                  <a:schemeClr val="tx1"/>
                </a:solidFill>
              </a:rPr>
              <a:t>17</a:t>
            </a:r>
            <a:endParaRPr sz="2600" b="0" dirty="0">
              <a:solidFill>
                <a:schemeClr val="tx1"/>
              </a:solidFill>
            </a:endParaRPr>
          </a:p>
        </p:txBody>
      </p:sp>
      <p:sp>
        <p:nvSpPr>
          <p:cNvPr id="1808" name="TextBox 1807"/>
          <p:cNvSpPr txBox="1"/>
          <p:nvPr/>
        </p:nvSpPr>
        <p:spPr>
          <a:xfrm>
            <a:off x="15925635" y="5300472"/>
            <a:ext cx="3657362" cy="768096"/>
          </a:xfrm>
          <a:prstGeom prst="rect">
            <a:avLst/>
          </a:prstGeom>
          <a:noFill/>
        </p:spPr>
        <p:txBody>
          <a:bodyPr wrap="square" tIns="0" bIns="0" rtlCol="0" anchor="ctr">
            <a:noAutofit/>
          </a:bodyPr>
          <a:lstStyle/>
          <a:p>
            <a:pPr algn="l"/>
            <a:r>
              <a:rPr lang="en-US" sz="2600" b="0" dirty="0">
                <a:solidFill>
                  <a:schemeClr val="tx1"/>
                </a:solidFill>
              </a:rPr>
              <a:t>18</a:t>
            </a:r>
            <a:endParaRPr sz="2600" b="0" dirty="0">
              <a:solidFill>
                <a:schemeClr val="tx1"/>
              </a:solidFill>
            </a:endParaRPr>
          </a:p>
        </p:txBody>
      </p:sp>
      <p:sp>
        <p:nvSpPr>
          <p:cNvPr id="1809" name="TextBox 1808"/>
          <p:cNvSpPr txBox="1"/>
          <p:nvPr/>
        </p:nvSpPr>
        <p:spPr>
          <a:xfrm>
            <a:off x="19649854" y="5300472"/>
            <a:ext cx="3657362" cy="768096"/>
          </a:xfrm>
          <a:prstGeom prst="rect">
            <a:avLst/>
          </a:prstGeom>
          <a:noFill/>
        </p:spPr>
        <p:txBody>
          <a:bodyPr wrap="square" tIns="0" bIns="0" rtlCol="0" anchor="ctr">
            <a:noAutofit/>
          </a:bodyPr>
          <a:lstStyle/>
          <a:p>
            <a:pPr algn="l"/>
            <a:r>
              <a:rPr lang="en-US" sz="2600" b="0" dirty="0">
                <a:solidFill>
                  <a:schemeClr val="tx1"/>
                </a:solidFill>
              </a:rPr>
              <a:t>19/20</a:t>
            </a:r>
          </a:p>
        </p:txBody>
      </p:sp>
      <p:sp>
        <p:nvSpPr>
          <p:cNvPr id="1810" name="TextBox 1809"/>
          <p:cNvSpPr txBox="1"/>
          <p:nvPr/>
        </p:nvSpPr>
        <p:spPr>
          <a:xfrm>
            <a:off x="1093025" y="7129272"/>
            <a:ext cx="3657362" cy="768096"/>
          </a:xfrm>
          <a:prstGeom prst="rect">
            <a:avLst/>
          </a:prstGeom>
          <a:noFill/>
        </p:spPr>
        <p:txBody>
          <a:bodyPr wrap="square" tIns="0" bIns="0" rtlCol="0" anchor="ctr">
            <a:noAutofit/>
          </a:bodyPr>
          <a:lstStyle/>
          <a:p>
            <a:pPr algn="l"/>
            <a:r>
              <a:rPr lang="en-US" sz="2600" b="0" dirty="0">
                <a:solidFill>
                  <a:schemeClr val="tx1"/>
                </a:solidFill>
              </a:rPr>
              <a:t>21</a:t>
            </a:r>
            <a:endParaRPr sz="2600" b="0" dirty="0">
              <a:solidFill>
                <a:schemeClr val="tx1"/>
              </a:solidFill>
            </a:endParaRPr>
          </a:p>
        </p:txBody>
      </p:sp>
      <p:sp>
        <p:nvSpPr>
          <p:cNvPr id="1811" name="TextBox 1810"/>
          <p:cNvSpPr txBox="1"/>
          <p:nvPr/>
        </p:nvSpPr>
        <p:spPr>
          <a:xfrm>
            <a:off x="4764373" y="7129272"/>
            <a:ext cx="3657362" cy="768096"/>
          </a:xfrm>
          <a:prstGeom prst="rect">
            <a:avLst/>
          </a:prstGeom>
          <a:noFill/>
        </p:spPr>
        <p:txBody>
          <a:bodyPr wrap="square" tIns="0" bIns="0" rtlCol="0" anchor="ctr">
            <a:noAutofit/>
          </a:bodyPr>
          <a:lstStyle/>
          <a:p>
            <a:pPr algn="l"/>
            <a:r>
              <a:rPr lang="en-US" sz="2600" b="0" dirty="0">
                <a:solidFill>
                  <a:schemeClr val="tx1"/>
                </a:solidFill>
              </a:rPr>
              <a:t>22</a:t>
            </a:r>
            <a:endParaRPr sz="2600" b="0" dirty="0">
              <a:solidFill>
                <a:schemeClr val="tx1"/>
              </a:solidFill>
            </a:endParaRPr>
          </a:p>
        </p:txBody>
      </p:sp>
      <p:sp>
        <p:nvSpPr>
          <p:cNvPr id="1812" name="TextBox 1811"/>
          <p:cNvSpPr txBox="1"/>
          <p:nvPr/>
        </p:nvSpPr>
        <p:spPr>
          <a:xfrm>
            <a:off x="8512830" y="7129272"/>
            <a:ext cx="3657362" cy="768096"/>
          </a:xfrm>
          <a:prstGeom prst="rect">
            <a:avLst/>
          </a:prstGeom>
          <a:noFill/>
        </p:spPr>
        <p:txBody>
          <a:bodyPr wrap="square" tIns="0" bIns="0" rtlCol="0" anchor="ctr">
            <a:noAutofit/>
          </a:bodyPr>
          <a:lstStyle/>
          <a:p>
            <a:pPr algn="l"/>
            <a:r>
              <a:rPr lang="en-US" sz="2600" b="0" dirty="0">
                <a:solidFill>
                  <a:schemeClr val="tx1"/>
                </a:solidFill>
              </a:rPr>
              <a:t>23</a:t>
            </a:r>
            <a:endParaRPr sz="2600" b="0" dirty="0">
              <a:solidFill>
                <a:schemeClr val="tx1"/>
              </a:solidFill>
            </a:endParaRPr>
          </a:p>
        </p:txBody>
      </p:sp>
      <p:sp>
        <p:nvSpPr>
          <p:cNvPr id="1813" name="TextBox 1812"/>
          <p:cNvSpPr txBox="1"/>
          <p:nvPr/>
        </p:nvSpPr>
        <p:spPr>
          <a:xfrm>
            <a:off x="12191204" y="7129272"/>
            <a:ext cx="3657362" cy="768096"/>
          </a:xfrm>
          <a:prstGeom prst="rect">
            <a:avLst/>
          </a:prstGeom>
          <a:noFill/>
        </p:spPr>
        <p:txBody>
          <a:bodyPr wrap="square" tIns="0" bIns="0" rtlCol="0" anchor="ctr">
            <a:noAutofit/>
          </a:bodyPr>
          <a:lstStyle/>
          <a:p>
            <a:pPr algn="l"/>
            <a:r>
              <a:rPr lang="en-US" sz="2600" b="0" dirty="0">
                <a:solidFill>
                  <a:schemeClr val="tx1"/>
                </a:solidFill>
              </a:rPr>
              <a:t>24</a:t>
            </a:r>
            <a:endParaRPr sz="2600" b="0" dirty="0">
              <a:solidFill>
                <a:schemeClr val="tx1"/>
              </a:solidFill>
            </a:endParaRPr>
          </a:p>
        </p:txBody>
      </p:sp>
      <p:sp>
        <p:nvSpPr>
          <p:cNvPr id="1814" name="TextBox 1813"/>
          <p:cNvSpPr txBox="1"/>
          <p:nvPr/>
        </p:nvSpPr>
        <p:spPr>
          <a:xfrm>
            <a:off x="15925635" y="7129272"/>
            <a:ext cx="3657362" cy="768096"/>
          </a:xfrm>
          <a:prstGeom prst="rect">
            <a:avLst/>
          </a:prstGeom>
          <a:noFill/>
        </p:spPr>
        <p:txBody>
          <a:bodyPr wrap="square" tIns="0" bIns="0" rtlCol="0" anchor="ctr">
            <a:noAutofit/>
          </a:bodyPr>
          <a:lstStyle/>
          <a:p>
            <a:pPr algn="l"/>
            <a:r>
              <a:rPr lang="en-US" sz="2600" b="0" dirty="0">
                <a:solidFill>
                  <a:schemeClr val="tx1"/>
                </a:solidFill>
              </a:rPr>
              <a:t>25</a:t>
            </a:r>
          </a:p>
        </p:txBody>
      </p:sp>
      <p:sp>
        <p:nvSpPr>
          <p:cNvPr id="1815" name="TextBox 1814"/>
          <p:cNvSpPr txBox="1"/>
          <p:nvPr/>
        </p:nvSpPr>
        <p:spPr>
          <a:xfrm>
            <a:off x="19649854" y="7129272"/>
            <a:ext cx="3657362" cy="768096"/>
          </a:xfrm>
          <a:prstGeom prst="rect">
            <a:avLst/>
          </a:prstGeom>
          <a:noFill/>
        </p:spPr>
        <p:txBody>
          <a:bodyPr wrap="square" tIns="0" bIns="0" rtlCol="0" anchor="ctr">
            <a:noAutofit/>
          </a:bodyPr>
          <a:lstStyle/>
          <a:p>
            <a:pPr algn="l"/>
            <a:r>
              <a:rPr lang="en-ZA" sz="2600" b="0" dirty="0">
                <a:solidFill>
                  <a:schemeClr val="tx1"/>
                </a:solidFill>
              </a:rPr>
              <a:t>26/27</a:t>
            </a:r>
            <a:endParaRPr sz="2600" b="0" dirty="0">
              <a:solidFill>
                <a:schemeClr val="tx1"/>
              </a:solidFill>
            </a:endParaRPr>
          </a:p>
        </p:txBody>
      </p:sp>
      <p:sp>
        <p:nvSpPr>
          <p:cNvPr id="1816" name="TextBox 1815"/>
          <p:cNvSpPr txBox="1"/>
          <p:nvPr/>
        </p:nvSpPr>
        <p:spPr>
          <a:xfrm>
            <a:off x="1093025" y="8958072"/>
            <a:ext cx="3657362" cy="768096"/>
          </a:xfrm>
          <a:prstGeom prst="rect">
            <a:avLst/>
          </a:prstGeom>
          <a:noFill/>
        </p:spPr>
        <p:txBody>
          <a:bodyPr wrap="square" tIns="0" bIns="0" rtlCol="0" anchor="ctr">
            <a:noAutofit/>
          </a:bodyPr>
          <a:lstStyle/>
          <a:p>
            <a:pPr algn="l"/>
            <a:r>
              <a:rPr lang="en-US" sz="2600" b="0" dirty="0">
                <a:solidFill>
                  <a:schemeClr val="tx1"/>
                </a:solidFill>
              </a:rPr>
              <a:t>28</a:t>
            </a:r>
            <a:endParaRPr sz="2600" b="0" dirty="0">
              <a:solidFill>
                <a:schemeClr val="tx1"/>
              </a:solidFill>
            </a:endParaRPr>
          </a:p>
        </p:txBody>
      </p:sp>
      <p:sp>
        <p:nvSpPr>
          <p:cNvPr id="1817" name="TextBox 1816"/>
          <p:cNvSpPr txBox="1"/>
          <p:nvPr/>
        </p:nvSpPr>
        <p:spPr>
          <a:xfrm>
            <a:off x="4764373" y="8958072"/>
            <a:ext cx="3657362" cy="768096"/>
          </a:xfrm>
          <a:prstGeom prst="rect">
            <a:avLst/>
          </a:prstGeom>
          <a:noFill/>
        </p:spPr>
        <p:txBody>
          <a:bodyPr wrap="square" tIns="0" bIns="0" rtlCol="0" anchor="ctr">
            <a:noAutofit/>
          </a:bodyPr>
          <a:lstStyle/>
          <a:p>
            <a:pPr algn="l"/>
            <a:r>
              <a:rPr lang="en-US" sz="2600" b="0" dirty="0">
                <a:solidFill>
                  <a:schemeClr val="tx1"/>
                </a:solidFill>
              </a:rPr>
              <a:t>29</a:t>
            </a:r>
            <a:endParaRPr sz="2600" b="0" dirty="0">
              <a:solidFill>
                <a:schemeClr val="tx1"/>
              </a:solidFill>
            </a:endParaRPr>
          </a:p>
        </p:txBody>
      </p:sp>
      <p:sp>
        <p:nvSpPr>
          <p:cNvPr id="1818" name="TextBox 1817"/>
          <p:cNvSpPr txBox="1"/>
          <p:nvPr/>
        </p:nvSpPr>
        <p:spPr>
          <a:xfrm>
            <a:off x="8512830" y="8958072"/>
            <a:ext cx="3657362" cy="768096"/>
          </a:xfrm>
          <a:prstGeom prst="rect">
            <a:avLst/>
          </a:prstGeom>
          <a:noFill/>
        </p:spPr>
        <p:txBody>
          <a:bodyPr wrap="square" tIns="0" bIns="0" rtlCol="0" anchor="ctr">
            <a:noAutofit/>
          </a:bodyPr>
          <a:lstStyle/>
          <a:p>
            <a:pPr algn="l"/>
            <a:r>
              <a:rPr lang="en-US" sz="2600" b="0" dirty="0">
                <a:solidFill>
                  <a:schemeClr val="tx1"/>
                </a:solidFill>
              </a:rPr>
              <a:t>30</a:t>
            </a:r>
            <a:endParaRPr sz="2600" b="0" dirty="0">
              <a:solidFill>
                <a:schemeClr val="tx1"/>
              </a:solidFill>
            </a:endParaRPr>
          </a:p>
        </p:txBody>
      </p:sp>
      <p:sp>
        <p:nvSpPr>
          <p:cNvPr id="1819" name="TextBox 1818"/>
          <p:cNvSpPr txBox="1"/>
          <p:nvPr/>
        </p:nvSpPr>
        <p:spPr>
          <a:xfrm>
            <a:off x="12191204" y="8958072"/>
            <a:ext cx="3657362" cy="768096"/>
          </a:xfrm>
          <a:prstGeom prst="rect">
            <a:avLst/>
          </a:prstGeom>
          <a:noFill/>
        </p:spPr>
        <p:txBody>
          <a:bodyPr wrap="square" tIns="0" bIns="0" rtlCol="0" anchor="ctr">
            <a:noAutofit/>
          </a:bodyPr>
          <a:lstStyle/>
          <a:p>
            <a:pPr algn="l"/>
            <a:r>
              <a:rPr lang="en-US" sz="2600" b="0" dirty="0">
                <a:solidFill>
                  <a:schemeClr val="bg1">
                    <a:lumMod val="50000"/>
                  </a:schemeClr>
                </a:solidFill>
              </a:rPr>
              <a:t>31</a:t>
            </a:r>
          </a:p>
        </p:txBody>
      </p:sp>
      <p:sp>
        <p:nvSpPr>
          <p:cNvPr id="1820" name="TextBox 1819"/>
          <p:cNvSpPr txBox="1"/>
          <p:nvPr/>
        </p:nvSpPr>
        <p:spPr>
          <a:xfrm>
            <a:off x="15925635" y="8958072"/>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1">
                    <a:lumMod val="85000"/>
                  </a:schemeClr>
                </a:solidFill>
              </a:rPr>
              <a:t>1 February</a:t>
            </a:r>
          </a:p>
        </p:txBody>
      </p:sp>
      <p:sp>
        <p:nvSpPr>
          <p:cNvPr id="1821" name="TextBox 1820"/>
          <p:cNvSpPr txBox="1"/>
          <p:nvPr userDrawn="1"/>
        </p:nvSpPr>
        <p:spPr>
          <a:xfrm>
            <a:off x="19649854" y="8958072"/>
            <a:ext cx="3657362" cy="768096"/>
          </a:xfrm>
          <a:prstGeom prst="rect">
            <a:avLst/>
          </a:prstGeom>
          <a:noFill/>
        </p:spPr>
        <p:txBody>
          <a:bodyPr wrap="square" tIns="0" bIns="0" rtlCol="0" anchor="ctr">
            <a:noAutofit/>
          </a:bodyPr>
          <a:lstStyle>
            <a:defPPr>
              <a:defRPr lang="en-US"/>
            </a:defPPr>
            <a:lvl1pPr>
              <a:defRPr sz="1300" b="0"/>
            </a:lvl1pPr>
          </a:lstStyle>
          <a:p>
            <a:pPr algn="l"/>
            <a:r>
              <a:rPr lang="en-US" sz="2600" b="0" dirty="0">
                <a:solidFill>
                  <a:schemeClr val="bg1">
                    <a:lumMod val="85000"/>
                  </a:schemeClr>
                </a:solidFill>
                <a:effectLst/>
              </a:rPr>
              <a:t>2/3</a:t>
            </a:r>
          </a:p>
        </p:txBody>
      </p:sp>
      <p:sp>
        <p:nvSpPr>
          <p:cNvPr id="1822" name="TextBox 1821"/>
          <p:cNvSpPr txBox="1"/>
          <p:nvPr/>
        </p:nvSpPr>
        <p:spPr>
          <a:xfrm>
            <a:off x="1093025" y="10805160"/>
            <a:ext cx="3657362" cy="768096"/>
          </a:xfrm>
          <a:prstGeom prst="rect">
            <a:avLst/>
          </a:prstGeom>
          <a:noFill/>
        </p:spPr>
        <p:txBody>
          <a:bodyPr wrap="square" tIns="0" bIns="0" rtlCol="0" anchor="ctr">
            <a:noAutofit/>
          </a:bodyPr>
          <a:lstStyle>
            <a:defPPr>
              <a:defRPr lang="en-US"/>
            </a:defPPr>
            <a:lvl1pPr lvl="0">
              <a:defRPr sz="1300" b="0"/>
            </a:lvl1pPr>
          </a:lstStyle>
          <a:p>
            <a:pPr algn="l"/>
            <a:r>
              <a:rPr lang="en-US" sz="2600" b="0" dirty="0">
                <a:solidFill>
                  <a:schemeClr val="bg1">
                    <a:lumMod val="85000"/>
                  </a:schemeClr>
                </a:solidFill>
                <a:effectLst/>
              </a:rPr>
              <a:t>4</a:t>
            </a:r>
          </a:p>
        </p:txBody>
      </p:sp>
      <p:sp>
        <p:nvSpPr>
          <p:cNvPr id="1823" name="TextBox 1822"/>
          <p:cNvSpPr txBox="1"/>
          <p:nvPr/>
        </p:nvSpPr>
        <p:spPr>
          <a:xfrm>
            <a:off x="4764373" y="10805160"/>
            <a:ext cx="3657362" cy="768096"/>
          </a:xfrm>
          <a:prstGeom prst="rect">
            <a:avLst/>
          </a:prstGeom>
          <a:noFill/>
        </p:spPr>
        <p:txBody>
          <a:bodyPr wrap="square" tIns="0" bIns="0" rtlCol="0" anchor="ctr">
            <a:noAutofit/>
          </a:bodyPr>
          <a:lstStyle>
            <a:defPPr>
              <a:defRPr lang="en-US"/>
            </a:defPPr>
            <a:lvl1pPr>
              <a:defRPr sz="1300" b="0"/>
            </a:lvl1pPr>
          </a:lstStyle>
          <a:p>
            <a:pPr algn="l"/>
            <a:r>
              <a:rPr lang="en-US" sz="2600" b="0" dirty="0">
                <a:solidFill>
                  <a:schemeClr val="bg1">
                    <a:lumMod val="85000"/>
                  </a:schemeClr>
                </a:solidFill>
                <a:effectLst/>
              </a:rPr>
              <a:t>5</a:t>
            </a:r>
          </a:p>
        </p:txBody>
      </p:sp>
      <p:sp>
        <p:nvSpPr>
          <p:cNvPr id="1824" name="TextBox 1823"/>
          <p:cNvSpPr txBox="1"/>
          <p:nvPr/>
        </p:nvSpPr>
        <p:spPr>
          <a:xfrm>
            <a:off x="8512833" y="10805160"/>
            <a:ext cx="3657362" cy="768096"/>
          </a:xfrm>
          <a:prstGeom prst="rect">
            <a:avLst/>
          </a:prstGeom>
          <a:noFill/>
        </p:spPr>
        <p:txBody>
          <a:bodyPr wrap="square" tIns="0" bIns="0" rtlCol="0" anchor="ctr">
            <a:noAutofit/>
          </a:bodyPr>
          <a:lstStyle/>
          <a:p>
            <a:pPr algn="l"/>
            <a:r>
              <a:rPr lang="en-US" sz="2600" b="0" dirty="0">
                <a:solidFill>
                  <a:schemeClr val="bg1">
                    <a:lumMod val="85000"/>
                  </a:schemeClr>
                </a:solidFill>
                <a:effectLst/>
              </a:rPr>
              <a:t>6</a:t>
            </a:r>
          </a:p>
        </p:txBody>
      </p:sp>
      <p:sp>
        <p:nvSpPr>
          <p:cNvPr id="1825" name="TextBox 1824"/>
          <p:cNvSpPr txBox="1"/>
          <p:nvPr/>
        </p:nvSpPr>
        <p:spPr>
          <a:xfrm>
            <a:off x="12191204" y="10805160"/>
            <a:ext cx="3657362" cy="768096"/>
          </a:xfrm>
          <a:prstGeom prst="rect">
            <a:avLst/>
          </a:prstGeom>
          <a:noFill/>
        </p:spPr>
        <p:txBody>
          <a:bodyPr wrap="square" tIns="0" bIns="0" rtlCol="0" anchor="ctr">
            <a:noAutofit/>
          </a:bodyPr>
          <a:lstStyle/>
          <a:p>
            <a:pPr algn="l"/>
            <a:r>
              <a:rPr lang="en-US" sz="2600" b="0" dirty="0">
                <a:solidFill>
                  <a:schemeClr val="bg1">
                    <a:lumMod val="85000"/>
                  </a:schemeClr>
                </a:solidFill>
                <a:effectLst/>
              </a:rPr>
              <a:t>7</a:t>
            </a:r>
          </a:p>
        </p:txBody>
      </p:sp>
      <p:sp>
        <p:nvSpPr>
          <p:cNvPr id="1826" name="TextBox 1825"/>
          <p:cNvSpPr txBox="1"/>
          <p:nvPr/>
        </p:nvSpPr>
        <p:spPr>
          <a:xfrm>
            <a:off x="15925635" y="10805160"/>
            <a:ext cx="3657362" cy="768096"/>
          </a:xfrm>
          <a:prstGeom prst="rect">
            <a:avLst/>
          </a:prstGeom>
          <a:noFill/>
        </p:spPr>
        <p:txBody>
          <a:bodyPr wrap="square" tIns="0" bIns="0" rtlCol="0" anchor="ctr">
            <a:noAutofit/>
          </a:bodyPr>
          <a:lstStyle/>
          <a:p>
            <a:pPr algn="l"/>
            <a:r>
              <a:rPr lang="en-US" sz="2600" b="0">
                <a:solidFill>
                  <a:schemeClr val="bg1">
                    <a:lumMod val="85000"/>
                  </a:schemeClr>
                </a:solidFill>
                <a:effectLst/>
              </a:rPr>
              <a:t>8</a:t>
            </a:r>
          </a:p>
        </p:txBody>
      </p:sp>
      <p:sp>
        <p:nvSpPr>
          <p:cNvPr id="1827" name="TextBox 1826"/>
          <p:cNvSpPr txBox="1"/>
          <p:nvPr/>
        </p:nvSpPr>
        <p:spPr>
          <a:xfrm>
            <a:off x="19649854" y="10805160"/>
            <a:ext cx="3657362" cy="768096"/>
          </a:xfrm>
          <a:prstGeom prst="rect">
            <a:avLst/>
          </a:prstGeom>
          <a:noFill/>
        </p:spPr>
        <p:txBody>
          <a:bodyPr wrap="square" tIns="0" bIns="0" rtlCol="0" anchor="ctr">
            <a:noAutofit/>
          </a:bodyPr>
          <a:lstStyle/>
          <a:p>
            <a:pPr algn="l"/>
            <a:r>
              <a:rPr lang="en-US" sz="2600" b="0" dirty="0">
                <a:solidFill>
                  <a:schemeClr val="bg1">
                    <a:lumMod val="85000"/>
                  </a:schemeClr>
                </a:solidFill>
              </a:rPr>
              <a:t>9/10</a:t>
            </a:r>
            <a:endParaRPr sz="2600" b="0" dirty="0">
              <a:solidFill>
                <a:schemeClr val="bg1">
                  <a:lumMod val="85000"/>
                </a:schemeClr>
              </a:solidFill>
            </a:endParaRPr>
          </a:p>
        </p:txBody>
      </p:sp>
      <p:sp>
        <p:nvSpPr>
          <p:cNvPr id="1828" name="TextBox 1827"/>
          <p:cNvSpPr txBox="1"/>
          <p:nvPr/>
        </p:nvSpPr>
        <p:spPr>
          <a:xfrm>
            <a:off x="956671" y="323637"/>
            <a:ext cx="22350545" cy="1398084"/>
          </a:xfrm>
          <a:prstGeom prst="rect">
            <a:avLst/>
          </a:prstGeom>
          <a:noFill/>
        </p:spPr>
        <p:txBody>
          <a:bodyPr wrap="square" tIns="0" bIns="0" rtlCol="0" anchor="ctr">
            <a:noAutofit/>
          </a:bodyPr>
          <a:lstStyle/>
          <a:p>
            <a:pPr algn="l"/>
            <a:r>
              <a:rPr lang="en-US" sz="4400" b="0" dirty="0">
                <a:solidFill>
                  <a:schemeClr val="accent1"/>
                </a:solidFill>
              </a:rPr>
              <a:t>J</a:t>
            </a:r>
            <a:r>
              <a:rPr sz="4400" b="0" dirty="0">
                <a:solidFill>
                  <a:schemeClr val="accent1"/>
                </a:solidFill>
              </a:rPr>
              <a:t>anuary</a:t>
            </a:r>
          </a:p>
        </p:txBody>
      </p:sp>
      <p:sp>
        <p:nvSpPr>
          <p:cNvPr id="41" name="Text Placeholder 2"/>
          <p:cNvSpPr>
            <a:spLocks noGrp="1"/>
          </p:cNvSpPr>
          <p:nvPr>
            <p:ph type="body" sz="quarter" idx="11" hasCustomPrompt="1"/>
          </p:nvPr>
        </p:nvSpPr>
        <p:spPr>
          <a:xfrm>
            <a:off x="1048444"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7" name="Text Placeholder 2"/>
          <p:cNvSpPr>
            <a:spLocks noGrp="1"/>
          </p:cNvSpPr>
          <p:nvPr>
            <p:ph type="body" sz="quarter" idx="17" hasCustomPrompt="1"/>
          </p:nvPr>
        </p:nvSpPr>
        <p:spPr>
          <a:xfrm>
            <a:off x="4754571"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3" name="Text Placeholder 2"/>
          <p:cNvSpPr>
            <a:spLocks noGrp="1"/>
          </p:cNvSpPr>
          <p:nvPr>
            <p:ph type="body" sz="quarter" idx="23" hasCustomPrompt="1"/>
          </p:nvPr>
        </p:nvSpPr>
        <p:spPr>
          <a:xfrm>
            <a:off x="8485080"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9" name="Text Placeholder 2"/>
          <p:cNvSpPr>
            <a:spLocks noGrp="1"/>
          </p:cNvSpPr>
          <p:nvPr>
            <p:ph type="body" sz="quarter" idx="29" hasCustomPrompt="1"/>
          </p:nvPr>
        </p:nvSpPr>
        <p:spPr>
          <a:xfrm>
            <a:off x="12220346"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5" name="Text Placeholder 2"/>
          <p:cNvSpPr>
            <a:spLocks noGrp="1"/>
          </p:cNvSpPr>
          <p:nvPr>
            <p:ph type="body" sz="quarter" idx="35" hasCustomPrompt="1"/>
          </p:nvPr>
        </p:nvSpPr>
        <p:spPr>
          <a:xfrm>
            <a:off x="15935099"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1" name="Text Placeholder 2"/>
          <p:cNvSpPr>
            <a:spLocks noGrp="1"/>
          </p:cNvSpPr>
          <p:nvPr>
            <p:ph type="body" sz="quarter" idx="41" hasCustomPrompt="1"/>
          </p:nvPr>
        </p:nvSpPr>
        <p:spPr>
          <a:xfrm>
            <a:off x="19676607"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 name="Text Placeholder 2"/>
          <p:cNvSpPr>
            <a:spLocks noGrp="1"/>
          </p:cNvSpPr>
          <p:nvPr>
            <p:ph type="body" sz="quarter" idx="10" hasCustomPrompt="1"/>
          </p:nvPr>
        </p:nvSpPr>
        <p:spPr>
          <a:xfrm>
            <a:off x="1048444"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6" name="Text Placeholder 2"/>
          <p:cNvSpPr>
            <a:spLocks noGrp="1"/>
          </p:cNvSpPr>
          <p:nvPr>
            <p:ph type="body" sz="quarter" idx="16" hasCustomPrompt="1"/>
          </p:nvPr>
        </p:nvSpPr>
        <p:spPr>
          <a:xfrm>
            <a:off x="4754571"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2" name="Text Placeholder 2"/>
          <p:cNvSpPr>
            <a:spLocks noGrp="1"/>
          </p:cNvSpPr>
          <p:nvPr>
            <p:ph type="body" sz="quarter" idx="22" hasCustomPrompt="1"/>
          </p:nvPr>
        </p:nvSpPr>
        <p:spPr>
          <a:xfrm>
            <a:off x="8485080"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8" name="Text Placeholder 2"/>
          <p:cNvSpPr>
            <a:spLocks noGrp="1"/>
          </p:cNvSpPr>
          <p:nvPr>
            <p:ph type="body" sz="quarter" idx="28" hasCustomPrompt="1"/>
          </p:nvPr>
        </p:nvSpPr>
        <p:spPr>
          <a:xfrm>
            <a:off x="12220346"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4" name="Text Placeholder 2"/>
          <p:cNvSpPr>
            <a:spLocks noGrp="1"/>
          </p:cNvSpPr>
          <p:nvPr>
            <p:ph type="body" sz="quarter" idx="34" hasCustomPrompt="1"/>
          </p:nvPr>
        </p:nvSpPr>
        <p:spPr>
          <a:xfrm>
            <a:off x="15935099"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0" name="Text Placeholder 2"/>
          <p:cNvSpPr>
            <a:spLocks noGrp="1"/>
          </p:cNvSpPr>
          <p:nvPr>
            <p:ph type="body" sz="quarter" idx="40" hasCustomPrompt="1"/>
          </p:nvPr>
        </p:nvSpPr>
        <p:spPr>
          <a:xfrm>
            <a:off x="19676607"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2" name="Text Placeholder 2"/>
          <p:cNvSpPr>
            <a:spLocks noGrp="1"/>
          </p:cNvSpPr>
          <p:nvPr>
            <p:ph type="body" sz="quarter" idx="12" hasCustomPrompt="1"/>
          </p:nvPr>
        </p:nvSpPr>
        <p:spPr>
          <a:xfrm>
            <a:off x="1048444"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8" name="Text Placeholder 2"/>
          <p:cNvSpPr>
            <a:spLocks noGrp="1"/>
          </p:cNvSpPr>
          <p:nvPr>
            <p:ph type="body" sz="quarter" idx="18" hasCustomPrompt="1"/>
          </p:nvPr>
        </p:nvSpPr>
        <p:spPr>
          <a:xfrm>
            <a:off x="4754571"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4" name="Text Placeholder 2"/>
          <p:cNvSpPr>
            <a:spLocks noGrp="1"/>
          </p:cNvSpPr>
          <p:nvPr>
            <p:ph type="body" sz="quarter" idx="24" hasCustomPrompt="1"/>
          </p:nvPr>
        </p:nvSpPr>
        <p:spPr>
          <a:xfrm>
            <a:off x="8485080"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0" name="Text Placeholder 2"/>
          <p:cNvSpPr>
            <a:spLocks noGrp="1"/>
          </p:cNvSpPr>
          <p:nvPr>
            <p:ph type="body" sz="quarter" idx="30" hasCustomPrompt="1"/>
          </p:nvPr>
        </p:nvSpPr>
        <p:spPr>
          <a:xfrm>
            <a:off x="12220346"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6" name="Text Placeholder 2"/>
          <p:cNvSpPr>
            <a:spLocks noGrp="1"/>
          </p:cNvSpPr>
          <p:nvPr>
            <p:ph type="body" sz="quarter" idx="36" hasCustomPrompt="1"/>
          </p:nvPr>
        </p:nvSpPr>
        <p:spPr>
          <a:xfrm>
            <a:off x="15935099"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2" name="Text Placeholder 2"/>
          <p:cNvSpPr>
            <a:spLocks noGrp="1"/>
          </p:cNvSpPr>
          <p:nvPr>
            <p:ph type="body" sz="quarter" idx="42" hasCustomPrompt="1"/>
          </p:nvPr>
        </p:nvSpPr>
        <p:spPr>
          <a:xfrm>
            <a:off x="19676607"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3" name="Text Placeholder 2"/>
          <p:cNvSpPr>
            <a:spLocks noGrp="1"/>
          </p:cNvSpPr>
          <p:nvPr>
            <p:ph type="body" sz="quarter" idx="13" hasCustomPrompt="1"/>
          </p:nvPr>
        </p:nvSpPr>
        <p:spPr>
          <a:xfrm>
            <a:off x="1048444"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9" name="Text Placeholder 2"/>
          <p:cNvSpPr>
            <a:spLocks noGrp="1"/>
          </p:cNvSpPr>
          <p:nvPr>
            <p:ph type="body" sz="quarter" idx="19" hasCustomPrompt="1"/>
          </p:nvPr>
        </p:nvSpPr>
        <p:spPr>
          <a:xfrm>
            <a:off x="4754571"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5" name="Text Placeholder 2"/>
          <p:cNvSpPr>
            <a:spLocks noGrp="1"/>
          </p:cNvSpPr>
          <p:nvPr>
            <p:ph type="body" sz="quarter" idx="25" hasCustomPrompt="1"/>
          </p:nvPr>
        </p:nvSpPr>
        <p:spPr>
          <a:xfrm>
            <a:off x="8485080"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1" name="Text Placeholder 2"/>
          <p:cNvSpPr>
            <a:spLocks noGrp="1"/>
          </p:cNvSpPr>
          <p:nvPr>
            <p:ph type="body" sz="quarter" idx="31" hasCustomPrompt="1"/>
          </p:nvPr>
        </p:nvSpPr>
        <p:spPr>
          <a:xfrm>
            <a:off x="12220346"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7" name="Text Placeholder 2"/>
          <p:cNvSpPr>
            <a:spLocks noGrp="1"/>
          </p:cNvSpPr>
          <p:nvPr>
            <p:ph type="body" sz="quarter" idx="37" hasCustomPrompt="1"/>
          </p:nvPr>
        </p:nvSpPr>
        <p:spPr>
          <a:xfrm>
            <a:off x="15935099"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3" name="Text Placeholder 2"/>
          <p:cNvSpPr>
            <a:spLocks noGrp="1"/>
          </p:cNvSpPr>
          <p:nvPr>
            <p:ph type="body" sz="quarter" idx="43" hasCustomPrompt="1"/>
          </p:nvPr>
        </p:nvSpPr>
        <p:spPr>
          <a:xfrm>
            <a:off x="19676607"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4" name="Text Placeholder 2"/>
          <p:cNvSpPr>
            <a:spLocks noGrp="1"/>
          </p:cNvSpPr>
          <p:nvPr>
            <p:ph type="body" sz="quarter" idx="14" hasCustomPrompt="1"/>
          </p:nvPr>
        </p:nvSpPr>
        <p:spPr>
          <a:xfrm>
            <a:off x="1048444"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0" name="Text Placeholder 2"/>
          <p:cNvSpPr>
            <a:spLocks noGrp="1"/>
          </p:cNvSpPr>
          <p:nvPr>
            <p:ph type="body" sz="quarter" idx="20" hasCustomPrompt="1"/>
          </p:nvPr>
        </p:nvSpPr>
        <p:spPr>
          <a:xfrm>
            <a:off x="4754571"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6" name="Text Placeholder 2"/>
          <p:cNvSpPr>
            <a:spLocks noGrp="1"/>
          </p:cNvSpPr>
          <p:nvPr>
            <p:ph type="body" sz="quarter" idx="26" hasCustomPrompt="1"/>
          </p:nvPr>
        </p:nvSpPr>
        <p:spPr>
          <a:xfrm>
            <a:off x="8485080"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2" name="Text Placeholder 2"/>
          <p:cNvSpPr>
            <a:spLocks noGrp="1"/>
          </p:cNvSpPr>
          <p:nvPr>
            <p:ph type="body" sz="quarter" idx="32" hasCustomPrompt="1"/>
          </p:nvPr>
        </p:nvSpPr>
        <p:spPr>
          <a:xfrm>
            <a:off x="12220346"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8" name="Text Placeholder 2"/>
          <p:cNvSpPr>
            <a:spLocks noGrp="1"/>
          </p:cNvSpPr>
          <p:nvPr>
            <p:ph type="body" sz="quarter" idx="38" hasCustomPrompt="1"/>
          </p:nvPr>
        </p:nvSpPr>
        <p:spPr>
          <a:xfrm>
            <a:off x="15935099"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4" name="Text Placeholder 2"/>
          <p:cNvSpPr>
            <a:spLocks noGrp="1"/>
          </p:cNvSpPr>
          <p:nvPr>
            <p:ph type="body" sz="quarter" idx="44" hasCustomPrompt="1"/>
          </p:nvPr>
        </p:nvSpPr>
        <p:spPr>
          <a:xfrm>
            <a:off x="19676607"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5" name="Text Placeholder 2"/>
          <p:cNvSpPr>
            <a:spLocks noGrp="1"/>
          </p:cNvSpPr>
          <p:nvPr>
            <p:ph type="body" sz="quarter" idx="15" hasCustomPrompt="1"/>
          </p:nvPr>
        </p:nvSpPr>
        <p:spPr>
          <a:xfrm>
            <a:off x="1048444"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1" name="Text Placeholder 2"/>
          <p:cNvSpPr>
            <a:spLocks noGrp="1"/>
          </p:cNvSpPr>
          <p:nvPr>
            <p:ph type="body" sz="quarter" idx="21" hasCustomPrompt="1"/>
          </p:nvPr>
        </p:nvSpPr>
        <p:spPr>
          <a:xfrm>
            <a:off x="4754571"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7" name="Text Placeholder 2"/>
          <p:cNvSpPr>
            <a:spLocks noGrp="1"/>
          </p:cNvSpPr>
          <p:nvPr>
            <p:ph type="body" sz="quarter" idx="27" hasCustomPrompt="1"/>
          </p:nvPr>
        </p:nvSpPr>
        <p:spPr>
          <a:xfrm>
            <a:off x="8485080"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3" name="Text Placeholder 2"/>
          <p:cNvSpPr>
            <a:spLocks noGrp="1"/>
          </p:cNvSpPr>
          <p:nvPr>
            <p:ph type="body" sz="quarter" idx="33" hasCustomPrompt="1"/>
          </p:nvPr>
        </p:nvSpPr>
        <p:spPr>
          <a:xfrm>
            <a:off x="12220346"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9" name="Text Placeholder 2"/>
          <p:cNvSpPr>
            <a:spLocks noGrp="1"/>
          </p:cNvSpPr>
          <p:nvPr>
            <p:ph type="body" sz="quarter" idx="39" hasCustomPrompt="1"/>
          </p:nvPr>
        </p:nvSpPr>
        <p:spPr>
          <a:xfrm>
            <a:off x="15935099"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5" name="Text Placeholder 2"/>
          <p:cNvSpPr>
            <a:spLocks noGrp="1"/>
          </p:cNvSpPr>
          <p:nvPr>
            <p:ph type="body" sz="quarter" idx="45" hasCustomPrompt="1"/>
          </p:nvPr>
        </p:nvSpPr>
        <p:spPr>
          <a:xfrm>
            <a:off x="19676607"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 name="TextBox 5">
            <a:extLst>
              <a:ext uri="{FF2B5EF4-FFF2-40B4-BE49-F238E27FC236}">
                <a16:creationId xmlns:a16="http://schemas.microsoft.com/office/drawing/2014/main" id="{B4198D95-9399-2440-9506-A824A566F8B3}"/>
              </a:ext>
            </a:extLst>
          </p:cNvPr>
          <p:cNvSpPr txBox="1"/>
          <p:nvPr userDrawn="1"/>
        </p:nvSpPr>
        <p:spPr>
          <a:xfrm>
            <a:off x="954662" y="1399713"/>
            <a:ext cx="1638300" cy="461665"/>
          </a:xfrm>
          <a:prstGeom prst="rect">
            <a:avLst/>
          </a:prstGeom>
          <a:noFill/>
        </p:spPr>
        <p:txBody>
          <a:bodyPr wrap="square" rtlCol="0">
            <a:spAutoFit/>
          </a:bodyPr>
          <a:lstStyle/>
          <a:p>
            <a:r>
              <a:rPr lang="en-US" sz="2400" b="1" dirty="0">
                <a:solidFill>
                  <a:schemeClr val="accent1"/>
                </a:solidFill>
              </a:rPr>
              <a:t>Monday</a:t>
            </a:r>
          </a:p>
        </p:txBody>
      </p:sp>
      <p:sp>
        <p:nvSpPr>
          <p:cNvPr id="80" name="TextBox 79">
            <a:extLst>
              <a:ext uri="{FF2B5EF4-FFF2-40B4-BE49-F238E27FC236}">
                <a16:creationId xmlns:a16="http://schemas.microsoft.com/office/drawing/2014/main" id="{B722801C-B87A-5246-A9F0-39E25D935420}"/>
              </a:ext>
            </a:extLst>
          </p:cNvPr>
          <p:cNvSpPr txBox="1"/>
          <p:nvPr userDrawn="1"/>
        </p:nvSpPr>
        <p:spPr>
          <a:xfrm>
            <a:off x="4688462" y="1399713"/>
            <a:ext cx="1638300" cy="461665"/>
          </a:xfrm>
          <a:prstGeom prst="rect">
            <a:avLst/>
          </a:prstGeom>
          <a:noFill/>
        </p:spPr>
        <p:txBody>
          <a:bodyPr wrap="square" rtlCol="0">
            <a:spAutoFit/>
          </a:bodyPr>
          <a:lstStyle/>
          <a:p>
            <a:r>
              <a:rPr lang="en-US" sz="2400" b="1" dirty="0">
                <a:solidFill>
                  <a:schemeClr val="accent1"/>
                </a:solidFill>
              </a:rPr>
              <a:t>Tuesday</a:t>
            </a:r>
          </a:p>
        </p:txBody>
      </p:sp>
      <p:sp>
        <p:nvSpPr>
          <p:cNvPr id="81" name="TextBox 80">
            <a:extLst>
              <a:ext uri="{FF2B5EF4-FFF2-40B4-BE49-F238E27FC236}">
                <a16:creationId xmlns:a16="http://schemas.microsoft.com/office/drawing/2014/main" id="{9C8B9951-DBDC-F24D-89A8-7240818E60F8}"/>
              </a:ext>
            </a:extLst>
          </p:cNvPr>
          <p:cNvSpPr txBox="1"/>
          <p:nvPr userDrawn="1"/>
        </p:nvSpPr>
        <p:spPr>
          <a:xfrm>
            <a:off x="8365112" y="1399713"/>
            <a:ext cx="2741038" cy="461665"/>
          </a:xfrm>
          <a:prstGeom prst="rect">
            <a:avLst/>
          </a:prstGeom>
          <a:noFill/>
        </p:spPr>
        <p:txBody>
          <a:bodyPr wrap="square" rtlCol="0">
            <a:spAutoFit/>
          </a:bodyPr>
          <a:lstStyle/>
          <a:p>
            <a:r>
              <a:rPr lang="en-US" sz="2400" b="1" dirty="0">
                <a:solidFill>
                  <a:schemeClr val="accent1"/>
                </a:solidFill>
              </a:rPr>
              <a:t>Wednesday</a:t>
            </a:r>
          </a:p>
        </p:txBody>
      </p:sp>
      <p:sp>
        <p:nvSpPr>
          <p:cNvPr id="82" name="TextBox 81">
            <a:extLst>
              <a:ext uri="{FF2B5EF4-FFF2-40B4-BE49-F238E27FC236}">
                <a16:creationId xmlns:a16="http://schemas.microsoft.com/office/drawing/2014/main" id="{D42AD3BB-A0CC-B84E-B040-D49F9D126256}"/>
              </a:ext>
            </a:extLst>
          </p:cNvPr>
          <p:cNvSpPr txBox="1"/>
          <p:nvPr userDrawn="1"/>
        </p:nvSpPr>
        <p:spPr>
          <a:xfrm>
            <a:off x="12137012" y="1399713"/>
            <a:ext cx="1638300" cy="461665"/>
          </a:xfrm>
          <a:prstGeom prst="rect">
            <a:avLst/>
          </a:prstGeom>
          <a:noFill/>
        </p:spPr>
        <p:txBody>
          <a:bodyPr wrap="square" rtlCol="0">
            <a:spAutoFit/>
          </a:bodyPr>
          <a:lstStyle/>
          <a:p>
            <a:r>
              <a:rPr lang="en-US" sz="2400" b="1" dirty="0">
                <a:solidFill>
                  <a:schemeClr val="accent1"/>
                </a:solidFill>
              </a:rPr>
              <a:t>Thursday</a:t>
            </a:r>
          </a:p>
        </p:txBody>
      </p:sp>
      <p:sp>
        <p:nvSpPr>
          <p:cNvPr id="83" name="TextBox 82">
            <a:extLst>
              <a:ext uri="{FF2B5EF4-FFF2-40B4-BE49-F238E27FC236}">
                <a16:creationId xmlns:a16="http://schemas.microsoft.com/office/drawing/2014/main" id="{078CAAFE-1881-6345-B346-15D7CE10FF08}"/>
              </a:ext>
            </a:extLst>
          </p:cNvPr>
          <p:cNvSpPr txBox="1"/>
          <p:nvPr userDrawn="1"/>
        </p:nvSpPr>
        <p:spPr>
          <a:xfrm>
            <a:off x="15870812" y="1399713"/>
            <a:ext cx="1638300" cy="461665"/>
          </a:xfrm>
          <a:prstGeom prst="rect">
            <a:avLst/>
          </a:prstGeom>
          <a:noFill/>
        </p:spPr>
        <p:txBody>
          <a:bodyPr wrap="square" rtlCol="0">
            <a:spAutoFit/>
          </a:bodyPr>
          <a:lstStyle/>
          <a:p>
            <a:r>
              <a:rPr lang="en-US" sz="2400" b="1" dirty="0">
                <a:solidFill>
                  <a:schemeClr val="accent1"/>
                </a:solidFill>
              </a:rPr>
              <a:t>Friday</a:t>
            </a:r>
          </a:p>
        </p:txBody>
      </p:sp>
      <p:sp>
        <p:nvSpPr>
          <p:cNvPr id="84" name="TextBox 83">
            <a:extLst>
              <a:ext uri="{FF2B5EF4-FFF2-40B4-BE49-F238E27FC236}">
                <a16:creationId xmlns:a16="http://schemas.microsoft.com/office/drawing/2014/main" id="{B9FFAB6B-F355-924F-9CF9-50616F866754}"/>
              </a:ext>
            </a:extLst>
          </p:cNvPr>
          <p:cNvSpPr txBox="1"/>
          <p:nvPr userDrawn="1"/>
        </p:nvSpPr>
        <p:spPr>
          <a:xfrm>
            <a:off x="19585562" y="1399713"/>
            <a:ext cx="1638300" cy="461665"/>
          </a:xfrm>
          <a:prstGeom prst="rect">
            <a:avLst/>
          </a:prstGeom>
          <a:noFill/>
        </p:spPr>
        <p:txBody>
          <a:bodyPr wrap="square" rtlCol="0">
            <a:spAutoFit/>
          </a:bodyPr>
          <a:lstStyle/>
          <a:p>
            <a:r>
              <a:rPr lang="en-US" sz="2400" b="1" dirty="0">
                <a:solidFill>
                  <a:schemeClr val="accent1"/>
                </a:solidFill>
              </a:rPr>
              <a:t>Sunday</a:t>
            </a:r>
          </a:p>
        </p:txBody>
      </p:sp>
    </p:spTree>
    <p:extLst>
      <p:ext uri="{BB962C8B-B14F-4D97-AF65-F5344CB8AC3E}">
        <p14:creationId xmlns:p14="http://schemas.microsoft.com/office/powerpoint/2010/main" val="1466089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ebruary 2019">
    <p:spTree>
      <p:nvGrpSpPr>
        <p:cNvPr id="1" name=""/>
        <p:cNvGrpSpPr/>
        <p:nvPr/>
      </p:nvGrpSpPr>
      <p:grpSpPr>
        <a:xfrm>
          <a:off x="0" y="0"/>
          <a:ext cx="0" cy="0"/>
          <a:chOff x="0" y="0"/>
          <a:chExt cx="0" cy="0"/>
        </a:xfrm>
      </p:grpSpPr>
      <p:sp>
        <p:nvSpPr>
          <p:cNvPr id="1792" name="TextBox 1791"/>
          <p:cNvSpPr txBox="1"/>
          <p:nvPr/>
        </p:nvSpPr>
        <p:spPr>
          <a:xfrm>
            <a:off x="1093019" y="1667244"/>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28 </a:t>
            </a:r>
            <a:r>
              <a:rPr sz="2600" b="0" dirty="0">
                <a:solidFill>
                  <a:schemeClr val="bg2">
                    <a:lumMod val="90000"/>
                  </a:schemeClr>
                </a:solidFill>
              </a:rPr>
              <a:t>January</a:t>
            </a:r>
          </a:p>
        </p:txBody>
      </p:sp>
      <p:sp>
        <p:nvSpPr>
          <p:cNvPr id="1793" name="TextBox 1792"/>
          <p:cNvSpPr txBox="1"/>
          <p:nvPr/>
        </p:nvSpPr>
        <p:spPr>
          <a:xfrm>
            <a:off x="4764373" y="1667244"/>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29</a:t>
            </a:r>
            <a:endParaRPr sz="2600" b="0" dirty="0">
              <a:solidFill>
                <a:schemeClr val="bg2">
                  <a:lumMod val="90000"/>
                </a:schemeClr>
              </a:solidFill>
            </a:endParaRPr>
          </a:p>
        </p:txBody>
      </p:sp>
      <p:sp>
        <p:nvSpPr>
          <p:cNvPr id="1794" name="TextBox 1793"/>
          <p:cNvSpPr txBox="1"/>
          <p:nvPr/>
        </p:nvSpPr>
        <p:spPr>
          <a:xfrm>
            <a:off x="8512830" y="1667244"/>
            <a:ext cx="3657362" cy="768096"/>
          </a:xfrm>
          <a:prstGeom prst="rect">
            <a:avLst/>
          </a:prstGeom>
          <a:noFill/>
        </p:spPr>
        <p:txBody>
          <a:bodyPr wrap="square" tIns="0" bIns="0" rtlCol="0" anchor="ctr">
            <a:noAutofit/>
          </a:bodyPr>
          <a:lstStyle>
            <a:defPPr>
              <a:defRPr lang="en-US"/>
            </a:defPPr>
            <a:lvl1pPr>
              <a:defRPr sz="1300" b="0"/>
            </a:lvl1pPr>
          </a:lstStyle>
          <a:p>
            <a:pPr marL="0" marR="0" lvl="0" indent="0" algn="l" defTabSz="1828800" rtl="0" eaLnBrk="1" fontAlgn="auto" latinLnBrk="0" hangingPunct="1">
              <a:lnSpc>
                <a:spcPct val="100000"/>
              </a:lnSpc>
              <a:spcBef>
                <a:spcPts val="0"/>
              </a:spcBef>
              <a:spcAft>
                <a:spcPts val="0"/>
              </a:spcAft>
              <a:buClrTx/>
              <a:buSzTx/>
              <a:buFontTx/>
              <a:buNone/>
              <a:tabLst/>
              <a:defRPr/>
            </a:pPr>
            <a:endParaRPr lang="en-US" sz="2600" b="0" dirty="0">
              <a:solidFill>
                <a:schemeClr val="tx1"/>
              </a:solidFill>
            </a:endParaRPr>
          </a:p>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2">
                    <a:lumMod val="90000"/>
                  </a:schemeClr>
                </a:solidFill>
              </a:rPr>
              <a:t>30</a:t>
            </a:r>
          </a:p>
          <a:p>
            <a:pPr lvl="0"/>
            <a:endParaRPr sz="2600" dirty="0"/>
          </a:p>
        </p:txBody>
      </p:sp>
      <p:sp>
        <p:nvSpPr>
          <p:cNvPr id="1795" name="TextBox 1794"/>
          <p:cNvSpPr txBox="1"/>
          <p:nvPr userDrawn="1"/>
        </p:nvSpPr>
        <p:spPr>
          <a:xfrm>
            <a:off x="12191204" y="1667244"/>
            <a:ext cx="3657362" cy="768096"/>
          </a:xfrm>
          <a:prstGeom prst="rect">
            <a:avLst/>
          </a:prstGeom>
          <a:noFill/>
        </p:spPr>
        <p:txBody>
          <a:bodyPr wrap="square" tIns="0" bIns="0" rtlCol="0" anchor="ctr">
            <a:noAutofit/>
          </a:bodyPr>
          <a:lstStyle>
            <a:defPPr>
              <a:defRPr lang="en-US"/>
            </a:defPPr>
            <a:lvl1pPr lvl="0">
              <a:defRPr sz="1300" b="0"/>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2">
                    <a:lumMod val="90000"/>
                  </a:schemeClr>
                </a:solidFill>
              </a:rPr>
              <a:t>31</a:t>
            </a:r>
          </a:p>
        </p:txBody>
      </p:sp>
      <p:sp>
        <p:nvSpPr>
          <p:cNvPr id="1796" name="TextBox 1795"/>
          <p:cNvSpPr txBox="1"/>
          <p:nvPr/>
        </p:nvSpPr>
        <p:spPr>
          <a:xfrm>
            <a:off x="15925635" y="1641123"/>
            <a:ext cx="3657362" cy="768096"/>
          </a:xfrm>
          <a:prstGeom prst="rect">
            <a:avLst/>
          </a:prstGeom>
          <a:noFill/>
        </p:spPr>
        <p:txBody>
          <a:bodyPr wrap="square" tIns="0" bIns="0" rtlCol="0" anchor="ctr">
            <a:noAutofit/>
          </a:bodyPr>
          <a:lstStyle>
            <a:defPPr>
              <a:defRPr lang="en-US"/>
            </a:defPPr>
            <a:lvl1pPr lvl="0">
              <a:defRPr sz="1300" b="0"/>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kern="1200" cap="none" spc="0" dirty="0">
                <a:ln w="0"/>
                <a:solidFill>
                  <a:schemeClr val="tx1"/>
                </a:solidFill>
                <a:effectLst>
                  <a:outerShdw blurRad="38100" dist="19050" dir="2700000" algn="tl" rotWithShape="0">
                    <a:schemeClr val="dk1">
                      <a:alpha val="40000"/>
                    </a:schemeClr>
                  </a:outerShdw>
                </a:effectLst>
                <a:latin typeface="+mn-lt"/>
                <a:ea typeface="+mn-ea"/>
                <a:cs typeface="+mn-cs"/>
              </a:rPr>
              <a:t>1 February</a:t>
            </a:r>
          </a:p>
        </p:txBody>
      </p:sp>
      <p:sp>
        <p:nvSpPr>
          <p:cNvPr id="1797" name="TextBox 1796"/>
          <p:cNvSpPr txBox="1"/>
          <p:nvPr userDrawn="1"/>
        </p:nvSpPr>
        <p:spPr>
          <a:xfrm>
            <a:off x="19649854" y="1667244"/>
            <a:ext cx="3657362" cy="768096"/>
          </a:xfrm>
          <a:prstGeom prst="rect">
            <a:avLst/>
          </a:prstGeom>
          <a:noFill/>
        </p:spPr>
        <p:txBody>
          <a:bodyPr wrap="square" tIns="0" bIns="0" rtlCol="0" anchor="ctr">
            <a:noAutofit/>
          </a:bodyPr>
          <a:lstStyle>
            <a:defPPr>
              <a:defRPr lang="en-US"/>
            </a:defPPr>
            <a:lvl1pPr lvl="0">
              <a:defRPr sz="1300" b="0"/>
            </a:lvl1pPr>
          </a:lstStyle>
          <a:p>
            <a:pPr lvl="0"/>
            <a:r>
              <a:rPr lang="en-ZA" sz="2600" dirty="0"/>
              <a:t>2/3</a:t>
            </a:r>
            <a:endParaRPr sz="2600" dirty="0"/>
          </a:p>
        </p:txBody>
      </p:sp>
      <p:sp>
        <p:nvSpPr>
          <p:cNvPr id="1798" name="TextBox 1797"/>
          <p:cNvSpPr txBox="1"/>
          <p:nvPr/>
        </p:nvSpPr>
        <p:spPr>
          <a:xfrm>
            <a:off x="1093025" y="3475215"/>
            <a:ext cx="3657362" cy="768096"/>
          </a:xfrm>
          <a:prstGeom prst="rect">
            <a:avLst/>
          </a:prstGeom>
          <a:noFill/>
        </p:spPr>
        <p:txBody>
          <a:bodyPr wrap="square" tIns="0" bIns="0" rtlCol="0" anchor="ctr">
            <a:noAutofit/>
          </a:bodyPr>
          <a:lstStyle/>
          <a:p>
            <a:pPr algn="l"/>
            <a:r>
              <a:rPr lang="en-US" sz="2600" b="0" dirty="0">
                <a:solidFill>
                  <a:schemeClr val="tx1"/>
                </a:solidFill>
              </a:rPr>
              <a:t>4</a:t>
            </a:r>
            <a:endParaRPr sz="2600" b="0" dirty="0">
              <a:solidFill>
                <a:schemeClr val="tx1"/>
              </a:solidFill>
            </a:endParaRPr>
          </a:p>
        </p:txBody>
      </p:sp>
      <p:sp>
        <p:nvSpPr>
          <p:cNvPr id="1799" name="TextBox 1798"/>
          <p:cNvSpPr txBox="1"/>
          <p:nvPr/>
        </p:nvSpPr>
        <p:spPr>
          <a:xfrm>
            <a:off x="4764373" y="3475215"/>
            <a:ext cx="3657362" cy="768096"/>
          </a:xfrm>
          <a:prstGeom prst="rect">
            <a:avLst/>
          </a:prstGeom>
          <a:noFill/>
        </p:spPr>
        <p:txBody>
          <a:bodyPr wrap="square" tIns="0" bIns="0" rtlCol="0" anchor="ctr">
            <a:noAutofit/>
          </a:bodyPr>
          <a:lstStyle/>
          <a:p>
            <a:pPr algn="l"/>
            <a:r>
              <a:rPr lang="en-US" sz="2600" b="0" dirty="0">
                <a:solidFill>
                  <a:schemeClr val="tx1"/>
                </a:solidFill>
              </a:rPr>
              <a:t>5</a:t>
            </a:r>
            <a:endParaRPr sz="2600" b="0" dirty="0">
              <a:solidFill>
                <a:schemeClr val="tx1"/>
              </a:solidFill>
            </a:endParaRPr>
          </a:p>
        </p:txBody>
      </p:sp>
      <p:sp>
        <p:nvSpPr>
          <p:cNvPr id="1800" name="TextBox 1799"/>
          <p:cNvSpPr txBox="1"/>
          <p:nvPr/>
        </p:nvSpPr>
        <p:spPr>
          <a:xfrm>
            <a:off x="8512830" y="3475215"/>
            <a:ext cx="3657362" cy="768096"/>
          </a:xfrm>
          <a:prstGeom prst="rect">
            <a:avLst/>
          </a:prstGeom>
          <a:noFill/>
        </p:spPr>
        <p:txBody>
          <a:bodyPr wrap="square" tIns="0" bIns="0" rtlCol="0" anchor="ctr">
            <a:noAutofit/>
          </a:bodyPr>
          <a:lstStyle/>
          <a:p>
            <a:pPr algn="l"/>
            <a:r>
              <a:rPr lang="en-US" sz="2600" b="0" dirty="0">
                <a:solidFill>
                  <a:schemeClr val="tx1"/>
                </a:solidFill>
              </a:rPr>
              <a:t>6</a:t>
            </a:r>
            <a:endParaRPr sz="2600" b="0" dirty="0">
              <a:solidFill>
                <a:schemeClr val="tx1"/>
              </a:solidFill>
            </a:endParaRPr>
          </a:p>
        </p:txBody>
      </p:sp>
      <p:sp>
        <p:nvSpPr>
          <p:cNvPr id="1801" name="TextBox 1800"/>
          <p:cNvSpPr txBox="1"/>
          <p:nvPr/>
        </p:nvSpPr>
        <p:spPr>
          <a:xfrm>
            <a:off x="12191204" y="3475215"/>
            <a:ext cx="3657362" cy="768096"/>
          </a:xfrm>
          <a:prstGeom prst="rect">
            <a:avLst/>
          </a:prstGeom>
          <a:noFill/>
        </p:spPr>
        <p:txBody>
          <a:bodyPr wrap="square" tIns="0" bIns="0" rtlCol="0" anchor="ctr">
            <a:noAutofit/>
          </a:bodyPr>
          <a:lstStyle/>
          <a:p>
            <a:pPr algn="l"/>
            <a:r>
              <a:rPr lang="en-US" sz="2600" b="0" dirty="0">
                <a:solidFill>
                  <a:schemeClr val="tx1"/>
                </a:solidFill>
              </a:rPr>
              <a:t>7</a:t>
            </a:r>
            <a:endParaRPr sz="2600" b="0" dirty="0">
              <a:solidFill>
                <a:schemeClr val="tx1"/>
              </a:solidFill>
            </a:endParaRPr>
          </a:p>
        </p:txBody>
      </p:sp>
      <p:sp>
        <p:nvSpPr>
          <p:cNvPr id="1802" name="TextBox 1801"/>
          <p:cNvSpPr txBox="1"/>
          <p:nvPr/>
        </p:nvSpPr>
        <p:spPr>
          <a:xfrm>
            <a:off x="15925635" y="3475215"/>
            <a:ext cx="3657362" cy="768096"/>
          </a:xfrm>
          <a:prstGeom prst="rect">
            <a:avLst/>
          </a:prstGeom>
          <a:noFill/>
        </p:spPr>
        <p:txBody>
          <a:bodyPr wrap="square" tIns="0" bIns="0" rtlCol="0" anchor="ctr">
            <a:noAutofit/>
          </a:bodyPr>
          <a:lstStyle/>
          <a:p>
            <a:pPr algn="l"/>
            <a:r>
              <a:rPr lang="en-US" sz="2600" b="0" dirty="0">
                <a:solidFill>
                  <a:schemeClr val="tx1"/>
                </a:solidFill>
              </a:rPr>
              <a:t>8</a:t>
            </a:r>
            <a:endParaRPr sz="2600" b="0" dirty="0">
              <a:solidFill>
                <a:schemeClr val="tx1"/>
              </a:solidFill>
            </a:endParaRPr>
          </a:p>
        </p:txBody>
      </p:sp>
      <p:sp>
        <p:nvSpPr>
          <p:cNvPr id="1803" name="TextBox 1802"/>
          <p:cNvSpPr txBox="1"/>
          <p:nvPr/>
        </p:nvSpPr>
        <p:spPr>
          <a:xfrm>
            <a:off x="19649854" y="3475215"/>
            <a:ext cx="3657362" cy="768096"/>
          </a:xfrm>
          <a:prstGeom prst="rect">
            <a:avLst/>
          </a:prstGeom>
          <a:noFill/>
        </p:spPr>
        <p:txBody>
          <a:bodyPr wrap="square" tIns="0" bIns="0" rtlCol="0" anchor="ctr">
            <a:noAutofit/>
          </a:bodyPr>
          <a:lstStyle/>
          <a:p>
            <a:pPr algn="l"/>
            <a:r>
              <a:rPr lang="en-US" sz="2600" b="0" dirty="0">
                <a:solidFill>
                  <a:schemeClr val="tx1"/>
                </a:solidFill>
              </a:rPr>
              <a:t>9/10</a:t>
            </a:r>
            <a:endParaRPr sz="2600" b="0" dirty="0">
              <a:solidFill>
                <a:schemeClr val="tx1"/>
              </a:solidFill>
            </a:endParaRPr>
          </a:p>
        </p:txBody>
      </p:sp>
      <p:sp>
        <p:nvSpPr>
          <p:cNvPr id="1804" name="TextBox 1803"/>
          <p:cNvSpPr txBox="1"/>
          <p:nvPr/>
        </p:nvSpPr>
        <p:spPr>
          <a:xfrm>
            <a:off x="1093025" y="5304015"/>
            <a:ext cx="3657362" cy="768096"/>
          </a:xfrm>
          <a:prstGeom prst="rect">
            <a:avLst/>
          </a:prstGeom>
          <a:noFill/>
        </p:spPr>
        <p:txBody>
          <a:bodyPr wrap="square" tIns="0" bIns="0" rtlCol="0" anchor="ctr">
            <a:noAutofit/>
          </a:bodyPr>
          <a:lstStyle/>
          <a:p>
            <a:pPr algn="l"/>
            <a:r>
              <a:rPr lang="en-US" sz="2600" b="0" dirty="0">
                <a:solidFill>
                  <a:schemeClr val="tx1"/>
                </a:solidFill>
              </a:rPr>
              <a:t>11</a:t>
            </a:r>
            <a:endParaRPr sz="2600" b="0" dirty="0">
              <a:solidFill>
                <a:schemeClr val="tx1"/>
              </a:solidFill>
            </a:endParaRPr>
          </a:p>
        </p:txBody>
      </p:sp>
      <p:sp>
        <p:nvSpPr>
          <p:cNvPr id="1805" name="TextBox 1804"/>
          <p:cNvSpPr txBox="1"/>
          <p:nvPr/>
        </p:nvSpPr>
        <p:spPr>
          <a:xfrm>
            <a:off x="4764373" y="5304015"/>
            <a:ext cx="3657362" cy="768096"/>
          </a:xfrm>
          <a:prstGeom prst="rect">
            <a:avLst/>
          </a:prstGeom>
          <a:noFill/>
        </p:spPr>
        <p:txBody>
          <a:bodyPr wrap="square" tIns="0" bIns="0" rtlCol="0" anchor="ctr">
            <a:noAutofit/>
          </a:bodyPr>
          <a:lstStyle/>
          <a:p>
            <a:pPr algn="l"/>
            <a:r>
              <a:rPr lang="en-US" sz="2600" b="0" dirty="0">
                <a:solidFill>
                  <a:schemeClr val="tx1"/>
                </a:solidFill>
              </a:rPr>
              <a:t>12</a:t>
            </a:r>
            <a:endParaRPr sz="2600" b="0" dirty="0">
              <a:solidFill>
                <a:schemeClr val="tx1"/>
              </a:solidFill>
            </a:endParaRPr>
          </a:p>
        </p:txBody>
      </p:sp>
      <p:sp>
        <p:nvSpPr>
          <p:cNvPr id="1806" name="TextBox 1805"/>
          <p:cNvSpPr txBox="1"/>
          <p:nvPr/>
        </p:nvSpPr>
        <p:spPr>
          <a:xfrm>
            <a:off x="8512830" y="5304015"/>
            <a:ext cx="3657362" cy="768096"/>
          </a:xfrm>
          <a:prstGeom prst="rect">
            <a:avLst/>
          </a:prstGeom>
          <a:noFill/>
        </p:spPr>
        <p:txBody>
          <a:bodyPr wrap="square" tIns="0" bIns="0" rtlCol="0" anchor="ctr">
            <a:noAutofit/>
          </a:bodyPr>
          <a:lstStyle/>
          <a:p>
            <a:pPr algn="l"/>
            <a:r>
              <a:rPr lang="en-US" sz="2600" b="0" dirty="0">
                <a:solidFill>
                  <a:schemeClr val="tx1"/>
                </a:solidFill>
              </a:rPr>
              <a:t>13</a:t>
            </a:r>
            <a:endParaRPr sz="2600" b="0" dirty="0">
              <a:solidFill>
                <a:schemeClr val="tx1"/>
              </a:solidFill>
            </a:endParaRPr>
          </a:p>
        </p:txBody>
      </p:sp>
      <p:sp>
        <p:nvSpPr>
          <p:cNvPr id="1807" name="TextBox 1806"/>
          <p:cNvSpPr txBox="1"/>
          <p:nvPr/>
        </p:nvSpPr>
        <p:spPr>
          <a:xfrm>
            <a:off x="12191204" y="5304015"/>
            <a:ext cx="3657362" cy="768096"/>
          </a:xfrm>
          <a:prstGeom prst="rect">
            <a:avLst/>
          </a:prstGeom>
          <a:noFill/>
        </p:spPr>
        <p:txBody>
          <a:bodyPr wrap="square" tIns="0" bIns="0" rtlCol="0" anchor="ctr">
            <a:noAutofit/>
          </a:bodyPr>
          <a:lstStyle/>
          <a:p>
            <a:pPr algn="l"/>
            <a:r>
              <a:rPr lang="en-US" sz="2600" b="0" dirty="0">
                <a:solidFill>
                  <a:schemeClr val="tx1"/>
                </a:solidFill>
              </a:rPr>
              <a:t>14</a:t>
            </a:r>
            <a:endParaRPr sz="2600" b="0" dirty="0">
              <a:solidFill>
                <a:schemeClr val="tx1"/>
              </a:solidFill>
            </a:endParaRPr>
          </a:p>
        </p:txBody>
      </p:sp>
      <p:sp>
        <p:nvSpPr>
          <p:cNvPr id="1808" name="TextBox 1807"/>
          <p:cNvSpPr txBox="1"/>
          <p:nvPr/>
        </p:nvSpPr>
        <p:spPr>
          <a:xfrm>
            <a:off x="15925635" y="5304015"/>
            <a:ext cx="3657362" cy="768096"/>
          </a:xfrm>
          <a:prstGeom prst="rect">
            <a:avLst/>
          </a:prstGeom>
          <a:noFill/>
        </p:spPr>
        <p:txBody>
          <a:bodyPr wrap="square" tIns="0" bIns="0" rtlCol="0" anchor="ctr">
            <a:noAutofit/>
          </a:bodyPr>
          <a:lstStyle/>
          <a:p>
            <a:pPr algn="l"/>
            <a:r>
              <a:rPr lang="en-US" sz="2600" b="0" dirty="0">
                <a:solidFill>
                  <a:schemeClr val="tx1"/>
                </a:solidFill>
              </a:rPr>
              <a:t>15</a:t>
            </a:r>
            <a:endParaRPr sz="2600" b="0" dirty="0">
              <a:solidFill>
                <a:schemeClr val="tx1"/>
              </a:solidFill>
            </a:endParaRPr>
          </a:p>
        </p:txBody>
      </p:sp>
      <p:sp>
        <p:nvSpPr>
          <p:cNvPr id="1809" name="TextBox 1808"/>
          <p:cNvSpPr txBox="1"/>
          <p:nvPr/>
        </p:nvSpPr>
        <p:spPr>
          <a:xfrm>
            <a:off x="19649854" y="5304015"/>
            <a:ext cx="3657362" cy="768096"/>
          </a:xfrm>
          <a:prstGeom prst="rect">
            <a:avLst/>
          </a:prstGeom>
          <a:noFill/>
        </p:spPr>
        <p:txBody>
          <a:bodyPr wrap="square" tIns="0" bIns="0" rtlCol="0" anchor="ctr">
            <a:noAutofit/>
          </a:bodyPr>
          <a:lstStyle/>
          <a:p>
            <a:pPr algn="l"/>
            <a:r>
              <a:rPr lang="en-US" sz="2600" b="0" dirty="0">
                <a:solidFill>
                  <a:schemeClr val="tx1"/>
                </a:solidFill>
              </a:rPr>
              <a:t>16/17</a:t>
            </a:r>
            <a:endParaRPr sz="2600" b="0" dirty="0">
              <a:solidFill>
                <a:schemeClr val="tx1"/>
              </a:solidFill>
            </a:endParaRPr>
          </a:p>
        </p:txBody>
      </p:sp>
      <p:sp>
        <p:nvSpPr>
          <p:cNvPr id="1810" name="TextBox 1809"/>
          <p:cNvSpPr txBox="1"/>
          <p:nvPr/>
        </p:nvSpPr>
        <p:spPr>
          <a:xfrm>
            <a:off x="1093025" y="7132815"/>
            <a:ext cx="3657362" cy="768096"/>
          </a:xfrm>
          <a:prstGeom prst="rect">
            <a:avLst/>
          </a:prstGeom>
          <a:noFill/>
        </p:spPr>
        <p:txBody>
          <a:bodyPr wrap="square" tIns="0" bIns="0" rtlCol="0" anchor="ctr">
            <a:noAutofit/>
          </a:bodyPr>
          <a:lstStyle/>
          <a:p>
            <a:pPr algn="l"/>
            <a:r>
              <a:rPr lang="en-US" sz="2600" b="0" dirty="0">
                <a:solidFill>
                  <a:schemeClr val="tx1"/>
                </a:solidFill>
              </a:rPr>
              <a:t>18</a:t>
            </a:r>
            <a:endParaRPr sz="2600" b="0" dirty="0">
              <a:solidFill>
                <a:schemeClr val="tx1"/>
              </a:solidFill>
            </a:endParaRPr>
          </a:p>
        </p:txBody>
      </p:sp>
      <p:sp>
        <p:nvSpPr>
          <p:cNvPr id="1811" name="TextBox 1810"/>
          <p:cNvSpPr txBox="1"/>
          <p:nvPr/>
        </p:nvSpPr>
        <p:spPr>
          <a:xfrm>
            <a:off x="4764373" y="7132815"/>
            <a:ext cx="3657362" cy="768096"/>
          </a:xfrm>
          <a:prstGeom prst="rect">
            <a:avLst/>
          </a:prstGeom>
          <a:noFill/>
        </p:spPr>
        <p:txBody>
          <a:bodyPr wrap="square" tIns="0" bIns="0" rtlCol="0" anchor="ctr">
            <a:noAutofit/>
          </a:bodyPr>
          <a:lstStyle/>
          <a:p>
            <a:pPr algn="l"/>
            <a:r>
              <a:rPr lang="en-US" sz="2600" b="0" dirty="0">
                <a:solidFill>
                  <a:schemeClr val="tx1"/>
                </a:solidFill>
              </a:rPr>
              <a:t>19</a:t>
            </a:r>
            <a:endParaRPr sz="2600" b="0" dirty="0">
              <a:solidFill>
                <a:schemeClr val="tx1"/>
              </a:solidFill>
            </a:endParaRPr>
          </a:p>
        </p:txBody>
      </p:sp>
      <p:sp>
        <p:nvSpPr>
          <p:cNvPr id="1812" name="TextBox 1811"/>
          <p:cNvSpPr txBox="1"/>
          <p:nvPr/>
        </p:nvSpPr>
        <p:spPr>
          <a:xfrm>
            <a:off x="8512830" y="7132815"/>
            <a:ext cx="3657362" cy="768096"/>
          </a:xfrm>
          <a:prstGeom prst="rect">
            <a:avLst/>
          </a:prstGeom>
          <a:noFill/>
        </p:spPr>
        <p:txBody>
          <a:bodyPr wrap="square" tIns="0" bIns="0" rtlCol="0" anchor="ctr">
            <a:noAutofit/>
          </a:bodyPr>
          <a:lstStyle/>
          <a:p>
            <a:pPr algn="l"/>
            <a:r>
              <a:rPr lang="en-US" sz="2600" b="0" dirty="0">
                <a:solidFill>
                  <a:schemeClr val="tx1"/>
                </a:solidFill>
              </a:rPr>
              <a:t>20</a:t>
            </a:r>
            <a:endParaRPr sz="2600" b="0" dirty="0">
              <a:solidFill>
                <a:schemeClr val="tx1"/>
              </a:solidFill>
            </a:endParaRPr>
          </a:p>
        </p:txBody>
      </p:sp>
      <p:sp>
        <p:nvSpPr>
          <p:cNvPr id="1813" name="TextBox 1812"/>
          <p:cNvSpPr txBox="1"/>
          <p:nvPr/>
        </p:nvSpPr>
        <p:spPr>
          <a:xfrm>
            <a:off x="12191204" y="7132815"/>
            <a:ext cx="3657362" cy="768096"/>
          </a:xfrm>
          <a:prstGeom prst="rect">
            <a:avLst/>
          </a:prstGeom>
          <a:noFill/>
        </p:spPr>
        <p:txBody>
          <a:bodyPr wrap="square" tIns="0" bIns="0" rtlCol="0" anchor="ctr">
            <a:noAutofit/>
          </a:bodyPr>
          <a:lstStyle/>
          <a:p>
            <a:pPr algn="l"/>
            <a:r>
              <a:rPr lang="en-US" sz="2600" b="0" dirty="0">
                <a:solidFill>
                  <a:schemeClr val="tx1"/>
                </a:solidFill>
              </a:rPr>
              <a:t>21</a:t>
            </a:r>
            <a:endParaRPr sz="2600" b="0" dirty="0">
              <a:solidFill>
                <a:schemeClr val="tx1"/>
              </a:solidFill>
            </a:endParaRPr>
          </a:p>
        </p:txBody>
      </p:sp>
      <p:sp>
        <p:nvSpPr>
          <p:cNvPr id="1814" name="TextBox 1813"/>
          <p:cNvSpPr txBox="1"/>
          <p:nvPr/>
        </p:nvSpPr>
        <p:spPr>
          <a:xfrm>
            <a:off x="15925635" y="7132815"/>
            <a:ext cx="3657362" cy="768096"/>
          </a:xfrm>
          <a:prstGeom prst="rect">
            <a:avLst/>
          </a:prstGeom>
          <a:noFill/>
        </p:spPr>
        <p:txBody>
          <a:bodyPr wrap="square" tIns="0" bIns="0" rtlCol="0" anchor="ctr">
            <a:noAutofit/>
          </a:bodyPr>
          <a:lstStyle/>
          <a:p>
            <a:pPr algn="l"/>
            <a:r>
              <a:rPr lang="en-US" sz="2600" b="0" dirty="0">
                <a:solidFill>
                  <a:schemeClr val="tx1"/>
                </a:solidFill>
              </a:rPr>
              <a:t>22</a:t>
            </a:r>
            <a:endParaRPr sz="2600" b="0" dirty="0">
              <a:solidFill>
                <a:schemeClr val="tx1"/>
              </a:solidFill>
            </a:endParaRPr>
          </a:p>
        </p:txBody>
      </p:sp>
      <p:sp>
        <p:nvSpPr>
          <p:cNvPr id="1815" name="TextBox 1814"/>
          <p:cNvSpPr txBox="1"/>
          <p:nvPr/>
        </p:nvSpPr>
        <p:spPr>
          <a:xfrm>
            <a:off x="19649854" y="7132815"/>
            <a:ext cx="3657362" cy="768096"/>
          </a:xfrm>
          <a:prstGeom prst="rect">
            <a:avLst/>
          </a:prstGeom>
          <a:noFill/>
        </p:spPr>
        <p:txBody>
          <a:bodyPr wrap="square" tIns="0" bIns="0" rtlCol="0" anchor="ctr">
            <a:noAutofit/>
          </a:bodyPr>
          <a:lstStyle/>
          <a:p>
            <a:pPr algn="l"/>
            <a:r>
              <a:rPr lang="en-US" sz="2600" b="0" dirty="0">
                <a:solidFill>
                  <a:schemeClr val="tx1"/>
                </a:solidFill>
              </a:rPr>
              <a:t>23/24</a:t>
            </a:r>
            <a:endParaRPr sz="2600" b="0" dirty="0">
              <a:solidFill>
                <a:schemeClr val="tx1"/>
              </a:solidFill>
            </a:endParaRPr>
          </a:p>
        </p:txBody>
      </p:sp>
      <p:sp>
        <p:nvSpPr>
          <p:cNvPr id="1816" name="TextBox 1815"/>
          <p:cNvSpPr txBox="1"/>
          <p:nvPr/>
        </p:nvSpPr>
        <p:spPr>
          <a:xfrm>
            <a:off x="1093025" y="8961615"/>
            <a:ext cx="3657362" cy="768096"/>
          </a:xfrm>
          <a:prstGeom prst="rect">
            <a:avLst/>
          </a:prstGeom>
          <a:noFill/>
        </p:spPr>
        <p:txBody>
          <a:bodyPr wrap="square" tIns="0" bIns="0" rtlCol="0" anchor="ctr">
            <a:noAutofit/>
          </a:bodyPr>
          <a:lstStyle/>
          <a:p>
            <a:pPr algn="l"/>
            <a:r>
              <a:rPr lang="en-US" sz="2600" b="0" dirty="0">
                <a:solidFill>
                  <a:schemeClr val="tx1"/>
                </a:solidFill>
              </a:rPr>
              <a:t>25</a:t>
            </a:r>
            <a:endParaRPr sz="2600" b="0" dirty="0">
              <a:solidFill>
                <a:schemeClr val="tx1"/>
              </a:solidFill>
            </a:endParaRPr>
          </a:p>
        </p:txBody>
      </p:sp>
      <p:sp>
        <p:nvSpPr>
          <p:cNvPr id="1817" name="TextBox 1816"/>
          <p:cNvSpPr txBox="1"/>
          <p:nvPr/>
        </p:nvSpPr>
        <p:spPr>
          <a:xfrm>
            <a:off x="4764373" y="8961615"/>
            <a:ext cx="3657362" cy="768096"/>
          </a:xfrm>
          <a:prstGeom prst="rect">
            <a:avLst/>
          </a:prstGeom>
          <a:noFill/>
        </p:spPr>
        <p:txBody>
          <a:bodyPr wrap="square" tIns="0" bIns="0" rtlCol="0" anchor="ctr">
            <a:noAutofit/>
          </a:bodyPr>
          <a:lstStyle/>
          <a:p>
            <a:pPr algn="l"/>
            <a:r>
              <a:rPr lang="en-US" sz="2600" b="0" dirty="0">
                <a:solidFill>
                  <a:schemeClr val="tx1"/>
                </a:solidFill>
              </a:rPr>
              <a:t>26</a:t>
            </a:r>
            <a:endParaRPr sz="2600" b="0" dirty="0">
              <a:solidFill>
                <a:schemeClr val="tx1"/>
              </a:solidFill>
            </a:endParaRPr>
          </a:p>
        </p:txBody>
      </p:sp>
      <p:sp>
        <p:nvSpPr>
          <p:cNvPr id="1818" name="TextBox 1817"/>
          <p:cNvSpPr txBox="1"/>
          <p:nvPr/>
        </p:nvSpPr>
        <p:spPr>
          <a:xfrm>
            <a:off x="8512830" y="8961615"/>
            <a:ext cx="3657362" cy="715544"/>
          </a:xfrm>
          <a:prstGeom prst="rect">
            <a:avLst/>
          </a:prstGeom>
          <a:noFill/>
        </p:spPr>
        <p:txBody>
          <a:bodyPr wrap="square" tIns="0" bIns="0" rtlCol="0" anchor="ctr">
            <a:noAutofit/>
          </a:bodyPr>
          <a:lstStyle>
            <a:defPPr>
              <a:defRPr lang="en-US"/>
            </a:defPPr>
            <a:lvl1pPr>
              <a:defRPr sz="1300" b="0">
                <a:solidFill>
                  <a:schemeClr val="bg2">
                    <a:lumMod val="90000"/>
                  </a:schemeClr>
                </a:solidFill>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tx1"/>
                </a:solidFill>
              </a:rPr>
              <a:t>27</a:t>
            </a:r>
          </a:p>
        </p:txBody>
      </p:sp>
      <p:sp>
        <p:nvSpPr>
          <p:cNvPr id="1819" name="TextBox 1818"/>
          <p:cNvSpPr txBox="1"/>
          <p:nvPr/>
        </p:nvSpPr>
        <p:spPr>
          <a:xfrm>
            <a:off x="12191204" y="8961615"/>
            <a:ext cx="3657362" cy="768096"/>
          </a:xfrm>
          <a:prstGeom prst="rect">
            <a:avLst/>
          </a:prstGeom>
          <a:noFill/>
        </p:spPr>
        <p:txBody>
          <a:bodyPr wrap="square" tIns="0" bIns="0" rtlCol="0" anchor="ctr">
            <a:noAutofit/>
          </a:bodyPr>
          <a:lstStyle>
            <a:defPPr>
              <a:defRPr lang="en-US"/>
            </a:defPPr>
            <a:lvl1pPr lvl="0">
              <a:defRPr sz="1300" b="0">
                <a:solidFill>
                  <a:schemeClr val="bg2">
                    <a:lumMod val="90000"/>
                  </a:schemeClr>
                </a:solidFill>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kern="1200" dirty="0">
                <a:solidFill>
                  <a:schemeClr val="tx1"/>
                </a:solidFill>
                <a:latin typeface="+mn-lt"/>
                <a:ea typeface="+mn-ea"/>
                <a:cs typeface="+mn-cs"/>
              </a:rPr>
              <a:t>28</a:t>
            </a:r>
            <a:endParaRPr sz="2600" b="0" kern="1200" dirty="0">
              <a:solidFill>
                <a:schemeClr val="tx1"/>
              </a:solidFill>
              <a:latin typeface="+mn-lt"/>
              <a:ea typeface="+mn-ea"/>
              <a:cs typeface="+mn-cs"/>
            </a:endParaRPr>
          </a:p>
        </p:txBody>
      </p:sp>
      <p:sp>
        <p:nvSpPr>
          <p:cNvPr id="1820" name="TextBox 1819"/>
          <p:cNvSpPr txBox="1"/>
          <p:nvPr/>
        </p:nvSpPr>
        <p:spPr>
          <a:xfrm>
            <a:off x="15925635" y="8961615"/>
            <a:ext cx="3657362" cy="768096"/>
          </a:xfrm>
          <a:prstGeom prst="rect">
            <a:avLst/>
          </a:prstGeom>
          <a:noFill/>
        </p:spPr>
        <p:txBody>
          <a:bodyPr wrap="square" tIns="0" bIns="0" rtlCol="0" anchor="ctr">
            <a:noAutofit/>
          </a:bodyPr>
          <a:lstStyle>
            <a:defPPr>
              <a:defRPr lang="en-US"/>
            </a:defPPr>
            <a:lvl1pPr lvl="0">
              <a:defRPr sz="1300" b="0">
                <a:solidFill>
                  <a:schemeClr val="bg2">
                    <a:lumMod val="90000"/>
                  </a:schemeClr>
                </a:solidFill>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dirty="0"/>
              <a:t>1 March</a:t>
            </a:r>
          </a:p>
        </p:txBody>
      </p:sp>
      <p:sp>
        <p:nvSpPr>
          <p:cNvPr id="1821" name="TextBox 1820"/>
          <p:cNvSpPr txBox="1"/>
          <p:nvPr/>
        </p:nvSpPr>
        <p:spPr>
          <a:xfrm>
            <a:off x="19649854" y="8961615"/>
            <a:ext cx="3657362" cy="768096"/>
          </a:xfrm>
          <a:prstGeom prst="rect">
            <a:avLst/>
          </a:prstGeom>
          <a:noFill/>
        </p:spPr>
        <p:txBody>
          <a:bodyPr wrap="square" tIns="0" bIns="0" rtlCol="0" anchor="ctr">
            <a:noAutofit/>
          </a:bodyPr>
          <a:lstStyle>
            <a:defPPr>
              <a:defRPr lang="en-US"/>
            </a:defPPr>
            <a:lvl1pPr lvl="0">
              <a:defRPr sz="1300" b="0">
                <a:solidFill>
                  <a:schemeClr val="bg2">
                    <a:lumMod val="90000"/>
                  </a:schemeClr>
                </a:solidFill>
              </a:defRPr>
            </a:lvl1pPr>
          </a:lstStyle>
          <a:p>
            <a:pPr lvl="0"/>
            <a:r>
              <a:rPr lang="en-US" sz="2600" dirty="0"/>
              <a:t>2/3</a:t>
            </a:r>
          </a:p>
        </p:txBody>
      </p:sp>
      <p:sp>
        <p:nvSpPr>
          <p:cNvPr id="1828" name="TextBox 1827"/>
          <p:cNvSpPr txBox="1"/>
          <p:nvPr/>
        </p:nvSpPr>
        <p:spPr>
          <a:xfrm>
            <a:off x="956671" y="304800"/>
            <a:ext cx="22350545" cy="1398084"/>
          </a:xfrm>
          <a:prstGeom prst="rect">
            <a:avLst/>
          </a:prstGeom>
          <a:noFill/>
        </p:spPr>
        <p:txBody>
          <a:bodyPr wrap="square" tIns="0" bIns="0" rtlCol="0" anchor="ctr">
            <a:noAutofit/>
          </a:bodyPr>
          <a:lstStyle/>
          <a:p>
            <a:pPr algn="l"/>
            <a:r>
              <a:rPr lang="en-US" sz="4400" b="0" dirty="0">
                <a:solidFill>
                  <a:schemeClr val="accent1"/>
                </a:solidFill>
              </a:rPr>
              <a:t>F</a:t>
            </a:r>
            <a:r>
              <a:rPr sz="4400" b="0" dirty="0">
                <a:solidFill>
                  <a:schemeClr val="accent1"/>
                </a:solidFill>
              </a:rPr>
              <a:t>ebruary</a:t>
            </a:r>
          </a:p>
        </p:txBody>
      </p:sp>
      <p:sp>
        <p:nvSpPr>
          <p:cNvPr id="69" name="TextBox 68"/>
          <p:cNvSpPr txBox="1"/>
          <p:nvPr/>
        </p:nvSpPr>
        <p:spPr>
          <a:xfrm>
            <a:off x="1093025" y="10808703"/>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4</a:t>
            </a:r>
            <a:endParaRPr sz="2600" b="0" dirty="0">
              <a:solidFill>
                <a:schemeClr val="bg2">
                  <a:lumMod val="90000"/>
                </a:schemeClr>
              </a:solidFill>
            </a:endParaRPr>
          </a:p>
        </p:txBody>
      </p:sp>
      <p:sp>
        <p:nvSpPr>
          <p:cNvPr id="70" name="TextBox 69"/>
          <p:cNvSpPr txBox="1"/>
          <p:nvPr/>
        </p:nvSpPr>
        <p:spPr>
          <a:xfrm>
            <a:off x="4764373" y="10808703"/>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5</a:t>
            </a:r>
            <a:endParaRPr sz="2600" b="0" dirty="0">
              <a:solidFill>
                <a:schemeClr val="bg2">
                  <a:lumMod val="90000"/>
                </a:schemeClr>
              </a:solidFill>
            </a:endParaRPr>
          </a:p>
        </p:txBody>
      </p:sp>
      <p:sp>
        <p:nvSpPr>
          <p:cNvPr id="71" name="TextBox 70"/>
          <p:cNvSpPr txBox="1"/>
          <p:nvPr/>
        </p:nvSpPr>
        <p:spPr>
          <a:xfrm>
            <a:off x="8512833" y="10808703"/>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6</a:t>
            </a:r>
            <a:endParaRPr sz="2600" b="0" dirty="0">
              <a:solidFill>
                <a:schemeClr val="bg2">
                  <a:lumMod val="90000"/>
                </a:schemeClr>
              </a:solidFill>
            </a:endParaRPr>
          </a:p>
        </p:txBody>
      </p:sp>
      <p:sp>
        <p:nvSpPr>
          <p:cNvPr id="72" name="TextBox 71"/>
          <p:cNvSpPr txBox="1"/>
          <p:nvPr/>
        </p:nvSpPr>
        <p:spPr>
          <a:xfrm>
            <a:off x="12191204" y="10808703"/>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7</a:t>
            </a:r>
            <a:endParaRPr sz="2600" b="0" dirty="0">
              <a:solidFill>
                <a:schemeClr val="bg2">
                  <a:lumMod val="90000"/>
                </a:schemeClr>
              </a:solidFill>
            </a:endParaRPr>
          </a:p>
        </p:txBody>
      </p:sp>
      <p:sp>
        <p:nvSpPr>
          <p:cNvPr id="73" name="TextBox 72"/>
          <p:cNvSpPr txBox="1"/>
          <p:nvPr/>
        </p:nvSpPr>
        <p:spPr>
          <a:xfrm>
            <a:off x="15925635" y="10808703"/>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8</a:t>
            </a:r>
            <a:endParaRPr sz="2600" b="0" dirty="0">
              <a:solidFill>
                <a:schemeClr val="bg2">
                  <a:lumMod val="90000"/>
                </a:schemeClr>
              </a:solidFill>
            </a:endParaRPr>
          </a:p>
        </p:txBody>
      </p:sp>
      <p:sp>
        <p:nvSpPr>
          <p:cNvPr id="74" name="TextBox 73"/>
          <p:cNvSpPr txBox="1"/>
          <p:nvPr/>
        </p:nvSpPr>
        <p:spPr>
          <a:xfrm>
            <a:off x="19649854" y="10808703"/>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9/10</a:t>
            </a:r>
            <a:endParaRPr sz="2600" b="0" dirty="0">
              <a:solidFill>
                <a:schemeClr val="bg2">
                  <a:lumMod val="90000"/>
                </a:schemeClr>
              </a:solidFill>
            </a:endParaRPr>
          </a:p>
        </p:txBody>
      </p:sp>
      <p:sp>
        <p:nvSpPr>
          <p:cNvPr id="34" name="Text Placeholder 2"/>
          <p:cNvSpPr>
            <a:spLocks noGrp="1"/>
          </p:cNvSpPr>
          <p:nvPr>
            <p:ph type="body" sz="quarter" idx="11" hasCustomPrompt="1"/>
          </p:nvPr>
        </p:nvSpPr>
        <p:spPr>
          <a:xfrm>
            <a:off x="1048444" y="22133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0" name="Text Placeholder 2"/>
          <p:cNvSpPr>
            <a:spLocks noGrp="1"/>
          </p:cNvSpPr>
          <p:nvPr>
            <p:ph type="body" sz="quarter" idx="17" hasCustomPrompt="1"/>
          </p:nvPr>
        </p:nvSpPr>
        <p:spPr>
          <a:xfrm>
            <a:off x="4754571" y="22133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6" name="Text Placeholder 2"/>
          <p:cNvSpPr>
            <a:spLocks noGrp="1"/>
          </p:cNvSpPr>
          <p:nvPr>
            <p:ph type="body" sz="quarter" idx="23" hasCustomPrompt="1"/>
          </p:nvPr>
        </p:nvSpPr>
        <p:spPr>
          <a:xfrm>
            <a:off x="8485080" y="22133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2" name="Text Placeholder 2"/>
          <p:cNvSpPr>
            <a:spLocks noGrp="1"/>
          </p:cNvSpPr>
          <p:nvPr>
            <p:ph type="body" sz="quarter" idx="29" hasCustomPrompt="1"/>
          </p:nvPr>
        </p:nvSpPr>
        <p:spPr>
          <a:xfrm>
            <a:off x="12220346" y="22133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8" name="Text Placeholder 2"/>
          <p:cNvSpPr>
            <a:spLocks noGrp="1"/>
          </p:cNvSpPr>
          <p:nvPr>
            <p:ph type="body" sz="quarter" idx="35" hasCustomPrompt="1"/>
          </p:nvPr>
        </p:nvSpPr>
        <p:spPr>
          <a:xfrm>
            <a:off x="15935099" y="22133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4" name="Text Placeholder 2"/>
          <p:cNvSpPr>
            <a:spLocks noGrp="1"/>
          </p:cNvSpPr>
          <p:nvPr>
            <p:ph type="body" sz="quarter" idx="41" hasCustomPrompt="1"/>
          </p:nvPr>
        </p:nvSpPr>
        <p:spPr>
          <a:xfrm>
            <a:off x="19676607" y="22133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3" name="Text Placeholder 2"/>
          <p:cNvSpPr>
            <a:spLocks noGrp="1"/>
          </p:cNvSpPr>
          <p:nvPr>
            <p:ph type="body" sz="quarter" idx="10" hasCustomPrompt="1"/>
          </p:nvPr>
        </p:nvSpPr>
        <p:spPr>
          <a:xfrm>
            <a:off x="1048444" y="40421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9" name="Text Placeholder 2"/>
          <p:cNvSpPr>
            <a:spLocks noGrp="1"/>
          </p:cNvSpPr>
          <p:nvPr>
            <p:ph type="body" sz="quarter" idx="16" hasCustomPrompt="1"/>
          </p:nvPr>
        </p:nvSpPr>
        <p:spPr>
          <a:xfrm>
            <a:off x="4754571" y="40421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5" name="Text Placeholder 2"/>
          <p:cNvSpPr>
            <a:spLocks noGrp="1"/>
          </p:cNvSpPr>
          <p:nvPr>
            <p:ph type="body" sz="quarter" idx="22" hasCustomPrompt="1"/>
          </p:nvPr>
        </p:nvSpPr>
        <p:spPr>
          <a:xfrm>
            <a:off x="8485080" y="40421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1" name="Text Placeholder 2"/>
          <p:cNvSpPr>
            <a:spLocks noGrp="1"/>
          </p:cNvSpPr>
          <p:nvPr>
            <p:ph type="body" sz="quarter" idx="28" hasCustomPrompt="1"/>
          </p:nvPr>
        </p:nvSpPr>
        <p:spPr>
          <a:xfrm>
            <a:off x="12220346" y="40421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7" name="Text Placeholder 2"/>
          <p:cNvSpPr>
            <a:spLocks noGrp="1"/>
          </p:cNvSpPr>
          <p:nvPr>
            <p:ph type="body" sz="quarter" idx="34" hasCustomPrompt="1"/>
          </p:nvPr>
        </p:nvSpPr>
        <p:spPr>
          <a:xfrm>
            <a:off x="15935099" y="40421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3" name="Text Placeholder 2"/>
          <p:cNvSpPr>
            <a:spLocks noGrp="1"/>
          </p:cNvSpPr>
          <p:nvPr>
            <p:ph type="body" sz="quarter" idx="40" hasCustomPrompt="1"/>
          </p:nvPr>
        </p:nvSpPr>
        <p:spPr>
          <a:xfrm>
            <a:off x="19676607" y="40421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5" name="Text Placeholder 2"/>
          <p:cNvSpPr>
            <a:spLocks noGrp="1"/>
          </p:cNvSpPr>
          <p:nvPr>
            <p:ph type="body" sz="quarter" idx="12" hasCustomPrompt="1"/>
          </p:nvPr>
        </p:nvSpPr>
        <p:spPr>
          <a:xfrm>
            <a:off x="1048444" y="58709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1" name="Text Placeholder 2"/>
          <p:cNvSpPr>
            <a:spLocks noGrp="1"/>
          </p:cNvSpPr>
          <p:nvPr>
            <p:ph type="body" sz="quarter" idx="18" hasCustomPrompt="1"/>
          </p:nvPr>
        </p:nvSpPr>
        <p:spPr>
          <a:xfrm>
            <a:off x="4754571" y="58709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7" name="Text Placeholder 2"/>
          <p:cNvSpPr>
            <a:spLocks noGrp="1"/>
          </p:cNvSpPr>
          <p:nvPr>
            <p:ph type="body" sz="quarter" idx="24" hasCustomPrompt="1"/>
          </p:nvPr>
        </p:nvSpPr>
        <p:spPr>
          <a:xfrm>
            <a:off x="8485080" y="58709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3" name="Text Placeholder 2"/>
          <p:cNvSpPr>
            <a:spLocks noGrp="1"/>
          </p:cNvSpPr>
          <p:nvPr>
            <p:ph type="body" sz="quarter" idx="30" hasCustomPrompt="1"/>
          </p:nvPr>
        </p:nvSpPr>
        <p:spPr>
          <a:xfrm>
            <a:off x="12220346" y="58709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9" name="Text Placeholder 2"/>
          <p:cNvSpPr>
            <a:spLocks noGrp="1"/>
          </p:cNvSpPr>
          <p:nvPr>
            <p:ph type="body" sz="quarter" idx="36" hasCustomPrompt="1"/>
          </p:nvPr>
        </p:nvSpPr>
        <p:spPr>
          <a:xfrm>
            <a:off x="15935099" y="58709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5" name="Text Placeholder 2"/>
          <p:cNvSpPr>
            <a:spLocks noGrp="1"/>
          </p:cNvSpPr>
          <p:nvPr>
            <p:ph type="body" sz="quarter" idx="42" hasCustomPrompt="1"/>
          </p:nvPr>
        </p:nvSpPr>
        <p:spPr>
          <a:xfrm>
            <a:off x="19676607" y="58709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6" name="Text Placeholder 2"/>
          <p:cNvSpPr>
            <a:spLocks noGrp="1"/>
          </p:cNvSpPr>
          <p:nvPr>
            <p:ph type="body" sz="quarter" idx="13" hasCustomPrompt="1"/>
          </p:nvPr>
        </p:nvSpPr>
        <p:spPr>
          <a:xfrm>
            <a:off x="1048444" y="76997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2" name="Text Placeholder 2"/>
          <p:cNvSpPr>
            <a:spLocks noGrp="1"/>
          </p:cNvSpPr>
          <p:nvPr>
            <p:ph type="body" sz="quarter" idx="19" hasCustomPrompt="1"/>
          </p:nvPr>
        </p:nvSpPr>
        <p:spPr>
          <a:xfrm>
            <a:off x="4754571" y="76997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8" name="Text Placeholder 2"/>
          <p:cNvSpPr>
            <a:spLocks noGrp="1"/>
          </p:cNvSpPr>
          <p:nvPr>
            <p:ph type="body" sz="quarter" idx="25" hasCustomPrompt="1"/>
          </p:nvPr>
        </p:nvSpPr>
        <p:spPr>
          <a:xfrm>
            <a:off x="8485080" y="76997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4" name="Text Placeholder 2"/>
          <p:cNvSpPr>
            <a:spLocks noGrp="1"/>
          </p:cNvSpPr>
          <p:nvPr>
            <p:ph type="body" sz="quarter" idx="31" hasCustomPrompt="1"/>
          </p:nvPr>
        </p:nvSpPr>
        <p:spPr>
          <a:xfrm>
            <a:off x="12220346" y="76997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0" name="Text Placeholder 2"/>
          <p:cNvSpPr>
            <a:spLocks noGrp="1"/>
          </p:cNvSpPr>
          <p:nvPr>
            <p:ph type="body" sz="quarter" idx="37" hasCustomPrompt="1"/>
          </p:nvPr>
        </p:nvSpPr>
        <p:spPr>
          <a:xfrm>
            <a:off x="15935099" y="76997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6" name="Text Placeholder 2"/>
          <p:cNvSpPr>
            <a:spLocks noGrp="1"/>
          </p:cNvSpPr>
          <p:nvPr>
            <p:ph type="body" sz="quarter" idx="43" hasCustomPrompt="1"/>
          </p:nvPr>
        </p:nvSpPr>
        <p:spPr>
          <a:xfrm>
            <a:off x="19676607" y="76997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7" name="Text Placeholder 2"/>
          <p:cNvSpPr>
            <a:spLocks noGrp="1"/>
          </p:cNvSpPr>
          <p:nvPr>
            <p:ph type="body" sz="quarter" idx="14" hasCustomPrompt="1"/>
          </p:nvPr>
        </p:nvSpPr>
        <p:spPr>
          <a:xfrm>
            <a:off x="1048444" y="95285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3" name="Text Placeholder 2"/>
          <p:cNvSpPr>
            <a:spLocks noGrp="1"/>
          </p:cNvSpPr>
          <p:nvPr>
            <p:ph type="body" sz="quarter" idx="20" hasCustomPrompt="1"/>
          </p:nvPr>
        </p:nvSpPr>
        <p:spPr>
          <a:xfrm>
            <a:off x="4754571" y="95285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9" name="Text Placeholder 2"/>
          <p:cNvSpPr>
            <a:spLocks noGrp="1"/>
          </p:cNvSpPr>
          <p:nvPr>
            <p:ph type="body" sz="quarter" idx="26" hasCustomPrompt="1"/>
          </p:nvPr>
        </p:nvSpPr>
        <p:spPr>
          <a:xfrm>
            <a:off x="8485080" y="95285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5" name="Text Placeholder 2"/>
          <p:cNvSpPr>
            <a:spLocks noGrp="1"/>
          </p:cNvSpPr>
          <p:nvPr>
            <p:ph type="body" sz="quarter" idx="32" hasCustomPrompt="1"/>
          </p:nvPr>
        </p:nvSpPr>
        <p:spPr>
          <a:xfrm>
            <a:off x="12220346" y="95285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1" name="Text Placeholder 2"/>
          <p:cNvSpPr>
            <a:spLocks noGrp="1"/>
          </p:cNvSpPr>
          <p:nvPr>
            <p:ph type="body" sz="quarter" idx="38" hasCustomPrompt="1"/>
          </p:nvPr>
        </p:nvSpPr>
        <p:spPr>
          <a:xfrm>
            <a:off x="15935099" y="95285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7" name="Text Placeholder 2"/>
          <p:cNvSpPr>
            <a:spLocks noGrp="1"/>
          </p:cNvSpPr>
          <p:nvPr>
            <p:ph type="body" sz="quarter" idx="44" hasCustomPrompt="1"/>
          </p:nvPr>
        </p:nvSpPr>
        <p:spPr>
          <a:xfrm>
            <a:off x="19676607" y="9528544"/>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8" name="Text Placeholder 2"/>
          <p:cNvSpPr>
            <a:spLocks noGrp="1"/>
          </p:cNvSpPr>
          <p:nvPr>
            <p:ph type="body" sz="quarter" idx="15" hasCustomPrompt="1"/>
          </p:nvPr>
        </p:nvSpPr>
        <p:spPr>
          <a:xfrm>
            <a:off x="1048444" y="11375632"/>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4" name="Text Placeholder 2"/>
          <p:cNvSpPr>
            <a:spLocks noGrp="1"/>
          </p:cNvSpPr>
          <p:nvPr>
            <p:ph type="body" sz="quarter" idx="21" hasCustomPrompt="1"/>
          </p:nvPr>
        </p:nvSpPr>
        <p:spPr>
          <a:xfrm>
            <a:off x="4754571" y="11375632"/>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0" name="Text Placeholder 2"/>
          <p:cNvSpPr>
            <a:spLocks noGrp="1"/>
          </p:cNvSpPr>
          <p:nvPr>
            <p:ph type="body" sz="quarter" idx="27" hasCustomPrompt="1"/>
          </p:nvPr>
        </p:nvSpPr>
        <p:spPr>
          <a:xfrm>
            <a:off x="8485080" y="11375632"/>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6" name="Text Placeholder 2"/>
          <p:cNvSpPr>
            <a:spLocks noGrp="1"/>
          </p:cNvSpPr>
          <p:nvPr>
            <p:ph type="body" sz="quarter" idx="33" hasCustomPrompt="1"/>
          </p:nvPr>
        </p:nvSpPr>
        <p:spPr>
          <a:xfrm>
            <a:off x="12220346" y="11375632"/>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2" name="Text Placeholder 2"/>
          <p:cNvSpPr>
            <a:spLocks noGrp="1"/>
          </p:cNvSpPr>
          <p:nvPr>
            <p:ph type="body" sz="quarter" idx="39" hasCustomPrompt="1"/>
          </p:nvPr>
        </p:nvSpPr>
        <p:spPr>
          <a:xfrm>
            <a:off x="15935099" y="11375632"/>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8" name="Text Placeholder 2"/>
          <p:cNvSpPr>
            <a:spLocks noGrp="1"/>
          </p:cNvSpPr>
          <p:nvPr>
            <p:ph type="body" sz="quarter" idx="45" hasCustomPrompt="1"/>
          </p:nvPr>
        </p:nvSpPr>
        <p:spPr>
          <a:xfrm>
            <a:off x="19676607" y="11375632"/>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8" name="TextBox 77">
            <a:extLst>
              <a:ext uri="{FF2B5EF4-FFF2-40B4-BE49-F238E27FC236}">
                <a16:creationId xmlns:a16="http://schemas.microsoft.com/office/drawing/2014/main" id="{92C82930-E999-6240-88F8-449525D813AA}"/>
              </a:ext>
            </a:extLst>
          </p:cNvPr>
          <p:cNvSpPr txBox="1"/>
          <p:nvPr userDrawn="1"/>
        </p:nvSpPr>
        <p:spPr>
          <a:xfrm>
            <a:off x="954662" y="1399713"/>
            <a:ext cx="1638300" cy="461665"/>
          </a:xfrm>
          <a:prstGeom prst="rect">
            <a:avLst/>
          </a:prstGeom>
          <a:noFill/>
        </p:spPr>
        <p:txBody>
          <a:bodyPr wrap="square" rtlCol="0">
            <a:spAutoFit/>
          </a:bodyPr>
          <a:lstStyle/>
          <a:p>
            <a:r>
              <a:rPr lang="en-US" sz="2400" b="1" dirty="0">
                <a:solidFill>
                  <a:schemeClr val="accent1"/>
                </a:solidFill>
              </a:rPr>
              <a:t>Monday</a:t>
            </a:r>
          </a:p>
        </p:txBody>
      </p:sp>
      <p:sp>
        <p:nvSpPr>
          <p:cNvPr id="79" name="TextBox 78">
            <a:extLst>
              <a:ext uri="{FF2B5EF4-FFF2-40B4-BE49-F238E27FC236}">
                <a16:creationId xmlns:a16="http://schemas.microsoft.com/office/drawing/2014/main" id="{774DD4E3-7EC3-DF4F-8C4C-77BCEFA26618}"/>
              </a:ext>
            </a:extLst>
          </p:cNvPr>
          <p:cNvSpPr txBox="1"/>
          <p:nvPr userDrawn="1"/>
        </p:nvSpPr>
        <p:spPr>
          <a:xfrm>
            <a:off x="4688462" y="1399713"/>
            <a:ext cx="1638300" cy="461665"/>
          </a:xfrm>
          <a:prstGeom prst="rect">
            <a:avLst/>
          </a:prstGeom>
          <a:noFill/>
        </p:spPr>
        <p:txBody>
          <a:bodyPr wrap="square" rtlCol="0">
            <a:spAutoFit/>
          </a:bodyPr>
          <a:lstStyle/>
          <a:p>
            <a:r>
              <a:rPr lang="en-US" sz="2400" b="1" dirty="0">
                <a:solidFill>
                  <a:schemeClr val="accent1"/>
                </a:solidFill>
              </a:rPr>
              <a:t>Tuesday</a:t>
            </a:r>
          </a:p>
        </p:txBody>
      </p:sp>
      <p:sp>
        <p:nvSpPr>
          <p:cNvPr id="80" name="TextBox 79">
            <a:extLst>
              <a:ext uri="{FF2B5EF4-FFF2-40B4-BE49-F238E27FC236}">
                <a16:creationId xmlns:a16="http://schemas.microsoft.com/office/drawing/2014/main" id="{475E5324-965D-1F42-8CBB-C3BE7AFA13F9}"/>
              </a:ext>
            </a:extLst>
          </p:cNvPr>
          <p:cNvSpPr txBox="1"/>
          <p:nvPr userDrawn="1"/>
        </p:nvSpPr>
        <p:spPr>
          <a:xfrm>
            <a:off x="8365112" y="1399713"/>
            <a:ext cx="2741038" cy="461665"/>
          </a:xfrm>
          <a:prstGeom prst="rect">
            <a:avLst/>
          </a:prstGeom>
          <a:noFill/>
        </p:spPr>
        <p:txBody>
          <a:bodyPr wrap="square" rtlCol="0">
            <a:spAutoFit/>
          </a:bodyPr>
          <a:lstStyle/>
          <a:p>
            <a:r>
              <a:rPr lang="en-US" sz="2400" b="1" dirty="0">
                <a:solidFill>
                  <a:schemeClr val="accent1"/>
                </a:solidFill>
              </a:rPr>
              <a:t>Wednesday</a:t>
            </a:r>
          </a:p>
        </p:txBody>
      </p:sp>
      <p:sp>
        <p:nvSpPr>
          <p:cNvPr id="81" name="TextBox 80">
            <a:extLst>
              <a:ext uri="{FF2B5EF4-FFF2-40B4-BE49-F238E27FC236}">
                <a16:creationId xmlns:a16="http://schemas.microsoft.com/office/drawing/2014/main" id="{892E7DD6-3962-414B-AEAF-34AB8A45DD88}"/>
              </a:ext>
            </a:extLst>
          </p:cNvPr>
          <p:cNvSpPr txBox="1"/>
          <p:nvPr userDrawn="1"/>
        </p:nvSpPr>
        <p:spPr>
          <a:xfrm>
            <a:off x="12137012" y="1399713"/>
            <a:ext cx="1638300" cy="461665"/>
          </a:xfrm>
          <a:prstGeom prst="rect">
            <a:avLst/>
          </a:prstGeom>
          <a:noFill/>
        </p:spPr>
        <p:txBody>
          <a:bodyPr wrap="square" rtlCol="0">
            <a:spAutoFit/>
          </a:bodyPr>
          <a:lstStyle/>
          <a:p>
            <a:r>
              <a:rPr lang="en-US" sz="2400" b="1" dirty="0">
                <a:solidFill>
                  <a:schemeClr val="accent1"/>
                </a:solidFill>
              </a:rPr>
              <a:t>Thursday</a:t>
            </a:r>
          </a:p>
        </p:txBody>
      </p:sp>
      <p:sp>
        <p:nvSpPr>
          <p:cNvPr id="82" name="TextBox 81">
            <a:extLst>
              <a:ext uri="{FF2B5EF4-FFF2-40B4-BE49-F238E27FC236}">
                <a16:creationId xmlns:a16="http://schemas.microsoft.com/office/drawing/2014/main" id="{73A3D4AB-9B91-514C-BE87-E4B0C19A6518}"/>
              </a:ext>
            </a:extLst>
          </p:cNvPr>
          <p:cNvSpPr txBox="1"/>
          <p:nvPr userDrawn="1"/>
        </p:nvSpPr>
        <p:spPr>
          <a:xfrm>
            <a:off x="15870812" y="1399713"/>
            <a:ext cx="1638300" cy="461665"/>
          </a:xfrm>
          <a:prstGeom prst="rect">
            <a:avLst/>
          </a:prstGeom>
          <a:noFill/>
        </p:spPr>
        <p:txBody>
          <a:bodyPr wrap="square" rtlCol="0">
            <a:spAutoFit/>
          </a:bodyPr>
          <a:lstStyle/>
          <a:p>
            <a:r>
              <a:rPr lang="en-US" sz="2400" b="1" dirty="0">
                <a:solidFill>
                  <a:schemeClr val="accent1"/>
                </a:solidFill>
              </a:rPr>
              <a:t>Friday</a:t>
            </a:r>
          </a:p>
        </p:txBody>
      </p:sp>
      <p:sp>
        <p:nvSpPr>
          <p:cNvPr id="83" name="TextBox 82">
            <a:extLst>
              <a:ext uri="{FF2B5EF4-FFF2-40B4-BE49-F238E27FC236}">
                <a16:creationId xmlns:a16="http://schemas.microsoft.com/office/drawing/2014/main" id="{AFD649B4-787A-1E41-B47E-1F1F9BD8C4B9}"/>
              </a:ext>
            </a:extLst>
          </p:cNvPr>
          <p:cNvSpPr txBox="1"/>
          <p:nvPr userDrawn="1"/>
        </p:nvSpPr>
        <p:spPr>
          <a:xfrm>
            <a:off x="19585562" y="1399713"/>
            <a:ext cx="1638300" cy="461665"/>
          </a:xfrm>
          <a:prstGeom prst="rect">
            <a:avLst/>
          </a:prstGeom>
          <a:noFill/>
        </p:spPr>
        <p:txBody>
          <a:bodyPr wrap="square" rtlCol="0">
            <a:spAutoFit/>
          </a:bodyPr>
          <a:lstStyle/>
          <a:p>
            <a:r>
              <a:rPr lang="en-US" sz="2400" b="1" dirty="0">
                <a:solidFill>
                  <a:schemeClr val="accent1"/>
                </a:solidFill>
              </a:rPr>
              <a:t>Sunday</a:t>
            </a:r>
          </a:p>
        </p:txBody>
      </p:sp>
    </p:spTree>
    <p:extLst>
      <p:ext uri="{BB962C8B-B14F-4D97-AF65-F5344CB8AC3E}">
        <p14:creationId xmlns:p14="http://schemas.microsoft.com/office/powerpoint/2010/main" val="15607252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arch 2019">
    <p:spTree>
      <p:nvGrpSpPr>
        <p:cNvPr id="1" name=""/>
        <p:cNvGrpSpPr/>
        <p:nvPr/>
      </p:nvGrpSpPr>
      <p:grpSpPr>
        <a:xfrm>
          <a:off x="0" y="0"/>
          <a:ext cx="0" cy="0"/>
          <a:chOff x="0" y="0"/>
          <a:chExt cx="0" cy="0"/>
        </a:xfrm>
      </p:grpSpPr>
      <p:sp>
        <p:nvSpPr>
          <p:cNvPr id="1792" name="TextBox 1791"/>
          <p:cNvSpPr txBox="1"/>
          <p:nvPr/>
        </p:nvSpPr>
        <p:spPr>
          <a:xfrm>
            <a:off x="1093019" y="1645734"/>
            <a:ext cx="3657362" cy="768096"/>
          </a:xfrm>
          <a:prstGeom prst="rect">
            <a:avLst/>
          </a:prstGeom>
          <a:noFill/>
        </p:spPr>
        <p:txBody>
          <a:bodyPr wrap="square" tIns="0" bIns="0" rtlCol="0" anchor="ctr">
            <a:noAutofit/>
          </a:bodyPr>
          <a:lstStyle/>
          <a:p>
            <a:pPr algn="l"/>
            <a:r>
              <a:rPr sz="2600" b="0" dirty="0">
                <a:solidFill>
                  <a:schemeClr val="bg2">
                    <a:lumMod val="90000"/>
                  </a:schemeClr>
                </a:solidFill>
              </a:rPr>
              <a:t>2</a:t>
            </a:r>
            <a:r>
              <a:rPr lang="en-US" sz="2600" b="0" dirty="0">
                <a:solidFill>
                  <a:schemeClr val="bg2">
                    <a:lumMod val="90000"/>
                  </a:schemeClr>
                </a:solidFill>
              </a:rPr>
              <a:t>5</a:t>
            </a:r>
            <a:r>
              <a:rPr sz="2600" b="0" dirty="0">
                <a:solidFill>
                  <a:schemeClr val="bg2">
                    <a:lumMod val="90000"/>
                  </a:schemeClr>
                </a:solidFill>
              </a:rPr>
              <a:t> February</a:t>
            </a:r>
          </a:p>
        </p:txBody>
      </p:sp>
      <p:sp>
        <p:nvSpPr>
          <p:cNvPr id="1793" name="TextBox 1792"/>
          <p:cNvSpPr txBox="1"/>
          <p:nvPr/>
        </p:nvSpPr>
        <p:spPr>
          <a:xfrm>
            <a:off x="4764373" y="1645734"/>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26</a:t>
            </a:r>
            <a:endParaRPr sz="2600" b="0" dirty="0">
              <a:solidFill>
                <a:schemeClr val="bg2">
                  <a:lumMod val="90000"/>
                </a:schemeClr>
              </a:solidFill>
            </a:endParaRPr>
          </a:p>
        </p:txBody>
      </p:sp>
      <p:sp>
        <p:nvSpPr>
          <p:cNvPr id="1794" name="TextBox 1793"/>
          <p:cNvSpPr txBox="1"/>
          <p:nvPr/>
        </p:nvSpPr>
        <p:spPr>
          <a:xfrm>
            <a:off x="8512830" y="1645734"/>
            <a:ext cx="3657362" cy="768096"/>
          </a:xfrm>
          <a:prstGeom prst="rect">
            <a:avLst/>
          </a:prstGeom>
          <a:noFill/>
        </p:spPr>
        <p:txBody>
          <a:bodyPr wrap="square" tIns="0" bIns="0" rtlCol="0" anchor="ctr">
            <a:noAutofit/>
          </a:bodyPr>
          <a:lstStyle>
            <a:defPPr>
              <a:defRPr lang="en-US"/>
            </a:defPPr>
            <a:lvl1pPr>
              <a:defRPr sz="1300" b="0"/>
            </a:lvl1pPr>
          </a:lstStyle>
          <a:p>
            <a:pPr marL="0" marR="0" lvl="0" indent="0" algn="l" defTabSz="1828800" rtl="0" eaLnBrk="1" fontAlgn="auto" latinLnBrk="0" hangingPunct="1">
              <a:lnSpc>
                <a:spcPct val="100000"/>
              </a:lnSpc>
              <a:spcBef>
                <a:spcPts val="0"/>
              </a:spcBef>
              <a:spcAft>
                <a:spcPts val="0"/>
              </a:spcAft>
              <a:buClrTx/>
              <a:buSzTx/>
              <a:buFontTx/>
              <a:buNone/>
              <a:tabLst/>
              <a:defRPr/>
            </a:pPr>
            <a:endParaRPr lang="en-US" sz="2600" b="0" dirty="0">
              <a:solidFill>
                <a:schemeClr val="bg2">
                  <a:lumMod val="90000"/>
                </a:schemeClr>
              </a:solidFill>
            </a:endParaRPr>
          </a:p>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2">
                    <a:lumMod val="90000"/>
                  </a:schemeClr>
                </a:solidFill>
              </a:rPr>
              <a:t>27</a:t>
            </a:r>
          </a:p>
          <a:p>
            <a:pPr lvl="0"/>
            <a:endParaRPr sz="2600" dirty="0"/>
          </a:p>
        </p:txBody>
      </p:sp>
      <p:sp>
        <p:nvSpPr>
          <p:cNvPr id="1795" name="TextBox 1794"/>
          <p:cNvSpPr txBox="1"/>
          <p:nvPr/>
        </p:nvSpPr>
        <p:spPr>
          <a:xfrm>
            <a:off x="12191204" y="1645734"/>
            <a:ext cx="3657362" cy="768096"/>
          </a:xfrm>
          <a:prstGeom prst="rect">
            <a:avLst/>
          </a:prstGeom>
          <a:noFill/>
        </p:spPr>
        <p:txBody>
          <a:bodyPr wrap="square" tIns="0" bIns="0" rtlCol="0" anchor="ctr">
            <a:noAutofit/>
          </a:bodyPr>
          <a:lstStyle>
            <a:defPPr>
              <a:defRPr lang="en-US"/>
            </a:defPPr>
            <a:lvl1pPr lvl="0">
              <a:defRPr sz="1300" b="0"/>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2">
                    <a:lumMod val="90000"/>
                  </a:schemeClr>
                </a:solidFill>
              </a:rPr>
              <a:t>28</a:t>
            </a:r>
          </a:p>
        </p:txBody>
      </p:sp>
      <p:sp>
        <p:nvSpPr>
          <p:cNvPr id="1796" name="TextBox 1795"/>
          <p:cNvSpPr txBox="1"/>
          <p:nvPr/>
        </p:nvSpPr>
        <p:spPr>
          <a:xfrm>
            <a:off x="15925635" y="1645734"/>
            <a:ext cx="3657362" cy="768096"/>
          </a:xfrm>
          <a:prstGeom prst="rect">
            <a:avLst/>
          </a:prstGeom>
          <a:noFill/>
        </p:spPr>
        <p:txBody>
          <a:bodyPr wrap="square" tIns="0" bIns="0" rtlCol="0" anchor="ctr">
            <a:noAutofit/>
          </a:bodyPr>
          <a:lstStyle>
            <a:defPPr>
              <a:defRPr lang="en-US"/>
            </a:defPPr>
            <a:lvl1pPr>
              <a:defRPr sz="1300" b="0"/>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kern="1200" cap="none" spc="0" dirty="0">
                <a:ln w="0"/>
                <a:solidFill>
                  <a:schemeClr val="tx1"/>
                </a:solidFill>
                <a:effectLst>
                  <a:outerShdw blurRad="38100" dist="19050" dir="2700000" algn="tl" rotWithShape="0">
                    <a:schemeClr val="dk1">
                      <a:alpha val="40000"/>
                    </a:schemeClr>
                  </a:outerShdw>
                </a:effectLst>
                <a:latin typeface="+mn-lt"/>
                <a:ea typeface="+mn-ea"/>
                <a:cs typeface="+mn-cs"/>
              </a:rPr>
              <a:t>1 March</a:t>
            </a:r>
          </a:p>
        </p:txBody>
      </p:sp>
      <p:sp>
        <p:nvSpPr>
          <p:cNvPr id="1797" name="TextBox 1796"/>
          <p:cNvSpPr txBox="1"/>
          <p:nvPr/>
        </p:nvSpPr>
        <p:spPr>
          <a:xfrm>
            <a:off x="19649854" y="1645734"/>
            <a:ext cx="3657362" cy="768096"/>
          </a:xfrm>
          <a:prstGeom prst="rect">
            <a:avLst/>
          </a:prstGeom>
          <a:noFill/>
        </p:spPr>
        <p:txBody>
          <a:bodyPr wrap="square" tIns="0" bIns="0" rtlCol="0" anchor="ctr">
            <a:noAutofit/>
          </a:bodyPr>
          <a:lstStyle>
            <a:defPPr>
              <a:defRPr lang="en-US"/>
            </a:defPPr>
            <a:lvl1pPr lvl="0">
              <a:defRPr sz="1300" b="0"/>
            </a:lvl1pPr>
          </a:lstStyle>
          <a:p>
            <a:pPr lvl="0"/>
            <a:r>
              <a:rPr lang="en-US" sz="2600" dirty="0"/>
              <a:t>2/3</a:t>
            </a:r>
            <a:endParaRPr sz="2600" dirty="0"/>
          </a:p>
        </p:txBody>
      </p:sp>
      <p:sp>
        <p:nvSpPr>
          <p:cNvPr id="1798" name="TextBox 1797"/>
          <p:cNvSpPr txBox="1"/>
          <p:nvPr userDrawn="1"/>
        </p:nvSpPr>
        <p:spPr>
          <a:xfrm>
            <a:off x="1093025" y="3475562"/>
            <a:ext cx="3657362" cy="768096"/>
          </a:xfrm>
          <a:prstGeom prst="rect">
            <a:avLst/>
          </a:prstGeom>
          <a:noFill/>
        </p:spPr>
        <p:txBody>
          <a:bodyPr wrap="square" tIns="0" bIns="0" rtlCol="0" anchor="ctr">
            <a:noAutofit/>
          </a:bodyPr>
          <a:lstStyle/>
          <a:p>
            <a:pPr algn="l"/>
            <a:r>
              <a:rPr lang="en-US" sz="2600" b="0" dirty="0">
                <a:solidFill>
                  <a:schemeClr val="tx1"/>
                </a:solidFill>
              </a:rPr>
              <a:t>4</a:t>
            </a:r>
            <a:endParaRPr sz="2600" b="0" dirty="0">
              <a:solidFill>
                <a:schemeClr val="tx1"/>
              </a:solidFill>
            </a:endParaRPr>
          </a:p>
        </p:txBody>
      </p:sp>
      <p:sp>
        <p:nvSpPr>
          <p:cNvPr id="1799" name="TextBox 1798"/>
          <p:cNvSpPr txBox="1"/>
          <p:nvPr/>
        </p:nvSpPr>
        <p:spPr>
          <a:xfrm>
            <a:off x="4764373" y="3475562"/>
            <a:ext cx="3657362" cy="768096"/>
          </a:xfrm>
          <a:prstGeom prst="rect">
            <a:avLst/>
          </a:prstGeom>
          <a:noFill/>
        </p:spPr>
        <p:txBody>
          <a:bodyPr wrap="square" tIns="0" bIns="0" rtlCol="0" anchor="ctr">
            <a:noAutofit/>
          </a:bodyPr>
          <a:lstStyle/>
          <a:p>
            <a:pPr algn="l"/>
            <a:r>
              <a:rPr lang="en-US" sz="2600" b="0" dirty="0">
                <a:solidFill>
                  <a:schemeClr val="tx1"/>
                </a:solidFill>
              </a:rPr>
              <a:t>5</a:t>
            </a:r>
            <a:endParaRPr sz="2600" b="0" dirty="0">
              <a:solidFill>
                <a:schemeClr val="tx1"/>
              </a:solidFill>
            </a:endParaRPr>
          </a:p>
        </p:txBody>
      </p:sp>
      <p:sp>
        <p:nvSpPr>
          <p:cNvPr id="1800" name="TextBox 1799"/>
          <p:cNvSpPr txBox="1"/>
          <p:nvPr/>
        </p:nvSpPr>
        <p:spPr>
          <a:xfrm>
            <a:off x="8512830" y="3475562"/>
            <a:ext cx="3657362" cy="768096"/>
          </a:xfrm>
          <a:prstGeom prst="rect">
            <a:avLst/>
          </a:prstGeom>
          <a:noFill/>
        </p:spPr>
        <p:txBody>
          <a:bodyPr wrap="square" tIns="0" bIns="0" rtlCol="0" anchor="ctr">
            <a:noAutofit/>
          </a:bodyPr>
          <a:lstStyle/>
          <a:p>
            <a:pPr algn="l"/>
            <a:r>
              <a:rPr lang="en-US" sz="2600" b="0" dirty="0">
                <a:solidFill>
                  <a:schemeClr val="tx1"/>
                </a:solidFill>
              </a:rPr>
              <a:t>6</a:t>
            </a:r>
            <a:endParaRPr sz="2600" b="0" dirty="0">
              <a:solidFill>
                <a:schemeClr val="tx1"/>
              </a:solidFill>
            </a:endParaRPr>
          </a:p>
        </p:txBody>
      </p:sp>
      <p:sp>
        <p:nvSpPr>
          <p:cNvPr id="1801" name="TextBox 1800"/>
          <p:cNvSpPr txBox="1"/>
          <p:nvPr/>
        </p:nvSpPr>
        <p:spPr>
          <a:xfrm>
            <a:off x="12191204" y="3475562"/>
            <a:ext cx="3657362" cy="768096"/>
          </a:xfrm>
          <a:prstGeom prst="rect">
            <a:avLst/>
          </a:prstGeom>
          <a:noFill/>
        </p:spPr>
        <p:txBody>
          <a:bodyPr wrap="square" tIns="0" bIns="0" rtlCol="0" anchor="ctr">
            <a:noAutofit/>
          </a:bodyPr>
          <a:lstStyle/>
          <a:p>
            <a:pPr algn="l"/>
            <a:r>
              <a:rPr lang="en-US" sz="2600" b="0" dirty="0">
                <a:solidFill>
                  <a:schemeClr val="tx1"/>
                </a:solidFill>
              </a:rPr>
              <a:t>7</a:t>
            </a:r>
            <a:endParaRPr sz="2600" b="0" dirty="0">
              <a:solidFill>
                <a:schemeClr val="tx1"/>
              </a:solidFill>
            </a:endParaRPr>
          </a:p>
        </p:txBody>
      </p:sp>
      <p:sp>
        <p:nvSpPr>
          <p:cNvPr id="1802" name="TextBox 1801"/>
          <p:cNvSpPr txBox="1"/>
          <p:nvPr/>
        </p:nvSpPr>
        <p:spPr>
          <a:xfrm>
            <a:off x="15925635" y="3475562"/>
            <a:ext cx="3657362" cy="768096"/>
          </a:xfrm>
          <a:prstGeom prst="rect">
            <a:avLst/>
          </a:prstGeom>
          <a:noFill/>
        </p:spPr>
        <p:txBody>
          <a:bodyPr wrap="square" tIns="0" bIns="0" rtlCol="0" anchor="ctr">
            <a:noAutofit/>
          </a:bodyPr>
          <a:lstStyle/>
          <a:p>
            <a:pPr algn="l"/>
            <a:r>
              <a:rPr lang="en-US" sz="2600" b="0" dirty="0">
                <a:solidFill>
                  <a:schemeClr val="tx1"/>
                </a:solidFill>
              </a:rPr>
              <a:t>8</a:t>
            </a:r>
            <a:endParaRPr sz="2600" b="0" dirty="0">
              <a:solidFill>
                <a:schemeClr val="tx1"/>
              </a:solidFill>
            </a:endParaRPr>
          </a:p>
        </p:txBody>
      </p:sp>
      <p:sp>
        <p:nvSpPr>
          <p:cNvPr id="1803" name="TextBox 1802"/>
          <p:cNvSpPr txBox="1"/>
          <p:nvPr/>
        </p:nvSpPr>
        <p:spPr>
          <a:xfrm>
            <a:off x="19649854" y="3475562"/>
            <a:ext cx="3657362" cy="768096"/>
          </a:xfrm>
          <a:prstGeom prst="rect">
            <a:avLst/>
          </a:prstGeom>
          <a:noFill/>
        </p:spPr>
        <p:txBody>
          <a:bodyPr wrap="square" tIns="0" bIns="0" rtlCol="0" anchor="ctr">
            <a:noAutofit/>
          </a:bodyPr>
          <a:lstStyle/>
          <a:p>
            <a:pPr algn="l"/>
            <a:r>
              <a:rPr lang="en-US" sz="2600" b="0" dirty="0">
                <a:solidFill>
                  <a:schemeClr val="tx1"/>
                </a:solidFill>
              </a:rPr>
              <a:t>9/10</a:t>
            </a:r>
            <a:endParaRPr sz="2600" b="0" dirty="0">
              <a:solidFill>
                <a:schemeClr val="tx1"/>
              </a:solidFill>
            </a:endParaRPr>
          </a:p>
        </p:txBody>
      </p:sp>
      <p:sp>
        <p:nvSpPr>
          <p:cNvPr id="1804" name="TextBox 1803"/>
          <p:cNvSpPr txBox="1"/>
          <p:nvPr/>
        </p:nvSpPr>
        <p:spPr>
          <a:xfrm>
            <a:off x="1093025" y="5304362"/>
            <a:ext cx="3657362" cy="768096"/>
          </a:xfrm>
          <a:prstGeom prst="rect">
            <a:avLst/>
          </a:prstGeom>
          <a:noFill/>
        </p:spPr>
        <p:txBody>
          <a:bodyPr wrap="square" tIns="0" bIns="0" rtlCol="0" anchor="ctr">
            <a:noAutofit/>
          </a:bodyPr>
          <a:lstStyle/>
          <a:p>
            <a:pPr algn="l"/>
            <a:r>
              <a:rPr lang="en-US" sz="2600" b="0" dirty="0">
                <a:solidFill>
                  <a:schemeClr val="tx1"/>
                </a:solidFill>
              </a:rPr>
              <a:t>11</a:t>
            </a:r>
            <a:endParaRPr sz="2600" b="0" dirty="0">
              <a:solidFill>
                <a:schemeClr val="tx1"/>
              </a:solidFill>
            </a:endParaRPr>
          </a:p>
        </p:txBody>
      </p:sp>
      <p:sp>
        <p:nvSpPr>
          <p:cNvPr id="1805" name="TextBox 1804"/>
          <p:cNvSpPr txBox="1"/>
          <p:nvPr/>
        </p:nvSpPr>
        <p:spPr>
          <a:xfrm>
            <a:off x="4764373" y="5304362"/>
            <a:ext cx="3657362" cy="768096"/>
          </a:xfrm>
          <a:prstGeom prst="rect">
            <a:avLst/>
          </a:prstGeom>
          <a:noFill/>
        </p:spPr>
        <p:txBody>
          <a:bodyPr wrap="square" tIns="0" bIns="0" rtlCol="0" anchor="ctr">
            <a:noAutofit/>
          </a:bodyPr>
          <a:lstStyle/>
          <a:p>
            <a:pPr algn="l"/>
            <a:r>
              <a:rPr lang="en-US" sz="2600" b="0" dirty="0">
                <a:solidFill>
                  <a:schemeClr val="tx1"/>
                </a:solidFill>
              </a:rPr>
              <a:t>12</a:t>
            </a:r>
            <a:endParaRPr sz="2600" b="0" dirty="0">
              <a:solidFill>
                <a:schemeClr val="tx1"/>
              </a:solidFill>
            </a:endParaRPr>
          </a:p>
        </p:txBody>
      </p:sp>
      <p:sp>
        <p:nvSpPr>
          <p:cNvPr id="1806" name="TextBox 1805"/>
          <p:cNvSpPr txBox="1"/>
          <p:nvPr/>
        </p:nvSpPr>
        <p:spPr>
          <a:xfrm>
            <a:off x="8512830" y="5304362"/>
            <a:ext cx="3657362" cy="768096"/>
          </a:xfrm>
          <a:prstGeom prst="rect">
            <a:avLst/>
          </a:prstGeom>
          <a:noFill/>
        </p:spPr>
        <p:txBody>
          <a:bodyPr wrap="square" tIns="0" bIns="0" rtlCol="0" anchor="ctr">
            <a:noAutofit/>
          </a:bodyPr>
          <a:lstStyle/>
          <a:p>
            <a:pPr algn="l"/>
            <a:r>
              <a:rPr lang="en-US" sz="2600" b="0" dirty="0">
                <a:solidFill>
                  <a:schemeClr val="tx1"/>
                </a:solidFill>
              </a:rPr>
              <a:t>13</a:t>
            </a:r>
            <a:endParaRPr sz="2600" b="0" dirty="0">
              <a:solidFill>
                <a:schemeClr val="tx1"/>
              </a:solidFill>
            </a:endParaRPr>
          </a:p>
        </p:txBody>
      </p:sp>
      <p:sp>
        <p:nvSpPr>
          <p:cNvPr id="1807" name="TextBox 1806"/>
          <p:cNvSpPr txBox="1"/>
          <p:nvPr/>
        </p:nvSpPr>
        <p:spPr>
          <a:xfrm>
            <a:off x="12191204" y="5304362"/>
            <a:ext cx="3657362" cy="768096"/>
          </a:xfrm>
          <a:prstGeom prst="rect">
            <a:avLst/>
          </a:prstGeom>
          <a:noFill/>
        </p:spPr>
        <p:txBody>
          <a:bodyPr wrap="square" tIns="0" bIns="0" rtlCol="0" anchor="ctr">
            <a:noAutofit/>
          </a:bodyPr>
          <a:lstStyle/>
          <a:p>
            <a:pPr algn="l"/>
            <a:r>
              <a:rPr lang="en-US" sz="2600" b="0" dirty="0">
                <a:solidFill>
                  <a:schemeClr val="tx1"/>
                </a:solidFill>
              </a:rPr>
              <a:t>14</a:t>
            </a:r>
            <a:endParaRPr sz="2600" b="0" dirty="0">
              <a:solidFill>
                <a:schemeClr val="tx1"/>
              </a:solidFill>
            </a:endParaRPr>
          </a:p>
        </p:txBody>
      </p:sp>
      <p:sp>
        <p:nvSpPr>
          <p:cNvPr id="1808" name="TextBox 1807"/>
          <p:cNvSpPr txBox="1"/>
          <p:nvPr/>
        </p:nvSpPr>
        <p:spPr>
          <a:xfrm>
            <a:off x="15925635" y="5304362"/>
            <a:ext cx="3657362" cy="768096"/>
          </a:xfrm>
          <a:prstGeom prst="rect">
            <a:avLst/>
          </a:prstGeom>
          <a:noFill/>
        </p:spPr>
        <p:txBody>
          <a:bodyPr wrap="square" tIns="0" bIns="0" rtlCol="0" anchor="ctr">
            <a:noAutofit/>
          </a:bodyPr>
          <a:lstStyle/>
          <a:p>
            <a:pPr algn="l"/>
            <a:r>
              <a:rPr lang="en-US" sz="2600" b="0" dirty="0">
                <a:solidFill>
                  <a:schemeClr val="tx1"/>
                </a:solidFill>
              </a:rPr>
              <a:t>15</a:t>
            </a:r>
            <a:endParaRPr sz="2600" b="0" dirty="0">
              <a:solidFill>
                <a:schemeClr val="tx1"/>
              </a:solidFill>
            </a:endParaRPr>
          </a:p>
        </p:txBody>
      </p:sp>
      <p:sp>
        <p:nvSpPr>
          <p:cNvPr id="1809" name="TextBox 1808"/>
          <p:cNvSpPr txBox="1"/>
          <p:nvPr/>
        </p:nvSpPr>
        <p:spPr>
          <a:xfrm>
            <a:off x="19649854" y="5304362"/>
            <a:ext cx="3657362" cy="768096"/>
          </a:xfrm>
          <a:prstGeom prst="rect">
            <a:avLst/>
          </a:prstGeom>
          <a:noFill/>
        </p:spPr>
        <p:txBody>
          <a:bodyPr wrap="square" tIns="0" bIns="0" rtlCol="0" anchor="ctr">
            <a:noAutofit/>
          </a:bodyPr>
          <a:lstStyle/>
          <a:p>
            <a:pPr algn="l"/>
            <a:r>
              <a:rPr lang="en-US" sz="2600" b="0" dirty="0">
                <a:solidFill>
                  <a:schemeClr val="tx1"/>
                </a:solidFill>
              </a:rPr>
              <a:t>16/17</a:t>
            </a:r>
            <a:endParaRPr sz="2600" b="0" dirty="0">
              <a:solidFill>
                <a:schemeClr val="tx1"/>
              </a:solidFill>
            </a:endParaRPr>
          </a:p>
        </p:txBody>
      </p:sp>
      <p:sp>
        <p:nvSpPr>
          <p:cNvPr id="1810" name="TextBox 1809"/>
          <p:cNvSpPr txBox="1"/>
          <p:nvPr/>
        </p:nvSpPr>
        <p:spPr>
          <a:xfrm>
            <a:off x="1093025" y="7133162"/>
            <a:ext cx="3657362" cy="768096"/>
          </a:xfrm>
          <a:prstGeom prst="rect">
            <a:avLst/>
          </a:prstGeom>
          <a:noFill/>
        </p:spPr>
        <p:txBody>
          <a:bodyPr wrap="square" tIns="0" bIns="0" rtlCol="0" anchor="ctr">
            <a:noAutofit/>
          </a:bodyPr>
          <a:lstStyle/>
          <a:p>
            <a:pPr algn="l"/>
            <a:r>
              <a:rPr lang="en-US" sz="2600" b="0" dirty="0">
                <a:solidFill>
                  <a:schemeClr val="tx1"/>
                </a:solidFill>
              </a:rPr>
              <a:t>18</a:t>
            </a:r>
            <a:endParaRPr sz="2600" b="0" dirty="0">
              <a:solidFill>
                <a:schemeClr val="tx1"/>
              </a:solidFill>
            </a:endParaRPr>
          </a:p>
        </p:txBody>
      </p:sp>
      <p:sp>
        <p:nvSpPr>
          <p:cNvPr id="1811" name="TextBox 1810"/>
          <p:cNvSpPr txBox="1"/>
          <p:nvPr/>
        </p:nvSpPr>
        <p:spPr>
          <a:xfrm>
            <a:off x="4764373" y="7133162"/>
            <a:ext cx="3657362" cy="768096"/>
          </a:xfrm>
          <a:prstGeom prst="rect">
            <a:avLst/>
          </a:prstGeom>
          <a:noFill/>
        </p:spPr>
        <p:txBody>
          <a:bodyPr wrap="square" tIns="0" bIns="0" rtlCol="0" anchor="ctr">
            <a:noAutofit/>
          </a:bodyPr>
          <a:lstStyle/>
          <a:p>
            <a:pPr algn="l"/>
            <a:r>
              <a:rPr lang="en-US" sz="2600" b="0" dirty="0">
                <a:solidFill>
                  <a:schemeClr val="tx1"/>
                </a:solidFill>
              </a:rPr>
              <a:t>19</a:t>
            </a:r>
            <a:endParaRPr sz="2600" b="0" dirty="0">
              <a:solidFill>
                <a:schemeClr val="tx1"/>
              </a:solidFill>
            </a:endParaRPr>
          </a:p>
        </p:txBody>
      </p:sp>
      <p:sp>
        <p:nvSpPr>
          <p:cNvPr id="1812" name="TextBox 1811"/>
          <p:cNvSpPr txBox="1"/>
          <p:nvPr/>
        </p:nvSpPr>
        <p:spPr>
          <a:xfrm>
            <a:off x="8512830" y="7133162"/>
            <a:ext cx="3657362" cy="768096"/>
          </a:xfrm>
          <a:prstGeom prst="rect">
            <a:avLst/>
          </a:prstGeom>
          <a:noFill/>
        </p:spPr>
        <p:txBody>
          <a:bodyPr wrap="square" tIns="0" bIns="0" rtlCol="0" anchor="ctr">
            <a:noAutofit/>
          </a:bodyPr>
          <a:lstStyle/>
          <a:p>
            <a:pPr algn="l"/>
            <a:r>
              <a:rPr lang="en-US" sz="2600" b="0" dirty="0">
                <a:solidFill>
                  <a:schemeClr val="tx1"/>
                </a:solidFill>
              </a:rPr>
              <a:t>20</a:t>
            </a:r>
            <a:endParaRPr sz="2600" b="0" dirty="0">
              <a:solidFill>
                <a:schemeClr val="tx1"/>
              </a:solidFill>
            </a:endParaRPr>
          </a:p>
        </p:txBody>
      </p:sp>
      <p:sp>
        <p:nvSpPr>
          <p:cNvPr id="1813" name="TextBox 1812"/>
          <p:cNvSpPr txBox="1"/>
          <p:nvPr/>
        </p:nvSpPr>
        <p:spPr>
          <a:xfrm>
            <a:off x="12191204" y="7133162"/>
            <a:ext cx="3657362" cy="768096"/>
          </a:xfrm>
          <a:prstGeom prst="rect">
            <a:avLst/>
          </a:prstGeom>
          <a:noFill/>
        </p:spPr>
        <p:txBody>
          <a:bodyPr wrap="square" tIns="0" bIns="0" rtlCol="0" anchor="ctr">
            <a:noAutofit/>
          </a:bodyPr>
          <a:lstStyle/>
          <a:p>
            <a:pPr algn="l"/>
            <a:r>
              <a:rPr lang="en-US" sz="2600" b="0" dirty="0">
                <a:solidFill>
                  <a:schemeClr val="tx1"/>
                </a:solidFill>
              </a:rPr>
              <a:t>21</a:t>
            </a:r>
            <a:endParaRPr sz="2600" b="0" dirty="0">
              <a:solidFill>
                <a:schemeClr val="tx1"/>
              </a:solidFill>
            </a:endParaRPr>
          </a:p>
        </p:txBody>
      </p:sp>
      <p:sp>
        <p:nvSpPr>
          <p:cNvPr id="1814" name="TextBox 1813"/>
          <p:cNvSpPr txBox="1"/>
          <p:nvPr/>
        </p:nvSpPr>
        <p:spPr>
          <a:xfrm>
            <a:off x="15925635" y="7133162"/>
            <a:ext cx="3657362" cy="768096"/>
          </a:xfrm>
          <a:prstGeom prst="rect">
            <a:avLst/>
          </a:prstGeom>
          <a:noFill/>
        </p:spPr>
        <p:txBody>
          <a:bodyPr wrap="square" tIns="0" bIns="0" rtlCol="0" anchor="ctr">
            <a:noAutofit/>
          </a:bodyPr>
          <a:lstStyle/>
          <a:p>
            <a:pPr algn="l"/>
            <a:r>
              <a:rPr lang="en-US" sz="2600" b="0" dirty="0">
                <a:solidFill>
                  <a:schemeClr val="tx1"/>
                </a:solidFill>
              </a:rPr>
              <a:t>22</a:t>
            </a:r>
            <a:endParaRPr sz="2600" b="0" dirty="0">
              <a:solidFill>
                <a:schemeClr val="tx1"/>
              </a:solidFill>
            </a:endParaRPr>
          </a:p>
        </p:txBody>
      </p:sp>
      <p:sp>
        <p:nvSpPr>
          <p:cNvPr id="1815" name="TextBox 1814"/>
          <p:cNvSpPr txBox="1"/>
          <p:nvPr/>
        </p:nvSpPr>
        <p:spPr>
          <a:xfrm>
            <a:off x="19649854" y="7133162"/>
            <a:ext cx="3657362" cy="768096"/>
          </a:xfrm>
          <a:prstGeom prst="rect">
            <a:avLst/>
          </a:prstGeom>
          <a:noFill/>
        </p:spPr>
        <p:txBody>
          <a:bodyPr wrap="square" tIns="0" bIns="0" rtlCol="0" anchor="ctr">
            <a:noAutofit/>
          </a:bodyPr>
          <a:lstStyle/>
          <a:p>
            <a:pPr algn="l"/>
            <a:r>
              <a:rPr lang="en-US" sz="2600" b="0" dirty="0">
                <a:solidFill>
                  <a:schemeClr val="tx1"/>
                </a:solidFill>
              </a:rPr>
              <a:t>23/24</a:t>
            </a:r>
            <a:endParaRPr sz="2600" b="0" dirty="0">
              <a:solidFill>
                <a:schemeClr val="tx1"/>
              </a:solidFill>
            </a:endParaRPr>
          </a:p>
        </p:txBody>
      </p:sp>
      <p:sp>
        <p:nvSpPr>
          <p:cNvPr id="1816" name="TextBox 1815"/>
          <p:cNvSpPr txBox="1"/>
          <p:nvPr/>
        </p:nvSpPr>
        <p:spPr>
          <a:xfrm>
            <a:off x="1093025" y="8961962"/>
            <a:ext cx="3657362" cy="768096"/>
          </a:xfrm>
          <a:prstGeom prst="rect">
            <a:avLst/>
          </a:prstGeom>
          <a:noFill/>
        </p:spPr>
        <p:txBody>
          <a:bodyPr wrap="square" tIns="0" bIns="0" rtlCol="0" anchor="ctr">
            <a:noAutofit/>
          </a:bodyPr>
          <a:lstStyle/>
          <a:p>
            <a:pPr algn="l"/>
            <a:r>
              <a:rPr lang="en-US" sz="2600" b="0" dirty="0">
                <a:solidFill>
                  <a:schemeClr val="tx1"/>
                </a:solidFill>
              </a:rPr>
              <a:t>25</a:t>
            </a:r>
            <a:endParaRPr sz="2600" b="0" dirty="0">
              <a:solidFill>
                <a:schemeClr val="tx1"/>
              </a:solidFill>
            </a:endParaRPr>
          </a:p>
        </p:txBody>
      </p:sp>
      <p:sp>
        <p:nvSpPr>
          <p:cNvPr id="1817" name="TextBox 1816"/>
          <p:cNvSpPr txBox="1"/>
          <p:nvPr/>
        </p:nvSpPr>
        <p:spPr>
          <a:xfrm>
            <a:off x="4764373" y="8961962"/>
            <a:ext cx="3657362" cy="768096"/>
          </a:xfrm>
          <a:prstGeom prst="rect">
            <a:avLst/>
          </a:prstGeom>
          <a:noFill/>
        </p:spPr>
        <p:txBody>
          <a:bodyPr wrap="square" tIns="0" bIns="0" rtlCol="0" anchor="ctr">
            <a:noAutofit/>
          </a:bodyPr>
          <a:lstStyle/>
          <a:p>
            <a:pPr algn="l"/>
            <a:r>
              <a:rPr lang="en-US" sz="2600" b="0" dirty="0">
                <a:solidFill>
                  <a:schemeClr val="tx1"/>
                </a:solidFill>
              </a:rPr>
              <a:t>26</a:t>
            </a:r>
            <a:endParaRPr sz="2600" b="0" dirty="0">
              <a:solidFill>
                <a:schemeClr val="tx1"/>
              </a:solidFill>
            </a:endParaRPr>
          </a:p>
        </p:txBody>
      </p:sp>
      <p:sp>
        <p:nvSpPr>
          <p:cNvPr id="1818" name="TextBox 1817"/>
          <p:cNvSpPr txBox="1"/>
          <p:nvPr/>
        </p:nvSpPr>
        <p:spPr>
          <a:xfrm>
            <a:off x="8512830" y="8961962"/>
            <a:ext cx="3657362" cy="768096"/>
          </a:xfrm>
          <a:prstGeom prst="rect">
            <a:avLst/>
          </a:prstGeom>
          <a:noFill/>
        </p:spPr>
        <p:txBody>
          <a:bodyPr wrap="square" tIns="0" bIns="0" rtlCol="0" anchor="ctr">
            <a:noAutofit/>
          </a:bodyPr>
          <a:lstStyle/>
          <a:p>
            <a:pPr algn="l"/>
            <a:r>
              <a:rPr lang="en-US" sz="2600" b="0" dirty="0">
                <a:solidFill>
                  <a:schemeClr val="tx1"/>
                </a:solidFill>
              </a:rPr>
              <a:t>27</a:t>
            </a:r>
            <a:endParaRPr sz="2600" b="0" dirty="0">
              <a:solidFill>
                <a:schemeClr val="tx1"/>
              </a:solidFill>
            </a:endParaRPr>
          </a:p>
        </p:txBody>
      </p:sp>
      <p:sp>
        <p:nvSpPr>
          <p:cNvPr id="1819" name="TextBox 1818"/>
          <p:cNvSpPr txBox="1"/>
          <p:nvPr/>
        </p:nvSpPr>
        <p:spPr>
          <a:xfrm>
            <a:off x="12191204" y="8961962"/>
            <a:ext cx="3657362" cy="768096"/>
          </a:xfrm>
          <a:prstGeom prst="rect">
            <a:avLst/>
          </a:prstGeom>
          <a:noFill/>
        </p:spPr>
        <p:txBody>
          <a:bodyPr wrap="square" tIns="0" bIns="0" rtlCol="0" anchor="ctr">
            <a:noAutofit/>
          </a:bodyPr>
          <a:lstStyle/>
          <a:p>
            <a:pPr algn="l"/>
            <a:r>
              <a:rPr lang="en-US" sz="2600" b="0" dirty="0">
                <a:solidFill>
                  <a:schemeClr val="tx1"/>
                </a:solidFill>
              </a:rPr>
              <a:t>28</a:t>
            </a:r>
            <a:endParaRPr sz="2600" b="0" dirty="0">
              <a:solidFill>
                <a:schemeClr val="tx1"/>
              </a:solidFill>
            </a:endParaRPr>
          </a:p>
        </p:txBody>
      </p:sp>
      <p:sp>
        <p:nvSpPr>
          <p:cNvPr id="1820" name="TextBox 1819"/>
          <p:cNvSpPr txBox="1"/>
          <p:nvPr/>
        </p:nvSpPr>
        <p:spPr>
          <a:xfrm>
            <a:off x="15925635" y="8961962"/>
            <a:ext cx="3657362" cy="768096"/>
          </a:xfrm>
          <a:prstGeom prst="rect">
            <a:avLst/>
          </a:prstGeom>
          <a:noFill/>
        </p:spPr>
        <p:txBody>
          <a:bodyPr wrap="square" tIns="0" bIns="0" rtlCol="0" anchor="ctr">
            <a:noAutofit/>
          </a:bodyPr>
          <a:lstStyle/>
          <a:p>
            <a:pPr algn="l"/>
            <a:r>
              <a:rPr lang="en-US" sz="2600" b="0" dirty="0">
                <a:solidFill>
                  <a:schemeClr val="tx1"/>
                </a:solidFill>
              </a:rPr>
              <a:t>29</a:t>
            </a:r>
            <a:endParaRPr sz="2600" b="0" dirty="0">
              <a:solidFill>
                <a:schemeClr val="tx1"/>
              </a:solidFill>
            </a:endParaRPr>
          </a:p>
        </p:txBody>
      </p:sp>
      <p:sp>
        <p:nvSpPr>
          <p:cNvPr id="1821" name="TextBox 1820"/>
          <p:cNvSpPr txBox="1"/>
          <p:nvPr/>
        </p:nvSpPr>
        <p:spPr>
          <a:xfrm>
            <a:off x="19649854" y="8961962"/>
            <a:ext cx="3657362" cy="768096"/>
          </a:xfrm>
          <a:prstGeom prst="rect">
            <a:avLst/>
          </a:prstGeom>
          <a:noFill/>
        </p:spPr>
        <p:txBody>
          <a:bodyPr wrap="square" tIns="0" bIns="0" rtlCol="0" anchor="ctr">
            <a:noAutofit/>
          </a:bodyPr>
          <a:lstStyle>
            <a:defPPr>
              <a:defRPr lang="en-US"/>
            </a:defPPr>
            <a:lvl1pPr>
              <a:defRPr sz="1300" b="0">
                <a:solidFill>
                  <a:schemeClr val="bg2">
                    <a:lumMod val="90000"/>
                  </a:schemeClr>
                </a:solidFill>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kern="1200" dirty="0">
                <a:solidFill>
                  <a:schemeClr val="tx1"/>
                </a:solidFill>
                <a:latin typeface="+mn-lt"/>
                <a:ea typeface="+mn-ea"/>
                <a:cs typeface="+mn-cs"/>
              </a:rPr>
              <a:t>30/31</a:t>
            </a:r>
            <a:endParaRPr sz="2600" b="0" kern="1200" dirty="0">
              <a:solidFill>
                <a:schemeClr val="tx1"/>
              </a:solidFill>
              <a:latin typeface="+mn-lt"/>
              <a:ea typeface="+mn-ea"/>
              <a:cs typeface="+mn-cs"/>
            </a:endParaRPr>
          </a:p>
        </p:txBody>
      </p:sp>
      <p:sp>
        <p:nvSpPr>
          <p:cNvPr id="1828" name="TextBox 1827"/>
          <p:cNvSpPr txBox="1"/>
          <p:nvPr/>
        </p:nvSpPr>
        <p:spPr>
          <a:xfrm>
            <a:off x="956671" y="304800"/>
            <a:ext cx="22350545" cy="1398084"/>
          </a:xfrm>
          <a:prstGeom prst="rect">
            <a:avLst/>
          </a:prstGeom>
          <a:noFill/>
        </p:spPr>
        <p:txBody>
          <a:bodyPr wrap="square" tIns="0" bIns="0" rtlCol="0" anchor="ctr">
            <a:noAutofit/>
          </a:bodyPr>
          <a:lstStyle/>
          <a:p>
            <a:pPr algn="l"/>
            <a:r>
              <a:rPr lang="en-US" sz="4400" b="0" dirty="0">
                <a:solidFill>
                  <a:schemeClr val="accent1"/>
                </a:solidFill>
              </a:rPr>
              <a:t>M</a:t>
            </a:r>
            <a:r>
              <a:rPr sz="4400" b="0" dirty="0">
                <a:solidFill>
                  <a:schemeClr val="accent1"/>
                </a:solidFill>
              </a:rPr>
              <a:t>arch</a:t>
            </a:r>
          </a:p>
        </p:txBody>
      </p:sp>
      <p:sp>
        <p:nvSpPr>
          <p:cNvPr id="69" name="TextBox 68"/>
          <p:cNvSpPr txBox="1"/>
          <p:nvPr/>
        </p:nvSpPr>
        <p:spPr>
          <a:xfrm>
            <a:off x="1093025" y="10809050"/>
            <a:ext cx="3657362" cy="768096"/>
          </a:xfrm>
          <a:prstGeom prst="rect">
            <a:avLst/>
          </a:prstGeom>
          <a:noFill/>
        </p:spPr>
        <p:txBody>
          <a:bodyPr wrap="square" tIns="0" bIns="0" rtlCol="0" anchor="ctr">
            <a:noAutofit/>
          </a:bodyPr>
          <a:lstStyle>
            <a:defPPr>
              <a:defRPr lang="en-US"/>
            </a:defPPr>
            <a:lvl1pPr lvl="0">
              <a:defRPr sz="1300" b="0">
                <a:solidFill>
                  <a:schemeClr val="bg2">
                    <a:lumMod val="90000"/>
                  </a:schemeClr>
                </a:solidFill>
              </a:defRPr>
            </a:lvl1pPr>
          </a:lstStyle>
          <a:p>
            <a:pPr lvl="0"/>
            <a:r>
              <a:rPr lang="en-US" sz="2600" dirty="0"/>
              <a:t>1 April</a:t>
            </a:r>
          </a:p>
        </p:txBody>
      </p:sp>
      <p:sp>
        <p:nvSpPr>
          <p:cNvPr id="70" name="TextBox 69"/>
          <p:cNvSpPr txBox="1"/>
          <p:nvPr/>
        </p:nvSpPr>
        <p:spPr>
          <a:xfrm>
            <a:off x="4764373" y="10809050"/>
            <a:ext cx="3657362" cy="768096"/>
          </a:xfrm>
          <a:prstGeom prst="rect">
            <a:avLst/>
          </a:prstGeom>
          <a:noFill/>
        </p:spPr>
        <p:txBody>
          <a:bodyPr wrap="square" tIns="0" bIns="0" rtlCol="0" anchor="ctr">
            <a:noAutofit/>
          </a:bodyPr>
          <a:lstStyle>
            <a:defPPr>
              <a:defRPr lang="en-US"/>
            </a:defPPr>
            <a:lvl1pPr>
              <a:defRPr sz="1300" b="0">
                <a:solidFill>
                  <a:schemeClr val="bg2">
                    <a:lumMod val="90000"/>
                  </a:schemeClr>
                </a:solidFill>
              </a:defRPr>
            </a:lvl1pPr>
          </a:lstStyle>
          <a:p>
            <a:pPr lvl="0"/>
            <a:r>
              <a:rPr lang="en-US" sz="2600" dirty="0"/>
              <a:t>2</a:t>
            </a:r>
          </a:p>
        </p:txBody>
      </p:sp>
      <p:sp>
        <p:nvSpPr>
          <p:cNvPr id="71" name="TextBox 70"/>
          <p:cNvSpPr txBox="1"/>
          <p:nvPr/>
        </p:nvSpPr>
        <p:spPr>
          <a:xfrm>
            <a:off x="8512833" y="1080905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3</a:t>
            </a:r>
            <a:endParaRPr sz="2600" b="0" dirty="0">
              <a:solidFill>
                <a:schemeClr val="bg2">
                  <a:lumMod val="90000"/>
                </a:schemeClr>
              </a:solidFill>
            </a:endParaRPr>
          </a:p>
        </p:txBody>
      </p:sp>
      <p:sp>
        <p:nvSpPr>
          <p:cNvPr id="72" name="TextBox 71"/>
          <p:cNvSpPr txBox="1"/>
          <p:nvPr/>
        </p:nvSpPr>
        <p:spPr>
          <a:xfrm>
            <a:off x="12191204" y="1080905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4</a:t>
            </a:r>
            <a:endParaRPr sz="2600" b="0" dirty="0">
              <a:solidFill>
                <a:schemeClr val="bg2">
                  <a:lumMod val="90000"/>
                </a:schemeClr>
              </a:solidFill>
            </a:endParaRPr>
          </a:p>
        </p:txBody>
      </p:sp>
      <p:sp>
        <p:nvSpPr>
          <p:cNvPr id="73" name="TextBox 72"/>
          <p:cNvSpPr txBox="1"/>
          <p:nvPr/>
        </p:nvSpPr>
        <p:spPr>
          <a:xfrm>
            <a:off x="15925635" y="1080905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5</a:t>
            </a:r>
            <a:endParaRPr sz="2600" b="0" dirty="0">
              <a:solidFill>
                <a:schemeClr val="bg2">
                  <a:lumMod val="90000"/>
                </a:schemeClr>
              </a:solidFill>
            </a:endParaRPr>
          </a:p>
        </p:txBody>
      </p:sp>
      <p:sp>
        <p:nvSpPr>
          <p:cNvPr id="74" name="TextBox 73"/>
          <p:cNvSpPr txBox="1"/>
          <p:nvPr/>
        </p:nvSpPr>
        <p:spPr>
          <a:xfrm>
            <a:off x="19649854" y="1080905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6/7</a:t>
            </a:r>
            <a:endParaRPr sz="2600" b="0" dirty="0">
              <a:solidFill>
                <a:schemeClr val="bg2">
                  <a:lumMod val="90000"/>
                </a:schemeClr>
              </a:solidFill>
            </a:endParaRPr>
          </a:p>
        </p:txBody>
      </p:sp>
      <p:sp>
        <p:nvSpPr>
          <p:cNvPr id="34" name="Text Placeholder 2"/>
          <p:cNvSpPr>
            <a:spLocks noGrp="1"/>
          </p:cNvSpPr>
          <p:nvPr>
            <p:ph type="body" sz="quarter" idx="11" hasCustomPrompt="1"/>
          </p:nvPr>
        </p:nvSpPr>
        <p:spPr>
          <a:xfrm>
            <a:off x="1048444"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0" name="Text Placeholder 2"/>
          <p:cNvSpPr>
            <a:spLocks noGrp="1"/>
          </p:cNvSpPr>
          <p:nvPr>
            <p:ph type="body" sz="quarter" idx="17" hasCustomPrompt="1"/>
          </p:nvPr>
        </p:nvSpPr>
        <p:spPr>
          <a:xfrm>
            <a:off x="4754571"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6" name="Text Placeholder 2"/>
          <p:cNvSpPr>
            <a:spLocks noGrp="1"/>
          </p:cNvSpPr>
          <p:nvPr>
            <p:ph type="body" sz="quarter" idx="23" hasCustomPrompt="1"/>
          </p:nvPr>
        </p:nvSpPr>
        <p:spPr>
          <a:xfrm>
            <a:off x="8485080"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2" name="Text Placeholder 2"/>
          <p:cNvSpPr>
            <a:spLocks noGrp="1"/>
          </p:cNvSpPr>
          <p:nvPr>
            <p:ph type="body" sz="quarter" idx="29" hasCustomPrompt="1"/>
          </p:nvPr>
        </p:nvSpPr>
        <p:spPr>
          <a:xfrm>
            <a:off x="12220346"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8" name="Text Placeholder 2"/>
          <p:cNvSpPr>
            <a:spLocks noGrp="1"/>
          </p:cNvSpPr>
          <p:nvPr>
            <p:ph type="body" sz="quarter" idx="35" hasCustomPrompt="1"/>
          </p:nvPr>
        </p:nvSpPr>
        <p:spPr>
          <a:xfrm>
            <a:off x="15935099"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4" name="Text Placeholder 2"/>
          <p:cNvSpPr>
            <a:spLocks noGrp="1"/>
          </p:cNvSpPr>
          <p:nvPr>
            <p:ph type="body" sz="quarter" idx="41" hasCustomPrompt="1"/>
          </p:nvPr>
        </p:nvSpPr>
        <p:spPr>
          <a:xfrm>
            <a:off x="19649854"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3" name="Text Placeholder 2"/>
          <p:cNvSpPr>
            <a:spLocks noGrp="1"/>
          </p:cNvSpPr>
          <p:nvPr>
            <p:ph type="body" sz="quarter" idx="10" hasCustomPrompt="1"/>
          </p:nvPr>
        </p:nvSpPr>
        <p:spPr>
          <a:xfrm>
            <a:off x="1048444"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9" name="Text Placeholder 2"/>
          <p:cNvSpPr>
            <a:spLocks noGrp="1"/>
          </p:cNvSpPr>
          <p:nvPr>
            <p:ph type="body" sz="quarter" idx="16" hasCustomPrompt="1"/>
          </p:nvPr>
        </p:nvSpPr>
        <p:spPr>
          <a:xfrm>
            <a:off x="4754571"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5" name="Text Placeholder 2"/>
          <p:cNvSpPr>
            <a:spLocks noGrp="1"/>
          </p:cNvSpPr>
          <p:nvPr>
            <p:ph type="body" sz="quarter" idx="22" hasCustomPrompt="1"/>
          </p:nvPr>
        </p:nvSpPr>
        <p:spPr>
          <a:xfrm>
            <a:off x="8485080"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1" name="Text Placeholder 2"/>
          <p:cNvSpPr>
            <a:spLocks noGrp="1"/>
          </p:cNvSpPr>
          <p:nvPr>
            <p:ph type="body" sz="quarter" idx="28" hasCustomPrompt="1"/>
          </p:nvPr>
        </p:nvSpPr>
        <p:spPr>
          <a:xfrm>
            <a:off x="12220346"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7" name="Text Placeholder 2"/>
          <p:cNvSpPr>
            <a:spLocks noGrp="1"/>
          </p:cNvSpPr>
          <p:nvPr>
            <p:ph type="body" sz="quarter" idx="34" hasCustomPrompt="1"/>
          </p:nvPr>
        </p:nvSpPr>
        <p:spPr>
          <a:xfrm>
            <a:off x="15935099"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3" name="Text Placeholder 2"/>
          <p:cNvSpPr>
            <a:spLocks noGrp="1"/>
          </p:cNvSpPr>
          <p:nvPr>
            <p:ph type="body" sz="quarter" idx="40" hasCustomPrompt="1"/>
          </p:nvPr>
        </p:nvSpPr>
        <p:spPr>
          <a:xfrm>
            <a:off x="19649854"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5" name="Text Placeholder 2"/>
          <p:cNvSpPr>
            <a:spLocks noGrp="1"/>
          </p:cNvSpPr>
          <p:nvPr>
            <p:ph type="body" sz="quarter" idx="12" hasCustomPrompt="1"/>
          </p:nvPr>
        </p:nvSpPr>
        <p:spPr>
          <a:xfrm>
            <a:off x="1048444"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1" name="Text Placeholder 2"/>
          <p:cNvSpPr>
            <a:spLocks noGrp="1"/>
          </p:cNvSpPr>
          <p:nvPr>
            <p:ph type="body" sz="quarter" idx="18" hasCustomPrompt="1"/>
          </p:nvPr>
        </p:nvSpPr>
        <p:spPr>
          <a:xfrm>
            <a:off x="4754571"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7" name="Text Placeholder 2"/>
          <p:cNvSpPr>
            <a:spLocks noGrp="1"/>
          </p:cNvSpPr>
          <p:nvPr>
            <p:ph type="body" sz="quarter" idx="24" hasCustomPrompt="1"/>
          </p:nvPr>
        </p:nvSpPr>
        <p:spPr>
          <a:xfrm>
            <a:off x="8485080"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3" name="Text Placeholder 2"/>
          <p:cNvSpPr>
            <a:spLocks noGrp="1"/>
          </p:cNvSpPr>
          <p:nvPr>
            <p:ph type="body" sz="quarter" idx="30" hasCustomPrompt="1"/>
          </p:nvPr>
        </p:nvSpPr>
        <p:spPr>
          <a:xfrm>
            <a:off x="12220346"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9" name="Text Placeholder 2"/>
          <p:cNvSpPr>
            <a:spLocks noGrp="1"/>
          </p:cNvSpPr>
          <p:nvPr>
            <p:ph type="body" sz="quarter" idx="36" hasCustomPrompt="1"/>
          </p:nvPr>
        </p:nvSpPr>
        <p:spPr>
          <a:xfrm>
            <a:off x="15935099"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5" name="Text Placeholder 2"/>
          <p:cNvSpPr>
            <a:spLocks noGrp="1"/>
          </p:cNvSpPr>
          <p:nvPr>
            <p:ph type="body" sz="quarter" idx="42" hasCustomPrompt="1"/>
          </p:nvPr>
        </p:nvSpPr>
        <p:spPr>
          <a:xfrm>
            <a:off x="19649854"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6" name="Text Placeholder 2"/>
          <p:cNvSpPr>
            <a:spLocks noGrp="1"/>
          </p:cNvSpPr>
          <p:nvPr>
            <p:ph type="body" sz="quarter" idx="13" hasCustomPrompt="1"/>
          </p:nvPr>
        </p:nvSpPr>
        <p:spPr>
          <a:xfrm>
            <a:off x="1048444"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2" name="Text Placeholder 2"/>
          <p:cNvSpPr>
            <a:spLocks noGrp="1"/>
          </p:cNvSpPr>
          <p:nvPr>
            <p:ph type="body" sz="quarter" idx="19" hasCustomPrompt="1"/>
          </p:nvPr>
        </p:nvSpPr>
        <p:spPr>
          <a:xfrm>
            <a:off x="4754571"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8" name="Text Placeholder 2"/>
          <p:cNvSpPr>
            <a:spLocks noGrp="1"/>
          </p:cNvSpPr>
          <p:nvPr>
            <p:ph type="body" sz="quarter" idx="25" hasCustomPrompt="1"/>
          </p:nvPr>
        </p:nvSpPr>
        <p:spPr>
          <a:xfrm>
            <a:off x="8485080"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4" name="Text Placeholder 2"/>
          <p:cNvSpPr>
            <a:spLocks noGrp="1"/>
          </p:cNvSpPr>
          <p:nvPr>
            <p:ph type="body" sz="quarter" idx="31" hasCustomPrompt="1"/>
          </p:nvPr>
        </p:nvSpPr>
        <p:spPr>
          <a:xfrm>
            <a:off x="12220346"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0" name="Text Placeholder 2"/>
          <p:cNvSpPr>
            <a:spLocks noGrp="1"/>
          </p:cNvSpPr>
          <p:nvPr>
            <p:ph type="body" sz="quarter" idx="37" hasCustomPrompt="1"/>
          </p:nvPr>
        </p:nvSpPr>
        <p:spPr>
          <a:xfrm>
            <a:off x="15935099"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6" name="Text Placeholder 2"/>
          <p:cNvSpPr>
            <a:spLocks noGrp="1"/>
          </p:cNvSpPr>
          <p:nvPr>
            <p:ph type="body" sz="quarter" idx="43" hasCustomPrompt="1"/>
          </p:nvPr>
        </p:nvSpPr>
        <p:spPr>
          <a:xfrm>
            <a:off x="19649854"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7" name="Text Placeholder 2"/>
          <p:cNvSpPr>
            <a:spLocks noGrp="1"/>
          </p:cNvSpPr>
          <p:nvPr>
            <p:ph type="body" sz="quarter" idx="14" hasCustomPrompt="1"/>
          </p:nvPr>
        </p:nvSpPr>
        <p:spPr>
          <a:xfrm>
            <a:off x="1048444"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3" name="Text Placeholder 2"/>
          <p:cNvSpPr>
            <a:spLocks noGrp="1"/>
          </p:cNvSpPr>
          <p:nvPr>
            <p:ph type="body" sz="quarter" idx="20" hasCustomPrompt="1"/>
          </p:nvPr>
        </p:nvSpPr>
        <p:spPr>
          <a:xfrm>
            <a:off x="4754571"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9" name="Text Placeholder 2"/>
          <p:cNvSpPr>
            <a:spLocks noGrp="1"/>
          </p:cNvSpPr>
          <p:nvPr>
            <p:ph type="body" sz="quarter" idx="26" hasCustomPrompt="1"/>
          </p:nvPr>
        </p:nvSpPr>
        <p:spPr>
          <a:xfrm>
            <a:off x="8485080"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5" name="Text Placeholder 2"/>
          <p:cNvSpPr>
            <a:spLocks noGrp="1"/>
          </p:cNvSpPr>
          <p:nvPr>
            <p:ph type="body" sz="quarter" idx="32" hasCustomPrompt="1"/>
          </p:nvPr>
        </p:nvSpPr>
        <p:spPr>
          <a:xfrm>
            <a:off x="12220346"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1" name="Text Placeholder 2"/>
          <p:cNvSpPr>
            <a:spLocks noGrp="1"/>
          </p:cNvSpPr>
          <p:nvPr>
            <p:ph type="body" sz="quarter" idx="38" hasCustomPrompt="1"/>
          </p:nvPr>
        </p:nvSpPr>
        <p:spPr>
          <a:xfrm>
            <a:off x="15935099"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7" name="Text Placeholder 2"/>
          <p:cNvSpPr>
            <a:spLocks noGrp="1"/>
          </p:cNvSpPr>
          <p:nvPr>
            <p:ph type="body" sz="quarter" idx="44" hasCustomPrompt="1"/>
          </p:nvPr>
        </p:nvSpPr>
        <p:spPr>
          <a:xfrm>
            <a:off x="19649854"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8" name="Text Placeholder 2"/>
          <p:cNvSpPr>
            <a:spLocks noGrp="1"/>
          </p:cNvSpPr>
          <p:nvPr>
            <p:ph type="body" sz="quarter" idx="15" hasCustomPrompt="1"/>
          </p:nvPr>
        </p:nvSpPr>
        <p:spPr>
          <a:xfrm>
            <a:off x="1048444"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4" name="Text Placeholder 2"/>
          <p:cNvSpPr>
            <a:spLocks noGrp="1"/>
          </p:cNvSpPr>
          <p:nvPr>
            <p:ph type="body" sz="quarter" idx="21" hasCustomPrompt="1"/>
          </p:nvPr>
        </p:nvSpPr>
        <p:spPr>
          <a:xfrm>
            <a:off x="4754571"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0" name="Text Placeholder 2"/>
          <p:cNvSpPr>
            <a:spLocks noGrp="1"/>
          </p:cNvSpPr>
          <p:nvPr>
            <p:ph type="body" sz="quarter" idx="27" hasCustomPrompt="1"/>
          </p:nvPr>
        </p:nvSpPr>
        <p:spPr>
          <a:xfrm>
            <a:off x="8485080"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6" name="Text Placeholder 2"/>
          <p:cNvSpPr>
            <a:spLocks noGrp="1"/>
          </p:cNvSpPr>
          <p:nvPr>
            <p:ph type="body" sz="quarter" idx="33" hasCustomPrompt="1"/>
          </p:nvPr>
        </p:nvSpPr>
        <p:spPr>
          <a:xfrm>
            <a:off x="12220346"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2" name="Text Placeholder 2"/>
          <p:cNvSpPr>
            <a:spLocks noGrp="1"/>
          </p:cNvSpPr>
          <p:nvPr>
            <p:ph type="body" sz="quarter" idx="39" hasCustomPrompt="1"/>
          </p:nvPr>
        </p:nvSpPr>
        <p:spPr>
          <a:xfrm>
            <a:off x="15935099"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8" name="Text Placeholder 2"/>
          <p:cNvSpPr>
            <a:spLocks noGrp="1"/>
          </p:cNvSpPr>
          <p:nvPr>
            <p:ph type="body" sz="quarter" idx="45" hasCustomPrompt="1"/>
          </p:nvPr>
        </p:nvSpPr>
        <p:spPr>
          <a:xfrm>
            <a:off x="19649854"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8" name="TextBox 77">
            <a:extLst>
              <a:ext uri="{FF2B5EF4-FFF2-40B4-BE49-F238E27FC236}">
                <a16:creationId xmlns:a16="http://schemas.microsoft.com/office/drawing/2014/main" id="{6203D203-12FC-FA48-B8EC-80FDB0418362}"/>
              </a:ext>
            </a:extLst>
          </p:cNvPr>
          <p:cNvSpPr txBox="1"/>
          <p:nvPr userDrawn="1"/>
        </p:nvSpPr>
        <p:spPr>
          <a:xfrm>
            <a:off x="954662" y="1399713"/>
            <a:ext cx="1638300" cy="461665"/>
          </a:xfrm>
          <a:prstGeom prst="rect">
            <a:avLst/>
          </a:prstGeom>
          <a:noFill/>
        </p:spPr>
        <p:txBody>
          <a:bodyPr wrap="square" rtlCol="0">
            <a:spAutoFit/>
          </a:bodyPr>
          <a:lstStyle/>
          <a:p>
            <a:r>
              <a:rPr lang="en-US" sz="2400" b="1" dirty="0">
                <a:solidFill>
                  <a:schemeClr val="accent1"/>
                </a:solidFill>
              </a:rPr>
              <a:t>Monday</a:t>
            </a:r>
          </a:p>
        </p:txBody>
      </p:sp>
      <p:sp>
        <p:nvSpPr>
          <p:cNvPr id="79" name="TextBox 78">
            <a:extLst>
              <a:ext uri="{FF2B5EF4-FFF2-40B4-BE49-F238E27FC236}">
                <a16:creationId xmlns:a16="http://schemas.microsoft.com/office/drawing/2014/main" id="{DF4FF16C-7644-FA46-894C-6FE320A7B881}"/>
              </a:ext>
            </a:extLst>
          </p:cNvPr>
          <p:cNvSpPr txBox="1"/>
          <p:nvPr userDrawn="1"/>
        </p:nvSpPr>
        <p:spPr>
          <a:xfrm>
            <a:off x="4688462" y="1399713"/>
            <a:ext cx="1638300" cy="461665"/>
          </a:xfrm>
          <a:prstGeom prst="rect">
            <a:avLst/>
          </a:prstGeom>
          <a:noFill/>
        </p:spPr>
        <p:txBody>
          <a:bodyPr wrap="square" rtlCol="0">
            <a:spAutoFit/>
          </a:bodyPr>
          <a:lstStyle/>
          <a:p>
            <a:r>
              <a:rPr lang="en-US" sz="2400" b="1" dirty="0">
                <a:solidFill>
                  <a:schemeClr val="accent1"/>
                </a:solidFill>
              </a:rPr>
              <a:t>Tuesday</a:t>
            </a:r>
          </a:p>
        </p:txBody>
      </p:sp>
      <p:sp>
        <p:nvSpPr>
          <p:cNvPr id="80" name="TextBox 79">
            <a:extLst>
              <a:ext uri="{FF2B5EF4-FFF2-40B4-BE49-F238E27FC236}">
                <a16:creationId xmlns:a16="http://schemas.microsoft.com/office/drawing/2014/main" id="{B9670365-9884-824E-9704-488D1AC71740}"/>
              </a:ext>
            </a:extLst>
          </p:cNvPr>
          <p:cNvSpPr txBox="1"/>
          <p:nvPr userDrawn="1"/>
        </p:nvSpPr>
        <p:spPr>
          <a:xfrm>
            <a:off x="8365112" y="1399713"/>
            <a:ext cx="2741038" cy="461665"/>
          </a:xfrm>
          <a:prstGeom prst="rect">
            <a:avLst/>
          </a:prstGeom>
          <a:noFill/>
        </p:spPr>
        <p:txBody>
          <a:bodyPr wrap="square" rtlCol="0">
            <a:spAutoFit/>
          </a:bodyPr>
          <a:lstStyle/>
          <a:p>
            <a:r>
              <a:rPr lang="en-US" sz="2400" b="1" dirty="0">
                <a:solidFill>
                  <a:schemeClr val="accent1"/>
                </a:solidFill>
              </a:rPr>
              <a:t>Wednesday</a:t>
            </a:r>
          </a:p>
        </p:txBody>
      </p:sp>
      <p:sp>
        <p:nvSpPr>
          <p:cNvPr id="81" name="TextBox 80">
            <a:extLst>
              <a:ext uri="{FF2B5EF4-FFF2-40B4-BE49-F238E27FC236}">
                <a16:creationId xmlns:a16="http://schemas.microsoft.com/office/drawing/2014/main" id="{C74C2BFD-9A01-E147-AFD7-BCC7B2299082}"/>
              </a:ext>
            </a:extLst>
          </p:cNvPr>
          <p:cNvSpPr txBox="1"/>
          <p:nvPr userDrawn="1"/>
        </p:nvSpPr>
        <p:spPr>
          <a:xfrm>
            <a:off x="12137012" y="1399713"/>
            <a:ext cx="1638300" cy="461665"/>
          </a:xfrm>
          <a:prstGeom prst="rect">
            <a:avLst/>
          </a:prstGeom>
          <a:noFill/>
        </p:spPr>
        <p:txBody>
          <a:bodyPr wrap="square" rtlCol="0">
            <a:spAutoFit/>
          </a:bodyPr>
          <a:lstStyle/>
          <a:p>
            <a:r>
              <a:rPr lang="en-US" sz="2400" b="1" dirty="0">
                <a:solidFill>
                  <a:schemeClr val="accent1"/>
                </a:solidFill>
              </a:rPr>
              <a:t>Thursday</a:t>
            </a:r>
          </a:p>
        </p:txBody>
      </p:sp>
      <p:sp>
        <p:nvSpPr>
          <p:cNvPr id="82" name="TextBox 81">
            <a:extLst>
              <a:ext uri="{FF2B5EF4-FFF2-40B4-BE49-F238E27FC236}">
                <a16:creationId xmlns:a16="http://schemas.microsoft.com/office/drawing/2014/main" id="{A7484015-2EC7-4444-93D6-E806B9A8B0A6}"/>
              </a:ext>
            </a:extLst>
          </p:cNvPr>
          <p:cNvSpPr txBox="1"/>
          <p:nvPr userDrawn="1"/>
        </p:nvSpPr>
        <p:spPr>
          <a:xfrm>
            <a:off x="15870812" y="1399713"/>
            <a:ext cx="1638300" cy="461665"/>
          </a:xfrm>
          <a:prstGeom prst="rect">
            <a:avLst/>
          </a:prstGeom>
          <a:noFill/>
        </p:spPr>
        <p:txBody>
          <a:bodyPr wrap="square" rtlCol="0">
            <a:spAutoFit/>
          </a:bodyPr>
          <a:lstStyle/>
          <a:p>
            <a:r>
              <a:rPr lang="en-US" sz="2400" b="1" dirty="0">
                <a:solidFill>
                  <a:schemeClr val="accent1"/>
                </a:solidFill>
              </a:rPr>
              <a:t>Friday</a:t>
            </a:r>
          </a:p>
        </p:txBody>
      </p:sp>
      <p:sp>
        <p:nvSpPr>
          <p:cNvPr id="83" name="TextBox 82">
            <a:extLst>
              <a:ext uri="{FF2B5EF4-FFF2-40B4-BE49-F238E27FC236}">
                <a16:creationId xmlns:a16="http://schemas.microsoft.com/office/drawing/2014/main" id="{7AC8F992-1F93-A34F-BDF0-6D3A0EA5A817}"/>
              </a:ext>
            </a:extLst>
          </p:cNvPr>
          <p:cNvSpPr txBox="1"/>
          <p:nvPr userDrawn="1"/>
        </p:nvSpPr>
        <p:spPr>
          <a:xfrm>
            <a:off x="19585562" y="1399713"/>
            <a:ext cx="1638300" cy="461665"/>
          </a:xfrm>
          <a:prstGeom prst="rect">
            <a:avLst/>
          </a:prstGeom>
          <a:noFill/>
        </p:spPr>
        <p:txBody>
          <a:bodyPr wrap="square" rtlCol="0">
            <a:spAutoFit/>
          </a:bodyPr>
          <a:lstStyle/>
          <a:p>
            <a:r>
              <a:rPr lang="en-US" sz="2400" b="1" dirty="0">
                <a:solidFill>
                  <a:schemeClr val="accent1"/>
                </a:solidFill>
              </a:rPr>
              <a:t>Sunday</a:t>
            </a:r>
          </a:p>
        </p:txBody>
      </p:sp>
    </p:spTree>
    <p:extLst>
      <p:ext uri="{BB962C8B-B14F-4D97-AF65-F5344CB8AC3E}">
        <p14:creationId xmlns:p14="http://schemas.microsoft.com/office/powerpoint/2010/main" val="33836295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pril 2019">
    <p:spTree>
      <p:nvGrpSpPr>
        <p:cNvPr id="1" name=""/>
        <p:cNvGrpSpPr/>
        <p:nvPr/>
      </p:nvGrpSpPr>
      <p:grpSpPr>
        <a:xfrm>
          <a:off x="0" y="0"/>
          <a:ext cx="0" cy="0"/>
          <a:chOff x="0" y="0"/>
          <a:chExt cx="0" cy="0"/>
        </a:xfrm>
      </p:grpSpPr>
      <p:sp>
        <p:nvSpPr>
          <p:cNvPr id="1792" name="TextBox 1791"/>
          <p:cNvSpPr txBox="1"/>
          <p:nvPr/>
        </p:nvSpPr>
        <p:spPr>
          <a:xfrm>
            <a:off x="1093019" y="1645734"/>
            <a:ext cx="3657362" cy="768096"/>
          </a:xfrm>
          <a:prstGeom prst="rect">
            <a:avLst/>
          </a:prstGeom>
          <a:noFill/>
        </p:spPr>
        <p:txBody>
          <a:bodyPr wrap="square" tIns="0" bIns="0" rtlCol="0" anchor="ctr">
            <a:noAutofit/>
          </a:bodyPr>
          <a:lstStyle/>
          <a:p>
            <a:pPr algn="l"/>
            <a:r>
              <a:rPr lang="en-US" sz="2600" b="0" baseline="0" dirty="0">
                <a:solidFill>
                  <a:schemeClr val="bg2">
                    <a:lumMod val="90000"/>
                  </a:schemeClr>
                </a:solidFill>
              </a:rPr>
              <a:t>25 March</a:t>
            </a:r>
            <a:endParaRPr lang="en-US" sz="2600" b="0" dirty="0">
              <a:solidFill>
                <a:schemeClr val="bg2">
                  <a:lumMod val="90000"/>
                </a:schemeClr>
              </a:solidFill>
            </a:endParaRPr>
          </a:p>
        </p:txBody>
      </p:sp>
      <p:sp>
        <p:nvSpPr>
          <p:cNvPr id="1793" name="TextBox 1792"/>
          <p:cNvSpPr txBox="1"/>
          <p:nvPr/>
        </p:nvSpPr>
        <p:spPr>
          <a:xfrm>
            <a:off x="4764373" y="1645734"/>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2">
                    <a:lumMod val="90000"/>
                  </a:schemeClr>
                </a:solidFill>
              </a:rPr>
              <a:t>26</a:t>
            </a:r>
          </a:p>
        </p:txBody>
      </p:sp>
      <p:sp>
        <p:nvSpPr>
          <p:cNvPr id="1794" name="TextBox 1793"/>
          <p:cNvSpPr txBox="1"/>
          <p:nvPr/>
        </p:nvSpPr>
        <p:spPr>
          <a:xfrm>
            <a:off x="8512830" y="1645734"/>
            <a:ext cx="3657362" cy="768096"/>
          </a:xfrm>
          <a:prstGeom prst="rect">
            <a:avLst/>
          </a:prstGeom>
          <a:noFill/>
        </p:spPr>
        <p:txBody>
          <a:bodyPr wrap="square" tIns="0" bIns="0" rtlCol="0" anchor="ctr">
            <a:noAutofit/>
          </a:bodyPr>
          <a:lstStyle>
            <a:defPPr>
              <a:defRPr lang="en-US"/>
            </a:defPPr>
            <a:lvl1pPr marR="0" indent="0" fontAlgn="auto">
              <a:lnSpc>
                <a:spcPct val="100000"/>
              </a:lnSpc>
              <a:spcBef>
                <a:spcPts val="0"/>
              </a:spcBef>
              <a:spcAft>
                <a:spcPts val="0"/>
              </a:spcAft>
              <a:buClrTx/>
              <a:buSzTx/>
              <a:buFontTx/>
              <a:buNone/>
              <a:tabLst/>
              <a:defRPr sz="1300" b="0">
                <a:solidFill>
                  <a:schemeClr val="bg2">
                    <a:lumMod val="90000"/>
                  </a:schemeClr>
                </a:solidFill>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endParaRPr lang="en-US" sz="2600" b="0" dirty="0">
              <a:solidFill>
                <a:schemeClr val="tx1"/>
              </a:solidFill>
            </a:endParaRPr>
          </a:p>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2">
                    <a:lumMod val="90000"/>
                  </a:schemeClr>
                </a:solidFill>
              </a:rPr>
              <a:t>27</a:t>
            </a:r>
          </a:p>
          <a:p>
            <a:pPr lvl="0"/>
            <a:endParaRPr sz="2600" dirty="0"/>
          </a:p>
        </p:txBody>
      </p:sp>
      <p:sp>
        <p:nvSpPr>
          <p:cNvPr id="1795" name="TextBox 1794"/>
          <p:cNvSpPr txBox="1"/>
          <p:nvPr/>
        </p:nvSpPr>
        <p:spPr>
          <a:xfrm>
            <a:off x="12191204" y="1645734"/>
            <a:ext cx="3657362" cy="768096"/>
          </a:xfrm>
          <a:prstGeom prst="rect">
            <a:avLst/>
          </a:prstGeom>
          <a:noFill/>
        </p:spPr>
        <p:txBody>
          <a:bodyPr wrap="square" tIns="0" bIns="0" rtlCol="0" anchor="ctr">
            <a:noAutofit/>
          </a:bodyPr>
          <a:lstStyle>
            <a:defPPr>
              <a:defRPr lang="en-US"/>
            </a:defPPr>
            <a:lvl1pPr marR="0" lvl="0" indent="0" fontAlgn="auto">
              <a:lnSpc>
                <a:spcPct val="100000"/>
              </a:lnSpc>
              <a:spcBef>
                <a:spcPts val="0"/>
              </a:spcBef>
              <a:spcAft>
                <a:spcPts val="0"/>
              </a:spcAft>
              <a:buClrTx/>
              <a:buSzTx/>
              <a:buFontTx/>
              <a:buNone/>
              <a:tabLst/>
              <a:defRPr sz="1300" b="0">
                <a:solidFill>
                  <a:schemeClr val="bg2">
                    <a:lumMod val="90000"/>
                  </a:schemeClr>
                </a:solidFill>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endParaRPr lang="en-US" sz="2600" b="0" dirty="0">
              <a:solidFill>
                <a:schemeClr val="bg2">
                  <a:lumMod val="90000"/>
                </a:schemeClr>
              </a:solidFill>
            </a:endParaRPr>
          </a:p>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2">
                    <a:lumMod val="90000"/>
                  </a:schemeClr>
                </a:solidFill>
              </a:rPr>
              <a:t>28</a:t>
            </a:r>
          </a:p>
          <a:p>
            <a:pPr lvl="0"/>
            <a:endParaRPr sz="2600" dirty="0"/>
          </a:p>
        </p:txBody>
      </p:sp>
      <p:sp>
        <p:nvSpPr>
          <p:cNvPr id="1796" name="TextBox 1795"/>
          <p:cNvSpPr txBox="1"/>
          <p:nvPr/>
        </p:nvSpPr>
        <p:spPr>
          <a:xfrm>
            <a:off x="15925635" y="1645734"/>
            <a:ext cx="3657362" cy="768096"/>
          </a:xfrm>
          <a:prstGeom prst="rect">
            <a:avLst/>
          </a:prstGeom>
          <a:noFill/>
        </p:spPr>
        <p:txBody>
          <a:bodyPr wrap="square" tIns="0" bIns="0" rtlCol="0" anchor="ctr">
            <a:noAutofit/>
          </a:bodyPr>
          <a:lstStyle>
            <a:defPPr>
              <a:defRPr lang="en-US"/>
            </a:defPPr>
            <a:lvl1pPr marR="0" lvl="0" indent="0" fontAlgn="auto">
              <a:lnSpc>
                <a:spcPct val="100000"/>
              </a:lnSpc>
              <a:spcBef>
                <a:spcPts val="0"/>
              </a:spcBef>
              <a:spcAft>
                <a:spcPts val="0"/>
              </a:spcAft>
              <a:buClrTx/>
              <a:buSzTx/>
              <a:buFontTx/>
              <a:buNone/>
              <a:tabLst/>
              <a:defRPr sz="1300" b="0">
                <a:solidFill>
                  <a:schemeClr val="bg2">
                    <a:lumMod val="90000"/>
                  </a:schemeClr>
                </a:solidFill>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endParaRPr lang="en-US" sz="2600" b="0" dirty="0">
              <a:solidFill>
                <a:schemeClr val="bg2">
                  <a:lumMod val="90000"/>
                </a:schemeClr>
              </a:solidFill>
            </a:endParaRPr>
          </a:p>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2">
                    <a:lumMod val="90000"/>
                  </a:schemeClr>
                </a:solidFill>
              </a:rPr>
              <a:t>29</a:t>
            </a:r>
          </a:p>
          <a:p>
            <a:pPr lvl="0"/>
            <a:endParaRPr sz="2600" dirty="0"/>
          </a:p>
        </p:txBody>
      </p:sp>
      <p:sp>
        <p:nvSpPr>
          <p:cNvPr id="1797" name="TextBox 1796"/>
          <p:cNvSpPr txBox="1"/>
          <p:nvPr/>
        </p:nvSpPr>
        <p:spPr>
          <a:xfrm>
            <a:off x="19649854" y="1645734"/>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ZA" sz="2600" b="0" baseline="0" dirty="0">
                <a:solidFill>
                  <a:schemeClr val="bg2">
                    <a:lumMod val="90000"/>
                  </a:schemeClr>
                </a:solidFill>
              </a:rPr>
              <a:t>30/31 March</a:t>
            </a:r>
            <a:endParaRPr sz="2600" b="0" dirty="0">
              <a:solidFill>
                <a:schemeClr val="tx1"/>
              </a:solidFill>
            </a:endParaRPr>
          </a:p>
        </p:txBody>
      </p:sp>
      <p:sp>
        <p:nvSpPr>
          <p:cNvPr id="1798" name="TextBox 1797"/>
          <p:cNvSpPr txBox="1"/>
          <p:nvPr/>
        </p:nvSpPr>
        <p:spPr>
          <a:xfrm>
            <a:off x="1093025" y="3475562"/>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kern="1200" cap="none" spc="0" dirty="0">
                <a:ln w="0"/>
                <a:solidFill>
                  <a:schemeClr val="tx1"/>
                </a:solidFill>
                <a:effectLst>
                  <a:outerShdw blurRad="38100" dist="19050" dir="2700000" algn="tl" rotWithShape="0">
                    <a:schemeClr val="dk1">
                      <a:alpha val="40000"/>
                    </a:schemeClr>
                  </a:outerShdw>
                </a:effectLst>
                <a:latin typeface="+mn-lt"/>
                <a:ea typeface="+mn-ea"/>
                <a:cs typeface="+mn-cs"/>
              </a:rPr>
              <a:t>1 April</a:t>
            </a:r>
            <a:endParaRPr sz="2600" b="0" kern="1200" cap="none" spc="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799" name="TextBox 1798"/>
          <p:cNvSpPr txBox="1"/>
          <p:nvPr/>
        </p:nvSpPr>
        <p:spPr>
          <a:xfrm>
            <a:off x="4764373" y="3475562"/>
            <a:ext cx="3657362" cy="768096"/>
          </a:xfrm>
          <a:prstGeom prst="rect">
            <a:avLst/>
          </a:prstGeom>
          <a:noFill/>
        </p:spPr>
        <p:txBody>
          <a:bodyPr wrap="square" tIns="0" bIns="0" rtlCol="0" anchor="ctr">
            <a:noAutofit/>
          </a:bodyPr>
          <a:lstStyle/>
          <a:p>
            <a:pPr algn="l"/>
            <a:r>
              <a:rPr lang="en-US" sz="2600" b="0" dirty="0">
                <a:solidFill>
                  <a:schemeClr val="tx1"/>
                </a:solidFill>
              </a:rPr>
              <a:t>2</a:t>
            </a:r>
            <a:endParaRPr sz="2600" b="0" dirty="0">
              <a:solidFill>
                <a:schemeClr val="tx1"/>
              </a:solidFill>
            </a:endParaRPr>
          </a:p>
        </p:txBody>
      </p:sp>
      <p:sp>
        <p:nvSpPr>
          <p:cNvPr id="1800" name="TextBox 1799"/>
          <p:cNvSpPr txBox="1"/>
          <p:nvPr/>
        </p:nvSpPr>
        <p:spPr>
          <a:xfrm>
            <a:off x="8512830" y="3475562"/>
            <a:ext cx="3657362" cy="768096"/>
          </a:xfrm>
          <a:prstGeom prst="rect">
            <a:avLst/>
          </a:prstGeom>
          <a:noFill/>
        </p:spPr>
        <p:txBody>
          <a:bodyPr wrap="square" tIns="0" bIns="0" rtlCol="0" anchor="ctr">
            <a:noAutofit/>
          </a:bodyPr>
          <a:lstStyle/>
          <a:p>
            <a:pPr algn="l"/>
            <a:r>
              <a:rPr lang="en-US" sz="2600" b="0" dirty="0">
                <a:solidFill>
                  <a:schemeClr val="tx1"/>
                </a:solidFill>
              </a:rPr>
              <a:t>3</a:t>
            </a:r>
            <a:endParaRPr sz="2600" b="0" dirty="0">
              <a:solidFill>
                <a:schemeClr val="tx1"/>
              </a:solidFill>
            </a:endParaRPr>
          </a:p>
        </p:txBody>
      </p:sp>
      <p:sp>
        <p:nvSpPr>
          <p:cNvPr id="1801" name="TextBox 1800"/>
          <p:cNvSpPr txBox="1"/>
          <p:nvPr/>
        </p:nvSpPr>
        <p:spPr>
          <a:xfrm>
            <a:off x="12191204" y="3475562"/>
            <a:ext cx="3657362" cy="768096"/>
          </a:xfrm>
          <a:prstGeom prst="rect">
            <a:avLst/>
          </a:prstGeom>
          <a:noFill/>
        </p:spPr>
        <p:txBody>
          <a:bodyPr wrap="square" tIns="0" bIns="0" rtlCol="0" anchor="ctr">
            <a:noAutofit/>
          </a:bodyPr>
          <a:lstStyle/>
          <a:p>
            <a:pPr algn="l"/>
            <a:r>
              <a:rPr lang="en-US" sz="2600" b="0" dirty="0">
                <a:solidFill>
                  <a:schemeClr val="tx1"/>
                </a:solidFill>
              </a:rPr>
              <a:t>4</a:t>
            </a:r>
            <a:endParaRPr sz="2600" b="0" dirty="0">
              <a:solidFill>
                <a:schemeClr val="tx1"/>
              </a:solidFill>
            </a:endParaRPr>
          </a:p>
        </p:txBody>
      </p:sp>
      <p:sp>
        <p:nvSpPr>
          <p:cNvPr id="1802" name="TextBox 1801"/>
          <p:cNvSpPr txBox="1"/>
          <p:nvPr/>
        </p:nvSpPr>
        <p:spPr>
          <a:xfrm>
            <a:off x="15925635" y="3475562"/>
            <a:ext cx="3657362" cy="768096"/>
          </a:xfrm>
          <a:prstGeom prst="rect">
            <a:avLst/>
          </a:prstGeom>
          <a:noFill/>
        </p:spPr>
        <p:txBody>
          <a:bodyPr wrap="square" tIns="0" bIns="0" rtlCol="0" anchor="ctr">
            <a:noAutofit/>
          </a:bodyPr>
          <a:lstStyle/>
          <a:p>
            <a:pPr algn="l"/>
            <a:r>
              <a:rPr lang="en-US" sz="2600" b="0" dirty="0">
                <a:solidFill>
                  <a:schemeClr val="tx1"/>
                </a:solidFill>
              </a:rPr>
              <a:t>5</a:t>
            </a:r>
            <a:endParaRPr sz="2600" b="0" dirty="0">
              <a:solidFill>
                <a:schemeClr val="tx1"/>
              </a:solidFill>
            </a:endParaRPr>
          </a:p>
        </p:txBody>
      </p:sp>
      <p:sp>
        <p:nvSpPr>
          <p:cNvPr id="1803" name="TextBox 1802"/>
          <p:cNvSpPr txBox="1"/>
          <p:nvPr/>
        </p:nvSpPr>
        <p:spPr>
          <a:xfrm>
            <a:off x="19649854" y="3475562"/>
            <a:ext cx="3657362" cy="768096"/>
          </a:xfrm>
          <a:prstGeom prst="rect">
            <a:avLst/>
          </a:prstGeom>
          <a:noFill/>
        </p:spPr>
        <p:txBody>
          <a:bodyPr wrap="square" tIns="0" bIns="0" rtlCol="0" anchor="ctr">
            <a:noAutofit/>
          </a:bodyPr>
          <a:lstStyle/>
          <a:p>
            <a:pPr algn="l"/>
            <a:r>
              <a:rPr lang="en-US" sz="2600" b="0" dirty="0">
                <a:solidFill>
                  <a:schemeClr val="tx1"/>
                </a:solidFill>
              </a:rPr>
              <a:t>6/7</a:t>
            </a:r>
            <a:endParaRPr sz="2600" b="0" dirty="0">
              <a:solidFill>
                <a:schemeClr val="tx1"/>
              </a:solidFill>
            </a:endParaRPr>
          </a:p>
        </p:txBody>
      </p:sp>
      <p:sp>
        <p:nvSpPr>
          <p:cNvPr id="1804" name="TextBox 1803"/>
          <p:cNvSpPr txBox="1"/>
          <p:nvPr/>
        </p:nvSpPr>
        <p:spPr>
          <a:xfrm>
            <a:off x="1093025" y="5304362"/>
            <a:ext cx="3657362" cy="768096"/>
          </a:xfrm>
          <a:prstGeom prst="rect">
            <a:avLst/>
          </a:prstGeom>
          <a:noFill/>
        </p:spPr>
        <p:txBody>
          <a:bodyPr wrap="square" tIns="0" bIns="0" rtlCol="0" anchor="ctr">
            <a:noAutofit/>
          </a:bodyPr>
          <a:lstStyle/>
          <a:p>
            <a:pPr algn="l"/>
            <a:r>
              <a:rPr lang="en-US" sz="2600" b="0" dirty="0">
                <a:solidFill>
                  <a:schemeClr val="tx1"/>
                </a:solidFill>
              </a:rPr>
              <a:t>8</a:t>
            </a:r>
            <a:endParaRPr sz="2600" b="0" dirty="0">
              <a:solidFill>
                <a:schemeClr val="tx1"/>
              </a:solidFill>
            </a:endParaRPr>
          </a:p>
        </p:txBody>
      </p:sp>
      <p:sp>
        <p:nvSpPr>
          <p:cNvPr id="1805" name="TextBox 1804"/>
          <p:cNvSpPr txBox="1"/>
          <p:nvPr/>
        </p:nvSpPr>
        <p:spPr>
          <a:xfrm>
            <a:off x="4764373" y="5304362"/>
            <a:ext cx="3657362" cy="768096"/>
          </a:xfrm>
          <a:prstGeom prst="rect">
            <a:avLst/>
          </a:prstGeom>
          <a:noFill/>
        </p:spPr>
        <p:txBody>
          <a:bodyPr wrap="square" tIns="0" bIns="0" rtlCol="0" anchor="ctr">
            <a:noAutofit/>
          </a:bodyPr>
          <a:lstStyle/>
          <a:p>
            <a:pPr algn="l"/>
            <a:r>
              <a:rPr lang="en-US" sz="2600" b="0" dirty="0">
                <a:solidFill>
                  <a:schemeClr val="tx1"/>
                </a:solidFill>
              </a:rPr>
              <a:t>9</a:t>
            </a:r>
            <a:endParaRPr sz="2600" b="0" dirty="0">
              <a:solidFill>
                <a:schemeClr val="tx1"/>
              </a:solidFill>
            </a:endParaRPr>
          </a:p>
        </p:txBody>
      </p:sp>
      <p:sp>
        <p:nvSpPr>
          <p:cNvPr id="1806" name="TextBox 1805"/>
          <p:cNvSpPr txBox="1"/>
          <p:nvPr/>
        </p:nvSpPr>
        <p:spPr>
          <a:xfrm>
            <a:off x="8512830" y="5304362"/>
            <a:ext cx="3657362" cy="768096"/>
          </a:xfrm>
          <a:prstGeom prst="rect">
            <a:avLst/>
          </a:prstGeom>
          <a:noFill/>
        </p:spPr>
        <p:txBody>
          <a:bodyPr wrap="square" tIns="0" bIns="0" rtlCol="0" anchor="ctr">
            <a:noAutofit/>
          </a:bodyPr>
          <a:lstStyle/>
          <a:p>
            <a:pPr algn="l"/>
            <a:r>
              <a:rPr lang="en-US" sz="2600" b="0" dirty="0">
                <a:solidFill>
                  <a:schemeClr val="tx1"/>
                </a:solidFill>
              </a:rPr>
              <a:t>10</a:t>
            </a:r>
            <a:endParaRPr sz="2600" b="0" dirty="0">
              <a:solidFill>
                <a:schemeClr val="tx1"/>
              </a:solidFill>
            </a:endParaRPr>
          </a:p>
        </p:txBody>
      </p:sp>
      <p:sp>
        <p:nvSpPr>
          <p:cNvPr id="1807" name="TextBox 1806"/>
          <p:cNvSpPr txBox="1"/>
          <p:nvPr/>
        </p:nvSpPr>
        <p:spPr>
          <a:xfrm>
            <a:off x="12191204" y="5304362"/>
            <a:ext cx="3657362" cy="768096"/>
          </a:xfrm>
          <a:prstGeom prst="rect">
            <a:avLst/>
          </a:prstGeom>
          <a:noFill/>
        </p:spPr>
        <p:txBody>
          <a:bodyPr wrap="square" tIns="0" bIns="0" rtlCol="0" anchor="ctr">
            <a:noAutofit/>
          </a:bodyPr>
          <a:lstStyle/>
          <a:p>
            <a:pPr algn="l"/>
            <a:r>
              <a:rPr lang="en-US" sz="2600" b="0" dirty="0">
                <a:solidFill>
                  <a:schemeClr val="tx1"/>
                </a:solidFill>
              </a:rPr>
              <a:t>11</a:t>
            </a:r>
            <a:endParaRPr sz="2600" b="0" dirty="0">
              <a:solidFill>
                <a:schemeClr val="tx1"/>
              </a:solidFill>
            </a:endParaRPr>
          </a:p>
        </p:txBody>
      </p:sp>
      <p:sp>
        <p:nvSpPr>
          <p:cNvPr id="1808" name="TextBox 1807"/>
          <p:cNvSpPr txBox="1"/>
          <p:nvPr/>
        </p:nvSpPr>
        <p:spPr>
          <a:xfrm>
            <a:off x="15925635" y="5304362"/>
            <a:ext cx="3657362" cy="768096"/>
          </a:xfrm>
          <a:prstGeom prst="rect">
            <a:avLst/>
          </a:prstGeom>
          <a:noFill/>
        </p:spPr>
        <p:txBody>
          <a:bodyPr wrap="square" tIns="0" bIns="0" rtlCol="0" anchor="ctr">
            <a:noAutofit/>
          </a:bodyPr>
          <a:lstStyle/>
          <a:p>
            <a:pPr algn="l"/>
            <a:r>
              <a:rPr lang="en-US" sz="2600" b="0">
                <a:solidFill>
                  <a:schemeClr val="tx1"/>
                </a:solidFill>
              </a:rPr>
              <a:t>12</a:t>
            </a:r>
            <a:endParaRPr sz="2600" b="0" dirty="0">
              <a:solidFill>
                <a:schemeClr val="tx1"/>
              </a:solidFill>
            </a:endParaRPr>
          </a:p>
        </p:txBody>
      </p:sp>
      <p:sp>
        <p:nvSpPr>
          <p:cNvPr id="1809" name="TextBox 1808"/>
          <p:cNvSpPr txBox="1"/>
          <p:nvPr/>
        </p:nvSpPr>
        <p:spPr>
          <a:xfrm>
            <a:off x="19649854" y="5304362"/>
            <a:ext cx="3657362" cy="768096"/>
          </a:xfrm>
          <a:prstGeom prst="rect">
            <a:avLst/>
          </a:prstGeom>
          <a:noFill/>
        </p:spPr>
        <p:txBody>
          <a:bodyPr wrap="square" tIns="0" bIns="0" rtlCol="0" anchor="ctr">
            <a:noAutofit/>
          </a:bodyPr>
          <a:lstStyle/>
          <a:p>
            <a:pPr algn="l"/>
            <a:r>
              <a:rPr lang="en-US" sz="2600" b="0" dirty="0">
                <a:solidFill>
                  <a:schemeClr val="tx1"/>
                </a:solidFill>
              </a:rPr>
              <a:t>13/14</a:t>
            </a:r>
            <a:endParaRPr sz="2600" b="0" dirty="0">
              <a:solidFill>
                <a:schemeClr val="tx1"/>
              </a:solidFill>
            </a:endParaRPr>
          </a:p>
        </p:txBody>
      </p:sp>
      <p:sp>
        <p:nvSpPr>
          <p:cNvPr id="1810" name="TextBox 1809"/>
          <p:cNvSpPr txBox="1"/>
          <p:nvPr/>
        </p:nvSpPr>
        <p:spPr>
          <a:xfrm>
            <a:off x="1093025" y="7133162"/>
            <a:ext cx="3657362" cy="768096"/>
          </a:xfrm>
          <a:prstGeom prst="rect">
            <a:avLst/>
          </a:prstGeom>
          <a:noFill/>
        </p:spPr>
        <p:txBody>
          <a:bodyPr wrap="square" tIns="0" bIns="0" rtlCol="0" anchor="ctr">
            <a:noAutofit/>
          </a:bodyPr>
          <a:lstStyle/>
          <a:p>
            <a:pPr algn="l"/>
            <a:r>
              <a:rPr lang="en-US" sz="2600" b="0" dirty="0">
                <a:solidFill>
                  <a:schemeClr val="tx1"/>
                </a:solidFill>
              </a:rPr>
              <a:t>15</a:t>
            </a:r>
            <a:endParaRPr sz="2600" b="0" dirty="0">
              <a:solidFill>
                <a:schemeClr val="tx1"/>
              </a:solidFill>
            </a:endParaRPr>
          </a:p>
        </p:txBody>
      </p:sp>
      <p:sp>
        <p:nvSpPr>
          <p:cNvPr id="1811" name="TextBox 1810"/>
          <p:cNvSpPr txBox="1"/>
          <p:nvPr/>
        </p:nvSpPr>
        <p:spPr>
          <a:xfrm>
            <a:off x="4764373" y="7133162"/>
            <a:ext cx="3657362" cy="768096"/>
          </a:xfrm>
          <a:prstGeom prst="rect">
            <a:avLst/>
          </a:prstGeom>
          <a:noFill/>
        </p:spPr>
        <p:txBody>
          <a:bodyPr wrap="square" tIns="0" bIns="0" rtlCol="0" anchor="ctr">
            <a:noAutofit/>
          </a:bodyPr>
          <a:lstStyle/>
          <a:p>
            <a:pPr algn="l"/>
            <a:r>
              <a:rPr lang="en-US" sz="2600" b="0" dirty="0">
                <a:solidFill>
                  <a:schemeClr val="tx1"/>
                </a:solidFill>
              </a:rPr>
              <a:t>16</a:t>
            </a:r>
            <a:endParaRPr sz="2600" b="0" dirty="0">
              <a:solidFill>
                <a:schemeClr val="tx1"/>
              </a:solidFill>
            </a:endParaRPr>
          </a:p>
        </p:txBody>
      </p:sp>
      <p:sp>
        <p:nvSpPr>
          <p:cNvPr id="1812" name="TextBox 1811"/>
          <p:cNvSpPr txBox="1"/>
          <p:nvPr/>
        </p:nvSpPr>
        <p:spPr>
          <a:xfrm>
            <a:off x="8512830" y="7133162"/>
            <a:ext cx="3657362" cy="768096"/>
          </a:xfrm>
          <a:prstGeom prst="rect">
            <a:avLst/>
          </a:prstGeom>
          <a:noFill/>
        </p:spPr>
        <p:txBody>
          <a:bodyPr wrap="square" tIns="0" bIns="0" rtlCol="0" anchor="ctr">
            <a:noAutofit/>
          </a:bodyPr>
          <a:lstStyle/>
          <a:p>
            <a:pPr algn="l"/>
            <a:r>
              <a:rPr lang="en-US" sz="2600" b="0" dirty="0">
                <a:solidFill>
                  <a:schemeClr val="tx1"/>
                </a:solidFill>
              </a:rPr>
              <a:t>17</a:t>
            </a:r>
            <a:endParaRPr sz="2600" b="0" dirty="0">
              <a:solidFill>
                <a:schemeClr val="tx1"/>
              </a:solidFill>
            </a:endParaRPr>
          </a:p>
        </p:txBody>
      </p:sp>
      <p:sp>
        <p:nvSpPr>
          <p:cNvPr id="1813" name="TextBox 1812"/>
          <p:cNvSpPr txBox="1"/>
          <p:nvPr/>
        </p:nvSpPr>
        <p:spPr>
          <a:xfrm>
            <a:off x="12191204" y="7133162"/>
            <a:ext cx="3657362" cy="768096"/>
          </a:xfrm>
          <a:prstGeom prst="rect">
            <a:avLst/>
          </a:prstGeom>
          <a:noFill/>
        </p:spPr>
        <p:txBody>
          <a:bodyPr wrap="square" tIns="0" bIns="0" rtlCol="0" anchor="ctr">
            <a:noAutofit/>
          </a:bodyPr>
          <a:lstStyle/>
          <a:p>
            <a:pPr algn="l"/>
            <a:r>
              <a:rPr lang="en-US" sz="2600" b="0" dirty="0">
                <a:solidFill>
                  <a:schemeClr val="tx1"/>
                </a:solidFill>
              </a:rPr>
              <a:t>18</a:t>
            </a:r>
            <a:endParaRPr sz="2600" b="0" dirty="0">
              <a:solidFill>
                <a:schemeClr val="tx1"/>
              </a:solidFill>
            </a:endParaRPr>
          </a:p>
        </p:txBody>
      </p:sp>
      <p:sp>
        <p:nvSpPr>
          <p:cNvPr id="1814" name="TextBox 1813"/>
          <p:cNvSpPr txBox="1"/>
          <p:nvPr/>
        </p:nvSpPr>
        <p:spPr>
          <a:xfrm>
            <a:off x="15925635" y="7133162"/>
            <a:ext cx="3657362" cy="768096"/>
          </a:xfrm>
          <a:prstGeom prst="rect">
            <a:avLst/>
          </a:prstGeom>
          <a:noFill/>
        </p:spPr>
        <p:txBody>
          <a:bodyPr wrap="square" tIns="0" bIns="0" rtlCol="0" anchor="ctr">
            <a:noAutofit/>
          </a:bodyPr>
          <a:lstStyle/>
          <a:p>
            <a:pPr algn="l"/>
            <a:r>
              <a:rPr lang="en-US" sz="2600" b="0" dirty="0">
                <a:solidFill>
                  <a:schemeClr val="tx1"/>
                </a:solidFill>
              </a:rPr>
              <a:t>19</a:t>
            </a:r>
            <a:endParaRPr sz="2600" b="0" dirty="0">
              <a:solidFill>
                <a:schemeClr val="tx1"/>
              </a:solidFill>
            </a:endParaRPr>
          </a:p>
        </p:txBody>
      </p:sp>
      <p:sp>
        <p:nvSpPr>
          <p:cNvPr id="1815" name="TextBox 1814"/>
          <p:cNvSpPr txBox="1"/>
          <p:nvPr/>
        </p:nvSpPr>
        <p:spPr>
          <a:xfrm>
            <a:off x="19649854" y="7133162"/>
            <a:ext cx="3657362" cy="768096"/>
          </a:xfrm>
          <a:prstGeom prst="rect">
            <a:avLst/>
          </a:prstGeom>
          <a:noFill/>
        </p:spPr>
        <p:txBody>
          <a:bodyPr wrap="square" tIns="0" bIns="0" rtlCol="0" anchor="ctr">
            <a:noAutofit/>
          </a:bodyPr>
          <a:lstStyle/>
          <a:p>
            <a:pPr algn="l"/>
            <a:r>
              <a:rPr lang="en-US" sz="2600" b="0" dirty="0">
                <a:solidFill>
                  <a:schemeClr val="tx1"/>
                </a:solidFill>
              </a:rPr>
              <a:t>20/21</a:t>
            </a:r>
            <a:endParaRPr sz="2600" b="0" dirty="0">
              <a:solidFill>
                <a:schemeClr val="tx1"/>
              </a:solidFill>
            </a:endParaRPr>
          </a:p>
        </p:txBody>
      </p:sp>
      <p:sp>
        <p:nvSpPr>
          <p:cNvPr id="1816" name="TextBox 1815"/>
          <p:cNvSpPr txBox="1"/>
          <p:nvPr/>
        </p:nvSpPr>
        <p:spPr>
          <a:xfrm>
            <a:off x="1093025" y="8961962"/>
            <a:ext cx="3657362" cy="768096"/>
          </a:xfrm>
          <a:prstGeom prst="rect">
            <a:avLst/>
          </a:prstGeom>
          <a:noFill/>
        </p:spPr>
        <p:txBody>
          <a:bodyPr wrap="square" tIns="0" bIns="0" rtlCol="0" anchor="ctr">
            <a:noAutofit/>
          </a:bodyPr>
          <a:lstStyle/>
          <a:p>
            <a:pPr algn="l"/>
            <a:r>
              <a:rPr lang="en-US" sz="2600" b="0" dirty="0">
                <a:solidFill>
                  <a:schemeClr val="tx1"/>
                </a:solidFill>
              </a:rPr>
              <a:t>22</a:t>
            </a:r>
            <a:endParaRPr sz="2600" b="0" dirty="0">
              <a:solidFill>
                <a:schemeClr val="tx1"/>
              </a:solidFill>
            </a:endParaRPr>
          </a:p>
        </p:txBody>
      </p:sp>
      <p:sp>
        <p:nvSpPr>
          <p:cNvPr id="1817" name="TextBox 1816"/>
          <p:cNvSpPr txBox="1"/>
          <p:nvPr/>
        </p:nvSpPr>
        <p:spPr>
          <a:xfrm>
            <a:off x="4764373" y="8961962"/>
            <a:ext cx="3657362" cy="768096"/>
          </a:xfrm>
          <a:prstGeom prst="rect">
            <a:avLst/>
          </a:prstGeom>
          <a:noFill/>
        </p:spPr>
        <p:txBody>
          <a:bodyPr wrap="square" tIns="0" bIns="0" rtlCol="0" anchor="ctr">
            <a:noAutofit/>
          </a:bodyPr>
          <a:lstStyle/>
          <a:p>
            <a:pPr algn="l"/>
            <a:r>
              <a:rPr lang="en-US" sz="2600" b="0" dirty="0">
                <a:solidFill>
                  <a:schemeClr val="tx1"/>
                </a:solidFill>
              </a:rPr>
              <a:t>23</a:t>
            </a:r>
            <a:endParaRPr sz="2600" b="0" dirty="0">
              <a:solidFill>
                <a:schemeClr val="tx1"/>
              </a:solidFill>
            </a:endParaRPr>
          </a:p>
        </p:txBody>
      </p:sp>
      <p:sp>
        <p:nvSpPr>
          <p:cNvPr id="1818" name="TextBox 1817"/>
          <p:cNvSpPr txBox="1"/>
          <p:nvPr/>
        </p:nvSpPr>
        <p:spPr>
          <a:xfrm>
            <a:off x="8512830" y="8961962"/>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tx1"/>
                </a:solidFill>
              </a:rPr>
              <a:t>24</a:t>
            </a:r>
          </a:p>
        </p:txBody>
      </p:sp>
      <p:sp>
        <p:nvSpPr>
          <p:cNvPr id="1819" name="TextBox 1818"/>
          <p:cNvSpPr txBox="1"/>
          <p:nvPr/>
        </p:nvSpPr>
        <p:spPr>
          <a:xfrm>
            <a:off x="12191204" y="8961962"/>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tx1"/>
                </a:solidFill>
              </a:rPr>
              <a:t>25</a:t>
            </a:r>
          </a:p>
        </p:txBody>
      </p:sp>
      <p:sp>
        <p:nvSpPr>
          <p:cNvPr id="1820" name="TextBox 1819"/>
          <p:cNvSpPr txBox="1"/>
          <p:nvPr/>
        </p:nvSpPr>
        <p:spPr>
          <a:xfrm>
            <a:off x="15925635" y="8961962"/>
            <a:ext cx="3657362" cy="768096"/>
          </a:xfrm>
          <a:prstGeom prst="rect">
            <a:avLst/>
          </a:prstGeom>
          <a:noFill/>
        </p:spPr>
        <p:txBody>
          <a:bodyPr wrap="square" tIns="0" bIns="0" rtlCol="0" anchor="ctr">
            <a:noAutofit/>
          </a:bodyPr>
          <a:lstStyle>
            <a:defPPr>
              <a:defRPr lang="en-US"/>
            </a:defPPr>
            <a:lvl1pPr marR="0" indent="0" fontAlgn="auto">
              <a:lnSpc>
                <a:spcPct val="100000"/>
              </a:lnSpc>
              <a:spcBef>
                <a:spcPts val="0"/>
              </a:spcBef>
              <a:spcAft>
                <a:spcPts val="0"/>
              </a:spcAft>
              <a:buClrTx/>
              <a:buSzTx/>
              <a:buFontTx/>
              <a:buNone/>
              <a:tabLst/>
              <a:defRPr sz="1300" b="0"/>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tx1"/>
                </a:solidFill>
              </a:rPr>
              <a:t>26</a:t>
            </a:r>
          </a:p>
        </p:txBody>
      </p:sp>
      <p:sp>
        <p:nvSpPr>
          <p:cNvPr id="1821" name="TextBox 1820"/>
          <p:cNvSpPr txBox="1"/>
          <p:nvPr/>
        </p:nvSpPr>
        <p:spPr>
          <a:xfrm>
            <a:off x="19649854" y="8961962"/>
            <a:ext cx="3657362" cy="768096"/>
          </a:xfrm>
          <a:prstGeom prst="rect">
            <a:avLst/>
          </a:prstGeom>
          <a:noFill/>
        </p:spPr>
        <p:txBody>
          <a:bodyPr wrap="square" tIns="0" bIns="0" rtlCol="0" anchor="ctr">
            <a:noAutofit/>
          </a:bodyPr>
          <a:lstStyle>
            <a:defPPr>
              <a:defRPr lang="en-US"/>
            </a:defPPr>
            <a:lvl1pPr marR="0" lvl="0" indent="0" fontAlgn="auto">
              <a:lnSpc>
                <a:spcPct val="100000"/>
              </a:lnSpc>
              <a:spcBef>
                <a:spcPts val="0"/>
              </a:spcBef>
              <a:spcAft>
                <a:spcPts val="0"/>
              </a:spcAft>
              <a:buClrTx/>
              <a:buSzTx/>
              <a:buFontTx/>
              <a:buNone/>
              <a:tabLst/>
              <a:defRPr sz="1300" b="0"/>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tx1"/>
                </a:solidFill>
              </a:rPr>
              <a:t>27/28</a:t>
            </a:r>
          </a:p>
        </p:txBody>
      </p:sp>
      <p:sp>
        <p:nvSpPr>
          <p:cNvPr id="1822" name="TextBox 1821"/>
          <p:cNvSpPr txBox="1"/>
          <p:nvPr/>
        </p:nvSpPr>
        <p:spPr>
          <a:xfrm>
            <a:off x="1071881" y="10783350"/>
            <a:ext cx="3657362" cy="768096"/>
          </a:xfrm>
          <a:prstGeom prst="rect">
            <a:avLst/>
          </a:prstGeom>
          <a:noFill/>
        </p:spPr>
        <p:txBody>
          <a:bodyPr wrap="square" tIns="0" bIns="0" rtlCol="0" anchor="ctr">
            <a:noAutofit/>
          </a:bodyPr>
          <a:lstStyle/>
          <a:p>
            <a:pPr algn="l"/>
            <a:r>
              <a:rPr lang="en-US" sz="2600" b="0" dirty="0">
                <a:solidFill>
                  <a:schemeClr val="tx1"/>
                </a:solidFill>
              </a:rPr>
              <a:t>29</a:t>
            </a:r>
            <a:endParaRPr sz="2600" b="0" dirty="0">
              <a:solidFill>
                <a:schemeClr val="tx1"/>
              </a:solidFill>
            </a:endParaRPr>
          </a:p>
        </p:txBody>
      </p:sp>
      <p:sp>
        <p:nvSpPr>
          <p:cNvPr id="1823" name="TextBox 1822"/>
          <p:cNvSpPr txBox="1"/>
          <p:nvPr/>
        </p:nvSpPr>
        <p:spPr>
          <a:xfrm>
            <a:off x="4764373" y="10809050"/>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tx1"/>
                </a:solidFill>
              </a:rPr>
              <a:t>30</a:t>
            </a:r>
            <a:endParaRPr lang="en-US" sz="2600" b="0" dirty="0">
              <a:solidFill>
                <a:schemeClr val="bg2">
                  <a:lumMod val="90000"/>
                </a:schemeClr>
              </a:solidFill>
            </a:endParaRPr>
          </a:p>
        </p:txBody>
      </p:sp>
      <p:sp>
        <p:nvSpPr>
          <p:cNvPr id="1824" name="TextBox 1823"/>
          <p:cNvSpPr txBox="1"/>
          <p:nvPr/>
        </p:nvSpPr>
        <p:spPr>
          <a:xfrm>
            <a:off x="8512833" y="1080905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1 May</a:t>
            </a:r>
            <a:endParaRPr sz="2600" b="0" dirty="0">
              <a:solidFill>
                <a:schemeClr val="bg2">
                  <a:lumMod val="90000"/>
                </a:schemeClr>
              </a:solidFill>
            </a:endParaRPr>
          </a:p>
        </p:txBody>
      </p:sp>
      <p:sp>
        <p:nvSpPr>
          <p:cNvPr id="1825" name="TextBox 1824"/>
          <p:cNvSpPr txBox="1"/>
          <p:nvPr/>
        </p:nvSpPr>
        <p:spPr>
          <a:xfrm>
            <a:off x="12191204" y="1080905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2</a:t>
            </a:r>
            <a:endParaRPr sz="2600" b="0" dirty="0">
              <a:solidFill>
                <a:schemeClr val="bg2">
                  <a:lumMod val="90000"/>
                </a:schemeClr>
              </a:solidFill>
            </a:endParaRPr>
          </a:p>
        </p:txBody>
      </p:sp>
      <p:sp>
        <p:nvSpPr>
          <p:cNvPr id="1826" name="TextBox 1825"/>
          <p:cNvSpPr txBox="1"/>
          <p:nvPr/>
        </p:nvSpPr>
        <p:spPr>
          <a:xfrm>
            <a:off x="15925635" y="1080905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3</a:t>
            </a:r>
            <a:endParaRPr sz="2600" b="0" dirty="0">
              <a:solidFill>
                <a:schemeClr val="bg2">
                  <a:lumMod val="90000"/>
                </a:schemeClr>
              </a:solidFill>
            </a:endParaRPr>
          </a:p>
        </p:txBody>
      </p:sp>
      <p:sp>
        <p:nvSpPr>
          <p:cNvPr id="1827" name="TextBox 1826"/>
          <p:cNvSpPr txBox="1"/>
          <p:nvPr/>
        </p:nvSpPr>
        <p:spPr>
          <a:xfrm>
            <a:off x="19649854" y="1080905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4/5</a:t>
            </a:r>
            <a:endParaRPr sz="2600" b="0" dirty="0">
              <a:solidFill>
                <a:schemeClr val="bg2">
                  <a:lumMod val="90000"/>
                </a:schemeClr>
              </a:solidFill>
            </a:endParaRPr>
          </a:p>
        </p:txBody>
      </p:sp>
      <p:sp>
        <p:nvSpPr>
          <p:cNvPr id="1828" name="TextBox 1827"/>
          <p:cNvSpPr txBox="1"/>
          <p:nvPr/>
        </p:nvSpPr>
        <p:spPr>
          <a:xfrm>
            <a:off x="956671" y="304800"/>
            <a:ext cx="22350545" cy="1398084"/>
          </a:xfrm>
          <a:prstGeom prst="rect">
            <a:avLst/>
          </a:prstGeom>
          <a:noFill/>
        </p:spPr>
        <p:txBody>
          <a:bodyPr wrap="square" tIns="0" bIns="0" rtlCol="0" anchor="ctr">
            <a:noAutofit/>
          </a:bodyPr>
          <a:lstStyle/>
          <a:p>
            <a:pPr algn="l"/>
            <a:r>
              <a:rPr lang="en-US" sz="4400" b="0" dirty="0">
                <a:solidFill>
                  <a:schemeClr val="accent1"/>
                </a:solidFill>
              </a:rPr>
              <a:t>A</a:t>
            </a:r>
            <a:r>
              <a:rPr sz="4400" b="0" dirty="0">
                <a:solidFill>
                  <a:schemeClr val="accent1"/>
                </a:solidFill>
              </a:rPr>
              <a:t>pril</a:t>
            </a:r>
          </a:p>
        </p:txBody>
      </p:sp>
      <p:sp>
        <p:nvSpPr>
          <p:cNvPr id="40" name="Text Placeholder 2"/>
          <p:cNvSpPr>
            <a:spLocks noGrp="1"/>
          </p:cNvSpPr>
          <p:nvPr>
            <p:ph type="body" sz="quarter" idx="11" hasCustomPrompt="1"/>
          </p:nvPr>
        </p:nvSpPr>
        <p:spPr>
          <a:xfrm>
            <a:off x="1048444"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6" name="Text Placeholder 2"/>
          <p:cNvSpPr>
            <a:spLocks noGrp="1"/>
          </p:cNvSpPr>
          <p:nvPr>
            <p:ph type="body" sz="quarter" idx="17" hasCustomPrompt="1"/>
          </p:nvPr>
        </p:nvSpPr>
        <p:spPr>
          <a:xfrm>
            <a:off x="4754571"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2" name="Text Placeholder 2"/>
          <p:cNvSpPr>
            <a:spLocks noGrp="1"/>
          </p:cNvSpPr>
          <p:nvPr>
            <p:ph type="body" sz="quarter" idx="23" hasCustomPrompt="1"/>
          </p:nvPr>
        </p:nvSpPr>
        <p:spPr>
          <a:xfrm>
            <a:off x="8485080"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8" name="Text Placeholder 2"/>
          <p:cNvSpPr>
            <a:spLocks noGrp="1"/>
          </p:cNvSpPr>
          <p:nvPr>
            <p:ph type="body" sz="quarter" idx="29" hasCustomPrompt="1"/>
          </p:nvPr>
        </p:nvSpPr>
        <p:spPr>
          <a:xfrm>
            <a:off x="12220346"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4" name="Text Placeholder 2"/>
          <p:cNvSpPr>
            <a:spLocks noGrp="1"/>
          </p:cNvSpPr>
          <p:nvPr>
            <p:ph type="body" sz="quarter" idx="35" hasCustomPrompt="1"/>
          </p:nvPr>
        </p:nvSpPr>
        <p:spPr>
          <a:xfrm>
            <a:off x="15935099"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0" name="Text Placeholder 2"/>
          <p:cNvSpPr>
            <a:spLocks noGrp="1"/>
          </p:cNvSpPr>
          <p:nvPr>
            <p:ph type="body" sz="quarter" idx="41" hasCustomPrompt="1"/>
          </p:nvPr>
        </p:nvSpPr>
        <p:spPr>
          <a:xfrm>
            <a:off x="19676607"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9" name="Text Placeholder 2"/>
          <p:cNvSpPr>
            <a:spLocks noGrp="1"/>
          </p:cNvSpPr>
          <p:nvPr>
            <p:ph type="body" sz="quarter" idx="10" hasCustomPrompt="1"/>
          </p:nvPr>
        </p:nvSpPr>
        <p:spPr>
          <a:xfrm>
            <a:off x="1048444"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5" name="Text Placeholder 2"/>
          <p:cNvSpPr>
            <a:spLocks noGrp="1"/>
          </p:cNvSpPr>
          <p:nvPr>
            <p:ph type="body" sz="quarter" idx="16" hasCustomPrompt="1"/>
          </p:nvPr>
        </p:nvSpPr>
        <p:spPr>
          <a:xfrm>
            <a:off x="4754571"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1" name="Text Placeholder 2"/>
          <p:cNvSpPr>
            <a:spLocks noGrp="1"/>
          </p:cNvSpPr>
          <p:nvPr>
            <p:ph type="body" sz="quarter" idx="22" hasCustomPrompt="1"/>
          </p:nvPr>
        </p:nvSpPr>
        <p:spPr>
          <a:xfrm>
            <a:off x="8485080"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7" name="Text Placeholder 2"/>
          <p:cNvSpPr>
            <a:spLocks noGrp="1"/>
          </p:cNvSpPr>
          <p:nvPr>
            <p:ph type="body" sz="quarter" idx="28" hasCustomPrompt="1"/>
          </p:nvPr>
        </p:nvSpPr>
        <p:spPr>
          <a:xfrm>
            <a:off x="12220346"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3" name="Text Placeholder 2"/>
          <p:cNvSpPr>
            <a:spLocks noGrp="1"/>
          </p:cNvSpPr>
          <p:nvPr>
            <p:ph type="body" sz="quarter" idx="34" hasCustomPrompt="1"/>
          </p:nvPr>
        </p:nvSpPr>
        <p:spPr>
          <a:xfrm>
            <a:off x="15935099"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9" name="Text Placeholder 2"/>
          <p:cNvSpPr>
            <a:spLocks noGrp="1"/>
          </p:cNvSpPr>
          <p:nvPr>
            <p:ph type="body" sz="quarter" idx="40" hasCustomPrompt="1"/>
          </p:nvPr>
        </p:nvSpPr>
        <p:spPr>
          <a:xfrm>
            <a:off x="19676607"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1" name="Text Placeholder 2"/>
          <p:cNvSpPr>
            <a:spLocks noGrp="1"/>
          </p:cNvSpPr>
          <p:nvPr>
            <p:ph type="body" sz="quarter" idx="12" hasCustomPrompt="1"/>
          </p:nvPr>
        </p:nvSpPr>
        <p:spPr>
          <a:xfrm>
            <a:off x="1048444"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7" name="Text Placeholder 2"/>
          <p:cNvSpPr>
            <a:spLocks noGrp="1"/>
          </p:cNvSpPr>
          <p:nvPr>
            <p:ph type="body" sz="quarter" idx="18" hasCustomPrompt="1"/>
          </p:nvPr>
        </p:nvSpPr>
        <p:spPr>
          <a:xfrm>
            <a:off x="4754571"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3" name="Text Placeholder 2"/>
          <p:cNvSpPr>
            <a:spLocks noGrp="1"/>
          </p:cNvSpPr>
          <p:nvPr>
            <p:ph type="body" sz="quarter" idx="24" hasCustomPrompt="1"/>
          </p:nvPr>
        </p:nvSpPr>
        <p:spPr>
          <a:xfrm>
            <a:off x="8485080"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9" name="Text Placeholder 2"/>
          <p:cNvSpPr>
            <a:spLocks noGrp="1"/>
          </p:cNvSpPr>
          <p:nvPr>
            <p:ph type="body" sz="quarter" idx="30" hasCustomPrompt="1"/>
          </p:nvPr>
        </p:nvSpPr>
        <p:spPr>
          <a:xfrm>
            <a:off x="12220346"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5" name="Text Placeholder 2"/>
          <p:cNvSpPr>
            <a:spLocks noGrp="1"/>
          </p:cNvSpPr>
          <p:nvPr>
            <p:ph type="body" sz="quarter" idx="36" hasCustomPrompt="1"/>
          </p:nvPr>
        </p:nvSpPr>
        <p:spPr>
          <a:xfrm>
            <a:off x="15935099"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1" name="Text Placeholder 2"/>
          <p:cNvSpPr>
            <a:spLocks noGrp="1"/>
          </p:cNvSpPr>
          <p:nvPr>
            <p:ph type="body" sz="quarter" idx="42" hasCustomPrompt="1"/>
          </p:nvPr>
        </p:nvSpPr>
        <p:spPr>
          <a:xfrm>
            <a:off x="19676607"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2" name="Text Placeholder 2"/>
          <p:cNvSpPr>
            <a:spLocks noGrp="1"/>
          </p:cNvSpPr>
          <p:nvPr>
            <p:ph type="body" sz="quarter" idx="13" hasCustomPrompt="1"/>
          </p:nvPr>
        </p:nvSpPr>
        <p:spPr>
          <a:xfrm>
            <a:off x="1048444"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8" name="Text Placeholder 2"/>
          <p:cNvSpPr>
            <a:spLocks noGrp="1"/>
          </p:cNvSpPr>
          <p:nvPr>
            <p:ph type="body" sz="quarter" idx="19" hasCustomPrompt="1"/>
          </p:nvPr>
        </p:nvSpPr>
        <p:spPr>
          <a:xfrm>
            <a:off x="4754571"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4" name="Text Placeholder 2"/>
          <p:cNvSpPr>
            <a:spLocks noGrp="1"/>
          </p:cNvSpPr>
          <p:nvPr>
            <p:ph type="body" sz="quarter" idx="25" hasCustomPrompt="1"/>
          </p:nvPr>
        </p:nvSpPr>
        <p:spPr>
          <a:xfrm>
            <a:off x="8485080"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0" name="Text Placeholder 2"/>
          <p:cNvSpPr>
            <a:spLocks noGrp="1"/>
          </p:cNvSpPr>
          <p:nvPr>
            <p:ph type="body" sz="quarter" idx="31" hasCustomPrompt="1"/>
          </p:nvPr>
        </p:nvSpPr>
        <p:spPr>
          <a:xfrm>
            <a:off x="12220346"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6" name="Text Placeholder 2"/>
          <p:cNvSpPr>
            <a:spLocks noGrp="1"/>
          </p:cNvSpPr>
          <p:nvPr>
            <p:ph type="body" sz="quarter" idx="37" hasCustomPrompt="1"/>
          </p:nvPr>
        </p:nvSpPr>
        <p:spPr>
          <a:xfrm>
            <a:off x="15935099"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2" name="Text Placeholder 2"/>
          <p:cNvSpPr>
            <a:spLocks noGrp="1"/>
          </p:cNvSpPr>
          <p:nvPr>
            <p:ph type="body" sz="quarter" idx="43" hasCustomPrompt="1"/>
          </p:nvPr>
        </p:nvSpPr>
        <p:spPr>
          <a:xfrm>
            <a:off x="19676607"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3" name="Text Placeholder 2"/>
          <p:cNvSpPr>
            <a:spLocks noGrp="1"/>
          </p:cNvSpPr>
          <p:nvPr>
            <p:ph type="body" sz="quarter" idx="14" hasCustomPrompt="1"/>
          </p:nvPr>
        </p:nvSpPr>
        <p:spPr>
          <a:xfrm>
            <a:off x="1048444"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9" name="Text Placeholder 2"/>
          <p:cNvSpPr>
            <a:spLocks noGrp="1"/>
          </p:cNvSpPr>
          <p:nvPr>
            <p:ph type="body" sz="quarter" idx="20" hasCustomPrompt="1"/>
          </p:nvPr>
        </p:nvSpPr>
        <p:spPr>
          <a:xfrm>
            <a:off x="4754571"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5" name="Text Placeholder 2"/>
          <p:cNvSpPr>
            <a:spLocks noGrp="1"/>
          </p:cNvSpPr>
          <p:nvPr>
            <p:ph type="body" sz="quarter" idx="26" hasCustomPrompt="1"/>
          </p:nvPr>
        </p:nvSpPr>
        <p:spPr>
          <a:xfrm>
            <a:off x="8485080"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1" name="Text Placeholder 2"/>
          <p:cNvSpPr>
            <a:spLocks noGrp="1"/>
          </p:cNvSpPr>
          <p:nvPr>
            <p:ph type="body" sz="quarter" idx="32" hasCustomPrompt="1"/>
          </p:nvPr>
        </p:nvSpPr>
        <p:spPr>
          <a:xfrm>
            <a:off x="12220346"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7" name="Text Placeholder 2"/>
          <p:cNvSpPr>
            <a:spLocks noGrp="1"/>
          </p:cNvSpPr>
          <p:nvPr>
            <p:ph type="body" sz="quarter" idx="38" hasCustomPrompt="1"/>
          </p:nvPr>
        </p:nvSpPr>
        <p:spPr>
          <a:xfrm>
            <a:off x="15935099"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3" name="Text Placeholder 2"/>
          <p:cNvSpPr>
            <a:spLocks noGrp="1"/>
          </p:cNvSpPr>
          <p:nvPr>
            <p:ph type="body" sz="quarter" idx="44" hasCustomPrompt="1"/>
          </p:nvPr>
        </p:nvSpPr>
        <p:spPr>
          <a:xfrm>
            <a:off x="19676607"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4" name="Text Placeholder 2"/>
          <p:cNvSpPr>
            <a:spLocks noGrp="1"/>
          </p:cNvSpPr>
          <p:nvPr>
            <p:ph type="body" sz="quarter" idx="15" hasCustomPrompt="1"/>
          </p:nvPr>
        </p:nvSpPr>
        <p:spPr>
          <a:xfrm>
            <a:off x="1048444"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0" name="Text Placeholder 2"/>
          <p:cNvSpPr>
            <a:spLocks noGrp="1"/>
          </p:cNvSpPr>
          <p:nvPr>
            <p:ph type="body" sz="quarter" idx="21" hasCustomPrompt="1"/>
          </p:nvPr>
        </p:nvSpPr>
        <p:spPr>
          <a:xfrm>
            <a:off x="4754571"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6" name="Text Placeholder 2"/>
          <p:cNvSpPr>
            <a:spLocks noGrp="1"/>
          </p:cNvSpPr>
          <p:nvPr>
            <p:ph type="body" sz="quarter" idx="27" hasCustomPrompt="1"/>
          </p:nvPr>
        </p:nvSpPr>
        <p:spPr>
          <a:xfrm>
            <a:off x="8485080"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2" name="Text Placeholder 2"/>
          <p:cNvSpPr>
            <a:spLocks noGrp="1"/>
          </p:cNvSpPr>
          <p:nvPr>
            <p:ph type="body" sz="quarter" idx="33" hasCustomPrompt="1"/>
          </p:nvPr>
        </p:nvSpPr>
        <p:spPr>
          <a:xfrm>
            <a:off x="12220346"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8" name="Text Placeholder 2"/>
          <p:cNvSpPr>
            <a:spLocks noGrp="1"/>
          </p:cNvSpPr>
          <p:nvPr>
            <p:ph type="body" sz="quarter" idx="39" hasCustomPrompt="1"/>
          </p:nvPr>
        </p:nvSpPr>
        <p:spPr>
          <a:xfrm>
            <a:off x="15935099"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4" name="Text Placeholder 2"/>
          <p:cNvSpPr>
            <a:spLocks noGrp="1"/>
          </p:cNvSpPr>
          <p:nvPr>
            <p:ph type="body" sz="quarter" idx="45" hasCustomPrompt="1"/>
          </p:nvPr>
        </p:nvSpPr>
        <p:spPr>
          <a:xfrm>
            <a:off x="19676607"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8" name="TextBox 77">
            <a:extLst>
              <a:ext uri="{FF2B5EF4-FFF2-40B4-BE49-F238E27FC236}">
                <a16:creationId xmlns:a16="http://schemas.microsoft.com/office/drawing/2014/main" id="{E4BDD90B-A82A-5C42-869C-2EA0D6F175B7}"/>
              </a:ext>
            </a:extLst>
          </p:cNvPr>
          <p:cNvSpPr txBox="1"/>
          <p:nvPr userDrawn="1"/>
        </p:nvSpPr>
        <p:spPr>
          <a:xfrm>
            <a:off x="954662" y="1399713"/>
            <a:ext cx="1638300" cy="461665"/>
          </a:xfrm>
          <a:prstGeom prst="rect">
            <a:avLst/>
          </a:prstGeom>
          <a:noFill/>
        </p:spPr>
        <p:txBody>
          <a:bodyPr wrap="square" rtlCol="0">
            <a:spAutoFit/>
          </a:bodyPr>
          <a:lstStyle/>
          <a:p>
            <a:r>
              <a:rPr lang="en-US" sz="2400" b="1" dirty="0">
                <a:solidFill>
                  <a:schemeClr val="accent1"/>
                </a:solidFill>
              </a:rPr>
              <a:t>Monday</a:t>
            </a:r>
          </a:p>
        </p:txBody>
      </p:sp>
      <p:sp>
        <p:nvSpPr>
          <p:cNvPr id="79" name="TextBox 78">
            <a:extLst>
              <a:ext uri="{FF2B5EF4-FFF2-40B4-BE49-F238E27FC236}">
                <a16:creationId xmlns:a16="http://schemas.microsoft.com/office/drawing/2014/main" id="{B34BFE24-73BD-594A-A04C-7000412C486E}"/>
              </a:ext>
            </a:extLst>
          </p:cNvPr>
          <p:cNvSpPr txBox="1"/>
          <p:nvPr userDrawn="1"/>
        </p:nvSpPr>
        <p:spPr>
          <a:xfrm>
            <a:off x="4688462" y="1399713"/>
            <a:ext cx="1638300" cy="461665"/>
          </a:xfrm>
          <a:prstGeom prst="rect">
            <a:avLst/>
          </a:prstGeom>
          <a:noFill/>
        </p:spPr>
        <p:txBody>
          <a:bodyPr wrap="square" rtlCol="0">
            <a:spAutoFit/>
          </a:bodyPr>
          <a:lstStyle/>
          <a:p>
            <a:r>
              <a:rPr lang="en-US" sz="2400" b="1" dirty="0">
                <a:solidFill>
                  <a:schemeClr val="accent1"/>
                </a:solidFill>
              </a:rPr>
              <a:t>Tuesday</a:t>
            </a:r>
          </a:p>
        </p:txBody>
      </p:sp>
      <p:sp>
        <p:nvSpPr>
          <p:cNvPr id="80" name="TextBox 79">
            <a:extLst>
              <a:ext uri="{FF2B5EF4-FFF2-40B4-BE49-F238E27FC236}">
                <a16:creationId xmlns:a16="http://schemas.microsoft.com/office/drawing/2014/main" id="{D560B02F-3C85-8D40-BF23-D9BBBB7D6617}"/>
              </a:ext>
            </a:extLst>
          </p:cNvPr>
          <p:cNvSpPr txBox="1"/>
          <p:nvPr userDrawn="1"/>
        </p:nvSpPr>
        <p:spPr>
          <a:xfrm>
            <a:off x="8365112" y="1399713"/>
            <a:ext cx="2741038" cy="461665"/>
          </a:xfrm>
          <a:prstGeom prst="rect">
            <a:avLst/>
          </a:prstGeom>
          <a:noFill/>
        </p:spPr>
        <p:txBody>
          <a:bodyPr wrap="square" rtlCol="0">
            <a:spAutoFit/>
          </a:bodyPr>
          <a:lstStyle/>
          <a:p>
            <a:r>
              <a:rPr lang="en-US" sz="2400" b="1" dirty="0">
                <a:solidFill>
                  <a:schemeClr val="accent1"/>
                </a:solidFill>
              </a:rPr>
              <a:t>Wednesday</a:t>
            </a:r>
          </a:p>
        </p:txBody>
      </p:sp>
      <p:sp>
        <p:nvSpPr>
          <p:cNvPr id="81" name="TextBox 80">
            <a:extLst>
              <a:ext uri="{FF2B5EF4-FFF2-40B4-BE49-F238E27FC236}">
                <a16:creationId xmlns:a16="http://schemas.microsoft.com/office/drawing/2014/main" id="{FC55663D-8B8D-6B44-A3F3-A35E300E31B9}"/>
              </a:ext>
            </a:extLst>
          </p:cNvPr>
          <p:cNvSpPr txBox="1"/>
          <p:nvPr userDrawn="1"/>
        </p:nvSpPr>
        <p:spPr>
          <a:xfrm>
            <a:off x="12137012" y="1399713"/>
            <a:ext cx="1638300" cy="461665"/>
          </a:xfrm>
          <a:prstGeom prst="rect">
            <a:avLst/>
          </a:prstGeom>
          <a:noFill/>
        </p:spPr>
        <p:txBody>
          <a:bodyPr wrap="square" rtlCol="0">
            <a:spAutoFit/>
          </a:bodyPr>
          <a:lstStyle/>
          <a:p>
            <a:r>
              <a:rPr lang="en-US" sz="2400" b="1" dirty="0">
                <a:solidFill>
                  <a:schemeClr val="accent1"/>
                </a:solidFill>
              </a:rPr>
              <a:t>Thursday</a:t>
            </a:r>
          </a:p>
        </p:txBody>
      </p:sp>
      <p:sp>
        <p:nvSpPr>
          <p:cNvPr id="82" name="TextBox 81">
            <a:extLst>
              <a:ext uri="{FF2B5EF4-FFF2-40B4-BE49-F238E27FC236}">
                <a16:creationId xmlns:a16="http://schemas.microsoft.com/office/drawing/2014/main" id="{6CA0DE4A-2492-1549-B22E-F9AE1BFB0F8D}"/>
              </a:ext>
            </a:extLst>
          </p:cNvPr>
          <p:cNvSpPr txBox="1"/>
          <p:nvPr userDrawn="1"/>
        </p:nvSpPr>
        <p:spPr>
          <a:xfrm>
            <a:off x="15870812" y="1399713"/>
            <a:ext cx="1638300" cy="461665"/>
          </a:xfrm>
          <a:prstGeom prst="rect">
            <a:avLst/>
          </a:prstGeom>
          <a:noFill/>
        </p:spPr>
        <p:txBody>
          <a:bodyPr wrap="square" rtlCol="0">
            <a:spAutoFit/>
          </a:bodyPr>
          <a:lstStyle/>
          <a:p>
            <a:r>
              <a:rPr lang="en-US" sz="2400" b="1" dirty="0">
                <a:solidFill>
                  <a:schemeClr val="accent1"/>
                </a:solidFill>
              </a:rPr>
              <a:t>Friday</a:t>
            </a:r>
          </a:p>
        </p:txBody>
      </p:sp>
      <p:sp>
        <p:nvSpPr>
          <p:cNvPr id="83" name="TextBox 82">
            <a:extLst>
              <a:ext uri="{FF2B5EF4-FFF2-40B4-BE49-F238E27FC236}">
                <a16:creationId xmlns:a16="http://schemas.microsoft.com/office/drawing/2014/main" id="{8C2485A2-C5C5-2449-A64F-AD9C04974B4F}"/>
              </a:ext>
            </a:extLst>
          </p:cNvPr>
          <p:cNvSpPr txBox="1"/>
          <p:nvPr userDrawn="1"/>
        </p:nvSpPr>
        <p:spPr>
          <a:xfrm>
            <a:off x="19585562" y="1399713"/>
            <a:ext cx="1638300" cy="461665"/>
          </a:xfrm>
          <a:prstGeom prst="rect">
            <a:avLst/>
          </a:prstGeom>
          <a:noFill/>
        </p:spPr>
        <p:txBody>
          <a:bodyPr wrap="square" rtlCol="0">
            <a:spAutoFit/>
          </a:bodyPr>
          <a:lstStyle/>
          <a:p>
            <a:r>
              <a:rPr lang="en-US" sz="2400" b="1" dirty="0">
                <a:solidFill>
                  <a:schemeClr val="accent1"/>
                </a:solidFill>
              </a:rPr>
              <a:t>Sunday</a:t>
            </a:r>
          </a:p>
        </p:txBody>
      </p:sp>
    </p:spTree>
    <p:extLst>
      <p:ext uri="{BB962C8B-B14F-4D97-AF65-F5344CB8AC3E}">
        <p14:creationId xmlns:p14="http://schemas.microsoft.com/office/powerpoint/2010/main" val="10876520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ay 2019">
    <p:spTree>
      <p:nvGrpSpPr>
        <p:cNvPr id="1" name=""/>
        <p:cNvGrpSpPr/>
        <p:nvPr/>
      </p:nvGrpSpPr>
      <p:grpSpPr>
        <a:xfrm>
          <a:off x="0" y="0"/>
          <a:ext cx="0" cy="0"/>
          <a:chOff x="0" y="0"/>
          <a:chExt cx="0" cy="0"/>
        </a:xfrm>
      </p:grpSpPr>
      <p:sp>
        <p:nvSpPr>
          <p:cNvPr id="1792" name="TextBox 1791"/>
          <p:cNvSpPr txBox="1"/>
          <p:nvPr/>
        </p:nvSpPr>
        <p:spPr>
          <a:xfrm>
            <a:off x="1093019" y="1648742"/>
            <a:ext cx="3657362" cy="768096"/>
          </a:xfrm>
          <a:prstGeom prst="rect">
            <a:avLst/>
          </a:prstGeom>
          <a:noFill/>
        </p:spPr>
        <p:txBody>
          <a:bodyPr wrap="square" tIns="0" bIns="0" rtlCol="0" anchor="ctr">
            <a:noAutofit/>
          </a:bodyPr>
          <a:lstStyle/>
          <a:p>
            <a:pPr algn="l"/>
            <a:r>
              <a:rPr lang="en-US" sz="2600" b="0" dirty="0">
                <a:solidFill>
                  <a:schemeClr val="tx1">
                    <a:lumMod val="20000"/>
                    <a:lumOff val="80000"/>
                  </a:schemeClr>
                </a:solidFill>
              </a:rPr>
              <a:t>29 April</a:t>
            </a:r>
            <a:endParaRPr sz="2600" b="0" dirty="0">
              <a:solidFill>
                <a:schemeClr val="tx1">
                  <a:lumMod val="20000"/>
                  <a:lumOff val="80000"/>
                </a:schemeClr>
              </a:solidFill>
            </a:endParaRPr>
          </a:p>
        </p:txBody>
      </p:sp>
      <p:sp>
        <p:nvSpPr>
          <p:cNvPr id="1793" name="TextBox 1792"/>
          <p:cNvSpPr txBox="1"/>
          <p:nvPr/>
        </p:nvSpPr>
        <p:spPr>
          <a:xfrm>
            <a:off x="4764373" y="1648742"/>
            <a:ext cx="3657362" cy="768096"/>
          </a:xfrm>
          <a:prstGeom prst="rect">
            <a:avLst/>
          </a:prstGeom>
          <a:noFill/>
        </p:spPr>
        <p:txBody>
          <a:bodyPr wrap="square" tIns="0" bIns="0" rtlCol="0" anchor="ctr">
            <a:noAutofit/>
          </a:bodyPr>
          <a:lstStyle>
            <a:defPPr>
              <a:defRPr lang="en-US"/>
            </a:defPPr>
            <a:lvl1pPr>
              <a:defRPr sz="1300" b="0"/>
            </a:lvl1pPr>
          </a:lstStyle>
          <a:p>
            <a:pPr algn="l"/>
            <a:r>
              <a:rPr lang="en-US" sz="2600" b="0" dirty="0">
                <a:solidFill>
                  <a:schemeClr val="tx1">
                    <a:lumMod val="20000"/>
                    <a:lumOff val="80000"/>
                  </a:schemeClr>
                </a:solidFill>
              </a:rPr>
              <a:t>30 April</a:t>
            </a:r>
          </a:p>
        </p:txBody>
      </p:sp>
      <p:sp>
        <p:nvSpPr>
          <p:cNvPr id="1794" name="TextBox 1793"/>
          <p:cNvSpPr txBox="1"/>
          <p:nvPr/>
        </p:nvSpPr>
        <p:spPr>
          <a:xfrm>
            <a:off x="8512830" y="1648742"/>
            <a:ext cx="3657362" cy="768096"/>
          </a:xfrm>
          <a:prstGeom prst="rect">
            <a:avLst/>
          </a:prstGeom>
          <a:noFill/>
        </p:spPr>
        <p:txBody>
          <a:bodyPr wrap="square" tIns="0" bIns="0" rtlCol="0" anchor="ctr">
            <a:noAutofit/>
          </a:bodyPr>
          <a:lstStyle>
            <a:defPPr>
              <a:defRPr lang="en-US"/>
            </a:defPPr>
            <a:lvl1pPr lvl="0">
              <a:defRPr sz="1300" b="0"/>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kern="1200" cap="none" spc="0" dirty="0">
                <a:ln w="0"/>
                <a:solidFill>
                  <a:schemeClr val="tx1"/>
                </a:solidFill>
                <a:effectLst>
                  <a:outerShdw blurRad="38100" dist="19050" dir="2700000" algn="tl" rotWithShape="0">
                    <a:schemeClr val="dk1">
                      <a:alpha val="40000"/>
                    </a:schemeClr>
                  </a:outerShdw>
                </a:effectLst>
                <a:latin typeface="+mn-lt"/>
                <a:ea typeface="+mn-ea"/>
                <a:cs typeface="+mn-cs"/>
              </a:rPr>
              <a:t>1 May</a:t>
            </a:r>
            <a:endParaRPr sz="2600" b="0" kern="1200" cap="none" spc="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795" name="TextBox 1794"/>
          <p:cNvSpPr txBox="1"/>
          <p:nvPr/>
        </p:nvSpPr>
        <p:spPr>
          <a:xfrm>
            <a:off x="12191204" y="1648742"/>
            <a:ext cx="3657362" cy="768096"/>
          </a:xfrm>
          <a:prstGeom prst="rect">
            <a:avLst/>
          </a:prstGeom>
          <a:noFill/>
        </p:spPr>
        <p:txBody>
          <a:bodyPr wrap="square" tIns="0" bIns="0" rtlCol="0" anchor="ctr">
            <a:noAutofit/>
          </a:bodyPr>
          <a:lstStyle>
            <a:defPPr>
              <a:defRPr lang="en-US"/>
            </a:defPPr>
            <a:lvl1pPr lvl="0">
              <a:defRPr sz="1300" b="0"/>
            </a:lvl1pPr>
          </a:lstStyle>
          <a:p>
            <a:pPr lvl="0"/>
            <a:r>
              <a:rPr lang="en-US" sz="2600" dirty="0"/>
              <a:t>2</a:t>
            </a:r>
            <a:endParaRPr sz="2600" dirty="0"/>
          </a:p>
        </p:txBody>
      </p:sp>
      <p:sp>
        <p:nvSpPr>
          <p:cNvPr id="1796" name="TextBox 1795"/>
          <p:cNvSpPr txBox="1"/>
          <p:nvPr/>
        </p:nvSpPr>
        <p:spPr>
          <a:xfrm>
            <a:off x="15925635" y="1648742"/>
            <a:ext cx="3657362" cy="768096"/>
          </a:xfrm>
          <a:prstGeom prst="rect">
            <a:avLst/>
          </a:prstGeom>
          <a:noFill/>
        </p:spPr>
        <p:txBody>
          <a:bodyPr wrap="square" tIns="0" bIns="0" rtlCol="0" anchor="ctr">
            <a:noAutofit/>
          </a:bodyPr>
          <a:lstStyle/>
          <a:p>
            <a:pPr algn="l"/>
            <a:r>
              <a:rPr lang="en-US" sz="2600" b="0" dirty="0">
                <a:solidFill>
                  <a:schemeClr val="tx1"/>
                </a:solidFill>
              </a:rPr>
              <a:t>3</a:t>
            </a:r>
            <a:endParaRPr sz="2600" b="0" dirty="0">
              <a:solidFill>
                <a:schemeClr val="tx1"/>
              </a:solidFill>
            </a:endParaRPr>
          </a:p>
        </p:txBody>
      </p:sp>
      <p:sp>
        <p:nvSpPr>
          <p:cNvPr id="1797" name="TextBox 1796"/>
          <p:cNvSpPr txBox="1"/>
          <p:nvPr/>
        </p:nvSpPr>
        <p:spPr>
          <a:xfrm>
            <a:off x="19649854" y="1648742"/>
            <a:ext cx="3657362" cy="768096"/>
          </a:xfrm>
          <a:prstGeom prst="rect">
            <a:avLst/>
          </a:prstGeom>
          <a:noFill/>
        </p:spPr>
        <p:txBody>
          <a:bodyPr wrap="square" tIns="0" bIns="0" rtlCol="0" anchor="ctr">
            <a:noAutofit/>
          </a:bodyPr>
          <a:lstStyle/>
          <a:p>
            <a:pPr algn="l"/>
            <a:r>
              <a:rPr lang="en-US" sz="2600" b="0" dirty="0">
                <a:solidFill>
                  <a:schemeClr val="tx1"/>
                </a:solidFill>
              </a:rPr>
              <a:t>4/5</a:t>
            </a:r>
            <a:endParaRPr sz="2600" b="0" dirty="0">
              <a:solidFill>
                <a:schemeClr val="tx1"/>
              </a:solidFill>
            </a:endParaRPr>
          </a:p>
        </p:txBody>
      </p:sp>
      <p:sp>
        <p:nvSpPr>
          <p:cNvPr id="1798" name="TextBox 1797"/>
          <p:cNvSpPr txBox="1"/>
          <p:nvPr/>
        </p:nvSpPr>
        <p:spPr>
          <a:xfrm>
            <a:off x="1093025" y="3478570"/>
            <a:ext cx="3657362" cy="768096"/>
          </a:xfrm>
          <a:prstGeom prst="rect">
            <a:avLst/>
          </a:prstGeom>
          <a:noFill/>
        </p:spPr>
        <p:txBody>
          <a:bodyPr wrap="square" tIns="0" bIns="0" rtlCol="0" anchor="ctr">
            <a:noAutofit/>
          </a:bodyPr>
          <a:lstStyle/>
          <a:p>
            <a:pPr algn="l"/>
            <a:r>
              <a:rPr lang="en-US" sz="2600" b="0" dirty="0">
                <a:solidFill>
                  <a:schemeClr val="tx1"/>
                </a:solidFill>
              </a:rPr>
              <a:t>6</a:t>
            </a:r>
            <a:endParaRPr sz="2600" b="0" dirty="0">
              <a:solidFill>
                <a:schemeClr val="tx1"/>
              </a:solidFill>
            </a:endParaRPr>
          </a:p>
        </p:txBody>
      </p:sp>
      <p:sp>
        <p:nvSpPr>
          <p:cNvPr id="1799" name="TextBox 1798"/>
          <p:cNvSpPr txBox="1"/>
          <p:nvPr/>
        </p:nvSpPr>
        <p:spPr>
          <a:xfrm>
            <a:off x="4764373" y="3478570"/>
            <a:ext cx="3657362" cy="768096"/>
          </a:xfrm>
          <a:prstGeom prst="rect">
            <a:avLst/>
          </a:prstGeom>
          <a:noFill/>
        </p:spPr>
        <p:txBody>
          <a:bodyPr wrap="square" tIns="0" bIns="0" rtlCol="0" anchor="ctr">
            <a:noAutofit/>
          </a:bodyPr>
          <a:lstStyle/>
          <a:p>
            <a:pPr algn="l"/>
            <a:r>
              <a:rPr lang="en-US" sz="2600" b="0">
                <a:solidFill>
                  <a:schemeClr val="tx1"/>
                </a:solidFill>
              </a:rPr>
              <a:t>7</a:t>
            </a:r>
            <a:endParaRPr sz="2600" b="0" dirty="0">
              <a:solidFill>
                <a:schemeClr val="tx1"/>
              </a:solidFill>
            </a:endParaRPr>
          </a:p>
        </p:txBody>
      </p:sp>
      <p:sp>
        <p:nvSpPr>
          <p:cNvPr id="1800" name="TextBox 1799"/>
          <p:cNvSpPr txBox="1"/>
          <p:nvPr/>
        </p:nvSpPr>
        <p:spPr>
          <a:xfrm>
            <a:off x="8512830" y="3478570"/>
            <a:ext cx="3657362" cy="768096"/>
          </a:xfrm>
          <a:prstGeom prst="rect">
            <a:avLst/>
          </a:prstGeom>
          <a:noFill/>
        </p:spPr>
        <p:txBody>
          <a:bodyPr wrap="square" tIns="0" bIns="0" rtlCol="0" anchor="ctr">
            <a:noAutofit/>
          </a:bodyPr>
          <a:lstStyle/>
          <a:p>
            <a:pPr algn="l"/>
            <a:r>
              <a:rPr lang="en-US" sz="2600" b="0" dirty="0">
                <a:solidFill>
                  <a:schemeClr val="tx1"/>
                </a:solidFill>
              </a:rPr>
              <a:t>8</a:t>
            </a:r>
            <a:endParaRPr sz="2600" b="0" dirty="0">
              <a:solidFill>
                <a:schemeClr val="tx1"/>
              </a:solidFill>
            </a:endParaRPr>
          </a:p>
        </p:txBody>
      </p:sp>
      <p:sp>
        <p:nvSpPr>
          <p:cNvPr id="1801" name="TextBox 1800"/>
          <p:cNvSpPr txBox="1"/>
          <p:nvPr/>
        </p:nvSpPr>
        <p:spPr>
          <a:xfrm>
            <a:off x="12191204" y="3478570"/>
            <a:ext cx="3657362" cy="768096"/>
          </a:xfrm>
          <a:prstGeom prst="rect">
            <a:avLst/>
          </a:prstGeom>
          <a:noFill/>
        </p:spPr>
        <p:txBody>
          <a:bodyPr wrap="square" tIns="0" bIns="0" rtlCol="0" anchor="ctr">
            <a:noAutofit/>
          </a:bodyPr>
          <a:lstStyle/>
          <a:p>
            <a:pPr algn="l"/>
            <a:r>
              <a:rPr lang="en-US" sz="2600" b="0">
                <a:solidFill>
                  <a:schemeClr val="tx1"/>
                </a:solidFill>
              </a:rPr>
              <a:t>9</a:t>
            </a:r>
            <a:endParaRPr sz="2600" b="0" dirty="0">
              <a:solidFill>
                <a:schemeClr val="tx1"/>
              </a:solidFill>
            </a:endParaRPr>
          </a:p>
        </p:txBody>
      </p:sp>
      <p:sp>
        <p:nvSpPr>
          <p:cNvPr id="1802" name="TextBox 1801"/>
          <p:cNvSpPr txBox="1"/>
          <p:nvPr/>
        </p:nvSpPr>
        <p:spPr>
          <a:xfrm>
            <a:off x="15925635" y="3478570"/>
            <a:ext cx="3657362" cy="768096"/>
          </a:xfrm>
          <a:prstGeom prst="rect">
            <a:avLst/>
          </a:prstGeom>
          <a:noFill/>
        </p:spPr>
        <p:txBody>
          <a:bodyPr wrap="square" tIns="0" bIns="0" rtlCol="0" anchor="ctr">
            <a:noAutofit/>
          </a:bodyPr>
          <a:lstStyle/>
          <a:p>
            <a:pPr algn="l"/>
            <a:r>
              <a:rPr lang="en-US" sz="2600" b="0" dirty="0">
                <a:solidFill>
                  <a:schemeClr val="tx1"/>
                </a:solidFill>
              </a:rPr>
              <a:t>10</a:t>
            </a:r>
            <a:endParaRPr sz="2600" b="0" dirty="0">
              <a:solidFill>
                <a:schemeClr val="tx1"/>
              </a:solidFill>
            </a:endParaRPr>
          </a:p>
        </p:txBody>
      </p:sp>
      <p:sp>
        <p:nvSpPr>
          <p:cNvPr id="1803" name="TextBox 1802"/>
          <p:cNvSpPr txBox="1"/>
          <p:nvPr/>
        </p:nvSpPr>
        <p:spPr>
          <a:xfrm>
            <a:off x="19649854" y="3478570"/>
            <a:ext cx="3657362" cy="768096"/>
          </a:xfrm>
          <a:prstGeom prst="rect">
            <a:avLst/>
          </a:prstGeom>
          <a:noFill/>
        </p:spPr>
        <p:txBody>
          <a:bodyPr wrap="square" tIns="0" bIns="0" rtlCol="0" anchor="ctr">
            <a:noAutofit/>
          </a:bodyPr>
          <a:lstStyle/>
          <a:p>
            <a:pPr algn="l"/>
            <a:r>
              <a:rPr lang="en-US" sz="2600" b="0" dirty="0">
                <a:solidFill>
                  <a:schemeClr val="tx1"/>
                </a:solidFill>
              </a:rPr>
              <a:t>11/12</a:t>
            </a:r>
            <a:endParaRPr sz="2600" b="0" dirty="0">
              <a:solidFill>
                <a:schemeClr val="tx1"/>
              </a:solidFill>
            </a:endParaRPr>
          </a:p>
        </p:txBody>
      </p:sp>
      <p:sp>
        <p:nvSpPr>
          <p:cNvPr id="1804" name="TextBox 1803"/>
          <p:cNvSpPr txBox="1"/>
          <p:nvPr/>
        </p:nvSpPr>
        <p:spPr>
          <a:xfrm>
            <a:off x="1093025" y="5307370"/>
            <a:ext cx="3657362" cy="768096"/>
          </a:xfrm>
          <a:prstGeom prst="rect">
            <a:avLst/>
          </a:prstGeom>
          <a:noFill/>
        </p:spPr>
        <p:txBody>
          <a:bodyPr wrap="square" tIns="0" bIns="0" rtlCol="0" anchor="ctr">
            <a:noAutofit/>
          </a:bodyPr>
          <a:lstStyle/>
          <a:p>
            <a:pPr algn="l"/>
            <a:r>
              <a:rPr lang="en-US" sz="2600" b="0" dirty="0">
                <a:solidFill>
                  <a:schemeClr val="tx1"/>
                </a:solidFill>
              </a:rPr>
              <a:t>13</a:t>
            </a:r>
            <a:endParaRPr sz="2600" b="0" dirty="0">
              <a:solidFill>
                <a:schemeClr val="tx1"/>
              </a:solidFill>
            </a:endParaRPr>
          </a:p>
        </p:txBody>
      </p:sp>
      <p:sp>
        <p:nvSpPr>
          <p:cNvPr id="1805" name="TextBox 1804"/>
          <p:cNvSpPr txBox="1"/>
          <p:nvPr/>
        </p:nvSpPr>
        <p:spPr>
          <a:xfrm>
            <a:off x="4764373" y="5307370"/>
            <a:ext cx="3657362" cy="768096"/>
          </a:xfrm>
          <a:prstGeom prst="rect">
            <a:avLst/>
          </a:prstGeom>
          <a:noFill/>
        </p:spPr>
        <p:txBody>
          <a:bodyPr wrap="square" tIns="0" bIns="0" rtlCol="0" anchor="ctr">
            <a:noAutofit/>
          </a:bodyPr>
          <a:lstStyle/>
          <a:p>
            <a:pPr algn="l"/>
            <a:r>
              <a:rPr lang="en-US" sz="2600" b="0" dirty="0">
                <a:solidFill>
                  <a:schemeClr val="tx1"/>
                </a:solidFill>
              </a:rPr>
              <a:t>14</a:t>
            </a:r>
            <a:endParaRPr sz="2600" b="0" dirty="0">
              <a:solidFill>
                <a:schemeClr val="tx1"/>
              </a:solidFill>
            </a:endParaRPr>
          </a:p>
        </p:txBody>
      </p:sp>
      <p:sp>
        <p:nvSpPr>
          <p:cNvPr id="1806" name="TextBox 1805"/>
          <p:cNvSpPr txBox="1"/>
          <p:nvPr/>
        </p:nvSpPr>
        <p:spPr>
          <a:xfrm>
            <a:off x="8512830" y="5307370"/>
            <a:ext cx="3657362" cy="768096"/>
          </a:xfrm>
          <a:prstGeom prst="rect">
            <a:avLst/>
          </a:prstGeom>
          <a:noFill/>
        </p:spPr>
        <p:txBody>
          <a:bodyPr wrap="square" tIns="0" bIns="0" rtlCol="0" anchor="ctr">
            <a:noAutofit/>
          </a:bodyPr>
          <a:lstStyle/>
          <a:p>
            <a:pPr algn="l"/>
            <a:r>
              <a:rPr lang="en-US" sz="2600" b="0" dirty="0">
                <a:solidFill>
                  <a:schemeClr val="tx1"/>
                </a:solidFill>
              </a:rPr>
              <a:t>15</a:t>
            </a:r>
            <a:endParaRPr sz="2600" b="0" dirty="0">
              <a:solidFill>
                <a:schemeClr val="tx1"/>
              </a:solidFill>
            </a:endParaRPr>
          </a:p>
        </p:txBody>
      </p:sp>
      <p:sp>
        <p:nvSpPr>
          <p:cNvPr id="1807" name="TextBox 1806"/>
          <p:cNvSpPr txBox="1"/>
          <p:nvPr userDrawn="1"/>
        </p:nvSpPr>
        <p:spPr>
          <a:xfrm>
            <a:off x="12191204" y="5307370"/>
            <a:ext cx="3657362" cy="768096"/>
          </a:xfrm>
          <a:prstGeom prst="rect">
            <a:avLst/>
          </a:prstGeom>
          <a:noFill/>
        </p:spPr>
        <p:txBody>
          <a:bodyPr wrap="square" tIns="0" bIns="0" rtlCol="0" anchor="ctr">
            <a:noAutofit/>
          </a:bodyPr>
          <a:lstStyle/>
          <a:p>
            <a:pPr algn="l"/>
            <a:r>
              <a:rPr lang="en-US" sz="2600" b="0" dirty="0">
                <a:solidFill>
                  <a:schemeClr val="tx1"/>
                </a:solidFill>
              </a:rPr>
              <a:t>16</a:t>
            </a:r>
            <a:endParaRPr sz="2600" b="0" dirty="0">
              <a:solidFill>
                <a:schemeClr val="tx1"/>
              </a:solidFill>
            </a:endParaRPr>
          </a:p>
        </p:txBody>
      </p:sp>
      <p:sp>
        <p:nvSpPr>
          <p:cNvPr id="1808" name="TextBox 1807"/>
          <p:cNvSpPr txBox="1"/>
          <p:nvPr/>
        </p:nvSpPr>
        <p:spPr>
          <a:xfrm>
            <a:off x="15925635" y="5307370"/>
            <a:ext cx="3657362" cy="768096"/>
          </a:xfrm>
          <a:prstGeom prst="rect">
            <a:avLst/>
          </a:prstGeom>
          <a:noFill/>
        </p:spPr>
        <p:txBody>
          <a:bodyPr wrap="square" tIns="0" bIns="0" rtlCol="0" anchor="ctr">
            <a:noAutofit/>
          </a:bodyPr>
          <a:lstStyle/>
          <a:p>
            <a:pPr algn="l"/>
            <a:r>
              <a:rPr lang="en-US" sz="2600" b="0" dirty="0">
                <a:solidFill>
                  <a:schemeClr val="tx1"/>
                </a:solidFill>
              </a:rPr>
              <a:t>17</a:t>
            </a:r>
            <a:endParaRPr sz="2600" b="0" dirty="0">
              <a:solidFill>
                <a:schemeClr val="tx1"/>
              </a:solidFill>
            </a:endParaRPr>
          </a:p>
        </p:txBody>
      </p:sp>
      <p:sp>
        <p:nvSpPr>
          <p:cNvPr id="1809" name="TextBox 1808"/>
          <p:cNvSpPr txBox="1"/>
          <p:nvPr/>
        </p:nvSpPr>
        <p:spPr>
          <a:xfrm>
            <a:off x="19649854" y="5307370"/>
            <a:ext cx="3657362" cy="768096"/>
          </a:xfrm>
          <a:prstGeom prst="rect">
            <a:avLst/>
          </a:prstGeom>
          <a:noFill/>
        </p:spPr>
        <p:txBody>
          <a:bodyPr wrap="square" tIns="0" bIns="0" rtlCol="0" anchor="ctr">
            <a:noAutofit/>
          </a:bodyPr>
          <a:lstStyle/>
          <a:p>
            <a:pPr algn="l"/>
            <a:r>
              <a:rPr lang="en-US" sz="2600" b="0" dirty="0">
                <a:solidFill>
                  <a:schemeClr val="tx1"/>
                </a:solidFill>
              </a:rPr>
              <a:t>18/19</a:t>
            </a:r>
            <a:endParaRPr sz="2600" b="0" dirty="0">
              <a:solidFill>
                <a:schemeClr val="tx1"/>
              </a:solidFill>
            </a:endParaRPr>
          </a:p>
        </p:txBody>
      </p:sp>
      <p:sp>
        <p:nvSpPr>
          <p:cNvPr id="1810" name="TextBox 1809"/>
          <p:cNvSpPr txBox="1"/>
          <p:nvPr/>
        </p:nvSpPr>
        <p:spPr>
          <a:xfrm>
            <a:off x="1093025" y="7136170"/>
            <a:ext cx="3657362" cy="768096"/>
          </a:xfrm>
          <a:prstGeom prst="rect">
            <a:avLst/>
          </a:prstGeom>
          <a:noFill/>
        </p:spPr>
        <p:txBody>
          <a:bodyPr wrap="square" tIns="0" bIns="0" rtlCol="0" anchor="ctr">
            <a:noAutofit/>
          </a:bodyPr>
          <a:lstStyle/>
          <a:p>
            <a:pPr algn="l"/>
            <a:r>
              <a:rPr lang="en-US" sz="2600" b="0" dirty="0">
                <a:solidFill>
                  <a:schemeClr val="tx1"/>
                </a:solidFill>
              </a:rPr>
              <a:t>20</a:t>
            </a:r>
            <a:endParaRPr sz="2600" b="0" dirty="0">
              <a:solidFill>
                <a:schemeClr val="tx1"/>
              </a:solidFill>
            </a:endParaRPr>
          </a:p>
        </p:txBody>
      </p:sp>
      <p:sp>
        <p:nvSpPr>
          <p:cNvPr id="1811" name="TextBox 1810"/>
          <p:cNvSpPr txBox="1"/>
          <p:nvPr/>
        </p:nvSpPr>
        <p:spPr>
          <a:xfrm>
            <a:off x="4764373" y="7136170"/>
            <a:ext cx="3657362" cy="768096"/>
          </a:xfrm>
          <a:prstGeom prst="rect">
            <a:avLst/>
          </a:prstGeom>
          <a:noFill/>
        </p:spPr>
        <p:txBody>
          <a:bodyPr wrap="square" tIns="0" bIns="0" rtlCol="0" anchor="ctr">
            <a:noAutofit/>
          </a:bodyPr>
          <a:lstStyle/>
          <a:p>
            <a:pPr algn="l"/>
            <a:r>
              <a:rPr lang="en-US" sz="2600" b="0" dirty="0">
                <a:solidFill>
                  <a:schemeClr val="tx1"/>
                </a:solidFill>
              </a:rPr>
              <a:t>21</a:t>
            </a:r>
            <a:endParaRPr sz="2600" b="0" dirty="0">
              <a:solidFill>
                <a:schemeClr val="tx1"/>
              </a:solidFill>
            </a:endParaRPr>
          </a:p>
        </p:txBody>
      </p:sp>
      <p:sp>
        <p:nvSpPr>
          <p:cNvPr id="1812" name="TextBox 1811"/>
          <p:cNvSpPr txBox="1"/>
          <p:nvPr/>
        </p:nvSpPr>
        <p:spPr>
          <a:xfrm>
            <a:off x="8512830" y="7136170"/>
            <a:ext cx="3657362" cy="768096"/>
          </a:xfrm>
          <a:prstGeom prst="rect">
            <a:avLst/>
          </a:prstGeom>
          <a:noFill/>
        </p:spPr>
        <p:txBody>
          <a:bodyPr wrap="square" tIns="0" bIns="0" rtlCol="0" anchor="ctr">
            <a:noAutofit/>
          </a:bodyPr>
          <a:lstStyle/>
          <a:p>
            <a:pPr algn="l"/>
            <a:r>
              <a:rPr lang="en-US" sz="2600" b="0" dirty="0">
                <a:solidFill>
                  <a:schemeClr val="tx1"/>
                </a:solidFill>
              </a:rPr>
              <a:t>22</a:t>
            </a:r>
            <a:endParaRPr sz="2600" b="0" dirty="0">
              <a:solidFill>
                <a:schemeClr val="tx1"/>
              </a:solidFill>
            </a:endParaRPr>
          </a:p>
        </p:txBody>
      </p:sp>
      <p:sp>
        <p:nvSpPr>
          <p:cNvPr id="1813" name="TextBox 1812"/>
          <p:cNvSpPr txBox="1"/>
          <p:nvPr/>
        </p:nvSpPr>
        <p:spPr>
          <a:xfrm>
            <a:off x="12191204" y="7136170"/>
            <a:ext cx="3657362" cy="768096"/>
          </a:xfrm>
          <a:prstGeom prst="rect">
            <a:avLst/>
          </a:prstGeom>
          <a:noFill/>
        </p:spPr>
        <p:txBody>
          <a:bodyPr wrap="square" tIns="0" bIns="0" rtlCol="0" anchor="ctr">
            <a:noAutofit/>
          </a:bodyPr>
          <a:lstStyle/>
          <a:p>
            <a:pPr algn="l"/>
            <a:r>
              <a:rPr lang="en-US" sz="2600" b="0" dirty="0">
                <a:solidFill>
                  <a:schemeClr val="tx1"/>
                </a:solidFill>
              </a:rPr>
              <a:t>23</a:t>
            </a:r>
            <a:endParaRPr sz="2600" b="0" dirty="0">
              <a:solidFill>
                <a:schemeClr val="tx1"/>
              </a:solidFill>
            </a:endParaRPr>
          </a:p>
        </p:txBody>
      </p:sp>
      <p:sp>
        <p:nvSpPr>
          <p:cNvPr id="1814" name="TextBox 1813"/>
          <p:cNvSpPr txBox="1"/>
          <p:nvPr/>
        </p:nvSpPr>
        <p:spPr>
          <a:xfrm>
            <a:off x="15925635" y="7136170"/>
            <a:ext cx="3657362" cy="768096"/>
          </a:xfrm>
          <a:prstGeom prst="rect">
            <a:avLst/>
          </a:prstGeom>
          <a:noFill/>
        </p:spPr>
        <p:txBody>
          <a:bodyPr wrap="square" tIns="0" bIns="0" rtlCol="0" anchor="ctr">
            <a:noAutofit/>
          </a:bodyPr>
          <a:lstStyle/>
          <a:p>
            <a:pPr algn="l"/>
            <a:r>
              <a:rPr lang="en-US" sz="2600" b="0" dirty="0">
                <a:solidFill>
                  <a:schemeClr val="tx1"/>
                </a:solidFill>
              </a:rPr>
              <a:t>24</a:t>
            </a:r>
            <a:endParaRPr sz="2600" b="0" dirty="0">
              <a:solidFill>
                <a:schemeClr val="tx1"/>
              </a:solidFill>
            </a:endParaRPr>
          </a:p>
        </p:txBody>
      </p:sp>
      <p:sp>
        <p:nvSpPr>
          <p:cNvPr id="1815" name="TextBox 1814"/>
          <p:cNvSpPr txBox="1"/>
          <p:nvPr/>
        </p:nvSpPr>
        <p:spPr>
          <a:xfrm>
            <a:off x="19649854" y="7136170"/>
            <a:ext cx="3657362" cy="768096"/>
          </a:xfrm>
          <a:prstGeom prst="rect">
            <a:avLst/>
          </a:prstGeom>
          <a:noFill/>
        </p:spPr>
        <p:txBody>
          <a:bodyPr wrap="square" tIns="0" bIns="0" rtlCol="0" anchor="ctr">
            <a:noAutofit/>
          </a:bodyPr>
          <a:lstStyle/>
          <a:p>
            <a:pPr algn="l"/>
            <a:r>
              <a:rPr lang="en-US" sz="2600" b="0" dirty="0">
                <a:solidFill>
                  <a:schemeClr val="tx1"/>
                </a:solidFill>
              </a:rPr>
              <a:t>25/26</a:t>
            </a:r>
            <a:endParaRPr sz="2600" b="0" dirty="0">
              <a:solidFill>
                <a:schemeClr val="tx1"/>
              </a:solidFill>
            </a:endParaRPr>
          </a:p>
        </p:txBody>
      </p:sp>
      <p:sp>
        <p:nvSpPr>
          <p:cNvPr id="1816" name="TextBox 1815"/>
          <p:cNvSpPr txBox="1"/>
          <p:nvPr/>
        </p:nvSpPr>
        <p:spPr>
          <a:xfrm>
            <a:off x="1093025" y="8964970"/>
            <a:ext cx="3657362" cy="768096"/>
          </a:xfrm>
          <a:prstGeom prst="rect">
            <a:avLst/>
          </a:prstGeom>
          <a:noFill/>
        </p:spPr>
        <p:txBody>
          <a:bodyPr wrap="square" tIns="0" bIns="0" rtlCol="0" anchor="ctr">
            <a:noAutofit/>
          </a:bodyPr>
          <a:lstStyle/>
          <a:p>
            <a:pPr algn="l"/>
            <a:r>
              <a:rPr lang="en-US" sz="2600" b="0" dirty="0">
                <a:solidFill>
                  <a:schemeClr val="tx1"/>
                </a:solidFill>
              </a:rPr>
              <a:t>27</a:t>
            </a:r>
            <a:endParaRPr sz="2600" b="0" dirty="0">
              <a:solidFill>
                <a:schemeClr val="tx1"/>
              </a:solidFill>
            </a:endParaRPr>
          </a:p>
        </p:txBody>
      </p:sp>
      <p:sp>
        <p:nvSpPr>
          <p:cNvPr id="1817" name="TextBox 1816"/>
          <p:cNvSpPr txBox="1"/>
          <p:nvPr/>
        </p:nvSpPr>
        <p:spPr>
          <a:xfrm>
            <a:off x="4764373" y="8964970"/>
            <a:ext cx="3657362" cy="768096"/>
          </a:xfrm>
          <a:prstGeom prst="rect">
            <a:avLst/>
          </a:prstGeom>
          <a:noFill/>
        </p:spPr>
        <p:txBody>
          <a:bodyPr wrap="square" tIns="0" bIns="0" rtlCol="0" anchor="ctr">
            <a:noAutofit/>
          </a:bodyPr>
          <a:lstStyle/>
          <a:p>
            <a:pPr algn="l"/>
            <a:r>
              <a:rPr lang="en-US" sz="2600" b="0">
                <a:solidFill>
                  <a:schemeClr val="tx1"/>
                </a:solidFill>
              </a:rPr>
              <a:t>28</a:t>
            </a:r>
            <a:endParaRPr sz="2600" b="0" dirty="0">
              <a:solidFill>
                <a:schemeClr val="tx1"/>
              </a:solidFill>
            </a:endParaRPr>
          </a:p>
        </p:txBody>
      </p:sp>
      <p:sp>
        <p:nvSpPr>
          <p:cNvPr id="1818" name="TextBox 1817"/>
          <p:cNvSpPr txBox="1"/>
          <p:nvPr/>
        </p:nvSpPr>
        <p:spPr>
          <a:xfrm>
            <a:off x="8512830" y="8964970"/>
            <a:ext cx="3657362" cy="768096"/>
          </a:xfrm>
          <a:prstGeom prst="rect">
            <a:avLst/>
          </a:prstGeom>
          <a:noFill/>
        </p:spPr>
        <p:txBody>
          <a:bodyPr wrap="square" tIns="0" bIns="0" rtlCol="0" anchor="ctr">
            <a:noAutofit/>
          </a:bodyPr>
          <a:lstStyle/>
          <a:p>
            <a:pPr algn="l"/>
            <a:r>
              <a:rPr lang="en-US" sz="2600" b="0" dirty="0">
                <a:solidFill>
                  <a:schemeClr val="tx1"/>
                </a:solidFill>
              </a:rPr>
              <a:t>29</a:t>
            </a:r>
            <a:endParaRPr sz="2600" b="0" dirty="0">
              <a:solidFill>
                <a:schemeClr val="tx1"/>
              </a:solidFill>
            </a:endParaRPr>
          </a:p>
        </p:txBody>
      </p:sp>
      <p:sp>
        <p:nvSpPr>
          <p:cNvPr id="1819" name="TextBox 1818"/>
          <p:cNvSpPr txBox="1"/>
          <p:nvPr/>
        </p:nvSpPr>
        <p:spPr>
          <a:xfrm>
            <a:off x="12191204" y="8964970"/>
            <a:ext cx="3657362" cy="768096"/>
          </a:xfrm>
          <a:prstGeom prst="rect">
            <a:avLst/>
          </a:prstGeom>
          <a:noFill/>
        </p:spPr>
        <p:txBody>
          <a:bodyPr wrap="square" tIns="0" bIns="0" rtlCol="0" anchor="ctr">
            <a:noAutofit/>
          </a:bodyPr>
          <a:lstStyle>
            <a:defPPr>
              <a:defRPr lang="en-US"/>
            </a:defPPr>
            <a:lvl1pPr marR="0" indent="0" fontAlgn="auto">
              <a:lnSpc>
                <a:spcPct val="100000"/>
              </a:lnSpc>
              <a:spcBef>
                <a:spcPts val="0"/>
              </a:spcBef>
              <a:spcAft>
                <a:spcPts val="0"/>
              </a:spcAft>
              <a:buClrTx/>
              <a:buSzTx/>
              <a:buFontTx/>
              <a:buNone/>
              <a:tabLst/>
              <a:defRPr sz="1300" b="0">
                <a:solidFill>
                  <a:schemeClr val="bg2">
                    <a:lumMod val="90000"/>
                  </a:schemeClr>
                </a:solidFill>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tx1"/>
                </a:solidFill>
              </a:rPr>
              <a:t>30</a:t>
            </a:r>
          </a:p>
        </p:txBody>
      </p:sp>
      <p:sp>
        <p:nvSpPr>
          <p:cNvPr id="1820" name="TextBox 1819"/>
          <p:cNvSpPr txBox="1"/>
          <p:nvPr/>
        </p:nvSpPr>
        <p:spPr>
          <a:xfrm>
            <a:off x="15925635" y="8964970"/>
            <a:ext cx="3657362" cy="768096"/>
          </a:xfrm>
          <a:prstGeom prst="rect">
            <a:avLst/>
          </a:prstGeom>
          <a:noFill/>
        </p:spPr>
        <p:txBody>
          <a:bodyPr wrap="square" tIns="0" bIns="0" rtlCol="0" anchor="ctr">
            <a:noAutofit/>
          </a:bodyPr>
          <a:lstStyle>
            <a:defPPr>
              <a:defRPr lang="en-US"/>
            </a:defPPr>
            <a:lvl1pPr lvl="0">
              <a:defRPr sz="1300" b="0">
                <a:solidFill>
                  <a:schemeClr val="bg2">
                    <a:lumMod val="90000"/>
                  </a:schemeClr>
                </a:solidFill>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tx1"/>
                </a:solidFill>
              </a:rPr>
              <a:t>31</a:t>
            </a:r>
            <a:endParaRPr lang="en-US" sz="2600" dirty="0"/>
          </a:p>
        </p:txBody>
      </p:sp>
      <p:sp>
        <p:nvSpPr>
          <p:cNvPr id="1821" name="TextBox 1820"/>
          <p:cNvSpPr txBox="1"/>
          <p:nvPr/>
        </p:nvSpPr>
        <p:spPr>
          <a:xfrm>
            <a:off x="19649854" y="8964970"/>
            <a:ext cx="3657362" cy="768096"/>
          </a:xfrm>
          <a:prstGeom prst="rect">
            <a:avLst/>
          </a:prstGeom>
          <a:noFill/>
        </p:spPr>
        <p:txBody>
          <a:bodyPr wrap="square" tIns="0" bIns="0" rtlCol="0" anchor="ctr">
            <a:noAutofit/>
          </a:bodyPr>
          <a:lstStyle>
            <a:defPPr>
              <a:defRPr lang="en-US"/>
            </a:defPPr>
            <a:lvl1pPr>
              <a:defRPr sz="1300" b="0">
                <a:solidFill>
                  <a:schemeClr val="bg2">
                    <a:lumMod val="90000"/>
                  </a:schemeClr>
                </a:solidFill>
              </a:defRPr>
            </a:lvl1pPr>
          </a:lstStyle>
          <a:p>
            <a:pPr lvl="0"/>
            <a:r>
              <a:rPr lang="en-US" sz="2600" dirty="0"/>
              <a:t>1/2 June</a:t>
            </a:r>
            <a:endParaRPr sz="2600" dirty="0"/>
          </a:p>
        </p:txBody>
      </p:sp>
      <p:sp>
        <p:nvSpPr>
          <p:cNvPr id="1828" name="TextBox 1827"/>
          <p:cNvSpPr txBox="1"/>
          <p:nvPr/>
        </p:nvSpPr>
        <p:spPr>
          <a:xfrm>
            <a:off x="956671" y="304800"/>
            <a:ext cx="22350545" cy="1398084"/>
          </a:xfrm>
          <a:prstGeom prst="rect">
            <a:avLst/>
          </a:prstGeom>
          <a:noFill/>
        </p:spPr>
        <p:txBody>
          <a:bodyPr wrap="square" tIns="0" bIns="0" rtlCol="0" anchor="ctr">
            <a:noAutofit/>
          </a:bodyPr>
          <a:lstStyle/>
          <a:p>
            <a:pPr algn="l"/>
            <a:r>
              <a:rPr lang="en-US" sz="4400" b="0" dirty="0">
                <a:solidFill>
                  <a:schemeClr val="accent1"/>
                </a:solidFill>
              </a:rPr>
              <a:t>M</a:t>
            </a:r>
            <a:r>
              <a:rPr sz="4400" b="0" dirty="0">
                <a:solidFill>
                  <a:schemeClr val="accent1"/>
                </a:solidFill>
              </a:rPr>
              <a:t>ay</a:t>
            </a:r>
          </a:p>
        </p:txBody>
      </p:sp>
      <p:sp>
        <p:nvSpPr>
          <p:cNvPr id="69" name="TextBox 68"/>
          <p:cNvSpPr txBox="1"/>
          <p:nvPr/>
        </p:nvSpPr>
        <p:spPr>
          <a:xfrm>
            <a:off x="1093025" y="10812058"/>
            <a:ext cx="3657362" cy="768096"/>
          </a:xfrm>
          <a:prstGeom prst="rect">
            <a:avLst/>
          </a:prstGeom>
          <a:noFill/>
        </p:spPr>
        <p:txBody>
          <a:bodyPr wrap="square" tIns="0" bIns="0" rtlCol="0" anchor="ctr">
            <a:noAutofit/>
          </a:bodyPr>
          <a:lstStyle/>
          <a:p>
            <a:pPr marL="0" marR="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2">
                    <a:lumMod val="90000"/>
                  </a:schemeClr>
                </a:solidFill>
              </a:rPr>
              <a:t>3</a:t>
            </a:r>
          </a:p>
        </p:txBody>
      </p:sp>
      <p:sp>
        <p:nvSpPr>
          <p:cNvPr id="70" name="TextBox 69"/>
          <p:cNvSpPr txBox="1"/>
          <p:nvPr/>
        </p:nvSpPr>
        <p:spPr>
          <a:xfrm>
            <a:off x="4764373" y="10812058"/>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4</a:t>
            </a:r>
            <a:endParaRPr sz="2600" b="0" dirty="0">
              <a:solidFill>
                <a:schemeClr val="bg2">
                  <a:lumMod val="90000"/>
                </a:schemeClr>
              </a:solidFill>
            </a:endParaRPr>
          </a:p>
        </p:txBody>
      </p:sp>
      <p:sp>
        <p:nvSpPr>
          <p:cNvPr id="71" name="TextBox 70"/>
          <p:cNvSpPr txBox="1"/>
          <p:nvPr/>
        </p:nvSpPr>
        <p:spPr>
          <a:xfrm>
            <a:off x="8512833" y="10812058"/>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5</a:t>
            </a:r>
            <a:endParaRPr sz="2600" b="0" dirty="0">
              <a:solidFill>
                <a:schemeClr val="bg2">
                  <a:lumMod val="90000"/>
                </a:schemeClr>
              </a:solidFill>
            </a:endParaRPr>
          </a:p>
        </p:txBody>
      </p:sp>
      <p:sp>
        <p:nvSpPr>
          <p:cNvPr id="72" name="TextBox 71"/>
          <p:cNvSpPr txBox="1"/>
          <p:nvPr/>
        </p:nvSpPr>
        <p:spPr>
          <a:xfrm>
            <a:off x="12191204" y="10812058"/>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6</a:t>
            </a:r>
            <a:endParaRPr sz="2600" b="0" dirty="0">
              <a:solidFill>
                <a:schemeClr val="bg2">
                  <a:lumMod val="90000"/>
                </a:schemeClr>
              </a:solidFill>
            </a:endParaRPr>
          </a:p>
        </p:txBody>
      </p:sp>
      <p:sp>
        <p:nvSpPr>
          <p:cNvPr id="73" name="TextBox 72"/>
          <p:cNvSpPr txBox="1"/>
          <p:nvPr/>
        </p:nvSpPr>
        <p:spPr>
          <a:xfrm>
            <a:off x="15925635" y="10812058"/>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7</a:t>
            </a:r>
            <a:endParaRPr sz="2600" b="0" dirty="0">
              <a:solidFill>
                <a:schemeClr val="bg2">
                  <a:lumMod val="90000"/>
                </a:schemeClr>
              </a:solidFill>
            </a:endParaRPr>
          </a:p>
        </p:txBody>
      </p:sp>
      <p:sp>
        <p:nvSpPr>
          <p:cNvPr id="74" name="TextBox 73"/>
          <p:cNvSpPr txBox="1"/>
          <p:nvPr/>
        </p:nvSpPr>
        <p:spPr>
          <a:xfrm>
            <a:off x="19649854" y="10812058"/>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8/9</a:t>
            </a:r>
            <a:endParaRPr sz="2600" b="0" dirty="0">
              <a:solidFill>
                <a:schemeClr val="bg2">
                  <a:lumMod val="90000"/>
                </a:schemeClr>
              </a:solidFill>
            </a:endParaRPr>
          </a:p>
        </p:txBody>
      </p:sp>
      <p:sp>
        <p:nvSpPr>
          <p:cNvPr id="34" name="Text Placeholder 2"/>
          <p:cNvSpPr>
            <a:spLocks noGrp="1"/>
          </p:cNvSpPr>
          <p:nvPr>
            <p:ph type="body" sz="quarter" idx="11" hasCustomPrompt="1"/>
          </p:nvPr>
        </p:nvSpPr>
        <p:spPr>
          <a:xfrm>
            <a:off x="1048444" y="22166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0" name="Text Placeholder 2"/>
          <p:cNvSpPr>
            <a:spLocks noGrp="1"/>
          </p:cNvSpPr>
          <p:nvPr>
            <p:ph type="body" sz="quarter" idx="17" hasCustomPrompt="1"/>
          </p:nvPr>
        </p:nvSpPr>
        <p:spPr>
          <a:xfrm>
            <a:off x="4754571" y="22166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6" name="Text Placeholder 2"/>
          <p:cNvSpPr>
            <a:spLocks noGrp="1"/>
          </p:cNvSpPr>
          <p:nvPr>
            <p:ph type="body" sz="quarter" idx="23" hasCustomPrompt="1"/>
          </p:nvPr>
        </p:nvSpPr>
        <p:spPr>
          <a:xfrm>
            <a:off x="8485080" y="22166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2" name="Text Placeholder 2"/>
          <p:cNvSpPr>
            <a:spLocks noGrp="1"/>
          </p:cNvSpPr>
          <p:nvPr>
            <p:ph type="body" sz="quarter" idx="29" hasCustomPrompt="1"/>
          </p:nvPr>
        </p:nvSpPr>
        <p:spPr>
          <a:xfrm>
            <a:off x="12220346" y="22166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8" name="Text Placeholder 2"/>
          <p:cNvSpPr>
            <a:spLocks noGrp="1"/>
          </p:cNvSpPr>
          <p:nvPr>
            <p:ph type="body" sz="quarter" idx="35" hasCustomPrompt="1"/>
          </p:nvPr>
        </p:nvSpPr>
        <p:spPr>
          <a:xfrm>
            <a:off x="15935099" y="22166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4" name="Text Placeholder 2"/>
          <p:cNvSpPr>
            <a:spLocks noGrp="1"/>
          </p:cNvSpPr>
          <p:nvPr>
            <p:ph type="body" sz="quarter" idx="41" hasCustomPrompt="1"/>
          </p:nvPr>
        </p:nvSpPr>
        <p:spPr>
          <a:xfrm>
            <a:off x="19676607" y="22166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3" name="Text Placeholder 2"/>
          <p:cNvSpPr>
            <a:spLocks noGrp="1"/>
          </p:cNvSpPr>
          <p:nvPr>
            <p:ph type="body" sz="quarter" idx="10" hasCustomPrompt="1"/>
          </p:nvPr>
        </p:nvSpPr>
        <p:spPr>
          <a:xfrm>
            <a:off x="1048444" y="40454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9" name="Text Placeholder 2"/>
          <p:cNvSpPr>
            <a:spLocks noGrp="1"/>
          </p:cNvSpPr>
          <p:nvPr>
            <p:ph type="body" sz="quarter" idx="16" hasCustomPrompt="1"/>
          </p:nvPr>
        </p:nvSpPr>
        <p:spPr>
          <a:xfrm>
            <a:off x="4754571" y="40454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5" name="Text Placeholder 2"/>
          <p:cNvSpPr>
            <a:spLocks noGrp="1"/>
          </p:cNvSpPr>
          <p:nvPr>
            <p:ph type="body" sz="quarter" idx="22" hasCustomPrompt="1"/>
          </p:nvPr>
        </p:nvSpPr>
        <p:spPr>
          <a:xfrm>
            <a:off x="8485080" y="40454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1" name="Text Placeholder 2"/>
          <p:cNvSpPr>
            <a:spLocks noGrp="1"/>
          </p:cNvSpPr>
          <p:nvPr>
            <p:ph type="body" sz="quarter" idx="28" hasCustomPrompt="1"/>
          </p:nvPr>
        </p:nvSpPr>
        <p:spPr>
          <a:xfrm>
            <a:off x="12220346" y="40454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7" name="Text Placeholder 2"/>
          <p:cNvSpPr>
            <a:spLocks noGrp="1"/>
          </p:cNvSpPr>
          <p:nvPr>
            <p:ph type="body" sz="quarter" idx="34" hasCustomPrompt="1"/>
          </p:nvPr>
        </p:nvSpPr>
        <p:spPr>
          <a:xfrm>
            <a:off x="15935099" y="40454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3" name="Text Placeholder 2"/>
          <p:cNvSpPr>
            <a:spLocks noGrp="1"/>
          </p:cNvSpPr>
          <p:nvPr>
            <p:ph type="body" sz="quarter" idx="40" hasCustomPrompt="1"/>
          </p:nvPr>
        </p:nvSpPr>
        <p:spPr>
          <a:xfrm>
            <a:off x="19676607" y="40454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5" name="Text Placeholder 2"/>
          <p:cNvSpPr>
            <a:spLocks noGrp="1"/>
          </p:cNvSpPr>
          <p:nvPr>
            <p:ph type="body" sz="quarter" idx="12" hasCustomPrompt="1"/>
          </p:nvPr>
        </p:nvSpPr>
        <p:spPr>
          <a:xfrm>
            <a:off x="1048444" y="58742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1" name="Text Placeholder 2"/>
          <p:cNvSpPr>
            <a:spLocks noGrp="1"/>
          </p:cNvSpPr>
          <p:nvPr>
            <p:ph type="body" sz="quarter" idx="18" hasCustomPrompt="1"/>
          </p:nvPr>
        </p:nvSpPr>
        <p:spPr>
          <a:xfrm>
            <a:off x="4754571" y="58742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7" name="Text Placeholder 2"/>
          <p:cNvSpPr>
            <a:spLocks noGrp="1"/>
          </p:cNvSpPr>
          <p:nvPr>
            <p:ph type="body" sz="quarter" idx="24" hasCustomPrompt="1"/>
          </p:nvPr>
        </p:nvSpPr>
        <p:spPr>
          <a:xfrm>
            <a:off x="8485080" y="58742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3" name="Text Placeholder 2"/>
          <p:cNvSpPr>
            <a:spLocks noGrp="1"/>
          </p:cNvSpPr>
          <p:nvPr>
            <p:ph type="body" sz="quarter" idx="30" hasCustomPrompt="1"/>
          </p:nvPr>
        </p:nvSpPr>
        <p:spPr>
          <a:xfrm>
            <a:off x="12220346" y="58742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9" name="Text Placeholder 2"/>
          <p:cNvSpPr>
            <a:spLocks noGrp="1"/>
          </p:cNvSpPr>
          <p:nvPr>
            <p:ph type="body" sz="quarter" idx="36" hasCustomPrompt="1"/>
          </p:nvPr>
        </p:nvSpPr>
        <p:spPr>
          <a:xfrm>
            <a:off x="15935099" y="58742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5" name="Text Placeholder 2"/>
          <p:cNvSpPr>
            <a:spLocks noGrp="1"/>
          </p:cNvSpPr>
          <p:nvPr>
            <p:ph type="body" sz="quarter" idx="42" hasCustomPrompt="1"/>
          </p:nvPr>
        </p:nvSpPr>
        <p:spPr>
          <a:xfrm>
            <a:off x="19676607" y="58742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6" name="Text Placeholder 2"/>
          <p:cNvSpPr>
            <a:spLocks noGrp="1"/>
          </p:cNvSpPr>
          <p:nvPr>
            <p:ph type="body" sz="quarter" idx="13" hasCustomPrompt="1"/>
          </p:nvPr>
        </p:nvSpPr>
        <p:spPr>
          <a:xfrm>
            <a:off x="1048444" y="77030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2" name="Text Placeholder 2"/>
          <p:cNvSpPr>
            <a:spLocks noGrp="1"/>
          </p:cNvSpPr>
          <p:nvPr>
            <p:ph type="body" sz="quarter" idx="19" hasCustomPrompt="1"/>
          </p:nvPr>
        </p:nvSpPr>
        <p:spPr>
          <a:xfrm>
            <a:off x="4754571" y="77030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8" name="Text Placeholder 2"/>
          <p:cNvSpPr>
            <a:spLocks noGrp="1"/>
          </p:cNvSpPr>
          <p:nvPr>
            <p:ph type="body" sz="quarter" idx="25" hasCustomPrompt="1"/>
          </p:nvPr>
        </p:nvSpPr>
        <p:spPr>
          <a:xfrm>
            <a:off x="8485080" y="77030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4" name="Text Placeholder 2"/>
          <p:cNvSpPr>
            <a:spLocks noGrp="1"/>
          </p:cNvSpPr>
          <p:nvPr>
            <p:ph type="body" sz="quarter" idx="31" hasCustomPrompt="1"/>
          </p:nvPr>
        </p:nvSpPr>
        <p:spPr>
          <a:xfrm>
            <a:off x="12220346" y="77030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0" name="Text Placeholder 2"/>
          <p:cNvSpPr>
            <a:spLocks noGrp="1"/>
          </p:cNvSpPr>
          <p:nvPr>
            <p:ph type="body" sz="quarter" idx="37" hasCustomPrompt="1"/>
          </p:nvPr>
        </p:nvSpPr>
        <p:spPr>
          <a:xfrm>
            <a:off x="15935099" y="77030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6" name="Text Placeholder 2"/>
          <p:cNvSpPr>
            <a:spLocks noGrp="1"/>
          </p:cNvSpPr>
          <p:nvPr>
            <p:ph type="body" sz="quarter" idx="43" hasCustomPrompt="1"/>
          </p:nvPr>
        </p:nvSpPr>
        <p:spPr>
          <a:xfrm>
            <a:off x="19676607" y="77030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7" name="Text Placeholder 2"/>
          <p:cNvSpPr>
            <a:spLocks noGrp="1"/>
          </p:cNvSpPr>
          <p:nvPr>
            <p:ph type="body" sz="quarter" idx="14" hasCustomPrompt="1"/>
          </p:nvPr>
        </p:nvSpPr>
        <p:spPr>
          <a:xfrm>
            <a:off x="1048444" y="95318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3" name="Text Placeholder 2"/>
          <p:cNvSpPr>
            <a:spLocks noGrp="1"/>
          </p:cNvSpPr>
          <p:nvPr>
            <p:ph type="body" sz="quarter" idx="20" hasCustomPrompt="1"/>
          </p:nvPr>
        </p:nvSpPr>
        <p:spPr>
          <a:xfrm>
            <a:off x="4754571" y="95318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9" name="Text Placeholder 2"/>
          <p:cNvSpPr>
            <a:spLocks noGrp="1"/>
          </p:cNvSpPr>
          <p:nvPr>
            <p:ph type="body" sz="quarter" idx="26" hasCustomPrompt="1"/>
          </p:nvPr>
        </p:nvSpPr>
        <p:spPr>
          <a:xfrm>
            <a:off x="8485080" y="95318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5" name="Text Placeholder 2"/>
          <p:cNvSpPr>
            <a:spLocks noGrp="1"/>
          </p:cNvSpPr>
          <p:nvPr>
            <p:ph type="body" sz="quarter" idx="32" hasCustomPrompt="1"/>
          </p:nvPr>
        </p:nvSpPr>
        <p:spPr>
          <a:xfrm>
            <a:off x="12220346" y="95318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1" name="Text Placeholder 2"/>
          <p:cNvSpPr>
            <a:spLocks noGrp="1"/>
          </p:cNvSpPr>
          <p:nvPr>
            <p:ph type="body" sz="quarter" idx="38" hasCustomPrompt="1"/>
          </p:nvPr>
        </p:nvSpPr>
        <p:spPr>
          <a:xfrm>
            <a:off x="15935099" y="95318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7" name="Text Placeholder 2"/>
          <p:cNvSpPr>
            <a:spLocks noGrp="1"/>
          </p:cNvSpPr>
          <p:nvPr>
            <p:ph type="body" sz="quarter" idx="44" hasCustomPrompt="1"/>
          </p:nvPr>
        </p:nvSpPr>
        <p:spPr>
          <a:xfrm>
            <a:off x="19676607" y="953189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8" name="Text Placeholder 2"/>
          <p:cNvSpPr>
            <a:spLocks noGrp="1"/>
          </p:cNvSpPr>
          <p:nvPr>
            <p:ph type="body" sz="quarter" idx="15" hasCustomPrompt="1"/>
          </p:nvPr>
        </p:nvSpPr>
        <p:spPr>
          <a:xfrm>
            <a:off x="1048444" y="11378987"/>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4" name="Text Placeholder 2"/>
          <p:cNvSpPr>
            <a:spLocks noGrp="1"/>
          </p:cNvSpPr>
          <p:nvPr>
            <p:ph type="body" sz="quarter" idx="21" hasCustomPrompt="1"/>
          </p:nvPr>
        </p:nvSpPr>
        <p:spPr>
          <a:xfrm>
            <a:off x="4754571" y="11378987"/>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0" name="Text Placeholder 2"/>
          <p:cNvSpPr>
            <a:spLocks noGrp="1"/>
          </p:cNvSpPr>
          <p:nvPr>
            <p:ph type="body" sz="quarter" idx="27" hasCustomPrompt="1"/>
          </p:nvPr>
        </p:nvSpPr>
        <p:spPr>
          <a:xfrm>
            <a:off x="8485080" y="11378987"/>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6" name="Text Placeholder 2"/>
          <p:cNvSpPr>
            <a:spLocks noGrp="1"/>
          </p:cNvSpPr>
          <p:nvPr>
            <p:ph type="body" sz="quarter" idx="33" hasCustomPrompt="1"/>
          </p:nvPr>
        </p:nvSpPr>
        <p:spPr>
          <a:xfrm>
            <a:off x="12220346" y="11378987"/>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2" name="Text Placeholder 2"/>
          <p:cNvSpPr>
            <a:spLocks noGrp="1"/>
          </p:cNvSpPr>
          <p:nvPr>
            <p:ph type="body" sz="quarter" idx="39" hasCustomPrompt="1"/>
          </p:nvPr>
        </p:nvSpPr>
        <p:spPr>
          <a:xfrm>
            <a:off x="15935099" y="11378987"/>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8" name="Text Placeholder 2"/>
          <p:cNvSpPr>
            <a:spLocks noGrp="1"/>
          </p:cNvSpPr>
          <p:nvPr>
            <p:ph type="body" sz="quarter" idx="45" hasCustomPrompt="1"/>
          </p:nvPr>
        </p:nvSpPr>
        <p:spPr>
          <a:xfrm>
            <a:off x="19676607" y="11378987"/>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9" name="TextBox 78">
            <a:extLst>
              <a:ext uri="{FF2B5EF4-FFF2-40B4-BE49-F238E27FC236}">
                <a16:creationId xmlns:a16="http://schemas.microsoft.com/office/drawing/2014/main" id="{5526B93A-46E0-9548-B010-3E08443ED4FF}"/>
              </a:ext>
            </a:extLst>
          </p:cNvPr>
          <p:cNvSpPr txBox="1"/>
          <p:nvPr userDrawn="1"/>
        </p:nvSpPr>
        <p:spPr>
          <a:xfrm>
            <a:off x="954662" y="1399713"/>
            <a:ext cx="1638300" cy="461665"/>
          </a:xfrm>
          <a:prstGeom prst="rect">
            <a:avLst/>
          </a:prstGeom>
          <a:noFill/>
        </p:spPr>
        <p:txBody>
          <a:bodyPr wrap="square" rtlCol="0">
            <a:spAutoFit/>
          </a:bodyPr>
          <a:lstStyle/>
          <a:p>
            <a:r>
              <a:rPr lang="en-US" sz="2400" b="1" dirty="0">
                <a:solidFill>
                  <a:schemeClr val="accent1"/>
                </a:solidFill>
              </a:rPr>
              <a:t>Monday</a:t>
            </a:r>
          </a:p>
        </p:txBody>
      </p:sp>
      <p:sp>
        <p:nvSpPr>
          <p:cNvPr id="80" name="TextBox 79">
            <a:extLst>
              <a:ext uri="{FF2B5EF4-FFF2-40B4-BE49-F238E27FC236}">
                <a16:creationId xmlns:a16="http://schemas.microsoft.com/office/drawing/2014/main" id="{521C5381-D7B6-3D47-83A0-A547F7EA51DB}"/>
              </a:ext>
            </a:extLst>
          </p:cNvPr>
          <p:cNvSpPr txBox="1"/>
          <p:nvPr userDrawn="1"/>
        </p:nvSpPr>
        <p:spPr>
          <a:xfrm>
            <a:off x="4688462" y="1399713"/>
            <a:ext cx="1638300" cy="461665"/>
          </a:xfrm>
          <a:prstGeom prst="rect">
            <a:avLst/>
          </a:prstGeom>
          <a:noFill/>
        </p:spPr>
        <p:txBody>
          <a:bodyPr wrap="square" rtlCol="0">
            <a:spAutoFit/>
          </a:bodyPr>
          <a:lstStyle/>
          <a:p>
            <a:r>
              <a:rPr lang="en-US" sz="2400" b="1" dirty="0">
                <a:solidFill>
                  <a:schemeClr val="accent1"/>
                </a:solidFill>
              </a:rPr>
              <a:t>Tuesday</a:t>
            </a:r>
          </a:p>
        </p:txBody>
      </p:sp>
      <p:sp>
        <p:nvSpPr>
          <p:cNvPr id="81" name="TextBox 80">
            <a:extLst>
              <a:ext uri="{FF2B5EF4-FFF2-40B4-BE49-F238E27FC236}">
                <a16:creationId xmlns:a16="http://schemas.microsoft.com/office/drawing/2014/main" id="{07EF3A9F-9DF5-3D4F-AAA7-9578D536A9FB}"/>
              </a:ext>
            </a:extLst>
          </p:cNvPr>
          <p:cNvSpPr txBox="1"/>
          <p:nvPr userDrawn="1"/>
        </p:nvSpPr>
        <p:spPr>
          <a:xfrm>
            <a:off x="8365112" y="1399713"/>
            <a:ext cx="2741038" cy="461665"/>
          </a:xfrm>
          <a:prstGeom prst="rect">
            <a:avLst/>
          </a:prstGeom>
          <a:noFill/>
        </p:spPr>
        <p:txBody>
          <a:bodyPr wrap="square" rtlCol="0">
            <a:spAutoFit/>
          </a:bodyPr>
          <a:lstStyle/>
          <a:p>
            <a:r>
              <a:rPr lang="en-US" sz="2400" b="1" dirty="0">
                <a:solidFill>
                  <a:schemeClr val="accent1"/>
                </a:solidFill>
              </a:rPr>
              <a:t>Wednesday</a:t>
            </a:r>
          </a:p>
        </p:txBody>
      </p:sp>
      <p:sp>
        <p:nvSpPr>
          <p:cNvPr id="82" name="TextBox 81">
            <a:extLst>
              <a:ext uri="{FF2B5EF4-FFF2-40B4-BE49-F238E27FC236}">
                <a16:creationId xmlns:a16="http://schemas.microsoft.com/office/drawing/2014/main" id="{BD874611-BFC1-D943-98D4-AE521C34F97B}"/>
              </a:ext>
            </a:extLst>
          </p:cNvPr>
          <p:cNvSpPr txBox="1"/>
          <p:nvPr userDrawn="1"/>
        </p:nvSpPr>
        <p:spPr>
          <a:xfrm>
            <a:off x="12137012" y="1399713"/>
            <a:ext cx="1638300" cy="461665"/>
          </a:xfrm>
          <a:prstGeom prst="rect">
            <a:avLst/>
          </a:prstGeom>
          <a:noFill/>
        </p:spPr>
        <p:txBody>
          <a:bodyPr wrap="square" rtlCol="0">
            <a:spAutoFit/>
          </a:bodyPr>
          <a:lstStyle/>
          <a:p>
            <a:r>
              <a:rPr lang="en-US" sz="2400" b="1" dirty="0">
                <a:solidFill>
                  <a:schemeClr val="accent1"/>
                </a:solidFill>
              </a:rPr>
              <a:t>Thursday</a:t>
            </a:r>
          </a:p>
        </p:txBody>
      </p:sp>
      <p:sp>
        <p:nvSpPr>
          <p:cNvPr id="83" name="TextBox 82">
            <a:extLst>
              <a:ext uri="{FF2B5EF4-FFF2-40B4-BE49-F238E27FC236}">
                <a16:creationId xmlns:a16="http://schemas.microsoft.com/office/drawing/2014/main" id="{BFB8A6BF-1CB3-7F4E-939A-7E6A5314E86B}"/>
              </a:ext>
            </a:extLst>
          </p:cNvPr>
          <p:cNvSpPr txBox="1"/>
          <p:nvPr userDrawn="1"/>
        </p:nvSpPr>
        <p:spPr>
          <a:xfrm>
            <a:off x="15870812" y="1399713"/>
            <a:ext cx="1638300" cy="461665"/>
          </a:xfrm>
          <a:prstGeom prst="rect">
            <a:avLst/>
          </a:prstGeom>
          <a:noFill/>
        </p:spPr>
        <p:txBody>
          <a:bodyPr wrap="square" rtlCol="0">
            <a:spAutoFit/>
          </a:bodyPr>
          <a:lstStyle/>
          <a:p>
            <a:r>
              <a:rPr lang="en-US" sz="2400" b="1" dirty="0">
                <a:solidFill>
                  <a:schemeClr val="accent1"/>
                </a:solidFill>
              </a:rPr>
              <a:t>Friday</a:t>
            </a:r>
          </a:p>
        </p:txBody>
      </p:sp>
      <p:sp>
        <p:nvSpPr>
          <p:cNvPr id="84" name="TextBox 83">
            <a:extLst>
              <a:ext uri="{FF2B5EF4-FFF2-40B4-BE49-F238E27FC236}">
                <a16:creationId xmlns:a16="http://schemas.microsoft.com/office/drawing/2014/main" id="{86218291-DE1F-F947-877C-48415023C0F5}"/>
              </a:ext>
            </a:extLst>
          </p:cNvPr>
          <p:cNvSpPr txBox="1"/>
          <p:nvPr userDrawn="1"/>
        </p:nvSpPr>
        <p:spPr>
          <a:xfrm>
            <a:off x="19585562" y="1399713"/>
            <a:ext cx="1638300" cy="461665"/>
          </a:xfrm>
          <a:prstGeom prst="rect">
            <a:avLst/>
          </a:prstGeom>
          <a:noFill/>
        </p:spPr>
        <p:txBody>
          <a:bodyPr wrap="square" rtlCol="0">
            <a:spAutoFit/>
          </a:bodyPr>
          <a:lstStyle/>
          <a:p>
            <a:r>
              <a:rPr lang="en-US" sz="2400" b="1" dirty="0">
                <a:solidFill>
                  <a:schemeClr val="accent1"/>
                </a:solidFill>
              </a:rPr>
              <a:t>Sunday</a:t>
            </a:r>
          </a:p>
        </p:txBody>
      </p:sp>
    </p:spTree>
    <p:extLst>
      <p:ext uri="{BB962C8B-B14F-4D97-AF65-F5344CB8AC3E}">
        <p14:creationId xmlns:p14="http://schemas.microsoft.com/office/powerpoint/2010/main" val="37000268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June 2019">
    <p:spTree>
      <p:nvGrpSpPr>
        <p:cNvPr id="1" name=""/>
        <p:cNvGrpSpPr/>
        <p:nvPr/>
      </p:nvGrpSpPr>
      <p:grpSpPr>
        <a:xfrm>
          <a:off x="0" y="0"/>
          <a:ext cx="0" cy="0"/>
          <a:chOff x="0" y="0"/>
          <a:chExt cx="0" cy="0"/>
        </a:xfrm>
      </p:grpSpPr>
      <p:sp>
        <p:nvSpPr>
          <p:cNvPr id="1792" name="TextBox 1791"/>
          <p:cNvSpPr txBox="1"/>
          <p:nvPr/>
        </p:nvSpPr>
        <p:spPr>
          <a:xfrm>
            <a:off x="1093019" y="1642726"/>
            <a:ext cx="3657362" cy="768096"/>
          </a:xfrm>
          <a:prstGeom prst="rect">
            <a:avLst/>
          </a:prstGeom>
          <a:noFill/>
        </p:spPr>
        <p:txBody>
          <a:bodyPr wrap="square" tIns="0" bIns="0" rtlCol="0" anchor="ctr">
            <a:noAutofit/>
          </a:bodyPr>
          <a:lstStyle>
            <a:defPPr>
              <a:defRPr lang="en-US"/>
            </a:defPPr>
            <a:lvl1pPr>
              <a:defRPr sz="1300" b="0">
                <a:solidFill>
                  <a:schemeClr val="bg2">
                    <a:lumMod val="90000"/>
                  </a:schemeClr>
                </a:solidFill>
              </a:defRPr>
            </a:lvl1pPr>
          </a:lstStyle>
          <a:p>
            <a:pPr lvl="0"/>
            <a:r>
              <a:rPr lang="en-US" sz="2600" dirty="0"/>
              <a:t>27 May</a:t>
            </a:r>
            <a:endParaRPr sz="2600" dirty="0"/>
          </a:p>
        </p:txBody>
      </p:sp>
      <p:sp>
        <p:nvSpPr>
          <p:cNvPr id="1793" name="TextBox 1792"/>
          <p:cNvSpPr txBox="1"/>
          <p:nvPr/>
        </p:nvSpPr>
        <p:spPr>
          <a:xfrm>
            <a:off x="4764373" y="1642726"/>
            <a:ext cx="3657362" cy="768096"/>
          </a:xfrm>
          <a:prstGeom prst="rect">
            <a:avLst/>
          </a:prstGeom>
          <a:noFill/>
        </p:spPr>
        <p:txBody>
          <a:bodyPr wrap="square" tIns="0" bIns="0" rtlCol="0" anchor="ctr">
            <a:noAutofit/>
          </a:bodyPr>
          <a:lstStyle>
            <a:defPPr>
              <a:defRPr lang="en-US"/>
            </a:defPPr>
            <a:lvl1pPr lvl="0">
              <a:defRPr sz="1300" b="0">
                <a:solidFill>
                  <a:schemeClr val="bg2">
                    <a:lumMod val="90000"/>
                  </a:schemeClr>
                </a:solidFill>
              </a:defRPr>
            </a:lvl1pPr>
          </a:lstStyle>
          <a:p>
            <a:pPr lvl="0"/>
            <a:r>
              <a:rPr lang="en-US" sz="2600" dirty="0"/>
              <a:t>28</a:t>
            </a:r>
            <a:endParaRPr sz="2600" dirty="0"/>
          </a:p>
        </p:txBody>
      </p:sp>
      <p:sp>
        <p:nvSpPr>
          <p:cNvPr id="1794" name="TextBox 1793"/>
          <p:cNvSpPr txBox="1"/>
          <p:nvPr/>
        </p:nvSpPr>
        <p:spPr>
          <a:xfrm>
            <a:off x="8512830" y="1642726"/>
            <a:ext cx="3657362" cy="768096"/>
          </a:xfrm>
          <a:prstGeom prst="rect">
            <a:avLst/>
          </a:prstGeom>
          <a:noFill/>
        </p:spPr>
        <p:txBody>
          <a:bodyPr wrap="square" tIns="0" bIns="0" rtlCol="0" anchor="ctr">
            <a:noAutofit/>
          </a:bodyPr>
          <a:lstStyle>
            <a:defPPr>
              <a:defRPr lang="en-US"/>
            </a:defPPr>
            <a:lvl1pPr lvl="0">
              <a:defRPr sz="1300" b="0">
                <a:solidFill>
                  <a:schemeClr val="bg2">
                    <a:lumMod val="90000"/>
                  </a:schemeClr>
                </a:solidFill>
              </a:defRPr>
            </a:lvl1pPr>
          </a:lstStyle>
          <a:p>
            <a:pPr lvl="0"/>
            <a:r>
              <a:rPr lang="en-US" sz="2600" dirty="0"/>
              <a:t>29</a:t>
            </a:r>
            <a:endParaRPr sz="2600" dirty="0"/>
          </a:p>
        </p:txBody>
      </p:sp>
      <p:sp>
        <p:nvSpPr>
          <p:cNvPr id="1795" name="TextBox 1794"/>
          <p:cNvSpPr txBox="1"/>
          <p:nvPr/>
        </p:nvSpPr>
        <p:spPr>
          <a:xfrm>
            <a:off x="12191204" y="1642726"/>
            <a:ext cx="3657362" cy="768096"/>
          </a:xfrm>
          <a:prstGeom prst="rect">
            <a:avLst/>
          </a:prstGeom>
          <a:noFill/>
        </p:spPr>
        <p:txBody>
          <a:bodyPr wrap="square" tIns="0" bIns="0" rtlCol="0" anchor="ctr">
            <a:noAutofit/>
          </a:bodyPr>
          <a:lstStyle/>
          <a:p>
            <a:pPr lvl="0"/>
            <a:r>
              <a:rPr lang="en-US" sz="2800" dirty="0">
                <a:solidFill>
                  <a:schemeClr val="bg2">
                    <a:lumMod val="90000"/>
                  </a:schemeClr>
                </a:solidFill>
              </a:rPr>
              <a:t>30</a:t>
            </a:r>
          </a:p>
        </p:txBody>
      </p:sp>
      <p:sp>
        <p:nvSpPr>
          <p:cNvPr id="1796" name="TextBox 1795"/>
          <p:cNvSpPr txBox="1"/>
          <p:nvPr/>
        </p:nvSpPr>
        <p:spPr>
          <a:xfrm>
            <a:off x="15925635" y="1642726"/>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tx1"/>
                </a:solidFill>
              </a:rPr>
              <a:t>31	</a:t>
            </a:r>
          </a:p>
        </p:txBody>
      </p:sp>
      <p:sp>
        <p:nvSpPr>
          <p:cNvPr id="1797" name="TextBox 1796"/>
          <p:cNvSpPr txBox="1"/>
          <p:nvPr/>
        </p:nvSpPr>
        <p:spPr>
          <a:xfrm>
            <a:off x="19649854" y="1642726"/>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kern="1200" cap="none" spc="0" dirty="0">
                <a:ln w="0"/>
                <a:solidFill>
                  <a:schemeClr val="tx1"/>
                </a:solidFill>
                <a:effectLst>
                  <a:outerShdw blurRad="38100" dist="19050" dir="2700000" algn="tl" rotWithShape="0">
                    <a:schemeClr val="dk1">
                      <a:alpha val="40000"/>
                    </a:schemeClr>
                  </a:outerShdw>
                </a:effectLst>
                <a:latin typeface="+mn-lt"/>
                <a:ea typeface="+mn-ea"/>
                <a:cs typeface="+mn-cs"/>
              </a:rPr>
              <a:t>1/2 June</a:t>
            </a:r>
          </a:p>
        </p:txBody>
      </p:sp>
      <p:sp>
        <p:nvSpPr>
          <p:cNvPr id="1798" name="TextBox 1797"/>
          <p:cNvSpPr txBox="1"/>
          <p:nvPr/>
        </p:nvSpPr>
        <p:spPr>
          <a:xfrm>
            <a:off x="1093025" y="3472554"/>
            <a:ext cx="3657362" cy="768096"/>
          </a:xfrm>
          <a:prstGeom prst="rect">
            <a:avLst/>
          </a:prstGeom>
          <a:noFill/>
        </p:spPr>
        <p:txBody>
          <a:bodyPr wrap="square" tIns="0" bIns="0" rtlCol="0" anchor="ctr">
            <a:noAutofit/>
          </a:bodyPr>
          <a:lstStyle/>
          <a:p>
            <a:pPr algn="l"/>
            <a:r>
              <a:rPr lang="en-US" sz="2600" b="0" dirty="0">
                <a:solidFill>
                  <a:schemeClr val="tx1"/>
                </a:solidFill>
              </a:rPr>
              <a:t>3</a:t>
            </a:r>
            <a:endParaRPr sz="2600" b="0" dirty="0">
              <a:solidFill>
                <a:schemeClr val="tx1"/>
              </a:solidFill>
            </a:endParaRPr>
          </a:p>
        </p:txBody>
      </p:sp>
      <p:sp>
        <p:nvSpPr>
          <p:cNvPr id="1799" name="TextBox 1798"/>
          <p:cNvSpPr txBox="1"/>
          <p:nvPr/>
        </p:nvSpPr>
        <p:spPr>
          <a:xfrm>
            <a:off x="4764373" y="3472554"/>
            <a:ext cx="3657362" cy="768096"/>
          </a:xfrm>
          <a:prstGeom prst="rect">
            <a:avLst/>
          </a:prstGeom>
          <a:noFill/>
        </p:spPr>
        <p:txBody>
          <a:bodyPr wrap="square" tIns="0" bIns="0" rtlCol="0" anchor="ctr">
            <a:noAutofit/>
          </a:bodyPr>
          <a:lstStyle/>
          <a:p>
            <a:pPr algn="l"/>
            <a:r>
              <a:rPr lang="en-US" sz="2600" b="0" dirty="0">
                <a:solidFill>
                  <a:schemeClr val="tx1"/>
                </a:solidFill>
              </a:rPr>
              <a:t>4</a:t>
            </a:r>
            <a:endParaRPr sz="2600" b="0" dirty="0">
              <a:solidFill>
                <a:schemeClr val="tx1"/>
              </a:solidFill>
            </a:endParaRPr>
          </a:p>
        </p:txBody>
      </p:sp>
      <p:sp>
        <p:nvSpPr>
          <p:cNvPr id="1800" name="TextBox 1799"/>
          <p:cNvSpPr txBox="1"/>
          <p:nvPr/>
        </p:nvSpPr>
        <p:spPr>
          <a:xfrm>
            <a:off x="8512830" y="3472554"/>
            <a:ext cx="3657362" cy="768096"/>
          </a:xfrm>
          <a:prstGeom prst="rect">
            <a:avLst/>
          </a:prstGeom>
          <a:noFill/>
        </p:spPr>
        <p:txBody>
          <a:bodyPr wrap="square" tIns="0" bIns="0" rtlCol="0" anchor="ctr">
            <a:noAutofit/>
          </a:bodyPr>
          <a:lstStyle/>
          <a:p>
            <a:pPr algn="l"/>
            <a:r>
              <a:rPr lang="en-US" sz="2600" b="0" dirty="0">
                <a:solidFill>
                  <a:schemeClr val="tx1"/>
                </a:solidFill>
              </a:rPr>
              <a:t>5</a:t>
            </a:r>
            <a:endParaRPr sz="2600" b="0" dirty="0">
              <a:solidFill>
                <a:schemeClr val="tx1"/>
              </a:solidFill>
            </a:endParaRPr>
          </a:p>
        </p:txBody>
      </p:sp>
      <p:sp>
        <p:nvSpPr>
          <p:cNvPr id="1801" name="TextBox 1800"/>
          <p:cNvSpPr txBox="1"/>
          <p:nvPr/>
        </p:nvSpPr>
        <p:spPr>
          <a:xfrm>
            <a:off x="12191204" y="3472554"/>
            <a:ext cx="3657362" cy="768096"/>
          </a:xfrm>
          <a:prstGeom prst="rect">
            <a:avLst/>
          </a:prstGeom>
          <a:noFill/>
        </p:spPr>
        <p:txBody>
          <a:bodyPr wrap="square" tIns="0" bIns="0" rtlCol="0" anchor="ctr">
            <a:noAutofit/>
          </a:bodyPr>
          <a:lstStyle/>
          <a:p>
            <a:pPr algn="l"/>
            <a:r>
              <a:rPr lang="en-US" sz="2600" b="0" dirty="0">
                <a:solidFill>
                  <a:schemeClr val="tx1"/>
                </a:solidFill>
              </a:rPr>
              <a:t>6</a:t>
            </a:r>
            <a:endParaRPr sz="2600" b="0" dirty="0">
              <a:solidFill>
                <a:schemeClr val="tx1"/>
              </a:solidFill>
            </a:endParaRPr>
          </a:p>
        </p:txBody>
      </p:sp>
      <p:sp>
        <p:nvSpPr>
          <p:cNvPr id="1802" name="TextBox 1801"/>
          <p:cNvSpPr txBox="1"/>
          <p:nvPr/>
        </p:nvSpPr>
        <p:spPr>
          <a:xfrm>
            <a:off x="15925635" y="3472554"/>
            <a:ext cx="3657362" cy="768096"/>
          </a:xfrm>
          <a:prstGeom prst="rect">
            <a:avLst/>
          </a:prstGeom>
          <a:noFill/>
        </p:spPr>
        <p:txBody>
          <a:bodyPr wrap="square" tIns="0" bIns="0" rtlCol="0" anchor="ctr">
            <a:noAutofit/>
          </a:bodyPr>
          <a:lstStyle/>
          <a:p>
            <a:pPr algn="l"/>
            <a:r>
              <a:rPr lang="en-US" sz="2600" b="0" dirty="0">
                <a:solidFill>
                  <a:schemeClr val="tx1"/>
                </a:solidFill>
              </a:rPr>
              <a:t>7</a:t>
            </a:r>
            <a:endParaRPr sz="2600" b="0" dirty="0">
              <a:solidFill>
                <a:schemeClr val="tx1"/>
              </a:solidFill>
            </a:endParaRPr>
          </a:p>
        </p:txBody>
      </p:sp>
      <p:sp>
        <p:nvSpPr>
          <p:cNvPr id="1803" name="TextBox 1802"/>
          <p:cNvSpPr txBox="1"/>
          <p:nvPr/>
        </p:nvSpPr>
        <p:spPr>
          <a:xfrm>
            <a:off x="19649854" y="3472554"/>
            <a:ext cx="3657362" cy="768096"/>
          </a:xfrm>
          <a:prstGeom prst="rect">
            <a:avLst/>
          </a:prstGeom>
          <a:noFill/>
        </p:spPr>
        <p:txBody>
          <a:bodyPr wrap="square" tIns="0" bIns="0" rtlCol="0" anchor="ctr">
            <a:noAutofit/>
          </a:bodyPr>
          <a:lstStyle/>
          <a:p>
            <a:pPr algn="l"/>
            <a:r>
              <a:rPr lang="en-US" sz="2600" b="0" dirty="0">
                <a:solidFill>
                  <a:schemeClr val="tx1"/>
                </a:solidFill>
              </a:rPr>
              <a:t>8/9</a:t>
            </a:r>
            <a:endParaRPr sz="2600" b="0" dirty="0">
              <a:solidFill>
                <a:schemeClr val="tx1"/>
              </a:solidFill>
            </a:endParaRPr>
          </a:p>
        </p:txBody>
      </p:sp>
      <p:sp>
        <p:nvSpPr>
          <p:cNvPr id="1804" name="TextBox 1803"/>
          <p:cNvSpPr txBox="1"/>
          <p:nvPr/>
        </p:nvSpPr>
        <p:spPr>
          <a:xfrm>
            <a:off x="1093025" y="5301354"/>
            <a:ext cx="3657362" cy="768096"/>
          </a:xfrm>
          <a:prstGeom prst="rect">
            <a:avLst/>
          </a:prstGeom>
          <a:noFill/>
        </p:spPr>
        <p:txBody>
          <a:bodyPr wrap="square" tIns="0" bIns="0" rtlCol="0" anchor="ctr">
            <a:noAutofit/>
          </a:bodyPr>
          <a:lstStyle/>
          <a:p>
            <a:pPr algn="l"/>
            <a:r>
              <a:rPr lang="en-US" sz="2600" b="0" dirty="0">
                <a:solidFill>
                  <a:schemeClr val="tx1"/>
                </a:solidFill>
              </a:rPr>
              <a:t>10</a:t>
            </a:r>
            <a:endParaRPr sz="2600" b="0" dirty="0">
              <a:solidFill>
                <a:schemeClr val="tx1"/>
              </a:solidFill>
            </a:endParaRPr>
          </a:p>
        </p:txBody>
      </p:sp>
      <p:sp>
        <p:nvSpPr>
          <p:cNvPr id="1805" name="TextBox 1804"/>
          <p:cNvSpPr txBox="1"/>
          <p:nvPr/>
        </p:nvSpPr>
        <p:spPr>
          <a:xfrm>
            <a:off x="4764373" y="5301354"/>
            <a:ext cx="3657362" cy="768096"/>
          </a:xfrm>
          <a:prstGeom prst="rect">
            <a:avLst/>
          </a:prstGeom>
          <a:noFill/>
        </p:spPr>
        <p:txBody>
          <a:bodyPr wrap="square" tIns="0" bIns="0" rtlCol="0" anchor="ctr">
            <a:noAutofit/>
          </a:bodyPr>
          <a:lstStyle/>
          <a:p>
            <a:pPr algn="l"/>
            <a:r>
              <a:rPr lang="en-US" sz="2600" b="0" dirty="0">
                <a:solidFill>
                  <a:schemeClr val="tx1"/>
                </a:solidFill>
              </a:rPr>
              <a:t>11</a:t>
            </a:r>
            <a:endParaRPr sz="2600" b="0" dirty="0">
              <a:solidFill>
                <a:schemeClr val="tx1"/>
              </a:solidFill>
            </a:endParaRPr>
          </a:p>
        </p:txBody>
      </p:sp>
      <p:sp>
        <p:nvSpPr>
          <p:cNvPr id="1806" name="TextBox 1805"/>
          <p:cNvSpPr txBox="1"/>
          <p:nvPr/>
        </p:nvSpPr>
        <p:spPr>
          <a:xfrm>
            <a:off x="8512830" y="5301354"/>
            <a:ext cx="3657362" cy="768096"/>
          </a:xfrm>
          <a:prstGeom prst="rect">
            <a:avLst/>
          </a:prstGeom>
          <a:noFill/>
        </p:spPr>
        <p:txBody>
          <a:bodyPr wrap="square" tIns="0" bIns="0" rtlCol="0" anchor="ctr">
            <a:noAutofit/>
          </a:bodyPr>
          <a:lstStyle/>
          <a:p>
            <a:pPr algn="l"/>
            <a:r>
              <a:rPr lang="en-US" sz="2600" b="0" dirty="0">
                <a:solidFill>
                  <a:schemeClr val="tx1"/>
                </a:solidFill>
              </a:rPr>
              <a:t>12</a:t>
            </a:r>
            <a:endParaRPr sz="2600" b="0" dirty="0">
              <a:solidFill>
                <a:schemeClr val="tx1"/>
              </a:solidFill>
            </a:endParaRPr>
          </a:p>
        </p:txBody>
      </p:sp>
      <p:sp>
        <p:nvSpPr>
          <p:cNvPr id="1807" name="TextBox 1806"/>
          <p:cNvSpPr txBox="1"/>
          <p:nvPr/>
        </p:nvSpPr>
        <p:spPr>
          <a:xfrm>
            <a:off x="12191204" y="5301354"/>
            <a:ext cx="3657362" cy="768096"/>
          </a:xfrm>
          <a:prstGeom prst="rect">
            <a:avLst/>
          </a:prstGeom>
          <a:noFill/>
        </p:spPr>
        <p:txBody>
          <a:bodyPr wrap="square" tIns="0" bIns="0" rtlCol="0" anchor="ctr">
            <a:noAutofit/>
          </a:bodyPr>
          <a:lstStyle/>
          <a:p>
            <a:pPr algn="l"/>
            <a:r>
              <a:rPr lang="en-US" sz="2600" b="0" dirty="0">
                <a:solidFill>
                  <a:schemeClr val="tx1"/>
                </a:solidFill>
              </a:rPr>
              <a:t>13</a:t>
            </a:r>
            <a:endParaRPr sz="2600" b="0" dirty="0">
              <a:solidFill>
                <a:schemeClr val="tx1"/>
              </a:solidFill>
            </a:endParaRPr>
          </a:p>
        </p:txBody>
      </p:sp>
      <p:sp>
        <p:nvSpPr>
          <p:cNvPr id="1808" name="TextBox 1807"/>
          <p:cNvSpPr txBox="1"/>
          <p:nvPr/>
        </p:nvSpPr>
        <p:spPr>
          <a:xfrm>
            <a:off x="15925635" y="5301354"/>
            <a:ext cx="3657362" cy="768096"/>
          </a:xfrm>
          <a:prstGeom prst="rect">
            <a:avLst/>
          </a:prstGeom>
          <a:noFill/>
        </p:spPr>
        <p:txBody>
          <a:bodyPr wrap="square" tIns="0" bIns="0" rtlCol="0" anchor="ctr">
            <a:noAutofit/>
          </a:bodyPr>
          <a:lstStyle/>
          <a:p>
            <a:pPr algn="l"/>
            <a:r>
              <a:rPr lang="en-US" sz="2600" b="0" dirty="0">
                <a:solidFill>
                  <a:schemeClr val="tx1"/>
                </a:solidFill>
              </a:rPr>
              <a:t>14</a:t>
            </a:r>
            <a:endParaRPr sz="2600" b="0" dirty="0">
              <a:solidFill>
                <a:schemeClr val="tx1"/>
              </a:solidFill>
            </a:endParaRPr>
          </a:p>
        </p:txBody>
      </p:sp>
      <p:sp>
        <p:nvSpPr>
          <p:cNvPr id="1809" name="TextBox 1808"/>
          <p:cNvSpPr txBox="1"/>
          <p:nvPr/>
        </p:nvSpPr>
        <p:spPr>
          <a:xfrm>
            <a:off x="19649854" y="5301354"/>
            <a:ext cx="3657362" cy="768096"/>
          </a:xfrm>
          <a:prstGeom prst="rect">
            <a:avLst/>
          </a:prstGeom>
          <a:noFill/>
        </p:spPr>
        <p:txBody>
          <a:bodyPr wrap="square" tIns="0" bIns="0" rtlCol="0" anchor="ctr">
            <a:noAutofit/>
          </a:bodyPr>
          <a:lstStyle/>
          <a:p>
            <a:pPr algn="l"/>
            <a:r>
              <a:rPr lang="en-US" sz="2600" b="0" dirty="0">
                <a:solidFill>
                  <a:schemeClr val="tx1"/>
                </a:solidFill>
              </a:rPr>
              <a:t>15/16</a:t>
            </a:r>
            <a:endParaRPr sz="2600" b="0" dirty="0">
              <a:solidFill>
                <a:schemeClr val="tx1"/>
              </a:solidFill>
            </a:endParaRPr>
          </a:p>
        </p:txBody>
      </p:sp>
      <p:sp>
        <p:nvSpPr>
          <p:cNvPr id="1810" name="TextBox 1809"/>
          <p:cNvSpPr txBox="1"/>
          <p:nvPr/>
        </p:nvSpPr>
        <p:spPr>
          <a:xfrm>
            <a:off x="1093025" y="7130154"/>
            <a:ext cx="3657362" cy="768096"/>
          </a:xfrm>
          <a:prstGeom prst="rect">
            <a:avLst/>
          </a:prstGeom>
          <a:noFill/>
        </p:spPr>
        <p:txBody>
          <a:bodyPr wrap="square" tIns="0" bIns="0" rtlCol="0" anchor="ctr">
            <a:noAutofit/>
          </a:bodyPr>
          <a:lstStyle/>
          <a:p>
            <a:pPr algn="l"/>
            <a:r>
              <a:rPr lang="en-US" sz="2600" b="0" dirty="0">
                <a:solidFill>
                  <a:schemeClr val="tx1"/>
                </a:solidFill>
              </a:rPr>
              <a:t>17</a:t>
            </a:r>
            <a:endParaRPr sz="2600" b="0" dirty="0">
              <a:solidFill>
                <a:schemeClr val="tx1"/>
              </a:solidFill>
            </a:endParaRPr>
          </a:p>
        </p:txBody>
      </p:sp>
      <p:sp>
        <p:nvSpPr>
          <p:cNvPr id="1811" name="TextBox 1810"/>
          <p:cNvSpPr txBox="1"/>
          <p:nvPr/>
        </p:nvSpPr>
        <p:spPr>
          <a:xfrm>
            <a:off x="4764373" y="7130154"/>
            <a:ext cx="3657362" cy="768096"/>
          </a:xfrm>
          <a:prstGeom prst="rect">
            <a:avLst/>
          </a:prstGeom>
          <a:noFill/>
        </p:spPr>
        <p:txBody>
          <a:bodyPr wrap="square" tIns="0" bIns="0" rtlCol="0" anchor="ctr">
            <a:noAutofit/>
          </a:bodyPr>
          <a:lstStyle/>
          <a:p>
            <a:pPr algn="l"/>
            <a:r>
              <a:rPr lang="en-US" sz="2600" b="0" dirty="0">
                <a:solidFill>
                  <a:schemeClr val="tx1"/>
                </a:solidFill>
              </a:rPr>
              <a:t>18</a:t>
            </a:r>
            <a:endParaRPr sz="2600" b="0" dirty="0">
              <a:solidFill>
                <a:schemeClr val="tx1"/>
              </a:solidFill>
            </a:endParaRPr>
          </a:p>
        </p:txBody>
      </p:sp>
      <p:sp>
        <p:nvSpPr>
          <p:cNvPr id="1812" name="TextBox 1811"/>
          <p:cNvSpPr txBox="1"/>
          <p:nvPr/>
        </p:nvSpPr>
        <p:spPr>
          <a:xfrm>
            <a:off x="8512830" y="7130154"/>
            <a:ext cx="3657362" cy="768096"/>
          </a:xfrm>
          <a:prstGeom prst="rect">
            <a:avLst/>
          </a:prstGeom>
          <a:noFill/>
        </p:spPr>
        <p:txBody>
          <a:bodyPr wrap="square" tIns="0" bIns="0" rtlCol="0" anchor="ctr">
            <a:noAutofit/>
          </a:bodyPr>
          <a:lstStyle/>
          <a:p>
            <a:pPr algn="l"/>
            <a:r>
              <a:rPr lang="en-US" sz="2600" b="0">
                <a:solidFill>
                  <a:schemeClr val="tx1"/>
                </a:solidFill>
              </a:rPr>
              <a:t>19</a:t>
            </a:r>
            <a:endParaRPr sz="2600" b="0" dirty="0">
              <a:solidFill>
                <a:schemeClr val="tx1"/>
              </a:solidFill>
            </a:endParaRPr>
          </a:p>
        </p:txBody>
      </p:sp>
      <p:sp>
        <p:nvSpPr>
          <p:cNvPr id="1813" name="TextBox 1812"/>
          <p:cNvSpPr txBox="1"/>
          <p:nvPr/>
        </p:nvSpPr>
        <p:spPr>
          <a:xfrm>
            <a:off x="12191204" y="7130154"/>
            <a:ext cx="3657362" cy="768096"/>
          </a:xfrm>
          <a:prstGeom prst="rect">
            <a:avLst/>
          </a:prstGeom>
          <a:noFill/>
        </p:spPr>
        <p:txBody>
          <a:bodyPr wrap="square" tIns="0" bIns="0" rtlCol="0" anchor="ctr">
            <a:noAutofit/>
          </a:bodyPr>
          <a:lstStyle/>
          <a:p>
            <a:pPr algn="l"/>
            <a:r>
              <a:rPr lang="en-US" sz="2600" b="0" dirty="0">
                <a:solidFill>
                  <a:schemeClr val="tx1"/>
                </a:solidFill>
              </a:rPr>
              <a:t>20</a:t>
            </a:r>
            <a:endParaRPr sz="2600" b="0" dirty="0">
              <a:solidFill>
                <a:schemeClr val="tx1"/>
              </a:solidFill>
            </a:endParaRPr>
          </a:p>
        </p:txBody>
      </p:sp>
      <p:sp>
        <p:nvSpPr>
          <p:cNvPr id="1814" name="TextBox 1813"/>
          <p:cNvSpPr txBox="1"/>
          <p:nvPr/>
        </p:nvSpPr>
        <p:spPr>
          <a:xfrm>
            <a:off x="15925635" y="7130154"/>
            <a:ext cx="3657362" cy="768096"/>
          </a:xfrm>
          <a:prstGeom prst="rect">
            <a:avLst/>
          </a:prstGeom>
          <a:noFill/>
        </p:spPr>
        <p:txBody>
          <a:bodyPr wrap="square" tIns="0" bIns="0" rtlCol="0" anchor="ctr">
            <a:noAutofit/>
          </a:bodyPr>
          <a:lstStyle/>
          <a:p>
            <a:pPr algn="l"/>
            <a:r>
              <a:rPr lang="en-US" sz="2600" b="0" dirty="0">
                <a:solidFill>
                  <a:schemeClr val="tx1"/>
                </a:solidFill>
              </a:rPr>
              <a:t>21</a:t>
            </a:r>
            <a:endParaRPr sz="2600" b="0" dirty="0">
              <a:solidFill>
                <a:schemeClr val="tx1"/>
              </a:solidFill>
            </a:endParaRPr>
          </a:p>
        </p:txBody>
      </p:sp>
      <p:sp>
        <p:nvSpPr>
          <p:cNvPr id="1815" name="TextBox 1814"/>
          <p:cNvSpPr txBox="1"/>
          <p:nvPr/>
        </p:nvSpPr>
        <p:spPr>
          <a:xfrm>
            <a:off x="19649854" y="7130154"/>
            <a:ext cx="3657362" cy="768096"/>
          </a:xfrm>
          <a:prstGeom prst="rect">
            <a:avLst/>
          </a:prstGeom>
          <a:noFill/>
        </p:spPr>
        <p:txBody>
          <a:bodyPr wrap="square" tIns="0" bIns="0" rtlCol="0" anchor="ctr">
            <a:noAutofit/>
          </a:bodyPr>
          <a:lstStyle/>
          <a:p>
            <a:pPr algn="l"/>
            <a:r>
              <a:rPr lang="en-US" sz="2600" b="0" dirty="0">
                <a:solidFill>
                  <a:schemeClr val="tx1"/>
                </a:solidFill>
              </a:rPr>
              <a:t>22/23</a:t>
            </a:r>
            <a:endParaRPr sz="2600" b="0" dirty="0">
              <a:solidFill>
                <a:schemeClr val="tx1"/>
              </a:solidFill>
            </a:endParaRPr>
          </a:p>
        </p:txBody>
      </p:sp>
      <p:sp>
        <p:nvSpPr>
          <p:cNvPr id="1816" name="TextBox 1815"/>
          <p:cNvSpPr txBox="1"/>
          <p:nvPr/>
        </p:nvSpPr>
        <p:spPr>
          <a:xfrm>
            <a:off x="1093025" y="8958954"/>
            <a:ext cx="3657362" cy="768096"/>
          </a:xfrm>
          <a:prstGeom prst="rect">
            <a:avLst/>
          </a:prstGeom>
          <a:noFill/>
        </p:spPr>
        <p:txBody>
          <a:bodyPr wrap="square" tIns="0" bIns="0" rtlCol="0" anchor="ctr">
            <a:noAutofit/>
          </a:bodyPr>
          <a:lstStyle/>
          <a:p>
            <a:pPr algn="l"/>
            <a:r>
              <a:rPr lang="en-US" sz="2600" b="0" dirty="0">
                <a:solidFill>
                  <a:schemeClr val="tx1"/>
                </a:solidFill>
              </a:rPr>
              <a:t>24</a:t>
            </a:r>
            <a:endParaRPr sz="2600" b="0" dirty="0">
              <a:solidFill>
                <a:schemeClr val="tx1"/>
              </a:solidFill>
            </a:endParaRPr>
          </a:p>
        </p:txBody>
      </p:sp>
      <p:sp>
        <p:nvSpPr>
          <p:cNvPr id="1817" name="TextBox 1816"/>
          <p:cNvSpPr txBox="1"/>
          <p:nvPr/>
        </p:nvSpPr>
        <p:spPr>
          <a:xfrm>
            <a:off x="4764373" y="8958954"/>
            <a:ext cx="3657362" cy="768096"/>
          </a:xfrm>
          <a:prstGeom prst="rect">
            <a:avLst/>
          </a:prstGeom>
          <a:noFill/>
        </p:spPr>
        <p:txBody>
          <a:bodyPr wrap="square" tIns="0" bIns="0" rtlCol="0" anchor="ctr">
            <a:noAutofit/>
          </a:bodyPr>
          <a:lstStyle/>
          <a:p>
            <a:pPr algn="l"/>
            <a:r>
              <a:rPr lang="en-US" sz="2600" b="0" dirty="0">
                <a:solidFill>
                  <a:schemeClr val="tx1"/>
                </a:solidFill>
              </a:rPr>
              <a:t>25</a:t>
            </a:r>
            <a:endParaRPr sz="2600" b="0" dirty="0">
              <a:solidFill>
                <a:schemeClr val="tx1"/>
              </a:solidFill>
            </a:endParaRPr>
          </a:p>
        </p:txBody>
      </p:sp>
      <p:sp>
        <p:nvSpPr>
          <p:cNvPr id="1818" name="TextBox 1817"/>
          <p:cNvSpPr txBox="1"/>
          <p:nvPr/>
        </p:nvSpPr>
        <p:spPr>
          <a:xfrm>
            <a:off x="8512830" y="8958954"/>
            <a:ext cx="3657362" cy="768096"/>
          </a:xfrm>
          <a:prstGeom prst="rect">
            <a:avLst/>
          </a:prstGeom>
          <a:noFill/>
        </p:spPr>
        <p:txBody>
          <a:bodyPr wrap="square" tIns="0" bIns="0" rtlCol="0" anchor="ctr">
            <a:noAutofit/>
          </a:bodyPr>
          <a:lstStyle>
            <a:defPPr>
              <a:defRPr lang="en-US"/>
            </a:defPPr>
            <a:lvl1pPr>
              <a:defRPr sz="1300" b="0"/>
            </a:lvl1pPr>
          </a:lstStyle>
          <a:p>
            <a:pPr lvl="0"/>
            <a:r>
              <a:rPr lang="en-US" sz="2600" dirty="0"/>
              <a:t>26</a:t>
            </a:r>
            <a:endParaRPr sz="2600" dirty="0"/>
          </a:p>
        </p:txBody>
      </p:sp>
      <p:sp>
        <p:nvSpPr>
          <p:cNvPr id="1819" name="TextBox 1818"/>
          <p:cNvSpPr txBox="1"/>
          <p:nvPr/>
        </p:nvSpPr>
        <p:spPr>
          <a:xfrm>
            <a:off x="12191204" y="8958954"/>
            <a:ext cx="3657362" cy="768096"/>
          </a:xfrm>
          <a:prstGeom prst="rect">
            <a:avLst/>
          </a:prstGeom>
          <a:noFill/>
        </p:spPr>
        <p:txBody>
          <a:bodyPr wrap="square" tIns="0" bIns="0" rtlCol="0" anchor="ctr">
            <a:noAutofit/>
          </a:bodyPr>
          <a:lstStyle>
            <a:defPPr>
              <a:defRPr lang="en-US"/>
            </a:defPPr>
            <a:lvl1pPr>
              <a:defRPr sz="1300" b="0"/>
            </a:lvl1pPr>
          </a:lstStyle>
          <a:p>
            <a:pPr lvl="0"/>
            <a:r>
              <a:rPr lang="en-US" sz="2600" dirty="0"/>
              <a:t>27</a:t>
            </a:r>
            <a:endParaRPr sz="2600" dirty="0"/>
          </a:p>
        </p:txBody>
      </p:sp>
      <p:sp>
        <p:nvSpPr>
          <p:cNvPr id="1820" name="TextBox 1819"/>
          <p:cNvSpPr txBox="1"/>
          <p:nvPr/>
        </p:nvSpPr>
        <p:spPr>
          <a:xfrm>
            <a:off x="15925635" y="8958954"/>
            <a:ext cx="3657362" cy="768096"/>
          </a:xfrm>
          <a:prstGeom prst="rect">
            <a:avLst/>
          </a:prstGeom>
          <a:noFill/>
        </p:spPr>
        <p:txBody>
          <a:bodyPr wrap="square" tIns="0" bIns="0" rtlCol="0" anchor="ctr">
            <a:noAutofit/>
          </a:bodyPr>
          <a:lstStyle>
            <a:defPPr>
              <a:defRPr lang="en-US"/>
            </a:defPPr>
            <a:lvl1pPr lvl="0">
              <a:defRPr sz="1300" b="0"/>
            </a:lvl1pPr>
          </a:lstStyle>
          <a:p>
            <a:pPr lvl="0"/>
            <a:r>
              <a:rPr lang="en-US" sz="2600" dirty="0"/>
              <a:t>28</a:t>
            </a:r>
            <a:endParaRPr sz="2600" dirty="0"/>
          </a:p>
        </p:txBody>
      </p:sp>
      <p:sp>
        <p:nvSpPr>
          <p:cNvPr id="1821" name="TextBox 1820"/>
          <p:cNvSpPr txBox="1"/>
          <p:nvPr/>
        </p:nvSpPr>
        <p:spPr>
          <a:xfrm>
            <a:off x="19649854" y="8958954"/>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800" b="0" dirty="0">
                <a:solidFill>
                  <a:schemeClr val="tx1"/>
                </a:solidFill>
              </a:rPr>
              <a:t>29/30</a:t>
            </a:r>
            <a:endParaRPr sz="2600" b="0" dirty="0">
              <a:solidFill>
                <a:schemeClr val="bg2">
                  <a:lumMod val="90000"/>
                </a:schemeClr>
              </a:solidFill>
            </a:endParaRPr>
          </a:p>
        </p:txBody>
      </p:sp>
      <p:sp>
        <p:nvSpPr>
          <p:cNvPr id="1828" name="TextBox 1827"/>
          <p:cNvSpPr txBox="1"/>
          <p:nvPr/>
        </p:nvSpPr>
        <p:spPr>
          <a:xfrm>
            <a:off x="956671" y="304800"/>
            <a:ext cx="22350545" cy="1398084"/>
          </a:xfrm>
          <a:prstGeom prst="rect">
            <a:avLst/>
          </a:prstGeom>
          <a:noFill/>
        </p:spPr>
        <p:txBody>
          <a:bodyPr wrap="square" tIns="0" bIns="0" rtlCol="0" anchor="ctr">
            <a:noAutofit/>
          </a:bodyPr>
          <a:lstStyle/>
          <a:p>
            <a:pPr algn="l"/>
            <a:r>
              <a:rPr lang="en-US" sz="4400" b="0" dirty="0">
                <a:solidFill>
                  <a:schemeClr val="accent1"/>
                </a:solidFill>
              </a:rPr>
              <a:t>J</a:t>
            </a:r>
            <a:r>
              <a:rPr sz="4400" b="0" dirty="0">
                <a:solidFill>
                  <a:schemeClr val="accent1"/>
                </a:solidFill>
              </a:rPr>
              <a:t>une</a:t>
            </a:r>
          </a:p>
        </p:txBody>
      </p:sp>
      <p:sp>
        <p:nvSpPr>
          <p:cNvPr id="69" name="TextBox 68"/>
          <p:cNvSpPr txBox="1"/>
          <p:nvPr/>
        </p:nvSpPr>
        <p:spPr>
          <a:xfrm>
            <a:off x="1093025" y="10806042"/>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1 July</a:t>
            </a:r>
            <a:endParaRPr sz="2600" b="0" dirty="0">
              <a:solidFill>
                <a:schemeClr val="bg2">
                  <a:lumMod val="90000"/>
                </a:schemeClr>
              </a:solidFill>
            </a:endParaRPr>
          </a:p>
        </p:txBody>
      </p:sp>
      <p:sp>
        <p:nvSpPr>
          <p:cNvPr id="70" name="TextBox 69"/>
          <p:cNvSpPr txBox="1"/>
          <p:nvPr/>
        </p:nvSpPr>
        <p:spPr>
          <a:xfrm>
            <a:off x="4764373" y="10806042"/>
            <a:ext cx="3657362" cy="768096"/>
          </a:xfrm>
          <a:prstGeom prst="rect">
            <a:avLst/>
          </a:prstGeom>
          <a:noFill/>
        </p:spPr>
        <p:txBody>
          <a:bodyPr wrap="square" tIns="0" bIns="0" rtlCol="0" anchor="ctr">
            <a:noAutofit/>
          </a:bodyPr>
          <a:lstStyle/>
          <a:p>
            <a:pPr marL="0" marR="0" indent="0" algn="l" defTabSz="1828800" rtl="0" eaLnBrk="1" fontAlgn="auto" latinLnBrk="0" hangingPunct="1">
              <a:lnSpc>
                <a:spcPct val="100000"/>
              </a:lnSpc>
              <a:spcBef>
                <a:spcPts val="0"/>
              </a:spcBef>
              <a:spcAft>
                <a:spcPts val="0"/>
              </a:spcAft>
              <a:buClrTx/>
              <a:buSzTx/>
              <a:buFontTx/>
              <a:buNone/>
              <a:tabLst/>
              <a:defRPr/>
            </a:pPr>
            <a:r>
              <a:rPr lang="en-US" sz="2600" b="0">
                <a:solidFill>
                  <a:schemeClr val="bg2">
                    <a:lumMod val="90000"/>
                  </a:schemeClr>
                </a:solidFill>
              </a:rPr>
              <a:t>2</a:t>
            </a:r>
            <a:endParaRPr lang="en-US" sz="2600" b="0" dirty="0">
              <a:solidFill>
                <a:schemeClr val="bg2">
                  <a:lumMod val="90000"/>
                </a:schemeClr>
              </a:solidFill>
            </a:endParaRPr>
          </a:p>
        </p:txBody>
      </p:sp>
      <p:sp>
        <p:nvSpPr>
          <p:cNvPr id="71" name="TextBox 70"/>
          <p:cNvSpPr txBox="1"/>
          <p:nvPr/>
        </p:nvSpPr>
        <p:spPr>
          <a:xfrm>
            <a:off x="8512833" y="10806042"/>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3</a:t>
            </a:r>
            <a:endParaRPr sz="2600" b="0" dirty="0">
              <a:solidFill>
                <a:schemeClr val="bg2">
                  <a:lumMod val="90000"/>
                </a:schemeClr>
              </a:solidFill>
            </a:endParaRPr>
          </a:p>
        </p:txBody>
      </p:sp>
      <p:sp>
        <p:nvSpPr>
          <p:cNvPr id="72" name="TextBox 71"/>
          <p:cNvSpPr txBox="1"/>
          <p:nvPr/>
        </p:nvSpPr>
        <p:spPr>
          <a:xfrm>
            <a:off x="12191204" y="10806042"/>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4</a:t>
            </a:r>
            <a:endParaRPr sz="2600" b="0" dirty="0">
              <a:solidFill>
                <a:schemeClr val="bg2">
                  <a:lumMod val="90000"/>
                </a:schemeClr>
              </a:solidFill>
            </a:endParaRPr>
          </a:p>
        </p:txBody>
      </p:sp>
      <p:sp>
        <p:nvSpPr>
          <p:cNvPr id="73" name="TextBox 72"/>
          <p:cNvSpPr txBox="1"/>
          <p:nvPr/>
        </p:nvSpPr>
        <p:spPr>
          <a:xfrm>
            <a:off x="15925635" y="10806042"/>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5</a:t>
            </a:r>
            <a:endParaRPr sz="2600" b="0" dirty="0">
              <a:solidFill>
                <a:schemeClr val="bg2">
                  <a:lumMod val="90000"/>
                </a:schemeClr>
              </a:solidFill>
            </a:endParaRPr>
          </a:p>
        </p:txBody>
      </p:sp>
      <p:sp>
        <p:nvSpPr>
          <p:cNvPr id="74" name="TextBox 73"/>
          <p:cNvSpPr txBox="1"/>
          <p:nvPr/>
        </p:nvSpPr>
        <p:spPr>
          <a:xfrm>
            <a:off x="19649854" y="10806042"/>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6/7</a:t>
            </a:r>
            <a:endParaRPr sz="2600" b="0" dirty="0">
              <a:solidFill>
                <a:schemeClr val="bg2">
                  <a:lumMod val="90000"/>
                </a:schemeClr>
              </a:solidFill>
            </a:endParaRPr>
          </a:p>
        </p:txBody>
      </p:sp>
      <p:sp>
        <p:nvSpPr>
          <p:cNvPr id="34" name="Text Placeholder 2"/>
          <p:cNvSpPr>
            <a:spLocks noGrp="1"/>
          </p:cNvSpPr>
          <p:nvPr>
            <p:ph type="body" sz="quarter" idx="11" hasCustomPrompt="1"/>
          </p:nvPr>
        </p:nvSpPr>
        <p:spPr>
          <a:xfrm>
            <a:off x="1048444" y="22106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0" name="Text Placeholder 2"/>
          <p:cNvSpPr>
            <a:spLocks noGrp="1"/>
          </p:cNvSpPr>
          <p:nvPr>
            <p:ph type="body" sz="quarter" idx="17" hasCustomPrompt="1"/>
          </p:nvPr>
        </p:nvSpPr>
        <p:spPr>
          <a:xfrm>
            <a:off x="4764373" y="22106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6" name="Text Placeholder 2"/>
          <p:cNvSpPr>
            <a:spLocks noGrp="1"/>
          </p:cNvSpPr>
          <p:nvPr>
            <p:ph type="body" sz="quarter" idx="23" hasCustomPrompt="1"/>
          </p:nvPr>
        </p:nvSpPr>
        <p:spPr>
          <a:xfrm>
            <a:off x="8485080" y="22106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2" name="Text Placeholder 2"/>
          <p:cNvSpPr>
            <a:spLocks noGrp="1"/>
          </p:cNvSpPr>
          <p:nvPr>
            <p:ph type="body" sz="quarter" idx="29" hasCustomPrompt="1"/>
          </p:nvPr>
        </p:nvSpPr>
        <p:spPr>
          <a:xfrm>
            <a:off x="12191204" y="22106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8" name="Text Placeholder 2"/>
          <p:cNvSpPr>
            <a:spLocks noGrp="1"/>
          </p:cNvSpPr>
          <p:nvPr>
            <p:ph type="body" sz="quarter" idx="35" hasCustomPrompt="1"/>
          </p:nvPr>
        </p:nvSpPr>
        <p:spPr>
          <a:xfrm>
            <a:off x="15925636" y="22106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4" name="Text Placeholder 2"/>
          <p:cNvSpPr>
            <a:spLocks noGrp="1"/>
          </p:cNvSpPr>
          <p:nvPr>
            <p:ph type="body" sz="quarter" idx="41" hasCustomPrompt="1"/>
          </p:nvPr>
        </p:nvSpPr>
        <p:spPr>
          <a:xfrm>
            <a:off x="19676607" y="22106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3" name="Text Placeholder 2"/>
          <p:cNvSpPr>
            <a:spLocks noGrp="1"/>
          </p:cNvSpPr>
          <p:nvPr>
            <p:ph type="body" sz="quarter" idx="10" hasCustomPrompt="1"/>
          </p:nvPr>
        </p:nvSpPr>
        <p:spPr>
          <a:xfrm>
            <a:off x="1048444" y="40394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9" name="Text Placeholder 2"/>
          <p:cNvSpPr>
            <a:spLocks noGrp="1"/>
          </p:cNvSpPr>
          <p:nvPr>
            <p:ph type="body" sz="quarter" idx="16" hasCustomPrompt="1"/>
          </p:nvPr>
        </p:nvSpPr>
        <p:spPr>
          <a:xfrm>
            <a:off x="4764373" y="40394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5" name="Text Placeholder 2"/>
          <p:cNvSpPr>
            <a:spLocks noGrp="1"/>
          </p:cNvSpPr>
          <p:nvPr>
            <p:ph type="body" sz="quarter" idx="22" hasCustomPrompt="1"/>
          </p:nvPr>
        </p:nvSpPr>
        <p:spPr>
          <a:xfrm>
            <a:off x="8485080" y="40394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1" name="Text Placeholder 2"/>
          <p:cNvSpPr>
            <a:spLocks noGrp="1"/>
          </p:cNvSpPr>
          <p:nvPr>
            <p:ph type="body" sz="quarter" idx="28" hasCustomPrompt="1"/>
          </p:nvPr>
        </p:nvSpPr>
        <p:spPr>
          <a:xfrm>
            <a:off x="12191204" y="40394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7" name="Text Placeholder 2"/>
          <p:cNvSpPr>
            <a:spLocks noGrp="1"/>
          </p:cNvSpPr>
          <p:nvPr>
            <p:ph type="body" sz="quarter" idx="34" hasCustomPrompt="1"/>
          </p:nvPr>
        </p:nvSpPr>
        <p:spPr>
          <a:xfrm>
            <a:off x="15925636" y="40394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3" name="Text Placeholder 2"/>
          <p:cNvSpPr>
            <a:spLocks noGrp="1"/>
          </p:cNvSpPr>
          <p:nvPr>
            <p:ph type="body" sz="quarter" idx="40" hasCustomPrompt="1"/>
          </p:nvPr>
        </p:nvSpPr>
        <p:spPr>
          <a:xfrm>
            <a:off x="19676607" y="40394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5" name="Text Placeholder 2"/>
          <p:cNvSpPr>
            <a:spLocks noGrp="1"/>
          </p:cNvSpPr>
          <p:nvPr>
            <p:ph type="body" sz="quarter" idx="12" hasCustomPrompt="1"/>
          </p:nvPr>
        </p:nvSpPr>
        <p:spPr>
          <a:xfrm>
            <a:off x="1048444" y="58682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1" name="Text Placeholder 2"/>
          <p:cNvSpPr>
            <a:spLocks noGrp="1"/>
          </p:cNvSpPr>
          <p:nvPr>
            <p:ph type="body" sz="quarter" idx="18" hasCustomPrompt="1"/>
          </p:nvPr>
        </p:nvSpPr>
        <p:spPr>
          <a:xfrm>
            <a:off x="4764373" y="58682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7" name="Text Placeholder 2"/>
          <p:cNvSpPr>
            <a:spLocks noGrp="1"/>
          </p:cNvSpPr>
          <p:nvPr>
            <p:ph type="body" sz="quarter" idx="24" hasCustomPrompt="1"/>
          </p:nvPr>
        </p:nvSpPr>
        <p:spPr>
          <a:xfrm>
            <a:off x="8485080" y="58682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3" name="Text Placeholder 2"/>
          <p:cNvSpPr>
            <a:spLocks noGrp="1"/>
          </p:cNvSpPr>
          <p:nvPr>
            <p:ph type="body" sz="quarter" idx="30" hasCustomPrompt="1"/>
          </p:nvPr>
        </p:nvSpPr>
        <p:spPr>
          <a:xfrm>
            <a:off x="12191204" y="58682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9" name="Text Placeholder 2"/>
          <p:cNvSpPr>
            <a:spLocks noGrp="1"/>
          </p:cNvSpPr>
          <p:nvPr>
            <p:ph type="body" sz="quarter" idx="36" hasCustomPrompt="1"/>
          </p:nvPr>
        </p:nvSpPr>
        <p:spPr>
          <a:xfrm>
            <a:off x="15925636" y="58682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5" name="Text Placeholder 2"/>
          <p:cNvSpPr>
            <a:spLocks noGrp="1"/>
          </p:cNvSpPr>
          <p:nvPr>
            <p:ph type="body" sz="quarter" idx="42" hasCustomPrompt="1"/>
          </p:nvPr>
        </p:nvSpPr>
        <p:spPr>
          <a:xfrm>
            <a:off x="19676607" y="58682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6" name="Text Placeholder 2"/>
          <p:cNvSpPr>
            <a:spLocks noGrp="1"/>
          </p:cNvSpPr>
          <p:nvPr>
            <p:ph type="body" sz="quarter" idx="13" hasCustomPrompt="1"/>
          </p:nvPr>
        </p:nvSpPr>
        <p:spPr>
          <a:xfrm>
            <a:off x="1048444" y="76970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2" name="Text Placeholder 2"/>
          <p:cNvSpPr>
            <a:spLocks noGrp="1"/>
          </p:cNvSpPr>
          <p:nvPr>
            <p:ph type="body" sz="quarter" idx="19" hasCustomPrompt="1"/>
          </p:nvPr>
        </p:nvSpPr>
        <p:spPr>
          <a:xfrm>
            <a:off x="4764373" y="76970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8" name="Text Placeholder 2"/>
          <p:cNvSpPr>
            <a:spLocks noGrp="1"/>
          </p:cNvSpPr>
          <p:nvPr>
            <p:ph type="body" sz="quarter" idx="25" hasCustomPrompt="1"/>
          </p:nvPr>
        </p:nvSpPr>
        <p:spPr>
          <a:xfrm>
            <a:off x="8485080" y="76970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4" name="Text Placeholder 2"/>
          <p:cNvSpPr>
            <a:spLocks noGrp="1"/>
          </p:cNvSpPr>
          <p:nvPr>
            <p:ph type="body" sz="quarter" idx="31" hasCustomPrompt="1"/>
          </p:nvPr>
        </p:nvSpPr>
        <p:spPr>
          <a:xfrm>
            <a:off x="12191204" y="76970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0" name="Text Placeholder 2"/>
          <p:cNvSpPr>
            <a:spLocks noGrp="1"/>
          </p:cNvSpPr>
          <p:nvPr>
            <p:ph type="body" sz="quarter" idx="37" hasCustomPrompt="1"/>
          </p:nvPr>
        </p:nvSpPr>
        <p:spPr>
          <a:xfrm>
            <a:off x="15925636" y="76970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6" name="Text Placeholder 2"/>
          <p:cNvSpPr>
            <a:spLocks noGrp="1"/>
          </p:cNvSpPr>
          <p:nvPr>
            <p:ph type="body" sz="quarter" idx="43" hasCustomPrompt="1"/>
          </p:nvPr>
        </p:nvSpPr>
        <p:spPr>
          <a:xfrm>
            <a:off x="19676607" y="76970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7" name="Text Placeholder 2"/>
          <p:cNvSpPr>
            <a:spLocks noGrp="1"/>
          </p:cNvSpPr>
          <p:nvPr>
            <p:ph type="body" sz="quarter" idx="14" hasCustomPrompt="1"/>
          </p:nvPr>
        </p:nvSpPr>
        <p:spPr>
          <a:xfrm>
            <a:off x="1048444" y="95258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3" name="Text Placeholder 2"/>
          <p:cNvSpPr>
            <a:spLocks noGrp="1"/>
          </p:cNvSpPr>
          <p:nvPr>
            <p:ph type="body" sz="quarter" idx="20" hasCustomPrompt="1"/>
          </p:nvPr>
        </p:nvSpPr>
        <p:spPr>
          <a:xfrm>
            <a:off x="4764373" y="95258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9" name="Text Placeholder 2"/>
          <p:cNvSpPr>
            <a:spLocks noGrp="1"/>
          </p:cNvSpPr>
          <p:nvPr>
            <p:ph type="body" sz="quarter" idx="26" hasCustomPrompt="1"/>
          </p:nvPr>
        </p:nvSpPr>
        <p:spPr>
          <a:xfrm>
            <a:off x="8485080" y="95258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5" name="Text Placeholder 2"/>
          <p:cNvSpPr>
            <a:spLocks noGrp="1"/>
          </p:cNvSpPr>
          <p:nvPr>
            <p:ph type="body" sz="quarter" idx="32" hasCustomPrompt="1"/>
          </p:nvPr>
        </p:nvSpPr>
        <p:spPr>
          <a:xfrm>
            <a:off x="12191204" y="95258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1" name="Text Placeholder 2"/>
          <p:cNvSpPr>
            <a:spLocks noGrp="1"/>
          </p:cNvSpPr>
          <p:nvPr>
            <p:ph type="body" sz="quarter" idx="38" hasCustomPrompt="1"/>
          </p:nvPr>
        </p:nvSpPr>
        <p:spPr>
          <a:xfrm>
            <a:off x="15925636" y="95258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7" name="Text Placeholder 2"/>
          <p:cNvSpPr>
            <a:spLocks noGrp="1"/>
          </p:cNvSpPr>
          <p:nvPr>
            <p:ph type="body" sz="quarter" idx="44" hasCustomPrompt="1"/>
          </p:nvPr>
        </p:nvSpPr>
        <p:spPr>
          <a:xfrm>
            <a:off x="19676607" y="9525883"/>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8" name="Text Placeholder 2"/>
          <p:cNvSpPr>
            <a:spLocks noGrp="1"/>
          </p:cNvSpPr>
          <p:nvPr>
            <p:ph type="body" sz="quarter" idx="15" hasCustomPrompt="1"/>
          </p:nvPr>
        </p:nvSpPr>
        <p:spPr>
          <a:xfrm>
            <a:off x="1048444" y="1137297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4" name="Text Placeholder 2"/>
          <p:cNvSpPr>
            <a:spLocks noGrp="1"/>
          </p:cNvSpPr>
          <p:nvPr>
            <p:ph type="body" sz="quarter" idx="21" hasCustomPrompt="1"/>
          </p:nvPr>
        </p:nvSpPr>
        <p:spPr>
          <a:xfrm>
            <a:off x="4764373" y="1137297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0" name="Text Placeholder 2"/>
          <p:cNvSpPr>
            <a:spLocks noGrp="1"/>
          </p:cNvSpPr>
          <p:nvPr>
            <p:ph type="body" sz="quarter" idx="27" hasCustomPrompt="1"/>
          </p:nvPr>
        </p:nvSpPr>
        <p:spPr>
          <a:xfrm>
            <a:off x="8485080" y="1137297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6" name="Text Placeholder 2"/>
          <p:cNvSpPr>
            <a:spLocks noGrp="1"/>
          </p:cNvSpPr>
          <p:nvPr>
            <p:ph type="body" sz="quarter" idx="33" hasCustomPrompt="1"/>
          </p:nvPr>
        </p:nvSpPr>
        <p:spPr>
          <a:xfrm>
            <a:off x="12191204" y="1137297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2" name="Text Placeholder 2"/>
          <p:cNvSpPr>
            <a:spLocks noGrp="1"/>
          </p:cNvSpPr>
          <p:nvPr>
            <p:ph type="body" sz="quarter" idx="39" hasCustomPrompt="1"/>
          </p:nvPr>
        </p:nvSpPr>
        <p:spPr>
          <a:xfrm>
            <a:off x="15925636" y="1137297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8" name="Text Placeholder 2"/>
          <p:cNvSpPr>
            <a:spLocks noGrp="1"/>
          </p:cNvSpPr>
          <p:nvPr>
            <p:ph type="body" sz="quarter" idx="45" hasCustomPrompt="1"/>
          </p:nvPr>
        </p:nvSpPr>
        <p:spPr>
          <a:xfrm>
            <a:off x="19676607" y="1137297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8" name="TextBox 77">
            <a:extLst>
              <a:ext uri="{FF2B5EF4-FFF2-40B4-BE49-F238E27FC236}">
                <a16:creationId xmlns:a16="http://schemas.microsoft.com/office/drawing/2014/main" id="{3757BB9B-B5B9-1E43-905E-4FB5BD02AF64}"/>
              </a:ext>
            </a:extLst>
          </p:cNvPr>
          <p:cNvSpPr txBox="1"/>
          <p:nvPr userDrawn="1"/>
        </p:nvSpPr>
        <p:spPr>
          <a:xfrm>
            <a:off x="954662" y="1399713"/>
            <a:ext cx="1638300" cy="461665"/>
          </a:xfrm>
          <a:prstGeom prst="rect">
            <a:avLst/>
          </a:prstGeom>
          <a:noFill/>
        </p:spPr>
        <p:txBody>
          <a:bodyPr wrap="square" rtlCol="0">
            <a:spAutoFit/>
          </a:bodyPr>
          <a:lstStyle/>
          <a:p>
            <a:r>
              <a:rPr lang="en-US" sz="2400" b="1" dirty="0">
                <a:solidFill>
                  <a:schemeClr val="accent1"/>
                </a:solidFill>
              </a:rPr>
              <a:t>Monday</a:t>
            </a:r>
          </a:p>
        </p:txBody>
      </p:sp>
      <p:sp>
        <p:nvSpPr>
          <p:cNvPr id="79" name="TextBox 78">
            <a:extLst>
              <a:ext uri="{FF2B5EF4-FFF2-40B4-BE49-F238E27FC236}">
                <a16:creationId xmlns:a16="http://schemas.microsoft.com/office/drawing/2014/main" id="{AE692ADD-4524-E642-972E-4C7FC6199D94}"/>
              </a:ext>
            </a:extLst>
          </p:cNvPr>
          <p:cNvSpPr txBox="1"/>
          <p:nvPr userDrawn="1"/>
        </p:nvSpPr>
        <p:spPr>
          <a:xfrm>
            <a:off x="4688462" y="1399713"/>
            <a:ext cx="1638300" cy="461665"/>
          </a:xfrm>
          <a:prstGeom prst="rect">
            <a:avLst/>
          </a:prstGeom>
          <a:noFill/>
        </p:spPr>
        <p:txBody>
          <a:bodyPr wrap="square" rtlCol="0">
            <a:spAutoFit/>
          </a:bodyPr>
          <a:lstStyle/>
          <a:p>
            <a:r>
              <a:rPr lang="en-US" sz="2400" b="1" dirty="0">
                <a:solidFill>
                  <a:schemeClr val="accent1"/>
                </a:solidFill>
              </a:rPr>
              <a:t>Tuesday</a:t>
            </a:r>
          </a:p>
        </p:txBody>
      </p:sp>
      <p:sp>
        <p:nvSpPr>
          <p:cNvPr id="80" name="TextBox 79">
            <a:extLst>
              <a:ext uri="{FF2B5EF4-FFF2-40B4-BE49-F238E27FC236}">
                <a16:creationId xmlns:a16="http://schemas.microsoft.com/office/drawing/2014/main" id="{130566B0-CA5F-FD46-B6EC-BE3248FEB286}"/>
              </a:ext>
            </a:extLst>
          </p:cNvPr>
          <p:cNvSpPr txBox="1"/>
          <p:nvPr userDrawn="1"/>
        </p:nvSpPr>
        <p:spPr>
          <a:xfrm>
            <a:off x="8365112" y="1399713"/>
            <a:ext cx="2741038" cy="461665"/>
          </a:xfrm>
          <a:prstGeom prst="rect">
            <a:avLst/>
          </a:prstGeom>
          <a:noFill/>
        </p:spPr>
        <p:txBody>
          <a:bodyPr wrap="square" rtlCol="0">
            <a:spAutoFit/>
          </a:bodyPr>
          <a:lstStyle/>
          <a:p>
            <a:r>
              <a:rPr lang="en-US" sz="2400" b="1" dirty="0">
                <a:solidFill>
                  <a:schemeClr val="accent1"/>
                </a:solidFill>
              </a:rPr>
              <a:t>Wednesday</a:t>
            </a:r>
          </a:p>
        </p:txBody>
      </p:sp>
      <p:sp>
        <p:nvSpPr>
          <p:cNvPr id="81" name="TextBox 80">
            <a:extLst>
              <a:ext uri="{FF2B5EF4-FFF2-40B4-BE49-F238E27FC236}">
                <a16:creationId xmlns:a16="http://schemas.microsoft.com/office/drawing/2014/main" id="{0E786F1E-7A8B-0C40-B409-7C0ECE4C8FED}"/>
              </a:ext>
            </a:extLst>
          </p:cNvPr>
          <p:cNvSpPr txBox="1"/>
          <p:nvPr userDrawn="1"/>
        </p:nvSpPr>
        <p:spPr>
          <a:xfrm>
            <a:off x="12137012" y="1399713"/>
            <a:ext cx="1638300" cy="461665"/>
          </a:xfrm>
          <a:prstGeom prst="rect">
            <a:avLst/>
          </a:prstGeom>
          <a:noFill/>
        </p:spPr>
        <p:txBody>
          <a:bodyPr wrap="square" rtlCol="0">
            <a:spAutoFit/>
          </a:bodyPr>
          <a:lstStyle/>
          <a:p>
            <a:r>
              <a:rPr lang="en-US" sz="2400" b="1" dirty="0">
                <a:solidFill>
                  <a:schemeClr val="accent1"/>
                </a:solidFill>
              </a:rPr>
              <a:t>Thursday</a:t>
            </a:r>
          </a:p>
        </p:txBody>
      </p:sp>
      <p:sp>
        <p:nvSpPr>
          <p:cNvPr id="82" name="TextBox 81">
            <a:extLst>
              <a:ext uri="{FF2B5EF4-FFF2-40B4-BE49-F238E27FC236}">
                <a16:creationId xmlns:a16="http://schemas.microsoft.com/office/drawing/2014/main" id="{3985870C-68BE-AA43-ADBC-C25F60C9274D}"/>
              </a:ext>
            </a:extLst>
          </p:cNvPr>
          <p:cNvSpPr txBox="1"/>
          <p:nvPr userDrawn="1"/>
        </p:nvSpPr>
        <p:spPr>
          <a:xfrm>
            <a:off x="15870812" y="1399713"/>
            <a:ext cx="1638300" cy="461665"/>
          </a:xfrm>
          <a:prstGeom prst="rect">
            <a:avLst/>
          </a:prstGeom>
          <a:noFill/>
        </p:spPr>
        <p:txBody>
          <a:bodyPr wrap="square" rtlCol="0">
            <a:spAutoFit/>
          </a:bodyPr>
          <a:lstStyle/>
          <a:p>
            <a:r>
              <a:rPr lang="en-US" sz="2400" b="1" dirty="0">
                <a:solidFill>
                  <a:schemeClr val="accent1"/>
                </a:solidFill>
              </a:rPr>
              <a:t>Friday</a:t>
            </a:r>
          </a:p>
        </p:txBody>
      </p:sp>
      <p:sp>
        <p:nvSpPr>
          <p:cNvPr id="83" name="TextBox 82">
            <a:extLst>
              <a:ext uri="{FF2B5EF4-FFF2-40B4-BE49-F238E27FC236}">
                <a16:creationId xmlns:a16="http://schemas.microsoft.com/office/drawing/2014/main" id="{C70F382F-C614-AE4B-AF4B-EA84AFC69630}"/>
              </a:ext>
            </a:extLst>
          </p:cNvPr>
          <p:cNvSpPr txBox="1"/>
          <p:nvPr userDrawn="1"/>
        </p:nvSpPr>
        <p:spPr>
          <a:xfrm>
            <a:off x="19585562" y="1399713"/>
            <a:ext cx="1638300" cy="461665"/>
          </a:xfrm>
          <a:prstGeom prst="rect">
            <a:avLst/>
          </a:prstGeom>
          <a:noFill/>
        </p:spPr>
        <p:txBody>
          <a:bodyPr wrap="square" rtlCol="0">
            <a:spAutoFit/>
          </a:bodyPr>
          <a:lstStyle/>
          <a:p>
            <a:r>
              <a:rPr lang="en-US" sz="2400" b="1" dirty="0">
                <a:solidFill>
                  <a:schemeClr val="accent1"/>
                </a:solidFill>
              </a:rPr>
              <a:t>Sunday</a:t>
            </a:r>
          </a:p>
        </p:txBody>
      </p:sp>
    </p:spTree>
    <p:extLst>
      <p:ext uri="{BB962C8B-B14F-4D97-AF65-F5344CB8AC3E}">
        <p14:creationId xmlns:p14="http://schemas.microsoft.com/office/powerpoint/2010/main" val="33955244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Content Placeholder 7">
            <a:extLst>
              <a:ext uri="{FF2B5EF4-FFF2-40B4-BE49-F238E27FC236}">
                <a16:creationId xmlns:a16="http://schemas.microsoft.com/office/drawing/2014/main" id="{C525506F-9404-FE4D-9440-9C7D6F14FD5C}"/>
              </a:ext>
            </a:extLst>
          </p:cNvPr>
          <p:cNvSpPr>
            <a:spLocks noGrp="1"/>
          </p:cNvSpPr>
          <p:nvPr>
            <p:ph sz="quarter" idx="10"/>
          </p:nvPr>
        </p:nvSpPr>
        <p:spPr>
          <a:xfrm>
            <a:off x="1257300" y="2860675"/>
            <a:ext cx="21863051" cy="94710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2083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July 2019">
    <p:spTree>
      <p:nvGrpSpPr>
        <p:cNvPr id="1" name=""/>
        <p:cNvGrpSpPr/>
        <p:nvPr/>
      </p:nvGrpSpPr>
      <p:grpSpPr>
        <a:xfrm>
          <a:off x="0" y="0"/>
          <a:ext cx="0" cy="0"/>
          <a:chOff x="0" y="0"/>
          <a:chExt cx="0" cy="0"/>
        </a:xfrm>
      </p:grpSpPr>
      <p:sp>
        <p:nvSpPr>
          <p:cNvPr id="1792" name="TextBox 1791"/>
          <p:cNvSpPr txBox="1"/>
          <p:nvPr/>
        </p:nvSpPr>
        <p:spPr>
          <a:xfrm>
            <a:off x="1093019" y="1645734"/>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kern="1200" cap="none" spc="0" dirty="0">
                <a:ln w="0"/>
                <a:solidFill>
                  <a:schemeClr val="tx1"/>
                </a:solidFill>
                <a:effectLst>
                  <a:outerShdw blurRad="38100" dist="19050" dir="2700000" algn="tl" rotWithShape="0">
                    <a:schemeClr val="dk1">
                      <a:alpha val="40000"/>
                    </a:schemeClr>
                  </a:outerShdw>
                </a:effectLst>
                <a:latin typeface="+mn-lt"/>
                <a:ea typeface="+mn-ea"/>
                <a:cs typeface="+mn-cs"/>
              </a:rPr>
              <a:t>1 July</a:t>
            </a:r>
            <a:endParaRPr sz="2600" b="0" kern="1200" cap="none" spc="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793" name="TextBox 1792"/>
          <p:cNvSpPr txBox="1"/>
          <p:nvPr/>
        </p:nvSpPr>
        <p:spPr>
          <a:xfrm>
            <a:off x="4764373" y="1645734"/>
            <a:ext cx="3657362" cy="768096"/>
          </a:xfrm>
          <a:prstGeom prst="rect">
            <a:avLst/>
          </a:prstGeom>
          <a:noFill/>
        </p:spPr>
        <p:txBody>
          <a:bodyPr wrap="square" tIns="0" bIns="0" rtlCol="0" anchor="ctr">
            <a:noAutofit/>
          </a:bodyPr>
          <a:lstStyle/>
          <a:p>
            <a:pPr algn="l"/>
            <a:r>
              <a:rPr lang="en-US" sz="2600" b="0" dirty="0">
                <a:solidFill>
                  <a:schemeClr val="tx1"/>
                </a:solidFill>
              </a:rPr>
              <a:t>2</a:t>
            </a:r>
          </a:p>
        </p:txBody>
      </p:sp>
      <p:sp>
        <p:nvSpPr>
          <p:cNvPr id="1794" name="TextBox 1793"/>
          <p:cNvSpPr txBox="1"/>
          <p:nvPr/>
        </p:nvSpPr>
        <p:spPr>
          <a:xfrm>
            <a:off x="8512830" y="1645734"/>
            <a:ext cx="3657362" cy="768096"/>
          </a:xfrm>
          <a:prstGeom prst="rect">
            <a:avLst/>
          </a:prstGeom>
          <a:noFill/>
        </p:spPr>
        <p:txBody>
          <a:bodyPr wrap="square" tIns="0" bIns="0" rtlCol="0" anchor="ctr">
            <a:noAutofit/>
          </a:bodyPr>
          <a:lstStyle>
            <a:defPPr>
              <a:defRPr lang="en-US"/>
            </a:defPPr>
            <a:lvl1pPr>
              <a:defRPr sz="1300" b="0">
                <a:solidFill>
                  <a:schemeClr val="bg2">
                    <a:lumMod val="90000"/>
                  </a:schemeClr>
                </a:solidFill>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tx1"/>
                </a:solidFill>
              </a:rPr>
              <a:t>3</a:t>
            </a:r>
          </a:p>
        </p:txBody>
      </p:sp>
      <p:sp>
        <p:nvSpPr>
          <p:cNvPr id="1795" name="TextBox 1794"/>
          <p:cNvSpPr txBox="1"/>
          <p:nvPr userDrawn="1"/>
        </p:nvSpPr>
        <p:spPr>
          <a:xfrm>
            <a:off x="12191204" y="1645734"/>
            <a:ext cx="3657362" cy="768096"/>
          </a:xfrm>
          <a:prstGeom prst="rect">
            <a:avLst/>
          </a:prstGeom>
          <a:noFill/>
        </p:spPr>
        <p:txBody>
          <a:bodyPr wrap="square" tIns="0" bIns="0" rtlCol="0" anchor="ctr">
            <a:noAutofit/>
          </a:bodyPr>
          <a:lstStyle>
            <a:defPPr>
              <a:defRPr lang="en-US"/>
            </a:defPPr>
            <a:lvl1pPr lvl="0">
              <a:defRPr sz="1300" b="0">
                <a:solidFill>
                  <a:schemeClr val="bg2">
                    <a:lumMod val="90000"/>
                  </a:schemeClr>
                </a:solidFill>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tx1"/>
                </a:solidFill>
              </a:rPr>
              <a:t>4</a:t>
            </a:r>
          </a:p>
        </p:txBody>
      </p:sp>
      <p:sp>
        <p:nvSpPr>
          <p:cNvPr id="1796" name="TextBox 1795"/>
          <p:cNvSpPr txBox="1"/>
          <p:nvPr/>
        </p:nvSpPr>
        <p:spPr>
          <a:xfrm>
            <a:off x="15925635" y="1645734"/>
            <a:ext cx="3657362" cy="768096"/>
          </a:xfrm>
          <a:prstGeom prst="rect">
            <a:avLst/>
          </a:prstGeom>
          <a:noFill/>
        </p:spPr>
        <p:txBody>
          <a:bodyPr wrap="square" tIns="0" bIns="0" rtlCol="0" anchor="ctr">
            <a:noAutofit/>
          </a:bodyPr>
          <a:lstStyle>
            <a:defPPr>
              <a:defRPr lang="en-US"/>
            </a:defPPr>
            <a:lvl1pPr lvl="0">
              <a:defRPr sz="1300" b="0">
                <a:solidFill>
                  <a:schemeClr val="bg2">
                    <a:lumMod val="90000"/>
                  </a:schemeClr>
                </a:solidFill>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tx1"/>
                </a:solidFill>
              </a:rPr>
              <a:t>5</a:t>
            </a:r>
          </a:p>
        </p:txBody>
      </p:sp>
      <p:sp>
        <p:nvSpPr>
          <p:cNvPr id="1797" name="TextBox 1796"/>
          <p:cNvSpPr txBox="1"/>
          <p:nvPr/>
        </p:nvSpPr>
        <p:spPr>
          <a:xfrm>
            <a:off x="19649854" y="1645734"/>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tx1"/>
                </a:solidFill>
              </a:rPr>
              <a:t>6/7</a:t>
            </a:r>
          </a:p>
        </p:txBody>
      </p:sp>
      <p:sp>
        <p:nvSpPr>
          <p:cNvPr id="1798" name="TextBox 1797"/>
          <p:cNvSpPr txBox="1"/>
          <p:nvPr/>
        </p:nvSpPr>
        <p:spPr>
          <a:xfrm>
            <a:off x="1093025" y="3475562"/>
            <a:ext cx="3657362" cy="768096"/>
          </a:xfrm>
          <a:prstGeom prst="rect">
            <a:avLst/>
          </a:prstGeom>
          <a:noFill/>
        </p:spPr>
        <p:txBody>
          <a:bodyPr wrap="square" tIns="0" bIns="0" rtlCol="0" anchor="ctr">
            <a:noAutofit/>
          </a:bodyPr>
          <a:lstStyle/>
          <a:p>
            <a:pPr algn="l"/>
            <a:r>
              <a:rPr lang="en-US" sz="2600" b="0" dirty="0">
                <a:solidFill>
                  <a:schemeClr val="tx1"/>
                </a:solidFill>
              </a:rPr>
              <a:t>8</a:t>
            </a:r>
            <a:endParaRPr sz="2600" b="0" dirty="0">
              <a:solidFill>
                <a:schemeClr val="tx1"/>
              </a:solidFill>
            </a:endParaRPr>
          </a:p>
        </p:txBody>
      </p:sp>
      <p:sp>
        <p:nvSpPr>
          <p:cNvPr id="1799" name="TextBox 1798"/>
          <p:cNvSpPr txBox="1"/>
          <p:nvPr/>
        </p:nvSpPr>
        <p:spPr>
          <a:xfrm>
            <a:off x="4764373" y="3475562"/>
            <a:ext cx="3657362" cy="768096"/>
          </a:xfrm>
          <a:prstGeom prst="rect">
            <a:avLst/>
          </a:prstGeom>
          <a:noFill/>
        </p:spPr>
        <p:txBody>
          <a:bodyPr wrap="square" tIns="0" bIns="0" rtlCol="0" anchor="ctr">
            <a:noAutofit/>
          </a:bodyPr>
          <a:lstStyle/>
          <a:p>
            <a:pPr algn="l"/>
            <a:r>
              <a:rPr lang="en-US" sz="2600" b="0" dirty="0">
                <a:solidFill>
                  <a:schemeClr val="tx1"/>
                </a:solidFill>
              </a:rPr>
              <a:t>9</a:t>
            </a:r>
            <a:endParaRPr sz="2600" b="0" dirty="0">
              <a:solidFill>
                <a:schemeClr val="tx1"/>
              </a:solidFill>
            </a:endParaRPr>
          </a:p>
        </p:txBody>
      </p:sp>
      <p:sp>
        <p:nvSpPr>
          <p:cNvPr id="1800" name="TextBox 1799"/>
          <p:cNvSpPr txBox="1"/>
          <p:nvPr/>
        </p:nvSpPr>
        <p:spPr>
          <a:xfrm>
            <a:off x="8512830" y="3475562"/>
            <a:ext cx="3657362" cy="768096"/>
          </a:xfrm>
          <a:prstGeom prst="rect">
            <a:avLst/>
          </a:prstGeom>
          <a:noFill/>
        </p:spPr>
        <p:txBody>
          <a:bodyPr wrap="square" tIns="0" bIns="0" rtlCol="0" anchor="ctr">
            <a:noAutofit/>
          </a:bodyPr>
          <a:lstStyle/>
          <a:p>
            <a:pPr algn="l"/>
            <a:r>
              <a:rPr lang="en-US" sz="2600" b="0" dirty="0">
                <a:solidFill>
                  <a:schemeClr val="tx1"/>
                </a:solidFill>
              </a:rPr>
              <a:t>10</a:t>
            </a:r>
            <a:endParaRPr sz="2600" b="0" dirty="0">
              <a:solidFill>
                <a:schemeClr val="tx1"/>
              </a:solidFill>
            </a:endParaRPr>
          </a:p>
        </p:txBody>
      </p:sp>
      <p:sp>
        <p:nvSpPr>
          <p:cNvPr id="1801" name="TextBox 1800"/>
          <p:cNvSpPr txBox="1"/>
          <p:nvPr/>
        </p:nvSpPr>
        <p:spPr>
          <a:xfrm>
            <a:off x="12191204" y="3475562"/>
            <a:ext cx="3657362" cy="768096"/>
          </a:xfrm>
          <a:prstGeom prst="rect">
            <a:avLst/>
          </a:prstGeom>
          <a:noFill/>
        </p:spPr>
        <p:txBody>
          <a:bodyPr wrap="square" tIns="0" bIns="0" rtlCol="0" anchor="ctr">
            <a:noAutofit/>
          </a:bodyPr>
          <a:lstStyle/>
          <a:p>
            <a:pPr algn="l"/>
            <a:r>
              <a:rPr lang="en-US" sz="2600" b="0" dirty="0">
                <a:solidFill>
                  <a:schemeClr val="tx1"/>
                </a:solidFill>
              </a:rPr>
              <a:t>11</a:t>
            </a:r>
            <a:endParaRPr sz="2600" b="0" dirty="0">
              <a:solidFill>
                <a:schemeClr val="tx1"/>
              </a:solidFill>
            </a:endParaRPr>
          </a:p>
        </p:txBody>
      </p:sp>
      <p:sp>
        <p:nvSpPr>
          <p:cNvPr id="1802" name="TextBox 1801"/>
          <p:cNvSpPr txBox="1"/>
          <p:nvPr/>
        </p:nvSpPr>
        <p:spPr>
          <a:xfrm>
            <a:off x="15925635" y="3475562"/>
            <a:ext cx="3657362" cy="768096"/>
          </a:xfrm>
          <a:prstGeom prst="rect">
            <a:avLst/>
          </a:prstGeom>
          <a:noFill/>
        </p:spPr>
        <p:txBody>
          <a:bodyPr wrap="square" tIns="0" bIns="0" rtlCol="0" anchor="ctr">
            <a:noAutofit/>
          </a:bodyPr>
          <a:lstStyle/>
          <a:p>
            <a:pPr algn="l"/>
            <a:r>
              <a:rPr lang="en-US" sz="2600" b="0" dirty="0">
                <a:solidFill>
                  <a:schemeClr val="tx1"/>
                </a:solidFill>
              </a:rPr>
              <a:t>12</a:t>
            </a:r>
            <a:endParaRPr sz="2600" b="0" dirty="0">
              <a:solidFill>
                <a:schemeClr val="tx1"/>
              </a:solidFill>
            </a:endParaRPr>
          </a:p>
        </p:txBody>
      </p:sp>
      <p:sp>
        <p:nvSpPr>
          <p:cNvPr id="1803" name="TextBox 1802"/>
          <p:cNvSpPr txBox="1"/>
          <p:nvPr/>
        </p:nvSpPr>
        <p:spPr>
          <a:xfrm>
            <a:off x="19649854" y="3475562"/>
            <a:ext cx="3657362" cy="768096"/>
          </a:xfrm>
          <a:prstGeom prst="rect">
            <a:avLst/>
          </a:prstGeom>
          <a:noFill/>
        </p:spPr>
        <p:txBody>
          <a:bodyPr wrap="square" tIns="0" bIns="0" rtlCol="0" anchor="ctr">
            <a:noAutofit/>
          </a:bodyPr>
          <a:lstStyle/>
          <a:p>
            <a:pPr algn="l"/>
            <a:r>
              <a:rPr lang="en-US" sz="2600" b="0" dirty="0">
                <a:solidFill>
                  <a:schemeClr val="tx1"/>
                </a:solidFill>
              </a:rPr>
              <a:t>13/14</a:t>
            </a:r>
            <a:endParaRPr sz="2600" b="0" dirty="0">
              <a:solidFill>
                <a:schemeClr val="tx1"/>
              </a:solidFill>
            </a:endParaRPr>
          </a:p>
        </p:txBody>
      </p:sp>
      <p:sp>
        <p:nvSpPr>
          <p:cNvPr id="1804" name="TextBox 1803"/>
          <p:cNvSpPr txBox="1"/>
          <p:nvPr/>
        </p:nvSpPr>
        <p:spPr>
          <a:xfrm>
            <a:off x="1093025" y="5304362"/>
            <a:ext cx="3657362" cy="768096"/>
          </a:xfrm>
          <a:prstGeom prst="rect">
            <a:avLst/>
          </a:prstGeom>
          <a:noFill/>
        </p:spPr>
        <p:txBody>
          <a:bodyPr wrap="square" tIns="0" bIns="0" rtlCol="0" anchor="ctr">
            <a:noAutofit/>
          </a:bodyPr>
          <a:lstStyle/>
          <a:p>
            <a:pPr algn="l"/>
            <a:r>
              <a:rPr lang="en-US" sz="2600" b="0" dirty="0">
                <a:solidFill>
                  <a:schemeClr val="tx1"/>
                </a:solidFill>
              </a:rPr>
              <a:t>15</a:t>
            </a:r>
            <a:endParaRPr sz="2600" b="0" dirty="0">
              <a:solidFill>
                <a:schemeClr val="tx1"/>
              </a:solidFill>
            </a:endParaRPr>
          </a:p>
        </p:txBody>
      </p:sp>
      <p:sp>
        <p:nvSpPr>
          <p:cNvPr id="1805" name="TextBox 1804"/>
          <p:cNvSpPr txBox="1"/>
          <p:nvPr/>
        </p:nvSpPr>
        <p:spPr>
          <a:xfrm>
            <a:off x="4764373" y="5304362"/>
            <a:ext cx="3657362" cy="768096"/>
          </a:xfrm>
          <a:prstGeom prst="rect">
            <a:avLst/>
          </a:prstGeom>
          <a:noFill/>
        </p:spPr>
        <p:txBody>
          <a:bodyPr wrap="square" tIns="0" bIns="0" rtlCol="0" anchor="ctr">
            <a:noAutofit/>
          </a:bodyPr>
          <a:lstStyle/>
          <a:p>
            <a:pPr algn="l"/>
            <a:r>
              <a:rPr lang="en-US" sz="2600" b="0" dirty="0">
                <a:solidFill>
                  <a:schemeClr val="tx1"/>
                </a:solidFill>
              </a:rPr>
              <a:t>16</a:t>
            </a:r>
            <a:endParaRPr sz="2600" b="0" dirty="0">
              <a:solidFill>
                <a:schemeClr val="tx1"/>
              </a:solidFill>
            </a:endParaRPr>
          </a:p>
        </p:txBody>
      </p:sp>
      <p:sp>
        <p:nvSpPr>
          <p:cNvPr id="1806" name="TextBox 1805"/>
          <p:cNvSpPr txBox="1"/>
          <p:nvPr/>
        </p:nvSpPr>
        <p:spPr>
          <a:xfrm>
            <a:off x="8512830" y="5304362"/>
            <a:ext cx="3657362" cy="768096"/>
          </a:xfrm>
          <a:prstGeom prst="rect">
            <a:avLst/>
          </a:prstGeom>
          <a:noFill/>
        </p:spPr>
        <p:txBody>
          <a:bodyPr wrap="square" tIns="0" bIns="0" rtlCol="0" anchor="ctr">
            <a:noAutofit/>
          </a:bodyPr>
          <a:lstStyle/>
          <a:p>
            <a:pPr algn="l"/>
            <a:r>
              <a:rPr lang="en-US" sz="2600" b="0" dirty="0">
                <a:solidFill>
                  <a:schemeClr val="tx1"/>
                </a:solidFill>
              </a:rPr>
              <a:t>17</a:t>
            </a:r>
            <a:endParaRPr sz="2600" b="0" dirty="0">
              <a:solidFill>
                <a:schemeClr val="tx1"/>
              </a:solidFill>
            </a:endParaRPr>
          </a:p>
        </p:txBody>
      </p:sp>
      <p:sp>
        <p:nvSpPr>
          <p:cNvPr id="1807" name="TextBox 1806"/>
          <p:cNvSpPr txBox="1"/>
          <p:nvPr/>
        </p:nvSpPr>
        <p:spPr>
          <a:xfrm>
            <a:off x="12191204" y="5304362"/>
            <a:ext cx="3657362" cy="768096"/>
          </a:xfrm>
          <a:prstGeom prst="rect">
            <a:avLst/>
          </a:prstGeom>
          <a:noFill/>
        </p:spPr>
        <p:txBody>
          <a:bodyPr wrap="square" tIns="0" bIns="0" rtlCol="0" anchor="ctr">
            <a:noAutofit/>
          </a:bodyPr>
          <a:lstStyle/>
          <a:p>
            <a:pPr algn="l"/>
            <a:r>
              <a:rPr lang="en-US" sz="2600" b="0" dirty="0">
                <a:solidFill>
                  <a:schemeClr val="tx1"/>
                </a:solidFill>
              </a:rPr>
              <a:t>18</a:t>
            </a:r>
            <a:endParaRPr sz="2600" b="0" dirty="0">
              <a:solidFill>
                <a:schemeClr val="tx1"/>
              </a:solidFill>
            </a:endParaRPr>
          </a:p>
        </p:txBody>
      </p:sp>
      <p:sp>
        <p:nvSpPr>
          <p:cNvPr id="1808" name="TextBox 1807"/>
          <p:cNvSpPr txBox="1"/>
          <p:nvPr/>
        </p:nvSpPr>
        <p:spPr>
          <a:xfrm>
            <a:off x="15925635" y="5304362"/>
            <a:ext cx="3657362" cy="768096"/>
          </a:xfrm>
          <a:prstGeom prst="rect">
            <a:avLst/>
          </a:prstGeom>
          <a:noFill/>
        </p:spPr>
        <p:txBody>
          <a:bodyPr wrap="square" tIns="0" bIns="0" rtlCol="0" anchor="ctr">
            <a:noAutofit/>
          </a:bodyPr>
          <a:lstStyle/>
          <a:p>
            <a:pPr algn="l"/>
            <a:r>
              <a:rPr lang="en-US" sz="2600" b="0" dirty="0">
                <a:solidFill>
                  <a:schemeClr val="tx1"/>
                </a:solidFill>
              </a:rPr>
              <a:t>19</a:t>
            </a:r>
            <a:endParaRPr sz="2600" b="0" dirty="0">
              <a:solidFill>
                <a:schemeClr val="tx1"/>
              </a:solidFill>
            </a:endParaRPr>
          </a:p>
        </p:txBody>
      </p:sp>
      <p:sp>
        <p:nvSpPr>
          <p:cNvPr id="1809" name="TextBox 1808"/>
          <p:cNvSpPr txBox="1"/>
          <p:nvPr/>
        </p:nvSpPr>
        <p:spPr>
          <a:xfrm>
            <a:off x="19649854" y="5304362"/>
            <a:ext cx="3657362" cy="768096"/>
          </a:xfrm>
          <a:prstGeom prst="rect">
            <a:avLst/>
          </a:prstGeom>
          <a:noFill/>
        </p:spPr>
        <p:txBody>
          <a:bodyPr wrap="square" tIns="0" bIns="0" rtlCol="0" anchor="ctr">
            <a:noAutofit/>
          </a:bodyPr>
          <a:lstStyle/>
          <a:p>
            <a:pPr algn="l"/>
            <a:r>
              <a:rPr lang="en-US" sz="2600" b="0" dirty="0">
                <a:solidFill>
                  <a:schemeClr val="tx1"/>
                </a:solidFill>
              </a:rPr>
              <a:t>20/21</a:t>
            </a:r>
            <a:endParaRPr sz="2600" b="0" dirty="0">
              <a:solidFill>
                <a:schemeClr val="tx1"/>
              </a:solidFill>
            </a:endParaRPr>
          </a:p>
        </p:txBody>
      </p:sp>
      <p:sp>
        <p:nvSpPr>
          <p:cNvPr id="1810" name="TextBox 1809"/>
          <p:cNvSpPr txBox="1"/>
          <p:nvPr/>
        </p:nvSpPr>
        <p:spPr>
          <a:xfrm>
            <a:off x="1093025" y="7133162"/>
            <a:ext cx="3657362" cy="768096"/>
          </a:xfrm>
          <a:prstGeom prst="rect">
            <a:avLst/>
          </a:prstGeom>
          <a:noFill/>
        </p:spPr>
        <p:txBody>
          <a:bodyPr wrap="square" tIns="0" bIns="0" rtlCol="0" anchor="ctr">
            <a:noAutofit/>
          </a:bodyPr>
          <a:lstStyle/>
          <a:p>
            <a:pPr algn="l"/>
            <a:r>
              <a:rPr lang="en-US" sz="2600" b="0" dirty="0">
                <a:solidFill>
                  <a:schemeClr val="tx1"/>
                </a:solidFill>
              </a:rPr>
              <a:t>22</a:t>
            </a:r>
            <a:endParaRPr sz="2600" b="0" dirty="0">
              <a:solidFill>
                <a:schemeClr val="tx1"/>
              </a:solidFill>
            </a:endParaRPr>
          </a:p>
        </p:txBody>
      </p:sp>
      <p:sp>
        <p:nvSpPr>
          <p:cNvPr id="1811" name="TextBox 1810"/>
          <p:cNvSpPr txBox="1"/>
          <p:nvPr/>
        </p:nvSpPr>
        <p:spPr>
          <a:xfrm>
            <a:off x="4764373" y="7133162"/>
            <a:ext cx="3657362" cy="768096"/>
          </a:xfrm>
          <a:prstGeom prst="rect">
            <a:avLst/>
          </a:prstGeom>
          <a:noFill/>
        </p:spPr>
        <p:txBody>
          <a:bodyPr wrap="square" tIns="0" bIns="0" rtlCol="0" anchor="ctr">
            <a:noAutofit/>
          </a:bodyPr>
          <a:lstStyle/>
          <a:p>
            <a:pPr algn="l"/>
            <a:r>
              <a:rPr lang="en-US" sz="2600" b="0" dirty="0">
                <a:solidFill>
                  <a:schemeClr val="tx1"/>
                </a:solidFill>
              </a:rPr>
              <a:t>23</a:t>
            </a:r>
            <a:endParaRPr sz="2600" b="0" dirty="0">
              <a:solidFill>
                <a:schemeClr val="tx1"/>
              </a:solidFill>
            </a:endParaRPr>
          </a:p>
        </p:txBody>
      </p:sp>
      <p:sp>
        <p:nvSpPr>
          <p:cNvPr id="1812" name="TextBox 1811"/>
          <p:cNvSpPr txBox="1"/>
          <p:nvPr/>
        </p:nvSpPr>
        <p:spPr>
          <a:xfrm>
            <a:off x="8512830" y="7133162"/>
            <a:ext cx="3657362" cy="768096"/>
          </a:xfrm>
          <a:prstGeom prst="rect">
            <a:avLst/>
          </a:prstGeom>
          <a:noFill/>
        </p:spPr>
        <p:txBody>
          <a:bodyPr wrap="square" tIns="0" bIns="0" rtlCol="0" anchor="ctr">
            <a:noAutofit/>
          </a:bodyPr>
          <a:lstStyle/>
          <a:p>
            <a:pPr algn="l"/>
            <a:r>
              <a:rPr lang="en-US" sz="2600" b="0">
                <a:solidFill>
                  <a:schemeClr val="tx1"/>
                </a:solidFill>
              </a:rPr>
              <a:t>24</a:t>
            </a:r>
            <a:endParaRPr sz="2600" b="0" dirty="0">
              <a:solidFill>
                <a:schemeClr val="tx1"/>
              </a:solidFill>
            </a:endParaRPr>
          </a:p>
        </p:txBody>
      </p:sp>
      <p:sp>
        <p:nvSpPr>
          <p:cNvPr id="1813" name="TextBox 1812"/>
          <p:cNvSpPr txBox="1"/>
          <p:nvPr/>
        </p:nvSpPr>
        <p:spPr>
          <a:xfrm>
            <a:off x="12191204" y="7133162"/>
            <a:ext cx="3657362" cy="768096"/>
          </a:xfrm>
          <a:prstGeom prst="rect">
            <a:avLst/>
          </a:prstGeom>
          <a:noFill/>
        </p:spPr>
        <p:txBody>
          <a:bodyPr wrap="square" tIns="0" bIns="0" rtlCol="0" anchor="ctr">
            <a:noAutofit/>
          </a:bodyPr>
          <a:lstStyle/>
          <a:p>
            <a:pPr algn="l"/>
            <a:r>
              <a:rPr lang="en-US" sz="2600" b="0" dirty="0">
                <a:solidFill>
                  <a:schemeClr val="tx1"/>
                </a:solidFill>
              </a:rPr>
              <a:t>25</a:t>
            </a:r>
            <a:endParaRPr sz="2600" b="0" dirty="0">
              <a:solidFill>
                <a:schemeClr val="tx1"/>
              </a:solidFill>
            </a:endParaRPr>
          </a:p>
        </p:txBody>
      </p:sp>
      <p:sp>
        <p:nvSpPr>
          <p:cNvPr id="1814" name="TextBox 1813"/>
          <p:cNvSpPr txBox="1"/>
          <p:nvPr/>
        </p:nvSpPr>
        <p:spPr>
          <a:xfrm>
            <a:off x="15925635" y="7133162"/>
            <a:ext cx="3657362" cy="768096"/>
          </a:xfrm>
          <a:prstGeom prst="rect">
            <a:avLst/>
          </a:prstGeom>
          <a:noFill/>
        </p:spPr>
        <p:txBody>
          <a:bodyPr wrap="square" tIns="0" bIns="0" rtlCol="0" anchor="ctr">
            <a:noAutofit/>
          </a:bodyPr>
          <a:lstStyle/>
          <a:p>
            <a:pPr algn="l"/>
            <a:r>
              <a:rPr lang="en-US" sz="2600" b="0">
                <a:solidFill>
                  <a:schemeClr val="tx1"/>
                </a:solidFill>
              </a:rPr>
              <a:t>26</a:t>
            </a:r>
            <a:endParaRPr sz="2600" b="0" dirty="0">
              <a:solidFill>
                <a:schemeClr val="tx1"/>
              </a:solidFill>
            </a:endParaRPr>
          </a:p>
        </p:txBody>
      </p:sp>
      <p:sp>
        <p:nvSpPr>
          <p:cNvPr id="1815" name="TextBox 1814"/>
          <p:cNvSpPr txBox="1"/>
          <p:nvPr/>
        </p:nvSpPr>
        <p:spPr>
          <a:xfrm>
            <a:off x="19649854" y="7133162"/>
            <a:ext cx="3657362" cy="768096"/>
          </a:xfrm>
          <a:prstGeom prst="rect">
            <a:avLst/>
          </a:prstGeom>
          <a:noFill/>
        </p:spPr>
        <p:txBody>
          <a:bodyPr wrap="square" tIns="0" bIns="0" rtlCol="0" anchor="ctr">
            <a:noAutofit/>
          </a:bodyPr>
          <a:lstStyle/>
          <a:p>
            <a:pPr algn="l"/>
            <a:r>
              <a:rPr lang="en-US" sz="2600" b="0" dirty="0">
                <a:solidFill>
                  <a:schemeClr val="tx1"/>
                </a:solidFill>
              </a:rPr>
              <a:t>27/28</a:t>
            </a:r>
            <a:endParaRPr sz="2600" b="0" dirty="0">
              <a:solidFill>
                <a:schemeClr val="tx1"/>
              </a:solidFill>
            </a:endParaRPr>
          </a:p>
        </p:txBody>
      </p:sp>
      <p:sp>
        <p:nvSpPr>
          <p:cNvPr id="1816" name="TextBox 1815"/>
          <p:cNvSpPr txBox="1"/>
          <p:nvPr/>
        </p:nvSpPr>
        <p:spPr>
          <a:xfrm>
            <a:off x="1093025" y="8961962"/>
            <a:ext cx="3657362" cy="768096"/>
          </a:xfrm>
          <a:prstGeom prst="rect">
            <a:avLst/>
          </a:prstGeom>
          <a:noFill/>
        </p:spPr>
        <p:txBody>
          <a:bodyPr wrap="square" tIns="0" bIns="0" rtlCol="0" anchor="ctr">
            <a:noAutofit/>
          </a:bodyPr>
          <a:lstStyle/>
          <a:p>
            <a:pPr algn="l"/>
            <a:r>
              <a:rPr lang="en-US" sz="2600" b="0" dirty="0">
                <a:solidFill>
                  <a:schemeClr val="tx1"/>
                </a:solidFill>
              </a:rPr>
              <a:t>29</a:t>
            </a:r>
            <a:endParaRPr sz="2600" b="0" dirty="0">
              <a:solidFill>
                <a:schemeClr val="tx1"/>
              </a:solidFill>
            </a:endParaRPr>
          </a:p>
        </p:txBody>
      </p:sp>
      <p:sp>
        <p:nvSpPr>
          <p:cNvPr id="1817" name="TextBox 1816"/>
          <p:cNvSpPr txBox="1"/>
          <p:nvPr/>
        </p:nvSpPr>
        <p:spPr>
          <a:xfrm>
            <a:off x="4764373" y="8961962"/>
            <a:ext cx="3657362" cy="768096"/>
          </a:xfrm>
          <a:prstGeom prst="rect">
            <a:avLst/>
          </a:prstGeom>
          <a:noFill/>
        </p:spPr>
        <p:txBody>
          <a:bodyPr wrap="square" tIns="0" bIns="0" rtlCol="0" anchor="ctr">
            <a:noAutofit/>
          </a:bodyPr>
          <a:lstStyle/>
          <a:p>
            <a:pPr algn="l"/>
            <a:r>
              <a:rPr lang="en-US" sz="2600" b="0" dirty="0">
                <a:solidFill>
                  <a:schemeClr val="tx1"/>
                </a:solidFill>
              </a:rPr>
              <a:t>30</a:t>
            </a:r>
            <a:endParaRPr sz="2600" b="0" dirty="0">
              <a:solidFill>
                <a:schemeClr val="tx1"/>
              </a:solidFill>
            </a:endParaRPr>
          </a:p>
        </p:txBody>
      </p:sp>
      <p:sp>
        <p:nvSpPr>
          <p:cNvPr id="1818" name="TextBox 1817"/>
          <p:cNvSpPr txBox="1"/>
          <p:nvPr/>
        </p:nvSpPr>
        <p:spPr>
          <a:xfrm>
            <a:off x="8512830" y="8961962"/>
            <a:ext cx="3657362" cy="768096"/>
          </a:xfrm>
          <a:prstGeom prst="rect">
            <a:avLst/>
          </a:prstGeom>
          <a:noFill/>
        </p:spPr>
        <p:txBody>
          <a:bodyPr wrap="square" tIns="0" bIns="0" rtlCol="0" anchor="ctr">
            <a:noAutofit/>
          </a:bodyPr>
          <a:lstStyle/>
          <a:p>
            <a:pPr algn="l"/>
            <a:r>
              <a:rPr lang="en-US" sz="2600" b="0" dirty="0">
                <a:solidFill>
                  <a:schemeClr val="tx1"/>
                </a:solidFill>
              </a:rPr>
              <a:t>31</a:t>
            </a:r>
            <a:endParaRPr sz="2600" b="0" dirty="0">
              <a:solidFill>
                <a:schemeClr val="tx1"/>
              </a:solidFill>
            </a:endParaRPr>
          </a:p>
        </p:txBody>
      </p:sp>
      <p:sp>
        <p:nvSpPr>
          <p:cNvPr id="1819" name="TextBox 1818"/>
          <p:cNvSpPr txBox="1"/>
          <p:nvPr/>
        </p:nvSpPr>
        <p:spPr>
          <a:xfrm>
            <a:off x="12191204" y="8961962"/>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1 August</a:t>
            </a:r>
          </a:p>
        </p:txBody>
      </p:sp>
      <p:sp>
        <p:nvSpPr>
          <p:cNvPr id="1820" name="TextBox 1819"/>
          <p:cNvSpPr txBox="1"/>
          <p:nvPr/>
        </p:nvSpPr>
        <p:spPr>
          <a:xfrm>
            <a:off x="15925635" y="8961962"/>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2</a:t>
            </a:r>
          </a:p>
        </p:txBody>
      </p:sp>
      <p:sp>
        <p:nvSpPr>
          <p:cNvPr id="1821" name="TextBox 1820"/>
          <p:cNvSpPr txBox="1"/>
          <p:nvPr/>
        </p:nvSpPr>
        <p:spPr>
          <a:xfrm>
            <a:off x="19649854" y="8961962"/>
            <a:ext cx="3657362" cy="768096"/>
          </a:xfrm>
          <a:prstGeom prst="rect">
            <a:avLst/>
          </a:prstGeom>
          <a:noFill/>
        </p:spPr>
        <p:txBody>
          <a:bodyPr wrap="square" tIns="0" bIns="0" rtlCol="0" anchor="ctr">
            <a:noAutofit/>
          </a:bodyPr>
          <a:lstStyle>
            <a:defPPr>
              <a:defRPr lang="en-US"/>
            </a:defPPr>
            <a:lvl1pPr>
              <a:defRPr sz="1300" b="0"/>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2">
                    <a:lumMod val="90000"/>
                  </a:schemeClr>
                </a:solidFill>
              </a:rPr>
              <a:t>3/4</a:t>
            </a:r>
          </a:p>
        </p:txBody>
      </p:sp>
      <p:sp>
        <p:nvSpPr>
          <p:cNvPr id="1822" name="TextBox 1821"/>
          <p:cNvSpPr txBox="1"/>
          <p:nvPr/>
        </p:nvSpPr>
        <p:spPr>
          <a:xfrm>
            <a:off x="1093025" y="10809050"/>
            <a:ext cx="3657362" cy="768096"/>
          </a:xfrm>
          <a:prstGeom prst="rect">
            <a:avLst/>
          </a:prstGeom>
          <a:noFill/>
        </p:spPr>
        <p:txBody>
          <a:bodyPr wrap="square" tIns="0" bIns="0" rtlCol="0" anchor="ctr">
            <a:noAutofit/>
          </a:bodyPr>
          <a:lstStyle>
            <a:defPPr>
              <a:defRPr lang="en-US"/>
            </a:defPPr>
            <a:lvl1pPr lvl="0">
              <a:defRPr sz="1300" b="0"/>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2">
                    <a:lumMod val="90000"/>
                  </a:schemeClr>
                </a:solidFill>
              </a:rPr>
              <a:t>5</a:t>
            </a:r>
          </a:p>
        </p:txBody>
      </p:sp>
      <p:sp>
        <p:nvSpPr>
          <p:cNvPr id="1823" name="TextBox 1822"/>
          <p:cNvSpPr txBox="1"/>
          <p:nvPr/>
        </p:nvSpPr>
        <p:spPr>
          <a:xfrm>
            <a:off x="4764373" y="10809050"/>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2">
                    <a:lumMod val="90000"/>
                  </a:schemeClr>
                </a:solidFill>
              </a:rPr>
              <a:t>6</a:t>
            </a:r>
          </a:p>
        </p:txBody>
      </p:sp>
      <p:sp>
        <p:nvSpPr>
          <p:cNvPr id="1824" name="TextBox 1823"/>
          <p:cNvSpPr txBox="1"/>
          <p:nvPr/>
        </p:nvSpPr>
        <p:spPr>
          <a:xfrm>
            <a:off x="8512833" y="10809050"/>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2">
                    <a:lumMod val="90000"/>
                  </a:schemeClr>
                </a:solidFill>
              </a:rPr>
              <a:t>7</a:t>
            </a:r>
          </a:p>
        </p:txBody>
      </p:sp>
      <p:sp>
        <p:nvSpPr>
          <p:cNvPr id="1825" name="TextBox 1824"/>
          <p:cNvSpPr txBox="1"/>
          <p:nvPr/>
        </p:nvSpPr>
        <p:spPr>
          <a:xfrm>
            <a:off x="12191204" y="10809050"/>
            <a:ext cx="3657362" cy="768096"/>
          </a:xfrm>
          <a:prstGeom prst="rect">
            <a:avLst/>
          </a:prstGeom>
          <a:noFill/>
        </p:spPr>
        <p:txBody>
          <a:bodyPr wrap="square" tIns="0" bIns="0" rtlCol="0" anchor="ctr">
            <a:noAutofit/>
          </a:bodyPr>
          <a:lstStyle/>
          <a:p>
            <a:pPr algn="l"/>
            <a:r>
              <a:rPr lang="en-US" sz="2600" b="0">
                <a:solidFill>
                  <a:schemeClr val="bg2">
                    <a:lumMod val="90000"/>
                  </a:schemeClr>
                </a:solidFill>
              </a:rPr>
              <a:t>8</a:t>
            </a:r>
            <a:endParaRPr sz="2600" b="0" dirty="0">
              <a:solidFill>
                <a:schemeClr val="bg2">
                  <a:lumMod val="90000"/>
                </a:schemeClr>
              </a:solidFill>
            </a:endParaRPr>
          </a:p>
        </p:txBody>
      </p:sp>
      <p:sp>
        <p:nvSpPr>
          <p:cNvPr id="1826" name="TextBox 1825"/>
          <p:cNvSpPr txBox="1"/>
          <p:nvPr/>
        </p:nvSpPr>
        <p:spPr>
          <a:xfrm>
            <a:off x="15925635" y="10809050"/>
            <a:ext cx="3657362" cy="768096"/>
          </a:xfrm>
          <a:prstGeom prst="rect">
            <a:avLst/>
          </a:prstGeom>
          <a:noFill/>
        </p:spPr>
        <p:txBody>
          <a:bodyPr wrap="square" tIns="0" bIns="0" rtlCol="0" anchor="ctr">
            <a:noAutofit/>
          </a:bodyPr>
          <a:lstStyle/>
          <a:p>
            <a:pPr algn="l"/>
            <a:r>
              <a:rPr lang="en-US" sz="2600" b="0">
                <a:solidFill>
                  <a:schemeClr val="bg2">
                    <a:lumMod val="90000"/>
                  </a:schemeClr>
                </a:solidFill>
              </a:rPr>
              <a:t>9</a:t>
            </a:r>
            <a:endParaRPr sz="2600" b="0" dirty="0">
              <a:solidFill>
                <a:schemeClr val="bg2">
                  <a:lumMod val="90000"/>
                </a:schemeClr>
              </a:solidFill>
            </a:endParaRPr>
          </a:p>
        </p:txBody>
      </p:sp>
      <p:sp>
        <p:nvSpPr>
          <p:cNvPr id="1827" name="TextBox 1826"/>
          <p:cNvSpPr txBox="1"/>
          <p:nvPr/>
        </p:nvSpPr>
        <p:spPr>
          <a:xfrm>
            <a:off x="19649854" y="1080905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10/11</a:t>
            </a:r>
            <a:endParaRPr sz="2600" b="0" dirty="0">
              <a:solidFill>
                <a:schemeClr val="bg2">
                  <a:lumMod val="90000"/>
                </a:schemeClr>
              </a:solidFill>
            </a:endParaRPr>
          </a:p>
        </p:txBody>
      </p:sp>
      <p:sp>
        <p:nvSpPr>
          <p:cNvPr id="1828" name="TextBox 1827"/>
          <p:cNvSpPr txBox="1"/>
          <p:nvPr/>
        </p:nvSpPr>
        <p:spPr>
          <a:xfrm>
            <a:off x="956671" y="304800"/>
            <a:ext cx="22350545" cy="1398084"/>
          </a:xfrm>
          <a:prstGeom prst="rect">
            <a:avLst/>
          </a:prstGeom>
          <a:noFill/>
        </p:spPr>
        <p:txBody>
          <a:bodyPr wrap="square" tIns="0" bIns="0" rtlCol="0" anchor="ctr">
            <a:noAutofit/>
          </a:bodyPr>
          <a:lstStyle/>
          <a:p>
            <a:pPr algn="l"/>
            <a:r>
              <a:rPr lang="en-US" sz="4400" b="0" dirty="0">
                <a:solidFill>
                  <a:schemeClr val="accent1"/>
                </a:solidFill>
              </a:rPr>
              <a:t>J</a:t>
            </a:r>
            <a:r>
              <a:rPr sz="4400" b="0" dirty="0">
                <a:solidFill>
                  <a:schemeClr val="accent1"/>
                </a:solidFill>
              </a:rPr>
              <a:t>uly</a:t>
            </a:r>
          </a:p>
        </p:txBody>
      </p:sp>
      <p:sp>
        <p:nvSpPr>
          <p:cNvPr id="40" name="Text Placeholder 2"/>
          <p:cNvSpPr>
            <a:spLocks noGrp="1"/>
          </p:cNvSpPr>
          <p:nvPr>
            <p:ph type="body" sz="quarter" idx="11" hasCustomPrompt="1"/>
          </p:nvPr>
        </p:nvSpPr>
        <p:spPr>
          <a:xfrm>
            <a:off x="1048444"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6" name="Text Placeholder 2"/>
          <p:cNvSpPr>
            <a:spLocks noGrp="1"/>
          </p:cNvSpPr>
          <p:nvPr>
            <p:ph type="body" sz="quarter" idx="17" hasCustomPrompt="1"/>
          </p:nvPr>
        </p:nvSpPr>
        <p:spPr>
          <a:xfrm>
            <a:off x="4754571"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2" name="Text Placeholder 2"/>
          <p:cNvSpPr>
            <a:spLocks noGrp="1"/>
          </p:cNvSpPr>
          <p:nvPr>
            <p:ph type="body" sz="quarter" idx="23" hasCustomPrompt="1"/>
          </p:nvPr>
        </p:nvSpPr>
        <p:spPr>
          <a:xfrm>
            <a:off x="8485080"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8" name="Text Placeholder 2"/>
          <p:cNvSpPr>
            <a:spLocks noGrp="1"/>
          </p:cNvSpPr>
          <p:nvPr>
            <p:ph type="body" sz="quarter" idx="29" hasCustomPrompt="1"/>
          </p:nvPr>
        </p:nvSpPr>
        <p:spPr>
          <a:xfrm>
            <a:off x="12220346"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4" name="Text Placeholder 2"/>
          <p:cNvSpPr>
            <a:spLocks noGrp="1"/>
          </p:cNvSpPr>
          <p:nvPr>
            <p:ph type="body" sz="quarter" idx="35" hasCustomPrompt="1"/>
          </p:nvPr>
        </p:nvSpPr>
        <p:spPr>
          <a:xfrm>
            <a:off x="15935099"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0" name="Text Placeholder 2"/>
          <p:cNvSpPr>
            <a:spLocks noGrp="1"/>
          </p:cNvSpPr>
          <p:nvPr>
            <p:ph type="body" sz="quarter" idx="41" hasCustomPrompt="1"/>
          </p:nvPr>
        </p:nvSpPr>
        <p:spPr>
          <a:xfrm>
            <a:off x="19676607"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9" name="Text Placeholder 2"/>
          <p:cNvSpPr>
            <a:spLocks noGrp="1"/>
          </p:cNvSpPr>
          <p:nvPr>
            <p:ph type="body" sz="quarter" idx="10" hasCustomPrompt="1"/>
          </p:nvPr>
        </p:nvSpPr>
        <p:spPr>
          <a:xfrm>
            <a:off x="1048444"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5" name="Text Placeholder 2"/>
          <p:cNvSpPr>
            <a:spLocks noGrp="1"/>
          </p:cNvSpPr>
          <p:nvPr>
            <p:ph type="body" sz="quarter" idx="16" hasCustomPrompt="1"/>
          </p:nvPr>
        </p:nvSpPr>
        <p:spPr>
          <a:xfrm>
            <a:off x="4754571"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1" name="Text Placeholder 2"/>
          <p:cNvSpPr>
            <a:spLocks noGrp="1"/>
          </p:cNvSpPr>
          <p:nvPr>
            <p:ph type="body" sz="quarter" idx="22" hasCustomPrompt="1"/>
          </p:nvPr>
        </p:nvSpPr>
        <p:spPr>
          <a:xfrm>
            <a:off x="8485080"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7" name="Text Placeholder 2"/>
          <p:cNvSpPr>
            <a:spLocks noGrp="1"/>
          </p:cNvSpPr>
          <p:nvPr>
            <p:ph type="body" sz="quarter" idx="28" hasCustomPrompt="1"/>
          </p:nvPr>
        </p:nvSpPr>
        <p:spPr>
          <a:xfrm>
            <a:off x="12220346"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3" name="Text Placeholder 2"/>
          <p:cNvSpPr>
            <a:spLocks noGrp="1"/>
          </p:cNvSpPr>
          <p:nvPr>
            <p:ph type="body" sz="quarter" idx="34" hasCustomPrompt="1"/>
          </p:nvPr>
        </p:nvSpPr>
        <p:spPr>
          <a:xfrm>
            <a:off x="15935099"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9" name="Text Placeholder 2"/>
          <p:cNvSpPr>
            <a:spLocks noGrp="1"/>
          </p:cNvSpPr>
          <p:nvPr>
            <p:ph type="body" sz="quarter" idx="40" hasCustomPrompt="1"/>
          </p:nvPr>
        </p:nvSpPr>
        <p:spPr>
          <a:xfrm>
            <a:off x="19676607"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1" name="Text Placeholder 2"/>
          <p:cNvSpPr>
            <a:spLocks noGrp="1"/>
          </p:cNvSpPr>
          <p:nvPr>
            <p:ph type="body" sz="quarter" idx="12" hasCustomPrompt="1"/>
          </p:nvPr>
        </p:nvSpPr>
        <p:spPr>
          <a:xfrm>
            <a:off x="1048444"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7" name="Text Placeholder 2"/>
          <p:cNvSpPr>
            <a:spLocks noGrp="1"/>
          </p:cNvSpPr>
          <p:nvPr>
            <p:ph type="body" sz="quarter" idx="18" hasCustomPrompt="1"/>
          </p:nvPr>
        </p:nvSpPr>
        <p:spPr>
          <a:xfrm>
            <a:off x="4754571"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3" name="Text Placeholder 2"/>
          <p:cNvSpPr>
            <a:spLocks noGrp="1"/>
          </p:cNvSpPr>
          <p:nvPr>
            <p:ph type="body" sz="quarter" idx="24" hasCustomPrompt="1"/>
          </p:nvPr>
        </p:nvSpPr>
        <p:spPr>
          <a:xfrm>
            <a:off x="8485080"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9" name="Text Placeholder 2"/>
          <p:cNvSpPr>
            <a:spLocks noGrp="1"/>
          </p:cNvSpPr>
          <p:nvPr>
            <p:ph type="body" sz="quarter" idx="30" hasCustomPrompt="1"/>
          </p:nvPr>
        </p:nvSpPr>
        <p:spPr>
          <a:xfrm>
            <a:off x="12220346"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5" name="Text Placeholder 2"/>
          <p:cNvSpPr>
            <a:spLocks noGrp="1"/>
          </p:cNvSpPr>
          <p:nvPr>
            <p:ph type="body" sz="quarter" idx="36" hasCustomPrompt="1"/>
          </p:nvPr>
        </p:nvSpPr>
        <p:spPr>
          <a:xfrm>
            <a:off x="15935099"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1" name="Text Placeholder 2"/>
          <p:cNvSpPr>
            <a:spLocks noGrp="1"/>
          </p:cNvSpPr>
          <p:nvPr>
            <p:ph type="body" sz="quarter" idx="42" hasCustomPrompt="1"/>
          </p:nvPr>
        </p:nvSpPr>
        <p:spPr>
          <a:xfrm>
            <a:off x="19676607"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2" name="Text Placeholder 2"/>
          <p:cNvSpPr>
            <a:spLocks noGrp="1"/>
          </p:cNvSpPr>
          <p:nvPr>
            <p:ph type="body" sz="quarter" idx="13" hasCustomPrompt="1"/>
          </p:nvPr>
        </p:nvSpPr>
        <p:spPr>
          <a:xfrm>
            <a:off x="1048444"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8" name="Text Placeholder 2"/>
          <p:cNvSpPr>
            <a:spLocks noGrp="1"/>
          </p:cNvSpPr>
          <p:nvPr>
            <p:ph type="body" sz="quarter" idx="19" hasCustomPrompt="1"/>
          </p:nvPr>
        </p:nvSpPr>
        <p:spPr>
          <a:xfrm>
            <a:off x="4754571"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4" name="Text Placeholder 2"/>
          <p:cNvSpPr>
            <a:spLocks noGrp="1"/>
          </p:cNvSpPr>
          <p:nvPr>
            <p:ph type="body" sz="quarter" idx="25" hasCustomPrompt="1"/>
          </p:nvPr>
        </p:nvSpPr>
        <p:spPr>
          <a:xfrm>
            <a:off x="8485080"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0" name="Text Placeholder 2"/>
          <p:cNvSpPr>
            <a:spLocks noGrp="1"/>
          </p:cNvSpPr>
          <p:nvPr>
            <p:ph type="body" sz="quarter" idx="31" hasCustomPrompt="1"/>
          </p:nvPr>
        </p:nvSpPr>
        <p:spPr>
          <a:xfrm>
            <a:off x="12220346"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6" name="Text Placeholder 2"/>
          <p:cNvSpPr>
            <a:spLocks noGrp="1"/>
          </p:cNvSpPr>
          <p:nvPr>
            <p:ph type="body" sz="quarter" idx="37" hasCustomPrompt="1"/>
          </p:nvPr>
        </p:nvSpPr>
        <p:spPr>
          <a:xfrm>
            <a:off x="15935099"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2" name="Text Placeholder 2"/>
          <p:cNvSpPr>
            <a:spLocks noGrp="1"/>
          </p:cNvSpPr>
          <p:nvPr>
            <p:ph type="body" sz="quarter" idx="43" hasCustomPrompt="1"/>
          </p:nvPr>
        </p:nvSpPr>
        <p:spPr>
          <a:xfrm>
            <a:off x="19676607"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3" name="Text Placeholder 2"/>
          <p:cNvSpPr>
            <a:spLocks noGrp="1"/>
          </p:cNvSpPr>
          <p:nvPr>
            <p:ph type="body" sz="quarter" idx="14" hasCustomPrompt="1"/>
          </p:nvPr>
        </p:nvSpPr>
        <p:spPr>
          <a:xfrm>
            <a:off x="1048444"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9" name="Text Placeholder 2"/>
          <p:cNvSpPr>
            <a:spLocks noGrp="1"/>
          </p:cNvSpPr>
          <p:nvPr>
            <p:ph type="body" sz="quarter" idx="20" hasCustomPrompt="1"/>
          </p:nvPr>
        </p:nvSpPr>
        <p:spPr>
          <a:xfrm>
            <a:off x="4754571"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5" name="Text Placeholder 2"/>
          <p:cNvSpPr>
            <a:spLocks noGrp="1"/>
          </p:cNvSpPr>
          <p:nvPr>
            <p:ph type="body" sz="quarter" idx="26" hasCustomPrompt="1"/>
          </p:nvPr>
        </p:nvSpPr>
        <p:spPr>
          <a:xfrm>
            <a:off x="8485080"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1" name="Text Placeholder 2"/>
          <p:cNvSpPr>
            <a:spLocks noGrp="1"/>
          </p:cNvSpPr>
          <p:nvPr>
            <p:ph type="body" sz="quarter" idx="32" hasCustomPrompt="1"/>
          </p:nvPr>
        </p:nvSpPr>
        <p:spPr>
          <a:xfrm>
            <a:off x="12220346"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7" name="Text Placeholder 2"/>
          <p:cNvSpPr>
            <a:spLocks noGrp="1"/>
          </p:cNvSpPr>
          <p:nvPr>
            <p:ph type="body" sz="quarter" idx="38" hasCustomPrompt="1"/>
          </p:nvPr>
        </p:nvSpPr>
        <p:spPr>
          <a:xfrm>
            <a:off x="15935099"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3" name="Text Placeholder 2"/>
          <p:cNvSpPr>
            <a:spLocks noGrp="1"/>
          </p:cNvSpPr>
          <p:nvPr>
            <p:ph type="body" sz="quarter" idx="44" hasCustomPrompt="1"/>
          </p:nvPr>
        </p:nvSpPr>
        <p:spPr>
          <a:xfrm>
            <a:off x="19676607"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4" name="Text Placeholder 2"/>
          <p:cNvSpPr>
            <a:spLocks noGrp="1"/>
          </p:cNvSpPr>
          <p:nvPr>
            <p:ph type="body" sz="quarter" idx="15" hasCustomPrompt="1"/>
          </p:nvPr>
        </p:nvSpPr>
        <p:spPr>
          <a:xfrm>
            <a:off x="1048444"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0" name="Text Placeholder 2"/>
          <p:cNvSpPr>
            <a:spLocks noGrp="1"/>
          </p:cNvSpPr>
          <p:nvPr>
            <p:ph type="body" sz="quarter" idx="21" hasCustomPrompt="1"/>
          </p:nvPr>
        </p:nvSpPr>
        <p:spPr>
          <a:xfrm>
            <a:off x="4754571"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6" name="Text Placeholder 2"/>
          <p:cNvSpPr>
            <a:spLocks noGrp="1"/>
          </p:cNvSpPr>
          <p:nvPr>
            <p:ph type="body" sz="quarter" idx="27" hasCustomPrompt="1"/>
          </p:nvPr>
        </p:nvSpPr>
        <p:spPr>
          <a:xfrm>
            <a:off x="8485080"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2" name="Text Placeholder 2"/>
          <p:cNvSpPr>
            <a:spLocks noGrp="1"/>
          </p:cNvSpPr>
          <p:nvPr>
            <p:ph type="body" sz="quarter" idx="33" hasCustomPrompt="1"/>
          </p:nvPr>
        </p:nvSpPr>
        <p:spPr>
          <a:xfrm>
            <a:off x="12220346"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8" name="Text Placeholder 2"/>
          <p:cNvSpPr>
            <a:spLocks noGrp="1"/>
          </p:cNvSpPr>
          <p:nvPr>
            <p:ph type="body" sz="quarter" idx="39" hasCustomPrompt="1"/>
          </p:nvPr>
        </p:nvSpPr>
        <p:spPr>
          <a:xfrm>
            <a:off x="15935099"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4" name="Text Placeholder 2"/>
          <p:cNvSpPr>
            <a:spLocks noGrp="1"/>
          </p:cNvSpPr>
          <p:nvPr>
            <p:ph type="body" sz="quarter" idx="45" hasCustomPrompt="1"/>
          </p:nvPr>
        </p:nvSpPr>
        <p:spPr>
          <a:xfrm>
            <a:off x="19676607"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8" name="TextBox 77">
            <a:extLst>
              <a:ext uri="{FF2B5EF4-FFF2-40B4-BE49-F238E27FC236}">
                <a16:creationId xmlns:a16="http://schemas.microsoft.com/office/drawing/2014/main" id="{F935DC76-966A-6340-A75F-F207A1E4EB34}"/>
              </a:ext>
            </a:extLst>
          </p:cNvPr>
          <p:cNvSpPr txBox="1"/>
          <p:nvPr userDrawn="1"/>
        </p:nvSpPr>
        <p:spPr>
          <a:xfrm>
            <a:off x="954662" y="1399713"/>
            <a:ext cx="1638300" cy="461665"/>
          </a:xfrm>
          <a:prstGeom prst="rect">
            <a:avLst/>
          </a:prstGeom>
          <a:noFill/>
        </p:spPr>
        <p:txBody>
          <a:bodyPr wrap="square" rtlCol="0">
            <a:spAutoFit/>
          </a:bodyPr>
          <a:lstStyle/>
          <a:p>
            <a:r>
              <a:rPr lang="en-US" sz="2400" b="1" dirty="0">
                <a:solidFill>
                  <a:schemeClr val="accent1"/>
                </a:solidFill>
              </a:rPr>
              <a:t>Monday</a:t>
            </a:r>
          </a:p>
        </p:txBody>
      </p:sp>
      <p:sp>
        <p:nvSpPr>
          <p:cNvPr id="79" name="TextBox 78">
            <a:extLst>
              <a:ext uri="{FF2B5EF4-FFF2-40B4-BE49-F238E27FC236}">
                <a16:creationId xmlns:a16="http://schemas.microsoft.com/office/drawing/2014/main" id="{1D7E993E-A8CF-9240-96DC-44286ACFB462}"/>
              </a:ext>
            </a:extLst>
          </p:cNvPr>
          <p:cNvSpPr txBox="1"/>
          <p:nvPr userDrawn="1"/>
        </p:nvSpPr>
        <p:spPr>
          <a:xfrm>
            <a:off x="4688462" y="1399713"/>
            <a:ext cx="1638300" cy="461665"/>
          </a:xfrm>
          <a:prstGeom prst="rect">
            <a:avLst/>
          </a:prstGeom>
          <a:noFill/>
        </p:spPr>
        <p:txBody>
          <a:bodyPr wrap="square" rtlCol="0">
            <a:spAutoFit/>
          </a:bodyPr>
          <a:lstStyle/>
          <a:p>
            <a:r>
              <a:rPr lang="en-US" sz="2400" b="1" dirty="0">
                <a:solidFill>
                  <a:schemeClr val="accent1"/>
                </a:solidFill>
              </a:rPr>
              <a:t>Tuesday</a:t>
            </a:r>
          </a:p>
        </p:txBody>
      </p:sp>
      <p:sp>
        <p:nvSpPr>
          <p:cNvPr id="80" name="TextBox 79">
            <a:extLst>
              <a:ext uri="{FF2B5EF4-FFF2-40B4-BE49-F238E27FC236}">
                <a16:creationId xmlns:a16="http://schemas.microsoft.com/office/drawing/2014/main" id="{AE42FC4E-1758-544F-8EEE-86EADAFB554E}"/>
              </a:ext>
            </a:extLst>
          </p:cNvPr>
          <p:cNvSpPr txBox="1"/>
          <p:nvPr userDrawn="1"/>
        </p:nvSpPr>
        <p:spPr>
          <a:xfrm>
            <a:off x="8365112" y="1399713"/>
            <a:ext cx="2741038" cy="461665"/>
          </a:xfrm>
          <a:prstGeom prst="rect">
            <a:avLst/>
          </a:prstGeom>
          <a:noFill/>
        </p:spPr>
        <p:txBody>
          <a:bodyPr wrap="square" rtlCol="0">
            <a:spAutoFit/>
          </a:bodyPr>
          <a:lstStyle/>
          <a:p>
            <a:r>
              <a:rPr lang="en-US" sz="2400" b="1" dirty="0">
                <a:solidFill>
                  <a:schemeClr val="accent1"/>
                </a:solidFill>
              </a:rPr>
              <a:t>Wednesday</a:t>
            </a:r>
          </a:p>
        </p:txBody>
      </p:sp>
      <p:sp>
        <p:nvSpPr>
          <p:cNvPr id="81" name="TextBox 80">
            <a:extLst>
              <a:ext uri="{FF2B5EF4-FFF2-40B4-BE49-F238E27FC236}">
                <a16:creationId xmlns:a16="http://schemas.microsoft.com/office/drawing/2014/main" id="{3D8FB1E9-CD6F-0941-AF53-A4B301D2394C}"/>
              </a:ext>
            </a:extLst>
          </p:cNvPr>
          <p:cNvSpPr txBox="1"/>
          <p:nvPr userDrawn="1"/>
        </p:nvSpPr>
        <p:spPr>
          <a:xfrm>
            <a:off x="12137012" y="1399713"/>
            <a:ext cx="1638300" cy="461665"/>
          </a:xfrm>
          <a:prstGeom prst="rect">
            <a:avLst/>
          </a:prstGeom>
          <a:noFill/>
        </p:spPr>
        <p:txBody>
          <a:bodyPr wrap="square" rtlCol="0">
            <a:spAutoFit/>
          </a:bodyPr>
          <a:lstStyle/>
          <a:p>
            <a:r>
              <a:rPr lang="en-US" sz="2400" b="1" dirty="0">
                <a:solidFill>
                  <a:schemeClr val="accent1"/>
                </a:solidFill>
              </a:rPr>
              <a:t>Thursday</a:t>
            </a:r>
          </a:p>
        </p:txBody>
      </p:sp>
      <p:sp>
        <p:nvSpPr>
          <p:cNvPr id="82" name="TextBox 81">
            <a:extLst>
              <a:ext uri="{FF2B5EF4-FFF2-40B4-BE49-F238E27FC236}">
                <a16:creationId xmlns:a16="http://schemas.microsoft.com/office/drawing/2014/main" id="{2968F76A-7184-9A47-82D2-3AE149E5BC39}"/>
              </a:ext>
            </a:extLst>
          </p:cNvPr>
          <p:cNvSpPr txBox="1"/>
          <p:nvPr userDrawn="1"/>
        </p:nvSpPr>
        <p:spPr>
          <a:xfrm>
            <a:off x="15870812" y="1399713"/>
            <a:ext cx="1638300" cy="461665"/>
          </a:xfrm>
          <a:prstGeom prst="rect">
            <a:avLst/>
          </a:prstGeom>
          <a:noFill/>
        </p:spPr>
        <p:txBody>
          <a:bodyPr wrap="square" rtlCol="0">
            <a:spAutoFit/>
          </a:bodyPr>
          <a:lstStyle/>
          <a:p>
            <a:r>
              <a:rPr lang="en-US" sz="2400" b="1" dirty="0">
                <a:solidFill>
                  <a:schemeClr val="accent1"/>
                </a:solidFill>
              </a:rPr>
              <a:t>Friday</a:t>
            </a:r>
          </a:p>
        </p:txBody>
      </p:sp>
      <p:sp>
        <p:nvSpPr>
          <p:cNvPr id="83" name="TextBox 82">
            <a:extLst>
              <a:ext uri="{FF2B5EF4-FFF2-40B4-BE49-F238E27FC236}">
                <a16:creationId xmlns:a16="http://schemas.microsoft.com/office/drawing/2014/main" id="{17211CDF-5945-0341-8211-FD1FF7AFD99F}"/>
              </a:ext>
            </a:extLst>
          </p:cNvPr>
          <p:cNvSpPr txBox="1"/>
          <p:nvPr userDrawn="1"/>
        </p:nvSpPr>
        <p:spPr>
          <a:xfrm>
            <a:off x="19585562" y="1399713"/>
            <a:ext cx="1638300" cy="461665"/>
          </a:xfrm>
          <a:prstGeom prst="rect">
            <a:avLst/>
          </a:prstGeom>
          <a:noFill/>
        </p:spPr>
        <p:txBody>
          <a:bodyPr wrap="square" rtlCol="0">
            <a:spAutoFit/>
          </a:bodyPr>
          <a:lstStyle/>
          <a:p>
            <a:r>
              <a:rPr lang="en-US" sz="2400" b="1" dirty="0">
                <a:solidFill>
                  <a:schemeClr val="accent1"/>
                </a:solidFill>
              </a:rPr>
              <a:t>Sunday</a:t>
            </a:r>
          </a:p>
        </p:txBody>
      </p:sp>
    </p:spTree>
    <p:extLst>
      <p:ext uri="{BB962C8B-B14F-4D97-AF65-F5344CB8AC3E}">
        <p14:creationId xmlns:p14="http://schemas.microsoft.com/office/powerpoint/2010/main" val="12269443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August 2019">
    <p:spTree>
      <p:nvGrpSpPr>
        <p:cNvPr id="1" name=""/>
        <p:cNvGrpSpPr/>
        <p:nvPr/>
      </p:nvGrpSpPr>
      <p:grpSpPr>
        <a:xfrm>
          <a:off x="0" y="0"/>
          <a:ext cx="0" cy="0"/>
          <a:chOff x="0" y="0"/>
          <a:chExt cx="0" cy="0"/>
        </a:xfrm>
      </p:grpSpPr>
      <p:sp>
        <p:nvSpPr>
          <p:cNvPr id="1792" name="TextBox 1791"/>
          <p:cNvSpPr txBox="1"/>
          <p:nvPr/>
        </p:nvSpPr>
        <p:spPr>
          <a:xfrm>
            <a:off x="1093019" y="1641844"/>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29</a:t>
            </a:r>
            <a:r>
              <a:rPr sz="2600" b="0" dirty="0">
                <a:solidFill>
                  <a:schemeClr val="bg2">
                    <a:lumMod val="90000"/>
                  </a:schemeClr>
                </a:solidFill>
              </a:rPr>
              <a:t> July</a:t>
            </a:r>
          </a:p>
        </p:txBody>
      </p:sp>
      <p:sp>
        <p:nvSpPr>
          <p:cNvPr id="1793" name="TextBox 1792"/>
          <p:cNvSpPr txBox="1"/>
          <p:nvPr/>
        </p:nvSpPr>
        <p:spPr>
          <a:xfrm>
            <a:off x="4764373" y="1641844"/>
            <a:ext cx="3657362" cy="768096"/>
          </a:xfrm>
          <a:prstGeom prst="rect">
            <a:avLst/>
          </a:prstGeom>
          <a:noFill/>
        </p:spPr>
        <p:txBody>
          <a:bodyPr wrap="square" tIns="0" bIns="0" rtlCol="0" anchor="ctr">
            <a:noAutofit/>
          </a:bodyPr>
          <a:lstStyle>
            <a:defPPr>
              <a:defRPr lang="en-US"/>
            </a:defPPr>
            <a:lvl1pPr>
              <a:defRPr sz="1300" b="0"/>
            </a:lvl1pPr>
          </a:lstStyle>
          <a:p>
            <a:pPr algn="l"/>
            <a:r>
              <a:rPr lang="en-US" sz="2600" b="0" dirty="0">
                <a:solidFill>
                  <a:schemeClr val="bg2">
                    <a:lumMod val="90000"/>
                  </a:schemeClr>
                </a:solidFill>
              </a:rPr>
              <a:t>30</a:t>
            </a:r>
          </a:p>
        </p:txBody>
      </p:sp>
      <p:sp>
        <p:nvSpPr>
          <p:cNvPr id="1794" name="TextBox 1793"/>
          <p:cNvSpPr txBox="1"/>
          <p:nvPr/>
        </p:nvSpPr>
        <p:spPr>
          <a:xfrm>
            <a:off x="8512830" y="1641844"/>
            <a:ext cx="3657362" cy="768096"/>
          </a:xfrm>
          <a:prstGeom prst="rect">
            <a:avLst/>
          </a:prstGeom>
          <a:noFill/>
        </p:spPr>
        <p:txBody>
          <a:bodyPr wrap="square" tIns="0" bIns="0" rtlCol="0" anchor="ctr">
            <a:noAutofit/>
          </a:bodyPr>
          <a:lstStyle>
            <a:defPPr>
              <a:defRPr lang="en-US"/>
            </a:defPPr>
            <a:lvl1pPr lvl="0">
              <a:defRPr sz="1300" b="0"/>
            </a:lvl1pPr>
          </a:lstStyle>
          <a:p>
            <a:pPr algn="l"/>
            <a:r>
              <a:rPr lang="en-US" sz="2600" b="0" dirty="0">
                <a:solidFill>
                  <a:schemeClr val="bg2">
                    <a:lumMod val="90000"/>
                  </a:schemeClr>
                </a:solidFill>
              </a:rPr>
              <a:t>31</a:t>
            </a:r>
          </a:p>
        </p:txBody>
      </p:sp>
      <p:sp>
        <p:nvSpPr>
          <p:cNvPr id="1795" name="TextBox 1794"/>
          <p:cNvSpPr txBox="1"/>
          <p:nvPr/>
        </p:nvSpPr>
        <p:spPr>
          <a:xfrm>
            <a:off x="12191204" y="1641844"/>
            <a:ext cx="3657362" cy="768096"/>
          </a:xfrm>
          <a:prstGeom prst="rect">
            <a:avLst/>
          </a:prstGeom>
          <a:noFill/>
        </p:spPr>
        <p:txBody>
          <a:bodyPr wrap="square" tIns="0" bIns="0" rtlCol="0" anchor="ctr">
            <a:noAutofit/>
          </a:bodyPr>
          <a:lstStyle>
            <a:defPPr>
              <a:defRPr lang="en-US"/>
            </a:defPPr>
            <a:lvl1pPr lvl="0">
              <a:defRPr sz="1300" b="0"/>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kern="1200" cap="none" spc="0" dirty="0">
                <a:ln w="0"/>
                <a:solidFill>
                  <a:schemeClr val="tx1"/>
                </a:solidFill>
                <a:effectLst>
                  <a:outerShdw blurRad="38100" dist="19050" dir="2700000" algn="tl" rotWithShape="0">
                    <a:schemeClr val="dk1">
                      <a:alpha val="40000"/>
                    </a:schemeClr>
                  </a:outerShdw>
                </a:effectLst>
                <a:latin typeface="+mn-lt"/>
                <a:ea typeface="+mn-ea"/>
                <a:cs typeface="+mn-cs"/>
              </a:rPr>
              <a:t>1 August</a:t>
            </a:r>
            <a:endParaRPr sz="2600" b="0" kern="1200" cap="none" spc="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796" name="TextBox 1795"/>
          <p:cNvSpPr txBox="1"/>
          <p:nvPr/>
        </p:nvSpPr>
        <p:spPr>
          <a:xfrm>
            <a:off x="15925635" y="1641844"/>
            <a:ext cx="3657362" cy="768096"/>
          </a:xfrm>
          <a:prstGeom prst="rect">
            <a:avLst/>
          </a:prstGeom>
          <a:noFill/>
        </p:spPr>
        <p:txBody>
          <a:bodyPr wrap="square" tIns="0" bIns="0" rtlCol="0" anchor="ctr">
            <a:noAutofit/>
          </a:bodyPr>
          <a:lstStyle>
            <a:defPPr>
              <a:defRPr lang="en-US"/>
            </a:defPPr>
            <a:lvl1pPr lvl="0">
              <a:defRPr sz="1300" b="0"/>
            </a:lvl1pPr>
          </a:lstStyle>
          <a:p>
            <a:pPr lvl="0"/>
            <a:r>
              <a:rPr lang="en-US" sz="2600" dirty="0"/>
              <a:t>2</a:t>
            </a:r>
          </a:p>
        </p:txBody>
      </p:sp>
      <p:sp>
        <p:nvSpPr>
          <p:cNvPr id="1797" name="TextBox 1796"/>
          <p:cNvSpPr txBox="1"/>
          <p:nvPr/>
        </p:nvSpPr>
        <p:spPr>
          <a:xfrm>
            <a:off x="19649854" y="1641844"/>
            <a:ext cx="3657362" cy="768096"/>
          </a:xfrm>
          <a:prstGeom prst="rect">
            <a:avLst/>
          </a:prstGeom>
          <a:noFill/>
        </p:spPr>
        <p:txBody>
          <a:bodyPr wrap="square" tIns="0" bIns="0" rtlCol="0" anchor="ctr">
            <a:noAutofit/>
          </a:bodyPr>
          <a:lstStyle/>
          <a:p>
            <a:pPr algn="l"/>
            <a:r>
              <a:rPr lang="en-US" sz="2600" b="0" dirty="0">
                <a:solidFill>
                  <a:schemeClr val="tx1"/>
                </a:solidFill>
              </a:rPr>
              <a:t>3/5</a:t>
            </a:r>
            <a:endParaRPr sz="2600" b="0" dirty="0">
              <a:solidFill>
                <a:schemeClr val="tx1"/>
              </a:solidFill>
            </a:endParaRPr>
          </a:p>
        </p:txBody>
      </p:sp>
      <p:sp>
        <p:nvSpPr>
          <p:cNvPr id="1798" name="TextBox 1797"/>
          <p:cNvSpPr txBox="1"/>
          <p:nvPr/>
        </p:nvSpPr>
        <p:spPr>
          <a:xfrm>
            <a:off x="1093025" y="3471672"/>
            <a:ext cx="3657362" cy="768096"/>
          </a:xfrm>
          <a:prstGeom prst="rect">
            <a:avLst/>
          </a:prstGeom>
          <a:noFill/>
        </p:spPr>
        <p:txBody>
          <a:bodyPr wrap="square" tIns="0" bIns="0" rtlCol="0" anchor="ctr">
            <a:noAutofit/>
          </a:bodyPr>
          <a:lstStyle/>
          <a:p>
            <a:pPr algn="l"/>
            <a:r>
              <a:rPr lang="en-US" sz="2600" b="0" dirty="0">
                <a:solidFill>
                  <a:schemeClr val="tx1"/>
                </a:solidFill>
              </a:rPr>
              <a:t>5</a:t>
            </a:r>
            <a:endParaRPr sz="2600" b="0" dirty="0">
              <a:solidFill>
                <a:schemeClr val="tx1"/>
              </a:solidFill>
            </a:endParaRPr>
          </a:p>
        </p:txBody>
      </p:sp>
      <p:sp>
        <p:nvSpPr>
          <p:cNvPr id="1799" name="TextBox 1798"/>
          <p:cNvSpPr txBox="1"/>
          <p:nvPr/>
        </p:nvSpPr>
        <p:spPr>
          <a:xfrm>
            <a:off x="4764373" y="3471672"/>
            <a:ext cx="3657362" cy="768096"/>
          </a:xfrm>
          <a:prstGeom prst="rect">
            <a:avLst/>
          </a:prstGeom>
          <a:noFill/>
        </p:spPr>
        <p:txBody>
          <a:bodyPr wrap="square" tIns="0" bIns="0" rtlCol="0" anchor="ctr">
            <a:noAutofit/>
          </a:bodyPr>
          <a:lstStyle/>
          <a:p>
            <a:pPr algn="l"/>
            <a:r>
              <a:rPr lang="en-US" sz="2600" b="0">
                <a:solidFill>
                  <a:schemeClr val="tx1"/>
                </a:solidFill>
              </a:rPr>
              <a:t>6</a:t>
            </a:r>
            <a:endParaRPr sz="2600" b="0" dirty="0">
              <a:solidFill>
                <a:schemeClr val="tx1"/>
              </a:solidFill>
            </a:endParaRPr>
          </a:p>
        </p:txBody>
      </p:sp>
      <p:sp>
        <p:nvSpPr>
          <p:cNvPr id="1800" name="TextBox 1799"/>
          <p:cNvSpPr txBox="1"/>
          <p:nvPr/>
        </p:nvSpPr>
        <p:spPr>
          <a:xfrm>
            <a:off x="8512830" y="3471672"/>
            <a:ext cx="3657362" cy="768096"/>
          </a:xfrm>
          <a:prstGeom prst="rect">
            <a:avLst/>
          </a:prstGeom>
          <a:noFill/>
        </p:spPr>
        <p:txBody>
          <a:bodyPr wrap="square" tIns="0" bIns="0" rtlCol="0" anchor="ctr">
            <a:noAutofit/>
          </a:bodyPr>
          <a:lstStyle/>
          <a:p>
            <a:pPr algn="l"/>
            <a:r>
              <a:rPr lang="en-US" sz="2600" b="0" dirty="0">
                <a:solidFill>
                  <a:schemeClr val="tx1"/>
                </a:solidFill>
              </a:rPr>
              <a:t>7</a:t>
            </a:r>
            <a:endParaRPr sz="2600" b="0" dirty="0">
              <a:solidFill>
                <a:schemeClr val="tx1"/>
              </a:solidFill>
            </a:endParaRPr>
          </a:p>
        </p:txBody>
      </p:sp>
      <p:sp>
        <p:nvSpPr>
          <p:cNvPr id="1801" name="TextBox 1800"/>
          <p:cNvSpPr txBox="1"/>
          <p:nvPr/>
        </p:nvSpPr>
        <p:spPr>
          <a:xfrm>
            <a:off x="12191204" y="3471672"/>
            <a:ext cx="3657362" cy="768096"/>
          </a:xfrm>
          <a:prstGeom prst="rect">
            <a:avLst/>
          </a:prstGeom>
          <a:noFill/>
        </p:spPr>
        <p:txBody>
          <a:bodyPr wrap="square" tIns="0" bIns="0" rtlCol="0" anchor="ctr">
            <a:noAutofit/>
          </a:bodyPr>
          <a:lstStyle/>
          <a:p>
            <a:pPr algn="l"/>
            <a:r>
              <a:rPr lang="en-US" sz="2600" b="0" dirty="0">
                <a:solidFill>
                  <a:schemeClr val="tx1"/>
                </a:solidFill>
              </a:rPr>
              <a:t>8</a:t>
            </a:r>
            <a:endParaRPr sz="2600" b="0" dirty="0">
              <a:solidFill>
                <a:schemeClr val="tx1"/>
              </a:solidFill>
            </a:endParaRPr>
          </a:p>
        </p:txBody>
      </p:sp>
      <p:sp>
        <p:nvSpPr>
          <p:cNvPr id="1802" name="TextBox 1801"/>
          <p:cNvSpPr txBox="1"/>
          <p:nvPr/>
        </p:nvSpPr>
        <p:spPr>
          <a:xfrm>
            <a:off x="15925635" y="3471672"/>
            <a:ext cx="3657362" cy="768096"/>
          </a:xfrm>
          <a:prstGeom prst="rect">
            <a:avLst/>
          </a:prstGeom>
          <a:noFill/>
        </p:spPr>
        <p:txBody>
          <a:bodyPr wrap="square" tIns="0" bIns="0" rtlCol="0" anchor="ctr">
            <a:noAutofit/>
          </a:bodyPr>
          <a:lstStyle/>
          <a:p>
            <a:pPr algn="l"/>
            <a:r>
              <a:rPr lang="en-US" sz="2600" b="0" dirty="0">
                <a:solidFill>
                  <a:schemeClr val="tx1"/>
                </a:solidFill>
              </a:rPr>
              <a:t>9</a:t>
            </a:r>
            <a:endParaRPr sz="2600" b="0" dirty="0">
              <a:solidFill>
                <a:schemeClr val="tx1"/>
              </a:solidFill>
            </a:endParaRPr>
          </a:p>
        </p:txBody>
      </p:sp>
      <p:sp>
        <p:nvSpPr>
          <p:cNvPr id="1803" name="TextBox 1802"/>
          <p:cNvSpPr txBox="1"/>
          <p:nvPr/>
        </p:nvSpPr>
        <p:spPr>
          <a:xfrm>
            <a:off x="19649854" y="3471672"/>
            <a:ext cx="3657362" cy="768096"/>
          </a:xfrm>
          <a:prstGeom prst="rect">
            <a:avLst/>
          </a:prstGeom>
          <a:noFill/>
        </p:spPr>
        <p:txBody>
          <a:bodyPr wrap="square" tIns="0" bIns="0" rtlCol="0" anchor="ctr">
            <a:noAutofit/>
          </a:bodyPr>
          <a:lstStyle/>
          <a:p>
            <a:pPr algn="l"/>
            <a:r>
              <a:rPr lang="en-US" sz="2600" b="0" dirty="0">
                <a:solidFill>
                  <a:schemeClr val="tx1"/>
                </a:solidFill>
              </a:rPr>
              <a:t>10/11</a:t>
            </a:r>
            <a:endParaRPr sz="2600" b="0" dirty="0">
              <a:solidFill>
                <a:schemeClr val="tx1"/>
              </a:solidFill>
            </a:endParaRPr>
          </a:p>
        </p:txBody>
      </p:sp>
      <p:sp>
        <p:nvSpPr>
          <p:cNvPr id="1804" name="TextBox 1803"/>
          <p:cNvSpPr txBox="1"/>
          <p:nvPr/>
        </p:nvSpPr>
        <p:spPr>
          <a:xfrm>
            <a:off x="1093025" y="5300472"/>
            <a:ext cx="3657362" cy="768096"/>
          </a:xfrm>
          <a:prstGeom prst="rect">
            <a:avLst/>
          </a:prstGeom>
          <a:noFill/>
        </p:spPr>
        <p:txBody>
          <a:bodyPr wrap="square" tIns="0" bIns="0" rtlCol="0" anchor="ctr">
            <a:noAutofit/>
          </a:bodyPr>
          <a:lstStyle/>
          <a:p>
            <a:pPr algn="l"/>
            <a:r>
              <a:rPr lang="en-US" sz="2600" b="0" dirty="0">
                <a:solidFill>
                  <a:schemeClr val="tx1"/>
                </a:solidFill>
              </a:rPr>
              <a:t>12</a:t>
            </a:r>
            <a:endParaRPr sz="2600" b="0" dirty="0">
              <a:solidFill>
                <a:schemeClr val="tx1"/>
              </a:solidFill>
            </a:endParaRPr>
          </a:p>
        </p:txBody>
      </p:sp>
      <p:sp>
        <p:nvSpPr>
          <p:cNvPr id="1805" name="TextBox 1804"/>
          <p:cNvSpPr txBox="1"/>
          <p:nvPr/>
        </p:nvSpPr>
        <p:spPr>
          <a:xfrm>
            <a:off x="4764373" y="5300472"/>
            <a:ext cx="3657362" cy="768096"/>
          </a:xfrm>
          <a:prstGeom prst="rect">
            <a:avLst/>
          </a:prstGeom>
          <a:noFill/>
        </p:spPr>
        <p:txBody>
          <a:bodyPr wrap="square" tIns="0" bIns="0" rtlCol="0" anchor="ctr">
            <a:noAutofit/>
          </a:bodyPr>
          <a:lstStyle/>
          <a:p>
            <a:pPr algn="l"/>
            <a:r>
              <a:rPr lang="en-US" sz="2600" b="0" dirty="0">
                <a:solidFill>
                  <a:schemeClr val="tx1"/>
                </a:solidFill>
              </a:rPr>
              <a:t>13</a:t>
            </a:r>
            <a:endParaRPr sz="2600" b="0" dirty="0">
              <a:solidFill>
                <a:schemeClr val="tx1"/>
              </a:solidFill>
            </a:endParaRPr>
          </a:p>
        </p:txBody>
      </p:sp>
      <p:sp>
        <p:nvSpPr>
          <p:cNvPr id="1806" name="TextBox 1805"/>
          <p:cNvSpPr txBox="1"/>
          <p:nvPr/>
        </p:nvSpPr>
        <p:spPr>
          <a:xfrm>
            <a:off x="8512830" y="5300472"/>
            <a:ext cx="3657362" cy="768096"/>
          </a:xfrm>
          <a:prstGeom prst="rect">
            <a:avLst/>
          </a:prstGeom>
          <a:noFill/>
        </p:spPr>
        <p:txBody>
          <a:bodyPr wrap="square" tIns="0" bIns="0" rtlCol="0" anchor="ctr">
            <a:noAutofit/>
          </a:bodyPr>
          <a:lstStyle/>
          <a:p>
            <a:pPr algn="l"/>
            <a:r>
              <a:rPr lang="en-US" sz="2600" b="0" dirty="0">
                <a:solidFill>
                  <a:schemeClr val="tx1"/>
                </a:solidFill>
              </a:rPr>
              <a:t>14</a:t>
            </a:r>
            <a:endParaRPr sz="2600" b="0" dirty="0">
              <a:solidFill>
                <a:schemeClr val="tx1"/>
              </a:solidFill>
            </a:endParaRPr>
          </a:p>
        </p:txBody>
      </p:sp>
      <p:sp>
        <p:nvSpPr>
          <p:cNvPr id="1807" name="TextBox 1806"/>
          <p:cNvSpPr txBox="1"/>
          <p:nvPr/>
        </p:nvSpPr>
        <p:spPr>
          <a:xfrm>
            <a:off x="12191204" y="5300472"/>
            <a:ext cx="3657362" cy="768096"/>
          </a:xfrm>
          <a:prstGeom prst="rect">
            <a:avLst/>
          </a:prstGeom>
          <a:noFill/>
        </p:spPr>
        <p:txBody>
          <a:bodyPr wrap="square" tIns="0" bIns="0" rtlCol="0" anchor="ctr">
            <a:noAutofit/>
          </a:bodyPr>
          <a:lstStyle/>
          <a:p>
            <a:pPr algn="l"/>
            <a:r>
              <a:rPr lang="en-US" sz="2600" b="0" dirty="0">
                <a:solidFill>
                  <a:schemeClr val="tx1"/>
                </a:solidFill>
              </a:rPr>
              <a:t>15</a:t>
            </a:r>
            <a:endParaRPr sz="2600" b="0" dirty="0">
              <a:solidFill>
                <a:schemeClr val="tx1"/>
              </a:solidFill>
            </a:endParaRPr>
          </a:p>
        </p:txBody>
      </p:sp>
      <p:sp>
        <p:nvSpPr>
          <p:cNvPr id="1808" name="TextBox 1807"/>
          <p:cNvSpPr txBox="1"/>
          <p:nvPr/>
        </p:nvSpPr>
        <p:spPr>
          <a:xfrm>
            <a:off x="15925635" y="5300472"/>
            <a:ext cx="3657362" cy="768096"/>
          </a:xfrm>
          <a:prstGeom prst="rect">
            <a:avLst/>
          </a:prstGeom>
          <a:noFill/>
        </p:spPr>
        <p:txBody>
          <a:bodyPr wrap="square" tIns="0" bIns="0" rtlCol="0" anchor="ctr">
            <a:noAutofit/>
          </a:bodyPr>
          <a:lstStyle/>
          <a:p>
            <a:pPr algn="l"/>
            <a:r>
              <a:rPr lang="en-US" sz="2600" b="0" dirty="0">
                <a:solidFill>
                  <a:schemeClr val="tx1"/>
                </a:solidFill>
              </a:rPr>
              <a:t>16</a:t>
            </a:r>
            <a:endParaRPr sz="2600" b="0" dirty="0">
              <a:solidFill>
                <a:schemeClr val="tx1"/>
              </a:solidFill>
            </a:endParaRPr>
          </a:p>
        </p:txBody>
      </p:sp>
      <p:sp>
        <p:nvSpPr>
          <p:cNvPr id="1809" name="TextBox 1808"/>
          <p:cNvSpPr txBox="1"/>
          <p:nvPr/>
        </p:nvSpPr>
        <p:spPr>
          <a:xfrm>
            <a:off x="19649854" y="5300472"/>
            <a:ext cx="3657362" cy="768096"/>
          </a:xfrm>
          <a:prstGeom prst="rect">
            <a:avLst/>
          </a:prstGeom>
          <a:noFill/>
        </p:spPr>
        <p:txBody>
          <a:bodyPr wrap="square" tIns="0" bIns="0" rtlCol="0" anchor="ctr">
            <a:noAutofit/>
          </a:bodyPr>
          <a:lstStyle/>
          <a:p>
            <a:pPr algn="l"/>
            <a:r>
              <a:rPr lang="en-US" sz="2600" b="0" dirty="0">
                <a:solidFill>
                  <a:schemeClr val="tx1"/>
                </a:solidFill>
              </a:rPr>
              <a:t>17/18</a:t>
            </a:r>
            <a:endParaRPr sz="2600" b="0" dirty="0">
              <a:solidFill>
                <a:schemeClr val="tx1"/>
              </a:solidFill>
            </a:endParaRPr>
          </a:p>
        </p:txBody>
      </p:sp>
      <p:sp>
        <p:nvSpPr>
          <p:cNvPr id="1810" name="TextBox 1809"/>
          <p:cNvSpPr txBox="1"/>
          <p:nvPr/>
        </p:nvSpPr>
        <p:spPr>
          <a:xfrm>
            <a:off x="1093025" y="7129272"/>
            <a:ext cx="3657362" cy="768096"/>
          </a:xfrm>
          <a:prstGeom prst="rect">
            <a:avLst/>
          </a:prstGeom>
          <a:noFill/>
        </p:spPr>
        <p:txBody>
          <a:bodyPr wrap="square" tIns="0" bIns="0" rtlCol="0" anchor="ctr">
            <a:noAutofit/>
          </a:bodyPr>
          <a:lstStyle/>
          <a:p>
            <a:pPr algn="l"/>
            <a:r>
              <a:rPr lang="en-US" sz="2600" b="0" dirty="0">
                <a:solidFill>
                  <a:schemeClr val="tx1"/>
                </a:solidFill>
              </a:rPr>
              <a:t>19</a:t>
            </a:r>
            <a:endParaRPr sz="2600" b="0" dirty="0">
              <a:solidFill>
                <a:schemeClr val="tx1"/>
              </a:solidFill>
            </a:endParaRPr>
          </a:p>
        </p:txBody>
      </p:sp>
      <p:sp>
        <p:nvSpPr>
          <p:cNvPr id="1811" name="TextBox 1810"/>
          <p:cNvSpPr txBox="1"/>
          <p:nvPr/>
        </p:nvSpPr>
        <p:spPr>
          <a:xfrm>
            <a:off x="4764373" y="7129272"/>
            <a:ext cx="3657362" cy="768096"/>
          </a:xfrm>
          <a:prstGeom prst="rect">
            <a:avLst/>
          </a:prstGeom>
          <a:noFill/>
        </p:spPr>
        <p:txBody>
          <a:bodyPr wrap="square" tIns="0" bIns="0" rtlCol="0" anchor="ctr">
            <a:noAutofit/>
          </a:bodyPr>
          <a:lstStyle/>
          <a:p>
            <a:pPr algn="l"/>
            <a:r>
              <a:rPr lang="en-US" sz="2600" b="0" dirty="0">
                <a:solidFill>
                  <a:schemeClr val="tx1"/>
                </a:solidFill>
              </a:rPr>
              <a:t>20</a:t>
            </a:r>
            <a:endParaRPr sz="2600" b="0" dirty="0">
              <a:solidFill>
                <a:schemeClr val="tx1"/>
              </a:solidFill>
            </a:endParaRPr>
          </a:p>
        </p:txBody>
      </p:sp>
      <p:sp>
        <p:nvSpPr>
          <p:cNvPr id="1812" name="TextBox 1811"/>
          <p:cNvSpPr txBox="1"/>
          <p:nvPr/>
        </p:nvSpPr>
        <p:spPr>
          <a:xfrm>
            <a:off x="8512830" y="7129272"/>
            <a:ext cx="3657362" cy="768096"/>
          </a:xfrm>
          <a:prstGeom prst="rect">
            <a:avLst/>
          </a:prstGeom>
          <a:noFill/>
        </p:spPr>
        <p:txBody>
          <a:bodyPr wrap="square" tIns="0" bIns="0" rtlCol="0" anchor="ctr">
            <a:noAutofit/>
          </a:bodyPr>
          <a:lstStyle/>
          <a:p>
            <a:pPr algn="l"/>
            <a:r>
              <a:rPr lang="en-US" sz="2600" b="0" dirty="0">
                <a:solidFill>
                  <a:schemeClr val="tx1"/>
                </a:solidFill>
              </a:rPr>
              <a:t>21</a:t>
            </a:r>
            <a:endParaRPr sz="2600" b="0" dirty="0">
              <a:solidFill>
                <a:schemeClr val="tx1"/>
              </a:solidFill>
            </a:endParaRPr>
          </a:p>
        </p:txBody>
      </p:sp>
      <p:sp>
        <p:nvSpPr>
          <p:cNvPr id="1813" name="TextBox 1812"/>
          <p:cNvSpPr txBox="1"/>
          <p:nvPr/>
        </p:nvSpPr>
        <p:spPr>
          <a:xfrm>
            <a:off x="12191204" y="7129272"/>
            <a:ext cx="3657362" cy="768096"/>
          </a:xfrm>
          <a:prstGeom prst="rect">
            <a:avLst/>
          </a:prstGeom>
          <a:noFill/>
        </p:spPr>
        <p:txBody>
          <a:bodyPr wrap="square" tIns="0" bIns="0" rtlCol="0" anchor="ctr">
            <a:noAutofit/>
          </a:bodyPr>
          <a:lstStyle/>
          <a:p>
            <a:pPr algn="l"/>
            <a:r>
              <a:rPr lang="en-US" sz="2600" b="0" dirty="0">
                <a:solidFill>
                  <a:schemeClr val="tx1"/>
                </a:solidFill>
              </a:rPr>
              <a:t>22</a:t>
            </a:r>
            <a:endParaRPr sz="2600" b="0" dirty="0">
              <a:solidFill>
                <a:schemeClr val="tx1"/>
              </a:solidFill>
            </a:endParaRPr>
          </a:p>
        </p:txBody>
      </p:sp>
      <p:sp>
        <p:nvSpPr>
          <p:cNvPr id="1814" name="TextBox 1813"/>
          <p:cNvSpPr txBox="1"/>
          <p:nvPr/>
        </p:nvSpPr>
        <p:spPr>
          <a:xfrm>
            <a:off x="15925635" y="7129272"/>
            <a:ext cx="3657362" cy="768096"/>
          </a:xfrm>
          <a:prstGeom prst="rect">
            <a:avLst/>
          </a:prstGeom>
          <a:noFill/>
        </p:spPr>
        <p:txBody>
          <a:bodyPr wrap="square" tIns="0" bIns="0" rtlCol="0" anchor="ctr">
            <a:noAutofit/>
          </a:bodyPr>
          <a:lstStyle/>
          <a:p>
            <a:pPr algn="l"/>
            <a:r>
              <a:rPr lang="en-US" sz="2600" b="0" dirty="0">
                <a:solidFill>
                  <a:schemeClr val="tx1"/>
                </a:solidFill>
              </a:rPr>
              <a:t>23</a:t>
            </a:r>
            <a:endParaRPr sz="2600" b="0" dirty="0">
              <a:solidFill>
                <a:schemeClr val="tx1"/>
              </a:solidFill>
            </a:endParaRPr>
          </a:p>
        </p:txBody>
      </p:sp>
      <p:sp>
        <p:nvSpPr>
          <p:cNvPr id="1815" name="TextBox 1814"/>
          <p:cNvSpPr txBox="1"/>
          <p:nvPr/>
        </p:nvSpPr>
        <p:spPr>
          <a:xfrm>
            <a:off x="19649854" y="7129272"/>
            <a:ext cx="3657362" cy="768096"/>
          </a:xfrm>
          <a:prstGeom prst="rect">
            <a:avLst/>
          </a:prstGeom>
          <a:noFill/>
        </p:spPr>
        <p:txBody>
          <a:bodyPr wrap="square" tIns="0" bIns="0" rtlCol="0" anchor="ctr">
            <a:noAutofit/>
          </a:bodyPr>
          <a:lstStyle/>
          <a:p>
            <a:pPr algn="l"/>
            <a:r>
              <a:rPr lang="en-US" sz="2600" b="0" dirty="0">
                <a:solidFill>
                  <a:schemeClr val="tx1"/>
                </a:solidFill>
              </a:rPr>
              <a:t>24/25</a:t>
            </a:r>
            <a:endParaRPr sz="2600" b="0" dirty="0">
              <a:solidFill>
                <a:schemeClr val="tx1"/>
              </a:solidFill>
            </a:endParaRPr>
          </a:p>
        </p:txBody>
      </p:sp>
      <p:sp>
        <p:nvSpPr>
          <p:cNvPr id="1816" name="TextBox 1815"/>
          <p:cNvSpPr txBox="1"/>
          <p:nvPr/>
        </p:nvSpPr>
        <p:spPr>
          <a:xfrm>
            <a:off x="1093025" y="8958072"/>
            <a:ext cx="3657362" cy="768096"/>
          </a:xfrm>
          <a:prstGeom prst="rect">
            <a:avLst/>
          </a:prstGeom>
          <a:noFill/>
        </p:spPr>
        <p:txBody>
          <a:bodyPr wrap="square" tIns="0" bIns="0" rtlCol="0" anchor="ctr">
            <a:noAutofit/>
          </a:bodyPr>
          <a:lstStyle/>
          <a:p>
            <a:pPr algn="l"/>
            <a:r>
              <a:rPr lang="en-US" sz="2600" b="0" dirty="0">
                <a:solidFill>
                  <a:schemeClr val="tx1"/>
                </a:solidFill>
              </a:rPr>
              <a:t>26</a:t>
            </a:r>
            <a:endParaRPr sz="2600" b="0" dirty="0">
              <a:solidFill>
                <a:schemeClr val="tx1"/>
              </a:solidFill>
            </a:endParaRPr>
          </a:p>
        </p:txBody>
      </p:sp>
      <p:sp>
        <p:nvSpPr>
          <p:cNvPr id="1817" name="TextBox 1816"/>
          <p:cNvSpPr txBox="1"/>
          <p:nvPr/>
        </p:nvSpPr>
        <p:spPr>
          <a:xfrm>
            <a:off x="4764373" y="8958072"/>
            <a:ext cx="3657362" cy="768096"/>
          </a:xfrm>
          <a:prstGeom prst="rect">
            <a:avLst/>
          </a:prstGeom>
          <a:noFill/>
        </p:spPr>
        <p:txBody>
          <a:bodyPr wrap="square" tIns="0" bIns="0" rtlCol="0" anchor="ctr">
            <a:noAutofit/>
          </a:bodyPr>
          <a:lstStyle/>
          <a:p>
            <a:pPr algn="l"/>
            <a:r>
              <a:rPr lang="en-US" sz="2600" b="0" dirty="0">
                <a:solidFill>
                  <a:schemeClr val="tx1"/>
                </a:solidFill>
              </a:rPr>
              <a:t>27</a:t>
            </a:r>
            <a:endParaRPr sz="2600" b="0" dirty="0">
              <a:solidFill>
                <a:schemeClr val="tx1"/>
              </a:solidFill>
            </a:endParaRPr>
          </a:p>
        </p:txBody>
      </p:sp>
      <p:sp>
        <p:nvSpPr>
          <p:cNvPr id="1818" name="TextBox 1817"/>
          <p:cNvSpPr txBox="1"/>
          <p:nvPr/>
        </p:nvSpPr>
        <p:spPr>
          <a:xfrm>
            <a:off x="8512830" y="8958072"/>
            <a:ext cx="3657362" cy="768096"/>
          </a:xfrm>
          <a:prstGeom prst="rect">
            <a:avLst/>
          </a:prstGeom>
          <a:noFill/>
        </p:spPr>
        <p:txBody>
          <a:bodyPr wrap="square" tIns="0" bIns="0" rtlCol="0" anchor="ctr">
            <a:noAutofit/>
          </a:bodyPr>
          <a:lstStyle/>
          <a:p>
            <a:pPr algn="l"/>
            <a:r>
              <a:rPr lang="en-US" sz="2600" b="0" dirty="0">
                <a:solidFill>
                  <a:schemeClr val="tx1"/>
                </a:solidFill>
              </a:rPr>
              <a:t>28</a:t>
            </a:r>
            <a:endParaRPr sz="2600" b="0" dirty="0">
              <a:solidFill>
                <a:schemeClr val="tx1"/>
              </a:solidFill>
            </a:endParaRPr>
          </a:p>
        </p:txBody>
      </p:sp>
      <p:sp>
        <p:nvSpPr>
          <p:cNvPr id="1819" name="TextBox 1818"/>
          <p:cNvSpPr txBox="1"/>
          <p:nvPr/>
        </p:nvSpPr>
        <p:spPr>
          <a:xfrm>
            <a:off x="12191204" y="8958072"/>
            <a:ext cx="3657362" cy="768096"/>
          </a:xfrm>
          <a:prstGeom prst="rect">
            <a:avLst/>
          </a:prstGeom>
          <a:noFill/>
        </p:spPr>
        <p:txBody>
          <a:bodyPr wrap="square" tIns="0" bIns="0" rtlCol="0" anchor="ctr">
            <a:noAutofit/>
          </a:bodyPr>
          <a:lstStyle/>
          <a:p>
            <a:pPr algn="l"/>
            <a:r>
              <a:rPr lang="en-US" sz="2600" b="0" dirty="0">
                <a:solidFill>
                  <a:schemeClr val="tx1"/>
                </a:solidFill>
              </a:rPr>
              <a:t>29</a:t>
            </a:r>
            <a:endParaRPr sz="2600" b="0" dirty="0">
              <a:solidFill>
                <a:schemeClr val="tx1"/>
              </a:solidFill>
            </a:endParaRPr>
          </a:p>
        </p:txBody>
      </p:sp>
      <p:sp>
        <p:nvSpPr>
          <p:cNvPr id="1820" name="TextBox 1819"/>
          <p:cNvSpPr txBox="1"/>
          <p:nvPr/>
        </p:nvSpPr>
        <p:spPr>
          <a:xfrm>
            <a:off x="15925635" y="8958072"/>
            <a:ext cx="3657362" cy="768096"/>
          </a:xfrm>
          <a:prstGeom prst="rect">
            <a:avLst/>
          </a:prstGeom>
          <a:noFill/>
        </p:spPr>
        <p:txBody>
          <a:bodyPr wrap="square" tIns="0" bIns="0" rtlCol="0" anchor="ctr">
            <a:noAutofit/>
          </a:bodyPr>
          <a:lstStyle>
            <a:defPPr>
              <a:defRPr lang="en-US"/>
            </a:defPPr>
            <a:lvl1pPr lvl="0">
              <a:defRPr sz="1300" b="0">
                <a:solidFill>
                  <a:schemeClr val="bg2">
                    <a:lumMod val="90000"/>
                  </a:schemeClr>
                </a:solidFill>
              </a:defRPr>
            </a:lvl1pPr>
          </a:lstStyle>
          <a:p>
            <a:pPr lvl="0"/>
            <a:r>
              <a:rPr lang="en-US" sz="2600" dirty="0">
                <a:solidFill>
                  <a:schemeClr val="bg1">
                    <a:lumMod val="50000"/>
                  </a:schemeClr>
                </a:solidFill>
              </a:rPr>
              <a:t>30</a:t>
            </a:r>
            <a:endParaRPr sz="2600" dirty="0">
              <a:solidFill>
                <a:schemeClr val="bg1">
                  <a:lumMod val="50000"/>
                </a:schemeClr>
              </a:solidFill>
            </a:endParaRPr>
          </a:p>
        </p:txBody>
      </p:sp>
      <p:sp>
        <p:nvSpPr>
          <p:cNvPr id="1821" name="TextBox 1820"/>
          <p:cNvSpPr txBox="1"/>
          <p:nvPr/>
        </p:nvSpPr>
        <p:spPr>
          <a:xfrm>
            <a:off x="19649854" y="8958072"/>
            <a:ext cx="3657362" cy="768096"/>
          </a:xfrm>
          <a:prstGeom prst="rect">
            <a:avLst/>
          </a:prstGeom>
          <a:noFill/>
        </p:spPr>
        <p:txBody>
          <a:bodyPr wrap="square" tIns="0" bIns="0" rtlCol="0" anchor="ctr">
            <a:noAutofit/>
          </a:bodyPr>
          <a:lstStyle>
            <a:defPPr>
              <a:defRPr lang="en-US"/>
            </a:defPPr>
            <a:lvl1pPr>
              <a:defRPr sz="1300" b="0">
                <a:solidFill>
                  <a:schemeClr val="bg2">
                    <a:lumMod val="90000"/>
                  </a:schemeClr>
                </a:solidFill>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dirty="0">
                <a:solidFill>
                  <a:schemeClr val="bg1">
                    <a:lumMod val="50000"/>
                  </a:schemeClr>
                </a:solidFill>
              </a:rPr>
              <a:t>31 / 1 September</a:t>
            </a:r>
            <a:endParaRPr lang="en-US" sz="2600" dirty="0">
              <a:solidFill>
                <a:schemeClr val="bg1">
                  <a:lumMod val="75000"/>
                </a:schemeClr>
              </a:solidFill>
            </a:endParaRPr>
          </a:p>
        </p:txBody>
      </p:sp>
      <p:sp>
        <p:nvSpPr>
          <p:cNvPr id="1828" name="TextBox 1827"/>
          <p:cNvSpPr txBox="1"/>
          <p:nvPr/>
        </p:nvSpPr>
        <p:spPr>
          <a:xfrm>
            <a:off x="956671" y="304800"/>
            <a:ext cx="22350545" cy="1398084"/>
          </a:xfrm>
          <a:prstGeom prst="rect">
            <a:avLst/>
          </a:prstGeom>
          <a:noFill/>
        </p:spPr>
        <p:txBody>
          <a:bodyPr wrap="square" tIns="0" bIns="0" rtlCol="0" anchor="ctr">
            <a:noAutofit/>
          </a:bodyPr>
          <a:lstStyle/>
          <a:p>
            <a:pPr algn="l"/>
            <a:r>
              <a:rPr lang="en-US" sz="4400" b="0" dirty="0">
                <a:solidFill>
                  <a:schemeClr val="accent1"/>
                </a:solidFill>
              </a:rPr>
              <a:t>A</a:t>
            </a:r>
            <a:r>
              <a:rPr sz="4400" b="0" dirty="0">
                <a:solidFill>
                  <a:schemeClr val="accent1"/>
                </a:solidFill>
              </a:rPr>
              <a:t>ugust</a:t>
            </a:r>
          </a:p>
        </p:txBody>
      </p:sp>
      <p:sp>
        <p:nvSpPr>
          <p:cNvPr id="69" name="TextBox 68"/>
          <p:cNvSpPr txBox="1"/>
          <p:nvPr/>
        </p:nvSpPr>
        <p:spPr>
          <a:xfrm>
            <a:off x="1093025" y="1080516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2</a:t>
            </a:r>
            <a:endParaRPr sz="2600" b="0" dirty="0">
              <a:solidFill>
                <a:schemeClr val="bg2">
                  <a:lumMod val="90000"/>
                </a:schemeClr>
              </a:solidFill>
            </a:endParaRPr>
          </a:p>
        </p:txBody>
      </p:sp>
      <p:sp>
        <p:nvSpPr>
          <p:cNvPr id="70" name="TextBox 69"/>
          <p:cNvSpPr txBox="1"/>
          <p:nvPr/>
        </p:nvSpPr>
        <p:spPr>
          <a:xfrm>
            <a:off x="4764373" y="1080516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3</a:t>
            </a:r>
            <a:endParaRPr sz="2600" b="0" dirty="0">
              <a:solidFill>
                <a:schemeClr val="bg2">
                  <a:lumMod val="90000"/>
                </a:schemeClr>
              </a:solidFill>
            </a:endParaRPr>
          </a:p>
        </p:txBody>
      </p:sp>
      <p:sp>
        <p:nvSpPr>
          <p:cNvPr id="71" name="TextBox 70"/>
          <p:cNvSpPr txBox="1"/>
          <p:nvPr/>
        </p:nvSpPr>
        <p:spPr>
          <a:xfrm>
            <a:off x="8512833" y="1080516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4</a:t>
            </a:r>
            <a:endParaRPr sz="2600" b="0" dirty="0">
              <a:solidFill>
                <a:schemeClr val="bg2">
                  <a:lumMod val="90000"/>
                </a:schemeClr>
              </a:solidFill>
            </a:endParaRPr>
          </a:p>
        </p:txBody>
      </p:sp>
      <p:sp>
        <p:nvSpPr>
          <p:cNvPr id="72" name="TextBox 71"/>
          <p:cNvSpPr txBox="1"/>
          <p:nvPr/>
        </p:nvSpPr>
        <p:spPr>
          <a:xfrm>
            <a:off x="12191204" y="1080516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5</a:t>
            </a:r>
            <a:endParaRPr sz="2600" b="0" dirty="0">
              <a:solidFill>
                <a:schemeClr val="bg2">
                  <a:lumMod val="90000"/>
                </a:schemeClr>
              </a:solidFill>
            </a:endParaRPr>
          </a:p>
        </p:txBody>
      </p:sp>
      <p:sp>
        <p:nvSpPr>
          <p:cNvPr id="73" name="TextBox 72"/>
          <p:cNvSpPr txBox="1"/>
          <p:nvPr/>
        </p:nvSpPr>
        <p:spPr>
          <a:xfrm>
            <a:off x="15925635" y="1080516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6</a:t>
            </a:r>
            <a:endParaRPr sz="2600" b="0" dirty="0">
              <a:solidFill>
                <a:schemeClr val="bg2">
                  <a:lumMod val="90000"/>
                </a:schemeClr>
              </a:solidFill>
            </a:endParaRPr>
          </a:p>
        </p:txBody>
      </p:sp>
      <p:sp>
        <p:nvSpPr>
          <p:cNvPr id="74" name="TextBox 73"/>
          <p:cNvSpPr txBox="1"/>
          <p:nvPr/>
        </p:nvSpPr>
        <p:spPr>
          <a:xfrm>
            <a:off x="19649854" y="1080516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7/8</a:t>
            </a:r>
            <a:endParaRPr sz="2600" b="0" dirty="0">
              <a:solidFill>
                <a:schemeClr val="bg2">
                  <a:lumMod val="90000"/>
                </a:schemeClr>
              </a:solidFill>
            </a:endParaRPr>
          </a:p>
        </p:txBody>
      </p:sp>
      <p:sp>
        <p:nvSpPr>
          <p:cNvPr id="34" name="Text Placeholder 2"/>
          <p:cNvSpPr>
            <a:spLocks noGrp="1"/>
          </p:cNvSpPr>
          <p:nvPr>
            <p:ph type="body" sz="quarter" idx="11" hasCustomPrompt="1"/>
          </p:nvPr>
        </p:nvSpPr>
        <p:spPr>
          <a:xfrm>
            <a:off x="1048444"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0" name="Text Placeholder 2"/>
          <p:cNvSpPr>
            <a:spLocks noGrp="1"/>
          </p:cNvSpPr>
          <p:nvPr>
            <p:ph type="body" sz="quarter" idx="17" hasCustomPrompt="1"/>
          </p:nvPr>
        </p:nvSpPr>
        <p:spPr>
          <a:xfrm>
            <a:off x="4754571"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6" name="Text Placeholder 2"/>
          <p:cNvSpPr>
            <a:spLocks noGrp="1"/>
          </p:cNvSpPr>
          <p:nvPr>
            <p:ph type="body" sz="quarter" idx="23" hasCustomPrompt="1"/>
          </p:nvPr>
        </p:nvSpPr>
        <p:spPr>
          <a:xfrm>
            <a:off x="8485080"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2" name="Text Placeholder 2"/>
          <p:cNvSpPr>
            <a:spLocks noGrp="1"/>
          </p:cNvSpPr>
          <p:nvPr>
            <p:ph type="body" sz="quarter" idx="29" hasCustomPrompt="1"/>
          </p:nvPr>
        </p:nvSpPr>
        <p:spPr>
          <a:xfrm>
            <a:off x="12220346"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8" name="Text Placeholder 2"/>
          <p:cNvSpPr>
            <a:spLocks noGrp="1"/>
          </p:cNvSpPr>
          <p:nvPr>
            <p:ph type="body" sz="quarter" idx="35" hasCustomPrompt="1"/>
          </p:nvPr>
        </p:nvSpPr>
        <p:spPr>
          <a:xfrm>
            <a:off x="15935099"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4" name="Text Placeholder 2"/>
          <p:cNvSpPr>
            <a:spLocks noGrp="1"/>
          </p:cNvSpPr>
          <p:nvPr>
            <p:ph type="body" sz="quarter" idx="41" hasCustomPrompt="1"/>
          </p:nvPr>
        </p:nvSpPr>
        <p:spPr>
          <a:xfrm>
            <a:off x="19676607"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3" name="Text Placeholder 2"/>
          <p:cNvSpPr>
            <a:spLocks noGrp="1"/>
          </p:cNvSpPr>
          <p:nvPr>
            <p:ph type="body" sz="quarter" idx="10" hasCustomPrompt="1"/>
          </p:nvPr>
        </p:nvSpPr>
        <p:spPr>
          <a:xfrm>
            <a:off x="1048444"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9" name="Text Placeholder 2"/>
          <p:cNvSpPr>
            <a:spLocks noGrp="1"/>
          </p:cNvSpPr>
          <p:nvPr>
            <p:ph type="body" sz="quarter" idx="16" hasCustomPrompt="1"/>
          </p:nvPr>
        </p:nvSpPr>
        <p:spPr>
          <a:xfrm>
            <a:off x="4754571"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5" name="Text Placeholder 2"/>
          <p:cNvSpPr>
            <a:spLocks noGrp="1"/>
          </p:cNvSpPr>
          <p:nvPr>
            <p:ph type="body" sz="quarter" idx="22" hasCustomPrompt="1"/>
          </p:nvPr>
        </p:nvSpPr>
        <p:spPr>
          <a:xfrm>
            <a:off x="8485080"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1" name="Text Placeholder 2"/>
          <p:cNvSpPr>
            <a:spLocks noGrp="1"/>
          </p:cNvSpPr>
          <p:nvPr>
            <p:ph type="body" sz="quarter" idx="28" hasCustomPrompt="1"/>
          </p:nvPr>
        </p:nvSpPr>
        <p:spPr>
          <a:xfrm>
            <a:off x="12220346"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7" name="Text Placeholder 2"/>
          <p:cNvSpPr>
            <a:spLocks noGrp="1"/>
          </p:cNvSpPr>
          <p:nvPr>
            <p:ph type="body" sz="quarter" idx="34" hasCustomPrompt="1"/>
          </p:nvPr>
        </p:nvSpPr>
        <p:spPr>
          <a:xfrm>
            <a:off x="15935099"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3" name="Text Placeholder 2"/>
          <p:cNvSpPr>
            <a:spLocks noGrp="1"/>
          </p:cNvSpPr>
          <p:nvPr>
            <p:ph type="body" sz="quarter" idx="40" hasCustomPrompt="1"/>
          </p:nvPr>
        </p:nvSpPr>
        <p:spPr>
          <a:xfrm>
            <a:off x="19676607"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5" name="Text Placeholder 2"/>
          <p:cNvSpPr>
            <a:spLocks noGrp="1"/>
          </p:cNvSpPr>
          <p:nvPr>
            <p:ph type="body" sz="quarter" idx="12" hasCustomPrompt="1"/>
          </p:nvPr>
        </p:nvSpPr>
        <p:spPr>
          <a:xfrm>
            <a:off x="1048444"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1" name="Text Placeholder 2"/>
          <p:cNvSpPr>
            <a:spLocks noGrp="1"/>
          </p:cNvSpPr>
          <p:nvPr>
            <p:ph type="body" sz="quarter" idx="18" hasCustomPrompt="1"/>
          </p:nvPr>
        </p:nvSpPr>
        <p:spPr>
          <a:xfrm>
            <a:off x="4754571"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7" name="Text Placeholder 2"/>
          <p:cNvSpPr>
            <a:spLocks noGrp="1"/>
          </p:cNvSpPr>
          <p:nvPr>
            <p:ph type="body" sz="quarter" idx="24" hasCustomPrompt="1"/>
          </p:nvPr>
        </p:nvSpPr>
        <p:spPr>
          <a:xfrm>
            <a:off x="8485080"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3" name="Text Placeholder 2"/>
          <p:cNvSpPr>
            <a:spLocks noGrp="1"/>
          </p:cNvSpPr>
          <p:nvPr>
            <p:ph type="body" sz="quarter" idx="30" hasCustomPrompt="1"/>
          </p:nvPr>
        </p:nvSpPr>
        <p:spPr>
          <a:xfrm>
            <a:off x="12220346"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9" name="Text Placeholder 2"/>
          <p:cNvSpPr>
            <a:spLocks noGrp="1"/>
          </p:cNvSpPr>
          <p:nvPr>
            <p:ph type="body" sz="quarter" idx="36" hasCustomPrompt="1"/>
          </p:nvPr>
        </p:nvSpPr>
        <p:spPr>
          <a:xfrm>
            <a:off x="15935099"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5" name="Text Placeholder 2"/>
          <p:cNvSpPr>
            <a:spLocks noGrp="1"/>
          </p:cNvSpPr>
          <p:nvPr>
            <p:ph type="body" sz="quarter" idx="42" hasCustomPrompt="1"/>
          </p:nvPr>
        </p:nvSpPr>
        <p:spPr>
          <a:xfrm>
            <a:off x="19676607"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6" name="Text Placeholder 2"/>
          <p:cNvSpPr>
            <a:spLocks noGrp="1"/>
          </p:cNvSpPr>
          <p:nvPr>
            <p:ph type="body" sz="quarter" idx="13" hasCustomPrompt="1"/>
          </p:nvPr>
        </p:nvSpPr>
        <p:spPr>
          <a:xfrm>
            <a:off x="1048444"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2" name="Text Placeholder 2"/>
          <p:cNvSpPr>
            <a:spLocks noGrp="1"/>
          </p:cNvSpPr>
          <p:nvPr>
            <p:ph type="body" sz="quarter" idx="19" hasCustomPrompt="1"/>
          </p:nvPr>
        </p:nvSpPr>
        <p:spPr>
          <a:xfrm>
            <a:off x="4754571"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8" name="Text Placeholder 2"/>
          <p:cNvSpPr>
            <a:spLocks noGrp="1"/>
          </p:cNvSpPr>
          <p:nvPr>
            <p:ph type="body" sz="quarter" idx="25" hasCustomPrompt="1"/>
          </p:nvPr>
        </p:nvSpPr>
        <p:spPr>
          <a:xfrm>
            <a:off x="8485080"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4" name="Text Placeholder 2"/>
          <p:cNvSpPr>
            <a:spLocks noGrp="1"/>
          </p:cNvSpPr>
          <p:nvPr>
            <p:ph type="body" sz="quarter" idx="31" hasCustomPrompt="1"/>
          </p:nvPr>
        </p:nvSpPr>
        <p:spPr>
          <a:xfrm>
            <a:off x="12220346"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0" name="Text Placeholder 2"/>
          <p:cNvSpPr>
            <a:spLocks noGrp="1"/>
          </p:cNvSpPr>
          <p:nvPr>
            <p:ph type="body" sz="quarter" idx="37" hasCustomPrompt="1"/>
          </p:nvPr>
        </p:nvSpPr>
        <p:spPr>
          <a:xfrm>
            <a:off x="15935099"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6" name="Text Placeholder 2"/>
          <p:cNvSpPr>
            <a:spLocks noGrp="1"/>
          </p:cNvSpPr>
          <p:nvPr>
            <p:ph type="body" sz="quarter" idx="43" hasCustomPrompt="1"/>
          </p:nvPr>
        </p:nvSpPr>
        <p:spPr>
          <a:xfrm>
            <a:off x="19676607"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7" name="Text Placeholder 2"/>
          <p:cNvSpPr>
            <a:spLocks noGrp="1"/>
          </p:cNvSpPr>
          <p:nvPr>
            <p:ph type="body" sz="quarter" idx="14" hasCustomPrompt="1"/>
          </p:nvPr>
        </p:nvSpPr>
        <p:spPr>
          <a:xfrm>
            <a:off x="1048444"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3" name="Text Placeholder 2"/>
          <p:cNvSpPr>
            <a:spLocks noGrp="1"/>
          </p:cNvSpPr>
          <p:nvPr>
            <p:ph type="body" sz="quarter" idx="20" hasCustomPrompt="1"/>
          </p:nvPr>
        </p:nvSpPr>
        <p:spPr>
          <a:xfrm>
            <a:off x="4754571"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9" name="Text Placeholder 2"/>
          <p:cNvSpPr>
            <a:spLocks noGrp="1"/>
          </p:cNvSpPr>
          <p:nvPr>
            <p:ph type="body" sz="quarter" idx="26" hasCustomPrompt="1"/>
          </p:nvPr>
        </p:nvSpPr>
        <p:spPr>
          <a:xfrm>
            <a:off x="8485080"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5" name="Text Placeholder 2"/>
          <p:cNvSpPr>
            <a:spLocks noGrp="1"/>
          </p:cNvSpPr>
          <p:nvPr>
            <p:ph type="body" sz="quarter" idx="32" hasCustomPrompt="1"/>
          </p:nvPr>
        </p:nvSpPr>
        <p:spPr>
          <a:xfrm>
            <a:off x="12220346"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1" name="Text Placeholder 2"/>
          <p:cNvSpPr>
            <a:spLocks noGrp="1"/>
          </p:cNvSpPr>
          <p:nvPr>
            <p:ph type="body" sz="quarter" idx="38" hasCustomPrompt="1"/>
          </p:nvPr>
        </p:nvSpPr>
        <p:spPr>
          <a:xfrm>
            <a:off x="15935099"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7" name="Text Placeholder 2"/>
          <p:cNvSpPr>
            <a:spLocks noGrp="1"/>
          </p:cNvSpPr>
          <p:nvPr>
            <p:ph type="body" sz="quarter" idx="44" hasCustomPrompt="1"/>
          </p:nvPr>
        </p:nvSpPr>
        <p:spPr>
          <a:xfrm>
            <a:off x="19676607"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8" name="Text Placeholder 2"/>
          <p:cNvSpPr>
            <a:spLocks noGrp="1"/>
          </p:cNvSpPr>
          <p:nvPr>
            <p:ph type="body" sz="quarter" idx="15" hasCustomPrompt="1"/>
          </p:nvPr>
        </p:nvSpPr>
        <p:spPr>
          <a:xfrm>
            <a:off x="1048444"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4" name="Text Placeholder 2"/>
          <p:cNvSpPr>
            <a:spLocks noGrp="1"/>
          </p:cNvSpPr>
          <p:nvPr>
            <p:ph type="body" sz="quarter" idx="21" hasCustomPrompt="1"/>
          </p:nvPr>
        </p:nvSpPr>
        <p:spPr>
          <a:xfrm>
            <a:off x="4754571"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0" name="Text Placeholder 2"/>
          <p:cNvSpPr>
            <a:spLocks noGrp="1"/>
          </p:cNvSpPr>
          <p:nvPr>
            <p:ph type="body" sz="quarter" idx="27" hasCustomPrompt="1"/>
          </p:nvPr>
        </p:nvSpPr>
        <p:spPr>
          <a:xfrm>
            <a:off x="8485080"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6" name="Text Placeholder 2"/>
          <p:cNvSpPr>
            <a:spLocks noGrp="1"/>
          </p:cNvSpPr>
          <p:nvPr>
            <p:ph type="body" sz="quarter" idx="33" hasCustomPrompt="1"/>
          </p:nvPr>
        </p:nvSpPr>
        <p:spPr>
          <a:xfrm>
            <a:off x="12220346"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2" name="Text Placeholder 2"/>
          <p:cNvSpPr>
            <a:spLocks noGrp="1"/>
          </p:cNvSpPr>
          <p:nvPr>
            <p:ph type="body" sz="quarter" idx="39" hasCustomPrompt="1"/>
          </p:nvPr>
        </p:nvSpPr>
        <p:spPr>
          <a:xfrm>
            <a:off x="15935099"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8" name="Text Placeholder 2"/>
          <p:cNvSpPr>
            <a:spLocks noGrp="1"/>
          </p:cNvSpPr>
          <p:nvPr>
            <p:ph type="body" sz="quarter" idx="45" hasCustomPrompt="1"/>
          </p:nvPr>
        </p:nvSpPr>
        <p:spPr>
          <a:xfrm>
            <a:off x="19676607"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8" name="TextBox 77">
            <a:extLst>
              <a:ext uri="{FF2B5EF4-FFF2-40B4-BE49-F238E27FC236}">
                <a16:creationId xmlns:a16="http://schemas.microsoft.com/office/drawing/2014/main" id="{22643A40-83A5-454E-9103-60C944150F0E}"/>
              </a:ext>
            </a:extLst>
          </p:cNvPr>
          <p:cNvSpPr txBox="1"/>
          <p:nvPr userDrawn="1"/>
        </p:nvSpPr>
        <p:spPr>
          <a:xfrm>
            <a:off x="954662" y="1399713"/>
            <a:ext cx="1638300" cy="461665"/>
          </a:xfrm>
          <a:prstGeom prst="rect">
            <a:avLst/>
          </a:prstGeom>
          <a:noFill/>
        </p:spPr>
        <p:txBody>
          <a:bodyPr wrap="square" rtlCol="0">
            <a:spAutoFit/>
          </a:bodyPr>
          <a:lstStyle/>
          <a:p>
            <a:r>
              <a:rPr lang="en-US" sz="2400" b="1" dirty="0">
                <a:solidFill>
                  <a:schemeClr val="accent1"/>
                </a:solidFill>
              </a:rPr>
              <a:t>Monday</a:t>
            </a:r>
          </a:p>
        </p:txBody>
      </p:sp>
      <p:sp>
        <p:nvSpPr>
          <p:cNvPr id="79" name="TextBox 78">
            <a:extLst>
              <a:ext uri="{FF2B5EF4-FFF2-40B4-BE49-F238E27FC236}">
                <a16:creationId xmlns:a16="http://schemas.microsoft.com/office/drawing/2014/main" id="{4D94A833-7BCC-AC40-B9C4-0628487CA2B9}"/>
              </a:ext>
            </a:extLst>
          </p:cNvPr>
          <p:cNvSpPr txBox="1"/>
          <p:nvPr userDrawn="1"/>
        </p:nvSpPr>
        <p:spPr>
          <a:xfrm>
            <a:off x="4688462" y="1399713"/>
            <a:ext cx="1638300" cy="461665"/>
          </a:xfrm>
          <a:prstGeom prst="rect">
            <a:avLst/>
          </a:prstGeom>
          <a:noFill/>
        </p:spPr>
        <p:txBody>
          <a:bodyPr wrap="square" rtlCol="0">
            <a:spAutoFit/>
          </a:bodyPr>
          <a:lstStyle/>
          <a:p>
            <a:r>
              <a:rPr lang="en-US" sz="2400" b="1" dirty="0">
                <a:solidFill>
                  <a:schemeClr val="accent1"/>
                </a:solidFill>
              </a:rPr>
              <a:t>Tuesday</a:t>
            </a:r>
          </a:p>
        </p:txBody>
      </p:sp>
      <p:sp>
        <p:nvSpPr>
          <p:cNvPr id="80" name="TextBox 79">
            <a:extLst>
              <a:ext uri="{FF2B5EF4-FFF2-40B4-BE49-F238E27FC236}">
                <a16:creationId xmlns:a16="http://schemas.microsoft.com/office/drawing/2014/main" id="{E2379662-A59E-3D42-BC7D-FE6CA1D5AE41}"/>
              </a:ext>
            </a:extLst>
          </p:cNvPr>
          <p:cNvSpPr txBox="1"/>
          <p:nvPr userDrawn="1"/>
        </p:nvSpPr>
        <p:spPr>
          <a:xfrm>
            <a:off x="8365112" y="1399713"/>
            <a:ext cx="2741038" cy="461665"/>
          </a:xfrm>
          <a:prstGeom prst="rect">
            <a:avLst/>
          </a:prstGeom>
          <a:noFill/>
        </p:spPr>
        <p:txBody>
          <a:bodyPr wrap="square" rtlCol="0">
            <a:spAutoFit/>
          </a:bodyPr>
          <a:lstStyle/>
          <a:p>
            <a:r>
              <a:rPr lang="en-US" sz="2400" b="1" dirty="0">
                <a:solidFill>
                  <a:schemeClr val="accent1"/>
                </a:solidFill>
              </a:rPr>
              <a:t>Wednesday</a:t>
            </a:r>
          </a:p>
        </p:txBody>
      </p:sp>
      <p:sp>
        <p:nvSpPr>
          <p:cNvPr id="81" name="TextBox 80">
            <a:extLst>
              <a:ext uri="{FF2B5EF4-FFF2-40B4-BE49-F238E27FC236}">
                <a16:creationId xmlns:a16="http://schemas.microsoft.com/office/drawing/2014/main" id="{9B2737DC-CC32-6646-AC93-497EC28EA799}"/>
              </a:ext>
            </a:extLst>
          </p:cNvPr>
          <p:cNvSpPr txBox="1"/>
          <p:nvPr userDrawn="1"/>
        </p:nvSpPr>
        <p:spPr>
          <a:xfrm>
            <a:off x="12137012" y="1399713"/>
            <a:ext cx="1638300" cy="461665"/>
          </a:xfrm>
          <a:prstGeom prst="rect">
            <a:avLst/>
          </a:prstGeom>
          <a:noFill/>
        </p:spPr>
        <p:txBody>
          <a:bodyPr wrap="square" rtlCol="0">
            <a:spAutoFit/>
          </a:bodyPr>
          <a:lstStyle/>
          <a:p>
            <a:r>
              <a:rPr lang="en-US" sz="2400" b="1" dirty="0">
                <a:solidFill>
                  <a:schemeClr val="accent1"/>
                </a:solidFill>
              </a:rPr>
              <a:t>Thursday</a:t>
            </a:r>
          </a:p>
        </p:txBody>
      </p:sp>
      <p:sp>
        <p:nvSpPr>
          <p:cNvPr id="82" name="TextBox 81">
            <a:extLst>
              <a:ext uri="{FF2B5EF4-FFF2-40B4-BE49-F238E27FC236}">
                <a16:creationId xmlns:a16="http://schemas.microsoft.com/office/drawing/2014/main" id="{1426DAD5-B456-094B-81FA-D2B11F219487}"/>
              </a:ext>
            </a:extLst>
          </p:cNvPr>
          <p:cNvSpPr txBox="1"/>
          <p:nvPr userDrawn="1"/>
        </p:nvSpPr>
        <p:spPr>
          <a:xfrm>
            <a:off x="15870812" y="1399713"/>
            <a:ext cx="1638300" cy="461665"/>
          </a:xfrm>
          <a:prstGeom prst="rect">
            <a:avLst/>
          </a:prstGeom>
          <a:noFill/>
        </p:spPr>
        <p:txBody>
          <a:bodyPr wrap="square" rtlCol="0">
            <a:spAutoFit/>
          </a:bodyPr>
          <a:lstStyle/>
          <a:p>
            <a:r>
              <a:rPr lang="en-US" sz="2400" b="1" dirty="0">
                <a:solidFill>
                  <a:schemeClr val="accent1"/>
                </a:solidFill>
              </a:rPr>
              <a:t>Friday</a:t>
            </a:r>
          </a:p>
        </p:txBody>
      </p:sp>
      <p:sp>
        <p:nvSpPr>
          <p:cNvPr id="83" name="TextBox 82">
            <a:extLst>
              <a:ext uri="{FF2B5EF4-FFF2-40B4-BE49-F238E27FC236}">
                <a16:creationId xmlns:a16="http://schemas.microsoft.com/office/drawing/2014/main" id="{0B576663-407A-714A-BE22-E9CA87095EF0}"/>
              </a:ext>
            </a:extLst>
          </p:cNvPr>
          <p:cNvSpPr txBox="1"/>
          <p:nvPr userDrawn="1"/>
        </p:nvSpPr>
        <p:spPr>
          <a:xfrm>
            <a:off x="19585562" y="1399713"/>
            <a:ext cx="1638300" cy="461665"/>
          </a:xfrm>
          <a:prstGeom prst="rect">
            <a:avLst/>
          </a:prstGeom>
          <a:noFill/>
        </p:spPr>
        <p:txBody>
          <a:bodyPr wrap="square" rtlCol="0">
            <a:spAutoFit/>
          </a:bodyPr>
          <a:lstStyle/>
          <a:p>
            <a:r>
              <a:rPr lang="en-US" sz="2400" b="1" dirty="0">
                <a:solidFill>
                  <a:schemeClr val="accent1"/>
                </a:solidFill>
              </a:rPr>
              <a:t>Sunday</a:t>
            </a:r>
          </a:p>
        </p:txBody>
      </p:sp>
    </p:spTree>
    <p:extLst>
      <p:ext uri="{BB962C8B-B14F-4D97-AF65-F5344CB8AC3E}">
        <p14:creationId xmlns:p14="http://schemas.microsoft.com/office/powerpoint/2010/main" val="15472589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ptember 2019">
    <p:spTree>
      <p:nvGrpSpPr>
        <p:cNvPr id="1" name=""/>
        <p:cNvGrpSpPr/>
        <p:nvPr/>
      </p:nvGrpSpPr>
      <p:grpSpPr>
        <a:xfrm>
          <a:off x="0" y="0"/>
          <a:ext cx="0" cy="0"/>
          <a:chOff x="0" y="0"/>
          <a:chExt cx="0" cy="0"/>
        </a:xfrm>
      </p:grpSpPr>
      <p:sp>
        <p:nvSpPr>
          <p:cNvPr id="1792" name="TextBox 1791"/>
          <p:cNvSpPr txBox="1"/>
          <p:nvPr/>
        </p:nvSpPr>
        <p:spPr>
          <a:xfrm>
            <a:off x="1093019" y="1645734"/>
            <a:ext cx="3657362" cy="768096"/>
          </a:xfrm>
          <a:prstGeom prst="rect">
            <a:avLst/>
          </a:prstGeom>
          <a:noFill/>
        </p:spPr>
        <p:txBody>
          <a:bodyPr wrap="square" tIns="0" bIns="0" rtlCol="0" anchor="ctr">
            <a:noAutofit/>
          </a:bodyPr>
          <a:lstStyle/>
          <a:p>
            <a:pPr marL="0" marR="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2">
                    <a:lumMod val="90000"/>
                  </a:schemeClr>
                </a:solidFill>
              </a:rPr>
              <a:t>26 August</a:t>
            </a:r>
          </a:p>
        </p:txBody>
      </p:sp>
      <p:sp>
        <p:nvSpPr>
          <p:cNvPr id="1793" name="TextBox 1792"/>
          <p:cNvSpPr txBox="1"/>
          <p:nvPr/>
        </p:nvSpPr>
        <p:spPr>
          <a:xfrm>
            <a:off x="4764373" y="1645734"/>
            <a:ext cx="3657362" cy="768096"/>
          </a:xfrm>
          <a:prstGeom prst="rect">
            <a:avLst/>
          </a:prstGeom>
          <a:noFill/>
        </p:spPr>
        <p:txBody>
          <a:bodyPr wrap="square" tIns="0" bIns="0" rtlCol="0" anchor="ctr">
            <a:noAutofit/>
          </a:bodyPr>
          <a:lstStyle>
            <a:defPPr>
              <a:defRPr lang="en-US"/>
            </a:defPPr>
            <a:lvl1pPr marR="0" indent="0" fontAlgn="auto">
              <a:lnSpc>
                <a:spcPct val="100000"/>
              </a:lnSpc>
              <a:spcBef>
                <a:spcPts val="0"/>
              </a:spcBef>
              <a:spcAft>
                <a:spcPts val="0"/>
              </a:spcAft>
              <a:buClrTx/>
              <a:buSzTx/>
              <a:buFontTx/>
              <a:buNone/>
              <a:tabLst/>
              <a:defRPr sz="1300" b="0">
                <a:solidFill>
                  <a:schemeClr val="bg2">
                    <a:lumMod val="90000"/>
                  </a:schemeClr>
                </a:solidFill>
              </a:defRPr>
            </a:lvl1pPr>
          </a:lstStyle>
          <a:p>
            <a:pPr lvl="0"/>
            <a:r>
              <a:rPr lang="en-US" sz="2600" dirty="0"/>
              <a:t>27</a:t>
            </a:r>
            <a:endParaRPr sz="2600" dirty="0"/>
          </a:p>
        </p:txBody>
      </p:sp>
      <p:sp>
        <p:nvSpPr>
          <p:cNvPr id="1794" name="TextBox 1793"/>
          <p:cNvSpPr txBox="1"/>
          <p:nvPr/>
        </p:nvSpPr>
        <p:spPr>
          <a:xfrm>
            <a:off x="8512830" y="1645734"/>
            <a:ext cx="3657362" cy="768096"/>
          </a:xfrm>
          <a:prstGeom prst="rect">
            <a:avLst/>
          </a:prstGeom>
          <a:noFill/>
        </p:spPr>
        <p:txBody>
          <a:bodyPr wrap="square" tIns="0" bIns="0" rtlCol="0" anchor="ctr">
            <a:noAutofit/>
          </a:bodyPr>
          <a:lstStyle>
            <a:defPPr>
              <a:defRPr lang="en-US"/>
            </a:defPPr>
            <a:lvl1pPr marR="0" lvl="0" indent="0" fontAlgn="auto">
              <a:lnSpc>
                <a:spcPct val="100000"/>
              </a:lnSpc>
              <a:spcBef>
                <a:spcPts val="0"/>
              </a:spcBef>
              <a:spcAft>
                <a:spcPts val="0"/>
              </a:spcAft>
              <a:buClrTx/>
              <a:buSzTx/>
              <a:buFontTx/>
              <a:buNone/>
              <a:tabLst/>
              <a:defRPr sz="1300" b="0">
                <a:solidFill>
                  <a:schemeClr val="bg2">
                    <a:lumMod val="90000"/>
                  </a:schemeClr>
                </a:solidFill>
              </a:defRPr>
            </a:lvl1pPr>
          </a:lstStyle>
          <a:p>
            <a:pPr lvl="0"/>
            <a:r>
              <a:rPr lang="en-US" sz="2600" dirty="0"/>
              <a:t>28</a:t>
            </a:r>
            <a:endParaRPr sz="2600" dirty="0"/>
          </a:p>
        </p:txBody>
      </p:sp>
      <p:sp>
        <p:nvSpPr>
          <p:cNvPr id="1795" name="TextBox 1794"/>
          <p:cNvSpPr txBox="1"/>
          <p:nvPr/>
        </p:nvSpPr>
        <p:spPr>
          <a:xfrm>
            <a:off x="12191204" y="1645734"/>
            <a:ext cx="3657362" cy="768096"/>
          </a:xfrm>
          <a:prstGeom prst="rect">
            <a:avLst/>
          </a:prstGeom>
          <a:noFill/>
        </p:spPr>
        <p:txBody>
          <a:bodyPr wrap="square" tIns="0" bIns="0" rtlCol="0" anchor="ctr">
            <a:noAutofit/>
          </a:bodyPr>
          <a:lstStyle>
            <a:defPPr>
              <a:defRPr lang="en-US"/>
            </a:defPPr>
            <a:lvl1pPr marR="0" lvl="0" indent="0" fontAlgn="auto">
              <a:lnSpc>
                <a:spcPct val="100000"/>
              </a:lnSpc>
              <a:spcBef>
                <a:spcPts val="0"/>
              </a:spcBef>
              <a:spcAft>
                <a:spcPts val="0"/>
              </a:spcAft>
              <a:buClrTx/>
              <a:buSzTx/>
              <a:buFontTx/>
              <a:buNone/>
              <a:tabLst/>
              <a:defRPr sz="1300" b="0">
                <a:solidFill>
                  <a:schemeClr val="bg2">
                    <a:lumMod val="90000"/>
                  </a:schemeClr>
                </a:solidFill>
              </a:defRPr>
            </a:lvl1pPr>
          </a:lstStyle>
          <a:p>
            <a:pPr lvl="0"/>
            <a:r>
              <a:rPr lang="en-US" sz="2600" dirty="0"/>
              <a:t>29</a:t>
            </a:r>
            <a:endParaRPr sz="2600" dirty="0"/>
          </a:p>
        </p:txBody>
      </p:sp>
      <p:sp>
        <p:nvSpPr>
          <p:cNvPr id="1796" name="TextBox 1795"/>
          <p:cNvSpPr txBox="1"/>
          <p:nvPr/>
        </p:nvSpPr>
        <p:spPr>
          <a:xfrm>
            <a:off x="15925635" y="1645734"/>
            <a:ext cx="3657362" cy="768096"/>
          </a:xfrm>
          <a:prstGeom prst="rect">
            <a:avLst/>
          </a:prstGeom>
          <a:noFill/>
        </p:spPr>
        <p:txBody>
          <a:bodyPr wrap="square" tIns="0" bIns="0" rtlCol="0" anchor="ctr">
            <a:noAutofit/>
          </a:bodyPr>
          <a:lstStyle/>
          <a:p>
            <a:pPr algn="l"/>
            <a:r>
              <a:rPr lang="en-US" sz="2600" b="0" dirty="0">
                <a:solidFill>
                  <a:schemeClr val="bg1">
                    <a:lumMod val="75000"/>
                  </a:schemeClr>
                </a:solidFill>
              </a:rPr>
              <a:t>30</a:t>
            </a:r>
            <a:endParaRPr sz="2600" b="0" dirty="0">
              <a:solidFill>
                <a:schemeClr val="bg1">
                  <a:lumMod val="75000"/>
                </a:schemeClr>
              </a:solidFill>
            </a:endParaRPr>
          </a:p>
        </p:txBody>
      </p:sp>
      <p:sp>
        <p:nvSpPr>
          <p:cNvPr id="1797" name="TextBox 1796"/>
          <p:cNvSpPr txBox="1"/>
          <p:nvPr/>
        </p:nvSpPr>
        <p:spPr>
          <a:xfrm>
            <a:off x="19649854" y="1645734"/>
            <a:ext cx="3639539"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1">
                    <a:lumMod val="75000"/>
                  </a:schemeClr>
                </a:solidFill>
              </a:rPr>
              <a:t>31</a:t>
            </a:r>
            <a:r>
              <a:rPr lang="en-US" sz="2600" b="0" kern="1200" cap="none" spc="0" dirty="0">
                <a:ln w="0"/>
                <a:solidFill>
                  <a:schemeClr val="tx1"/>
                </a:solidFill>
                <a:effectLst>
                  <a:outerShdw blurRad="38100" dist="19050" dir="2700000" algn="tl" rotWithShape="0">
                    <a:schemeClr val="dk1">
                      <a:alpha val="40000"/>
                    </a:schemeClr>
                  </a:outerShdw>
                </a:effectLst>
                <a:latin typeface="+mn-lt"/>
                <a:ea typeface="+mn-ea"/>
                <a:cs typeface="+mn-cs"/>
              </a:rPr>
              <a:t> / 1 September</a:t>
            </a:r>
            <a:endParaRPr lang="en-US" sz="2600" b="0" dirty="0">
              <a:solidFill>
                <a:schemeClr val="tx1"/>
              </a:solidFill>
            </a:endParaRPr>
          </a:p>
        </p:txBody>
      </p:sp>
      <p:sp>
        <p:nvSpPr>
          <p:cNvPr id="1798" name="TextBox 1797"/>
          <p:cNvSpPr txBox="1"/>
          <p:nvPr/>
        </p:nvSpPr>
        <p:spPr>
          <a:xfrm>
            <a:off x="1093025" y="3475562"/>
            <a:ext cx="3657362" cy="768096"/>
          </a:xfrm>
          <a:prstGeom prst="rect">
            <a:avLst/>
          </a:prstGeom>
          <a:noFill/>
        </p:spPr>
        <p:txBody>
          <a:bodyPr wrap="square" tIns="0" bIns="0" rtlCol="0" anchor="ctr">
            <a:noAutofit/>
          </a:bodyPr>
          <a:lstStyle/>
          <a:p>
            <a:pPr marL="0" marR="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tx1"/>
                </a:solidFill>
              </a:rPr>
              <a:t>2</a:t>
            </a:r>
          </a:p>
        </p:txBody>
      </p:sp>
      <p:sp>
        <p:nvSpPr>
          <p:cNvPr id="1799" name="TextBox 1798"/>
          <p:cNvSpPr txBox="1"/>
          <p:nvPr/>
        </p:nvSpPr>
        <p:spPr>
          <a:xfrm>
            <a:off x="4764373" y="3475562"/>
            <a:ext cx="3657362" cy="768096"/>
          </a:xfrm>
          <a:prstGeom prst="rect">
            <a:avLst/>
          </a:prstGeom>
          <a:noFill/>
        </p:spPr>
        <p:txBody>
          <a:bodyPr wrap="square" tIns="0" bIns="0" rtlCol="0" anchor="ctr">
            <a:noAutofit/>
          </a:bodyPr>
          <a:lstStyle/>
          <a:p>
            <a:pPr algn="l"/>
            <a:r>
              <a:rPr lang="en-US" sz="2600" b="0" dirty="0">
                <a:solidFill>
                  <a:schemeClr val="tx1"/>
                </a:solidFill>
              </a:rPr>
              <a:t>3</a:t>
            </a:r>
            <a:endParaRPr sz="2600" b="0" dirty="0">
              <a:solidFill>
                <a:schemeClr val="tx1"/>
              </a:solidFill>
            </a:endParaRPr>
          </a:p>
        </p:txBody>
      </p:sp>
      <p:sp>
        <p:nvSpPr>
          <p:cNvPr id="1800" name="TextBox 1799"/>
          <p:cNvSpPr txBox="1"/>
          <p:nvPr/>
        </p:nvSpPr>
        <p:spPr>
          <a:xfrm>
            <a:off x="8512830" y="3475562"/>
            <a:ext cx="3657362" cy="768096"/>
          </a:xfrm>
          <a:prstGeom prst="rect">
            <a:avLst/>
          </a:prstGeom>
          <a:noFill/>
        </p:spPr>
        <p:txBody>
          <a:bodyPr wrap="square" tIns="0" bIns="0" rtlCol="0" anchor="ctr">
            <a:noAutofit/>
          </a:bodyPr>
          <a:lstStyle/>
          <a:p>
            <a:pPr algn="l"/>
            <a:r>
              <a:rPr lang="en-US" sz="2600" b="0" dirty="0">
                <a:solidFill>
                  <a:schemeClr val="tx1"/>
                </a:solidFill>
              </a:rPr>
              <a:t>4</a:t>
            </a:r>
            <a:endParaRPr sz="2600" b="0" dirty="0">
              <a:solidFill>
                <a:schemeClr val="tx1"/>
              </a:solidFill>
            </a:endParaRPr>
          </a:p>
        </p:txBody>
      </p:sp>
      <p:sp>
        <p:nvSpPr>
          <p:cNvPr id="1801" name="TextBox 1800"/>
          <p:cNvSpPr txBox="1"/>
          <p:nvPr/>
        </p:nvSpPr>
        <p:spPr>
          <a:xfrm>
            <a:off x="12191204" y="3475562"/>
            <a:ext cx="3657362" cy="768096"/>
          </a:xfrm>
          <a:prstGeom prst="rect">
            <a:avLst/>
          </a:prstGeom>
          <a:noFill/>
        </p:spPr>
        <p:txBody>
          <a:bodyPr wrap="square" tIns="0" bIns="0" rtlCol="0" anchor="ctr">
            <a:noAutofit/>
          </a:bodyPr>
          <a:lstStyle/>
          <a:p>
            <a:pPr algn="l"/>
            <a:r>
              <a:rPr lang="en-US" sz="2600" b="0" dirty="0">
                <a:solidFill>
                  <a:schemeClr val="tx1"/>
                </a:solidFill>
              </a:rPr>
              <a:t>5</a:t>
            </a:r>
            <a:endParaRPr sz="2600" b="0" dirty="0">
              <a:solidFill>
                <a:schemeClr val="tx1"/>
              </a:solidFill>
            </a:endParaRPr>
          </a:p>
        </p:txBody>
      </p:sp>
      <p:sp>
        <p:nvSpPr>
          <p:cNvPr id="1802" name="TextBox 1801"/>
          <p:cNvSpPr txBox="1"/>
          <p:nvPr/>
        </p:nvSpPr>
        <p:spPr>
          <a:xfrm>
            <a:off x="15925635" y="3475562"/>
            <a:ext cx="3657362" cy="768096"/>
          </a:xfrm>
          <a:prstGeom prst="rect">
            <a:avLst/>
          </a:prstGeom>
          <a:noFill/>
        </p:spPr>
        <p:txBody>
          <a:bodyPr wrap="square" tIns="0" bIns="0" rtlCol="0" anchor="ctr">
            <a:noAutofit/>
          </a:bodyPr>
          <a:lstStyle/>
          <a:p>
            <a:pPr algn="l"/>
            <a:r>
              <a:rPr lang="en-US" sz="2600" b="0" dirty="0">
                <a:solidFill>
                  <a:schemeClr val="tx1"/>
                </a:solidFill>
              </a:rPr>
              <a:t>6</a:t>
            </a:r>
            <a:endParaRPr sz="2600" b="0" dirty="0">
              <a:solidFill>
                <a:schemeClr val="tx1"/>
              </a:solidFill>
            </a:endParaRPr>
          </a:p>
        </p:txBody>
      </p:sp>
      <p:sp>
        <p:nvSpPr>
          <p:cNvPr id="1803" name="TextBox 1802"/>
          <p:cNvSpPr txBox="1"/>
          <p:nvPr/>
        </p:nvSpPr>
        <p:spPr>
          <a:xfrm>
            <a:off x="19649854" y="3475562"/>
            <a:ext cx="3657362" cy="768096"/>
          </a:xfrm>
          <a:prstGeom prst="rect">
            <a:avLst/>
          </a:prstGeom>
          <a:noFill/>
        </p:spPr>
        <p:txBody>
          <a:bodyPr wrap="square" tIns="0" bIns="0" rtlCol="0" anchor="ctr">
            <a:noAutofit/>
          </a:bodyPr>
          <a:lstStyle/>
          <a:p>
            <a:pPr algn="l"/>
            <a:r>
              <a:rPr lang="en-US" sz="2600" b="0" dirty="0">
                <a:solidFill>
                  <a:schemeClr val="tx1"/>
                </a:solidFill>
              </a:rPr>
              <a:t>7/8</a:t>
            </a:r>
            <a:endParaRPr sz="2600" b="0" dirty="0">
              <a:solidFill>
                <a:schemeClr val="tx1"/>
              </a:solidFill>
            </a:endParaRPr>
          </a:p>
        </p:txBody>
      </p:sp>
      <p:sp>
        <p:nvSpPr>
          <p:cNvPr id="1804" name="TextBox 1803"/>
          <p:cNvSpPr txBox="1"/>
          <p:nvPr/>
        </p:nvSpPr>
        <p:spPr>
          <a:xfrm>
            <a:off x="1093025" y="5304362"/>
            <a:ext cx="3657362" cy="768096"/>
          </a:xfrm>
          <a:prstGeom prst="rect">
            <a:avLst/>
          </a:prstGeom>
          <a:noFill/>
        </p:spPr>
        <p:txBody>
          <a:bodyPr wrap="square" tIns="0" bIns="0" rtlCol="0" anchor="ctr">
            <a:noAutofit/>
          </a:bodyPr>
          <a:lstStyle/>
          <a:p>
            <a:pPr algn="l"/>
            <a:r>
              <a:rPr lang="en-US" sz="2600" b="0" dirty="0">
                <a:solidFill>
                  <a:schemeClr val="tx1"/>
                </a:solidFill>
              </a:rPr>
              <a:t>9</a:t>
            </a:r>
            <a:endParaRPr sz="2600" b="0" dirty="0">
              <a:solidFill>
                <a:schemeClr val="tx1"/>
              </a:solidFill>
            </a:endParaRPr>
          </a:p>
        </p:txBody>
      </p:sp>
      <p:sp>
        <p:nvSpPr>
          <p:cNvPr id="1805" name="TextBox 1804"/>
          <p:cNvSpPr txBox="1"/>
          <p:nvPr/>
        </p:nvSpPr>
        <p:spPr>
          <a:xfrm>
            <a:off x="4764373" y="5304362"/>
            <a:ext cx="3657362" cy="768096"/>
          </a:xfrm>
          <a:prstGeom prst="rect">
            <a:avLst/>
          </a:prstGeom>
          <a:noFill/>
        </p:spPr>
        <p:txBody>
          <a:bodyPr wrap="square" tIns="0" bIns="0" rtlCol="0" anchor="ctr">
            <a:noAutofit/>
          </a:bodyPr>
          <a:lstStyle/>
          <a:p>
            <a:pPr algn="l"/>
            <a:r>
              <a:rPr lang="en-US" sz="2600" b="0" dirty="0">
                <a:solidFill>
                  <a:schemeClr val="tx1"/>
                </a:solidFill>
              </a:rPr>
              <a:t>10</a:t>
            </a:r>
            <a:endParaRPr sz="2600" b="0" dirty="0">
              <a:solidFill>
                <a:schemeClr val="tx1"/>
              </a:solidFill>
            </a:endParaRPr>
          </a:p>
        </p:txBody>
      </p:sp>
      <p:sp>
        <p:nvSpPr>
          <p:cNvPr id="1806" name="TextBox 1805"/>
          <p:cNvSpPr txBox="1"/>
          <p:nvPr/>
        </p:nvSpPr>
        <p:spPr>
          <a:xfrm>
            <a:off x="8512830" y="5304362"/>
            <a:ext cx="3657362" cy="768096"/>
          </a:xfrm>
          <a:prstGeom prst="rect">
            <a:avLst/>
          </a:prstGeom>
          <a:noFill/>
        </p:spPr>
        <p:txBody>
          <a:bodyPr wrap="square" tIns="0" bIns="0" rtlCol="0" anchor="ctr">
            <a:noAutofit/>
          </a:bodyPr>
          <a:lstStyle/>
          <a:p>
            <a:pPr algn="l"/>
            <a:r>
              <a:rPr lang="en-US" sz="2600" b="0" dirty="0">
                <a:solidFill>
                  <a:schemeClr val="tx1"/>
                </a:solidFill>
              </a:rPr>
              <a:t>11</a:t>
            </a:r>
            <a:endParaRPr sz="2600" b="0" dirty="0">
              <a:solidFill>
                <a:schemeClr val="tx1"/>
              </a:solidFill>
            </a:endParaRPr>
          </a:p>
        </p:txBody>
      </p:sp>
      <p:sp>
        <p:nvSpPr>
          <p:cNvPr id="1807" name="TextBox 1806"/>
          <p:cNvSpPr txBox="1"/>
          <p:nvPr/>
        </p:nvSpPr>
        <p:spPr>
          <a:xfrm>
            <a:off x="12191204" y="5304362"/>
            <a:ext cx="3657362" cy="768096"/>
          </a:xfrm>
          <a:prstGeom prst="rect">
            <a:avLst/>
          </a:prstGeom>
          <a:noFill/>
        </p:spPr>
        <p:txBody>
          <a:bodyPr wrap="square" tIns="0" bIns="0" rtlCol="0" anchor="ctr">
            <a:noAutofit/>
          </a:bodyPr>
          <a:lstStyle/>
          <a:p>
            <a:pPr algn="l"/>
            <a:r>
              <a:rPr lang="en-US" sz="2600" b="0" dirty="0">
                <a:solidFill>
                  <a:schemeClr val="tx1"/>
                </a:solidFill>
              </a:rPr>
              <a:t>12</a:t>
            </a:r>
            <a:endParaRPr sz="2600" b="0" dirty="0">
              <a:solidFill>
                <a:schemeClr val="tx1"/>
              </a:solidFill>
            </a:endParaRPr>
          </a:p>
        </p:txBody>
      </p:sp>
      <p:sp>
        <p:nvSpPr>
          <p:cNvPr id="1808" name="TextBox 1807"/>
          <p:cNvSpPr txBox="1"/>
          <p:nvPr/>
        </p:nvSpPr>
        <p:spPr>
          <a:xfrm>
            <a:off x="15925635" y="5304362"/>
            <a:ext cx="3657362" cy="768096"/>
          </a:xfrm>
          <a:prstGeom prst="rect">
            <a:avLst/>
          </a:prstGeom>
          <a:noFill/>
        </p:spPr>
        <p:txBody>
          <a:bodyPr wrap="square" tIns="0" bIns="0" rtlCol="0" anchor="ctr">
            <a:noAutofit/>
          </a:bodyPr>
          <a:lstStyle/>
          <a:p>
            <a:pPr algn="l"/>
            <a:r>
              <a:rPr lang="en-US" sz="2600" b="0">
                <a:solidFill>
                  <a:schemeClr val="tx1"/>
                </a:solidFill>
              </a:rPr>
              <a:t>13</a:t>
            </a:r>
            <a:endParaRPr sz="2600" b="0" dirty="0">
              <a:solidFill>
                <a:schemeClr val="tx1"/>
              </a:solidFill>
            </a:endParaRPr>
          </a:p>
        </p:txBody>
      </p:sp>
      <p:sp>
        <p:nvSpPr>
          <p:cNvPr id="1809" name="TextBox 1808"/>
          <p:cNvSpPr txBox="1"/>
          <p:nvPr/>
        </p:nvSpPr>
        <p:spPr>
          <a:xfrm>
            <a:off x="19649854" y="5304362"/>
            <a:ext cx="3657362" cy="768096"/>
          </a:xfrm>
          <a:prstGeom prst="rect">
            <a:avLst/>
          </a:prstGeom>
          <a:noFill/>
        </p:spPr>
        <p:txBody>
          <a:bodyPr wrap="square" tIns="0" bIns="0" rtlCol="0" anchor="ctr">
            <a:noAutofit/>
          </a:bodyPr>
          <a:lstStyle/>
          <a:p>
            <a:pPr algn="l"/>
            <a:r>
              <a:rPr lang="en-US" sz="2600" b="0" dirty="0">
                <a:solidFill>
                  <a:schemeClr val="tx1"/>
                </a:solidFill>
              </a:rPr>
              <a:t>14/15</a:t>
            </a:r>
            <a:endParaRPr sz="2600" b="0" dirty="0">
              <a:solidFill>
                <a:schemeClr val="tx1"/>
              </a:solidFill>
            </a:endParaRPr>
          </a:p>
        </p:txBody>
      </p:sp>
      <p:sp>
        <p:nvSpPr>
          <p:cNvPr id="1810" name="TextBox 1809"/>
          <p:cNvSpPr txBox="1"/>
          <p:nvPr/>
        </p:nvSpPr>
        <p:spPr>
          <a:xfrm>
            <a:off x="1093025" y="7133162"/>
            <a:ext cx="3657362" cy="768096"/>
          </a:xfrm>
          <a:prstGeom prst="rect">
            <a:avLst/>
          </a:prstGeom>
          <a:noFill/>
        </p:spPr>
        <p:txBody>
          <a:bodyPr wrap="square" tIns="0" bIns="0" rtlCol="0" anchor="ctr">
            <a:noAutofit/>
          </a:bodyPr>
          <a:lstStyle/>
          <a:p>
            <a:pPr algn="l"/>
            <a:r>
              <a:rPr lang="en-US" sz="2600" b="0" dirty="0">
                <a:solidFill>
                  <a:schemeClr val="tx1"/>
                </a:solidFill>
              </a:rPr>
              <a:t>16</a:t>
            </a:r>
            <a:endParaRPr sz="2600" b="0" dirty="0">
              <a:solidFill>
                <a:schemeClr val="tx1"/>
              </a:solidFill>
            </a:endParaRPr>
          </a:p>
        </p:txBody>
      </p:sp>
      <p:sp>
        <p:nvSpPr>
          <p:cNvPr id="1811" name="TextBox 1810"/>
          <p:cNvSpPr txBox="1"/>
          <p:nvPr/>
        </p:nvSpPr>
        <p:spPr>
          <a:xfrm>
            <a:off x="4764373" y="7133162"/>
            <a:ext cx="3657362" cy="768096"/>
          </a:xfrm>
          <a:prstGeom prst="rect">
            <a:avLst/>
          </a:prstGeom>
          <a:noFill/>
        </p:spPr>
        <p:txBody>
          <a:bodyPr wrap="square" tIns="0" bIns="0" rtlCol="0" anchor="ctr">
            <a:noAutofit/>
          </a:bodyPr>
          <a:lstStyle/>
          <a:p>
            <a:pPr algn="l"/>
            <a:r>
              <a:rPr lang="en-US" sz="2600" b="0" dirty="0">
                <a:solidFill>
                  <a:schemeClr val="tx1"/>
                </a:solidFill>
              </a:rPr>
              <a:t>17</a:t>
            </a:r>
            <a:endParaRPr sz="2600" b="0" dirty="0">
              <a:solidFill>
                <a:schemeClr val="tx1"/>
              </a:solidFill>
            </a:endParaRPr>
          </a:p>
        </p:txBody>
      </p:sp>
      <p:sp>
        <p:nvSpPr>
          <p:cNvPr id="1812" name="TextBox 1811"/>
          <p:cNvSpPr txBox="1"/>
          <p:nvPr userDrawn="1"/>
        </p:nvSpPr>
        <p:spPr>
          <a:xfrm>
            <a:off x="8512830" y="7133162"/>
            <a:ext cx="3657362" cy="768096"/>
          </a:xfrm>
          <a:prstGeom prst="rect">
            <a:avLst/>
          </a:prstGeom>
          <a:noFill/>
        </p:spPr>
        <p:txBody>
          <a:bodyPr wrap="square" tIns="0" bIns="0" rtlCol="0" anchor="ctr">
            <a:noAutofit/>
          </a:bodyPr>
          <a:lstStyle/>
          <a:p>
            <a:pPr algn="l"/>
            <a:r>
              <a:rPr lang="en-US" sz="2600" b="0" dirty="0">
                <a:solidFill>
                  <a:schemeClr val="tx1"/>
                </a:solidFill>
              </a:rPr>
              <a:t>18</a:t>
            </a:r>
            <a:endParaRPr sz="2600" b="0" dirty="0">
              <a:solidFill>
                <a:schemeClr val="tx1"/>
              </a:solidFill>
            </a:endParaRPr>
          </a:p>
        </p:txBody>
      </p:sp>
      <p:sp>
        <p:nvSpPr>
          <p:cNvPr id="1813" name="TextBox 1812"/>
          <p:cNvSpPr txBox="1"/>
          <p:nvPr/>
        </p:nvSpPr>
        <p:spPr>
          <a:xfrm>
            <a:off x="12191204" y="7133162"/>
            <a:ext cx="3657362" cy="768096"/>
          </a:xfrm>
          <a:prstGeom prst="rect">
            <a:avLst/>
          </a:prstGeom>
          <a:noFill/>
        </p:spPr>
        <p:txBody>
          <a:bodyPr wrap="square" tIns="0" bIns="0" rtlCol="0" anchor="ctr">
            <a:noAutofit/>
          </a:bodyPr>
          <a:lstStyle/>
          <a:p>
            <a:pPr algn="l"/>
            <a:r>
              <a:rPr lang="en-US" sz="2600" b="0" dirty="0">
                <a:solidFill>
                  <a:schemeClr val="tx1"/>
                </a:solidFill>
              </a:rPr>
              <a:t>19</a:t>
            </a:r>
            <a:endParaRPr sz="2600" b="0" dirty="0">
              <a:solidFill>
                <a:schemeClr val="tx1"/>
              </a:solidFill>
            </a:endParaRPr>
          </a:p>
        </p:txBody>
      </p:sp>
      <p:sp>
        <p:nvSpPr>
          <p:cNvPr id="1814" name="TextBox 1813"/>
          <p:cNvSpPr txBox="1"/>
          <p:nvPr/>
        </p:nvSpPr>
        <p:spPr>
          <a:xfrm>
            <a:off x="15925635" y="7133162"/>
            <a:ext cx="3657362" cy="768096"/>
          </a:xfrm>
          <a:prstGeom prst="rect">
            <a:avLst/>
          </a:prstGeom>
          <a:noFill/>
        </p:spPr>
        <p:txBody>
          <a:bodyPr wrap="square" tIns="0" bIns="0" rtlCol="0" anchor="ctr">
            <a:noAutofit/>
          </a:bodyPr>
          <a:lstStyle/>
          <a:p>
            <a:pPr algn="l"/>
            <a:r>
              <a:rPr lang="en-US" sz="2600" b="0" dirty="0">
                <a:solidFill>
                  <a:schemeClr val="tx1"/>
                </a:solidFill>
              </a:rPr>
              <a:t>20</a:t>
            </a:r>
            <a:endParaRPr sz="2600" b="0" dirty="0">
              <a:solidFill>
                <a:schemeClr val="tx1"/>
              </a:solidFill>
            </a:endParaRPr>
          </a:p>
        </p:txBody>
      </p:sp>
      <p:sp>
        <p:nvSpPr>
          <p:cNvPr id="1815" name="TextBox 1814"/>
          <p:cNvSpPr txBox="1"/>
          <p:nvPr/>
        </p:nvSpPr>
        <p:spPr>
          <a:xfrm>
            <a:off x="19649854" y="7133162"/>
            <a:ext cx="3657362" cy="768096"/>
          </a:xfrm>
          <a:prstGeom prst="rect">
            <a:avLst/>
          </a:prstGeom>
          <a:noFill/>
        </p:spPr>
        <p:txBody>
          <a:bodyPr wrap="square" tIns="0" bIns="0" rtlCol="0" anchor="ctr">
            <a:noAutofit/>
          </a:bodyPr>
          <a:lstStyle/>
          <a:p>
            <a:pPr algn="l"/>
            <a:r>
              <a:rPr lang="en-US" sz="2600" b="0" dirty="0">
                <a:solidFill>
                  <a:schemeClr val="tx1"/>
                </a:solidFill>
              </a:rPr>
              <a:t>21/22</a:t>
            </a:r>
            <a:endParaRPr sz="2600" b="0" dirty="0">
              <a:solidFill>
                <a:schemeClr val="tx1"/>
              </a:solidFill>
            </a:endParaRPr>
          </a:p>
        </p:txBody>
      </p:sp>
      <p:sp>
        <p:nvSpPr>
          <p:cNvPr id="1816" name="TextBox 1815"/>
          <p:cNvSpPr txBox="1"/>
          <p:nvPr/>
        </p:nvSpPr>
        <p:spPr>
          <a:xfrm>
            <a:off x="1093025" y="8961962"/>
            <a:ext cx="3657362" cy="768096"/>
          </a:xfrm>
          <a:prstGeom prst="rect">
            <a:avLst/>
          </a:prstGeom>
          <a:noFill/>
        </p:spPr>
        <p:txBody>
          <a:bodyPr wrap="square" tIns="0" bIns="0" rtlCol="0" anchor="ctr">
            <a:noAutofit/>
          </a:bodyPr>
          <a:lstStyle/>
          <a:p>
            <a:pPr algn="l"/>
            <a:r>
              <a:rPr lang="en-US" sz="2600" b="0" dirty="0">
                <a:solidFill>
                  <a:schemeClr val="tx1"/>
                </a:solidFill>
              </a:rPr>
              <a:t>23</a:t>
            </a:r>
            <a:endParaRPr sz="2600" b="0" dirty="0">
              <a:solidFill>
                <a:schemeClr val="tx1"/>
              </a:solidFill>
            </a:endParaRPr>
          </a:p>
        </p:txBody>
      </p:sp>
      <p:sp>
        <p:nvSpPr>
          <p:cNvPr id="1817" name="TextBox 1816"/>
          <p:cNvSpPr txBox="1"/>
          <p:nvPr/>
        </p:nvSpPr>
        <p:spPr>
          <a:xfrm>
            <a:off x="4764373" y="8961962"/>
            <a:ext cx="3657362" cy="768096"/>
          </a:xfrm>
          <a:prstGeom prst="rect">
            <a:avLst/>
          </a:prstGeom>
          <a:noFill/>
        </p:spPr>
        <p:txBody>
          <a:bodyPr wrap="square" tIns="0" bIns="0" rtlCol="0" anchor="ctr">
            <a:noAutofit/>
          </a:bodyPr>
          <a:lstStyle/>
          <a:p>
            <a:pPr algn="l"/>
            <a:r>
              <a:rPr lang="en-US" sz="2600" b="0">
                <a:solidFill>
                  <a:schemeClr val="tx1"/>
                </a:solidFill>
              </a:rPr>
              <a:t>24</a:t>
            </a:r>
            <a:endParaRPr sz="2600" b="0" dirty="0">
              <a:solidFill>
                <a:schemeClr val="tx1"/>
              </a:solidFill>
            </a:endParaRPr>
          </a:p>
        </p:txBody>
      </p:sp>
      <p:sp>
        <p:nvSpPr>
          <p:cNvPr id="1818" name="TextBox 1817"/>
          <p:cNvSpPr txBox="1"/>
          <p:nvPr/>
        </p:nvSpPr>
        <p:spPr>
          <a:xfrm>
            <a:off x="8512830" y="8961962"/>
            <a:ext cx="3657362" cy="768096"/>
          </a:xfrm>
          <a:prstGeom prst="rect">
            <a:avLst/>
          </a:prstGeom>
          <a:noFill/>
        </p:spPr>
        <p:txBody>
          <a:bodyPr wrap="square" tIns="0" bIns="0" rtlCol="0" anchor="ctr">
            <a:noAutofit/>
          </a:bodyPr>
          <a:lstStyle/>
          <a:p>
            <a:pPr marL="0" marR="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tx1"/>
                </a:solidFill>
              </a:rPr>
              <a:t>25</a:t>
            </a:r>
          </a:p>
        </p:txBody>
      </p:sp>
      <p:sp>
        <p:nvSpPr>
          <p:cNvPr id="1819" name="TextBox 1818"/>
          <p:cNvSpPr txBox="1"/>
          <p:nvPr/>
        </p:nvSpPr>
        <p:spPr>
          <a:xfrm>
            <a:off x="12191204" y="8961962"/>
            <a:ext cx="3657362" cy="768096"/>
          </a:xfrm>
          <a:prstGeom prst="rect">
            <a:avLst/>
          </a:prstGeom>
          <a:noFill/>
        </p:spPr>
        <p:txBody>
          <a:bodyPr wrap="square" tIns="0" bIns="0" rtlCol="0" anchor="ctr">
            <a:noAutofit/>
          </a:bodyPr>
          <a:lstStyle>
            <a:defPPr>
              <a:defRPr lang="en-US"/>
            </a:defPPr>
            <a:lvl1pPr marR="0" indent="0" fontAlgn="auto">
              <a:lnSpc>
                <a:spcPct val="100000"/>
              </a:lnSpc>
              <a:spcBef>
                <a:spcPts val="0"/>
              </a:spcBef>
              <a:spcAft>
                <a:spcPts val="0"/>
              </a:spcAft>
              <a:buClrTx/>
              <a:buSzTx/>
              <a:buFontTx/>
              <a:buNone/>
              <a:tabLst/>
              <a:defRPr sz="1300" b="0"/>
            </a:lvl1pPr>
          </a:lstStyle>
          <a:p>
            <a:pPr lvl="0"/>
            <a:r>
              <a:rPr lang="en-US" sz="2600" dirty="0"/>
              <a:t>26</a:t>
            </a:r>
            <a:endParaRPr sz="2600" dirty="0"/>
          </a:p>
        </p:txBody>
      </p:sp>
      <p:sp>
        <p:nvSpPr>
          <p:cNvPr id="1820" name="TextBox 1819"/>
          <p:cNvSpPr txBox="1"/>
          <p:nvPr/>
        </p:nvSpPr>
        <p:spPr>
          <a:xfrm>
            <a:off x="15925635" y="8961962"/>
            <a:ext cx="3657362" cy="768096"/>
          </a:xfrm>
          <a:prstGeom prst="rect">
            <a:avLst/>
          </a:prstGeom>
          <a:noFill/>
        </p:spPr>
        <p:txBody>
          <a:bodyPr wrap="square" tIns="0" bIns="0" rtlCol="0" anchor="ctr">
            <a:noAutofit/>
          </a:bodyPr>
          <a:lstStyle>
            <a:defPPr>
              <a:defRPr lang="en-US"/>
            </a:defPPr>
            <a:lvl1pPr lvl="0">
              <a:defRPr sz="1300" b="0"/>
            </a:lvl1pPr>
          </a:lstStyle>
          <a:p>
            <a:pPr lvl="0"/>
            <a:r>
              <a:rPr lang="en-US" sz="2600" dirty="0"/>
              <a:t>27</a:t>
            </a:r>
            <a:endParaRPr sz="2600" dirty="0"/>
          </a:p>
        </p:txBody>
      </p:sp>
      <p:sp>
        <p:nvSpPr>
          <p:cNvPr id="1821" name="TextBox 1820"/>
          <p:cNvSpPr txBox="1"/>
          <p:nvPr/>
        </p:nvSpPr>
        <p:spPr>
          <a:xfrm>
            <a:off x="19649854" y="8961962"/>
            <a:ext cx="3657362" cy="768096"/>
          </a:xfrm>
          <a:prstGeom prst="rect">
            <a:avLst/>
          </a:prstGeom>
          <a:noFill/>
        </p:spPr>
        <p:txBody>
          <a:bodyPr wrap="square" tIns="0" bIns="0" rtlCol="0" anchor="ctr">
            <a:noAutofit/>
          </a:bodyPr>
          <a:lstStyle>
            <a:defPPr>
              <a:defRPr lang="en-US"/>
            </a:defPPr>
            <a:lvl1pPr>
              <a:defRPr sz="1300" b="0">
                <a:solidFill>
                  <a:schemeClr val="bg2">
                    <a:lumMod val="90000"/>
                  </a:schemeClr>
                </a:solidFill>
              </a:defRPr>
            </a:lvl1pPr>
          </a:lstStyle>
          <a:p>
            <a:pPr lvl="0"/>
            <a:r>
              <a:rPr lang="en-US" sz="2600" b="0" kern="1200" dirty="0">
                <a:solidFill>
                  <a:schemeClr val="tx1"/>
                </a:solidFill>
                <a:latin typeface="+mn-lt"/>
                <a:ea typeface="+mn-ea"/>
                <a:cs typeface="+mn-cs"/>
              </a:rPr>
              <a:t>28/29</a:t>
            </a:r>
            <a:endParaRPr lang="en-US" sz="2600" dirty="0"/>
          </a:p>
        </p:txBody>
      </p:sp>
      <p:sp>
        <p:nvSpPr>
          <p:cNvPr id="1822" name="TextBox 1821"/>
          <p:cNvSpPr txBox="1"/>
          <p:nvPr/>
        </p:nvSpPr>
        <p:spPr>
          <a:xfrm>
            <a:off x="1093025" y="10809050"/>
            <a:ext cx="3657362" cy="768096"/>
          </a:xfrm>
          <a:prstGeom prst="rect">
            <a:avLst/>
          </a:prstGeom>
          <a:noFill/>
        </p:spPr>
        <p:txBody>
          <a:bodyPr wrap="square" tIns="0" bIns="0" rtlCol="0" anchor="ctr">
            <a:noAutofit/>
          </a:bodyPr>
          <a:lstStyle>
            <a:defPPr>
              <a:defRPr lang="en-US"/>
            </a:defPPr>
            <a:lvl1pPr>
              <a:defRPr sz="1300" b="0">
                <a:solidFill>
                  <a:schemeClr val="bg2">
                    <a:lumMod val="90000"/>
                  </a:schemeClr>
                </a:solidFill>
              </a:defRPr>
            </a:lvl1pPr>
          </a:lstStyle>
          <a:p>
            <a:pPr lvl="0"/>
            <a:r>
              <a:rPr lang="en-US" sz="2600" b="0" kern="1200" dirty="0">
                <a:solidFill>
                  <a:schemeClr val="tx1"/>
                </a:solidFill>
                <a:latin typeface="+mn-lt"/>
                <a:ea typeface="+mn-ea"/>
                <a:cs typeface="+mn-cs"/>
              </a:rPr>
              <a:t>30</a:t>
            </a:r>
            <a:endParaRPr lang="en-US" sz="2600" dirty="0"/>
          </a:p>
        </p:txBody>
      </p:sp>
      <p:sp>
        <p:nvSpPr>
          <p:cNvPr id="1823" name="TextBox 1822"/>
          <p:cNvSpPr txBox="1"/>
          <p:nvPr/>
        </p:nvSpPr>
        <p:spPr>
          <a:xfrm>
            <a:off x="4764373" y="10809050"/>
            <a:ext cx="3657362" cy="768096"/>
          </a:xfrm>
          <a:prstGeom prst="rect">
            <a:avLst/>
          </a:prstGeom>
          <a:noFill/>
        </p:spPr>
        <p:txBody>
          <a:bodyPr wrap="square" tIns="0" bIns="0" rtlCol="0" anchor="ctr">
            <a:noAutofit/>
          </a:bodyPr>
          <a:lstStyle>
            <a:defPPr>
              <a:defRPr lang="en-US"/>
            </a:defPPr>
            <a:lvl1pPr lvl="0">
              <a:defRPr sz="1300" b="0">
                <a:solidFill>
                  <a:schemeClr val="bg2">
                    <a:lumMod val="90000"/>
                  </a:schemeClr>
                </a:solidFill>
              </a:defRPr>
            </a:lvl1pPr>
          </a:lstStyle>
          <a:p>
            <a:pPr lvl="0"/>
            <a:r>
              <a:rPr lang="en-US" sz="2600" dirty="0">
                <a:solidFill>
                  <a:schemeClr val="bg1">
                    <a:lumMod val="75000"/>
                  </a:schemeClr>
                </a:solidFill>
              </a:rPr>
              <a:t>1 October</a:t>
            </a:r>
            <a:endParaRPr sz="2600" dirty="0">
              <a:solidFill>
                <a:schemeClr val="bg1">
                  <a:lumMod val="75000"/>
                </a:schemeClr>
              </a:solidFill>
            </a:endParaRPr>
          </a:p>
        </p:txBody>
      </p:sp>
      <p:sp>
        <p:nvSpPr>
          <p:cNvPr id="1824" name="TextBox 1823"/>
          <p:cNvSpPr txBox="1"/>
          <p:nvPr/>
        </p:nvSpPr>
        <p:spPr>
          <a:xfrm>
            <a:off x="8474582" y="10790762"/>
            <a:ext cx="3657362" cy="786384"/>
          </a:xfrm>
          <a:prstGeom prst="rect">
            <a:avLst/>
          </a:prstGeom>
          <a:noFill/>
        </p:spPr>
        <p:txBody>
          <a:bodyPr wrap="square" tIns="0" bIns="0" rtlCol="0" anchor="ctr">
            <a:noAutofit/>
          </a:bodyPr>
          <a:lstStyle>
            <a:defPPr>
              <a:defRPr lang="en-US"/>
            </a:defPPr>
            <a:lvl1pPr lvl="0">
              <a:defRPr sz="1300" b="0">
                <a:solidFill>
                  <a:schemeClr val="bg2">
                    <a:lumMod val="90000"/>
                  </a:schemeClr>
                </a:solidFill>
              </a:defRPr>
            </a:lvl1pPr>
          </a:lstStyle>
          <a:p>
            <a:pPr lvl="0"/>
            <a:r>
              <a:rPr lang="en-US" sz="2600" dirty="0">
                <a:solidFill>
                  <a:schemeClr val="bg1">
                    <a:lumMod val="75000"/>
                  </a:schemeClr>
                </a:solidFill>
              </a:rPr>
              <a:t>2</a:t>
            </a:r>
          </a:p>
        </p:txBody>
      </p:sp>
      <p:sp>
        <p:nvSpPr>
          <p:cNvPr id="1825" name="TextBox 1824"/>
          <p:cNvSpPr txBox="1"/>
          <p:nvPr/>
        </p:nvSpPr>
        <p:spPr>
          <a:xfrm>
            <a:off x="12191204" y="10809050"/>
            <a:ext cx="3657362" cy="768096"/>
          </a:xfrm>
          <a:prstGeom prst="rect">
            <a:avLst/>
          </a:prstGeom>
          <a:noFill/>
        </p:spPr>
        <p:txBody>
          <a:bodyPr wrap="square" tIns="0" bIns="0" rtlCol="0" anchor="ctr">
            <a:noAutofit/>
          </a:bodyPr>
          <a:lstStyle>
            <a:defPPr>
              <a:defRPr lang="en-US"/>
            </a:defPPr>
            <a:lvl1pPr lvl="0">
              <a:defRPr sz="1300" b="0">
                <a:solidFill>
                  <a:schemeClr val="bg2">
                    <a:lumMod val="90000"/>
                  </a:schemeClr>
                </a:solidFill>
              </a:defRPr>
            </a:lvl1pPr>
          </a:lstStyle>
          <a:p>
            <a:pPr lvl="0"/>
            <a:r>
              <a:rPr lang="en-US" sz="2600" dirty="0"/>
              <a:t>3</a:t>
            </a:r>
            <a:endParaRPr sz="2600" dirty="0"/>
          </a:p>
        </p:txBody>
      </p:sp>
      <p:sp>
        <p:nvSpPr>
          <p:cNvPr id="1826" name="TextBox 1825"/>
          <p:cNvSpPr txBox="1"/>
          <p:nvPr/>
        </p:nvSpPr>
        <p:spPr>
          <a:xfrm>
            <a:off x="15925635" y="1080905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4</a:t>
            </a:r>
            <a:endParaRPr sz="2600" b="0" dirty="0">
              <a:solidFill>
                <a:schemeClr val="bg2">
                  <a:lumMod val="90000"/>
                </a:schemeClr>
              </a:solidFill>
            </a:endParaRPr>
          </a:p>
        </p:txBody>
      </p:sp>
      <p:sp>
        <p:nvSpPr>
          <p:cNvPr id="1827" name="TextBox 1826"/>
          <p:cNvSpPr txBox="1"/>
          <p:nvPr/>
        </p:nvSpPr>
        <p:spPr>
          <a:xfrm>
            <a:off x="19649854" y="1080905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5/6</a:t>
            </a:r>
            <a:endParaRPr sz="2600" b="0" dirty="0">
              <a:solidFill>
                <a:schemeClr val="bg2">
                  <a:lumMod val="90000"/>
                </a:schemeClr>
              </a:solidFill>
            </a:endParaRPr>
          </a:p>
        </p:txBody>
      </p:sp>
      <p:sp>
        <p:nvSpPr>
          <p:cNvPr id="1828" name="TextBox 1827"/>
          <p:cNvSpPr txBox="1"/>
          <p:nvPr/>
        </p:nvSpPr>
        <p:spPr>
          <a:xfrm>
            <a:off x="956671" y="304800"/>
            <a:ext cx="22350545" cy="1398084"/>
          </a:xfrm>
          <a:prstGeom prst="rect">
            <a:avLst/>
          </a:prstGeom>
          <a:noFill/>
        </p:spPr>
        <p:txBody>
          <a:bodyPr wrap="square" tIns="0" bIns="0" rtlCol="0" anchor="ctr">
            <a:noAutofit/>
          </a:bodyPr>
          <a:lstStyle/>
          <a:p>
            <a:pPr algn="l"/>
            <a:r>
              <a:rPr lang="en-US" sz="4400" b="0" dirty="0">
                <a:solidFill>
                  <a:schemeClr val="accent1"/>
                </a:solidFill>
              </a:rPr>
              <a:t>S</a:t>
            </a:r>
            <a:r>
              <a:rPr sz="4400" b="0" dirty="0">
                <a:solidFill>
                  <a:schemeClr val="accent1"/>
                </a:solidFill>
              </a:rPr>
              <a:t>eptember</a:t>
            </a:r>
          </a:p>
        </p:txBody>
      </p:sp>
      <p:sp>
        <p:nvSpPr>
          <p:cNvPr id="40" name="Text Placeholder 2"/>
          <p:cNvSpPr>
            <a:spLocks noGrp="1"/>
          </p:cNvSpPr>
          <p:nvPr>
            <p:ph type="body" sz="quarter" idx="11" hasCustomPrompt="1"/>
          </p:nvPr>
        </p:nvSpPr>
        <p:spPr>
          <a:xfrm>
            <a:off x="1048444"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6" name="Text Placeholder 2"/>
          <p:cNvSpPr>
            <a:spLocks noGrp="1"/>
          </p:cNvSpPr>
          <p:nvPr>
            <p:ph type="body" sz="quarter" idx="17" hasCustomPrompt="1"/>
          </p:nvPr>
        </p:nvSpPr>
        <p:spPr>
          <a:xfrm>
            <a:off x="4754571"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2" name="Text Placeholder 2"/>
          <p:cNvSpPr>
            <a:spLocks noGrp="1"/>
          </p:cNvSpPr>
          <p:nvPr>
            <p:ph type="body" sz="quarter" idx="23" hasCustomPrompt="1"/>
          </p:nvPr>
        </p:nvSpPr>
        <p:spPr>
          <a:xfrm>
            <a:off x="8485080"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8" name="Text Placeholder 2"/>
          <p:cNvSpPr>
            <a:spLocks noGrp="1"/>
          </p:cNvSpPr>
          <p:nvPr>
            <p:ph type="body" sz="quarter" idx="29" hasCustomPrompt="1"/>
          </p:nvPr>
        </p:nvSpPr>
        <p:spPr>
          <a:xfrm>
            <a:off x="12220346"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4" name="Text Placeholder 2"/>
          <p:cNvSpPr>
            <a:spLocks noGrp="1"/>
          </p:cNvSpPr>
          <p:nvPr>
            <p:ph type="body" sz="quarter" idx="35" hasCustomPrompt="1"/>
          </p:nvPr>
        </p:nvSpPr>
        <p:spPr>
          <a:xfrm>
            <a:off x="15935099"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0" name="Text Placeholder 2"/>
          <p:cNvSpPr>
            <a:spLocks noGrp="1"/>
          </p:cNvSpPr>
          <p:nvPr>
            <p:ph type="body" sz="quarter" idx="41" hasCustomPrompt="1"/>
          </p:nvPr>
        </p:nvSpPr>
        <p:spPr>
          <a:xfrm>
            <a:off x="19649854"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9" name="Text Placeholder 2"/>
          <p:cNvSpPr>
            <a:spLocks noGrp="1"/>
          </p:cNvSpPr>
          <p:nvPr>
            <p:ph type="body" sz="quarter" idx="10" hasCustomPrompt="1"/>
          </p:nvPr>
        </p:nvSpPr>
        <p:spPr>
          <a:xfrm>
            <a:off x="1048444"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5" name="Text Placeholder 2"/>
          <p:cNvSpPr>
            <a:spLocks noGrp="1"/>
          </p:cNvSpPr>
          <p:nvPr>
            <p:ph type="body" sz="quarter" idx="16" hasCustomPrompt="1"/>
          </p:nvPr>
        </p:nvSpPr>
        <p:spPr>
          <a:xfrm>
            <a:off x="4754571"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1" name="Text Placeholder 2"/>
          <p:cNvSpPr>
            <a:spLocks noGrp="1"/>
          </p:cNvSpPr>
          <p:nvPr>
            <p:ph type="body" sz="quarter" idx="22" hasCustomPrompt="1"/>
          </p:nvPr>
        </p:nvSpPr>
        <p:spPr>
          <a:xfrm>
            <a:off x="8485080"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7" name="Text Placeholder 2"/>
          <p:cNvSpPr>
            <a:spLocks noGrp="1"/>
          </p:cNvSpPr>
          <p:nvPr>
            <p:ph type="body" sz="quarter" idx="28" hasCustomPrompt="1"/>
          </p:nvPr>
        </p:nvSpPr>
        <p:spPr>
          <a:xfrm>
            <a:off x="12220346"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3" name="Text Placeholder 2"/>
          <p:cNvSpPr>
            <a:spLocks noGrp="1"/>
          </p:cNvSpPr>
          <p:nvPr>
            <p:ph type="body" sz="quarter" idx="34" hasCustomPrompt="1"/>
          </p:nvPr>
        </p:nvSpPr>
        <p:spPr>
          <a:xfrm>
            <a:off x="15935099"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9" name="Text Placeholder 2"/>
          <p:cNvSpPr>
            <a:spLocks noGrp="1"/>
          </p:cNvSpPr>
          <p:nvPr>
            <p:ph type="body" sz="quarter" idx="40" hasCustomPrompt="1"/>
          </p:nvPr>
        </p:nvSpPr>
        <p:spPr>
          <a:xfrm>
            <a:off x="19649854"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1" name="Text Placeholder 2"/>
          <p:cNvSpPr>
            <a:spLocks noGrp="1"/>
          </p:cNvSpPr>
          <p:nvPr>
            <p:ph type="body" sz="quarter" idx="12" hasCustomPrompt="1"/>
          </p:nvPr>
        </p:nvSpPr>
        <p:spPr>
          <a:xfrm>
            <a:off x="1048444"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7" name="Text Placeholder 2"/>
          <p:cNvSpPr>
            <a:spLocks noGrp="1"/>
          </p:cNvSpPr>
          <p:nvPr>
            <p:ph type="body" sz="quarter" idx="18" hasCustomPrompt="1"/>
          </p:nvPr>
        </p:nvSpPr>
        <p:spPr>
          <a:xfrm>
            <a:off x="4754571"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3" name="Text Placeholder 2"/>
          <p:cNvSpPr>
            <a:spLocks noGrp="1"/>
          </p:cNvSpPr>
          <p:nvPr>
            <p:ph type="body" sz="quarter" idx="24" hasCustomPrompt="1"/>
          </p:nvPr>
        </p:nvSpPr>
        <p:spPr>
          <a:xfrm>
            <a:off x="8485080"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9" name="Text Placeholder 2"/>
          <p:cNvSpPr>
            <a:spLocks noGrp="1"/>
          </p:cNvSpPr>
          <p:nvPr>
            <p:ph type="body" sz="quarter" idx="30" hasCustomPrompt="1"/>
          </p:nvPr>
        </p:nvSpPr>
        <p:spPr>
          <a:xfrm>
            <a:off x="12220346"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5" name="Text Placeholder 2"/>
          <p:cNvSpPr>
            <a:spLocks noGrp="1"/>
          </p:cNvSpPr>
          <p:nvPr>
            <p:ph type="body" sz="quarter" idx="36" hasCustomPrompt="1"/>
          </p:nvPr>
        </p:nvSpPr>
        <p:spPr>
          <a:xfrm>
            <a:off x="15935099"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1" name="Text Placeholder 2"/>
          <p:cNvSpPr>
            <a:spLocks noGrp="1"/>
          </p:cNvSpPr>
          <p:nvPr>
            <p:ph type="body" sz="quarter" idx="42" hasCustomPrompt="1"/>
          </p:nvPr>
        </p:nvSpPr>
        <p:spPr>
          <a:xfrm>
            <a:off x="19649854"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2" name="Text Placeholder 2"/>
          <p:cNvSpPr>
            <a:spLocks noGrp="1"/>
          </p:cNvSpPr>
          <p:nvPr>
            <p:ph type="body" sz="quarter" idx="13" hasCustomPrompt="1"/>
          </p:nvPr>
        </p:nvSpPr>
        <p:spPr>
          <a:xfrm>
            <a:off x="1048444"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8" name="Text Placeholder 2"/>
          <p:cNvSpPr>
            <a:spLocks noGrp="1"/>
          </p:cNvSpPr>
          <p:nvPr>
            <p:ph type="body" sz="quarter" idx="19" hasCustomPrompt="1"/>
          </p:nvPr>
        </p:nvSpPr>
        <p:spPr>
          <a:xfrm>
            <a:off x="4754571"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4" name="Text Placeholder 2"/>
          <p:cNvSpPr>
            <a:spLocks noGrp="1"/>
          </p:cNvSpPr>
          <p:nvPr>
            <p:ph type="body" sz="quarter" idx="25" hasCustomPrompt="1"/>
          </p:nvPr>
        </p:nvSpPr>
        <p:spPr>
          <a:xfrm>
            <a:off x="8485080"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0" name="Text Placeholder 2"/>
          <p:cNvSpPr>
            <a:spLocks noGrp="1"/>
          </p:cNvSpPr>
          <p:nvPr>
            <p:ph type="body" sz="quarter" idx="31" hasCustomPrompt="1"/>
          </p:nvPr>
        </p:nvSpPr>
        <p:spPr>
          <a:xfrm>
            <a:off x="12220346"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6" name="Text Placeholder 2"/>
          <p:cNvSpPr>
            <a:spLocks noGrp="1"/>
          </p:cNvSpPr>
          <p:nvPr>
            <p:ph type="body" sz="quarter" idx="37" hasCustomPrompt="1"/>
          </p:nvPr>
        </p:nvSpPr>
        <p:spPr>
          <a:xfrm>
            <a:off x="15935099"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2" name="Text Placeholder 2"/>
          <p:cNvSpPr>
            <a:spLocks noGrp="1"/>
          </p:cNvSpPr>
          <p:nvPr>
            <p:ph type="body" sz="quarter" idx="43" hasCustomPrompt="1"/>
          </p:nvPr>
        </p:nvSpPr>
        <p:spPr>
          <a:xfrm>
            <a:off x="19649854"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3" name="Text Placeholder 2"/>
          <p:cNvSpPr>
            <a:spLocks noGrp="1"/>
          </p:cNvSpPr>
          <p:nvPr>
            <p:ph type="body" sz="quarter" idx="14" hasCustomPrompt="1"/>
          </p:nvPr>
        </p:nvSpPr>
        <p:spPr>
          <a:xfrm>
            <a:off x="1048444"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9" name="Text Placeholder 2"/>
          <p:cNvSpPr>
            <a:spLocks noGrp="1"/>
          </p:cNvSpPr>
          <p:nvPr>
            <p:ph type="body" sz="quarter" idx="20" hasCustomPrompt="1"/>
          </p:nvPr>
        </p:nvSpPr>
        <p:spPr>
          <a:xfrm>
            <a:off x="4754571"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5" name="Text Placeholder 2"/>
          <p:cNvSpPr>
            <a:spLocks noGrp="1"/>
          </p:cNvSpPr>
          <p:nvPr>
            <p:ph type="body" sz="quarter" idx="26" hasCustomPrompt="1"/>
          </p:nvPr>
        </p:nvSpPr>
        <p:spPr>
          <a:xfrm>
            <a:off x="8485080"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1" name="Text Placeholder 2"/>
          <p:cNvSpPr>
            <a:spLocks noGrp="1"/>
          </p:cNvSpPr>
          <p:nvPr>
            <p:ph type="body" sz="quarter" idx="32" hasCustomPrompt="1"/>
          </p:nvPr>
        </p:nvSpPr>
        <p:spPr>
          <a:xfrm>
            <a:off x="12220346"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7" name="Text Placeholder 2"/>
          <p:cNvSpPr>
            <a:spLocks noGrp="1"/>
          </p:cNvSpPr>
          <p:nvPr>
            <p:ph type="body" sz="quarter" idx="38" hasCustomPrompt="1"/>
          </p:nvPr>
        </p:nvSpPr>
        <p:spPr>
          <a:xfrm>
            <a:off x="15935099"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3" name="Text Placeholder 2"/>
          <p:cNvSpPr>
            <a:spLocks noGrp="1"/>
          </p:cNvSpPr>
          <p:nvPr>
            <p:ph type="body" sz="quarter" idx="44" hasCustomPrompt="1"/>
          </p:nvPr>
        </p:nvSpPr>
        <p:spPr>
          <a:xfrm>
            <a:off x="19649854"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4" name="Text Placeholder 2"/>
          <p:cNvSpPr>
            <a:spLocks noGrp="1"/>
          </p:cNvSpPr>
          <p:nvPr>
            <p:ph type="body" sz="quarter" idx="15" hasCustomPrompt="1"/>
          </p:nvPr>
        </p:nvSpPr>
        <p:spPr>
          <a:xfrm>
            <a:off x="1048444"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0" name="Text Placeholder 2"/>
          <p:cNvSpPr>
            <a:spLocks noGrp="1"/>
          </p:cNvSpPr>
          <p:nvPr>
            <p:ph type="body" sz="quarter" idx="21" hasCustomPrompt="1"/>
          </p:nvPr>
        </p:nvSpPr>
        <p:spPr>
          <a:xfrm>
            <a:off x="4754571"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6" name="Text Placeholder 2"/>
          <p:cNvSpPr>
            <a:spLocks noGrp="1"/>
          </p:cNvSpPr>
          <p:nvPr>
            <p:ph type="body" sz="quarter" idx="27" hasCustomPrompt="1"/>
          </p:nvPr>
        </p:nvSpPr>
        <p:spPr>
          <a:xfrm>
            <a:off x="8485080"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2" name="Text Placeholder 2"/>
          <p:cNvSpPr>
            <a:spLocks noGrp="1"/>
          </p:cNvSpPr>
          <p:nvPr>
            <p:ph type="body" sz="quarter" idx="33" hasCustomPrompt="1"/>
          </p:nvPr>
        </p:nvSpPr>
        <p:spPr>
          <a:xfrm>
            <a:off x="12220346"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8" name="Text Placeholder 2"/>
          <p:cNvSpPr>
            <a:spLocks noGrp="1"/>
          </p:cNvSpPr>
          <p:nvPr>
            <p:ph type="body" sz="quarter" idx="39" hasCustomPrompt="1"/>
          </p:nvPr>
        </p:nvSpPr>
        <p:spPr>
          <a:xfrm>
            <a:off x="15935099"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4" name="Text Placeholder 2"/>
          <p:cNvSpPr>
            <a:spLocks noGrp="1"/>
          </p:cNvSpPr>
          <p:nvPr>
            <p:ph type="body" sz="quarter" idx="45" hasCustomPrompt="1"/>
          </p:nvPr>
        </p:nvSpPr>
        <p:spPr>
          <a:xfrm>
            <a:off x="19649854"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8" name="TextBox 77">
            <a:extLst>
              <a:ext uri="{FF2B5EF4-FFF2-40B4-BE49-F238E27FC236}">
                <a16:creationId xmlns:a16="http://schemas.microsoft.com/office/drawing/2014/main" id="{1AC39EDE-8CD4-EE43-AB2F-3BA387FF7606}"/>
              </a:ext>
            </a:extLst>
          </p:cNvPr>
          <p:cNvSpPr txBox="1"/>
          <p:nvPr userDrawn="1"/>
        </p:nvSpPr>
        <p:spPr>
          <a:xfrm>
            <a:off x="954662" y="1399713"/>
            <a:ext cx="1638300" cy="461665"/>
          </a:xfrm>
          <a:prstGeom prst="rect">
            <a:avLst/>
          </a:prstGeom>
          <a:noFill/>
        </p:spPr>
        <p:txBody>
          <a:bodyPr wrap="square" rtlCol="0">
            <a:spAutoFit/>
          </a:bodyPr>
          <a:lstStyle/>
          <a:p>
            <a:r>
              <a:rPr lang="en-US" sz="2400" b="1" dirty="0">
                <a:solidFill>
                  <a:schemeClr val="accent1"/>
                </a:solidFill>
              </a:rPr>
              <a:t>Monday</a:t>
            </a:r>
          </a:p>
        </p:txBody>
      </p:sp>
      <p:sp>
        <p:nvSpPr>
          <p:cNvPr id="79" name="TextBox 78">
            <a:extLst>
              <a:ext uri="{FF2B5EF4-FFF2-40B4-BE49-F238E27FC236}">
                <a16:creationId xmlns:a16="http://schemas.microsoft.com/office/drawing/2014/main" id="{589F35F0-E1DC-EA4E-AE91-E660EE7EAD0C}"/>
              </a:ext>
            </a:extLst>
          </p:cNvPr>
          <p:cNvSpPr txBox="1"/>
          <p:nvPr userDrawn="1"/>
        </p:nvSpPr>
        <p:spPr>
          <a:xfrm>
            <a:off x="4688462" y="1399713"/>
            <a:ext cx="1638300" cy="461665"/>
          </a:xfrm>
          <a:prstGeom prst="rect">
            <a:avLst/>
          </a:prstGeom>
          <a:noFill/>
        </p:spPr>
        <p:txBody>
          <a:bodyPr wrap="square" rtlCol="0">
            <a:spAutoFit/>
          </a:bodyPr>
          <a:lstStyle/>
          <a:p>
            <a:r>
              <a:rPr lang="en-US" sz="2400" b="1" dirty="0">
                <a:solidFill>
                  <a:schemeClr val="accent1"/>
                </a:solidFill>
              </a:rPr>
              <a:t>Tuesday</a:t>
            </a:r>
          </a:p>
        </p:txBody>
      </p:sp>
      <p:sp>
        <p:nvSpPr>
          <p:cNvPr id="80" name="TextBox 79">
            <a:extLst>
              <a:ext uri="{FF2B5EF4-FFF2-40B4-BE49-F238E27FC236}">
                <a16:creationId xmlns:a16="http://schemas.microsoft.com/office/drawing/2014/main" id="{D78DAE6B-28AA-A940-BBD3-CDF1F937369B}"/>
              </a:ext>
            </a:extLst>
          </p:cNvPr>
          <p:cNvSpPr txBox="1"/>
          <p:nvPr userDrawn="1"/>
        </p:nvSpPr>
        <p:spPr>
          <a:xfrm>
            <a:off x="8365112" y="1399713"/>
            <a:ext cx="2741038" cy="461665"/>
          </a:xfrm>
          <a:prstGeom prst="rect">
            <a:avLst/>
          </a:prstGeom>
          <a:noFill/>
        </p:spPr>
        <p:txBody>
          <a:bodyPr wrap="square" rtlCol="0">
            <a:spAutoFit/>
          </a:bodyPr>
          <a:lstStyle/>
          <a:p>
            <a:r>
              <a:rPr lang="en-US" sz="2400" b="1" dirty="0">
                <a:solidFill>
                  <a:schemeClr val="accent1"/>
                </a:solidFill>
              </a:rPr>
              <a:t>Wednesday</a:t>
            </a:r>
          </a:p>
        </p:txBody>
      </p:sp>
      <p:sp>
        <p:nvSpPr>
          <p:cNvPr id="81" name="TextBox 80">
            <a:extLst>
              <a:ext uri="{FF2B5EF4-FFF2-40B4-BE49-F238E27FC236}">
                <a16:creationId xmlns:a16="http://schemas.microsoft.com/office/drawing/2014/main" id="{80EDE33D-42CB-D545-934A-F9F71698CBD6}"/>
              </a:ext>
            </a:extLst>
          </p:cNvPr>
          <p:cNvSpPr txBox="1"/>
          <p:nvPr userDrawn="1"/>
        </p:nvSpPr>
        <p:spPr>
          <a:xfrm>
            <a:off x="12137012" y="1399713"/>
            <a:ext cx="1638300" cy="461665"/>
          </a:xfrm>
          <a:prstGeom prst="rect">
            <a:avLst/>
          </a:prstGeom>
          <a:noFill/>
        </p:spPr>
        <p:txBody>
          <a:bodyPr wrap="square" rtlCol="0">
            <a:spAutoFit/>
          </a:bodyPr>
          <a:lstStyle/>
          <a:p>
            <a:r>
              <a:rPr lang="en-US" sz="2400" b="1" dirty="0">
                <a:solidFill>
                  <a:schemeClr val="accent1"/>
                </a:solidFill>
              </a:rPr>
              <a:t>Thursday</a:t>
            </a:r>
          </a:p>
        </p:txBody>
      </p:sp>
      <p:sp>
        <p:nvSpPr>
          <p:cNvPr id="82" name="TextBox 81">
            <a:extLst>
              <a:ext uri="{FF2B5EF4-FFF2-40B4-BE49-F238E27FC236}">
                <a16:creationId xmlns:a16="http://schemas.microsoft.com/office/drawing/2014/main" id="{DBC4CB38-DBE2-FC4B-AF74-F7290314C2B8}"/>
              </a:ext>
            </a:extLst>
          </p:cNvPr>
          <p:cNvSpPr txBox="1"/>
          <p:nvPr userDrawn="1"/>
        </p:nvSpPr>
        <p:spPr>
          <a:xfrm>
            <a:off x="15870812" y="1399713"/>
            <a:ext cx="1638300" cy="461665"/>
          </a:xfrm>
          <a:prstGeom prst="rect">
            <a:avLst/>
          </a:prstGeom>
          <a:noFill/>
        </p:spPr>
        <p:txBody>
          <a:bodyPr wrap="square" rtlCol="0">
            <a:spAutoFit/>
          </a:bodyPr>
          <a:lstStyle/>
          <a:p>
            <a:r>
              <a:rPr lang="en-US" sz="2400" b="1" dirty="0">
                <a:solidFill>
                  <a:schemeClr val="accent1"/>
                </a:solidFill>
              </a:rPr>
              <a:t>Friday</a:t>
            </a:r>
          </a:p>
        </p:txBody>
      </p:sp>
      <p:sp>
        <p:nvSpPr>
          <p:cNvPr id="83" name="TextBox 82">
            <a:extLst>
              <a:ext uri="{FF2B5EF4-FFF2-40B4-BE49-F238E27FC236}">
                <a16:creationId xmlns:a16="http://schemas.microsoft.com/office/drawing/2014/main" id="{EBF57A13-AE33-6347-8EFE-4B85F2154A5A}"/>
              </a:ext>
            </a:extLst>
          </p:cNvPr>
          <p:cNvSpPr txBox="1"/>
          <p:nvPr userDrawn="1"/>
        </p:nvSpPr>
        <p:spPr>
          <a:xfrm>
            <a:off x="19585562" y="1399713"/>
            <a:ext cx="1638300" cy="461665"/>
          </a:xfrm>
          <a:prstGeom prst="rect">
            <a:avLst/>
          </a:prstGeom>
          <a:noFill/>
        </p:spPr>
        <p:txBody>
          <a:bodyPr wrap="square" rtlCol="0">
            <a:spAutoFit/>
          </a:bodyPr>
          <a:lstStyle/>
          <a:p>
            <a:r>
              <a:rPr lang="en-US" sz="2400" b="1" dirty="0">
                <a:solidFill>
                  <a:schemeClr val="accent1"/>
                </a:solidFill>
              </a:rPr>
              <a:t>Sunday</a:t>
            </a:r>
          </a:p>
        </p:txBody>
      </p:sp>
    </p:spTree>
    <p:extLst>
      <p:ext uri="{BB962C8B-B14F-4D97-AF65-F5344CB8AC3E}">
        <p14:creationId xmlns:p14="http://schemas.microsoft.com/office/powerpoint/2010/main" val="37250947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October 2019">
    <p:spTree>
      <p:nvGrpSpPr>
        <p:cNvPr id="1" name=""/>
        <p:cNvGrpSpPr/>
        <p:nvPr/>
      </p:nvGrpSpPr>
      <p:grpSpPr>
        <a:xfrm>
          <a:off x="0" y="0"/>
          <a:ext cx="0" cy="0"/>
          <a:chOff x="0" y="0"/>
          <a:chExt cx="0" cy="0"/>
        </a:xfrm>
      </p:grpSpPr>
      <p:sp>
        <p:nvSpPr>
          <p:cNvPr id="1792" name="TextBox 1791"/>
          <p:cNvSpPr txBox="1"/>
          <p:nvPr/>
        </p:nvSpPr>
        <p:spPr>
          <a:xfrm>
            <a:off x="1093019" y="1607634"/>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lang="en-US" sz="2800" dirty="0"/>
          </a:p>
          <a:p>
            <a:pPr marL="0" marR="0" lvl="0" indent="0" algn="l" defTabSz="1828800" rtl="0" eaLnBrk="1" fontAlgn="auto" latinLnBrk="0" hangingPunct="1">
              <a:lnSpc>
                <a:spcPct val="100000"/>
              </a:lnSpc>
              <a:spcBef>
                <a:spcPts val="0"/>
              </a:spcBef>
              <a:spcAft>
                <a:spcPts val="0"/>
              </a:spcAft>
              <a:buClrTx/>
              <a:buSzTx/>
              <a:buFontTx/>
              <a:buNone/>
              <a:tabLst/>
              <a:defRPr/>
            </a:pPr>
            <a:r>
              <a:rPr lang="en-US" sz="2800" dirty="0">
                <a:solidFill>
                  <a:schemeClr val="bg1">
                    <a:lumMod val="85000"/>
                  </a:schemeClr>
                </a:solidFill>
              </a:rPr>
              <a:t>30</a:t>
            </a:r>
            <a:r>
              <a:rPr lang="en-US" sz="2800" baseline="0" dirty="0">
                <a:solidFill>
                  <a:schemeClr val="bg1">
                    <a:lumMod val="85000"/>
                  </a:schemeClr>
                </a:solidFill>
              </a:rPr>
              <a:t> September</a:t>
            </a:r>
            <a:endParaRPr lang="en-US" sz="2800" dirty="0">
              <a:solidFill>
                <a:schemeClr val="bg1">
                  <a:lumMod val="85000"/>
                </a:schemeClr>
              </a:solidFill>
            </a:endParaRPr>
          </a:p>
          <a:p>
            <a:pPr algn="l"/>
            <a:endParaRPr sz="2600" b="0" dirty="0">
              <a:solidFill>
                <a:schemeClr val="bg2">
                  <a:lumMod val="90000"/>
                </a:schemeClr>
              </a:solidFill>
            </a:endParaRPr>
          </a:p>
        </p:txBody>
      </p:sp>
      <p:sp>
        <p:nvSpPr>
          <p:cNvPr id="1793" name="TextBox 1792"/>
          <p:cNvSpPr txBox="1"/>
          <p:nvPr/>
        </p:nvSpPr>
        <p:spPr>
          <a:xfrm>
            <a:off x="4764373" y="1645734"/>
            <a:ext cx="3657362" cy="768096"/>
          </a:xfrm>
          <a:prstGeom prst="rect">
            <a:avLst/>
          </a:prstGeom>
          <a:noFill/>
        </p:spPr>
        <p:txBody>
          <a:bodyPr wrap="square" tIns="0" bIns="0" rtlCol="0" anchor="ctr">
            <a:noAutofit/>
          </a:bodyPr>
          <a:lstStyle/>
          <a:p>
            <a:pPr algn="l"/>
            <a:r>
              <a:rPr lang="en-US" sz="2600" b="0" kern="1200" cap="none" spc="0" dirty="0">
                <a:ln w="0"/>
                <a:solidFill>
                  <a:schemeClr val="tx1"/>
                </a:solidFill>
                <a:effectLst>
                  <a:outerShdw blurRad="38100" dist="19050" dir="2700000" algn="tl" rotWithShape="0">
                    <a:schemeClr val="dk1">
                      <a:alpha val="40000"/>
                    </a:schemeClr>
                  </a:outerShdw>
                </a:effectLst>
                <a:latin typeface="+mn-lt"/>
                <a:ea typeface="+mn-ea"/>
                <a:cs typeface="+mn-cs"/>
              </a:rPr>
              <a:t>1 October</a:t>
            </a:r>
          </a:p>
        </p:txBody>
      </p:sp>
      <p:sp>
        <p:nvSpPr>
          <p:cNvPr id="1794" name="TextBox 1793"/>
          <p:cNvSpPr txBox="1"/>
          <p:nvPr/>
        </p:nvSpPr>
        <p:spPr>
          <a:xfrm>
            <a:off x="8512830" y="1645734"/>
            <a:ext cx="3657362" cy="768096"/>
          </a:xfrm>
          <a:prstGeom prst="rect">
            <a:avLst/>
          </a:prstGeom>
          <a:noFill/>
        </p:spPr>
        <p:txBody>
          <a:bodyPr wrap="square" tIns="0" bIns="0" rtlCol="0" anchor="ctr">
            <a:noAutofit/>
          </a:bodyPr>
          <a:lstStyle>
            <a:defPPr>
              <a:defRPr lang="en-US"/>
            </a:defPPr>
            <a:lvl1pPr>
              <a:defRPr sz="1300" b="0"/>
            </a:lvl1pPr>
          </a:lstStyle>
          <a:p>
            <a:pPr lvl="0"/>
            <a:r>
              <a:rPr lang="en-US" sz="2600" dirty="0"/>
              <a:t>2</a:t>
            </a:r>
          </a:p>
        </p:txBody>
      </p:sp>
      <p:sp>
        <p:nvSpPr>
          <p:cNvPr id="1795" name="TextBox 1794"/>
          <p:cNvSpPr txBox="1"/>
          <p:nvPr/>
        </p:nvSpPr>
        <p:spPr>
          <a:xfrm>
            <a:off x="12191204" y="1645734"/>
            <a:ext cx="3657362" cy="768096"/>
          </a:xfrm>
          <a:prstGeom prst="rect">
            <a:avLst/>
          </a:prstGeom>
          <a:noFill/>
        </p:spPr>
        <p:txBody>
          <a:bodyPr wrap="square" tIns="0" bIns="0" rtlCol="0" anchor="ctr">
            <a:noAutofit/>
          </a:bodyPr>
          <a:lstStyle>
            <a:defPPr>
              <a:defRPr lang="en-US"/>
            </a:defPPr>
            <a:lvl1pPr>
              <a:defRPr sz="1300" b="0"/>
            </a:lvl1pPr>
          </a:lstStyle>
          <a:p>
            <a:pPr lvl="0"/>
            <a:r>
              <a:rPr lang="en-US" sz="2600" dirty="0"/>
              <a:t>3</a:t>
            </a:r>
            <a:endParaRPr sz="2600" dirty="0"/>
          </a:p>
        </p:txBody>
      </p:sp>
      <p:sp>
        <p:nvSpPr>
          <p:cNvPr id="1796" name="TextBox 1795"/>
          <p:cNvSpPr txBox="1"/>
          <p:nvPr/>
        </p:nvSpPr>
        <p:spPr>
          <a:xfrm>
            <a:off x="15925635" y="1645734"/>
            <a:ext cx="3657362" cy="768096"/>
          </a:xfrm>
          <a:prstGeom prst="rect">
            <a:avLst/>
          </a:prstGeom>
          <a:noFill/>
        </p:spPr>
        <p:txBody>
          <a:bodyPr wrap="square" tIns="0" bIns="0" rtlCol="0" anchor="ctr">
            <a:noAutofit/>
          </a:bodyPr>
          <a:lstStyle>
            <a:defPPr>
              <a:defRPr lang="en-US"/>
            </a:defPPr>
            <a:lvl1pPr>
              <a:defRPr sz="1300" b="0"/>
            </a:lvl1pPr>
          </a:lstStyle>
          <a:p>
            <a:pPr lvl="0"/>
            <a:r>
              <a:rPr lang="en-US" sz="2600" dirty="0"/>
              <a:t>4</a:t>
            </a:r>
            <a:endParaRPr sz="2600" dirty="0"/>
          </a:p>
        </p:txBody>
      </p:sp>
      <p:sp>
        <p:nvSpPr>
          <p:cNvPr id="1797" name="TextBox 1796"/>
          <p:cNvSpPr txBox="1"/>
          <p:nvPr/>
        </p:nvSpPr>
        <p:spPr>
          <a:xfrm>
            <a:off x="19649854" y="1645734"/>
            <a:ext cx="3657362" cy="768096"/>
          </a:xfrm>
          <a:prstGeom prst="rect">
            <a:avLst/>
          </a:prstGeom>
          <a:noFill/>
        </p:spPr>
        <p:txBody>
          <a:bodyPr wrap="square" tIns="0" bIns="0" rtlCol="0" anchor="ctr">
            <a:noAutofit/>
          </a:bodyPr>
          <a:lstStyle>
            <a:defPPr>
              <a:defRPr lang="en-US"/>
            </a:defPPr>
            <a:lvl1pPr>
              <a:defRPr sz="1300" b="0"/>
            </a:lvl1pPr>
          </a:lstStyle>
          <a:p>
            <a:pPr lvl="0"/>
            <a:r>
              <a:rPr lang="en-US" sz="2600" dirty="0"/>
              <a:t>5/6</a:t>
            </a:r>
            <a:endParaRPr sz="2600" dirty="0"/>
          </a:p>
        </p:txBody>
      </p:sp>
      <p:sp>
        <p:nvSpPr>
          <p:cNvPr id="1798" name="TextBox 1797"/>
          <p:cNvSpPr txBox="1"/>
          <p:nvPr/>
        </p:nvSpPr>
        <p:spPr>
          <a:xfrm>
            <a:off x="1093025" y="3475562"/>
            <a:ext cx="3657362" cy="768096"/>
          </a:xfrm>
          <a:prstGeom prst="rect">
            <a:avLst/>
          </a:prstGeom>
          <a:noFill/>
        </p:spPr>
        <p:txBody>
          <a:bodyPr wrap="square" tIns="0" bIns="0" rtlCol="0" anchor="ctr">
            <a:noAutofit/>
          </a:bodyPr>
          <a:lstStyle/>
          <a:p>
            <a:pPr algn="l"/>
            <a:r>
              <a:rPr lang="en-US" sz="2600" b="0">
                <a:solidFill>
                  <a:schemeClr val="tx1"/>
                </a:solidFill>
              </a:rPr>
              <a:t>7</a:t>
            </a:r>
            <a:endParaRPr sz="2600" b="0" dirty="0">
              <a:solidFill>
                <a:schemeClr val="tx1"/>
              </a:solidFill>
            </a:endParaRPr>
          </a:p>
        </p:txBody>
      </p:sp>
      <p:sp>
        <p:nvSpPr>
          <p:cNvPr id="1799" name="TextBox 1798"/>
          <p:cNvSpPr txBox="1"/>
          <p:nvPr/>
        </p:nvSpPr>
        <p:spPr>
          <a:xfrm>
            <a:off x="4764373" y="3475562"/>
            <a:ext cx="3657362" cy="768096"/>
          </a:xfrm>
          <a:prstGeom prst="rect">
            <a:avLst/>
          </a:prstGeom>
          <a:noFill/>
        </p:spPr>
        <p:txBody>
          <a:bodyPr wrap="square" tIns="0" bIns="0" rtlCol="0" anchor="ctr">
            <a:noAutofit/>
          </a:bodyPr>
          <a:lstStyle/>
          <a:p>
            <a:pPr algn="l"/>
            <a:r>
              <a:rPr lang="en-US" sz="2600" b="0">
                <a:solidFill>
                  <a:schemeClr val="tx1"/>
                </a:solidFill>
              </a:rPr>
              <a:t>8</a:t>
            </a:r>
            <a:endParaRPr sz="2600" b="0" dirty="0">
              <a:solidFill>
                <a:schemeClr val="tx1"/>
              </a:solidFill>
            </a:endParaRPr>
          </a:p>
        </p:txBody>
      </p:sp>
      <p:sp>
        <p:nvSpPr>
          <p:cNvPr id="1800" name="TextBox 1799"/>
          <p:cNvSpPr txBox="1"/>
          <p:nvPr/>
        </p:nvSpPr>
        <p:spPr>
          <a:xfrm>
            <a:off x="8512830" y="3475562"/>
            <a:ext cx="3657362" cy="768096"/>
          </a:xfrm>
          <a:prstGeom prst="rect">
            <a:avLst/>
          </a:prstGeom>
          <a:noFill/>
        </p:spPr>
        <p:txBody>
          <a:bodyPr wrap="square" tIns="0" bIns="0" rtlCol="0" anchor="ctr">
            <a:noAutofit/>
          </a:bodyPr>
          <a:lstStyle/>
          <a:p>
            <a:pPr algn="l"/>
            <a:r>
              <a:rPr lang="en-US" sz="2600" b="0">
                <a:solidFill>
                  <a:schemeClr val="tx1"/>
                </a:solidFill>
              </a:rPr>
              <a:t>9</a:t>
            </a:r>
            <a:endParaRPr sz="2600" b="0" dirty="0">
              <a:solidFill>
                <a:schemeClr val="tx1"/>
              </a:solidFill>
            </a:endParaRPr>
          </a:p>
        </p:txBody>
      </p:sp>
      <p:sp>
        <p:nvSpPr>
          <p:cNvPr id="1801" name="TextBox 1800"/>
          <p:cNvSpPr txBox="1"/>
          <p:nvPr/>
        </p:nvSpPr>
        <p:spPr>
          <a:xfrm>
            <a:off x="12191204" y="3475562"/>
            <a:ext cx="3657362" cy="768096"/>
          </a:xfrm>
          <a:prstGeom prst="rect">
            <a:avLst/>
          </a:prstGeom>
          <a:noFill/>
        </p:spPr>
        <p:txBody>
          <a:bodyPr wrap="square" tIns="0" bIns="0" rtlCol="0" anchor="ctr">
            <a:noAutofit/>
          </a:bodyPr>
          <a:lstStyle/>
          <a:p>
            <a:pPr algn="l"/>
            <a:r>
              <a:rPr lang="en-US" sz="2600" b="0" dirty="0">
                <a:solidFill>
                  <a:schemeClr val="tx1"/>
                </a:solidFill>
              </a:rPr>
              <a:t>10</a:t>
            </a:r>
            <a:endParaRPr sz="2600" b="0" dirty="0">
              <a:solidFill>
                <a:schemeClr val="tx1"/>
              </a:solidFill>
            </a:endParaRPr>
          </a:p>
        </p:txBody>
      </p:sp>
      <p:sp>
        <p:nvSpPr>
          <p:cNvPr id="1802" name="TextBox 1801"/>
          <p:cNvSpPr txBox="1"/>
          <p:nvPr/>
        </p:nvSpPr>
        <p:spPr>
          <a:xfrm>
            <a:off x="15925635" y="3475562"/>
            <a:ext cx="3657362" cy="768096"/>
          </a:xfrm>
          <a:prstGeom prst="rect">
            <a:avLst/>
          </a:prstGeom>
          <a:noFill/>
        </p:spPr>
        <p:txBody>
          <a:bodyPr wrap="square" tIns="0" bIns="0" rtlCol="0" anchor="ctr">
            <a:noAutofit/>
          </a:bodyPr>
          <a:lstStyle/>
          <a:p>
            <a:pPr algn="l"/>
            <a:r>
              <a:rPr lang="en-US" sz="2600" b="0" dirty="0">
                <a:solidFill>
                  <a:schemeClr val="tx1"/>
                </a:solidFill>
              </a:rPr>
              <a:t>11</a:t>
            </a:r>
            <a:endParaRPr sz="2600" b="0" dirty="0">
              <a:solidFill>
                <a:schemeClr val="tx1"/>
              </a:solidFill>
            </a:endParaRPr>
          </a:p>
        </p:txBody>
      </p:sp>
      <p:sp>
        <p:nvSpPr>
          <p:cNvPr id="1803" name="TextBox 1802"/>
          <p:cNvSpPr txBox="1"/>
          <p:nvPr/>
        </p:nvSpPr>
        <p:spPr>
          <a:xfrm>
            <a:off x="19649854" y="3475562"/>
            <a:ext cx="3657362" cy="768096"/>
          </a:xfrm>
          <a:prstGeom prst="rect">
            <a:avLst/>
          </a:prstGeom>
          <a:noFill/>
        </p:spPr>
        <p:txBody>
          <a:bodyPr wrap="square" tIns="0" bIns="0" rtlCol="0" anchor="ctr">
            <a:noAutofit/>
          </a:bodyPr>
          <a:lstStyle/>
          <a:p>
            <a:pPr algn="l"/>
            <a:r>
              <a:rPr lang="en-US" sz="2600" b="0" dirty="0">
                <a:solidFill>
                  <a:schemeClr val="tx1"/>
                </a:solidFill>
              </a:rPr>
              <a:t>12/13</a:t>
            </a:r>
            <a:endParaRPr sz="2600" b="0" dirty="0">
              <a:solidFill>
                <a:schemeClr val="tx1"/>
              </a:solidFill>
            </a:endParaRPr>
          </a:p>
        </p:txBody>
      </p:sp>
      <p:sp>
        <p:nvSpPr>
          <p:cNvPr id="1804" name="TextBox 1803"/>
          <p:cNvSpPr txBox="1"/>
          <p:nvPr/>
        </p:nvSpPr>
        <p:spPr>
          <a:xfrm>
            <a:off x="1093025" y="5304362"/>
            <a:ext cx="3657362" cy="768096"/>
          </a:xfrm>
          <a:prstGeom prst="rect">
            <a:avLst/>
          </a:prstGeom>
          <a:noFill/>
        </p:spPr>
        <p:txBody>
          <a:bodyPr wrap="square" tIns="0" bIns="0" rtlCol="0" anchor="ctr">
            <a:noAutofit/>
          </a:bodyPr>
          <a:lstStyle/>
          <a:p>
            <a:pPr algn="l"/>
            <a:r>
              <a:rPr lang="en-US" sz="2600" b="0" dirty="0">
                <a:solidFill>
                  <a:schemeClr val="tx1"/>
                </a:solidFill>
              </a:rPr>
              <a:t>14</a:t>
            </a:r>
            <a:endParaRPr sz="2600" b="0" dirty="0">
              <a:solidFill>
                <a:schemeClr val="tx1"/>
              </a:solidFill>
            </a:endParaRPr>
          </a:p>
        </p:txBody>
      </p:sp>
      <p:sp>
        <p:nvSpPr>
          <p:cNvPr id="1805" name="TextBox 1804"/>
          <p:cNvSpPr txBox="1"/>
          <p:nvPr/>
        </p:nvSpPr>
        <p:spPr>
          <a:xfrm>
            <a:off x="4764373" y="5304362"/>
            <a:ext cx="3657362" cy="768096"/>
          </a:xfrm>
          <a:prstGeom prst="rect">
            <a:avLst/>
          </a:prstGeom>
          <a:noFill/>
        </p:spPr>
        <p:txBody>
          <a:bodyPr wrap="square" tIns="0" bIns="0" rtlCol="0" anchor="ctr">
            <a:noAutofit/>
          </a:bodyPr>
          <a:lstStyle/>
          <a:p>
            <a:pPr algn="l"/>
            <a:r>
              <a:rPr lang="en-US" sz="2600" b="0">
                <a:solidFill>
                  <a:schemeClr val="tx1"/>
                </a:solidFill>
              </a:rPr>
              <a:t>15</a:t>
            </a:r>
            <a:endParaRPr sz="2600" b="0" dirty="0">
              <a:solidFill>
                <a:schemeClr val="tx1"/>
              </a:solidFill>
            </a:endParaRPr>
          </a:p>
        </p:txBody>
      </p:sp>
      <p:sp>
        <p:nvSpPr>
          <p:cNvPr id="1806" name="TextBox 1805"/>
          <p:cNvSpPr txBox="1"/>
          <p:nvPr/>
        </p:nvSpPr>
        <p:spPr>
          <a:xfrm>
            <a:off x="8512830" y="5304362"/>
            <a:ext cx="3657362" cy="768096"/>
          </a:xfrm>
          <a:prstGeom prst="rect">
            <a:avLst/>
          </a:prstGeom>
          <a:noFill/>
        </p:spPr>
        <p:txBody>
          <a:bodyPr wrap="square" tIns="0" bIns="0" rtlCol="0" anchor="ctr">
            <a:noAutofit/>
          </a:bodyPr>
          <a:lstStyle/>
          <a:p>
            <a:pPr algn="l"/>
            <a:r>
              <a:rPr lang="en-US" sz="2600" b="0" dirty="0">
                <a:solidFill>
                  <a:schemeClr val="tx1"/>
                </a:solidFill>
              </a:rPr>
              <a:t>16</a:t>
            </a:r>
            <a:endParaRPr sz="2600" b="0" dirty="0">
              <a:solidFill>
                <a:schemeClr val="tx1"/>
              </a:solidFill>
            </a:endParaRPr>
          </a:p>
        </p:txBody>
      </p:sp>
      <p:sp>
        <p:nvSpPr>
          <p:cNvPr id="1807" name="TextBox 1806"/>
          <p:cNvSpPr txBox="1"/>
          <p:nvPr/>
        </p:nvSpPr>
        <p:spPr>
          <a:xfrm>
            <a:off x="12191204" y="5304362"/>
            <a:ext cx="3657362" cy="768096"/>
          </a:xfrm>
          <a:prstGeom prst="rect">
            <a:avLst/>
          </a:prstGeom>
          <a:noFill/>
        </p:spPr>
        <p:txBody>
          <a:bodyPr wrap="square" tIns="0" bIns="0" rtlCol="0" anchor="ctr">
            <a:noAutofit/>
          </a:bodyPr>
          <a:lstStyle/>
          <a:p>
            <a:pPr algn="l"/>
            <a:r>
              <a:rPr lang="en-US" sz="2600" b="0" dirty="0">
                <a:solidFill>
                  <a:schemeClr val="tx1"/>
                </a:solidFill>
              </a:rPr>
              <a:t>17</a:t>
            </a:r>
            <a:endParaRPr sz="2600" b="0" dirty="0">
              <a:solidFill>
                <a:schemeClr val="tx1"/>
              </a:solidFill>
            </a:endParaRPr>
          </a:p>
        </p:txBody>
      </p:sp>
      <p:sp>
        <p:nvSpPr>
          <p:cNvPr id="1808" name="TextBox 1807"/>
          <p:cNvSpPr txBox="1"/>
          <p:nvPr/>
        </p:nvSpPr>
        <p:spPr>
          <a:xfrm>
            <a:off x="15925635" y="5304362"/>
            <a:ext cx="3657362" cy="768096"/>
          </a:xfrm>
          <a:prstGeom prst="rect">
            <a:avLst/>
          </a:prstGeom>
          <a:noFill/>
        </p:spPr>
        <p:txBody>
          <a:bodyPr wrap="square" tIns="0" bIns="0" rtlCol="0" anchor="ctr">
            <a:noAutofit/>
          </a:bodyPr>
          <a:lstStyle/>
          <a:p>
            <a:pPr algn="l"/>
            <a:r>
              <a:rPr lang="en-US" sz="2600" b="0">
                <a:solidFill>
                  <a:schemeClr val="tx1"/>
                </a:solidFill>
              </a:rPr>
              <a:t>18</a:t>
            </a:r>
            <a:endParaRPr sz="2600" b="0" dirty="0">
              <a:solidFill>
                <a:schemeClr val="tx1"/>
              </a:solidFill>
            </a:endParaRPr>
          </a:p>
        </p:txBody>
      </p:sp>
      <p:sp>
        <p:nvSpPr>
          <p:cNvPr id="1809" name="TextBox 1808"/>
          <p:cNvSpPr txBox="1"/>
          <p:nvPr/>
        </p:nvSpPr>
        <p:spPr>
          <a:xfrm>
            <a:off x="19649854" y="5304362"/>
            <a:ext cx="3657362" cy="768096"/>
          </a:xfrm>
          <a:prstGeom prst="rect">
            <a:avLst/>
          </a:prstGeom>
          <a:noFill/>
        </p:spPr>
        <p:txBody>
          <a:bodyPr wrap="square" tIns="0" bIns="0" rtlCol="0" anchor="ctr">
            <a:noAutofit/>
          </a:bodyPr>
          <a:lstStyle/>
          <a:p>
            <a:pPr algn="l"/>
            <a:r>
              <a:rPr lang="en-US" sz="2600" b="0" dirty="0">
                <a:solidFill>
                  <a:schemeClr val="tx1"/>
                </a:solidFill>
              </a:rPr>
              <a:t>19/20</a:t>
            </a:r>
            <a:endParaRPr sz="2600" b="0" dirty="0">
              <a:solidFill>
                <a:schemeClr val="tx1"/>
              </a:solidFill>
            </a:endParaRPr>
          </a:p>
        </p:txBody>
      </p:sp>
      <p:sp>
        <p:nvSpPr>
          <p:cNvPr id="1810" name="TextBox 1809"/>
          <p:cNvSpPr txBox="1"/>
          <p:nvPr/>
        </p:nvSpPr>
        <p:spPr>
          <a:xfrm>
            <a:off x="1093025" y="7133162"/>
            <a:ext cx="3657362" cy="768096"/>
          </a:xfrm>
          <a:prstGeom prst="rect">
            <a:avLst/>
          </a:prstGeom>
          <a:noFill/>
        </p:spPr>
        <p:txBody>
          <a:bodyPr wrap="square" tIns="0" bIns="0" rtlCol="0" anchor="ctr">
            <a:noAutofit/>
          </a:bodyPr>
          <a:lstStyle/>
          <a:p>
            <a:pPr algn="l"/>
            <a:r>
              <a:rPr lang="en-US" sz="2600" b="0" dirty="0">
                <a:solidFill>
                  <a:schemeClr val="tx1"/>
                </a:solidFill>
              </a:rPr>
              <a:t>21</a:t>
            </a:r>
            <a:endParaRPr sz="2600" b="0" dirty="0">
              <a:solidFill>
                <a:schemeClr val="tx1"/>
              </a:solidFill>
            </a:endParaRPr>
          </a:p>
        </p:txBody>
      </p:sp>
      <p:sp>
        <p:nvSpPr>
          <p:cNvPr id="1811" name="TextBox 1810"/>
          <p:cNvSpPr txBox="1"/>
          <p:nvPr/>
        </p:nvSpPr>
        <p:spPr>
          <a:xfrm>
            <a:off x="4764373" y="7133162"/>
            <a:ext cx="3657362" cy="768096"/>
          </a:xfrm>
          <a:prstGeom prst="rect">
            <a:avLst/>
          </a:prstGeom>
          <a:noFill/>
        </p:spPr>
        <p:txBody>
          <a:bodyPr wrap="square" tIns="0" bIns="0" rtlCol="0" anchor="ctr">
            <a:noAutofit/>
          </a:bodyPr>
          <a:lstStyle/>
          <a:p>
            <a:pPr algn="l"/>
            <a:r>
              <a:rPr lang="en-US" sz="2600" b="0">
                <a:solidFill>
                  <a:schemeClr val="tx1"/>
                </a:solidFill>
              </a:rPr>
              <a:t>22</a:t>
            </a:r>
            <a:endParaRPr sz="2600" b="0" dirty="0">
              <a:solidFill>
                <a:schemeClr val="tx1"/>
              </a:solidFill>
            </a:endParaRPr>
          </a:p>
        </p:txBody>
      </p:sp>
      <p:sp>
        <p:nvSpPr>
          <p:cNvPr id="1812" name="TextBox 1811"/>
          <p:cNvSpPr txBox="1"/>
          <p:nvPr/>
        </p:nvSpPr>
        <p:spPr>
          <a:xfrm>
            <a:off x="8512830" y="7133162"/>
            <a:ext cx="3657362" cy="768096"/>
          </a:xfrm>
          <a:prstGeom prst="rect">
            <a:avLst/>
          </a:prstGeom>
          <a:noFill/>
        </p:spPr>
        <p:txBody>
          <a:bodyPr wrap="square" tIns="0" bIns="0" rtlCol="0" anchor="ctr">
            <a:noAutofit/>
          </a:bodyPr>
          <a:lstStyle/>
          <a:p>
            <a:pPr algn="l"/>
            <a:r>
              <a:rPr lang="en-US" sz="2600" b="0" dirty="0">
                <a:solidFill>
                  <a:schemeClr val="tx1"/>
                </a:solidFill>
              </a:rPr>
              <a:t>23</a:t>
            </a:r>
            <a:endParaRPr sz="2600" b="0" dirty="0">
              <a:solidFill>
                <a:schemeClr val="tx1"/>
              </a:solidFill>
            </a:endParaRPr>
          </a:p>
        </p:txBody>
      </p:sp>
      <p:sp>
        <p:nvSpPr>
          <p:cNvPr id="1813" name="TextBox 1812"/>
          <p:cNvSpPr txBox="1"/>
          <p:nvPr/>
        </p:nvSpPr>
        <p:spPr>
          <a:xfrm>
            <a:off x="12191204" y="7133162"/>
            <a:ext cx="3657362" cy="768096"/>
          </a:xfrm>
          <a:prstGeom prst="rect">
            <a:avLst/>
          </a:prstGeom>
          <a:noFill/>
        </p:spPr>
        <p:txBody>
          <a:bodyPr wrap="square" tIns="0" bIns="0" rtlCol="0" anchor="ctr">
            <a:noAutofit/>
          </a:bodyPr>
          <a:lstStyle/>
          <a:p>
            <a:pPr algn="l"/>
            <a:r>
              <a:rPr lang="en-US" sz="2600" b="0" dirty="0">
                <a:solidFill>
                  <a:schemeClr val="tx1"/>
                </a:solidFill>
              </a:rPr>
              <a:t>24</a:t>
            </a:r>
            <a:endParaRPr sz="2600" b="0" dirty="0">
              <a:solidFill>
                <a:schemeClr val="tx1"/>
              </a:solidFill>
            </a:endParaRPr>
          </a:p>
        </p:txBody>
      </p:sp>
      <p:sp>
        <p:nvSpPr>
          <p:cNvPr id="1814" name="TextBox 1813"/>
          <p:cNvSpPr txBox="1"/>
          <p:nvPr/>
        </p:nvSpPr>
        <p:spPr>
          <a:xfrm>
            <a:off x="15925635" y="7133162"/>
            <a:ext cx="3657362" cy="768096"/>
          </a:xfrm>
          <a:prstGeom prst="rect">
            <a:avLst/>
          </a:prstGeom>
          <a:noFill/>
        </p:spPr>
        <p:txBody>
          <a:bodyPr wrap="square" tIns="0" bIns="0" rtlCol="0" anchor="ctr">
            <a:noAutofit/>
          </a:bodyPr>
          <a:lstStyle/>
          <a:p>
            <a:pPr algn="l"/>
            <a:r>
              <a:rPr lang="en-US" sz="2600" b="0" dirty="0">
                <a:solidFill>
                  <a:schemeClr val="tx1"/>
                </a:solidFill>
              </a:rPr>
              <a:t>25</a:t>
            </a:r>
            <a:endParaRPr sz="2600" b="0" dirty="0">
              <a:solidFill>
                <a:schemeClr val="tx1"/>
              </a:solidFill>
            </a:endParaRPr>
          </a:p>
        </p:txBody>
      </p:sp>
      <p:sp>
        <p:nvSpPr>
          <p:cNvPr id="1815" name="TextBox 1814"/>
          <p:cNvSpPr txBox="1"/>
          <p:nvPr/>
        </p:nvSpPr>
        <p:spPr>
          <a:xfrm>
            <a:off x="19649854" y="7133162"/>
            <a:ext cx="3657362" cy="768096"/>
          </a:xfrm>
          <a:prstGeom prst="rect">
            <a:avLst/>
          </a:prstGeom>
          <a:noFill/>
        </p:spPr>
        <p:txBody>
          <a:bodyPr wrap="square" tIns="0" bIns="0" rtlCol="0" anchor="ctr">
            <a:noAutofit/>
          </a:bodyPr>
          <a:lstStyle/>
          <a:p>
            <a:pPr algn="l"/>
            <a:r>
              <a:rPr lang="en-US" sz="2600" b="0" dirty="0">
                <a:solidFill>
                  <a:schemeClr val="tx1"/>
                </a:solidFill>
              </a:rPr>
              <a:t>26/27</a:t>
            </a:r>
            <a:endParaRPr sz="2600" b="0" dirty="0">
              <a:solidFill>
                <a:schemeClr val="tx1"/>
              </a:solidFill>
            </a:endParaRPr>
          </a:p>
        </p:txBody>
      </p:sp>
      <p:sp>
        <p:nvSpPr>
          <p:cNvPr id="1816" name="TextBox 1815"/>
          <p:cNvSpPr txBox="1"/>
          <p:nvPr/>
        </p:nvSpPr>
        <p:spPr>
          <a:xfrm>
            <a:off x="1093025" y="8961962"/>
            <a:ext cx="3657362" cy="768096"/>
          </a:xfrm>
          <a:prstGeom prst="rect">
            <a:avLst/>
          </a:prstGeom>
          <a:noFill/>
        </p:spPr>
        <p:txBody>
          <a:bodyPr wrap="square" tIns="0" bIns="0" rtlCol="0" anchor="ctr">
            <a:noAutofit/>
          </a:bodyPr>
          <a:lstStyle/>
          <a:p>
            <a:pPr algn="l"/>
            <a:r>
              <a:rPr lang="en-US" sz="2600" b="0" dirty="0">
                <a:solidFill>
                  <a:schemeClr val="tx1"/>
                </a:solidFill>
              </a:rPr>
              <a:t>28</a:t>
            </a:r>
            <a:endParaRPr sz="2600" b="0" dirty="0">
              <a:solidFill>
                <a:schemeClr val="tx1"/>
              </a:solidFill>
            </a:endParaRPr>
          </a:p>
        </p:txBody>
      </p:sp>
      <p:sp>
        <p:nvSpPr>
          <p:cNvPr id="1817" name="TextBox 1816"/>
          <p:cNvSpPr txBox="1"/>
          <p:nvPr/>
        </p:nvSpPr>
        <p:spPr>
          <a:xfrm>
            <a:off x="4764373" y="8961962"/>
            <a:ext cx="3657362" cy="768096"/>
          </a:xfrm>
          <a:prstGeom prst="rect">
            <a:avLst/>
          </a:prstGeom>
          <a:noFill/>
        </p:spPr>
        <p:txBody>
          <a:bodyPr wrap="square" tIns="0" bIns="0" rtlCol="0" anchor="ctr">
            <a:noAutofit/>
          </a:bodyPr>
          <a:lstStyle/>
          <a:p>
            <a:pPr algn="l"/>
            <a:r>
              <a:rPr lang="en-US" sz="2600" b="0" dirty="0">
                <a:solidFill>
                  <a:schemeClr val="tx1"/>
                </a:solidFill>
              </a:rPr>
              <a:t>29</a:t>
            </a:r>
            <a:endParaRPr sz="2600" b="0" dirty="0">
              <a:solidFill>
                <a:schemeClr val="tx1"/>
              </a:solidFill>
            </a:endParaRPr>
          </a:p>
        </p:txBody>
      </p:sp>
      <p:sp>
        <p:nvSpPr>
          <p:cNvPr id="1818" name="TextBox 1817"/>
          <p:cNvSpPr txBox="1"/>
          <p:nvPr/>
        </p:nvSpPr>
        <p:spPr>
          <a:xfrm>
            <a:off x="8512830" y="8961962"/>
            <a:ext cx="3657362" cy="768096"/>
          </a:xfrm>
          <a:prstGeom prst="rect">
            <a:avLst/>
          </a:prstGeom>
          <a:noFill/>
        </p:spPr>
        <p:txBody>
          <a:bodyPr wrap="square" tIns="0" bIns="0" rtlCol="0" anchor="ctr">
            <a:noAutofit/>
          </a:bodyPr>
          <a:lstStyle/>
          <a:p>
            <a:pPr algn="l"/>
            <a:r>
              <a:rPr lang="en-US" sz="2600" b="0" dirty="0">
                <a:solidFill>
                  <a:schemeClr val="tx1"/>
                </a:solidFill>
              </a:rPr>
              <a:t>30</a:t>
            </a:r>
            <a:endParaRPr sz="2600" b="0" dirty="0">
              <a:solidFill>
                <a:schemeClr val="tx1"/>
              </a:solidFill>
            </a:endParaRPr>
          </a:p>
        </p:txBody>
      </p:sp>
      <p:sp>
        <p:nvSpPr>
          <p:cNvPr id="1819" name="TextBox 1818"/>
          <p:cNvSpPr txBox="1"/>
          <p:nvPr/>
        </p:nvSpPr>
        <p:spPr>
          <a:xfrm>
            <a:off x="12191204" y="8961962"/>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1">
                    <a:lumMod val="50000"/>
                  </a:schemeClr>
                </a:solidFill>
              </a:rPr>
              <a:t>31</a:t>
            </a:r>
          </a:p>
        </p:txBody>
      </p:sp>
      <p:sp>
        <p:nvSpPr>
          <p:cNvPr id="1820" name="TextBox 1819"/>
          <p:cNvSpPr txBox="1"/>
          <p:nvPr/>
        </p:nvSpPr>
        <p:spPr>
          <a:xfrm>
            <a:off x="15925635" y="8961962"/>
            <a:ext cx="3657362" cy="768096"/>
          </a:xfrm>
          <a:prstGeom prst="rect">
            <a:avLst/>
          </a:prstGeom>
          <a:noFill/>
        </p:spPr>
        <p:txBody>
          <a:bodyPr wrap="square" tIns="0" bIns="0" rtlCol="0" anchor="ctr">
            <a:noAutofit/>
          </a:bodyPr>
          <a:lstStyle>
            <a:defPPr>
              <a:defRPr lang="en-US"/>
            </a:defPPr>
            <a:lvl1pPr>
              <a:defRPr sz="1300" b="0">
                <a:solidFill>
                  <a:schemeClr val="bg2">
                    <a:lumMod val="90000"/>
                  </a:schemeClr>
                </a:solidFill>
              </a:defRPr>
            </a:lvl1pPr>
          </a:lstStyle>
          <a:p>
            <a:pPr lvl="0"/>
            <a:r>
              <a:rPr lang="en-US" sz="2600" dirty="0"/>
              <a:t>1 November</a:t>
            </a:r>
          </a:p>
        </p:txBody>
      </p:sp>
      <p:sp>
        <p:nvSpPr>
          <p:cNvPr id="1821" name="TextBox 1820"/>
          <p:cNvSpPr txBox="1"/>
          <p:nvPr/>
        </p:nvSpPr>
        <p:spPr>
          <a:xfrm>
            <a:off x="19649854" y="8961962"/>
            <a:ext cx="3657362" cy="768096"/>
          </a:xfrm>
          <a:prstGeom prst="rect">
            <a:avLst/>
          </a:prstGeom>
          <a:noFill/>
        </p:spPr>
        <p:txBody>
          <a:bodyPr wrap="square" tIns="0" bIns="0" rtlCol="0" anchor="ctr">
            <a:noAutofit/>
          </a:bodyPr>
          <a:lstStyle>
            <a:defPPr>
              <a:defRPr lang="en-US"/>
            </a:defPPr>
            <a:lvl1pPr>
              <a:defRPr sz="1300" b="0">
                <a:solidFill>
                  <a:schemeClr val="bg2">
                    <a:lumMod val="90000"/>
                  </a:schemeClr>
                </a:solidFill>
              </a:defRPr>
            </a:lvl1pPr>
          </a:lstStyle>
          <a:p>
            <a:pPr lvl="0"/>
            <a:r>
              <a:rPr lang="en-US" sz="2600" dirty="0"/>
              <a:t>2/3</a:t>
            </a:r>
            <a:endParaRPr sz="2600" dirty="0"/>
          </a:p>
        </p:txBody>
      </p:sp>
      <p:sp>
        <p:nvSpPr>
          <p:cNvPr id="1822" name="TextBox 1821"/>
          <p:cNvSpPr txBox="1"/>
          <p:nvPr/>
        </p:nvSpPr>
        <p:spPr>
          <a:xfrm>
            <a:off x="1093025" y="10809050"/>
            <a:ext cx="3657362" cy="768096"/>
          </a:xfrm>
          <a:prstGeom prst="rect">
            <a:avLst/>
          </a:prstGeom>
          <a:noFill/>
        </p:spPr>
        <p:txBody>
          <a:bodyPr wrap="square" tIns="0" bIns="0" rtlCol="0" anchor="ctr">
            <a:noAutofit/>
          </a:bodyPr>
          <a:lstStyle>
            <a:defPPr>
              <a:defRPr lang="en-US"/>
            </a:defPPr>
            <a:lvl1pPr>
              <a:defRPr sz="1300" b="0">
                <a:solidFill>
                  <a:schemeClr val="bg2">
                    <a:lumMod val="90000"/>
                  </a:schemeClr>
                </a:solidFill>
              </a:defRPr>
            </a:lvl1pPr>
          </a:lstStyle>
          <a:p>
            <a:pPr lvl="0"/>
            <a:r>
              <a:rPr lang="en-US" sz="2600" dirty="0"/>
              <a:t>4</a:t>
            </a:r>
            <a:endParaRPr sz="2600" dirty="0"/>
          </a:p>
        </p:txBody>
      </p:sp>
      <p:sp>
        <p:nvSpPr>
          <p:cNvPr id="1823" name="TextBox 1822"/>
          <p:cNvSpPr txBox="1"/>
          <p:nvPr/>
        </p:nvSpPr>
        <p:spPr>
          <a:xfrm>
            <a:off x="4764373" y="10809050"/>
            <a:ext cx="3657362" cy="768096"/>
          </a:xfrm>
          <a:prstGeom prst="rect">
            <a:avLst/>
          </a:prstGeom>
          <a:noFill/>
        </p:spPr>
        <p:txBody>
          <a:bodyPr wrap="square" tIns="0" bIns="0" rtlCol="0" anchor="ctr">
            <a:noAutofit/>
          </a:bodyPr>
          <a:lstStyle>
            <a:defPPr>
              <a:defRPr lang="en-US"/>
            </a:defPPr>
            <a:lvl1pPr>
              <a:defRPr sz="1300" b="0">
                <a:solidFill>
                  <a:schemeClr val="bg2">
                    <a:lumMod val="90000"/>
                  </a:schemeClr>
                </a:solidFill>
              </a:defRPr>
            </a:lvl1pPr>
          </a:lstStyle>
          <a:p>
            <a:pPr lvl="0"/>
            <a:r>
              <a:rPr lang="en-US" sz="2600" dirty="0"/>
              <a:t>5</a:t>
            </a:r>
            <a:endParaRPr sz="2600" dirty="0"/>
          </a:p>
        </p:txBody>
      </p:sp>
      <p:sp>
        <p:nvSpPr>
          <p:cNvPr id="1824" name="TextBox 1823"/>
          <p:cNvSpPr txBox="1"/>
          <p:nvPr/>
        </p:nvSpPr>
        <p:spPr>
          <a:xfrm>
            <a:off x="8512833" y="10809050"/>
            <a:ext cx="3657362" cy="768096"/>
          </a:xfrm>
          <a:prstGeom prst="rect">
            <a:avLst/>
          </a:prstGeom>
          <a:noFill/>
        </p:spPr>
        <p:txBody>
          <a:bodyPr wrap="square" tIns="0" bIns="0" rtlCol="0" anchor="ctr">
            <a:noAutofit/>
          </a:bodyPr>
          <a:lstStyle>
            <a:defPPr>
              <a:defRPr lang="en-US"/>
            </a:defPPr>
            <a:lvl1pPr>
              <a:defRPr sz="1300" b="0">
                <a:solidFill>
                  <a:schemeClr val="bg2">
                    <a:lumMod val="90000"/>
                  </a:schemeClr>
                </a:solidFill>
              </a:defRPr>
            </a:lvl1pPr>
          </a:lstStyle>
          <a:p>
            <a:pPr lvl="0"/>
            <a:r>
              <a:rPr lang="en-US" sz="2600" dirty="0"/>
              <a:t>6</a:t>
            </a:r>
            <a:endParaRPr sz="2600" dirty="0"/>
          </a:p>
        </p:txBody>
      </p:sp>
      <p:sp>
        <p:nvSpPr>
          <p:cNvPr id="1825" name="TextBox 1824"/>
          <p:cNvSpPr txBox="1"/>
          <p:nvPr/>
        </p:nvSpPr>
        <p:spPr>
          <a:xfrm>
            <a:off x="12191204" y="10809050"/>
            <a:ext cx="3657362" cy="768096"/>
          </a:xfrm>
          <a:prstGeom prst="rect">
            <a:avLst/>
          </a:prstGeom>
          <a:noFill/>
        </p:spPr>
        <p:txBody>
          <a:bodyPr wrap="square" tIns="0" bIns="0" rtlCol="0" anchor="ctr">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2">
                    <a:lumMod val="90000"/>
                  </a:schemeClr>
                </a:solidFill>
              </a:rPr>
              <a:t>7</a:t>
            </a:r>
          </a:p>
        </p:txBody>
      </p:sp>
      <p:sp>
        <p:nvSpPr>
          <p:cNvPr id="1826" name="TextBox 1825"/>
          <p:cNvSpPr txBox="1"/>
          <p:nvPr/>
        </p:nvSpPr>
        <p:spPr>
          <a:xfrm>
            <a:off x="15925635" y="1080905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8</a:t>
            </a:r>
            <a:endParaRPr sz="2600" b="0" dirty="0">
              <a:solidFill>
                <a:schemeClr val="bg2">
                  <a:lumMod val="90000"/>
                </a:schemeClr>
              </a:solidFill>
            </a:endParaRPr>
          </a:p>
        </p:txBody>
      </p:sp>
      <p:sp>
        <p:nvSpPr>
          <p:cNvPr id="1827" name="TextBox 1826"/>
          <p:cNvSpPr txBox="1"/>
          <p:nvPr/>
        </p:nvSpPr>
        <p:spPr>
          <a:xfrm>
            <a:off x="19649854" y="1080905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9/10</a:t>
            </a:r>
            <a:endParaRPr sz="2600" b="0" dirty="0">
              <a:solidFill>
                <a:schemeClr val="bg2">
                  <a:lumMod val="90000"/>
                </a:schemeClr>
              </a:solidFill>
            </a:endParaRPr>
          </a:p>
        </p:txBody>
      </p:sp>
      <p:sp>
        <p:nvSpPr>
          <p:cNvPr id="1828" name="TextBox 1827"/>
          <p:cNvSpPr txBox="1"/>
          <p:nvPr/>
        </p:nvSpPr>
        <p:spPr>
          <a:xfrm>
            <a:off x="956671" y="304800"/>
            <a:ext cx="22350545" cy="1398084"/>
          </a:xfrm>
          <a:prstGeom prst="rect">
            <a:avLst/>
          </a:prstGeom>
          <a:noFill/>
        </p:spPr>
        <p:txBody>
          <a:bodyPr wrap="square" tIns="0" bIns="0" rtlCol="0" anchor="ctr">
            <a:noAutofit/>
          </a:bodyPr>
          <a:lstStyle/>
          <a:p>
            <a:pPr algn="l"/>
            <a:r>
              <a:rPr lang="en-US" sz="4400" b="0" dirty="0">
                <a:solidFill>
                  <a:schemeClr val="accent1"/>
                </a:solidFill>
              </a:rPr>
              <a:t>O</a:t>
            </a:r>
            <a:r>
              <a:rPr sz="4400" b="0" dirty="0">
                <a:solidFill>
                  <a:schemeClr val="accent1"/>
                </a:solidFill>
              </a:rPr>
              <a:t>ctober</a:t>
            </a:r>
          </a:p>
        </p:txBody>
      </p:sp>
      <p:sp>
        <p:nvSpPr>
          <p:cNvPr id="41" name="Text Placeholder 2"/>
          <p:cNvSpPr>
            <a:spLocks noGrp="1"/>
          </p:cNvSpPr>
          <p:nvPr>
            <p:ph type="body" sz="quarter" idx="11" hasCustomPrompt="1"/>
          </p:nvPr>
        </p:nvSpPr>
        <p:spPr>
          <a:xfrm>
            <a:off x="1048444"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7" name="Text Placeholder 2"/>
          <p:cNvSpPr>
            <a:spLocks noGrp="1"/>
          </p:cNvSpPr>
          <p:nvPr>
            <p:ph type="body" sz="quarter" idx="17" hasCustomPrompt="1"/>
          </p:nvPr>
        </p:nvSpPr>
        <p:spPr>
          <a:xfrm>
            <a:off x="4754571"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3" name="Text Placeholder 2"/>
          <p:cNvSpPr>
            <a:spLocks noGrp="1"/>
          </p:cNvSpPr>
          <p:nvPr>
            <p:ph type="body" sz="quarter" idx="23" hasCustomPrompt="1"/>
          </p:nvPr>
        </p:nvSpPr>
        <p:spPr>
          <a:xfrm>
            <a:off x="8485080"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9" name="Text Placeholder 2"/>
          <p:cNvSpPr>
            <a:spLocks noGrp="1"/>
          </p:cNvSpPr>
          <p:nvPr>
            <p:ph type="body" sz="quarter" idx="29" hasCustomPrompt="1"/>
          </p:nvPr>
        </p:nvSpPr>
        <p:spPr>
          <a:xfrm>
            <a:off x="12220346"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5" name="Text Placeholder 2"/>
          <p:cNvSpPr>
            <a:spLocks noGrp="1"/>
          </p:cNvSpPr>
          <p:nvPr>
            <p:ph type="body" sz="quarter" idx="35" hasCustomPrompt="1"/>
          </p:nvPr>
        </p:nvSpPr>
        <p:spPr>
          <a:xfrm>
            <a:off x="15935099"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1" name="Text Placeholder 2"/>
          <p:cNvSpPr>
            <a:spLocks noGrp="1"/>
          </p:cNvSpPr>
          <p:nvPr>
            <p:ph type="body" sz="quarter" idx="41" hasCustomPrompt="1"/>
          </p:nvPr>
        </p:nvSpPr>
        <p:spPr>
          <a:xfrm>
            <a:off x="19676607" y="22136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 name="Text Placeholder 2"/>
          <p:cNvSpPr>
            <a:spLocks noGrp="1"/>
          </p:cNvSpPr>
          <p:nvPr>
            <p:ph type="body" sz="quarter" idx="10" hasCustomPrompt="1"/>
          </p:nvPr>
        </p:nvSpPr>
        <p:spPr>
          <a:xfrm>
            <a:off x="1048444"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6" name="Text Placeholder 2"/>
          <p:cNvSpPr>
            <a:spLocks noGrp="1"/>
          </p:cNvSpPr>
          <p:nvPr>
            <p:ph type="body" sz="quarter" idx="16" hasCustomPrompt="1"/>
          </p:nvPr>
        </p:nvSpPr>
        <p:spPr>
          <a:xfrm>
            <a:off x="4754571"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2" name="Text Placeholder 2"/>
          <p:cNvSpPr>
            <a:spLocks noGrp="1"/>
          </p:cNvSpPr>
          <p:nvPr>
            <p:ph type="body" sz="quarter" idx="22" hasCustomPrompt="1"/>
          </p:nvPr>
        </p:nvSpPr>
        <p:spPr>
          <a:xfrm>
            <a:off x="8485080"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8" name="Text Placeholder 2"/>
          <p:cNvSpPr>
            <a:spLocks noGrp="1"/>
          </p:cNvSpPr>
          <p:nvPr>
            <p:ph type="body" sz="quarter" idx="28" hasCustomPrompt="1"/>
          </p:nvPr>
        </p:nvSpPr>
        <p:spPr>
          <a:xfrm>
            <a:off x="12220346"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4" name="Text Placeholder 2"/>
          <p:cNvSpPr>
            <a:spLocks noGrp="1"/>
          </p:cNvSpPr>
          <p:nvPr>
            <p:ph type="body" sz="quarter" idx="34" hasCustomPrompt="1"/>
          </p:nvPr>
        </p:nvSpPr>
        <p:spPr>
          <a:xfrm>
            <a:off x="15935099"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0" name="Text Placeholder 2"/>
          <p:cNvSpPr>
            <a:spLocks noGrp="1"/>
          </p:cNvSpPr>
          <p:nvPr>
            <p:ph type="body" sz="quarter" idx="40" hasCustomPrompt="1"/>
          </p:nvPr>
        </p:nvSpPr>
        <p:spPr>
          <a:xfrm>
            <a:off x="19676607" y="40424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2" name="Text Placeholder 2"/>
          <p:cNvSpPr>
            <a:spLocks noGrp="1"/>
          </p:cNvSpPr>
          <p:nvPr>
            <p:ph type="body" sz="quarter" idx="12" hasCustomPrompt="1"/>
          </p:nvPr>
        </p:nvSpPr>
        <p:spPr>
          <a:xfrm>
            <a:off x="1048444"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8" name="Text Placeholder 2"/>
          <p:cNvSpPr>
            <a:spLocks noGrp="1"/>
          </p:cNvSpPr>
          <p:nvPr>
            <p:ph type="body" sz="quarter" idx="18" hasCustomPrompt="1"/>
          </p:nvPr>
        </p:nvSpPr>
        <p:spPr>
          <a:xfrm>
            <a:off x="4754571"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4" name="Text Placeholder 2"/>
          <p:cNvSpPr>
            <a:spLocks noGrp="1"/>
          </p:cNvSpPr>
          <p:nvPr>
            <p:ph type="body" sz="quarter" idx="24" hasCustomPrompt="1"/>
          </p:nvPr>
        </p:nvSpPr>
        <p:spPr>
          <a:xfrm>
            <a:off x="8485080"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0" name="Text Placeholder 2"/>
          <p:cNvSpPr>
            <a:spLocks noGrp="1"/>
          </p:cNvSpPr>
          <p:nvPr>
            <p:ph type="body" sz="quarter" idx="30" hasCustomPrompt="1"/>
          </p:nvPr>
        </p:nvSpPr>
        <p:spPr>
          <a:xfrm>
            <a:off x="12220346"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6" name="Text Placeholder 2"/>
          <p:cNvSpPr>
            <a:spLocks noGrp="1"/>
          </p:cNvSpPr>
          <p:nvPr>
            <p:ph type="body" sz="quarter" idx="36" hasCustomPrompt="1"/>
          </p:nvPr>
        </p:nvSpPr>
        <p:spPr>
          <a:xfrm>
            <a:off x="15935099"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2" name="Text Placeholder 2"/>
          <p:cNvSpPr>
            <a:spLocks noGrp="1"/>
          </p:cNvSpPr>
          <p:nvPr>
            <p:ph type="body" sz="quarter" idx="42" hasCustomPrompt="1"/>
          </p:nvPr>
        </p:nvSpPr>
        <p:spPr>
          <a:xfrm>
            <a:off x="19676607" y="58712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3" name="Text Placeholder 2"/>
          <p:cNvSpPr>
            <a:spLocks noGrp="1"/>
          </p:cNvSpPr>
          <p:nvPr>
            <p:ph type="body" sz="quarter" idx="13" hasCustomPrompt="1"/>
          </p:nvPr>
        </p:nvSpPr>
        <p:spPr>
          <a:xfrm>
            <a:off x="1048444"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9" name="Text Placeholder 2"/>
          <p:cNvSpPr>
            <a:spLocks noGrp="1"/>
          </p:cNvSpPr>
          <p:nvPr>
            <p:ph type="body" sz="quarter" idx="19" hasCustomPrompt="1"/>
          </p:nvPr>
        </p:nvSpPr>
        <p:spPr>
          <a:xfrm>
            <a:off x="4754571"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5" name="Text Placeholder 2"/>
          <p:cNvSpPr>
            <a:spLocks noGrp="1"/>
          </p:cNvSpPr>
          <p:nvPr>
            <p:ph type="body" sz="quarter" idx="25" hasCustomPrompt="1"/>
          </p:nvPr>
        </p:nvSpPr>
        <p:spPr>
          <a:xfrm>
            <a:off x="8485080"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1" name="Text Placeholder 2"/>
          <p:cNvSpPr>
            <a:spLocks noGrp="1"/>
          </p:cNvSpPr>
          <p:nvPr>
            <p:ph type="body" sz="quarter" idx="31" hasCustomPrompt="1"/>
          </p:nvPr>
        </p:nvSpPr>
        <p:spPr>
          <a:xfrm>
            <a:off x="12220346"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7" name="Text Placeholder 2"/>
          <p:cNvSpPr>
            <a:spLocks noGrp="1"/>
          </p:cNvSpPr>
          <p:nvPr>
            <p:ph type="body" sz="quarter" idx="37" hasCustomPrompt="1"/>
          </p:nvPr>
        </p:nvSpPr>
        <p:spPr>
          <a:xfrm>
            <a:off x="15935099"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3" name="Text Placeholder 2"/>
          <p:cNvSpPr>
            <a:spLocks noGrp="1"/>
          </p:cNvSpPr>
          <p:nvPr>
            <p:ph type="body" sz="quarter" idx="43" hasCustomPrompt="1"/>
          </p:nvPr>
        </p:nvSpPr>
        <p:spPr>
          <a:xfrm>
            <a:off x="19676607" y="77000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4" name="Text Placeholder 2"/>
          <p:cNvSpPr>
            <a:spLocks noGrp="1"/>
          </p:cNvSpPr>
          <p:nvPr>
            <p:ph type="body" sz="quarter" idx="14" hasCustomPrompt="1"/>
          </p:nvPr>
        </p:nvSpPr>
        <p:spPr>
          <a:xfrm>
            <a:off x="1048444"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0" name="Text Placeholder 2"/>
          <p:cNvSpPr>
            <a:spLocks noGrp="1"/>
          </p:cNvSpPr>
          <p:nvPr>
            <p:ph type="body" sz="quarter" idx="20" hasCustomPrompt="1"/>
          </p:nvPr>
        </p:nvSpPr>
        <p:spPr>
          <a:xfrm>
            <a:off x="4754571"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6" name="Text Placeholder 2"/>
          <p:cNvSpPr>
            <a:spLocks noGrp="1"/>
          </p:cNvSpPr>
          <p:nvPr>
            <p:ph type="body" sz="quarter" idx="26" hasCustomPrompt="1"/>
          </p:nvPr>
        </p:nvSpPr>
        <p:spPr>
          <a:xfrm>
            <a:off x="8485080"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2" name="Text Placeholder 2"/>
          <p:cNvSpPr>
            <a:spLocks noGrp="1"/>
          </p:cNvSpPr>
          <p:nvPr>
            <p:ph type="body" sz="quarter" idx="32" hasCustomPrompt="1"/>
          </p:nvPr>
        </p:nvSpPr>
        <p:spPr>
          <a:xfrm>
            <a:off x="12220346"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8" name="Text Placeholder 2"/>
          <p:cNvSpPr>
            <a:spLocks noGrp="1"/>
          </p:cNvSpPr>
          <p:nvPr>
            <p:ph type="body" sz="quarter" idx="38" hasCustomPrompt="1"/>
          </p:nvPr>
        </p:nvSpPr>
        <p:spPr>
          <a:xfrm>
            <a:off x="15935099"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4" name="Text Placeholder 2"/>
          <p:cNvSpPr>
            <a:spLocks noGrp="1"/>
          </p:cNvSpPr>
          <p:nvPr>
            <p:ph type="body" sz="quarter" idx="44" hasCustomPrompt="1"/>
          </p:nvPr>
        </p:nvSpPr>
        <p:spPr>
          <a:xfrm>
            <a:off x="19676607" y="952889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5" name="Text Placeholder 2"/>
          <p:cNvSpPr>
            <a:spLocks noGrp="1"/>
          </p:cNvSpPr>
          <p:nvPr>
            <p:ph type="body" sz="quarter" idx="15" hasCustomPrompt="1"/>
          </p:nvPr>
        </p:nvSpPr>
        <p:spPr>
          <a:xfrm>
            <a:off x="1048444"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1" name="Text Placeholder 2"/>
          <p:cNvSpPr>
            <a:spLocks noGrp="1"/>
          </p:cNvSpPr>
          <p:nvPr>
            <p:ph type="body" sz="quarter" idx="21" hasCustomPrompt="1"/>
          </p:nvPr>
        </p:nvSpPr>
        <p:spPr>
          <a:xfrm>
            <a:off x="4754571"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7" name="Text Placeholder 2"/>
          <p:cNvSpPr>
            <a:spLocks noGrp="1"/>
          </p:cNvSpPr>
          <p:nvPr>
            <p:ph type="body" sz="quarter" idx="27" hasCustomPrompt="1"/>
          </p:nvPr>
        </p:nvSpPr>
        <p:spPr>
          <a:xfrm>
            <a:off x="8485080"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3" name="Text Placeholder 2"/>
          <p:cNvSpPr>
            <a:spLocks noGrp="1"/>
          </p:cNvSpPr>
          <p:nvPr>
            <p:ph type="body" sz="quarter" idx="33" hasCustomPrompt="1"/>
          </p:nvPr>
        </p:nvSpPr>
        <p:spPr>
          <a:xfrm>
            <a:off x="12220346"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9" name="Text Placeholder 2"/>
          <p:cNvSpPr>
            <a:spLocks noGrp="1"/>
          </p:cNvSpPr>
          <p:nvPr>
            <p:ph type="body" sz="quarter" idx="39" hasCustomPrompt="1"/>
          </p:nvPr>
        </p:nvSpPr>
        <p:spPr>
          <a:xfrm>
            <a:off x="15935099"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5" name="Text Placeholder 2"/>
          <p:cNvSpPr>
            <a:spLocks noGrp="1"/>
          </p:cNvSpPr>
          <p:nvPr>
            <p:ph type="body" sz="quarter" idx="45" hasCustomPrompt="1"/>
          </p:nvPr>
        </p:nvSpPr>
        <p:spPr>
          <a:xfrm>
            <a:off x="19676607" y="1137597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8" name="TextBox 77">
            <a:extLst>
              <a:ext uri="{FF2B5EF4-FFF2-40B4-BE49-F238E27FC236}">
                <a16:creationId xmlns:a16="http://schemas.microsoft.com/office/drawing/2014/main" id="{3F75921C-238E-CD4E-B665-8A1F05385B9B}"/>
              </a:ext>
            </a:extLst>
          </p:cNvPr>
          <p:cNvSpPr txBox="1"/>
          <p:nvPr userDrawn="1"/>
        </p:nvSpPr>
        <p:spPr>
          <a:xfrm>
            <a:off x="954662" y="1399713"/>
            <a:ext cx="1638300" cy="461665"/>
          </a:xfrm>
          <a:prstGeom prst="rect">
            <a:avLst/>
          </a:prstGeom>
          <a:noFill/>
        </p:spPr>
        <p:txBody>
          <a:bodyPr wrap="square" rtlCol="0">
            <a:spAutoFit/>
          </a:bodyPr>
          <a:lstStyle/>
          <a:p>
            <a:r>
              <a:rPr lang="en-US" sz="2400" b="1" dirty="0">
                <a:solidFill>
                  <a:schemeClr val="accent1"/>
                </a:solidFill>
              </a:rPr>
              <a:t>Monday</a:t>
            </a:r>
          </a:p>
        </p:txBody>
      </p:sp>
      <p:sp>
        <p:nvSpPr>
          <p:cNvPr id="79" name="TextBox 78">
            <a:extLst>
              <a:ext uri="{FF2B5EF4-FFF2-40B4-BE49-F238E27FC236}">
                <a16:creationId xmlns:a16="http://schemas.microsoft.com/office/drawing/2014/main" id="{C55FCE94-59B3-1540-BF3A-363B422A8356}"/>
              </a:ext>
            </a:extLst>
          </p:cNvPr>
          <p:cNvSpPr txBox="1"/>
          <p:nvPr userDrawn="1"/>
        </p:nvSpPr>
        <p:spPr>
          <a:xfrm>
            <a:off x="4688462" y="1399713"/>
            <a:ext cx="1638300" cy="461665"/>
          </a:xfrm>
          <a:prstGeom prst="rect">
            <a:avLst/>
          </a:prstGeom>
          <a:noFill/>
        </p:spPr>
        <p:txBody>
          <a:bodyPr wrap="square" rtlCol="0">
            <a:spAutoFit/>
          </a:bodyPr>
          <a:lstStyle/>
          <a:p>
            <a:r>
              <a:rPr lang="en-US" sz="2400" b="1" dirty="0">
                <a:solidFill>
                  <a:schemeClr val="accent1"/>
                </a:solidFill>
              </a:rPr>
              <a:t>Tuesday</a:t>
            </a:r>
          </a:p>
        </p:txBody>
      </p:sp>
      <p:sp>
        <p:nvSpPr>
          <p:cNvPr id="80" name="TextBox 79">
            <a:extLst>
              <a:ext uri="{FF2B5EF4-FFF2-40B4-BE49-F238E27FC236}">
                <a16:creationId xmlns:a16="http://schemas.microsoft.com/office/drawing/2014/main" id="{6E506CC0-598E-FC4E-8AC8-697712B48996}"/>
              </a:ext>
            </a:extLst>
          </p:cNvPr>
          <p:cNvSpPr txBox="1"/>
          <p:nvPr userDrawn="1"/>
        </p:nvSpPr>
        <p:spPr>
          <a:xfrm>
            <a:off x="8365112" y="1399713"/>
            <a:ext cx="2741038" cy="461665"/>
          </a:xfrm>
          <a:prstGeom prst="rect">
            <a:avLst/>
          </a:prstGeom>
          <a:noFill/>
        </p:spPr>
        <p:txBody>
          <a:bodyPr wrap="square" rtlCol="0">
            <a:spAutoFit/>
          </a:bodyPr>
          <a:lstStyle/>
          <a:p>
            <a:r>
              <a:rPr lang="en-US" sz="2400" b="1" dirty="0">
                <a:solidFill>
                  <a:schemeClr val="accent1"/>
                </a:solidFill>
              </a:rPr>
              <a:t>Wednesday</a:t>
            </a:r>
          </a:p>
        </p:txBody>
      </p:sp>
      <p:sp>
        <p:nvSpPr>
          <p:cNvPr id="81" name="TextBox 80">
            <a:extLst>
              <a:ext uri="{FF2B5EF4-FFF2-40B4-BE49-F238E27FC236}">
                <a16:creationId xmlns:a16="http://schemas.microsoft.com/office/drawing/2014/main" id="{244B0B86-83B9-0A4F-92D2-C8E0F0FF3FB3}"/>
              </a:ext>
            </a:extLst>
          </p:cNvPr>
          <p:cNvSpPr txBox="1"/>
          <p:nvPr userDrawn="1"/>
        </p:nvSpPr>
        <p:spPr>
          <a:xfrm>
            <a:off x="12137012" y="1399713"/>
            <a:ext cx="1638300" cy="461665"/>
          </a:xfrm>
          <a:prstGeom prst="rect">
            <a:avLst/>
          </a:prstGeom>
          <a:noFill/>
        </p:spPr>
        <p:txBody>
          <a:bodyPr wrap="square" rtlCol="0">
            <a:spAutoFit/>
          </a:bodyPr>
          <a:lstStyle/>
          <a:p>
            <a:r>
              <a:rPr lang="en-US" sz="2400" b="1" dirty="0">
                <a:solidFill>
                  <a:schemeClr val="accent1"/>
                </a:solidFill>
              </a:rPr>
              <a:t>Thursday</a:t>
            </a:r>
          </a:p>
        </p:txBody>
      </p:sp>
      <p:sp>
        <p:nvSpPr>
          <p:cNvPr id="82" name="TextBox 81">
            <a:extLst>
              <a:ext uri="{FF2B5EF4-FFF2-40B4-BE49-F238E27FC236}">
                <a16:creationId xmlns:a16="http://schemas.microsoft.com/office/drawing/2014/main" id="{837E0639-FA62-FD4A-90C6-593758ACEDE0}"/>
              </a:ext>
            </a:extLst>
          </p:cNvPr>
          <p:cNvSpPr txBox="1"/>
          <p:nvPr userDrawn="1"/>
        </p:nvSpPr>
        <p:spPr>
          <a:xfrm>
            <a:off x="15870812" y="1399713"/>
            <a:ext cx="1638300" cy="461665"/>
          </a:xfrm>
          <a:prstGeom prst="rect">
            <a:avLst/>
          </a:prstGeom>
          <a:noFill/>
        </p:spPr>
        <p:txBody>
          <a:bodyPr wrap="square" rtlCol="0">
            <a:spAutoFit/>
          </a:bodyPr>
          <a:lstStyle/>
          <a:p>
            <a:r>
              <a:rPr lang="en-US" sz="2400" b="1" dirty="0">
                <a:solidFill>
                  <a:schemeClr val="accent1"/>
                </a:solidFill>
              </a:rPr>
              <a:t>Friday</a:t>
            </a:r>
          </a:p>
        </p:txBody>
      </p:sp>
      <p:sp>
        <p:nvSpPr>
          <p:cNvPr id="83" name="TextBox 82">
            <a:extLst>
              <a:ext uri="{FF2B5EF4-FFF2-40B4-BE49-F238E27FC236}">
                <a16:creationId xmlns:a16="http://schemas.microsoft.com/office/drawing/2014/main" id="{EAA1C820-4CEE-D348-8C9D-6276B591B1CD}"/>
              </a:ext>
            </a:extLst>
          </p:cNvPr>
          <p:cNvSpPr txBox="1"/>
          <p:nvPr userDrawn="1"/>
        </p:nvSpPr>
        <p:spPr>
          <a:xfrm>
            <a:off x="19585562" y="1399713"/>
            <a:ext cx="1638300" cy="461665"/>
          </a:xfrm>
          <a:prstGeom prst="rect">
            <a:avLst/>
          </a:prstGeom>
          <a:noFill/>
        </p:spPr>
        <p:txBody>
          <a:bodyPr wrap="square" rtlCol="0">
            <a:spAutoFit/>
          </a:bodyPr>
          <a:lstStyle/>
          <a:p>
            <a:r>
              <a:rPr lang="en-US" sz="2400" b="1" dirty="0">
                <a:solidFill>
                  <a:schemeClr val="accent1"/>
                </a:solidFill>
              </a:rPr>
              <a:t>Sunday</a:t>
            </a:r>
          </a:p>
        </p:txBody>
      </p:sp>
    </p:spTree>
    <p:extLst>
      <p:ext uri="{BB962C8B-B14F-4D97-AF65-F5344CB8AC3E}">
        <p14:creationId xmlns:p14="http://schemas.microsoft.com/office/powerpoint/2010/main" val="25804562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November 2019">
    <p:spTree>
      <p:nvGrpSpPr>
        <p:cNvPr id="1" name=""/>
        <p:cNvGrpSpPr/>
        <p:nvPr/>
      </p:nvGrpSpPr>
      <p:grpSpPr>
        <a:xfrm>
          <a:off x="0" y="0"/>
          <a:ext cx="0" cy="0"/>
          <a:chOff x="0" y="0"/>
          <a:chExt cx="0" cy="0"/>
        </a:xfrm>
      </p:grpSpPr>
      <p:sp>
        <p:nvSpPr>
          <p:cNvPr id="1792" name="TextBox 1791"/>
          <p:cNvSpPr txBox="1"/>
          <p:nvPr/>
        </p:nvSpPr>
        <p:spPr>
          <a:xfrm>
            <a:off x="1093019" y="1641844"/>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28</a:t>
            </a:r>
            <a:r>
              <a:rPr sz="2600" b="0" dirty="0">
                <a:solidFill>
                  <a:schemeClr val="bg2">
                    <a:lumMod val="90000"/>
                  </a:schemeClr>
                </a:solidFill>
              </a:rPr>
              <a:t> October</a:t>
            </a:r>
          </a:p>
        </p:txBody>
      </p:sp>
      <p:sp>
        <p:nvSpPr>
          <p:cNvPr id="1793" name="TextBox 1792"/>
          <p:cNvSpPr txBox="1"/>
          <p:nvPr/>
        </p:nvSpPr>
        <p:spPr>
          <a:xfrm>
            <a:off x="4764373" y="1641844"/>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29</a:t>
            </a:r>
            <a:endParaRPr sz="2600" b="0" dirty="0">
              <a:solidFill>
                <a:schemeClr val="bg2">
                  <a:lumMod val="90000"/>
                </a:schemeClr>
              </a:solidFill>
            </a:endParaRPr>
          </a:p>
        </p:txBody>
      </p:sp>
      <p:sp>
        <p:nvSpPr>
          <p:cNvPr id="1794" name="TextBox 1793"/>
          <p:cNvSpPr txBox="1"/>
          <p:nvPr/>
        </p:nvSpPr>
        <p:spPr>
          <a:xfrm>
            <a:off x="8512830" y="1641844"/>
            <a:ext cx="3657362" cy="768096"/>
          </a:xfrm>
          <a:prstGeom prst="rect">
            <a:avLst/>
          </a:prstGeom>
          <a:noFill/>
        </p:spPr>
        <p:txBody>
          <a:bodyPr wrap="square" tIns="0" bIns="0" rtlCol="0" anchor="ctr">
            <a:noAutofit/>
          </a:bodyPr>
          <a:lstStyle>
            <a:defPPr>
              <a:defRPr lang="en-US"/>
            </a:defPPr>
            <a:lvl1pPr>
              <a:defRPr sz="1300" b="0"/>
            </a:lvl1pPr>
          </a:lstStyle>
          <a:p>
            <a:pPr algn="l"/>
            <a:r>
              <a:rPr lang="en-US" sz="2600" b="0" dirty="0">
                <a:solidFill>
                  <a:schemeClr val="bg2">
                    <a:lumMod val="90000"/>
                  </a:schemeClr>
                </a:solidFill>
              </a:rPr>
              <a:t>30	</a:t>
            </a:r>
          </a:p>
        </p:txBody>
      </p:sp>
      <p:sp>
        <p:nvSpPr>
          <p:cNvPr id="1795" name="TextBox 1794"/>
          <p:cNvSpPr txBox="1"/>
          <p:nvPr/>
        </p:nvSpPr>
        <p:spPr>
          <a:xfrm>
            <a:off x="12191204" y="1641844"/>
            <a:ext cx="3657362" cy="768096"/>
          </a:xfrm>
          <a:prstGeom prst="rect">
            <a:avLst/>
          </a:prstGeom>
          <a:noFill/>
        </p:spPr>
        <p:txBody>
          <a:bodyPr wrap="square" tIns="0" bIns="0" rtlCol="0" anchor="ctr">
            <a:noAutofit/>
          </a:bodyPr>
          <a:lstStyle>
            <a:defPPr>
              <a:defRPr lang="en-US"/>
            </a:defPPr>
            <a:lvl1pPr lvl="0">
              <a:defRPr sz="1300" b="0"/>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bg2">
                    <a:lumMod val="90000"/>
                  </a:schemeClr>
                </a:solidFill>
              </a:rPr>
              <a:t>31</a:t>
            </a:r>
            <a:endParaRPr lang="en-US" sz="2600" dirty="0"/>
          </a:p>
        </p:txBody>
      </p:sp>
      <p:sp>
        <p:nvSpPr>
          <p:cNvPr id="1796" name="TextBox 1795"/>
          <p:cNvSpPr txBox="1"/>
          <p:nvPr/>
        </p:nvSpPr>
        <p:spPr>
          <a:xfrm>
            <a:off x="15925635" y="1641844"/>
            <a:ext cx="3657362" cy="768096"/>
          </a:xfrm>
          <a:prstGeom prst="rect">
            <a:avLst/>
          </a:prstGeom>
          <a:noFill/>
        </p:spPr>
        <p:txBody>
          <a:bodyPr wrap="square" tIns="0" bIns="0" rtlCol="0" anchor="ctr">
            <a:noAutofit/>
          </a:bodyPr>
          <a:lstStyle>
            <a:defPPr>
              <a:defRPr lang="en-US"/>
            </a:defPPr>
            <a:lvl1pPr>
              <a:defRPr sz="1300" b="0" cap="none" spc="0">
                <a:ln w="0"/>
                <a:effectLst>
                  <a:outerShdw blurRad="38100" dist="19050" dir="2700000" algn="tl" rotWithShape="0">
                    <a:schemeClr val="dk1">
                      <a:alpha val="40000"/>
                    </a:schemeClr>
                  </a:outerShdw>
                </a:effectLst>
              </a:defRPr>
            </a:lvl1pPr>
          </a:lstStyle>
          <a:p>
            <a:pPr lvl="0"/>
            <a:r>
              <a:rPr lang="en-US" sz="2600" dirty="0"/>
              <a:t>1 November</a:t>
            </a:r>
          </a:p>
        </p:txBody>
      </p:sp>
      <p:sp>
        <p:nvSpPr>
          <p:cNvPr id="1797" name="TextBox 1796"/>
          <p:cNvSpPr txBox="1"/>
          <p:nvPr/>
        </p:nvSpPr>
        <p:spPr>
          <a:xfrm>
            <a:off x="19649854" y="1641844"/>
            <a:ext cx="3657362" cy="768096"/>
          </a:xfrm>
          <a:prstGeom prst="rect">
            <a:avLst/>
          </a:prstGeom>
          <a:noFill/>
        </p:spPr>
        <p:txBody>
          <a:bodyPr wrap="square" tIns="0" bIns="0" rtlCol="0" anchor="ctr">
            <a:noAutofit/>
          </a:bodyPr>
          <a:lstStyle>
            <a:defPPr>
              <a:defRPr lang="en-US"/>
            </a:defPPr>
            <a:lvl1pPr lvl="0">
              <a:defRPr sz="1300" b="0"/>
            </a:lvl1pPr>
          </a:lstStyle>
          <a:p>
            <a:pPr lvl="0"/>
            <a:r>
              <a:rPr lang="en-US" sz="2600" dirty="0"/>
              <a:t>2/3</a:t>
            </a:r>
          </a:p>
        </p:txBody>
      </p:sp>
      <p:sp>
        <p:nvSpPr>
          <p:cNvPr id="1798" name="TextBox 1797"/>
          <p:cNvSpPr txBox="1"/>
          <p:nvPr/>
        </p:nvSpPr>
        <p:spPr>
          <a:xfrm>
            <a:off x="1093025" y="3471672"/>
            <a:ext cx="3657362" cy="768096"/>
          </a:xfrm>
          <a:prstGeom prst="rect">
            <a:avLst/>
          </a:prstGeom>
          <a:noFill/>
        </p:spPr>
        <p:txBody>
          <a:bodyPr wrap="square" tIns="0" bIns="0" rtlCol="0" anchor="ctr">
            <a:noAutofit/>
          </a:bodyPr>
          <a:lstStyle/>
          <a:p>
            <a:pPr algn="l"/>
            <a:r>
              <a:rPr lang="en-US" sz="2600" b="0">
                <a:solidFill>
                  <a:schemeClr val="tx1"/>
                </a:solidFill>
              </a:rPr>
              <a:t>4</a:t>
            </a:r>
            <a:endParaRPr sz="2600" b="0" dirty="0">
              <a:solidFill>
                <a:schemeClr val="tx1"/>
              </a:solidFill>
            </a:endParaRPr>
          </a:p>
        </p:txBody>
      </p:sp>
      <p:sp>
        <p:nvSpPr>
          <p:cNvPr id="1799" name="TextBox 1798"/>
          <p:cNvSpPr txBox="1"/>
          <p:nvPr userDrawn="1"/>
        </p:nvSpPr>
        <p:spPr>
          <a:xfrm>
            <a:off x="4764373" y="3471672"/>
            <a:ext cx="3657362" cy="768096"/>
          </a:xfrm>
          <a:prstGeom prst="rect">
            <a:avLst/>
          </a:prstGeom>
          <a:noFill/>
        </p:spPr>
        <p:txBody>
          <a:bodyPr wrap="square" tIns="0" bIns="0" rtlCol="0" anchor="ctr">
            <a:noAutofit/>
          </a:bodyPr>
          <a:lstStyle/>
          <a:p>
            <a:pPr algn="l"/>
            <a:r>
              <a:rPr lang="en-US" sz="2600" b="0">
                <a:solidFill>
                  <a:schemeClr val="tx1"/>
                </a:solidFill>
              </a:rPr>
              <a:t>5</a:t>
            </a:r>
            <a:endParaRPr sz="2600" b="0" dirty="0">
              <a:solidFill>
                <a:schemeClr val="tx1"/>
              </a:solidFill>
            </a:endParaRPr>
          </a:p>
        </p:txBody>
      </p:sp>
      <p:sp>
        <p:nvSpPr>
          <p:cNvPr id="1800" name="TextBox 1799"/>
          <p:cNvSpPr txBox="1"/>
          <p:nvPr/>
        </p:nvSpPr>
        <p:spPr>
          <a:xfrm>
            <a:off x="8512830" y="3471672"/>
            <a:ext cx="3657362" cy="768096"/>
          </a:xfrm>
          <a:prstGeom prst="rect">
            <a:avLst/>
          </a:prstGeom>
          <a:noFill/>
        </p:spPr>
        <p:txBody>
          <a:bodyPr wrap="square" tIns="0" bIns="0" rtlCol="0" anchor="ctr">
            <a:noAutofit/>
          </a:bodyPr>
          <a:lstStyle/>
          <a:p>
            <a:pPr algn="l"/>
            <a:r>
              <a:rPr lang="en-US" sz="2600" b="0" dirty="0">
                <a:solidFill>
                  <a:schemeClr val="tx1"/>
                </a:solidFill>
              </a:rPr>
              <a:t>6</a:t>
            </a:r>
            <a:endParaRPr sz="2600" b="0" dirty="0">
              <a:solidFill>
                <a:schemeClr val="tx1"/>
              </a:solidFill>
            </a:endParaRPr>
          </a:p>
        </p:txBody>
      </p:sp>
      <p:sp>
        <p:nvSpPr>
          <p:cNvPr id="1801" name="TextBox 1800"/>
          <p:cNvSpPr txBox="1"/>
          <p:nvPr/>
        </p:nvSpPr>
        <p:spPr>
          <a:xfrm>
            <a:off x="12191204" y="3471672"/>
            <a:ext cx="3657362" cy="768096"/>
          </a:xfrm>
          <a:prstGeom prst="rect">
            <a:avLst/>
          </a:prstGeom>
          <a:noFill/>
        </p:spPr>
        <p:txBody>
          <a:bodyPr wrap="square" tIns="0" bIns="0" rtlCol="0" anchor="ctr">
            <a:noAutofit/>
          </a:bodyPr>
          <a:lstStyle/>
          <a:p>
            <a:pPr algn="l"/>
            <a:r>
              <a:rPr lang="en-US" sz="2600" b="0" dirty="0">
                <a:solidFill>
                  <a:schemeClr val="tx1"/>
                </a:solidFill>
              </a:rPr>
              <a:t>7</a:t>
            </a:r>
            <a:endParaRPr sz="2600" b="0" dirty="0">
              <a:solidFill>
                <a:schemeClr val="tx1"/>
              </a:solidFill>
            </a:endParaRPr>
          </a:p>
        </p:txBody>
      </p:sp>
      <p:sp>
        <p:nvSpPr>
          <p:cNvPr id="1802" name="TextBox 1801"/>
          <p:cNvSpPr txBox="1"/>
          <p:nvPr/>
        </p:nvSpPr>
        <p:spPr>
          <a:xfrm>
            <a:off x="15925635" y="3471672"/>
            <a:ext cx="3657362" cy="768096"/>
          </a:xfrm>
          <a:prstGeom prst="rect">
            <a:avLst/>
          </a:prstGeom>
          <a:noFill/>
        </p:spPr>
        <p:txBody>
          <a:bodyPr wrap="square" tIns="0" bIns="0" rtlCol="0" anchor="ctr">
            <a:noAutofit/>
          </a:bodyPr>
          <a:lstStyle/>
          <a:p>
            <a:pPr algn="l"/>
            <a:r>
              <a:rPr lang="en-US" sz="2600" b="0" dirty="0">
                <a:solidFill>
                  <a:schemeClr val="tx1"/>
                </a:solidFill>
              </a:rPr>
              <a:t>8</a:t>
            </a:r>
            <a:endParaRPr sz="2600" b="0" dirty="0">
              <a:solidFill>
                <a:schemeClr val="tx1"/>
              </a:solidFill>
            </a:endParaRPr>
          </a:p>
        </p:txBody>
      </p:sp>
      <p:sp>
        <p:nvSpPr>
          <p:cNvPr id="1803" name="TextBox 1802"/>
          <p:cNvSpPr txBox="1"/>
          <p:nvPr/>
        </p:nvSpPr>
        <p:spPr>
          <a:xfrm>
            <a:off x="19649854" y="3471672"/>
            <a:ext cx="3657362" cy="768096"/>
          </a:xfrm>
          <a:prstGeom prst="rect">
            <a:avLst/>
          </a:prstGeom>
          <a:noFill/>
        </p:spPr>
        <p:txBody>
          <a:bodyPr wrap="square" tIns="0" bIns="0" rtlCol="0" anchor="ctr">
            <a:noAutofit/>
          </a:bodyPr>
          <a:lstStyle/>
          <a:p>
            <a:pPr algn="l"/>
            <a:r>
              <a:rPr lang="en-US" sz="2600" b="0" dirty="0">
                <a:solidFill>
                  <a:schemeClr val="tx1"/>
                </a:solidFill>
              </a:rPr>
              <a:t>9/10</a:t>
            </a:r>
          </a:p>
        </p:txBody>
      </p:sp>
      <p:sp>
        <p:nvSpPr>
          <p:cNvPr id="1804" name="TextBox 1803"/>
          <p:cNvSpPr txBox="1"/>
          <p:nvPr/>
        </p:nvSpPr>
        <p:spPr>
          <a:xfrm>
            <a:off x="1093025" y="5300472"/>
            <a:ext cx="3657362" cy="768096"/>
          </a:xfrm>
          <a:prstGeom prst="rect">
            <a:avLst/>
          </a:prstGeom>
          <a:noFill/>
        </p:spPr>
        <p:txBody>
          <a:bodyPr wrap="square" tIns="0" bIns="0" rtlCol="0" anchor="ctr">
            <a:noAutofit/>
          </a:bodyPr>
          <a:lstStyle/>
          <a:p>
            <a:pPr algn="l"/>
            <a:r>
              <a:rPr lang="en-US" sz="2600" b="0" dirty="0">
                <a:solidFill>
                  <a:schemeClr val="tx1"/>
                </a:solidFill>
              </a:rPr>
              <a:t>11</a:t>
            </a:r>
            <a:endParaRPr sz="2600" b="0" dirty="0">
              <a:solidFill>
                <a:schemeClr val="tx1"/>
              </a:solidFill>
            </a:endParaRPr>
          </a:p>
        </p:txBody>
      </p:sp>
      <p:sp>
        <p:nvSpPr>
          <p:cNvPr id="1805" name="TextBox 1804"/>
          <p:cNvSpPr txBox="1"/>
          <p:nvPr/>
        </p:nvSpPr>
        <p:spPr>
          <a:xfrm>
            <a:off x="4764373" y="5300472"/>
            <a:ext cx="3657362" cy="768096"/>
          </a:xfrm>
          <a:prstGeom prst="rect">
            <a:avLst/>
          </a:prstGeom>
          <a:noFill/>
        </p:spPr>
        <p:txBody>
          <a:bodyPr wrap="square" tIns="0" bIns="0" rtlCol="0" anchor="ctr">
            <a:noAutofit/>
          </a:bodyPr>
          <a:lstStyle/>
          <a:p>
            <a:pPr algn="l"/>
            <a:r>
              <a:rPr lang="en-US" sz="2600" b="0" dirty="0">
                <a:solidFill>
                  <a:schemeClr val="tx1"/>
                </a:solidFill>
              </a:rPr>
              <a:t>12</a:t>
            </a:r>
            <a:endParaRPr sz="2600" b="0" dirty="0">
              <a:solidFill>
                <a:schemeClr val="tx1"/>
              </a:solidFill>
            </a:endParaRPr>
          </a:p>
        </p:txBody>
      </p:sp>
      <p:sp>
        <p:nvSpPr>
          <p:cNvPr id="1806" name="TextBox 1805"/>
          <p:cNvSpPr txBox="1"/>
          <p:nvPr/>
        </p:nvSpPr>
        <p:spPr>
          <a:xfrm>
            <a:off x="8512830" y="5300472"/>
            <a:ext cx="3657362" cy="768096"/>
          </a:xfrm>
          <a:prstGeom prst="rect">
            <a:avLst/>
          </a:prstGeom>
          <a:noFill/>
        </p:spPr>
        <p:txBody>
          <a:bodyPr wrap="square" tIns="0" bIns="0" rtlCol="0" anchor="ctr">
            <a:noAutofit/>
          </a:bodyPr>
          <a:lstStyle/>
          <a:p>
            <a:pPr algn="l"/>
            <a:r>
              <a:rPr lang="en-US" sz="2600" b="0" dirty="0">
                <a:solidFill>
                  <a:schemeClr val="tx1"/>
                </a:solidFill>
              </a:rPr>
              <a:t>13</a:t>
            </a:r>
            <a:endParaRPr sz="2600" b="0" dirty="0">
              <a:solidFill>
                <a:schemeClr val="tx1"/>
              </a:solidFill>
            </a:endParaRPr>
          </a:p>
        </p:txBody>
      </p:sp>
      <p:sp>
        <p:nvSpPr>
          <p:cNvPr id="1807" name="TextBox 1806"/>
          <p:cNvSpPr txBox="1"/>
          <p:nvPr/>
        </p:nvSpPr>
        <p:spPr>
          <a:xfrm>
            <a:off x="12191204" y="5300472"/>
            <a:ext cx="3657362" cy="768096"/>
          </a:xfrm>
          <a:prstGeom prst="rect">
            <a:avLst/>
          </a:prstGeom>
          <a:noFill/>
        </p:spPr>
        <p:txBody>
          <a:bodyPr wrap="square" tIns="0" bIns="0" rtlCol="0" anchor="ctr">
            <a:noAutofit/>
          </a:bodyPr>
          <a:lstStyle/>
          <a:p>
            <a:pPr algn="l"/>
            <a:r>
              <a:rPr lang="en-US" sz="2600" b="0" dirty="0">
                <a:solidFill>
                  <a:schemeClr val="tx1"/>
                </a:solidFill>
              </a:rPr>
              <a:t>14</a:t>
            </a:r>
            <a:endParaRPr sz="2600" b="0" dirty="0">
              <a:solidFill>
                <a:schemeClr val="tx1"/>
              </a:solidFill>
            </a:endParaRPr>
          </a:p>
        </p:txBody>
      </p:sp>
      <p:sp>
        <p:nvSpPr>
          <p:cNvPr id="1808" name="TextBox 1807"/>
          <p:cNvSpPr txBox="1"/>
          <p:nvPr/>
        </p:nvSpPr>
        <p:spPr>
          <a:xfrm>
            <a:off x="15925635" y="5300472"/>
            <a:ext cx="3657362" cy="768096"/>
          </a:xfrm>
          <a:prstGeom prst="rect">
            <a:avLst/>
          </a:prstGeom>
          <a:noFill/>
        </p:spPr>
        <p:txBody>
          <a:bodyPr wrap="square" tIns="0" bIns="0" rtlCol="0" anchor="ctr">
            <a:noAutofit/>
          </a:bodyPr>
          <a:lstStyle/>
          <a:p>
            <a:pPr algn="l"/>
            <a:r>
              <a:rPr lang="en-US" sz="2600" b="0" dirty="0">
                <a:solidFill>
                  <a:schemeClr val="tx1"/>
                </a:solidFill>
              </a:rPr>
              <a:t>15</a:t>
            </a:r>
            <a:endParaRPr sz="2600" b="0" dirty="0">
              <a:solidFill>
                <a:schemeClr val="tx1"/>
              </a:solidFill>
            </a:endParaRPr>
          </a:p>
        </p:txBody>
      </p:sp>
      <p:sp>
        <p:nvSpPr>
          <p:cNvPr id="1809" name="TextBox 1808"/>
          <p:cNvSpPr txBox="1"/>
          <p:nvPr/>
        </p:nvSpPr>
        <p:spPr>
          <a:xfrm>
            <a:off x="19649854" y="5300472"/>
            <a:ext cx="3657362" cy="768096"/>
          </a:xfrm>
          <a:prstGeom prst="rect">
            <a:avLst/>
          </a:prstGeom>
          <a:noFill/>
        </p:spPr>
        <p:txBody>
          <a:bodyPr wrap="square" tIns="0" bIns="0" rtlCol="0" anchor="ctr">
            <a:noAutofit/>
          </a:bodyPr>
          <a:lstStyle/>
          <a:p>
            <a:pPr algn="l"/>
            <a:r>
              <a:rPr lang="en-US" sz="2600" b="0" dirty="0">
                <a:solidFill>
                  <a:schemeClr val="tx1"/>
                </a:solidFill>
              </a:rPr>
              <a:t>16/17</a:t>
            </a:r>
            <a:endParaRPr sz="2600" b="0" dirty="0">
              <a:solidFill>
                <a:schemeClr val="tx1"/>
              </a:solidFill>
            </a:endParaRPr>
          </a:p>
        </p:txBody>
      </p:sp>
      <p:sp>
        <p:nvSpPr>
          <p:cNvPr id="1810" name="TextBox 1809"/>
          <p:cNvSpPr txBox="1"/>
          <p:nvPr/>
        </p:nvSpPr>
        <p:spPr>
          <a:xfrm>
            <a:off x="1093025" y="7129272"/>
            <a:ext cx="3657362" cy="768096"/>
          </a:xfrm>
          <a:prstGeom prst="rect">
            <a:avLst/>
          </a:prstGeom>
          <a:noFill/>
        </p:spPr>
        <p:txBody>
          <a:bodyPr wrap="square" tIns="0" bIns="0" rtlCol="0" anchor="ctr">
            <a:noAutofit/>
          </a:bodyPr>
          <a:lstStyle/>
          <a:p>
            <a:pPr algn="l"/>
            <a:r>
              <a:rPr lang="en-US" sz="2600" b="0" dirty="0">
                <a:solidFill>
                  <a:schemeClr val="tx1"/>
                </a:solidFill>
              </a:rPr>
              <a:t>18</a:t>
            </a:r>
            <a:endParaRPr sz="2600" b="0" dirty="0">
              <a:solidFill>
                <a:schemeClr val="tx1"/>
              </a:solidFill>
            </a:endParaRPr>
          </a:p>
        </p:txBody>
      </p:sp>
      <p:sp>
        <p:nvSpPr>
          <p:cNvPr id="1811" name="TextBox 1810"/>
          <p:cNvSpPr txBox="1"/>
          <p:nvPr/>
        </p:nvSpPr>
        <p:spPr>
          <a:xfrm>
            <a:off x="4764373" y="7129272"/>
            <a:ext cx="3657362" cy="768096"/>
          </a:xfrm>
          <a:prstGeom prst="rect">
            <a:avLst/>
          </a:prstGeom>
          <a:noFill/>
        </p:spPr>
        <p:txBody>
          <a:bodyPr wrap="square" tIns="0" bIns="0" rtlCol="0" anchor="ctr">
            <a:noAutofit/>
          </a:bodyPr>
          <a:lstStyle/>
          <a:p>
            <a:pPr algn="l"/>
            <a:r>
              <a:rPr lang="en-US" sz="2600" b="0" dirty="0">
                <a:solidFill>
                  <a:schemeClr val="tx1"/>
                </a:solidFill>
              </a:rPr>
              <a:t>19</a:t>
            </a:r>
            <a:endParaRPr sz="2600" b="0" dirty="0">
              <a:solidFill>
                <a:schemeClr val="tx1"/>
              </a:solidFill>
            </a:endParaRPr>
          </a:p>
        </p:txBody>
      </p:sp>
      <p:sp>
        <p:nvSpPr>
          <p:cNvPr id="1812" name="TextBox 1811"/>
          <p:cNvSpPr txBox="1"/>
          <p:nvPr/>
        </p:nvSpPr>
        <p:spPr>
          <a:xfrm>
            <a:off x="8512830" y="7129272"/>
            <a:ext cx="3657362" cy="768096"/>
          </a:xfrm>
          <a:prstGeom prst="rect">
            <a:avLst/>
          </a:prstGeom>
          <a:noFill/>
        </p:spPr>
        <p:txBody>
          <a:bodyPr wrap="square" tIns="0" bIns="0" rtlCol="0" anchor="ctr">
            <a:noAutofit/>
          </a:bodyPr>
          <a:lstStyle/>
          <a:p>
            <a:pPr algn="l"/>
            <a:r>
              <a:rPr lang="en-US" sz="2600" b="0" dirty="0">
                <a:solidFill>
                  <a:schemeClr val="tx1"/>
                </a:solidFill>
              </a:rPr>
              <a:t>20</a:t>
            </a:r>
            <a:endParaRPr sz="2600" b="0" dirty="0">
              <a:solidFill>
                <a:schemeClr val="tx1"/>
              </a:solidFill>
            </a:endParaRPr>
          </a:p>
        </p:txBody>
      </p:sp>
      <p:sp>
        <p:nvSpPr>
          <p:cNvPr id="1813" name="TextBox 1812"/>
          <p:cNvSpPr txBox="1"/>
          <p:nvPr/>
        </p:nvSpPr>
        <p:spPr>
          <a:xfrm>
            <a:off x="12191204" y="7129272"/>
            <a:ext cx="3657362" cy="768096"/>
          </a:xfrm>
          <a:prstGeom prst="rect">
            <a:avLst/>
          </a:prstGeom>
          <a:noFill/>
        </p:spPr>
        <p:txBody>
          <a:bodyPr wrap="square" tIns="0" bIns="0" rtlCol="0" anchor="ctr">
            <a:noAutofit/>
          </a:bodyPr>
          <a:lstStyle/>
          <a:p>
            <a:pPr algn="l"/>
            <a:r>
              <a:rPr lang="en-US" sz="2600" b="0" dirty="0">
                <a:solidFill>
                  <a:schemeClr val="tx1"/>
                </a:solidFill>
              </a:rPr>
              <a:t>21</a:t>
            </a:r>
            <a:endParaRPr sz="2600" b="0" dirty="0">
              <a:solidFill>
                <a:schemeClr val="tx1"/>
              </a:solidFill>
            </a:endParaRPr>
          </a:p>
        </p:txBody>
      </p:sp>
      <p:sp>
        <p:nvSpPr>
          <p:cNvPr id="1814" name="TextBox 1813"/>
          <p:cNvSpPr txBox="1"/>
          <p:nvPr/>
        </p:nvSpPr>
        <p:spPr>
          <a:xfrm>
            <a:off x="15925635" y="7129272"/>
            <a:ext cx="3657362" cy="768096"/>
          </a:xfrm>
          <a:prstGeom prst="rect">
            <a:avLst/>
          </a:prstGeom>
          <a:noFill/>
        </p:spPr>
        <p:txBody>
          <a:bodyPr wrap="square" tIns="0" bIns="0" rtlCol="0" anchor="ctr">
            <a:noAutofit/>
          </a:bodyPr>
          <a:lstStyle/>
          <a:p>
            <a:pPr algn="l"/>
            <a:r>
              <a:rPr lang="en-US" sz="2600" b="0" dirty="0">
                <a:solidFill>
                  <a:schemeClr val="tx1"/>
                </a:solidFill>
              </a:rPr>
              <a:t>22</a:t>
            </a:r>
            <a:endParaRPr sz="2600" b="0" dirty="0">
              <a:solidFill>
                <a:schemeClr val="tx1"/>
              </a:solidFill>
            </a:endParaRPr>
          </a:p>
        </p:txBody>
      </p:sp>
      <p:sp>
        <p:nvSpPr>
          <p:cNvPr id="1815" name="TextBox 1814"/>
          <p:cNvSpPr txBox="1"/>
          <p:nvPr/>
        </p:nvSpPr>
        <p:spPr>
          <a:xfrm>
            <a:off x="19649854" y="7129272"/>
            <a:ext cx="3657362" cy="768096"/>
          </a:xfrm>
          <a:prstGeom prst="rect">
            <a:avLst/>
          </a:prstGeom>
          <a:noFill/>
        </p:spPr>
        <p:txBody>
          <a:bodyPr wrap="square" tIns="0" bIns="0" rtlCol="0" anchor="ctr">
            <a:noAutofit/>
          </a:bodyPr>
          <a:lstStyle/>
          <a:p>
            <a:pPr algn="l"/>
            <a:r>
              <a:rPr lang="en-US" sz="2600" b="0" dirty="0">
                <a:solidFill>
                  <a:schemeClr val="tx1"/>
                </a:solidFill>
              </a:rPr>
              <a:t>23/24</a:t>
            </a:r>
            <a:endParaRPr sz="2600" b="0" dirty="0">
              <a:solidFill>
                <a:schemeClr val="tx1"/>
              </a:solidFill>
            </a:endParaRPr>
          </a:p>
        </p:txBody>
      </p:sp>
      <p:sp>
        <p:nvSpPr>
          <p:cNvPr id="1816" name="TextBox 1815"/>
          <p:cNvSpPr txBox="1"/>
          <p:nvPr/>
        </p:nvSpPr>
        <p:spPr>
          <a:xfrm>
            <a:off x="1093025" y="8958072"/>
            <a:ext cx="3657362" cy="768096"/>
          </a:xfrm>
          <a:prstGeom prst="rect">
            <a:avLst/>
          </a:prstGeom>
          <a:noFill/>
        </p:spPr>
        <p:txBody>
          <a:bodyPr wrap="square" tIns="0" bIns="0" rtlCol="0" anchor="ctr">
            <a:noAutofit/>
          </a:bodyPr>
          <a:lstStyle/>
          <a:p>
            <a:pPr algn="l"/>
            <a:r>
              <a:rPr lang="en-US" sz="2600" b="0" dirty="0">
                <a:solidFill>
                  <a:schemeClr val="tx1"/>
                </a:solidFill>
              </a:rPr>
              <a:t>25</a:t>
            </a:r>
            <a:endParaRPr sz="2600" b="0" dirty="0">
              <a:solidFill>
                <a:schemeClr val="tx1"/>
              </a:solidFill>
            </a:endParaRPr>
          </a:p>
        </p:txBody>
      </p:sp>
      <p:sp>
        <p:nvSpPr>
          <p:cNvPr id="1817" name="TextBox 1816"/>
          <p:cNvSpPr txBox="1"/>
          <p:nvPr/>
        </p:nvSpPr>
        <p:spPr>
          <a:xfrm>
            <a:off x="4764373" y="8958072"/>
            <a:ext cx="3657362" cy="768096"/>
          </a:xfrm>
          <a:prstGeom prst="rect">
            <a:avLst/>
          </a:prstGeom>
          <a:noFill/>
        </p:spPr>
        <p:txBody>
          <a:bodyPr wrap="square" tIns="0" bIns="0" rtlCol="0" anchor="ctr">
            <a:noAutofit/>
          </a:bodyPr>
          <a:lstStyle/>
          <a:p>
            <a:pPr algn="l"/>
            <a:r>
              <a:rPr lang="en-US" sz="2600" b="0" dirty="0">
                <a:solidFill>
                  <a:schemeClr val="tx1"/>
                </a:solidFill>
              </a:rPr>
              <a:t>26</a:t>
            </a:r>
            <a:endParaRPr sz="2600" b="0" dirty="0">
              <a:solidFill>
                <a:schemeClr val="tx1"/>
              </a:solidFill>
            </a:endParaRPr>
          </a:p>
        </p:txBody>
      </p:sp>
      <p:sp>
        <p:nvSpPr>
          <p:cNvPr id="1818" name="TextBox 1817"/>
          <p:cNvSpPr txBox="1"/>
          <p:nvPr/>
        </p:nvSpPr>
        <p:spPr>
          <a:xfrm>
            <a:off x="8512830" y="8958072"/>
            <a:ext cx="3657362" cy="768096"/>
          </a:xfrm>
          <a:prstGeom prst="rect">
            <a:avLst/>
          </a:prstGeom>
          <a:noFill/>
        </p:spPr>
        <p:txBody>
          <a:bodyPr wrap="square" tIns="0" bIns="0" rtlCol="0" anchor="ctr">
            <a:noAutofit/>
          </a:bodyPr>
          <a:lstStyle/>
          <a:p>
            <a:pPr algn="l"/>
            <a:r>
              <a:rPr lang="en-US" sz="2600" b="0" dirty="0">
                <a:solidFill>
                  <a:schemeClr val="tx1"/>
                </a:solidFill>
              </a:rPr>
              <a:t>27</a:t>
            </a:r>
            <a:endParaRPr sz="2600" b="0" dirty="0">
              <a:solidFill>
                <a:schemeClr val="tx1"/>
              </a:solidFill>
            </a:endParaRPr>
          </a:p>
        </p:txBody>
      </p:sp>
      <p:sp>
        <p:nvSpPr>
          <p:cNvPr id="1819" name="TextBox 1818"/>
          <p:cNvSpPr txBox="1"/>
          <p:nvPr/>
        </p:nvSpPr>
        <p:spPr>
          <a:xfrm>
            <a:off x="12191204" y="8958072"/>
            <a:ext cx="3657362" cy="768096"/>
          </a:xfrm>
          <a:prstGeom prst="rect">
            <a:avLst/>
          </a:prstGeom>
          <a:noFill/>
        </p:spPr>
        <p:txBody>
          <a:bodyPr wrap="square" tIns="0" bIns="0" rtlCol="0" anchor="ctr">
            <a:noAutofit/>
          </a:bodyPr>
          <a:lstStyle/>
          <a:p>
            <a:pPr algn="l"/>
            <a:r>
              <a:rPr lang="en-US" sz="2600" b="0">
                <a:solidFill>
                  <a:schemeClr val="tx1"/>
                </a:solidFill>
              </a:rPr>
              <a:t>28</a:t>
            </a:r>
            <a:endParaRPr sz="2600" b="0" dirty="0">
              <a:solidFill>
                <a:schemeClr val="tx1"/>
              </a:solidFill>
            </a:endParaRPr>
          </a:p>
        </p:txBody>
      </p:sp>
      <p:sp>
        <p:nvSpPr>
          <p:cNvPr id="1820" name="TextBox 1819"/>
          <p:cNvSpPr txBox="1"/>
          <p:nvPr/>
        </p:nvSpPr>
        <p:spPr>
          <a:xfrm>
            <a:off x="15925635" y="8958072"/>
            <a:ext cx="3657362" cy="768096"/>
          </a:xfrm>
          <a:prstGeom prst="rect">
            <a:avLst/>
          </a:prstGeom>
          <a:noFill/>
        </p:spPr>
        <p:txBody>
          <a:bodyPr wrap="square" tIns="0" bIns="0" rtlCol="0" anchor="ctr">
            <a:noAutofit/>
          </a:bodyPr>
          <a:lstStyle>
            <a:defPPr>
              <a:defRPr lang="en-US"/>
            </a:defPPr>
            <a:lvl1pPr lvl="0">
              <a:defRPr sz="1300" b="0">
                <a:solidFill>
                  <a:schemeClr val="bg2">
                    <a:lumMod val="90000"/>
                  </a:schemeClr>
                </a:solidFill>
              </a:defRPr>
            </a:lvl1pPr>
          </a:lstStyle>
          <a:p>
            <a:pPr lvl="0"/>
            <a:r>
              <a:rPr lang="en-US" sz="2600">
                <a:solidFill>
                  <a:schemeClr val="bg1">
                    <a:lumMod val="50000"/>
                  </a:schemeClr>
                </a:solidFill>
              </a:rPr>
              <a:t>29</a:t>
            </a:r>
            <a:endParaRPr sz="2600" dirty="0">
              <a:solidFill>
                <a:schemeClr val="bg1">
                  <a:lumMod val="50000"/>
                </a:schemeClr>
              </a:solidFill>
            </a:endParaRPr>
          </a:p>
        </p:txBody>
      </p:sp>
      <p:sp>
        <p:nvSpPr>
          <p:cNvPr id="1821" name="TextBox 1820"/>
          <p:cNvSpPr txBox="1"/>
          <p:nvPr/>
        </p:nvSpPr>
        <p:spPr>
          <a:xfrm>
            <a:off x="19649854" y="8958072"/>
            <a:ext cx="3657362" cy="768096"/>
          </a:xfrm>
          <a:prstGeom prst="rect">
            <a:avLst/>
          </a:prstGeom>
          <a:noFill/>
        </p:spPr>
        <p:txBody>
          <a:bodyPr wrap="square" tIns="0" bIns="0" rtlCol="0" anchor="ctr">
            <a:noAutofit/>
          </a:bodyPr>
          <a:lstStyle>
            <a:defPPr>
              <a:defRPr lang="en-US"/>
            </a:defPPr>
            <a:lvl1pPr lvl="0">
              <a:defRPr sz="1300" b="0">
                <a:solidFill>
                  <a:schemeClr val="bg2">
                    <a:lumMod val="90000"/>
                  </a:schemeClr>
                </a:solidFill>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2600" dirty="0">
                <a:solidFill>
                  <a:schemeClr val="bg1">
                    <a:lumMod val="50000"/>
                  </a:schemeClr>
                </a:solidFill>
              </a:rPr>
              <a:t>30 / </a:t>
            </a:r>
            <a:r>
              <a:rPr lang="en-US" sz="2600" dirty="0"/>
              <a:t>1 December</a:t>
            </a:r>
            <a:endParaRPr sz="2600" dirty="0"/>
          </a:p>
        </p:txBody>
      </p:sp>
      <p:sp>
        <p:nvSpPr>
          <p:cNvPr id="1828" name="TextBox 1827"/>
          <p:cNvSpPr txBox="1"/>
          <p:nvPr/>
        </p:nvSpPr>
        <p:spPr>
          <a:xfrm>
            <a:off x="956671" y="304800"/>
            <a:ext cx="22350545" cy="1398084"/>
          </a:xfrm>
          <a:prstGeom prst="rect">
            <a:avLst/>
          </a:prstGeom>
          <a:noFill/>
        </p:spPr>
        <p:txBody>
          <a:bodyPr wrap="square" tIns="0" bIns="0" rtlCol="0" anchor="ctr">
            <a:noAutofit/>
          </a:bodyPr>
          <a:lstStyle/>
          <a:p>
            <a:pPr algn="l"/>
            <a:r>
              <a:rPr lang="en-US" sz="4400" b="0" dirty="0">
                <a:solidFill>
                  <a:schemeClr val="accent1"/>
                </a:solidFill>
              </a:rPr>
              <a:t>N</a:t>
            </a:r>
            <a:r>
              <a:rPr sz="4400" b="0" dirty="0">
                <a:solidFill>
                  <a:schemeClr val="accent1"/>
                </a:solidFill>
              </a:rPr>
              <a:t>ovember</a:t>
            </a:r>
          </a:p>
        </p:txBody>
      </p:sp>
      <p:sp>
        <p:nvSpPr>
          <p:cNvPr id="69" name="TextBox 68"/>
          <p:cNvSpPr txBox="1"/>
          <p:nvPr/>
        </p:nvSpPr>
        <p:spPr>
          <a:xfrm>
            <a:off x="1093025" y="10805160"/>
            <a:ext cx="3657362" cy="768096"/>
          </a:xfrm>
          <a:prstGeom prst="rect">
            <a:avLst/>
          </a:prstGeom>
          <a:noFill/>
        </p:spPr>
        <p:txBody>
          <a:bodyPr wrap="square" tIns="0" bIns="0" rtlCol="0" anchor="ctr">
            <a:noAutofit/>
          </a:bodyPr>
          <a:lstStyle>
            <a:defPPr>
              <a:defRPr lang="en-US"/>
            </a:defPPr>
            <a:lvl1pPr>
              <a:defRPr sz="1300" b="0">
                <a:solidFill>
                  <a:schemeClr val="bg2">
                    <a:lumMod val="90000"/>
                  </a:schemeClr>
                </a:solidFill>
              </a:defRPr>
            </a:lvl1pPr>
          </a:lstStyle>
          <a:p>
            <a:pPr lvl="0"/>
            <a:r>
              <a:rPr lang="en-US" sz="2600" dirty="0"/>
              <a:t>2</a:t>
            </a:r>
          </a:p>
        </p:txBody>
      </p:sp>
      <p:sp>
        <p:nvSpPr>
          <p:cNvPr id="70" name="TextBox 69"/>
          <p:cNvSpPr txBox="1"/>
          <p:nvPr/>
        </p:nvSpPr>
        <p:spPr>
          <a:xfrm>
            <a:off x="4764373" y="10805160"/>
            <a:ext cx="3657362" cy="768096"/>
          </a:xfrm>
          <a:prstGeom prst="rect">
            <a:avLst/>
          </a:prstGeom>
          <a:noFill/>
        </p:spPr>
        <p:txBody>
          <a:bodyPr wrap="square" tIns="0" bIns="0" rtlCol="0" anchor="ctr">
            <a:noAutofit/>
          </a:bodyPr>
          <a:lstStyle/>
          <a:p>
            <a:pPr algn="l"/>
            <a:r>
              <a:rPr lang="en-US" sz="2600" b="0">
                <a:solidFill>
                  <a:schemeClr val="bg2">
                    <a:lumMod val="90000"/>
                  </a:schemeClr>
                </a:solidFill>
              </a:rPr>
              <a:t>3</a:t>
            </a:r>
            <a:endParaRPr sz="2600" b="0" dirty="0">
              <a:solidFill>
                <a:schemeClr val="bg2">
                  <a:lumMod val="90000"/>
                </a:schemeClr>
              </a:solidFill>
            </a:endParaRPr>
          </a:p>
        </p:txBody>
      </p:sp>
      <p:sp>
        <p:nvSpPr>
          <p:cNvPr id="71" name="TextBox 70"/>
          <p:cNvSpPr txBox="1"/>
          <p:nvPr/>
        </p:nvSpPr>
        <p:spPr>
          <a:xfrm>
            <a:off x="8512833" y="10805160"/>
            <a:ext cx="3657362" cy="768096"/>
          </a:xfrm>
          <a:prstGeom prst="rect">
            <a:avLst/>
          </a:prstGeom>
          <a:noFill/>
        </p:spPr>
        <p:txBody>
          <a:bodyPr wrap="square" tIns="0" bIns="0" rtlCol="0" anchor="ctr">
            <a:noAutofit/>
          </a:bodyPr>
          <a:lstStyle/>
          <a:p>
            <a:pPr algn="l"/>
            <a:r>
              <a:rPr lang="en-US" sz="2600" b="0">
                <a:solidFill>
                  <a:schemeClr val="bg2">
                    <a:lumMod val="90000"/>
                  </a:schemeClr>
                </a:solidFill>
              </a:rPr>
              <a:t>4</a:t>
            </a:r>
            <a:endParaRPr sz="2600" b="0" dirty="0">
              <a:solidFill>
                <a:schemeClr val="bg2">
                  <a:lumMod val="90000"/>
                </a:schemeClr>
              </a:solidFill>
            </a:endParaRPr>
          </a:p>
        </p:txBody>
      </p:sp>
      <p:sp>
        <p:nvSpPr>
          <p:cNvPr id="72" name="TextBox 71"/>
          <p:cNvSpPr txBox="1"/>
          <p:nvPr/>
        </p:nvSpPr>
        <p:spPr>
          <a:xfrm>
            <a:off x="12191204" y="1080516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5</a:t>
            </a:r>
            <a:endParaRPr sz="2600" b="0" dirty="0">
              <a:solidFill>
                <a:schemeClr val="bg2">
                  <a:lumMod val="90000"/>
                </a:schemeClr>
              </a:solidFill>
            </a:endParaRPr>
          </a:p>
        </p:txBody>
      </p:sp>
      <p:sp>
        <p:nvSpPr>
          <p:cNvPr id="73" name="TextBox 72"/>
          <p:cNvSpPr txBox="1"/>
          <p:nvPr/>
        </p:nvSpPr>
        <p:spPr>
          <a:xfrm>
            <a:off x="15925635" y="1080516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6</a:t>
            </a:r>
            <a:endParaRPr sz="2600" b="0" dirty="0">
              <a:solidFill>
                <a:schemeClr val="bg2">
                  <a:lumMod val="90000"/>
                </a:schemeClr>
              </a:solidFill>
            </a:endParaRPr>
          </a:p>
        </p:txBody>
      </p:sp>
      <p:sp>
        <p:nvSpPr>
          <p:cNvPr id="74" name="TextBox 73"/>
          <p:cNvSpPr txBox="1"/>
          <p:nvPr/>
        </p:nvSpPr>
        <p:spPr>
          <a:xfrm>
            <a:off x="19649854" y="1080516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7/8</a:t>
            </a:r>
            <a:endParaRPr sz="2600" b="0" dirty="0">
              <a:solidFill>
                <a:schemeClr val="bg2">
                  <a:lumMod val="90000"/>
                </a:schemeClr>
              </a:solidFill>
            </a:endParaRPr>
          </a:p>
        </p:txBody>
      </p:sp>
      <p:sp>
        <p:nvSpPr>
          <p:cNvPr id="34" name="Text Placeholder 2"/>
          <p:cNvSpPr>
            <a:spLocks noGrp="1"/>
          </p:cNvSpPr>
          <p:nvPr>
            <p:ph type="body" sz="quarter" idx="11" hasCustomPrompt="1"/>
          </p:nvPr>
        </p:nvSpPr>
        <p:spPr>
          <a:xfrm>
            <a:off x="1048444"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0" name="Text Placeholder 2"/>
          <p:cNvSpPr>
            <a:spLocks noGrp="1"/>
          </p:cNvSpPr>
          <p:nvPr>
            <p:ph type="body" sz="quarter" idx="17" hasCustomPrompt="1"/>
          </p:nvPr>
        </p:nvSpPr>
        <p:spPr>
          <a:xfrm>
            <a:off x="4754571"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6" name="Text Placeholder 2"/>
          <p:cNvSpPr>
            <a:spLocks noGrp="1"/>
          </p:cNvSpPr>
          <p:nvPr>
            <p:ph type="body" sz="quarter" idx="23" hasCustomPrompt="1"/>
          </p:nvPr>
        </p:nvSpPr>
        <p:spPr>
          <a:xfrm>
            <a:off x="8485080"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2" name="Text Placeholder 2"/>
          <p:cNvSpPr>
            <a:spLocks noGrp="1"/>
          </p:cNvSpPr>
          <p:nvPr>
            <p:ph type="body" sz="quarter" idx="29" hasCustomPrompt="1"/>
          </p:nvPr>
        </p:nvSpPr>
        <p:spPr>
          <a:xfrm>
            <a:off x="12220346"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8" name="Text Placeholder 2"/>
          <p:cNvSpPr>
            <a:spLocks noGrp="1"/>
          </p:cNvSpPr>
          <p:nvPr>
            <p:ph type="body" sz="quarter" idx="35" hasCustomPrompt="1"/>
          </p:nvPr>
        </p:nvSpPr>
        <p:spPr>
          <a:xfrm>
            <a:off x="15935099"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4" name="Text Placeholder 2"/>
          <p:cNvSpPr>
            <a:spLocks noGrp="1"/>
          </p:cNvSpPr>
          <p:nvPr>
            <p:ph type="body" sz="quarter" idx="41" hasCustomPrompt="1"/>
          </p:nvPr>
        </p:nvSpPr>
        <p:spPr>
          <a:xfrm>
            <a:off x="19676607"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3" name="Text Placeholder 2"/>
          <p:cNvSpPr>
            <a:spLocks noGrp="1"/>
          </p:cNvSpPr>
          <p:nvPr>
            <p:ph type="body" sz="quarter" idx="10" hasCustomPrompt="1"/>
          </p:nvPr>
        </p:nvSpPr>
        <p:spPr>
          <a:xfrm>
            <a:off x="1048444"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9" name="Text Placeholder 2"/>
          <p:cNvSpPr>
            <a:spLocks noGrp="1"/>
          </p:cNvSpPr>
          <p:nvPr>
            <p:ph type="body" sz="quarter" idx="16" hasCustomPrompt="1"/>
          </p:nvPr>
        </p:nvSpPr>
        <p:spPr>
          <a:xfrm>
            <a:off x="4754571"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5" name="Text Placeholder 2"/>
          <p:cNvSpPr>
            <a:spLocks noGrp="1"/>
          </p:cNvSpPr>
          <p:nvPr>
            <p:ph type="body" sz="quarter" idx="22" hasCustomPrompt="1"/>
          </p:nvPr>
        </p:nvSpPr>
        <p:spPr>
          <a:xfrm>
            <a:off x="8485080"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1" name="Text Placeholder 2"/>
          <p:cNvSpPr>
            <a:spLocks noGrp="1"/>
          </p:cNvSpPr>
          <p:nvPr>
            <p:ph type="body" sz="quarter" idx="28" hasCustomPrompt="1"/>
          </p:nvPr>
        </p:nvSpPr>
        <p:spPr>
          <a:xfrm>
            <a:off x="12220346"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7" name="Text Placeholder 2"/>
          <p:cNvSpPr>
            <a:spLocks noGrp="1"/>
          </p:cNvSpPr>
          <p:nvPr>
            <p:ph type="body" sz="quarter" idx="34" hasCustomPrompt="1"/>
          </p:nvPr>
        </p:nvSpPr>
        <p:spPr>
          <a:xfrm>
            <a:off x="15935099"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3" name="Text Placeholder 2"/>
          <p:cNvSpPr>
            <a:spLocks noGrp="1"/>
          </p:cNvSpPr>
          <p:nvPr>
            <p:ph type="body" sz="quarter" idx="40" hasCustomPrompt="1"/>
          </p:nvPr>
        </p:nvSpPr>
        <p:spPr>
          <a:xfrm>
            <a:off x="19676607"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5" name="Text Placeholder 2"/>
          <p:cNvSpPr>
            <a:spLocks noGrp="1"/>
          </p:cNvSpPr>
          <p:nvPr>
            <p:ph type="body" sz="quarter" idx="12" hasCustomPrompt="1"/>
          </p:nvPr>
        </p:nvSpPr>
        <p:spPr>
          <a:xfrm>
            <a:off x="1048444"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1" name="Text Placeholder 2"/>
          <p:cNvSpPr>
            <a:spLocks noGrp="1"/>
          </p:cNvSpPr>
          <p:nvPr>
            <p:ph type="body" sz="quarter" idx="18" hasCustomPrompt="1"/>
          </p:nvPr>
        </p:nvSpPr>
        <p:spPr>
          <a:xfrm>
            <a:off x="4754571"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7" name="Text Placeholder 2"/>
          <p:cNvSpPr>
            <a:spLocks noGrp="1"/>
          </p:cNvSpPr>
          <p:nvPr>
            <p:ph type="body" sz="quarter" idx="24" hasCustomPrompt="1"/>
          </p:nvPr>
        </p:nvSpPr>
        <p:spPr>
          <a:xfrm>
            <a:off x="8485080"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3" name="Text Placeholder 2"/>
          <p:cNvSpPr>
            <a:spLocks noGrp="1"/>
          </p:cNvSpPr>
          <p:nvPr>
            <p:ph type="body" sz="quarter" idx="30" hasCustomPrompt="1"/>
          </p:nvPr>
        </p:nvSpPr>
        <p:spPr>
          <a:xfrm>
            <a:off x="12220346"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9" name="Text Placeholder 2"/>
          <p:cNvSpPr>
            <a:spLocks noGrp="1"/>
          </p:cNvSpPr>
          <p:nvPr>
            <p:ph type="body" sz="quarter" idx="36" hasCustomPrompt="1"/>
          </p:nvPr>
        </p:nvSpPr>
        <p:spPr>
          <a:xfrm>
            <a:off x="15935099"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5" name="Text Placeholder 2"/>
          <p:cNvSpPr>
            <a:spLocks noGrp="1"/>
          </p:cNvSpPr>
          <p:nvPr>
            <p:ph type="body" sz="quarter" idx="42" hasCustomPrompt="1"/>
          </p:nvPr>
        </p:nvSpPr>
        <p:spPr>
          <a:xfrm>
            <a:off x="19676607"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6" name="Text Placeholder 2"/>
          <p:cNvSpPr>
            <a:spLocks noGrp="1"/>
          </p:cNvSpPr>
          <p:nvPr>
            <p:ph type="body" sz="quarter" idx="13" hasCustomPrompt="1"/>
          </p:nvPr>
        </p:nvSpPr>
        <p:spPr>
          <a:xfrm>
            <a:off x="1048444"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2" name="Text Placeholder 2"/>
          <p:cNvSpPr>
            <a:spLocks noGrp="1"/>
          </p:cNvSpPr>
          <p:nvPr>
            <p:ph type="body" sz="quarter" idx="19" hasCustomPrompt="1"/>
          </p:nvPr>
        </p:nvSpPr>
        <p:spPr>
          <a:xfrm>
            <a:off x="4754571"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8" name="Text Placeholder 2"/>
          <p:cNvSpPr>
            <a:spLocks noGrp="1"/>
          </p:cNvSpPr>
          <p:nvPr>
            <p:ph type="body" sz="quarter" idx="25" hasCustomPrompt="1"/>
          </p:nvPr>
        </p:nvSpPr>
        <p:spPr>
          <a:xfrm>
            <a:off x="8485080"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4" name="Text Placeholder 2"/>
          <p:cNvSpPr>
            <a:spLocks noGrp="1"/>
          </p:cNvSpPr>
          <p:nvPr>
            <p:ph type="body" sz="quarter" idx="31" hasCustomPrompt="1"/>
          </p:nvPr>
        </p:nvSpPr>
        <p:spPr>
          <a:xfrm>
            <a:off x="12220346"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0" name="Text Placeholder 2"/>
          <p:cNvSpPr>
            <a:spLocks noGrp="1"/>
          </p:cNvSpPr>
          <p:nvPr>
            <p:ph type="body" sz="quarter" idx="37" hasCustomPrompt="1"/>
          </p:nvPr>
        </p:nvSpPr>
        <p:spPr>
          <a:xfrm>
            <a:off x="15935099"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6" name="Text Placeholder 2"/>
          <p:cNvSpPr>
            <a:spLocks noGrp="1"/>
          </p:cNvSpPr>
          <p:nvPr>
            <p:ph type="body" sz="quarter" idx="43" hasCustomPrompt="1"/>
          </p:nvPr>
        </p:nvSpPr>
        <p:spPr>
          <a:xfrm>
            <a:off x="19676607"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7" name="Text Placeholder 2"/>
          <p:cNvSpPr>
            <a:spLocks noGrp="1"/>
          </p:cNvSpPr>
          <p:nvPr>
            <p:ph type="body" sz="quarter" idx="14" hasCustomPrompt="1"/>
          </p:nvPr>
        </p:nvSpPr>
        <p:spPr>
          <a:xfrm>
            <a:off x="1048444"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3" name="Text Placeholder 2"/>
          <p:cNvSpPr>
            <a:spLocks noGrp="1"/>
          </p:cNvSpPr>
          <p:nvPr>
            <p:ph type="body" sz="quarter" idx="20" hasCustomPrompt="1"/>
          </p:nvPr>
        </p:nvSpPr>
        <p:spPr>
          <a:xfrm>
            <a:off x="4754571"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9" name="Text Placeholder 2"/>
          <p:cNvSpPr>
            <a:spLocks noGrp="1"/>
          </p:cNvSpPr>
          <p:nvPr>
            <p:ph type="body" sz="quarter" idx="26" hasCustomPrompt="1"/>
          </p:nvPr>
        </p:nvSpPr>
        <p:spPr>
          <a:xfrm>
            <a:off x="8485080"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5" name="Text Placeholder 2"/>
          <p:cNvSpPr>
            <a:spLocks noGrp="1"/>
          </p:cNvSpPr>
          <p:nvPr>
            <p:ph type="body" sz="quarter" idx="32" hasCustomPrompt="1"/>
          </p:nvPr>
        </p:nvSpPr>
        <p:spPr>
          <a:xfrm>
            <a:off x="12220346"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1" name="Text Placeholder 2"/>
          <p:cNvSpPr>
            <a:spLocks noGrp="1"/>
          </p:cNvSpPr>
          <p:nvPr>
            <p:ph type="body" sz="quarter" idx="38" hasCustomPrompt="1"/>
          </p:nvPr>
        </p:nvSpPr>
        <p:spPr>
          <a:xfrm>
            <a:off x="15935099"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7" name="Text Placeholder 2"/>
          <p:cNvSpPr>
            <a:spLocks noGrp="1"/>
          </p:cNvSpPr>
          <p:nvPr>
            <p:ph type="body" sz="quarter" idx="44" hasCustomPrompt="1"/>
          </p:nvPr>
        </p:nvSpPr>
        <p:spPr>
          <a:xfrm>
            <a:off x="19676607"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8" name="Text Placeholder 2"/>
          <p:cNvSpPr>
            <a:spLocks noGrp="1"/>
          </p:cNvSpPr>
          <p:nvPr>
            <p:ph type="body" sz="quarter" idx="15" hasCustomPrompt="1"/>
          </p:nvPr>
        </p:nvSpPr>
        <p:spPr>
          <a:xfrm>
            <a:off x="1048444"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4" name="Text Placeholder 2"/>
          <p:cNvSpPr>
            <a:spLocks noGrp="1"/>
          </p:cNvSpPr>
          <p:nvPr>
            <p:ph type="body" sz="quarter" idx="21" hasCustomPrompt="1"/>
          </p:nvPr>
        </p:nvSpPr>
        <p:spPr>
          <a:xfrm>
            <a:off x="4754571"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0" name="Text Placeholder 2"/>
          <p:cNvSpPr>
            <a:spLocks noGrp="1"/>
          </p:cNvSpPr>
          <p:nvPr>
            <p:ph type="body" sz="quarter" idx="27" hasCustomPrompt="1"/>
          </p:nvPr>
        </p:nvSpPr>
        <p:spPr>
          <a:xfrm>
            <a:off x="8485080"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6" name="Text Placeholder 2"/>
          <p:cNvSpPr>
            <a:spLocks noGrp="1"/>
          </p:cNvSpPr>
          <p:nvPr>
            <p:ph type="body" sz="quarter" idx="33" hasCustomPrompt="1"/>
          </p:nvPr>
        </p:nvSpPr>
        <p:spPr>
          <a:xfrm>
            <a:off x="12220346"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2" name="Text Placeholder 2"/>
          <p:cNvSpPr>
            <a:spLocks noGrp="1"/>
          </p:cNvSpPr>
          <p:nvPr>
            <p:ph type="body" sz="quarter" idx="39" hasCustomPrompt="1"/>
          </p:nvPr>
        </p:nvSpPr>
        <p:spPr>
          <a:xfrm>
            <a:off x="15935099"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8" name="Text Placeholder 2"/>
          <p:cNvSpPr>
            <a:spLocks noGrp="1"/>
          </p:cNvSpPr>
          <p:nvPr>
            <p:ph type="body" sz="quarter" idx="45" hasCustomPrompt="1"/>
          </p:nvPr>
        </p:nvSpPr>
        <p:spPr>
          <a:xfrm>
            <a:off x="19676607"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8" name="TextBox 77">
            <a:extLst>
              <a:ext uri="{FF2B5EF4-FFF2-40B4-BE49-F238E27FC236}">
                <a16:creationId xmlns:a16="http://schemas.microsoft.com/office/drawing/2014/main" id="{1D35B2A0-9C05-5549-A481-60AB952E5BBC}"/>
              </a:ext>
            </a:extLst>
          </p:cNvPr>
          <p:cNvSpPr txBox="1"/>
          <p:nvPr userDrawn="1"/>
        </p:nvSpPr>
        <p:spPr>
          <a:xfrm>
            <a:off x="954662" y="1399713"/>
            <a:ext cx="1638300" cy="461665"/>
          </a:xfrm>
          <a:prstGeom prst="rect">
            <a:avLst/>
          </a:prstGeom>
          <a:noFill/>
        </p:spPr>
        <p:txBody>
          <a:bodyPr wrap="square" rtlCol="0">
            <a:spAutoFit/>
          </a:bodyPr>
          <a:lstStyle/>
          <a:p>
            <a:r>
              <a:rPr lang="en-US" sz="2400" b="1" dirty="0">
                <a:solidFill>
                  <a:schemeClr val="accent1"/>
                </a:solidFill>
              </a:rPr>
              <a:t>Monday</a:t>
            </a:r>
          </a:p>
        </p:txBody>
      </p:sp>
      <p:sp>
        <p:nvSpPr>
          <p:cNvPr id="79" name="TextBox 78">
            <a:extLst>
              <a:ext uri="{FF2B5EF4-FFF2-40B4-BE49-F238E27FC236}">
                <a16:creationId xmlns:a16="http://schemas.microsoft.com/office/drawing/2014/main" id="{B782BCC0-2D8A-6449-83EF-6248BB62FF37}"/>
              </a:ext>
            </a:extLst>
          </p:cNvPr>
          <p:cNvSpPr txBox="1"/>
          <p:nvPr userDrawn="1"/>
        </p:nvSpPr>
        <p:spPr>
          <a:xfrm>
            <a:off x="4688462" y="1399713"/>
            <a:ext cx="1638300" cy="461665"/>
          </a:xfrm>
          <a:prstGeom prst="rect">
            <a:avLst/>
          </a:prstGeom>
          <a:noFill/>
        </p:spPr>
        <p:txBody>
          <a:bodyPr wrap="square" rtlCol="0">
            <a:spAutoFit/>
          </a:bodyPr>
          <a:lstStyle/>
          <a:p>
            <a:r>
              <a:rPr lang="en-US" sz="2400" b="1" dirty="0">
                <a:solidFill>
                  <a:schemeClr val="accent1"/>
                </a:solidFill>
              </a:rPr>
              <a:t>Tuesday</a:t>
            </a:r>
          </a:p>
        </p:txBody>
      </p:sp>
      <p:sp>
        <p:nvSpPr>
          <p:cNvPr id="80" name="TextBox 79">
            <a:extLst>
              <a:ext uri="{FF2B5EF4-FFF2-40B4-BE49-F238E27FC236}">
                <a16:creationId xmlns:a16="http://schemas.microsoft.com/office/drawing/2014/main" id="{0EE91562-49B8-C644-A359-8A2ABDE2F5C9}"/>
              </a:ext>
            </a:extLst>
          </p:cNvPr>
          <p:cNvSpPr txBox="1"/>
          <p:nvPr userDrawn="1"/>
        </p:nvSpPr>
        <p:spPr>
          <a:xfrm>
            <a:off x="8365112" y="1399713"/>
            <a:ext cx="2741038" cy="461665"/>
          </a:xfrm>
          <a:prstGeom prst="rect">
            <a:avLst/>
          </a:prstGeom>
          <a:noFill/>
        </p:spPr>
        <p:txBody>
          <a:bodyPr wrap="square" rtlCol="0">
            <a:spAutoFit/>
          </a:bodyPr>
          <a:lstStyle/>
          <a:p>
            <a:r>
              <a:rPr lang="en-US" sz="2400" b="1" dirty="0">
                <a:solidFill>
                  <a:schemeClr val="accent1"/>
                </a:solidFill>
              </a:rPr>
              <a:t>Wednesday</a:t>
            </a:r>
          </a:p>
        </p:txBody>
      </p:sp>
      <p:sp>
        <p:nvSpPr>
          <p:cNvPr id="81" name="TextBox 80">
            <a:extLst>
              <a:ext uri="{FF2B5EF4-FFF2-40B4-BE49-F238E27FC236}">
                <a16:creationId xmlns:a16="http://schemas.microsoft.com/office/drawing/2014/main" id="{8FE700B0-5F36-9E48-B91E-5AD50785BC54}"/>
              </a:ext>
            </a:extLst>
          </p:cNvPr>
          <p:cNvSpPr txBox="1"/>
          <p:nvPr userDrawn="1"/>
        </p:nvSpPr>
        <p:spPr>
          <a:xfrm>
            <a:off x="12137012" y="1399713"/>
            <a:ext cx="1638300" cy="461665"/>
          </a:xfrm>
          <a:prstGeom prst="rect">
            <a:avLst/>
          </a:prstGeom>
          <a:noFill/>
        </p:spPr>
        <p:txBody>
          <a:bodyPr wrap="square" rtlCol="0">
            <a:spAutoFit/>
          </a:bodyPr>
          <a:lstStyle/>
          <a:p>
            <a:r>
              <a:rPr lang="en-US" sz="2400" b="1" dirty="0">
                <a:solidFill>
                  <a:schemeClr val="accent1"/>
                </a:solidFill>
              </a:rPr>
              <a:t>Thursday</a:t>
            </a:r>
          </a:p>
        </p:txBody>
      </p:sp>
      <p:sp>
        <p:nvSpPr>
          <p:cNvPr id="82" name="TextBox 81">
            <a:extLst>
              <a:ext uri="{FF2B5EF4-FFF2-40B4-BE49-F238E27FC236}">
                <a16:creationId xmlns:a16="http://schemas.microsoft.com/office/drawing/2014/main" id="{7236B4E5-0CD0-6342-BBDF-942638A579CA}"/>
              </a:ext>
            </a:extLst>
          </p:cNvPr>
          <p:cNvSpPr txBox="1"/>
          <p:nvPr userDrawn="1"/>
        </p:nvSpPr>
        <p:spPr>
          <a:xfrm>
            <a:off x="15870812" y="1399713"/>
            <a:ext cx="1638300" cy="461665"/>
          </a:xfrm>
          <a:prstGeom prst="rect">
            <a:avLst/>
          </a:prstGeom>
          <a:noFill/>
        </p:spPr>
        <p:txBody>
          <a:bodyPr wrap="square" rtlCol="0">
            <a:spAutoFit/>
          </a:bodyPr>
          <a:lstStyle/>
          <a:p>
            <a:r>
              <a:rPr lang="en-US" sz="2400" b="1" dirty="0">
                <a:solidFill>
                  <a:schemeClr val="accent1"/>
                </a:solidFill>
              </a:rPr>
              <a:t>Friday</a:t>
            </a:r>
          </a:p>
        </p:txBody>
      </p:sp>
      <p:sp>
        <p:nvSpPr>
          <p:cNvPr id="83" name="TextBox 82">
            <a:extLst>
              <a:ext uri="{FF2B5EF4-FFF2-40B4-BE49-F238E27FC236}">
                <a16:creationId xmlns:a16="http://schemas.microsoft.com/office/drawing/2014/main" id="{E083E9FA-F060-6841-843B-32B34026AB81}"/>
              </a:ext>
            </a:extLst>
          </p:cNvPr>
          <p:cNvSpPr txBox="1"/>
          <p:nvPr userDrawn="1"/>
        </p:nvSpPr>
        <p:spPr>
          <a:xfrm>
            <a:off x="19585562" y="1399713"/>
            <a:ext cx="1638300" cy="461665"/>
          </a:xfrm>
          <a:prstGeom prst="rect">
            <a:avLst/>
          </a:prstGeom>
          <a:noFill/>
        </p:spPr>
        <p:txBody>
          <a:bodyPr wrap="square" rtlCol="0">
            <a:spAutoFit/>
          </a:bodyPr>
          <a:lstStyle/>
          <a:p>
            <a:r>
              <a:rPr lang="en-US" sz="2400" b="1" dirty="0">
                <a:solidFill>
                  <a:schemeClr val="accent1"/>
                </a:solidFill>
              </a:rPr>
              <a:t>Sunday</a:t>
            </a:r>
          </a:p>
        </p:txBody>
      </p:sp>
    </p:spTree>
    <p:extLst>
      <p:ext uri="{BB962C8B-B14F-4D97-AF65-F5344CB8AC3E}">
        <p14:creationId xmlns:p14="http://schemas.microsoft.com/office/powerpoint/2010/main" val="13152091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cember 2019">
    <p:spTree>
      <p:nvGrpSpPr>
        <p:cNvPr id="1" name=""/>
        <p:cNvGrpSpPr/>
        <p:nvPr/>
      </p:nvGrpSpPr>
      <p:grpSpPr>
        <a:xfrm>
          <a:off x="0" y="0"/>
          <a:ext cx="0" cy="0"/>
          <a:chOff x="0" y="0"/>
          <a:chExt cx="0" cy="0"/>
        </a:xfrm>
      </p:grpSpPr>
      <p:sp>
        <p:nvSpPr>
          <p:cNvPr id="1792" name="TextBox 1791"/>
          <p:cNvSpPr txBox="1"/>
          <p:nvPr/>
        </p:nvSpPr>
        <p:spPr>
          <a:xfrm>
            <a:off x="1093019" y="1641844"/>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25 November</a:t>
            </a:r>
          </a:p>
        </p:txBody>
      </p:sp>
      <p:sp>
        <p:nvSpPr>
          <p:cNvPr id="1793" name="TextBox 1792"/>
          <p:cNvSpPr txBox="1"/>
          <p:nvPr/>
        </p:nvSpPr>
        <p:spPr>
          <a:xfrm>
            <a:off x="4764373" y="1641844"/>
            <a:ext cx="3657362" cy="768096"/>
          </a:xfrm>
          <a:prstGeom prst="rect">
            <a:avLst/>
          </a:prstGeom>
          <a:noFill/>
        </p:spPr>
        <p:txBody>
          <a:bodyPr wrap="square" tIns="0" bIns="0" rtlCol="0" anchor="ctr">
            <a:noAutofit/>
          </a:bodyPr>
          <a:lstStyle>
            <a:defPPr>
              <a:defRPr lang="en-US"/>
            </a:defPPr>
            <a:lvl1pPr>
              <a:defRPr sz="1300" b="0">
                <a:solidFill>
                  <a:schemeClr val="bg2">
                    <a:lumMod val="90000"/>
                  </a:schemeClr>
                </a:solidFill>
              </a:defRPr>
            </a:lvl1pPr>
          </a:lstStyle>
          <a:p>
            <a:pPr lvl="0"/>
            <a:r>
              <a:rPr lang="en-US" sz="2600" dirty="0"/>
              <a:t>26</a:t>
            </a:r>
            <a:endParaRPr sz="2600" dirty="0"/>
          </a:p>
        </p:txBody>
      </p:sp>
      <p:sp>
        <p:nvSpPr>
          <p:cNvPr id="1794" name="TextBox 1793"/>
          <p:cNvSpPr txBox="1"/>
          <p:nvPr/>
        </p:nvSpPr>
        <p:spPr>
          <a:xfrm>
            <a:off x="8512830" y="1641844"/>
            <a:ext cx="3657362" cy="768096"/>
          </a:xfrm>
          <a:prstGeom prst="rect">
            <a:avLst/>
          </a:prstGeom>
          <a:noFill/>
        </p:spPr>
        <p:txBody>
          <a:bodyPr wrap="square" tIns="0" bIns="0" rtlCol="0" anchor="ctr">
            <a:noAutofit/>
          </a:bodyPr>
          <a:lstStyle>
            <a:defPPr>
              <a:defRPr lang="en-US"/>
            </a:defPPr>
            <a:lvl1pPr lvl="0">
              <a:defRPr sz="1300" b="0">
                <a:solidFill>
                  <a:schemeClr val="bg2">
                    <a:lumMod val="90000"/>
                  </a:schemeClr>
                </a:solidFill>
              </a:defRPr>
            </a:lvl1pPr>
          </a:lstStyle>
          <a:p>
            <a:pPr lvl="0"/>
            <a:r>
              <a:rPr lang="en-US" sz="2600"/>
              <a:t>27</a:t>
            </a:r>
            <a:endParaRPr sz="2600" dirty="0"/>
          </a:p>
        </p:txBody>
      </p:sp>
      <p:sp>
        <p:nvSpPr>
          <p:cNvPr id="1795" name="TextBox 1794"/>
          <p:cNvSpPr txBox="1"/>
          <p:nvPr/>
        </p:nvSpPr>
        <p:spPr>
          <a:xfrm>
            <a:off x="12191204" y="1641844"/>
            <a:ext cx="3657362" cy="768096"/>
          </a:xfrm>
          <a:prstGeom prst="rect">
            <a:avLst/>
          </a:prstGeom>
          <a:noFill/>
        </p:spPr>
        <p:txBody>
          <a:bodyPr wrap="square" tIns="0" bIns="0" rtlCol="0" anchor="ctr">
            <a:noAutofit/>
          </a:bodyPr>
          <a:lstStyle>
            <a:defPPr>
              <a:defRPr lang="en-US"/>
            </a:defPPr>
            <a:lvl1pPr lvl="0">
              <a:defRPr sz="1300" b="0">
                <a:solidFill>
                  <a:schemeClr val="bg2">
                    <a:lumMod val="90000"/>
                  </a:schemeClr>
                </a:solidFill>
              </a:defRPr>
            </a:lvl1pPr>
          </a:lstStyle>
          <a:p>
            <a:pPr lvl="0"/>
            <a:r>
              <a:rPr lang="en-US" sz="2600" dirty="0"/>
              <a:t>28</a:t>
            </a:r>
            <a:endParaRPr sz="2600" dirty="0"/>
          </a:p>
        </p:txBody>
      </p:sp>
      <p:sp>
        <p:nvSpPr>
          <p:cNvPr id="1796" name="TextBox 1795"/>
          <p:cNvSpPr txBox="1"/>
          <p:nvPr/>
        </p:nvSpPr>
        <p:spPr>
          <a:xfrm>
            <a:off x="15925635" y="1641844"/>
            <a:ext cx="3657362" cy="768096"/>
          </a:xfrm>
          <a:prstGeom prst="rect">
            <a:avLst/>
          </a:prstGeom>
          <a:noFill/>
        </p:spPr>
        <p:txBody>
          <a:bodyPr wrap="square" tIns="0" bIns="0" rtlCol="0" anchor="ctr">
            <a:noAutofit/>
          </a:bodyPr>
          <a:lstStyle/>
          <a:p>
            <a:pPr algn="l"/>
            <a:r>
              <a:rPr lang="en-US" sz="2600" b="0">
                <a:solidFill>
                  <a:schemeClr val="bg2">
                    <a:lumMod val="90000"/>
                  </a:schemeClr>
                </a:solidFill>
              </a:rPr>
              <a:t>29</a:t>
            </a:r>
            <a:endParaRPr sz="2600" b="0" dirty="0">
              <a:solidFill>
                <a:schemeClr val="bg2">
                  <a:lumMod val="90000"/>
                </a:schemeClr>
              </a:solidFill>
            </a:endParaRPr>
          </a:p>
        </p:txBody>
      </p:sp>
      <p:sp>
        <p:nvSpPr>
          <p:cNvPr id="1797" name="TextBox 1796"/>
          <p:cNvSpPr txBox="1"/>
          <p:nvPr/>
        </p:nvSpPr>
        <p:spPr>
          <a:xfrm>
            <a:off x="19649854" y="1641844"/>
            <a:ext cx="3657362" cy="768096"/>
          </a:xfrm>
          <a:prstGeom prst="rect">
            <a:avLst/>
          </a:prstGeom>
          <a:noFill/>
        </p:spPr>
        <p:txBody>
          <a:bodyPr wrap="square" tIns="0" bIns="0" rtlCol="0" anchor="ctr">
            <a:noAutofit/>
          </a:bodyPr>
          <a:lstStyle>
            <a:defPPr>
              <a:defRPr lang="en-US"/>
            </a:defPPr>
            <a:lvl1pPr>
              <a:defRPr sz="1300" b="0" cap="none" spc="0">
                <a:ln w="0"/>
                <a:effectLst>
                  <a:outerShdw blurRad="38100" dist="19050" dir="2700000" algn="tl" rotWithShape="0">
                    <a:schemeClr val="dk1">
                      <a:alpha val="40000"/>
                    </a:schemeClr>
                  </a:outerShdw>
                </a:effectLst>
              </a:defRPr>
            </a:lvl1pPr>
          </a:lstStyle>
          <a:p>
            <a:pPr lvl="0"/>
            <a:r>
              <a:rPr lang="en-US" sz="2600" b="0" dirty="0">
                <a:solidFill>
                  <a:schemeClr val="bg2">
                    <a:lumMod val="90000"/>
                  </a:schemeClr>
                </a:solidFill>
                <a:effectLst/>
              </a:rPr>
              <a:t>30 / </a:t>
            </a:r>
            <a:r>
              <a:rPr lang="en-US" sz="2600" dirty="0"/>
              <a:t>1 December</a:t>
            </a:r>
          </a:p>
        </p:txBody>
      </p:sp>
      <p:sp>
        <p:nvSpPr>
          <p:cNvPr id="1798" name="TextBox 1797"/>
          <p:cNvSpPr txBox="1"/>
          <p:nvPr/>
        </p:nvSpPr>
        <p:spPr>
          <a:xfrm>
            <a:off x="1093025" y="3471672"/>
            <a:ext cx="3657362" cy="768096"/>
          </a:xfrm>
          <a:prstGeom prst="rect">
            <a:avLst/>
          </a:prstGeom>
          <a:noFill/>
        </p:spPr>
        <p:txBody>
          <a:bodyPr wrap="square" tIns="0" bIns="0" rtlCol="0" anchor="ctr">
            <a:noAutofit/>
          </a:bodyPr>
          <a:lstStyle/>
          <a:p>
            <a:pPr algn="l"/>
            <a:r>
              <a:rPr lang="en-US" sz="2600" b="0" dirty="0">
                <a:solidFill>
                  <a:schemeClr val="tx1"/>
                </a:solidFill>
              </a:rPr>
              <a:t>2	</a:t>
            </a:r>
            <a:endParaRPr sz="2600" b="0" dirty="0">
              <a:solidFill>
                <a:schemeClr val="tx1"/>
              </a:solidFill>
            </a:endParaRPr>
          </a:p>
        </p:txBody>
      </p:sp>
      <p:sp>
        <p:nvSpPr>
          <p:cNvPr id="1799" name="TextBox 1798"/>
          <p:cNvSpPr txBox="1"/>
          <p:nvPr/>
        </p:nvSpPr>
        <p:spPr>
          <a:xfrm>
            <a:off x="4764373" y="3471672"/>
            <a:ext cx="3657362" cy="768096"/>
          </a:xfrm>
          <a:prstGeom prst="rect">
            <a:avLst/>
          </a:prstGeom>
          <a:noFill/>
        </p:spPr>
        <p:txBody>
          <a:bodyPr wrap="square" tIns="0" bIns="0" rtlCol="0" anchor="ctr">
            <a:noAutofit/>
          </a:bodyPr>
          <a:lstStyle/>
          <a:p>
            <a:pPr algn="l"/>
            <a:r>
              <a:rPr lang="en-US" sz="2600" b="0" dirty="0">
                <a:solidFill>
                  <a:schemeClr val="tx1"/>
                </a:solidFill>
              </a:rPr>
              <a:t>3</a:t>
            </a:r>
            <a:endParaRPr sz="2600" b="0" dirty="0">
              <a:solidFill>
                <a:schemeClr val="tx1"/>
              </a:solidFill>
            </a:endParaRPr>
          </a:p>
        </p:txBody>
      </p:sp>
      <p:sp>
        <p:nvSpPr>
          <p:cNvPr id="1800" name="TextBox 1799"/>
          <p:cNvSpPr txBox="1"/>
          <p:nvPr/>
        </p:nvSpPr>
        <p:spPr>
          <a:xfrm>
            <a:off x="8512830" y="3471672"/>
            <a:ext cx="3657362" cy="768096"/>
          </a:xfrm>
          <a:prstGeom prst="rect">
            <a:avLst/>
          </a:prstGeom>
          <a:noFill/>
        </p:spPr>
        <p:txBody>
          <a:bodyPr wrap="square" tIns="0" bIns="0" rtlCol="0" anchor="ctr">
            <a:noAutofit/>
          </a:bodyPr>
          <a:lstStyle/>
          <a:p>
            <a:pPr algn="l"/>
            <a:r>
              <a:rPr lang="en-US" sz="2600" b="0" dirty="0">
                <a:solidFill>
                  <a:schemeClr val="tx1"/>
                </a:solidFill>
              </a:rPr>
              <a:t>4</a:t>
            </a:r>
            <a:endParaRPr sz="2600" b="0" dirty="0">
              <a:solidFill>
                <a:schemeClr val="tx1"/>
              </a:solidFill>
            </a:endParaRPr>
          </a:p>
        </p:txBody>
      </p:sp>
      <p:sp>
        <p:nvSpPr>
          <p:cNvPr id="1801" name="TextBox 1800"/>
          <p:cNvSpPr txBox="1"/>
          <p:nvPr/>
        </p:nvSpPr>
        <p:spPr>
          <a:xfrm>
            <a:off x="12191204" y="3471672"/>
            <a:ext cx="3657362" cy="768096"/>
          </a:xfrm>
          <a:prstGeom prst="rect">
            <a:avLst/>
          </a:prstGeom>
          <a:noFill/>
        </p:spPr>
        <p:txBody>
          <a:bodyPr wrap="square" tIns="0" bIns="0" rtlCol="0" anchor="ctr">
            <a:noAutofit/>
          </a:bodyPr>
          <a:lstStyle/>
          <a:p>
            <a:pPr algn="l"/>
            <a:r>
              <a:rPr lang="en-US" sz="2600" b="0" dirty="0">
                <a:solidFill>
                  <a:schemeClr val="tx1"/>
                </a:solidFill>
              </a:rPr>
              <a:t>5</a:t>
            </a:r>
            <a:endParaRPr sz="2600" b="0" dirty="0">
              <a:solidFill>
                <a:schemeClr val="tx1"/>
              </a:solidFill>
            </a:endParaRPr>
          </a:p>
        </p:txBody>
      </p:sp>
      <p:sp>
        <p:nvSpPr>
          <p:cNvPr id="1802" name="TextBox 1801"/>
          <p:cNvSpPr txBox="1"/>
          <p:nvPr/>
        </p:nvSpPr>
        <p:spPr>
          <a:xfrm>
            <a:off x="15925635" y="3471672"/>
            <a:ext cx="3657362" cy="768096"/>
          </a:xfrm>
          <a:prstGeom prst="rect">
            <a:avLst/>
          </a:prstGeom>
          <a:noFill/>
        </p:spPr>
        <p:txBody>
          <a:bodyPr wrap="square" tIns="0" bIns="0" rtlCol="0" anchor="ctr">
            <a:noAutofit/>
          </a:bodyPr>
          <a:lstStyle/>
          <a:p>
            <a:pPr algn="l"/>
            <a:r>
              <a:rPr lang="en-US" sz="2600" b="0" dirty="0">
                <a:solidFill>
                  <a:schemeClr val="tx1"/>
                </a:solidFill>
              </a:rPr>
              <a:t>6</a:t>
            </a:r>
            <a:endParaRPr sz="2600" b="0" dirty="0">
              <a:solidFill>
                <a:schemeClr val="tx1"/>
              </a:solidFill>
            </a:endParaRPr>
          </a:p>
        </p:txBody>
      </p:sp>
      <p:sp>
        <p:nvSpPr>
          <p:cNvPr id="1803" name="TextBox 1802"/>
          <p:cNvSpPr txBox="1"/>
          <p:nvPr/>
        </p:nvSpPr>
        <p:spPr>
          <a:xfrm>
            <a:off x="19649854" y="3471672"/>
            <a:ext cx="3657362" cy="768096"/>
          </a:xfrm>
          <a:prstGeom prst="rect">
            <a:avLst/>
          </a:prstGeom>
          <a:noFill/>
        </p:spPr>
        <p:txBody>
          <a:bodyPr wrap="square" tIns="0" bIns="0" rtlCol="0" anchor="ctr">
            <a:noAutofit/>
          </a:bodyPr>
          <a:lstStyle/>
          <a:p>
            <a:pPr algn="l"/>
            <a:r>
              <a:rPr lang="en-US" sz="2600" b="0" dirty="0">
                <a:solidFill>
                  <a:schemeClr val="tx1"/>
                </a:solidFill>
              </a:rPr>
              <a:t>7/8</a:t>
            </a:r>
            <a:endParaRPr sz="2600" b="0" dirty="0">
              <a:solidFill>
                <a:schemeClr val="tx1"/>
              </a:solidFill>
            </a:endParaRPr>
          </a:p>
        </p:txBody>
      </p:sp>
      <p:sp>
        <p:nvSpPr>
          <p:cNvPr id="1804" name="TextBox 1803"/>
          <p:cNvSpPr txBox="1"/>
          <p:nvPr/>
        </p:nvSpPr>
        <p:spPr>
          <a:xfrm>
            <a:off x="1093025" y="5300472"/>
            <a:ext cx="3657362" cy="768096"/>
          </a:xfrm>
          <a:prstGeom prst="rect">
            <a:avLst/>
          </a:prstGeom>
          <a:noFill/>
        </p:spPr>
        <p:txBody>
          <a:bodyPr wrap="square" tIns="0" bIns="0" rtlCol="0" anchor="ctr">
            <a:noAutofit/>
          </a:bodyPr>
          <a:lstStyle/>
          <a:p>
            <a:pPr algn="l"/>
            <a:r>
              <a:rPr lang="en-US" sz="2600" b="0">
                <a:solidFill>
                  <a:schemeClr val="tx1"/>
                </a:solidFill>
              </a:rPr>
              <a:t>9</a:t>
            </a:r>
            <a:endParaRPr sz="2600" b="0" dirty="0">
              <a:solidFill>
                <a:schemeClr val="tx1"/>
              </a:solidFill>
            </a:endParaRPr>
          </a:p>
        </p:txBody>
      </p:sp>
      <p:sp>
        <p:nvSpPr>
          <p:cNvPr id="1805" name="TextBox 1804"/>
          <p:cNvSpPr txBox="1"/>
          <p:nvPr/>
        </p:nvSpPr>
        <p:spPr>
          <a:xfrm>
            <a:off x="4764373" y="5300472"/>
            <a:ext cx="3657362" cy="768096"/>
          </a:xfrm>
          <a:prstGeom prst="rect">
            <a:avLst/>
          </a:prstGeom>
          <a:noFill/>
        </p:spPr>
        <p:txBody>
          <a:bodyPr wrap="square" tIns="0" bIns="0" rtlCol="0" anchor="ctr">
            <a:noAutofit/>
          </a:bodyPr>
          <a:lstStyle/>
          <a:p>
            <a:pPr algn="l"/>
            <a:r>
              <a:rPr lang="en-US" sz="2600" b="0" dirty="0">
                <a:solidFill>
                  <a:schemeClr val="tx1"/>
                </a:solidFill>
              </a:rPr>
              <a:t>10</a:t>
            </a:r>
            <a:endParaRPr sz="2600" b="0" dirty="0">
              <a:solidFill>
                <a:schemeClr val="tx1"/>
              </a:solidFill>
            </a:endParaRPr>
          </a:p>
        </p:txBody>
      </p:sp>
      <p:sp>
        <p:nvSpPr>
          <p:cNvPr id="1806" name="TextBox 1805"/>
          <p:cNvSpPr txBox="1"/>
          <p:nvPr/>
        </p:nvSpPr>
        <p:spPr>
          <a:xfrm>
            <a:off x="8512830" y="5300472"/>
            <a:ext cx="3657362" cy="768096"/>
          </a:xfrm>
          <a:prstGeom prst="rect">
            <a:avLst/>
          </a:prstGeom>
          <a:noFill/>
        </p:spPr>
        <p:txBody>
          <a:bodyPr wrap="square" tIns="0" bIns="0" rtlCol="0" anchor="ctr">
            <a:noAutofit/>
          </a:bodyPr>
          <a:lstStyle/>
          <a:p>
            <a:pPr algn="l"/>
            <a:r>
              <a:rPr lang="en-US" sz="2600" b="0" dirty="0">
                <a:solidFill>
                  <a:schemeClr val="tx1"/>
                </a:solidFill>
              </a:rPr>
              <a:t>11</a:t>
            </a:r>
            <a:endParaRPr sz="2600" b="0" dirty="0">
              <a:solidFill>
                <a:schemeClr val="tx1"/>
              </a:solidFill>
            </a:endParaRPr>
          </a:p>
        </p:txBody>
      </p:sp>
      <p:sp>
        <p:nvSpPr>
          <p:cNvPr id="1807" name="TextBox 1806"/>
          <p:cNvSpPr txBox="1"/>
          <p:nvPr/>
        </p:nvSpPr>
        <p:spPr>
          <a:xfrm>
            <a:off x="12191204" y="5300472"/>
            <a:ext cx="3657362" cy="768096"/>
          </a:xfrm>
          <a:prstGeom prst="rect">
            <a:avLst/>
          </a:prstGeom>
          <a:noFill/>
        </p:spPr>
        <p:txBody>
          <a:bodyPr wrap="square" tIns="0" bIns="0" rtlCol="0" anchor="ctr">
            <a:noAutofit/>
          </a:bodyPr>
          <a:lstStyle/>
          <a:p>
            <a:pPr algn="l"/>
            <a:r>
              <a:rPr lang="en-US" sz="2600" b="0" dirty="0">
                <a:solidFill>
                  <a:schemeClr val="tx1"/>
                </a:solidFill>
              </a:rPr>
              <a:t>12</a:t>
            </a:r>
            <a:endParaRPr sz="2600" b="0" dirty="0">
              <a:solidFill>
                <a:schemeClr val="tx1"/>
              </a:solidFill>
            </a:endParaRPr>
          </a:p>
        </p:txBody>
      </p:sp>
      <p:sp>
        <p:nvSpPr>
          <p:cNvPr id="1808" name="TextBox 1807"/>
          <p:cNvSpPr txBox="1"/>
          <p:nvPr/>
        </p:nvSpPr>
        <p:spPr>
          <a:xfrm>
            <a:off x="15925635" y="5300472"/>
            <a:ext cx="3657362" cy="768096"/>
          </a:xfrm>
          <a:prstGeom prst="rect">
            <a:avLst/>
          </a:prstGeom>
          <a:noFill/>
        </p:spPr>
        <p:txBody>
          <a:bodyPr wrap="square" tIns="0" bIns="0" rtlCol="0" anchor="ctr">
            <a:noAutofit/>
          </a:bodyPr>
          <a:lstStyle/>
          <a:p>
            <a:pPr algn="l"/>
            <a:r>
              <a:rPr lang="en-US" sz="2600" b="0" dirty="0">
                <a:solidFill>
                  <a:schemeClr val="tx1"/>
                </a:solidFill>
              </a:rPr>
              <a:t>13</a:t>
            </a:r>
            <a:endParaRPr sz="2600" b="0" dirty="0">
              <a:solidFill>
                <a:schemeClr val="tx1"/>
              </a:solidFill>
            </a:endParaRPr>
          </a:p>
        </p:txBody>
      </p:sp>
      <p:sp>
        <p:nvSpPr>
          <p:cNvPr id="1809" name="TextBox 1808"/>
          <p:cNvSpPr txBox="1"/>
          <p:nvPr/>
        </p:nvSpPr>
        <p:spPr>
          <a:xfrm>
            <a:off x="19649854" y="5300472"/>
            <a:ext cx="3657362" cy="768096"/>
          </a:xfrm>
          <a:prstGeom prst="rect">
            <a:avLst/>
          </a:prstGeom>
          <a:noFill/>
        </p:spPr>
        <p:txBody>
          <a:bodyPr wrap="square" tIns="0" bIns="0" rtlCol="0" anchor="ctr">
            <a:noAutofit/>
          </a:bodyPr>
          <a:lstStyle/>
          <a:p>
            <a:pPr algn="l"/>
            <a:r>
              <a:rPr lang="en-US" sz="2600" b="0">
                <a:solidFill>
                  <a:schemeClr val="tx1"/>
                </a:solidFill>
              </a:rPr>
              <a:t>14/15</a:t>
            </a:r>
            <a:endParaRPr sz="2600" b="0" dirty="0">
              <a:solidFill>
                <a:schemeClr val="tx1"/>
              </a:solidFill>
            </a:endParaRPr>
          </a:p>
        </p:txBody>
      </p:sp>
      <p:sp>
        <p:nvSpPr>
          <p:cNvPr id="1810" name="TextBox 1809"/>
          <p:cNvSpPr txBox="1"/>
          <p:nvPr/>
        </p:nvSpPr>
        <p:spPr>
          <a:xfrm>
            <a:off x="1093025" y="7129272"/>
            <a:ext cx="3657362" cy="768096"/>
          </a:xfrm>
          <a:prstGeom prst="rect">
            <a:avLst/>
          </a:prstGeom>
          <a:noFill/>
        </p:spPr>
        <p:txBody>
          <a:bodyPr wrap="square" tIns="0" bIns="0" rtlCol="0" anchor="ctr">
            <a:noAutofit/>
          </a:bodyPr>
          <a:lstStyle/>
          <a:p>
            <a:pPr algn="l"/>
            <a:r>
              <a:rPr lang="en-US" sz="2600" b="0" dirty="0">
                <a:solidFill>
                  <a:schemeClr val="tx1"/>
                </a:solidFill>
              </a:rPr>
              <a:t>16</a:t>
            </a:r>
            <a:endParaRPr sz="2600" b="0" dirty="0">
              <a:solidFill>
                <a:schemeClr val="tx1"/>
              </a:solidFill>
            </a:endParaRPr>
          </a:p>
        </p:txBody>
      </p:sp>
      <p:sp>
        <p:nvSpPr>
          <p:cNvPr id="1811" name="TextBox 1810"/>
          <p:cNvSpPr txBox="1"/>
          <p:nvPr/>
        </p:nvSpPr>
        <p:spPr>
          <a:xfrm>
            <a:off x="4764373" y="7129272"/>
            <a:ext cx="3657362" cy="768096"/>
          </a:xfrm>
          <a:prstGeom prst="rect">
            <a:avLst/>
          </a:prstGeom>
          <a:noFill/>
        </p:spPr>
        <p:txBody>
          <a:bodyPr wrap="square" tIns="0" bIns="0" rtlCol="0" anchor="ctr">
            <a:noAutofit/>
          </a:bodyPr>
          <a:lstStyle/>
          <a:p>
            <a:pPr algn="l"/>
            <a:r>
              <a:rPr lang="en-US" sz="2600" b="0">
                <a:solidFill>
                  <a:schemeClr val="tx1"/>
                </a:solidFill>
              </a:rPr>
              <a:t>17</a:t>
            </a:r>
            <a:endParaRPr sz="2600" b="0" dirty="0">
              <a:solidFill>
                <a:schemeClr val="tx1"/>
              </a:solidFill>
            </a:endParaRPr>
          </a:p>
        </p:txBody>
      </p:sp>
      <p:sp>
        <p:nvSpPr>
          <p:cNvPr id="1812" name="TextBox 1811"/>
          <p:cNvSpPr txBox="1"/>
          <p:nvPr/>
        </p:nvSpPr>
        <p:spPr>
          <a:xfrm>
            <a:off x="8512830" y="7129272"/>
            <a:ext cx="3657362" cy="768096"/>
          </a:xfrm>
          <a:prstGeom prst="rect">
            <a:avLst/>
          </a:prstGeom>
          <a:noFill/>
        </p:spPr>
        <p:txBody>
          <a:bodyPr wrap="square" tIns="0" bIns="0" rtlCol="0" anchor="ctr">
            <a:noAutofit/>
          </a:bodyPr>
          <a:lstStyle/>
          <a:p>
            <a:pPr algn="l"/>
            <a:r>
              <a:rPr lang="en-US" sz="2600" b="0" dirty="0">
                <a:solidFill>
                  <a:schemeClr val="tx1"/>
                </a:solidFill>
              </a:rPr>
              <a:t>18</a:t>
            </a:r>
            <a:endParaRPr sz="2600" b="0" dirty="0">
              <a:solidFill>
                <a:schemeClr val="tx1"/>
              </a:solidFill>
            </a:endParaRPr>
          </a:p>
        </p:txBody>
      </p:sp>
      <p:sp>
        <p:nvSpPr>
          <p:cNvPr id="1813" name="TextBox 1812"/>
          <p:cNvSpPr txBox="1"/>
          <p:nvPr/>
        </p:nvSpPr>
        <p:spPr>
          <a:xfrm>
            <a:off x="12191204" y="7129272"/>
            <a:ext cx="3657362" cy="768096"/>
          </a:xfrm>
          <a:prstGeom prst="rect">
            <a:avLst/>
          </a:prstGeom>
          <a:noFill/>
        </p:spPr>
        <p:txBody>
          <a:bodyPr wrap="square" tIns="0" bIns="0" rtlCol="0" anchor="ctr">
            <a:noAutofit/>
          </a:bodyPr>
          <a:lstStyle/>
          <a:p>
            <a:pPr algn="l"/>
            <a:r>
              <a:rPr lang="en-US" sz="2600" b="0" dirty="0">
                <a:solidFill>
                  <a:schemeClr val="tx1"/>
                </a:solidFill>
              </a:rPr>
              <a:t>19</a:t>
            </a:r>
            <a:endParaRPr sz="2600" b="0" dirty="0">
              <a:solidFill>
                <a:schemeClr val="tx1"/>
              </a:solidFill>
            </a:endParaRPr>
          </a:p>
        </p:txBody>
      </p:sp>
      <p:sp>
        <p:nvSpPr>
          <p:cNvPr id="1814" name="TextBox 1813"/>
          <p:cNvSpPr txBox="1"/>
          <p:nvPr/>
        </p:nvSpPr>
        <p:spPr>
          <a:xfrm>
            <a:off x="15925635" y="7129272"/>
            <a:ext cx="3657362" cy="768096"/>
          </a:xfrm>
          <a:prstGeom prst="rect">
            <a:avLst/>
          </a:prstGeom>
          <a:noFill/>
        </p:spPr>
        <p:txBody>
          <a:bodyPr wrap="square" tIns="0" bIns="0" rtlCol="0" anchor="ctr">
            <a:noAutofit/>
          </a:bodyPr>
          <a:lstStyle/>
          <a:p>
            <a:pPr algn="l"/>
            <a:r>
              <a:rPr lang="en-US" sz="2600" b="0" dirty="0">
                <a:solidFill>
                  <a:schemeClr val="tx1"/>
                </a:solidFill>
              </a:rPr>
              <a:t>20</a:t>
            </a:r>
            <a:endParaRPr sz="2600" b="0" dirty="0">
              <a:solidFill>
                <a:schemeClr val="tx1"/>
              </a:solidFill>
            </a:endParaRPr>
          </a:p>
        </p:txBody>
      </p:sp>
      <p:sp>
        <p:nvSpPr>
          <p:cNvPr id="1815" name="TextBox 1814"/>
          <p:cNvSpPr txBox="1"/>
          <p:nvPr/>
        </p:nvSpPr>
        <p:spPr>
          <a:xfrm>
            <a:off x="19649854" y="7129272"/>
            <a:ext cx="3657362" cy="768096"/>
          </a:xfrm>
          <a:prstGeom prst="rect">
            <a:avLst/>
          </a:prstGeom>
          <a:noFill/>
        </p:spPr>
        <p:txBody>
          <a:bodyPr wrap="square" tIns="0" bIns="0" rtlCol="0" anchor="ctr">
            <a:noAutofit/>
          </a:bodyPr>
          <a:lstStyle/>
          <a:p>
            <a:pPr algn="l"/>
            <a:r>
              <a:rPr lang="en-US" sz="2600" b="0" dirty="0">
                <a:solidFill>
                  <a:schemeClr val="tx1"/>
                </a:solidFill>
              </a:rPr>
              <a:t>21/22</a:t>
            </a:r>
            <a:endParaRPr sz="2600" b="0" dirty="0">
              <a:solidFill>
                <a:schemeClr val="tx1"/>
              </a:solidFill>
            </a:endParaRPr>
          </a:p>
        </p:txBody>
      </p:sp>
      <p:sp>
        <p:nvSpPr>
          <p:cNvPr id="1816" name="TextBox 1815"/>
          <p:cNvSpPr txBox="1"/>
          <p:nvPr/>
        </p:nvSpPr>
        <p:spPr>
          <a:xfrm>
            <a:off x="1093025" y="8958072"/>
            <a:ext cx="3657362" cy="768096"/>
          </a:xfrm>
          <a:prstGeom prst="rect">
            <a:avLst/>
          </a:prstGeom>
          <a:noFill/>
        </p:spPr>
        <p:txBody>
          <a:bodyPr wrap="square" tIns="0" bIns="0" rtlCol="0" anchor="ctr">
            <a:noAutofit/>
          </a:bodyPr>
          <a:lstStyle/>
          <a:p>
            <a:pPr algn="l"/>
            <a:r>
              <a:rPr lang="en-US" sz="2600" b="0" dirty="0">
                <a:solidFill>
                  <a:schemeClr val="tx1"/>
                </a:solidFill>
              </a:rPr>
              <a:t>23</a:t>
            </a:r>
            <a:endParaRPr sz="2600" b="0" dirty="0">
              <a:solidFill>
                <a:schemeClr val="tx1"/>
              </a:solidFill>
            </a:endParaRPr>
          </a:p>
        </p:txBody>
      </p:sp>
      <p:sp>
        <p:nvSpPr>
          <p:cNvPr id="1817" name="TextBox 1816"/>
          <p:cNvSpPr txBox="1"/>
          <p:nvPr/>
        </p:nvSpPr>
        <p:spPr>
          <a:xfrm>
            <a:off x="4764373" y="8958072"/>
            <a:ext cx="3657362" cy="768096"/>
          </a:xfrm>
          <a:prstGeom prst="rect">
            <a:avLst/>
          </a:prstGeom>
          <a:noFill/>
        </p:spPr>
        <p:txBody>
          <a:bodyPr wrap="square" tIns="0" bIns="0" rtlCol="0" anchor="ctr">
            <a:noAutofit/>
          </a:bodyPr>
          <a:lstStyle/>
          <a:p>
            <a:pPr algn="l"/>
            <a:r>
              <a:rPr lang="en-US" sz="2600" b="0" dirty="0">
                <a:solidFill>
                  <a:schemeClr val="tx1"/>
                </a:solidFill>
              </a:rPr>
              <a:t>24</a:t>
            </a:r>
            <a:endParaRPr sz="2600" b="0" dirty="0">
              <a:solidFill>
                <a:schemeClr val="tx1"/>
              </a:solidFill>
            </a:endParaRPr>
          </a:p>
        </p:txBody>
      </p:sp>
      <p:sp>
        <p:nvSpPr>
          <p:cNvPr id="1818" name="TextBox 1817"/>
          <p:cNvSpPr txBox="1"/>
          <p:nvPr/>
        </p:nvSpPr>
        <p:spPr>
          <a:xfrm>
            <a:off x="8512830" y="8958072"/>
            <a:ext cx="3657362" cy="768096"/>
          </a:xfrm>
          <a:prstGeom prst="rect">
            <a:avLst/>
          </a:prstGeom>
          <a:noFill/>
        </p:spPr>
        <p:txBody>
          <a:bodyPr wrap="square" tIns="0" bIns="0" rtlCol="0" anchor="ctr">
            <a:noAutofit/>
          </a:bodyPr>
          <a:lstStyle/>
          <a:p>
            <a:pPr algn="l"/>
            <a:r>
              <a:rPr lang="en-US" sz="2600" b="0" dirty="0">
                <a:solidFill>
                  <a:schemeClr val="tx1"/>
                </a:solidFill>
              </a:rPr>
              <a:t>25</a:t>
            </a:r>
            <a:endParaRPr sz="2600" b="0" dirty="0">
              <a:solidFill>
                <a:schemeClr val="tx1"/>
              </a:solidFill>
            </a:endParaRPr>
          </a:p>
        </p:txBody>
      </p:sp>
      <p:sp>
        <p:nvSpPr>
          <p:cNvPr id="1819" name="TextBox 1818"/>
          <p:cNvSpPr txBox="1"/>
          <p:nvPr/>
        </p:nvSpPr>
        <p:spPr>
          <a:xfrm>
            <a:off x="12191204" y="8958072"/>
            <a:ext cx="3657362" cy="768096"/>
          </a:xfrm>
          <a:prstGeom prst="rect">
            <a:avLst/>
          </a:prstGeom>
          <a:noFill/>
        </p:spPr>
        <p:txBody>
          <a:bodyPr wrap="square" tIns="0" bIns="0" rtlCol="0" anchor="ctr">
            <a:noAutofit/>
          </a:bodyPr>
          <a:lstStyle/>
          <a:p>
            <a:pPr marL="0" marR="0" indent="0" algn="l" defTabSz="1828800" rtl="0" eaLnBrk="1" fontAlgn="auto" latinLnBrk="0" hangingPunct="1">
              <a:lnSpc>
                <a:spcPct val="100000"/>
              </a:lnSpc>
              <a:spcBef>
                <a:spcPts val="0"/>
              </a:spcBef>
              <a:spcAft>
                <a:spcPts val="0"/>
              </a:spcAft>
              <a:buClrTx/>
              <a:buSzTx/>
              <a:buFontTx/>
              <a:buNone/>
              <a:tabLst/>
              <a:defRPr/>
            </a:pPr>
            <a:r>
              <a:rPr lang="en-US" sz="2600" b="0" dirty="0">
                <a:solidFill>
                  <a:schemeClr val="tx1"/>
                </a:solidFill>
              </a:rPr>
              <a:t>26</a:t>
            </a:r>
          </a:p>
        </p:txBody>
      </p:sp>
      <p:sp>
        <p:nvSpPr>
          <p:cNvPr id="1820" name="TextBox 1819"/>
          <p:cNvSpPr txBox="1"/>
          <p:nvPr/>
        </p:nvSpPr>
        <p:spPr>
          <a:xfrm>
            <a:off x="15925635" y="8958072"/>
            <a:ext cx="3657362" cy="768096"/>
          </a:xfrm>
          <a:prstGeom prst="rect">
            <a:avLst/>
          </a:prstGeom>
          <a:noFill/>
        </p:spPr>
        <p:txBody>
          <a:bodyPr wrap="square" tIns="0" bIns="0" rtlCol="0" anchor="ctr">
            <a:noAutofit/>
          </a:bodyPr>
          <a:lstStyle>
            <a:defPPr>
              <a:defRPr lang="en-US"/>
            </a:defPPr>
            <a:lvl1pPr>
              <a:defRPr sz="1300" b="0"/>
            </a:lvl1pPr>
          </a:lstStyle>
          <a:p>
            <a:pPr lvl="0"/>
            <a:r>
              <a:rPr lang="en-US" sz="2600"/>
              <a:t>27</a:t>
            </a:r>
            <a:endParaRPr lang="en-US" sz="2600" dirty="0"/>
          </a:p>
        </p:txBody>
      </p:sp>
      <p:sp>
        <p:nvSpPr>
          <p:cNvPr id="1821" name="TextBox 1820"/>
          <p:cNvSpPr txBox="1"/>
          <p:nvPr/>
        </p:nvSpPr>
        <p:spPr>
          <a:xfrm>
            <a:off x="19649854" y="8958072"/>
            <a:ext cx="3657362" cy="768096"/>
          </a:xfrm>
          <a:prstGeom prst="rect">
            <a:avLst/>
          </a:prstGeom>
          <a:noFill/>
        </p:spPr>
        <p:txBody>
          <a:bodyPr wrap="square" tIns="0" bIns="0" rtlCol="0" anchor="ctr">
            <a:noAutofit/>
          </a:bodyPr>
          <a:lstStyle>
            <a:defPPr>
              <a:defRPr lang="en-US"/>
            </a:defPPr>
            <a:lvl1pPr lvl="0">
              <a:defRPr sz="1300" b="0"/>
            </a:lvl1pPr>
          </a:lstStyle>
          <a:p>
            <a:pPr lvl="0"/>
            <a:r>
              <a:rPr lang="en-US" sz="2600" dirty="0"/>
              <a:t>28/29</a:t>
            </a:r>
          </a:p>
        </p:txBody>
      </p:sp>
      <p:sp>
        <p:nvSpPr>
          <p:cNvPr id="1822" name="TextBox 1821"/>
          <p:cNvSpPr txBox="1"/>
          <p:nvPr/>
        </p:nvSpPr>
        <p:spPr>
          <a:xfrm>
            <a:off x="1093025" y="10805160"/>
            <a:ext cx="3657362" cy="768096"/>
          </a:xfrm>
          <a:prstGeom prst="rect">
            <a:avLst/>
          </a:prstGeom>
          <a:noFill/>
        </p:spPr>
        <p:txBody>
          <a:bodyPr wrap="square" tIns="0" bIns="0" rtlCol="0" anchor="ctr">
            <a:noAutofit/>
          </a:bodyPr>
          <a:lstStyle/>
          <a:p>
            <a:pPr algn="l"/>
            <a:r>
              <a:rPr lang="en-US" sz="2600" b="0" dirty="0">
                <a:solidFill>
                  <a:schemeClr val="bg1">
                    <a:lumMod val="50000"/>
                  </a:schemeClr>
                </a:solidFill>
              </a:rPr>
              <a:t>30</a:t>
            </a:r>
            <a:endParaRPr sz="2600" b="0" dirty="0">
              <a:solidFill>
                <a:schemeClr val="bg1">
                  <a:lumMod val="50000"/>
                </a:schemeClr>
              </a:solidFill>
            </a:endParaRPr>
          </a:p>
        </p:txBody>
      </p:sp>
      <p:sp>
        <p:nvSpPr>
          <p:cNvPr id="1823" name="TextBox 1822"/>
          <p:cNvSpPr txBox="1"/>
          <p:nvPr/>
        </p:nvSpPr>
        <p:spPr>
          <a:xfrm>
            <a:off x="4764373" y="10805160"/>
            <a:ext cx="3657362" cy="768096"/>
          </a:xfrm>
          <a:prstGeom prst="rect">
            <a:avLst/>
          </a:prstGeom>
          <a:noFill/>
        </p:spPr>
        <p:txBody>
          <a:bodyPr wrap="square" tIns="0" bIns="0" rtlCol="0" anchor="ctr">
            <a:noAutofit/>
          </a:bodyPr>
          <a:lstStyle>
            <a:defPPr>
              <a:defRPr lang="en-US"/>
            </a:defPPr>
            <a:lvl1pPr>
              <a:defRPr sz="1300" b="0">
                <a:solidFill>
                  <a:schemeClr val="bg1">
                    <a:lumMod val="50000"/>
                  </a:schemeClr>
                </a:solidFill>
              </a:defRPr>
            </a:lvl1pPr>
          </a:lstStyle>
          <a:p>
            <a:pPr lvl="0"/>
            <a:r>
              <a:rPr lang="en-US" sz="2600" dirty="0"/>
              <a:t>31	</a:t>
            </a:r>
          </a:p>
        </p:txBody>
      </p:sp>
      <p:sp>
        <p:nvSpPr>
          <p:cNvPr id="1824" name="TextBox 1823"/>
          <p:cNvSpPr txBox="1"/>
          <p:nvPr/>
        </p:nvSpPr>
        <p:spPr>
          <a:xfrm>
            <a:off x="8512833" y="1080516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1 January</a:t>
            </a:r>
            <a:endParaRPr sz="2600" b="0" dirty="0">
              <a:solidFill>
                <a:schemeClr val="bg2">
                  <a:lumMod val="90000"/>
                </a:schemeClr>
              </a:solidFill>
            </a:endParaRPr>
          </a:p>
        </p:txBody>
      </p:sp>
      <p:sp>
        <p:nvSpPr>
          <p:cNvPr id="1825" name="TextBox 1824"/>
          <p:cNvSpPr txBox="1"/>
          <p:nvPr/>
        </p:nvSpPr>
        <p:spPr>
          <a:xfrm>
            <a:off x="12109049" y="10897742"/>
            <a:ext cx="3657362" cy="564644"/>
          </a:xfrm>
          <a:prstGeom prst="rect">
            <a:avLst/>
          </a:prstGeom>
          <a:noFill/>
        </p:spPr>
        <p:txBody>
          <a:bodyPr wrap="square" tIns="0" bIns="0" rtlCol="0" anchor="ctr">
            <a:noAutofit/>
          </a:bodyPr>
          <a:lstStyle/>
          <a:p>
            <a:pPr algn="l"/>
            <a:r>
              <a:rPr lang="en-US" sz="2600" b="0" dirty="0">
                <a:solidFill>
                  <a:schemeClr val="bg2">
                    <a:lumMod val="90000"/>
                  </a:schemeClr>
                </a:solidFill>
              </a:rPr>
              <a:t>2</a:t>
            </a:r>
            <a:endParaRPr sz="2600" b="0" dirty="0">
              <a:solidFill>
                <a:schemeClr val="bg2">
                  <a:lumMod val="90000"/>
                </a:schemeClr>
              </a:solidFill>
            </a:endParaRPr>
          </a:p>
        </p:txBody>
      </p:sp>
      <p:sp>
        <p:nvSpPr>
          <p:cNvPr id="1826" name="TextBox 1825"/>
          <p:cNvSpPr txBox="1"/>
          <p:nvPr/>
        </p:nvSpPr>
        <p:spPr>
          <a:xfrm>
            <a:off x="15925635" y="10805160"/>
            <a:ext cx="3657362" cy="768096"/>
          </a:xfrm>
          <a:prstGeom prst="rect">
            <a:avLst/>
          </a:prstGeom>
          <a:noFill/>
        </p:spPr>
        <p:txBody>
          <a:bodyPr wrap="square" tIns="0" bIns="0" rtlCol="0" anchor="ctr">
            <a:noAutofit/>
          </a:bodyPr>
          <a:lstStyle/>
          <a:p>
            <a:pPr algn="l"/>
            <a:r>
              <a:rPr lang="en-US" sz="2600" b="0">
                <a:solidFill>
                  <a:schemeClr val="bg2">
                    <a:lumMod val="90000"/>
                  </a:schemeClr>
                </a:solidFill>
              </a:rPr>
              <a:t>3</a:t>
            </a:r>
            <a:endParaRPr sz="2600" b="0" dirty="0">
              <a:solidFill>
                <a:schemeClr val="bg2">
                  <a:lumMod val="90000"/>
                </a:schemeClr>
              </a:solidFill>
            </a:endParaRPr>
          </a:p>
        </p:txBody>
      </p:sp>
      <p:sp>
        <p:nvSpPr>
          <p:cNvPr id="1827" name="TextBox 1826"/>
          <p:cNvSpPr txBox="1"/>
          <p:nvPr/>
        </p:nvSpPr>
        <p:spPr>
          <a:xfrm>
            <a:off x="19649854" y="10805160"/>
            <a:ext cx="3657362" cy="768096"/>
          </a:xfrm>
          <a:prstGeom prst="rect">
            <a:avLst/>
          </a:prstGeom>
          <a:noFill/>
        </p:spPr>
        <p:txBody>
          <a:bodyPr wrap="square" tIns="0" bIns="0" rtlCol="0" anchor="ctr">
            <a:noAutofit/>
          </a:bodyPr>
          <a:lstStyle/>
          <a:p>
            <a:pPr algn="l"/>
            <a:r>
              <a:rPr lang="en-US" sz="2600" b="0" dirty="0">
                <a:solidFill>
                  <a:schemeClr val="bg2">
                    <a:lumMod val="90000"/>
                  </a:schemeClr>
                </a:solidFill>
              </a:rPr>
              <a:t>4/5</a:t>
            </a:r>
            <a:endParaRPr sz="2600" b="0" dirty="0">
              <a:solidFill>
                <a:schemeClr val="bg2">
                  <a:lumMod val="90000"/>
                </a:schemeClr>
              </a:solidFill>
            </a:endParaRPr>
          </a:p>
        </p:txBody>
      </p:sp>
      <p:sp>
        <p:nvSpPr>
          <p:cNvPr id="1828" name="TextBox 1827"/>
          <p:cNvSpPr txBox="1"/>
          <p:nvPr/>
        </p:nvSpPr>
        <p:spPr>
          <a:xfrm>
            <a:off x="956671" y="304800"/>
            <a:ext cx="22350545" cy="1398084"/>
          </a:xfrm>
          <a:prstGeom prst="rect">
            <a:avLst/>
          </a:prstGeom>
          <a:noFill/>
        </p:spPr>
        <p:txBody>
          <a:bodyPr wrap="square" tIns="0" bIns="0" rtlCol="0" anchor="ctr">
            <a:noAutofit/>
          </a:bodyPr>
          <a:lstStyle/>
          <a:p>
            <a:pPr algn="l"/>
            <a:r>
              <a:rPr lang="en-US" sz="4400" b="0" dirty="0">
                <a:solidFill>
                  <a:schemeClr val="accent1"/>
                </a:solidFill>
              </a:rPr>
              <a:t>D</a:t>
            </a:r>
            <a:r>
              <a:rPr sz="4400" b="0" dirty="0">
                <a:solidFill>
                  <a:schemeClr val="accent1"/>
                </a:solidFill>
              </a:rPr>
              <a:t>ecember</a:t>
            </a:r>
          </a:p>
        </p:txBody>
      </p:sp>
      <p:sp>
        <p:nvSpPr>
          <p:cNvPr id="40" name="Text Placeholder 2"/>
          <p:cNvSpPr>
            <a:spLocks noGrp="1"/>
          </p:cNvSpPr>
          <p:nvPr>
            <p:ph type="body" sz="quarter" idx="11" hasCustomPrompt="1"/>
          </p:nvPr>
        </p:nvSpPr>
        <p:spPr>
          <a:xfrm>
            <a:off x="1048444"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6" name="Text Placeholder 2"/>
          <p:cNvSpPr>
            <a:spLocks noGrp="1"/>
          </p:cNvSpPr>
          <p:nvPr>
            <p:ph type="body" sz="quarter" idx="17" hasCustomPrompt="1"/>
          </p:nvPr>
        </p:nvSpPr>
        <p:spPr>
          <a:xfrm>
            <a:off x="4754571"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2" name="Text Placeholder 2"/>
          <p:cNvSpPr>
            <a:spLocks noGrp="1"/>
          </p:cNvSpPr>
          <p:nvPr>
            <p:ph type="body" sz="quarter" idx="23" hasCustomPrompt="1"/>
          </p:nvPr>
        </p:nvSpPr>
        <p:spPr>
          <a:xfrm>
            <a:off x="8485080"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8" name="Text Placeholder 2"/>
          <p:cNvSpPr>
            <a:spLocks noGrp="1"/>
          </p:cNvSpPr>
          <p:nvPr>
            <p:ph type="body" sz="quarter" idx="29" hasCustomPrompt="1"/>
          </p:nvPr>
        </p:nvSpPr>
        <p:spPr>
          <a:xfrm>
            <a:off x="12220346"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4" name="Text Placeholder 2"/>
          <p:cNvSpPr>
            <a:spLocks noGrp="1"/>
          </p:cNvSpPr>
          <p:nvPr>
            <p:ph type="body" sz="quarter" idx="35" hasCustomPrompt="1"/>
          </p:nvPr>
        </p:nvSpPr>
        <p:spPr>
          <a:xfrm>
            <a:off x="15935099"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0" name="Text Placeholder 2"/>
          <p:cNvSpPr>
            <a:spLocks noGrp="1"/>
          </p:cNvSpPr>
          <p:nvPr>
            <p:ph type="body" sz="quarter" idx="41" hasCustomPrompt="1"/>
          </p:nvPr>
        </p:nvSpPr>
        <p:spPr>
          <a:xfrm>
            <a:off x="19676607" y="22098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39" name="Text Placeholder 2"/>
          <p:cNvSpPr>
            <a:spLocks noGrp="1"/>
          </p:cNvSpPr>
          <p:nvPr>
            <p:ph type="body" sz="quarter" idx="10" hasCustomPrompt="1"/>
          </p:nvPr>
        </p:nvSpPr>
        <p:spPr>
          <a:xfrm>
            <a:off x="1048444"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5" name="Text Placeholder 2"/>
          <p:cNvSpPr>
            <a:spLocks noGrp="1"/>
          </p:cNvSpPr>
          <p:nvPr>
            <p:ph type="body" sz="quarter" idx="16" hasCustomPrompt="1"/>
          </p:nvPr>
        </p:nvSpPr>
        <p:spPr>
          <a:xfrm>
            <a:off x="4754571"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1" name="Text Placeholder 2"/>
          <p:cNvSpPr>
            <a:spLocks noGrp="1"/>
          </p:cNvSpPr>
          <p:nvPr>
            <p:ph type="body" sz="quarter" idx="22" hasCustomPrompt="1"/>
          </p:nvPr>
        </p:nvSpPr>
        <p:spPr>
          <a:xfrm>
            <a:off x="8485080"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7" name="Text Placeholder 2"/>
          <p:cNvSpPr>
            <a:spLocks noGrp="1"/>
          </p:cNvSpPr>
          <p:nvPr>
            <p:ph type="body" sz="quarter" idx="28" hasCustomPrompt="1"/>
          </p:nvPr>
        </p:nvSpPr>
        <p:spPr>
          <a:xfrm>
            <a:off x="12220346"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3" name="Text Placeholder 2"/>
          <p:cNvSpPr>
            <a:spLocks noGrp="1"/>
          </p:cNvSpPr>
          <p:nvPr>
            <p:ph type="body" sz="quarter" idx="34" hasCustomPrompt="1"/>
          </p:nvPr>
        </p:nvSpPr>
        <p:spPr>
          <a:xfrm>
            <a:off x="15935099"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9" name="Text Placeholder 2"/>
          <p:cNvSpPr>
            <a:spLocks noGrp="1"/>
          </p:cNvSpPr>
          <p:nvPr>
            <p:ph type="body" sz="quarter" idx="40" hasCustomPrompt="1"/>
          </p:nvPr>
        </p:nvSpPr>
        <p:spPr>
          <a:xfrm>
            <a:off x="19676607" y="40386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1" name="Text Placeholder 2"/>
          <p:cNvSpPr>
            <a:spLocks noGrp="1"/>
          </p:cNvSpPr>
          <p:nvPr>
            <p:ph type="body" sz="quarter" idx="12" hasCustomPrompt="1"/>
          </p:nvPr>
        </p:nvSpPr>
        <p:spPr>
          <a:xfrm>
            <a:off x="1048444"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7" name="Text Placeholder 2"/>
          <p:cNvSpPr>
            <a:spLocks noGrp="1"/>
          </p:cNvSpPr>
          <p:nvPr>
            <p:ph type="body" sz="quarter" idx="18" hasCustomPrompt="1"/>
          </p:nvPr>
        </p:nvSpPr>
        <p:spPr>
          <a:xfrm>
            <a:off x="4754571"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3" name="Text Placeholder 2"/>
          <p:cNvSpPr>
            <a:spLocks noGrp="1"/>
          </p:cNvSpPr>
          <p:nvPr>
            <p:ph type="body" sz="quarter" idx="24" hasCustomPrompt="1"/>
          </p:nvPr>
        </p:nvSpPr>
        <p:spPr>
          <a:xfrm>
            <a:off x="8485080"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9" name="Text Placeholder 2"/>
          <p:cNvSpPr>
            <a:spLocks noGrp="1"/>
          </p:cNvSpPr>
          <p:nvPr>
            <p:ph type="body" sz="quarter" idx="30" hasCustomPrompt="1"/>
          </p:nvPr>
        </p:nvSpPr>
        <p:spPr>
          <a:xfrm>
            <a:off x="12220346"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5" name="Text Placeholder 2"/>
          <p:cNvSpPr>
            <a:spLocks noGrp="1"/>
          </p:cNvSpPr>
          <p:nvPr>
            <p:ph type="body" sz="quarter" idx="36" hasCustomPrompt="1"/>
          </p:nvPr>
        </p:nvSpPr>
        <p:spPr>
          <a:xfrm>
            <a:off x="15935099"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1" name="Text Placeholder 2"/>
          <p:cNvSpPr>
            <a:spLocks noGrp="1"/>
          </p:cNvSpPr>
          <p:nvPr>
            <p:ph type="body" sz="quarter" idx="42" hasCustomPrompt="1"/>
          </p:nvPr>
        </p:nvSpPr>
        <p:spPr>
          <a:xfrm>
            <a:off x="19676607" y="58674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2" name="Text Placeholder 2"/>
          <p:cNvSpPr>
            <a:spLocks noGrp="1"/>
          </p:cNvSpPr>
          <p:nvPr>
            <p:ph type="body" sz="quarter" idx="13" hasCustomPrompt="1"/>
          </p:nvPr>
        </p:nvSpPr>
        <p:spPr>
          <a:xfrm>
            <a:off x="1048444"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8" name="Text Placeholder 2"/>
          <p:cNvSpPr>
            <a:spLocks noGrp="1"/>
          </p:cNvSpPr>
          <p:nvPr>
            <p:ph type="body" sz="quarter" idx="19" hasCustomPrompt="1"/>
          </p:nvPr>
        </p:nvSpPr>
        <p:spPr>
          <a:xfrm>
            <a:off x="4754571"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4" name="Text Placeholder 2"/>
          <p:cNvSpPr>
            <a:spLocks noGrp="1"/>
          </p:cNvSpPr>
          <p:nvPr>
            <p:ph type="body" sz="quarter" idx="25" hasCustomPrompt="1"/>
          </p:nvPr>
        </p:nvSpPr>
        <p:spPr>
          <a:xfrm>
            <a:off x="8485080"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0" name="Text Placeholder 2"/>
          <p:cNvSpPr>
            <a:spLocks noGrp="1"/>
          </p:cNvSpPr>
          <p:nvPr>
            <p:ph type="body" sz="quarter" idx="31" hasCustomPrompt="1"/>
          </p:nvPr>
        </p:nvSpPr>
        <p:spPr>
          <a:xfrm>
            <a:off x="12220346"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6" name="Text Placeholder 2"/>
          <p:cNvSpPr>
            <a:spLocks noGrp="1"/>
          </p:cNvSpPr>
          <p:nvPr>
            <p:ph type="body" sz="quarter" idx="37" hasCustomPrompt="1"/>
          </p:nvPr>
        </p:nvSpPr>
        <p:spPr>
          <a:xfrm>
            <a:off x="15935099"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2" name="Text Placeholder 2"/>
          <p:cNvSpPr>
            <a:spLocks noGrp="1"/>
          </p:cNvSpPr>
          <p:nvPr>
            <p:ph type="body" sz="quarter" idx="43" hasCustomPrompt="1"/>
          </p:nvPr>
        </p:nvSpPr>
        <p:spPr>
          <a:xfrm>
            <a:off x="19676607" y="76962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3" name="Text Placeholder 2"/>
          <p:cNvSpPr>
            <a:spLocks noGrp="1"/>
          </p:cNvSpPr>
          <p:nvPr>
            <p:ph type="body" sz="quarter" idx="14" hasCustomPrompt="1"/>
          </p:nvPr>
        </p:nvSpPr>
        <p:spPr>
          <a:xfrm>
            <a:off x="1048444"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9" name="Text Placeholder 2"/>
          <p:cNvSpPr>
            <a:spLocks noGrp="1"/>
          </p:cNvSpPr>
          <p:nvPr>
            <p:ph type="body" sz="quarter" idx="20" hasCustomPrompt="1"/>
          </p:nvPr>
        </p:nvSpPr>
        <p:spPr>
          <a:xfrm>
            <a:off x="4754571"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5" name="Text Placeholder 2"/>
          <p:cNvSpPr>
            <a:spLocks noGrp="1"/>
          </p:cNvSpPr>
          <p:nvPr>
            <p:ph type="body" sz="quarter" idx="26" hasCustomPrompt="1"/>
          </p:nvPr>
        </p:nvSpPr>
        <p:spPr>
          <a:xfrm>
            <a:off x="8485080"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1" name="Text Placeholder 2"/>
          <p:cNvSpPr>
            <a:spLocks noGrp="1"/>
          </p:cNvSpPr>
          <p:nvPr>
            <p:ph type="body" sz="quarter" idx="32" hasCustomPrompt="1"/>
          </p:nvPr>
        </p:nvSpPr>
        <p:spPr>
          <a:xfrm>
            <a:off x="12220346"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7" name="Text Placeholder 2"/>
          <p:cNvSpPr>
            <a:spLocks noGrp="1"/>
          </p:cNvSpPr>
          <p:nvPr>
            <p:ph type="body" sz="quarter" idx="38" hasCustomPrompt="1"/>
          </p:nvPr>
        </p:nvSpPr>
        <p:spPr>
          <a:xfrm>
            <a:off x="15935099"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3" name="Text Placeholder 2"/>
          <p:cNvSpPr>
            <a:spLocks noGrp="1"/>
          </p:cNvSpPr>
          <p:nvPr>
            <p:ph type="body" sz="quarter" idx="44" hasCustomPrompt="1"/>
          </p:nvPr>
        </p:nvSpPr>
        <p:spPr>
          <a:xfrm>
            <a:off x="19676607" y="9525001"/>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44" name="Text Placeholder 2"/>
          <p:cNvSpPr>
            <a:spLocks noGrp="1"/>
          </p:cNvSpPr>
          <p:nvPr>
            <p:ph type="body" sz="quarter" idx="15" hasCustomPrompt="1"/>
          </p:nvPr>
        </p:nvSpPr>
        <p:spPr>
          <a:xfrm>
            <a:off x="1048444"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0" name="Text Placeholder 2"/>
          <p:cNvSpPr>
            <a:spLocks noGrp="1"/>
          </p:cNvSpPr>
          <p:nvPr>
            <p:ph type="body" sz="quarter" idx="21" hasCustomPrompt="1"/>
          </p:nvPr>
        </p:nvSpPr>
        <p:spPr>
          <a:xfrm>
            <a:off x="4754571"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56" name="Text Placeholder 2"/>
          <p:cNvSpPr>
            <a:spLocks noGrp="1"/>
          </p:cNvSpPr>
          <p:nvPr>
            <p:ph type="body" sz="quarter" idx="27" hasCustomPrompt="1"/>
          </p:nvPr>
        </p:nvSpPr>
        <p:spPr>
          <a:xfrm>
            <a:off x="8485080"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2" name="Text Placeholder 2"/>
          <p:cNvSpPr>
            <a:spLocks noGrp="1"/>
          </p:cNvSpPr>
          <p:nvPr>
            <p:ph type="body" sz="quarter" idx="33" hasCustomPrompt="1"/>
          </p:nvPr>
        </p:nvSpPr>
        <p:spPr>
          <a:xfrm>
            <a:off x="12220346"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68" name="Text Placeholder 2"/>
          <p:cNvSpPr>
            <a:spLocks noGrp="1"/>
          </p:cNvSpPr>
          <p:nvPr>
            <p:ph type="body" sz="quarter" idx="39" hasCustomPrompt="1"/>
          </p:nvPr>
        </p:nvSpPr>
        <p:spPr>
          <a:xfrm>
            <a:off x="15935099"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4" name="Text Placeholder 2"/>
          <p:cNvSpPr>
            <a:spLocks noGrp="1"/>
          </p:cNvSpPr>
          <p:nvPr>
            <p:ph type="body" sz="quarter" idx="45" hasCustomPrompt="1"/>
          </p:nvPr>
        </p:nvSpPr>
        <p:spPr>
          <a:xfrm>
            <a:off x="19676607" y="11372089"/>
            <a:ext cx="3674294" cy="1372742"/>
          </a:xfrm>
          <a:prstGeom prst="rect">
            <a:avLst/>
          </a:prstGeom>
        </p:spPr>
        <p:txBody>
          <a:bodyPr>
            <a:noAutofit/>
          </a:bodyPr>
          <a:lstStyle>
            <a:lvl1pPr marL="0" indent="0">
              <a:lnSpc>
                <a:spcPct val="85000"/>
              </a:lnSpc>
              <a:spcBef>
                <a:spcPts val="0"/>
              </a:spcBef>
              <a:buNone/>
              <a:defRPr sz="1800"/>
            </a:lvl1pPr>
            <a:lvl2pPr marL="0" indent="0">
              <a:lnSpc>
                <a:spcPct val="85000"/>
              </a:lnSpc>
              <a:spcBef>
                <a:spcPts val="0"/>
              </a:spcBef>
              <a:buNone/>
              <a:defRPr sz="1800"/>
            </a:lvl2pPr>
            <a:lvl3pPr marL="0" indent="0">
              <a:lnSpc>
                <a:spcPct val="85000"/>
              </a:lnSpc>
              <a:spcBef>
                <a:spcPts val="0"/>
              </a:spcBef>
              <a:buNone/>
              <a:defRPr sz="1800"/>
            </a:lvl3pPr>
            <a:lvl4pPr marL="0" indent="0">
              <a:lnSpc>
                <a:spcPct val="85000"/>
              </a:lnSpc>
              <a:spcBef>
                <a:spcPts val="0"/>
              </a:spcBef>
              <a:buNone/>
              <a:defRPr sz="1800"/>
            </a:lvl4pPr>
            <a:lvl5pPr marL="0" indent="0">
              <a:lnSpc>
                <a:spcPct val="85000"/>
              </a:lnSpc>
              <a:spcBef>
                <a:spcPts val="0"/>
              </a:spcBef>
              <a:buNone/>
              <a:defRPr sz="1800"/>
            </a:lvl5pPr>
          </a:lstStyle>
          <a:p>
            <a:pPr lvl="0"/>
            <a:r>
              <a:rPr lang="en-US" dirty="0"/>
              <a:t>Click to add text</a:t>
            </a:r>
          </a:p>
        </p:txBody>
      </p:sp>
      <p:sp>
        <p:nvSpPr>
          <p:cNvPr id="78" name="TextBox 77">
            <a:extLst>
              <a:ext uri="{FF2B5EF4-FFF2-40B4-BE49-F238E27FC236}">
                <a16:creationId xmlns:a16="http://schemas.microsoft.com/office/drawing/2014/main" id="{E0A3688A-DE6B-604E-B989-E66968416D23}"/>
              </a:ext>
            </a:extLst>
          </p:cNvPr>
          <p:cNvSpPr txBox="1"/>
          <p:nvPr userDrawn="1"/>
        </p:nvSpPr>
        <p:spPr>
          <a:xfrm>
            <a:off x="954662" y="1399713"/>
            <a:ext cx="1638300" cy="461665"/>
          </a:xfrm>
          <a:prstGeom prst="rect">
            <a:avLst/>
          </a:prstGeom>
          <a:noFill/>
        </p:spPr>
        <p:txBody>
          <a:bodyPr wrap="square" rtlCol="0">
            <a:spAutoFit/>
          </a:bodyPr>
          <a:lstStyle/>
          <a:p>
            <a:r>
              <a:rPr lang="en-US" sz="2400" b="1" dirty="0">
                <a:solidFill>
                  <a:schemeClr val="accent1"/>
                </a:solidFill>
              </a:rPr>
              <a:t>Monday</a:t>
            </a:r>
          </a:p>
        </p:txBody>
      </p:sp>
      <p:sp>
        <p:nvSpPr>
          <p:cNvPr id="79" name="TextBox 78">
            <a:extLst>
              <a:ext uri="{FF2B5EF4-FFF2-40B4-BE49-F238E27FC236}">
                <a16:creationId xmlns:a16="http://schemas.microsoft.com/office/drawing/2014/main" id="{2DF1F582-4E95-9F43-93FA-892FCC768FBD}"/>
              </a:ext>
            </a:extLst>
          </p:cNvPr>
          <p:cNvSpPr txBox="1"/>
          <p:nvPr userDrawn="1"/>
        </p:nvSpPr>
        <p:spPr>
          <a:xfrm>
            <a:off x="4688462" y="1399713"/>
            <a:ext cx="1638300" cy="461665"/>
          </a:xfrm>
          <a:prstGeom prst="rect">
            <a:avLst/>
          </a:prstGeom>
          <a:noFill/>
        </p:spPr>
        <p:txBody>
          <a:bodyPr wrap="square" rtlCol="0">
            <a:spAutoFit/>
          </a:bodyPr>
          <a:lstStyle/>
          <a:p>
            <a:r>
              <a:rPr lang="en-US" sz="2400" b="1" dirty="0">
                <a:solidFill>
                  <a:schemeClr val="accent1"/>
                </a:solidFill>
              </a:rPr>
              <a:t>Tuesday</a:t>
            </a:r>
          </a:p>
        </p:txBody>
      </p:sp>
      <p:sp>
        <p:nvSpPr>
          <p:cNvPr id="80" name="TextBox 79">
            <a:extLst>
              <a:ext uri="{FF2B5EF4-FFF2-40B4-BE49-F238E27FC236}">
                <a16:creationId xmlns:a16="http://schemas.microsoft.com/office/drawing/2014/main" id="{29C6A7EF-2F53-8646-B572-3E5A352349A0}"/>
              </a:ext>
            </a:extLst>
          </p:cNvPr>
          <p:cNvSpPr txBox="1"/>
          <p:nvPr userDrawn="1"/>
        </p:nvSpPr>
        <p:spPr>
          <a:xfrm>
            <a:off x="8365112" y="1399713"/>
            <a:ext cx="2741038" cy="461665"/>
          </a:xfrm>
          <a:prstGeom prst="rect">
            <a:avLst/>
          </a:prstGeom>
          <a:noFill/>
        </p:spPr>
        <p:txBody>
          <a:bodyPr wrap="square" rtlCol="0">
            <a:spAutoFit/>
          </a:bodyPr>
          <a:lstStyle/>
          <a:p>
            <a:r>
              <a:rPr lang="en-US" sz="2400" b="1" dirty="0">
                <a:solidFill>
                  <a:schemeClr val="accent1"/>
                </a:solidFill>
              </a:rPr>
              <a:t>Wednesday</a:t>
            </a:r>
          </a:p>
        </p:txBody>
      </p:sp>
      <p:sp>
        <p:nvSpPr>
          <p:cNvPr id="81" name="TextBox 80">
            <a:extLst>
              <a:ext uri="{FF2B5EF4-FFF2-40B4-BE49-F238E27FC236}">
                <a16:creationId xmlns:a16="http://schemas.microsoft.com/office/drawing/2014/main" id="{D4837E79-B4EE-4948-87FE-CC76AFEE9DBA}"/>
              </a:ext>
            </a:extLst>
          </p:cNvPr>
          <p:cNvSpPr txBox="1"/>
          <p:nvPr userDrawn="1"/>
        </p:nvSpPr>
        <p:spPr>
          <a:xfrm>
            <a:off x="12137012" y="1399713"/>
            <a:ext cx="1638300" cy="461665"/>
          </a:xfrm>
          <a:prstGeom prst="rect">
            <a:avLst/>
          </a:prstGeom>
          <a:noFill/>
        </p:spPr>
        <p:txBody>
          <a:bodyPr wrap="square" rtlCol="0">
            <a:spAutoFit/>
          </a:bodyPr>
          <a:lstStyle/>
          <a:p>
            <a:r>
              <a:rPr lang="en-US" sz="2400" b="1" dirty="0">
                <a:solidFill>
                  <a:schemeClr val="accent1"/>
                </a:solidFill>
              </a:rPr>
              <a:t>Thursday</a:t>
            </a:r>
          </a:p>
        </p:txBody>
      </p:sp>
      <p:sp>
        <p:nvSpPr>
          <p:cNvPr id="82" name="TextBox 81">
            <a:extLst>
              <a:ext uri="{FF2B5EF4-FFF2-40B4-BE49-F238E27FC236}">
                <a16:creationId xmlns:a16="http://schemas.microsoft.com/office/drawing/2014/main" id="{B55F802C-068E-5F45-A939-2CAC57FA6BBB}"/>
              </a:ext>
            </a:extLst>
          </p:cNvPr>
          <p:cNvSpPr txBox="1"/>
          <p:nvPr userDrawn="1"/>
        </p:nvSpPr>
        <p:spPr>
          <a:xfrm>
            <a:off x="15870812" y="1399713"/>
            <a:ext cx="1638300" cy="461665"/>
          </a:xfrm>
          <a:prstGeom prst="rect">
            <a:avLst/>
          </a:prstGeom>
          <a:noFill/>
        </p:spPr>
        <p:txBody>
          <a:bodyPr wrap="square" rtlCol="0">
            <a:spAutoFit/>
          </a:bodyPr>
          <a:lstStyle/>
          <a:p>
            <a:r>
              <a:rPr lang="en-US" sz="2400" b="1" dirty="0">
                <a:solidFill>
                  <a:schemeClr val="accent1"/>
                </a:solidFill>
              </a:rPr>
              <a:t>Friday</a:t>
            </a:r>
          </a:p>
        </p:txBody>
      </p:sp>
      <p:sp>
        <p:nvSpPr>
          <p:cNvPr id="83" name="TextBox 82">
            <a:extLst>
              <a:ext uri="{FF2B5EF4-FFF2-40B4-BE49-F238E27FC236}">
                <a16:creationId xmlns:a16="http://schemas.microsoft.com/office/drawing/2014/main" id="{85B355FA-BDCE-454F-AA43-866FA44834F5}"/>
              </a:ext>
            </a:extLst>
          </p:cNvPr>
          <p:cNvSpPr txBox="1"/>
          <p:nvPr userDrawn="1"/>
        </p:nvSpPr>
        <p:spPr>
          <a:xfrm>
            <a:off x="19585562" y="1399713"/>
            <a:ext cx="1638300" cy="461665"/>
          </a:xfrm>
          <a:prstGeom prst="rect">
            <a:avLst/>
          </a:prstGeom>
          <a:noFill/>
        </p:spPr>
        <p:txBody>
          <a:bodyPr wrap="square" rtlCol="0">
            <a:spAutoFit/>
          </a:bodyPr>
          <a:lstStyle/>
          <a:p>
            <a:r>
              <a:rPr lang="en-US" sz="2400" b="1" dirty="0">
                <a:solidFill>
                  <a:schemeClr val="accent1"/>
                </a:solidFill>
              </a:rPr>
              <a:t>Sunday</a:t>
            </a:r>
          </a:p>
        </p:txBody>
      </p:sp>
    </p:spTree>
    <p:extLst>
      <p:ext uri="{BB962C8B-B14F-4D97-AF65-F5344CB8AC3E}">
        <p14:creationId xmlns:p14="http://schemas.microsoft.com/office/powerpoint/2010/main" val="18395125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C5CE8F7-5714-4A3B-997A-B29875DB4A8C}"/>
              </a:ext>
            </a:extLst>
          </p:cNvPr>
          <p:cNvSpPr>
            <a:spLocks noGrp="1"/>
          </p:cNvSpPr>
          <p:nvPr>
            <p:ph type="pic" sz="quarter" idx="10"/>
          </p:nvPr>
        </p:nvSpPr>
        <p:spPr>
          <a:xfrm>
            <a:off x="2" y="1828800"/>
            <a:ext cx="24382409" cy="7315200"/>
          </a:xfrm>
          <a:prstGeom prst="rect">
            <a:avLst/>
          </a:prstGeom>
        </p:spPr>
        <p:txBody>
          <a:bodyPr/>
          <a:lstStyle>
            <a:lvl1pPr marL="0" indent="0" algn="ctr">
              <a:buNone/>
              <a:defRPr sz="3600">
                <a:solidFill>
                  <a:schemeClr val="bg1">
                    <a:lumMod val="75000"/>
                  </a:schemeClr>
                </a:solidFill>
              </a:defRPr>
            </a:lvl1pPr>
          </a:lstStyle>
          <a:p>
            <a:endParaRPr lang="en-US"/>
          </a:p>
        </p:txBody>
      </p:sp>
    </p:spTree>
    <p:extLst>
      <p:ext uri="{BB962C8B-B14F-4D97-AF65-F5344CB8AC3E}">
        <p14:creationId xmlns:p14="http://schemas.microsoft.com/office/powerpoint/2010/main" val="40947651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1_Custom Layout">
    <p:spTree>
      <p:nvGrpSpPr>
        <p:cNvPr id="1" name=""/>
        <p:cNvGrpSpPr/>
        <p:nvPr/>
      </p:nvGrpSpPr>
      <p:grpSpPr>
        <a:xfrm>
          <a:off x="0" y="0"/>
          <a:ext cx="0" cy="0"/>
          <a:chOff x="0" y="0"/>
          <a:chExt cx="0" cy="0"/>
        </a:xfrm>
      </p:grpSpPr>
      <p:sp>
        <p:nvSpPr>
          <p:cNvPr id="197" name="Picture Placeholder 8"/>
          <p:cNvSpPr>
            <a:spLocks noGrp="1"/>
          </p:cNvSpPr>
          <p:nvPr>
            <p:ph type="pic" idx="13"/>
          </p:nvPr>
        </p:nvSpPr>
        <p:spPr>
          <a:xfrm>
            <a:off x="1332772" y="1219733"/>
            <a:ext cx="21716872" cy="11276538"/>
          </a:xfrm>
          <a:prstGeom prst="rect">
            <a:avLst/>
          </a:prstGeom>
        </p:spPr>
        <p:txBody>
          <a:bodyPr lIns="91439" rIns="91439">
            <a:noAutofit/>
          </a:bodyPr>
          <a:lstStyle/>
          <a:p>
            <a:endParaRPr/>
          </a:p>
        </p:txBody>
      </p:sp>
      <p:sp>
        <p:nvSpPr>
          <p:cNvPr id="19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24749530"/>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24382413" cy="13716000"/>
          </a:xfrm>
          <a:solidFill>
            <a:schemeClr val="bg2">
              <a:lumMod val="85000"/>
            </a:schemeClr>
          </a:solidFill>
        </p:spPr>
        <p:txBody>
          <a:bodyPr/>
          <a:lstStyle/>
          <a:p>
            <a:endParaRPr lang="en-US"/>
          </a:p>
        </p:txBody>
      </p:sp>
    </p:spTree>
    <p:extLst>
      <p:ext uri="{BB962C8B-B14F-4D97-AF65-F5344CB8AC3E}">
        <p14:creationId xmlns:p14="http://schemas.microsoft.com/office/powerpoint/2010/main" val="18320512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11" name="Content Placeholder 2"/>
          <p:cNvSpPr>
            <a:spLocks noGrp="1"/>
          </p:cNvSpPr>
          <p:nvPr>
            <p:ph idx="11"/>
          </p:nvPr>
        </p:nvSpPr>
        <p:spPr>
          <a:xfrm>
            <a:off x="1111626" y="2862265"/>
            <a:ext cx="10693180" cy="9467850"/>
          </a:xfrm>
        </p:spPr>
        <p:txBody>
          <a:bodyPr/>
          <a:lstStyle>
            <a:lvl1pPr>
              <a:defRPr sz="5000"/>
            </a:lvl1pPr>
            <a:lvl2pPr>
              <a:defRPr sz="4000"/>
            </a:lvl2pPr>
            <a:lvl3pPr>
              <a:defRPr sz="3200"/>
            </a:lvl3pPr>
            <a:lvl4pPr>
              <a:defRPr sz="3400"/>
            </a:lvl4pPr>
            <a:lvl5pPr>
              <a:defRPr sz="2800"/>
            </a:lvl5pPr>
            <a:lvl6pPr>
              <a:buFont typeface="Wingdings" pitchFamily="2" charset="2"/>
              <a:buChar char="§"/>
              <a:defRPr sz="4800" baseline="0"/>
            </a:lvl6pPr>
            <a:lvl7pPr>
              <a:buFont typeface="Wingdings" pitchFamily="2" charset="2"/>
              <a:buChar char="§"/>
              <a:defRPr sz="4800"/>
            </a:lvl7pPr>
            <a:lvl8pPr>
              <a:buFont typeface="Wingdings" pitchFamily="2" charset="2"/>
              <a:buChar char="§"/>
              <a:defRPr sz="4800" baseline="0"/>
            </a:lvl8pPr>
            <a:lvl9pPr>
              <a:buFont typeface="Wingdings" pitchFamily="2" charset="2"/>
              <a:buChar char="§"/>
              <a:defRPr sz="4800" baseline="0"/>
            </a:lvl9pPr>
          </a:lstStyle>
          <a:p>
            <a:pPr lvl="0"/>
            <a:r>
              <a:rPr lang="en-US" dirty="0"/>
              <a:t>Click to edit Master text styles</a:t>
            </a:r>
          </a:p>
          <a:p>
            <a:pPr lvl="1"/>
            <a:r>
              <a:rPr lang="en-US" dirty="0"/>
              <a:t>Second level </a:t>
            </a:r>
          </a:p>
          <a:p>
            <a:pPr lvl="2"/>
            <a:r>
              <a:rPr lang="en-US" dirty="0"/>
              <a:t>Third level</a:t>
            </a:r>
          </a:p>
        </p:txBody>
      </p:sp>
      <p:sp>
        <p:nvSpPr>
          <p:cNvPr id="12" name="Content Placeholder 2"/>
          <p:cNvSpPr>
            <a:spLocks noGrp="1"/>
          </p:cNvSpPr>
          <p:nvPr>
            <p:ph idx="12"/>
          </p:nvPr>
        </p:nvSpPr>
        <p:spPr>
          <a:xfrm>
            <a:off x="12627528" y="2862265"/>
            <a:ext cx="10542562" cy="9467850"/>
          </a:xfrm>
        </p:spPr>
        <p:txBody>
          <a:bodyPr/>
          <a:lstStyle>
            <a:lvl1pPr>
              <a:defRPr sz="5000"/>
            </a:lvl1pPr>
            <a:lvl2pPr>
              <a:defRPr sz="4000"/>
            </a:lvl2pPr>
            <a:lvl3pPr>
              <a:defRPr sz="3200"/>
            </a:lvl3pPr>
            <a:lvl4pPr>
              <a:defRPr sz="3400"/>
            </a:lvl4pPr>
            <a:lvl5pPr>
              <a:defRPr sz="2800"/>
            </a:lvl5pPr>
            <a:lvl6pPr>
              <a:buFont typeface="Wingdings" pitchFamily="2" charset="2"/>
              <a:buChar char="§"/>
              <a:defRPr sz="4800" baseline="0"/>
            </a:lvl6pPr>
            <a:lvl7pPr>
              <a:buFont typeface="Wingdings" pitchFamily="2" charset="2"/>
              <a:buChar char="§"/>
              <a:defRPr sz="4800"/>
            </a:lvl7pPr>
            <a:lvl8pPr>
              <a:buFont typeface="Wingdings" pitchFamily="2" charset="2"/>
              <a:buChar char="§"/>
              <a:defRPr sz="4800" baseline="0"/>
            </a:lvl8pPr>
            <a:lvl9pPr>
              <a:buFont typeface="Wingdings" pitchFamily="2" charset="2"/>
              <a:buChar char="§"/>
              <a:defRPr sz="4800" baseline="0"/>
            </a:lvl9pPr>
          </a:lstStyle>
          <a:p>
            <a:pPr lvl="0"/>
            <a:r>
              <a:rPr lang="en-US" dirty="0"/>
              <a:t>Click to edit Master text styles</a:t>
            </a:r>
          </a:p>
          <a:p>
            <a:pPr lvl="1"/>
            <a:r>
              <a:rPr lang="en-US" dirty="0"/>
              <a:t>Second level </a:t>
            </a:r>
          </a:p>
          <a:p>
            <a:pPr lvl="2"/>
            <a:r>
              <a:rPr lang="en-US" dirty="0"/>
              <a:t>Third level</a:t>
            </a:r>
          </a:p>
        </p:txBody>
      </p:sp>
      <p:sp>
        <p:nvSpPr>
          <p:cNvPr id="6" name="Title 1"/>
          <p:cNvSpPr>
            <a:spLocks noGrp="1"/>
          </p:cNvSpPr>
          <p:nvPr>
            <p:ph type="title"/>
          </p:nvPr>
        </p:nvSpPr>
        <p:spPr>
          <a:xfrm>
            <a:off x="1111625" y="347632"/>
            <a:ext cx="22024600" cy="1945408"/>
          </a:xfrm>
        </p:spPr>
        <p:txBody>
          <a:bodyPr/>
          <a:lstStyle>
            <a:lvl1pPr>
              <a:defRPr>
                <a:solidFill>
                  <a:schemeClr val="accent2"/>
                </a:solidFill>
              </a:defRPr>
            </a:lvl1pPr>
          </a:lstStyle>
          <a:p>
            <a:endParaRPr dirty="0"/>
          </a:p>
        </p:txBody>
      </p:sp>
    </p:spTree>
    <p:extLst>
      <p:ext uri="{BB962C8B-B14F-4D97-AF65-F5344CB8AC3E}">
        <p14:creationId xmlns:p14="http://schemas.microsoft.com/office/powerpoint/2010/main" val="40606234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7717EC-EA3D-3C44-9349-AABEB32B936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24384004" cy="12750159"/>
          </a:xfrm>
          <a:prstGeom prst="rect">
            <a:avLst/>
          </a:prstGeom>
        </p:spPr>
      </p:pic>
      <p:sp>
        <p:nvSpPr>
          <p:cNvPr id="8" name="Title 1">
            <a:extLst>
              <a:ext uri="{FF2B5EF4-FFF2-40B4-BE49-F238E27FC236}">
                <a16:creationId xmlns:a16="http://schemas.microsoft.com/office/drawing/2014/main" id="{42B70533-A618-424C-9917-D5E13E3EB96D}"/>
              </a:ext>
            </a:extLst>
          </p:cNvPr>
          <p:cNvSpPr>
            <a:spLocks noGrp="1"/>
          </p:cNvSpPr>
          <p:nvPr>
            <p:ph type="title" hasCustomPrompt="1"/>
          </p:nvPr>
        </p:nvSpPr>
        <p:spPr>
          <a:xfrm>
            <a:off x="1257300" y="3412425"/>
            <a:ext cx="15049317" cy="2597149"/>
          </a:xfrm>
        </p:spPr>
        <p:txBody>
          <a:bodyPr anchor="b"/>
          <a:lstStyle>
            <a:lvl1pPr algn="l">
              <a:defRPr sz="8000" b="1" i="0" cap="none" baseline="0">
                <a:solidFill>
                  <a:schemeClr val="bg1"/>
                </a:solidFill>
                <a:latin typeface="Arial" charset="0"/>
              </a:defRPr>
            </a:lvl1pPr>
          </a:lstStyle>
          <a:p>
            <a:r>
              <a:rPr lang="en-US" dirty="0"/>
              <a:t>Section title here</a:t>
            </a:r>
            <a:endParaRPr dirty="0"/>
          </a:p>
        </p:txBody>
      </p:sp>
      <p:sp>
        <p:nvSpPr>
          <p:cNvPr id="9" name="Text Placeholder 2">
            <a:extLst>
              <a:ext uri="{FF2B5EF4-FFF2-40B4-BE49-F238E27FC236}">
                <a16:creationId xmlns:a16="http://schemas.microsoft.com/office/drawing/2014/main" id="{A7DDAE44-64A1-5940-ACC6-BD8F3BBEBA0A}"/>
              </a:ext>
            </a:extLst>
          </p:cNvPr>
          <p:cNvSpPr>
            <a:spLocks noGrp="1"/>
          </p:cNvSpPr>
          <p:nvPr>
            <p:ph type="body" idx="1" hasCustomPrompt="1"/>
          </p:nvPr>
        </p:nvSpPr>
        <p:spPr>
          <a:xfrm>
            <a:off x="1257300" y="6434170"/>
            <a:ext cx="15049319" cy="1955800"/>
          </a:xfrm>
          <a:prstGeom prst="rect">
            <a:avLst/>
          </a:prstGeom>
        </p:spPr>
        <p:txBody>
          <a:bodyPr>
            <a:normAutofit/>
          </a:bodyPr>
          <a:lstStyle>
            <a:lvl1pPr marL="0" indent="0">
              <a:buNone/>
              <a:defRPr sz="4000" baseline="0">
                <a:solidFill>
                  <a:schemeClr val="accent3"/>
                </a:solidFill>
              </a:defRPr>
            </a:lvl1pPr>
            <a:lvl2pPr marL="1219124" indent="0">
              <a:buNone/>
              <a:defRPr sz="4800">
                <a:solidFill>
                  <a:schemeClr val="tx1">
                    <a:tint val="75000"/>
                  </a:schemeClr>
                </a:solidFill>
              </a:defRPr>
            </a:lvl2pPr>
            <a:lvl3pPr marL="2438248" indent="0">
              <a:buNone/>
              <a:defRPr sz="4266">
                <a:solidFill>
                  <a:schemeClr val="tx1">
                    <a:tint val="75000"/>
                  </a:schemeClr>
                </a:solidFill>
              </a:defRPr>
            </a:lvl3pPr>
            <a:lvl4pPr marL="3657371" indent="0">
              <a:buNone/>
              <a:defRPr sz="3733">
                <a:solidFill>
                  <a:schemeClr val="tx1">
                    <a:tint val="75000"/>
                  </a:schemeClr>
                </a:solidFill>
              </a:defRPr>
            </a:lvl4pPr>
            <a:lvl5pPr marL="4876495" indent="0">
              <a:buNone/>
              <a:defRPr sz="3733">
                <a:solidFill>
                  <a:schemeClr val="tx1">
                    <a:tint val="75000"/>
                  </a:schemeClr>
                </a:solidFill>
              </a:defRPr>
            </a:lvl5pPr>
            <a:lvl6pPr marL="6095619" indent="0">
              <a:buNone/>
              <a:defRPr sz="3733">
                <a:solidFill>
                  <a:schemeClr val="tx1">
                    <a:tint val="75000"/>
                  </a:schemeClr>
                </a:solidFill>
              </a:defRPr>
            </a:lvl6pPr>
            <a:lvl7pPr marL="7314743" indent="0">
              <a:buNone/>
              <a:defRPr sz="3733">
                <a:solidFill>
                  <a:schemeClr val="tx1">
                    <a:tint val="75000"/>
                  </a:schemeClr>
                </a:solidFill>
              </a:defRPr>
            </a:lvl7pPr>
            <a:lvl8pPr marL="8533867" indent="0">
              <a:buNone/>
              <a:defRPr sz="3733">
                <a:solidFill>
                  <a:schemeClr val="tx1">
                    <a:tint val="75000"/>
                  </a:schemeClr>
                </a:solidFill>
              </a:defRPr>
            </a:lvl8pPr>
            <a:lvl9pPr marL="9752990" indent="0">
              <a:buNone/>
              <a:defRPr sz="3733">
                <a:solidFill>
                  <a:schemeClr val="tx1">
                    <a:tint val="75000"/>
                  </a:schemeClr>
                </a:solidFill>
              </a:defRPr>
            </a:lvl9pPr>
          </a:lstStyle>
          <a:p>
            <a:pPr lvl="0"/>
            <a:r>
              <a:rPr lang="en-US" dirty="0"/>
              <a:t>Section subtitle here</a:t>
            </a:r>
          </a:p>
        </p:txBody>
      </p:sp>
    </p:spTree>
    <p:extLst>
      <p:ext uri="{BB962C8B-B14F-4D97-AF65-F5344CB8AC3E}">
        <p14:creationId xmlns:p14="http://schemas.microsoft.com/office/powerpoint/2010/main" val="17189706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369172" y="0"/>
            <a:ext cx="6578172" cy="13716000"/>
          </a:xfrm>
        </p:spPr>
        <p:txBody>
          <a:bodyPr anchor="ctr">
            <a:normAutofit/>
          </a:bodyPr>
          <a:lstStyle>
            <a:lvl1pPr marL="0" indent="0" algn="ctr">
              <a:buNone/>
              <a:defRPr sz="2400"/>
            </a:lvl1pPr>
          </a:lstStyle>
          <a:p>
            <a:endParaRPr lang="en-US"/>
          </a:p>
        </p:txBody>
      </p:sp>
      <p:sp>
        <p:nvSpPr>
          <p:cNvPr id="9" name="Picture Placeholder 7"/>
          <p:cNvSpPr>
            <a:spLocks noGrp="1"/>
          </p:cNvSpPr>
          <p:nvPr>
            <p:ph type="pic" sz="quarter" idx="14"/>
          </p:nvPr>
        </p:nvSpPr>
        <p:spPr>
          <a:xfrm>
            <a:off x="17435071" y="0"/>
            <a:ext cx="6578172" cy="13716000"/>
          </a:xfrm>
        </p:spPr>
        <p:txBody>
          <a:bodyPr anchor="ctr">
            <a:normAutofit/>
          </a:bodyPr>
          <a:lstStyle>
            <a:lvl1pPr marL="0" indent="0" algn="ctr">
              <a:buNone/>
              <a:defRPr sz="2400"/>
            </a:lvl1pPr>
          </a:lstStyle>
          <a:p>
            <a:endParaRPr lang="en-US"/>
          </a:p>
        </p:txBody>
      </p:sp>
      <p:sp>
        <p:nvSpPr>
          <p:cNvPr id="2" name="Date Placeholder 1"/>
          <p:cNvSpPr>
            <a:spLocks noGrp="1"/>
          </p:cNvSpPr>
          <p:nvPr>
            <p:ph type="dt" sz="half" idx="10"/>
          </p:nvPr>
        </p:nvSpPr>
        <p:spPr/>
        <p:txBody>
          <a:bodyPr/>
          <a:lstStyle/>
          <a:p>
            <a:fld id="{9E25FB85-5C0D-4BC5-880B-2628A82A4BC2}" type="datetimeFigureOut">
              <a:rPr lang="en-US" smtClean="0"/>
              <a:t>4/29/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6A89730-4BA7-4A6E-9ADF-70FD5E03A14E}" type="slidenum">
              <a:rPr lang="en-US" smtClean="0"/>
              <a:t>‹#›</a:t>
            </a:fld>
            <a:endParaRPr lang="en-US"/>
          </a:p>
        </p:txBody>
      </p:sp>
    </p:spTree>
    <p:extLst>
      <p:ext uri="{BB962C8B-B14F-4D97-AF65-F5344CB8AC3E}">
        <p14:creationId xmlns:p14="http://schemas.microsoft.com/office/powerpoint/2010/main" val="27335614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297E8-49FE-47D9-A444-89B528E8E67E}"/>
              </a:ext>
            </a:extLst>
          </p:cNvPr>
          <p:cNvSpPr>
            <a:spLocks noGrp="1"/>
          </p:cNvSpPr>
          <p:nvPr>
            <p:ph type="title"/>
          </p:nvPr>
        </p:nvSpPr>
        <p:spPr>
          <a:xfrm>
            <a:off x="1219121" y="918876"/>
            <a:ext cx="21944172" cy="886396"/>
          </a:xfrm>
        </p:spPr>
        <p:txBody>
          <a:bodyPr wrap="square" lIns="0" tIns="0" rIns="0" bIns="0">
            <a:spAutoFit/>
          </a:bodyPr>
          <a:lstStyle>
            <a:lvl1pPr>
              <a:defRPr sz="6400" b="1"/>
            </a:lvl1pPr>
          </a:lstStyle>
          <a:p>
            <a:r>
              <a:rPr lang="en-US" dirty="0"/>
              <a:t>Click to edit Master title style</a:t>
            </a:r>
          </a:p>
        </p:txBody>
      </p:sp>
      <p:sp>
        <p:nvSpPr>
          <p:cNvPr id="3" name="Content Placeholder 2">
            <a:extLst>
              <a:ext uri="{FF2B5EF4-FFF2-40B4-BE49-F238E27FC236}">
                <a16:creationId xmlns:a16="http://schemas.microsoft.com/office/drawing/2014/main" id="{0B2BFA5E-D2A0-4761-BD6A-959106623FEF}"/>
              </a:ext>
            </a:extLst>
          </p:cNvPr>
          <p:cNvSpPr>
            <a:spLocks noGrp="1"/>
          </p:cNvSpPr>
          <p:nvPr>
            <p:ph idx="1"/>
          </p:nvPr>
        </p:nvSpPr>
        <p:spPr>
          <a:xfrm>
            <a:off x="1219121" y="2260601"/>
            <a:ext cx="21944172" cy="10093326"/>
          </a:xfrm>
        </p:spPr>
        <p:txBody>
          <a:bodyPr lIns="0" tIns="0" rIns="0" bIns="0">
            <a:normAutofit/>
          </a:bodyPr>
          <a:lstStyle>
            <a:lvl1pPr>
              <a:defRPr sz="4000"/>
            </a:lvl1pPr>
            <a:lvl2pPr>
              <a:defRPr sz="3600"/>
            </a:lvl2pPr>
            <a:lvl3pPr>
              <a:defRPr sz="3200"/>
            </a:lvl3pPr>
            <a:lvl4pPr>
              <a:defRPr sz="2800"/>
            </a:lvl4pPr>
            <a:lvl5pPr>
              <a:defRPr sz="2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41162BBC-13BD-4B38-86E5-75C99440D774}"/>
              </a:ext>
            </a:extLst>
          </p:cNvPr>
          <p:cNvSpPr>
            <a:spLocks noGrp="1"/>
          </p:cNvSpPr>
          <p:nvPr>
            <p:ph type="ftr" sz="quarter" idx="11"/>
          </p:nvPr>
        </p:nvSpPr>
        <p:spPr>
          <a:xfrm>
            <a:off x="1219120" y="12915902"/>
            <a:ext cx="3924045" cy="323848"/>
          </a:xfrm>
        </p:spPr>
        <p:txBody>
          <a:bodyPr lIns="0" tIns="0" rIns="0" bIns="0"/>
          <a:lstStyle>
            <a:lvl1pPr algn="l">
              <a:defRPr i="1"/>
            </a:lvl1pPr>
          </a:lstStyle>
          <a:p>
            <a:r>
              <a:rPr lang="en-US"/>
              <a:t>Your Footer here</a:t>
            </a:r>
            <a:endParaRPr lang="en-US" dirty="0"/>
          </a:p>
        </p:txBody>
      </p:sp>
      <p:sp>
        <p:nvSpPr>
          <p:cNvPr id="6" name="Slide Number Placeholder 5">
            <a:extLst>
              <a:ext uri="{FF2B5EF4-FFF2-40B4-BE49-F238E27FC236}">
                <a16:creationId xmlns:a16="http://schemas.microsoft.com/office/drawing/2014/main" id="{C75E295E-18FF-4353-94CD-03F3D7D1D0EE}"/>
              </a:ext>
            </a:extLst>
          </p:cNvPr>
          <p:cNvSpPr>
            <a:spLocks noGrp="1"/>
          </p:cNvSpPr>
          <p:nvPr>
            <p:ph type="sldNum" sz="quarter" idx="12"/>
          </p:nvPr>
        </p:nvSpPr>
        <p:spPr>
          <a:xfrm>
            <a:off x="22496586" y="12915902"/>
            <a:ext cx="666705" cy="323848"/>
          </a:xfrm>
        </p:spPr>
        <p:txBody>
          <a:bodyPr lIns="0" tIns="0" rIns="0" bIns="0"/>
          <a:lstStyle>
            <a:lvl1pPr algn="ctr">
              <a:defRPr sz="3200" b="1">
                <a:solidFill>
                  <a:srgbClr val="D01E2F"/>
                </a:solidFill>
                <a:latin typeface="+mj-lt"/>
              </a:defRPr>
            </a:lvl1pPr>
          </a:lstStyle>
          <a:p>
            <a:fld id="{00BCE5F6-E27C-40A8-A53A-143DED54513F}" type="slidenum">
              <a:rPr lang="en-US" smtClean="0"/>
              <a:pPr/>
              <a:t>‹#›</a:t>
            </a:fld>
            <a:endParaRPr lang="en-US" dirty="0"/>
          </a:p>
        </p:txBody>
      </p:sp>
    </p:spTree>
    <p:extLst>
      <p:ext uri="{BB962C8B-B14F-4D97-AF65-F5344CB8AC3E}">
        <p14:creationId xmlns:p14="http://schemas.microsoft.com/office/powerpoint/2010/main" val="3465619670"/>
      </p:ext>
    </p:extLst>
  </p:cSld>
  <p:clrMapOvr>
    <a:masterClrMapping/>
  </p:clrMapOvr>
  <p:extLst>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25949D9-2C8B-4DB5-AC3C-F62BD270FD61}"/>
              </a:ext>
            </a:extLst>
          </p:cNvPr>
          <p:cNvSpPr>
            <a:spLocks noGrp="1"/>
          </p:cNvSpPr>
          <p:nvPr>
            <p:ph type="sldNum" sz="quarter" idx="12"/>
          </p:nvPr>
        </p:nvSpPr>
        <p:spPr>
          <a:xfrm>
            <a:off x="23460374" y="12760377"/>
            <a:ext cx="624957" cy="553998"/>
          </a:xfrm>
        </p:spPr>
        <p:txBody>
          <a:bodyPr lIns="0" tIns="0" rIns="0" bIns="0">
            <a:normAutofit/>
          </a:bodyPr>
          <a:lstStyle>
            <a:lvl1pPr algn="ctr">
              <a:defRPr sz="2000">
                <a:solidFill>
                  <a:schemeClr val="bg1"/>
                </a:solidFill>
              </a:defRPr>
            </a:lvl1pPr>
          </a:lstStyle>
          <a:p>
            <a:fld id="{4D972270-7EB8-4EBA-87A9-AC2EA26E5165}" type="slidenum">
              <a:rPr lang="en-US" smtClean="0"/>
              <a:pPr/>
              <a:t>‹#›</a:t>
            </a:fld>
            <a:endParaRPr lang="en-US" dirty="0"/>
          </a:p>
        </p:txBody>
      </p:sp>
      <p:sp>
        <p:nvSpPr>
          <p:cNvPr id="19" name="Picture Placeholder 18">
            <a:extLst>
              <a:ext uri="{FF2B5EF4-FFF2-40B4-BE49-F238E27FC236}">
                <a16:creationId xmlns:a16="http://schemas.microsoft.com/office/drawing/2014/main" id="{8D94F04D-9F16-490C-A836-481C2C4A467D}"/>
              </a:ext>
            </a:extLst>
          </p:cNvPr>
          <p:cNvSpPr>
            <a:spLocks noGrp="1"/>
          </p:cNvSpPr>
          <p:nvPr>
            <p:ph type="pic" sz="quarter" idx="13"/>
          </p:nvPr>
        </p:nvSpPr>
        <p:spPr>
          <a:xfrm>
            <a:off x="0" y="736600"/>
            <a:ext cx="7517911" cy="12242800"/>
          </a:xfrm>
          <a:custGeom>
            <a:avLst/>
            <a:gdLst>
              <a:gd name="connsiteX0" fmla="*/ 698500 w 3759200"/>
              <a:gd name="connsiteY0" fmla="*/ 0 h 6121400"/>
              <a:gd name="connsiteX1" fmla="*/ 3759200 w 3759200"/>
              <a:gd name="connsiteY1" fmla="*/ 3060700 h 6121400"/>
              <a:gd name="connsiteX2" fmla="*/ 698500 w 3759200"/>
              <a:gd name="connsiteY2" fmla="*/ 6121400 h 6121400"/>
              <a:gd name="connsiteX3" fmla="*/ 81662 w 3759200"/>
              <a:gd name="connsiteY3" fmla="*/ 6059217 h 6121400"/>
              <a:gd name="connsiteX4" fmla="*/ 0 w 3759200"/>
              <a:gd name="connsiteY4" fmla="*/ 6038220 h 6121400"/>
              <a:gd name="connsiteX5" fmla="*/ 0 w 3759200"/>
              <a:gd name="connsiteY5" fmla="*/ 83180 h 6121400"/>
              <a:gd name="connsiteX6" fmla="*/ 81662 w 3759200"/>
              <a:gd name="connsiteY6" fmla="*/ 62183 h 6121400"/>
              <a:gd name="connsiteX7" fmla="*/ 698500 w 3759200"/>
              <a:gd name="connsiteY7" fmla="*/ 0 h 612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9200" h="6121400">
                <a:moveTo>
                  <a:pt x="698500" y="0"/>
                </a:moveTo>
                <a:cubicBezTo>
                  <a:pt x="2388878" y="0"/>
                  <a:pt x="3759200" y="1370322"/>
                  <a:pt x="3759200" y="3060700"/>
                </a:cubicBezTo>
                <a:cubicBezTo>
                  <a:pt x="3759200" y="4751078"/>
                  <a:pt x="2388878" y="6121400"/>
                  <a:pt x="698500" y="6121400"/>
                </a:cubicBezTo>
                <a:cubicBezTo>
                  <a:pt x="487203" y="6121400"/>
                  <a:pt x="280906" y="6099989"/>
                  <a:pt x="81662" y="6059217"/>
                </a:cubicBezTo>
                <a:lnTo>
                  <a:pt x="0" y="6038220"/>
                </a:lnTo>
                <a:lnTo>
                  <a:pt x="0" y="83180"/>
                </a:lnTo>
                <a:lnTo>
                  <a:pt x="81662" y="62183"/>
                </a:lnTo>
                <a:cubicBezTo>
                  <a:pt x="280906" y="21411"/>
                  <a:pt x="487203" y="0"/>
                  <a:pt x="698500" y="0"/>
                </a:cubicBezTo>
                <a:close/>
              </a:path>
            </a:pathLst>
          </a:custGeom>
        </p:spPr>
        <p:txBody>
          <a:bodyPr wrap="square" anchor="ctr">
            <a:noAutofit/>
          </a:bodyPr>
          <a:lstStyle>
            <a:lvl1pPr marL="0" indent="0" algn="ctr">
              <a:buNone/>
              <a:defRPr sz="3200"/>
            </a:lvl1pPr>
          </a:lstStyle>
          <a:p>
            <a:endParaRPr lang="en-US"/>
          </a:p>
        </p:txBody>
      </p:sp>
    </p:spTree>
    <p:extLst>
      <p:ext uri="{BB962C8B-B14F-4D97-AF65-F5344CB8AC3E}">
        <p14:creationId xmlns:p14="http://schemas.microsoft.com/office/powerpoint/2010/main" val="18457858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914340" y="939800"/>
            <a:ext cx="10743501" cy="11912600"/>
          </a:xfrm>
          <a:prstGeom prst="rect">
            <a:avLst/>
          </a:prstGeom>
        </p:spPr>
        <p:txBody>
          <a:bodyPr/>
          <a:lstStyle/>
          <a:p>
            <a:endParaRPr lang="en-US"/>
          </a:p>
        </p:txBody>
      </p:sp>
    </p:spTree>
    <p:extLst>
      <p:ext uri="{BB962C8B-B14F-4D97-AF65-F5344CB8AC3E}">
        <p14:creationId xmlns:p14="http://schemas.microsoft.com/office/powerpoint/2010/main" val="7258002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8" name="Content Placeholder 2">
            <a:extLst>
              <a:ext uri="{FF2B5EF4-FFF2-40B4-BE49-F238E27FC236}">
                <a16:creationId xmlns:a16="http://schemas.microsoft.com/office/drawing/2014/main" id="{485837B1-8663-9548-9157-20D7F578C578}"/>
              </a:ext>
            </a:extLst>
          </p:cNvPr>
          <p:cNvSpPr>
            <a:spLocks noGrp="1"/>
          </p:cNvSpPr>
          <p:nvPr>
            <p:ph sz="half" idx="1"/>
          </p:nvPr>
        </p:nvSpPr>
        <p:spPr>
          <a:xfrm>
            <a:off x="1257300" y="2860675"/>
            <a:ext cx="10362526" cy="9493251"/>
          </a:xfrm>
        </p:spPr>
        <p:txBody>
          <a:bodyPr/>
          <a:lstStyle/>
          <a:p>
            <a:pPr marL="0" indent="0">
              <a:buNone/>
            </a:pPr>
            <a:r>
              <a:rPr lang="en-US" sz="5400" dirty="0"/>
              <a:t>Header</a:t>
            </a:r>
          </a:p>
          <a:p>
            <a:pPr marL="0" indent="0">
              <a:buNone/>
            </a:pPr>
            <a:r>
              <a:rPr lang="en-US" dirty="0"/>
              <a:t>Copy</a:t>
            </a:r>
          </a:p>
          <a:p>
            <a:r>
              <a:rPr lang="en-US" dirty="0"/>
              <a:t>Bullet</a:t>
            </a:r>
          </a:p>
          <a:p>
            <a:pPr lvl="1"/>
            <a:r>
              <a:rPr lang="en-US" dirty="0"/>
              <a:t>Bullet</a:t>
            </a:r>
          </a:p>
          <a:p>
            <a:pPr lvl="2"/>
            <a:r>
              <a:rPr lang="en-US" dirty="0"/>
              <a:t>Bullet</a:t>
            </a:r>
          </a:p>
        </p:txBody>
      </p:sp>
      <p:sp>
        <p:nvSpPr>
          <p:cNvPr id="9" name="Content Placeholder 3">
            <a:extLst>
              <a:ext uri="{FF2B5EF4-FFF2-40B4-BE49-F238E27FC236}">
                <a16:creationId xmlns:a16="http://schemas.microsoft.com/office/drawing/2014/main" id="{AB549BF9-1D8F-E440-A452-52AE76419E59}"/>
              </a:ext>
            </a:extLst>
          </p:cNvPr>
          <p:cNvSpPr>
            <a:spLocks noGrp="1"/>
          </p:cNvSpPr>
          <p:nvPr>
            <p:ph sz="half" idx="2"/>
          </p:nvPr>
        </p:nvSpPr>
        <p:spPr>
          <a:xfrm>
            <a:off x="12762588" y="2860675"/>
            <a:ext cx="10362526" cy="9493251"/>
          </a:xfrm>
        </p:spPr>
        <p:txBody>
          <a:bodyPr/>
          <a:lstStyle/>
          <a:p>
            <a:pPr marL="0" indent="0">
              <a:buNone/>
            </a:pPr>
            <a:r>
              <a:rPr lang="en-US" sz="5400" dirty="0"/>
              <a:t>Header</a:t>
            </a:r>
          </a:p>
          <a:p>
            <a:pPr marL="0" indent="0">
              <a:buNone/>
            </a:pPr>
            <a:r>
              <a:rPr lang="en-US" dirty="0"/>
              <a:t>Copy</a:t>
            </a:r>
          </a:p>
          <a:p>
            <a:r>
              <a:rPr lang="en-US" dirty="0"/>
              <a:t>Bullet</a:t>
            </a:r>
          </a:p>
          <a:p>
            <a:pPr lvl="1"/>
            <a:r>
              <a:rPr lang="en-US" dirty="0"/>
              <a:t>Bullet</a:t>
            </a:r>
          </a:p>
          <a:p>
            <a:pPr lvl="2"/>
            <a:r>
              <a:rPr lang="en-US" dirty="0"/>
              <a:t>Bullet</a:t>
            </a:r>
          </a:p>
        </p:txBody>
      </p:sp>
    </p:spTree>
    <p:extLst>
      <p:ext uri="{BB962C8B-B14F-4D97-AF65-F5344CB8AC3E}">
        <p14:creationId xmlns:p14="http://schemas.microsoft.com/office/powerpoint/2010/main" val="33148911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hasCustomPrompt="1"/>
          </p:nvPr>
        </p:nvSpPr>
        <p:spPr>
          <a:xfrm>
            <a:off x="1257301" y="2860675"/>
            <a:ext cx="6931340" cy="9493251"/>
          </a:xfrm>
          <a:prstGeom prst="rect">
            <a:avLst/>
          </a:prstGeom>
        </p:spPr>
        <p:txBody>
          <a:bodyPr/>
          <a:lstStyle>
            <a:lvl1pPr>
              <a:defRPr/>
            </a:lvl1pPr>
            <a:lvl2pPr>
              <a:defRPr/>
            </a:lvl2pPr>
            <a:lvl3pPr>
              <a:defRPr/>
            </a:lvl3pPr>
          </a:lstStyle>
          <a:p>
            <a:pPr marL="0" indent="0">
              <a:buNone/>
            </a:pPr>
            <a:r>
              <a:rPr lang="en-US" sz="5400" dirty="0"/>
              <a:t>Header</a:t>
            </a:r>
          </a:p>
          <a:p>
            <a:pPr marL="0" indent="0">
              <a:buNone/>
            </a:pPr>
            <a:r>
              <a:rPr lang="en-US" dirty="0"/>
              <a:t>Copy</a:t>
            </a:r>
          </a:p>
          <a:p>
            <a:r>
              <a:rPr lang="en-US" dirty="0"/>
              <a:t>Bullet</a:t>
            </a:r>
          </a:p>
          <a:p>
            <a:pPr lvl="1"/>
            <a:r>
              <a:rPr lang="en-US" dirty="0"/>
              <a:t>Bullet</a:t>
            </a:r>
          </a:p>
          <a:p>
            <a:pPr lvl="2"/>
            <a:r>
              <a:rPr lang="en-US" dirty="0"/>
              <a:t>Bullet</a:t>
            </a:r>
          </a:p>
        </p:txBody>
      </p:sp>
      <p:sp>
        <p:nvSpPr>
          <p:cNvPr id="4" name="Content Placeholder 3"/>
          <p:cNvSpPr>
            <a:spLocks noGrp="1"/>
          </p:cNvSpPr>
          <p:nvPr>
            <p:ph sz="half" idx="2" hasCustomPrompt="1"/>
          </p:nvPr>
        </p:nvSpPr>
        <p:spPr>
          <a:xfrm>
            <a:off x="8724743" y="2860675"/>
            <a:ext cx="6931340" cy="9493251"/>
          </a:xfrm>
          <a:prstGeom prst="rect">
            <a:avLst/>
          </a:prstGeom>
        </p:spPr>
        <p:txBody>
          <a:bodyPr/>
          <a:lstStyle>
            <a:lvl1pPr>
              <a:defRPr/>
            </a:lvl1pPr>
            <a:lvl2pPr>
              <a:defRPr/>
            </a:lvl2pPr>
            <a:lvl3pPr>
              <a:defRPr/>
            </a:lvl3pPr>
          </a:lstStyle>
          <a:p>
            <a:pPr marL="0" indent="0">
              <a:buNone/>
            </a:pPr>
            <a:r>
              <a:rPr lang="en-US" sz="5400" dirty="0"/>
              <a:t>Header</a:t>
            </a:r>
          </a:p>
          <a:p>
            <a:pPr marL="0" indent="0">
              <a:buNone/>
            </a:pPr>
            <a:r>
              <a:rPr lang="en-US" dirty="0"/>
              <a:t>Copy</a:t>
            </a:r>
          </a:p>
          <a:p>
            <a:r>
              <a:rPr lang="en-US" dirty="0"/>
              <a:t>Bullet</a:t>
            </a:r>
          </a:p>
          <a:p>
            <a:pPr lvl="1"/>
            <a:r>
              <a:rPr lang="en-US" dirty="0"/>
              <a:t>Bullet</a:t>
            </a:r>
          </a:p>
          <a:p>
            <a:pPr lvl="2"/>
            <a:r>
              <a:rPr lang="en-US" dirty="0"/>
              <a:t>Bullet</a:t>
            </a:r>
          </a:p>
        </p:txBody>
      </p:sp>
      <p:sp>
        <p:nvSpPr>
          <p:cNvPr id="5" name="Content Placeholder 3">
            <a:extLst>
              <a:ext uri="{FF2B5EF4-FFF2-40B4-BE49-F238E27FC236}">
                <a16:creationId xmlns:a16="http://schemas.microsoft.com/office/drawing/2014/main" id="{101DC4BD-1F23-514B-9A6F-1242404B2EFE}"/>
              </a:ext>
            </a:extLst>
          </p:cNvPr>
          <p:cNvSpPr>
            <a:spLocks noGrp="1"/>
          </p:cNvSpPr>
          <p:nvPr>
            <p:ph sz="half" idx="10" hasCustomPrompt="1"/>
          </p:nvPr>
        </p:nvSpPr>
        <p:spPr>
          <a:xfrm>
            <a:off x="16192343" y="2860675"/>
            <a:ext cx="6931340" cy="9493251"/>
          </a:xfrm>
          <a:prstGeom prst="rect">
            <a:avLst/>
          </a:prstGeom>
        </p:spPr>
        <p:txBody>
          <a:bodyPr/>
          <a:lstStyle>
            <a:lvl1pPr>
              <a:defRPr/>
            </a:lvl1pPr>
            <a:lvl2pPr>
              <a:defRPr/>
            </a:lvl2pPr>
            <a:lvl3pPr>
              <a:defRPr/>
            </a:lvl3pPr>
          </a:lstStyle>
          <a:p>
            <a:pPr marL="0" indent="0">
              <a:buNone/>
            </a:pPr>
            <a:r>
              <a:rPr lang="en-US" sz="5400" dirty="0"/>
              <a:t>Header</a:t>
            </a:r>
          </a:p>
          <a:p>
            <a:pPr marL="0" indent="0">
              <a:buNone/>
            </a:pPr>
            <a:r>
              <a:rPr lang="en-US" dirty="0"/>
              <a:t>Copy</a:t>
            </a:r>
          </a:p>
          <a:p>
            <a:r>
              <a:rPr lang="en-US" dirty="0"/>
              <a:t>Bullet</a:t>
            </a:r>
          </a:p>
          <a:p>
            <a:pPr lvl="1"/>
            <a:r>
              <a:rPr lang="en-US" dirty="0"/>
              <a:t>Bullet</a:t>
            </a:r>
          </a:p>
          <a:p>
            <a:pPr lvl="2"/>
            <a:r>
              <a:rPr lang="en-US" dirty="0"/>
              <a:t>Bullet</a:t>
            </a:r>
          </a:p>
        </p:txBody>
      </p:sp>
    </p:spTree>
    <p:extLst>
      <p:ext uri="{BB962C8B-B14F-4D97-AF65-F5344CB8AC3E}">
        <p14:creationId xmlns:p14="http://schemas.microsoft.com/office/powerpoint/2010/main" val="37512702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57300" y="346075"/>
            <a:ext cx="21863049" cy="1946275"/>
          </a:xfrm>
        </p:spPr>
        <p:txBody>
          <a:bodyPr/>
          <a:lstStyle/>
          <a:p>
            <a:r>
              <a:rPr lang="en-US" dirty="0"/>
              <a:t>Agenda</a:t>
            </a:r>
          </a:p>
        </p:txBody>
      </p:sp>
      <p:sp>
        <p:nvSpPr>
          <p:cNvPr id="11" name="Text Placeholder 10">
            <a:extLst>
              <a:ext uri="{FF2B5EF4-FFF2-40B4-BE49-F238E27FC236}">
                <a16:creationId xmlns:a16="http://schemas.microsoft.com/office/drawing/2014/main" id="{B4AB5D41-E3A8-C74D-81FD-47BD225ACFE9}"/>
              </a:ext>
            </a:extLst>
          </p:cNvPr>
          <p:cNvSpPr>
            <a:spLocks noGrp="1"/>
          </p:cNvSpPr>
          <p:nvPr>
            <p:ph type="body" sz="quarter" idx="10" hasCustomPrompt="1"/>
          </p:nvPr>
        </p:nvSpPr>
        <p:spPr/>
        <p:txBody>
          <a:bodyPr/>
          <a:lstStyle>
            <a:lvl1pPr marL="365125" marR="0" indent="-365125" algn="l" defTabSz="1828709" rtl="0" eaLnBrk="1" fontAlgn="auto" latinLnBrk="0" hangingPunct="1">
              <a:lnSpc>
                <a:spcPct val="90000"/>
              </a:lnSpc>
              <a:spcBef>
                <a:spcPts val="2000"/>
              </a:spcBef>
              <a:spcAft>
                <a:spcPts val="0"/>
              </a:spcAft>
              <a:buClr>
                <a:srgbClr val="2E3C98"/>
              </a:buClr>
              <a:buSzTx/>
              <a:buFont typeface="Arial" panose="020B0604020202020204" pitchFamily="34" charset="0"/>
              <a:buChar char="•"/>
              <a:tabLst/>
              <a:defRPr sz="6000"/>
            </a:lvl1pPr>
            <a:lvl2pPr marL="666750" indent="-301625">
              <a:tabLst/>
              <a:defRPr/>
            </a:lvl2pPr>
            <a:lvl3pPr>
              <a:defRPr/>
            </a:lvl3pPr>
            <a:lvl5pPr marL="1477963" marR="0" indent="0" algn="l" defTabSz="1828709" rtl="0" eaLnBrk="1" fontAlgn="auto" latinLnBrk="0" hangingPunct="1">
              <a:lnSpc>
                <a:spcPct val="90000"/>
              </a:lnSpc>
              <a:spcBef>
                <a:spcPts val="1000"/>
              </a:spcBef>
              <a:spcAft>
                <a:spcPts val="0"/>
              </a:spcAft>
              <a:buClr>
                <a:schemeClr val="accent2"/>
              </a:buClr>
              <a:buSzPct val="85000"/>
              <a:buFont typeface="Wingdings" panose="05000000000000000000" pitchFamily="2" charset="2"/>
              <a:buNone/>
              <a:tabLst/>
              <a:defRPr/>
            </a:lvl5pPr>
          </a:lstStyle>
          <a:p>
            <a:pPr lvl="0"/>
            <a:r>
              <a:rPr lang="en-US" dirty="0"/>
              <a:t>Topic 1</a:t>
            </a:r>
          </a:p>
          <a:p>
            <a:pPr lvl="1"/>
            <a:r>
              <a:rPr lang="en-US" dirty="0"/>
              <a:t>Second level</a:t>
            </a:r>
          </a:p>
          <a:p>
            <a:pPr lvl="2"/>
            <a:r>
              <a:rPr lang="en-US" dirty="0"/>
              <a:t>Third level</a:t>
            </a:r>
          </a:p>
          <a:p>
            <a:pPr lvl="0"/>
            <a:r>
              <a:rPr lang="en-US" dirty="0"/>
              <a:t>Topic 2</a:t>
            </a:r>
          </a:p>
          <a:p>
            <a:pPr lvl="0"/>
            <a:r>
              <a:rPr lang="en-US" dirty="0"/>
              <a:t>Topic 3</a:t>
            </a:r>
          </a:p>
          <a:p>
            <a:pPr marL="1871663" marR="0" lvl="4" indent="-393700" algn="l" defTabSz="1828709" rtl="0" eaLnBrk="1" fontAlgn="auto" latinLnBrk="0" hangingPunct="1">
              <a:lnSpc>
                <a:spcPct val="90000"/>
              </a:lnSpc>
              <a:spcBef>
                <a:spcPts val="1000"/>
              </a:spcBef>
              <a:spcAft>
                <a:spcPts val="0"/>
              </a:spcAft>
              <a:buClr>
                <a:schemeClr val="accent2"/>
              </a:buClr>
              <a:buSzPct val="85000"/>
              <a:buFont typeface="Wingdings" panose="05000000000000000000" pitchFamily="2" charset="2"/>
              <a:buChar char="§"/>
              <a:tabLst/>
              <a:defRPr/>
            </a:pPr>
            <a:endParaRPr lang="en-US" dirty="0"/>
          </a:p>
          <a:p>
            <a:pPr lvl="4"/>
            <a:endParaRPr lang="en-US" dirty="0"/>
          </a:p>
        </p:txBody>
      </p:sp>
    </p:spTree>
    <p:extLst>
      <p:ext uri="{BB962C8B-B14F-4D97-AF65-F5344CB8AC3E}">
        <p14:creationId xmlns:p14="http://schemas.microsoft.com/office/powerpoint/2010/main" val="34692280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98817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630CF864-AD53-5E43-A4B8-F1A928816BD3}"/>
              </a:ext>
            </a:extLst>
          </p:cNvPr>
          <p:cNvGraphicFramePr>
            <a:graphicFrameLocks noGrp="1"/>
          </p:cNvGraphicFramePr>
          <p:nvPr userDrawn="1">
            <p:extLst>
              <p:ext uri="{D42A27DB-BD31-4B8C-83A1-F6EECF244321}">
                <p14:modId xmlns:p14="http://schemas.microsoft.com/office/powerpoint/2010/main" val="518158246"/>
              </p:ext>
            </p:extLst>
          </p:nvPr>
        </p:nvGraphicFramePr>
        <p:xfrm>
          <a:off x="1311262" y="2862263"/>
          <a:ext cx="21824965" cy="9519237"/>
        </p:xfrm>
        <a:graphic>
          <a:graphicData uri="http://schemas.openxmlformats.org/drawingml/2006/table">
            <a:tbl>
              <a:tblPr firstRow="1" bandRow="1">
                <a:tableStyleId>{B301B821-A1FF-4177-AEE7-76D212191A09}</a:tableStyleId>
              </a:tblPr>
              <a:tblGrid>
                <a:gridCol w="4364993">
                  <a:extLst>
                    <a:ext uri="{9D8B030D-6E8A-4147-A177-3AD203B41FA5}">
                      <a16:colId xmlns:a16="http://schemas.microsoft.com/office/drawing/2014/main" val="20000"/>
                    </a:ext>
                  </a:extLst>
                </a:gridCol>
                <a:gridCol w="4364993">
                  <a:extLst>
                    <a:ext uri="{9D8B030D-6E8A-4147-A177-3AD203B41FA5}">
                      <a16:colId xmlns:a16="http://schemas.microsoft.com/office/drawing/2014/main" val="20001"/>
                    </a:ext>
                  </a:extLst>
                </a:gridCol>
                <a:gridCol w="4364993">
                  <a:extLst>
                    <a:ext uri="{9D8B030D-6E8A-4147-A177-3AD203B41FA5}">
                      <a16:colId xmlns:a16="http://schemas.microsoft.com/office/drawing/2014/main" val="20002"/>
                    </a:ext>
                  </a:extLst>
                </a:gridCol>
                <a:gridCol w="4364993">
                  <a:extLst>
                    <a:ext uri="{9D8B030D-6E8A-4147-A177-3AD203B41FA5}">
                      <a16:colId xmlns:a16="http://schemas.microsoft.com/office/drawing/2014/main" val="20003"/>
                    </a:ext>
                  </a:extLst>
                </a:gridCol>
                <a:gridCol w="4364993">
                  <a:extLst>
                    <a:ext uri="{9D8B030D-6E8A-4147-A177-3AD203B41FA5}">
                      <a16:colId xmlns:a16="http://schemas.microsoft.com/office/drawing/2014/main" val="20004"/>
                    </a:ext>
                  </a:extLst>
                </a:gridCol>
              </a:tblGrid>
              <a:tr h="902691">
                <a:tc>
                  <a:txBody>
                    <a:bodyPr/>
                    <a:lstStyle/>
                    <a:p>
                      <a:pPr algn="ctr"/>
                      <a:r>
                        <a:rPr lang="en-US" sz="2800" dirty="0"/>
                        <a:t>Column 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2800" dirty="0"/>
                        <a:t>Column 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0" marR="0" indent="0" algn="ctr" defTabSz="2438248" rtl="0" eaLnBrk="1" fontAlgn="auto" latinLnBrk="0" hangingPunct="1">
                        <a:lnSpc>
                          <a:spcPct val="100000"/>
                        </a:lnSpc>
                        <a:spcBef>
                          <a:spcPts val="0"/>
                        </a:spcBef>
                        <a:spcAft>
                          <a:spcPts val="0"/>
                        </a:spcAft>
                        <a:buClrTx/>
                        <a:buSzTx/>
                        <a:buFontTx/>
                        <a:buNone/>
                        <a:tabLst/>
                        <a:defRPr/>
                      </a:pPr>
                      <a:r>
                        <a:rPr lang="en-US" sz="2800" dirty="0"/>
                        <a:t>Column 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0" marR="0" indent="0" algn="ctr" defTabSz="2438248" rtl="0" eaLnBrk="1" fontAlgn="auto" latinLnBrk="0" hangingPunct="1">
                        <a:lnSpc>
                          <a:spcPct val="100000"/>
                        </a:lnSpc>
                        <a:spcBef>
                          <a:spcPts val="0"/>
                        </a:spcBef>
                        <a:spcAft>
                          <a:spcPts val="0"/>
                        </a:spcAft>
                        <a:buClrTx/>
                        <a:buSzTx/>
                        <a:buFontTx/>
                        <a:buNone/>
                        <a:tabLst/>
                        <a:defRPr/>
                      </a:pPr>
                      <a:r>
                        <a:rPr lang="en-US" sz="2800" dirty="0"/>
                        <a:t>Column 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0" marR="0" indent="0" algn="ctr" defTabSz="2438248" rtl="0" eaLnBrk="1" fontAlgn="auto" latinLnBrk="0" hangingPunct="1">
                        <a:lnSpc>
                          <a:spcPct val="100000"/>
                        </a:lnSpc>
                        <a:spcBef>
                          <a:spcPts val="0"/>
                        </a:spcBef>
                        <a:spcAft>
                          <a:spcPts val="0"/>
                        </a:spcAft>
                        <a:buClrTx/>
                        <a:buSzTx/>
                        <a:buFontTx/>
                        <a:buNone/>
                        <a:tabLst/>
                        <a:defRPr/>
                      </a:pPr>
                      <a:r>
                        <a:rPr lang="en-US" sz="2800" dirty="0"/>
                        <a:t>Column 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050201">
                <a:tc>
                  <a:txBody>
                    <a:bodyPr/>
                    <a:lstStyle/>
                    <a:p>
                      <a:pPr marL="72000" algn="l"/>
                      <a:r>
                        <a:rPr lang="en-US" sz="2600" dirty="0"/>
                        <a:t>Lorem</a:t>
                      </a:r>
                      <a:r>
                        <a:rPr lang="en-US" sz="2600" baseline="0" dirty="0"/>
                        <a:t> Ipsum Dolor</a:t>
                      </a:r>
                      <a:br>
                        <a:rPr lang="en-US" sz="2600" baseline="0" dirty="0"/>
                      </a:br>
                      <a:r>
                        <a:rPr lang="en-US" sz="2600" baseline="0" dirty="0"/>
                        <a:t>Sit </a:t>
                      </a:r>
                      <a:r>
                        <a:rPr lang="en-US" sz="2600" baseline="0" dirty="0" err="1"/>
                        <a:t>Amet</a:t>
                      </a:r>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50201">
                <a:tc>
                  <a:txBody>
                    <a:bodyPr/>
                    <a:lstStyle/>
                    <a:p>
                      <a:pPr marL="72000" marR="0" indent="0" algn="l" defTabSz="2438248" rtl="0" eaLnBrk="1" fontAlgn="auto" latinLnBrk="0" hangingPunct="1">
                        <a:lnSpc>
                          <a:spcPct val="100000"/>
                        </a:lnSpc>
                        <a:spcBef>
                          <a:spcPts val="0"/>
                        </a:spcBef>
                        <a:spcAft>
                          <a:spcPts val="0"/>
                        </a:spcAft>
                        <a:buClrTx/>
                        <a:buSzTx/>
                        <a:buFontTx/>
                        <a:buNone/>
                        <a:tabLst/>
                        <a:defRPr/>
                      </a:pPr>
                      <a:r>
                        <a:rPr lang="en-US" sz="2600" dirty="0"/>
                        <a:t>Lorem</a:t>
                      </a:r>
                      <a:r>
                        <a:rPr lang="en-US" sz="2600" baseline="0" dirty="0"/>
                        <a:t> Ipsum Dolor</a:t>
                      </a:r>
                      <a:br>
                        <a:rPr lang="en-US" sz="2600" baseline="0" dirty="0"/>
                      </a:br>
                      <a:r>
                        <a:rPr lang="en-US" sz="2600" baseline="0" dirty="0"/>
                        <a:t>Sit </a:t>
                      </a:r>
                      <a:r>
                        <a:rPr lang="en-US" sz="2600" baseline="0" dirty="0" err="1"/>
                        <a:t>Amet</a:t>
                      </a:r>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50201">
                <a:tc>
                  <a:txBody>
                    <a:bodyPr/>
                    <a:lstStyle/>
                    <a:p>
                      <a:pPr marL="72000" marR="0" indent="0" algn="l" defTabSz="2438248" rtl="0" eaLnBrk="1" fontAlgn="auto" latinLnBrk="0" hangingPunct="1">
                        <a:lnSpc>
                          <a:spcPct val="100000"/>
                        </a:lnSpc>
                        <a:spcBef>
                          <a:spcPts val="0"/>
                        </a:spcBef>
                        <a:spcAft>
                          <a:spcPts val="0"/>
                        </a:spcAft>
                        <a:buClrTx/>
                        <a:buSzTx/>
                        <a:buFontTx/>
                        <a:buNone/>
                        <a:tabLst/>
                        <a:defRPr/>
                      </a:pPr>
                      <a:r>
                        <a:rPr lang="en-US" sz="2600" dirty="0"/>
                        <a:t>Lorem</a:t>
                      </a:r>
                      <a:r>
                        <a:rPr lang="en-US" sz="2600" baseline="0" dirty="0"/>
                        <a:t> Ipsum Dolor</a:t>
                      </a:r>
                      <a:br>
                        <a:rPr lang="en-US" sz="2600" baseline="0" dirty="0"/>
                      </a:br>
                      <a:r>
                        <a:rPr lang="en-US" sz="2600" baseline="0" dirty="0"/>
                        <a:t>Sit </a:t>
                      </a:r>
                      <a:r>
                        <a:rPr lang="en-US" sz="2600" baseline="0" dirty="0" err="1"/>
                        <a:t>Amet</a:t>
                      </a:r>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902691">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902691">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902691">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902691">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902691">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902691">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5891900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612329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57300" y="346075"/>
            <a:ext cx="21863051" cy="193992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257301" y="2860675"/>
            <a:ext cx="21863050" cy="947102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Box 10">
            <a:extLst>
              <a:ext uri="{FF2B5EF4-FFF2-40B4-BE49-F238E27FC236}">
                <a16:creationId xmlns:a16="http://schemas.microsoft.com/office/drawing/2014/main" id="{0E75BC9E-6D75-344B-B108-B847EDED205E}"/>
              </a:ext>
            </a:extLst>
          </p:cNvPr>
          <p:cNvSpPr txBox="1">
            <a:spLocks noChangeArrowheads="1"/>
          </p:cNvSpPr>
          <p:nvPr userDrawn="1"/>
        </p:nvSpPr>
        <p:spPr bwMode="auto">
          <a:xfrm>
            <a:off x="17801127" y="13075912"/>
            <a:ext cx="490683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lgn="r"/>
            <a:r>
              <a:rPr lang="en-CA" sz="1500" dirty="0">
                <a:solidFill>
                  <a:schemeClr val="bg1">
                    <a:lumMod val="50000"/>
                  </a:schemeClr>
                </a:solidFill>
                <a:cs typeface="Arial" charset="0"/>
              </a:rPr>
              <a:t>OpenText Confidential. ©2020 All Rights Reserved.</a:t>
            </a:r>
            <a:endParaRPr lang="en-US" sz="1500" dirty="0">
              <a:solidFill>
                <a:schemeClr val="bg1">
                  <a:lumMod val="50000"/>
                </a:schemeClr>
              </a:solidFill>
              <a:cs typeface="Arial" charset="0"/>
            </a:endParaRPr>
          </a:p>
        </p:txBody>
      </p:sp>
      <p:sp>
        <p:nvSpPr>
          <p:cNvPr id="21" name="TextBox 20">
            <a:extLst>
              <a:ext uri="{FF2B5EF4-FFF2-40B4-BE49-F238E27FC236}">
                <a16:creationId xmlns:a16="http://schemas.microsoft.com/office/drawing/2014/main" id="{91119C13-CC45-A841-AF20-01DD53FC1FE1}"/>
              </a:ext>
            </a:extLst>
          </p:cNvPr>
          <p:cNvSpPr txBox="1"/>
          <p:nvPr userDrawn="1"/>
        </p:nvSpPr>
        <p:spPr>
          <a:xfrm>
            <a:off x="22568875" y="13075272"/>
            <a:ext cx="648072" cy="323165"/>
          </a:xfrm>
          <a:prstGeom prst="rect">
            <a:avLst/>
          </a:prstGeom>
          <a:noFill/>
        </p:spPr>
        <p:txBody>
          <a:bodyPr wrap="square" rtlCol="0">
            <a:spAutoFit/>
          </a:bodyPr>
          <a:lstStyle/>
          <a:p>
            <a:pPr algn="r"/>
            <a:fld id="{FB674739-22A0-499D-AC78-99CE08FC6183}" type="slidenum">
              <a:rPr lang="en-US" sz="1500" b="1" smtClean="0">
                <a:solidFill>
                  <a:schemeClr val="bg1">
                    <a:lumMod val="50000"/>
                  </a:schemeClr>
                </a:solidFill>
              </a:rPr>
              <a:pPr algn="r"/>
              <a:t>‹#›</a:t>
            </a:fld>
            <a:endParaRPr lang="en-US" sz="1500" b="1" dirty="0">
              <a:solidFill>
                <a:schemeClr val="bg1">
                  <a:lumMod val="50000"/>
                </a:schemeClr>
              </a:solidFill>
            </a:endParaRPr>
          </a:p>
        </p:txBody>
      </p:sp>
      <p:pic>
        <p:nvPicPr>
          <p:cNvPr id="22" name="Picture 21">
            <a:extLst>
              <a:ext uri="{FF2B5EF4-FFF2-40B4-BE49-F238E27FC236}">
                <a16:creationId xmlns:a16="http://schemas.microsoft.com/office/drawing/2014/main" id="{8BEB68FB-7484-174D-B158-E52A9C5B5C02}"/>
              </a:ext>
            </a:extLst>
          </p:cNvPr>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a:off x="1242558" y="13018353"/>
            <a:ext cx="2494150" cy="474862"/>
          </a:xfrm>
          <a:prstGeom prst="rect">
            <a:avLst/>
          </a:prstGeom>
        </p:spPr>
      </p:pic>
      <p:cxnSp>
        <p:nvCxnSpPr>
          <p:cNvPr id="23" name="Straight Connector 22">
            <a:extLst>
              <a:ext uri="{FF2B5EF4-FFF2-40B4-BE49-F238E27FC236}">
                <a16:creationId xmlns:a16="http://schemas.microsoft.com/office/drawing/2014/main" id="{BC3FA45E-7C6B-5E4D-940D-D565839DE7E4}"/>
              </a:ext>
            </a:extLst>
          </p:cNvPr>
          <p:cNvCxnSpPr/>
          <p:nvPr userDrawn="1"/>
        </p:nvCxnSpPr>
        <p:spPr>
          <a:xfrm>
            <a:off x="0" y="12750799"/>
            <a:ext cx="24382413" cy="0"/>
          </a:xfrm>
          <a:prstGeom prst="line">
            <a:avLst/>
          </a:prstGeom>
          <a:ln w="127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48742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73" r:id="rId5"/>
    <p:sldLayoutId id="2147483665" r:id="rId6"/>
    <p:sldLayoutId id="2147483666" r:id="rId7"/>
    <p:sldLayoutId id="2147483688" r:id="rId8"/>
    <p:sldLayoutId id="2147483667" r:id="rId9"/>
    <p:sldLayoutId id="2147483689" r:id="rId10"/>
    <p:sldLayoutId id="2147483672" r:id="rId11"/>
    <p:sldLayoutId id="2147483675" r:id="rId12"/>
    <p:sldLayoutId id="2147483674"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Lst>
  <p:txStyles>
    <p:titleStyle>
      <a:lvl1pPr algn="l" defTabSz="1828709" rtl="0" eaLnBrk="1" latinLnBrk="0" hangingPunct="1">
        <a:lnSpc>
          <a:spcPct val="90000"/>
        </a:lnSpc>
        <a:spcBef>
          <a:spcPct val="0"/>
        </a:spcBef>
        <a:buNone/>
        <a:defRPr sz="7000" kern="1200">
          <a:solidFill>
            <a:schemeClr val="accent2"/>
          </a:solidFill>
          <a:latin typeface="+mj-lt"/>
          <a:ea typeface="+mj-ea"/>
          <a:cs typeface="+mj-cs"/>
        </a:defRPr>
      </a:lvl1pPr>
    </p:titleStyle>
    <p:bodyStyle>
      <a:lvl1pPr marL="365125" indent="-365125" algn="l" defTabSz="1828709" rtl="0" eaLnBrk="1" latinLnBrk="0" hangingPunct="1">
        <a:lnSpc>
          <a:spcPct val="90000"/>
        </a:lnSpc>
        <a:spcBef>
          <a:spcPts val="2000"/>
        </a:spcBef>
        <a:buClr>
          <a:schemeClr val="accent2"/>
        </a:buClr>
        <a:buFont typeface="Arial" panose="020B0604020202020204" pitchFamily="34" charset="0"/>
        <a:buChar char="•"/>
        <a:tabLst/>
        <a:defRPr sz="4000" kern="1200">
          <a:solidFill>
            <a:schemeClr val="tx1"/>
          </a:solidFill>
          <a:latin typeface="+mn-lt"/>
          <a:ea typeface="+mn-ea"/>
          <a:cs typeface="+mn-cs"/>
        </a:defRPr>
      </a:lvl1pPr>
      <a:lvl2pPr marL="719138" indent="-354013" algn="l" defTabSz="1828709" rtl="0" eaLnBrk="1" latinLnBrk="0" hangingPunct="1">
        <a:lnSpc>
          <a:spcPct val="90000"/>
        </a:lnSpc>
        <a:spcBef>
          <a:spcPts val="1000"/>
        </a:spcBef>
        <a:buClr>
          <a:schemeClr val="accent2"/>
        </a:buClr>
        <a:buSzPct val="90000"/>
        <a:buFont typeface="System Font Regular"/>
        <a:buChar char="◦"/>
        <a:tabLst/>
        <a:defRPr sz="4000" kern="1200">
          <a:solidFill>
            <a:schemeClr val="tx1"/>
          </a:solidFill>
          <a:latin typeface="+mn-lt"/>
          <a:ea typeface="+mn-ea"/>
          <a:cs typeface="+mn-cs"/>
        </a:defRPr>
      </a:lvl2pPr>
      <a:lvl3pPr marL="1112838" indent="-354013" algn="l" defTabSz="1828709" rtl="0" eaLnBrk="1" latinLnBrk="0" hangingPunct="1">
        <a:lnSpc>
          <a:spcPct val="90000"/>
        </a:lnSpc>
        <a:spcBef>
          <a:spcPts val="1000"/>
        </a:spcBef>
        <a:buClr>
          <a:schemeClr val="accent2"/>
        </a:buClr>
        <a:buSzPct val="85000"/>
        <a:buFont typeface="Wingdings" pitchFamily="2" charset="2"/>
        <a:buChar char="§"/>
        <a:tabLst/>
        <a:defRPr sz="4000" kern="1200">
          <a:solidFill>
            <a:schemeClr val="tx1"/>
          </a:solidFill>
          <a:latin typeface="+mn-lt"/>
          <a:ea typeface="+mn-ea"/>
          <a:cs typeface="+mn-cs"/>
        </a:defRPr>
      </a:lvl3pPr>
      <a:lvl4pPr marL="1477963" indent="-404813" algn="l" defTabSz="1828709" rtl="0" eaLnBrk="1" latinLnBrk="0" hangingPunct="1">
        <a:lnSpc>
          <a:spcPct val="90000"/>
        </a:lnSpc>
        <a:spcBef>
          <a:spcPts val="1000"/>
        </a:spcBef>
        <a:buClr>
          <a:schemeClr val="accent2"/>
        </a:buClr>
        <a:buSzPct val="85000"/>
        <a:buFont typeface="Wingdings" pitchFamily="2" charset="2"/>
        <a:buChar char="§"/>
        <a:tabLst/>
        <a:defRPr sz="4000" kern="1200">
          <a:solidFill>
            <a:schemeClr val="tx1"/>
          </a:solidFill>
          <a:latin typeface="+mn-lt"/>
          <a:ea typeface="+mn-ea"/>
          <a:cs typeface="+mn-cs"/>
        </a:defRPr>
      </a:lvl4pPr>
      <a:lvl5pPr marL="1871663" indent="-393700" algn="l" defTabSz="1828709" rtl="0" eaLnBrk="1" latinLnBrk="0" hangingPunct="1">
        <a:lnSpc>
          <a:spcPct val="90000"/>
        </a:lnSpc>
        <a:spcBef>
          <a:spcPts val="1000"/>
        </a:spcBef>
        <a:buClr>
          <a:schemeClr val="accent2"/>
        </a:buClr>
        <a:buSzPct val="85000"/>
        <a:buFont typeface="Wingdings" panose="05000000000000000000" pitchFamily="2" charset="2"/>
        <a:buChar char="§"/>
        <a:tabLst/>
        <a:defRPr sz="40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5" userDrawn="1">
          <p15:clr>
            <a:srgbClr val="F26B43"/>
          </p15:clr>
        </p15:guide>
        <p15:guide id="2" pos="792" userDrawn="1">
          <p15:clr>
            <a:srgbClr val="F26B43"/>
          </p15:clr>
        </p15:guide>
        <p15:guide id="3" orient="horz" pos="4480" userDrawn="1">
          <p15:clr>
            <a:srgbClr val="F26B43"/>
          </p15:clr>
        </p15:guide>
        <p15:guide id="4" pos="7679" userDrawn="1">
          <p15:clr>
            <a:srgbClr val="F26B43"/>
          </p15:clr>
        </p15:guide>
        <p15:guide id="5" pos="14564" userDrawn="1">
          <p15:clr>
            <a:srgbClr val="F26B43"/>
          </p15:clr>
        </p15:guide>
        <p15:guide id="6" orient="horz" pos="8016" userDrawn="1">
          <p15:clr>
            <a:srgbClr val="F26B43"/>
          </p15:clr>
        </p15:guide>
        <p15:guide id="7" orient="horz" pos="1444" userDrawn="1">
          <p15:clr>
            <a:srgbClr val="F26B43"/>
          </p15:clr>
        </p15:guide>
        <p15:guide id="8" orient="horz" pos="1802" userDrawn="1">
          <p15:clr>
            <a:srgbClr val="F26B43"/>
          </p15:clr>
        </p15:guide>
        <p15:guide id="9" orient="horz" pos="776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15.jpeg"/><Relationship Id="rId7" Type="http://schemas.openxmlformats.org/officeDocument/2006/relationships/image" Target="../media/image19.jpe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3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22.jpeg"/></Relationships>
</file>

<file path=ppt/slides/_rels/slide4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30.xml"/></Relationships>
</file>

<file path=ppt/slides/_rels/slide4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1.xml"/></Relationships>
</file>

<file path=ppt/slides/_rels/slide4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7.xml"/><Relationship Id="rId5" Type="http://schemas.openxmlformats.org/officeDocument/2006/relationships/chart" Target="../charts/chart7.xml"/><Relationship Id="rId4" Type="http://schemas.openxmlformats.org/officeDocument/2006/relationships/chart" Target="../charts/chart6.xml"/></Relationships>
</file>

<file path=ppt/slides/_rels/slide4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7.xml"/><Relationship Id="rId4" Type="http://schemas.openxmlformats.org/officeDocument/2006/relationships/chart" Target="../charts/chart10.xml"/></Relationships>
</file>

<file path=ppt/slides/_rels/slide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chart" Target="../charts/chart13.xml"/><Relationship Id="rId7" Type="http://schemas.openxmlformats.org/officeDocument/2006/relationships/chart" Target="../charts/chart17.xml"/><Relationship Id="rId2" Type="http://schemas.openxmlformats.org/officeDocument/2006/relationships/chart" Target="../charts/chart12.xml"/><Relationship Id="rId1" Type="http://schemas.openxmlformats.org/officeDocument/2006/relationships/slideLayout" Target="../slideLayouts/slideLayout7.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chart" Target="../charts/chart14.xml"/></Relationships>
</file>

<file path=ppt/slides/_rels/slide52.xml.rels><?xml version="1.0" encoding="UTF-8" standalone="yes"?>
<Relationships xmlns="http://schemas.openxmlformats.org/package/2006/relationships"><Relationship Id="rId3" Type="http://schemas.openxmlformats.org/officeDocument/2006/relationships/chart" Target="../charts/chart19.xml"/><Relationship Id="rId7" Type="http://schemas.openxmlformats.org/officeDocument/2006/relationships/chart" Target="../charts/chart23.xml"/><Relationship Id="rId2" Type="http://schemas.openxmlformats.org/officeDocument/2006/relationships/chart" Target="../charts/chart18.xml"/><Relationship Id="rId1" Type="http://schemas.openxmlformats.org/officeDocument/2006/relationships/slideLayout" Target="../slideLayouts/slideLayout7.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chart" Target="../charts/chart20.xml"/></Relationships>
</file>

<file path=ppt/slides/_rels/slide53.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notesSlide" Target="../notesSlides/notesSlide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Layout" Target="../slideLayouts/slideLayout7.xml"/><Relationship Id="rId5" Type="http://schemas.openxmlformats.org/officeDocument/2006/relationships/tags" Target="../tags/tag11.xml"/><Relationship Id="rId4" Type="http://schemas.openxmlformats.org/officeDocument/2006/relationships/tags" Target="../tags/tag1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2.xml"/></Relationships>
</file>

<file path=ppt/slides/_rels/slide7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3.xml"/></Relationships>
</file>

<file path=ppt/slides/_rels/slide7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34.jpeg"/><Relationship Id="rId4" Type="http://schemas.openxmlformats.org/officeDocument/2006/relationships/image" Target="../media/image33.jpeg"/></Relationships>
</file>

<file path=ppt/slides/_rels/slide7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7.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E08E497-E874-D940-AC6E-F54698FCDCB4}"/>
              </a:ext>
            </a:extLst>
          </p:cNvPr>
          <p:cNvSpPr>
            <a:spLocks noGrp="1"/>
          </p:cNvSpPr>
          <p:nvPr>
            <p:ph type="title"/>
          </p:nvPr>
        </p:nvSpPr>
        <p:spPr/>
        <p:txBody>
          <a:bodyPr/>
          <a:lstStyle/>
          <a:p>
            <a:r>
              <a:rPr lang="en-CA"/>
              <a:t>Release notes </a:t>
            </a:r>
            <a:endParaRPr lang="en-US" dirty="0"/>
          </a:p>
        </p:txBody>
      </p:sp>
      <p:sp>
        <p:nvSpPr>
          <p:cNvPr id="5" name="Content Placeholder 4">
            <a:extLst>
              <a:ext uri="{FF2B5EF4-FFF2-40B4-BE49-F238E27FC236}">
                <a16:creationId xmlns:a16="http://schemas.microsoft.com/office/drawing/2014/main" id="{BB12B909-C258-3D48-BAC0-93749DF4BA17}"/>
              </a:ext>
            </a:extLst>
          </p:cNvPr>
          <p:cNvSpPr>
            <a:spLocks noGrp="1"/>
          </p:cNvSpPr>
          <p:nvPr>
            <p:ph sz="half" idx="1"/>
          </p:nvPr>
        </p:nvSpPr>
        <p:spPr>
          <a:xfrm>
            <a:off x="1257301" y="2860675"/>
            <a:ext cx="6931340" cy="9493251"/>
          </a:xfrm>
        </p:spPr>
        <p:txBody>
          <a:bodyPr>
            <a:normAutofit/>
          </a:bodyPr>
          <a:lstStyle/>
          <a:p>
            <a:pPr marL="182563" lvl="0" indent="-182563" defTabSz="914400" fontAlgn="base">
              <a:lnSpc>
                <a:spcPct val="100000"/>
              </a:lnSpc>
              <a:spcBef>
                <a:spcPts val="1600"/>
              </a:spcBef>
              <a:spcAft>
                <a:spcPct val="0"/>
              </a:spcAft>
              <a:buNone/>
            </a:pPr>
            <a:r>
              <a:rPr lang="en-US" sz="2000" b="1" dirty="0">
                <a:solidFill>
                  <a:srgbClr val="000000"/>
                </a:solidFill>
                <a:latin typeface="Arial" charset="0"/>
                <a:ea typeface="ＭＳ Ｐゴシック" charset="0"/>
              </a:rPr>
              <a:t>Revision 14—January 2, 2020</a:t>
            </a:r>
          </a:p>
          <a:p>
            <a:pPr marL="182563" indent="-182563" defTabSz="914400" fontAlgn="base">
              <a:lnSpc>
                <a:spcPct val="100000"/>
              </a:lnSpc>
              <a:spcBef>
                <a:spcPts val="1600"/>
              </a:spcBef>
              <a:spcAft>
                <a:spcPct val="0"/>
              </a:spcAft>
            </a:pPr>
            <a:r>
              <a:rPr lang="en-US" sz="2000" dirty="0">
                <a:solidFill>
                  <a:srgbClr val="000000"/>
                </a:solidFill>
                <a:latin typeface="Arial" charset="0"/>
                <a:ea typeface="ＭＳ Ｐゴシック" charset="0"/>
              </a:rPr>
              <a:t>Updated date in copyright line</a:t>
            </a:r>
          </a:p>
          <a:p>
            <a:pPr marL="182563" lvl="0" indent="-182563" defTabSz="914400" fontAlgn="base">
              <a:lnSpc>
                <a:spcPct val="100000"/>
              </a:lnSpc>
              <a:spcBef>
                <a:spcPts val="1600"/>
              </a:spcBef>
              <a:spcAft>
                <a:spcPct val="0"/>
              </a:spcAft>
              <a:buNone/>
            </a:pPr>
            <a:r>
              <a:rPr lang="en-US" sz="2000" b="1" dirty="0">
                <a:solidFill>
                  <a:srgbClr val="000000"/>
                </a:solidFill>
                <a:latin typeface="Arial" charset="0"/>
                <a:ea typeface="ＭＳ Ｐゴシック" charset="0"/>
              </a:rPr>
              <a:t>Revision 13—November 5, 2019</a:t>
            </a:r>
          </a:p>
          <a:p>
            <a:pPr marL="182563" indent="-182563" defTabSz="914400" fontAlgn="base">
              <a:lnSpc>
                <a:spcPct val="100000"/>
              </a:lnSpc>
              <a:spcBef>
                <a:spcPts val="1600"/>
              </a:spcBef>
              <a:spcAft>
                <a:spcPct val="0"/>
              </a:spcAft>
            </a:pPr>
            <a:r>
              <a:rPr lang="en-US" sz="2000" dirty="0">
                <a:solidFill>
                  <a:srgbClr val="000000"/>
                </a:solidFill>
                <a:latin typeface="Arial" charset="0"/>
                <a:ea typeface="ＭＳ Ｐゴシック" charset="0"/>
              </a:rPr>
              <a:t>Additional layout slides added (33-77)</a:t>
            </a:r>
            <a:endParaRPr lang="en-US" sz="2000" b="1" dirty="0">
              <a:solidFill>
                <a:srgbClr val="000000"/>
              </a:solidFill>
              <a:latin typeface="Arial" charset="0"/>
              <a:ea typeface="ＭＳ Ｐゴシック" charset="0"/>
            </a:endParaRPr>
          </a:p>
          <a:p>
            <a:pPr marL="182563" lvl="0" indent="-182563" defTabSz="914400" fontAlgn="base">
              <a:lnSpc>
                <a:spcPct val="100000"/>
              </a:lnSpc>
              <a:spcBef>
                <a:spcPts val="1600"/>
              </a:spcBef>
              <a:spcAft>
                <a:spcPct val="0"/>
              </a:spcAft>
              <a:buNone/>
            </a:pPr>
            <a:r>
              <a:rPr lang="en-US" sz="2000" b="1" dirty="0">
                <a:solidFill>
                  <a:srgbClr val="000000"/>
                </a:solidFill>
                <a:latin typeface="Arial" charset="0"/>
                <a:ea typeface="ＭＳ Ｐゴシック" charset="0"/>
              </a:rPr>
              <a:t>Revision 12—July 2, 2019</a:t>
            </a:r>
          </a:p>
          <a:p>
            <a:pPr marL="182563" indent="-182563" defTabSz="914400" fontAlgn="base">
              <a:lnSpc>
                <a:spcPct val="100000"/>
              </a:lnSpc>
              <a:spcBef>
                <a:spcPts val="1600"/>
              </a:spcBef>
              <a:spcAft>
                <a:spcPct val="0"/>
              </a:spcAft>
            </a:pPr>
            <a:r>
              <a:rPr lang="en-US" sz="2000" dirty="0">
                <a:solidFill>
                  <a:srgbClr val="000000"/>
                </a:solidFill>
                <a:latin typeface="Arial" charset="0"/>
                <a:ea typeface="ＭＳ Ｐゴシック" charset="0"/>
              </a:rPr>
              <a:t>Updated icon library</a:t>
            </a:r>
            <a:endParaRPr lang="en-US" sz="2000" b="1" dirty="0">
              <a:solidFill>
                <a:srgbClr val="000000"/>
              </a:solidFill>
              <a:latin typeface="Arial" charset="0"/>
              <a:ea typeface="ＭＳ Ｐゴシック" charset="0"/>
            </a:endParaRPr>
          </a:p>
          <a:p>
            <a:pPr marL="0" lvl="0" indent="0" defTabSz="914400" fontAlgn="base">
              <a:lnSpc>
                <a:spcPct val="100000"/>
              </a:lnSpc>
              <a:spcBef>
                <a:spcPts val="1600"/>
              </a:spcBef>
              <a:spcAft>
                <a:spcPct val="0"/>
              </a:spcAft>
              <a:buNone/>
            </a:pPr>
            <a:r>
              <a:rPr lang="en-US" sz="2000" b="1" dirty="0">
                <a:solidFill>
                  <a:srgbClr val="000000"/>
                </a:solidFill>
                <a:latin typeface="Arial" charset="0"/>
                <a:ea typeface="ＭＳ Ｐゴシック" charset="0"/>
              </a:rPr>
              <a:t>Revision 11—April 9, 2019</a:t>
            </a:r>
          </a:p>
          <a:p>
            <a:pPr marL="182563" indent="-182563" defTabSz="914400" fontAlgn="base">
              <a:lnSpc>
                <a:spcPct val="100000"/>
              </a:lnSpc>
              <a:spcBef>
                <a:spcPts val="1600"/>
              </a:spcBef>
              <a:spcAft>
                <a:spcPct val="0"/>
              </a:spcAft>
            </a:pPr>
            <a:r>
              <a:rPr lang="en-US" sz="2000" dirty="0">
                <a:solidFill>
                  <a:srgbClr val="000000"/>
                </a:solidFill>
                <a:latin typeface="Arial" charset="0"/>
                <a:ea typeface="ＭＳ Ｐゴシック" charset="0"/>
              </a:rPr>
              <a:t>Updated master slides and bullet style</a:t>
            </a:r>
          </a:p>
          <a:p>
            <a:pPr marL="182563" indent="-182563" defTabSz="914400" fontAlgn="base">
              <a:lnSpc>
                <a:spcPct val="100000"/>
              </a:lnSpc>
              <a:spcBef>
                <a:spcPts val="1600"/>
              </a:spcBef>
              <a:spcAft>
                <a:spcPct val="0"/>
              </a:spcAft>
            </a:pPr>
            <a:r>
              <a:rPr lang="en-US" sz="2000" dirty="0">
                <a:solidFill>
                  <a:srgbClr val="000000"/>
                </a:solidFill>
                <a:latin typeface="Arial" charset="0"/>
                <a:ea typeface="ＭＳ Ｐゴシック" charset="0"/>
              </a:rPr>
              <a:t>Added slides 12/13 with tips on 12 on copying text formatting</a:t>
            </a:r>
          </a:p>
          <a:p>
            <a:pPr marL="182563" lvl="0" indent="-182563" defTabSz="914400" fontAlgn="base">
              <a:lnSpc>
                <a:spcPct val="100000"/>
              </a:lnSpc>
              <a:spcBef>
                <a:spcPts val="1600"/>
              </a:spcBef>
              <a:spcAft>
                <a:spcPct val="0"/>
              </a:spcAft>
              <a:buNone/>
            </a:pPr>
            <a:r>
              <a:rPr lang="en-US" sz="2000" b="1" dirty="0">
                <a:solidFill>
                  <a:srgbClr val="000000"/>
                </a:solidFill>
                <a:latin typeface="Arial" charset="0"/>
                <a:ea typeface="ＭＳ Ｐゴシック" charset="0"/>
              </a:rPr>
              <a:t>Revision 10—February 12, 2019</a:t>
            </a:r>
          </a:p>
          <a:p>
            <a:pPr marL="182563" indent="-182563" defTabSz="914400" fontAlgn="base">
              <a:lnSpc>
                <a:spcPct val="100000"/>
              </a:lnSpc>
              <a:spcBef>
                <a:spcPts val="1600"/>
              </a:spcBef>
              <a:spcAft>
                <a:spcPct val="0"/>
              </a:spcAft>
            </a:pPr>
            <a:r>
              <a:rPr lang="en-US" sz="2000" dirty="0">
                <a:solidFill>
                  <a:srgbClr val="000000"/>
                </a:solidFill>
                <a:latin typeface="Arial" charset="0"/>
                <a:ea typeface="ＭＳ Ｐゴシック" charset="0"/>
              </a:rPr>
              <a:t>Updated icon library</a:t>
            </a:r>
            <a:endParaRPr lang="en-US" sz="2000" b="1" dirty="0">
              <a:solidFill>
                <a:srgbClr val="000000"/>
              </a:solidFill>
              <a:latin typeface="Arial" charset="0"/>
              <a:ea typeface="ＭＳ Ｐゴシック" charset="0"/>
            </a:endParaRPr>
          </a:p>
          <a:p>
            <a:pPr marL="182563" lvl="0" indent="-182563" defTabSz="914400" fontAlgn="base">
              <a:lnSpc>
                <a:spcPct val="100000"/>
              </a:lnSpc>
              <a:spcBef>
                <a:spcPts val="1600"/>
              </a:spcBef>
              <a:spcAft>
                <a:spcPct val="0"/>
              </a:spcAft>
              <a:buNone/>
            </a:pPr>
            <a:r>
              <a:rPr lang="en-US" sz="2000" b="1" dirty="0">
                <a:solidFill>
                  <a:srgbClr val="000000"/>
                </a:solidFill>
                <a:latin typeface="Arial" charset="0"/>
                <a:ea typeface="ＭＳ Ｐゴシック" charset="0"/>
              </a:rPr>
              <a:t>Revision 9—January 15, 2019</a:t>
            </a:r>
          </a:p>
          <a:p>
            <a:pPr marL="182563" indent="-182563" defTabSz="914400" fontAlgn="base">
              <a:lnSpc>
                <a:spcPct val="100000"/>
              </a:lnSpc>
              <a:spcBef>
                <a:spcPts val="1600"/>
              </a:spcBef>
              <a:spcAft>
                <a:spcPct val="0"/>
              </a:spcAft>
            </a:pPr>
            <a:r>
              <a:rPr lang="en-US" sz="2000" dirty="0">
                <a:solidFill>
                  <a:srgbClr val="000000"/>
                </a:solidFill>
                <a:latin typeface="Arial" charset="0"/>
                <a:ea typeface="ＭＳ Ｐゴシック" charset="0"/>
              </a:rPr>
              <a:t>Updated bullet style</a:t>
            </a:r>
            <a:endParaRPr lang="en-US" sz="2000" b="1" dirty="0">
              <a:solidFill>
                <a:srgbClr val="000000"/>
              </a:solidFill>
              <a:latin typeface="Arial" charset="0"/>
              <a:ea typeface="ＭＳ Ｐゴシック" charset="0"/>
            </a:endParaRPr>
          </a:p>
          <a:p>
            <a:pPr marL="182563" lvl="0" indent="-182563" defTabSz="914400" fontAlgn="base">
              <a:lnSpc>
                <a:spcPct val="100000"/>
              </a:lnSpc>
              <a:spcBef>
                <a:spcPts val="1600"/>
              </a:spcBef>
              <a:spcAft>
                <a:spcPct val="0"/>
              </a:spcAft>
              <a:buClr>
                <a:schemeClr val="accent2"/>
              </a:buClr>
              <a:buNone/>
            </a:pPr>
            <a:r>
              <a:rPr lang="en-US" sz="2000" b="1" dirty="0">
                <a:solidFill>
                  <a:srgbClr val="000000"/>
                </a:solidFill>
                <a:latin typeface="Arial" charset="0"/>
                <a:ea typeface="ＭＳ Ｐゴシック" charset="0"/>
              </a:rPr>
              <a:t>Revision 8—January 2, 2019</a:t>
            </a:r>
          </a:p>
          <a:p>
            <a:pPr marL="182563" indent="-182563" defTabSz="914400" fontAlgn="base">
              <a:lnSpc>
                <a:spcPct val="100000"/>
              </a:lnSpc>
              <a:spcBef>
                <a:spcPts val="1600"/>
              </a:spcBef>
              <a:spcAft>
                <a:spcPct val="0"/>
              </a:spcAft>
            </a:pPr>
            <a:r>
              <a:rPr lang="en-US" sz="2000" dirty="0">
                <a:solidFill>
                  <a:srgbClr val="000000"/>
                </a:solidFill>
                <a:latin typeface="Arial" charset="0"/>
                <a:ea typeface="ＭＳ Ｐゴシック" charset="0"/>
              </a:rPr>
              <a:t>Updated date in copyright line</a:t>
            </a:r>
          </a:p>
          <a:p>
            <a:pPr marL="182563" indent="-182563" defTabSz="914400" fontAlgn="base">
              <a:lnSpc>
                <a:spcPct val="100000"/>
              </a:lnSpc>
              <a:spcBef>
                <a:spcPts val="1600"/>
              </a:spcBef>
              <a:spcAft>
                <a:spcPct val="0"/>
              </a:spcAft>
            </a:pPr>
            <a:r>
              <a:rPr lang="en-US" sz="2000" dirty="0">
                <a:solidFill>
                  <a:srgbClr val="000000"/>
                </a:solidFill>
                <a:latin typeface="Arial" charset="0"/>
                <a:ea typeface="ＭＳ Ｐゴシック" charset="0"/>
              </a:rPr>
              <a:t>Updated table style</a:t>
            </a:r>
          </a:p>
          <a:p>
            <a:pPr marL="182563" indent="-182563" defTabSz="914400" fontAlgn="base">
              <a:lnSpc>
                <a:spcPct val="100000"/>
              </a:lnSpc>
              <a:spcBef>
                <a:spcPts val="1600"/>
              </a:spcBef>
              <a:spcAft>
                <a:spcPct val="0"/>
              </a:spcAft>
            </a:pPr>
            <a:r>
              <a:rPr lang="en-US" sz="2000" dirty="0">
                <a:solidFill>
                  <a:srgbClr val="000000"/>
                </a:solidFill>
                <a:latin typeface="Arial" charset="0"/>
                <a:ea typeface="ＭＳ Ｐゴシック" charset="0"/>
              </a:rPr>
              <a:t>Added calendar </a:t>
            </a:r>
          </a:p>
          <a:p>
            <a:pPr marL="360000" lvl="0" indent="-360000" defTabSz="914400" fontAlgn="base">
              <a:lnSpc>
                <a:spcPct val="100000"/>
              </a:lnSpc>
              <a:spcBef>
                <a:spcPts val="1600"/>
              </a:spcBef>
              <a:spcAft>
                <a:spcPct val="0"/>
              </a:spcAft>
              <a:buFont typeface="System Font Regular"/>
              <a:buChar char="●"/>
            </a:pPr>
            <a:endParaRPr lang="en-US" sz="2000" dirty="0">
              <a:solidFill>
                <a:srgbClr val="000000"/>
              </a:solidFill>
              <a:latin typeface="Arial" charset="0"/>
              <a:ea typeface="ＭＳ Ｐゴシック" charset="0"/>
            </a:endParaRPr>
          </a:p>
        </p:txBody>
      </p:sp>
      <p:sp>
        <p:nvSpPr>
          <p:cNvPr id="6" name="Content Placeholder 5">
            <a:extLst>
              <a:ext uri="{FF2B5EF4-FFF2-40B4-BE49-F238E27FC236}">
                <a16:creationId xmlns:a16="http://schemas.microsoft.com/office/drawing/2014/main" id="{96359CFB-4B01-1349-B8CF-836D4A851F57}"/>
              </a:ext>
            </a:extLst>
          </p:cNvPr>
          <p:cNvSpPr>
            <a:spLocks noGrp="1"/>
          </p:cNvSpPr>
          <p:nvPr>
            <p:ph sz="half" idx="2"/>
          </p:nvPr>
        </p:nvSpPr>
        <p:spPr>
          <a:xfrm>
            <a:off x="8724743" y="2860675"/>
            <a:ext cx="6931340" cy="9493251"/>
          </a:xfrm>
        </p:spPr>
        <p:txBody>
          <a:bodyPr>
            <a:normAutofit/>
          </a:bodyPr>
          <a:lstStyle/>
          <a:p>
            <a:pPr marL="182563" lvl="0" indent="-182563" defTabSz="914400" fontAlgn="base">
              <a:lnSpc>
                <a:spcPct val="100000"/>
              </a:lnSpc>
              <a:spcBef>
                <a:spcPts val="1600"/>
              </a:spcBef>
              <a:spcAft>
                <a:spcPct val="0"/>
              </a:spcAft>
              <a:buClr>
                <a:schemeClr val="accent2"/>
              </a:buClr>
              <a:buNone/>
            </a:pPr>
            <a:r>
              <a:rPr lang="en-US" sz="2000" b="1" dirty="0">
                <a:solidFill>
                  <a:srgbClr val="000000"/>
                </a:solidFill>
                <a:latin typeface="Arial" charset="0"/>
                <a:ea typeface="ＭＳ Ｐゴシック" charset="0"/>
              </a:rPr>
              <a:t>Revision 8—June 8, 2018</a:t>
            </a:r>
          </a:p>
          <a:p>
            <a:pPr marL="182563" indent="-182563" defTabSz="914400" fontAlgn="base">
              <a:lnSpc>
                <a:spcPct val="100000"/>
              </a:lnSpc>
              <a:spcBef>
                <a:spcPts val="1600"/>
              </a:spcBef>
              <a:spcAft>
                <a:spcPct val="0"/>
              </a:spcAft>
            </a:pPr>
            <a:r>
              <a:rPr lang="en-US" sz="2000" dirty="0">
                <a:solidFill>
                  <a:srgbClr val="000000"/>
                </a:solidFill>
                <a:latin typeface="Arial" charset="0"/>
                <a:ea typeface="ＭＳ Ｐゴシック" charset="0"/>
              </a:rPr>
              <a:t>Removed suite wordmark and EIM slides, update coming soon</a:t>
            </a:r>
          </a:p>
          <a:p>
            <a:pPr marL="182563" indent="-182563" defTabSz="914400" fontAlgn="base">
              <a:lnSpc>
                <a:spcPct val="100000"/>
              </a:lnSpc>
              <a:spcBef>
                <a:spcPts val="1600"/>
              </a:spcBef>
              <a:spcAft>
                <a:spcPct val="0"/>
              </a:spcAft>
            </a:pPr>
            <a:r>
              <a:rPr lang="en-US" sz="2000" dirty="0">
                <a:solidFill>
                  <a:srgbClr val="000000"/>
                </a:solidFill>
                <a:latin typeface="Arial" charset="0"/>
                <a:ea typeface="ＭＳ Ｐゴシック" charset="0"/>
              </a:rPr>
              <a:t>Revised Official OpenText corporate color swatches</a:t>
            </a:r>
          </a:p>
          <a:p>
            <a:pPr marL="182563" lvl="0" indent="-182563" defTabSz="914400" fontAlgn="base">
              <a:lnSpc>
                <a:spcPct val="100000"/>
              </a:lnSpc>
              <a:spcBef>
                <a:spcPts val="1600"/>
              </a:spcBef>
              <a:spcAft>
                <a:spcPct val="0"/>
              </a:spcAft>
              <a:buClr>
                <a:schemeClr val="accent2"/>
              </a:buClr>
              <a:buNone/>
            </a:pPr>
            <a:r>
              <a:rPr lang="en-US" sz="2000" b="1" dirty="0">
                <a:solidFill>
                  <a:srgbClr val="000000"/>
                </a:solidFill>
                <a:latin typeface="Arial" charset="0"/>
                <a:ea typeface="ＭＳ Ｐゴシック" charset="0"/>
              </a:rPr>
              <a:t>Revision 7—April 25, 2018</a:t>
            </a:r>
          </a:p>
          <a:p>
            <a:pPr marL="182563" indent="-182563" defTabSz="914400" fontAlgn="base">
              <a:lnSpc>
                <a:spcPct val="100000"/>
              </a:lnSpc>
              <a:spcBef>
                <a:spcPts val="1600"/>
              </a:spcBef>
              <a:spcAft>
                <a:spcPct val="0"/>
              </a:spcAft>
            </a:pPr>
            <a:r>
              <a:rPr lang="en-US" sz="2000" dirty="0">
                <a:solidFill>
                  <a:srgbClr val="000000"/>
                </a:solidFill>
                <a:latin typeface="Arial" charset="0"/>
                <a:ea typeface="ＭＳ Ｐゴシック" charset="0"/>
              </a:rPr>
              <a:t>Added Magellan focused icons</a:t>
            </a:r>
            <a:endParaRPr lang="en-US" sz="2000" b="1" dirty="0">
              <a:solidFill>
                <a:srgbClr val="000000"/>
              </a:solidFill>
              <a:latin typeface="Arial" charset="0"/>
              <a:ea typeface="ＭＳ Ｐゴシック" charset="0"/>
            </a:endParaRPr>
          </a:p>
          <a:p>
            <a:pPr marL="0" lvl="0" indent="0" defTabSz="914400" fontAlgn="base">
              <a:lnSpc>
                <a:spcPct val="100000"/>
              </a:lnSpc>
              <a:spcBef>
                <a:spcPts val="1600"/>
              </a:spcBef>
              <a:spcAft>
                <a:spcPct val="0"/>
              </a:spcAft>
              <a:buClr>
                <a:schemeClr val="accent2"/>
              </a:buClr>
              <a:buNone/>
            </a:pPr>
            <a:r>
              <a:rPr lang="en-US" sz="2000" b="1" dirty="0">
                <a:solidFill>
                  <a:srgbClr val="000000"/>
                </a:solidFill>
                <a:latin typeface="Arial" charset="0"/>
                <a:ea typeface="ＭＳ Ｐゴシック" charset="0"/>
              </a:rPr>
              <a:t>Revision 6—April 6, 2018</a:t>
            </a:r>
          </a:p>
          <a:p>
            <a:pPr marL="182563" indent="-182563" defTabSz="914400" fontAlgn="base">
              <a:lnSpc>
                <a:spcPct val="100000"/>
              </a:lnSpc>
              <a:spcBef>
                <a:spcPts val="1600"/>
              </a:spcBef>
              <a:spcAft>
                <a:spcPct val="0"/>
              </a:spcAft>
            </a:pPr>
            <a:r>
              <a:rPr lang="en-US" sz="2000" dirty="0">
                <a:solidFill>
                  <a:srgbClr val="000000"/>
                </a:solidFill>
                <a:latin typeface="Arial" charset="0"/>
                <a:ea typeface="ＭＳ Ｐゴシック" charset="0"/>
              </a:rPr>
              <a:t>Removed Facebook link from the last page</a:t>
            </a:r>
          </a:p>
          <a:p>
            <a:pPr marL="182563" indent="-182563" defTabSz="914400" fontAlgn="base">
              <a:lnSpc>
                <a:spcPct val="100000"/>
              </a:lnSpc>
              <a:spcBef>
                <a:spcPts val="1600"/>
              </a:spcBef>
              <a:spcAft>
                <a:spcPct val="0"/>
              </a:spcAft>
            </a:pPr>
            <a:r>
              <a:rPr lang="en-US" sz="2000" dirty="0">
                <a:solidFill>
                  <a:srgbClr val="000000"/>
                </a:solidFill>
                <a:latin typeface="Arial" charset="0"/>
                <a:ea typeface="ＭＳ Ｐゴシック" charset="0"/>
              </a:rPr>
              <a:t>Removed the TM sign from the tagline</a:t>
            </a:r>
            <a:endParaRPr lang="en-US" sz="2000" b="1" dirty="0">
              <a:solidFill>
                <a:srgbClr val="000000"/>
              </a:solidFill>
              <a:ea typeface="ＭＳ Ｐゴシック" charset="0"/>
            </a:endParaRPr>
          </a:p>
          <a:p>
            <a:pPr marL="182563" lvl="0" indent="-182563" defTabSz="914400" fontAlgn="base">
              <a:lnSpc>
                <a:spcPct val="100000"/>
              </a:lnSpc>
              <a:spcBef>
                <a:spcPts val="1600"/>
              </a:spcBef>
              <a:spcAft>
                <a:spcPct val="0"/>
              </a:spcAft>
              <a:buClr>
                <a:srgbClr val="2E3C98"/>
              </a:buClr>
              <a:buNone/>
            </a:pPr>
            <a:r>
              <a:rPr lang="en-US" sz="2000" b="1" dirty="0">
                <a:solidFill>
                  <a:srgbClr val="000000"/>
                </a:solidFill>
                <a:ea typeface="ＭＳ Ｐゴシック" charset="0"/>
              </a:rPr>
              <a:t>Revision 5—January 1, 2018</a:t>
            </a:r>
          </a:p>
          <a:p>
            <a:pPr marL="182563" indent="-182563" defTabSz="914400" fontAlgn="base">
              <a:lnSpc>
                <a:spcPct val="100000"/>
              </a:lnSpc>
              <a:spcBef>
                <a:spcPts val="1600"/>
              </a:spcBef>
              <a:spcAft>
                <a:spcPct val="0"/>
              </a:spcAft>
              <a:buClr>
                <a:srgbClr val="2E3C98"/>
              </a:buClr>
            </a:pPr>
            <a:r>
              <a:rPr lang="en-US" sz="2000" dirty="0">
                <a:solidFill>
                  <a:srgbClr val="000000"/>
                </a:solidFill>
                <a:ea typeface="ＭＳ Ｐゴシック" charset="0"/>
              </a:rPr>
              <a:t>Changed the year to 2018 in the copyright line</a:t>
            </a:r>
            <a:endParaRPr lang="en-US" sz="2000" b="1" dirty="0">
              <a:solidFill>
                <a:srgbClr val="000000"/>
              </a:solidFill>
              <a:ea typeface="ＭＳ Ｐゴシック" charset="0"/>
            </a:endParaRPr>
          </a:p>
          <a:p>
            <a:pPr marL="182563" lvl="0" indent="-182563" defTabSz="914400" fontAlgn="base">
              <a:lnSpc>
                <a:spcPct val="100000"/>
              </a:lnSpc>
              <a:spcBef>
                <a:spcPts val="1600"/>
              </a:spcBef>
              <a:spcAft>
                <a:spcPct val="0"/>
              </a:spcAft>
              <a:buClr>
                <a:srgbClr val="2E3C98"/>
              </a:buClr>
              <a:buNone/>
            </a:pPr>
            <a:r>
              <a:rPr lang="en-US" sz="2000" b="1" dirty="0">
                <a:solidFill>
                  <a:srgbClr val="000000"/>
                </a:solidFill>
                <a:ea typeface="ＭＳ Ｐゴシック" charset="0"/>
              </a:rPr>
              <a:t>Revision 4—September 6, 2017</a:t>
            </a:r>
          </a:p>
          <a:p>
            <a:pPr marL="182563" indent="-182563" defTabSz="914400" fontAlgn="base">
              <a:lnSpc>
                <a:spcPct val="100000"/>
              </a:lnSpc>
              <a:spcBef>
                <a:spcPts val="1600"/>
              </a:spcBef>
              <a:spcAft>
                <a:spcPct val="0"/>
              </a:spcAft>
              <a:buClr>
                <a:srgbClr val="2E3C98"/>
              </a:buClr>
            </a:pPr>
            <a:r>
              <a:rPr lang="en-US" sz="2000" dirty="0">
                <a:solidFill>
                  <a:srgbClr val="000000"/>
                </a:solidFill>
                <a:ea typeface="ＭＳ Ｐゴシック" charset="0"/>
              </a:rPr>
              <a:t>New cover image</a:t>
            </a:r>
          </a:p>
          <a:p>
            <a:pPr marL="182563" indent="-182563" defTabSz="914400" fontAlgn="base">
              <a:lnSpc>
                <a:spcPct val="100000"/>
              </a:lnSpc>
              <a:spcBef>
                <a:spcPts val="1600"/>
              </a:spcBef>
              <a:spcAft>
                <a:spcPct val="0"/>
              </a:spcAft>
              <a:buClr>
                <a:srgbClr val="2E3C98"/>
              </a:buClr>
            </a:pPr>
            <a:r>
              <a:rPr lang="en-US" sz="2000" dirty="0">
                <a:solidFill>
                  <a:srgbClr val="000000"/>
                </a:solidFill>
                <a:ea typeface="ＭＳ Ｐゴシック" charset="0"/>
              </a:rPr>
              <a:t>Added icon library</a:t>
            </a:r>
          </a:p>
        </p:txBody>
      </p:sp>
    </p:spTree>
    <p:extLst>
      <p:ext uri="{BB962C8B-B14F-4D97-AF65-F5344CB8AC3E}">
        <p14:creationId xmlns:p14="http://schemas.microsoft.com/office/powerpoint/2010/main" val="5539281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341D4C11-A03D-664C-BD77-1997A284705D}"/>
              </a:ext>
            </a:extLst>
          </p:cNvPr>
          <p:cNvSpPr>
            <a:spLocks noGrp="1"/>
          </p:cNvSpPr>
          <p:nvPr>
            <p:ph type="title"/>
          </p:nvPr>
        </p:nvSpPr>
        <p:spPr/>
        <p:txBody>
          <a:bodyPr/>
          <a:lstStyle/>
          <a:p>
            <a:r>
              <a:rPr lang="en-CA" dirty="0"/>
              <a:t>Official OpenText corporate color swatches</a:t>
            </a:r>
            <a:endParaRPr lang="en-US" dirty="0"/>
          </a:p>
        </p:txBody>
      </p:sp>
      <p:sp>
        <p:nvSpPr>
          <p:cNvPr id="11" name="Text Box 29">
            <a:extLst>
              <a:ext uri="{FF2B5EF4-FFF2-40B4-BE49-F238E27FC236}">
                <a16:creationId xmlns:a16="http://schemas.microsoft.com/office/drawing/2014/main" id="{DCC55AB0-609E-B348-84CB-68BF9D952C8B}"/>
              </a:ext>
            </a:extLst>
          </p:cNvPr>
          <p:cNvSpPr txBox="1">
            <a:spLocks noChangeArrowheads="1"/>
          </p:cNvSpPr>
          <p:nvPr/>
        </p:nvSpPr>
        <p:spPr bwMode="auto">
          <a:xfrm>
            <a:off x="1156543" y="2696499"/>
            <a:ext cx="4385333" cy="7487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buFont typeface="Wingdings" charset="0"/>
              <a:buNone/>
            </a:pPr>
            <a:r>
              <a:rPr lang="en-CA" sz="4266" dirty="0">
                <a:latin typeface="+mj-lt"/>
                <a:cs typeface="HelveticaNeueLT Std" charset="0"/>
              </a:rPr>
              <a:t>Primary colors</a:t>
            </a:r>
          </a:p>
        </p:txBody>
      </p:sp>
      <p:sp>
        <p:nvSpPr>
          <p:cNvPr id="12" name="Text Box 29">
            <a:extLst>
              <a:ext uri="{FF2B5EF4-FFF2-40B4-BE49-F238E27FC236}">
                <a16:creationId xmlns:a16="http://schemas.microsoft.com/office/drawing/2014/main" id="{4C09DB1C-8AE5-DC4D-A732-A2A23F2E677F}"/>
              </a:ext>
            </a:extLst>
          </p:cNvPr>
          <p:cNvSpPr txBox="1">
            <a:spLocks noChangeArrowheads="1"/>
          </p:cNvSpPr>
          <p:nvPr/>
        </p:nvSpPr>
        <p:spPr bwMode="auto">
          <a:xfrm>
            <a:off x="1156543" y="6913967"/>
            <a:ext cx="4636107" cy="7487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buFont typeface="Wingdings" charset="0"/>
              <a:buNone/>
            </a:pPr>
            <a:r>
              <a:rPr lang="en-CA" sz="4266" dirty="0">
                <a:latin typeface="+mj-lt"/>
                <a:cs typeface="HelveticaNeueLT Std" charset="0"/>
              </a:rPr>
              <a:t>Secondary colors</a:t>
            </a:r>
          </a:p>
        </p:txBody>
      </p:sp>
      <p:sp>
        <p:nvSpPr>
          <p:cNvPr id="13" name="Rectangle 4">
            <a:extLst>
              <a:ext uri="{FF2B5EF4-FFF2-40B4-BE49-F238E27FC236}">
                <a16:creationId xmlns:a16="http://schemas.microsoft.com/office/drawing/2014/main" id="{54C3E85F-0889-1747-91D4-2817C65D3B72}"/>
              </a:ext>
            </a:extLst>
          </p:cNvPr>
          <p:cNvSpPr>
            <a:spLocks noChangeArrowheads="1"/>
          </p:cNvSpPr>
          <p:nvPr/>
        </p:nvSpPr>
        <p:spPr bwMode="auto">
          <a:xfrm>
            <a:off x="1246188" y="3630129"/>
            <a:ext cx="10722172" cy="2605989"/>
          </a:xfrm>
          <a:prstGeom prst="roundRect">
            <a:avLst>
              <a:gd name="adj" fmla="val 0"/>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146294" tIns="146294" rIns="146294" bIns="146294" anchor="ctr"/>
          <a:lstStyle/>
          <a:p>
            <a:pPr>
              <a:buFont typeface="Wingdings" charset="0"/>
              <a:buNone/>
            </a:pPr>
            <a:r>
              <a:rPr lang="fr-FR" sz="2400" b="1" dirty="0">
                <a:solidFill>
                  <a:schemeClr val="bg1"/>
                </a:solidFill>
              </a:rPr>
              <a:t>OT </a:t>
            </a:r>
            <a:r>
              <a:rPr lang="fr-FR" sz="2400" b="1" dirty="0" err="1">
                <a:solidFill>
                  <a:schemeClr val="bg1"/>
                </a:solidFill>
              </a:rPr>
              <a:t>Navy</a:t>
            </a:r>
            <a:endParaRPr lang="fr-FR" sz="2400" b="1" dirty="0">
              <a:solidFill>
                <a:schemeClr val="bg1"/>
              </a:solidFill>
            </a:endParaRPr>
          </a:p>
          <a:p>
            <a:pPr>
              <a:buFont typeface="Wingdings" charset="0"/>
              <a:buNone/>
            </a:pPr>
            <a:endParaRPr lang="en-CA" sz="2400" b="1" dirty="0">
              <a:solidFill>
                <a:schemeClr val="bg1"/>
              </a:solidFill>
            </a:endParaRPr>
          </a:p>
          <a:p>
            <a:pPr>
              <a:buFont typeface="Wingdings" charset="0"/>
              <a:buNone/>
            </a:pPr>
            <a:r>
              <a:rPr lang="en-CA" sz="2400" b="1" dirty="0">
                <a:solidFill>
                  <a:schemeClr val="bg1"/>
                </a:solidFill>
              </a:rPr>
              <a:t>R  </a:t>
            </a:r>
            <a:r>
              <a:rPr lang="en-CA" sz="2400" dirty="0">
                <a:solidFill>
                  <a:schemeClr val="bg1"/>
                </a:solidFill>
              </a:rPr>
              <a:t>17</a:t>
            </a:r>
          </a:p>
          <a:p>
            <a:pPr>
              <a:buFont typeface="Wingdings" charset="0"/>
              <a:buNone/>
            </a:pPr>
            <a:r>
              <a:rPr lang="en-CA" sz="2400" b="1" dirty="0">
                <a:solidFill>
                  <a:schemeClr val="bg1"/>
                </a:solidFill>
              </a:rPr>
              <a:t>G  </a:t>
            </a:r>
            <a:r>
              <a:rPr lang="en-CA" sz="2400" dirty="0">
                <a:solidFill>
                  <a:schemeClr val="bg1"/>
                </a:solidFill>
              </a:rPr>
              <a:t>27</a:t>
            </a:r>
          </a:p>
          <a:p>
            <a:pPr>
              <a:buFont typeface="Wingdings" charset="0"/>
              <a:buNone/>
            </a:pPr>
            <a:r>
              <a:rPr lang="en-CA" sz="2400" b="1" dirty="0">
                <a:solidFill>
                  <a:schemeClr val="bg1"/>
                </a:solidFill>
              </a:rPr>
              <a:t>B  </a:t>
            </a:r>
            <a:r>
              <a:rPr lang="en-CA" sz="2400" dirty="0">
                <a:solidFill>
                  <a:schemeClr val="bg1"/>
                </a:solidFill>
              </a:rPr>
              <a:t>88</a:t>
            </a:r>
            <a:endParaRPr lang="fr-FR" sz="2400" b="1" dirty="0">
              <a:solidFill>
                <a:schemeClr val="bg1"/>
              </a:solidFill>
            </a:endParaRPr>
          </a:p>
          <a:p>
            <a:pPr>
              <a:buFont typeface="Wingdings" charset="0"/>
              <a:buNone/>
            </a:pPr>
            <a:r>
              <a:rPr lang="fr-FR" sz="2400" b="1" dirty="0">
                <a:solidFill>
                  <a:schemeClr val="bg1"/>
                </a:solidFill>
              </a:rPr>
              <a:t>#</a:t>
            </a:r>
            <a:r>
              <a:rPr lang="cs-CZ" sz="2400" b="1" dirty="0">
                <a:solidFill>
                  <a:schemeClr val="bg1"/>
                </a:solidFill>
              </a:rPr>
              <a:t>111B58</a:t>
            </a:r>
            <a:endParaRPr lang="fr-FR" sz="2400" b="1" dirty="0">
              <a:solidFill>
                <a:schemeClr val="bg1"/>
              </a:solidFill>
            </a:endParaRPr>
          </a:p>
        </p:txBody>
      </p:sp>
      <p:sp>
        <p:nvSpPr>
          <p:cNvPr id="14" name="Rectangle 4">
            <a:extLst>
              <a:ext uri="{FF2B5EF4-FFF2-40B4-BE49-F238E27FC236}">
                <a16:creationId xmlns:a16="http://schemas.microsoft.com/office/drawing/2014/main" id="{FE5F70C6-205A-C640-BF9F-177C09EE279E}"/>
              </a:ext>
            </a:extLst>
          </p:cNvPr>
          <p:cNvSpPr>
            <a:spLocks noChangeArrowheads="1"/>
          </p:cNvSpPr>
          <p:nvPr/>
        </p:nvSpPr>
        <p:spPr bwMode="auto">
          <a:xfrm>
            <a:off x="12446254" y="3630129"/>
            <a:ext cx="10689971" cy="2605989"/>
          </a:xfrm>
          <a:prstGeom prst="roundRect">
            <a:avLst>
              <a:gd name="adj" fmla="val 0"/>
            </a:avLst>
          </a:prstGeom>
          <a:solidFill>
            <a:schemeClr val="accent2"/>
          </a:solidFill>
          <a:ln>
            <a:noFill/>
          </a:ln>
        </p:spPr>
        <p:txBody>
          <a:bodyPr lIns="146294" tIns="146294" rIns="146294" bIns="146294" anchor="ctr"/>
          <a:lstStyle/>
          <a:p>
            <a:pPr>
              <a:buFont typeface="Wingdings" charset="0"/>
              <a:buNone/>
            </a:pPr>
            <a:r>
              <a:rPr lang="en-CA" sz="2400" b="1" dirty="0">
                <a:solidFill>
                  <a:schemeClr val="bg1"/>
                </a:solidFill>
              </a:rPr>
              <a:t>OT Indigo</a:t>
            </a:r>
          </a:p>
          <a:p>
            <a:pPr>
              <a:buFont typeface="Wingdings" charset="0"/>
              <a:buNone/>
            </a:pPr>
            <a:endParaRPr lang="en-CA" sz="2400" b="1" dirty="0">
              <a:solidFill>
                <a:schemeClr val="bg1"/>
              </a:solidFill>
            </a:endParaRPr>
          </a:p>
          <a:p>
            <a:pPr>
              <a:buFont typeface="Wingdings" charset="0"/>
              <a:buNone/>
            </a:pPr>
            <a:r>
              <a:rPr lang="en-CA" sz="2400" b="1" dirty="0">
                <a:solidFill>
                  <a:schemeClr val="bg1"/>
                </a:solidFill>
              </a:rPr>
              <a:t>R  </a:t>
            </a:r>
            <a:r>
              <a:rPr lang="en-CA" sz="2400" dirty="0">
                <a:solidFill>
                  <a:schemeClr val="bg1"/>
                </a:solidFill>
              </a:rPr>
              <a:t>46</a:t>
            </a:r>
          </a:p>
          <a:p>
            <a:pPr>
              <a:buFont typeface="Wingdings" charset="0"/>
              <a:buNone/>
            </a:pPr>
            <a:r>
              <a:rPr lang="en-CA" sz="2400" b="1" dirty="0">
                <a:solidFill>
                  <a:schemeClr val="bg1"/>
                </a:solidFill>
              </a:rPr>
              <a:t>G  </a:t>
            </a:r>
            <a:r>
              <a:rPr lang="en-CA" sz="2400" dirty="0">
                <a:solidFill>
                  <a:schemeClr val="bg1"/>
                </a:solidFill>
              </a:rPr>
              <a:t>61</a:t>
            </a:r>
          </a:p>
          <a:p>
            <a:pPr>
              <a:buFont typeface="Wingdings" charset="0"/>
              <a:buNone/>
            </a:pPr>
            <a:r>
              <a:rPr lang="en-CA" sz="2400" b="1" dirty="0">
                <a:solidFill>
                  <a:schemeClr val="bg1"/>
                </a:solidFill>
              </a:rPr>
              <a:t>B  </a:t>
            </a:r>
            <a:r>
              <a:rPr lang="en-CA" sz="2400" dirty="0">
                <a:solidFill>
                  <a:schemeClr val="bg1"/>
                </a:solidFill>
              </a:rPr>
              <a:t>152</a:t>
            </a:r>
          </a:p>
          <a:p>
            <a:pPr>
              <a:buFont typeface="Wingdings" charset="0"/>
              <a:buNone/>
            </a:pPr>
            <a:r>
              <a:rPr lang="en-CA" sz="2400" b="1" dirty="0">
                <a:solidFill>
                  <a:schemeClr val="bg1"/>
                </a:solidFill>
              </a:rPr>
              <a:t>#</a:t>
            </a:r>
            <a:r>
              <a:rPr lang="is-IS" sz="2400" b="1" dirty="0">
                <a:solidFill>
                  <a:schemeClr val="bg1"/>
                </a:solidFill>
              </a:rPr>
              <a:t>2E3D98</a:t>
            </a:r>
            <a:endParaRPr lang="en-CA" sz="2400" dirty="0"/>
          </a:p>
        </p:txBody>
      </p:sp>
      <p:sp>
        <p:nvSpPr>
          <p:cNvPr id="15" name="Rectangle 4">
            <a:extLst>
              <a:ext uri="{FF2B5EF4-FFF2-40B4-BE49-F238E27FC236}">
                <a16:creationId xmlns:a16="http://schemas.microsoft.com/office/drawing/2014/main" id="{67BA712C-A551-BA45-B75A-7327A00BA828}"/>
              </a:ext>
            </a:extLst>
          </p:cNvPr>
          <p:cNvSpPr>
            <a:spLocks noChangeArrowheads="1"/>
          </p:cNvSpPr>
          <p:nvPr/>
        </p:nvSpPr>
        <p:spPr bwMode="auto">
          <a:xfrm>
            <a:off x="16147315" y="8002924"/>
            <a:ext cx="6987600" cy="2605989"/>
          </a:xfrm>
          <a:prstGeom prst="roundRect">
            <a:avLst>
              <a:gd name="adj" fmla="val 0"/>
            </a:avLst>
          </a:prstGeom>
          <a:solidFill>
            <a:srgbClr val="E0E7F5"/>
          </a:solidFill>
          <a:ln w="9525">
            <a:noFill/>
            <a:miter lim="800000"/>
            <a:headEnd/>
            <a:tailEnd/>
          </a:ln>
          <a:effectLst/>
        </p:spPr>
        <p:txBody>
          <a:bodyPr lIns="146294" tIns="146294" rIns="146294" bIns="146294" anchor="ctr"/>
          <a:lstStyle/>
          <a:p>
            <a:pPr fontAlgn="auto">
              <a:spcBef>
                <a:spcPts val="0"/>
              </a:spcBef>
              <a:spcAft>
                <a:spcPts val="0"/>
              </a:spcAft>
              <a:defRPr/>
            </a:pPr>
            <a:r>
              <a:rPr lang="en-CA" sz="2400" b="1" dirty="0">
                <a:solidFill>
                  <a:schemeClr val="bg1">
                    <a:lumMod val="50000"/>
                  </a:schemeClr>
                </a:solidFill>
                <a:latin typeface="+mn-lt"/>
                <a:ea typeface="+mn-ea"/>
                <a:cs typeface="+mn-cs"/>
              </a:rPr>
              <a:t>OT Cloud</a:t>
            </a:r>
          </a:p>
          <a:p>
            <a:pPr fontAlgn="auto">
              <a:spcBef>
                <a:spcPts val="0"/>
              </a:spcBef>
              <a:spcAft>
                <a:spcPts val="0"/>
              </a:spcAft>
              <a:defRPr/>
            </a:pPr>
            <a:endParaRPr lang="en-CA" sz="2400" b="1" dirty="0">
              <a:solidFill>
                <a:schemeClr val="bg1">
                  <a:lumMod val="50000"/>
                </a:schemeClr>
              </a:solidFill>
              <a:latin typeface="+mn-lt"/>
              <a:ea typeface="+mn-ea"/>
              <a:cs typeface="+mn-cs"/>
            </a:endParaRPr>
          </a:p>
          <a:p>
            <a:pPr>
              <a:buFont typeface="Wingdings" charset="0"/>
              <a:buNone/>
            </a:pPr>
            <a:r>
              <a:rPr lang="en-CA" sz="2400" b="1" dirty="0">
                <a:solidFill>
                  <a:schemeClr val="bg1">
                    <a:lumMod val="50000"/>
                  </a:schemeClr>
                </a:solidFill>
              </a:rPr>
              <a:t>R  </a:t>
            </a:r>
            <a:r>
              <a:rPr lang="en-CA" sz="2400" dirty="0">
                <a:solidFill>
                  <a:schemeClr val="bg1">
                    <a:lumMod val="50000"/>
                  </a:schemeClr>
                </a:solidFill>
              </a:rPr>
              <a:t>225</a:t>
            </a:r>
          </a:p>
          <a:p>
            <a:pPr>
              <a:buFont typeface="Wingdings" charset="0"/>
              <a:buNone/>
            </a:pPr>
            <a:r>
              <a:rPr lang="en-CA" sz="2400" b="1" dirty="0">
                <a:solidFill>
                  <a:schemeClr val="bg1">
                    <a:lumMod val="50000"/>
                  </a:schemeClr>
                </a:solidFill>
              </a:rPr>
              <a:t>G  </a:t>
            </a:r>
            <a:r>
              <a:rPr lang="en-CA" sz="2400" dirty="0">
                <a:solidFill>
                  <a:schemeClr val="bg1">
                    <a:lumMod val="50000"/>
                  </a:schemeClr>
                </a:solidFill>
              </a:rPr>
              <a:t>232</a:t>
            </a:r>
          </a:p>
          <a:p>
            <a:pPr>
              <a:buFont typeface="Wingdings" charset="0"/>
              <a:buNone/>
            </a:pPr>
            <a:r>
              <a:rPr lang="en-CA" sz="2400" b="1" dirty="0">
                <a:solidFill>
                  <a:schemeClr val="bg1">
                    <a:lumMod val="50000"/>
                  </a:schemeClr>
                </a:solidFill>
              </a:rPr>
              <a:t>B  </a:t>
            </a:r>
            <a:r>
              <a:rPr lang="en-CA" sz="2400" dirty="0">
                <a:solidFill>
                  <a:schemeClr val="bg1">
                    <a:lumMod val="50000"/>
                  </a:schemeClr>
                </a:solidFill>
              </a:rPr>
              <a:t>246</a:t>
            </a:r>
            <a:endParaRPr lang="en-CA" sz="2400" b="1" dirty="0">
              <a:solidFill>
                <a:schemeClr val="bg1">
                  <a:lumMod val="50000"/>
                </a:schemeClr>
              </a:solidFill>
            </a:endParaRPr>
          </a:p>
          <a:p>
            <a:pPr fontAlgn="auto">
              <a:spcBef>
                <a:spcPts val="0"/>
              </a:spcBef>
              <a:spcAft>
                <a:spcPts val="0"/>
              </a:spcAft>
              <a:defRPr/>
            </a:pPr>
            <a:r>
              <a:rPr lang="en-CA" sz="2400" b="1" dirty="0">
                <a:solidFill>
                  <a:schemeClr val="bg1">
                    <a:lumMod val="50000"/>
                  </a:schemeClr>
                </a:solidFill>
                <a:latin typeface="+mn-lt"/>
                <a:ea typeface="+mn-ea"/>
                <a:cs typeface="+mn-cs"/>
              </a:rPr>
              <a:t>#</a:t>
            </a:r>
            <a:r>
              <a:rPr lang="en-US" sz="2400" b="1" dirty="0">
                <a:solidFill>
                  <a:schemeClr val="bg1">
                    <a:lumMod val="50000"/>
                  </a:schemeClr>
                </a:solidFill>
                <a:latin typeface="+mn-lt"/>
                <a:ea typeface="+mn-ea"/>
                <a:cs typeface="+mn-cs"/>
              </a:rPr>
              <a:t>E1E8F6</a:t>
            </a:r>
            <a:endParaRPr lang="en-CA" sz="2400" dirty="0">
              <a:solidFill>
                <a:schemeClr val="bg1">
                  <a:lumMod val="50000"/>
                </a:schemeClr>
              </a:solidFill>
              <a:latin typeface="+mn-lt"/>
              <a:ea typeface="+mn-ea"/>
              <a:cs typeface="+mn-cs"/>
            </a:endParaRPr>
          </a:p>
        </p:txBody>
      </p:sp>
      <p:sp>
        <p:nvSpPr>
          <p:cNvPr id="16" name="Rectangle 4">
            <a:extLst>
              <a:ext uri="{FF2B5EF4-FFF2-40B4-BE49-F238E27FC236}">
                <a16:creationId xmlns:a16="http://schemas.microsoft.com/office/drawing/2014/main" id="{3ADB1205-E03D-6841-A908-162265A57CD1}"/>
              </a:ext>
            </a:extLst>
          </p:cNvPr>
          <p:cNvSpPr>
            <a:spLocks noChangeArrowheads="1"/>
          </p:cNvSpPr>
          <p:nvPr/>
        </p:nvSpPr>
        <p:spPr bwMode="auto">
          <a:xfrm>
            <a:off x="8696751" y="7983046"/>
            <a:ext cx="6987600" cy="2605989"/>
          </a:xfrm>
          <a:prstGeom prst="roundRect">
            <a:avLst>
              <a:gd name="adj" fmla="val 0"/>
            </a:avLst>
          </a:prstGeom>
          <a:solidFill>
            <a:srgbClr val="7F8596"/>
          </a:solidFill>
          <a:ln w="9525">
            <a:noFill/>
            <a:miter lim="800000"/>
            <a:headEnd/>
            <a:tailEnd/>
          </a:ln>
          <a:effectLst/>
        </p:spPr>
        <p:txBody>
          <a:bodyPr lIns="146294" tIns="146294" rIns="146294" bIns="146294" anchor="ctr"/>
          <a:lstStyle/>
          <a:p>
            <a:pPr fontAlgn="auto">
              <a:spcBef>
                <a:spcPts val="0"/>
              </a:spcBef>
              <a:spcAft>
                <a:spcPts val="0"/>
              </a:spcAft>
              <a:defRPr/>
            </a:pPr>
            <a:r>
              <a:rPr lang="en-CA" sz="2400" b="1" dirty="0">
                <a:solidFill>
                  <a:schemeClr val="bg1"/>
                </a:solidFill>
                <a:latin typeface="+mn-lt"/>
                <a:ea typeface="+mn-ea"/>
                <a:cs typeface="+mn-cs"/>
              </a:rPr>
              <a:t>OT Steel</a:t>
            </a:r>
          </a:p>
          <a:p>
            <a:pPr fontAlgn="auto">
              <a:spcBef>
                <a:spcPts val="0"/>
              </a:spcBef>
              <a:spcAft>
                <a:spcPts val="0"/>
              </a:spcAft>
              <a:defRPr/>
            </a:pPr>
            <a:endParaRPr lang="en-CA" sz="2400" b="1" dirty="0">
              <a:solidFill>
                <a:schemeClr val="bg1"/>
              </a:solidFill>
              <a:latin typeface="+mn-lt"/>
              <a:ea typeface="+mn-ea"/>
              <a:cs typeface="+mn-cs"/>
            </a:endParaRPr>
          </a:p>
          <a:p>
            <a:pPr>
              <a:buFont typeface="Wingdings" charset="0"/>
              <a:buNone/>
            </a:pPr>
            <a:r>
              <a:rPr lang="en-CA" sz="2400" b="1" dirty="0">
                <a:solidFill>
                  <a:schemeClr val="bg1"/>
                </a:solidFill>
              </a:rPr>
              <a:t>R  </a:t>
            </a:r>
            <a:r>
              <a:rPr lang="en-CA" sz="2400" dirty="0">
                <a:solidFill>
                  <a:schemeClr val="bg1"/>
                </a:solidFill>
              </a:rPr>
              <a:t>127</a:t>
            </a:r>
          </a:p>
          <a:p>
            <a:pPr>
              <a:buFont typeface="Wingdings" charset="0"/>
              <a:buNone/>
            </a:pPr>
            <a:r>
              <a:rPr lang="en-CA" sz="2400" b="1" dirty="0">
                <a:solidFill>
                  <a:schemeClr val="bg1"/>
                </a:solidFill>
              </a:rPr>
              <a:t>G  </a:t>
            </a:r>
            <a:r>
              <a:rPr lang="en-CA" sz="2400" dirty="0">
                <a:solidFill>
                  <a:schemeClr val="bg1"/>
                </a:solidFill>
              </a:rPr>
              <a:t>134</a:t>
            </a:r>
          </a:p>
          <a:p>
            <a:pPr>
              <a:buFont typeface="Wingdings" charset="0"/>
              <a:buNone/>
            </a:pPr>
            <a:r>
              <a:rPr lang="en-CA" sz="2400" b="1" dirty="0">
                <a:solidFill>
                  <a:schemeClr val="bg1"/>
                </a:solidFill>
              </a:rPr>
              <a:t>B  </a:t>
            </a:r>
            <a:r>
              <a:rPr lang="en-CA" sz="2400" dirty="0">
                <a:solidFill>
                  <a:schemeClr val="bg1"/>
                </a:solidFill>
              </a:rPr>
              <a:t>151</a:t>
            </a:r>
            <a:endParaRPr lang="en-CA" sz="2400" b="1" dirty="0">
              <a:solidFill>
                <a:schemeClr val="bg1"/>
              </a:solidFill>
              <a:latin typeface="+mn-lt"/>
              <a:ea typeface="+mn-ea"/>
              <a:cs typeface="+mn-cs"/>
            </a:endParaRPr>
          </a:p>
          <a:p>
            <a:pPr fontAlgn="auto">
              <a:spcBef>
                <a:spcPts val="0"/>
              </a:spcBef>
              <a:spcAft>
                <a:spcPts val="0"/>
              </a:spcAft>
              <a:defRPr/>
            </a:pPr>
            <a:r>
              <a:rPr lang="en-CA" sz="2400" b="1" dirty="0">
                <a:solidFill>
                  <a:schemeClr val="bg1"/>
                </a:solidFill>
                <a:latin typeface="+mn-lt"/>
                <a:ea typeface="+mn-ea"/>
                <a:cs typeface="+mn-cs"/>
              </a:rPr>
              <a:t>#</a:t>
            </a:r>
            <a:r>
              <a:rPr lang="is-IS" sz="2400" b="1" dirty="0">
                <a:solidFill>
                  <a:schemeClr val="bg1"/>
                </a:solidFill>
                <a:latin typeface="+mn-lt"/>
                <a:ea typeface="+mn-ea"/>
                <a:cs typeface="+mn-cs"/>
              </a:rPr>
              <a:t>7E929F</a:t>
            </a:r>
            <a:endParaRPr lang="en-CA" sz="2400" dirty="0">
              <a:latin typeface="+mn-lt"/>
              <a:ea typeface="+mn-ea"/>
              <a:cs typeface="+mn-cs"/>
            </a:endParaRPr>
          </a:p>
        </p:txBody>
      </p:sp>
      <p:sp>
        <p:nvSpPr>
          <p:cNvPr id="17" name="Rectangle 4">
            <a:extLst>
              <a:ext uri="{FF2B5EF4-FFF2-40B4-BE49-F238E27FC236}">
                <a16:creationId xmlns:a16="http://schemas.microsoft.com/office/drawing/2014/main" id="{4FDE3C4E-A0BD-0F43-A0ED-32225304E3A9}"/>
              </a:ext>
            </a:extLst>
          </p:cNvPr>
          <p:cNvSpPr>
            <a:spLocks noChangeArrowheads="1"/>
          </p:cNvSpPr>
          <p:nvPr/>
        </p:nvSpPr>
        <p:spPr bwMode="auto">
          <a:xfrm>
            <a:off x="1246188" y="7983046"/>
            <a:ext cx="6987600" cy="2605989"/>
          </a:xfrm>
          <a:prstGeom prst="roundRect">
            <a:avLst>
              <a:gd name="adj" fmla="val 0"/>
            </a:avLst>
          </a:prstGeom>
          <a:solidFill>
            <a:schemeClr val="accent1"/>
          </a:solidFill>
          <a:ln>
            <a:noFill/>
          </a:ln>
        </p:spPr>
        <p:txBody>
          <a:bodyPr lIns="146294" tIns="146294" rIns="146294" bIns="146294" anchor="ctr"/>
          <a:lstStyle/>
          <a:p>
            <a:pPr>
              <a:buFont typeface="Wingdings" charset="0"/>
              <a:buNone/>
            </a:pPr>
            <a:r>
              <a:rPr lang="en-CA" sz="2400" b="1" dirty="0">
                <a:solidFill>
                  <a:schemeClr val="bg1"/>
                </a:solidFill>
              </a:rPr>
              <a:t>OT Plum</a:t>
            </a:r>
          </a:p>
          <a:p>
            <a:pPr>
              <a:buFont typeface="Wingdings" charset="0"/>
              <a:buNone/>
            </a:pPr>
            <a:endParaRPr lang="en-CA" sz="2400" b="1" dirty="0">
              <a:solidFill>
                <a:schemeClr val="bg1"/>
              </a:solidFill>
            </a:endParaRPr>
          </a:p>
          <a:p>
            <a:pPr>
              <a:buFont typeface="Wingdings" charset="0"/>
              <a:buNone/>
            </a:pPr>
            <a:r>
              <a:rPr lang="en-CA" sz="2400" b="1" dirty="0">
                <a:solidFill>
                  <a:schemeClr val="bg1"/>
                </a:solidFill>
              </a:rPr>
              <a:t>R  </a:t>
            </a:r>
            <a:r>
              <a:rPr lang="en-CA" sz="2400" dirty="0">
                <a:solidFill>
                  <a:schemeClr val="bg1"/>
                </a:solidFill>
              </a:rPr>
              <a:t>79</a:t>
            </a:r>
          </a:p>
          <a:p>
            <a:pPr>
              <a:buFont typeface="Wingdings" charset="0"/>
              <a:buNone/>
            </a:pPr>
            <a:r>
              <a:rPr lang="en-CA" sz="2400" b="1" dirty="0">
                <a:solidFill>
                  <a:schemeClr val="bg1"/>
                </a:solidFill>
              </a:rPr>
              <a:t>G  </a:t>
            </a:r>
            <a:r>
              <a:rPr lang="en-CA" sz="2400" dirty="0">
                <a:solidFill>
                  <a:schemeClr val="bg1"/>
                </a:solidFill>
              </a:rPr>
              <a:t>54</a:t>
            </a:r>
          </a:p>
          <a:p>
            <a:pPr>
              <a:buFont typeface="Wingdings" charset="0"/>
              <a:buNone/>
            </a:pPr>
            <a:r>
              <a:rPr lang="en-CA" sz="2400" b="1" dirty="0">
                <a:solidFill>
                  <a:schemeClr val="bg1"/>
                </a:solidFill>
              </a:rPr>
              <a:t>B  </a:t>
            </a:r>
            <a:r>
              <a:rPr lang="en-CA" sz="2400" dirty="0">
                <a:solidFill>
                  <a:schemeClr val="bg1"/>
                </a:solidFill>
              </a:rPr>
              <a:t>144</a:t>
            </a:r>
            <a:endParaRPr lang="en-CA" sz="2400" b="1" dirty="0">
              <a:solidFill>
                <a:schemeClr val="bg1"/>
              </a:solidFill>
            </a:endParaRPr>
          </a:p>
          <a:p>
            <a:pPr>
              <a:buFont typeface="Wingdings" charset="0"/>
              <a:buNone/>
            </a:pPr>
            <a:r>
              <a:rPr lang="en-CA" sz="2400" b="1" dirty="0">
                <a:solidFill>
                  <a:schemeClr val="bg1"/>
                </a:solidFill>
              </a:rPr>
              <a:t>#4F3690</a:t>
            </a:r>
            <a:endParaRPr lang="en-CA" sz="2400" dirty="0"/>
          </a:p>
        </p:txBody>
      </p:sp>
    </p:spTree>
    <p:extLst>
      <p:ext uri="{BB962C8B-B14F-4D97-AF65-F5344CB8AC3E}">
        <p14:creationId xmlns:p14="http://schemas.microsoft.com/office/powerpoint/2010/main" val="332259156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Folders - 1</a:t>
            </a:r>
          </a:p>
        </p:txBody>
      </p:sp>
      <p:sp>
        <p:nvSpPr>
          <p:cNvPr id="18" name="TextBox 17">
            <a:extLst>
              <a:ext uri="{FF2B5EF4-FFF2-40B4-BE49-F238E27FC236}">
                <a16:creationId xmlns:a16="http://schemas.microsoft.com/office/drawing/2014/main" id="{7710D070-C140-F04B-925E-BDB4F595F654}"/>
              </a:ext>
            </a:extLst>
          </p:cNvPr>
          <p:cNvSpPr txBox="1"/>
          <p:nvPr/>
        </p:nvSpPr>
        <p:spPr>
          <a:xfrm>
            <a:off x="1396461" y="5164929"/>
            <a:ext cx="2465738" cy="89383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ultiple Folders</a:t>
            </a:r>
          </a:p>
        </p:txBody>
      </p:sp>
      <p:sp>
        <p:nvSpPr>
          <p:cNvPr id="19" name="TextBox 18">
            <a:extLst>
              <a:ext uri="{FF2B5EF4-FFF2-40B4-BE49-F238E27FC236}">
                <a16:creationId xmlns:a16="http://schemas.microsoft.com/office/drawing/2014/main" id="{A35CC0A4-53C6-784C-9A05-A98404CA7B14}"/>
              </a:ext>
            </a:extLst>
          </p:cNvPr>
          <p:cNvSpPr txBox="1"/>
          <p:nvPr/>
        </p:nvSpPr>
        <p:spPr>
          <a:xfrm>
            <a:off x="5566758" y="5164929"/>
            <a:ext cx="243317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Open</a:t>
            </a:r>
          </a:p>
        </p:txBody>
      </p:sp>
      <p:sp>
        <p:nvSpPr>
          <p:cNvPr id="20" name="TextBox 19">
            <a:extLst>
              <a:ext uri="{FF2B5EF4-FFF2-40B4-BE49-F238E27FC236}">
                <a16:creationId xmlns:a16="http://schemas.microsoft.com/office/drawing/2014/main" id="{84196028-E006-6F4D-802B-AE784484D6F8}"/>
              </a:ext>
            </a:extLst>
          </p:cNvPr>
          <p:cNvSpPr txBox="1"/>
          <p:nvPr/>
        </p:nvSpPr>
        <p:spPr>
          <a:xfrm>
            <a:off x="8988286"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a:t>
            </a:r>
          </a:p>
        </p:txBody>
      </p:sp>
      <p:sp>
        <p:nvSpPr>
          <p:cNvPr id="21" name="TextBox 20">
            <a:extLst>
              <a:ext uri="{FF2B5EF4-FFF2-40B4-BE49-F238E27FC236}">
                <a16:creationId xmlns:a16="http://schemas.microsoft.com/office/drawing/2014/main" id="{A605C88C-99FD-734A-91E4-F55C470A9307}"/>
              </a:ext>
            </a:extLst>
          </p:cNvPr>
          <p:cNvSpPr txBox="1"/>
          <p:nvPr/>
        </p:nvSpPr>
        <p:spPr>
          <a:xfrm>
            <a:off x="13159177" y="5164929"/>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x</a:t>
            </a:r>
          </a:p>
        </p:txBody>
      </p:sp>
      <p:sp>
        <p:nvSpPr>
          <p:cNvPr id="22" name="TextBox 21">
            <a:extLst>
              <a:ext uri="{FF2B5EF4-FFF2-40B4-BE49-F238E27FC236}">
                <a16:creationId xmlns:a16="http://schemas.microsoft.com/office/drawing/2014/main" id="{E40FE998-C252-1342-ACBF-693CDF91DA56}"/>
              </a:ext>
            </a:extLst>
          </p:cNvPr>
          <p:cNvSpPr txBox="1"/>
          <p:nvPr/>
        </p:nvSpPr>
        <p:spPr>
          <a:xfrm>
            <a:off x="20809186" y="5164929"/>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a:t>
            </a:r>
          </a:p>
        </p:txBody>
      </p:sp>
      <p:sp>
        <p:nvSpPr>
          <p:cNvPr id="23" name="TextBox 22">
            <a:extLst>
              <a:ext uri="{FF2B5EF4-FFF2-40B4-BE49-F238E27FC236}">
                <a16:creationId xmlns:a16="http://schemas.microsoft.com/office/drawing/2014/main" id="{1B4C3AE3-A682-8C4F-9911-B674E1F4C924}"/>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a:t>
            </a:r>
          </a:p>
        </p:txBody>
      </p:sp>
      <p:sp>
        <p:nvSpPr>
          <p:cNvPr id="24" name="TextBox 23">
            <a:extLst>
              <a:ext uri="{FF2B5EF4-FFF2-40B4-BE49-F238E27FC236}">
                <a16:creationId xmlns:a16="http://schemas.microsoft.com/office/drawing/2014/main" id="{9A3363CF-5DAE-B941-ACAE-FBE57F0F05CA}"/>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a:t>
            </a:r>
          </a:p>
        </p:txBody>
      </p:sp>
      <p:sp>
        <p:nvSpPr>
          <p:cNvPr id="25" name="TextBox 24">
            <a:extLst>
              <a:ext uri="{FF2B5EF4-FFF2-40B4-BE49-F238E27FC236}">
                <a16:creationId xmlns:a16="http://schemas.microsoft.com/office/drawing/2014/main" id="{12C96C60-135F-E741-A884-EBEA09DE765E}"/>
              </a:ext>
            </a:extLst>
          </p:cNvPr>
          <p:cNvSpPr txBox="1"/>
          <p:nvPr/>
        </p:nvSpPr>
        <p:spPr>
          <a:xfrm>
            <a:off x="9573305" y="8292956"/>
            <a:ext cx="239462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Folder Down</a:t>
            </a:r>
            <a:endParaRPr lang="en-US" sz="2800" dirty="0"/>
          </a:p>
        </p:txBody>
      </p:sp>
      <p:sp>
        <p:nvSpPr>
          <p:cNvPr id="26" name="TextBox 25">
            <a:extLst>
              <a:ext uri="{FF2B5EF4-FFF2-40B4-BE49-F238E27FC236}">
                <a16:creationId xmlns:a16="http://schemas.microsoft.com/office/drawing/2014/main" id="{D0F8F5A7-6ABC-4C40-B877-78B1074E7C51}"/>
              </a:ext>
            </a:extLst>
          </p:cNvPr>
          <p:cNvSpPr txBox="1"/>
          <p:nvPr/>
        </p:nvSpPr>
        <p:spPr>
          <a:xfrm>
            <a:off x="12913733" y="8292956"/>
            <a:ext cx="311233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Up</a:t>
            </a:r>
          </a:p>
        </p:txBody>
      </p:sp>
      <p:sp>
        <p:nvSpPr>
          <p:cNvPr id="27" name="TextBox 26">
            <a:extLst>
              <a:ext uri="{FF2B5EF4-FFF2-40B4-BE49-F238E27FC236}">
                <a16:creationId xmlns:a16="http://schemas.microsoft.com/office/drawing/2014/main" id="{BB97D627-4FF6-F64D-88B6-8C0814DA78FE}"/>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Folder Connect</a:t>
            </a:r>
            <a:endParaRPr lang="en-US" sz="2800" dirty="0"/>
          </a:p>
        </p:txBody>
      </p:sp>
      <p:sp>
        <p:nvSpPr>
          <p:cNvPr id="28" name="TextBox 27">
            <a:extLst>
              <a:ext uri="{FF2B5EF4-FFF2-40B4-BE49-F238E27FC236}">
                <a16:creationId xmlns:a16="http://schemas.microsoft.com/office/drawing/2014/main" id="{02640EDF-9694-CC47-B22B-DF1242054FFA}"/>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lock</a:t>
            </a:r>
          </a:p>
        </p:txBody>
      </p:sp>
      <p:sp>
        <p:nvSpPr>
          <p:cNvPr id="29" name="TextBox 28">
            <a:extLst>
              <a:ext uri="{FF2B5EF4-FFF2-40B4-BE49-F238E27FC236}">
                <a16:creationId xmlns:a16="http://schemas.microsoft.com/office/drawing/2014/main" id="{5F1BF773-0F04-B54D-B72C-C3827BC3F3B0}"/>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Search</a:t>
            </a:r>
          </a:p>
        </p:txBody>
      </p:sp>
      <p:sp>
        <p:nvSpPr>
          <p:cNvPr id="30" name="TextBox 29">
            <a:extLst>
              <a:ext uri="{FF2B5EF4-FFF2-40B4-BE49-F238E27FC236}">
                <a16:creationId xmlns:a16="http://schemas.microsoft.com/office/drawing/2014/main" id="{839C981E-352D-084D-8F4A-36A6FD7828CA}"/>
              </a:ext>
            </a:extLst>
          </p:cNvPr>
          <p:cNvSpPr txBox="1"/>
          <p:nvPr/>
        </p:nvSpPr>
        <p:spPr>
          <a:xfrm>
            <a:off x="8916864"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Music</a:t>
            </a:r>
          </a:p>
        </p:txBody>
      </p:sp>
      <p:sp>
        <p:nvSpPr>
          <p:cNvPr id="31" name="TextBox 30">
            <a:extLst>
              <a:ext uri="{FF2B5EF4-FFF2-40B4-BE49-F238E27FC236}">
                <a16:creationId xmlns:a16="http://schemas.microsoft.com/office/drawing/2014/main" id="{702D6B27-F81A-3F4A-B702-CBC1A82BDE7A}"/>
              </a:ext>
            </a:extLst>
          </p:cNvPr>
          <p:cNvSpPr txBox="1"/>
          <p:nvPr/>
        </p:nvSpPr>
        <p:spPr>
          <a:xfrm>
            <a:off x="13159177"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Picts</a:t>
            </a:r>
          </a:p>
        </p:txBody>
      </p:sp>
      <p:sp>
        <p:nvSpPr>
          <p:cNvPr id="32" name="TextBox 31">
            <a:extLst>
              <a:ext uri="{FF2B5EF4-FFF2-40B4-BE49-F238E27FC236}">
                <a16:creationId xmlns:a16="http://schemas.microsoft.com/office/drawing/2014/main" id="{9B03F238-C54E-1F49-95E0-8A4A030DD542}"/>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Zip</a:t>
            </a:r>
          </a:p>
        </p:txBody>
      </p:sp>
      <p:sp>
        <p:nvSpPr>
          <p:cNvPr id="33" name="Freeform: Shape 26">
            <a:extLst>
              <a:ext uri="{FF2B5EF4-FFF2-40B4-BE49-F238E27FC236}">
                <a16:creationId xmlns:a16="http://schemas.microsoft.com/office/drawing/2014/main" id="{589BAF24-58D9-7046-91F1-52F5C28D3C57}"/>
              </a:ext>
            </a:extLst>
          </p:cNvPr>
          <p:cNvSpPr/>
          <p:nvPr/>
        </p:nvSpPr>
        <p:spPr>
          <a:xfrm>
            <a:off x="10770617"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4" name="TextBox 33">
            <a:extLst>
              <a:ext uri="{FF2B5EF4-FFF2-40B4-BE49-F238E27FC236}">
                <a16:creationId xmlns:a16="http://schemas.microsoft.com/office/drawing/2014/main" id="{B8CA0B6B-D18E-B043-8514-79FF841378CB}"/>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a:t>
            </a:r>
          </a:p>
        </p:txBody>
      </p:sp>
      <p:sp>
        <p:nvSpPr>
          <p:cNvPr id="35" name="TextBox 34">
            <a:extLst>
              <a:ext uri="{FF2B5EF4-FFF2-40B4-BE49-F238E27FC236}">
                <a16:creationId xmlns:a16="http://schemas.microsoft.com/office/drawing/2014/main" id="{67627142-5598-1A42-A4A3-C01C985F7B2D}"/>
              </a:ext>
            </a:extLst>
          </p:cNvPr>
          <p:cNvSpPr txBox="1"/>
          <p:nvPr/>
        </p:nvSpPr>
        <p:spPr>
          <a:xfrm>
            <a:off x="16540096" y="8292956"/>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Right</a:t>
            </a:r>
          </a:p>
        </p:txBody>
      </p:sp>
      <p:sp>
        <p:nvSpPr>
          <p:cNvPr id="36" name="TextBox 35">
            <a:extLst>
              <a:ext uri="{FF2B5EF4-FFF2-40B4-BE49-F238E27FC236}">
                <a16:creationId xmlns:a16="http://schemas.microsoft.com/office/drawing/2014/main" id="{147F861D-C65E-0F4B-ABC8-EFDFBC6CAA4F}"/>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Play</a:t>
            </a:r>
          </a:p>
        </p:txBody>
      </p:sp>
      <p:sp>
        <p:nvSpPr>
          <p:cNvPr id="37" name="Freeform: Shape 3">
            <a:extLst>
              <a:ext uri="{FF2B5EF4-FFF2-40B4-BE49-F238E27FC236}">
                <a16:creationId xmlns:a16="http://schemas.microsoft.com/office/drawing/2014/main" id="{6C7013CF-1FA8-E44C-A1D9-A490CCC977C3}"/>
              </a:ext>
            </a:extLst>
          </p:cNvPr>
          <p:cNvSpPr/>
          <p:nvPr/>
        </p:nvSpPr>
        <p:spPr>
          <a:xfrm>
            <a:off x="1706492" y="3049218"/>
            <a:ext cx="1923480" cy="1757160"/>
          </a:xfrm>
          <a:custGeom>
            <a:avLst/>
            <a:gdLst/>
            <a:ahLst/>
            <a:cxnLst>
              <a:cxn ang="3cd4">
                <a:pos x="hc" y="t"/>
              </a:cxn>
              <a:cxn ang="cd2">
                <a:pos x="l" y="vc"/>
              </a:cxn>
              <a:cxn ang="cd4">
                <a:pos x="hc" y="b"/>
              </a:cxn>
              <a:cxn ang="0">
                <a:pos x="r" y="vc"/>
              </a:cxn>
            </a:cxnLst>
            <a:rect l="l" t="t" r="r" b="b"/>
            <a:pathLst>
              <a:path w="5344" h="4882">
                <a:moveTo>
                  <a:pt x="334" y="4882"/>
                </a:moveTo>
                <a:lnTo>
                  <a:pt x="4151" y="4882"/>
                </a:lnTo>
                <a:cubicBezTo>
                  <a:pt x="4310" y="4882"/>
                  <a:pt x="4437" y="4755"/>
                  <a:pt x="4437" y="4596"/>
                </a:cubicBezTo>
                <a:lnTo>
                  <a:pt x="4437" y="2178"/>
                </a:lnTo>
                <a:cubicBezTo>
                  <a:pt x="4437" y="2004"/>
                  <a:pt x="4342" y="1892"/>
                  <a:pt x="4199" y="1892"/>
                </a:cubicBezTo>
                <a:lnTo>
                  <a:pt x="3992" y="1892"/>
                </a:lnTo>
                <a:lnTo>
                  <a:pt x="3992" y="1701"/>
                </a:lnTo>
                <a:cubicBezTo>
                  <a:pt x="3992" y="1542"/>
                  <a:pt x="3865" y="1415"/>
                  <a:pt x="3706" y="1415"/>
                </a:cubicBezTo>
                <a:lnTo>
                  <a:pt x="1702" y="1415"/>
                </a:lnTo>
                <a:lnTo>
                  <a:pt x="1559" y="1097"/>
                </a:lnTo>
                <a:cubicBezTo>
                  <a:pt x="1511" y="986"/>
                  <a:pt x="1384" y="906"/>
                  <a:pt x="1256" y="906"/>
                </a:cubicBezTo>
                <a:lnTo>
                  <a:pt x="286" y="906"/>
                </a:lnTo>
                <a:cubicBezTo>
                  <a:pt x="127" y="906"/>
                  <a:pt x="0" y="1033"/>
                  <a:pt x="0" y="1193"/>
                </a:cubicBezTo>
                <a:lnTo>
                  <a:pt x="0" y="4549"/>
                </a:lnTo>
                <a:cubicBezTo>
                  <a:pt x="0" y="4628"/>
                  <a:pt x="32" y="4707"/>
                  <a:pt x="80" y="4771"/>
                </a:cubicBezTo>
                <a:cubicBezTo>
                  <a:pt x="127" y="4819"/>
                  <a:pt x="207" y="4882"/>
                  <a:pt x="334" y="4882"/>
                </a:cubicBezTo>
                <a:close/>
                <a:moveTo>
                  <a:pt x="4279" y="2178"/>
                </a:moveTo>
                <a:lnTo>
                  <a:pt x="4279" y="4596"/>
                </a:lnTo>
                <a:cubicBezTo>
                  <a:pt x="4279" y="4676"/>
                  <a:pt x="4215" y="4723"/>
                  <a:pt x="4151" y="4723"/>
                </a:cubicBezTo>
                <a:lnTo>
                  <a:pt x="652" y="4723"/>
                </a:lnTo>
                <a:cubicBezTo>
                  <a:pt x="668" y="4692"/>
                  <a:pt x="684" y="4660"/>
                  <a:pt x="684" y="4612"/>
                </a:cubicBezTo>
                <a:lnTo>
                  <a:pt x="700" y="4612"/>
                </a:lnTo>
                <a:lnTo>
                  <a:pt x="700" y="4389"/>
                </a:lnTo>
                <a:lnTo>
                  <a:pt x="700" y="2178"/>
                </a:lnTo>
                <a:cubicBezTo>
                  <a:pt x="700" y="2099"/>
                  <a:pt x="764" y="2051"/>
                  <a:pt x="827" y="2051"/>
                </a:cubicBezTo>
                <a:lnTo>
                  <a:pt x="4199" y="2051"/>
                </a:lnTo>
                <a:cubicBezTo>
                  <a:pt x="4246" y="2051"/>
                  <a:pt x="4279" y="2083"/>
                  <a:pt x="4279" y="2178"/>
                </a:cubicBezTo>
                <a:close/>
                <a:moveTo>
                  <a:pt x="159" y="1193"/>
                </a:moveTo>
                <a:cubicBezTo>
                  <a:pt x="159" y="1129"/>
                  <a:pt x="223" y="1065"/>
                  <a:pt x="286" y="1065"/>
                </a:cubicBezTo>
                <a:lnTo>
                  <a:pt x="1256" y="1065"/>
                </a:lnTo>
                <a:cubicBezTo>
                  <a:pt x="1320" y="1065"/>
                  <a:pt x="1384" y="1113"/>
                  <a:pt x="1416" y="1160"/>
                </a:cubicBezTo>
                <a:lnTo>
                  <a:pt x="1574" y="1526"/>
                </a:lnTo>
                <a:cubicBezTo>
                  <a:pt x="1591" y="1558"/>
                  <a:pt x="1606" y="1574"/>
                  <a:pt x="1638" y="1574"/>
                </a:cubicBezTo>
                <a:lnTo>
                  <a:pt x="3706" y="1574"/>
                </a:lnTo>
                <a:cubicBezTo>
                  <a:pt x="3770" y="1574"/>
                  <a:pt x="3833" y="1638"/>
                  <a:pt x="3833" y="1701"/>
                </a:cubicBezTo>
                <a:lnTo>
                  <a:pt x="3833" y="1892"/>
                </a:lnTo>
                <a:lnTo>
                  <a:pt x="827" y="1892"/>
                </a:lnTo>
                <a:cubicBezTo>
                  <a:pt x="668" y="1892"/>
                  <a:pt x="541" y="2020"/>
                  <a:pt x="541" y="2178"/>
                </a:cubicBezTo>
                <a:lnTo>
                  <a:pt x="541" y="4596"/>
                </a:lnTo>
                <a:cubicBezTo>
                  <a:pt x="525" y="4644"/>
                  <a:pt x="493" y="4723"/>
                  <a:pt x="334" y="4723"/>
                </a:cubicBezTo>
                <a:cubicBezTo>
                  <a:pt x="286" y="4723"/>
                  <a:pt x="238" y="4707"/>
                  <a:pt x="207" y="4660"/>
                </a:cubicBezTo>
                <a:cubicBezTo>
                  <a:pt x="175" y="4628"/>
                  <a:pt x="159" y="4596"/>
                  <a:pt x="159" y="4549"/>
                </a:cubicBezTo>
                <a:close/>
                <a:moveTo>
                  <a:pt x="986" y="636"/>
                </a:moveTo>
                <a:cubicBezTo>
                  <a:pt x="1034" y="636"/>
                  <a:pt x="1065" y="588"/>
                  <a:pt x="1065" y="556"/>
                </a:cubicBezTo>
                <a:lnTo>
                  <a:pt x="1065" y="302"/>
                </a:lnTo>
                <a:cubicBezTo>
                  <a:pt x="1065" y="222"/>
                  <a:pt x="1129" y="159"/>
                  <a:pt x="1193" y="159"/>
                </a:cubicBezTo>
                <a:lnTo>
                  <a:pt x="2163" y="159"/>
                </a:lnTo>
                <a:cubicBezTo>
                  <a:pt x="2227" y="159"/>
                  <a:pt x="2291" y="206"/>
                  <a:pt x="2322" y="270"/>
                </a:cubicBezTo>
                <a:lnTo>
                  <a:pt x="2481" y="620"/>
                </a:lnTo>
                <a:cubicBezTo>
                  <a:pt x="2481" y="651"/>
                  <a:pt x="2513" y="668"/>
                  <a:pt x="2545" y="668"/>
                </a:cubicBezTo>
                <a:lnTo>
                  <a:pt x="4597" y="668"/>
                </a:lnTo>
                <a:cubicBezTo>
                  <a:pt x="4676" y="668"/>
                  <a:pt x="4740" y="731"/>
                  <a:pt x="4740" y="811"/>
                </a:cubicBezTo>
                <a:lnTo>
                  <a:pt x="4740" y="986"/>
                </a:lnTo>
                <a:lnTo>
                  <a:pt x="1940" y="986"/>
                </a:lnTo>
                <a:cubicBezTo>
                  <a:pt x="1893" y="986"/>
                  <a:pt x="1861" y="1017"/>
                  <a:pt x="1861" y="1065"/>
                </a:cubicBezTo>
                <a:cubicBezTo>
                  <a:pt x="1861" y="1113"/>
                  <a:pt x="1893" y="1145"/>
                  <a:pt x="1940" y="1145"/>
                </a:cubicBezTo>
                <a:lnTo>
                  <a:pt x="5090" y="1145"/>
                </a:lnTo>
                <a:cubicBezTo>
                  <a:pt x="5153" y="1145"/>
                  <a:pt x="5185" y="1193"/>
                  <a:pt x="5185" y="1272"/>
                </a:cubicBezTo>
                <a:lnTo>
                  <a:pt x="5185" y="3689"/>
                </a:lnTo>
                <a:cubicBezTo>
                  <a:pt x="5185" y="3769"/>
                  <a:pt x="5121" y="3817"/>
                  <a:pt x="5058" y="3817"/>
                </a:cubicBezTo>
                <a:lnTo>
                  <a:pt x="4819" y="3817"/>
                </a:lnTo>
                <a:cubicBezTo>
                  <a:pt x="4772" y="3817"/>
                  <a:pt x="4740" y="3849"/>
                  <a:pt x="4740" y="3896"/>
                </a:cubicBezTo>
                <a:cubicBezTo>
                  <a:pt x="4740" y="3944"/>
                  <a:pt x="4772" y="3976"/>
                  <a:pt x="4819" y="3976"/>
                </a:cubicBezTo>
                <a:lnTo>
                  <a:pt x="5058" y="3976"/>
                </a:lnTo>
                <a:cubicBezTo>
                  <a:pt x="5217" y="3976"/>
                  <a:pt x="5344" y="3849"/>
                  <a:pt x="5344" y="3689"/>
                </a:cubicBezTo>
                <a:lnTo>
                  <a:pt x="5344" y="1272"/>
                </a:lnTo>
                <a:cubicBezTo>
                  <a:pt x="5344" y="1097"/>
                  <a:pt x="5249" y="986"/>
                  <a:pt x="5090" y="986"/>
                </a:cubicBezTo>
                <a:lnTo>
                  <a:pt x="4899" y="986"/>
                </a:lnTo>
                <a:lnTo>
                  <a:pt x="4899" y="811"/>
                </a:lnTo>
                <a:cubicBezTo>
                  <a:pt x="4899" y="651"/>
                  <a:pt x="4755" y="508"/>
                  <a:pt x="4597" y="508"/>
                </a:cubicBezTo>
                <a:lnTo>
                  <a:pt x="2592" y="508"/>
                </a:lnTo>
                <a:lnTo>
                  <a:pt x="2465" y="206"/>
                </a:lnTo>
                <a:cubicBezTo>
                  <a:pt x="2418" y="79"/>
                  <a:pt x="2291" y="0"/>
                  <a:pt x="2163" y="0"/>
                </a:cubicBezTo>
                <a:lnTo>
                  <a:pt x="1193" y="0"/>
                </a:lnTo>
                <a:cubicBezTo>
                  <a:pt x="1034" y="0"/>
                  <a:pt x="907" y="143"/>
                  <a:pt x="907" y="302"/>
                </a:cubicBezTo>
                <a:lnTo>
                  <a:pt x="907" y="556"/>
                </a:lnTo>
                <a:cubicBezTo>
                  <a:pt x="907" y="588"/>
                  <a:pt x="938" y="636"/>
                  <a:pt x="986" y="63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8" name="Freeform: Shape 1">
            <a:extLst>
              <a:ext uri="{FF2B5EF4-FFF2-40B4-BE49-F238E27FC236}">
                <a16:creationId xmlns:a16="http://schemas.microsoft.com/office/drawing/2014/main" id="{136C30A7-9B65-D94D-A529-F9FA676E09CB}"/>
              </a:ext>
            </a:extLst>
          </p:cNvPr>
          <p:cNvSpPr/>
          <p:nvPr/>
        </p:nvSpPr>
        <p:spPr>
          <a:xfrm>
            <a:off x="5893415" y="3284075"/>
            <a:ext cx="1711439" cy="1430999"/>
          </a:xfrm>
          <a:custGeom>
            <a:avLst/>
            <a:gdLst/>
            <a:ahLst/>
            <a:cxnLst>
              <a:cxn ang="3cd4">
                <a:pos x="hc" y="t"/>
              </a:cxn>
              <a:cxn ang="cd2">
                <a:pos x="l" y="vc"/>
              </a:cxn>
              <a:cxn ang="cd4">
                <a:pos x="hc" y="b"/>
              </a:cxn>
              <a:cxn ang="0">
                <a:pos x="r" y="vc"/>
              </a:cxn>
            </a:cxnLst>
            <a:rect l="l" t="t" r="r" b="b"/>
            <a:pathLst>
              <a:path w="4755" h="3976">
                <a:moveTo>
                  <a:pt x="350" y="3960"/>
                </a:moveTo>
                <a:cubicBezTo>
                  <a:pt x="4151" y="3976"/>
                  <a:pt x="4151" y="3976"/>
                  <a:pt x="4151" y="3976"/>
                </a:cubicBezTo>
                <a:cubicBezTo>
                  <a:pt x="4310" y="3976"/>
                  <a:pt x="4437" y="3833"/>
                  <a:pt x="4437" y="3690"/>
                </a:cubicBezTo>
                <a:cubicBezTo>
                  <a:pt x="4755" y="1224"/>
                  <a:pt x="4755" y="1224"/>
                  <a:pt x="4755" y="1224"/>
                </a:cubicBezTo>
                <a:cubicBezTo>
                  <a:pt x="4755" y="1066"/>
                  <a:pt x="4628" y="938"/>
                  <a:pt x="4469" y="938"/>
                </a:cubicBezTo>
                <a:cubicBezTo>
                  <a:pt x="3992" y="938"/>
                  <a:pt x="3992" y="938"/>
                  <a:pt x="3992" y="938"/>
                </a:cubicBezTo>
                <a:cubicBezTo>
                  <a:pt x="3992" y="795"/>
                  <a:pt x="3992" y="795"/>
                  <a:pt x="3992" y="795"/>
                </a:cubicBezTo>
                <a:cubicBezTo>
                  <a:pt x="3992" y="636"/>
                  <a:pt x="3865" y="509"/>
                  <a:pt x="3705" y="509"/>
                </a:cubicBezTo>
                <a:cubicBezTo>
                  <a:pt x="1702" y="509"/>
                  <a:pt x="1702" y="509"/>
                  <a:pt x="1702" y="509"/>
                </a:cubicBezTo>
                <a:cubicBezTo>
                  <a:pt x="1559" y="191"/>
                  <a:pt x="1559" y="191"/>
                  <a:pt x="1559" y="191"/>
                </a:cubicBezTo>
                <a:cubicBezTo>
                  <a:pt x="1511" y="64"/>
                  <a:pt x="1399" y="0"/>
                  <a:pt x="1256" y="0"/>
                </a:cubicBezTo>
                <a:cubicBezTo>
                  <a:pt x="286" y="0"/>
                  <a:pt x="286" y="0"/>
                  <a:pt x="286" y="0"/>
                </a:cubicBezTo>
                <a:cubicBezTo>
                  <a:pt x="127" y="0"/>
                  <a:pt x="0" y="127"/>
                  <a:pt x="0" y="286"/>
                </a:cubicBezTo>
                <a:cubicBezTo>
                  <a:pt x="0" y="3626"/>
                  <a:pt x="0" y="3626"/>
                  <a:pt x="0" y="3626"/>
                </a:cubicBezTo>
                <a:cubicBezTo>
                  <a:pt x="0" y="3721"/>
                  <a:pt x="47" y="3817"/>
                  <a:pt x="95" y="3881"/>
                </a:cubicBezTo>
                <a:cubicBezTo>
                  <a:pt x="159" y="3929"/>
                  <a:pt x="238" y="3960"/>
                  <a:pt x="350" y="3960"/>
                </a:cubicBezTo>
                <a:close/>
                <a:moveTo>
                  <a:pt x="4596" y="1224"/>
                </a:moveTo>
                <a:cubicBezTo>
                  <a:pt x="4278" y="3674"/>
                  <a:pt x="4278" y="3674"/>
                  <a:pt x="4278" y="3674"/>
                </a:cubicBezTo>
                <a:cubicBezTo>
                  <a:pt x="4278" y="3754"/>
                  <a:pt x="4231" y="3817"/>
                  <a:pt x="4151" y="3817"/>
                </a:cubicBezTo>
                <a:cubicBezTo>
                  <a:pt x="652" y="3801"/>
                  <a:pt x="652" y="3801"/>
                  <a:pt x="652" y="3801"/>
                </a:cubicBezTo>
                <a:cubicBezTo>
                  <a:pt x="684" y="3738"/>
                  <a:pt x="684" y="3674"/>
                  <a:pt x="684" y="3658"/>
                </a:cubicBezTo>
                <a:cubicBezTo>
                  <a:pt x="715" y="3388"/>
                  <a:pt x="970" y="1240"/>
                  <a:pt x="970" y="1224"/>
                </a:cubicBezTo>
                <a:cubicBezTo>
                  <a:pt x="970" y="1161"/>
                  <a:pt x="1033" y="1097"/>
                  <a:pt x="1113" y="1097"/>
                </a:cubicBezTo>
                <a:cubicBezTo>
                  <a:pt x="3912" y="1097"/>
                  <a:pt x="3912" y="1097"/>
                  <a:pt x="3912" y="1097"/>
                </a:cubicBezTo>
                <a:cubicBezTo>
                  <a:pt x="4469" y="1097"/>
                  <a:pt x="4469" y="1097"/>
                  <a:pt x="4469" y="1097"/>
                </a:cubicBezTo>
                <a:cubicBezTo>
                  <a:pt x="4549" y="1097"/>
                  <a:pt x="4596" y="1161"/>
                  <a:pt x="4596" y="1224"/>
                </a:cubicBezTo>
                <a:close/>
                <a:moveTo>
                  <a:pt x="159" y="286"/>
                </a:moveTo>
                <a:cubicBezTo>
                  <a:pt x="159" y="207"/>
                  <a:pt x="223" y="159"/>
                  <a:pt x="286" y="159"/>
                </a:cubicBezTo>
                <a:cubicBezTo>
                  <a:pt x="1256" y="159"/>
                  <a:pt x="1256" y="159"/>
                  <a:pt x="1256" y="159"/>
                </a:cubicBezTo>
                <a:cubicBezTo>
                  <a:pt x="1336" y="159"/>
                  <a:pt x="1383" y="191"/>
                  <a:pt x="1415" y="254"/>
                </a:cubicBezTo>
                <a:cubicBezTo>
                  <a:pt x="1574" y="620"/>
                  <a:pt x="1574" y="620"/>
                  <a:pt x="1574" y="620"/>
                </a:cubicBezTo>
                <a:cubicBezTo>
                  <a:pt x="1590" y="652"/>
                  <a:pt x="1622" y="668"/>
                  <a:pt x="1654" y="668"/>
                </a:cubicBezTo>
                <a:cubicBezTo>
                  <a:pt x="3705" y="668"/>
                  <a:pt x="3705" y="668"/>
                  <a:pt x="3705" y="668"/>
                </a:cubicBezTo>
                <a:cubicBezTo>
                  <a:pt x="3769" y="668"/>
                  <a:pt x="3833" y="716"/>
                  <a:pt x="3833" y="795"/>
                </a:cubicBezTo>
                <a:cubicBezTo>
                  <a:pt x="3833" y="938"/>
                  <a:pt x="3833" y="938"/>
                  <a:pt x="3833" y="938"/>
                </a:cubicBezTo>
                <a:cubicBezTo>
                  <a:pt x="1113" y="938"/>
                  <a:pt x="1113" y="938"/>
                  <a:pt x="1113" y="938"/>
                </a:cubicBezTo>
                <a:cubicBezTo>
                  <a:pt x="954" y="938"/>
                  <a:pt x="827" y="1066"/>
                  <a:pt x="827" y="1224"/>
                </a:cubicBezTo>
                <a:cubicBezTo>
                  <a:pt x="827" y="1224"/>
                  <a:pt x="524" y="3658"/>
                  <a:pt x="524" y="3674"/>
                </a:cubicBezTo>
                <a:cubicBezTo>
                  <a:pt x="524" y="3721"/>
                  <a:pt x="477" y="3801"/>
                  <a:pt x="350" y="3801"/>
                </a:cubicBezTo>
                <a:cubicBezTo>
                  <a:pt x="286" y="3801"/>
                  <a:pt x="238" y="3785"/>
                  <a:pt x="206" y="3769"/>
                </a:cubicBezTo>
                <a:cubicBezTo>
                  <a:pt x="175" y="3738"/>
                  <a:pt x="159" y="3674"/>
                  <a:pt x="159" y="362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9" name="Freeform: Shape 2">
            <a:extLst>
              <a:ext uri="{FF2B5EF4-FFF2-40B4-BE49-F238E27FC236}">
                <a16:creationId xmlns:a16="http://schemas.microsoft.com/office/drawing/2014/main" id="{EED8E7B7-B557-E64E-929C-08E3852204E7}"/>
              </a:ext>
            </a:extLst>
          </p:cNvPr>
          <p:cNvSpPr/>
          <p:nvPr/>
        </p:nvSpPr>
        <p:spPr>
          <a:xfrm>
            <a:off x="9867349" y="3319874"/>
            <a:ext cx="1597320" cy="1430999"/>
          </a:xfrm>
          <a:custGeom>
            <a:avLst/>
            <a:gdLst/>
            <a:ahLst/>
            <a:cxnLst>
              <a:cxn ang="3cd4">
                <a:pos x="hc" y="t"/>
              </a:cxn>
              <a:cxn ang="cd2">
                <a:pos x="l" y="vc"/>
              </a:cxn>
              <a:cxn ang="cd4">
                <a:pos x="hc" y="b"/>
              </a:cxn>
              <a:cxn ang="0">
                <a:pos x="r" y="vc"/>
              </a:cxn>
            </a:cxnLst>
            <a:rect l="l" t="t" r="r" b="b"/>
            <a:pathLst>
              <a:path w="4438" h="3976">
                <a:moveTo>
                  <a:pt x="350" y="3960"/>
                </a:moveTo>
                <a:cubicBezTo>
                  <a:pt x="4151" y="3976"/>
                  <a:pt x="4151" y="3976"/>
                  <a:pt x="4151" y="3976"/>
                </a:cubicBezTo>
                <a:cubicBezTo>
                  <a:pt x="4311" y="3976"/>
                  <a:pt x="4438" y="3833"/>
                  <a:pt x="4438" y="3674"/>
                </a:cubicBezTo>
                <a:cubicBezTo>
                  <a:pt x="4438" y="1257"/>
                  <a:pt x="4438" y="1257"/>
                  <a:pt x="4438" y="1257"/>
                </a:cubicBezTo>
                <a:cubicBezTo>
                  <a:pt x="4438" y="1081"/>
                  <a:pt x="4342" y="970"/>
                  <a:pt x="4199" y="970"/>
                </a:cubicBezTo>
                <a:cubicBezTo>
                  <a:pt x="3993" y="970"/>
                  <a:pt x="3993" y="970"/>
                  <a:pt x="3993" y="970"/>
                </a:cubicBezTo>
                <a:cubicBezTo>
                  <a:pt x="3993" y="795"/>
                  <a:pt x="3993" y="795"/>
                  <a:pt x="3993" y="795"/>
                </a:cubicBezTo>
                <a:cubicBezTo>
                  <a:pt x="3993" y="636"/>
                  <a:pt x="3865" y="509"/>
                  <a:pt x="3706" y="509"/>
                </a:cubicBezTo>
                <a:cubicBezTo>
                  <a:pt x="1702" y="509"/>
                  <a:pt x="1702" y="509"/>
                  <a:pt x="1702" y="509"/>
                </a:cubicBezTo>
                <a:cubicBezTo>
                  <a:pt x="1559" y="191"/>
                  <a:pt x="1559" y="191"/>
                  <a:pt x="1559" y="191"/>
                </a:cubicBezTo>
                <a:cubicBezTo>
                  <a:pt x="1511" y="64"/>
                  <a:pt x="1400" y="0"/>
                  <a:pt x="1257" y="0"/>
                </a:cubicBezTo>
                <a:cubicBezTo>
                  <a:pt x="286" y="0"/>
                  <a:pt x="286" y="0"/>
                  <a:pt x="286" y="0"/>
                </a:cubicBezTo>
                <a:cubicBezTo>
                  <a:pt x="128" y="0"/>
                  <a:pt x="0" y="127"/>
                  <a:pt x="0" y="286"/>
                </a:cubicBezTo>
                <a:cubicBezTo>
                  <a:pt x="0" y="3626"/>
                  <a:pt x="0" y="3626"/>
                  <a:pt x="0" y="3626"/>
                </a:cubicBezTo>
                <a:cubicBezTo>
                  <a:pt x="0" y="3721"/>
                  <a:pt x="48" y="3817"/>
                  <a:pt x="96" y="3881"/>
                </a:cubicBezTo>
                <a:cubicBezTo>
                  <a:pt x="159" y="3929"/>
                  <a:pt x="239" y="3960"/>
                  <a:pt x="350" y="3960"/>
                </a:cubicBezTo>
                <a:close/>
                <a:moveTo>
                  <a:pt x="4279" y="1257"/>
                </a:moveTo>
                <a:cubicBezTo>
                  <a:pt x="4279" y="3674"/>
                  <a:pt x="4279" y="3674"/>
                  <a:pt x="4279" y="3674"/>
                </a:cubicBezTo>
                <a:cubicBezTo>
                  <a:pt x="4279" y="3754"/>
                  <a:pt x="4231" y="3817"/>
                  <a:pt x="4151" y="3817"/>
                </a:cubicBezTo>
                <a:cubicBezTo>
                  <a:pt x="652" y="3801"/>
                  <a:pt x="652" y="3801"/>
                  <a:pt x="652" y="3801"/>
                </a:cubicBezTo>
                <a:cubicBezTo>
                  <a:pt x="668" y="3769"/>
                  <a:pt x="684" y="3738"/>
                  <a:pt x="700" y="3706"/>
                </a:cubicBezTo>
                <a:cubicBezTo>
                  <a:pt x="700" y="3690"/>
                  <a:pt x="700" y="3674"/>
                  <a:pt x="700" y="3467"/>
                </a:cubicBezTo>
                <a:cubicBezTo>
                  <a:pt x="700" y="1257"/>
                  <a:pt x="700" y="1257"/>
                  <a:pt x="700" y="1257"/>
                </a:cubicBezTo>
                <a:cubicBezTo>
                  <a:pt x="700" y="1193"/>
                  <a:pt x="764" y="1129"/>
                  <a:pt x="827" y="1129"/>
                </a:cubicBezTo>
                <a:cubicBezTo>
                  <a:pt x="4199" y="1129"/>
                  <a:pt x="4199" y="1129"/>
                  <a:pt x="4199" y="1129"/>
                </a:cubicBezTo>
                <a:cubicBezTo>
                  <a:pt x="4247" y="1129"/>
                  <a:pt x="4279" y="1177"/>
                  <a:pt x="4279" y="1257"/>
                </a:cubicBezTo>
                <a:close/>
                <a:moveTo>
                  <a:pt x="159" y="3626"/>
                </a:moveTo>
                <a:cubicBezTo>
                  <a:pt x="159" y="286"/>
                  <a:pt x="159" y="286"/>
                  <a:pt x="159" y="286"/>
                </a:cubicBezTo>
                <a:cubicBezTo>
                  <a:pt x="159" y="207"/>
                  <a:pt x="223" y="159"/>
                  <a:pt x="286" y="159"/>
                </a:cubicBezTo>
                <a:cubicBezTo>
                  <a:pt x="1257" y="159"/>
                  <a:pt x="1257" y="159"/>
                  <a:pt x="1257" y="159"/>
                </a:cubicBezTo>
                <a:cubicBezTo>
                  <a:pt x="1336" y="159"/>
                  <a:pt x="1384" y="191"/>
                  <a:pt x="1416" y="254"/>
                </a:cubicBezTo>
                <a:cubicBezTo>
                  <a:pt x="1575" y="620"/>
                  <a:pt x="1575" y="620"/>
                  <a:pt x="1575" y="620"/>
                </a:cubicBezTo>
                <a:cubicBezTo>
                  <a:pt x="1591" y="652"/>
                  <a:pt x="1622" y="668"/>
                  <a:pt x="1654" y="668"/>
                </a:cubicBezTo>
                <a:cubicBezTo>
                  <a:pt x="3706" y="668"/>
                  <a:pt x="3706" y="668"/>
                  <a:pt x="3706" y="668"/>
                </a:cubicBezTo>
                <a:cubicBezTo>
                  <a:pt x="3770" y="668"/>
                  <a:pt x="3833" y="716"/>
                  <a:pt x="3833" y="795"/>
                </a:cubicBezTo>
                <a:cubicBezTo>
                  <a:pt x="3833" y="970"/>
                  <a:pt x="3833" y="970"/>
                  <a:pt x="3833" y="970"/>
                </a:cubicBezTo>
                <a:cubicBezTo>
                  <a:pt x="827" y="970"/>
                  <a:pt x="827" y="970"/>
                  <a:pt x="827" y="970"/>
                </a:cubicBezTo>
                <a:cubicBezTo>
                  <a:pt x="668" y="970"/>
                  <a:pt x="541" y="1097"/>
                  <a:pt x="541" y="1257"/>
                </a:cubicBezTo>
                <a:cubicBezTo>
                  <a:pt x="541" y="3674"/>
                  <a:pt x="541" y="3674"/>
                  <a:pt x="541" y="3674"/>
                </a:cubicBezTo>
                <a:cubicBezTo>
                  <a:pt x="525" y="3721"/>
                  <a:pt x="494" y="3801"/>
                  <a:pt x="350" y="3801"/>
                </a:cubicBezTo>
                <a:cubicBezTo>
                  <a:pt x="286" y="3801"/>
                  <a:pt x="239" y="3785"/>
                  <a:pt x="207" y="3769"/>
                </a:cubicBezTo>
                <a:cubicBezTo>
                  <a:pt x="175" y="3738"/>
                  <a:pt x="159" y="3674"/>
                  <a:pt x="159" y="362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0" name="Freeform: Shape 4">
            <a:extLst>
              <a:ext uri="{FF2B5EF4-FFF2-40B4-BE49-F238E27FC236}">
                <a16:creationId xmlns:a16="http://schemas.microsoft.com/office/drawing/2014/main" id="{3B3DA724-8345-A144-8867-AC791FEF0BA4}"/>
              </a:ext>
            </a:extLst>
          </p:cNvPr>
          <p:cNvSpPr/>
          <p:nvPr/>
        </p:nvSpPr>
        <p:spPr>
          <a:xfrm>
            <a:off x="13665659" y="3294794"/>
            <a:ext cx="1608480" cy="1430999"/>
          </a:xfrm>
          <a:custGeom>
            <a:avLst/>
            <a:gdLst/>
            <a:ahLst/>
            <a:cxnLst>
              <a:cxn ang="3cd4">
                <a:pos x="hc" y="t"/>
              </a:cxn>
              <a:cxn ang="cd2">
                <a:pos x="l" y="vc"/>
              </a:cxn>
              <a:cxn ang="cd4">
                <a:pos x="hc" y="b"/>
              </a:cxn>
              <a:cxn ang="0">
                <a:pos x="r" y="vc"/>
              </a:cxn>
            </a:cxnLst>
            <a:rect l="l" t="t" r="r" b="b"/>
            <a:pathLst>
              <a:path w="4469" h="3976">
                <a:moveTo>
                  <a:pt x="334" y="3960"/>
                </a:moveTo>
                <a:lnTo>
                  <a:pt x="3022" y="3976"/>
                </a:lnTo>
                <a:cubicBezTo>
                  <a:pt x="3070" y="3976"/>
                  <a:pt x="3102" y="3929"/>
                  <a:pt x="3102" y="3897"/>
                </a:cubicBezTo>
                <a:cubicBezTo>
                  <a:pt x="3102" y="3849"/>
                  <a:pt x="3070" y="3817"/>
                  <a:pt x="3022" y="3817"/>
                </a:cubicBezTo>
                <a:lnTo>
                  <a:pt x="636" y="3801"/>
                </a:lnTo>
                <a:cubicBezTo>
                  <a:pt x="668" y="3769"/>
                  <a:pt x="668" y="3738"/>
                  <a:pt x="684" y="3706"/>
                </a:cubicBezTo>
                <a:lnTo>
                  <a:pt x="684" y="3578"/>
                </a:lnTo>
                <a:lnTo>
                  <a:pt x="684" y="1257"/>
                </a:lnTo>
                <a:cubicBezTo>
                  <a:pt x="684" y="1193"/>
                  <a:pt x="748" y="1129"/>
                  <a:pt x="827" y="1129"/>
                </a:cubicBezTo>
                <a:lnTo>
                  <a:pt x="4183" y="1129"/>
                </a:lnTo>
                <a:cubicBezTo>
                  <a:pt x="4263" y="1129"/>
                  <a:pt x="4311" y="1193"/>
                  <a:pt x="4311" y="1257"/>
                </a:cubicBezTo>
                <a:lnTo>
                  <a:pt x="4311" y="2545"/>
                </a:lnTo>
                <a:cubicBezTo>
                  <a:pt x="4311" y="2593"/>
                  <a:pt x="4358" y="2624"/>
                  <a:pt x="4390" y="2624"/>
                </a:cubicBezTo>
                <a:cubicBezTo>
                  <a:pt x="4438" y="2624"/>
                  <a:pt x="4469" y="2593"/>
                  <a:pt x="4469" y="2545"/>
                </a:cubicBezTo>
                <a:lnTo>
                  <a:pt x="4469" y="1257"/>
                </a:lnTo>
                <a:cubicBezTo>
                  <a:pt x="4469" y="1097"/>
                  <a:pt x="4342" y="970"/>
                  <a:pt x="4183" y="970"/>
                </a:cubicBezTo>
                <a:lnTo>
                  <a:pt x="3992" y="970"/>
                </a:lnTo>
                <a:lnTo>
                  <a:pt x="3976" y="795"/>
                </a:lnTo>
                <a:cubicBezTo>
                  <a:pt x="3976" y="636"/>
                  <a:pt x="3849" y="509"/>
                  <a:pt x="3690" y="509"/>
                </a:cubicBezTo>
                <a:lnTo>
                  <a:pt x="1686" y="509"/>
                </a:lnTo>
                <a:lnTo>
                  <a:pt x="1559" y="191"/>
                </a:lnTo>
                <a:cubicBezTo>
                  <a:pt x="1495" y="64"/>
                  <a:pt x="1384" y="0"/>
                  <a:pt x="1257" y="0"/>
                </a:cubicBezTo>
                <a:lnTo>
                  <a:pt x="286" y="0"/>
                </a:lnTo>
                <a:cubicBezTo>
                  <a:pt x="127" y="0"/>
                  <a:pt x="0" y="127"/>
                  <a:pt x="0" y="286"/>
                </a:cubicBezTo>
                <a:lnTo>
                  <a:pt x="0" y="3626"/>
                </a:lnTo>
                <a:cubicBezTo>
                  <a:pt x="0" y="3721"/>
                  <a:pt x="32" y="3817"/>
                  <a:pt x="95" y="3881"/>
                </a:cubicBezTo>
                <a:cubicBezTo>
                  <a:pt x="159" y="3929"/>
                  <a:pt x="239" y="3960"/>
                  <a:pt x="334" y="3960"/>
                </a:cubicBezTo>
                <a:close/>
                <a:moveTo>
                  <a:pt x="159" y="286"/>
                </a:moveTo>
                <a:cubicBezTo>
                  <a:pt x="159" y="207"/>
                  <a:pt x="207" y="159"/>
                  <a:pt x="286" y="159"/>
                </a:cubicBezTo>
                <a:lnTo>
                  <a:pt x="1257" y="159"/>
                </a:lnTo>
                <a:cubicBezTo>
                  <a:pt x="1320" y="159"/>
                  <a:pt x="1384" y="191"/>
                  <a:pt x="1416" y="254"/>
                </a:cubicBezTo>
                <a:lnTo>
                  <a:pt x="1559" y="620"/>
                </a:lnTo>
                <a:cubicBezTo>
                  <a:pt x="1575" y="652"/>
                  <a:pt x="1606" y="668"/>
                  <a:pt x="1639" y="668"/>
                </a:cubicBezTo>
                <a:lnTo>
                  <a:pt x="3690" y="668"/>
                </a:lnTo>
                <a:cubicBezTo>
                  <a:pt x="3770" y="668"/>
                  <a:pt x="3833" y="716"/>
                  <a:pt x="3833" y="795"/>
                </a:cubicBezTo>
                <a:lnTo>
                  <a:pt x="3833" y="970"/>
                </a:lnTo>
                <a:lnTo>
                  <a:pt x="827" y="970"/>
                </a:lnTo>
                <a:cubicBezTo>
                  <a:pt x="668" y="970"/>
                  <a:pt x="525" y="1097"/>
                  <a:pt x="525" y="1257"/>
                </a:cubicBezTo>
                <a:lnTo>
                  <a:pt x="525" y="3642"/>
                </a:lnTo>
                <a:lnTo>
                  <a:pt x="525" y="3674"/>
                </a:lnTo>
                <a:cubicBezTo>
                  <a:pt x="509" y="3738"/>
                  <a:pt x="477" y="3801"/>
                  <a:pt x="334" y="3801"/>
                </a:cubicBezTo>
                <a:cubicBezTo>
                  <a:pt x="286" y="3801"/>
                  <a:pt x="239" y="3785"/>
                  <a:pt x="207" y="3769"/>
                </a:cubicBezTo>
                <a:cubicBezTo>
                  <a:pt x="175" y="3738"/>
                  <a:pt x="159" y="3674"/>
                  <a:pt x="159" y="3626"/>
                </a:cubicBezTo>
                <a:close/>
                <a:moveTo>
                  <a:pt x="4167" y="2831"/>
                </a:moveTo>
                <a:cubicBezTo>
                  <a:pt x="4135" y="2799"/>
                  <a:pt x="4088" y="2799"/>
                  <a:pt x="4056" y="2831"/>
                </a:cubicBezTo>
                <a:lnTo>
                  <a:pt x="3738" y="3149"/>
                </a:lnTo>
                <a:lnTo>
                  <a:pt x="3420" y="2831"/>
                </a:lnTo>
                <a:cubicBezTo>
                  <a:pt x="3388" y="2799"/>
                  <a:pt x="3340" y="2799"/>
                  <a:pt x="3308" y="2831"/>
                </a:cubicBezTo>
                <a:cubicBezTo>
                  <a:pt x="3276" y="2863"/>
                  <a:pt x="3276" y="2911"/>
                  <a:pt x="3308" y="2942"/>
                </a:cubicBezTo>
                <a:lnTo>
                  <a:pt x="3627" y="3260"/>
                </a:lnTo>
                <a:lnTo>
                  <a:pt x="3308" y="3578"/>
                </a:lnTo>
                <a:cubicBezTo>
                  <a:pt x="3276" y="3610"/>
                  <a:pt x="3276" y="3658"/>
                  <a:pt x="3308" y="3690"/>
                </a:cubicBezTo>
                <a:cubicBezTo>
                  <a:pt x="3324" y="3706"/>
                  <a:pt x="3356" y="3706"/>
                  <a:pt x="3372" y="3706"/>
                </a:cubicBezTo>
                <a:cubicBezTo>
                  <a:pt x="3388" y="3706"/>
                  <a:pt x="3404" y="3706"/>
                  <a:pt x="3420" y="3690"/>
                </a:cubicBezTo>
                <a:lnTo>
                  <a:pt x="3738" y="3372"/>
                </a:lnTo>
                <a:lnTo>
                  <a:pt x="4056" y="3690"/>
                </a:lnTo>
                <a:cubicBezTo>
                  <a:pt x="4072" y="3706"/>
                  <a:pt x="4088" y="3706"/>
                  <a:pt x="4103" y="3706"/>
                </a:cubicBezTo>
                <a:cubicBezTo>
                  <a:pt x="4120" y="3706"/>
                  <a:pt x="4151" y="3706"/>
                  <a:pt x="4167" y="3690"/>
                </a:cubicBezTo>
                <a:cubicBezTo>
                  <a:pt x="4199" y="3658"/>
                  <a:pt x="4199" y="3610"/>
                  <a:pt x="4167" y="3578"/>
                </a:cubicBezTo>
                <a:lnTo>
                  <a:pt x="3849" y="3260"/>
                </a:lnTo>
                <a:lnTo>
                  <a:pt x="4167" y="2942"/>
                </a:lnTo>
                <a:cubicBezTo>
                  <a:pt x="4199" y="2911"/>
                  <a:pt x="4199" y="2863"/>
                  <a:pt x="4167" y="283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1" name="Freeform: Shape 5">
            <a:extLst>
              <a:ext uri="{FF2B5EF4-FFF2-40B4-BE49-F238E27FC236}">
                <a16:creationId xmlns:a16="http://schemas.microsoft.com/office/drawing/2014/main" id="{EE108338-7D1F-3847-8400-AA89B6D279BD}"/>
              </a:ext>
            </a:extLst>
          </p:cNvPr>
          <p:cNvSpPr/>
          <p:nvPr/>
        </p:nvSpPr>
        <p:spPr>
          <a:xfrm>
            <a:off x="1854587" y="6494765"/>
            <a:ext cx="1614240" cy="1430999"/>
          </a:xfrm>
          <a:custGeom>
            <a:avLst/>
            <a:gdLst/>
            <a:ahLst/>
            <a:cxnLst>
              <a:cxn ang="3cd4">
                <a:pos x="hc" y="t"/>
              </a:cxn>
              <a:cxn ang="cd2">
                <a:pos x="l" y="vc"/>
              </a:cxn>
              <a:cxn ang="cd4">
                <a:pos x="hc" y="b"/>
              </a:cxn>
              <a:cxn ang="0">
                <a:pos x="r" y="vc"/>
              </a:cxn>
            </a:cxnLst>
            <a:rect l="l" t="t" r="r" b="b"/>
            <a:pathLst>
              <a:path w="4485" h="3976">
                <a:moveTo>
                  <a:pt x="3737" y="3817"/>
                </a:moveTo>
                <a:cubicBezTo>
                  <a:pt x="3785" y="3817"/>
                  <a:pt x="3817" y="3769"/>
                  <a:pt x="3817" y="3738"/>
                </a:cubicBezTo>
                <a:lnTo>
                  <a:pt x="3817" y="3340"/>
                </a:lnTo>
                <a:lnTo>
                  <a:pt x="4215" y="3340"/>
                </a:lnTo>
                <a:cubicBezTo>
                  <a:pt x="4263" y="3340"/>
                  <a:pt x="4294" y="3308"/>
                  <a:pt x="4294" y="3260"/>
                </a:cubicBezTo>
                <a:cubicBezTo>
                  <a:pt x="4294" y="3212"/>
                  <a:pt x="4263" y="3181"/>
                  <a:pt x="4215" y="3181"/>
                </a:cubicBezTo>
                <a:lnTo>
                  <a:pt x="3817" y="3181"/>
                </a:lnTo>
                <a:lnTo>
                  <a:pt x="3817" y="2783"/>
                </a:lnTo>
                <a:cubicBezTo>
                  <a:pt x="3817" y="2751"/>
                  <a:pt x="3785" y="2704"/>
                  <a:pt x="3737" y="2704"/>
                </a:cubicBezTo>
                <a:cubicBezTo>
                  <a:pt x="3706" y="2704"/>
                  <a:pt x="3658" y="2751"/>
                  <a:pt x="3658" y="2783"/>
                </a:cubicBezTo>
                <a:lnTo>
                  <a:pt x="3658" y="3181"/>
                </a:lnTo>
                <a:lnTo>
                  <a:pt x="3276" y="3181"/>
                </a:lnTo>
                <a:cubicBezTo>
                  <a:pt x="3228" y="3181"/>
                  <a:pt x="3197" y="3212"/>
                  <a:pt x="3197" y="3260"/>
                </a:cubicBezTo>
                <a:cubicBezTo>
                  <a:pt x="3197" y="3308"/>
                  <a:pt x="3228" y="3340"/>
                  <a:pt x="3276" y="3340"/>
                </a:cubicBezTo>
                <a:lnTo>
                  <a:pt x="3658" y="3340"/>
                </a:lnTo>
                <a:lnTo>
                  <a:pt x="3658" y="3738"/>
                </a:lnTo>
                <a:cubicBezTo>
                  <a:pt x="3658" y="3769"/>
                  <a:pt x="3706" y="3817"/>
                  <a:pt x="3737" y="3817"/>
                </a:cubicBezTo>
                <a:close/>
                <a:moveTo>
                  <a:pt x="334" y="3960"/>
                </a:moveTo>
                <a:lnTo>
                  <a:pt x="3022" y="3976"/>
                </a:lnTo>
                <a:cubicBezTo>
                  <a:pt x="3070" y="3976"/>
                  <a:pt x="3101" y="3929"/>
                  <a:pt x="3101" y="3897"/>
                </a:cubicBezTo>
                <a:cubicBezTo>
                  <a:pt x="3101" y="3849"/>
                  <a:pt x="3070" y="3817"/>
                  <a:pt x="3022" y="3817"/>
                </a:cubicBezTo>
                <a:lnTo>
                  <a:pt x="652" y="3801"/>
                </a:lnTo>
                <a:cubicBezTo>
                  <a:pt x="668" y="3769"/>
                  <a:pt x="684" y="3738"/>
                  <a:pt x="684" y="3706"/>
                </a:cubicBezTo>
                <a:lnTo>
                  <a:pt x="684" y="3578"/>
                </a:lnTo>
                <a:lnTo>
                  <a:pt x="700" y="1257"/>
                </a:lnTo>
                <a:cubicBezTo>
                  <a:pt x="700" y="1193"/>
                  <a:pt x="747" y="1129"/>
                  <a:pt x="827" y="1129"/>
                </a:cubicBezTo>
                <a:lnTo>
                  <a:pt x="4183" y="1129"/>
                </a:lnTo>
                <a:cubicBezTo>
                  <a:pt x="4263" y="1129"/>
                  <a:pt x="4326" y="1193"/>
                  <a:pt x="4326" y="1257"/>
                </a:cubicBezTo>
                <a:lnTo>
                  <a:pt x="4326" y="2545"/>
                </a:lnTo>
                <a:cubicBezTo>
                  <a:pt x="4326" y="2593"/>
                  <a:pt x="4358" y="2624"/>
                  <a:pt x="4406" y="2624"/>
                </a:cubicBezTo>
                <a:cubicBezTo>
                  <a:pt x="4437" y="2624"/>
                  <a:pt x="4485" y="2593"/>
                  <a:pt x="4485" y="2545"/>
                </a:cubicBezTo>
                <a:lnTo>
                  <a:pt x="4485" y="1257"/>
                </a:lnTo>
                <a:cubicBezTo>
                  <a:pt x="4485" y="1097"/>
                  <a:pt x="4358" y="970"/>
                  <a:pt x="4183" y="970"/>
                </a:cubicBezTo>
                <a:lnTo>
                  <a:pt x="3992" y="970"/>
                </a:lnTo>
                <a:lnTo>
                  <a:pt x="3992" y="795"/>
                </a:lnTo>
                <a:cubicBezTo>
                  <a:pt x="3992" y="636"/>
                  <a:pt x="3865" y="509"/>
                  <a:pt x="3706" y="509"/>
                </a:cubicBezTo>
                <a:lnTo>
                  <a:pt x="1702" y="509"/>
                </a:lnTo>
                <a:lnTo>
                  <a:pt x="1559" y="191"/>
                </a:lnTo>
                <a:cubicBezTo>
                  <a:pt x="1511" y="64"/>
                  <a:pt x="1383" y="0"/>
                  <a:pt x="1256" y="0"/>
                </a:cubicBezTo>
                <a:lnTo>
                  <a:pt x="286" y="0"/>
                </a:lnTo>
                <a:cubicBezTo>
                  <a:pt x="127" y="0"/>
                  <a:pt x="0" y="127"/>
                  <a:pt x="0" y="286"/>
                </a:cubicBezTo>
                <a:lnTo>
                  <a:pt x="0" y="3626"/>
                </a:lnTo>
                <a:cubicBezTo>
                  <a:pt x="0" y="3721"/>
                  <a:pt x="32" y="3817"/>
                  <a:pt x="95" y="3881"/>
                </a:cubicBezTo>
                <a:cubicBezTo>
                  <a:pt x="159" y="3929"/>
                  <a:pt x="238" y="3960"/>
                  <a:pt x="334" y="3960"/>
                </a:cubicBezTo>
                <a:close/>
                <a:moveTo>
                  <a:pt x="159" y="286"/>
                </a:moveTo>
                <a:cubicBezTo>
                  <a:pt x="159" y="207"/>
                  <a:pt x="223" y="159"/>
                  <a:pt x="286" y="159"/>
                </a:cubicBezTo>
                <a:lnTo>
                  <a:pt x="1256" y="159"/>
                </a:lnTo>
                <a:cubicBezTo>
                  <a:pt x="1320" y="159"/>
                  <a:pt x="1383" y="191"/>
                  <a:pt x="1416" y="254"/>
                </a:cubicBezTo>
                <a:lnTo>
                  <a:pt x="1574" y="620"/>
                </a:lnTo>
                <a:cubicBezTo>
                  <a:pt x="1591" y="652"/>
                  <a:pt x="1606" y="668"/>
                  <a:pt x="1638" y="668"/>
                </a:cubicBezTo>
                <a:lnTo>
                  <a:pt x="3706" y="668"/>
                </a:lnTo>
                <a:cubicBezTo>
                  <a:pt x="3769" y="668"/>
                  <a:pt x="3833" y="716"/>
                  <a:pt x="3833" y="795"/>
                </a:cubicBezTo>
                <a:lnTo>
                  <a:pt x="3833" y="970"/>
                </a:lnTo>
                <a:lnTo>
                  <a:pt x="827" y="970"/>
                </a:lnTo>
                <a:cubicBezTo>
                  <a:pt x="668" y="970"/>
                  <a:pt x="541" y="1097"/>
                  <a:pt x="541" y="1257"/>
                </a:cubicBezTo>
                <a:lnTo>
                  <a:pt x="525" y="3642"/>
                </a:lnTo>
                <a:lnTo>
                  <a:pt x="525" y="3674"/>
                </a:lnTo>
                <a:cubicBezTo>
                  <a:pt x="525" y="3738"/>
                  <a:pt x="477" y="3801"/>
                  <a:pt x="334" y="3801"/>
                </a:cubicBezTo>
                <a:cubicBezTo>
                  <a:pt x="286" y="3801"/>
                  <a:pt x="238" y="3785"/>
                  <a:pt x="207" y="3769"/>
                </a:cubicBezTo>
                <a:cubicBezTo>
                  <a:pt x="175" y="3738"/>
                  <a:pt x="159" y="3674"/>
                  <a:pt x="159" y="362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2" name="Freeform: Shape 6">
            <a:extLst>
              <a:ext uri="{FF2B5EF4-FFF2-40B4-BE49-F238E27FC236}">
                <a16:creationId xmlns:a16="http://schemas.microsoft.com/office/drawing/2014/main" id="{51E52461-8F73-074A-8E2D-0AF23FD5476E}"/>
              </a:ext>
            </a:extLst>
          </p:cNvPr>
          <p:cNvSpPr/>
          <p:nvPr/>
        </p:nvSpPr>
        <p:spPr>
          <a:xfrm>
            <a:off x="5968395" y="6494764"/>
            <a:ext cx="1614240" cy="1430999"/>
          </a:xfrm>
          <a:custGeom>
            <a:avLst/>
            <a:gdLst/>
            <a:ahLst/>
            <a:cxnLst>
              <a:cxn ang="3cd4">
                <a:pos x="hc" y="t"/>
              </a:cxn>
              <a:cxn ang="cd2">
                <a:pos x="l" y="vc"/>
              </a:cxn>
              <a:cxn ang="cd4">
                <a:pos x="hc" y="b"/>
              </a:cxn>
              <a:cxn ang="0">
                <a:pos x="r" y="vc"/>
              </a:cxn>
            </a:cxnLst>
            <a:rect l="l" t="t" r="r" b="b"/>
            <a:pathLst>
              <a:path w="4485" h="3976">
                <a:moveTo>
                  <a:pt x="349" y="3960"/>
                </a:moveTo>
                <a:lnTo>
                  <a:pt x="3021" y="3976"/>
                </a:lnTo>
                <a:cubicBezTo>
                  <a:pt x="3069" y="3976"/>
                  <a:pt x="3101" y="3929"/>
                  <a:pt x="3101" y="3897"/>
                </a:cubicBezTo>
                <a:cubicBezTo>
                  <a:pt x="3101" y="3849"/>
                  <a:pt x="3069" y="3817"/>
                  <a:pt x="3021" y="3817"/>
                </a:cubicBezTo>
                <a:lnTo>
                  <a:pt x="652" y="3801"/>
                </a:lnTo>
                <a:cubicBezTo>
                  <a:pt x="667" y="3769"/>
                  <a:pt x="684" y="3738"/>
                  <a:pt x="684" y="3706"/>
                </a:cubicBezTo>
                <a:cubicBezTo>
                  <a:pt x="684" y="3674"/>
                  <a:pt x="694" y="3621"/>
                  <a:pt x="699" y="3578"/>
                </a:cubicBezTo>
                <a:lnTo>
                  <a:pt x="699" y="1257"/>
                </a:lnTo>
                <a:cubicBezTo>
                  <a:pt x="699" y="1193"/>
                  <a:pt x="763" y="1129"/>
                  <a:pt x="827" y="1129"/>
                </a:cubicBezTo>
                <a:lnTo>
                  <a:pt x="4199" y="1129"/>
                </a:lnTo>
                <a:cubicBezTo>
                  <a:pt x="4262" y="1129"/>
                  <a:pt x="4326" y="1193"/>
                  <a:pt x="4326" y="1257"/>
                </a:cubicBezTo>
                <a:lnTo>
                  <a:pt x="4326" y="2545"/>
                </a:lnTo>
                <a:cubicBezTo>
                  <a:pt x="4326" y="2593"/>
                  <a:pt x="4357" y="2624"/>
                  <a:pt x="4405" y="2624"/>
                </a:cubicBezTo>
                <a:cubicBezTo>
                  <a:pt x="4453" y="2624"/>
                  <a:pt x="4485" y="2593"/>
                  <a:pt x="4485" y="2545"/>
                </a:cubicBezTo>
                <a:lnTo>
                  <a:pt x="4485" y="1257"/>
                </a:lnTo>
                <a:cubicBezTo>
                  <a:pt x="4485" y="1097"/>
                  <a:pt x="4357" y="970"/>
                  <a:pt x="4199" y="970"/>
                </a:cubicBezTo>
                <a:lnTo>
                  <a:pt x="3992" y="970"/>
                </a:lnTo>
                <a:lnTo>
                  <a:pt x="3992" y="795"/>
                </a:lnTo>
                <a:cubicBezTo>
                  <a:pt x="3992" y="636"/>
                  <a:pt x="3865" y="509"/>
                  <a:pt x="3705" y="509"/>
                </a:cubicBezTo>
                <a:lnTo>
                  <a:pt x="1702" y="509"/>
                </a:lnTo>
                <a:lnTo>
                  <a:pt x="1558" y="191"/>
                </a:lnTo>
                <a:cubicBezTo>
                  <a:pt x="1511" y="64"/>
                  <a:pt x="1399" y="0"/>
                  <a:pt x="1256" y="0"/>
                </a:cubicBezTo>
                <a:lnTo>
                  <a:pt x="286" y="0"/>
                </a:lnTo>
                <a:cubicBezTo>
                  <a:pt x="127" y="0"/>
                  <a:pt x="0" y="127"/>
                  <a:pt x="0" y="286"/>
                </a:cubicBezTo>
                <a:lnTo>
                  <a:pt x="0" y="3626"/>
                </a:lnTo>
                <a:cubicBezTo>
                  <a:pt x="0" y="3721"/>
                  <a:pt x="47" y="3817"/>
                  <a:pt x="95" y="3881"/>
                </a:cubicBezTo>
                <a:cubicBezTo>
                  <a:pt x="158" y="3929"/>
                  <a:pt x="238" y="3960"/>
                  <a:pt x="349" y="3960"/>
                </a:cubicBezTo>
                <a:close/>
                <a:moveTo>
                  <a:pt x="158" y="286"/>
                </a:moveTo>
                <a:cubicBezTo>
                  <a:pt x="158" y="207"/>
                  <a:pt x="222" y="159"/>
                  <a:pt x="286" y="159"/>
                </a:cubicBezTo>
                <a:lnTo>
                  <a:pt x="1256" y="159"/>
                </a:lnTo>
                <a:cubicBezTo>
                  <a:pt x="1336" y="159"/>
                  <a:pt x="1383" y="191"/>
                  <a:pt x="1415" y="254"/>
                </a:cubicBezTo>
                <a:lnTo>
                  <a:pt x="1574" y="620"/>
                </a:lnTo>
                <a:cubicBezTo>
                  <a:pt x="1590" y="652"/>
                  <a:pt x="1622" y="668"/>
                  <a:pt x="1654" y="668"/>
                </a:cubicBezTo>
                <a:lnTo>
                  <a:pt x="3705" y="668"/>
                </a:lnTo>
                <a:cubicBezTo>
                  <a:pt x="3769" y="668"/>
                  <a:pt x="3833" y="716"/>
                  <a:pt x="3833" y="795"/>
                </a:cubicBezTo>
                <a:lnTo>
                  <a:pt x="3833" y="970"/>
                </a:lnTo>
                <a:lnTo>
                  <a:pt x="827" y="970"/>
                </a:lnTo>
                <a:cubicBezTo>
                  <a:pt x="667" y="970"/>
                  <a:pt x="540" y="1097"/>
                  <a:pt x="540" y="1257"/>
                </a:cubicBezTo>
                <a:lnTo>
                  <a:pt x="540" y="3642"/>
                </a:lnTo>
                <a:cubicBezTo>
                  <a:pt x="540" y="3658"/>
                  <a:pt x="540" y="3674"/>
                  <a:pt x="524" y="3674"/>
                </a:cubicBezTo>
                <a:cubicBezTo>
                  <a:pt x="524" y="3738"/>
                  <a:pt x="477" y="3801"/>
                  <a:pt x="349" y="3801"/>
                </a:cubicBezTo>
                <a:cubicBezTo>
                  <a:pt x="286" y="3801"/>
                  <a:pt x="238" y="3785"/>
                  <a:pt x="206" y="3769"/>
                </a:cubicBezTo>
                <a:cubicBezTo>
                  <a:pt x="175" y="3738"/>
                  <a:pt x="158" y="3674"/>
                  <a:pt x="158" y="3626"/>
                </a:cubicBezTo>
                <a:close/>
                <a:moveTo>
                  <a:pt x="4262" y="3181"/>
                </a:moveTo>
                <a:lnTo>
                  <a:pt x="3228" y="3181"/>
                </a:lnTo>
                <a:cubicBezTo>
                  <a:pt x="3181" y="3181"/>
                  <a:pt x="3149" y="3212"/>
                  <a:pt x="3149" y="3260"/>
                </a:cubicBezTo>
                <a:cubicBezTo>
                  <a:pt x="3149" y="3308"/>
                  <a:pt x="3181" y="3340"/>
                  <a:pt x="3228" y="3340"/>
                </a:cubicBezTo>
                <a:lnTo>
                  <a:pt x="4262" y="3340"/>
                </a:lnTo>
                <a:cubicBezTo>
                  <a:pt x="4310" y="3340"/>
                  <a:pt x="4342" y="3308"/>
                  <a:pt x="4342" y="3260"/>
                </a:cubicBezTo>
                <a:cubicBezTo>
                  <a:pt x="4342" y="3212"/>
                  <a:pt x="4310" y="3181"/>
                  <a:pt x="4262" y="318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3" name="Freeform: Shape 7">
            <a:extLst>
              <a:ext uri="{FF2B5EF4-FFF2-40B4-BE49-F238E27FC236}">
                <a16:creationId xmlns:a16="http://schemas.microsoft.com/office/drawing/2014/main" id="{B75451D4-CAC2-B44E-8F86-63DDF4F17895}"/>
              </a:ext>
            </a:extLst>
          </p:cNvPr>
          <p:cNvSpPr/>
          <p:nvPr/>
        </p:nvSpPr>
        <p:spPr>
          <a:xfrm>
            <a:off x="21259437" y="3273307"/>
            <a:ext cx="1614240" cy="1430999"/>
          </a:xfrm>
          <a:custGeom>
            <a:avLst/>
            <a:gdLst/>
            <a:ahLst/>
            <a:cxnLst>
              <a:cxn ang="3cd4">
                <a:pos x="hc" y="t"/>
              </a:cxn>
              <a:cxn ang="cd2">
                <a:pos x="l" y="vc"/>
              </a:cxn>
              <a:cxn ang="cd4">
                <a:pos x="hc" y="b"/>
              </a:cxn>
              <a:cxn ang="0">
                <a:pos x="r" y="vc"/>
              </a:cxn>
            </a:cxnLst>
            <a:rect l="l" t="t" r="r" b="b"/>
            <a:pathLst>
              <a:path w="4485" h="3976">
                <a:moveTo>
                  <a:pt x="3928" y="3117"/>
                </a:moveTo>
                <a:lnTo>
                  <a:pt x="3467" y="3117"/>
                </a:lnTo>
                <a:cubicBezTo>
                  <a:pt x="3435" y="3117"/>
                  <a:pt x="3387" y="3149"/>
                  <a:pt x="3387" y="3197"/>
                </a:cubicBezTo>
                <a:cubicBezTo>
                  <a:pt x="3387" y="3229"/>
                  <a:pt x="3435" y="3276"/>
                  <a:pt x="3467" y="3276"/>
                </a:cubicBezTo>
                <a:lnTo>
                  <a:pt x="3928" y="3276"/>
                </a:lnTo>
                <a:cubicBezTo>
                  <a:pt x="3976" y="3276"/>
                  <a:pt x="4008" y="3229"/>
                  <a:pt x="4008" y="3197"/>
                </a:cubicBezTo>
                <a:cubicBezTo>
                  <a:pt x="4008" y="3149"/>
                  <a:pt x="3976" y="3117"/>
                  <a:pt x="3928" y="3117"/>
                </a:cubicBezTo>
                <a:close/>
                <a:moveTo>
                  <a:pt x="4485" y="3197"/>
                </a:moveTo>
                <a:cubicBezTo>
                  <a:pt x="4485" y="2752"/>
                  <a:pt x="4135" y="2402"/>
                  <a:pt x="3705" y="2402"/>
                </a:cubicBezTo>
                <a:cubicBezTo>
                  <a:pt x="3276" y="2402"/>
                  <a:pt x="2910" y="2752"/>
                  <a:pt x="2910" y="3197"/>
                </a:cubicBezTo>
                <a:cubicBezTo>
                  <a:pt x="2910" y="3626"/>
                  <a:pt x="3276" y="3976"/>
                  <a:pt x="3705" y="3976"/>
                </a:cubicBezTo>
                <a:cubicBezTo>
                  <a:pt x="4135" y="3976"/>
                  <a:pt x="4485" y="3626"/>
                  <a:pt x="4485" y="3197"/>
                </a:cubicBezTo>
                <a:close/>
                <a:moveTo>
                  <a:pt x="3705" y="3817"/>
                </a:moveTo>
                <a:cubicBezTo>
                  <a:pt x="3356" y="3817"/>
                  <a:pt x="3069" y="3531"/>
                  <a:pt x="3069" y="3197"/>
                </a:cubicBezTo>
                <a:cubicBezTo>
                  <a:pt x="3069" y="2847"/>
                  <a:pt x="3356" y="2561"/>
                  <a:pt x="3705" y="2561"/>
                </a:cubicBezTo>
                <a:cubicBezTo>
                  <a:pt x="4040" y="2561"/>
                  <a:pt x="4326" y="2847"/>
                  <a:pt x="4326" y="3197"/>
                </a:cubicBezTo>
                <a:cubicBezTo>
                  <a:pt x="4326" y="3531"/>
                  <a:pt x="4040" y="3817"/>
                  <a:pt x="3705" y="3817"/>
                </a:cubicBezTo>
                <a:close/>
                <a:moveTo>
                  <a:pt x="334" y="3976"/>
                </a:moveTo>
                <a:lnTo>
                  <a:pt x="3022" y="3976"/>
                </a:lnTo>
                <a:cubicBezTo>
                  <a:pt x="3069" y="3976"/>
                  <a:pt x="3101" y="3944"/>
                  <a:pt x="3101" y="3897"/>
                </a:cubicBezTo>
                <a:cubicBezTo>
                  <a:pt x="3101" y="3849"/>
                  <a:pt x="3069" y="3817"/>
                  <a:pt x="3022" y="3817"/>
                </a:cubicBezTo>
                <a:lnTo>
                  <a:pt x="652" y="3817"/>
                </a:lnTo>
                <a:cubicBezTo>
                  <a:pt x="668" y="3785"/>
                  <a:pt x="684" y="3738"/>
                  <a:pt x="684" y="3706"/>
                </a:cubicBezTo>
                <a:cubicBezTo>
                  <a:pt x="684" y="3690"/>
                  <a:pt x="694" y="3621"/>
                  <a:pt x="699" y="3579"/>
                </a:cubicBezTo>
                <a:lnTo>
                  <a:pt x="699" y="1256"/>
                </a:lnTo>
                <a:cubicBezTo>
                  <a:pt x="699" y="1193"/>
                  <a:pt x="763" y="1129"/>
                  <a:pt x="827" y="1129"/>
                </a:cubicBezTo>
                <a:lnTo>
                  <a:pt x="4199" y="1129"/>
                </a:lnTo>
                <a:cubicBezTo>
                  <a:pt x="4262" y="1129"/>
                  <a:pt x="4326" y="1193"/>
                  <a:pt x="4326" y="1256"/>
                </a:cubicBezTo>
                <a:lnTo>
                  <a:pt x="4326" y="2561"/>
                </a:lnTo>
                <a:cubicBezTo>
                  <a:pt x="4326" y="2592"/>
                  <a:pt x="4358" y="2640"/>
                  <a:pt x="4405" y="2640"/>
                </a:cubicBezTo>
                <a:cubicBezTo>
                  <a:pt x="4453" y="2640"/>
                  <a:pt x="4485" y="2592"/>
                  <a:pt x="4485" y="2561"/>
                </a:cubicBezTo>
                <a:lnTo>
                  <a:pt x="4485" y="1256"/>
                </a:lnTo>
                <a:cubicBezTo>
                  <a:pt x="4485" y="1098"/>
                  <a:pt x="4358" y="970"/>
                  <a:pt x="4199" y="970"/>
                </a:cubicBezTo>
                <a:lnTo>
                  <a:pt x="3992" y="970"/>
                </a:lnTo>
                <a:lnTo>
                  <a:pt x="3992" y="795"/>
                </a:lnTo>
                <a:cubicBezTo>
                  <a:pt x="3992" y="636"/>
                  <a:pt x="3865" y="509"/>
                  <a:pt x="3705" y="509"/>
                </a:cubicBezTo>
                <a:lnTo>
                  <a:pt x="1702" y="509"/>
                </a:lnTo>
                <a:lnTo>
                  <a:pt x="1559" y="191"/>
                </a:lnTo>
                <a:cubicBezTo>
                  <a:pt x="1511" y="80"/>
                  <a:pt x="1384" y="0"/>
                  <a:pt x="1256" y="0"/>
                </a:cubicBezTo>
                <a:lnTo>
                  <a:pt x="286" y="0"/>
                </a:lnTo>
                <a:cubicBezTo>
                  <a:pt x="127" y="0"/>
                  <a:pt x="0" y="127"/>
                  <a:pt x="0" y="286"/>
                </a:cubicBezTo>
                <a:lnTo>
                  <a:pt x="0" y="3642"/>
                </a:lnTo>
                <a:cubicBezTo>
                  <a:pt x="0" y="3722"/>
                  <a:pt x="32" y="3817"/>
                  <a:pt x="95" y="3881"/>
                </a:cubicBezTo>
                <a:cubicBezTo>
                  <a:pt x="159" y="3944"/>
                  <a:pt x="238" y="3976"/>
                  <a:pt x="334" y="3976"/>
                </a:cubicBezTo>
                <a:close/>
                <a:moveTo>
                  <a:pt x="159" y="286"/>
                </a:moveTo>
                <a:cubicBezTo>
                  <a:pt x="159" y="207"/>
                  <a:pt x="223" y="159"/>
                  <a:pt x="286" y="159"/>
                </a:cubicBezTo>
                <a:lnTo>
                  <a:pt x="1256" y="159"/>
                </a:lnTo>
                <a:cubicBezTo>
                  <a:pt x="1336" y="159"/>
                  <a:pt x="1384" y="191"/>
                  <a:pt x="1415" y="254"/>
                </a:cubicBezTo>
                <a:lnTo>
                  <a:pt x="1574" y="620"/>
                </a:lnTo>
                <a:cubicBezTo>
                  <a:pt x="1590" y="652"/>
                  <a:pt x="1622" y="668"/>
                  <a:pt x="1638" y="668"/>
                </a:cubicBezTo>
                <a:lnTo>
                  <a:pt x="3705" y="668"/>
                </a:lnTo>
                <a:cubicBezTo>
                  <a:pt x="3769" y="668"/>
                  <a:pt x="3833" y="732"/>
                  <a:pt x="3833" y="795"/>
                </a:cubicBezTo>
                <a:lnTo>
                  <a:pt x="3833" y="970"/>
                </a:lnTo>
                <a:lnTo>
                  <a:pt x="827" y="970"/>
                </a:lnTo>
                <a:cubicBezTo>
                  <a:pt x="668" y="970"/>
                  <a:pt x="541" y="1098"/>
                  <a:pt x="541" y="1256"/>
                </a:cubicBezTo>
                <a:lnTo>
                  <a:pt x="541" y="3642"/>
                </a:lnTo>
                <a:cubicBezTo>
                  <a:pt x="541" y="3658"/>
                  <a:pt x="530" y="3663"/>
                  <a:pt x="524" y="3674"/>
                </a:cubicBezTo>
                <a:cubicBezTo>
                  <a:pt x="524" y="3738"/>
                  <a:pt x="477" y="3817"/>
                  <a:pt x="334" y="3817"/>
                </a:cubicBezTo>
                <a:cubicBezTo>
                  <a:pt x="286" y="3817"/>
                  <a:pt x="238" y="3801"/>
                  <a:pt x="206" y="3770"/>
                </a:cubicBezTo>
                <a:cubicBezTo>
                  <a:pt x="175" y="3738"/>
                  <a:pt x="159" y="3690"/>
                  <a:pt x="159" y="364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4" name="Freeform: Shape 8">
            <a:extLst>
              <a:ext uri="{FF2B5EF4-FFF2-40B4-BE49-F238E27FC236}">
                <a16:creationId xmlns:a16="http://schemas.microsoft.com/office/drawing/2014/main" id="{86491196-26F4-4B40-BA8C-C8806F548317}"/>
              </a:ext>
            </a:extLst>
          </p:cNvPr>
          <p:cNvSpPr/>
          <p:nvPr/>
        </p:nvSpPr>
        <p:spPr>
          <a:xfrm>
            <a:off x="17460292" y="3306134"/>
            <a:ext cx="1614240" cy="1430999"/>
          </a:xfrm>
          <a:custGeom>
            <a:avLst/>
            <a:gdLst/>
            <a:ahLst/>
            <a:cxnLst>
              <a:cxn ang="3cd4">
                <a:pos x="hc" y="t"/>
              </a:cxn>
              <a:cxn ang="cd2">
                <a:pos x="l" y="vc"/>
              </a:cxn>
              <a:cxn ang="cd4">
                <a:pos x="hc" y="b"/>
              </a:cxn>
              <a:cxn ang="0">
                <a:pos x="r" y="vc"/>
              </a:cxn>
            </a:cxnLst>
            <a:rect l="l" t="t" r="r" b="b"/>
            <a:pathLst>
              <a:path w="4485" h="3976">
                <a:moveTo>
                  <a:pt x="3929" y="3117"/>
                </a:moveTo>
                <a:lnTo>
                  <a:pt x="3786" y="3117"/>
                </a:lnTo>
                <a:lnTo>
                  <a:pt x="3786" y="2958"/>
                </a:lnTo>
                <a:cubicBezTo>
                  <a:pt x="3786" y="2910"/>
                  <a:pt x="3754" y="2879"/>
                  <a:pt x="3706" y="2879"/>
                </a:cubicBezTo>
                <a:cubicBezTo>
                  <a:pt x="3658" y="2879"/>
                  <a:pt x="3626" y="2910"/>
                  <a:pt x="3626" y="2958"/>
                </a:cubicBezTo>
                <a:lnTo>
                  <a:pt x="3626" y="3117"/>
                </a:lnTo>
                <a:lnTo>
                  <a:pt x="3483" y="3117"/>
                </a:lnTo>
                <a:cubicBezTo>
                  <a:pt x="3435" y="3117"/>
                  <a:pt x="3404" y="3149"/>
                  <a:pt x="3404" y="3197"/>
                </a:cubicBezTo>
                <a:cubicBezTo>
                  <a:pt x="3404" y="3229"/>
                  <a:pt x="3435" y="3276"/>
                  <a:pt x="3483" y="3276"/>
                </a:cubicBezTo>
                <a:lnTo>
                  <a:pt x="3626" y="3276"/>
                </a:lnTo>
                <a:lnTo>
                  <a:pt x="3626" y="3419"/>
                </a:lnTo>
                <a:cubicBezTo>
                  <a:pt x="3626" y="3467"/>
                  <a:pt x="3658" y="3499"/>
                  <a:pt x="3706" y="3499"/>
                </a:cubicBezTo>
                <a:cubicBezTo>
                  <a:pt x="3754" y="3499"/>
                  <a:pt x="3786" y="3467"/>
                  <a:pt x="3786" y="3419"/>
                </a:cubicBezTo>
                <a:lnTo>
                  <a:pt x="3786" y="3276"/>
                </a:lnTo>
                <a:lnTo>
                  <a:pt x="3929" y="3276"/>
                </a:lnTo>
                <a:cubicBezTo>
                  <a:pt x="3976" y="3276"/>
                  <a:pt x="4008" y="3229"/>
                  <a:pt x="4008" y="3197"/>
                </a:cubicBezTo>
                <a:cubicBezTo>
                  <a:pt x="4008" y="3149"/>
                  <a:pt x="3976" y="3117"/>
                  <a:pt x="3929" y="3117"/>
                </a:cubicBezTo>
                <a:close/>
                <a:moveTo>
                  <a:pt x="3706" y="2402"/>
                </a:moveTo>
                <a:cubicBezTo>
                  <a:pt x="3277" y="2402"/>
                  <a:pt x="2926" y="2752"/>
                  <a:pt x="2926" y="3197"/>
                </a:cubicBezTo>
                <a:cubicBezTo>
                  <a:pt x="2926" y="3626"/>
                  <a:pt x="3277" y="3976"/>
                  <a:pt x="3706" y="3976"/>
                </a:cubicBezTo>
                <a:cubicBezTo>
                  <a:pt x="4135" y="3976"/>
                  <a:pt x="4485" y="3626"/>
                  <a:pt x="4485" y="3197"/>
                </a:cubicBezTo>
                <a:cubicBezTo>
                  <a:pt x="4485" y="2752"/>
                  <a:pt x="4135" y="2402"/>
                  <a:pt x="3706" y="2402"/>
                </a:cubicBezTo>
                <a:close/>
                <a:moveTo>
                  <a:pt x="3706" y="3817"/>
                </a:moveTo>
                <a:cubicBezTo>
                  <a:pt x="3356" y="3817"/>
                  <a:pt x="3086" y="3531"/>
                  <a:pt x="3086" y="3197"/>
                </a:cubicBezTo>
                <a:cubicBezTo>
                  <a:pt x="3086" y="2847"/>
                  <a:pt x="3356" y="2561"/>
                  <a:pt x="3706" y="2561"/>
                </a:cubicBezTo>
                <a:cubicBezTo>
                  <a:pt x="4056" y="2561"/>
                  <a:pt x="4326" y="2847"/>
                  <a:pt x="4326" y="3197"/>
                </a:cubicBezTo>
                <a:cubicBezTo>
                  <a:pt x="4326" y="3531"/>
                  <a:pt x="4056" y="3817"/>
                  <a:pt x="3706" y="3817"/>
                </a:cubicBezTo>
                <a:close/>
                <a:moveTo>
                  <a:pt x="350" y="3976"/>
                </a:moveTo>
                <a:lnTo>
                  <a:pt x="3022" y="3976"/>
                </a:lnTo>
                <a:cubicBezTo>
                  <a:pt x="3070" y="3976"/>
                  <a:pt x="3102" y="3944"/>
                  <a:pt x="3102" y="3897"/>
                </a:cubicBezTo>
                <a:cubicBezTo>
                  <a:pt x="3102" y="3849"/>
                  <a:pt x="3070" y="3817"/>
                  <a:pt x="3038" y="3817"/>
                </a:cubicBezTo>
                <a:lnTo>
                  <a:pt x="652" y="3817"/>
                </a:lnTo>
                <a:cubicBezTo>
                  <a:pt x="668" y="3785"/>
                  <a:pt x="684" y="3738"/>
                  <a:pt x="700" y="3706"/>
                </a:cubicBezTo>
                <a:lnTo>
                  <a:pt x="700" y="3579"/>
                </a:lnTo>
                <a:lnTo>
                  <a:pt x="700" y="1256"/>
                </a:lnTo>
                <a:cubicBezTo>
                  <a:pt x="700" y="1193"/>
                  <a:pt x="763" y="1129"/>
                  <a:pt x="827" y="1129"/>
                </a:cubicBezTo>
                <a:lnTo>
                  <a:pt x="4199" y="1129"/>
                </a:lnTo>
                <a:cubicBezTo>
                  <a:pt x="4262" y="1129"/>
                  <a:pt x="4326" y="1193"/>
                  <a:pt x="4326" y="1256"/>
                </a:cubicBezTo>
                <a:lnTo>
                  <a:pt x="4326" y="2561"/>
                </a:lnTo>
                <a:cubicBezTo>
                  <a:pt x="4326" y="2592"/>
                  <a:pt x="4358" y="2640"/>
                  <a:pt x="4406" y="2640"/>
                </a:cubicBezTo>
                <a:cubicBezTo>
                  <a:pt x="4453" y="2640"/>
                  <a:pt x="4485" y="2592"/>
                  <a:pt x="4485" y="2561"/>
                </a:cubicBezTo>
                <a:lnTo>
                  <a:pt x="4485" y="1256"/>
                </a:lnTo>
                <a:cubicBezTo>
                  <a:pt x="4485" y="1098"/>
                  <a:pt x="4358" y="970"/>
                  <a:pt x="4199" y="970"/>
                </a:cubicBezTo>
                <a:lnTo>
                  <a:pt x="3992" y="970"/>
                </a:lnTo>
                <a:lnTo>
                  <a:pt x="3992" y="795"/>
                </a:lnTo>
                <a:cubicBezTo>
                  <a:pt x="3992" y="636"/>
                  <a:pt x="3865" y="509"/>
                  <a:pt x="3706" y="509"/>
                </a:cubicBezTo>
                <a:lnTo>
                  <a:pt x="1702" y="509"/>
                </a:lnTo>
                <a:lnTo>
                  <a:pt x="1559" y="191"/>
                </a:lnTo>
                <a:cubicBezTo>
                  <a:pt x="1511" y="80"/>
                  <a:pt x="1400" y="0"/>
                  <a:pt x="1272" y="0"/>
                </a:cubicBezTo>
                <a:lnTo>
                  <a:pt x="302" y="0"/>
                </a:lnTo>
                <a:cubicBezTo>
                  <a:pt x="143" y="0"/>
                  <a:pt x="0" y="127"/>
                  <a:pt x="0" y="286"/>
                </a:cubicBezTo>
                <a:lnTo>
                  <a:pt x="0" y="3642"/>
                </a:lnTo>
                <a:cubicBezTo>
                  <a:pt x="0" y="3722"/>
                  <a:pt x="48" y="3817"/>
                  <a:pt x="111" y="3881"/>
                </a:cubicBezTo>
                <a:cubicBezTo>
                  <a:pt x="159" y="3944"/>
                  <a:pt x="254" y="3976"/>
                  <a:pt x="350" y="3976"/>
                </a:cubicBezTo>
                <a:close/>
                <a:moveTo>
                  <a:pt x="159" y="286"/>
                </a:moveTo>
                <a:cubicBezTo>
                  <a:pt x="159" y="207"/>
                  <a:pt x="223" y="159"/>
                  <a:pt x="302" y="159"/>
                </a:cubicBezTo>
                <a:lnTo>
                  <a:pt x="1272" y="159"/>
                </a:lnTo>
                <a:cubicBezTo>
                  <a:pt x="1336" y="159"/>
                  <a:pt x="1400" y="191"/>
                  <a:pt x="1416" y="254"/>
                </a:cubicBezTo>
                <a:lnTo>
                  <a:pt x="1575" y="620"/>
                </a:lnTo>
                <a:cubicBezTo>
                  <a:pt x="1590" y="652"/>
                  <a:pt x="1623" y="668"/>
                  <a:pt x="1654" y="668"/>
                </a:cubicBezTo>
                <a:lnTo>
                  <a:pt x="3706" y="668"/>
                </a:lnTo>
                <a:cubicBezTo>
                  <a:pt x="3786" y="668"/>
                  <a:pt x="3833" y="732"/>
                  <a:pt x="3833" y="795"/>
                </a:cubicBezTo>
                <a:lnTo>
                  <a:pt x="3833" y="970"/>
                </a:lnTo>
                <a:lnTo>
                  <a:pt x="827" y="970"/>
                </a:lnTo>
                <a:cubicBezTo>
                  <a:pt x="668" y="970"/>
                  <a:pt x="541" y="1098"/>
                  <a:pt x="541" y="1256"/>
                </a:cubicBezTo>
                <a:lnTo>
                  <a:pt x="541" y="3642"/>
                </a:lnTo>
                <a:lnTo>
                  <a:pt x="541" y="3674"/>
                </a:lnTo>
                <a:cubicBezTo>
                  <a:pt x="525" y="3738"/>
                  <a:pt x="493" y="3817"/>
                  <a:pt x="350" y="3817"/>
                </a:cubicBezTo>
                <a:cubicBezTo>
                  <a:pt x="286" y="3817"/>
                  <a:pt x="254" y="3801"/>
                  <a:pt x="223" y="3770"/>
                </a:cubicBezTo>
                <a:cubicBezTo>
                  <a:pt x="191" y="3738"/>
                  <a:pt x="159" y="3690"/>
                  <a:pt x="159" y="364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5" name="Freeform: Shape 9">
            <a:extLst>
              <a:ext uri="{FF2B5EF4-FFF2-40B4-BE49-F238E27FC236}">
                <a16:creationId xmlns:a16="http://schemas.microsoft.com/office/drawing/2014/main" id="{112B2CB7-F14C-8943-A1DE-53604F12584F}"/>
              </a:ext>
            </a:extLst>
          </p:cNvPr>
          <p:cNvSpPr/>
          <p:nvPr/>
        </p:nvSpPr>
        <p:spPr>
          <a:xfrm>
            <a:off x="9858889" y="6511355"/>
            <a:ext cx="1614240" cy="1430999"/>
          </a:xfrm>
          <a:custGeom>
            <a:avLst/>
            <a:gdLst/>
            <a:ahLst/>
            <a:cxnLst>
              <a:cxn ang="3cd4">
                <a:pos x="hc" y="t"/>
              </a:cxn>
              <a:cxn ang="cd2">
                <a:pos x="l" y="vc"/>
              </a:cxn>
              <a:cxn ang="cd4">
                <a:pos x="hc" y="b"/>
              </a:cxn>
              <a:cxn ang="0">
                <a:pos x="r" y="vc"/>
              </a:cxn>
            </a:cxnLst>
            <a:rect l="l" t="t" r="r" b="b"/>
            <a:pathLst>
              <a:path w="4485" h="3976">
                <a:moveTo>
                  <a:pt x="349" y="3960"/>
                </a:moveTo>
                <a:lnTo>
                  <a:pt x="3021" y="3976"/>
                </a:lnTo>
                <a:cubicBezTo>
                  <a:pt x="3069" y="3976"/>
                  <a:pt x="3101" y="3929"/>
                  <a:pt x="3101" y="3897"/>
                </a:cubicBezTo>
                <a:cubicBezTo>
                  <a:pt x="3101" y="3849"/>
                  <a:pt x="3069" y="3817"/>
                  <a:pt x="3021" y="3817"/>
                </a:cubicBezTo>
                <a:lnTo>
                  <a:pt x="652" y="3801"/>
                </a:lnTo>
                <a:cubicBezTo>
                  <a:pt x="667" y="3769"/>
                  <a:pt x="683" y="3738"/>
                  <a:pt x="683" y="3706"/>
                </a:cubicBezTo>
                <a:cubicBezTo>
                  <a:pt x="699" y="3690"/>
                  <a:pt x="694" y="3621"/>
                  <a:pt x="699" y="3578"/>
                </a:cubicBezTo>
                <a:lnTo>
                  <a:pt x="699" y="1257"/>
                </a:lnTo>
                <a:cubicBezTo>
                  <a:pt x="699" y="1193"/>
                  <a:pt x="763" y="1129"/>
                  <a:pt x="827" y="1129"/>
                </a:cubicBezTo>
                <a:lnTo>
                  <a:pt x="4199" y="1129"/>
                </a:lnTo>
                <a:cubicBezTo>
                  <a:pt x="4262" y="1129"/>
                  <a:pt x="4326" y="1193"/>
                  <a:pt x="4326" y="1257"/>
                </a:cubicBezTo>
                <a:lnTo>
                  <a:pt x="4326" y="2545"/>
                </a:lnTo>
                <a:cubicBezTo>
                  <a:pt x="4326" y="2593"/>
                  <a:pt x="4357" y="2624"/>
                  <a:pt x="4405" y="2624"/>
                </a:cubicBezTo>
                <a:cubicBezTo>
                  <a:pt x="4453" y="2624"/>
                  <a:pt x="4485" y="2593"/>
                  <a:pt x="4485" y="2545"/>
                </a:cubicBezTo>
                <a:lnTo>
                  <a:pt x="4485" y="1257"/>
                </a:lnTo>
                <a:cubicBezTo>
                  <a:pt x="4485" y="1097"/>
                  <a:pt x="4357" y="970"/>
                  <a:pt x="4199" y="970"/>
                </a:cubicBezTo>
                <a:lnTo>
                  <a:pt x="3991" y="970"/>
                </a:lnTo>
                <a:lnTo>
                  <a:pt x="3991" y="795"/>
                </a:lnTo>
                <a:cubicBezTo>
                  <a:pt x="3991" y="636"/>
                  <a:pt x="3864" y="509"/>
                  <a:pt x="3705" y="509"/>
                </a:cubicBezTo>
                <a:lnTo>
                  <a:pt x="1701" y="509"/>
                </a:lnTo>
                <a:lnTo>
                  <a:pt x="1558" y="191"/>
                </a:lnTo>
                <a:cubicBezTo>
                  <a:pt x="1510" y="64"/>
                  <a:pt x="1399" y="0"/>
                  <a:pt x="1272" y="0"/>
                </a:cubicBezTo>
                <a:lnTo>
                  <a:pt x="301" y="0"/>
                </a:lnTo>
                <a:cubicBezTo>
                  <a:pt x="143" y="0"/>
                  <a:pt x="0" y="127"/>
                  <a:pt x="0" y="286"/>
                </a:cubicBezTo>
                <a:lnTo>
                  <a:pt x="0" y="3626"/>
                </a:lnTo>
                <a:cubicBezTo>
                  <a:pt x="0" y="3721"/>
                  <a:pt x="47" y="3817"/>
                  <a:pt x="111" y="3881"/>
                </a:cubicBezTo>
                <a:cubicBezTo>
                  <a:pt x="158" y="3929"/>
                  <a:pt x="254" y="3960"/>
                  <a:pt x="349" y="3960"/>
                </a:cubicBezTo>
                <a:close/>
                <a:moveTo>
                  <a:pt x="158" y="286"/>
                </a:moveTo>
                <a:cubicBezTo>
                  <a:pt x="158" y="207"/>
                  <a:pt x="222" y="159"/>
                  <a:pt x="301" y="159"/>
                </a:cubicBezTo>
                <a:lnTo>
                  <a:pt x="1272" y="159"/>
                </a:lnTo>
                <a:cubicBezTo>
                  <a:pt x="1336" y="159"/>
                  <a:pt x="1399" y="191"/>
                  <a:pt x="1415" y="254"/>
                </a:cubicBezTo>
                <a:lnTo>
                  <a:pt x="1574" y="620"/>
                </a:lnTo>
                <a:cubicBezTo>
                  <a:pt x="1590" y="652"/>
                  <a:pt x="1622" y="668"/>
                  <a:pt x="1654" y="668"/>
                </a:cubicBezTo>
                <a:lnTo>
                  <a:pt x="3705" y="668"/>
                </a:lnTo>
                <a:cubicBezTo>
                  <a:pt x="3785" y="668"/>
                  <a:pt x="3833" y="716"/>
                  <a:pt x="3833" y="795"/>
                </a:cubicBezTo>
                <a:lnTo>
                  <a:pt x="3833" y="970"/>
                </a:lnTo>
                <a:lnTo>
                  <a:pt x="827" y="970"/>
                </a:lnTo>
                <a:cubicBezTo>
                  <a:pt x="667" y="970"/>
                  <a:pt x="540" y="1097"/>
                  <a:pt x="540" y="1257"/>
                </a:cubicBezTo>
                <a:lnTo>
                  <a:pt x="540" y="3642"/>
                </a:lnTo>
                <a:lnTo>
                  <a:pt x="540" y="3674"/>
                </a:lnTo>
                <a:cubicBezTo>
                  <a:pt x="524" y="3738"/>
                  <a:pt x="492" y="3801"/>
                  <a:pt x="349" y="3801"/>
                </a:cubicBezTo>
                <a:cubicBezTo>
                  <a:pt x="286" y="3801"/>
                  <a:pt x="254" y="3785"/>
                  <a:pt x="222" y="3769"/>
                </a:cubicBezTo>
                <a:cubicBezTo>
                  <a:pt x="191" y="3738"/>
                  <a:pt x="158" y="3674"/>
                  <a:pt x="158" y="3626"/>
                </a:cubicBezTo>
                <a:close/>
                <a:moveTo>
                  <a:pt x="3785" y="2576"/>
                </a:moveTo>
                <a:cubicBezTo>
                  <a:pt x="3737" y="2576"/>
                  <a:pt x="3705" y="2608"/>
                  <a:pt x="3705" y="2656"/>
                </a:cubicBezTo>
                <a:lnTo>
                  <a:pt x="3705" y="3515"/>
                </a:lnTo>
                <a:lnTo>
                  <a:pt x="3403" y="3292"/>
                </a:lnTo>
                <a:cubicBezTo>
                  <a:pt x="3372" y="3260"/>
                  <a:pt x="3324" y="3276"/>
                  <a:pt x="3292" y="3308"/>
                </a:cubicBezTo>
                <a:cubicBezTo>
                  <a:pt x="3260" y="3340"/>
                  <a:pt x="3276" y="3388"/>
                  <a:pt x="3308" y="3420"/>
                </a:cubicBezTo>
                <a:lnTo>
                  <a:pt x="3737" y="3738"/>
                </a:lnTo>
                <a:lnTo>
                  <a:pt x="3737" y="3754"/>
                </a:lnTo>
                <a:lnTo>
                  <a:pt x="3753" y="3754"/>
                </a:lnTo>
                <a:lnTo>
                  <a:pt x="3769" y="3754"/>
                </a:lnTo>
                <a:lnTo>
                  <a:pt x="3785" y="3754"/>
                </a:lnTo>
                <a:lnTo>
                  <a:pt x="3801" y="3754"/>
                </a:lnTo>
                <a:lnTo>
                  <a:pt x="3817" y="3754"/>
                </a:lnTo>
                <a:lnTo>
                  <a:pt x="3833" y="3738"/>
                </a:lnTo>
                <a:lnTo>
                  <a:pt x="4262" y="3420"/>
                </a:lnTo>
                <a:cubicBezTo>
                  <a:pt x="4294" y="3388"/>
                  <a:pt x="4294" y="3340"/>
                  <a:pt x="4262" y="3308"/>
                </a:cubicBezTo>
                <a:cubicBezTo>
                  <a:pt x="4246" y="3276"/>
                  <a:pt x="4199" y="3260"/>
                  <a:pt x="4151" y="3292"/>
                </a:cubicBezTo>
                <a:lnTo>
                  <a:pt x="3864" y="3515"/>
                </a:lnTo>
                <a:lnTo>
                  <a:pt x="3864" y="2656"/>
                </a:lnTo>
                <a:cubicBezTo>
                  <a:pt x="3864" y="2608"/>
                  <a:pt x="3833" y="2576"/>
                  <a:pt x="3785" y="257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6" name="Freeform: Shape 10">
            <a:extLst>
              <a:ext uri="{FF2B5EF4-FFF2-40B4-BE49-F238E27FC236}">
                <a16:creationId xmlns:a16="http://schemas.microsoft.com/office/drawing/2014/main" id="{ACAF61C2-94C1-7B4D-9583-D53A3E7AAE1E}"/>
              </a:ext>
            </a:extLst>
          </p:cNvPr>
          <p:cNvSpPr/>
          <p:nvPr/>
        </p:nvSpPr>
        <p:spPr>
          <a:xfrm>
            <a:off x="17422293" y="9948514"/>
            <a:ext cx="1614240" cy="1430999"/>
          </a:xfrm>
          <a:custGeom>
            <a:avLst/>
            <a:gdLst/>
            <a:ahLst/>
            <a:cxnLst>
              <a:cxn ang="3cd4">
                <a:pos x="hc" y="t"/>
              </a:cxn>
              <a:cxn ang="cd2">
                <a:pos x="l" y="vc"/>
              </a:cxn>
              <a:cxn ang="cd4">
                <a:pos x="hc" y="b"/>
              </a:cxn>
              <a:cxn ang="0">
                <a:pos x="r" y="vc"/>
              </a:cxn>
            </a:cxnLst>
            <a:rect l="l" t="t" r="r" b="b"/>
            <a:pathLst>
              <a:path w="4485" h="3976">
                <a:moveTo>
                  <a:pt x="3547" y="2608"/>
                </a:moveTo>
                <a:cubicBezTo>
                  <a:pt x="3531" y="2592"/>
                  <a:pt x="3499" y="2592"/>
                  <a:pt x="3467" y="2592"/>
                </a:cubicBezTo>
                <a:cubicBezTo>
                  <a:pt x="3451" y="2608"/>
                  <a:pt x="3436" y="2640"/>
                  <a:pt x="3436" y="2672"/>
                </a:cubicBezTo>
                <a:lnTo>
                  <a:pt x="3436" y="3673"/>
                </a:lnTo>
                <a:cubicBezTo>
                  <a:pt x="3436" y="3705"/>
                  <a:pt x="3451" y="3721"/>
                  <a:pt x="3467" y="3737"/>
                </a:cubicBezTo>
                <a:cubicBezTo>
                  <a:pt x="3483" y="3753"/>
                  <a:pt x="3499" y="3753"/>
                  <a:pt x="3515" y="3753"/>
                </a:cubicBezTo>
                <a:cubicBezTo>
                  <a:pt x="3531" y="3753"/>
                  <a:pt x="3547" y="3753"/>
                  <a:pt x="3547" y="3737"/>
                </a:cubicBezTo>
                <a:lnTo>
                  <a:pt x="4390" y="3244"/>
                </a:lnTo>
                <a:cubicBezTo>
                  <a:pt x="4421" y="3228"/>
                  <a:pt x="4437" y="3197"/>
                  <a:pt x="4437" y="3164"/>
                </a:cubicBezTo>
                <a:cubicBezTo>
                  <a:pt x="4437" y="3149"/>
                  <a:pt x="4421" y="3117"/>
                  <a:pt x="4390" y="3101"/>
                </a:cubicBezTo>
                <a:close/>
                <a:moveTo>
                  <a:pt x="3594" y="3530"/>
                </a:moveTo>
                <a:lnTo>
                  <a:pt x="3594" y="2815"/>
                </a:lnTo>
                <a:lnTo>
                  <a:pt x="4199" y="3164"/>
                </a:lnTo>
                <a:close/>
                <a:moveTo>
                  <a:pt x="334" y="3976"/>
                </a:moveTo>
                <a:lnTo>
                  <a:pt x="3022" y="3976"/>
                </a:lnTo>
                <a:cubicBezTo>
                  <a:pt x="3070" y="3976"/>
                  <a:pt x="3101" y="3944"/>
                  <a:pt x="3101" y="3896"/>
                </a:cubicBezTo>
                <a:cubicBezTo>
                  <a:pt x="3101" y="3849"/>
                  <a:pt x="3070" y="3817"/>
                  <a:pt x="3022" y="3817"/>
                </a:cubicBezTo>
                <a:lnTo>
                  <a:pt x="652" y="3817"/>
                </a:lnTo>
                <a:cubicBezTo>
                  <a:pt x="668" y="3785"/>
                  <a:pt x="684" y="3737"/>
                  <a:pt x="684" y="3705"/>
                </a:cubicBezTo>
                <a:lnTo>
                  <a:pt x="684" y="3578"/>
                </a:lnTo>
                <a:lnTo>
                  <a:pt x="700" y="1272"/>
                </a:lnTo>
                <a:cubicBezTo>
                  <a:pt x="700" y="1192"/>
                  <a:pt x="747" y="1129"/>
                  <a:pt x="827" y="1129"/>
                </a:cubicBezTo>
                <a:lnTo>
                  <a:pt x="4183" y="1129"/>
                </a:lnTo>
                <a:cubicBezTo>
                  <a:pt x="4263" y="1129"/>
                  <a:pt x="4326" y="1192"/>
                  <a:pt x="4326" y="1272"/>
                </a:cubicBezTo>
                <a:lnTo>
                  <a:pt x="4326" y="2560"/>
                </a:lnTo>
                <a:cubicBezTo>
                  <a:pt x="4326" y="2592"/>
                  <a:pt x="4358" y="2640"/>
                  <a:pt x="4406" y="2640"/>
                </a:cubicBezTo>
                <a:cubicBezTo>
                  <a:pt x="4437" y="2640"/>
                  <a:pt x="4485" y="2592"/>
                  <a:pt x="4485" y="2560"/>
                </a:cubicBezTo>
                <a:lnTo>
                  <a:pt x="4485" y="1272"/>
                </a:lnTo>
                <a:cubicBezTo>
                  <a:pt x="4485" y="1113"/>
                  <a:pt x="4358" y="970"/>
                  <a:pt x="4183" y="970"/>
                </a:cubicBezTo>
                <a:lnTo>
                  <a:pt x="3992" y="970"/>
                </a:lnTo>
                <a:lnTo>
                  <a:pt x="3992" y="795"/>
                </a:lnTo>
                <a:cubicBezTo>
                  <a:pt x="3992" y="636"/>
                  <a:pt x="3865" y="509"/>
                  <a:pt x="3706" y="509"/>
                </a:cubicBezTo>
                <a:lnTo>
                  <a:pt x="1702" y="509"/>
                </a:lnTo>
                <a:lnTo>
                  <a:pt x="1559" y="191"/>
                </a:lnTo>
                <a:cubicBezTo>
                  <a:pt x="1511" y="79"/>
                  <a:pt x="1383" y="0"/>
                  <a:pt x="1256" y="0"/>
                </a:cubicBezTo>
                <a:lnTo>
                  <a:pt x="286" y="0"/>
                </a:lnTo>
                <a:cubicBezTo>
                  <a:pt x="127" y="0"/>
                  <a:pt x="0" y="127"/>
                  <a:pt x="0" y="286"/>
                </a:cubicBezTo>
                <a:lnTo>
                  <a:pt x="0" y="3642"/>
                </a:lnTo>
                <a:cubicBezTo>
                  <a:pt x="0" y="3737"/>
                  <a:pt x="32" y="3817"/>
                  <a:pt x="95" y="3881"/>
                </a:cubicBezTo>
                <a:cubicBezTo>
                  <a:pt x="159" y="3944"/>
                  <a:pt x="238" y="3976"/>
                  <a:pt x="334" y="3976"/>
                </a:cubicBezTo>
                <a:close/>
                <a:moveTo>
                  <a:pt x="159" y="286"/>
                </a:moveTo>
                <a:cubicBezTo>
                  <a:pt x="159" y="222"/>
                  <a:pt x="223" y="159"/>
                  <a:pt x="286" y="159"/>
                </a:cubicBezTo>
                <a:lnTo>
                  <a:pt x="1256" y="159"/>
                </a:lnTo>
                <a:cubicBezTo>
                  <a:pt x="1320" y="159"/>
                  <a:pt x="1383" y="191"/>
                  <a:pt x="1416" y="254"/>
                </a:cubicBezTo>
                <a:lnTo>
                  <a:pt x="1574" y="620"/>
                </a:lnTo>
                <a:cubicBezTo>
                  <a:pt x="1591" y="652"/>
                  <a:pt x="1606" y="668"/>
                  <a:pt x="1638" y="668"/>
                </a:cubicBezTo>
                <a:lnTo>
                  <a:pt x="3706" y="668"/>
                </a:lnTo>
                <a:cubicBezTo>
                  <a:pt x="3769" y="668"/>
                  <a:pt x="3833" y="731"/>
                  <a:pt x="3833" y="795"/>
                </a:cubicBezTo>
                <a:lnTo>
                  <a:pt x="3833" y="970"/>
                </a:lnTo>
                <a:lnTo>
                  <a:pt x="827" y="970"/>
                </a:lnTo>
                <a:cubicBezTo>
                  <a:pt x="668" y="970"/>
                  <a:pt x="541" y="1113"/>
                  <a:pt x="541" y="1272"/>
                </a:cubicBezTo>
                <a:lnTo>
                  <a:pt x="525" y="3642"/>
                </a:lnTo>
                <a:lnTo>
                  <a:pt x="525" y="3690"/>
                </a:lnTo>
                <a:cubicBezTo>
                  <a:pt x="525" y="3737"/>
                  <a:pt x="477" y="3817"/>
                  <a:pt x="334" y="3817"/>
                </a:cubicBezTo>
                <a:cubicBezTo>
                  <a:pt x="286" y="3817"/>
                  <a:pt x="238" y="3801"/>
                  <a:pt x="207" y="3769"/>
                </a:cubicBezTo>
                <a:cubicBezTo>
                  <a:pt x="175" y="3737"/>
                  <a:pt x="159" y="3690"/>
                  <a:pt x="159" y="364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7" name="Freeform: Shape 11">
            <a:extLst>
              <a:ext uri="{FF2B5EF4-FFF2-40B4-BE49-F238E27FC236}">
                <a16:creationId xmlns:a16="http://schemas.microsoft.com/office/drawing/2014/main" id="{E9E94D65-5CAB-A64A-8D1B-0E87A66FE593}"/>
              </a:ext>
            </a:extLst>
          </p:cNvPr>
          <p:cNvSpPr/>
          <p:nvPr/>
        </p:nvSpPr>
        <p:spPr>
          <a:xfrm>
            <a:off x="13662779" y="9948514"/>
            <a:ext cx="1614240" cy="1430999"/>
          </a:xfrm>
          <a:custGeom>
            <a:avLst/>
            <a:gdLst/>
            <a:ahLst/>
            <a:cxnLst>
              <a:cxn ang="3cd4">
                <a:pos x="hc" y="t"/>
              </a:cxn>
              <a:cxn ang="cd2">
                <a:pos x="l" y="vc"/>
              </a:cxn>
              <a:cxn ang="cd4">
                <a:pos x="hc" y="b"/>
              </a:cxn>
              <a:cxn ang="0">
                <a:pos x="r" y="vc"/>
              </a:cxn>
            </a:cxnLst>
            <a:rect l="l" t="t" r="r" b="b"/>
            <a:pathLst>
              <a:path w="4485" h="3976">
                <a:moveTo>
                  <a:pt x="2911" y="3578"/>
                </a:moveTo>
                <a:cubicBezTo>
                  <a:pt x="2927" y="3610"/>
                  <a:pt x="2943" y="3626"/>
                  <a:pt x="2975" y="3626"/>
                </a:cubicBezTo>
                <a:lnTo>
                  <a:pt x="4343" y="3626"/>
                </a:lnTo>
                <a:cubicBezTo>
                  <a:pt x="4374" y="3626"/>
                  <a:pt x="4391" y="3610"/>
                  <a:pt x="4407" y="3594"/>
                </a:cubicBezTo>
                <a:cubicBezTo>
                  <a:pt x="4422" y="3562"/>
                  <a:pt x="4422" y="3530"/>
                  <a:pt x="4407" y="3515"/>
                </a:cubicBezTo>
                <a:lnTo>
                  <a:pt x="4056" y="2815"/>
                </a:lnTo>
                <a:cubicBezTo>
                  <a:pt x="4041" y="2783"/>
                  <a:pt x="4009" y="2767"/>
                  <a:pt x="3993" y="2767"/>
                </a:cubicBezTo>
                <a:cubicBezTo>
                  <a:pt x="3961" y="2767"/>
                  <a:pt x="3945" y="2783"/>
                  <a:pt x="3913" y="2799"/>
                </a:cubicBezTo>
                <a:lnTo>
                  <a:pt x="3595" y="3164"/>
                </a:lnTo>
                <a:lnTo>
                  <a:pt x="3373" y="3054"/>
                </a:lnTo>
                <a:cubicBezTo>
                  <a:pt x="3341" y="3054"/>
                  <a:pt x="3309" y="3054"/>
                  <a:pt x="3293" y="3085"/>
                </a:cubicBezTo>
                <a:lnTo>
                  <a:pt x="2927" y="3499"/>
                </a:lnTo>
                <a:cubicBezTo>
                  <a:pt x="2895" y="3515"/>
                  <a:pt x="2895" y="3546"/>
                  <a:pt x="2911" y="3578"/>
                </a:cubicBezTo>
                <a:close/>
                <a:moveTo>
                  <a:pt x="3373" y="3228"/>
                </a:moveTo>
                <a:lnTo>
                  <a:pt x="3579" y="3324"/>
                </a:lnTo>
                <a:cubicBezTo>
                  <a:pt x="3611" y="3340"/>
                  <a:pt x="3659" y="3324"/>
                  <a:pt x="3675" y="3308"/>
                </a:cubicBezTo>
                <a:lnTo>
                  <a:pt x="3961" y="2989"/>
                </a:lnTo>
                <a:lnTo>
                  <a:pt x="4216" y="3467"/>
                </a:lnTo>
                <a:lnTo>
                  <a:pt x="3150" y="3467"/>
                </a:lnTo>
                <a:close/>
                <a:moveTo>
                  <a:pt x="3563" y="2656"/>
                </a:moveTo>
                <a:cubicBezTo>
                  <a:pt x="3563" y="2480"/>
                  <a:pt x="3419" y="2354"/>
                  <a:pt x="3260" y="2354"/>
                </a:cubicBezTo>
                <a:cubicBezTo>
                  <a:pt x="3085" y="2354"/>
                  <a:pt x="2958" y="2480"/>
                  <a:pt x="2958" y="2656"/>
                </a:cubicBezTo>
                <a:cubicBezTo>
                  <a:pt x="2958" y="2815"/>
                  <a:pt x="3085" y="2958"/>
                  <a:pt x="3260" y="2958"/>
                </a:cubicBezTo>
                <a:cubicBezTo>
                  <a:pt x="3419" y="2958"/>
                  <a:pt x="3563" y="2815"/>
                  <a:pt x="3563" y="2656"/>
                </a:cubicBezTo>
                <a:close/>
                <a:moveTo>
                  <a:pt x="3117" y="2656"/>
                </a:moveTo>
                <a:cubicBezTo>
                  <a:pt x="3117" y="2576"/>
                  <a:pt x="3181" y="2512"/>
                  <a:pt x="3260" y="2512"/>
                </a:cubicBezTo>
                <a:cubicBezTo>
                  <a:pt x="3340" y="2512"/>
                  <a:pt x="3403" y="2576"/>
                  <a:pt x="3403" y="2656"/>
                </a:cubicBezTo>
                <a:cubicBezTo>
                  <a:pt x="3403" y="2735"/>
                  <a:pt x="3340" y="2799"/>
                  <a:pt x="3260" y="2799"/>
                </a:cubicBezTo>
                <a:cubicBezTo>
                  <a:pt x="3181" y="2799"/>
                  <a:pt x="3117" y="2735"/>
                  <a:pt x="3117" y="2656"/>
                </a:cubicBezTo>
                <a:close/>
                <a:moveTo>
                  <a:pt x="3992" y="970"/>
                </a:moveTo>
                <a:lnTo>
                  <a:pt x="3992" y="795"/>
                </a:lnTo>
                <a:cubicBezTo>
                  <a:pt x="3992" y="636"/>
                  <a:pt x="3865" y="509"/>
                  <a:pt x="3706" y="509"/>
                </a:cubicBezTo>
                <a:lnTo>
                  <a:pt x="1701" y="509"/>
                </a:lnTo>
                <a:lnTo>
                  <a:pt x="1558" y="191"/>
                </a:lnTo>
                <a:cubicBezTo>
                  <a:pt x="1511" y="79"/>
                  <a:pt x="1400" y="0"/>
                  <a:pt x="1272" y="0"/>
                </a:cubicBezTo>
                <a:lnTo>
                  <a:pt x="302" y="0"/>
                </a:lnTo>
                <a:cubicBezTo>
                  <a:pt x="143" y="0"/>
                  <a:pt x="0" y="127"/>
                  <a:pt x="0" y="286"/>
                </a:cubicBezTo>
                <a:lnTo>
                  <a:pt x="0" y="3642"/>
                </a:lnTo>
                <a:cubicBezTo>
                  <a:pt x="0" y="3737"/>
                  <a:pt x="47" y="3817"/>
                  <a:pt x="111" y="3881"/>
                </a:cubicBezTo>
                <a:cubicBezTo>
                  <a:pt x="159" y="3944"/>
                  <a:pt x="254" y="3976"/>
                  <a:pt x="350" y="3976"/>
                </a:cubicBezTo>
                <a:lnTo>
                  <a:pt x="3037" y="3976"/>
                </a:lnTo>
                <a:cubicBezTo>
                  <a:pt x="3070" y="3976"/>
                  <a:pt x="3101" y="3944"/>
                  <a:pt x="3101" y="3896"/>
                </a:cubicBezTo>
                <a:cubicBezTo>
                  <a:pt x="3101" y="3849"/>
                  <a:pt x="3070" y="3817"/>
                  <a:pt x="3037" y="3817"/>
                </a:cubicBezTo>
                <a:lnTo>
                  <a:pt x="652" y="3817"/>
                </a:lnTo>
                <a:cubicBezTo>
                  <a:pt x="668" y="3785"/>
                  <a:pt x="684" y="3737"/>
                  <a:pt x="700" y="3705"/>
                </a:cubicBezTo>
                <a:lnTo>
                  <a:pt x="700" y="3578"/>
                </a:lnTo>
                <a:lnTo>
                  <a:pt x="700" y="1272"/>
                </a:lnTo>
                <a:cubicBezTo>
                  <a:pt x="700" y="1192"/>
                  <a:pt x="763" y="1129"/>
                  <a:pt x="827" y="1129"/>
                </a:cubicBezTo>
                <a:lnTo>
                  <a:pt x="4199" y="1129"/>
                </a:lnTo>
                <a:cubicBezTo>
                  <a:pt x="4263" y="1129"/>
                  <a:pt x="4326" y="1192"/>
                  <a:pt x="4326" y="1272"/>
                </a:cubicBezTo>
                <a:lnTo>
                  <a:pt x="4326" y="2560"/>
                </a:lnTo>
                <a:cubicBezTo>
                  <a:pt x="4326" y="2592"/>
                  <a:pt x="4358" y="2640"/>
                  <a:pt x="4406" y="2640"/>
                </a:cubicBezTo>
                <a:cubicBezTo>
                  <a:pt x="4453" y="2640"/>
                  <a:pt x="4485" y="2592"/>
                  <a:pt x="4485" y="2560"/>
                </a:cubicBezTo>
                <a:lnTo>
                  <a:pt x="4485" y="1272"/>
                </a:lnTo>
                <a:cubicBezTo>
                  <a:pt x="4485" y="1113"/>
                  <a:pt x="4358" y="970"/>
                  <a:pt x="4199" y="970"/>
                </a:cubicBezTo>
                <a:close/>
                <a:moveTo>
                  <a:pt x="540" y="1272"/>
                </a:moveTo>
                <a:lnTo>
                  <a:pt x="540" y="3642"/>
                </a:lnTo>
                <a:lnTo>
                  <a:pt x="540" y="3690"/>
                </a:lnTo>
                <a:cubicBezTo>
                  <a:pt x="525" y="3737"/>
                  <a:pt x="493" y="3817"/>
                  <a:pt x="350" y="3817"/>
                </a:cubicBezTo>
                <a:cubicBezTo>
                  <a:pt x="286" y="3817"/>
                  <a:pt x="254" y="3801"/>
                  <a:pt x="222" y="3769"/>
                </a:cubicBezTo>
                <a:cubicBezTo>
                  <a:pt x="191" y="3737"/>
                  <a:pt x="159" y="3690"/>
                  <a:pt x="159" y="3642"/>
                </a:cubicBezTo>
                <a:lnTo>
                  <a:pt x="159" y="286"/>
                </a:lnTo>
                <a:cubicBezTo>
                  <a:pt x="159" y="222"/>
                  <a:pt x="222" y="159"/>
                  <a:pt x="302" y="159"/>
                </a:cubicBezTo>
                <a:lnTo>
                  <a:pt x="1272" y="159"/>
                </a:lnTo>
                <a:cubicBezTo>
                  <a:pt x="1336" y="159"/>
                  <a:pt x="1400" y="191"/>
                  <a:pt x="1415" y="254"/>
                </a:cubicBezTo>
                <a:lnTo>
                  <a:pt x="1574" y="620"/>
                </a:lnTo>
                <a:cubicBezTo>
                  <a:pt x="1590" y="652"/>
                  <a:pt x="1622" y="668"/>
                  <a:pt x="1654" y="668"/>
                </a:cubicBezTo>
                <a:lnTo>
                  <a:pt x="3706" y="668"/>
                </a:lnTo>
                <a:cubicBezTo>
                  <a:pt x="3785" y="668"/>
                  <a:pt x="3833" y="731"/>
                  <a:pt x="3833" y="795"/>
                </a:cubicBezTo>
                <a:lnTo>
                  <a:pt x="3833" y="970"/>
                </a:lnTo>
                <a:lnTo>
                  <a:pt x="827" y="970"/>
                </a:lnTo>
                <a:cubicBezTo>
                  <a:pt x="668" y="970"/>
                  <a:pt x="540" y="1113"/>
                  <a:pt x="540" y="12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8" name="Freeform: Shape 12">
            <a:extLst>
              <a:ext uri="{FF2B5EF4-FFF2-40B4-BE49-F238E27FC236}">
                <a16:creationId xmlns:a16="http://schemas.microsoft.com/office/drawing/2014/main" id="{386A518D-AA27-474A-80FF-1326C50E02D1}"/>
              </a:ext>
            </a:extLst>
          </p:cNvPr>
          <p:cNvSpPr/>
          <p:nvPr/>
        </p:nvSpPr>
        <p:spPr>
          <a:xfrm>
            <a:off x="21259437" y="6473909"/>
            <a:ext cx="1614240" cy="1430999"/>
          </a:xfrm>
          <a:custGeom>
            <a:avLst/>
            <a:gdLst/>
            <a:ahLst/>
            <a:cxnLst>
              <a:cxn ang="3cd4">
                <a:pos x="hc" y="t"/>
              </a:cxn>
              <a:cxn ang="cd2">
                <a:pos x="l" y="vc"/>
              </a:cxn>
              <a:cxn ang="cd4">
                <a:pos x="hc" y="b"/>
              </a:cxn>
              <a:cxn ang="0">
                <a:pos x="r" y="vc"/>
              </a:cxn>
            </a:cxnLst>
            <a:rect l="l" t="t" r="r" b="b"/>
            <a:pathLst>
              <a:path w="4485" h="3976">
                <a:moveTo>
                  <a:pt x="3324" y="3197"/>
                </a:moveTo>
                <a:cubicBezTo>
                  <a:pt x="3197" y="3197"/>
                  <a:pt x="3086" y="3308"/>
                  <a:pt x="3086" y="3419"/>
                </a:cubicBezTo>
                <a:cubicBezTo>
                  <a:pt x="3086" y="3546"/>
                  <a:pt x="3197" y="3658"/>
                  <a:pt x="3324" y="3658"/>
                </a:cubicBezTo>
                <a:cubicBezTo>
                  <a:pt x="3420" y="3658"/>
                  <a:pt x="3499" y="3594"/>
                  <a:pt x="3531" y="3499"/>
                </a:cubicBezTo>
                <a:lnTo>
                  <a:pt x="4008" y="3499"/>
                </a:lnTo>
                <a:cubicBezTo>
                  <a:pt x="4040" y="3594"/>
                  <a:pt x="4120" y="3658"/>
                  <a:pt x="4215" y="3658"/>
                </a:cubicBezTo>
                <a:cubicBezTo>
                  <a:pt x="4342" y="3658"/>
                  <a:pt x="4438" y="3546"/>
                  <a:pt x="4438" y="3419"/>
                </a:cubicBezTo>
                <a:cubicBezTo>
                  <a:pt x="4438" y="3308"/>
                  <a:pt x="4342" y="3197"/>
                  <a:pt x="4215" y="3197"/>
                </a:cubicBezTo>
                <a:lnTo>
                  <a:pt x="4167" y="3197"/>
                </a:lnTo>
                <a:lnTo>
                  <a:pt x="3945" y="2831"/>
                </a:lnTo>
                <a:cubicBezTo>
                  <a:pt x="3976" y="2783"/>
                  <a:pt x="3993" y="2735"/>
                  <a:pt x="3993" y="2688"/>
                </a:cubicBezTo>
                <a:cubicBezTo>
                  <a:pt x="3993" y="2560"/>
                  <a:pt x="3897" y="2449"/>
                  <a:pt x="3770" y="2449"/>
                </a:cubicBezTo>
                <a:cubicBezTo>
                  <a:pt x="3642" y="2449"/>
                  <a:pt x="3547" y="2560"/>
                  <a:pt x="3547" y="2688"/>
                </a:cubicBezTo>
                <a:cubicBezTo>
                  <a:pt x="3547" y="2735"/>
                  <a:pt x="3547" y="2767"/>
                  <a:pt x="3579" y="2815"/>
                </a:cubicBezTo>
                <a:close/>
                <a:moveTo>
                  <a:pt x="3324" y="3499"/>
                </a:moveTo>
                <a:cubicBezTo>
                  <a:pt x="3277" y="3499"/>
                  <a:pt x="3245" y="3467"/>
                  <a:pt x="3245" y="3419"/>
                </a:cubicBezTo>
                <a:cubicBezTo>
                  <a:pt x="3245" y="3387"/>
                  <a:pt x="3277" y="3355"/>
                  <a:pt x="3324" y="3355"/>
                </a:cubicBezTo>
                <a:cubicBezTo>
                  <a:pt x="3356" y="3355"/>
                  <a:pt x="3388" y="3387"/>
                  <a:pt x="3388" y="3419"/>
                </a:cubicBezTo>
                <a:cubicBezTo>
                  <a:pt x="3388" y="3467"/>
                  <a:pt x="3356" y="3499"/>
                  <a:pt x="3324" y="3499"/>
                </a:cubicBezTo>
                <a:close/>
                <a:moveTo>
                  <a:pt x="4279" y="3419"/>
                </a:moveTo>
                <a:cubicBezTo>
                  <a:pt x="4279" y="3467"/>
                  <a:pt x="4247" y="3499"/>
                  <a:pt x="4215" y="3499"/>
                </a:cubicBezTo>
                <a:cubicBezTo>
                  <a:pt x="4183" y="3499"/>
                  <a:pt x="4151" y="3467"/>
                  <a:pt x="4151" y="3419"/>
                </a:cubicBezTo>
                <a:cubicBezTo>
                  <a:pt x="4151" y="3387"/>
                  <a:pt x="4183" y="3355"/>
                  <a:pt x="4215" y="3355"/>
                </a:cubicBezTo>
                <a:cubicBezTo>
                  <a:pt x="4247" y="3355"/>
                  <a:pt x="4279" y="3387"/>
                  <a:pt x="4279" y="3419"/>
                </a:cubicBezTo>
                <a:close/>
                <a:moveTo>
                  <a:pt x="3770" y="2608"/>
                </a:moveTo>
                <a:cubicBezTo>
                  <a:pt x="3802" y="2608"/>
                  <a:pt x="3833" y="2640"/>
                  <a:pt x="3833" y="2688"/>
                </a:cubicBezTo>
                <a:cubicBezTo>
                  <a:pt x="3833" y="2703"/>
                  <a:pt x="3833" y="2719"/>
                  <a:pt x="3818" y="2735"/>
                </a:cubicBezTo>
                <a:lnTo>
                  <a:pt x="3802" y="2735"/>
                </a:lnTo>
                <a:cubicBezTo>
                  <a:pt x="3802" y="2751"/>
                  <a:pt x="3791" y="2746"/>
                  <a:pt x="3785" y="2751"/>
                </a:cubicBezTo>
                <a:lnTo>
                  <a:pt x="3770" y="2751"/>
                </a:lnTo>
                <a:cubicBezTo>
                  <a:pt x="3722" y="2751"/>
                  <a:pt x="3706" y="2719"/>
                  <a:pt x="3706" y="2688"/>
                </a:cubicBezTo>
                <a:cubicBezTo>
                  <a:pt x="3706" y="2640"/>
                  <a:pt x="3722" y="2608"/>
                  <a:pt x="3770" y="2608"/>
                </a:cubicBezTo>
                <a:close/>
                <a:moveTo>
                  <a:pt x="3706" y="2894"/>
                </a:moveTo>
                <a:cubicBezTo>
                  <a:pt x="3722" y="2910"/>
                  <a:pt x="3754" y="2910"/>
                  <a:pt x="3770" y="2910"/>
                </a:cubicBezTo>
                <a:lnTo>
                  <a:pt x="3802" y="2910"/>
                </a:lnTo>
                <a:lnTo>
                  <a:pt x="4040" y="3292"/>
                </a:lnTo>
                <a:cubicBezTo>
                  <a:pt x="4024" y="3308"/>
                  <a:pt x="4008" y="3324"/>
                  <a:pt x="4008" y="3340"/>
                </a:cubicBezTo>
                <a:lnTo>
                  <a:pt x="3531" y="3340"/>
                </a:lnTo>
                <a:cubicBezTo>
                  <a:pt x="3515" y="3308"/>
                  <a:pt x="3499" y="3292"/>
                  <a:pt x="3484" y="3260"/>
                </a:cubicBezTo>
                <a:close/>
                <a:moveTo>
                  <a:pt x="334" y="3976"/>
                </a:moveTo>
                <a:lnTo>
                  <a:pt x="3022" y="3976"/>
                </a:lnTo>
                <a:cubicBezTo>
                  <a:pt x="3070" y="3976"/>
                  <a:pt x="3102" y="3944"/>
                  <a:pt x="3102" y="3896"/>
                </a:cubicBezTo>
                <a:cubicBezTo>
                  <a:pt x="3102" y="3849"/>
                  <a:pt x="3070" y="3817"/>
                  <a:pt x="3022" y="3817"/>
                </a:cubicBezTo>
                <a:lnTo>
                  <a:pt x="652" y="3817"/>
                </a:lnTo>
                <a:cubicBezTo>
                  <a:pt x="668" y="3785"/>
                  <a:pt x="684" y="3737"/>
                  <a:pt x="684" y="3705"/>
                </a:cubicBezTo>
                <a:lnTo>
                  <a:pt x="684" y="3578"/>
                </a:lnTo>
                <a:lnTo>
                  <a:pt x="700" y="1272"/>
                </a:lnTo>
                <a:cubicBezTo>
                  <a:pt x="700" y="1192"/>
                  <a:pt x="748" y="1129"/>
                  <a:pt x="827" y="1129"/>
                </a:cubicBezTo>
                <a:lnTo>
                  <a:pt x="4199" y="1129"/>
                </a:lnTo>
                <a:cubicBezTo>
                  <a:pt x="4263" y="1129"/>
                  <a:pt x="4327" y="1192"/>
                  <a:pt x="4327" y="1272"/>
                </a:cubicBezTo>
                <a:lnTo>
                  <a:pt x="4327" y="2560"/>
                </a:lnTo>
                <a:cubicBezTo>
                  <a:pt x="4327" y="2592"/>
                  <a:pt x="4358" y="2640"/>
                  <a:pt x="4406" y="2640"/>
                </a:cubicBezTo>
                <a:cubicBezTo>
                  <a:pt x="4438" y="2640"/>
                  <a:pt x="4485" y="2592"/>
                  <a:pt x="4485" y="2560"/>
                </a:cubicBezTo>
                <a:lnTo>
                  <a:pt x="4485" y="1272"/>
                </a:lnTo>
                <a:cubicBezTo>
                  <a:pt x="4485" y="1113"/>
                  <a:pt x="4358" y="970"/>
                  <a:pt x="4199" y="970"/>
                </a:cubicBezTo>
                <a:lnTo>
                  <a:pt x="3993" y="970"/>
                </a:lnTo>
                <a:lnTo>
                  <a:pt x="3993" y="795"/>
                </a:lnTo>
                <a:cubicBezTo>
                  <a:pt x="3993" y="636"/>
                  <a:pt x="3865" y="509"/>
                  <a:pt x="3706" y="509"/>
                </a:cubicBezTo>
                <a:lnTo>
                  <a:pt x="1702" y="509"/>
                </a:lnTo>
                <a:lnTo>
                  <a:pt x="1559" y="191"/>
                </a:lnTo>
                <a:cubicBezTo>
                  <a:pt x="1511" y="79"/>
                  <a:pt x="1384" y="0"/>
                  <a:pt x="1257" y="0"/>
                </a:cubicBezTo>
                <a:lnTo>
                  <a:pt x="286" y="0"/>
                </a:lnTo>
                <a:cubicBezTo>
                  <a:pt x="128" y="0"/>
                  <a:pt x="0" y="127"/>
                  <a:pt x="0" y="286"/>
                </a:cubicBezTo>
                <a:lnTo>
                  <a:pt x="0" y="3642"/>
                </a:lnTo>
                <a:cubicBezTo>
                  <a:pt x="0" y="3737"/>
                  <a:pt x="32" y="3817"/>
                  <a:pt x="96" y="3881"/>
                </a:cubicBezTo>
                <a:cubicBezTo>
                  <a:pt x="159" y="3944"/>
                  <a:pt x="239" y="3976"/>
                  <a:pt x="334" y="3976"/>
                </a:cubicBezTo>
                <a:close/>
                <a:moveTo>
                  <a:pt x="159" y="3642"/>
                </a:moveTo>
                <a:lnTo>
                  <a:pt x="159" y="286"/>
                </a:lnTo>
                <a:cubicBezTo>
                  <a:pt x="159" y="222"/>
                  <a:pt x="223" y="159"/>
                  <a:pt x="286" y="159"/>
                </a:cubicBezTo>
                <a:lnTo>
                  <a:pt x="1257" y="159"/>
                </a:lnTo>
                <a:cubicBezTo>
                  <a:pt x="1321" y="159"/>
                  <a:pt x="1384" y="191"/>
                  <a:pt x="1416" y="254"/>
                </a:cubicBezTo>
                <a:lnTo>
                  <a:pt x="1575" y="620"/>
                </a:lnTo>
                <a:cubicBezTo>
                  <a:pt x="1591" y="652"/>
                  <a:pt x="1607" y="668"/>
                  <a:pt x="1639" y="668"/>
                </a:cubicBezTo>
                <a:lnTo>
                  <a:pt x="3706" y="668"/>
                </a:lnTo>
                <a:cubicBezTo>
                  <a:pt x="3770" y="668"/>
                  <a:pt x="3833" y="731"/>
                  <a:pt x="3833" y="795"/>
                </a:cubicBezTo>
                <a:lnTo>
                  <a:pt x="3833" y="970"/>
                </a:lnTo>
                <a:lnTo>
                  <a:pt x="827" y="970"/>
                </a:lnTo>
                <a:cubicBezTo>
                  <a:pt x="668" y="970"/>
                  <a:pt x="541" y="1113"/>
                  <a:pt x="541" y="1272"/>
                </a:cubicBezTo>
                <a:lnTo>
                  <a:pt x="525" y="3642"/>
                </a:lnTo>
                <a:lnTo>
                  <a:pt x="525" y="3690"/>
                </a:lnTo>
                <a:cubicBezTo>
                  <a:pt x="525" y="3737"/>
                  <a:pt x="477" y="3817"/>
                  <a:pt x="334" y="3817"/>
                </a:cubicBezTo>
                <a:cubicBezTo>
                  <a:pt x="286" y="3817"/>
                  <a:pt x="239" y="3801"/>
                  <a:pt x="207" y="3769"/>
                </a:cubicBezTo>
                <a:cubicBezTo>
                  <a:pt x="175" y="3737"/>
                  <a:pt x="159" y="3690"/>
                  <a:pt x="159" y="364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9" name="Freeform: Shape 13">
            <a:extLst>
              <a:ext uri="{FF2B5EF4-FFF2-40B4-BE49-F238E27FC236}">
                <a16:creationId xmlns:a16="http://schemas.microsoft.com/office/drawing/2014/main" id="{8046E614-F69A-B442-836C-9D81CC2478A5}"/>
              </a:ext>
            </a:extLst>
          </p:cNvPr>
          <p:cNvSpPr/>
          <p:nvPr/>
        </p:nvSpPr>
        <p:spPr>
          <a:xfrm>
            <a:off x="21276717" y="9948514"/>
            <a:ext cx="1596960" cy="1430999"/>
          </a:xfrm>
          <a:custGeom>
            <a:avLst/>
            <a:gdLst/>
            <a:ahLst/>
            <a:cxnLst>
              <a:cxn ang="3cd4">
                <a:pos x="hc" y="t"/>
              </a:cxn>
              <a:cxn ang="cd2">
                <a:pos x="l" y="vc"/>
              </a:cxn>
              <a:cxn ang="cd4">
                <a:pos x="hc" y="b"/>
              </a:cxn>
              <a:cxn ang="0">
                <a:pos x="r" y="vc"/>
              </a:cxn>
            </a:cxnLst>
            <a:rect l="l" t="t" r="r" b="b"/>
            <a:pathLst>
              <a:path w="4437" h="3976">
                <a:moveTo>
                  <a:pt x="349" y="3976"/>
                </a:moveTo>
                <a:cubicBezTo>
                  <a:pt x="2354" y="3976"/>
                  <a:pt x="2354" y="3976"/>
                  <a:pt x="2354" y="3976"/>
                </a:cubicBezTo>
                <a:lnTo>
                  <a:pt x="2369" y="3976"/>
                </a:lnTo>
                <a:cubicBezTo>
                  <a:pt x="2481" y="3976"/>
                  <a:pt x="2481" y="3976"/>
                  <a:pt x="2481" y="3976"/>
                </a:cubicBezTo>
                <a:cubicBezTo>
                  <a:pt x="2497" y="3976"/>
                  <a:pt x="2497" y="3976"/>
                  <a:pt x="2497" y="3976"/>
                </a:cubicBezTo>
                <a:cubicBezTo>
                  <a:pt x="4151" y="3976"/>
                  <a:pt x="4151" y="3976"/>
                  <a:pt x="4151" y="3976"/>
                </a:cubicBezTo>
                <a:cubicBezTo>
                  <a:pt x="4310" y="3976"/>
                  <a:pt x="4437" y="3849"/>
                  <a:pt x="4437" y="3690"/>
                </a:cubicBezTo>
                <a:cubicBezTo>
                  <a:pt x="4437" y="1272"/>
                  <a:pt x="4437" y="1272"/>
                  <a:pt x="4437" y="1272"/>
                </a:cubicBezTo>
                <a:cubicBezTo>
                  <a:pt x="4437" y="1097"/>
                  <a:pt x="4342" y="970"/>
                  <a:pt x="4199" y="970"/>
                </a:cubicBezTo>
                <a:cubicBezTo>
                  <a:pt x="3992" y="970"/>
                  <a:pt x="3992" y="970"/>
                  <a:pt x="3992" y="970"/>
                </a:cubicBezTo>
                <a:cubicBezTo>
                  <a:pt x="3992" y="795"/>
                  <a:pt x="3992" y="795"/>
                  <a:pt x="3992" y="795"/>
                </a:cubicBezTo>
                <a:cubicBezTo>
                  <a:pt x="3992" y="636"/>
                  <a:pt x="3865" y="509"/>
                  <a:pt x="3705" y="509"/>
                </a:cubicBezTo>
                <a:cubicBezTo>
                  <a:pt x="1702" y="509"/>
                  <a:pt x="1702" y="509"/>
                  <a:pt x="1702" y="509"/>
                </a:cubicBezTo>
                <a:cubicBezTo>
                  <a:pt x="1558" y="191"/>
                  <a:pt x="1558" y="191"/>
                  <a:pt x="1558" y="191"/>
                </a:cubicBezTo>
                <a:cubicBezTo>
                  <a:pt x="1511" y="79"/>
                  <a:pt x="1399" y="0"/>
                  <a:pt x="1256" y="0"/>
                </a:cubicBezTo>
                <a:cubicBezTo>
                  <a:pt x="286" y="0"/>
                  <a:pt x="286" y="0"/>
                  <a:pt x="286" y="0"/>
                </a:cubicBezTo>
                <a:cubicBezTo>
                  <a:pt x="127" y="0"/>
                  <a:pt x="0" y="127"/>
                  <a:pt x="0" y="286"/>
                </a:cubicBezTo>
                <a:cubicBezTo>
                  <a:pt x="0" y="3642"/>
                  <a:pt x="0" y="3642"/>
                  <a:pt x="0" y="3642"/>
                </a:cubicBezTo>
                <a:cubicBezTo>
                  <a:pt x="0" y="3737"/>
                  <a:pt x="47" y="3817"/>
                  <a:pt x="95" y="3881"/>
                </a:cubicBezTo>
                <a:cubicBezTo>
                  <a:pt x="158" y="3944"/>
                  <a:pt x="238" y="3976"/>
                  <a:pt x="349" y="3976"/>
                </a:cubicBezTo>
                <a:close/>
                <a:moveTo>
                  <a:pt x="2449" y="2385"/>
                </a:moveTo>
                <a:cubicBezTo>
                  <a:pt x="2449" y="1828"/>
                  <a:pt x="2449" y="1828"/>
                  <a:pt x="2449" y="1828"/>
                </a:cubicBezTo>
                <a:cubicBezTo>
                  <a:pt x="2767" y="1828"/>
                  <a:pt x="2767" y="1828"/>
                  <a:pt x="2767" y="1828"/>
                </a:cubicBezTo>
                <a:cubicBezTo>
                  <a:pt x="2767" y="2385"/>
                  <a:pt x="2767" y="2385"/>
                  <a:pt x="2767" y="2385"/>
                </a:cubicBezTo>
                <a:close/>
                <a:moveTo>
                  <a:pt x="4278" y="1272"/>
                </a:moveTo>
                <a:cubicBezTo>
                  <a:pt x="4278" y="3690"/>
                  <a:pt x="4278" y="3690"/>
                  <a:pt x="4278" y="3690"/>
                </a:cubicBezTo>
                <a:cubicBezTo>
                  <a:pt x="4278" y="3753"/>
                  <a:pt x="4230" y="3817"/>
                  <a:pt x="4151" y="3817"/>
                </a:cubicBezTo>
                <a:cubicBezTo>
                  <a:pt x="2735" y="3817"/>
                  <a:pt x="2735" y="3817"/>
                  <a:pt x="2735" y="3817"/>
                </a:cubicBezTo>
                <a:cubicBezTo>
                  <a:pt x="2751" y="3801"/>
                  <a:pt x="2751" y="3785"/>
                  <a:pt x="2751" y="3769"/>
                </a:cubicBezTo>
                <a:cubicBezTo>
                  <a:pt x="2751" y="3721"/>
                  <a:pt x="2719" y="3690"/>
                  <a:pt x="2672" y="3690"/>
                </a:cubicBezTo>
                <a:cubicBezTo>
                  <a:pt x="2624" y="3690"/>
                  <a:pt x="2624" y="3690"/>
                  <a:pt x="2624" y="3690"/>
                </a:cubicBezTo>
                <a:cubicBezTo>
                  <a:pt x="2624" y="3673"/>
                  <a:pt x="2624" y="3658"/>
                  <a:pt x="2624" y="3658"/>
                </a:cubicBezTo>
                <a:cubicBezTo>
                  <a:pt x="2624" y="3642"/>
                  <a:pt x="2624" y="3626"/>
                  <a:pt x="2624" y="3610"/>
                </a:cubicBezTo>
                <a:cubicBezTo>
                  <a:pt x="2672" y="3610"/>
                  <a:pt x="2672" y="3610"/>
                  <a:pt x="2672" y="3610"/>
                </a:cubicBezTo>
                <a:cubicBezTo>
                  <a:pt x="2719" y="3610"/>
                  <a:pt x="2751" y="3578"/>
                  <a:pt x="2751" y="3530"/>
                </a:cubicBezTo>
                <a:cubicBezTo>
                  <a:pt x="2751" y="3483"/>
                  <a:pt x="2719" y="3451"/>
                  <a:pt x="2672" y="3451"/>
                </a:cubicBezTo>
                <a:cubicBezTo>
                  <a:pt x="2624" y="3451"/>
                  <a:pt x="2624" y="3451"/>
                  <a:pt x="2624" y="3451"/>
                </a:cubicBezTo>
                <a:cubicBezTo>
                  <a:pt x="2624" y="3435"/>
                  <a:pt x="2624" y="3435"/>
                  <a:pt x="2624" y="3419"/>
                </a:cubicBezTo>
                <a:cubicBezTo>
                  <a:pt x="2624" y="3403"/>
                  <a:pt x="2624" y="3387"/>
                  <a:pt x="2624" y="3372"/>
                </a:cubicBezTo>
                <a:cubicBezTo>
                  <a:pt x="2672" y="3372"/>
                  <a:pt x="2672" y="3372"/>
                  <a:pt x="2672" y="3372"/>
                </a:cubicBezTo>
                <a:cubicBezTo>
                  <a:pt x="2719" y="3372"/>
                  <a:pt x="2751" y="3340"/>
                  <a:pt x="2751" y="3292"/>
                </a:cubicBezTo>
                <a:cubicBezTo>
                  <a:pt x="2751" y="3244"/>
                  <a:pt x="2719" y="3212"/>
                  <a:pt x="2672" y="3212"/>
                </a:cubicBezTo>
                <a:cubicBezTo>
                  <a:pt x="2624" y="3212"/>
                  <a:pt x="2624" y="3212"/>
                  <a:pt x="2624" y="3212"/>
                </a:cubicBezTo>
                <a:cubicBezTo>
                  <a:pt x="2624" y="3197"/>
                  <a:pt x="2624" y="3197"/>
                  <a:pt x="2624" y="3181"/>
                </a:cubicBezTo>
                <a:cubicBezTo>
                  <a:pt x="2624" y="3164"/>
                  <a:pt x="2624" y="3149"/>
                  <a:pt x="2624" y="3133"/>
                </a:cubicBezTo>
                <a:cubicBezTo>
                  <a:pt x="2672" y="3133"/>
                  <a:pt x="2672" y="3133"/>
                  <a:pt x="2672" y="3133"/>
                </a:cubicBezTo>
                <a:cubicBezTo>
                  <a:pt x="2719" y="3133"/>
                  <a:pt x="2751" y="3101"/>
                  <a:pt x="2751" y="3054"/>
                </a:cubicBezTo>
                <a:cubicBezTo>
                  <a:pt x="2751" y="3006"/>
                  <a:pt x="2719" y="2974"/>
                  <a:pt x="2672" y="2974"/>
                </a:cubicBezTo>
                <a:cubicBezTo>
                  <a:pt x="2624" y="2974"/>
                  <a:pt x="2624" y="2974"/>
                  <a:pt x="2624" y="2974"/>
                </a:cubicBezTo>
                <a:cubicBezTo>
                  <a:pt x="2624" y="2958"/>
                  <a:pt x="2624" y="2958"/>
                  <a:pt x="2624" y="2942"/>
                </a:cubicBezTo>
                <a:cubicBezTo>
                  <a:pt x="2624" y="2926"/>
                  <a:pt x="2624" y="2910"/>
                  <a:pt x="2624" y="2894"/>
                </a:cubicBezTo>
                <a:cubicBezTo>
                  <a:pt x="2672" y="2894"/>
                  <a:pt x="2672" y="2894"/>
                  <a:pt x="2672" y="2894"/>
                </a:cubicBezTo>
                <a:cubicBezTo>
                  <a:pt x="2719" y="2894"/>
                  <a:pt x="2751" y="2863"/>
                  <a:pt x="2751" y="2815"/>
                </a:cubicBezTo>
                <a:cubicBezTo>
                  <a:pt x="2751" y="2767"/>
                  <a:pt x="2719" y="2735"/>
                  <a:pt x="2672" y="2735"/>
                </a:cubicBezTo>
                <a:cubicBezTo>
                  <a:pt x="2624" y="2735"/>
                  <a:pt x="2624" y="2735"/>
                  <a:pt x="2624" y="2735"/>
                </a:cubicBezTo>
                <a:cubicBezTo>
                  <a:pt x="2624" y="2719"/>
                  <a:pt x="2624" y="2719"/>
                  <a:pt x="2624" y="2703"/>
                </a:cubicBezTo>
                <a:cubicBezTo>
                  <a:pt x="2624" y="2688"/>
                  <a:pt x="2624" y="2672"/>
                  <a:pt x="2624" y="2656"/>
                </a:cubicBezTo>
                <a:cubicBezTo>
                  <a:pt x="2672" y="2656"/>
                  <a:pt x="2672" y="2656"/>
                  <a:pt x="2672" y="2656"/>
                </a:cubicBezTo>
                <a:cubicBezTo>
                  <a:pt x="2719" y="2656"/>
                  <a:pt x="2751" y="2624"/>
                  <a:pt x="2751" y="2576"/>
                </a:cubicBezTo>
                <a:cubicBezTo>
                  <a:pt x="2751" y="2560"/>
                  <a:pt x="2751" y="2545"/>
                  <a:pt x="2735" y="2545"/>
                </a:cubicBezTo>
                <a:cubicBezTo>
                  <a:pt x="2847" y="2545"/>
                  <a:pt x="2847" y="2545"/>
                  <a:pt x="2847" y="2545"/>
                </a:cubicBezTo>
                <a:cubicBezTo>
                  <a:pt x="2894" y="2545"/>
                  <a:pt x="2926" y="2497"/>
                  <a:pt x="2926" y="2465"/>
                </a:cubicBezTo>
                <a:cubicBezTo>
                  <a:pt x="2926" y="1749"/>
                  <a:pt x="2926" y="1749"/>
                  <a:pt x="2926" y="1749"/>
                </a:cubicBezTo>
                <a:cubicBezTo>
                  <a:pt x="2926" y="1701"/>
                  <a:pt x="2894" y="1670"/>
                  <a:pt x="2847" y="1670"/>
                </a:cubicBezTo>
                <a:cubicBezTo>
                  <a:pt x="2369" y="1670"/>
                  <a:pt x="2369" y="1670"/>
                  <a:pt x="2369" y="1670"/>
                </a:cubicBezTo>
                <a:cubicBezTo>
                  <a:pt x="2321" y="1670"/>
                  <a:pt x="2290" y="1701"/>
                  <a:pt x="2290" y="1749"/>
                </a:cubicBezTo>
                <a:cubicBezTo>
                  <a:pt x="2290" y="2465"/>
                  <a:pt x="2290" y="2465"/>
                  <a:pt x="2290" y="2465"/>
                </a:cubicBezTo>
                <a:cubicBezTo>
                  <a:pt x="2290" y="2497"/>
                  <a:pt x="2321" y="2545"/>
                  <a:pt x="2369" y="2545"/>
                </a:cubicBezTo>
                <a:cubicBezTo>
                  <a:pt x="2481" y="2545"/>
                  <a:pt x="2481" y="2545"/>
                  <a:pt x="2481" y="2545"/>
                </a:cubicBezTo>
                <a:cubicBezTo>
                  <a:pt x="2481" y="2545"/>
                  <a:pt x="2465" y="2560"/>
                  <a:pt x="2465" y="2576"/>
                </a:cubicBezTo>
                <a:cubicBezTo>
                  <a:pt x="2465" y="2592"/>
                  <a:pt x="2481" y="2608"/>
                  <a:pt x="2481" y="2624"/>
                </a:cubicBezTo>
                <a:cubicBezTo>
                  <a:pt x="2433" y="2624"/>
                  <a:pt x="2433" y="2624"/>
                  <a:pt x="2433" y="2624"/>
                </a:cubicBezTo>
                <a:cubicBezTo>
                  <a:pt x="2385" y="2624"/>
                  <a:pt x="2354" y="2656"/>
                  <a:pt x="2354" y="2703"/>
                </a:cubicBezTo>
                <a:cubicBezTo>
                  <a:pt x="2354" y="2735"/>
                  <a:pt x="2385" y="2783"/>
                  <a:pt x="2433" y="2783"/>
                </a:cubicBezTo>
                <a:cubicBezTo>
                  <a:pt x="2481" y="2783"/>
                  <a:pt x="2481" y="2783"/>
                  <a:pt x="2481" y="2783"/>
                </a:cubicBezTo>
                <a:cubicBezTo>
                  <a:pt x="2481" y="2783"/>
                  <a:pt x="2465" y="2799"/>
                  <a:pt x="2465" y="2815"/>
                </a:cubicBezTo>
                <a:cubicBezTo>
                  <a:pt x="2465" y="2831"/>
                  <a:pt x="2481" y="2846"/>
                  <a:pt x="2481" y="2863"/>
                </a:cubicBezTo>
                <a:cubicBezTo>
                  <a:pt x="2433" y="2863"/>
                  <a:pt x="2433" y="2863"/>
                  <a:pt x="2433" y="2863"/>
                </a:cubicBezTo>
                <a:cubicBezTo>
                  <a:pt x="2385" y="2863"/>
                  <a:pt x="2354" y="2894"/>
                  <a:pt x="2354" y="2942"/>
                </a:cubicBezTo>
                <a:cubicBezTo>
                  <a:pt x="2354" y="2974"/>
                  <a:pt x="2385" y="3021"/>
                  <a:pt x="2433" y="3021"/>
                </a:cubicBezTo>
                <a:cubicBezTo>
                  <a:pt x="2481" y="3021"/>
                  <a:pt x="2481" y="3021"/>
                  <a:pt x="2481" y="3021"/>
                </a:cubicBezTo>
                <a:cubicBezTo>
                  <a:pt x="2481" y="3021"/>
                  <a:pt x="2465" y="3037"/>
                  <a:pt x="2465" y="3054"/>
                </a:cubicBezTo>
                <a:cubicBezTo>
                  <a:pt x="2465" y="3069"/>
                  <a:pt x="2481" y="3085"/>
                  <a:pt x="2481" y="3101"/>
                </a:cubicBezTo>
                <a:cubicBezTo>
                  <a:pt x="2433" y="3101"/>
                  <a:pt x="2433" y="3101"/>
                  <a:pt x="2433" y="3101"/>
                </a:cubicBezTo>
                <a:cubicBezTo>
                  <a:pt x="2385" y="3101"/>
                  <a:pt x="2354" y="3133"/>
                  <a:pt x="2354" y="3181"/>
                </a:cubicBezTo>
                <a:cubicBezTo>
                  <a:pt x="2354" y="3212"/>
                  <a:pt x="2385" y="3260"/>
                  <a:pt x="2433" y="3260"/>
                </a:cubicBezTo>
                <a:cubicBezTo>
                  <a:pt x="2481" y="3260"/>
                  <a:pt x="2481" y="3260"/>
                  <a:pt x="2481" y="3260"/>
                </a:cubicBezTo>
                <a:cubicBezTo>
                  <a:pt x="2481" y="3260"/>
                  <a:pt x="2465" y="3276"/>
                  <a:pt x="2465" y="3292"/>
                </a:cubicBezTo>
                <a:cubicBezTo>
                  <a:pt x="2465" y="3308"/>
                  <a:pt x="2481" y="3324"/>
                  <a:pt x="2481" y="3340"/>
                </a:cubicBezTo>
                <a:cubicBezTo>
                  <a:pt x="2433" y="3340"/>
                  <a:pt x="2433" y="3340"/>
                  <a:pt x="2433" y="3340"/>
                </a:cubicBezTo>
                <a:cubicBezTo>
                  <a:pt x="2385" y="3340"/>
                  <a:pt x="2354" y="3372"/>
                  <a:pt x="2354" y="3419"/>
                </a:cubicBezTo>
                <a:cubicBezTo>
                  <a:pt x="2354" y="3451"/>
                  <a:pt x="2385" y="3499"/>
                  <a:pt x="2433" y="3499"/>
                </a:cubicBezTo>
                <a:cubicBezTo>
                  <a:pt x="2481" y="3499"/>
                  <a:pt x="2481" y="3499"/>
                  <a:pt x="2481" y="3499"/>
                </a:cubicBezTo>
                <a:cubicBezTo>
                  <a:pt x="2481" y="3499"/>
                  <a:pt x="2465" y="3515"/>
                  <a:pt x="2465" y="3530"/>
                </a:cubicBezTo>
                <a:cubicBezTo>
                  <a:pt x="2465" y="3546"/>
                  <a:pt x="2481" y="3562"/>
                  <a:pt x="2481" y="3578"/>
                </a:cubicBezTo>
                <a:cubicBezTo>
                  <a:pt x="2433" y="3578"/>
                  <a:pt x="2433" y="3578"/>
                  <a:pt x="2433" y="3578"/>
                </a:cubicBezTo>
                <a:cubicBezTo>
                  <a:pt x="2385" y="3578"/>
                  <a:pt x="2354" y="3610"/>
                  <a:pt x="2354" y="3658"/>
                </a:cubicBezTo>
                <a:cubicBezTo>
                  <a:pt x="2354" y="3690"/>
                  <a:pt x="2385" y="3737"/>
                  <a:pt x="2433" y="3737"/>
                </a:cubicBezTo>
                <a:cubicBezTo>
                  <a:pt x="2481" y="3737"/>
                  <a:pt x="2481" y="3737"/>
                  <a:pt x="2481" y="3737"/>
                </a:cubicBezTo>
                <a:cubicBezTo>
                  <a:pt x="2481" y="3737"/>
                  <a:pt x="2465" y="3753"/>
                  <a:pt x="2465" y="3769"/>
                </a:cubicBezTo>
                <a:cubicBezTo>
                  <a:pt x="2465" y="3785"/>
                  <a:pt x="2481" y="3801"/>
                  <a:pt x="2481" y="3817"/>
                </a:cubicBezTo>
                <a:cubicBezTo>
                  <a:pt x="652" y="3817"/>
                  <a:pt x="652" y="3817"/>
                  <a:pt x="652" y="3817"/>
                </a:cubicBezTo>
                <a:cubicBezTo>
                  <a:pt x="667" y="3785"/>
                  <a:pt x="684" y="3737"/>
                  <a:pt x="699" y="3705"/>
                </a:cubicBezTo>
                <a:cubicBezTo>
                  <a:pt x="699" y="3705"/>
                  <a:pt x="699" y="3690"/>
                  <a:pt x="699" y="3483"/>
                </a:cubicBezTo>
                <a:cubicBezTo>
                  <a:pt x="699" y="1272"/>
                  <a:pt x="699" y="1272"/>
                  <a:pt x="699" y="1272"/>
                </a:cubicBezTo>
                <a:cubicBezTo>
                  <a:pt x="699" y="1192"/>
                  <a:pt x="763" y="1129"/>
                  <a:pt x="827" y="1129"/>
                </a:cubicBezTo>
                <a:cubicBezTo>
                  <a:pt x="4199" y="1129"/>
                  <a:pt x="4199" y="1129"/>
                  <a:pt x="4199" y="1129"/>
                </a:cubicBezTo>
                <a:cubicBezTo>
                  <a:pt x="4246" y="1129"/>
                  <a:pt x="4278" y="1176"/>
                  <a:pt x="4278" y="1272"/>
                </a:cubicBezTo>
                <a:close/>
                <a:moveTo>
                  <a:pt x="158" y="286"/>
                </a:moveTo>
                <a:cubicBezTo>
                  <a:pt x="158" y="222"/>
                  <a:pt x="222" y="159"/>
                  <a:pt x="286" y="159"/>
                </a:cubicBezTo>
                <a:cubicBezTo>
                  <a:pt x="1256" y="159"/>
                  <a:pt x="1256" y="159"/>
                  <a:pt x="1256" y="159"/>
                </a:cubicBezTo>
                <a:cubicBezTo>
                  <a:pt x="1336" y="159"/>
                  <a:pt x="1383" y="191"/>
                  <a:pt x="1415" y="254"/>
                </a:cubicBezTo>
                <a:cubicBezTo>
                  <a:pt x="1574" y="620"/>
                  <a:pt x="1574" y="620"/>
                  <a:pt x="1574" y="620"/>
                </a:cubicBezTo>
                <a:cubicBezTo>
                  <a:pt x="1590" y="652"/>
                  <a:pt x="1622" y="668"/>
                  <a:pt x="1654" y="668"/>
                </a:cubicBezTo>
                <a:cubicBezTo>
                  <a:pt x="3705" y="668"/>
                  <a:pt x="3705" y="668"/>
                  <a:pt x="3705" y="668"/>
                </a:cubicBezTo>
                <a:cubicBezTo>
                  <a:pt x="3769" y="668"/>
                  <a:pt x="3833" y="731"/>
                  <a:pt x="3833" y="795"/>
                </a:cubicBezTo>
                <a:cubicBezTo>
                  <a:pt x="3833" y="970"/>
                  <a:pt x="3833" y="970"/>
                  <a:pt x="3833" y="970"/>
                </a:cubicBezTo>
                <a:cubicBezTo>
                  <a:pt x="827" y="970"/>
                  <a:pt x="827" y="970"/>
                  <a:pt x="827" y="970"/>
                </a:cubicBezTo>
                <a:cubicBezTo>
                  <a:pt x="667" y="970"/>
                  <a:pt x="540" y="1113"/>
                  <a:pt x="540" y="1272"/>
                </a:cubicBezTo>
                <a:cubicBezTo>
                  <a:pt x="540" y="3690"/>
                  <a:pt x="540" y="3690"/>
                  <a:pt x="540" y="3690"/>
                </a:cubicBezTo>
                <a:cubicBezTo>
                  <a:pt x="524" y="3721"/>
                  <a:pt x="493" y="3817"/>
                  <a:pt x="349" y="3817"/>
                </a:cubicBezTo>
                <a:cubicBezTo>
                  <a:pt x="286" y="3817"/>
                  <a:pt x="238" y="3801"/>
                  <a:pt x="206" y="3769"/>
                </a:cubicBezTo>
                <a:cubicBezTo>
                  <a:pt x="175" y="3737"/>
                  <a:pt x="158" y="3690"/>
                  <a:pt x="158" y="364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0" name="Freeform: Shape 14">
            <a:extLst>
              <a:ext uri="{FF2B5EF4-FFF2-40B4-BE49-F238E27FC236}">
                <a16:creationId xmlns:a16="http://schemas.microsoft.com/office/drawing/2014/main" id="{2BFF1304-8ACC-5A40-9B2B-DEFD9CEE9CC3}"/>
              </a:ext>
            </a:extLst>
          </p:cNvPr>
          <p:cNvSpPr/>
          <p:nvPr/>
        </p:nvSpPr>
        <p:spPr>
          <a:xfrm>
            <a:off x="1854587" y="9948514"/>
            <a:ext cx="1608480" cy="1430999"/>
          </a:xfrm>
          <a:custGeom>
            <a:avLst/>
            <a:gdLst/>
            <a:ahLst/>
            <a:cxnLst>
              <a:cxn ang="3cd4">
                <a:pos x="hc" y="t"/>
              </a:cxn>
              <a:cxn ang="cd2">
                <a:pos x="l" y="vc"/>
              </a:cxn>
              <a:cxn ang="cd4">
                <a:pos x="hc" y="b"/>
              </a:cxn>
              <a:cxn ang="0">
                <a:pos x="r" y="vc"/>
              </a:cxn>
            </a:cxnLst>
            <a:rect l="l" t="t" r="r" b="b"/>
            <a:pathLst>
              <a:path w="4469" h="3976">
                <a:moveTo>
                  <a:pt x="3785" y="2545"/>
                </a:moveTo>
                <a:cubicBezTo>
                  <a:pt x="3594" y="2545"/>
                  <a:pt x="3451" y="2688"/>
                  <a:pt x="3451" y="2878"/>
                </a:cubicBezTo>
                <a:lnTo>
                  <a:pt x="3451" y="3021"/>
                </a:lnTo>
                <a:lnTo>
                  <a:pt x="3324" y="3021"/>
                </a:lnTo>
                <a:cubicBezTo>
                  <a:pt x="3276" y="3021"/>
                  <a:pt x="3245" y="3054"/>
                  <a:pt x="3245" y="3101"/>
                </a:cubicBezTo>
                <a:lnTo>
                  <a:pt x="3245" y="3705"/>
                </a:lnTo>
                <a:cubicBezTo>
                  <a:pt x="3245" y="3753"/>
                  <a:pt x="3276" y="3785"/>
                  <a:pt x="3324" y="3785"/>
                </a:cubicBezTo>
                <a:lnTo>
                  <a:pt x="4231" y="3785"/>
                </a:lnTo>
                <a:cubicBezTo>
                  <a:pt x="4279" y="3785"/>
                  <a:pt x="4311" y="3753"/>
                  <a:pt x="4311" y="3705"/>
                </a:cubicBezTo>
                <a:lnTo>
                  <a:pt x="4311" y="3101"/>
                </a:lnTo>
                <a:cubicBezTo>
                  <a:pt x="4311" y="3054"/>
                  <a:pt x="4279" y="3021"/>
                  <a:pt x="4231" y="3021"/>
                </a:cubicBezTo>
                <a:lnTo>
                  <a:pt x="4120" y="3021"/>
                </a:lnTo>
                <a:lnTo>
                  <a:pt x="4120" y="2878"/>
                </a:lnTo>
                <a:cubicBezTo>
                  <a:pt x="4120" y="2688"/>
                  <a:pt x="3960" y="2545"/>
                  <a:pt x="3785" y="2545"/>
                </a:cubicBezTo>
                <a:close/>
                <a:moveTo>
                  <a:pt x="3611" y="2878"/>
                </a:moveTo>
                <a:cubicBezTo>
                  <a:pt x="3611" y="2783"/>
                  <a:pt x="3690" y="2703"/>
                  <a:pt x="3785" y="2703"/>
                </a:cubicBezTo>
                <a:cubicBezTo>
                  <a:pt x="3881" y="2703"/>
                  <a:pt x="3960" y="2783"/>
                  <a:pt x="3960" y="2878"/>
                </a:cubicBezTo>
                <a:lnTo>
                  <a:pt x="3960" y="3021"/>
                </a:lnTo>
                <a:lnTo>
                  <a:pt x="3611" y="3021"/>
                </a:lnTo>
                <a:close/>
                <a:moveTo>
                  <a:pt x="4151" y="3626"/>
                </a:moveTo>
                <a:lnTo>
                  <a:pt x="3404" y="3626"/>
                </a:lnTo>
                <a:lnTo>
                  <a:pt x="3404" y="3181"/>
                </a:lnTo>
                <a:lnTo>
                  <a:pt x="4151" y="3181"/>
                </a:lnTo>
                <a:close/>
                <a:moveTo>
                  <a:pt x="3992" y="970"/>
                </a:moveTo>
                <a:lnTo>
                  <a:pt x="3992" y="795"/>
                </a:lnTo>
                <a:cubicBezTo>
                  <a:pt x="3992" y="636"/>
                  <a:pt x="3849" y="509"/>
                  <a:pt x="3690" y="509"/>
                </a:cubicBezTo>
                <a:lnTo>
                  <a:pt x="1686" y="509"/>
                </a:lnTo>
                <a:lnTo>
                  <a:pt x="1559" y="191"/>
                </a:lnTo>
                <a:cubicBezTo>
                  <a:pt x="1495" y="79"/>
                  <a:pt x="1384" y="0"/>
                  <a:pt x="1257" y="0"/>
                </a:cubicBezTo>
                <a:lnTo>
                  <a:pt x="286" y="0"/>
                </a:lnTo>
                <a:cubicBezTo>
                  <a:pt x="127" y="0"/>
                  <a:pt x="0" y="127"/>
                  <a:pt x="0" y="286"/>
                </a:cubicBezTo>
                <a:lnTo>
                  <a:pt x="0" y="3642"/>
                </a:lnTo>
                <a:cubicBezTo>
                  <a:pt x="0" y="3737"/>
                  <a:pt x="32" y="3817"/>
                  <a:pt x="95" y="3881"/>
                </a:cubicBezTo>
                <a:cubicBezTo>
                  <a:pt x="159" y="3944"/>
                  <a:pt x="239" y="3976"/>
                  <a:pt x="334" y="3976"/>
                </a:cubicBezTo>
                <a:lnTo>
                  <a:pt x="3022" y="3976"/>
                </a:lnTo>
                <a:cubicBezTo>
                  <a:pt x="3070" y="3976"/>
                  <a:pt x="3102" y="3944"/>
                  <a:pt x="3102" y="3896"/>
                </a:cubicBezTo>
                <a:cubicBezTo>
                  <a:pt x="3102" y="3849"/>
                  <a:pt x="3070" y="3817"/>
                  <a:pt x="3022" y="3817"/>
                </a:cubicBezTo>
                <a:lnTo>
                  <a:pt x="636" y="3817"/>
                </a:lnTo>
                <a:cubicBezTo>
                  <a:pt x="668" y="3785"/>
                  <a:pt x="684" y="3737"/>
                  <a:pt x="684" y="3705"/>
                </a:cubicBezTo>
                <a:lnTo>
                  <a:pt x="684" y="3578"/>
                </a:lnTo>
                <a:lnTo>
                  <a:pt x="684" y="1272"/>
                </a:lnTo>
                <a:cubicBezTo>
                  <a:pt x="684" y="1192"/>
                  <a:pt x="748" y="1129"/>
                  <a:pt x="827" y="1129"/>
                </a:cubicBezTo>
                <a:lnTo>
                  <a:pt x="4183" y="1129"/>
                </a:lnTo>
                <a:cubicBezTo>
                  <a:pt x="4263" y="1129"/>
                  <a:pt x="4311" y="1192"/>
                  <a:pt x="4311" y="1272"/>
                </a:cubicBezTo>
                <a:lnTo>
                  <a:pt x="4311" y="2560"/>
                </a:lnTo>
                <a:cubicBezTo>
                  <a:pt x="4311" y="2592"/>
                  <a:pt x="4358" y="2640"/>
                  <a:pt x="4390" y="2640"/>
                </a:cubicBezTo>
                <a:cubicBezTo>
                  <a:pt x="4438" y="2640"/>
                  <a:pt x="4469" y="2592"/>
                  <a:pt x="4469" y="2560"/>
                </a:cubicBezTo>
                <a:lnTo>
                  <a:pt x="4469" y="1272"/>
                </a:lnTo>
                <a:cubicBezTo>
                  <a:pt x="4469" y="1113"/>
                  <a:pt x="4342" y="970"/>
                  <a:pt x="4183" y="970"/>
                </a:cubicBezTo>
                <a:close/>
                <a:moveTo>
                  <a:pt x="525" y="1272"/>
                </a:moveTo>
                <a:lnTo>
                  <a:pt x="525" y="3642"/>
                </a:lnTo>
                <a:lnTo>
                  <a:pt x="525" y="3690"/>
                </a:lnTo>
                <a:cubicBezTo>
                  <a:pt x="509" y="3737"/>
                  <a:pt x="477" y="3817"/>
                  <a:pt x="334" y="3817"/>
                </a:cubicBezTo>
                <a:cubicBezTo>
                  <a:pt x="286" y="3817"/>
                  <a:pt x="239" y="3801"/>
                  <a:pt x="207" y="3769"/>
                </a:cubicBezTo>
                <a:cubicBezTo>
                  <a:pt x="175" y="3737"/>
                  <a:pt x="159" y="3690"/>
                  <a:pt x="159" y="3642"/>
                </a:cubicBezTo>
                <a:lnTo>
                  <a:pt x="159" y="286"/>
                </a:lnTo>
                <a:cubicBezTo>
                  <a:pt x="159" y="222"/>
                  <a:pt x="207" y="159"/>
                  <a:pt x="286" y="159"/>
                </a:cubicBezTo>
                <a:lnTo>
                  <a:pt x="1257" y="159"/>
                </a:lnTo>
                <a:cubicBezTo>
                  <a:pt x="1320" y="159"/>
                  <a:pt x="1384" y="191"/>
                  <a:pt x="1416" y="254"/>
                </a:cubicBezTo>
                <a:lnTo>
                  <a:pt x="1559" y="620"/>
                </a:lnTo>
                <a:cubicBezTo>
                  <a:pt x="1575" y="652"/>
                  <a:pt x="1606" y="668"/>
                  <a:pt x="1639" y="668"/>
                </a:cubicBezTo>
                <a:lnTo>
                  <a:pt x="3690" y="668"/>
                </a:lnTo>
                <a:cubicBezTo>
                  <a:pt x="3770" y="668"/>
                  <a:pt x="3833" y="731"/>
                  <a:pt x="3833" y="795"/>
                </a:cubicBezTo>
                <a:lnTo>
                  <a:pt x="3833" y="970"/>
                </a:lnTo>
                <a:lnTo>
                  <a:pt x="827" y="970"/>
                </a:lnTo>
                <a:cubicBezTo>
                  <a:pt x="668" y="970"/>
                  <a:pt x="525" y="1113"/>
                  <a:pt x="525" y="12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1" name="Freeform: Shape 15">
            <a:extLst>
              <a:ext uri="{FF2B5EF4-FFF2-40B4-BE49-F238E27FC236}">
                <a16:creationId xmlns:a16="http://schemas.microsoft.com/office/drawing/2014/main" id="{F0AC4940-5D46-5A45-B35F-68CA09493597}"/>
              </a:ext>
            </a:extLst>
          </p:cNvPr>
          <p:cNvSpPr/>
          <p:nvPr/>
        </p:nvSpPr>
        <p:spPr>
          <a:xfrm>
            <a:off x="17422293" y="6473909"/>
            <a:ext cx="1614240" cy="1430999"/>
          </a:xfrm>
          <a:custGeom>
            <a:avLst/>
            <a:gdLst/>
            <a:ahLst/>
            <a:cxnLst>
              <a:cxn ang="3cd4">
                <a:pos x="hc" y="t"/>
              </a:cxn>
              <a:cxn ang="cd2">
                <a:pos x="l" y="vc"/>
              </a:cxn>
              <a:cxn ang="cd4">
                <a:pos x="hc" y="b"/>
              </a:cxn>
              <a:cxn ang="0">
                <a:pos x="r" y="vc"/>
              </a:cxn>
            </a:cxnLst>
            <a:rect l="l" t="t" r="r" b="b"/>
            <a:pathLst>
              <a:path w="4485" h="3976">
                <a:moveTo>
                  <a:pt x="3801" y="3372"/>
                </a:moveTo>
                <a:cubicBezTo>
                  <a:pt x="3817" y="3372"/>
                  <a:pt x="3833" y="3387"/>
                  <a:pt x="3849" y="3387"/>
                </a:cubicBezTo>
                <a:cubicBezTo>
                  <a:pt x="3865" y="3387"/>
                  <a:pt x="3896" y="3372"/>
                  <a:pt x="3913" y="3340"/>
                </a:cubicBezTo>
                <a:lnTo>
                  <a:pt x="4151" y="2958"/>
                </a:lnTo>
                <a:cubicBezTo>
                  <a:pt x="4167" y="2926"/>
                  <a:pt x="4167" y="2894"/>
                  <a:pt x="4151" y="2878"/>
                </a:cubicBezTo>
                <a:lnTo>
                  <a:pt x="3913" y="2449"/>
                </a:lnTo>
                <a:cubicBezTo>
                  <a:pt x="3896" y="2417"/>
                  <a:pt x="3833" y="2401"/>
                  <a:pt x="3801" y="2417"/>
                </a:cubicBezTo>
                <a:cubicBezTo>
                  <a:pt x="3769" y="2449"/>
                  <a:pt x="3753" y="2497"/>
                  <a:pt x="3769" y="2528"/>
                </a:cubicBezTo>
                <a:lnTo>
                  <a:pt x="3928" y="2815"/>
                </a:lnTo>
                <a:lnTo>
                  <a:pt x="3674" y="2815"/>
                </a:lnTo>
                <a:cubicBezTo>
                  <a:pt x="3451" y="2815"/>
                  <a:pt x="3340" y="3021"/>
                  <a:pt x="3340" y="3228"/>
                </a:cubicBezTo>
                <a:lnTo>
                  <a:pt x="3340" y="3594"/>
                </a:lnTo>
                <a:cubicBezTo>
                  <a:pt x="3340" y="3642"/>
                  <a:pt x="3371" y="3673"/>
                  <a:pt x="3419" y="3673"/>
                </a:cubicBezTo>
                <a:cubicBezTo>
                  <a:pt x="3451" y="3673"/>
                  <a:pt x="3499" y="3642"/>
                  <a:pt x="3499" y="3594"/>
                </a:cubicBezTo>
                <a:lnTo>
                  <a:pt x="3499" y="3228"/>
                </a:lnTo>
                <a:cubicBezTo>
                  <a:pt x="3499" y="3133"/>
                  <a:pt x="3547" y="2974"/>
                  <a:pt x="3674" y="2974"/>
                </a:cubicBezTo>
                <a:lnTo>
                  <a:pt x="3944" y="2974"/>
                </a:lnTo>
                <a:lnTo>
                  <a:pt x="3769" y="3260"/>
                </a:lnTo>
                <a:cubicBezTo>
                  <a:pt x="3753" y="3292"/>
                  <a:pt x="3769" y="3340"/>
                  <a:pt x="3801" y="3372"/>
                </a:cubicBezTo>
                <a:close/>
                <a:moveTo>
                  <a:pt x="4405" y="2640"/>
                </a:moveTo>
                <a:cubicBezTo>
                  <a:pt x="4437" y="2640"/>
                  <a:pt x="4485" y="2592"/>
                  <a:pt x="4485" y="2560"/>
                </a:cubicBezTo>
                <a:lnTo>
                  <a:pt x="4485" y="1272"/>
                </a:lnTo>
                <a:cubicBezTo>
                  <a:pt x="4485" y="1113"/>
                  <a:pt x="4358" y="970"/>
                  <a:pt x="4199" y="970"/>
                </a:cubicBezTo>
                <a:lnTo>
                  <a:pt x="3992" y="970"/>
                </a:lnTo>
                <a:lnTo>
                  <a:pt x="3992" y="795"/>
                </a:lnTo>
                <a:cubicBezTo>
                  <a:pt x="3992" y="636"/>
                  <a:pt x="3865" y="509"/>
                  <a:pt x="3705" y="509"/>
                </a:cubicBezTo>
                <a:lnTo>
                  <a:pt x="1702" y="509"/>
                </a:lnTo>
                <a:lnTo>
                  <a:pt x="1559" y="191"/>
                </a:lnTo>
                <a:cubicBezTo>
                  <a:pt x="1511" y="79"/>
                  <a:pt x="1383" y="0"/>
                  <a:pt x="1256" y="0"/>
                </a:cubicBezTo>
                <a:lnTo>
                  <a:pt x="286" y="0"/>
                </a:lnTo>
                <a:cubicBezTo>
                  <a:pt x="127" y="0"/>
                  <a:pt x="0" y="127"/>
                  <a:pt x="0" y="286"/>
                </a:cubicBezTo>
                <a:lnTo>
                  <a:pt x="0" y="3642"/>
                </a:lnTo>
                <a:cubicBezTo>
                  <a:pt x="0" y="3737"/>
                  <a:pt x="32" y="3817"/>
                  <a:pt x="95" y="3881"/>
                </a:cubicBezTo>
                <a:cubicBezTo>
                  <a:pt x="159" y="3944"/>
                  <a:pt x="238" y="3976"/>
                  <a:pt x="334" y="3976"/>
                </a:cubicBezTo>
                <a:lnTo>
                  <a:pt x="3022" y="3976"/>
                </a:lnTo>
                <a:cubicBezTo>
                  <a:pt x="3069" y="3976"/>
                  <a:pt x="3101" y="3944"/>
                  <a:pt x="3101" y="3896"/>
                </a:cubicBezTo>
                <a:cubicBezTo>
                  <a:pt x="3101" y="3849"/>
                  <a:pt x="3069" y="3817"/>
                  <a:pt x="3022" y="3817"/>
                </a:cubicBezTo>
                <a:lnTo>
                  <a:pt x="652" y="3817"/>
                </a:lnTo>
                <a:cubicBezTo>
                  <a:pt x="668" y="3785"/>
                  <a:pt x="684" y="3737"/>
                  <a:pt x="684" y="3705"/>
                </a:cubicBezTo>
                <a:lnTo>
                  <a:pt x="684" y="3578"/>
                </a:lnTo>
                <a:lnTo>
                  <a:pt x="699" y="1272"/>
                </a:lnTo>
                <a:cubicBezTo>
                  <a:pt x="699" y="1192"/>
                  <a:pt x="747" y="1129"/>
                  <a:pt x="827" y="1129"/>
                </a:cubicBezTo>
                <a:lnTo>
                  <a:pt x="4199" y="1129"/>
                </a:lnTo>
                <a:cubicBezTo>
                  <a:pt x="4262" y="1129"/>
                  <a:pt x="4326" y="1192"/>
                  <a:pt x="4326" y="1272"/>
                </a:cubicBezTo>
                <a:lnTo>
                  <a:pt x="4326" y="2560"/>
                </a:lnTo>
                <a:cubicBezTo>
                  <a:pt x="4326" y="2592"/>
                  <a:pt x="4358" y="2640"/>
                  <a:pt x="4405" y="2640"/>
                </a:cubicBezTo>
                <a:close/>
                <a:moveTo>
                  <a:pt x="541" y="1272"/>
                </a:moveTo>
                <a:lnTo>
                  <a:pt x="524" y="3642"/>
                </a:lnTo>
                <a:lnTo>
                  <a:pt x="524" y="3690"/>
                </a:lnTo>
                <a:cubicBezTo>
                  <a:pt x="524" y="3737"/>
                  <a:pt x="477" y="3817"/>
                  <a:pt x="334" y="3817"/>
                </a:cubicBezTo>
                <a:cubicBezTo>
                  <a:pt x="286" y="3817"/>
                  <a:pt x="238" y="3801"/>
                  <a:pt x="206" y="3769"/>
                </a:cubicBezTo>
                <a:cubicBezTo>
                  <a:pt x="175" y="3737"/>
                  <a:pt x="159" y="3690"/>
                  <a:pt x="159" y="3642"/>
                </a:cubicBezTo>
                <a:lnTo>
                  <a:pt x="159" y="286"/>
                </a:lnTo>
                <a:cubicBezTo>
                  <a:pt x="159" y="222"/>
                  <a:pt x="223" y="159"/>
                  <a:pt x="286" y="159"/>
                </a:cubicBezTo>
                <a:lnTo>
                  <a:pt x="1256" y="159"/>
                </a:lnTo>
                <a:cubicBezTo>
                  <a:pt x="1320" y="159"/>
                  <a:pt x="1383" y="191"/>
                  <a:pt x="1415" y="254"/>
                </a:cubicBezTo>
                <a:lnTo>
                  <a:pt x="1574" y="620"/>
                </a:lnTo>
                <a:cubicBezTo>
                  <a:pt x="1590" y="652"/>
                  <a:pt x="1606" y="668"/>
                  <a:pt x="1638" y="668"/>
                </a:cubicBezTo>
                <a:lnTo>
                  <a:pt x="3705" y="668"/>
                </a:lnTo>
                <a:cubicBezTo>
                  <a:pt x="3769" y="668"/>
                  <a:pt x="3833" y="731"/>
                  <a:pt x="3833" y="795"/>
                </a:cubicBezTo>
                <a:lnTo>
                  <a:pt x="3833" y="970"/>
                </a:lnTo>
                <a:lnTo>
                  <a:pt x="827" y="970"/>
                </a:lnTo>
                <a:cubicBezTo>
                  <a:pt x="668" y="970"/>
                  <a:pt x="541" y="1113"/>
                  <a:pt x="541" y="12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2" name="Freeform: Shape 16">
            <a:extLst>
              <a:ext uri="{FF2B5EF4-FFF2-40B4-BE49-F238E27FC236}">
                <a16:creationId xmlns:a16="http://schemas.microsoft.com/office/drawing/2014/main" id="{CF076205-33D9-D14D-A0A8-DEB17072C309}"/>
              </a:ext>
            </a:extLst>
          </p:cNvPr>
          <p:cNvSpPr/>
          <p:nvPr/>
        </p:nvSpPr>
        <p:spPr>
          <a:xfrm>
            <a:off x="13665479" y="6473909"/>
            <a:ext cx="1608840" cy="1430999"/>
          </a:xfrm>
          <a:custGeom>
            <a:avLst/>
            <a:gdLst/>
            <a:ahLst/>
            <a:cxnLst>
              <a:cxn ang="3cd4">
                <a:pos x="hc" y="t"/>
              </a:cxn>
              <a:cxn ang="cd2">
                <a:pos x="l" y="vc"/>
              </a:cxn>
              <a:cxn ang="cd4">
                <a:pos x="hc" y="b"/>
              </a:cxn>
              <a:cxn ang="0">
                <a:pos x="r" y="vc"/>
              </a:cxn>
            </a:cxnLst>
            <a:rect l="l" t="t" r="r" b="b"/>
            <a:pathLst>
              <a:path w="4470" h="3976">
                <a:moveTo>
                  <a:pt x="3722" y="3801"/>
                </a:moveTo>
                <a:cubicBezTo>
                  <a:pt x="3770" y="3801"/>
                  <a:pt x="3801" y="3769"/>
                  <a:pt x="3801" y="3721"/>
                </a:cubicBezTo>
                <a:lnTo>
                  <a:pt x="3801" y="2894"/>
                </a:lnTo>
                <a:lnTo>
                  <a:pt x="4104" y="3054"/>
                </a:lnTo>
                <a:cubicBezTo>
                  <a:pt x="4119" y="3069"/>
                  <a:pt x="4136" y="3069"/>
                  <a:pt x="4151" y="3069"/>
                </a:cubicBezTo>
                <a:cubicBezTo>
                  <a:pt x="4167" y="3069"/>
                  <a:pt x="4199" y="3054"/>
                  <a:pt x="4215" y="3021"/>
                </a:cubicBezTo>
                <a:cubicBezTo>
                  <a:pt x="4231" y="2989"/>
                  <a:pt x="4231" y="2942"/>
                  <a:pt x="4183" y="2926"/>
                </a:cubicBezTo>
                <a:lnTo>
                  <a:pt x="3754" y="2672"/>
                </a:lnTo>
                <a:cubicBezTo>
                  <a:pt x="3722" y="2656"/>
                  <a:pt x="3690" y="2656"/>
                  <a:pt x="3674" y="2672"/>
                </a:cubicBezTo>
                <a:lnTo>
                  <a:pt x="3261" y="2926"/>
                </a:lnTo>
                <a:cubicBezTo>
                  <a:pt x="3229" y="2942"/>
                  <a:pt x="3213" y="2989"/>
                  <a:pt x="3245" y="3037"/>
                </a:cubicBezTo>
                <a:cubicBezTo>
                  <a:pt x="3261" y="3069"/>
                  <a:pt x="3309" y="3085"/>
                  <a:pt x="3340" y="3054"/>
                </a:cubicBezTo>
                <a:lnTo>
                  <a:pt x="3642" y="2878"/>
                </a:lnTo>
                <a:lnTo>
                  <a:pt x="3642" y="3721"/>
                </a:lnTo>
                <a:cubicBezTo>
                  <a:pt x="3642" y="3769"/>
                  <a:pt x="3690" y="3801"/>
                  <a:pt x="3722" y="3801"/>
                </a:cubicBezTo>
                <a:close/>
                <a:moveTo>
                  <a:pt x="334" y="3976"/>
                </a:moveTo>
                <a:lnTo>
                  <a:pt x="3022" y="3976"/>
                </a:lnTo>
                <a:cubicBezTo>
                  <a:pt x="3054" y="3976"/>
                  <a:pt x="3101" y="3944"/>
                  <a:pt x="3101" y="3896"/>
                </a:cubicBezTo>
                <a:cubicBezTo>
                  <a:pt x="3101" y="3849"/>
                  <a:pt x="3054" y="3817"/>
                  <a:pt x="3022" y="3817"/>
                </a:cubicBezTo>
                <a:lnTo>
                  <a:pt x="637" y="3817"/>
                </a:lnTo>
                <a:cubicBezTo>
                  <a:pt x="668" y="3785"/>
                  <a:pt x="668" y="3737"/>
                  <a:pt x="684" y="3705"/>
                </a:cubicBezTo>
                <a:lnTo>
                  <a:pt x="684" y="3578"/>
                </a:lnTo>
                <a:lnTo>
                  <a:pt x="684" y="1272"/>
                </a:lnTo>
                <a:cubicBezTo>
                  <a:pt x="684" y="1192"/>
                  <a:pt x="747" y="1129"/>
                  <a:pt x="827" y="1129"/>
                </a:cubicBezTo>
                <a:lnTo>
                  <a:pt x="4183" y="1129"/>
                </a:lnTo>
                <a:cubicBezTo>
                  <a:pt x="4263" y="1129"/>
                  <a:pt x="4310" y="1192"/>
                  <a:pt x="4310" y="1272"/>
                </a:cubicBezTo>
                <a:lnTo>
                  <a:pt x="4310" y="2560"/>
                </a:lnTo>
                <a:cubicBezTo>
                  <a:pt x="4310" y="2592"/>
                  <a:pt x="4342" y="2640"/>
                  <a:pt x="4390" y="2640"/>
                </a:cubicBezTo>
                <a:cubicBezTo>
                  <a:pt x="4437" y="2640"/>
                  <a:pt x="4470" y="2592"/>
                  <a:pt x="4470" y="2560"/>
                </a:cubicBezTo>
                <a:lnTo>
                  <a:pt x="4470" y="1272"/>
                </a:lnTo>
                <a:cubicBezTo>
                  <a:pt x="4470" y="1113"/>
                  <a:pt x="4342" y="970"/>
                  <a:pt x="4183" y="970"/>
                </a:cubicBezTo>
                <a:lnTo>
                  <a:pt x="3976" y="970"/>
                </a:lnTo>
                <a:lnTo>
                  <a:pt x="3976" y="795"/>
                </a:lnTo>
                <a:cubicBezTo>
                  <a:pt x="3976" y="636"/>
                  <a:pt x="3849" y="509"/>
                  <a:pt x="3690" y="509"/>
                </a:cubicBezTo>
                <a:lnTo>
                  <a:pt x="1686" y="509"/>
                </a:lnTo>
                <a:lnTo>
                  <a:pt x="1559" y="191"/>
                </a:lnTo>
                <a:cubicBezTo>
                  <a:pt x="1495" y="79"/>
                  <a:pt x="1384" y="0"/>
                  <a:pt x="1256" y="0"/>
                </a:cubicBezTo>
                <a:lnTo>
                  <a:pt x="286" y="0"/>
                </a:lnTo>
                <a:cubicBezTo>
                  <a:pt x="128" y="0"/>
                  <a:pt x="0" y="127"/>
                  <a:pt x="0" y="286"/>
                </a:cubicBezTo>
                <a:lnTo>
                  <a:pt x="0" y="3642"/>
                </a:lnTo>
                <a:cubicBezTo>
                  <a:pt x="0" y="3737"/>
                  <a:pt x="32" y="3817"/>
                  <a:pt x="96" y="3881"/>
                </a:cubicBezTo>
                <a:cubicBezTo>
                  <a:pt x="159" y="3944"/>
                  <a:pt x="239" y="3976"/>
                  <a:pt x="334" y="3976"/>
                </a:cubicBezTo>
                <a:close/>
                <a:moveTo>
                  <a:pt x="159" y="286"/>
                </a:moveTo>
                <a:cubicBezTo>
                  <a:pt x="159" y="222"/>
                  <a:pt x="207" y="159"/>
                  <a:pt x="286" y="159"/>
                </a:cubicBezTo>
                <a:lnTo>
                  <a:pt x="1256" y="159"/>
                </a:lnTo>
                <a:cubicBezTo>
                  <a:pt x="1320" y="159"/>
                  <a:pt x="1384" y="191"/>
                  <a:pt x="1400" y="254"/>
                </a:cubicBezTo>
                <a:lnTo>
                  <a:pt x="1559" y="620"/>
                </a:lnTo>
                <a:cubicBezTo>
                  <a:pt x="1575" y="652"/>
                  <a:pt x="1607" y="668"/>
                  <a:pt x="1638" y="668"/>
                </a:cubicBezTo>
                <a:lnTo>
                  <a:pt x="3690" y="668"/>
                </a:lnTo>
                <a:cubicBezTo>
                  <a:pt x="3770" y="668"/>
                  <a:pt x="3818" y="731"/>
                  <a:pt x="3818" y="795"/>
                </a:cubicBezTo>
                <a:lnTo>
                  <a:pt x="3818" y="970"/>
                </a:lnTo>
                <a:lnTo>
                  <a:pt x="827" y="970"/>
                </a:lnTo>
                <a:cubicBezTo>
                  <a:pt x="652" y="970"/>
                  <a:pt x="525" y="1113"/>
                  <a:pt x="525" y="1272"/>
                </a:cubicBezTo>
                <a:lnTo>
                  <a:pt x="525" y="3642"/>
                </a:lnTo>
                <a:lnTo>
                  <a:pt x="525" y="3690"/>
                </a:lnTo>
                <a:cubicBezTo>
                  <a:pt x="509" y="3737"/>
                  <a:pt x="477" y="3817"/>
                  <a:pt x="334" y="3817"/>
                </a:cubicBezTo>
                <a:cubicBezTo>
                  <a:pt x="271" y="3817"/>
                  <a:pt x="239" y="3801"/>
                  <a:pt x="207" y="3769"/>
                </a:cubicBezTo>
                <a:cubicBezTo>
                  <a:pt x="175" y="3737"/>
                  <a:pt x="159" y="3690"/>
                  <a:pt x="159" y="364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3" name="Freeform: Shape 17">
            <a:extLst>
              <a:ext uri="{FF2B5EF4-FFF2-40B4-BE49-F238E27FC236}">
                <a16:creationId xmlns:a16="http://schemas.microsoft.com/office/drawing/2014/main" id="{9415DF6C-A115-A644-8421-B68C4539B361}"/>
              </a:ext>
            </a:extLst>
          </p:cNvPr>
          <p:cNvSpPr/>
          <p:nvPr/>
        </p:nvSpPr>
        <p:spPr>
          <a:xfrm>
            <a:off x="5962635" y="9948514"/>
            <a:ext cx="1625760" cy="1430999"/>
          </a:xfrm>
          <a:custGeom>
            <a:avLst/>
            <a:gdLst/>
            <a:ahLst/>
            <a:cxnLst>
              <a:cxn ang="3cd4">
                <a:pos x="hc" y="t"/>
              </a:cxn>
              <a:cxn ang="cd2">
                <a:pos x="l" y="vc"/>
              </a:cxn>
              <a:cxn ang="cd4">
                <a:pos x="hc" y="b"/>
              </a:cxn>
              <a:cxn ang="0">
                <a:pos x="r" y="vc"/>
              </a:cxn>
            </a:cxnLst>
            <a:rect l="l" t="t" r="r" b="b"/>
            <a:pathLst>
              <a:path w="4517" h="3976">
                <a:moveTo>
                  <a:pt x="3785" y="3419"/>
                </a:moveTo>
                <a:cubicBezTo>
                  <a:pt x="3785" y="3467"/>
                  <a:pt x="3817" y="3515"/>
                  <a:pt x="3849" y="3562"/>
                </a:cubicBezTo>
                <a:lnTo>
                  <a:pt x="4199" y="3864"/>
                </a:lnTo>
                <a:cubicBezTo>
                  <a:pt x="4231" y="3896"/>
                  <a:pt x="4278" y="3912"/>
                  <a:pt x="4326" y="3912"/>
                </a:cubicBezTo>
                <a:cubicBezTo>
                  <a:pt x="4374" y="3912"/>
                  <a:pt x="4437" y="3881"/>
                  <a:pt x="4469" y="3849"/>
                </a:cubicBezTo>
                <a:cubicBezTo>
                  <a:pt x="4501" y="3801"/>
                  <a:pt x="4517" y="3753"/>
                  <a:pt x="4517" y="3705"/>
                </a:cubicBezTo>
                <a:cubicBezTo>
                  <a:pt x="4517" y="3658"/>
                  <a:pt x="4485" y="3610"/>
                  <a:pt x="4453" y="3578"/>
                </a:cubicBezTo>
                <a:lnTo>
                  <a:pt x="4103" y="3276"/>
                </a:lnTo>
                <a:cubicBezTo>
                  <a:pt x="4040" y="3228"/>
                  <a:pt x="3960" y="3212"/>
                  <a:pt x="3896" y="3244"/>
                </a:cubicBezTo>
                <a:lnTo>
                  <a:pt x="3849" y="3197"/>
                </a:lnTo>
                <a:cubicBezTo>
                  <a:pt x="3928" y="3101"/>
                  <a:pt x="3960" y="2989"/>
                  <a:pt x="3960" y="2863"/>
                </a:cubicBezTo>
                <a:cubicBezTo>
                  <a:pt x="3960" y="2528"/>
                  <a:pt x="3705" y="2274"/>
                  <a:pt x="3372" y="2274"/>
                </a:cubicBezTo>
                <a:cubicBezTo>
                  <a:pt x="3053" y="2274"/>
                  <a:pt x="2783" y="2528"/>
                  <a:pt x="2783" y="2863"/>
                </a:cubicBezTo>
                <a:cubicBezTo>
                  <a:pt x="2783" y="3181"/>
                  <a:pt x="3053" y="3451"/>
                  <a:pt x="3372" y="3451"/>
                </a:cubicBezTo>
                <a:cubicBezTo>
                  <a:pt x="3515" y="3451"/>
                  <a:pt x="3642" y="3403"/>
                  <a:pt x="3738" y="3324"/>
                </a:cubicBezTo>
                <a:lnTo>
                  <a:pt x="3801" y="3372"/>
                </a:lnTo>
                <a:cubicBezTo>
                  <a:pt x="3785" y="3387"/>
                  <a:pt x="3785" y="3403"/>
                  <a:pt x="3785" y="3419"/>
                </a:cubicBezTo>
                <a:close/>
                <a:moveTo>
                  <a:pt x="3992" y="3387"/>
                </a:moveTo>
                <a:lnTo>
                  <a:pt x="4342" y="3705"/>
                </a:lnTo>
                <a:cubicBezTo>
                  <a:pt x="4358" y="3705"/>
                  <a:pt x="4358" y="3705"/>
                  <a:pt x="4358" y="3721"/>
                </a:cubicBezTo>
                <a:cubicBezTo>
                  <a:pt x="4353" y="3726"/>
                  <a:pt x="4358" y="3737"/>
                  <a:pt x="4342" y="3737"/>
                </a:cubicBezTo>
                <a:cubicBezTo>
                  <a:pt x="4342" y="3753"/>
                  <a:pt x="4326" y="3753"/>
                  <a:pt x="4310" y="3737"/>
                </a:cubicBezTo>
                <a:lnTo>
                  <a:pt x="3960" y="3435"/>
                </a:lnTo>
                <a:lnTo>
                  <a:pt x="3944" y="3419"/>
                </a:lnTo>
                <a:cubicBezTo>
                  <a:pt x="3960" y="3419"/>
                  <a:pt x="3960" y="3419"/>
                  <a:pt x="3960" y="3403"/>
                </a:cubicBezTo>
                <a:cubicBezTo>
                  <a:pt x="3965" y="3398"/>
                  <a:pt x="3976" y="3403"/>
                  <a:pt x="3976" y="3387"/>
                </a:cubicBezTo>
                <a:close/>
                <a:moveTo>
                  <a:pt x="2942" y="2863"/>
                </a:moveTo>
                <a:cubicBezTo>
                  <a:pt x="2942" y="2624"/>
                  <a:pt x="3149" y="2433"/>
                  <a:pt x="3372" y="2433"/>
                </a:cubicBezTo>
                <a:cubicBezTo>
                  <a:pt x="3610" y="2433"/>
                  <a:pt x="3801" y="2624"/>
                  <a:pt x="3801" y="2863"/>
                </a:cubicBezTo>
                <a:cubicBezTo>
                  <a:pt x="3801" y="3085"/>
                  <a:pt x="3610" y="3292"/>
                  <a:pt x="3372" y="3292"/>
                </a:cubicBezTo>
                <a:cubicBezTo>
                  <a:pt x="3149" y="3292"/>
                  <a:pt x="2942" y="3085"/>
                  <a:pt x="2942" y="2863"/>
                </a:cubicBezTo>
                <a:close/>
                <a:moveTo>
                  <a:pt x="334" y="3976"/>
                </a:moveTo>
                <a:lnTo>
                  <a:pt x="3022" y="3976"/>
                </a:lnTo>
                <a:cubicBezTo>
                  <a:pt x="3069" y="3976"/>
                  <a:pt x="3101" y="3944"/>
                  <a:pt x="3101" y="3896"/>
                </a:cubicBezTo>
                <a:cubicBezTo>
                  <a:pt x="3101" y="3849"/>
                  <a:pt x="3069" y="3817"/>
                  <a:pt x="3022" y="3817"/>
                </a:cubicBezTo>
                <a:lnTo>
                  <a:pt x="652" y="3817"/>
                </a:lnTo>
                <a:cubicBezTo>
                  <a:pt x="668" y="3785"/>
                  <a:pt x="684" y="3737"/>
                  <a:pt x="684" y="3705"/>
                </a:cubicBezTo>
                <a:lnTo>
                  <a:pt x="684" y="3578"/>
                </a:lnTo>
                <a:lnTo>
                  <a:pt x="700" y="1272"/>
                </a:lnTo>
                <a:cubicBezTo>
                  <a:pt x="700" y="1192"/>
                  <a:pt x="747" y="1129"/>
                  <a:pt x="827" y="1129"/>
                </a:cubicBezTo>
                <a:lnTo>
                  <a:pt x="4183" y="1129"/>
                </a:lnTo>
                <a:cubicBezTo>
                  <a:pt x="4262" y="1129"/>
                  <a:pt x="4326" y="1192"/>
                  <a:pt x="4326" y="1272"/>
                </a:cubicBezTo>
                <a:lnTo>
                  <a:pt x="4326" y="2560"/>
                </a:lnTo>
                <a:cubicBezTo>
                  <a:pt x="4326" y="2592"/>
                  <a:pt x="4358" y="2640"/>
                  <a:pt x="4405" y="2640"/>
                </a:cubicBezTo>
                <a:cubicBezTo>
                  <a:pt x="4437" y="2640"/>
                  <a:pt x="4485" y="2592"/>
                  <a:pt x="4485" y="2560"/>
                </a:cubicBezTo>
                <a:lnTo>
                  <a:pt x="4485" y="1272"/>
                </a:lnTo>
                <a:cubicBezTo>
                  <a:pt x="4485" y="1113"/>
                  <a:pt x="4358" y="970"/>
                  <a:pt x="4183" y="970"/>
                </a:cubicBezTo>
                <a:lnTo>
                  <a:pt x="3992" y="970"/>
                </a:lnTo>
                <a:lnTo>
                  <a:pt x="3992" y="795"/>
                </a:lnTo>
                <a:cubicBezTo>
                  <a:pt x="3992" y="636"/>
                  <a:pt x="3865" y="509"/>
                  <a:pt x="3705" y="509"/>
                </a:cubicBezTo>
                <a:lnTo>
                  <a:pt x="1702" y="509"/>
                </a:lnTo>
                <a:lnTo>
                  <a:pt x="1559" y="191"/>
                </a:lnTo>
                <a:cubicBezTo>
                  <a:pt x="1511" y="79"/>
                  <a:pt x="1384" y="0"/>
                  <a:pt x="1256" y="0"/>
                </a:cubicBezTo>
                <a:lnTo>
                  <a:pt x="286" y="0"/>
                </a:lnTo>
                <a:cubicBezTo>
                  <a:pt x="127" y="0"/>
                  <a:pt x="0" y="127"/>
                  <a:pt x="0" y="286"/>
                </a:cubicBezTo>
                <a:lnTo>
                  <a:pt x="0" y="3642"/>
                </a:lnTo>
                <a:cubicBezTo>
                  <a:pt x="0" y="3737"/>
                  <a:pt x="32" y="3817"/>
                  <a:pt x="95" y="3881"/>
                </a:cubicBezTo>
                <a:cubicBezTo>
                  <a:pt x="159" y="3944"/>
                  <a:pt x="238" y="3976"/>
                  <a:pt x="334" y="3976"/>
                </a:cubicBezTo>
                <a:close/>
                <a:moveTo>
                  <a:pt x="159" y="286"/>
                </a:moveTo>
                <a:cubicBezTo>
                  <a:pt x="159" y="222"/>
                  <a:pt x="223" y="159"/>
                  <a:pt x="286" y="159"/>
                </a:cubicBezTo>
                <a:lnTo>
                  <a:pt x="1256" y="159"/>
                </a:lnTo>
                <a:cubicBezTo>
                  <a:pt x="1320" y="159"/>
                  <a:pt x="1384" y="191"/>
                  <a:pt x="1415" y="254"/>
                </a:cubicBezTo>
                <a:lnTo>
                  <a:pt x="1574" y="620"/>
                </a:lnTo>
                <a:cubicBezTo>
                  <a:pt x="1590" y="652"/>
                  <a:pt x="1606" y="668"/>
                  <a:pt x="1638" y="668"/>
                </a:cubicBezTo>
                <a:lnTo>
                  <a:pt x="3705" y="668"/>
                </a:lnTo>
                <a:cubicBezTo>
                  <a:pt x="3769" y="668"/>
                  <a:pt x="3833" y="731"/>
                  <a:pt x="3833" y="795"/>
                </a:cubicBezTo>
                <a:lnTo>
                  <a:pt x="3833" y="970"/>
                </a:lnTo>
                <a:lnTo>
                  <a:pt x="827" y="970"/>
                </a:lnTo>
                <a:cubicBezTo>
                  <a:pt x="668" y="970"/>
                  <a:pt x="541" y="1113"/>
                  <a:pt x="541" y="1272"/>
                </a:cubicBezTo>
                <a:lnTo>
                  <a:pt x="524" y="3642"/>
                </a:lnTo>
                <a:lnTo>
                  <a:pt x="524" y="3690"/>
                </a:lnTo>
                <a:cubicBezTo>
                  <a:pt x="524" y="3737"/>
                  <a:pt x="477" y="3817"/>
                  <a:pt x="334" y="3817"/>
                </a:cubicBezTo>
                <a:cubicBezTo>
                  <a:pt x="286" y="3817"/>
                  <a:pt x="238" y="3801"/>
                  <a:pt x="206" y="3769"/>
                </a:cubicBezTo>
                <a:cubicBezTo>
                  <a:pt x="175" y="3737"/>
                  <a:pt x="159" y="3690"/>
                  <a:pt x="159" y="364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4" name="Freeform: Shape 18">
            <a:extLst>
              <a:ext uri="{FF2B5EF4-FFF2-40B4-BE49-F238E27FC236}">
                <a16:creationId xmlns:a16="http://schemas.microsoft.com/office/drawing/2014/main" id="{062D6AF9-A79F-554E-9494-369735CE94DF}"/>
              </a:ext>
            </a:extLst>
          </p:cNvPr>
          <p:cNvSpPr/>
          <p:nvPr/>
        </p:nvSpPr>
        <p:spPr>
          <a:xfrm>
            <a:off x="9858889" y="9948514"/>
            <a:ext cx="1614240" cy="1430999"/>
          </a:xfrm>
          <a:custGeom>
            <a:avLst/>
            <a:gdLst/>
            <a:ahLst/>
            <a:cxnLst>
              <a:cxn ang="3cd4">
                <a:pos x="hc" y="t"/>
              </a:cxn>
              <a:cxn ang="cd2">
                <a:pos x="l" y="vc"/>
              </a:cxn>
              <a:cxn ang="cd4">
                <a:pos x="hc" y="b"/>
              </a:cxn>
              <a:cxn ang="0">
                <a:pos x="r" y="vc"/>
              </a:cxn>
            </a:cxnLst>
            <a:rect l="l" t="t" r="r" b="b"/>
            <a:pathLst>
              <a:path w="4485" h="3976">
                <a:moveTo>
                  <a:pt x="4119" y="2274"/>
                </a:moveTo>
                <a:cubicBezTo>
                  <a:pt x="4087" y="2258"/>
                  <a:pt x="4056" y="2258"/>
                  <a:pt x="4039" y="2274"/>
                </a:cubicBezTo>
                <a:lnTo>
                  <a:pt x="3435" y="2672"/>
                </a:lnTo>
                <a:cubicBezTo>
                  <a:pt x="3419" y="2688"/>
                  <a:pt x="3403" y="2703"/>
                  <a:pt x="3403" y="2735"/>
                </a:cubicBezTo>
                <a:lnTo>
                  <a:pt x="3403" y="3228"/>
                </a:lnTo>
                <a:cubicBezTo>
                  <a:pt x="3372" y="3212"/>
                  <a:pt x="3324" y="3197"/>
                  <a:pt x="3276" y="3197"/>
                </a:cubicBezTo>
                <a:cubicBezTo>
                  <a:pt x="3101" y="3197"/>
                  <a:pt x="2974" y="3308"/>
                  <a:pt x="2974" y="3435"/>
                </a:cubicBezTo>
                <a:cubicBezTo>
                  <a:pt x="2974" y="3562"/>
                  <a:pt x="3101" y="3673"/>
                  <a:pt x="3276" y="3673"/>
                </a:cubicBezTo>
                <a:cubicBezTo>
                  <a:pt x="3419" y="3673"/>
                  <a:pt x="3547" y="3578"/>
                  <a:pt x="3562" y="3451"/>
                </a:cubicBezTo>
                <a:lnTo>
                  <a:pt x="3562" y="3435"/>
                </a:lnTo>
                <a:lnTo>
                  <a:pt x="3562" y="3006"/>
                </a:lnTo>
                <a:lnTo>
                  <a:pt x="4008" y="2735"/>
                </a:lnTo>
                <a:lnTo>
                  <a:pt x="4008" y="3117"/>
                </a:lnTo>
                <a:cubicBezTo>
                  <a:pt x="3960" y="3101"/>
                  <a:pt x="3912" y="3085"/>
                  <a:pt x="3865" y="3085"/>
                </a:cubicBezTo>
                <a:cubicBezTo>
                  <a:pt x="3706" y="3085"/>
                  <a:pt x="3578" y="3197"/>
                  <a:pt x="3578" y="3324"/>
                </a:cubicBezTo>
                <a:cubicBezTo>
                  <a:pt x="3578" y="3467"/>
                  <a:pt x="3706" y="3562"/>
                  <a:pt x="3865" y="3562"/>
                </a:cubicBezTo>
                <a:cubicBezTo>
                  <a:pt x="4024" y="3562"/>
                  <a:pt x="4167" y="3467"/>
                  <a:pt x="4167" y="3324"/>
                </a:cubicBezTo>
                <a:lnTo>
                  <a:pt x="4167" y="2337"/>
                </a:lnTo>
                <a:cubicBezTo>
                  <a:pt x="4167" y="2322"/>
                  <a:pt x="4151" y="2290"/>
                  <a:pt x="4119" y="2274"/>
                </a:cubicBezTo>
                <a:close/>
                <a:moveTo>
                  <a:pt x="3276" y="3515"/>
                </a:moveTo>
                <a:cubicBezTo>
                  <a:pt x="3197" y="3515"/>
                  <a:pt x="3133" y="3467"/>
                  <a:pt x="3133" y="3435"/>
                </a:cubicBezTo>
                <a:cubicBezTo>
                  <a:pt x="3133" y="3403"/>
                  <a:pt x="3197" y="3355"/>
                  <a:pt x="3276" y="3355"/>
                </a:cubicBezTo>
                <a:cubicBezTo>
                  <a:pt x="3356" y="3355"/>
                  <a:pt x="3403" y="3403"/>
                  <a:pt x="3403" y="3435"/>
                </a:cubicBezTo>
                <a:cubicBezTo>
                  <a:pt x="3403" y="3467"/>
                  <a:pt x="3356" y="3515"/>
                  <a:pt x="3276" y="3515"/>
                </a:cubicBezTo>
                <a:close/>
                <a:moveTo>
                  <a:pt x="3562" y="2815"/>
                </a:moveTo>
                <a:lnTo>
                  <a:pt x="3562" y="2783"/>
                </a:lnTo>
                <a:lnTo>
                  <a:pt x="4008" y="2497"/>
                </a:lnTo>
                <a:lnTo>
                  <a:pt x="4008" y="2545"/>
                </a:lnTo>
                <a:close/>
                <a:moveTo>
                  <a:pt x="3865" y="3403"/>
                </a:moveTo>
                <a:cubicBezTo>
                  <a:pt x="3785" y="3403"/>
                  <a:pt x="3738" y="3372"/>
                  <a:pt x="3738" y="3324"/>
                </a:cubicBezTo>
                <a:cubicBezTo>
                  <a:pt x="3738" y="3292"/>
                  <a:pt x="3785" y="3244"/>
                  <a:pt x="3865" y="3244"/>
                </a:cubicBezTo>
                <a:cubicBezTo>
                  <a:pt x="3944" y="3244"/>
                  <a:pt x="4008" y="3292"/>
                  <a:pt x="4008" y="3324"/>
                </a:cubicBezTo>
                <a:cubicBezTo>
                  <a:pt x="4008" y="3372"/>
                  <a:pt x="3944" y="3403"/>
                  <a:pt x="3865" y="3403"/>
                </a:cubicBezTo>
                <a:close/>
                <a:moveTo>
                  <a:pt x="334" y="3976"/>
                </a:moveTo>
                <a:lnTo>
                  <a:pt x="3021" y="3976"/>
                </a:lnTo>
                <a:cubicBezTo>
                  <a:pt x="3069" y="3976"/>
                  <a:pt x="3101" y="3944"/>
                  <a:pt x="3101" y="3896"/>
                </a:cubicBezTo>
                <a:cubicBezTo>
                  <a:pt x="3101" y="3849"/>
                  <a:pt x="3069" y="3817"/>
                  <a:pt x="3021" y="3817"/>
                </a:cubicBezTo>
                <a:lnTo>
                  <a:pt x="652" y="3817"/>
                </a:lnTo>
                <a:cubicBezTo>
                  <a:pt x="668" y="3785"/>
                  <a:pt x="684" y="3737"/>
                  <a:pt x="684" y="3705"/>
                </a:cubicBezTo>
                <a:cubicBezTo>
                  <a:pt x="684" y="3690"/>
                  <a:pt x="695" y="3620"/>
                  <a:pt x="700" y="3578"/>
                </a:cubicBezTo>
                <a:lnTo>
                  <a:pt x="684" y="3578"/>
                </a:lnTo>
                <a:lnTo>
                  <a:pt x="700" y="1272"/>
                </a:lnTo>
                <a:cubicBezTo>
                  <a:pt x="700" y="1192"/>
                  <a:pt x="763" y="1129"/>
                  <a:pt x="827" y="1129"/>
                </a:cubicBezTo>
                <a:lnTo>
                  <a:pt x="4199" y="1129"/>
                </a:lnTo>
                <a:cubicBezTo>
                  <a:pt x="4262" y="1129"/>
                  <a:pt x="4326" y="1192"/>
                  <a:pt x="4326" y="1272"/>
                </a:cubicBezTo>
                <a:lnTo>
                  <a:pt x="4326" y="2560"/>
                </a:lnTo>
                <a:cubicBezTo>
                  <a:pt x="4326" y="2592"/>
                  <a:pt x="4357" y="2640"/>
                  <a:pt x="4405" y="2640"/>
                </a:cubicBezTo>
                <a:cubicBezTo>
                  <a:pt x="4453" y="2640"/>
                  <a:pt x="4485" y="2592"/>
                  <a:pt x="4485" y="2560"/>
                </a:cubicBezTo>
                <a:lnTo>
                  <a:pt x="4485" y="1272"/>
                </a:lnTo>
                <a:cubicBezTo>
                  <a:pt x="4485" y="1113"/>
                  <a:pt x="4357" y="970"/>
                  <a:pt x="4199" y="970"/>
                </a:cubicBezTo>
                <a:lnTo>
                  <a:pt x="3992" y="970"/>
                </a:lnTo>
                <a:lnTo>
                  <a:pt x="3992" y="795"/>
                </a:lnTo>
                <a:cubicBezTo>
                  <a:pt x="3992" y="636"/>
                  <a:pt x="3865" y="509"/>
                  <a:pt x="3706" y="509"/>
                </a:cubicBezTo>
                <a:lnTo>
                  <a:pt x="1702" y="509"/>
                </a:lnTo>
                <a:lnTo>
                  <a:pt x="1558" y="191"/>
                </a:lnTo>
                <a:cubicBezTo>
                  <a:pt x="1511" y="79"/>
                  <a:pt x="1384" y="0"/>
                  <a:pt x="1256" y="0"/>
                </a:cubicBezTo>
                <a:lnTo>
                  <a:pt x="286" y="0"/>
                </a:lnTo>
                <a:cubicBezTo>
                  <a:pt x="127" y="0"/>
                  <a:pt x="0" y="127"/>
                  <a:pt x="0" y="286"/>
                </a:cubicBezTo>
                <a:lnTo>
                  <a:pt x="0" y="3642"/>
                </a:lnTo>
                <a:cubicBezTo>
                  <a:pt x="0" y="3737"/>
                  <a:pt x="31" y="3817"/>
                  <a:pt x="95" y="3881"/>
                </a:cubicBezTo>
                <a:cubicBezTo>
                  <a:pt x="159" y="3944"/>
                  <a:pt x="238" y="3976"/>
                  <a:pt x="334" y="3976"/>
                </a:cubicBezTo>
                <a:close/>
                <a:moveTo>
                  <a:pt x="159" y="286"/>
                </a:moveTo>
                <a:cubicBezTo>
                  <a:pt x="159" y="222"/>
                  <a:pt x="222" y="159"/>
                  <a:pt x="286" y="159"/>
                </a:cubicBezTo>
                <a:lnTo>
                  <a:pt x="1256" y="159"/>
                </a:lnTo>
                <a:cubicBezTo>
                  <a:pt x="1320" y="159"/>
                  <a:pt x="1384" y="191"/>
                  <a:pt x="1415" y="254"/>
                </a:cubicBezTo>
                <a:lnTo>
                  <a:pt x="1574" y="620"/>
                </a:lnTo>
                <a:cubicBezTo>
                  <a:pt x="1590" y="652"/>
                  <a:pt x="1606" y="668"/>
                  <a:pt x="1638" y="668"/>
                </a:cubicBezTo>
                <a:lnTo>
                  <a:pt x="3706" y="668"/>
                </a:lnTo>
                <a:cubicBezTo>
                  <a:pt x="3769" y="668"/>
                  <a:pt x="3833" y="731"/>
                  <a:pt x="3833" y="795"/>
                </a:cubicBezTo>
                <a:lnTo>
                  <a:pt x="3833" y="970"/>
                </a:lnTo>
                <a:lnTo>
                  <a:pt x="827" y="970"/>
                </a:lnTo>
                <a:cubicBezTo>
                  <a:pt x="668" y="970"/>
                  <a:pt x="540" y="1113"/>
                  <a:pt x="540" y="1272"/>
                </a:cubicBezTo>
                <a:lnTo>
                  <a:pt x="525" y="3642"/>
                </a:lnTo>
                <a:lnTo>
                  <a:pt x="540" y="3642"/>
                </a:lnTo>
                <a:cubicBezTo>
                  <a:pt x="525" y="3658"/>
                  <a:pt x="525" y="3673"/>
                  <a:pt x="525" y="3690"/>
                </a:cubicBezTo>
                <a:cubicBezTo>
                  <a:pt x="525" y="3737"/>
                  <a:pt x="477" y="3817"/>
                  <a:pt x="334" y="3817"/>
                </a:cubicBezTo>
                <a:cubicBezTo>
                  <a:pt x="286" y="3817"/>
                  <a:pt x="238" y="3801"/>
                  <a:pt x="206" y="3769"/>
                </a:cubicBezTo>
                <a:cubicBezTo>
                  <a:pt x="175" y="3737"/>
                  <a:pt x="159" y="3690"/>
                  <a:pt x="159" y="364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403189181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Folders - 2</a:t>
            </a:r>
          </a:p>
        </p:txBody>
      </p:sp>
      <p:sp>
        <p:nvSpPr>
          <p:cNvPr id="93" name="TextBox 92">
            <a:extLst>
              <a:ext uri="{FF2B5EF4-FFF2-40B4-BE49-F238E27FC236}">
                <a16:creationId xmlns:a16="http://schemas.microsoft.com/office/drawing/2014/main" id="{AA8A3F66-F27C-6C47-86A1-3FDC99D6CE6C}"/>
              </a:ext>
            </a:extLst>
          </p:cNvPr>
          <p:cNvSpPr txBox="1"/>
          <p:nvPr/>
        </p:nvSpPr>
        <p:spPr>
          <a:xfrm>
            <a:off x="1396461" y="5164929"/>
            <a:ext cx="2465738"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File</a:t>
            </a:r>
          </a:p>
        </p:txBody>
      </p:sp>
      <p:sp>
        <p:nvSpPr>
          <p:cNvPr id="94" name="TextBox 93">
            <a:extLst>
              <a:ext uri="{FF2B5EF4-FFF2-40B4-BE49-F238E27FC236}">
                <a16:creationId xmlns:a16="http://schemas.microsoft.com/office/drawing/2014/main" id="{2AE01111-C6BB-074E-9952-3D314EA2BCE3}"/>
              </a:ext>
            </a:extLst>
          </p:cNvPr>
          <p:cNvSpPr txBox="1"/>
          <p:nvPr/>
        </p:nvSpPr>
        <p:spPr>
          <a:xfrm>
            <a:off x="5566758" y="5164929"/>
            <a:ext cx="243317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Star</a:t>
            </a:r>
          </a:p>
        </p:txBody>
      </p:sp>
      <p:sp>
        <p:nvSpPr>
          <p:cNvPr id="95" name="TextBox 94">
            <a:extLst>
              <a:ext uri="{FF2B5EF4-FFF2-40B4-BE49-F238E27FC236}">
                <a16:creationId xmlns:a16="http://schemas.microsoft.com/office/drawing/2014/main" id="{C8D6DC57-7FBC-C545-85C7-937F90C0C455}"/>
              </a:ext>
            </a:extLst>
          </p:cNvPr>
          <p:cNvSpPr txBox="1"/>
          <p:nvPr/>
        </p:nvSpPr>
        <p:spPr>
          <a:xfrm>
            <a:off x="13255429" y="5164929"/>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Gear</a:t>
            </a:r>
          </a:p>
        </p:txBody>
      </p:sp>
      <p:sp>
        <p:nvSpPr>
          <p:cNvPr id="96" name="TextBox 95">
            <a:extLst>
              <a:ext uri="{FF2B5EF4-FFF2-40B4-BE49-F238E27FC236}">
                <a16:creationId xmlns:a16="http://schemas.microsoft.com/office/drawing/2014/main" id="{5088818D-3E32-B64F-A7EE-BFBC8BBB8CD3}"/>
              </a:ext>
            </a:extLst>
          </p:cNvPr>
          <p:cNvSpPr txBox="1"/>
          <p:nvPr/>
        </p:nvSpPr>
        <p:spPr>
          <a:xfrm>
            <a:off x="20809186" y="5164929"/>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Alias</a:t>
            </a:r>
          </a:p>
        </p:txBody>
      </p:sp>
      <p:sp>
        <p:nvSpPr>
          <p:cNvPr id="97" name="TextBox 96">
            <a:extLst>
              <a:ext uri="{FF2B5EF4-FFF2-40B4-BE49-F238E27FC236}">
                <a16:creationId xmlns:a16="http://schemas.microsoft.com/office/drawing/2014/main" id="{AD6A991A-A30C-254E-BB4F-9A9576849460}"/>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Hot</a:t>
            </a:r>
          </a:p>
        </p:txBody>
      </p:sp>
      <p:sp>
        <p:nvSpPr>
          <p:cNvPr id="98" name="TextBox 97">
            <a:extLst>
              <a:ext uri="{FF2B5EF4-FFF2-40B4-BE49-F238E27FC236}">
                <a16:creationId xmlns:a16="http://schemas.microsoft.com/office/drawing/2014/main" id="{627954F8-5263-B648-9C56-703A72BF0A94}"/>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Link</a:t>
            </a:r>
          </a:p>
        </p:txBody>
      </p:sp>
      <p:sp>
        <p:nvSpPr>
          <p:cNvPr id="99" name="TextBox 98">
            <a:extLst>
              <a:ext uri="{FF2B5EF4-FFF2-40B4-BE49-F238E27FC236}">
                <a16:creationId xmlns:a16="http://schemas.microsoft.com/office/drawing/2014/main" id="{F25BB36B-C9E3-804C-BA0F-CF5D1EE820A3}"/>
              </a:ext>
            </a:extLst>
          </p:cNvPr>
          <p:cNvSpPr txBox="1"/>
          <p:nvPr/>
        </p:nvSpPr>
        <p:spPr>
          <a:xfrm>
            <a:off x="9669557" y="8292956"/>
            <a:ext cx="239462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Trash</a:t>
            </a:r>
          </a:p>
        </p:txBody>
      </p:sp>
      <p:sp>
        <p:nvSpPr>
          <p:cNvPr id="100" name="TextBox 99">
            <a:extLst>
              <a:ext uri="{FF2B5EF4-FFF2-40B4-BE49-F238E27FC236}">
                <a16:creationId xmlns:a16="http://schemas.microsoft.com/office/drawing/2014/main" id="{5778E068-5A55-2C43-B94E-FA1563638E0E}"/>
              </a:ext>
            </a:extLst>
          </p:cNvPr>
          <p:cNvSpPr txBox="1"/>
          <p:nvPr/>
        </p:nvSpPr>
        <p:spPr>
          <a:xfrm>
            <a:off x="9149909" y="5164852"/>
            <a:ext cx="311233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Cloud</a:t>
            </a:r>
          </a:p>
        </p:txBody>
      </p:sp>
      <p:sp>
        <p:nvSpPr>
          <p:cNvPr id="101" name="TextBox 100">
            <a:extLst>
              <a:ext uri="{FF2B5EF4-FFF2-40B4-BE49-F238E27FC236}">
                <a16:creationId xmlns:a16="http://schemas.microsoft.com/office/drawing/2014/main" id="{E7E0ED8C-3803-1F4C-B9D8-55CEEBB70544}"/>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Write</a:t>
            </a:r>
          </a:p>
        </p:txBody>
      </p:sp>
      <p:sp>
        <p:nvSpPr>
          <p:cNvPr id="102" name="TextBox 101">
            <a:extLst>
              <a:ext uri="{FF2B5EF4-FFF2-40B4-BE49-F238E27FC236}">
                <a16:creationId xmlns:a16="http://schemas.microsoft.com/office/drawing/2014/main" id="{D66307E7-098C-694C-B418-E4EED3D1AD06}"/>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2</a:t>
            </a:r>
          </a:p>
        </p:txBody>
      </p:sp>
      <p:sp>
        <p:nvSpPr>
          <p:cNvPr id="103" name="TextBox 102">
            <a:extLst>
              <a:ext uri="{FF2B5EF4-FFF2-40B4-BE49-F238E27FC236}">
                <a16:creationId xmlns:a16="http://schemas.microsoft.com/office/drawing/2014/main" id="{A663C7ED-6354-184A-B5A4-469D01CB7638}"/>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3</a:t>
            </a:r>
          </a:p>
        </p:txBody>
      </p:sp>
      <p:sp>
        <p:nvSpPr>
          <p:cNvPr id="104" name="TextBox 103">
            <a:extLst>
              <a:ext uri="{FF2B5EF4-FFF2-40B4-BE49-F238E27FC236}">
                <a16:creationId xmlns:a16="http://schemas.microsoft.com/office/drawing/2014/main" id="{E47CBD35-8654-EB43-BE44-C9F0475D559D}"/>
              </a:ext>
            </a:extLst>
          </p:cNvPr>
          <p:cNvSpPr txBox="1"/>
          <p:nvPr/>
        </p:nvSpPr>
        <p:spPr>
          <a:xfrm>
            <a:off x="9013116"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Tab</a:t>
            </a:r>
          </a:p>
        </p:txBody>
      </p:sp>
      <p:sp>
        <p:nvSpPr>
          <p:cNvPr id="105" name="Freeform: Shape 26">
            <a:extLst>
              <a:ext uri="{FF2B5EF4-FFF2-40B4-BE49-F238E27FC236}">
                <a16:creationId xmlns:a16="http://schemas.microsoft.com/office/drawing/2014/main" id="{2D62F290-CA47-334A-837B-7C0544A59E60}"/>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6" name="TextBox 105">
            <a:extLst>
              <a:ext uri="{FF2B5EF4-FFF2-40B4-BE49-F238E27FC236}">
                <a16:creationId xmlns:a16="http://schemas.microsoft.com/office/drawing/2014/main" id="{0AD77D16-074C-D44C-93B9-312F8377C09B}"/>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Time</a:t>
            </a:r>
          </a:p>
        </p:txBody>
      </p:sp>
      <p:sp>
        <p:nvSpPr>
          <p:cNvPr id="107" name="TextBox 106">
            <a:extLst>
              <a:ext uri="{FF2B5EF4-FFF2-40B4-BE49-F238E27FC236}">
                <a16:creationId xmlns:a16="http://schemas.microsoft.com/office/drawing/2014/main" id="{4E16F7BC-128E-1749-A432-68C8B691A8AF}"/>
              </a:ext>
            </a:extLst>
          </p:cNvPr>
          <p:cNvSpPr txBox="1"/>
          <p:nvPr/>
        </p:nvSpPr>
        <p:spPr>
          <a:xfrm>
            <a:off x="16540096" y="8292956"/>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 Sync</a:t>
            </a:r>
          </a:p>
        </p:txBody>
      </p:sp>
      <p:sp>
        <p:nvSpPr>
          <p:cNvPr id="108" name="Freeform: Shape 3">
            <a:extLst>
              <a:ext uri="{FF2B5EF4-FFF2-40B4-BE49-F238E27FC236}">
                <a16:creationId xmlns:a16="http://schemas.microsoft.com/office/drawing/2014/main" id="{63290923-8734-464A-A5C9-52DBDE9A6EC6}"/>
              </a:ext>
            </a:extLst>
          </p:cNvPr>
          <p:cNvSpPr/>
          <p:nvPr/>
        </p:nvSpPr>
        <p:spPr>
          <a:xfrm>
            <a:off x="5965912" y="6473909"/>
            <a:ext cx="1620000" cy="1430999"/>
          </a:xfrm>
          <a:custGeom>
            <a:avLst/>
            <a:gdLst/>
            <a:ahLst/>
            <a:cxnLst>
              <a:cxn ang="3cd4">
                <a:pos x="hc" y="t"/>
              </a:cxn>
              <a:cxn ang="cd2">
                <a:pos x="l" y="vc"/>
              </a:cxn>
              <a:cxn ang="cd4">
                <a:pos x="hc" y="b"/>
              </a:cxn>
              <a:cxn ang="0">
                <a:pos x="r" y="vc"/>
              </a:cxn>
            </a:cxnLst>
            <a:rect l="l" t="t" r="r" b="b"/>
            <a:pathLst>
              <a:path w="4501" h="3976">
                <a:moveTo>
                  <a:pt x="3292" y="3038"/>
                </a:moveTo>
                <a:cubicBezTo>
                  <a:pt x="3340" y="3038"/>
                  <a:pt x="3356" y="3054"/>
                  <a:pt x="3404" y="3085"/>
                </a:cubicBezTo>
                <a:cubicBezTo>
                  <a:pt x="3436" y="3117"/>
                  <a:pt x="3483" y="3101"/>
                  <a:pt x="3515" y="3069"/>
                </a:cubicBezTo>
                <a:cubicBezTo>
                  <a:pt x="3531" y="3038"/>
                  <a:pt x="3531" y="2990"/>
                  <a:pt x="3499" y="2958"/>
                </a:cubicBezTo>
                <a:cubicBezTo>
                  <a:pt x="3451" y="2926"/>
                  <a:pt x="3388" y="2878"/>
                  <a:pt x="3292" y="2878"/>
                </a:cubicBezTo>
                <a:cubicBezTo>
                  <a:pt x="3101" y="2878"/>
                  <a:pt x="2942" y="3038"/>
                  <a:pt x="2942" y="3244"/>
                </a:cubicBezTo>
                <a:cubicBezTo>
                  <a:pt x="2942" y="3435"/>
                  <a:pt x="3101" y="3594"/>
                  <a:pt x="3308" y="3594"/>
                </a:cubicBezTo>
                <a:cubicBezTo>
                  <a:pt x="3388" y="3594"/>
                  <a:pt x="3467" y="3578"/>
                  <a:pt x="3515" y="3530"/>
                </a:cubicBezTo>
                <a:cubicBezTo>
                  <a:pt x="3563" y="3499"/>
                  <a:pt x="3563" y="3451"/>
                  <a:pt x="3531" y="3419"/>
                </a:cubicBezTo>
                <a:cubicBezTo>
                  <a:pt x="3515" y="3387"/>
                  <a:pt x="3467" y="3372"/>
                  <a:pt x="3436" y="3403"/>
                </a:cubicBezTo>
                <a:cubicBezTo>
                  <a:pt x="3388" y="3435"/>
                  <a:pt x="3356" y="3451"/>
                  <a:pt x="3308" y="3451"/>
                </a:cubicBezTo>
                <a:cubicBezTo>
                  <a:pt x="3197" y="3451"/>
                  <a:pt x="3101" y="3356"/>
                  <a:pt x="3101" y="3244"/>
                </a:cubicBezTo>
                <a:cubicBezTo>
                  <a:pt x="3101" y="3133"/>
                  <a:pt x="3181" y="3038"/>
                  <a:pt x="3292" y="3038"/>
                </a:cubicBezTo>
                <a:close/>
                <a:moveTo>
                  <a:pt x="4151" y="2878"/>
                </a:moveTo>
                <a:cubicBezTo>
                  <a:pt x="4055" y="2878"/>
                  <a:pt x="4008" y="2926"/>
                  <a:pt x="3960" y="2958"/>
                </a:cubicBezTo>
                <a:cubicBezTo>
                  <a:pt x="3912" y="2990"/>
                  <a:pt x="3912" y="3038"/>
                  <a:pt x="3945" y="3069"/>
                </a:cubicBezTo>
                <a:cubicBezTo>
                  <a:pt x="3960" y="3101"/>
                  <a:pt x="4008" y="3117"/>
                  <a:pt x="4055" y="3085"/>
                </a:cubicBezTo>
                <a:cubicBezTo>
                  <a:pt x="4088" y="3054"/>
                  <a:pt x="4119" y="3038"/>
                  <a:pt x="4151" y="3038"/>
                </a:cubicBezTo>
                <a:cubicBezTo>
                  <a:pt x="4263" y="3038"/>
                  <a:pt x="4342" y="3133"/>
                  <a:pt x="4342" y="3244"/>
                </a:cubicBezTo>
                <a:cubicBezTo>
                  <a:pt x="4342" y="3356"/>
                  <a:pt x="4263" y="3451"/>
                  <a:pt x="4151" y="3451"/>
                </a:cubicBezTo>
                <a:cubicBezTo>
                  <a:pt x="4103" y="3451"/>
                  <a:pt x="4055" y="3435"/>
                  <a:pt x="4024" y="3403"/>
                </a:cubicBezTo>
                <a:cubicBezTo>
                  <a:pt x="3992" y="3372"/>
                  <a:pt x="3945" y="3387"/>
                  <a:pt x="3912" y="3419"/>
                </a:cubicBezTo>
                <a:cubicBezTo>
                  <a:pt x="3881" y="3451"/>
                  <a:pt x="3897" y="3499"/>
                  <a:pt x="3928" y="3530"/>
                </a:cubicBezTo>
                <a:cubicBezTo>
                  <a:pt x="3992" y="3578"/>
                  <a:pt x="4072" y="3594"/>
                  <a:pt x="4151" y="3594"/>
                </a:cubicBezTo>
                <a:cubicBezTo>
                  <a:pt x="4342" y="3594"/>
                  <a:pt x="4501" y="3435"/>
                  <a:pt x="4501" y="3244"/>
                </a:cubicBezTo>
                <a:cubicBezTo>
                  <a:pt x="4501" y="3038"/>
                  <a:pt x="4358" y="2878"/>
                  <a:pt x="4151" y="2878"/>
                </a:cubicBezTo>
                <a:close/>
                <a:moveTo>
                  <a:pt x="4183" y="3244"/>
                </a:moveTo>
                <a:cubicBezTo>
                  <a:pt x="4183" y="3197"/>
                  <a:pt x="4151" y="3165"/>
                  <a:pt x="4103" y="3165"/>
                </a:cubicBezTo>
                <a:lnTo>
                  <a:pt x="3372" y="3165"/>
                </a:lnTo>
                <a:cubicBezTo>
                  <a:pt x="3324" y="3165"/>
                  <a:pt x="3292" y="3197"/>
                  <a:pt x="3292" y="3244"/>
                </a:cubicBezTo>
                <a:cubicBezTo>
                  <a:pt x="3292" y="3276"/>
                  <a:pt x="3324" y="3324"/>
                  <a:pt x="3372" y="3324"/>
                </a:cubicBezTo>
                <a:lnTo>
                  <a:pt x="4103" y="3324"/>
                </a:lnTo>
                <a:cubicBezTo>
                  <a:pt x="4151" y="3324"/>
                  <a:pt x="4183" y="3276"/>
                  <a:pt x="4183" y="3244"/>
                </a:cubicBezTo>
                <a:close/>
                <a:moveTo>
                  <a:pt x="334" y="3976"/>
                </a:moveTo>
                <a:lnTo>
                  <a:pt x="3022" y="3976"/>
                </a:lnTo>
                <a:cubicBezTo>
                  <a:pt x="3070" y="3976"/>
                  <a:pt x="3101" y="3944"/>
                  <a:pt x="3101" y="3896"/>
                </a:cubicBezTo>
                <a:cubicBezTo>
                  <a:pt x="3101" y="3865"/>
                  <a:pt x="3070" y="3817"/>
                  <a:pt x="3022" y="3817"/>
                </a:cubicBezTo>
                <a:lnTo>
                  <a:pt x="652" y="3817"/>
                </a:lnTo>
                <a:cubicBezTo>
                  <a:pt x="668" y="3785"/>
                  <a:pt x="684" y="3753"/>
                  <a:pt x="684" y="3705"/>
                </a:cubicBezTo>
                <a:lnTo>
                  <a:pt x="684" y="3578"/>
                </a:lnTo>
                <a:lnTo>
                  <a:pt x="700" y="1272"/>
                </a:lnTo>
                <a:cubicBezTo>
                  <a:pt x="700" y="1209"/>
                  <a:pt x="747" y="1145"/>
                  <a:pt x="827" y="1145"/>
                </a:cubicBezTo>
                <a:lnTo>
                  <a:pt x="4183" y="1145"/>
                </a:lnTo>
                <a:cubicBezTo>
                  <a:pt x="4263" y="1145"/>
                  <a:pt x="4326" y="1209"/>
                  <a:pt x="4326" y="1272"/>
                </a:cubicBezTo>
                <a:lnTo>
                  <a:pt x="4326" y="2560"/>
                </a:lnTo>
                <a:cubicBezTo>
                  <a:pt x="4326" y="2608"/>
                  <a:pt x="4358" y="2640"/>
                  <a:pt x="4406" y="2640"/>
                </a:cubicBezTo>
                <a:cubicBezTo>
                  <a:pt x="4437" y="2640"/>
                  <a:pt x="4485" y="2608"/>
                  <a:pt x="4485" y="2560"/>
                </a:cubicBezTo>
                <a:lnTo>
                  <a:pt x="4485" y="1272"/>
                </a:lnTo>
                <a:cubicBezTo>
                  <a:pt x="4485" y="1113"/>
                  <a:pt x="4358" y="986"/>
                  <a:pt x="4183" y="986"/>
                </a:cubicBezTo>
                <a:lnTo>
                  <a:pt x="3992" y="986"/>
                </a:lnTo>
                <a:lnTo>
                  <a:pt x="3992" y="811"/>
                </a:lnTo>
                <a:cubicBezTo>
                  <a:pt x="3992" y="652"/>
                  <a:pt x="3865" y="525"/>
                  <a:pt x="3706" y="525"/>
                </a:cubicBezTo>
                <a:lnTo>
                  <a:pt x="1702" y="525"/>
                </a:lnTo>
                <a:lnTo>
                  <a:pt x="1559" y="206"/>
                </a:lnTo>
                <a:cubicBezTo>
                  <a:pt x="1511" y="79"/>
                  <a:pt x="1383" y="0"/>
                  <a:pt x="1256" y="0"/>
                </a:cubicBezTo>
                <a:lnTo>
                  <a:pt x="286" y="0"/>
                </a:lnTo>
                <a:cubicBezTo>
                  <a:pt x="127" y="0"/>
                  <a:pt x="0" y="143"/>
                  <a:pt x="0" y="302"/>
                </a:cubicBezTo>
                <a:lnTo>
                  <a:pt x="0" y="3642"/>
                </a:lnTo>
                <a:cubicBezTo>
                  <a:pt x="0" y="3738"/>
                  <a:pt x="32" y="3817"/>
                  <a:pt x="95" y="3881"/>
                </a:cubicBezTo>
                <a:cubicBezTo>
                  <a:pt x="159" y="3944"/>
                  <a:pt x="238" y="3976"/>
                  <a:pt x="334" y="3976"/>
                </a:cubicBezTo>
                <a:close/>
                <a:moveTo>
                  <a:pt x="159" y="3642"/>
                </a:moveTo>
                <a:lnTo>
                  <a:pt x="159" y="302"/>
                </a:lnTo>
                <a:cubicBezTo>
                  <a:pt x="159" y="222"/>
                  <a:pt x="223" y="159"/>
                  <a:pt x="286" y="159"/>
                </a:cubicBezTo>
                <a:lnTo>
                  <a:pt x="1256" y="159"/>
                </a:lnTo>
                <a:cubicBezTo>
                  <a:pt x="1320" y="159"/>
                  <a:pt x="1383" y="206"/>
                  <a:pt x="1416" y="270"/>
                </a:cubicBezTo>
                <a:lnTo>
                  <a:pt x="1574" y="636"/>
                </a:lnTo>
                <a:cubicBezTo>
                  <a:pt x="1591" y="652"/>
                  <a:pt x="1606" y="684"/>
                  <a:pt x="1638" y="684"/>
                </a:cubicBezTo>
                <a:lnTo>
                  <a:pt x="3706" y="684"/>
                </a:lnTo>
                <a:cubicBezTo>
                  <a:pt x="3769" y="684"/>
                  <a:pt x="3833" y="731"/>
                  <a:pt x="3833" y="811"/>
                </a:cubicBezTo>
                <a:lnTo>
                  <a:pt x="3833" y="986"/>
                </a:lnTo>
                <a:lnTo>
                  <a:pt x="827" y="986"/>
                </a:lnTo>
                <a:cubicBezTo>
                  <a:pt x="668" y="986"/>
                  <a:pt x="541" y="1113"/>
                  <a:pt x="541" y="1272"/>
                </a:cubicBezTo>
                <a:lnTo>
                  <a:pt x="525" y="3642"/>
                </a:lnTo>
                <a:lnTo>
                  <a:pt x="525" y="3658"/>
                </a:lnTo>
                <a:lnTo>
                  <a:pt x="525" y="3690"/>
                </a:lnTo>
                <a:cubicBezTo>
                  <a:pt x="525" y="3753"/>
                  <a:pt x="477" y="3817"/>
                  <a:pt x="334" y="3817"/>
                </a:cubicBezTo>
                <a:cubicBezTo>
                  <a:pt x="286" y="3817"/>
                  <a:pt x="238" y="3801"/>
                  <a:pt x="207" y="3769"/>
                </a:cubicBezTo>
                <a:cubicBezTo>
                  <a:pt x="175" y="3738"/>
                  <a:pt x="159" y="3690"/>
                  <a:pt x="159" y="364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9" name="Freeform: Shape 4">
            <a:extLst>
              <a:ext uri="{FF2B5EF4-FFF2-40B4-BE49-F238E27FC236}">
                <a16:creationId xmlns:a16="http://schemas.microsoft.com/office/drawing/2014/main" id="{A6F77F29-D65E-434E-B064-F3BE450FE8D6}"/>
              </a:ext>
            </a:extLst>
          </p:cNvPr>
          <p:cNvSpPr/>
          <p:nvPr/>
        </p:nvSpPr>
        <p:spPr>
          <a:xfrm>
            <a:off x="1845529" y="6473909"/>
            <a:ext cx="1614240" cy="1430999"/>
          </a:xfrm>
          <a:custGeom>
            <a:avLst/>
            <a:gdLst/>
            <a:ahLst/>
            <a:cxnLst>
              <a:cxn ang="3cd4">
                <a:pos x="hc" y="t"/>
              </a:cxn>
              <a:cxn ang="cd2">
                <a:pos x="l" y="vc"/>
              </a:cxn>
              <a:cxn ang="cd4">
                <a:pos x="hc" y="b"/>
              </a:cxn>
              <a:cxn ang="0">
                <a:pos x="r" y="vc"/>
              </a:cxn>
            </a:cxnLst>
            <a:rect l="l" t="t" r="r" b="b"/>
            <a:pathLst>
              <a:path w="4485" h="3976">
                <a:moveTo>
                  <a:pt x="3451" y="2894"/>
                </a:moveTo>
                <a:cubicBezTo>
                  <a:pt x="3419" y="2878"/>
                  <a:pt x="3388" y="2894"/>
                  <a:pt x="3372" y="2911"/>
                </a:cubicBezTo>
                <a:cubicBezTo>
                  <a:pt x="3181" y="3101"/>
                  <a:pt x="3165" y="3387"/>
                  <a:pt x="3245" y="3562"/>
                </a:cubicBezTo>
                <a:cubicBezTo>
                  <a:pt x="3292" y="3674"/>
                  <a:pt x="3356" y="3721"/>
                  <a:pt x="3419" y="3721"/>
                </a:cubicBezTo>
                <a:lnTo>
                  <a:pt x="4294" y="3721"/>
                </a:lnTo>
                <a:cubicBezTo>
                  <a:pt x="4326" y="3721"/>
                  <a:pt x="4358" y="3705"/>
                  <a:pt x="4373" y="3674"/>
                </a:cubicBezTo>
                <a:cubicBezTo>
                  <a:pt x="4501" y="3244"/>
                  <a:pt x="4373" y="2815"/>
                  <a:pt x="4230" y="2672"/>
                </a:cubicBezTo>
                <a:cubicBezTo>
                  <a:pt x="4215" y="2640"/>
                  <a:pt x="4167" y="2640"/>
                  <a:pt x="4151" y="2656"/>
                </a:cubicBezTo>
                <a:cubicBezTo>
                  <a:pt x="4119" y="2656"/>
                  <a:pt x="4087" y="2688"/>
                  <a:pt x="4087" y="2720"/>
                </a:cubicBezTo>
                <a:cubicBezTo>
                  <a:pt x="4087" y="2831"/>
                  <a:pt x="4087" y="2878"/>
                  <a:pt x="4024" y="2942"/>
                </a:cubicBezTo>
                <a:cubicBezTo>
                  <a:pt x="3976" y="2878"/>
                  <a:pt x="3881" y="2640"/>
                  <a:pt x="3881" y="2306"/>
                </a:cubicBezTo>
                <a:cubicBezTo>
                  <a:pt x="3881" y="2274"/>
                  <a:pt x="3849" y="2242"/>
                  <a:pt x="3817" y="2226"/>
                </a:cubicBezTo>
                <a:cubicBezTo>
                  <a:pt x="3785" y="2211"/>
                  <a:pt x="3754" y="2226"/>
                  <a:pt x="3737" y="2258"/>
                </a:cubicBezTo>
                <a:cubicBezTo>
                  <a:pt x="3546" y="2545"/>
                  <a:pt x="3499" y="2815"/>
                  <a:pt x="3515" y="3038"/>
                </a:cubicBezTo>
                <a:cubicBezTo>
                  <a:pt x="3515" y="3021"/>
                  <a:pt x="3499" y="2990"/>
                  <a:pt x="3499" y="2974"/>
                </a:cubicBezTo>
                <a:cubicBezTo>
                  <a:pt x="3499" y="2942"/>
                  <a:pt x="3483" y="2911"/>
                  <a:pt x="3451" y="2894"/>
                </a:cubicBezTo>
                <a:close/>
                <a:moveTo>
                  <a:pt x="3754" y="3276"/>
                </a:moveTo>
                <a:cubicBezTo>
                  <a:pt x="3658" y="3117"/>
                  <a:pt x="3626" y="2863"/>
                  <a:pt x="3737" y="2576"/>
                </a:cubicBezTo>
                <a:cubicBezTo>
                  <a:pt x="3785" y="2863"/>
                  <a:pt x="3897" y="3117"/>
                  <a:pt x="4055" y="3117"/>
                </a:cubicBezTo>
                <a:cubicBezTo>
                  <a:pt x="4072" y="3117"/>
                  <a:pt x="4087" y="3117"/>
                  <a:pt x="4103" y="3101"/>
                </a:cubicBezTo>
                <a:cubicBezTo>
                  <a:pt x="4151" y="3054"/>
                  <a:pt x="4199" y="3006"/>
                  <a:pt x="4215" y="2958"/>
                </a:cubicBezTo>
                <a:cubicBezTo>
                  <a:pt x="4263" y="3117"/>
                  <a:pt x="4294" y="3340"/>
                  <a:pt x="4230" y="3562"/>
                </a:cubicBezTo>
                <a:lnTo>
                  <a:pt x="3435" y="3562"/>
                </a:lnTo>
                <a:cubicBezTo>
                  <a:pt x="3419" y="3562"/>
                  <a:pt x="3388" y="3515"/>
                  <a:pt x="3372" y="3419"/>
                </a:cubicBezTo>
                <a:cubicBezTo>
                  <a:pt x="3356" y="3372"/>
                  <a:pt x="3356" y="3276"/>
                  <a:pt x="3388" y="3165"/>
                </a:cubicBezTo>
                <a:cubicBezTo>
                  <a:pt x="3451" y="3276"/>
                  <a:pt x="3563" y="3387"/>
                  <a:pt x="3674" y="3387"/>
                </a:cubicBezTo>
                <a:cubicBezTo>
                  <a:pt x="3706" y="3387"/>
                  <a:pt x="3721" y="3387"/>
                  <a:pt x="3737" y="3356"/>
                </a:cubicBezTo>
                <a:cubicBezTo>
                  <a:pt x="3754" y="3340"/>
                  <a:pt x="3754" y="3308"/>
                  <a:pt x="3754" y="3276"/>
                </a:cubicBezTo>
                <a:close/>
                <a:moveTo>
                  <a:pt x="4485" y="2560"/>
                </a:moveTo>
                <a:lnTo>
                  <a:pt x="4485" y="1272"/>
                </a:lnTo>
                <a:cubicBezTo>
                  <a:pt x="4485" y="1113"/>
                  <a:pt x="4358" y="986"/>
                  <a:pt x="4199" y="986"/>
                </a:cubicBezTo>
                <a:lnTo>
                  <a:pt x="3992" y="986"/>
                </a:lnTo>
                <a:lnTo>
                  <a:pt x="3992" y="811"/>
                </a:lnTo>
                <a:cubicBezTo>
                  <a:pt x="3992" y="652"/>
                  <a:pt x="3865" y="525"/>
                  <a:pt x="3706" y="525"/>
                </a:cubicBezTo>
                <a:lnTo>
                  <a:pt x="1701" y="525"/>
                </a:lnTo>
                <a:lnTo>
                  <a:pt x="1558" y="206"/>
                </a:lnTo>
                <a:cubicBezTo>
                  <a:pt x="1511" y="79"/>
                  <a:pt x="1400" y="0"/>
                  <a:pt x="1272" y="0"/>
                </a:cubicBezTo>
                <a:lnTo>
                  <a:pt x="302" y="0"/>
                </a:lnTo>
                <a:cubicBezTo>
                  <a:pt x="143" y="0"/>
                  <a:pt x="0" y="143"/>
                  <a:pt x="0" y="302"/>
                </a:cubicBezTo>
                <a:lnTo>
                  <a:pt x="0" y="3642"/>
                </a:lnTo>
                <a:cubicBezTo>
                  <a:pt x="0" y="3738"/>
                  <a:pt x="47" y="3817"/>
                  <a:pt x="111" y="3881"/>
                </a:cubicBezTo>
                <a:cubicBezTo>
                  <a:pt x="159" y="3944"/>
                  <a:pt x="254" y="3976"/>
                  <a:pt x="350" y="3976"/>
                </a:cubicBezTo>
                <a:lnTo>
                  <a:pt x="3037" y="3976"/>
                </a:lnTo>
                <a:cubicBezTo>
                  <a:pt x="3070" y="3976"/>
                  <a:pt x="3101" y="3944"/>
                  <a:pt x="3101" y="3896"/>
                </a:cubicBezTo>
                <a:cubicBezTo>
                  <a:pt x="3101" y="3865"/>
                  <a:pt x="3070" y="3817"/>
                  <a:pt x="3037" y="3817"/>
                </a:cubicBezTo>
                <a:lnTo>
                  <a:pt x="652" y="3817"/>
                </a:lnTo>
                <a:cubicBezTo>
                  <a:pt x="668" y="3785"/>
                  <a:pt x="684" y="3753"/>
                  <a:pt x="700" y="3705"/>
                </a:cubicBezTo>
                <a:lnTo>
                  <a:pt x="700" y="3578"/>
                </a:lnTo>
                <a:lnTo>
                  <a:pt x="700" y="1272"/>
                </a:lnTo>
                <a:cubicBezTo>
                  <a:pt x="700" y="1209"/>
                  <a:pt x="763" y="1145"/>
                  <a:pt x="827" y="1145"/>
                </a:cubicBezTo>
                <a:lnTo>
                  <a:pt x="4199" y="1145"/>
                </a:lnTo>
                <a:cubicBezTo>
                  <a:pt x="4263" y="1145"/>
                  <a:pt x="4326" y="1209"/>
                  <a:pt x="4326" y="1272"/>
                </a:cubicBezTo>
                <a:lnTo>
                  <a:pt x="4326" y="2560"/>
                </a:lnTo>
                <a:cubicBezTo>
                  <a:pt x="4326" y="2608"/>
                  <a:pt x="4358" y="2640"/>
                  <a:pt x="4406" y="2640"/>
                </a:cubicBezTo>
                <a:cubicBezTo>
                  <a:pt x="4453" y="2640"/>
                  <a:pt x="4485" y="2608"/>
                  <a:pt x="4485" y="2560"/>
                </a:cubicBezTo>
                <a:close/>
                <a:moveTo>
                  <a:pt x="540" y="1272"/>
                </a:moveTo>
                <a:lnTo>
                  <a:pt x="540" y="3642"/>
                </a:lnTo>
                <a:lnTo>
                  <a:pt x="540" y="3658"/>
                </a:lnTo>
                <a:lnTo>
                  <a:pt x="540" y="3690"/>
                </a:lnTo>
                <a:cubicBezTo>
                  <a:pt x="525" y="3753"/>
                  <a:pt x="493" y="3817"/>
                  <a:pt x="350" y="3817"/>
                </a:cubicBezTo>
                <a:cubicBezTo>
                  <a:pt x="286" y="3817"/>
                  <a:pt x="254" y="3801"/>
                  <a:pt x="222" y="3769"/>
                </a:cubicBezTo>
                <a:cubicBezTo>
                  <a:pt x="191" y="3738"/>
                  <a:pt x="159" y="3690"/>
                  <a:pt x="159" y="3642"/>
                </a:cubicBezTo>
                <a:lnTo>
                  <a:pt x="159" y="302"/>
                </a:lnTo>
                <a:cubicBezTo>
                  <a:pt x="159" y="222"/>
                  <a:pt x="222" y="159"/>
                  <a:pt x="302" y="159"/>
                </a:cubicBezTo>
                <a:lnTo>
                  <a:pt x="1272" y="159"/>
                </a:lnTo>
                <a:cubicBezTo>
                  <a:pt x="1336" y="159"/>
                  <a:pt x="1400" y="206"/>
                  <a:pt x="1415" y="270"/>
                </a:cubicBezTo>
                <a:lnTo>
                  <a:pt x="1574" y="636"/>
                </a:lnTo>
                <a:cubicBezTo>
                  <a:pt x="1590" y="652"/>
                  <a:pt x="1622" y="684"/>
                  <a:pt x="1654" y="684"/>
                </a:cubicBezTo>
                <a:lnTo>
                  <a:pt x="3706" y="684"/>
                </a:lnTo>
                <a:cubicBezTo>
                  <a:pt x="3785" y="684"/>
                  <a:pt x="3833" y="731"/>
                  <a:pt x="3833" y="811"/>
                </a:cubicBezTo>
                <a:lnTo>
                  <a:pt x="3833" y="986"/>
                </a:lnTo>
                <a:lnTo>
                  <a:pt x="827" y="986"/>
                </a:lnTo>
                <a:cubicBezTo>
                  <a:pt x="668" y="986"/>
                  <a:pt x="540" y="1113"/>
                  <a:pt x="540" y="12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0" name="Freeform: Shape 5">
            <a:extLst>
              <a:ext uri="{FF2B5EF4-FFF2-40B4-BE49-F238E27FC236}">
                <a16:creationId xmlns:a16="http://schemas.microsoft.com/office/drawing/2014/main" id="{8B1A6711-B7DE-7746-98D3-D9D4FD2B01E6}"/>
              </a:ext>
            </a:extLst>
          </p:cNvPr>
          <p:cNvSpPr/>
          <p:nvPr/>
        </p:nvSpPr>
        <p:spPr>
          <a:xfrm>
            <a:off x="17463172" y="3291321"/>
            <a:ext cx="1608480" cy="1430999"/>
          </a:xfrm>
          <a:custGeom>
            <a:avLst/>
            <a:gdLst/>
            <a:ahLst/>
            <a:cxnLst>
              <a:cxn ang="3cd4">
                <a:pos x="hc" y="t"/>
              </a:cxn>
              <a:cxn ang="cd2">
                <a:pos x="l" y="vc"/>
              </a:cxn>
              <a:cxn ang="cd4">
                <a:pos x="hc" y="b"/>
              </a:cxn>
              <a:cxn ang="0">
                <a:pos x="r" y="vc"/>
              </a:cxn>
            </a:cxnLst>
            <a:rect l="l" t="t" r="r" b="b"/>
            <a:pathLst>
              <a:path w="4469" h="3976">
                <a:moveTo>
                  <a:pt x="4264" y="2402"/>
                </a:moveTo>
                <a:cubicBezTo>
                  <a:pt x="4248" y="2369"/>
                  <a:pt x="4216" y="2354"/>
                  <a:pt x="4184" y="2354"/>
                </a:cubicBezTo>
                <a:lnTo>
                  <a:pt x="3277" y="2354"/>
                </a:lnTo>
                <a:cubicBezTo>
                  <a:pt x="3246" y="2354"/>
                  <a:pt x="3214" y="2369"/>
                  <a:pt x="3198" y="2402"/>
                </a:cubicBezTo>
                <a:cubicBezTo>
                  <a:pt x="3182" y="2417"/>
                  <a:pt x="3198" y="2449"/>
                  <a:pt x="3214" y="2481"/>
                </a:cubicBezTo>
                <a:lnTo>
                  <a:pt x="3628" y="3117"/>
                </a:lnTo>
                <a:lnTo>
                  <a:pt x="3214" y="3738"/>
                </a:lnTo>
                <a:cubicBezTo>
                  <a:pt x="3198" y="3769"/>
                  <a:pt x="3182" y="3801"/>
                  <a:pt x="3198" y="3817"/>
                </a:cubicBezTo>
                <a:cubicBezTo>
                  <a:pt x="3214" y="3849"/>
                  <a:pt x="3246" y="3865"/>
                  <a:pt x="3277" y="3865"/>
                </a:cubicBezTo>
                <a:lnTo>
                  <a:pt x="4184" y="3865"/>
                </a:lnTo>
                <a:cubicBezTo>
                  <a:pt x="4216" y="3865"/>
                  <a:pt x="4248" y="3849"/>
                  <a:pt x="4264" y="3817"/>
                </a:cubicBezTo>
                <a:cubicBezTo>
                  <a:pt x="4280" y="3801"/>
                  <a:pt x="4280" y="3769"/>
                  <a:pt x="4264" y="3738"/>
                </a:cubicBezTo>
                <a:lnTo>
                  <a:pt x="3834" y="3117"/>
                </a:lnTo>
                <a:lnTo>
                  <a:pt x="4264" y="2481"/>
                </a:lnTo>
                <a:cubicBezTo>
                  <a:pt x="4280" y="2449"/>
                  <a:pt x="4280" y="2417"/>
                  <a:pt x="4264" y="2402"/>
                </a:cubicBezTo>
                <a:close/>
                <a:moveTo>
                  <a:pt x="3739" y="3244"/>
                </a:moveTo>
                <a:lnTo>
                  <a:pt x="3834" y="3387"/>
                </a:lnTo>
                <a:lnTo>
                  <a:pt x="3628" y="3387"/>
                </a:lnTo>
                <a:close/>
                <a:moveTo>
                  <a:pt x="3421" y="3705"/>
                </a:moveTo>
                <a:lnTo>
                  <a:pt x="3532" y="3547"/>
                </a:lnTo>
                <a:lnTo>
                  <a:pt x="3946" y="3547"/>
                </a:lnTo>
                <a:lnTo>
                  <a:pt x="4041" y="3705"/>
                </a:lnTo>
                <a:close/>
                <a:moveTo>
                  <a:pt x="3739" y="2974"/>
                </a:moveTo>
                <a:lnTo>
                  <a:pt x="3421" y="2512"/>
                </a:lnTo>
                <a:lnTo>
                  <a:pt x="4041" y="2512"/>
                </a:lnTo>
                <a:close/>
                <a:moveTo>
                  <a:pt x="4390" y="2290"/>
                </a:moveTo>
                <a:cubicBezTo>
                  <a:pt x="4438" y="2290"/>
                  <a:pt x="4469" y="2242"/>
                  <a:pt x="4469" y="2211"/>
                </a:cubicBezTo>
                <a:lnTo>
                  <a:pt x="4469" y="1272"/>
                </a:lnTo>
                <a:cubicBezTo>
                  <a:pt x="4469" y="1113"/>
                  <a:pt x="4342" y="986"/>
                  <a:pt x="4183" y="986"/>
                </a:cubicBezTo>
                <a:lnTo>
                  <a:pt x="3992" y="986"/>
                </a:lnTo>
                <a:lnTo>
                  <a:pt x="3992" y="811"/>
                </a:lnTo>
                <a:cubicBezTo>
                  <a:pt x="3992" y="652"/>
                  <a:pt x="3849" y="525"/>
                  <a:pt x="3690" y="525"/>
                </a:cubicBezTo>
                <a:lnTo>
                  <a:pt x="1686" y="525"/>
                </a:lnTo>
                <a:lnTo>
                  <a:pt x="1559" y="206"/>
                </a:lnTo>
                <a:cubicBezTo>
                  <a:pt x="1495" y="79"/>
                  <a:pt x="1384" y="0"/>
                  <a:pt x="1257" y="0"/>
                </a:cubicBezTo>
                <a:lnTo>
                  <a:pt x="286" y="0"/>
                </a:lnTo>
                <a:cubicBezTo>
                  <a:pt x="127" y="0"/>
                  <a:pt x="0" y="143"/>
                  <a:pt x="0" y="302"/>
                </a:cubicBezTo>
                <a:lnTo>
                  <a:pt x="0" y="3642"/>
                </a:lnTo>
                <a:cubicBezTo>
                  <a:pt x="0" y="3738"/>
                  <a:pt x="32" y="3817"/>
                  <a:pt x="95" y="3881"/>
                </a:cubicBezTo>
                <a:cubicBezTo>
                  <a:pt x="159" y="3944"/>
                  <a:pt x="239" y="3976"/>
                  <a:pt x="334" y="3976"/>
                </a:cubicBezTo>
                <a:lnTo>
                  <a:pt x="3022" y="3976"/>
                </a:lnTo>
                <a:cubicBezTo>
                  <a:pt x="3070" y="3976"/>
                  <a:pt x="3102" y="3944"/>
                  <a:pt x="3102" y="3896"/>
                </a:cubicBezTo>
                <a:cubicBezTo>
                  <a:pt x="3102" y="3865"/>
                  <a:pt x="3070" y="3817"/>
                  <a:pt x="3022" y="3817"/>
                </a:cubicBezTo>
                <a:lnTo>
                  <a:pt x="636" y="3817"/>
                </a:lnTo>
                <a:cubicBezTo>
                  <a:pt x="668" y="3785"/>
                  <a:pt x="684" y="3753"/>
                  <a:pt x="684" y="3705"/>
                </a:cubicBezTo>
                <a:lnTo>
                  <a:pt x="684" y="3578"/>
                </a:lnTo>
                <a:lnTo>
                  <a:pt x="684" y="1272"/>
                </a:lnTo>
                <a:cubicBezTo>
                  <a:pt x="684" y="1209"/>
                  <a:pt x="748" y="1145"/>
                  <a:pt x="827" y="1145"/>
                </a:cubicBezTo>
                <a:lnTo>
                  <a:pt x="4183" y="1145"/>
                </a:lnTo>
                <a:cubicBezTo>
                  <a:pt x="4263" y="1145"/>
                  <a:pt x="4311" y="1209"/>
                  <a:pt x="4311" y="1272"/>
                </a:cubicBezTo>
                <a:lnTo>
                  <a:pt x="4311" y="2211"/>
                </a:lnTo>
                <a:cubicBezTo>
                  <a:pt x="4311" y="2242"/>
                  <a:pt x="4358" y="2290"/>
                  <a:pt x="4390" y="2290"/>
                </a:cubicBezTo>
                <a:close/>
                <a:moveTo>
                  <a:pt x="525" y="1272"/>
                </a:moveTo>
                <a:lnTo>
                  <a:pt x="525" y="3642"/>
                </a:lnTo>
                <a:lnTo>
                  <a:pt x="525" y="3658"/>
                </a:lnTo>
                <a:lnTo>
                  <a:pt x="525" y="3690"/>
                </a:lnTo>
                <a:cubicBezTo>
                  <a:pt x="509" y="3753"/>
                  <a:pt x="477" y="3817"/>
                  <a:pt x="334" y="3817"/>
                </a:cubicBezTo>
                <a:cubicBezTo>
                  <a:pt x="270" y="3833"/>
                  <a:pt x="239" y="3801"/>
                  <a:pt x="207" y="3769"/>
                </a:cubicBezTo>
                <a:cubicBezTo>
                  <a:pt x="175" y="3738"/>
                  <a:pt x="159" y="3690"/>
                  <a:pt x="159" y="3642"/>
                </a:cubicBezTo>
                <a:lnTo>
                  <a:pt x="159" y="302"/>
                </a:lnTo>
                <a:cubicBezTo>
                  <a:pt x="159" y="222"/>
                  <a:pt x="207" y="159"/>
                  <a:pt x="286" y="159"/>
                </a:cubicBezTo>
                <a:lnTo>
                  <a:pt x="1257" y="159"/>
                </a:lnTo>
                <a:cubicBezTo>
                  <a:pt x="1320" y="159"/>
                  <a:pt x="1384" y="206"/>
                  <a:pt x="1416" y="270"/>
                </a:cubicBezTo>
                <a:lnTo>
                  <a:pt x="1559" y="636"/>
                </a:lnTo>
                <a:cubicBezTo>
                  <a:pt x="1575" y="652"/>
                  <a:pt x="1606" y="684"/>
                  <a:pt x="1639" y="684"/>
                </a:cubicBezTo>
                <a:lnTo>
                  <a:pt x="3690" y="684"/>
                </a:lnTo>
                <a:cubicBezTo>
                  <a:pt x="3770" y="684"/>
                  <a:pt x="3833" y="731"/>
                  <a:pt x="3833" y="811"/>
                </a:cubicBezTo>
                <a:lnTo>
                  <a:pt x="3833" y="986"/>
                </a:lnTo>
                <a:lnTo>
                  <a:pt x="827" y="986"/>
                </a:lnTo>
                <a:cubicBezTo>
                  <a:pt x="668" y="986"/>
                  <a:pt x="525" y="1113"/>
                  <a:pt x="525" y="12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1" name="Freeform: Shape 6">
            <a:extLst>
              <a:ext uri="{FF2B5EF4-FFF2-40B4-BE49-F238E27FC236}">
                <a16:creationId xmlns:a16="http://schemas.microsoft.com/office/drawing/2014/main" id="{45FEA9DC-1C03-8C4F-A854-6BDE0A83A2EE}"/>
              </a:ext>
            </a:extLst>
          </p:cNvPr>
          <p:cNvSpPr/>
          <p:nvPr/>
        </p:nvSpPr>
        <p:spPr>
          <a:xfrm>
            <a:off x="6041400" y="3291321"/>
            <a:ext cx="1608840" cy="1430999"/>
          </a:xfrm>
          <a:custGeom>
            <a:avLst/>
            <a:gdLst/>
            <a:ahLst/>
            <a:cxnLst>
              <a:cxn ang="3cd4">
                <a:pos x="hc" y="t"/>
              </a:cxn>
              <a:cxn ang="cd2">
                <a:pos x="l" y="vc"/>
              </a:cxn>
              <a:cxn ang="cd4">
                <a:pos x="hc" y="b"/>
              </a:cxn>
              <a:cxn ang="0">
                <a:pos x="r" y="vc"/>
              </a:cxn>
            </a:cxnLst>
            <a:rect l="l" t="t" r="r" b="b"/>
            <a:pathLst>
              <a:path w="4470" h="3976">
                <a:moveTo>
                  <a:pt x="4437" y="3006"/>
                </a:moveTo>
                <a:cubicBezTo>
                  <a:pt x="4437" y="2974"/>
                  <a:pt x="4406" y="2958"/>
                  <a:pt x="4374" y="2958"/>
                </a:cubicBezTo>
                <a:lnTo>
                  <a:pt x="3945" y="2958"/>
                </a:lnTo>
                <a:lnTo>
                  <a:pt x="3818" y="2545"/>
                </a:lnTo>
                <a:cubicBezTo>
                  <a:pt x="3801" y="2512"/>
                  <a:pt x="3770" y="2497"/>
                  <a:pt x="3738" y="2497"/>
                </a:cubicBezTo>
                <a:cubicBezTo>
                  <a:pt x="3706" y="2497"/>
                  <a:pt x="3674" y="2512"/>
                  <a:pt x="3658" y="2545"/>
                </a:cubicBezTo>
                <a:lnTo>
                  <a:pt x="3531" y="2958"/>
                </a:lnTo>
                <a:lnTo>
                  <a:pt x="3118" y="2958"/>
                </a:lnTo>
                <a:cubicBezTo>
                  <a:pt x="3070" y="2958"/>
                  <a:pt x="3038" y="2974"/>
                  <a:pt x="3038" y="3006"/>
                </a:cubicBezTo>
                <a:cubicBezTo>
                  <a:pt x="3022" y="3054"/>
                  <a:pt x="3038" y="3085"/>
                  <a:pt x="3070" y="3101"/>
                </a:cubicBezTo>
                <a:lnTo>
                  <a:pt x="3404" y="3292"/>
                </a:lnTo>
                <a:lnTo>
                  <a:pt x="3277" y="3642"/>
                </a:lnTo>
                <a:cubicBezTo>
                  <a:pt x="3261" y="3674"/>
                  <a:pt x="3277" y="3705"/>
                  <a:pt x="3309" y="3738"/>
                </a:cubicBezTo>
                <a:cubicBezTo>
                  <a:pt x="3324" y="3753"/>
                  <a:pt x="3372" y="3753"/>
                  <a:pt x="3404" y="3738"/>
                </a:cubicBezTo>
                <a:lnTo>
                  <a:pt x="3738" y="3499"/>
                </a:lnTo>
                <a:lnTo>
                  <a:pt x="4072" y="3753"/>
                </a:lnTo>
                <a:cubicBezTo>
                  <a:pt x="4088" y="3769"/>
                  <a:pt x="4104" y="3769"/>
                  <a:pt x="4119" y="3769"/>
                </a:cubicBezTo>
                <a:cubicBezTo>
                  <a:pt x="4151" y="3769"/>
                  <a:pt x="4167" y="3769"/>
                  <a:pt x="4167" y="3753"/>
                </a:cubicBezTo>
                <a:cubicBezTo>
                  <a:pt x="4199" y="3738"/>
                  <a:pt x="4215" y="3690"/>
                  <a:pt x="4199" y="3658"/>
                </a:cubicBezTo>
                <a:lnTo>
                  <a:pt x="4072" y="3292"/>
                </a:lnTo>
                <a:lnTo>
                  <a:pt x="4406" y="3101"/>
                </a:lnTo>
                <a:cubicBezTo>
                  <a:pt x="4437" y="3085"/>
                  <a:pt x="4454" y="3054"/>
                  <a:pt x="4437" y="3006"/>
                </a:cubicBezTo>
                <a:close/>
                <a:moveTo>
                  <a:pt x="3897" y="3292"/>
                </a:moveTo>
                <a:lnTo>
                  <a:pt x="3961" y="3467"/>
                </a:lnTo>
                <a:lnTo>
                  <a:pt x="3785" y="3324"/>
                </a:lnTo>
                <a:cubicBezTo>
                  <a:pt x="3770" y="3324"/>
                  <a:pt x="3754" y="3308"/>
                  <a:pt x="3738" y="3308"/>
                </a:cubicBezTo>
                <a:cubicBezTo>
                  <a:pt x="3722" y="3308"/>
                  <a:pt x="3706" y="3324"/>
                  <a:pt x="3690" y="3324"/>
                </a:cubicBezTo>
                <a:lnTo>
                  <a:pt x="3515" y="3451"/>
                </a:lnTo>
                <a:lnTo>
                  <a:pt x="3579" y="3292"/>
                </a:lnTo>
                <a:cubicBezTo>
                  <a:pt x="3595" y="3260"/>
                  <a:pt x="3579" y="3212"/>
                  <a:pt x="3547" y="3197"/>
                </a:cubicBezTo>
                <a:lnTo>
                  <a:pt x="3404" y="3117"/>
                </a:lnTo>
                <a:lnTo>
                  <a:pt x="3595" y="3117"/>
                </a:lnTo>
                <a:cubicBezTo>
                  <a:pt x="3627" y="3117"/>
                  <a:pt x="3658" y="3085"/>
                  <a:pt x="3674" y="3054"/>
                </a:cubicBezTo>
                <a:lnTo>
                  <a:pt x="3738" y="2831"/>
                </a:lnTo>
                <a:lnTo>
                  <a:pt x="3818" y="3054"/>
                </a:lnTo>
                <a:cubicBezTo>
                  <a:pt x="3818" y="3085"/>
                  <a:pt x="3849" y="3117"/>
                  <a:pt x="3881" y="3117"/>
                </a:cubicBezTo>
                <a:lnTo>
                  <a:pt x="4072" y="3117"/>
                </a:lnTo>
                <a:lnTo>
                  <a:pt x="3945" y="3197"/>
                </a:lnTo>
                <a:cubicBezTo>
                  <a:pt x="3913" y="3212"/>
                  <a:pt x="3897" y="3244"/>
                  <a:pt x="3897" y="3292"/>
                </a:cubicBezTo>
                <a:close/>
                <a:moveTo>
                  <a:pt x="334" y="3976"/>
                </a:moveTo>
                <a:lnTo>
                  <a:pt x="3022" y="3976"/>
                </a:lnTo>
                <a:cubicBezTo>
                  <a:pt x="3054" y="3976"/>
                  <a:pt x="3101" y="3944"/>
                  <a:pt x="3101" y="3896"/>
                </a:cubicBezTo>
                <a:cubicBezTo>
                  <a:pt x="3101" y="3865"/>
                  <a:pt x="3054" y="3817"/>
                  <a:pt x="3022" y="3817"/>
                </a:cubicBezTo>
                <a:lnTo>
                  <a:pt x="637" y="3817"/>
                </a:lnTo>
                <a:cubicBezTo>
                  <a:pt x="668" y="3785"/>
                  <a:pt x="668" y="3753"/>
                  <a:pt x="684" y="3705"/>
                </a:cubicBezTo>
                <a:lnTo>
                  <a:pt x="684" y="3578"/>
                </a:lnTo>
                <a:lnTo>
                  <a:pt x="684" y="1272"/>
                </a:lnTo>
                <a:cubicBezTo>
                  <a:pt x="684" y="1209"/>
                  <a:pt x="747" y="1145"/>
                  <a:pt x="827" y="1145"/>
                </a:cubicBezTo>
                <a:lnTo>
                  <a:pt x="4183" y="1145"/>
                </a:lnTo>
                <a:cubicBezTo>
                  <a:pt x="4263" y="1145"/>
                  <a:pt x="4310" y="1209"/>
                  <a:pt x="4310" y="1272"/>
                </a:cubicBezTo>
                <a:lnTo>
                  <a:pt x="4310" y="2560"/>
                </a:lnTo>
                <a:cubicBezTo>
                  <a:pt x="4310" y="2608"/>
                  <a:pt x="4342" y="2640"/>
                  <a:pt x="4390" y="2640"/>
                </a:cubicBezTo>
                <a:cubicBezTo>
                  <a:pt x="4437" y="2640"/>
                  <a:pt x="4470" y="2608"/>
                  <a:pt x="4470" y="2560"/>
                </a:cubicBezTo>
                <a:lnTo>
                  <a:pt x="4470" y="1272"/>
                </a:lnTo>
                <a:cubicBezTo>
                  <a:pt x="4470" y="1113"/>
                  <a:pt x="4342" y="986"/>
                  <a:pt x="4183" y="986"/>
                </a:cubicBezTo>
                <a:lnTo>
                  <a:pt x="3976" y="986"/>
                </a:lnTo>
                <a:lnTo>
                  <a:pt x="3976" y="811"/>
                </a:lnTo>
                <a:cubicBezTo>
                  <a:pt x="3976" y="652"/>
                  <a:pt x="3849" y="525"/>
                  <a:pt x="3690" y="525"/>
                </a:cubicBezTo>
                <a:lnTo>
                  <a:pt x="1686" y="525"/>
                </a:lnTo>
                <a:lnTo>
                  <a:pt x="1559" y="206"/>
                </a:lnTo>
                <a:cubicBezTo>
                  <a:pt x="1495" y="79"/>
                  <a:pt x="1384" y="0"/>
                  <a:pt x="1256" y="0"/>
                </a:cubicBezTo>
                <a:lnTo>
                  <a:pt x="286" y="0"/>
                </a:lnTo>
                <a:cubicBezTo>
                  <a:pt x="128" y="0"/>
                  <a:pt x="0" y="143"/>
                  <a:pt x="0" y="302"/>
                </a:cubicBezTo>
                <a:lnTo>
                  <a:pt x="0" y="3642"/>
                </a:lnTo>
                <a:cubicBezTo>
                  <a:pt x="0" y="3738"/>
                  <a:pt x="32" y="3817"/>
                  <a:pt x="96" y="3881"/>
                </a:cubicBezTo>
                <a:cubicBezTo>
                  <a:pt x="159" y="3944"/>
                  <a:pt x="239" y="3976"/>
                  <a:pt x="334" y="3976"/>
                </a:cubicBezTo>
                <a:close/>
                <a:moveTo>
                  <a:pt x="159" y="302"/>
                </a:moveTo>
                <a:cubicBezTo>
                  <a:pt x="159" y="222"/>
                  <a:pt x="207" y="159"/>
                  <a:pt x="286" y="159"/>
                </a:cubicBezTo>
                <a:lnTo>
                  <a:pt x="1256" y="159"/>
                </a:lnTo>
                <a:cubicBezTo>
                  <a:pt x="1320" y="159"/>
                  <a:pt x="1384" y="206"/>
                  <a:pt x="1400" y="270"/>
                </a:cubicBezTo>
                <a:lnTo>
                  <a:pt x="1559" y="636"/>
                </a:lnTo>
                <a:cubicBezTo>
                  <a:pt x="1575" y="652"/>
                  <a:pt x="1607" y="684"/>
                  <a:pt x="1638" y="684"/>
                </a:cubicBezTo>
                <a:lnTo>
                  <a:pt x="3690" y="684"/>
                </a:lnTo>
                <a:cubicBezTo>
                  <a:pt x="3770" y="684"/>
                  <a:pt x="3818" y="731"/>
                  <a:pt x="3818" y="811"/>
                </a:cubicBezTo>
                <a:lnTo>
                  <a:pt x="3818" y="986"/>
                </a:lnTo>
                <a:lnTo>
                  <a:pt x="827" y="986"/>
                </a:lnTo>
                <a:cubicBezTo>
                  <a:pt x="652" y="986"/>
                  <a:pt x="525" y="1113"/>
                  <a:pt x="525" y="1272"/>
                </a:cubicBezTo>
                <a:lnTo>
                  <a:pt x="525" y="3642"/>
                </a:lnTo>
                <a:lnTo>
                  <a:pt x="525" y="3658"/>
                </a:lnTo>
                <a:lnTo>
                  <a:pt x="525" y="3690"/>
                </a:lnTo>
                <a:cubicBezTo>
                  <a:pt x="509" y="3753"/>
                  <a:pt x="477" y="3817"/>
                  <a:pt x="334" y="3817"/>
                </a:cubicBezTo>
                <a:cubicBezTo>
                  <a:pt x="271" y="3817"/>
                  <a:pt x="239" y="3801"/>
                  <a:pt x="207" y="3769"/>
                </a:cubicBezTo>
                <a:cubicBezTo>
                  <a:pt x="175" y="3738"/>
                  <a:pt x="159" y="3690"/>
                  <a:pt x="159" y="364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2" name="Freeform: Shape 7">
            <a:extLst>
              <a:ext uri="{FF2B5EF4-FFF2-40B4-BE49-F238E27FC236}">
                <a16:creationId xmlns:a16="http://schemas.microsoft.com/office/drawing/2014/main" id="{FD0969BA-C56C-834B-A9F6-172CD53417BB}"/>
              </a:ext>
            </a:extLst>
          </p:cNvPr>
          <p:cNvSpPr/>
          <p:nvPr/>
        </p:nvSpPr>
        <p:spPr>
          <a:xfrm>
            <a:off x="21263551" y="3283715"/>
            <a:ext cx="1596960" cy="1431359"/>
          </a:xfrm>
          <a:custGeom>
            <a:avLst/>
            <a:gdLst/>
            <a:ahLst/>
            <a:cxnLst>
              <a:cxn ang="3cd4">
                <a:pos x="hc" y="t"/>
              </a:cxn>
              <a:cxn ang="cd2">
                <a:pos x="l" y="vc"/>
              </a:cxn>
              <a:cxn ang="cd4">
                <a:pos x="hc" y="b"/>
              </a:cxn>
              <a:cxn ang="0">
                <a:pos x="r" y="vc"/>
              </a:cxn>
            </a:cxnLst>
            <a:rect l="l" t="t" r="r" b="b"/>
            <a:pathLst>
              <a:path w="4437" h="3977">
                <a:moveTo>
                  <a:pt x="3880" y="668"/>
                </a:moveTo>
                <a:cubicBezTo>
                  <a:pt x="3833" y="684"/>
                  <a:pt x="3817" y="716"/>
                  <a:pt x="3817" y="764"/>
                </a:cubicBezTo>
                <a:cubicBezTo>
                  <a:pt x="3833" y="779"/>
                  <a:pt x="3833" y="779"/>
                  <a:pt x="3833" y="796"/>
                </a:cubicBezTo>
                <a:cubicBezTo>
                  <a:pt x="3833" y="843"/>
                  <a:pt x="3865" y="875"/>
                  <a:pt x="3912" y="875"/>
                </a:cubicBezTo>
                <a:cubicBezTo>
                  <a:pt x="3944" y="875"/>
                  <a:pt x="3992" y="843"/>
                  <a:pt x="3992" y="796"/>
                </a:cubicBezTo>
                <a:cubicBezTo>
                  <a:pt x="3992" y="779"/>
                  <a:pt x="3976" y="748"/>
                  <a:pt x="3976" y="716"/>
                </a:cubicBezTo>
                <a:cubicBezTo>
                  <a:pt x="3960" y="668"/>
                  <a:pt x="3912" y="652"/>
                  <a:pt x="3880" y="668"/>
                </a:cubicBezTo>
                <a:close/>
                <a:moveTo>
                  <a:pt x="79" y="2338"/>
                </a:moveTo>
                <a:cubicBezTo>
                  <a:pt x="127" y="2338"/>
                  <a:pt x="158" y="2290"/>
                  <a:pt x="158" y="2259"/>
                </a:cubicBezTo>
                <a:lnTo>
                  <a:pt x="158" y="2132"/>
                </a:lnTo>
                <a:cubicBezTo>
                  <a:pt x="158" y="2084"/>
                  <a:pt x="127" y="2052"/>
                  <a:pt x="79" y="2052"/>
                </a:cubicBezTo>
                <a:cubicBezTo>
                  <a:pt x="31" y="2052"/>
                  <a:pt x="0" y="2084"/>
                  <a:pt x="0" y="2132"/>
                </a:cubicBezTo>
                <a:lnTo>
                  <a:pt x="0" y="2259"/>
                </a:lnTo>
                <a:cubicBezTo>
                  <a:pt x="0" y="2290"/>
                  <a:pt x="31" y="2338"/>
                  <a:pt x="79" y="2338"/>
                </a:cubicBezTo>
                <a:close/>
                <a:moveTo>
                  <a:pt x="79" y="541"/>
                </a:moveTo>
                <a:cubicBezTo>
                  <a:pt x="127" y="541"/>
                  <a:pt x="158" y="509"/>
                  <a:pt x="158" y="461"/>
                </a:cubicBezTo>
                <a:lnTo>
                  <a:pt x="158" y="334"/>
                </a:lnTo>
                <a:cubicBezTo>
                  <a:pt x="158" y="287"/>
                  <a:pt x="127" y="255"/>
                  <a:pt x="79" y="255"/>
                </a:cubicBezTo>
                <a:cubicBezTo>
                  <a:pt x="31" y="255"/>
                  <a:pt x="0" y="287"/>
                  <a:pt x="0" y="334"/>
                </a:cubicBezTo>
                <a:lnTo>
                  <a:pt x="0" y="461"/>
                </a:lnTo>
                <a:cubicBezTo>
                  <a:pt x="0" y="509"/>
                  <a:pt x="31" y="541"/>
                  <a:pt x="79" y="541"/>
                </a:cubicBezTo>
                <a:close/>
                <a:moveTo>
                  <a:pt x="79" y="1432"/>
                </a:moveTo>
                <a:cubicBezTo>
                  <a:pt x="127" y="1432"/>
                  <a:pt x="158" y="1400"/>
                  <a:pt x="158" y="1352"/>
                </a:cubicBezTo>
                <a:lnTo>
                  <a:pt x="158" y="1241"/>
                </a:lnTo>
                <a:cubicBezTo>
                  <a:pt x="158" y="1193"/>
                  <a:pt x="127" y="1161"/>
                  <a:pt x="79" y="1161"/>
                </a:cubicBezTo>
                <a:cubicBezTo>
                  <a:pt x="31" y="1161"/>
                  <a:pt x="0" y="1193"/>
                  <a:pt x="0" y="1241"/>
                </a:cubicBezTo>
                <a:lnTo>
                  <a:pt x="0" y="1352"/>
                </a:lnTo>
                <a:cubicBezTo>
                  <a:pt x="0" y="1400"/>
                  <a:pt x="31" y="1432"/>
                  <a:pt x="79" y="1432"/>
                </a:cubicBezTo>
                <a:close/>
                <a:moveTo>
                  <a:pt x="429" y="79"/>
                </a:moveTo>
                <a:cubicBezTo>
                  <a:pt x="429" y="32"/>
                  <a:pt x="397" y="0"/>
                  <a:pt x="365" y="0"/>
                </a:cubicBezTo>
                <a:lnTo>
                  <a:pt x="286" y="0"/>
                </a:lnTo>
                <a:cubicBezTo>
                  <a:pt x="270" y="0"/>
                  <a:pt x="238" y="0"/>
                  <a:pt x="206" y="16"/>
                </a:cubicBezTo>
                <a:cubicBezTo>
                  <a:pt x="175" y="16"/>
                  <a:pt x="143" y="64"/>
                  <a:pt x="158" y="112"/>
                </a:cubicBezTo>
                <a:cubicBezTo>
                  <a:pt x="175" y="143"/>
                  <a:pt x="206" y="159"/>
                  <a:pt x="238" y="159"/>
                </a:cubicBezTo>
                <a:lnTo>
                  <a:pt x="254" y="159"/>
                </a:lnTo>
                <a:lnTo>
                  <a:pt x="286" y="159"/>
                </a:lnTo>
                <a:lnTo>
                  <a:pt x="365" y="159"/>
                </a:lnTo>
                <a:cubicBezTo>
                  <a:pt x="397" y="159"/>
                  <a:pt x="429" y="127"/>
                  <a:pt x="429" y="79"/>
                </a:cubicBezTo>
                <a:close/>
                <a:moveTo>
                  <a:pt x="254" y="3800"/>
                </a:moveTo>
                <a:cubicBezTo>
                  <a:pt x="206" y="3768"/>
                  <a:pt x="158" y="3785"/>
                  <a:pt x="143" y="3832"/>
                </a:cubicBezTo>
                <a:cubicBezTo>
                  <a:pt x="127" y="3864"/>
                  <a:pt x="143" y="3912"/>
                  <a:pt x="175" y="3943"/>
                </a:cubicBezTo>
                <a:cubicBezTo>
                  <a:pt x="222" y="3959"/>
                  <a:pt x="270" y="3976"/>
                  <a:pt x="333" y="3976"/>
                </a:cubicBezTo>
                <a:cubicBezTo>
                  <a:pt x="381" y="3976"/>
                  <a:pt x="413" y="3943"/>
                  <a:pt x="413" y="3896"/>
                </a:cubicBezTo>
                <a:cubicBezTo>
                  <a:pt x="413" y="3848"/>
                  <a:pt x="381" y="3816"/>
                  <a:pt x="333" y="3816"/>
                </a:cubicBezTo>
                <a:cubicBezTo>
                  <a:pt x="302" y="3816"/>
                  <a:pt x="270" y="3800"/>
                  <a:pt x="254" y="3800"/>
                </a:cubicBezTo>
                <a:close/>
                <a:moveTo>
                  <a:pt x="79" y="986"/>
                </a:moveTo>
                <a:cubicBezTo>
                  <a:pt x="127" y="986"/>
                  <a:pt x="158" y="954"/>
                  <a:pt x="158" y="907"/>
                </a:cubicBezTo>
                <a:lnTo>
                  <a:pt x="158" y="779"/>
                </a:lnTo>
                <a:cubicBezTo>
                  <a:pt x="158" y="748"/>
                  <a:pt x="127" y="700"/>
                  <a:pt x="79" y="700"/>
                </a:cubicBezTo>
                <a:cubicBezTo>
                  <a:pt x="31" y="700"/>
                  <a:pt x="0" y="748"/>
                  <a:pt x="0" y="779"/>
                </a:cubicBezTo>
                <a:lnTo>
                  <a:pt x="0" y="907"/>
                </a:lnTo>
                <a:cubicBezTo>
                  <a:pt x="0" y="954"/>
                  <a:pt x="31" y="986"/>
                  <a:pt x="79" y="986"/>
                </a:cubicBezTo>
                <a:close/>
                <a:moveTo>
                  <a:pt x="79" y="3674"/>
                </a:moveTo>
                <a:cubicBezTo>
                  <a:pt x="127" y="3674"/>
                  <a:pt x="158" y="3642"/>
                  <a:pt x="158" y="3595"/>
                </a:cubicBezTo>
                <a:lnTo>
                  <a:pt x="158" y="3468"/>
                </a:lnTo>
                <a:cubicBezTo>
                  <a:pt x="158" y="3420"/>
                  <a:pt x="127" y="3388"/>
                  <a:pt x="79" y="3388"/>
                </a:cubicBezTo>
                <a:cubicBezTo>
                  <a:pt x="31" y="3388"/>
                  <a:pt x="0" y="3420"/>
                  <a:pt x="0" y="3468"/>
                </a:cubicBezTo>
                <a:lnTo>
                  <a:pt x="0" y="3595"/>
                </a:lnTo>
                <a:cubicBezTo>
                  <a:pt x="0" y="3642"/>
                  <a:pt x="31" y="3674"/>
                  <a:pt x="79" y="3674"/>
                </a:cubicBezTo>
                <a:close/>
                <a:moveTo>
                  <a:pt x="79" y="3229"/>
                </a:moveTo>
                <a:cubicBezTo>
                  <a:pt x="127" y="3229"/>
                  <a:pt x="158" y="3197"/>
                  <a:pt x="158" y="3150"/>
                </a:cubicBezTo>
                <a:lnTo>
                  <a:pt x="158" y="3022"/>
                </a:lnTo>
                <a:cubicBezTo>
                  <a:pt x="158" y="2974"/>
                  <a:pt x="127" y="2942"/>
                  <a:pt x="79" y="2942"/>
                </a:cubicBezTo>
                <a:cubicBezTo>
                  <a:pt x="31" y="2942"/>
                  <a:pt x="0" y="2974"/>
                  <a:pt x="0" y="3022"/>
                </a:cubicBezTo>
                <a:lnTo>
                  <a:pt x="0" y="3150"/>
                </a:lnTo>
                <a:cubicBezTo>
                  <a:pt x="0" y="3197"/>
                  <a:pt x="31" y="3229"/>
                  <a:pt x="79" y="3229"/>
                </a:cubicBezTo>
                <a:close/>
                <a:moveTo>
                  <a:pt x="79" y="1877"/>
                </a:moveTo>
                <a:cubicBezTo>
                  <a:pt x="127" y="1877"/>
                  <a:pt x="158" y="1845"/>
                  <a:pt x="158" y="1797"/>
                </a:cubicBezTo>
                <a:lnTo>
                  <a:pt x="158" y="1686"/>
                </a:lnTo>
                <a:cubicBezTo>
                  <a:pt x="158" y="1638"/>
                  <a:pt x="127" y="1606"/>
                  <a:pt x="79" y="1606"/>
                </a:cubicBezTo>
                <a:cubicBezTo>
                  <a:pt x="31" y="1606"/>
                  <a:pt x="0" y="1638"/>
                  <a:pt x="0" y="1686"/>
                </a:cubicBezTo>
                <a:lnTo>
                  <a:pt x="0" y="1797"/>
                </a:lnTo>
                <a:cubicBezTo>
                  <a:pt x="0" y="1845"/>
                  <a:pt x="31" y="1877"/>
                  <a:pt x="79" y="1877"/>
                </a:cubicBezTo>
                <a:close/>
                <a:moveTo>
                  <a:pt x="79" y="2784"/>
                </a:moveTo>
                <a:cubicBezTo>
                  <a:pt x="127" y="2784"/>
                  <a:pt x="158" y="2736"/>
                  <a:pt x="158" y="2704"/>
                </a:cubicBezTo>
                <a:lnTo>
                  <a:pt x="158" y="2577"/>
                </a:lnTo>
                <a:cubicBezTo>
                  <a:pt x="158" y="2529"/>
                  <a:pt x="127" y="2497"/>
                  <a:pt x="79" y="2497"/>
                </a:cubicBezTo>
                <a:cubicBezTo>
                  <a:pt x="31" y="2497"/>
                  <a:pt x="0" y="2529"/>
                  <a:pt x="0" y="2577"/>
                </a:cubicBezTo>
                <a:lnTo>
                  <a:pt x="0" y="2704"/>
                </a:lnTo>
                <a:cubicBezTo>
                  <a:pt x="0" y="2736"/>
                  <a:pt x="31" y="2784"/>
                  <a:pt x="79" y="2784"/>
                </a:cubicBezTo>
                <a:close/>
                <a:moveTo>
                  <a:pt x="3069" y="509"/>
                </a:moveTo>
                <a:cubicBezTo>
                  <a:pt x="3021" y="509"/>
                  <a:pt x="2990" y="541"/>
                  <a:pt x="2990" y="588"/>
                </a:cubicBezTo>
                <a:cubicBezTo>
                  <a:pt x="2990" y="636"/>
                  <a:pt x="3021" y="668"/>
                  <a:pt x="3069" y="668"/>
                </a:cubicBezTo>
                <a:lnTo>
                  <a:pt x="3196" y="668"/>
                </a:lnTo>
                <a:cubicBezTo>
                  <a:pt x="3244" y="668"/>
                  <a:pt x="3276" y="636"/>
                  <a:pt x="3276" y="588"/>
                </a:cubicBezTo>
                <a:cubicBezTo>
                  <a:pt x="3276" y="541"/>
                  <a:pt x="3244" y="509"/>
                  <a:pt x="3196" y="509"/>
                </a:cubicBezTo>
                <a:close/>
                <a:moveTo>
                  <a:pt x="3642" y="509"/>
                </a:moveTo>
                <a:lnTo>
                  <a:pt x="3514" y="509"/>
                </a:lnTo>
                <a:cubicBezTo>
                  <a:pt x="3467" y="509"/>
                  <a:pt x="3435" y="541"/>
                  <a:pt x="3435" y="588"/>
                </a:cubicBezTo>
                <a:cubicBezTo>
                  <a:pt x="3435" y="636"/>
                  <a:pt x="3467" y="668"/>
                  <a:pt x="3514" y="668"/>
                </a:cubicBezTo>
                <a:lnTo>
                  <a:pt x="3642" y="668"/>
                </a:lnTo>
                <a:cubicBezTo>
                  <a:pt x="3689" y="668"/>
                  <a:pt x="3721" y="636"/>
                  <a:pt x="3721" y="588"/>
                </a:cubicBezTo>
                <a:cubicBezTo>
                  <a:pt x="3721" y="541"/>
                  <a:pt x="3689" y="509"/>
                  <a:pt x="3642" y="509"/>
                </a:cubicBezTo>
                <a:close/>
                <a:moveTo>
                  <a:pt x="1733" y="668"/>
                </a:moveTo>
                <a:lnTo>
                  <a:pt x="1845" y="668"/>
                </a:lnTo>
                <a:cubicBezTo>
                  <a:pt x="1892" y="668"/>
                  <a:pt x="1924" y="636"/>
                  <a:pt x="1924" y="588"/>
                </a:cubicBezTo>
                <a:cubicBezTo>
                  <a:pt x="1924" y="541"/>
                  <a:pt x="1892" y="509"/>
                  <a:pt x="1845" y="509"/>
                </a:cubicBezTo>
                <a:lnTo>
                  <a:pt x="1733" y="509"/>
                </a:lnTo>
                <a:cubicBezTo>
                  <a:pt x="1685" y="509"/>
                  <a:pt x="1654" y="541"/>
                  <a:pt x="1654" y="588"/>
                </a:cubicBezTo>
                <a:cubicBezTo>
                  <a:pt x="1654" y="636"/>
                  <a:pt x="1685" y="668"/>
                  <a:pt x="1733" y="668"/>
                </a:cubicBezTo>
                <a:close/>
                <a:moveTo>
                  <a:pt x="2306" y="668"/>
                </a:moveTo>
                <a:cubicBezTo>
                  <a:pt x="2338" y="668"/>
                  <a:pt x="2385" y="636"/>
                  <a:pt x="2385" y="588"/>
                </a:cubicBezTo>
                <a:cubicBezTo>
                  <a:pt x="2385" y="541"/>
                  <a:pt x="2338" y="509"/>
                  <a:pt x="2306" y="509"/>
                </a:cubicBezTo>
                <a:lnTo>
                  <a:pt x="2178" y="509"/>
                </a:lnTo>
                <a:cubicBezTo>
                  <a:pt x="2131" y="509"/>
                  <a:pt x="2099" y="541"/>
                  <a:pt x="2099" y="588"/>
                </a:cubicBezTo>
                <a:cubicBezTo>
                  <a:pt x="2099" y="636"/>
                  <a:pt x="2131" y="668"/>
                  <a:pt x="2178" y="668"/>
                </a:cubicBezTo>
                <a:close/>
                <a:moveTo>
                  <a:pt x="2751" y="668"/>
                </a:moveTo>
                <a:cubicBezTo>
                  <a:pt x="2799" y="668"/>
                  <a:pt x="2830" y="636"/>
                  <a:pt x="2830" y="588"/>
                </a:cubicBezTo>
                <a:cubicBezTo>
                  <a:pt x="2830" y="541"/>
                  <a:pt x="2799" y="509"/>
                  <a:pt x="2751" y="509"/>
                </a:cubicBezTo>
                <a:lnTo>
                  <a:pt x="2624" y="509"/>
                </a:lnTo>
                <a:cubicBezTo>
                  <a:pt x="2576" y="509"/>
                  <a:pt x="2544" y="541"/>
                  <a:pt x="2544" y="588"/>
                </a:cubicBezTo>
                <a:cubicBezTo>
                  <a:pt x="2544" y="636"/>
                  <a:pt x="2576" y="668"/>
                  <a:pt x="2624" y="668"/>
                </a:cubicBezTo>
                <a:close/>
                <a:moveTo>
                  <a:pt x="1542" y="445"/>
                </a:moveTo>
                <a:lnTo>
                  <a:pt x="1574" y="445"/>
                </a:lnTo>
                <a:cubicBezTo>
                  <a:pt x="1622" y="430"/>
                  <a:pt x="1638" y="382"/>
                  <a:pt x="1622" y="334"/>
                </a:cubicBezTo>
                <a:lnTo>
                  <a:pt x="1574" y="223"/>
                </a:lnTo>
                <a:cubicBezTo>
                  <a:pt x="1558" y="191"/>
                  <a:pt x="1511" y="175"/>
                  <a:pt x="1463" y="191"/>
                </a:cubicBezTo>
                <a:cubicBezTo>
                  <a:pt x="1431" y="207"/>
                  <a:pt x="1399" y="255"/>
                  <a:pt x="1431" y="287"/>
                </a:cubicBezTo>
                <a:lnTo>
                  <a:pt x="1479" y="398"/>
                </a:lnTo>
                <a:cubicBezTo>
                  <a:pt x="1479" y="430"/>
                  <a:pt x="1511" y="445"/>
                  <a:pt x="1542" y="445"/>
                </a:cubicBezTo>
                <a:close/>
                <a:moveTo>
                  <a:pt x="684" y="159"/>
                </a:moveTo>
                <a:lnTo>
                  <a:pt x="811" y="159"/>
                </a:lnTo>
                <a:cubicBezTo>
                  <a:pt x="842" y="159"/>
                  <a:pt x="890" y="127"/>
                  <a:pt x="890" y="79"/>
                </a:cubicBezTo>
                <a:cubicBezTo>
                  <a:pt x="890" y="32"/>
                  <a:pt x="842" y="0"/>
                  <a:pt x="811" y="0"/>
                </a:cubicBezTo>
                <a:lnTo>
                  <a:pt x="684" y="0"/>
                </a:lnTo>
                <a:cubicBezTo>
                  <a:pt x="636" y="0"/>
                  <a:pt x="604" y="32"/>
                  <a:pt x="604" y="79"/>
                </a:cubicBezTo>
                <a:cubicBezTo>
                  <a:pt x="604" y="127"/>
                  <a:pt x="636" y="159"/>
                  <a:pt x="684" y="159"/>
                </a:cubicBezTo>
                <a:close/>
                <a:moveTo>
                  <a:pt x="1256" y="159"/>
                </a:moveTo>
                <a:cubicBezTo>
                  <a:pt x="1303" y="159"/>
                  <a:pt x="1336" y="127"/>
                  <a:pt x="1336" y="79"/>
                </a:cubicBezTo>
                <a:cubicBezTo>
                  <a:pt x="1336" y="32"/>
                  <a:pt x="1303" y="0"/>
                  <a:pt x="1256" y="0"/>
                </a:cubicBezTo>
                <a:lnTo>
                  <a:pt x="1129" y="0"/>
                </a:lnTo>
                <a:cubicBezTo>
                  <a:pt x="1081" y="0"/>
                  <a:pt x="1049" y="32"/>
                  <a:pt x="1049" y="79"/>
                </a:cubicBezTo>
                <a:cubicBezTo>
                  <a:pt x="1049" y="127"/>
                  <a:pt x="1081" y="159"/>
                  <a:pt x="1129" y="159"/>
                </a:cubicBezTo>
                <a:close/>
                <a:moveTo>
                  <a:pt x="524" y="3690"/>
                </a:moveTo>
                <a:lnTo>
                  <a:pt x="524" y="3706"/>
                </a:lnTo>
                <a:cubicBezTo>
                  <a:pt x="508" y="3754"/>
                  <a:pt x="524" y="3801"/>
                  <a:pt x="572" y="3817"/>
                </a:cubicBezTo>
                <a:lnTo>
                  <a:pt x="604" y="3817"/>
                </a:lnTo>
                <a:cubicBezTo>
                  <a:pt x="636" y="3817"/>
                  <a:pt x="667" y="3801"/>
                  <a:pt x="667" y="3769"/>
                </a:cubicBezTo>
                <a:cubicBezTo>
                  <a:pt x="684" y="3738"/>
                  <a:pt x="684" y="3722"/>
                  <a:pt x="684" y="3706"/>
                </a:cubicBezTo>
                <a:lnTo>
                  <a:pt x="684" y="3674"/>
                </a:lnTo>
                <a:lnTo>
                  <a:pt x="684" y="3626"/>
                </a:lnTo>
                <a:cubicBezTo>
                  <a:pt x="684" y="3595"/>
                  <a:pt x="652" y="3547"/>
                  <a:pt x="604" y="3547"/>
                </a:cubicBezTo>
                <a:cubicBezTo>
                  <a:pt x="572" y="3547"/>
                  <a:pt x="524" y="3595"/>
                  <a:pt x="524" y="3626"/>
                </a:cubicBezTo>
                <a:close/>
                <a:moveTo>
                  <a:pt x="4151" y="1129"/>
                </a:moveTo>
                <a:cubicBezTo>
                  <a:pt x="4198" y="1129"/>
                  <a:pt x="4230" y="1097"/>
                  <a:pt x="4230" y="1050"/>
                </a:cubicBezTo>
                <a:cubicBezTo>
                  <a:pt x="4230" y="1018"/>
                  <a:pt x="4198" y="970"/>
                  <a:pt x="4151" y="970"/>
                </a:cubicBezTo>
                <a:lnTo>
                  <a:pt x="4039" y="970"/>
                </a:lnTo>
                <a:cubicBezTo>
                  <a:pt x="3992" y="970"/>
                  <a:pt x="3960" y="1018"/>
                  <a:pt x="3960" y="1050"/>
                </a:cubicBezTo>
                <a:cubicBezTo>
                  <a:pt x="3960" y="1097"/>
                  <a:pt x="3992" y="1129"/>
                  <a:pt x="4039" y="1129"/>
                </a:cubicBezTo>
                <a:close/>
                <a:moveTo>
                  <a:pt x="2862" y="1129"/>
                </a:moveTo>
                <a:cubicBezTo>
                  <a:pt x="2910" y="1129"/>
                  <a:pt x="2942" y="1097"/>
                  <a:pt x="2942" y="1050"/>
                </a:cubicBezTo>
                <a:cubicBezTo>
                  <a:pt x="2942" y="1018"/>
                  <a:pt x="2910" y="970"/>
                  <a:pt x="2862" y="970"/>
                </a:cubicBezTo>
                <a:lnTo>
                  <a:pt x="2735" y="970"/>
                </a:lnTo>
                <a:cubicBezTo>
                  <a:pt x="2703" y="970"/>
                  <a:pt x="2656" y="1018"/>
                  <a:pt x="2656" y="1050"/>
                </a:cubicBezTo>
                <a:cubicBezTo>
                  <a:pt x="2656" y="1097"/>
                  <a:pt x="2703" y="1129"/>
                  <a:pt x="2735" y="1129"/>
                </a:cubicBezTo>
                <a:close/>
                <a:moveTo>
                  <a:pt x="2926" y="3977"/>
                </a:moveTo>
                <a:lnTo>
                  <a:pt x="3053" y="3977"/>
                </a:lnTo>
                <a:cubicBezTo>
                  <a:pt x="3101" y="3977"/>
                  <a:pt x="3133" y="3944"/>
                  <a:pt x="3133" y="3897"/>
                </a:cubicBezTo>
                <a:cubicBezTo>
                  <a:pt x="3133" y="3849"/>
                  <a:pt x="3101" y="3817"/>
                  <a:pt x="3053" y="3817"/>
                </a:cubicBezTo>
                <a:lnTo>
                  <a:pt x="2926" y="3817"/>
                </a:lnTo>
                <a:cubicBezTo>
                  <a:pt x="2894" y="3817"/>
                  <a:pt x="2847" y="3849"/>
                  <a:pt x="2847" y="3897"/>
                </a:cubicBezTo>
                <a:cubicBezTo>
                  <a:pt x="2847" y="3944"/>
                  <a:pt x="2878" y="3977"/>
                  <a:pt x="2926" y="3977"/>
                </a:cubicBezTo>
                <a:close/>
                <a:moveTo>
                  <a:pt x="3292" y="1129"/>
                </a:moveTo>
                <a:cubicBezTo>
                  <a:pt x="3339" y="1129"/>
                  <a:pt x="3371" y="1097"/>
                  <a:pt x="3371" y="1050"/>
                </a:cubicBezTo>
                <a:cubicBezTo>
                  <a:pt x="3371" y="1018"/>
                  <a:pt x="3339" y="970"/>
                  <a:pt x="3292" y="970"/>
                </a:cubicBezTo>
                <a:lnTo>
                  <a:pt x="3165" y="970"/>
                </a:lnTo>
                <a:cubicBezTo>
                  <a:pt x="3133" y="970"/>
                  <a:pt x="3101" y="1018"/>
                  <a:pt x="3101" y="1050"/>
                </a:cubicBezTo>
                <a:cubicBezTo>
                  <a:pt x="3101" y="1097"/>
                  <a:pt x="3133" y="1129"/>
                  <a:pt x="3165" y="1129"/>
                </a:cubicBezTo>
                <a:close/>
                <a:moveTo>
                  <a:pt x="2433" y="1129"/>
                </a:moveTo>
                <a:cubicBezTo>
                  <a:pt x="2481" y="1129"/>
                  <a:pt x="2512" y="1097"/>
                  <a:pt x="2512" y="1050"/>
                </a:cubicBezTo>
                <a:cubicBezTo>
                  <a:pt x="2512" y="1018"/>
                  <a:pt x="2481" y="970"/>
                  <a:pt x="2433" y="970"/>
                </a:cubicBezTo>
                <a:lnTo>
                  <a:pt x="2306" y="970"/>
                </a:lnTo>
                <a:cubicBezTo>
                  <a:pt x="2274" y="970"/>
                  <a:pt x="2226" y="1018"/>
                  <a:pt x="2226" y="1050"/>
                </a:cubicBezTo>
                <a:cubicBezTo>
                  <a:pt x="2226" y="1097"/>
                  <a:pt x="2274" y="1129"/>
                  <a:pt x="2306" y="1129"/>
                </a:cubicBezTo>
                <a:close/>
                <a:moveTo>
                  <a:pt x="4437" y="2100"/>
                </a:moveTo>
                <a:cubicBezTo>
                  <a:pt x="4437" y="2052"/>
                  <a:pt x="4405" y="2020"/>
                  <a:pt x="4357" y="2020"/>
                </a:cubicBezTo>
                <a:cubicBezTo>
                  <a:pt x="4310" y="2020"/>
                  <a:pt x="4278" y="2052"/>
                  <a:pt x="4278" y="2100"/>
                </a:cubicBezTo>
                <a:lnTo>
                  <a:pt x="4278" y="2227"/>
                </a:lnTo>
                <a:cubicBezTo>
                  <a:pt x="4278" y="2259"/>
                  <a:pt x="4310" y="2306"/>
                  <a:pt x="4357" y="2306"/>
                </a:cubicBezTo>
                <a:cubicBezTo>
                  <a:pt x="4405" y="2306"/>
                  <a:pt x="4437" y="2259"/>
                  <a:pt x="4437" y="2227"/>
                </a:cubicBezTo>
                <a:close/>
                <a:moveTo>
                  <a:pt x="3356" y="3977"/>
                </a:moveTo>
                <a:lnTo>
                  <a:pt x="3483" y="3977"/>
                </a:lnTo>
                <a:cubicBezTo>
                  <a:pt x="3530" y="3977"/>
                  <a:pt x="3562" y="3944"/>
                  <a:pt x="3562" y="3897"/>
                </a:cubicBezTo>
                <a:cubicBezTo>
                  <a:pt x="3562" y="3849"/>
                  <a:pt x="3530" y="3817"/>
                  <a:pt x="3483" y="3817"/>
                </a:cubicBezTo>
                <a:lnTo>
                  <a:pt x="3356" y="3817"/>
                </a:lnTo>
                <a:cubicBezTo>
                  <a:pt x="3324" y="3817"/>
                  <a:pt x="3276" y="3849"/>
                  <a:pt x="3276" y="3897"/>
                </a:cubicBezTo>
                <a:cubicBezTo>
                  <a:pt x="3276" y="3944"/>
                  <a:pt x="3324" y="3977"/>
                  <a:pt x="3356" y="3977"/>
                </a:cubicBezTo>
                <a:close/>
                <a:moveTo>
                  <a:pt x="4214" y="3959"/>
                </a:moveTo>
                <a:lnTo>
                  <a:pt x="4246" y="3959"/>
                </a:lnTo>
                <a:cubicBezTo>
                  <a:pt x="4294" y="3943"/>
                  <a:pt x="4341" y="3896"/>
                  <a:pt x="4374" y="3864"/>
                </a:cubicBezTo>
                <a:cubicBezTo>
                  <a:pt x="4405" y="3832"/>
                  <a:pt x="4389" y="3768"/>
                  <a:pt x="4357" y="3753"/>
                </a:cubicBezTo>
                <a:cubicBezTo>
                  <a:pt x="4326" y="3721"/>
                  <a:pt x="4278" y="3737"/>
                  <a:pt x="4246" y="3768"/>
                </a:cubicBezTo>
                <a:cubicBezTo>
                  <a:pt x="4230" y="3785"/>
                  <a:pt x="4214" y="3800"/>
                  <a:pt x="4198" y="3816"/>
                </a:cubicBezTo>
                <a:cubicBezTo>
                  <a:pt x="4151" y="3832"/>
                  <a:pt x="4135" y="3864"/>
                  <a:pt x="4151" y="3912"/>
                </a:cubicBezTo>
                <a:cubicBezTo>
                  <a:pt x="4151" y="3943"/>
                  <a:pt x="4183" y="3959"/>
                  <a:pt x="4214" y="3959"/>
                </a:cubicBezTo>
                <a:close/>
                <a:moveTo>
                  <a:pt x="3721" y="1129"/>
                </a:moveTo>
                <a:cubicBezTo>
                  <a:pt x="3769" y="1129"/>
                  <a:pt x="3801" y="1097"/>
                  <a:pt x="3801" y="1050"/>
                </a:cubicBezTo>
                <a:cubicBezTo>
                  <a:pt x="3801" y="1018"/>
                  <a:pt x="3769" y="970"/>
                  <a:pt x="3721" y="970"/>
                </a:cubicBezTo>
                <a:lnTo>
                  <a:pt x="3610" y="970"/>
                </a:lnTo>
                <a:cubicBezTo>
                  <a:pt x="3562" y="970"/>
                  <a:pt x="3530" y="1018"/>
                  <a:pt x="3530" y="1050"/>
                </a:cubicBezTo>
                <a:cubicBezTo>
                  <a:pt x="3530" y="1097"/>
                  <a:pt x="3562" y="1129"/>
                  <a:pt x="3610" y="1129"/>
                </a:cubicBezTo>
                <a:close/>
                <a:moveTo>
                  <a:pt x="4437" y="2959"/>
                </a:moveTo>
                <a:cubicBezTo>
                  <a:pt x="4437" y="2911"/>
                  <a:pt x="4405" y="2879"/>
                  <a:pt x="4357" y="2879"/>
                </a:cubicBezTo>
                <a:cubicBezTo>
                  <a:pt x="4310" y="2879"/>
                  <a:pt x="4278" y="2911"/>
                  <a:pt x="4278" y="2959"/>
                </a:cubicBezTo>
                <a:lnTo>
                  <a:pt x="4278" y="3086"/>
                </a:lnTo>
                <a:cubicBezTo>
                  <a:pt x="4278" y="3117"/>
                  <a:pt x="4310" y="3165"/>
                  <a:pt x="4357" y="3165"/>
                </a:cubicBezTo>
                <a:cubicBezTo>
                  <a:pt x="4405" y="3165"/>
                  <a:pt x="4437" y="3117"/>
                  <a:pt x="4437" y="3086"/>
                </a:cubicBezTo>
                <a:close/>
                <a:moveTo>
                  <a:pt x="4437" y="2529"/>
                </a:moveTo>
                <a:cubicBezTo>
                  <a:pt x="4437" y="2481"/>
                  <a:pt x="4405" y="2450"/>
                  <a:pt x="4357" y="2450"/>
                </a:cubicBezTo>
                <a:cubicBezTo>
                  <a:pt x="4310" y="2450"/>
                  <a:pt x="4278" y="2481"/>
                  <a:pt x="4278" y="2529"/>
                </a:cubicBezTo>
                <a:lnTo>
                  <a:pt x="4278" y="2656"/>
                </a:lnTo>
                <a:cubicBezTo>
                  <a:pt x="4278" y="2688"/>
                  <a:pt x="4310" y="2736"/>
                  <a:pt x="4357" y="2736"/>
                </a:cubicBezTo>
                <a:cubicBezTo>
                  <a:pt x="4405" y="2736"/>
                  <a:pt x="4437" y="2688"/>
                  <a:pt x="4437" y="2656"/>
                </a:cubicBezTo>
                <a:close/>
                <a:moveTo>
                  <a:pt x="3785" y="3977"/>
                </a:moveTo>
                <a:lnTo>
                  <a:pt x="3912" y="3977"/>
                </a:lnTo>
                <a:cubicBezTo>
                  <a:pt x="3960" y="3977"/>
                  <a:pt x="3992" y="3944"/>
                  <a:pt x="3992" y="3897"/>
                </a:cubicBezTo>
                <a:cubicBezTo>
                  <a:pt x="3992" y="3849"/>
                  <a:pt x="3960" y="3817"/>
                  <a:pt x="3912" y="3817"/>
                </a:cubicBezTo>
                <a:lnTo>
                  <a:pt x="3785" y="3817"/>
                </a:lnTo>
                <a:cubicBezTo>
                  <a:pt x="3753" y="3817"/>
                  <a:pt x="3705" y="3849"/>
                  <a:pt x="3705" y="3897"/>
                </a:cubicBezTo>
                <a:cubicBezTo>
                  <a:pt x="3705" y="3944"/>
                  <a:pt x="3753" y="3977"/>
                  <a:pt x="3785" y="3977"/>
                </a:cubicBezTo>
                <a:close/>
                <a:moveTo>
                  <a:pt x="2067" y="3977"/>
                </a:moveTo>
                <a:lnTo>
                  <a:pt x="2194" y="3977"/>
                </a:lnTo>
                <a:cubicBezTo>
                  <a:pt x="2226" y="3977"/>
                  <a:pt x="2274" y="3944"/>
                  <a:pt x="2274" y="3897"/>
                </a:cubicBezTo>
                <a:cubicBezTo>
                  <a:pt x="2274" y="3849"/>
                  <a:pt x="2226" y="3817"/>
                  <a:pt x="2194" y="3817"/>
                </a:cubicBezTo>
                <a:lnTo>
                  <a:pt x="2067" y="3817"/>
                </a:lnTo>
                <a:cubicBezTo>
                  <a:pt x="2020" y="3817"/>
                  <a:pt x="1988" y="3849"/>
                  <a:pt x="1988" y="3897"/>
                </a:cubicBezTo>
                <a:cubicBezTo>
                  <a:pt x="1988" y="3944"/>
                  <a:pt x="2020" y="3977"/>
                  <a:pt x="2067" y="3977"/>
                </a:cubicBezTo>
                <a:close/>
                <a:moveTo>
                  <a:pt x="2496" y="3977"/>
                </a:moveTo>
                <a:lnTo>
                  <a:pt x="2624" y="3977"/>
                </a:lnTo>
                <a:cubicBezTo>
                  <a:pt x="2656" y="3977"/>
                  <a:pt x="2703" y="3944"/>
                  <a:pt x="2703" y="3897"/>
                </a:cubicBezTo>
                <a:cubicBezTo>
                  <a:pt x="2703" y="3849"/>
                  <a:pt x="2656" y="3817"/>
                  <a:pt x="2624" y="3817"/>
                </a:cubicBezTo>
                <a:lnTo>
                  <a:pt x="2496" y="3817"/>
                </a:lnTo>
                <a:cubicBezTo>
                  <a:pt x="2449" y="3817"/>
                  <a:pt x="2417" y="3849"/>
                  <a:pt x="2417" y="3897"/>
                </a:cubicBezTo>
                <a:cubicBezTo>
                  <a:pt x="2417" y="3944"/>
                  <a:pt x="2449" y="3977"/>
                  <a:pt x="2496" y="3977"/>
                </a:cubicBezTo>
                <a:close/>
                <a:moveTo>
                  <a:pt x="524" y="2465"/>
                </a:moveTo>
                <a:cubicBezTo>
                  <a:pt x="524" y="2513"/>
                  <a:pt x="572" y="2545"/>
                  <a:pt x="604" y="2545"/>
                </a:cubicBezTo>
                <a:cubicBezTo>
                  <a:pt x="652" y="2545"/>
                  <a:pt x="684" y="2513"/>
                  <a:pt x="684" y="2465"/>
                </a:cubicBezTo>
                <a:lnTo>
                  <a:pt x="684" y="2338"/>
                </a:lnTo>
                <a:cubicBezTo>
                  <a:pt x="684" y="2290"/>
                  <a:pt x="652" y="2259"/>
                  <a:pt x="604" y="2259"/>
                </a:cubicBezTo>
                <a:cubicBezTo>
                  <a:pt x="572" y="2259"/>
                  <a:pt x="524" y="2290"/>
                  <a:pt x="524" y="2338"/>
                </a:cubicBezTo>
                <a:close/>
                <a:moveTo>
                  <a:pt x="524" y="2895"/>
                </a:moveTo>
                <a:cubicBezTo>
                  <a:pt x="524" y="2942"/>
                  <a:pt x="572" y="2974"/>
                  <a:pt x="604" y="2974"/>
                </a:cubicBezTo>
                <a:cubicBezTo>
                  <a:pt x="652" y="2974"/>
                  <a:pt x="684" y="2942"/>
                  <a:pt x="684" y="2895"/>
                </a:cubicBezTo>
                <a:lnTo>
                  <a:pt x="684" y="2768"/>
                </a:lnTo>
                <a:cubicBezTo>
                  <a:pt x="684" y="2736"/>
                  <a:pt x="652" y="2688"/>
                  <a:pt x="604" y="2688"/>
                </a:cubicBezTo>
                <a:cubicBezTo>
                  <a:pt x="572" y="2688"/>
                  <a:pt x="524" y="2736"/>
                  <a:pt x="524" y="2768"/>
                </a:cubicBezTo>
                <a:close/>
                <a:moveTo>
                  <a:pt x="604" y="1686"/>
                </a:moveTo>
                <a:cubicBezTo>
                  <a:pt x="652" y="1686"/>
                  <a:pt x="684" y="1638"/>
                  <a:pt x="684" y="1606"/>
                </a:cubicBezTo>
                <a:lnTo>
                  <a:pt x="684" y="1479"/>
                </a:lnTo>
                <a:cubicBezTo>
                  <a:pt x="684" y="1432"/>
                  <a:pt x="652" y="1400"/>
                  <a:pt x="604" y="1400"/>
                </a:cubicBezTo>
                <a:cubicBezTo>
                  <a:pt x="572" y="1400"/>
                  <a:pt x="524" y="1432"/>
                  <a:pt x="524" y="1479"/>
                </a:cubicBezTo>
                <a:lnTo>
                  <a:pt x="524" y="1606"/>
                </a:lnTo>
                <a:cubicBezTo>
                  <a:pt x="524" y="1638"/>
                  <a:pt x="572" y="1686"/>
                  <a:pt x="604" y="1686"/>
                </a:cubicBezTo>
                <a:close/>
                <a:moveTo>
                  <a:pt x="2003" y="1129"/>
                </a:moveTo>
                <a:cubicBezTo>
                  <a:pt x="2051" y="1129"/>
                  <a:pt x="2083" y="1097"/>
                  <a:pt x="2083" y="1050"/>
                </a:cubicBezTo>
                <a:cubicBezTo>
                  <a:pt x="2083" y="1018"/>
                  <a:pt x="2051" y="970"/>
                  <a:pt x="2003" y="970"/>
                </a:cubicBezTo>
                <a:lnTo>
                  <a:pt x="1876" y="970"/>
                </a:lnTo>
                <a:cubicBezTo>
                  <a:pt x="1845" y="970"/>
                  <a:pt x="1797" y="1018"/>
                  <a:pt x="1797" y="1050"/>
                </a:cubicBezTo>
                <a:cubicBezTo>
                  <a:pt x="1797" y="1097"/>
                  <a:pt x="1845" y="1129"/>
                  <a:pt x="1876" y="1129"/>
                </a:cubicBezTo>
                <a:close/>
                <a:moveTo>
                  <a:pt x="524" y="2036"/>
                </a:moveTo>
                <a:cubicBezTo>
                  <a:pt x="524" y="2068"/>
                  <a:pt x="572" y="2115"/>
                  <a:pt x="604" y="2115"/>
                </a:cubicBezTo>
                <a:cubicBezTo>
                  <a:pt x="652" y="2115"/>
                  <a:pt x="684" y="2068"/>
                  <a:pt x="684" y="2036"/>
                </a:cubicBezTo>
                <a:lnTo>
                  <a:pt x="684" y="1909"/>
                </a:lnTo>
                <a:cubicBezTo>
                  <a:pt x="684" y="1861"/>
                  <a:pt x="652" y="1829"/>
                  <a:pt x="604" y="1829"/>
                </a:cubicBezTo>
                <a:cubicBezTo>
                  <a:pt x="572" y="1829"/>
                  <a:pt x="524" y="1861"/>
                  <a:pt x="524" y="1909"/>
                </a:cubicBezTo>
                <a:close/>
                <a:moveTo>
                  <a:pt x="524" y="3324"/>
                </a:moveTo>
                <a:cubicBezTo>
                  <a:pt x="524" y="3372"/>
                  <a:pt x="572" y="3404"/>
                  <a:pt x="604" y="3404"/>
                </a:cubicBezTo>
                <a:cubicBezTo>
                  <a:pt x="652" y="3404"/>
                  <a:pt x="684" y="3372"/>
                  <a:pt x="684" y="3324"/>
                </a:cubicBezTo>
                <a:lnTo>
                  <a:pt x="684" y="3197"/>
                </a:lnTo>
                <a:cubicBezTo>
                  <a:pt x="684" y="3165"/>
                  <a:pt x="652" y="3117"/>
                  <a:pt x="604" y="3117"/>
                </a:cubicBezTo>
                <a:cubicBezTo>
                  <a:pt x="572" y="3117"/>
                  <a:pt x="524" y="3165"/>
                  <a:pt x="524" y="3197"/>
                </a:cubicBezTo>
                <a:close/>
                <a:moveTo>
                  <a:pt x="1574" y="1129"/>
                </a:moveTo>
                <a:cubicBezTo>
                  <a:pt x="1606" y="1129"/>
                  <a:pt x="1654" y="1097"/>
                  <a:pt x="1654" y="1050"/>
                </a:cubicBezTo>
                <a:cubicBezTo>
                  <a:pt x="1654" y="1018"/>
                  <a:pt x="1606" y="970"/>
                  <a:pt x="1574" y="970"/>
                </a:cubicBezTo>
                <a:lnTo>
                  <a:pt x="1447" y="970"/>
                </a:lnTo>
                <a:cubicBezTo>
                  <a:pt x="1399" y="970"/>
                  <a:pt x="1367" y="1018"/>
                  <a:pt x="1367" y="1050"/>
                </a:cubicBezTo>
                <a:cubicBezTo>
                  <a:pt x="1367" y="1097"/>
                  <a:pt x="1399" y="1129"/>
                  <a:pt x="1447" y="1129"/>
                </a:cubicBezTo>
                <a:close/>
                <a:moveTo>
                  <a:pt x="747" y="1161"/>
                </a:moveTo>
                <a:cubicBezTo>
                  <a:pt x="795" y="1129"/>
                  <a:pt x="811" y="1082"/>
                  <a:pt x="779" y="1050"/>
                </a:cubicBezTo>
                <a:cubicBezTo>
                  <a:pt x="763" y="1002"/>
                  <a:pt x="715" y="1002"/>
                  <a:pt x="667" y="1018"/>
                </a:cubicBezTo>
                <a:cubicBezTo>
                  <a:pt x="620" y="1050"/>
                  <a:pt x="588" y="1082"/>
                  <a:pt x="556" y="1129"/>
                </a:cubicBezTo>
                <a:cubicBezTo>
                  <a:pt x="540" y="1177"/>
                  <a:pt x="556" y="1225"/>
                  <a:pt x="604" y="1241"/>
                </a:cubicBezTo>
                <a:cubicBezTo>
                  <a:pt x="604" y="1257"/>
                  <a:pt x="620" y="1257"/>
                  <a:pt x="636" y="1257"/>
                </a:cubicBezTo>
                <a:cubicBezTo>
                  <a:pt x="667" y="1257"/>
                  <a:pt x="684" y="1241"/>
                  <a:pt x="699" y="1209"/>
                </a:cubicBezTo>
                <a:cubicBezTo>
                  <a:pt x="715" y="1193"/>
                  <a:pt x="731" y="1161"/>
                  <a:pt x="747" y="1161"/>
                </a:cubicBezTo>
                <a:close/>
                <a:moveTo>
                  <a:pt x="1638" y="3977"/>
                </a:moveTo>
                <a:lnTo>
                  <a:pt x="1765" y="3977"/>
                </a:lnTo>
                <a:cubicBezTo>
                  <a:pt x="1797" y="3977"/>
                  <a:pt x="1845" y="3944"/>
                  <a:pt x="1845" y="3897"/>
                </a:cubicBezTo>
                <a:cubicBezTo>
                  <a:pt x="1845" y="3849"/>
                  <a:pt x="1797" y="3817"/>
                  <a:pt x="1765" y="3817"/>
                </a:cubicBezTo>
                <a:lnTo>
                  <a:pt x="1638" y="3817"/>
                </a:lnTo>
                <a:cubicBezTo>
                  <a:pt x="1590" y="3817"/>
                  <a:pt x="1558" y="3849"/>
                  <a:pt x="1558" y="3897"/>
                </a:cubicBezTo>
                <a:cubicBezTo>
                  <a:pt x="1558" y="3944"/>
                  <a:pt x="1590" y="3977"/>
                  <a:pt x="1638" y="3977"/>
                </a:cubicBezTo>
                <a:close/>
                <a:moveTo>
                  <a:pt x="1208" y="3977"/>
                </a:moveTo>
                <a:lnTo>
                  <a:pt x="1320" y="3977"/>
                </a:lnTo>
                <a:cubicBezTo>
                  <a:pt x="1367" y="3977"/>
                  <a:pt x="1399" y="3944"/>
                  <a:pt x="1399" y="3897"/>
                </a:cubicBezTo>
                <a:cubicBezTo>
                  <a:pt x="1399" y="3849"/>
                  <a:pt x="1367" y="3817"/>
                  <a:pt x="1320" y="3817"/>
                </a:cubicBezTo>
                <a:lnTo>
                  <a:pt x="1208" y="3817"/>
                </a:lnTo>
                <a:cubicBezTo>
                  <a:pt x="1160" y="3817"/>
                  <a:pt x="1129" y="3849"/>
                  <a:pt x="1129" y="3897"/>
                </a:cubicBezTo>
                <a:cubicBezTo>
                  <a:pt x="1129" y="3944"/>
                  <a:pt x="1160" y="3977"/>
                  <a:pt x="1208" y="3977"/>
                </a:cubicBezTo>
                <a:close/>
                <a:moveTo>
                  <a:pt x="1145" y="1129"/>
                </a:moveTo>
                <a:cubicBezTo>
                  <a:pt x="1176" y="1129"/>
                  <a:pt x="1224" y="1097"/>
                  <a:pt x="1224" y="1050"/>
                </a:cubicBezTo>
                <a:cubicBezTo>
                  <a:pt x="1224" y="1018"/>
                  <a:pt x="1176" y="970"/>
                  <a:pt x="1145" y="970"/>
                </a:cubicBezTo>
                <a:lnTo>
                  <a:pt x="1017" y="970"/>
                </a:lnTo>
                <a:cubicBezTo>
                  <a:pt x="970" y="970"/>
                  <a:pt x="938" y="1018"/>
                  <a:pt x="938" y="1050"/>
                </a:cubicBezTo>
                <a:cubicBezTo>
                  <a:pt x="938" y="1097"/>
                  <a:pt x="970" y="1129"/>
                  <a:pt x="1017" y="1129"/>
                </a:cubicBezTo>
                <a:close/>
                <a:moveTo>
                  <a:pt x="4437" y="3515"/>
                </a:moveTo>
                <a:lnTo>
                  <a:pt x="4437" y="3388"/>
                </a:lnTo>
                <a:cubicBezTo>
                  <a:pt x="4437" y="3340"/>
                  <a:pt x="4405" y="3308"/>
                  <a:pt x="4357" y="3308"/>
                </a:cubicBezTo>
                <a:cubicBezTo>
                  <a:pt x="4310" y="3308"/>
                  <a:pt x="4278" y="3340"/>
                  <a:pt x="4278" y="3388"/>
                </a:cubicBezTo>
                <a:lnTo>
                  <a:pt x="4278" y="3515"/>
                </a:lnTo>
                <a:cubicBezTo>
                  <a:pt x="4278" y="3563"/>
                  <a:pt x="4310" y="3595"/>
                  <a:pt x="4357" y="3595"/>
                </a:cubicBezTo>
                <a:cubicBezTo>
                  <a:pt x="4405" y="3595"/>
                  <a:pt x="4437" y="3563"/>
                  <a:pt x="4437" y="3515"/>
                </a:cubicBezTo>
                <a:close/>
                <a:moveTo>
                  <a:pt x="4437" y="1670"/>
                </a:moveTo>
                <a:cubicBezTo>
                  <a:pt x="4437" y="1623"/>
                  <a:pt x="4405" y="1591"/>
                  <a:pt x="4357" y="1591"/>
                </a:cubicBezTo>
                <a:cubicBezTo>
                  <a:pt x="4310" y="1591"/>
                  <a:pt x="4278" y="1623"/>
                  <a:pt x="4278" y="1670"/>
                </a:cubicBezTo>
                <a:lnTo>
                  <a:pt x="4278" y="1781"/>
                </a:lnTo>
                <a:cubicBezTo>
                  <a:pt x="4278" y="1829"/>
                  <a:pt x="4310" y="1861"/>
                  <a:pt x="4357" y="1861"/>
                </a:cubicBezTo>
                <a:cubicBezTo>
                  <a:pt x="4405" y="1861"/>
                  <a:pt x="4437" y="1829"/>
                  <a:pt x="4437" y="1781"/>
                </a:cubicBezTo>
                <a:close/>
                <a:moveTo>
                  <a:pt x="4437" y="1272"/>
                </a:moveTo>
                <a:lnTo>
                  <a:pt x="4437" y="1225"/>
                </a:lnTo>
                <a:cubicBezTo>
                  <a:pt x="4437" y="1193"/>
                  <a:pt x="4389" y="1161"/>
                  <a:pt x="4341" y="1161"/>
                </a:cubicBezTo>
                <a:cubicBezTo>
                  <a:pt x="4310" y="1161"/>
                  <a:pt x="4278" y="1209"/>
                  <a:pt x="4278" y="1241"/>
                </a:cubicBezTo>
                <a:lnTo>
                  <a:pt x="4278" y="1352"/>
                </a:lnTo>
                <a:cubicBezTo>
                  <a:pt x="4278" y="1400"/>
                  <a:pt x="4310" y="1432"/>
                  <a:pt x="4357" y="1432"/>
                </a:cubicBezTo>
                <a:cubicBezTo>
                  <a:pt x="4405" y="1432"/>
                  <a:pt x="4437" y="1400"/>
                  <a:pt x="4437" y="1352"/>
                </a:cubicBezTo>
                <a:close/>
                <a:moveTo>
                  <a:pt x="827" y="3977"/>
                </a:moveTo>
                <a:lnTo>
                  <a:pt x="890" y="3977"/>
                </a:lnTo>
                <a:cubicBezTo>
                  <a:pt x="938" y="3977"/>
                  <a:pt x="970" y="3944"/>
                  <a:pt x="970" y="3897"/>
                </a:cubicBezTo>
                <a:cubicBezTo>
                  <a:pt x="970" y="3849"/>
                  <a:pt x="938" y="3817"/>
                  <a:pt x="890" y="3817"/>
                </a:cubicBezTo>
                <a:lnTo>
                  <a:pt x="827" y="3817"/>
                </a:lnTo>
                <a:cubicBezTo>
                  <a:pt x="795" y="3817"/>
                  <a:pt x="747" y="3849"/>
                  <a:pt x="747" y="3897"/>
                </a:cubicBezTo>
                <a:cubicBezTo>
                  <a:pt x="747" y="3944"/>
                  <a:pt x="795" y="3977"/>
                  <a:pt x="827" y="397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3" name="Freeform: Shape 9">
            <a:extLst>
              <a:ext uri="{FF2B5EF4-FFF2-40B4-BE49-F238E27FC236}">
                <a16:creationId xmlns:a16="http://schemas.microsoft.com/office/drawing/2014/main" id="{B65F62F7-721F-B846-9810-B4518E6DA934}"/>
              </a:ext>
            </a:extLst>
          </p:cNvPr>
          <p:cNvSpPr/>
          <p:nvPr/>
        </p:nvSpPr>
        <p:spPr>
          <a:xfrm>
            <a:off x="9887615" y="3345805"/>
            <a:ext cx="1636920" cy="1430999"/>
          </a:xfrm>
          <a:custGeom>
            <a:avLst/>
            <a:gdLst/>
            <a:ahLst/>
            <a:cxnLst>
              <a:cxn ang="3cd4">
                <a:pos x="hc" y="t"/>
              </a:cxn>
              <a:cxn ang="cd2">
                <a:pos x="l" y="vc"/>
              </a:cxn>
              <a:cxn ang="cd4">
                <a:pos x="hc" y="b"/>
              </a:cxn>
              <a:cxn ang="0">
                <a:pos x="r" y="vc"/>
              </a:cxn>
            </a:cxnLst>
            <a:rect l="l" t="t" r="r" b="b"/>
            <a:pathLst>
              <a:path w="4548" h="3976">
                <a:moveTo>
                  <a:pt x="349" y="3976"/>
                </a:moveTo>
                <a:lnTo>
                  <a:pt x="3021" y="3976"/>
                </a:lnTo>
                <a:cubicBezTo>
                  <a:pt x="3069" y="3976"/>
                  <a:pt x="3101" y="3944"/>
                  <a:pt x="3101" y="3896"/>
                </a:cubicBezTo>
                <a:cubicBezTo>
                  <a:pt x="3101" y="3865"/>
                  <a:pt x="3069" y="3817"/>
                  <a:pt x="3021" y="3817"/>
                </a:cubicBezTo>
                <a:lnTo>
                  <a:pt x="652" y="3817"/>
                </a:lnTo>
                <a:cubicBezTo>
                  <a:pt x="667" y="3785"/>
                  <a:pt x="683" y="3753"/>
                  <a:pt x="683" y="3705"/>
                </a:cubicBezTo>
                <a:cubicBezTo>
                  <a:pt x="699" y="3690"/>
                  <a:pt x="694" y="3620"/>
                  <a:pt x="699" y="3578"/>
                </a:cubicBezTo>
                <a:lnTo>
                  <a:pt x="699" y="1272"/>
                </a:lnTo>
                <a:cubicBezTo>
                  <a:pt x="699" y="1209"/>
                  <a:pt x="763" y="1145"/>
                  <a:pt x="827" y="1145"/>
                </a:cubicBezTo>
                <a:lnTo>
                  <a:pt x="4199" y="1145"/>
                </a:lnTo>
                <a:cubicBezTo>
                  <a:pt x="4262" y="1145"/>
                  <a:pt x="4326" y="1209"/>
                  <a:pt x="4326" y="1272"/>
                </a:cubicBezTo>
                <a:lnTo>
                  <a:pt x="4326" y="2560"/>
                </a:lnTo>
                <a:cubicBezTo>
                  <a:pt x="4326" y="2608"/>
                  <a:pt x="4357" y="2640"/>
                  <a:pt x="4405" y="2640"/>
                </a:cubicBezTo>
                <a:cubicBezTo>
                  <a:pt x="4453" y="2640"/>
                  <a:pt x="4485" y="2608"/>
                  <a:pt x="4485" y="2560"/>
                </a:cubicBezTo>
                <a:lnTo>
                  <a:pt x="4485" y="1272"/>
                </a:lnTo>
                <a:cubicBezTo>
                  <a:pt x="4485" y="1113"/>
                  <a:pt x="4357" y="986"/>
                  <a:pt x="4199" y="986"/>
                </a:cubicBezTo>
                <a:lnTo>
                  <a:pt x="3991" y="986"/>
                </a:lnTo>
                <a:lnTo>
                  <a:pt x="3991" y="811"/>
                </a:lnTo>
                <a:cubicBezTo>
                  <a:pt x="3991" y="652"/>
                  <a:pt x="3864" y="525"/>
                  <a:pt x="3705" y="525"/>
                </a:cubicBezTo>
                <a:lnTo>
                  <a:pt x="1701" y="525"/>
                </a:lnTo>
                <a:lnTo>
                  <a:pt x="1558" y="206"/>
                </a:lnTo>
                <a:cubicBezTo>
                  <a:pt x="1510" y="79"/>
                  <a:pt x="1399" y="0"/>
                  <a:pt x="1272" y="0"/>
                </a:cubicBezTo>
                <a:lnTo>
                  <a:pt x="301" y="0"/>
                </a:lnTo>
                <a:cubicBezTo>
                  <a:pt x="143" y="0"/>
                  <a:pt x="0" y="143"/>
                  <a:pt x="0" y="302"/>
                </a:cubicBezTo>
                <a:lnTo>
                  <a:pt x="0" y="3642"/>
                </a:lnTo>
                <a:cubicBezTo>
                  <a:pt x="0" y="3738"/>
                  <a:pt x="47" y="3817"/>
                  <a:pt x="111" y="3881"/>
                </a:cubicBezTo>
                <a:cubicBezTo>
                  <a:pt x="158" y="3944"/>
                  <a:pt x="254" y="3976"/>
                  <a:pt x="349" y="3976"/>
                </a:cubicBezTo>
                <a:close/>
                <a:moveTo>
                  <a:pt x="158" y="3642"/>
                </a:moveTo>
                <a:lnTo>
                  <a:pt x="158" y="302"/>
                </a:lnTo>
                <a:cubicBezTo>
                  <a:pt x="158" y="222"/>
                  <a:pt x="222" y="159"/>
                  <a:pt x="301" y="159"/>
                </a:cubicBezTo>
                <a:lnTo>
                  <a:pt x="1272" y="159"/>
                </a:lnTo>
                <a:cubicBezTo>
                  <a:pt x="1336" y="159"/>
                  <a:pt x="1399" y="206"/>
                  <a:pt x="1415" y="270"/>
                </a:cubicBezTo>
                <a:lnTo>
                  <a:pt x="1574" y="636"/>
                </a:lnTo>
                <a:cubicBezTo>
                  <a:pt x="1590" y="652"/>
                  <a:pt x="1622" y="684"/>
                  <a:pt x="1654" y="684"/>
                </a:cubicBezTo>
                <a:lnTo>
                  <a:pt x="3705" y="684"/>
                </a:lnTo>
                <a:cubicBezTo>
                  <a:pt x="3785" y="684"/>
                  <a:pt x="3833" y="731"/>
                  <a:pt x="3833" y="811"/>
                </a:cubicBezTo>
                <a:lnTo>
                  <a:pt x="3833" y="986"/>
                </a:lnTo>
                <a:lnTo>
                  <a:pt x="827" y="986"/>
                </a:lnTo>
                <a:cubicBezTo>
                  <a:pt x="667" y="986"/>
                  <a:pt x="540" y="1113"/>
                  <a:pt x="540" y="1272"/>
                </a:cubicBezTo>
                <a:lnTo>
                  <a:pt x="540" y="3642"/>
                </a:lnTo>
                <a:lnTo>
                  <a:pt x="540" y="3658"/>
                </a:lnTo>
                <a:lnTo>
                  <a:pt x="540" y="3690"/>
                </a:lnTo>
                <a:cubicBezTo>
                  <a:pt x="524" y="3753"/>
                  <a:pt x="492" y="3817"/>
                  <a:pt x="349" y="3817"/>
                </a:cubicBezTo>
                <a:cubicBezTo>
                  <a:pt x="286" y="3833"/>
                  <a:pt x="254" y="3801"/>
                  <a:pt x="222" y="3769"/>
                </a:cubicBezTo>
                <a:cubicBezTo>
                  <a:pt x="191" y="3738"/>
                  <a:pt x="158" y="3690"/>
                  <a:pt x="158" y="3642"/>
                </a:cubicBezTo>
                <a:close/>
                <a:moveTo>
                  <a:pt x="4071" y="2831"/>
                </a:moveTo>
                <a:cubicBezTo>
                  <a:pt x="3991" y="2688"/>
                  <a:pt x="3848" y="2592"/>
                  <a:pt x="3690" y="2592"/>
                </a:cubicBezTo>
                <a:cubicBezTo>
                  <a:pt x="3499" y="2592"/>
                  <a:pt x="3339" y="2720"/>
                  <a:pt x="3276" y="2878"/>
                </a:cubicBezTo>
                <a:cubicBezTo>
                  <a:pt x="3037" y="2831"/>
                  <a:pt x="2799" y="3021"/>
                  <a:pt x="2799" y="3260"/>
                </a:cubicBezTo>
                <a:cubicBezTo>
                  <a:pt x="2799" y="3451"/>
                  <a:pt x="2942" y="3610"/>
                  <a:pt x="3117" y="3658"/>
                </a:cubicBezTo>
                <a:lnTo>
                  <a:pt x="3149" y="3658"/>
                </a:lnTo>
                <a:lnTo>
                  <a:pt x="3181" y="3658"/>
                </a:lnTo>
                <a:lnTo>
                  <a:pt x="3212" y="3658"/>
                </a:lnTo>
                <a:lnTo>
                  <a:pt x="4135" y="3658"/>
                </a:lnTo>
                <a:lnTo>
                  <a:pt x="4151" y="3658"/>
                </a:lnTo>
                <a:lnTo>
                  <a:pt x="4182" y="3658"/>
                </a:lnTo>
                <a:cubicBezTo>
                  <a:pt x="4389" y="3626"/>
                  <a:pt x="4548" y="3451"/>
                  <a:pt x="4548" y="3244"/>
                </a:cubicBezTo>
                <a:cubicBezTo>
                  <a:pt x="4548" y="2990"/>
                  <a:pt x="4326" y="2783"/>
                  <a:pt x="4071" y="2831"/>
                </a:cubicBezTo>
                <a:close/>
                <a:moveTo>
                  <a:pt x="4151" y="3499"/>
                </a:moveTo>
                <a:lnTo>
                  <a:pt x="4119" y="3499"/>
                </a:lnTo>
                <a:lnTo>
                  <a:pt x="3212" y="3499"/>
                </a:lnTo>
                <a:lnTo>
                  <a:pt x="3181" y="3499"/>
                </a:lnTo>
                <a:lnTo>
                  <a:pt x="3164" y="3499"/>
                </a:lnTo>
                <a:cubicBezTo>
                  <a:pt x="3053" y="3483"/>
                  <a:pt x="2958" y="3387"/>
                  <a:pt x="2958" y="3260"/>
                </a:cubicBezTo>
                <a:cubicBezTo>
                  <a:pt x="2958" y="3101"/>
                  <a:pt x="3133" y="2974"/>
                  <a:pt x="3308" y="3054"/>
                </a:cubicBezTo>
                <a:cubicBezTo>
                  <a:pt x="3324" y="3069"/>
                  <a:pt x="3355" y="3069"/>
                  <a:pt x="3372" y="3054"/>
                </a:cubicBezTo>
                <a:cubicBezTo>
                  <a:pt x="3403" y="3054"/>
                  <a:pt x="3419" y="3021"/>
                  <a:pt x="3419" y="2990"/>
                </a:cubicBezTo>
                <a:cubicBezTo>
                  <a:pt x="3435" y="2863"/>
                  <a:pt x="3546" y="2751"/>
                  <a:pt x="3690" y="2751"/>
                </a:cubicBezTo>
                <a:cubicBezTo>
                  <a:pt x="3801" y="2751"/>
                  <a:pt x="3912" y="2831"/>
                  <a:pt x="3944" y="2942"/>
                </a:cubicBezTo>
                <a:cubicBezTo>
                  <a:pt x="3944" y="2958"/>
                  <a:pt x="3960" y="2974"/>
                  <a:pt x="3991" y="2990"/>
                </a:cubicBezTo>
                <a:cubicBezTo>
                  <a:pt x="4008" y="3006"/>
                  <a:pt x="4024" y="3006"/>
                  <a:pt x="4039" y="2990"/>
                </a:cubicBezTo>
                <a:cubicBezTo>
                  <a:pt x="4071" y="2990"/>
                  <a:pt x="4103" y="2974"/>
                  <a:pt x="4135" y="2974"/>
                </a:cubicBezTo>
                <a:cubicBezTo>
                  <a:pt x="4278" y="2974"/>
                  <a:pt x="4389" y="3101"/>
                  <a:pt x="4389" y="3244"/>
                </a:cubicBezTo>
                <a:cubicBezTo>
                  <a:pt x="4389" y="3372"/>
                  <a:pt x="4294" y="3483"/>
                  <a:pt x="4151" y="349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4" name="Freeform: Shape 10">
            <a:extLst>
              <a:ext uri="{FF2B5EF4-FFF2-40B4-BE49-F238E27FC236}">
                <a16:creationId xmlns:a16="http://schemas.microsoft.com/office/drawing/2014/main" id="{FC1A73A5-AE45-284C-AE8A-6F37097F2814}"/>
              </a:ext>
            </a:extLst>
          </p:cNvPr>
          <p:cNvSpPr/>
          <p:nvPr/>
        </p:nvSpPr>
        <p:spPr>
          <a:xfrm>
            <a:off x="1871867" y="9948514"/>
            <a:ext cx="1596960" cy="1431359"/>
          </a:xfrm>
          <a:custGeom>
            <a:avLst/>
            <a:gdLst/>
            <a:ahLst/>
            <a:cxnLst>
              <a:cxn ang="3cd4">
                <a:pos x="hc" y="t"/>
              </a:cxn>
              <a:cxn ang="cd2">
                <a:pos x="l" y="vc"/>
              </a:cxn>
              <a:cxn ang="cd4">
                <a:pos x="hc" y="b"/>
              </a:cxn>
              <a:cxn ang="0">
                <a:pos x="r" y="vc"/>
              </a:cxn>
            </a:cxnLst>
            <a:rect l="l" t="t" r="r" b="b"/>
            <a:pathLst>
              <a:path w="4437" h="3977">
                <a:moveTo>
                  <a:pt x="1861" y="3484"/>
                </a:moveTo>
                <a:lnTo>
                  <a:pt x="2370" y="3484"/>
                </a:lnTo>
                <a:cubicBezTo>
                  <a:pt x="2402" y="3484"/>
                  <a:pt x="2449" y="3436"/>
                  <a:pt x="2449" y="3404"/>
                </a:cubicBezTo>
                <a:lnTo>
                  <a:pt x="2449" y="2879"/>
                </a:lnTo>
                <a:lnTo>
                  <a:pt x="2592" y="2879"/>
                </a:lnTo>
                <a:lnTo>
                  <a:pt x="2592" y="3404"/>
                </a:lnTo>
                <a:cubicBezTo>
                  <a:pt x="2592" y="3436"/>
                  <a:pt x="2624" y="3484"/>
                  <a:pt x="2672" y="3484"/>
                </a:cubicBezTo>
                <a:lnTo>
                  <a:pt x="3197" y="3484"/>
                </a:lnTo>
                <a:cubicBezTo>
                  <a:pt x="3387" y="3484"/>
                  <a:pt x="3499" y="3341"/>
                  <a:pt x="3499" y="3118"/>
                </a:cubicBezTo>
                <a:lnTo>
                  <a:pt x="3499" y="1973"/>
                </a:lnTo>
                <a:cubicBezTo>
                  <a:pt x="3499" y="1782"/>
                  <a:pt x="3387" y="1654"/>
                  <a:pt x="3197" y="1654"/>
                </a:cubicBezTo>
                <a:lnTo>
                  <a:pt x="2672" y="1654"/>
                </a:lnTo>
                <a:cubicBezTo>
                  <a:pt x="2624" y="1654"/>
                  <a:pt x="2592" y="1702"/>
                  <a:pt x="2592" y="1734"/>
                </a:cubicBezTo>
                <a:lnTo>
                  <a:pt x="2592" y="2259"/>
                </a:lnTo>
                <a:lnTo>
                  <a:pt x="2449" y="2259"/>
                </a:lnTo>
                <a:lnTo>
                  <a:pt x="2449" y="1734"/>
                </a:lnTo>
                <a:cubicBezTo>
                  <a:pt x="2449" y="1702"/>
                  <a:pt x="2402" y="1654"/>
                  <a:pt x="2370" y="1654"/>
                </a:cubicBezTo>
                <a:lnTo>
                  <a:pt x="1861" y="1654"/>
                </a:lnTo>
                <a:cubicBezTo>
                  <a:pt x="1670" y="1654"/>
                  <a:pt x="1527" y="1782"/>
                  <a:pt x="1527" y="1973"/>
                </a:cubicBezTo>
                <a:lnTo>
                  <a:pt x="1527" y="3118"/>
                </a:lnTo>
                <a:cubicBezTo>
                  <a:pt x="1527" y="3325"/>
                  <a:pt x="1670" y="3484"/>
                  <a:pt x="1861" y="3484"/>
                </a:cubicBezTo>
                <a:close/>
                <a:moveTo>
                  <a:pt x="2751" y="1814"/>
                </a:moveTo>
                <a:lnTo>
                  <a:pt x="3197" y="1814"/>
                </a:lnTo>
                <a:cubicBezTo>
                  <a:pt x="3276" y="1814"/>
                  <a:pt x="3340" y="1845"/>
                  <a:pt x="3340" y="1973"/>
                </a:cubicBezTo>
                <a:lnTo>
                  <a:pt x="3340" y="3118"/>
                </a:lnTo>
                <a:cubicBezTo>
                  <a:pt x="3340" y="3198"/>
                  <a:pt x="3324" y="3325"/>
                  <a:pt x="3197" y="3325"/>
                </a:cubicBezTo>
                <a:lnTo>
                  <a:pt x="2751" y="3325"/>
                </a:lnTo>
                <a:lnTo>
                  <a:pt x="2751" y="2879"/>
                </a:lnTo>
                <a:lnTo>
                  <a:pt x="3038" y="2879"/>
                </a:lnTo>
                <a:cubicBezTo>
                  <a:pt x="3085" y="2879"/>
                  <a:pt x="3117" y="2847"/>
                  <a:pt x="3117" y="2800"/>
                </a:cubicBezTo>
                <a:cubicBezTo>
                  <a:pt x="3117" y="2752"/>
                  <a:pt x="3085" y="2720"/>
                  <a:pt x="3038" y="2720"/>
                </a:cubicBezTo>
                <a:lnTo>
                  <a:pt x="2751" y="2720"/>
                </a:lnTo>
                <a:lnTo>
                  <a:pt x="2751" y="2418"/>
                </a:lnTo>
                <a:lnTo>
                  <a:pt x="3038" y="2418"/>
                </a:lnTo>
                <a:cubicBezTo>
                  <a:pt x="3085" y="2418"/>
                  <a:pt x="3117" y="2386"/>
                  <a:pt x="3117" y="2338"/>
                </a:cubicBezTo>
                <a:cubicBezTo>
                  <a:pt x="3117" y="2307"/>
                  <a:pt x="3085" y="2259"/>
                  <a:pt x="3038" y="2259"/>
                </a:cubicBezTo>
                <a:lnTo>
                  <a:pt x="2751" y="2259"/>
                </a:lnTo>
                <a:close/>
                <a:moveTo>
                  <a:pt x="2592" y="2418"/>
                </a:moveTo>
                <a:lnTo>
                  <a:pt x="2592" y="2720"/>
                </a:lnTo>
                <a:lnTo>
                  <a:pt x="2449" y="2720"/>
                </a:lnTo>
                <a:lnTo>
                  <a:pt x="2449" y="2418"/>
                </a:lnTo>
                <a:close/>
                <a:moveTo>
                  <a:pt x="1686" y="1973"/>
                </a:moveTo>
                <a:cubicBezTo>
                  <a:pt x="1686" y="1845"/>
                  <a:pt x="1797" y="1814"/>
                  <a:pt x="1861" y="1814"/>
                </a:cubicBezTo>
                <a:lnTo>
                  <a:pt x="2290" y="1814"/>
                </a:lnTo>
                <a:lnTo>
                  <a:pt x="2290" y="2259"/>
                </a:lnTo>
                <a:lnTo>
                  <a:pt x="1988" y="2259"/>
                </a:lnTo>
                <a:cubicBezTo>
                  <a:pt x="1940" y="2259"/>
                  <a:pt x="1908" y="2307"/>
                  <a:pt x="1908" y="2338"/>
                </a:cubicBezTo>
                <a:cubicBezTo>
                  <a:pt x="1908" y="2386"/>
                  <a:pt x="1940" y="2418"/>
                  <a:pt x="1988" y="2418"/>
                </a:cubicBezTo>
                <a:lnTo>
                  <a:pt x="2290" y="2418"/>
                </a:lnTo>
                <a:lnTo>
                  <a:pt x="2290" y="2720"/>
                </a:lnTo>
                <a:lnTo>
                  <a:pt x="1988" y="2720"/>
                </a:lnTo>
                <a:cubicBezTo>
                  <a:pt x="1940" y="2720"/>
                  <a:pt x="1908" y="2752"/>
                  <a:pt x="1908" y="2800"/>
                </a:cubicBezTo>
                <a:cubicBezTo>
                  <a:pt x="1908" y="2847"/>
                  <a:pt x="1940" y="2879"/>
                  <a:pt x="1988" y="2879"/>
                </a:cubicBezTo>
                <a:lnTo>
                  <a:pt x="2290" y="2879"/>
                </a:lnTo>
                <a:lnTo>
                  <a:pt x="2290" y="3325"/>
                </a:lnTo>
                <a:lnTo>
                  <a:pt x="1861" y="3325"/>
                </a:lnTo>
                <a:cubicBezTo>
                  <a:pt x="1749" y="3325"/>
                  <a:pt x="1686" y="3213"/>
                  <a:pt x="1686" y="3118"/>
                </a:cubicBezTo>
                <a:close/>
                <a:moveTo>
                  <a:pt x="334" y="3977"/>
                </a:moveTo>
                <a:lnTo>
                  <a:pt x="4151" y="3977"/>
                </a:lnTo>
                <a:cubicBezTo>
                  <a:pt x="4310" y="3977"/>
                  <a:pt x="4437" y="3850"/>
                  <a:pt x="4437" y="3690"/>
                </a:cubicBezTo>
                <a:lnTo>
                  <a:pt x="4437" y="1273"/>
                </a:lnTo>
                <a:cubicBezTo>
                  <a:pt x="4437" y="1098"/>
                  <a:pt x="4342" y="987"/>
                  <a:pt x="4183" y="987"/>
                </a:cubicBezTo>
                <a:lnTo>
                  <a:pt x="3992" y="987"/>
                </a:lnTo>
                <a:lnTo>
                  <a:pt x="3992" y="812"/>
                </a:lnTo>
                <a:cubicBezTo>
                  <a:pt x="3992" y="652"/>
                  <a:pt x="3865" y="509"/>
                  <a:pt x="3706" y="509"/>
                </a:cubicBezTo>
                <a:lnTo>
                  <a:pt x="1686" y="509"/>
                </a:lnTo>
                <a:lnTo>
                  <a:pt x="1558" y="207"/>
                </a:lnTo>
                <a:cubicBezTo>
                  <a:pt x="1511" y="80"/>
                  <a:pt x="1384" y="0"/>
                  <a:pt x="1256" y="0"/>
                </a:cubicBezTo>
                <a:lnTo>
                  <a:pt x="286" y="0"/>
                </a:lnTo>
                <a:cubicBezTo>
                  <a:pt x="127" y="0"/>
                  <a:pt x="0" y="143"/>
                  <a:pt x="0" y="303"/>
                </a:cubicBezTo>
                <a:lnTo>
                  <a:pt x="0" y="3643"/>
                </a:lnTo>
                <a:cubicBezTo>
                  <a:pt x="0" y="3817"/>
                  <a:pt x="111" y="3977"/>
                  <a:pt x="334" y="3977"/>
                </a:cubicBezTo>
                <a:close/>
                <a:moveTo>
                  <a:pt x="4278" y="1273"/>
                </a:moveTo>
                <a:lnTo>
                  <a:pt x="4278" y="3690"/>
                </a:lnTo>
                <a:cubicBezTo>
                  <a:pt x="4278" y="3770"/>
                  <a:pt x="4215" y="3817"/>
                  <a:pt x="4151" y="3817"/>
                </a:cubicBezTo>
                <a:lnTo>
                  <a:pt x="652" y="3817"/>
                </a:lnTo>
                <a:cubicBezTo>
                  <a:pt x="668" y="3786"/>
                  <a:pt x="684" y="3754"/>
                  <a:pt x="684" y="3722"/>
                </a:cubicBezTo>
                <a:lnTo>
                  <a:pt x="684" y="3707"/>
                </a:lnTo>
                <a:cubicBezTo>
                  <a:pt x="684" y="3633"/>
                  <a:pt x="700" y="3690"/>
                  <a:pt x="684" y="3484"/>
                </a:cubicBezTo>
                <a:lnTo>
                  <a:pt x="684" y="1273"/>
                </a:lnTo>
                <a:cubicBezTo>
                  <a:pt x="684" y="1209"/>
                  <a:pt x="748" y="1145"/>
                  <a:pt x="827" y="1145"/>
                </a:cubicBezTo>
                <a:lnTo>
                  <a:pt x="4183" y="1145"/>
                </a:lnTo>
                <a:cubicBezTo>
                  <a:pt x="4247" y="1145"/>
                  <a:pt x="4278" y="1193"/>
                  <a:pt x="4278" y="1273"/>
                </a:cubicBezTo>
                <a:close/>
                <a:moveTo>
                  <a:pt x="159" y="3643"/>
                </a:moveTo>
                <a:lnTo>
                  <a:pt x="159" y="303"/>
                </a:lnTo>
                <a:cubicBezTo>
                  <a:pt x="159" y="223"/>
                  <a:pt x="222" y="160"/>
                  <a:pt x="286" y="160"/>
                </a:cubicBezTo>
                <a:lnTo>
                  <a:pt x="1256" y="160"/>
                </a:lnTo>
                <a:cubicBezTo>
                  <a:pt x="1320" y="160"/>
                  <a:pt x="1384" y="207"/>
                  <a:pt x="1415" y="271"/>
                </a:cubicBezTo>
                <a:lnTo>
                  <a:pt x="1575" y="621"/>
                </a:lnTo>
                <a:cubicBezTo>
                  <a:pt x="1575" y="652"/>
                  <a:pt x="1606" y="669"/>
                  <a:pt x="1638" y="669"/>
                </a:cubicBezTo>
                <a:lnTo>
                  <a:pt x="3706" y="669"/>
                </a:lnTo>
                <a:cubicBezTo>
                  <a:pt x="3769" y="669"/>
                  <a:pt x="3833" y="732"/>
                  <a:pt x="3833" y="812"/>
                </a:cubicBezTo>
                <a:lnTo>
                  <a:pt x="3833" y="987"/>
                </a:lnTo>
                <a:lnTo>
                  <a:pt x="827" y="987"/>
                </a:lnTo>
                <a:cubicBezTo>
                  <a:pt x="668" y="987"/>
                  <a:pt x="525" y="1114"/>
                  <a:pt x="525" y="1273"/>
                </a:cubicBezTo>
                <a:lnTo>
                  <a:pt x="525" y="3690"/>
                </a:lnTo>
                <a:cubicBezTo>
                  <a:pt x="525" y="3738"/>
                  <a:pt x="493" y="3817"/>
                  <a:pt x="334" y="3817"/>
                </a:cubicBezTo>
                <a:cubicBezTo>
                  <a:pt x="191" y="3817"/>
                  <a:pt x="159" y="3707"/>
                  <a:pt x="159" y="364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5" name="Freeform: Shape 11">
            <a:extLst>
              <a:ext uri="{FF2B5EF4-FFF2-40B4-BE49-F238E27FC236}">
                <a16:creationId xmlns:a16="http://schemas.microsoft.com/office/drawing/2014/main" id="{1FDAD2B0-E835-504D-8FA0-DB409F636E93}"/>
              </a:ext>
            </a:extLst>
          </p:cNvPr>
          <p:cNvSpPr/>
          <p:nvPr/>
        </p:nvSpPr>
        <p:spPr>
          <a:xfrm>
            <a:off x="17422293" y="6473909"/>
            <a:ext cx="1608840" cy="1431359"/>
          </a:xfrm>
          <a:custGeom>
            <a:avLst/>
            <a:gdLst/>
            <a:ahLst/>
            <a:cxnLst>
              <a:cxn ang="3cd4">
                <a:pos x="hc" y="t"/>
              </a:cxn>
              <a:cxn ang="cd2">
                <a:pos x="l" y="vc"/>
              </a:cxn>
              <a:cxn ang="cd4">
                <a:pos x="hc" y="b"/>
              </a:cxn>
              <a:cxn ang="0">
                <a:pos x="r" y="vc"/>
              </a:cxn>
            </a:cxnLst>
            <a:rect l="l" t="t" r="r" b="b"/>
            <a:pathLst>
              <a:path w="4470" h="3977">
                <a:moveTo>
                  <a:pt x="3133" y="3165"/>
                </a:moveTo>
                <a:cubicBezTo>
                  <a:pt x="3133" y="3498"/>
                  <a:pt x="3388" y="3769"/>
                  <a:pt x="3722" y="3769"/>
                </a:cubicBezTo>
                <a:cubicBezTo>
                  <a:pt x="4056" y="3769"/>
                  <a:pt x="4326" y="3498"/>
                  <a:pt x="4326" y="3165"/>
                </a:cubicBezTo>
                <a:lnTo>
                  <a:pt x="4326" y="3133"/>
                </a:lnTo>
                <a:cubicBezTo>
                  <a:pt x="4326" y="3085"/>
                  <a:pt x="4294" y="3053"/>
                  <a:pt x="4247" y="3053"/>
                </a:cubicBezTo>
                <a:cubicBezTo>
                  <a:pt x="4199" y="3053"/>
                  <a:pt x="4167" y="3085"/>
                  <a:pt x="4167" y="3133"/>
                </a:cubicBezTo>
                <a:lnTo>
                  <a:pt x="4167" y="3165"/>
                </a:lnTo>
                <a:cubicBezTo>
                  <a:pt x="4167" y="3403"/>
                  <a:pt x="3961" y="3610"/>
                  <a:pt x="3722" y="3610"/>
                </a:cubicBezTo>
                <a:cubicBezTo>
                  <a:pt x="3483" y="3610"/>
                  <a:pt x="3292" y="3419"/>
                  <a:pt x="3292" y="3165"/>
                </a:cubicBezTo>
                <a:cubicBezTo>
                  <a:pt x="3292" y="2926"/>
                  <a:pt x="3467" y="2735"/>
                  <a:pt x="3706" y="2735"/>
                </a:cubicBezTo>
                <a:lnTo>
                  <a:pt x="3531" y="3053"/>
                </a:lnTo>
                <a:cubicBezTo>
                  <a:pt x="3515" y="3085"/>
                  <a:pt x="3531" y="3133"/>
                  <a:pt x="3563" y="3165"/>
                </a:cubicBezTo>
                <a:lnTo>
                  <a:pt x="3610" y="3165"/>
                </a:lnTo>
                <a:cubicBezTo>
                  <a:pt x="3627" y="3165"/>
                  <a:pt x="3658" y="3149"/>
                  <a:pt x="3674" y="3133"/>
                </a:cubicBezTo>
                <a:lnTo>
                  <a:pt x="3928" y="2656"/>
                </a:lnTo>
                <a:cubicBezTo>
                  <a:pt x="3945" y="2624"/>
                  <a:pt x="3928" y="2592"/>
                  <a:pt x="3913" y="2560"/>
                </a:cubicBezTo>
                <a:lnTo>
                  <a:pt x="3531" y="2242"/>
                </a:lnTo>
                <a:cubicBezTo>
                  <a:pt x="3499" y="2210"/>
                  <a:pt x="3436" y="2226"/>
                  <a:pt x="3420" y="2258"/>
                </a:cubicBezTo>
                <a:cubicBezTo>
                  <a:pt x="3388" y="2290"/>
                  <a:pt x="3388" y="2337"/>
                  <a:pt x="3420" y="2370"/>
                </a:cubicBezTo>
                <a:lnTo>
                  <a:pt x="3674" y="2576"/>
                </a:lnTo>
                <a:cubicBezTo>
                  <a:pt x="3356" y="2608"/>
                  <a:pt x="3133" y="2846"/>
                  <a:pt x="3133" y="3165"/>
                </a:cubicBezTo>
                <a:close/>
                <a:moveTo>
                  <a:pt x="334" y="3977"/>
                </a:moveTo>
                <a:lnTo>
                  <a:pt x="3022" y="3977"/>
                </a:lnTo>
                <a:cubicBezTo>
                  <a:pt x="3054" y="3977"/>
                  <a:pt x="3101" y="3945"/>
                  <a:pt x="3101" y="3897"/>
                </a:cubicBezTo>
                <a:cubicBezTo>
                  <a:pt x="3101" y="3865"/>
                  <a:pt x="3054" y="3817"/>
                  <a:pt x="3022" y="3817"/>
                </a:cubicBezTo>
                <a:lnTo>
                  <a:pt x="637" y="3817"/>
                </a:lnTo>
                <a:cubicBezTo>
                  <a:pt x="668" y="3786"/>
                  <a:pt x="668" y="3754"/>
                  <a:pt x="684" y="3707"/>
                </a:cubicBezTo>
                <a:lnTo>
                  <a:pt x="684" y="3579"/>
                </a:lnTo>
                <a:lnTo>
                  <a:pt x="684" y="1273"/>
                </a:lnTo>
                <a:cubicBezTo>
                  <a:pt x="684" y="1209"/>
                  <a:pt x="747" y="1145"/>
                  <a:pt x="827" y="1145"/>
                </a:cubicBezTo>
                <a:lnTo>
                  <a:pt x="4183" y="1145"/>
                </a:lnTo>
                <a:cubicBezTo>
                  <a:pt x="4263" y="1145"/>
                  <a:pt x="4310" y="1209"/>
                  <a:pt x="4310" y="1273"/>
                </a:cubicBezTo>
                <a:lnTo>
                  <a:pt x="4310" y="2561"/>
                </a:lnTo>
                <a:cubicBezTo>
                  <a:pt x="4310" y="2609"/>
                  <a:pt x="4342" y="2641"/>
                  <a:pt x="4390" y="2641"/>
                </a:cubicBezTo>
                <a:cubicBezTo>
                  <a:pt x="4437" y="2641"/>
                  <a:pt x="4470" y="2609"/>
                  <a:pt x="4470" y="2561"/>
                </a:cubicBezTo>
                <a:lnTo>
                  <a:pt x="4470" y="1273"/>
                </a:lnTo>
                <a:cubicBezTo>
                  <a:pt x="4470" y="1114"/>
                  <a:pt x="4342" y="987"/>
                  <a:pt x="4183" y="987"/>
                </a:cubicBezTo>
                <a:lnTo>
                  <a:pt x="3976" y="987"/>
                </a:lnTo>
                <a:lnTo>
                  <a:pt x="3976" y="812"/>
                </a:lnTo>
                <a:cubicBezTo>
                  <a:pt x="3976" y="652"/>
                  <a:pt x="3849" y="526"/>
                  <a:pt x="3690" y="526"/>
                </a:cubicBezTo>
                <a:lnTo>
                  <a:pt x="1686" y="526"/>
                </a:lnTo>
                <a:lnTo>
                  <a:pt x="1559" y="207"/>
                </a:lnTo>
                <a:cubicBezTo>
                  <a:pt x="1495" y="80"/>
                  <a:pt x="1384" y="0"/>
                  <a:pt x="1256" y="0"/>
                </a:cubicBezTo>
                <a:lnTo>
                  <a:pt x="286" y="0"/>
                </a:lnTo>
                <a:cubicBezTo>
                  <a:pt x="128" y="0"/>
                  <a:pt x="0" y="143"/>
                  <a:pt x="0" y="303"/>
                </a:cubicBezTo>
                <a:lnTo>
                  <a:pt x="0" y="3643"/>
                </a:lnTo>
                <a:cubicBezTo>
                  <a:pt x="0" y="3738"/>
                  <a:pt x="32" y="3834"/>
                  <a:pt x="96" y="3881"/>
                </a:cubicBezTo>
                <a:cubicBezTo>
                  <a:pt x="159" y="3945"/>
                  <a:pt x="239" y="3977"/>
                  <a:pt x="334" y="3977"/>
                </a:cubicBezTo>
                <a:close/>
                <a:moveTo>
                  <a:pt x="159" y="303"/>
                </a:moveTo>
                <a:cubicBezTo>
                  <a:pt x="159" y="223"/>
                  <a:pt x="207" y="160"/>
                  <a:pt x="286" y="160"/>
                </a:cubicBezTo>
                <a:lnTo>
                  <a:pt x="1256" y="160"/>
                </a:lnTo>
                <a:cubicBezTo>
                  <a:pt x="1320" y="160"/>
                  <a:pt x="1384" y="207"/>
                  <a:pt x="1400" y="271"/>
                </a:cubicBezTo>
                <a:lnTo>
                  <a:pt x="1559" y="637"/>
                </a:lnTo>
                <a:cubicBezTo>
                  <a:pt x="1575" y="652"/>
                  <a:pt x="1607" y="684"/>
                  <a:pt x="1638" y="684"/>
                </a:cubicBezTo>
                <a:lnTo>
                  <a:pt x="3690" y="684"/>
                </a:lnTo>
                <a:cubicBezTo>
                  <a:pt x="3770" y="684"/>
                  <a:pt x="3818" y="732"/>
                  <a:pt x="3818" y="812"/>
                </a:cubicBezTo>
                <a:lnTo>
                  <a:pt x="3818" y="987"/>
                </a:lnTo>
                <a:lnTo>
                  <a:pt x="827" y="987"/>
                </a:lnTo>
                <a:cubicBezTo>
                  <a:pt x="652" y="987"/>
                  <a:pt x="525" y="1114"/>
                  <a:pt x="525" y="1273"/>
                </a:cubicBezTo>
                <a:lnTo>
                  <a:pt x="525" y="3659"/>
                </a:lnTo>
                <a:lnTo>
                  <a:pt x="525" y="3690"/>
                </a:lnTo>
                <a:cubicBezTo>
                  <a:pt x="509" y="3754"/>
                  <a:pt x="477" y="3817"/>
                  <a:pt x="334" y="3817"/>
                </a:cubicBezTo>
                <a:cubicBezTo>
                  <a:pt x="271" y="3817"/>
                  <a:pt x="239" y="3802"/>
                  <a:pt x="207" y="3770"/>
                </a:cubicBezTo>
                <a:cubicBezTo>
                  <a:pt x="175" y="3738"/>
                  <a:pt x="159" y="3690"/>
                  <a:pt x="159" y="364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6" name="Freeform: Shape 12">
            <a:extLst>
              <a:ext uri="{FF2B5EF4-FFF2-40B4-BE49-F238E27FC236}">
                <a16:creationId xmlns:a16="http://schemas.microsoft.com/office/drawing/2014/main" id="{EBEF7C82-37C6-054F-848F-0D48FDE31CD7}"/>
              </a:ext>
            </a:extLst>
          </p:cNvPr>
          <p:cNvSpPr/>
          <p:nvPr/>
        </p:nvSpPr>
        <p:spPr>
          <a:xfrm>
            <a:off x="9898963" y="9948514"/>
            <a:ext cx="1614240" cy="1431359"/>
          </a:xfrm>
          <a:custGeom>
            <a:avLst/>
            <a:gdLst/>
            <a:ahLst/>
            <a:cxnLst>
              <a:cxn ang="3cd4">
                <a:pos x="hc" y="t"/>
              </a:cxn>
              <a:cxn ang="cd2">
                <a:pos x="l" y="vc"/>
              </a:cxn>
              <a:cxn ang="cd4">
                <a:pos x="hc" y="b"/>
              </a:cxn>
              <a:cxn ang="0">
                <a:pos x="r" y="vc"/>
              </a:cxn>
            </a:cxnLst>
            <a:rect l="l" t="t" r="r" b="b"/>
            <a:pathLst>
              <a:path w="4485" h="3977">
                <a:moveTo>
                  <a:pt x="3387" y="3881"/>
                </a:moveTo>
                <a:cubicBezTo>
                  <a:pt x="3419" y="3897"/>
                  <a:pt x="3451" y="3897"/>
                  <a:pt x="3483" y="3865"/>
                </a:cubicBezTo>
                <a:lnTo>
                  <a:pt x="3769" y="3659"/>
                </a:lnTo>
                <a:lnTo>
                  <a:pt x="4056" y="3865"/>
                </a:lnTo>
                <a:cubicBezTo>
                  <a:pt x="4071" y="3881"/>
                  <a:pt x="4087" y="3881"/>
                  <a:pt x="4103" y="3881"/>
                </a:cubicBezTo>
                <a:lnTo>
                  <a:pt x="4135" y="3881"/>
                </a:lnTo>
                <a:cubicBezTo>
                  <a:pt x="4167" y="3865"/>
                  <a:pt x="4183" y="3834"/>
                  <a:pt x="4183" y="3802"/>
                </a:cubicBezTo>
                <a:lnTo>
                  <a:pt x="4183" y="2514"/>
                </a:lnTo>
                <a:cubicBezTo>
                  <a:pt x="4183" y="2386"/>
                  <a:pt x="4024" y="2259"/>
                  <a:pt x="3881" y="2259"/>
                </a:cubicBezTo>
                <a:lnTo>
                  <a:pt x="3213" y="2259"/>
                </a:lnTo>
                <a:cubicBezTo>
                  <a:pt x="3165" y="2259"/>
                  <a:pt x="3133" y="2291"/>
                  <a:pt x="3133" y="2338"/>
                </a:cubicBezTo>
                <a:cubicBezTo>
                  <a:pt x="3133" y="2386"/>
                  <a:pt x="3165" y="2418"/>
                  <a:pt x="3213" y="2418"/>
                </a:cubicBezTo>
                <a:cubicBezTo>
                  <a:pt x="3276" y="2418"/>
                  <a:pt x="3356" y="2481"/>
                  <a:pt x="3356" y="2514"/>
                </a:cubicBezTo>
                <a:lnTo>
                  <a:pt x="3356" y="3802"/>
                </a:lnTo>
                <a:cubicBezTo>
                  <a:pt x="3356" y="3834"/>
                  <a:pt x="3372" y="3865"/>
                  <a:pt x="3387" y="3881"/>
                </a:cubicBezTo>
                <a:close/>
                <a:moveTo>
                  <a:pt x="3881" y="2418"/>
                </a:moveTo>
                <a:cubicBezTo>
                  <a:pt x="3944" y="2418"/>
                  <a:pt x="4024" y="2481"/>
                  <a:pt x="4024" y="2514"/>
                </a:cubicBezTo>
                <a:lnTo>
                  <a:pt x="4024" y="3659"/>
                </a:lnTo>
                <a:lnTo>
                  <a:pt x="3817" y="3499"/>
                </a:lnTo>
                <a:cubicBezTo>
                  <a:pt x="3785" y="3484"/>
                  <a:pt x="3753" y="3484"/>
                  <a:pt x="3722" y="3499"/>
                </a:cubicBezTo>
                <a:lnTo>
                  <a:pt x="3515" y="3659"/>
                </a:lnTo>
                <a:lnTo>
                  <a:pt x="3515" y="2514"/>
                </a:lnTo>
                <a:cubicBezTo>
                  <a:pt x="3515" y="2481"/>
                  <a:pt x="3499" y="2450"/>
                  <a:pt x="3483" y="2418"/>
                </a:cubicBezTo>
                <a:close/>
                <a:moveTo>
                  <a:pt x="3101" y="3897"/>
                </a:moveTo>
                <a:cubicBezTo>
                  <a:pt x="3101" y="3865"/>
                  <a:pt x="3069" y="3817"/>
                  <a:pt x="3022" y="3817"/>
                </a:cubicBezTo>
                <a:lnTo>
                  <a:pt x="652" y="3817"/>
                </a:lnTo>
                <a:cubicBezTo>
                  <a:pt x="668" y="3786"/>
                  <a:pt x="684" y="3754"/>
                  <a:pt x="684" y="3707"/>
                </a:cubicBezTo>
                <a:lnTo>
                  <a:pt x="684" y="3579"/>
                </a:lnTo>
                <a:lnTo>
                  <a:pt x="700" y="1273"/>
                </a:lnTo>
                <a:cubicBezTo>
                  <a:pt x="700" y="1209"/>
                  <a:pt x="747" y="1145"/>
                  <a:pt x="827" y="1145"/>
                </a:cubicBezTo>
                <a:lnTo>
                  <a:pt x="4183" y="1145"/>
                </a:lnTo>
                <a:cubicBezTo>
                  <a:pt x="4262" y="1145"/>
                  <a:pt x="4326" y="1209"/>
                  <a:pt x="4326" y="1273"/>
                </a:cubicBezTo>
                <a:lnTo>
                  <a:pt x="4326" y="2561"/>
                </a:lnTo>
                <a:cubicBezTo>
                  <a:pt x="4326" y="2609"/>
                  <a:pt x="4358" y="2641"/>
                  <a:pt x="4405" y="2641"/>
                </a:cubicBezTo>
                <a:cubicBezTo>
                  <a:pt x="4437" y="2641"/>
                  <a:pt x="4485" y="2609"/>
                  <a:pt x="4485" y="2561"/>
                </a:cubicBezTo>
                <a:lnTo>
                  <a:pt x="4485" y="1273"/>
                </a:lnTo>
                <a:cubicBezTo>
                  <a:pt x="4485" y="1114"/>
                  <a:pt x="4358" y="987"/>
                  <a:pt x="4183" y="987"/>
                </a:cubicBezTo>
                <a:lnTo>
                  <a:pt x="3992" y="987"/>
                </a:lnTo>
                <a:lnTo>
                  <a:pt x="3992" y="812"/>
                </a:lnTo>
                <a:cubicBezTo>
                  <a:pt x="3992" y="652"/>
                  <a:pt x="3865" y="526"/>
                  <a:pt x="3705" y="526"/>
                </a:cubicBezTo>
                <a:lnTo>
                  <a:pt x="1702" y="526"/>
                </a:lnTo>
                <a:lnTo>
                  <a:pt x="1559" y="207"/>
                </a:lnTo>
                <a:cubicBezTo>
                  <a:pt x="1511" y="80"/>
                  <a:pt x="1384" y="0"/>
                  <a:pt x="1256" y="0"/>
                </a:cubicBezTo>
                <a:lnTo>
                  <a:pt x="286" y="0"/>
                </a:lnTo>
                <a:cubicBezTo>
                  <a:pt x="127" y="0"/>
                  <a:pt x="0" y="143"/>
                  <a:pt x="0" y="303"/>
                </a:cubicBezTo>
                <a:lnTo>
                  <a:pt x="0" y="3643"/>
                </a:lnTo>
                <a:cubicBezTo>
                  <a:pt x="0" y="3738"/>
                  <a:pt x="32" y="3834"/>
                  <a:pt x="95" y="3881"/>
                </a:cubicBezTo>
                <a:cubicBezTo>
                  <a:pt x="159" y="3945"/>
                  <a:pt x="238" y="3977"/>
                  <a:pt x="334" y="3977"/>
                </a:cubicBezTo>
                <a:lnTo>
                  <a:pt x="3022" y="3977"/>
                </a:lnTo>
                <a:cubicBezTo>
                  <a:pt x="3069" y="3977"/>
                  <a:pt x="3101" y="3945"/>
                  <a:pt x="3101" y="3897"/>
                </a:cubicBezTo>
                <a:close/>
                <a:moveTo>
                  <a:pt x="159" y="3643"/>
                </a:moveTo>
                <a:lnTo>
                  <a:pt x="159" y="303"/>
                </a:lnTo>
                <a:cubicBezTo>
                  <a:pt x="159" y="223"/>
                  <a:pt x="223" y="160"/>
                  <a:pt x="286" y="160"/>
                </a:cubicBezTo>
                <a:lnTo>
                  <a:pt x="1256" y="160"/>
                </a:lnTo>
                <a:cubicBezTo>
                  <a:pt x="1320" y="160"/>
                  <a:pt x="1384" y="207"/>
                  <a:pt x="1415" y="271"/>
                </a:cubicBezTo>
                <a:lnTo>
                  <a:pt x="1574" y="637"/>
                </a:lnTo>
                <a:cubicBezTo>
                  <a:pt x="1590" y="652"/>
                  <a:pt x="1606" y="684"/>
                  <a:pt x="1638" y="684"/>
                </a:cubicBezTo>
                <a:lnTo>
                  <a:pt x="3705" y="684"/>
                </a:lnTo>
                <a:cubicBezTo>
                  <a:pt x="3769" y="684"/>
                  <a:pt x="3833" y="732"/>
                  <a:pt x="3833" y="812"/>
                </a:cubicBezTo>
                <a:lnTo>
                  <a:pt x="3833" y="987"/>
                </a:lnTo>
                <a:lnTo>
                  <a:pt x="827" y="987"/>
                </a:lnTo>
                <a:cubicBezTo>
                  <a:pt x="668" y="987"/>
                  <a:pt x="541" y="1114"/>
                  <a:pt x="541" y="1273"/>
                </a:cubicBezTo>
                <a:lnTo>
                  <a:pt x="524" y="3659"/>
                </a:lnTo>
                <a:lnTo>
                  <a:pt x="524" y="3690"/>
                </a:lnTo>
                <a:cubicBezTo>
                  <a:pt x="524" y="3754"/>
                  <a:pt x="477" y="3817"/>
                  <a:pt x="334" y="3817"/>
                </a:cubicBezTo>
                <a:cubicBezTo>
                  <a:pt x="286" y="3817"/>
                  <a:pt x="238" y="3802"/>
                  <a:pt x="206" y="3770"/>
                </a:cubicBezTo>
                <a:cubicBezTo>
                  <a:pt x="175" y="3738"/>
                  <a:pt x="159" y="3690"/>
                  <a:pt x="159" y="364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7" name="Freeform: Shape 13">
            <a:extLst>
              <a:ext uri="{FF2B5EF4-FFF2-40B4-BE49-F238E27FC236}">
                <a16:creationId xmlns:a16="http://schemas.microsoft.com/office/drawing/2014/main" id="{D0D88226-1183-1F46-A266-0D978E3C7A53}"/>
              </a:ext>
            </a:extLst>
          </p:cNvPr>
          <p:cNvSpPr/>
          <p:nvPr/>
        </p:nvSpPr>
        <p:spPr>
          <a:xfrm>
            <a:off x="21276717" y="6473909"/>
            <a:ext cx="1614240" cy="1442519"/>
          </a:xfrm>
          <a:custGeom>
            <a:avLst/>
            <a:gdLst/>
            <a:ahLst/>
            <a:cxnLst>
              <a:cxn ang="3cd4">
                <a:pos x="hc" y="t"/>
              </a:cxn>
              <a:cxn ang="cd2">
                <a:pos x="l" y="vc"/>
              </a:cxn>
              <a:cxn ang="cd4">
                <a:pos x="hc" y="b"/>
              </a:cxn>
              <a:cxn ang="0">
                <a:pos x="r" y="vc"/>
              </a:cxn>
            </a:cxnLst>
            <a:rect l="l" t="t" r="r" b="b"/>
            <a:pathLst>
              <a:path w="4485" h="4008">
                <a:moveTo>
                  <a:pt x="0" y="3643"/>
                </a:moveTo>
                <a:cubicBezTo>
                  <a:pt x="0" y="3738"/>
                  <a:pt x="32" y="3834"/>
                  <a:pt x="95" y="3881"/>
                </a:cubicBezTo>
                <a:cubicBezTo>
                  <a:pt x="159" y="3945"/>
                  <a:pt x="238" y="3977"/>
                  <a:pt x="334" y="3977"/>
                </a:cubicBezTo>
                <a:lnTo>
                  <a:pt x="3260" y="3977"/>
                </a:lnTo>
                <a:cubicBezTo>
                  <a:pt x="3308" y="3977"/>
                  <a:pt x="3340" y="3945"/>
                  <a:pt x="3340" y="3897"/>
                </a:cubicBezTo>
                <a:cubicBezTo>
                  <a:pt x="3340" y="3865"/>
                  <a:pt x="3308" y="3817"/>
                  <a:pt x="3260" y="3817"/>
                </a:cubicBezTo>
                <a:lnTo>
                  <a:pt x="652" y="3817"/>
                </a:lnTo>
                <a:cubicBezTo>
                  <a:pt x="668" y="3786"/>
                  <a:pt x="684" y="3754"/>
                  <a:pt x="684" y="3707"/>
                </a:cubicBezTo>
                <a:lnTo>
                  <a:pt x="684" y="3579"/>
                </a:lnTo>
                <a:lnTo>
                  <a:pt x="699" y="1273"/>
                </a:lnTo>
                <a:cubicBezTo>
                  <a:pt x="699" y="1209"/>
                  <a:pt x="747" y="1145"/>
                  <a:pt x="827" y="1145"/>
                </a:cubicBezTo>
                <a:lnTo>
                  <a:pt x="4199" y="1145"/>
                </a:lnTo>
                <a:cubicBezTo>
                  <a:pt x="4262" y="1145"/>
                  <a:pt x="4326" y="1209"/>
                  <a:pt x="4326" y="1273"/>
                </a:cubicBezTo>
                <a:lnTo>
                  <a:pt x="4326" y="2800"/>
                </a:lnTo>
                <a:cubicBezTo>
                  <a:pt x="4326" y="2847"/>
                  <a:pt x="4358" y="2879"/>
                  <a:pt x="4405" y="2879"/>
                </a:cubicBezTo>
                <a:cubicBezTo>
                  <a:pt x="4437" y="2879"/>
                  <a:pt x="4485" y="2847"/>
                  <a:pt x="4485" y="2800"/>
                </a:cubicBezTo>
                <a:lnTo>
                  <a:pt x="4485" y="1273"/>
                </a:lnTo>
                <a:cubicBezTo>
                  <a:pt x="4485" y="1114"/>
                  <a:pt x="4358" y="987"/>
                  <a:pt x="4199" y="987"/>
                </a:cubicBezTo>
                <a:lnTo>
                  <a:pt x="3992" y="987"/>
                </a:lnTo>
                <a:lnTo>
                  <a:pt x="3992" y="812"/>
                </a:lnTo>
                <a:cubicBezTo>
                  <a:pt x="3992" y="652"/>
                  <a:pt x="3865" y="526"/>
                  <a:pt x="3705" y="526"/>
                </a:cubicBezTo>
                <a:lnTo>
                  <a:pt x="1702" y="526"/>
                </a:lnTo>
                <a:lnTo>
                  <a:pt x="1559" y="207"/>
                </a:lnTo>
                <a:cubicBezTo>
                  <a:pt x="1511" y="80"/>
                  <a:pt x="1383" y="0"/>
                  <a:pt x="1256" y="0"/>
                </a:cubicBezTo>
                <a:lnTo>
                  <a:pt x="286" y="0"/>
                </a:lnTo>
                <a:cubicBezTo>
                  <a:pt x="127" y="0"/>
                  <a:pt x="0" y="143"/>
                  <a:pt x="0" y="303"/>
                </a:cubicBezTo>
                <a:close/>
                <a:moveTo>
                  <a:pt x="159" y="303"/>
                </a:moveTo>
                <a:cubicBezTo>
                  <a:pt x="159" y="223"/>
                  <a:pt x="223" y="160"/>
                  <a:pt x="286" y="160"/>
                </a:cubicBezTo>
                <a:lnTo>
                  <a:pt x="1256" y="160"/>
                </a:lnTo>
                <a:cubicBezTo>
                  <a:pt x="1320" y="160"/>
                  <a:pt x="1383" y="207"/>
                  <a:pt x="1415" y="271"/>
                </a:cubicBezTo>
                <a:lnTo>
                  <a:pt x="1574" y="637"/>
                </a:lnTo>
                <a:cubicBezTo>
                  <a:pt x="1590" y="652"/>
                  <a:pt x="1606" y="684"/>
                  <a:pt x="1638" y="684"/>
                </a:cubicBezTo>
                <a:lnTo>
                  <a:pt x="3705" y="684"/>
                </a:lnTo>
                <a:cubicBezTo>
                  <a:pt x="3769" y="684"/>
                  <a:pt x="3833" y="732"/>
                  <a:pt x="3833" y="812"/>
                </a:cubicBezTo>
                <a:lnTo>
                  <a:pt x="3833" y="987"/>
                </a:lnTo>
                <a:lnTo>
                  <a:pt x="827" y="987"/>
                </a:lnTo>
                <a:cubicBezTo>
                  <a:pt x="668" y="987"/>
                  <a:pt x="541" y="1114"/>
                  <a:pt x="541" y="1273"/>
                </a:cubicBezTo>
                <a:lnTo>
                  <a:pt x="524" y="3659"/>
                </a:lnTo>
                <a:lnTo>
                  <a:pt x="524" y="3690"/>
                </a:lnTo>
                <a:cubicBezTo>
                  <a:pt x="524" y="3754"/>
                  <a:pt x="477" y="3817"/>
                  <a:pt x="334" y="3817"/>
                </a:cubicBezTo>
                <a:cubicBezTo>
                  <a:pt x="286" y="3817"/>
                  <a:pt x="238" y="3802"/>
                  <a:pt x="206" y="3770"/>
                </a:cubicBezTo>
                <a:cubicBezTo>
                  <a:pt x="175" y="3738"/>
                  <a:pt x="159" y="3690"/>
                  <a:pt x="159" y="3643"/>
                </a:cubicBezTo>
                <a:close/>
                <a:moveTo>
                  <a:pt x="3896" y="3754"/>
                </a:moveTo>
                <a:lnTo>
                  <a:pt x="3913" y="3770"/>
                </a:lnTo>
                <a:cubicBezTo>
                  <a:pt x="3913" y="3786"/>
                  <a:pt x="3923" y="3781"/>
                  <a:pt x="3928" y="3786"/>
                </a:cubicBezTo>
                <a:lnTo>
                  <a:pt x="4374" y="4008"/>
                </a:lnTo>
                <a:lnTo>
                  <a:pt x="4405" y="4008"/>
                </a:lnTo>
                <a:cubicBezTo>
                  <a:pt x="4421" y="4008"/>
                  <a:pt x="4437" y="4008"/>
                  <a:pt x="4453" y="3993"/>
                </a:cubicBezTo>
                <a:cubicBezTo>
                  <a:pt x="4485" y="3961"/>
                  <a:pt x="4485" y="3929"/>
                  <a:pt x="4469" y="3897"/>
                </a:cubicBezTo>
                <a:lnTo>
                  <a:pt x="4262" y="3452"/>
                </a:lnTo>
                <a:cubicBezTo>
                  <a:pt x="4246" y="3452"/>
                  <a:pt x="4246" y="3452"/>
                  <a:pt x="4246" y="3436"/>
                </a:cubicBezTo>
                <a:lnTo>
                  <a:pt x="3292" y="2481"/>
                </a:lnTo>
                <a:lnTo>
                  <a:pt x="3181" y="2386"/>
                </a:lnTo>
                <a:cubicBezTo>
                  <a:pt x="3133" y="2338"/>
                  <a:pt x="3069" y="2307"/>
                  <a:pt x="3006" y="2291"/>
                </a:cubicBezTo>
                <a:cubicBezTo>
                  <a:pt x="2942" y="2275"/>
                  <a:pt x="2863" y="2307"/>
                  <a:pt x="2815" y="2354"/>
                </a:cubicBezTo>
                <a:cubicBezTo>
                  <a:pt x="2783" y="2386"/>
                  <a:pt x="2751" y="2450"/>
                  <a:pt x="2751" y="2514"/>
                </a:cubicBezTo>
                <a:cubicBezTo>
                  <a:pt x="2751" y="2577"/>
                  <a:pt x="2799" y="2657"/>
                  <a:pt x="2847" y="2720"/>
                </a:cubicBezTo>
                <a:lnTo>
                  <a:pt x="2990" y="2847"/>
                </a:lnTo>
                <a:lnTo>
                  <a:pt x="3117" y="2990"/>
                </a:lnTo>
                <a:close/>
                <a:moveTo>
                  <a:pt x="3133" y="2768"/>
                </a:moveTo>
                <a:lnTo>
                  <a:pt x="3228" y="2657"/>
                </a:lnTo>
                <a:lnTo>
                  <a:pt x="3292" y="2704"/>
                </a:lnTo>
                <a:lnTo>
                  <a:pt x="3181" y="2816"/>
                </a:lnTo>
                <a:close/>
                <a:moveTo>
                  <a:pt x="3404" y="2816"/>
                </a:moveTo>
                <a:lnTo>
                  <a:pt x="4056" y="3484"/>
                </a:lnTo>
                <a:lnTo>
                  <a:pt x="3944" y="3595"/>
                </a:lnTo>
                <a:lnTo>
                  <a:pt x="3292" y="2927"/>
                </a:lnTo>
                <a:close/>
                <a:moveTo>
                  <a:pt x="4087" y="3690"/>
                </a:moveTo>
                <a:lnTo>
                  <a:pt x="4151" y="3611"/>
                </a:lnTo>
                <a:lnTo>
                  <a:pt x="4231" y="3754"/>
                </a:lnTo>
                <a:close/>
                <a:moveTo>
                  <a:pt x="2926" y="2466"/>
                </a:moveTo>
                <a:cubicBezTo>
                  <a:pt x="2942" y="2450"/>
                  <a:pt x="2974" y="2450"/>
                  <a:pt x="2990" y="2450"/>
                </a:cubicBezTo>
                <a:cubicBezTo>
                  <a:pt x="3022" y="2450"/>
                  <a:pt x="3053" y="2466"/>
                  <a:pt x="3069" y="2498"/>
                </a:cubicBezTo>
                <a:lnTo>
                  <a:pt x="3117" y="2545"/>
                </a:lnTo>
                <a:lnTo>
                  <a:pt x="3022" y="2657"/>
                </a:lnTo>
                <a:lnTo>
                  <a:pt x="2958" y="2609"/>
                </a:lnTo>
                <a:cubicBezTo>
                  <a:pt x="2926" y="2577"/>
                  <a:pt x="2910" y="2545"/>
                  <a:pt x="2910" y="2514"/>
                </a:cubicBezTo>
                <a:cubicBezTo>
                  <a:pt x="2910" y="2498"/>
                  <a:pt x="2926" y="2481"/>
                  <a:pt x="2926" y="246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8" name="Freeform: Shape 14">
            <a:extLst>
              <a:ext uri="{FF2B5EF4-FFF2-40B4-BE49-F238E27FC236}">
                <a16:creationId xmlns:a16="http://schemas.microsoft.com/office/drawing/2014/main" id="{9A90E158-DF87-A243-861C-CDFFF1B37D97}"/>
              </a:ext>
            </a:extLst>
          </p:cNvPr>
          <p:cNvSpPr/>
          <p:nvPr/>
        </p:nvSpPr>
        <p:spPr>
          <a:xfrm>
            <a:off x="5956875" y="9948514"/>
            <a:ext cx="1597320" cy="1431359"/>
          </a:xfrm>
          <a:custGeom>
            <a:avLst/>
            <a:gdLst/>
            <a:ahLst/>
            <a:cxnLst>
              <a:cxn ang="3cd4">
                <a:pos x="hc" y="t"/>
              </a:cxn>
              <a:cxn ang="cd2">
                <a:pos x="l" y="vc"/>
              </a:cxn>
              <a:cxn ang="cd4">
                <a:pos x="hc" y="b"/>
              </a:cxn>
              <a:cxn ang="0">
                <a:pos x="r" y="vc"/>
              </a:cxn>
            </a:cxnLst>
            <a:rect l="l" t="t" r="r" b="b"/>
            <a:pathLst>
              <a:path w="4438" h="3977">
                <a:moveTo>
                  <a:pt x="1909" y="3452"/>
                </a:moveTo>
                <a:lnTo>
                  <a:pt x="2100" y="3452"/>
                </a:lnTo>
                <a:cubicBezTo>
                  <a:pt x="2131" y="3452"/>
                  <a:pt x="2179" y="3420"/>
                  <a:pt x="2179" y="3372"/>
                </a:cubicBezTo>
                <a:lnTo>
                  <a:pt x="2179" y="3213"/>
                </a:lnTo>
                <a:lnTo>
                  <a:pt x="2370" y="3213"/>
                </a:lnTo>
                <a:lnTo>
                  <a:pt x="2370" y="3372"/>
                </a:lnTo>
                <a:cubicBezTo>
                  <a:pt x="2370" y="3420"/>
                  <a:pt x="2418" y="3452"/>
                  <a:pt x="2450" y="3452"/>
                </a:cubicBezTo>
                <a:lnTo>
                  <a:pt x="3118" y="3452"/>
                </a:lnTo>
                <a:cubicBezTo>
                  <a:pt x="3277" y="3452"/>
                  <a:pt x="3388" y="3341"/>
                  <a:pt x="3388" y="3150"/>
                </a:cubicBezTo>
                <a:lnTo>
                  <a:pt x="3388" y="1941"/>
                </a:lnTo>
                <a:cubicBezTo>
                  <a:pt x="3388" y="1734"/>
                  <a:pt x="3277" y="1607"/>
                  <a:pt x="3118" y="1607"/>
                </a:cubicBezTo>
                <a:lnTo>
                  <a:pt x="2450" y="1607"/>
                </a:lnTo>
                <a:cubicBezTo>
                  <a:pt x="2418" y="1607"/>
                  <a:pt x="2370" y="1639"/>
                  <a:pt x="2370" y="1686"/>
                </a:cubicBezTo>
                <a:lnTo>
                  <a:pt x="2370" y="2084"/>
                </a:lnTo>
                <a:lnTo>
                  <a:pt x="2179" y="2084"/>
                </a:lnTo>
                <a:lnTo>
                  <a:pt x="2179" y="1686"/>
                </a:lnTo>
                <a:cubicBezTo>
                  <a:pt x="2179" y="1639"/>
                  <a:pt x="2131" y="1607"/>
                  <a:pt x="2100" y="1607"/>
                </a:cubicBezTo>
                <a:lnTo>
                  <a:pt x="1909" y="1607"/>
                </a:lnTo>
                <a:cubicBezTo>
                  <a:pt x="1765" y="1607"/>
                  <a:pt x="1655" y="1734"/>
                  <a:pt x="1655" y="1941"/>
                </a:cubicBezTo>
                <a:lnTo>
                  <a:pt x="1655" y="3150"/>
                </a:lnTo>
                <a:cubicBezTo>
                  <a:pt x="1655" y="3341"/>
                  <a:pt x="1750" y="3452"/>
                  <a:pt x="1909" y="3452"/>
                </a:cubicBezTo>
                <a:close/>
                <a:moveTo>
                  <a:pt x="3118" y="1766"/>
                </a:moveTo>
                <a:cubicBezTo>
                  <a:pt x="3197" y="1766"/>
                  <a:pt x="3229" y="1877"/>
                  <a:pt x="3229" y="1941"/>
                </a:cubicBezTo>
                <a:lnTo>
                  <a:pt x="3229" y="3150"/>
                </a:lnTo>
                <a:cubicBezTo>
                  <a:pt x="3229" y="3213"/>
                  <a:pt x="3197" y="3293"/>
                  <a:pt x="3118" y="3293"/>
                </a:cubicBezTo>
                <a:lnTo>
                  <a:pt x="2529" y="3293"/>
                </a:lnTo>
                <a:lnTo>
                  <a:pt x="2529" y="3213"/>
                </a:lnTo>
                <a:cubicBezTo>
                  <a:pt x="2577" y="3198"/>
                  <a:pt x="2593" y="3166"/>
                  <a:pt x="2593" y="3134"/>
                </a:cubicBezTo>
                <a:cubicBezTo>
                  <a:pt x="2593" y="3102"/>
                  <a:pt x="2577" y="3070"/>
                  <a:pt x="2529" y="3054"/>
                </a:cubicBezTo>
                <a:lnTo>
                  <a:pt x="2529" y="2243"/>
                </a:lnTo>
                <a:cubicBezTo>
                  <a:pt x="2577" y="2243"/>
                  <a:pt x="2593" y="2211"/>
                  <a:pt x="2593" y="2163"/>
                </a:cubicBezTo>
                <a:cubicBezTo>
                  <a:pt x="2593" y="2132"/>
                  <a:pt x="2577" y="2100"/>
                  <a:pt x="2529" y="2084"/>
                </a:cubicBezTo>
                <a:lnTo>
                  <a:pt x="2529" y="1766"/>
                </a:lnTo>
                <a:close/>
                <a:moveTo>
                  <a:pt x="2370" y="2243"/>
                </a:moveTo>
                <a:lnTo>
                  <a:pt x="2370" y="3054"/>
                </a:lnTo>
                <a:lnTo>
                  <a:pt x="2179" y="3054"/>
                </a:lnTo>
                <a:lnTo>
                  <a:pt x="2179" y="2243"/>
                </a:lnTo>
                <a:close/>
                <a:moveTo>
                  <a:pt x="1813" y="1941"/>
                </a:moveTo>
                <a:cubicBezTo>
                  <a:pt x="1813" y="1877"/>
                  <a:pt x="1829" y="1766"/>
                  <a:pt x="1909" y="1766"/>
                </a:cubicBezTo>
                <a:lnTo>
                  <a:pt x="2020" y="1766"/>
                </a:lnTo>
                <a:lnTo>
                  <a:pt x="2020" y="2084"/>
                </a:lnTo>
                <a:cubicBezTo>
                  <a:pt x="1988" y="2100"/>
                  <a:pt x="1956" y="2132"/>
                  <a:pt x="1956" y="2163"/>
                </a:cubicBezTo>
                <a:cubicBezTo>
                  <a:pt x="1956" y="2211"/>
                  <a:pt x="1988" y="2243"/>
                  <a:pt x="2020" y="2243"/>
                </a:cubicBezTo>
                <a:lnTo>
                  <a:pt x="2020" y="3054"/>
                </a:lnTo>
                <a:cubicBezTo>
                  <a:pt x="1988" y="3070"/>
                  <a:pt x="1956" y="3102"/>
                  <a:pt x="1956" y="3134"/>
                </a:cubicBezTo>
                <a:cubicBezTo>
                  <a:pt x="1956" y="3166"/>
                  <a:pt x="1988" y="3198"/>
                  <a:pt x="2020" y="3213"/>
                </a:cubicBezTo>
                <a:lnTo>
                  <a:pt x="2020" y="3293"/>
                </a:lnTo>
                <a:lnTo>
                  <a:pt x="1909" y="3293"/>
                </a:lnTo>
                <a:cubicBezTo>
                  <a:pt x="1845" y="3293"/>
                  <a:pt x="1813" y="3245"/>
                  <a:pt x="1813" y="3150"/>
                </a:cubicBezTo>
                <a:close/>
                <a:moveTo>
                  <a:pt x="4151" y="3977"/>
                </a:moveTo>
                <a:cubicBezTo>
                  <a:pt x="4310" y="3977"/>
                  <a:pt x="4438" y="3850"/>
                  <a:pt x="4438" y="3690"/>
                </a:cubicBezTo>
                <a:lnTo>
                  <a:pt x="4438" y="1273"/>
                </a:lnTo>
                <a:cubicBezTo>
                  <a:pt x="4438" y="1098"/>
                  <a:pt x="4342" y="987"/>
                  <a:pt x="4199" y="987"/>
                </a:cubicBezTo>
                <a:lnTo>
                  <a:pt x="3992" y="987"/>
                </a:lnTo>
                <a:lnTo>
                  <a:pt x="3992" y="812"/>
                </a:lnTo>
                <a:cubicBezTo>
                  <a:pt x="3992" y="652"/>
                  <a:pt x="3865" y="509"/>
                  <a:pt x="3706" y="509"/>
                </a:cubicBezTo>
                <a:lnTo>
                  <a:pt x="1702" y="509"/>
                </a:lnTo>
                <a:lnTo>
                  <a:pt x="1559" y="207"/>
                </a:lnTo>
                <a:cubicBezTo>
                  <a:pt x="1511" y="80"/>
                  <a:pt x="1400" y="0"/>
                  <a:pt x="1273" y="0"/>
                </a:cubicBezTo>
                <a:lnTo>
                  <a:pt x="302" y="0"/>
                </a:lnTo>
                <a:cubicBezTo>
                  <a:pt x="143" y="0"/>
                  <a:pt x="0" y="143"/>
                  <a:pt x="0" y="303"/>
                </a:cubicBezTo>
                <a:lnTo>
                  <a:pt x="0" y="3643"/>
                </a:lnTo>
                <a:cubicBezTo>
                  <a:pt x="0" y="3817"/>
                  <a:pt x="128" y="3977"/>
                  <a:pt x="350" y="3977"/>
                </a:cubicBezTo>
                <a:close/>
                <a:moveTo>
                  <a:pt x="4279" y="1273"/>
                </a:moveTo>
                <a:lnTo>
                  <a:pt x="4279" y="3690"/>
                </a:lnTo>
                <a:cubicBezTo>
                  <a:pt x="4279" y="3770"/>
                  <a:pt x="4231" y="3817"/>
                  <a:pt x="4151" y="3817"/>
                </a:cubicBezTo>
                <a:lnTo>
                  <a:pt x="652" y="3817"/>
                </a:lnTo>
                <a:cubicBezTo>
                  <a:pt x="684" y="3786"/>
                  <a:pt x="684" y="3754"/>
                  <a:pt x="700" y="3722"/>
                </a:cubicBezTo>
                <a:lnTo>
                  <a:pt x="700" y="3707"/>
                </a:lnTo>
                <a:lnTo>
                  <a:pt x="700" y="3484"/>
                </a:lnTo>
                <a:lnTo>
                  <a:pt x="700" y="1273"/>
                </a:lnTo>
                <a:cubicBezTo>
                  <a:pt x="700" y="1209"/>
                  <a:pt x="764" y="1145"/>
                  <a:pt x="827" y="1145"/>
                </a:cubicBezTo>
                <a:lnTo>
                  <a:pt x="4199" y="1145"/>
                </a:lnTo>
                <a:cubicBezTo>
                  <a:pt x="4247" y="1145"/>
                  <a:pt x="4279" y="1193"/>
                  <a:pt x="4279" y="1273"/>
                </a:cubicBezTo>
                <a:close/>
                <a:moveTo>
                  <a:pt x="159" y="3643"/>
                </a:moveTo>
                <a:lnTo>
                  <a:pt x="159" y="303"/>
                </a:lnTo>
                <a:cubicBezTo>
                  <a:pt x="159" y="223"/>
                  <a:pt x="223" y="160"/>
                  <a:pt x="302" y="160"/>
                </a:cubicBezTo>
                <a:lnTo>
                  <a:pt x="1273" y="160"/>
                </a:lnTo>
                <a:cubicBezTo>
                  <a:pt x="1336" y="160"/>
                  <a:pt x="1384" y="207"/>
                  <a:pt x="1416" y="271"/>
                </a:cubicBezTo>
                <a:lnTo>
                  <a:pt x="1575" y="621"/>
                </a:lnTo>
                <a:cubicBezTo>
                  <a:pt x="1591" y="652"/>
                  <a:pt x="1622" y="669"/>
                  <a:pt x="1655" y="669"/>
                </a:cubicBezTo>
                <a:lnTo>
                  <a:pt x="3706" y="669"/>
                </a:lnTo>
                <a:cubicBezTo>
                  <a:pt x="3770" y="669"/>
                  <a:pt x="3833" y="732"/>
                  <a:pt x="3833" y="812"/>
                </a:cubicBezTo>
                <a:lnTo>
                  <a:pt x="3833" y="987"/>
                </a:lnTo>
                <a:lnTo>
                  <a:pt x="827" y="987"/>
                </a:lnTo>
                <a:cubicBezTo>
                  <a:pt x="668" y="987"/>
                  <a:pt x="541" y="1114"/>
                  <a:pt x="541" y="1273"/>
                </a:cubicBezTo>
                <a:lnTo>
                  <a:pt x="541" y="3690"/>
                </a:lnTo>
                <a:cubicBezTo>
                  <a:pt x="525" y="3738"/>
                  <a:pt x="493" y="3817"/>
                  <a:pt x="350" y="3817"/>
                </a:cubicBezTo>
                <a:cubicBezTo>
                  <a:pt x="207" y="3817"/>
                  <a:pt x="159" y="3707"/>
                  <a:pt x="159" y="364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9" name="Freeform: Shape 15">
            <a:extLst>
              <a:ext uri="{FF2B5EF4-FFF2-40B4-BE49-F238E27FC236}">
                <a16:creationId xmlns:a16="http://schemas.microsoft.com/office/drawing/2014/main" id="{6EDF55A1-ECC8-9F4B-899E-91ADCAABED4D}"/>
              </a:ext>
            </a:extLst>
          </p:cNvPr>
          <p:cNvSpPr/>
          <p:nvPr/>
        </p:nvSpPr>
        <p:spPr>
          <a:xfrm>
            <a:off x="13761911" y="3291321"/>
            <a:ext cx="1608480" cy="1430999"/>
          </a:xfrm>
          <a:custGeom>
            <a:avLst/>
            <a:gdLst/>
            <a:ahLst/>
            <a:cxnLst>
              <a:cxn ang="3cd4">
                <a:pos x="hc" y="t"/>
              </a:cxn>
              <a:cxn ang="cd2">
                <a:pos x="l" y="vc"/>
              </a:cxn>
              <a:cxn ang="cd4">
                <a:pos x="hc" y="b"/>
              </a:cxn>
              <a:cxn ang="0">
                <a:pos x="r" y="vc"/>
              </a:cxn>
            </a:cxnLst>
            <a:rect l="l" t="t" r="r" b="b"/>
            <a:pathLst>
              <a:path w="4469" h="3976">
                <a:moveTo>
                  <a:pt x="334" y="3976"/>
                </a:moveTo>
                <a:lnTo>
                  <a:pt x="3022" y="3976"/>
                </a:lnTo>
                <a:cubicBezTo>
                  <a:pt x="3069" y="3976"/>
                  <a:pt x="3101" y="3944"/>
                  <a:pt x="3101" y="3896"/>
                </a:cubicBezTo>
                <a:cubicBezTo>
                  <a:pt x="3101" y="3865"/>
                  <a:pt x="3069" y="3817"/>
                  <a:pt x="3022" y="3817"/>
                </a:cubicBezTo>
                <a:lnTo>
                  <a:pt x="636" y="3817"/>
                </a:lnTo>
                <a:cubicBezTo>
                  <a:pt x="668" y="3785"/>
                  <a:pt x="668" y="3753"/>
                  <a:pt x="684" y="3705"/>
                </a:cubicBezTo>
                <a:lnTo>
                  <a:pt x="684" y="3578"/>
                </a:lnTo>
                <a:lnTo>
                  <a:pt x="684" y="1272"/>
                </a:lnTo>
                <a:cubicBezTo>
                  <a:pt x="684" y="1209"/>
                  <a:pt x="748" y="1145"/>
                  <a:pt x="827" y="1145"/>
                </a:cubicBezTo>
                <a:lnTo>
                  <a:pt x="4183" y="1145"/>
                </a:lnTo>
                <a:cubicBezTo>
                  <a:pt x="4262" y="1145"/>
                  <a:pt x="4310" y="1209"/>
                  <a:pt x="4310" y="1272"/>
                </a:cubicBezTo>
                <a:lnTo>
                  <a:pt x="4310" y="2560"/>
                </a:lnTo>
                <a:cubicBezTo>
                  <a:pt x="4310" y="2608"/>
                  <a:pt x="4358" y="2640"/>
                  <a:pt x="4390" y="2640"/>
                </a:cubicBezTo>
                <a:cubicBezTo>
                  <a:pt x="4437" y="2640"/>
                  <a:pt x="4469" y="2608"/>
                  <a:pt x="4469" y="2560"/>
                </a:cubicBezTo>
                <a:lnTo>
                  <a:pt x="4469" y="1272"/>
                </a:lnTo>
                <a:cubicBezTo>
                  <a:pt x="4469" y="1113"/>
                  <a:pt x="4342" y="986"/>
                  <a:pt x="4183" y="986"/>
                </a:cubicBezTo>
                <a:lnTo>
                  <a:pt x="3992" y="986"/>
                </a:lnTo>
                <a:lnTo>
                  <a:pt x="3992" y="811"/>
                </a:lnTo>
                <a:cubicBezTo>
                  <a:pt x="3992" y="652"/>
                  <a:pt x="3849" y="525"/>
                  <a:pt x="3690" y="525"/>
                </a:cubicBezTo>
                <a:lnTo>
                  <a:pt x="1686" y="525"/>
                </a:lnTo>
                <a:lnTo>
                  <a:pt x="1558" y="206"/>
                </a:lnTo>
                <a:cubicBezTo>
                  <a:pt x="1495" y="79"/>
                  <a:pt x="1384" y="0"/>
                  <a:pt x="1256" y="0"/>
                </a:cubicBezTo>
                <a:lnTo>
                  <a:pt x="286" y="0"/>
                </a:lnTo>
                <a:cubicBezTo>
                  <a:pt x="127" y="0"/>
                  <a:pt x="0" y="143"/>
                  <a:pt x="0" y="302"/>
                </a:cubicBezTo>
                <a:lnTo>
                  <a:pt x="0" y="3642"/>
                </a:lnTo>
                <a:cubicBezTo>
                  <a:pt x="0" y="3738"/>
                  <a:pt x="31" y="3817"/>
                  <a:pt x="95" y="3881"/>
                </a:cubicBezTo>
                <a:cubicBezTo>
                  <a:pt x="159" y="3944"/>
                  <a:pt x="239" y="3976"/>
                  <a:pt x="334" y="3976"/>
                </a:cubicBezTo>
                <a:close/>
                <a:moveTo>
                  <a:pt x="159" y="302"/>
                </a:moveTo>
                <a:cubicBezTo>
                  <a:pt x="159" y="222"/>
                  <a:pt x="206" y="159"/>
                  <a:pt x="286" y="159"/>
                </a:cubicBezTo>
                <a:lnTo>
                  <a:pt x="1256" y="159"/>
                </a:lnTo>
                <a:cubicBezTo>
                  <a:pt x="1320" y="159"/>
                  <a:pt x="1384" y="206"/>
                  <a:pt x="1415" y="270"/>
                </a:cubicBezTo>
                <a:lnTo>
                  <a:pt x="1558" y="636"/>
                </a:lnTo>
                <a:cubicBezTo>
                  <a:pt x="1575" y="652"/>
                  <a:pt x="1606" y="684"/>
                  <a:pt x="1638" y="684"/>
                </a:cubicBezTo>
                <a:lnTo>
                  <a:pt x="3690" y="684"/>
                </a:lnTo>
                <a:cubicBezTo>
                  <a:pt x="3769" y="684"/>
                  <a:pt x="3833" y="731"/>
                  <a:pt x="3833" y="811"/>
                </a:cubicBezTo>
                <a:lnTo>
                  <a:pt x="3833" y="986"/>
                </a:lnTo>
                <a:lnTo>
                  <a:pt x="827" y="986"/>
                </a:lnTo>
                <a:cubicBezTo>
                  <a:pt x="668" y="986"/>
                  <a:pt x="525" y="1113"/>
                  <a:pt x="525" y="1272"/>
                </a:cubicBezTo>
                <a:lnTo>
                  <a:pt x="525" y="3642"/>
                </a:lnTo>
                <a:lnTo>
                  <a:pt x="525" y="3658"/>
                </a:lnTo>
                <a:lnTo>
                  <a:pt x="525" y="3690"/>
                </a:lnTo>
                <a:cubicBezTo>
                  <a:pt x="509" y="3753"/>
                  <a:pt x="477" y="3817"/>
                  <a:pt x="334" y="3817"/>
                </a:cubicBezTo>
                <a:cubicBezTo>
                  <a:pt x="270" y="3833"/>
                  <a:pt x="239" y="3801"/>
                  <a:pt x="206" y="3769"/>
                </a:cubicBezTo>
                <a:cubicBezTo>
                  <a:pt x="175" y="3738"/>
                  <a:pt x="159" y="3690"/>
                  <a:pt x="159" y="3642"/>
                </a:cubicBezTo>
                <a:close/>
                <a:moveTo>
                  <a:pt x="4326" y="3292"/>
                </a:moveTo>
                <a:cubicBezTo>
                  <a:pt x="4374" y="3292"/>
                  <a:pt x="4405" y="3260"/>
                  <a:pt x="4405" y="3212"/>
                </a:cubicBezTo>
                <a:cubicBezTo>
                  <a:pt x="4405" y="3165"/>
                  <a:pt x="4374" y="3133"/>
                  <a:pt x="4326" y="3133"/>
                </a:cubicBezTo>
                <a:lnTo>
                  <a:pt x="4230" y="3133"/>
                </a:lnTo>
                <a:cubicBezTo>
                  <a:pt x="4230" y="3069"/>
                  <a:pt x="4199" y="3006"/>
                  <a:pt x="4167" y="2958"/>
                </a:cubicBezTo>
                <a:lnTo>
                  <a:pt x="4230" y="2894"/>
                </a:lnTo>
                <a:cubicBezTo>
                  <a:pt x="4262" y="2863"/>
                  <a:pt x="4262" y="2815"/>
                  <a:pt x="4230" y="2783"/>
                </a:cubicBezTo>
                <a:cubicBezTo>
                  <a:pt x="4199" y="2751"/>
                  <a:pt x="4151" y="2751"/>
                  <a:pt x="4119" y="2783"/>
                </a:cubicBezTo>
                <a:lnTo>
                  <a:pt x="4056" y="2847"/>
                </a:lnTo>
                <a:cubicBezTo>
                  <a:pt x="3992" y="2799"/>
                  <a:pt x="3944" y="2783"/>
                  <a:pt x="3881" y="2767"/>
                </a:cubicBezTo>
                <a:lnTo>
                  <a:pt x="3881" y="2688"/>
                </a:lnTo>
                <a:cubicBezTo>
                  <a:pt x="3881" y="2640"/>
                  <a:pt x="3833" y="2608"/>
                  <a:pt x="3801" y="2608"/>
                </a:cubicBezTo>
                <a:cubicBezTo>
                  <a:pt x="3753" y="2608"/>
                  <a:pt x="3721" y="2640"/>
                  <a:pt x="3721" y="2688"/>
                </a:cubicBezTo>
                <a:lnTo>
                  <a:pt x="3721" y="2767"/>
                </a:lnTo>
                <a:cubicBezTo>
                  <a:pt x="3658" y="2783"/>
                  <a:pt x="3594" y="2799"/>
                  <a:pt x="3547" y="2847"/>
                </a:cubicBezTo>
                <a:lnTo>
                  <a:pt x="3483" y="2783"/>
                </a:lnTo>
                <a:cubicBezTo>
                  <a:pt x="3451" y="2751"/>
                  <a:pt x="3403" y="2751"/>
                  <a:pt x="3372" y="2783"/>
                </a:cubicBezTo>
                <a:cubicBezTo>
                  <a:pt x="3340" y="2815"/>
                  <a:pt x="3340" y="2863"/>
                  <a:pt x="3372" y="2894"/>
                </a:cubicBezTo>
                <a:lnTo>
                  <a:pt x="3435" y="2958"/>
                </a:lnTo>
                <a:cubicBezTo>
                  <a:pt x="3387" y="3006"/>
                  <a:pt x="3372" y="3069"/>
                  <a:pt x="3356" y="3133"/>
                </a:cubicBezTo>
                <a:lnTo>
                  <a:pt x="3276" y="3133"/>
                </a:lnTo>
                <a:cubicBezTo>
                  <a:pt x="3229" y="3133"/>
                  <a:pt x="3197" y="3165"/>
                  <a:pt x="3197" y="3212"/>
                </a:cubicBezTo>
                <a:cubicBezTo>
                  <a:pt x="3197" y="3260"/>
                  <a:pt x="3229" y="3292"/>
                  <a:pt x="3276" y="3292"/>
                </a:cubicBezTo>
                <a:lnTo>
                  <a:pt x="3356" y="3292"/>
                </a:lnTo>
                <a:cubicBezTo>
                  <a:pt x="3372" y="3356"/>
                  <a:pt x="3387" y="3419"/>
                  <a:pt x="3435" y="3467"/>
                </a:cubicBezTo>
                <a:lnTo>
                  <a:pt x="3372" y="3530"/>
                </a:lnTo>
                <a:cubicBezTo>
                  <a:pt x="3340" y="3562"/>
                  <a:pt x="3340" y="3610"/>
                  <a:pt x="3372" y="3642"/>
                </a:cubicBezTo>
                <a:cubicBezTo>
                  <a:pt x="3387" y="3658"/>
                  <a:pt x="3403" y="3658"/>
                  <a:pt x="3420" y="3658"/>
                </a:cubicBezTo>
                <a:cubicBezTo>
                  <a:pt x="3451" y="3658"/>
                  <a:pt x="3467" y="3658"/>
                  <a:pt x="3483" y="3642"/>
                </a:cubicBezTo>
                <a:lnTo>
                  <a:pt x="3547" y="3578"/>
                </a:lnTo>
                <a:cubicBezTo>
                  <a:pt x="3594" y="3610"/>
                  <a:pt x="3658" y="3642"/>
                  <a:pt x="3721" y="3658"/>
                </a:cubicBezTo>
                <a:lnTo>
                  <a:pt x="3721" y="3738"/>
                </a:lnTo>
                <a:cubicBezTo>
                  <a:pt x="3721" y="3785"/>
                  <a:pt x="3753" y="3817"/>
                  <a:pt x="3801" y="3817"/>
                </a:cubicBezTo>
                <a:cubicBezTo>
                  <a:pt x="3833" y="3817"/>
                  <a:pt x="3881" y="3785"/>
                  <a:pt x="3881" y="3738"/>
                </a:cubicBezTo>
                <a:lnTo>
                  <a:pt x="3881" y="3658"/>
                </a:lnTo>
                <a:cubicBezTo>
                  <a:pt x="3944" y="3642"/>
                  <a:pt x="3992" y="3610"/>
                  <a:pt x="4056" y="3578"/>
                </a:cubicBezTo>
                <a:lnTo>
                  <a:pt x="4119" y="3642"/>
                </a:lnTo>
                <a:cubicBezTo>
                  <a:pt x="4135" y="3658"/>
                  <a:pt x="4151" y="3658"/>
                  <a:pt x="4167" y="3658"/>
                </a:cubicBezTo>
                <a:cubicBezTo>
                  <a:pt x="4183" y="3658"/>
                  <a:pt x="4215" y="3658"/>
                  <a:pt x="4230" y="3642"/>
                </a:cubicBezTo>
                <a:cubicBezTo>
                  <a:pt x="4262" y="3610"/>
                  <a:pt x="4262" y="3562"/>
                  <a:pt x="4230" y="3530"/>
                </a:cubicBezTo>
                <a:lnTo>
                  <a:pt x="4167" y="3467"/>
                </a:lnTo>
                <a:cubicBezTo>
                  <a:pt x="4199" y="3419"/>
                  <a:pt x="4230" y="3356"/>
                  <a:pt x="4230" y="3292"/>
                </a:cubicBezTo>
                <a:close/>
                <a:moveTo>
                  <a:pt x="3801" y="3499"/>
                </a:moveTo>
                <a:cubicBezTo>
                  <a:pt x="3642" y="3499"/>
                  <a:pt x="3499" y="3372"/>
                  <a:pt x="3499" y="3212"/>
                </a:cubicBezTo>
                <a:cubicBezTo>
                  <a:pt x="3499" y="3054"/>
                  <a:pt x="3642" y="2926"/>
                  <a:pt x="3801" y="2926"/>
                </a:cubicBezTo>
                <a:cubicBezTo>
                  <a:pt x="3960" y="2926"/>
                  <a:pt x="4087" y="3054"/>
                  <a:pt x="4087" y="3212"/>
                </a:cubicBezTo>
                <a:cubicBezTo>
                  <a:pt x="4087" y="3372"/>
                  <a:pt x="3960" y="3499"/>
                  <a:pt x="3801" y="349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0" name="Freeform: Shape 17">
            <a:extLst>
              <a:ext uri="{FF2B5EF4-FFF2-40B4-BE49-F238E27FC236}">
                <a16:creationId xmlns:a16="http://schemas.microsoft.com/office/drawing/2014/main" id="{2BB74ABF-3F7A-4541-A29D-5220E51E6010}"/>
              </a:ext>
            </a:extLst>
          </p:cNvPr>
          <p:cNvSpPr/>
          <p:nvPr/>
        </p:nvSpPr>
        <p:spPr>
          <a:xfrm>
            <a:off x="1845529" y="2946787"/>
            <a:ext cx="1597320" cy="1757519"/>
          </a:xfrm>
          <a:custGeom>
            <a:avLst/>
            <a:gdLst/>
            <a:ahLst/>
            <a:cxnLst>
              <a:cxn ang="3cd4">
                <a:pos x="hc" y="t"/>
              </a:cxn>
              <a:cxn ang="cd2">
                <a:pos x="l" y="vc"/>
              </a:cxn>
              <a:cxn ang="cd4">
                <a:pos x="hc" y="b"/>
              </a:cxn>
              <a:cxn ang="0">
                <a:pos x="r" y="vc"/>
              </a:cxn>
            </a:cxnLst>
            <a:rect l="l" t="t" r="r" b="b"/>
            <a:pathLst>
              <a:path w="4438" h="4883">
                <a:moveTo>
                  <a:pt x="1145" y="811"/>
                </a:moveTo>
                <a:lnTo>
                  <a:pt x="1861" y="811"/>
                </a:lnTo>
                <a:cubicBezTo>
                  <a:pt x="1909" y="811"/>
                  <a:pt x="1941" y="779"/>
                  <a:pt x="1941" y="732"/>
                </a:cubicBezTo>
                <a:cubicBezTo>
                  <a:pt x="1941" y="684"/>
                  <a:pt x="1909" y="652"/>
                  <a:pt x="1861" y="652"/>
                </a:cubicBezTo>
                <a:lnTo>
                  <a:pt x="1145" y="652"/>
                </a:lnTo>
                <a:cubicBezTo>
                  <a:pt x="1098" y="652"/>
                  <a:pt x="1066" y="684"/>
                  <a:pt x="1066" y="732"/>
                </a:cubicBezTo>
                <a:cubicBezTo>
                  <a:pt x="1066" y="779"/>
                  <a:pt x="1098" y="811"/>
                  <a:pt x="1145" y="811"/>
                </a:cubicBezTo>
                <a:close/>
                <a:moveTo>
                  <a:pt x="1145" y="1224"/>
                </a:moveTo>
                <a:lnTo>
                  <a:pt x="1861" y="1224"/>
                </a:lnTo>
                <a:cubicBezTo>
                  <a:pt x="1909" y="1224"/>
                  <a:pt x="1941" y="1177"/>
                  <a:pt x="1941" y="1145"/>
                </a:cubicBezTo>
                <a:cubicBezTo>
                  <a:pt x="1941" y="1097"/>
                  <a:pt x="1909" y="1066"/>
                  <a:pt x="1861" y="1066"/>
                </a:cubicBezTo>
                <a:lnTo>
                  <a:pt x="1145" y="1066"/>
                </a:lnTo>
                <a:cubicBezTo>
                  <a:pt x="1098" y="1066"/>
                  <a:pt x="1066" y="1097"/>
                  <a:pt x="1066" y="1145"/>
                </a:cubicBezTo>
                <a:cubicBezTo>
                  <a:pt x="1066" y="1177"/>
                  <a:pt x="1098" y="1224"/>
                  <a:pt x="1145" y="1224"/>
                </a:cubicBezTo>
                <a:close/>
                <a:moveTo>
                  <a:pt x="1130" y="1622"/>
                </a:moveTo>
                <a:lnTo>
                  <a:pt x="2704" y="1638"/>
                </a:lnTo>
                <a:cubicBezTo>
                  <a:pt x="2752" y="1638"/>
                  <a:pt x="2784" y="1590"/>
                  <a:pt x="2784" y="1559"/>
                </a:cubicBezTo>
                <a:cubicBezTo>
                  <a:pt x="2784" y="1511"/>
                  <a:pt x="2752" y="1479"/>
                  <a:pt x="2704" y="1479"/>
                </a:cubicBezTo>
                <a:lnTo>
                  <a:pt x="1130" y="1463"/>
                </a:lnTo>
                <a:cubicBezTo>
                  <a:pt x="1098" y="1463"/>
                  <a:pt x="1050" y="1511"/>
                  <a:pt x="1050" y="1543"/>
                </a:cubicBezTo>
                <a:cubicBezTo>
                  <a:pt x="1050" y="1590"/>
                  <a:pt x="1098" y="1622"/>
                  <a:pt x="1130" y="1622"/>
                </a:cubicBezTo>
                <a:close/>
                <a:moveTo>
                  <a:pt x="350" y="4883"/>
                </a:moveTo>
                <a:lnTo>
                  <a:pt x="382" y="4883"/>
                </a:lnTo>
                <a:lnTo>
                  <a:pt x="4152" y="4883"/>
                </a:lnTo>
                <a:cubicBezTo>
                  <a:pt x="4311" y="4883"/>
                  <a:pt x="4438" y="4756"/>
                  <a:pt x="4438" y="4596"/>
                </a:cubicBezTo>
                <a:lnTo>
                  <a:pt x="4438" y="2942"/>
                </a:lnTo>
                <a:lnTo>
                  <a:pt x="4438" y="2179"/>
                </a:lnTo>
                <a:cubicBezTo>
                  <a:pt x="4438" y="2004"/>
                  <a:pt x="4343" y="1893"/>
                  <a:pt x="4199" y="1893"/>
                </a:cubicBezTo>
                <a:lnTo>
                  <a:pt x="3992" y="1893"/>
                </a:lnTo>
                <a:lnTo>
                  <a:pt x="3992" y="1718"/>
                </a:lnTo>
                <a:cubicBezTo>
                  <a:pt x="3992" y="1559"/>
                  <a:pt x="3865" y="1415"/>
                  <a:pt x="3706" y="1415"/>
                </a:cubicBezTo>
                <a:lnTo>
                  <a:pt x="3245" y="1415"/>
                </a:lnTo>
                <a:lnTo>
                  <a:pt x="3245" y="1002"/>
                </a:lnTo>
                <a:cubicBezTo>
                  <a:pt x="3245" y="986"/>
                  <a:pt x="3245" y="954"/>
                  <a:pt x="3229" y="938"/>
                </a:cubicBezTo>
                <a:lnTo>
                  <a:pt x="2290" y="32"/>
                </a:lnTo>
                <a:cubicBezTo>
                  <a:pt x="2275" y="16"/>
                  <a:pt x="2259" y="0"/>
                  <a:pt x="2243" y="0"/>
                </a:cubicBezTo>
                <a:lnTo>
                  <a:pt x="621" y="0"/>
                </a:lnTo>
                <a:cubicBezTo>
                  <a:pt x="573" y="0"/>
                  <a:pt x="541" y="32"/>
                  <a:pt x="541" y="79"/>
                </a:cubicBezTo>
                <a:lnTo>
                  <a:pt x="541" y="906"/>
                </a:lnTo>
                <a:lnTo>
                  <a:pt x="302" y="906"/>
                </a:lnTo>
                <a:cubicBezTo>
                  <a:pt x="144" y="906"/>
                  <a:pt x="0" y="1034"/>
                  <a:pt x="0" y="1193"/>
                </a:cubicBezTo>
                <a:lnTo>
                  <a:pt x="0" y="4549"/>
                </a:lnTo>
                <a:cubicBezTo>
                  <a:pt x="0" y="4644"/>
                  <a:pt x="48" y="4724"/>
                  <a:pt x="112" y="4787"/>
                </a:cubicBezTo>
                <a:cubicBezTo>
                  <a:pt x="159" y="4851"/>
                  <a:pt x="255" y="4883"/>
                  <a:pt x="350" y="4883"/>
                </a:cubicBezTo>
                <a:close/>
                <a:moveTo>
                  <a:pt x="4279" y="2179"/>
                </a:moveTo>
                <a:lnTo>
                  <a:pt x="4279" y="4596"/>
                </a:lnTo>
                <a:cubicBezTo>
                  <a:pt x="4279" y="4676"/>
                  <a:pt x="4231" y="4724"/>
                  <a:pt x="4152" y="4724"/>
                </a:cubicBezTo>
                <a:lnTo>
                  <a:pt x="653" y="4724"/>
                </a:lnTo>
                <a:cubicBezTo>
                  <a:pt x="684" y="4692"/>
                  <a:pt x="684" y="4660"/>
                  <a:pt x="700" y="4628"/>
                </a:cubicBezTo>
                <a:lnTo>
                  <a:pt x="700" y="4613"/>
                </a:lnTo>
                <a:lnTo>
                  <a:pt x="700" y="4390"/>
                </a:lnTo>
                <a:lnTo>
                  <a:pt x="700" y="2545"/>
                </a:lnTo>
                <a:lnTo>
                  <a:pt x="700" y="2179"/>
                </a:lnTo>
                <a:cubicBezTo>
                  <a:pt x="700" y="2099"/>
                  <a:pt x="764" y="2051"/>
                  <a:pt x="827" y="2051"/>
                </a:cubicBezTo>
                <a:lnTo>
                  <a:pt x="4199" y="2051"/>
                </a:lnTo>
                <a:cubicBezTo>
                  <a:pt x="4247" y="2051"/>
                  <a:pt x="4279" y="2084"/>
                  <a:pt x="4279" y="2179"/>
                </a:cubicBezTo>
                <a:close/>
                <a:moveTo>
                  <a:pt x="2354" y="318"/>
                </a:moveTo>
                <a:lnTo>
                  <a:pt x="2959" y="906"/>
                </a:lnTo>
                <a:lnTo>
                  <a:pt x="2354" y="906"/>
                </a:lnTo>
                <a:close/>
                <a:moveTo>
                  <a:pt x="3706" y="1575"/>
                </a:moveTo>
                <a:cubicBezTo>
                  <a:pt x="3770" y="1575"/>
                  <a:pt x="3834" y="1638"/>
                  <a:pt x="3834" y="1718"/>
                </a:cubicBezTo>
                <a:lnTo>
                  <a:pt x="3834" y="1893"/>
                </a:lnTo>
                <a:lnTo>
                  <a:pt x="3245" y="1893"/>
                </a:lnTo>
                <a:lnTo>
                  <a:pt x="3245" y="1575"/>
                </a:lnTo>
                <a:close/>
                <a:moveTo>
                  <a:pt x="700" y="159"/>
                </a:moveTo>
                <a:lnTo>
                  <a:pt x="2195" y="159"/>
                </a:lnTo>
                <a:lnTo>
                  <a:pt x="2195" y="986"/>
                </a:lnTo>
                <a:cubicBezTo>
                  <a:pt x="2195" y="1034"/>
                  <a:pt x="2227" y="1066"/>
                  <a:pt x="2275" y="1066"/>
                </a:cubicBezTo>
                <a:lnTo>
                  <a:pt x="3086" y="1066"/>
                </a:lnTo>
                <a:lnTo>
                  <a:pt x="3086" y="1495"/>
                </a:lnTo>
                <a:lnTo>
                  <a:pt x="3086" y="1893"/>
                </a:lnTo>
                <a:lnTo>
                  <a:pt x="827" y="1893"/>
                </a:lnTo>
                <a:cubicBezTo>
                  <a:pt x="780" y="1893"/>
                  <a:pt x="732" y="1893"/>
                  <a:pt x="700" y="1924"/>
                </a:cubicBezTo>
                <a:close/>
                <a:moveTo>
                  <a:pt x="159" y="4549"/>
                </a:moveTo>
                <a:lnTo>
                  <a:pt x="159" y="1193"/>
                </a:lnTo>
                <a:cubicBezTo>
                  <a:pt x="159" y="1129"/>
                  <a:pt x="223" y="1066"/>
                  <a:pt x="302" y="1066"/>
                </a:cubicBezTo>
                <a:lnTo>
                  <a:pt x="541" y="1066"/>
                </a:lnTo>
                <a:lnTo>
                  <a:pt x="541" y="2179"/>
                </a:lnTo>
                <a:lnTo>
                  <a:pt x="541" y="2545"/>
                </a:lnTo>
                <a:lnTo>
                  <a:pt x="541" y="4596"/>
                </a:lnTo>
                <a:cubicBezTo>
                  <a:pt x="525" y="4644"/>
                  <a:pt x="493" y="4708"/>
                  <a:pt x="382" y="4724"/>
                </a:cubicBezTo>
                <a:lnTo>
                  <a:pt x="350" y="4724"/>
                </a:lnTo>
                <a:lnTo>
                  <a:pt x="335" y="4724"/>
                </a:lnTo>
                <a:cubicBezTo>
                  <a:pt x="287" y="4724"/>
                  <a:pt x="239" y="4708"/>
                  <a:pt x="223" y="4676"/>
                </a:cubicBezTo>
                <a:cubicBezTo>
                  <a:pt x="191" y="4644"/>
                  <a:pt x="159" y="4596"/>
                  <a:pt x="159" y="454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1" name="Freeform: Shape 18">
            <a:extLst>
              <a:ext uri="{FF2B5EF4-FFF2-40B4-BE49-F238E27FC236}">
                <a16:creationId xmlns:a16="http://schemas.microsoft.com/office/drawing/2014/main" id="{A0D9F5C3-3DBC-BE4F-BE7E-81EDECD03F11}"/>
              </a:ext>
            </a:extLst>
          </p:cNvPr>
          <p:cNvSpPr/>
          <p:nvPr/>
        </p:nvSpPr>
        <p:spPr>
          <a:xfrm>
            <a:off x="9896922" y="6514106"/>
            <a:ext cx="1614240" cy="1430999"/>
          </a:xfrm>
          <a:custGeom>
            <a:avLst/>
            <a:gdLst/>
            <a:ahLst/>
            <a:cxnLst>
              <a:cxn ang="3cd4">
                <a:pos x="hc" y="t"/>
              </a:cxn>
              <a:cxn ang="cd2">
                <a:pos x="l" y="vc"/>
              </a:cxn>
              <a:cxn ang="cd4">
                <a:pos x="hc" y="b"/>
              </a:cxn>
              <a:cxn ang="0">
                <a:pos x="r" y="vc"/>
              </a:cxn>
            </a:cxnLst>
            <a:rect l="l" t="t" r="r" b="b"/>
            <a:pathLst>
              <a:path w="4485" h="3976">
                <a:moveTo>
                  <a:pt x="2481" y="3817"/>
                </a:moveTo>
                <a:lnTo>
                  <a:pt x="2369" y="3817"/>
                </a:lnTo>
                <a:close/>
                <a:moveTo>
                  <a:pt x="349" y="3976"/>
                </a:moveTo>
                <a:lnTo>
                  <a:pt x="2592" y="3976"/>
                </a:lnTo>
                <a:cubicBezTo>
                  <a:pt x="2640" y="3976"/>
                  <a:pt x="2672" y="3944"/>
                  <a:pt x="2672" y="3896"/>
                </a:cubicBezTo>
                <a:cubicBezTo>
                  <a:pt x="2672" y="3865"/>
                  <a:pt x="2640" y="3817"/>
                  <a:pt x="2592" y="3817"/>
                </a:cubicBezTo>
                <a:lnTo>
                  <a:pt x="2481" y="3817"/>
                </a:lnTo>
                <a:lnTo>
                  <a:pt x="2369" y="3817"/>
                </a:lnTo>
                <a:lnTo>
                  <a:pt x="652" y="3817"/>
                </a:lnTo>
                <a:cubicBezTo>
                  <a:pt x="667" y="3785"/>
                  <a:pt x="684" y="3753"/>
                  <a:pt x="684" y="3705"/>
                </a:cubicBezTo>
                <a:cubicBezTo>
                  <a:pt x="684" y="3690"/>
                  <a:pt x="694" y="3620"/>
                  <a:pt x="699" y="3578"/>
                </a:cubicBezTo>
                <a:lnTo>
                  <a:pt x="699" y="1272"/>
                </a:lnTo>
                <a:cubicBezTo>
                  <a:pt x="699" y="1209"/>
                  <a:pt x="763" y="1145"/>
                  <a:pt x="827" y="1145"/>
                </a:cubicBezTo>
                <a:lnTo>
                  <a:pt x="4199" y="1145"/>
                </a:lnTo>
                <a:cubicBezTo>
                  <a:pt x="4262" y="1145"/>
                  <a:pt x="4326" y="1209"/>
                  <a:pt x="4326" y="1272"/>
                </a:cubicBezTo>
                <a:lnTo>
                  <a:pt x="4326" y="1956"/>
                </a:lnTo>
                <a:cubicBezTo>
                  <a:pt x="4326" y="2004"/>
                  <a:pt x="4357" y="2036"/>
                  <a:pt x="4405" y="2036"/>
                </a:cubicBezTo>
                <a:cubicBezTo>
                  <a:pt x="4453" y="2036"/>
                  <a:pt x="4485" y="2004"/>
                  <a:pt x="4485" y="1956"/>
                </a:cubicBezTo>
                <a:lnTo>
                  <a:pt x="4485" y="1272"/>
                </a:lnTo>
                <a:cubicBezTo>
                  <a:pt x="4485" y="1113"/>
                  <a:pt x="4357" y="986"/>
                  <a:pt x="4199" y="986"/>
                </a:cubicBezTo>
                <a:lnTo>
                  <a:pt x="3992" y="986"/>
                </a:lnTo>
                <a:lnTo>
                  <a:pt x="3992" y="811"/>
                </a:lnTo>
                <a:cubicBezTo>
                  <a:pt x="3992" y="652"/>
                  <a:pt x="3865" y="525"/>
                  <a:pt x="3705" y="525"/>
                </a:cubicBezTo>
                <a:lnTo>
                  <a:pt x="1702" y="525"/>
                </a:lnTo>
                <a:lnTo>
                  <a:pt x="1558" y="206"/>
                </a:lnTo>
                <a:cubicBezTo>
                  <a:pt x="1511" y="79"/>
                  <a:pt x="1399" y="0"/>
                  <a:pt x="1256" y="0"/>
                </a:cubicBezTo>
                <a:lnTo>
                  <a:pt x="286" y="0"/>
                </a:lnTo>
                <a:cubicBezTo>
                  <a:pt x="127" y="0"/>
                  <a:pt x="0" y="143"/>
                  <a:pt x="0" y="302"/>
                </a:cubicBezTo>
                <a:lnTo>
                  <a:pt x="0" y="3642"/>
                </a:lnTo>
                <a:cubicBezTo>
                  <a:pt x="0" y="3738"/>
                  <a:pt x="47" y="3817"/>
                  <a:pt x="95" y="3881"/>
                </a:cubicBezTo>
                <a:cubicBezTo>
                  <a:pt x="158" y="3944"/>
                  <a:pt x="238" y="3976"/>
                  <a:pt x="349" y="3976"/>
                </a:cubicBezTo>
                <a:close/>
                <a:moveTo>
                  <a:pt x="158" y="3642"/>
                </a:moveTo>
                <a:lnTo>
                  <a:pt x="158" y="302"/>
                </a:lnTo>
                <a:cubicBezTo>
                  <a:pt x="158" y="222"/>
                  <a:pt x="222" y="159"/>
                  <a:pt x="286" y="159"/>
                </a:cubicBezTo>
                <a:lnTo>
                  <a:pt x="1256" y="159"/>
                </a:lnTo>
                <a:cubicBezTo>
                  <a:pt x="1336" y="159"/>
                  <a:pt x="1383" y="206"/>
                  <a:pt x="1415" y="270"/>
                </a:cubicBezTo>
                <a:lnTo>
                  <a:pt x="1574" y="636"/>
                </a:lnTo>
                <a:cubicBezTo>
                  <a:pt x="1590" y="652"/>
                  <a:pt x="1622" y="684"/>
                  <a:pt x="1654" y="684"/>
                </a:cubicBezTo>
                <a:lnTo>
                  <a:pt x="3705" y="684"/>
                </a:lnTo>
                <a:cubicBezTo>
                  <a:pt x="3769" y="684"/>
                  <a:pt x="3833" y="731"/>
                  <a:pt x="3833" y="811"/>
                </a:cubicBezTo>
                <a:lnTo>
                  <a:pt x="3833" y="986"/>
                </a:lnTo>
                <a:lnTo>
                  <a:pt x="827" y="986"/>
                </a:lnTo>
                <a:cubicBezTo>
                  <a:pt x="667" y="986"/>
                  <a:pt x="540" y="1113"/>
                  <a:pt x="540" y="1272"/>
                </a:cubicBezTo>
                <a:lnTo>
                  <a:pt x="540" y="3642"/>
                </a:lnTo>
                <a:lnTo>
                  <a:pt x="540" y="3658"/>
                </a:lnTo>
                <a:cubicBezTo>
                  <a:pt x="540" y="3674"/>
                  <a:pt x="540" y="3690"/>
                  <a:pt x="524" y="3690"/>
                </a:cubicBezTo>
                <a:cubicBezTo>
                  <a:pt x="524" y="3753"/>
                  <a:pt x="477" y="3817"/>
                  <a:pt x="349" y="3817"/>
                </a:cubicBezTo>
                <a:cubicBezTo>
                  <a:pt x="286" y="3817"/>
                  <a:pt x="238" y="3801"/>
                  <a:pt x="206" y="3769"/>
                </a:cubicBezTo>
                <a:cubicBezTo>
                  <a:pt x="175" y="3738"/>
                  <a:pt x="158" y="3690"/>
                  <a:pt x="158" y="3642"/>
                </a:cubicBezTo>
                <a:close/>
                <a:moveTo>
                  <a:pt x="3165" y="3642"/>
                </a:moveTo>
                <a:cubicBezTo>
                  <a:pt x="3181" y="3769"/>
                  <a:pt x="3292" y="3865"/>
                  <a:pt x="3419" y="3865"/>
                </a:cubicBezTo>
                <a:lnTo>
                  <a:pt x="4023" y="3865"/>
                </a:lnTo>
                <a:cubicBezTo>
                  <a:pt x="4151" y="3865"/>
                  <a:pt x="4262" y="3769"/>
                  <a:pt x="4278" y="3642"/>
                </a:cubicBezTo>
                <a:lnTo>
                  <a:pt x="4405" y="2560"/>
                </a:lnTo>
                <a:cubicBezTo>
                  <a:pt x="4405" y="2529"/>
                  <a:pt x="4405" y="2512"/>
                  <a:pt x="4389" y="2497"/>
                </a:cubicBezTo>
                <a:cubicBezTo>
                  <a:pt x="4374" y="2481"/>
                  <a:pt x="4342" y="2465"/>
                  <a:pt x="4326" y="2465"/>
                </a:cubicBezTo>
                <a:lnTo>
                  <a:pt x="3117" y="2465"/>
                </a:lnTo>
                <a:cubicBezTo>
                  <a:pt x="3101" y="2465"/>
                  <a:pt x="3085" y="2481"/>
                  <a:pt x="3069" y="2497"/>
                </a:cubicBezTo>
                <a:cubicBezTo>
                  <a:pt x="3053" y="2512"/>
                  <a:pt x="3038" y="2529"/>
                  <a:pt x="3038" y="2560"/>
                </a:cubicBezTo>
                <a:close/>
                <a:moveTo>
                  <a:pt x="4230" y="2624"/>
                </a:moveTo>
                <a:lnTo>
                  <a:pt x="4119" y="3626"/>
                </a:lnTo>
                <a:cubicBezTo>
                  <a:pt x="4119" y="3674"/>
                  <a:pt x="4071" y="3705"/>
                  <a:pt x="4023" y="3705"/>
                </a:cubicBezTo>
                <a:lnTo>
                  <a:pt x="3419" y="3705"/>
                </a:lnTo>
                <a:cubicBezTo>
                  <a:pt x="3371" y="3705"/>
                  <a:pt x="3339" y="3674"/>
                  <a:pt x="3324" y="3626"/>
                </a:cubicBezTo>
                <a:lnTo>
                  <a:pt x="3212" y="2624"/>
                </a:lnTo>
                <a:close/>
                <a:moveTo>
                  <a:pt x="3944" y="3578"/>
                </a:moveTo>
                <a:lnTo>
                  <a:pt x="3960" y="3578"/>
                </a:lnTo>
                <a:cubicBezTo>
                  <a:pt x="3992" y="3578"/>
                  <a:pt x="4039" y="3547"/>
                  <a:pt x="4039" y="3499"/>
                </a:cubicBezTo>
                <a:lnTo>
                  <a:pt x="4087" y="2847"/>
                </a:lnTo>
                <a:cubicBezTo>
                  <a:pt x="4103" y="2799"/>
                  <a:pt x="4071" y="2767"/>
                  <a:pt x="4023" y="2751"/>
                </a:cubicBezTo>
                <a:cubicBezTo>
                  <a:pt x="3976" y="2751"/>
                  <a:pt x="3944" y="2783"/>
                  <a:pt x="3928" y="2831"/>
                </a:cubicBezTo>
                <a:lnTo>
                  <a:pt x="3880" y="3483"/>
                </a:lnTo>
                <a:cubicBezTo>
                  <a:pt x="3880" y="3530"/>
                  <a:pt x="3912" y="3562"/>
                  <a:pt x="3944" y="3578"/>
                </a:cubicBezTo>
                <a:close/>
                <a:moveTo>
                  <a:pt x="3721" y="3578"/>
                </a:moveTo>
                <a:cubicBezTo>
                  <a:pt x="3769" y="3578"/>
                  <a:pt x="3801" y="3530"/>
                  <a:pt x="3801" y="3499"/>
                </a:cubicBezTo>
                <a:lnTo>
                  <a:pt x="3801" y="2831"/>
                </a:lnTo>
                <a:cubicBezTo>
                  <a:pt x="3801" y="2783"/>
                  <a:pt x="3769" y="2751"/>
                  <a:pt x="3721" y="2751"/>
                </a:cubicBezTo>
                <a:cubicBezTo>
                  <a:pt x="3674" y="2751"/>
                  <a:pt x="3642" y="2783"/>
                  <a:pt x="3642" y="2831"/>
                </a:cubicBezTo>
                <a:lnTo>
                  <a:pt x="3642" y="3499"/>
                </a:lnTo>
                <a:cubicBezTo>
                  <a:pt x="3642" y="3530"/>
                  <a:pt x="3674" y="3578"/>
                  <a:pt x="3721" y="3578"/>
                </a:cubicBezTo>
                <a:close/>
                <a:moveTo>
                  <a:pt x="3483" y="3578"/>
                </a:moveTo>
                <a:lnTo>
                  <a:pt x="3499" y="3578"/>
                </a:lnTo>
                <a:cubicBezTo>
                  <a:pt x="3547" y="3562"/>
                  <a:pt x="3578" y="3530"/>
                  <a:pt x="3562" y="3483"/>
                </a:cubicBezTo>
                <a:lnTo>
                  <a:pt x="3514" y="2831"/>
                </a:lnTo>
                <a:cubicBezTo>
                  <a:pt x="3514" y="2783"/>
                  <a:pt x="3467" y="2751"/>
                  <a:pt x="3419" y="2751"/>
                </a:cubicBezTo>
                <a:cubicBezTo>
                  <a:pt x="3387" y="2767"/>
                  <a:pt x="3356" y="2799"/>
                  <a:pt x="3356" y="2847"/>
                </a:cubicBezTo>
                <a:lnTo>
                  <a:pt x="3403" y="3499"/>
                </a:lnTo>
                <a:cubicBezTo>
                  <a:pt x="3419" y="3547"/>
                  <a:pt x="3451" y="3578"/>
                  <a:pt x="3483" y="3578"/>
                </a:cubicBezTo>
                <a:close/>
                <a:moveTo>
                  <a:pt x="3149" y="2369"/>
                </a:moveTo>
                <a:cubicBezTo>
                  <a:pt x="3149" y="2354"/>
                  <a:pt x="3165" y="2338"/>
                  <a:pt x="3181" y="2338"/>
                </a:cubicBezTo>
                <a:lnTo>
                  <a:pt x="4262" y="2338"/>
                </a:lnTo>
                <a:cubicBezTo>
                  <a:pt x="4278" y="2338"/>
                  <a:pt x="4294" y="2354"/>
                  <a:pt x="4310" y="2369"/>
                </a:cubicBezTo>
                <a:cubicBezTo>
                  <a:pt x="4326" y="2402"/>
                  <a:pt x="4342" y="2417"/>
                  <a:pt x="4374" y="2417"/>
                </a:cubicBezTo>
                <a:cubicBezTo>
                  <a:pt x="4389" y="2417"/>
                  <a:pt x="4395" y="2407"/>
                  <a:pt x="4405" y="2402"/>
                </a:cubicBezTo>
                <a:cubicBezTo>
                  <a:pt x="4453" y="2385"/>
                  <a:pt x="4469" y="2338"/>
                  <a:pt x="4453" y="2306"/>
                </a:cubicBezTo>
                <a:cubicBezTo>
                  <a:pt x="4421" y="2226"/>
                  <a:pt x="4342" y="2194"/>
                  <a:pt x="4262" y="2179"/>
                </a:cubicBezTo>
                <a:lnTo>
                  <a:pt x="3181" y="2179"/>
                </a:lnTo>
                <a:cubicBezTo>
                  <a:pt x="3101" y="2194"/>
                  <a:pt x="3021" y="2226"/>
                  <a:pt x="2990" y="2306"/>
                </a:cubicBezTo>
                <a:cubicBezTo>
                  <a:pt x="2974" y="2338"/>
                  <a:pt x="2990" y="2385"/>
                  <a:pt x="3038" y="2402"/>
                </a:cubicBezTo>
                <a:cubicBezTo>
                  <a:pt x="3053" y="2402"/>
                  <a:pt x="3053" y="2417"/>
                  <a:pt x="3069" y="2417"/>
                </a:cubicBezTo>
                <a:cubicBezTo>
                  <a:pt x="3101" y="2417"/>
                  <a:pt x="3133" y="2402"/>
                  <a:pt x="3149" y="236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2" name="TextBox 121">
            <a:extLst>
              <a:ext uri="{FF2B5EF4-FFF2-40B4-BE49-F238E27FC236}">
                <a16:creationId xmlns:a16="http://schemas.microsoft.com/office/drawing/2014/main" id="{629EE888-936B-8B49-96DF-43F3ED25314E}"/>
              </a:ext>
            </a:extLst>
          </p:cNvPr>
          <p:cNvSpPr txBox="1"/>
          <p:nvPr/>
        </p:nvSpPr>
        <p:spPr>
          <a:xfrm>
            <a:off x="13319881" y="11661842"/>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iles Locked</a:t>
            </a:r>
          </a:p>
        </p:txBody>
      </p:sp>
      <p:sp>
        <p:nvSpPr>
          <p:cNvPr id="123" name="Freeform: Shape 15">
            <a:extLst>
              <a:ext uri="{FF2B5EF4-FFF2-40B4-BE49-F238E27FC236}">
                <a16:creationId xmlns:a16="http://schemas.microsoft.com/office/drawing/2014/main" id="{E8402529-122B-4742-803F-07534EA5517E}"/>
              </a:ext>
            </a:extLst>
          </p:cNvPr>
          <p:cNvSpPr/>
          <p:nvPr/>
        </p:nvSpPr>
        <p:spPr>
          <a:xfrm>
            <a:off x="13704671" y="9572531"/>
            <a:ext cx="1722960" cy="1957680"/>
          </a:xfrm>
          <a:custGeom>
            <a:avLst/>
            <a:gdLst/>
            <a:ahLst/>
            <a:cxnLst>
              <a:cxn ang="3cd4">
                <a:pos x="hc" y="t"/>
              </a:cxn>
              <a:cxn ang="cd2">
                <a:pos x="l" y="vc"/>
              </a:cxn>
              <a:cxn ang="cd4">
                <a:pos x="hc" y="b"/>
              </a:cxn>
              <a:cxn ang="0">
                <a:pos x="r" y="vc"/>
              </a:cxn>
            </a:cxnLst>
            <a:rect l="l" t="t" r="r" b="b"/>
            <a:pathLst>
              <a:path w="4787" h="5439">
                <a:moveTo>
                  <a:pt x="4597" y="4024"/>
                </a:moveTo>
                <a:lnTo>
                  <a:pt x="4597" y="3960"/>
                </a:lnTo>
                <a:cubicBezTo>
                  <a:pt x="4597" y="3515"/>
                  <a:pt x="4263" y="3149"/>
                  <a:pt x="3833" y="3149"/>
                </a:cubicBezTo>
                <a:cubicBezTo>
                  <a:pt x="3420" y="3149"/>
                  <a:pt x="3070" y="3515"/>
                  <a:pt x="3070" y="3960"/>
                </a:cubicBezTo>
                <a:lnTo>
                  <a:pt x="3070" y="4024"/>
                </a:lnTo>
                <a:cubicBezTo>
                  <a:pt x="2958" y="4024"/>
                  <a:pt x="2879" y="4119"/>
                  <a:pt x="2879" y="4214"/>
                </a:cubicBezTo>
                <a:lnTo>
                  <a:pt x="2879" y="5248"/>
                </a:lnTo>
                <a:cubicBezTo>
                  <a:pt x="2879" y="5344"/>
                  <a:pt x="2958" y="5439"/>
                  <a:pt x="3070" y="5439"/>
                </a:cubicBezTo>
                <a:lnTo>
                  <a:pt x="4597" y="5439"/>
                </a:lnTo>
                <a:cubicBezTo>
                  <a:pt x="4708" y="5439"/>
                  <a:pt x="4787" y="5344"/>
                  <a:pt x="4787" y="5248"/>
                </a:cubicBezTo>
                <a:lnTo>
                  <a:pt x="4787" y="4214"/>
                </a:lnTo>
                <a:cubicBezTo>
                  <a:pt x="4787" y="4119"/>
                  <a:pt x="4708" y="4024"/>
                  <a:pt x="4597" y="4024"/>
                </a:cubicBezTo>
                <a:close/>
                <a:moveTo>
                  <a:pt x="3229" y="3960"/>
                </a:moveTo>
                <a:cubicBezTo>
                  <a:pt x="3229" y="3610"/>
                  <a:pt x="3499" y="3308"/>
                  <a:pt x="3833" y="3308"/>
                </a:cubicBezTo>
                <a:cubicBezTo>
                  <a:pt x="4168" y="3308"/>
                  <a:pt x="4438" y="3610"/>
                  <a:pt x="4438" y="3960"/>
                </a:cubicBezTo>
                <a:lnTo>
                  <a:pt x="4438" y="4024"/>
                </a:lnTo>
                <a:lnTo>
                  <a:pt x="3245" y="4024"/>
                </a:lnTo>
                <a:cubicBezTo>
                  <a:pt x="3229" y="4008"/>
                  <a:pt x="3229" y="3992"/>
                  <a:pt x="3229" y="3960"/>
                </a:cubicBezTo>
                <a:close/>
                <a:moveTo>
                  <a:pt x="4629" y="5248"/>
                </a:moveTo>
                <a:cubicBezTo>
                  <a:pt x="4629" y="5264"/>
                  <a:pt x="4613" y="5280"/>
                  <a:pt x="4597" y="5280"/>
                </a:cubicBezTo>
                <a:lnTo>
                  <a:pt x="3070" y="5280"/>
                </a:lnTo>
                <a:cubicBezTo>
                  <a:pt x="3038" y="5280"/>
                  <a:pt x="3022" y="5264"/>
                  <a:pt x="3022" y="5248"/>
                </a:cubicBezTo>
                <a:lnTo>
                  <a:pt x="3022" y="4214"/>
                </a:lnTo>
                <a:cubicBezTo>
                  <a:pt x="3022" y="4199"/>
                  <a:pt x="3038" y="4182"/>
                  <a:pt x="3070" y="4182"/>
                </a:cubicBezTo>
                <a:lnTo>
                  <a:pt x="4597" y="4182"/>
                </a:lnTo>
                <a:cubicBezTo>
                  <a:pt x="4613" y="4182"/>
                  <a:pt x="4629" y="4199"/>
                  <a:pt x="4629" y="4214"/>
                </a:cubicBezTo>
                <a:close/>
                <a:moveTo>
                  <a:pt x="1145" y="795"/>
                </a:moveTo>
                <a:lnTo>
                  <a:pt x="1861" y="795"/>
                </a:lnTo>
                <a:cubicBezTo>
                  <a:pt x="1909" y="795"/>
                  <a:pt x="1941" y="763"/>
                  <a:pt x="1941" y="715"/>
                </a:cubicBezTo>
                <a:cubicBezTo>
                  <a:pt x="1941" y="668"/>
                  <a:pt x="1909" y="636"/>
                  <a:pt x="1861" y="636"/>
                </a:cubicBezTo>
                <a:lnTo>
                  <a:pt x="1145" y="636"/>
                </a:lnTo>
                <a:cubicBezTo>
                  <a:pt x="1097" y="636"/>
                  <a:pt x="1066" y="683"/>
                  <a:pt x="1066" y="715"/>
                </a:cubicBezTo>
                <a:cubicBezTo>
                  <a:pt x="1066" y="763"/>
                  <a:pt x="1097" y="795"/>
                  <a:pt x="1145" y="795"/>
                </a:cubicBezTo>
                <a:close/>
                <a:moveTo>
                  <a:pt x="1145" y="1209"/>
                </a:moveTo>
                <a:lnTo>
                  <a:pt x="1861" y="1209"/>
                </a:lnTo>
                <a:cubicBezTo>
                  <a:pt x="1909" y="1209"/>
                  <a:pt x="1941" y="1176"/>
                  <a:pt x="1941" y="1129"/>
                </a:cubicBezTo>
                <a:cubicBezTo>
                  <a:pt x="1941" y="1081"/>
                  <a:pt x="1909" y="1049"/>
                  <a:pt x="1861" y="1049"/>
                </a:cubicBezTo>
                <a:lnTo>
                  <a:pt x="1145" y="1049"/>
                </a:lnTo>
                <a:cubicBezTo>
                  <a:pt x="1097" y="1049"/>
                  <a:pt x="1066" y="1081"/>
                  <a:pt x="1066" y="1129"/>
                </a:cubicBezTo>
                <a:cubicBezTo>
                  <a:pt x="1066" y="1176"/>
                  <a:pt x="1097" y="1209"/>
                  <a:pt x="1145" y="1209"/>
                </a:cubicBezTo>
                <a:close/>
                <a:moveTo>
                  <a:pt x="2704" y="1463"/>
                </a:moveTo>
                <a:lnTo>
                  <a:pt x="1130" y="1463"/>
                </a:lnTo>
                <a:cubicBezTo>
                  <a:pt x="1082" y="1463"/>
                  <a:pt x="1050" y="1495"/>
                  <a:pt x="1050" y="1542"/>
                </a:cubicBezTo>
                <a:cubicBezTo>
                  <a:pt x="1050" y="1590"/>
                  <a:pt x="1082" y="1622"/>
                  <a:pt x="1130" y="1622"/>
                </a:cubicBezTo>
                <a:lnTo>
                  <a:pt x="2704" y="1622"/>
                </a:lnTo>
                <a:cubicBezTo>
                  <a:pt x="2752" y="1622"/>
                  <a:pt x="2784" y="1590"/>
                  <a:pt x="2784" y="1542"/>
                </a:cubicBezTo>
                <a:cubicBezTo>
                  <a:pt x="2784" y="1495"/>
                  <a:pt x="2752" y="1463"/>
                  <a:pt x="2704" y="1463"/>
                </a:cubicBezTo>
                <a:close/>
                <a:moveTo>
                  <a:pt x="4358" y="3021"/>
                </a:moveTo>
                <a:cubicBezTo>
                  <a:pt x="4406" y="3021"/>
                  <a:pt x="4438" y="2990"/>
                  <a:pt x="4438" y="2942"/>
                </a:cubicBezTo>
                <a:lnTo>
                  <a:pt x="4438" y="2163"/>
                </a:lnTo>
                <a:cubicBezTo>
                  <a:pt x="4438" y="1988"/>
                  <a:pt x="4342" y="1876"/>
                  <a:pt x="4183" y="1876"/>
                </a:cubicBezTo>
                <a:lnTo>
                  <a:pt x="3992" y="1876"/>
                </a:lnTo>
                <a:lnTo>
                  <a:pt x="3992" y="1701"/>
                </a:lnTo>
                <a:cubicBezTo>
                  <a:pt x="3992" y="1542"/>
                  <a:pt x="3865" y="1415"/>
                  <a:pt x="3706" y="1415"/>
                </a:cubicBezTo>
                <a:lnTo>
                  <a:pt x="3245" y="1415"/>
                </a:lnTo>
                <a:lnTo>
                  <a:pt x="3245" y="986"/>
                </a:lnTo>
                <a:cubicBezTo>
                  <a:pt x="3245" y="970"/>
                  <a:pt x="3229" y="954"/>
                  <a:pt x="3213" y="938"/>
                </a:cubicBezTo>
                <a:lnTo>
                  <a:pt x="2290" y="16"/>
                </a:lnTo>
                <a:cubicBezTo>
                  <a:pt x="2275" y="0"/>
                  <a:pt x="2259" y="0"/>
                  <a:pt x="2227" y="0"/>
                </a:cubicBezTo>
                <a:lnTo>
                  <a:pt x="605" y="0"/>
                </a:lnTo>
                <a:cubicBezTo>
                  <a:pt x="573" y="0"/>
                  <a:pt x="525" y="31"/>
                  <a:pt x="525" y="79"/>
                </a:cubicBezTo>
                <a:lnTo>
                  <a:pt x="525" y="906"/>
                </a:lnTo>
                <a:lnTo>
                  <a:pt x="287" y="906"/>
                </a:lnTo>
                <a:cubicBezTo>
                  <a:pt x="127" y="906"/>
                  <a:pt x="0" y="1033"/>
                  <a:pt x="0" y="1192"/>
                </a:cubicBezTo>
                <a:lnTo>
                  <a:pt x="0" y="4548"/>
                </a:lnTo>
                <a:cubicBezTo>
                  <a:pt x="0" y="4628"/>
                  <a:pt x="32" y="4723"/>
                  <a:pt x="96" y="4787"/>
                </a:cubicBezTo>
                <a:cubicBezTo>
                  <a:pt x="159" y="4851"/>
                  <a:pt x="239" y="4882"/>
                  <a:pt x="334" y="4882"/>
                </a:cubicBezTo>
                <a:lnTo>
                  <a:pt x="2577" y="4882"/>
                </a:lnTo>
                <a:cubicBezTo>
                  <a:pt x="2609" y="4882"/>
                  <a:pt x="2641" y="4835"/>
                  <a:pt x="2656" y="4803"/>
                </a:cubicBezTo>
                <a:cubicBezTo>
                  <a:pt x="2656" y="4755"/>
                  <a:pt x="2609" y="4723"/>
                  <a:pt x="2577" y="4723"/>
                </a:cubicBezTo>
                <a:lnTo>
                  <a:pt x="652" y="4723"/>
                </a:lnTo>
                <a:cubicBezTo>
                  <a:pt x="668" y="4676"/>
                  <a:pt x="684" y="4644"/>
                  <a:pt x="684" y="4612"/>
                </a:cubicBezTo>
                <a:cubicBezTo>
                  <a:pt x="684" y="4596"/>
                  <a:pt x="700" y="4580"/>
                  <a:pt x="684" y="4373"/>
                </a:cubicBezTo>
                <a:lnTo>
                  <a:pt x="684" y="2545"/>
                </a:lnTo>
                <a:lnTo>
                  <a:pt x="684" y="2163"/>
                </a:lnTo>
                <a:cubicBezTo>
                  <a:pt x="684" y="2099"/>
                  <a:pt x="748" y="2036"/>
                  <a:pt x="827" y="2036"/>
                </a:cubicBezTo>
                <a:lnTo>
                  <a:pt x="4183" y="2036"/>
                </a:lnTo>
                <a:cubicBezTo>
                  <a:pt x="4247" y="2036"/>
                  <a:pt x="4278" y="2083"/>
                  <a:pt x="4278" y="2163"/>
                </a:cubicBezTo>
                <a:lnTo>
                  <a:pt x="4278" y="2942"/>
                </a:lnTo>
                <a:cubicBezTo>
                  <a:pt x="4278" y="2990"/>
                  <a:pt x="4311" y="3021"/>
                  <a:pt x="4358" y="3021"/>
                </a:cubicBezTo>
                <a:close/>
                <a:moveTo>
                  <a:pt x="3706" y="1574"/>
                </a:moveTo>
                <a:cubicBezTo>
                  <a:pt x="3770" y="1574"/>
                  <a:pt x="3833" y="1638"/>
                  <a:pt x="3833" y="1701"/>
                </a:cubicBezTo>
                <a:lnTo>
                  <a:pt x="3833" y="1876"/>
                </a:lnTo>
                <a:lnTo>
                  <a:pt x="3245" y="1876"/>
                </a:lnTo>
                <a:lnTo>
                  <a:pt x="3245" y="1574"/>
                </a:lnTo>
                <a:close/>
                <a:moveTo>
                  <a:pt x="2354" y="302"/>
                </a:moveTo>
                <a:lnTo>
                  <a:pt x="2958" y="906"/>
                </a:lnTo>
                <a:lnTo>
                  <a:pt x="2354" y="906"/>
                </a:lnTo>
                <a:close/>
                <a:moveTo>
                  <a:pt x="525" y="4596"/>
                </a:moveTo>
                <a:cubicBezTo>
                  <a:pt x="525" y="4628"/>
                  <a:pt x="493" y="4723"/>
                  <a:pt x="334" y="4723"/>
                </a:cubicBezTo>
                <a:cubicBezTo>
                  <a:pt x="270" y="4723"/>
                  <a:pt x="239" y="4708"/>
                  <a:pt x="207" y="4676"/>
                </a:cubicBezTo>
                <a:cubicBezTo>
                  <a:pt x="175" y="4644"/>
                  <a:pt x="159" y="4596"/>
                  <a:pt x="159" y="4548"/>
                </a:cubicBezTo>
                <a:lnTo>
                  <a:pt x="159" y="1192"/>
                </a:lnTo>
                <a:cubicBezTo>
                  <a:pt x="159" y="1113"/>
                  <a:pt x="223" y="1065"/>
                  <a:pt x="287" y="1065"/>
                </a:cubicBezTo>
                <a:lnTo>
                  <a:pt x="525" y="1065"/>
                </a:lnTo>
                <a:lnTo>
                  <a:pt x="525" y="2163"/>
                </a:lnTo>
                <a:lnTo>
                  <a:pt x="525" y="2545"/>
                </a:lnTo>
                <a:close/>
                <a:moveTo>
                  <a:pt x="684" y="1908"/>
                </a:moveTo>
                <a:lnTo>
                  <a:pt x="684" y="159"/>
                </a:lnTo>
                <a:lnTo>
                  <a:pt x="2195" y="159"/>
                </a:lnTo>
                <a:lnTo>
                  <a:pt x="2195" y="986"/>
                </a:lnTo>
                <a:cubicBezTo>
                  <a:pt x="2195" y="1018"/>
                  <a:pt x="2227" y="1065"/>
                  <a:pt x="2275" y="1065"/>
                </a:cubicBezTo>
                <a:lnTo>
                  <a:pt x="3086" y="1065"/>
                </a:lnTo>
                <a:lnTo>
                  <a:pt x="3086" y="1495"/>
                </a:lnTo>
                <a:lnTo>
                  <a:pt x="3086" y="1876"/>
                </a:lnTo>
                <a:lnTo>
                  <a:pt x="827" y="1876"/>
                </a:lnTo>
                <a:cubicBezTo>
                  <a:pt x="779" y="1876"/>
                  <a:pt x="732" y="1892"/>
                  <a:pt x="684" y="190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4" name="TextBox 123">
            <a:extLst>
              <a:ext uri="{FF2B5EF4-FFF2-40B4-BE49-F238E27FC236}">
                <a16:creationId xmlns:a16="http://schemas.microsoft.com/office/drawing/2014/main" id="{73D886EB-CA02-3B49-B2A9-0B0FE3B059FC}"/>
              </a:ext>
            </a:extLst>
          </p:cNvPr>
          <p:cNvSpPr txBox="1"/>
          <p:nvPr/>
        </p:nvSpPr>
        <p:spPr>
          <a:xfrm>
            <a:off x="16422872" y="11661842"/>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Files Locked 2</a:t>
            </a:r>
            <a:endParaRPr lang="en-US" sz="2800" dirty="0"/>
          </a:p>
        </p:txBody>
      </p:sp>
      <p:sp>
        <p:nvSpPr>
          <p:cNvPr id="125" name="TextBox 124">
            <a:extLst>
              <a:ext uri="{FF2B5EF4-FFF2-40B4-BE49-F238E27FC236}">
                <a16:creationId xmlns:a16="http://schemas.microsoft.com/office/drawing/2014/main" id="{82A8681C-B249-5148-AD73-00D23F82635D}"/>
              </a:ext>
            </a:extLst>
          </p:cNvPr>
          <p:cNvSpPr txBox="1"/>
          <p:nvPr/>
        </p:nvSpPr>
        <p:spPr>
          <a:xfrm>
            <a:off x="13174823" y="8324041"/>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iles Checked</a:t>
            </a:r>
          </a:p>
        </p:txBody>
      </p:sp>
      <p:sp>
        <p:nvSpPr>
          <p:cNvPr id="126" name="Freeform: Shape 26">
            <a:extLst>
              <a:ext uri="{FF2B5EF4-FFF2-40B4-BE49-F238E27FC236}">
                <a16:creationId xmlns:a16="http://schemas.microsoft.com/office/drawing/2014/main" id="{09E1E000-E6D3-6249-B694-C88382AD2AAD}"/>
              </a:ext>
            </a:extLst>
          </p:cNvPr>
          <p:cNvSpPr/>
          <p:nvPr/>
        </p:nvSpPr>
        <p:spPr>
          <a:xfrm>
            <a:off x="18205203" y="10441761"/>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rgbClr val="01010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7" name="Freeform: Shape 17">
            <a:extLst>
              <a:ext uri="{FF2B5EF4-FFF2-40B4-BE49-F238E27FC236}">
                <a16:creationId xmlns:a16="http://schemas.microsoft.com/office/drawing/2014/main" id="{78475BFE-7925-AD4C-8856-3B21AAA5EABA}"/>
              </a:ext>
            </a:extLst>
          </p:cNvPr>
          <p:cNvSpPr/>
          <p:nvPr/>
        </p:nvSpPr>
        <p:spPr>
          <a:xfrm>
            <a:off x="17431319" y="9600543"/>
            <a:ext cx="1723320" cy="1631520"/>
          </a:xfrm>
          <a:custGeom>
            <a:avLst/>
            <a:gdLst/>
            <a:ahLst/>
            <a:cxnLst>
              <a:cxn ang="3cd4">
                <a:pos x="hc" y="t"/>
              </a:cxn>
              <a:cxn ang="cd2">
                <a:pos x="l" y="vc"/>
              </a:cxn>
              <a:cxn ang="cd4">
                <a:pos x="hc" y="b"/>
              </a:cxn>
              <a:cxn ang="0">
                <a:pos x="r" y="vc"/>
              </a:cxn>
            </a:cxnLst>
            <a:rect l="l" t="t" r="r" b="b"/>
            <a:pathLst>
              <a:path w="4788" h="4533">
                <a:moveTo>
                  <a:pt x="4597" y="3117"/>
                </a:moveTo>
                <a:lnTo>
                  <a:pt x="4597" y="3053"/>
                </a:lnTo>
                <a:cubicBezTo>
                  <a:pt x="4597" y="2608"/>
                  <a:pt x="4247" y="2258"/>
                  <a:pt x="3833" y="2258"/>
                </a:cubicBezTo>
                <a:cubicBezTo>
                  <a:pt x="3420" y="2258"/>
                  <a:pt x="3070" y="2608"/>
                  <a:pt x="3070" y="3053"/>
                </a:cubicBezTo>
                <a:lnTo>
                  <a:pt x="3070" y="3117"/>
                </a:lnTo>
                <a:cubicBezTo>
                  <a:pt x="2958" y="3117"/>
                  <a:pt x="2863" y="3213"/>
                  <a:pt x="2863" y="3308"/>
                </a:cubicBezTo>
                <a:lnTo>
                  <a:pt x="2863" y="4342"/>
                </a:lnTo>
                <a:cubicBezTo>
                  <a:pt x="2863" y="4453"/>
                  <a:pt x="2958" y="4533"/>
                  <a:pt x="3070" y="4533"/>
                </a:cubicBezTo>
                <a:lnTo>
                  <a:pt x="4597" y="4533"/>
                </a:lnTo>
                <a:cubicBezTo>
                  <a:pt x="4708" y="4533"/>
                  <a:pt x="4788" y="4453"/>
                  <a:pt x="4788" y="4342"/>
                </a:cubicBezTo>
                <a:lnTo>
                  <a:pt x="4788" y="3308"/>
                </a:lnTo>
                <a:cubicBezTo>
                  <a:pt x="4788" y="3213"/>
                  <a:pt x="4708" y="3117"/>
                  <a:pt x="4597" y="3117"/>
                </a:cubicBezTo>
                <a:close/>
                <a:moveTo>
                  <a:pt x="3229" y="3053"/>
                </a:moveTo>
                <a:cubicBezTo>
                  <a:pt x="3229" y="2704"/>
                  <a:pt x="3499" y="2417"/>
                  <a:pt x="3833" y="2417"/>
                </a:cubicBezTo>
                <a:cubicBezTo>
                  <a:pt x="4167" y="2417"/>
                  <a:pt x="4437" y="2704"/>
                  <a:pt x="4437" y="3053"/>
                </a:cubicBezTo>
                <a:lnTo>
                  <a:pt x="4437" y="3117"/>
                </a:lnTo>
                <a:lnTo>
                  <a:pt x="3229" y="3117"/>
                </a:lnTo>
                <a:close/>
                <a:moveTo>
                  <a:pt x="4628" y="3308"/>
                </a:moveTo>
                <a:lnTo>
                  <a:pt x="4628" y="4342"/>
                </a:lnTo>
                <a:cubicBezTo>
                  <a:pt x="4628" y="4358"/>
                  <a:pt x="4613" y="4374"/>
                  <a:pt x="4597" y="4374"/>
                </a:cubicBezTo>
                <a:lnTo>
                  <a:pt x="3070" y="4374"/>
                </a:lnTo>
                <a:cubicBezTo>
                  <a:pt x="3038" y="4374"/>
                  <a:pt x="3022" y="4358"/>
                  <a:pt x="3022" y="4342"/>
                </a:cubicBezTo>
                <a:lnTo>
                  <a:pt x="3022" y="3308"/>
                </a:lnTo>
                <a:cubicBezTo>
                  <a:pt x="3022" y="3292"/>
                  <a:pt x="3038" y="3276"/>
                  <a:pt x="3070" y="3276"/>
                </a:cubicBezTo>
                <a:lnTo>
                  <a:pt x="4597" y="3276"/>
                </a:lnTo>
                <a:cubicBezTo>
                  <a:pt x="4613" y="3276"/>
                  <a:pt x="4628" y="3292"/>
                  <a:pt x="4628" y="3308"/>
                </a:cubicBezTo>
                <a:close/>
                <a:moveTo>
                  <a:pt x="0" y="286"/>
                </a:moveTo>
                <a:lnTo>
                  <a:pt x="0" y="3642"/>
                </a:lnTo>
                <a:cubicBezTo>
                  <a:pt x="0" y="3722"/>
                  <a:pt x="32" y="3801"/>
                  <a:pt x="80" y="3865"/>
                </a:cubicBezTo>
                <a:cubicBezTo>
                  <a:pt x="127" y="3912"/>
                  <a:pt x="207" y="3976"/>
                  <a:pt x="334" y="3976"/>
                </a:cubicBezTo>
                <a:lnTo>
                  <a:pt x="2561" y="3976"/>
                </a:lnTo>
                <a:cubicBezTo>
                  <a:pt x="2608" y="3976"/>
                  <a:pt x="2640" y="3944"/>
                  <a:pt x="2640" y="3897"/>
                </a:cubicBezTo>
                <a:cubicBezTo>
                  <a:pt x="2640" y="3849"/>
                  <a:pt x="2608" y="3817"/>
                  <a:pt x="2561" y="3817"/>
                </a:cubicBezTo>
                <a:lnTo>
                  <a:pt x="652" y="3817"/>
                </a:lnTo>
                <a:cubicBezTo>
                  <a:pt x="668" y="3785"/>
                  <a:pt x="684" y="3737"/>
                  <a:pt x="684" y="3706"/>
                </a:cubicBezTo>
                <a:lnTo>
                  <a:pt x="684" y="3467"/>
                </a:lnTo>
                <a:lnTo>
                  <a:pt x="684" y="1256"/>
                </a:lnTo>
                <a:cubicBezTo>
                  <a:pt x="684" y="1193"/>
                  <a:pt x="748" y="1129"/>
                  <a:pt x="827" y="1129"/>
                </a:cubicBezTo>
                <a:lnTo>
                  <a:pt x="4183" y="1129"/>
                </a:lnTo>
                <a:cubicBezTo>
                  <a:pt x="4247" y="1129"/>
                  <a:pt x="4279" y="1177"/>
                  <a:pt x="4279" y="1256"/>
                </a:cubicBezTo>
                <a:lnTo>
                  <a:pt x="4279" y="2035"/>
                </a:lnTo>
                <a:cubicBezTo>
                  <a:pt x="4279" y="2083"/>
                  <a:pt x="4310" y="2115"/>
                  <a:pt x="4358" y="2115"/>
                </a:cubicBezTo>
                <a:cubicBezTo>
                  <a:pt x="4406" y="2115"/>
                  <a:pt x="4437" y="2083"/>
                  <a:pt x="4437" y="2035"/>
                </a:cubicBezTo>
                <a:lnTo>
                  <a:pt x="4437" y="1256"/>
                </a:lnTo>
                <a:cubicBezTo>
                  <a:pt x="4437" y="1081"/>
                  <a:pt x="4342" y="970"/>
                  <a:pt x="4183" y="970"/>
                </a:cubicBezTo>
                <a:lnTo>
                  <a:pt x="3992" y="970"/>
                </a:lnTo>
                <a:lnTo>
                  <a:pt x="3992" y="795"/>
                </a:lnTo>
                <a:cubicBezTo>
                  <a:pt x="3992" y="636"/>
                  <a:pt x="3849" y="508"/>
                  <a:pt x="3690" y="508"/>
                </a:cubicBezTo>
                <a:lnTo>
                  <a:pt x="1686" y="508"/>
                </a:lnTo>
                <a:lnTo>
                  <a:pt x="1559" y="190"/>
                </a:lnTo>
                <a:cubicBezTo>
                  <a:pt x="1511" y="79"/>
                  <a:pt x="1384" y="0"/>
                  <a:pt x="1257" y="0"/>
                </a:cubicBezTo>
                <a:lnTo>
                  <a:pt x="286" y="0"/>
                </a:lnTo>
                <a:cubicBezTo>
                  <a:pt x="127" y="0"/>
                  <a:pt x="0" y="127"/>
                  <a:pt x="0" y="286"/>
                </a:cubicBezTo>
                <a:close/>
                <a:moveTo>
                  <a:pt x="159" y="286"/>
                </a:moveTo>
                <a:cubicBezTo>
                  <a:pt x="159" y="207"/>
                  <a:pt x="223" y="159"/>
                  <a:pt x="286" y="159"/>
                </a:cubicBezTo>
                <a:lnTo>
                  <a:pt x="1257" y="159"/>
                </a:lnTo>
                <a:cubicBezTo>
                  <a:pt x="1320" y="159"/>
                  <a:pt x="1384" y="190"/>
                  <a:pt x="1416" y="254"/>
                </a:cubicBezTo>
                <a:lnTo>
                  <a:pt x="1575" y="620"/>
                </a:lnTo>
                <a:cubicBezTo>
                  <a:pt x="1575" y="652"/>
                  <a:pt x="1607" y="668"/>
                  <a:pt x="1638" y="668"/>
                </a:cubicBezTo>
                <a:lnTo>
                  <a:pt x="3690" y="668"/>
                </a:lnTo>
                <a:cubicBezTo>
                  <a:pt x="3770" y="668"/>
                  <a:pt x="3833" y="731"/>
                  <a:pt x="3833" y="795"/>
                </a:cubicBezTo>
                <a:lnTo>
                  <a:pt x="3833" y="970"/>
                </a:lnTo>
                <a:lnTo>
                  <a:pt x="827" y="970"/>
                </a:lnTo>
                <a:cubicBezTo>
                  <a:pt x="668" y="970"/>
                  <a:pt x="525" y="1097"/>
                  <a:pt x="525" y="1256"/>
                </a:cubicBezTo>
                <a:lnTo>
                  <a:pt x="525" y="3689"/>
                </a:lnTo>
                <a:cubicBezTo>
                  <a:pt x="525" y="3722"/>
                  <a:pt x="493" y="3817"/>
                  <a:pt x="334" y="3817"/>
                </a:cubicBezTo>
                <a:cubicBezTo>
                  <a:pt x="271" y="3817"/>
                  <a:pt x="239" y="3785"/>
                  <a:pt x="207" y="3753"/>
                </a:cubicBezTo>
                <a:cubicBezTo>
                  <a:pt x="175" y="3722"/>
                  <a:pt x="159" y="3674"/>
                  <a:pt x="159" y="364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8" name="Freeform: Shape 15">
            <a:extLst>
              <a:ext uri="{FF2B5EF4-FFF2-40B4-BE49-F238E27FC236}">
                <a16:creationId xmlns:a16="http://schemas.microsoft.com/office/drawing/2014/main" id="{D01918ED-FA85-9945-BD9E-2FA0B59A7EA9}"/>
              </a:ext>
            </a:extLst>
          </p:cNvPr>
          <p:cNvSpPr/>
          <p:nvPr/>
        </p:nvSpPr>
        <p:spPr>
          <a:xfrm>
            <a:off x="13756746" y="6147389"/>
            <a:ext cx="1726200" cy="1757519"/>
          </a:xfrm>
          <a:custGeom>
            <a:avLst/>
            <a:gdLst/>
            <a:ahLst/>
            <a:cxnLst>
              <a:cxn ang="3cd4">
                <a:pos x="hc" y="t"/>
              </a:cxn>
              <a:cxn ang="cd2">
                <a:pos x="l" y="vc"/>
              </a:cxn>
              <a:cxn ang="cd4">
                <a:pos x="hc" y="b"/>
              </a:cxn>
              <a:cxn ang="0">
                <a:pos x="r" y="vc"/>
              </a:cxn>
            </a:cxnLst>
            <a:rect l="l" t="t" r="r" b="b"/>
            <a:pathLst>
              <a:path w="4796" h="4883">
                <a:moveTo>
                  <a:pt x="3213" y="938"/>
                </a:moveTo>
                <a:lnTo>
                  <a:pt x="2291" y="16"/>
                </a:lnTo>
                <a:cubicBezTo>
                  <a:pt x="2275" y="0"/>
                  <a:pt x="2243" y="0"/>
                  <a:pt x="2227" y="0"/>
                </a:cubicBezTo>
                <a:lnTo>
                  <a:pt x="605" y="0"/>
                </a:lnTo>
                <a:cubicBezTo>
                  <a:pt x="573" y="0"/>
                  <a:pt x="525" y="31"/>
                  <a:pt x="525" y="79"/>
                </a:cubicBezTo>
                <a:lnTo>
                  <a:pt x="525" y="906"/>
                </a:lnTo>
                <a:lnTo>
                  <a:pt x="287" y="906"/>
                </a:lnTo>
                <a:cubicBezTo>
                  <a:pt x="127" y="906"/>
                  <a:pt x="0" y="1033"/>
                  <a:pt x="0" y="1193"/>
                </a:cubicBezTo>
                <a:lnTo>
                  <a:pt x="0" y="4548"/>
                </a:lnTo>
                <a:cubicBezTo>
                  <a:pt x="0" y="4628"/>
                  <a:pt x="32" y="4708"/>
                  <a:pt x="80" y="4771"/>
                </a:cubicBezTo>
                <a:cubicBezTo>
                  <a:pt x="127" y="4819"/>
                  <a:pt x="207" y="4883"/>
                  <a:pt x="335" y="4883"/>
                </a:cubicBezTo>
                <a:lnTo>
                  <a:pt x="2561" y="4883"/>
                </a:lnTo>
                <a:cubicBezTo>
                  <a:pt x="2609" y="4883"/>
                  <a:pt x="2641" y="4851"/>
                  <a:pt x="2641" y="4803"/>
                </a:cubicBezTo>
                <a:cubicBezTo>
                  <a:pt x="2641" y="4755"/>
                  <a:pt x="2609" y="4723"/>
                  <a:pt x="2561" y="4723"/>
                </a:cubicBezTo>
                <a:lnTo>
                  <a:pt x="653" y="4723"/>
                </a:lnTo>
                <a:cubicBezTo>
                  <a:pt x="669" y="4692"/>
                  <a:pt x="684" y="4644"/>
                  <a:pt x="684" y="4612"/>
                </a:cubicBezTo>
                <a:lnTo>
                  <a:pt x="684" y="4390"/>
                </a:lnTo>
                <a:lnTo>
                  <a:pt x="684" y="2545"/>
                </a:lnTo>
                <a:lnTo>
                  <a:pt x="684" y="2179"/>
                </a:lnTo>
                <a:cubicBezTo>
                  <a:pt x="684" y="2099"/>
                  <a:pt x="748" y="2036"/>
                  <a:pt x="827" y="2036"/>
                </a:cubicBezTo>
                <a:lnTo>
                  <a:pt x="4183" y="2036"/>
                </a:lnTo>
                <a:cubicBezTo>
                  <a:pt x="4247" y="2036"/>
                  <a:pt x="4279" y="2083"/>
                  <a:pt x="4279" y="2179"/>
                </a:cubicBezTo>
                <a:lnTo>
                  <a:pt x="4279" y="2942"/>
                </a:lnTo>
                <a:cubicBezTo>
                  <a:pt x="4279" y="2990"/>
                  <a:pt x="4311" y="3021"/>
                  <a:pt x="4358" y="3021"/>
                </a:cubicBezTo>
                <a:cubicBezTo>
                  <a:pt x="4406" y="3021"/>
                  <a:pt x="4438" y="2990"/>
                  <a:pt x="4438" y="2942"/>
                </a:cubicBezTo>
                <a:lnTo>
                  <a:pt x="4438" y="2179"/>
                </a:lnTo>
                <a:cubicBezTo>
                  <a:pt x="4438" y="2004"/>
                  <a:pt x="4343" y="1876"/>
                  <a:pt x="4183" y="1876"/>
                </a:cubicBezTo>
                <a:lnTo>
                  <a:pt x="3993" y="1876"/>
                </a:lnTo>
                <a:lnTo>
                  <a:pt x="3993" y="1702"/>
                </a:lnTo>
                <a:cubicBezTo>
                  <a:pt x="3993" y="1542"/>
                  <a:pt x="3865" y="1415"/>
                  <a:pt x="3690" y="1415"/>
                </a:cubicBezTo>
                <a:lnTo>
                  <a:pt x="3245" y="1415"/>
                </a:lnTo>
                <a:lnTo>
                  <a:pt x="3245" y="1002"/>
                </a:lnTo>
                <a:cubicBezTo>
                  <a:pt x="3245" y="970"/>
                  <a:pt x="3229" y="954"/>
                  <a:pt x="3213" y="938"/>
                </a:cubicBezTo>
                <a:close/>
                <a:moveTo>
                  <a:pt x="2354" y="302"/>
                </a:moveTo>
                <a:lnTo>
                  <a:pt x="2959" y="906"/>
                </a:lnTo>
                <a:lnTo>
                  <a:pt x="2354" y="906"/>
                </a:lnTo>
                <a:close/>
                <a:moveTo>
                  <a:pt x="525" y="4596"/>
                </a:moveTo>
                <a:cubicBezTo>
                  <a:pt x="525" y="4628"/>
                  <a:pt x="493" y="4723"/>
                  <a:pt x="335" y="4723"/>
                </a:cubicBezTo>
                <a:cubicBezTo>
                  <a:pt x="271" y="4723"/>
                  <a:pt x="239" y="4708"/>
                  <a:pt x="207" y="4660"/>
                </a:cubicBezTo>
                <a:cubicBezTo>
                  <a:pt x="175" y="4628"/>
                  <a:pt x="160" y="4596"/>
                  <a:pt x="160" y="4548"/>
                </a:cubicBezTo>
                <a:lnTo>
                  <a:pt x="160" y="1193"/>
                </a:lnTo>
                <a:cubicBezTo>
                  <a:pt x="160" y="1129"/>
                  <a:pt x="223" y="1066"/>
                  <a:pt x="287" y="1066"/>
                </a:cubicBezTo>
                <a:lnTo>
                  <a:pt x="525" y="1066"/>
                </a:lnTo>
                <a:lnTo>
                  <a:pt x="525" y="2179"/>
                </a:lnTo>
                <a:lnTo>
                  <a:pt x="525" y="2545"/>
                </a:lnTo>
                <a:close/>
                <a:moveTo>
                  <a:pt x="684" y="1908"/>
                </a:moveTo>
                <a:lnTo>
                  <a:pt x="684" y="986"/>
                </a:lnTo>
                <a:lnTo>
                  <a:pt x="684" y="159"/>
                </a:lnTo>
                <a:lnTo>
                  <a:pt x="2195" y="159"/>
                </a:lnTo>
                <a:lnTo>
                  <a:pt x="2195" y="986"/>
                </a:lnTo>
                <a:cubicBezTo>
                  <a:pt x="2195" y="1033"/>
                  <a:pt x="2227" y="1066"/>
                  <a:pt x="2275" y="1066"/>
                </a:cubicBezTo>
                <a:lnTo>
                  <a:pt x="3086" y="1066"/>
                </a:lnTo>
                <a:lnTo>
                  <a:pt x="3086" y="1495"/>
                </a:lnTo>
                <a:lnTo>
                  <a:pt x="3086" y="1876"/>
                </a:lnTo>
                <a:lnTo>
                  <a:pt x="827" y="1876"/>
                </a:lnTo>
                <a:cubicBezTo>
                  <a:pt x="780" y="1876"/>
                  <a:pt x="732" y="1893"/>
                  <a:pt x="684" y="1908"/>
                </a:cubicBezTo>
                <a:close/>
                <a:moveTo>
                  <a:pt x="3690" y="1574"/>
                </a:moveTo>
                <a:cubicBezTo>
                  <a:pt x="3770" y="1574"/>
                  <a:pt x="3834" y="1638"/>
                  <a:pt x="3834" y="1702"/>
                </a:cubicBezTo>
                <a:lnTo>
                  <a:pt x="3834" y="1876"/>
                </a:lnTo>
                <a:lnTo>
                  <a:pt x="3245" y="1876"/>
                </a:lnTo>
                <a:lnTo>
                  <a:pt x="3245" y="1574"/>
                </a:lnTo>
                <a:close/>
                <a:moveTo>
                  <a:pt x="1145" y="811"/>
                </a:moveTo>
                <a:lnTo>
                  <a:pt x="1862" y="795"/>
                </a:lnTo>
                <a:cubicBezTo>
                  <a:pt x="1893" y="795"/>
                  <a:pt x="1941" y="763"/>
                  <a:pt x="1941" y="715"/>
                </a:cubicBezTo>
                <a:cubicBezTo>
                  <a:pt x="1941" y="684"/>
                  <a:pt x="1893" y="636"/>
                  <a:pt x="1862" y="636"/>
                </a:cubicBezTo>
                <a:lnTo>
                  <a:pt x="1145" y="652"/>
                </a:lnTo>
                <a:cubicBezTo>
                  <a:pt x="1098" y="652"/>
                  <a:pt x="1066" y="684"/>
                  <a:pt x="1066" y="731"/>
                </a:cubicBezTo>
                <a:cubicBezTo>
                  <a:pt x="1066" y="763"/>
                  <a:pt x="1098" y="811"/>
                  <a:pt x="1145" y="811"/>
                </a:cubicBezTo>
                <a:close/>
                <a:moveTo>
                  <a:pt x="1145" y="1209"/>
                </a:moveTo>
                <a:lnTo>
                  <a:pt x="1862" y="1209"/>
                </a:lnTo>
                <a:cubicBezTo>
                  <a:pt x="1893" y="1209"/>
                  <a:pt x="1941" y="1176"/>
                  <a:pt x="1941" y="1129"/>
                </a:cubicBezTo>
                <a:cubicBezTo>
                  <a:pt x="1941" y="1097"/>
                  <a:pt x="1893" y="1049"/>
                  <a:pt x="1862" y="1049"/>
                </a:cubicBezTo>
                <a:lnTo>
                  <a:pt x="1145" y="1049"/>
                </a:lnTo>
                <a:cubicBezTo>
                  <a:pt x="1098" y="1049"/>
                  <a:pt x="1066" y="1097"/>
                  <a:pt x="1066" y="1129"/>
                </a:cubicBezTo>
                <a:cubicBezTo>
                  <a:pt x="1066" y="1176"/>
                  <a:pt x="1098" y="1209"/>
                  <a:pt x="1145" y="1209"/>
                </a:cubicBezTo>
                <a:close/>
                <a:moveTo>
                  <a:pt x="2704" y="1463"/>
                </a:moveTo>
                <a:lnTo>
                  <a:pt x="1130" y="1463"/>
                </a:lnTo>
                <a:cubicBezTo>
                  <a:pt x="1082" y="1463"/>
                  <a:pt x="1050" y="1495"/>
                  <a:pt x="1050" y="1542"/>
                </a:cubicBezTo>
                <a:cubicBezTo>
                  <a:pt x="1050" y="1590"/>
                  <a:pt x="1082" y="1622"/>
                  <a:pt x="1130" y="1622"/>
                </a:cubicBezTo>
                <a:lnTo>
                  <a:pt x="2704" y="1622"/>
                </a:lnTo>
                <a:cubicBezTo>
                  <a:pt x="2736" y="1622"/>
                  <a:pt x="2784" y="1590"/>
                  <a:pt x="2784" y="1542"/>
                </a:cubicBezTo>
                <a:cubicBezTo>
                  <a:pt x="2784" y="1511"/>
                  <a:pt x="2736" y="1463"/>
                  <a:pt x="2704" y="1463"/>
                </a:cubicBezTo>
                <a:close/>
                <a:moveTo>
                  <a:pt x="3674" y="3276"/>
                </a:moveTo>
                <a:cubicBezTo>
                  <a:pt x="3229" y="3276"/>
                  <a:pt x="2863" y="3642"/>
                  <a:pt x="2863" y="4087"/>
                </a:cubicBezTo>
                <a:cubicBezTo>
                  <a:pt x="2863" y="4517"/>
                  <a:pt x="3229" y="4883"/>
                  <a:pt x="3674" y="4883"/>
                </a:cubicBezTo>
                <a:cubicBezTo>
                  <a:pt x="4120" y="4883"/>
                  <a:pt x="4470" y="4517"/>
                  <a:pt x="4470" y="4087"/>
                </a:cubicBezTo>
                <a:cubicBezTo>
                  <a:pt x="4470" y="3976"/>
                  <a:pt x="4454" y="3865"/>
                  <a:pt x="4406" y="3769"/>
                </a:cubicBezTo>
                <a:lnTo>
                  <a:pt x="4772" y="3419"/>
                </a:lnTo>
                <a:cubicBezTo>
                  <a:pt x="4804" y="3387"/>
                  <a:pt x="4804" y="3340"/>
                  <a:pt x="4772" y="3308"/>
                </a:cubicBezTo>
                <a:cubicBezTo>
                  <a:pt x="4740" y="3276"/>
                  <a:pt x="4692" y="3276"/>
                  <a:pt x="4661" y="3308"/>
                </a:cubicBezTo>
                <a:lnTo>
                  <a:pt x="4326" y="3626"/>
                </a:lnTo>
                <a:cubicBezTo>
                  <a:pt x="4183" y="3419"/>
                  <a:pt x="3945" y="3276"/>
                  <a:pt x="3674" y="3276"/>
                </a:cubicBezTo>
                <a:close/>
                <a:moveTo>
                  <a:pt x="4311" y="4087"/>
                </a:moveTo>
                <a:cubicBezTo>
                  <a:pt x="4311" y="4437"/>
                  <a:pt x="4025" y="4723"/>
                  <a:pt x="3674" y="4723"/>
                </a:cubicBezTo>
                <a:cubicBezTo>
                  <a:pt x="3325" y="4723"/>
                  <a:pt x="3022" y="4437"/>
                  <a:pt x="3022" y="4087"/>
                </a:cubicBezTo>
                <a:cubicBezTo>
                  <a:pt x="3022" y="3721"/>
                  <a:pt x="3325" y="3435"/>
                  <a:pt x="3674" y="3435"/>
                </a:cubicBezTo>
                <a:cubicBezTo>
                  <a:pt x="3897" y="3435"/>
                  <a:pt x="4104" y="3562"/>
                  <a:pt x="4215" y="3738"/>
                </a:cubicBezTo>
                <a:lnTo>
                  <a:pt x="3738" y="4199"/>
                </a:lnTo>
                <a:lnTo>
                  <a:pt x="3563" y="4024"/>
                </a:lnTo>
                <a:cubicBezTo>
                  <a:pt x="3531" y="3992"/>
                  <a:pt x="3484" y="3992"/>
                  <a:pt x="3452" y="4024"/>
                </a:cubicBezTo>
                <a:cubicBezTo>
                  <a:pt x="3420" y="4056"/>
                  <a:pt x="3420" y="4103"/>
                  <a:pt x="3452" y="4135"/>
                </a:cubicBezTo>
                <a:lnTo>
                  <a:pt x="3690" y="4357"/>
                </a:lnTo>
                <a:cubicBezTo>
                  <a:pt x="3706" y="4374"/>
                  <a:pt x="3722" y="4390"/>
                  <a:pt x="3754" y="4390"/>
                </a:cubicBezTo>
                <a:cubicBezTo>
                  <a:pt x="3770" y="4390"/>
                  <a:pt x="3786" y="4374"/>
                  <a:pt x="3802" y="4357"/>
                </a:cubicBezTo>
                <a:lnTo>
                  <a:pt x="4279" y="3881"/>
                </a:lnTo>
                <a:cubicBezTo>
                  <a:pt x="4311" y="3944"/>
                  <a:pt x="4311" y="4008"/>
                  <a:pt x="4311" y="408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9" name="TextBox 128">
            <a:extLst>
              <a:ext uri="{FF2B5EF4-FFF2-40B4-BE49-F238E27FC236}">
                <a16:creationId xmlns:a16="http://schemas.microsoft.com/office/drawing/2014/main" id="{BC466CDF-DC36-A747-9CD4-958FC4CC7873}"/>
              </a:ext>
            </a:extLst>
          </p:cNvPr>
          <p:cNvSpPr txBox="1"/>
          <p:nvPr/>
        </p:nvSpPr>
        <p:spPr>
          <a:xfrm>
            <a:off x="20826974" y="11480147"/>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ile Folder</a:t>
            </a:r>
          </a:p>
        </p:txBody>
      </p:sp>
      <p:sp>
        <p:nvSpPr>
          <p:cNvPr id="130" name="Freeform: Shape 2">
            <a:extLst>
              <a:ext uri="{FF2B5EF4-FFF2-40B4-BE49-F238E27FC236}">
                <a16:creationId xmlns:a16="http://schemas.microsoft.com/office/drawing/2014/main" id="{C99D4950-4893-4A45-B524-1E93B394375D}"/>
              </a:ext>
            </a:extLst>
          </p:cNvPr>
          <p:cNvSpPr/>
          <p:nvPr/>
        </p:nvSpPr>
        <p:spPr>
          <a:xfrm>
            <a:off x="21356844" y="9668005"/>
            <a:ext cx="1528200" cy="1528560"/>
          </a:xfrm>
          <a:custGeom>
            <a:avLst/>
            <a:gdLst/>
            <a:ahLst/>
            <a:cxnLst>
              <a:cxn ang="3cd4">
                <a:pos x="hc" y="t"/>
              </a:cxn>
              <a:cxn ang="cd2">
                <a:pos x="l" y="vc"/>
              </a:cxn>
              <a:cxn ang="cd4">
                <a:pos x="hc" y="b"/>
              </a:cxn>
              <a:cxn ang="0">
                <a:pos x="r" y="vc"/>
              </a:cxn>
            </a:cxnLst>
            <a:rect l="l" t="t" r="r" b="b"/>
            <a:pathLst>
              <a:path w="4246" h="4247">
                <a:moveTo>
                  <a:pt x="4246" y="3706"/>
                </a:moveTo>
                <a:lnTo>
                  <a:pt x="4246" y="2624"/>
                </a:lnTo>
                <a:lnTo>
                  <a:pt x="4231" y="2609"/>
                </a:lnTo>
                <a:lnTo>
                  <a:pt x="3722" y="64"/>
                </a:lnTo>
                <a:cubicBezTo>
                  <a:pt x="3722" y="32"/>
                  <a:pt x="3690" y="0"/>
                  <a:pt x="3642" y="0"/>
                </a:cubicBezTo>
                <a:lnTo>
                  <a:pt x="652" y="0"/>
                </a:lnTo>
                <a:cubicBezTo>
                  <a:pt x="620" y="0"/>
                  <a:pt x="588" y="32"/>
                  <a:pt x="573" y="64"/>
                </a:cubicBezTo>
                <a:lnTo>
                  <a:pt x="0" y="2609"/>
                </a:lnTo>
                <a:lnTo>
                  <a:pt x="0" y="2624"/>
                </a:lnTo>
                <a:lnTo>
                  <a:pt x="0" y="3706"/>
                </a:lnTo>
                <a:cubicBezTo>
                  <a:pt x="0" y="3976"/>
                  <a:pt x="270" y="4247"/>
                  <a:pt x="556" y="4247"/>
                </a:cubicBezTo>
                <a:lnTo>
                  <a:pt x="3754" y="4247"/>
                </a:lnTo>
                <a:cubicBezTo>
                  <a:pt x="4008" y="4247"/>
                  <a:pt x="4246" y="4008"/>
                  <a:pt x="4246" y="3706"/>
                </a:cubicBezTo>
                <a:close/>
                <a:moveTo>
                  <a:pt x="461" y="1288"/>
                </a:moveTo>
                <a:lnTo>
                  <a:pt x="3801" y="1288"/>
                </a:lnTo>
                <a:lnTo>
                  <a:pt x="3817" y="1288"/>
                </a:lnTo>
                <a:lnTo>
                  <a:pt x="3913" y="1845"/>
                </a:lnTo>
                <a:lnTo>
                  <a:pt x="334" y="1845"/>
                </a:lnTo>
                <a:close/>
                <a:moveTo>
                  <a:pt x="588" y="732"/>
                </a:moveTo>
                <a:lnTo>
                  <a:pt x="3674" y="732"/>
                </a:lnTo>
                <a:cubicBezTo>
                  <a:pt x="3679" y="727"/>
                  <a:pt x="3690" y="732"/>
                  <a:pt x="3690" y="716"/>
                </a:cubicBezTo>
                <a:lnTo>
                  <a:pt x="3785" y="1130"/>
                </a:lnTo>
                <a:lnTo>
                  <a:pt x="493" y="1130"/>
                </a:lnTo>
                <a:close/>
                <a:moveTo>
                  <a:pt x="716" y="159"/>
                </a:moveTo>
                <a:lnTo>
                  <a:pt x="3579" y="159"/>
                </a:lnTo>
                <a:lnTo>
                  <a:pt x="3658" y="573"/>
                </a:lnTo>
                <a:lnTo>
                  <a:pt x="620" y="573"/>
                </a:lnTo>
                <a:close/>
                <a:moveTo>
                  <a:pt x="302" y="2004"/>
                </a:moveTo>
                <a:lnTo>
                  <a:pt x="3945" y="2004"/>
                </a:lnTo>
                <a:lnTo>
                  <a:pt x="3960" y="2004"/>
                </a:lnTo>
                <a:lnTo>
                  <a:pt x="4056" y="2545"/>
                </a:lnTo>
                <a:lnTo>
                  <a:pt x="175" y="2545"/>
                </a:lnTo>
                <a:close/>
                <a:moveTo>
                  <a:pt x="159" y="3706"/>
                </a:moveTo>
                <a:lnTo>
                  <a:pt x="159" y="2704"/>
                </a:lnTo>
                <a:lnTo>
                  <a:pt x="4088" y="2704"/>
                </a:lnTo>
                <a:lnTo>
                  <a:pt x="4088" y="3706"/>
                </a:lnTo>
                <a:cubicBezTo>
                  <a:pt x="4088" y="3897"/>
                  <a:pt x="3945" y="4088"/>
                  <a:pt x="3754" y="4088"/>
                </a:cubicBezTo>
                <a:lnTo>
                  <a:pt x="556" y="4088"/>
                </a:lnTo>
                <a:cubicBezTo>
                  <a:pt x="350" y="4088"/>
                  <a:pt x="159" y="3897"/>
                  <a:pt x="159" y="3706"/>
                </a:cubicBezTo>
                <a:close/>
                <a:moveTo>
                  <a:pt x="2895" y="2975"/>
                </a:moveTo>
                <a:lnTo>
                  <a:pt x="1336" y="2975"/>
                </a:lnTo>
                <a:cubicBezTo>
                  <a:pt x="1304" y="2975"/>
                  <a:pt x="1256" y="3006"/>
                  <a:pt x="1256" y="3038"/>
                </a:cubicBezTo>
                <a:lnTo>
                  <a:pt x="1256" y="3611"/>
                </a:lnTo>
                <a:cubicBezTo>
                  <a:pt x="1256" y="3658"/>
                  <a:pt x="1304" y="3690"/>
                  <a:pt x="1336" y="3690"/>
                </a:cubicBezTo>
                <a:lnTo>
                  <a:pt x="2895" y="3690"/>
                </a:lnTo>
                <a:cubicBezTo>
                  <a:pt x="2942" y="3690"/>
                  <a:pt x="2974" y="3658"/>
                  <a:pt x="2974" y="3611"/>
                </a:cubicBezTo>
                <a:lnTo>
                  <a:pt x="2974" y="3038"/>
                </a:lnTo>
                <a:cubicBezTo>
                  <a:pt x="2974" y="3006"/>
                  <a:pt x="2942" y="2975"/>
                  <a:pt x="2895" y="2975"/>
                </a:cubicBezTo>
                <a:close/>
                <a:moveTo>
                  <a:pt x="2815" y="3531"/>
                </a:moveTo>
                <a:lnTo>
                  <a:pt x="1416" y="3531"/>
                </a:lnTo>
                <a:lnTo>
                  <a:pt x="1416" y="3118"/>
                </a:lnTo>
                <a:lnTo>
                  <a:pt x="2815" y="3118"/>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416394572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Folders - 3</a:t>
            </a:r>
          </a:p>
        </p:txBody>
      </p:sp>
      <p:sp>
        <p:nvSpPr>
          <p:cNvPr id="41" name="TextBox 40">
            <a:extLst>
              <a:ext uri="{FF2B5EF4-FFF2-40B4-BE49-F238E27FC236}">
                <a16:creationId xmlns:a16="http://schemas.microsoft.com/office/drawing/2014/main" id="{7B856189-C09F-5A49-B690-1EF77D3DC991}"/>
              </a:ext>
            </a:extLst>
          </p:cNvPr>
          <p:cNvSpPr txBox="1"/>
          <p:nvPr/>
        </p:nvSpPr>
        <p:spPr>
          <a:xfrm>
            <a:off x="1396461" y="5164929"/>
            <a:ext cx="2465738"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x Files</a:t>
            </a:r>
          </a:p>
        </p:txBody>
      </p:sp>
      <p:sp>
        <p:nvSpPr>
          <p:cNvPr id="42" name="TextBox 41">
            <a:extLst>
              <a:ext uri="{FF2B5EF4-FFF2-40B4-BE49-F238E27FC236}">
                <a16:creationId xmlns:a16="http://schemas.microsoft.com/office/drawing/2014/main" id="{E2494901-CC84-D34F-8F58-14CDD7DF0AFA}"/>
              </a:ext>
            </a:extLst>
          </p:cNvPr>
          <p:cNvSpPr txBox="1"/>
          <p:nvPr/>
        </p:nvSpPr>
        <p:spPr>
          <a:xfrm>
            <a:off x="5566758" y="5164929"/>
            <a:ext cx="243317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x 1</a:t>
            </a:r>
          </a:p>
        </p:txBody>
      </p:sp>
      <p:sp>
        <p:nvSpPr>
          <p:cNvPr id="43" name="TextBox 42">
            <a:extLst>
              <a:ext uri="{FF2B5EF4-FFF2-40B4-BE49-F238E27FC236}">
                <a16:creationId xmlns:a16="http://schemas.microsoft.com/office/drawing/2014/main" id="{AD138426-E1B6-9B43-9E51-117D79AD9057}"/>
              </a:ext>
            </a:extLst>
          </p:cNvPr>
          <p:cNvSpPr txBox="1"/>
          <p:nvPr/>
        </p:nvSpPr>
        <p:spPr>
          <a:xfrm>
            <a:off x="1269847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ube</a:t>
            </a:r>
          </a:p>
        </p:txBody>
      </p:sp>
      <p:sp>
        <p:nvSpPr>
          <p:cNvPr id="44" name="TextBox 43">
            <a:extLst>
              <a:ext uri="{FF2B5EF4-FFF2-40B4-BE49-F238E27FC236}">
                <a16:creationId xmlns:a16="http://schemas.microsoft.com/office/drawing/2014/main" id="{BE9AA4E2-EE9B-884C-88B9-FE0A670EC55B}"/>
              </a:ext>
            </a:extLst>
          </p:cNvPr>
          <p:cNvSpPr txBox="1"/>
          <p:nvPr/>
        </p:nvSpPr>
        <p:spPr>
          <a:xfrm>
            <a:off x="17085937" y="5164929"/>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box </a:t>
            </a:r>
          </a:p>
        </p:txBody>
      </p:sp>
      <p:sp>
        <p:nvSpPr>
          <p:cNvPr id="45" name="Freeform: Shape 26">
            <a:extLst>
              <a:ext uri="{FF2B5EF4-FFF2-40B4-BE49-F238E27FC236}">
                <a16:creationId xmlns:a16="http://schemas.microsoft.com/office/drawing/2014/main" id="{9257EAC3-EF2D-B24B-AF73-F96687AD18CC}"/>
              </a:ext>
            </a:extLst>
          </p:cNvPr>
          <p:cNvSpPr/>
          <p:nvPr/>
        </p:nvSpPr>
        <p:spPr>
          <a:xfrm>
            <a:off x="14480810"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6" name="TextBox 45">
            <a:extLst>
              <a:ext uri="{FF2B5EF4-FFF2-40B4-BE49-F238E27FC236}">
                <a16:creationId xmlns:a16="http://schemas.microsoft.com/office/drawing/2014/main" id="{9C541315-D9F9-5940-98E6-F5D27E578FBC}"/>
              </a:ext>
            </a:extLst>
          </p:cNvPr>
          <p:cNvSpPr txBox="1"/>
          <p:nvPr/>
        </p:nvSpPr>
        <p:spPr>
          <a:xfrm>
            <a:off x="20311483"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rawer</a:t>
            </a:r>
          </a:p>
        </p:txBody>
      </p:sp>
      <p:sp>
        <p:nvSpPr>
          <p:cNvPr id="47" name="TextBox 46">
            <a:extLst>
              <a:ext uri="{FF2B5EF4-FFF2-40B4-BE49-F238E27FC236}">
                <a16:creationId xmlns:a16="http://schemas.microsoft.com/office/drawing/2014/main" id="{FF4BF2C1-6E8A-7342-9324-79D85A155CBD}"/>
              </a:ext>
            </a:extLst>
          </p:cNvPr>
          <p:cNvSpPr txBox="1"/>
          <p:nvPr/>
        </p:nvSpPr>
        <p:spPr>
          <a:xfrm>
            <a:off x="10308500" y="6080529"/>
            <a:ext cx="184731" cy="369332"/>
          </a:xfrm>
          <a:prstGeom prst="rect">
            <a:avLst/>
          </a:prstGeom>
          <a:noFill/>
        </p:spPr>
        <p:txBody>
          <a:bodyPr wrap="none" rtlCol="0">
            <a:spAutoFit/>
          </a:bodyPr>
          <a:lstStyle/>
          <a:p>
            <a:endParaRPr lang="en-US"/>
          </a:p>
        </p:txBody>
      </p:sp>
      <p:sp>
        <p:nvSpPr>
          <p:cNvPr id="48" name="Freeform: Shape 1">
            <a:extLst>
              <a:ext uri="{FF2B5EF4-FFF2-40B4-BE49-F238E27FC236}">
                <a16:creationId xmlns:a16="http://schemas.microsoft.com/office/drawing/2014/main" id="{B84C2E28-A8E6-C246-AB7D-B5577A089E6C}"/>
              </a:ext>
            </a:extLst>
          </p:cNvPr>
          <p:cNvSpPr/>
          <p:nvPr/>
        </p:nvSpPr>
        <p:spPr>
          <a:xfrm>
            <a:off x="1913830" y="3044346"/>
            <a:ext cx="1430999" cy="1659960"/>
          </a:xfrm>
          <a:custGeom>
            <a:avLst/>
            <a:gdLst/>
            <a:ahLst/>
            <a:cxnLst>
              <a:cxn ang="3cd4">
                <a:pos x="hc" y="t"/>
              </a:cxn>
              <a:cxn ang="cd2">
                <a:pos x="l" y="vc"/>
              </a:cxn>
              <a:cxn ang="cd4">
                <a:pos x="hc" y="b"/>
              </a:cxn>
              <a:cxn ang="0">
                <a:pos x="r" y="vc"/>
              </a:cxn>
            </a:cxnLst>
            <a:rect l="l" t="t" r="r" b="b"/>
            <a:pathLst>
              <a:path w="3976" h="4612">
                <a:moveTo>
                  <a:pt x="2800" y="4612"/>
                </a:moveTo>
                <a:lnTo>
                  <a:pt x="2800" y="4597"/>
                </a:lnTo>
                <a:lnTo>
                  <a:pt x="2815" y="4597"/>
                </a:lnTo>
                <a:lnTo>
                  <a:pt x="2831" y="4597"/>
                </a:lnTo>
                <a:lnTo>
                  <a:pt x="2831" y="4580"/>
                </a:lnTo>
                <a:lnTo>
                  <a:pt x="3945" y="3547"/>
                </a:lnTo>
                <a:cubicBezTo>
                  <a:pt x="3961" y="3531"/>
                  <a:pt x="3976" y="3515"/>
                  <a:pt x="3976" y="3499"/>
                </a:cubicBezTo>
                <a:lnTo>
                  <a:pt x="3976" y="1352"/>
                </a:lnTo>
                <a:lnTo>
                  <a:pt x="3976" y="1336"/>
                </a:lnTo>
                <a:cubicBezTo>
                  <a:pt x="3971" y="1331"/>
                  <a:pt x="3976" y="1320"/>
                  <a:pt x="3961" y="1320"/>
                </a:cubicBezTo>
                <a:lnTo>
                  <a:pt x="3961" y="1304"/>
                </a:lnTo>
                <a:lnTo>
                  <a:pt x="3945" y="1304"/>
                </a:lnTo>
                <a:lnTo>
                  <a:pt x="3945" y="1288"/>
                </a:lnTo>
                <a:lnTo>
                  <a:pt x="3928" y="1288"/>
                </a:lnTo>
                <a:lnTo>
                  <a:pt x="3928" y="1272"/>
                </a:lnTo>
                <a:lnTo>
                  <a:pt x="3913" y="1272"/>
                </a:lnTo>
                <a:lnTo>
                  <a:pt x="3897" y="1272"/>
                </a:lnTo>
                <a:lnTo>
                  <a:pt x="3340" y="1272"/>
                </a:lnTo>
                <a:lnTo>
                  <a:pt x="3340" y="80"/>
                </a:lnTo>
                <a:cubicBezTo>
                  <a:pt x="3340" y="32"/>
                  <a:pt x="3309" y="0"/>
                  <a:pt x="3261" y="0"/>
                </a:cubicBezTo>
                <a:lnTo>
                  <a:pt x="1352" y="0"/>
                </a:lnTo>
                <a:cubicBezTo>
                  <a:pt x="1304" y="0"/>
                  <a:pt x="1273" y="32"/>
                  <a:pt x="1273" y="80"/>
                </a:cubicBezTo>
                <a:lnTo>
                  <a:pt x="1273" y="318"/>
                </a:lnTo>
                <a:lnTo>
                  <a:pt x="1034" y="318"/>
                </a:lnTo>
                <a:cubicBezTo>
                  <a:pt x="986" y="318"/>
                  <a:pt x="955" y="350"/>
                  <a:pt x="955" y="398"/>
                </a:cubicBezTo>
                <a:lnTo>
                  <a:pt x="955" y="636"/>
                </a:lnTo>
                <a:lnTo>
                  <a:pt x="716" y="636"/>
                </a:lnTo>
                <a:cubicBezTo>
                  <a:pt x="668" y="636"/>
                  <a:pt x="637" y="668"/>
                  <a:pt x="637" y="715"/>
                </a:cubicBezTo>
                <a:lnTo>
                  <a:pt x="637" y="1607"/>
                </a:lnTo>
                <a:lnTo>
                  <a:pt x="32" y="2242"/>
                </a:lnTo>
                <a:cubicBezTo>
                  <a:pt x="32" y="2258"/>
                  <a:pt x="21" y="2253"/>
                  <a:pt x="16" y="2258"/>
                </a:cubicBezTo>
                <a:lnTo>
                  <a:pt x="16" y="2274"/>
                </a:lnTo>
                <a:lnTo>
                  <a:pt x="0" y="2274"/>
                </a:lnTo>
                <a:lnTo>
                  <a:pt x="0" y="2290"/>
                </a:lnTo>
                <a:lnTo>
                  <a:pt x="0" y="2306"/>
                </a:lnTo>
                <a:lnTo>
                  <a:pt x="0" y="4533"/>
                </a:lnTo>
                <a:cubicBezTo>
                  <a:pt x="0" y="4565"/>
                  <a:pt x="32" y="4612"/>
                  <a:pt x="80" y="4612"/>
                </a:cubicBezTo>
                <a:lnTo>
                  <a:pt x="2783" y="4612"/>
                </a:lnTo>
                <a:close/>
                <a:moveTo>
                  <a:pt x="2863" y="4342"/>
                </a:moveTo>
                <a:lnTo>
                  <a:pt x="2863" y="2338"/>
                </a:lnTo>
                <a:lnTo>
                  <a:pt x="3818" y="1527"/>
                </a:lnTo>
                <a:lnTo>
                  <a:pt x="3818" y="3467"/>
                </a:lnTo>
                <a:close/>
                <a:moveTo>
                  <a:pt x="3674" y="1431"/>
                </a:moveTo>
                <a:lnTo>
                  <a:pt x="3340" y="1717"/>
                </a:lnTo>
                <a:lnTo>
                  <a:pt x="3340" y="1431"/>
                </a:lnTo>
                <a:close/>
                <a:moveTo>
                  <a:pt x="1432" y="159"/>
                </a:moveTo>
                <a:lnTo>
                  <a:pt x="3181" y="159"/>
                </a:lnTo>
                <a:lnTo>
                  <a:pt x="3181" y="1861"/>
                </a:lnTo>
                <a:lnTo>
                  <a:pt x="3022" y="1988"/>
                </a:lnTo>
                <a:lnTo>
                  <a:pt x="3022" y="398"/>
                </a:lnTo>
                <a:cubicBezTo>
                  <a:pt x="3022" y="350"/>
                  <a:pt x="2990" y="318"/>
                  <a:pt x="2943" y="318"/>
                </a:cubicBezTo>
                <a:lnTo>
                  <a:pt x="1432" y="318"/>
                </a:lnTo>
                <a:close/>
                <a:moveTo>
                  <a:pt x="1113" y="477"/>
                </a:moveTo>
                <a:lnTo>
                  <a:pt x="2863" y="477"/>
                </a:lnTo>
                <a:lnTo>
                  <a:pt x="2863" y="2131"/>
                </a:lnTo>
                <a:lnTo>
                  <a:pt x="2752" y="2226"/>
                </a:lnTo>
                <a:lnTo>
                  <a:pt x="2704" y="2226"/>
                </a:lnTo>
                <a:lnTo>
                  <a:pt x="2704" y="715"/>
                </a:lnTo>
                <a:cubicBezTo>
                  <a:pt x="2704" y="668"/>
                  <a:pt x="2672" y="636"/>
                  <a:pt x="2625" y="636"/>
                </a:cubicBezTo>
                <a:lnTo>
                  <a:pt x="1113" y="636"/>
                </a:lnTo>
                <a:close/>
                <a:moveTo>
                  <a:pt x="795" y="795"/>
                </a:moveTo>
                <a:lnTo>
                  <a:pt x="2545" y="795"/>
                </a:lnTo>
                <a:lnTo>
                  <a:pt x="2545" y="2226"/>
                </a:lnTo>
                <a:lnTo>
                  <a:pt x="795" y="2226"/>
                </a:lnTo>
                <a:close/>
                <a:moveTo>
                  <a:pt x="637" y="2226"/>
                </a:moveTo>
                <a:lnTo>
                  <a:pt x="271" y="2226"/>
                </a:lnTo>
                <a:lnTo>
                  <a:pt x="637" y="1845"/>
                </a:lnTo>
                <a:close/>
                <a:moveTo>
                  <a:pt x="2704" y="4453"/>
                </a:moveTo>
                <a:lnTo>
                  <a:pt x="159" y="4453"/>
                </a:lnTo>
                <a:lnTo>
                  <a:pt x="159" y="2386"/>
                </a:lnTo>
                <a:lnTo>
                  <a:pt x="716" y="2386"/>
                </a:lnTo>
                <a:lnTo>
                  <a:pt x="2625" y="2386"/>
                </a:lnTo>
                <a:lnTo>
                  <a:pt x="2704" y="2386"/>
                </a:lnTo>
                <a:close/>
                <a:moveTo>
                  <a:pt x="1750" y="2863"/>
                </a:moveTo>
                <a:lnTo>
                  <a:pt x="1113" y="2863"/>
                </a:lnTo>
                <a:cubicBezTo>
                  <a:pt x="1066" y="2863"/>
                  <a:pt x="1034" y="2895"/>
                  <a:pt x="1034" y="2943"/>
                </a:cubicBezTo>
                <a:cubicBezTo>
                  <a:pt x="1034" y="2990"/>
                  <a:pt x="1066" y="3022"/>
                  <a:pt x="1113" y="3022"/>
                </a:cubicBezTo>
                <a:lnTo>
                  <a:pt x="1750" y="3022"/>
                </a:lnTo>
                <a:cubicBezTo>
                  <a:pt x="1797" y="3022"/>
                  <a:pt x="1829" y="2990"/>
                  <a:pt x="1829" y="2943"/>
                </a:cubicBezTo>
                <a:cubicBezTo>
                  <a:pt x="1829" y="2895"/>
                  <a:pt x="1797" y="2863"/>
                  <a:pt x="1750" y="28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9" name="Freeform: Shape 5">
            <a:extLst>
              <a:ext uri="{FF2B5EF4-FFF2-40B4-BE49-F238E27FC236}">
                <a16:creationId xmlns:a16="http://schemas.microsoft.com/office/drawing/2014/main" id="{C2E1C4D5-8C56-554D-B914-7673B46CC9D2}"/>
              </a:ext>
            </a:extLst>
          </p:cNvPr>
          <p:cNvSpPr/>
          <p:nvPr/>
        </p:nvSpPr>
        <p:spPr>
          <a:xfrm>
            <a:off x="6059203" y="3171080"/>
            <a:ext cx="1448280" cy="1551240"/>
          </a:xfrm>
          <a:custGeom>
            <a:avLst/>
            <a:gdLst/>
            <a:ahLst/>
            <a:cxnLst>
              <a:cxn ang="3cd4">
                <a:pos x="hc" y="t"/>
              </a:cxn>
              <a:cxn ang="cd2">
                <a:pos x="l" y="vc"/>
              </a:cxn>
              <a:cxn ang="cd4">
                <a:pos x="hc" y="b"/>
              </a:cxn>
              <a:cxn ang="0">
                <a:pos x="r" y="vc"/>
              </a:cxn>
            </a:cxnLst>
            <a:rect l="l" t="t" r="r" b="b"/>
            <a:pathLst>
              <a:path w="4024" h="4310">
                <a:moveTo>
                  <a:pt x="1845" y="4310"/>
                </a:moveTo>
                <a:lnTo>
                  <a:pt x="1860" y="4310"/>
                </a:lnTo>
                <a:lnTo>
                  <a:pt x="1876" y="4310"/>
                </a:lnTo>
                <a:lnTo>
                  <a:pt x="1893" y="4310"/>
                </a:lnTo>
                <a:lnTo>
                  <a:pt x="1908" y="4310"/>
                </a:lnTo>
                <a:cubicBezTo>
                  <a:pt x="3960" y="3579"/>
                  <a:pt x="3960" y="3579"/>
                  <a:pt x="3960" y="3579"/>
                </a:cubicBezTo>
                <a:cubicBezTo>
                  <a:pt x="3992" y="3563"/>
                  <a:pt x="4024" y="3531"/>
                  <a:pt x="4024" y="3500"/>
                </a:cubicBezTo>
                <a:cubicBezTo>
                  <a:pt x="4024" y="843"/>
                  <a:pt x="4024" y="843"/>
                  <a:pt x="4024" y="843"/>
                </a:cubicBezTo>
                <a:cubicBezTo>
                  <a:pt x="4024" y="828"/>
                  <a:pt x="4024" y="828"/>
                  <a:pt x="4024" y="828"/>
                </a:cubicBezTo>
                <a:lnTo>
                  <a:pt x="4024" y="811"/>
                </a:lnTo>
                <a:lnTo>
                  <a:pt x="4008" y="811"/>
                </a:lnTo>
                <a:lnTo>
                  <a:pt x="4008" y="795"/>
                </a:lnTo>
                <a:lnTo>
                  <a:pt x="3992" y="780"/>
                </a:lnTo>
                <a:cubicBezTo>
                  <a:pt x="3976" y="764"/>
                  <a:pt x="3976" y="764"/>
                  <a:pt x="3976" y="764"/>
                </a:cubicBezTo>
                <a:cubicBezTo>
                  <a:pt x="3499" y="589"/>
                  <a:pt x="3499" y="589"/>
                  <a:pt x="3499" y="589"/>
                </a:cubicBezTo>
                <a:cubicBezTo>
                  <a:pt x="3960" y="430"/>
                  <a:pt x="3960" y="430"/>
                  <a:pt x="3960" y="430"/>
                </a:cubicBezTo>
                <a:cubicBezTo>
                  <a:pt x="3992" y="414"/>
                  <a:pt x="4024" y="382"/>
                  <a:pt x="4024" y="334"/>
                </a:cubicBezTo>
                <a:cubicBezTo>
                  <a:pt x="4008" y="302"/>
                  <a:pt x="3992" y="271"/>
                  <a:pt x="3944" y="271"/>
                </a:cubicBezTo>
                <a:cubicBezTo>
                  <a:pt x="2020" y="0"/>
                  <a:pt x="2020" y="0"/>
                  <a:pt x="2020" y="0"/>
                </a:cubicBezTo>
                <a:lnTo>
                  <a:pt x="2003" y="0"/>
                </a:lnTo>
                <a:cubicBezTo>
                  <a:pt x="1988" y="0"/>
                  <a:pt x="1988" y="0"/>
                  <a:pt x="1972" y="0"/>
                </a:cubicBezTo>
                <a:cubicBezTo>
                  <a:pt x="48" y="732"/>
                  <a:pt x="48" y="732"/>
                  <a:pt x="48" y="732"/>
                </a:cubicBezTo>
                <a:lnTo>
                  <a:pt x="31" y="732"/>
                </a:lnTo>
                <a:lnTo>
                  <a:pt x="31" y="748"/>
                </a:lnTo>
                <a:lnTo>
                  <a:pt x="15" y="748"/>
                </a:lnTo>
                <a:cubicBezTo>
                  <a:pt x="15" y="764"/>
                  <a:pt x="15" y="764"/>
                  <a:pt x="15" y="764"/>
                </a:cubicBezTo>
                <a:lnTo>
                  <a:pt x="0" y="764"/>
                </a:lnTo>
                <a:lnTo>
                  <a:pt x="0" y="780"/>
                </a:lnTo>
                <a:lnTo>
                  <a:pt x="0" y="795"/>
                </a:lnTo>
                <a:cubicBezTo>
                  <a:pt x="0" y="811"/>
                  <a:pt x="0" y="811"/>
                  <a:pt x="0" y="811"/>
                </a:cubicBezTo>
                <a:cubicBezTo>
                  <a:pt x="0" y="828"/>
                  <a:pt x="0" y="828"/>
                  <a:pt x="0" y="828"/>
                </a:cubicBezTo>
                <a:cubicBezTo>
                  <a:pt x="0" y="843"/>
                  <a:pt x="0" y="843"/>
                  <a:pt x="0" y="843"/>
                </a:cubicBezTo>
                <a:cubicBezTo>
                  <a:pt x="0" y="3356"/>
                  <a:pt x="0" y="3356"/>
                  <a:pt x="0" y="3356"/>
                </a:cubicBezTo>
                <a:cubicBezTo>
                  <a:pt x="0" y="3388"/>
                  <a:pt x="15" y="3404"/>
                  <a:pt x="31" y="3420"/>
                </a:cubicBezTo>
                <a:cubicBezTo>
                  <a:pt x="1845" y="4310"/>
                  <a:pt x="1845" y="4310"/>
                  <a:pt x="1845" y="4310"/>
                </a:cubicBezTo>
                <a:close/>
                <a:moveTo>
                  <a:pt x="3865" y="3452"/>
                </a:moveTo>
                <a:cubicBezTo>
                  <a:pt x="1956" y="4119"/>
                  <a:pt x="1956" y="4119"/>
                  <a:pt x="1956" y="4119"/>
                </a:cubicBezTo>
                <a:cubicBezTo>
                  <a:pt x="1956" y="1607"/>
                  <a:pt x="1956" y="1607"/>
                  <a:pt x="1956" y="1607"/>
                </a:cubicBezTo>
                <a:cubicBezTo>
                  <a:pt x="3865" y="954"/>
                  <a:pt x="3865" y="954"/>
                  <a:pt x="3865" y="954"/>
                </a:cubicBezTo>
                <a:close/>
                <a:moveTo>
                  <a:pt x="3705" y="843"/>
                </a:moveTo>
                <a:cubicBezTo>
                  <a:pt x="1876" y="1463"/>
                  <a:pt x="1876" y="1463"/>
                  <a:pt x="1876" y="1463"/>
                </a:cubicBezTo>
                <a:cubicBezTo>
                  <a:pt x="572" y="954"/>
                  <a:pt x="572" y="954"/>
                  <a:pt x="572" y="954"/>
                </a:cubicBezTo>
                <a:cubicBezTo>
                  <a:pt x="1860" y="1129"/>
                  <a:pt x="1860" y="1129"/>
                  <a:pt x="1860" y="1129"/>
                </a:cubicBezTo>
                <a:lnTo>
                  <a:pt x="1876" y="1129"/>
                </a:lnTo>
                <a:lnTo>
                  <a:pt x="1893" y="1129"/>
                </a:lnTo>
                <a:cubicBezTo>
                  <a:pt x="3260" y="668"/>
                  <a:pt x="3260" y="668"/>
                  <a:pt x="3260" y="668"/>
                </a:cubicBezTo>
                <a:close/>
                <a:moveTo>
                  <a:pt x="1860" y="971"/>
                </a:moveTo>
                <a:cubicBezTo>
                  <a:pt x="397" y="780"/>
                  <a:pt x="397" y="780"/>
                  <a:pt x="397" y="780"/>
                </a:cubicBezTo>
                <a:cubicBezTo>
                  <a:pt x="2020" y="159"/>
                  <a:pt x="2020" y="159"/>
                  <a:pt x="2020" y="159"/>
                </a:cubicBezTo>
                <a:cubicBezTo>
                  <a:pt x="3594" y="382"/>
                  <a:pt x="3594" y="382"/>
                  <a:pt x="3594" y="382"/>
                </a:cubicBezTo>
                <a:close/>
                <a:moveTo>
                  <a:pt x="158" y="971"/>
                </a:moveTo>
                <a:cubicBezTo>
                  <a:pt x="1797" y="1607"/>
                  <a:pt x="1797" y="1607"/>
                  <a:pt x="1797" y="1607"/>
                </a:cubicBezTo>
                <a:cubicBezTo>
                  <a:pt x="1797" y="4104"/>
                  <a:pt x="1797" y="4104"/>
                  <a:pt x="1797" y="4104"/>
                </a:cubicBezTo>
                <a:cubicBezTo>
                  <a:pt x="158" y="3309"/>
                  <a:pt x="158" y="3309"/>
                  <a:pt x="158" y="33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0" name="Freeform: Shape 2">
            <a:extLst>
              <a:ext uri="{FF2B5EF4-FFF2-40B4-BE49-F238E27FC236}">
                <a16:creationId xmlns:a16="http://schemas.microsoft.com/office/drawing/2014/main" id="{A91D47AB-BD84-1D42-94D7-5BE0A316E67E}"/>
              </a:ext>
            </a:extLst>
          </p:cNvPr>
          <p:cNvSpPr/>
          <p:nvPr/>
        </p:nvSpPr>
        <p:spPr>
          <a:xfrm>
            <a:off x="13733810" y="3060675"/>
            <a:ext cx="1493999" cy="1693080"/>
          </a:xfrm>
          <a:custGeom>
            <a:avLst/>
            <a:gdLst/>
            <a:ahLst/>
            <a:cxnLst>
              <a:cxn ang="3cd4">
                <a:pos x="hc" y="t"/>
              </a:cxn>
              <a:cxn ang="cd2">
                <a:pos x="l" y="vc"/>
              </a:cxn>
              <a:cxn ang="cd4">
                <a:pos x="hc" y="b"/>
              </a:cxn>
              <a:cxn ang="0">
                <a:pos x="r" y="vc"/>
              </a:cxn>
            </a:cxnLst>
            <a:rect l="l" t="t" r="r" b="b"/>
            <a:pathLst>
              <a:path w="4151" h="4704">
                <a:moveTo>
                  <a:pt x="2099" y="4688"/>
                </a:moveTo>
                <a:cubicBezTo>
                  <a:pt x="4103" y="3543"/>
                  <a:pt x="4103" y="3543"/>
                  <a:pt x="4103" y="3543"/>
                </a:cubicBezTo>
                <a:cubicBezTo>
                  <a:pt x="4119" y="3527"/>
                  <a:pt x="4135" y="3512"/>
                  <a:pt x="4135" y="3480"/>
                </a:cubicBezTo>
                <a:cubicBezTo>
                  <a:pt x="4151" y="1221"/>
                  <a:pt x="4151" y="1221"/>
                  <a:pt x="4151" y="1221"/>
                </a:cubicBezTo>
                <a:lnTo>
                  <a:pt x="4151" y="1205"/>
                </a:lnTo>
                <a:lnTo>
                  <a:pt x="4151" y="1189"/>
                </a:lnTo>
                <a:cubicBezTo>
                  <a:pt x="4135" y="1189"/>
                  <a:pt x="4135" y="1189"/>
                  <a:pt x="4135" y="1189"/>
                </a:cubicBezTo>
                <a:cubicBezTo>
                  <a:pt x="4135" y="1174"/>
                  <a:pt x="4135" y="1174"/>
                  <a:pt x="4135" y="1174"/>
                </a:cubicBezTo>
                <a:lnTo>
                  <a:pt x="4119" y="1158"/>
                </a:lnTo>
                <a:lnTo>
                  <a:pt x="4103" y="1158"/>
                </a:lnTo>
                <a:cubicBezTo>
                  <a:pt x="4103" y="1141"/>
                  <a:pt x="4103" y="1141"/>
                  <a:pt x="4103" y="1141"/>
                </a:cubicBezTo>
                <a:cubicBezTo>
                  <a:pt x="2115" y="13"/>
                  <a:pt x="2115" y="13"/>
                  <a:pt x="2115" y="13"/>
                </a:cubicBezTo>
                <a:cubicBezTo>
                  <a:pt x="2083" y="-4"/>
                  <a:pt x="2052" y="-4"/>
                  <a:pt x="2036" y="13"/>
                </a:cubicBezTo>
                <a:cubicBezTo>
                  <a:pt x="47" y="1158"/>
                  <a:pt x="47" y="1158"/>
                  <a:pt x="47" y="1158"/>
                </a:cubicBezTo>
                <a:lnTo>
                  <a:pt x="32" y="1158"/>
                </a:lnTo>
                <a:cubicBezTo>
                  <a:pt x="32" y="1174"/>
                  <a:pt x="16" y="1174"/>
                  <a:pt x="16" y="1189"/>
                </a:cubicBezTo>
                <a:lnTo>
                  <a:pt x="0" y="1205"/>
                </a:lnTo>
                <a:lnTo>
                  <a:pt x="0" y="1221"/>
                </a:lnTo>
                <a:cubicBezTo>
                  <a:pt x="0" y="3495"/>
                  <a:pt x="0" y="3495"/>
                  <a:pt x="0" y="3495"/>
                </a:cubicBezTo>
                <a:cubicBezTo>
                  <a:pt x="0" y="3527"/>
                  <a:pt x="16" y="3543"/>
                  <a:pt x="47" y="3559"/>
                </a:cubicBezTo>
                <a:cubicBezTo>
                  <a:pt x="2020" y="4688"/>
                  <a:pt x="2020" y="4688"/>
                  <a:pt x="2020" y="4688"/>
                </a:cubicBezTo>
                <a:lnTo>
                  <a:pt x="2036" y="4688"/>
                </a:lnTo>
                <a:lnTo>
                  <a:pt x="2052" y="4704"/>
                </a:lnTo>
                <a:cubicBezTo>
                  <a:pt x="2067" y="4704"/>
                  <a:pt x="2083" y="4688"/>
                  <a:pt x="2083" y="4688"/>
                </a:cubicBezTo>
                <a:cubicBezTo>
                  <a:pt x="2099" y="4688"/>
                  <a:pt x="2099" y="4688"/>
                  <a:pt x="2099" y="4688"/>
                </a:cubicBezTo>
                <a:close/>
                <a:moveTo>
                  <a:pt x="3976" y="3432"/>
                </a:moveTo>
                <a:cubicBezTo>
                  <a:pt x="2131" y="4482"/>
                  <a:pt x="2131" y="4482"/>
                  <a:pt x="2131" y="4482"/>
                </a:cubicBezTo>
                <a:cubicBezTo>
                  <a:pt x="2131" y="2398"/>
                  <a:pt x="2131" y="2398"/>
                  <a:pt x="2131" y="2398"/>
                </a:cubicBezTo>
                <a:cubicBezTo>
                  <a:pt x="3992" y="1349"/>
                  <a:pt x="3992" y="1349"/>
                  <a:pt x="3992" y="1349"/>
                </a:cubicBezTo>
                <a:close/>
                <a:moveTo>
                  <a:pt x="2067" y="171"/>
                </a:moveTo>
                <a:cubicBezTo>
                  <a:pt x="3912" y="1221"/>
                  <a:pt x="3912" y="1221"/>
                  <a:pt x="3912" y="1221"/>
                </a:cubicBezTo>
                <a:cubicBezTo>
                  <a:pt x="2052" y="2271"/>
                  <a:pt x="2052" y="2271"/>
                  <a:pt x="2052" y="2271"/>
                </a:cubicBezTo>
                <a:cubicBezTo>
                  <a:pt x="238" y="1221"/>
                  <a:pt x="238" y="1221"/>
                  <a:pt x="238" y="1221"/>
                </a:cubicBezTo>
                <a:close/>
                <a:moveTo>
                  <a:pt x="159" y="1349"/>
                </a:moveTo>
                <a:cubicBezTo>
                  <a:pt x="1972" y="2398"/>
                  <a:pt x="1972" y="2398"/>
                  <a:pt x="1972" y="2398"/>
                </a:cubicBezTo>
                <a:cubicBezTo>
                  <a:pt x="1972" y="4482"/>
                  <a:pt x="1972" y="4482"/>
                  <a:pt x="1972" y="4482"/>
                </a:cubicBezTo>
                <a:cubicBezTo>
                  <a:pt x="159" y="3448"/>
                  <a:pt x="159" y="3448"/>
                  <a:pt x="159" y="344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1" name="Freeform: Shape 3">
            <a:extLst>
              <a:ext uri="{FF2B5EF4-FFF2-40B4-BE49-F238E27FC236}">
                <a16:creationId xmlns:a16="http://schemas.microsoft.com/office/drawing/2014/main" id="{E5380EDA-0E24-2347-9E81-1C6F1C629345}"/>
              </a:ext>
            </a:extLst>
          </p:cNvPr>
          <p:cNvSpPr/>
          <p:nvPr/>
        </p:nvSpPr>
        <p:spPr>
          <a:xfrm>
            <a:off x="17581163" y="3171080"/>
            <a:ext cx="1636920" cy="1557719"/>
          </a:xfrm>
          <a:custGeom>
            <a:avLst/>
            <a:gdLst/>
            <a:ahLst/>
            <a:cxnLst>
              <a:cxn ang="3cd4">
                <a:pos x="hc" y="t"/>
              </a:cxn>
              <a:cxn ang="cd2">
                <a:pos x="l" y="vc"/>
              </a:cxn>
              <a:cxn ang="cd4">
                <a:pos x="hc" y="b"/>
              </a:cxn>
              <a:cxn ang="0">
                <a:pos x="r" y="vc"/>
              </a:cxn>
            </a:cxnLst>
            <a:rect l="l" t="t" r="r" b="b"/>
            <a:pathLst>
              <a:path w="4548" h="4328">
                <a:moveTo>
                  <a:pt x="4548" y="3962"/>
                </a:moveTo>
                <a:lnTo>
                  <a:pt x="4548" y="2467"/>
                </a:lnTo>
                <a:cubicBezTo>
                  <a:pt x="4548" y="2435"/>
                  <a:pt x="4548" y="2403"/>
                  <a:pt x="4532" y="2371"/>
                </a:cubicBezTo>
                <a:lnTo>
                  <a:pt x="3753" y="240"/>
                </a:lnTo>
                <a:cubicBezTo>
                  <a:pt x="3753" y="224"/>
                  <a:pt x="3642" y="2"/>
                  <a:pt x="3403" y="2"/>
                </a:cubicBezTo>
                <a:lnTo>
                  <a:pt x="1161" y="2"/>
                </a:lnTo>
                <a:cubicBezTo>
                  <a:pt x="1081" y="-14"/>
                  <a:pt x="875" y="49"/>
                  <a:pt x="795" y="272"/>
                </a:cubicBezTo>
                <a:cubicBezTo>
                  <a:pt x="715" y="495"/>
                  <a:pt x="127" y="2053"/>
                  <a:pt x="15" y="2371"/>
                </a:cubicBezTo>
                <a:cubicBezTo>
                  <a:pt x="0" y="2403"/>
                  <a:pt x="0" y="2435"/>
                  <a:pt x="0" y="2467"/>
                </a:cubicBezTo>
                <a:lnTo>
                  <a:pt x="0" y="3898"/>
                </a:lnTo>
                <a:cubicBezTo>
                  <a:pt x="0" y="4042"/>
                  <a:pt x="79" y="4328"/>
                  <a:pt x="333" y="4328"/>
                </a:cubicBezTo>
                <a:lnTo>
                  <a:pt x="4214" y="4328"/>
                </a:lnTo>
                <a:cubicBezTo>
                  <a:pt x="4310" y="4328"/>
                  <a:pt x="4548" y="4264"/>
                  <a:pt x="4548" y="3962"/>
                </a:cubicBezTo>
                <a:close/>
                <a:moveTo>
                  <a:pt x="158" y="3898"/>
                </a:moveTo>
                <a:lnTo>
                  <a:pt x="158" y="2467"/>
                </a:lnTo>
                <a:lnTo>
                  <a:pt x="158" y="2435"/>
                </a:lnTo>
                <a:cubicBezTo>
                  <a:pt x="270" y="2117"/>
                  <a:pt x="875" y="543"/>
                  <a:pt x="938" y="335"/>
                </a:cubicBezTo>
                <a:cubicBezTo>
                  <a:pt x="1002" y="161"/>
                  <a:pt x="1145" y="161"/>
                  <a:pt x="1161" y="161"/>
                </a:cubicBezTo>
                <a:lnTo>
                  <a:pt x="3403" y="161"/>
                </a:lnTo>
                <a:cubicBezTo>
                  <a:pt x="3547" y="161"/>
                  <a:pt x="3541" y="246"/>
                  <a:pt x="3610" y="288"/>
                </a:cubicBezTo>
                <a:lnTo>
                  <a:pt x="4389" y="2419"/>
                </a:lnTo>
                <a:lnTo>
                  <a:pt x="4389" y="2467"/>
                </a:lnTo>
                <a:lnTo>
                  <a:pt x="4389" y="3962"/>
                </a:lnTo>
                <a:cubicBezTo>
                  <a:pt x="4389" y="4153"/>
                  <a:pt x="4246" y="4169"/>
                  <a:pt x="4214" y="4169"/>
                </a:cubicBezTo>
                <a:lnTo>
                  <a:pt x="333" y="4169"/>
                </a:lnTo>
                <a:cubicBezTo>
                  <a:pt x="158" y="4169"/>
                  <a:pt x="158" y="3914"/>
                  <a:pt x="158" y="3898"/>
                </a:cubicBezTo>
                <a:close/>
                <a:moveTo>
                  <a:pt x="3435" y="480"/>
                </a:moveTo>
                <a:cubicBezTo>
                  <a:pt x="3403" y="416"/>
                  <a:pt x="3340" y="368"/>
                  <a:pt x="3277" y="368"/>
                </a:cubicBezTo>
                <a:lnTo>
                  <a:pt x="1305" y="368"/>
                </a:lnTo>
                <a:cubicBezTo>
                  <a:pt x="1241" y="368"/>
                  <a:pt x="1177" y="416"/>
                  <a:pt x="1162" y="480"/>
                </a:cubicBezTo>
                <a:lnTo>
                  <a:pt x="478" y="2245"/>
                </a:lnTo>
                <a:cubicBezTo>
                  <a:pt x="462" y="2309"/>
                  <a:pt x="462" y="2372"/>
                  <a:pt x="494" y="2436"/>
                </a:cubicBezTo>
                <a:cubicBezTo>
                  <a:pt x="541" y="2484"/>
                  <a:pt x="589" y="2516"/>
                  <a:pt x="668" y="2516"/>
                </a:cubicBezTo>
                <a:cubicBezTo>
                  <a:pt x="853" y="2516"/>
                  <a:pt x="1098" y="2500"/>
                  <a:pt x="1225" y="2516"/>
                </a:cubicBezTo>
                <a:cubicBezTo>
                  <a:pt x="1273" y="2516"/>
                  <a:pt x="1384" y="2547"/>
                  <a:pt x="1384" y="2722"/>
                </a:cubicBezTo>
                <a:lnTo>
                  <a:pt x="1384" y="2993"/>
                </a:lnTo>
                <a:cubicBezTo>
                  <a:pt x="1384" y="3104"/>
                  <a:pt x="1464" y="3295"/>
                  <a:pt x="1703" y="3327"/>
                </a:cubicBezTo>
                <a:lnTo>
                  <a:pt x="2084" y="3327"/>
                </a:lnTo>
                <a:lnTo>
                  <a:pt x="2816" y="3327"/>
                </a:lnTo>
                <a:cubicBezTo>
                  <a:pt x="2943" y="3327"/>
                  <a:pt x="3166" y="3263"/>
                  <a:pt x="3166" y="3025"/>
                </a:cubicBezTo>
                <a:lnTo>
                  <a:pt x="3166" y="2675"/>
                </a:lnTo>
                <a:cubicBezTo>
                  <a:pt x="3181" y="2632"/>
                  <a:pt x="3166" y="2595"/>
                  <a:pt x="3213" y="2547"/>
                </a:cubicBezTo>
                <a:cubicBezTo>
                  <a:pt x="3245" y="2532"/>
                  <a:pt x="3277" y="2516"/>
                  <a:pt x="3340" y="2516"/>
                </a:cubicBezTo>
                <a:lnTo>
                  <a:pt x="3912" y="2516"/>
                </a:lnTo>
                <a:cubicBezTo>
                  <a:pt x="3976" y="2516"/>
                  <a:pt x="4039" y="2484"/>
                  <a:pt x="4071" y="2436"/>
                </a:cubicBezTo>
                <a:cubicBezTo>
                  <a:pt x="4119" y="2372"/>
                  <a:pt x="4119" y="2309"/>
                  <a:pt x="4103" y="2245"/>
                </a:cubicBezTo>
                <a:close/>
                <a:moveTo>
                  <a:pt x="3944" y="2341"/>
                </a:moveTo>
                <a:cubicBezTo>
                  <a:pt x="3933" y="2346"/>
                  <a:pt x="3928" y="2356"/>
                  <a:pt x="3912" y="2356"/>
                </a:cubicBezTo>
                <a:lnTo>
                  <a:pt x="3340" y="2356"/>
                </a:lnTo>
                <a:cubicBezTo>
                  <a:pt x="3229" y="2356"/>
                  <a:pt x="3166" y="2389"/>
                  <a:pt x="3102" y="2436"/>
                </a:cubicBezTo>
                <a:cubicBezTo>
                  <a:pt x="3007" y="2532"/>
                  <a:pt x="3007" y="2659"/>
                  <a:pt x="3007" y="2675"/>
                </a:cubicBezTo>
                <a:lnTo>
                  <a:pt x="3007" y="3025"/>
                </a:lnTo>
                <a:cubicBezTo>
                  <a:pt x="3007" y="3152"/>
                  <a:pt x="2831" y="3168"/>
                  <a:pt x="2816" y="3168"/>
                </a:cubicBezTo>
                <a:cubicBezTo>
                  <a:pt x="2450" y="3168"/>
                  <a:pt x="1893" y="3184"/>
                  <a:pt x="1718" y="3168"/>
                </a:cubicBezTo>
                <a:cubicBezTo>
                  <a:pt x="1559" y="3152"/>
                  <a:pt x="1543" y="3025"/>
                  <a:pt x="1543" y="2993"/>
                </a:cubicBezTo>
                <a:lnTo>
                  <a:pt x="1543" y="2722"/>
                </a:lnTo>
                <a:cubicBezTo>
                  <a:pt x="1543" y="2484"/>
                  <a:pt x="1384" y="2372"/>
                  <a:pt x="1241" y="2356"/>
                </a:cubicBezTo>
                <a:lnTo>
                  <a:pt x="1019" y="2356"/>
                </a:lnTo>
                <a:lnTo>
                  <a:pt x="653" y="2356"/>
                </a:lnTo>
                <a:cubicBezTo>
                  <a:pt x="637" y="2356"/>
                  <a:pt x="642" y="2346"/>
                  <a:pt x="637" y="2341"/>
                </a:cubicBezTo>
                <a:cubicBezTo>
                  <a:pt x="621" y="2341"/>
                  <a:pt x="621" y="2325"/>
                  <a:pt x="621" y="2309"/>
                </a:cubicBezTo>
                <a:lnTo>
                  <a:pt x="1305" y="544"/>
                </a:lnTo>
                <a:lnTo>
                  <a:pt x="1225" y="512"/>
                </a:lnTo>
                <a:lnTo>
                  <a:pt x="1305" y="527"/>
                </a:lnTo>
                <a:lnTo>
                  <a:pt x="3293" y="544"/>
                </a:lnTo>
                <a:lnTo>
                  <a:pt x="3944" y="2309"/>
                </a:lnTo>
                <a:cubicBezTo>
                  <a:pt x="3960" y="2325"/>
                  <a:pt x="3944" y="2330"/>
                  <a:pt x="3944" y="234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2" name="Freeform: Shape 4">
            <a:extLst>
              <a:ext uri="{FF2B5EF4-FFF2-40B4-BE49-F238E27FC236}">
                <a16:creationId xmlns:a16="http://schemas.microsoft.com/office/drawing/2014/main" id="{59F8A4A3-1271-C347-BDB9-5F10341F01A5}"/>
              </a:ext>
            </a:extLst>
          </p:cNvPr>
          <p:cNvSpPr/>
          <p:nvPr/>
        </p:nvSpPr>
        <p:spPr>
          <a:xfrm>
            <a:off x="21210053" y="3347466"/>
            <a:ext cx="1444319" cy="1356840"/>
          </a:xfrm>
          <a:custGeom>
            <a:avLst/>
            <a:gdLst/>
            <a:ahLst/>
            <a:cxnLst>
              <a:cxn ang="3cd4">
                <a:pos x="hc" y="t"/>
              </a:cxn>
              <a:cxn ang="cd2">
                <a:pos x="l" y="vc"/>
              </a:cxn>
              <a:cxn ang="cd4">
                <a:pos x="hc" y="b"/>
              </a:cxn>
              <a:cxn ang="0">
                <a:pos x="r" y="vc"/>
              </a:cxn>
            </a:cxnLst>
            <a:rect l="l" t="t" r="r" b="b"/>
            <a:pathLst>
              <a:path w="4013" h="3770">
                <a:moveTo>
                  <a:pt x="3883" y="3467"/>
                </a:moveTo>
                <a:cubicBezTo>
                  <a:pt x="3898" y="3244"/>
                  <a:pt x="3967" y="2216"/>
                  <a:pt x="4010" y="1590"/>
                </a:cubicBezTo>
                <a:cubicBezTo>
                  <a:pt x="4010" y="1575"/>
                  <a:pt x="4042" y="1399"/>
                  <a:pt x="3898" y="1225"/>
                </a:cubicBezTo>
                <a:cubicBezTo>
                  <a:pt x="3803" y="1098"/>
                  <a:pt x="3580" y="795"/>
                  <a:pt x="3533" y="732"/>
                </a:cubicBezTo>
                <a:cubicBezTo>
                  <a:pt x="3517" y="620"/>
                  <a:pt x="3453" y="541"/>
                  <a:pt x="3358" y="525"/>
                </a:cubicBezTo>
                <a:lnTo>
                  <a:pt x="3358" y="223"/>
                </a:lnTo>
                <a:cubicBezTo>
                  <a:pt x="3358" y="111"/>
                  <a:pt x="3262" y="0"/>
                  <a:pt x="3135" y="0"/>
                </a:cubicBezTo>
                <a:lnTo>
                  <a:pt x="877" y="0"/>
                </a:lnTo>
                <a:cubicBezTo>
                  <a:pt x="750" y="0"/>
                  <a:pt x="654" y="111"/>
                  <a:pt x="654" y="223"/>
                </a:cubicBezTo>
                <a:lnTo>
                  <a:pt x="654" y="525"/>
                </a:lnTo>
                <a:cubicBezTo>
                  <a:pt x="559" y="541"/>
                  <a:pt x="495" y="620"/>
                  <a:pt x="479" y="716"/>
                </a:cubicBezTo>
                <a:cubicBezTo>
                  <a:pt x="431" y="795"/>
                  <a:pt x="225" y="1081"/>
                  <a:pt x="145" y="1193"/>
                </a:cubicBezTo>
                <a:lnTo>
                  <a:pt x="129" y="1225"/>
                </a:lnTo>
                <a:cubicBezTo>
                  <a:pt x="81" y="1304"/>
                  <a:pt x="-14" y="1416"/>
                  <a:pt x="2" y="1575"/>
                </a:cubicBezTo>
                <a:lnTo>
                  <a:pt x="161" y="3404"/>
                </a:lnTo>
                <a:cubicBezTo>
                  <a:pt x="161" y="3435"/>
                  <a:pt x="145" y="3579"/>
                  <a:pt x="241" y="3690"/>
                </a:cubicBezTo>
                <a:cubicBezTo>
                  <a:pt x="304" y="3738"/>
                  <a:pt x="368" y="3770"/>
                  <a:pt x="447" y="3770"/>
                </a:cubicBezTo>
                <a:lnTo>
                  <a:pt x="3549" y="3770"/>
                </a:lnTo>
                <a:cubicBezTo>
                  <a:pt x="3644" y="3770"/>
                  <a:pt x="3867" y="3690"/>
                  <a:pt x="3883" y="3467"/>
                </a:cubicBezTo>
                <a:close/>
                <a:moveTo>
                  <a:pt x="813" y="223"/>
                </a:moveTo>
                <a:cubicBezTo>
                  <a:pt x="813" y="191"/>
                  <a:pt x="829" y="159"/>
                  <a:pt x="877" y="159"/>
                </a:cubicBezTo>
                <a:lnTo>
                  <a:pt x="3135" y="159"/>
                </a:lnTo>
                <a:cubicBezTo>
                  <a:pt x="3167" y="159"/>
                  <a:pt x="3199" y="191"/>
                  <a:pt x="3199" y="223"/>
                </a:cubicBezTo>
                <a:lnTo>
                  <a:pt x="3199" y="525"/>
                </a:lnTo>
                <a:lnTo>
                  <a:pt x="813" y="525"/>
                </a:lnTo>
                <a:close/>
                <a:moveTo>
                  <a:pt x="638" y="747"/>
                </a:moveTo>
                <a:cubicBezTo>
                  <a:pt x="638" y="700"/>
                  <a:pt x="670" y="684"/>
                  <a:pt x="702" y="684"/>
                </a:cubicBezTo>
                <a:lnTo>
                  <a:pt x="734" y="684"/>
                </a:lnTo>
                <a:lnTo>
                  <a:pt x="3279" y="684"/>
                </a:lnTo>
                <a:lnTo>
                  <a:pt x="3310" y="684"/>
                </a:lnTo>
                <a:cubicBezTo>
                  <a:pt x="3342" y="684"/>
                  <a:pt x="3374" y="700"/>
                  <a:pt x="3374" y="747"/>
                </a:cubicBezTo>
                <a:lnTo>
                  <a:pt x="3374" y="1193"/>
                </a:lnTo>
                <a:lnTo>
                  <a:pt x="638" y="1193"/>
                </a:lnTo>
                <a:close/>
                <a:moveTo>
                  <a:pt x="447" y="3610"/>
                </a:moveTo>
                <a:cubicBezTo>
                  <a:pt x="399" y="3610"/>
                  <a:pt x="384" y="3595"/>
                  <a:pt x="368" y="3579"/>
                </a:cubicBezTo>
                <a:cubicBezTo>
                  <a:pt x="320" y="3531"/>
                  <a:pt x="320" y="3452"/>
                  <a:pt x="320" y="3404"/>
                </a:cubicBezTo>
                <a:lnTo>
                  <a:pt x="161" y="1543"/>
                </a:lnTo>
                <a:cubicBezTo>
                  <a:pt x="161" y="1463"/>
                  <a:pt x="208" y="1384"/>
                  <a:pt x="256" y="1320"/>
                </a:cubicBezTo>
                <a:lnTo>
                  <a:pt x="288" y="1288"/>
                </a:lnTo>
                <a:cubicBezTo>
                  <a:pt x="320" y="1225"/>
                  <a:pt x="399" y="1113"/>
                  <a:pt x="479" y="1002"/>
                </a:cubicBezTo>
                <a:lnTo>
                  <a:pt x="479" y="1256"/>
                </a:lnTo>
                <a:cubicBezTo>
                  <a:pt x="479" y="1304"/>
                  <a:pt x="511" y="1336"/>
                  <a:pt x="559" y="1336"/>
                </a:cubicBezTo>
                <a:lnTo>
                  <a:pt x="3453" y="1336"/>
                </a:lnTo>
                <a:cubicBezTo>
                  <a:pt x="3501" y="1336"/>
                  <a:pt x="3533" y="1304"/>
                  <a:pt x="3533" y="1256"/>
                </a:cubicBezTo>
                <a:lnTo>
                  <a:pt x="3533" y="1002"/>
                </a:lnTo>
                <a:cubicBezTo>
                  <a:pt x="3612" y="1113"/>
                  <a:pt x="3708" y="1256"/>
                  <a:pt x="3771" y="1336"/>
                </a:cubicBezTo>
                <a:cubicBezTo>
                  <a:pt x="3867" y="1447"/>
                  <a:pt x="3851" y="1543"/>
                  <a:pt x="3851" y="1559"/>
                </a:cubicBezTo>
                <a:cubicBezTo>
                  <a:pt x="3808" y="2190"/>
                  <a:pt x="3740" y="3229"/>
                  <a:pt x="3724" y="3452"/>
                </a:cubicBezTo>
                <a:cubicBezTo>
                  <a:pt x="3708" y="3595"/>
                  <a:pt x="3549" y="3610"/>
                  <a:pt x="3533" y="3610"/>
                </a:cubicBezTo>
                <a:close/>
                <a:moveTo>
                  <a:pt x="2832" y="1971"/>
                </a:moveTo>
                <a:cubicBezTo>
                  <a:pt x="2769" y="1955"/>
                  <a:pt x="2673" y="1955"/>
                  <a:pt x="2609" y="2003"/>
                </a:cubicBezTo>
                <a:cubicBezTo>
                  <a:pt x="2561" y="2035"/>
                  <a:pt x="2530" y="2098"/>
                  <a:pt x="2530" y="2162"/>
                </a:cubicBezTo>
                <a:cubicBezTo>
                  <a:pt x="2530" y="2226"/>
                  <a:pt x="2498" y="2353"/>
                  <a:pt x="2450" y="2353"/>
                </a:cubicBezTo>
                <a:lnTo>
                  <a:pt x="1560" y="2353"/>
                </a:lnTo>
                <a:cubicBezTo>
                  <a:pt x="1544" y="2353"/>
                  <a:pt x="1528" y="2321"/>
                  <a:pt x="1512" y="2305"/>
                </a:cubicBezTo>
                <a:cubicBezTo>
                  <a:pt x="1480" y="2273"/>
                  <a:pt x="1480" y="2242"/>
                  <a:pt x="1464" y="2178"/>
                </a:cubicBezTo>
                <a:cubicBezTo>
                  <a:pt x="1464" y="2098"/>
                  <a:pt x="1464" y="2019"/>
                  <a:pt x="1369" y="1955"/>
                </a:cubicBezTo>
                <a:cubicBezTo>
                  <a:pt x="1305" y="1907"/>
                  <a:pt x="1210" y="1907"/>
                  <a:pt x="1146" y="1939"/>
                </a:cubicBezTo>
                <a:cubicBezTo>
                  <a:pt x="955" y="2019"/>
                  <a:pt x="987" y="2226"/>
                  <a:pt x="1003" y="2305"/>
                </a:cubicBezTo>
                <a:cubicBezTo>
                  <a:pt x="1035" y="2480"/>
                  <a:pt x="1098" y="2607"/>
                  <a:pt x="1225" y="2687"/>
                </a:cubicBezTo>
                <a:cubicBezTo>
                  <a:pt x="1353" y="2782"/>
                  <a:pt x="1496" y="2846"/>
                  <a:pt x="1639" y="2846"/>
                </a:cubicBezTo>
                <a:lnTo>
                  <a:pt x="1894" y="2846"/>
                </a:lnTo>
                <a:lnTo>
                  <a:pt x="1957" y="2846"/>
                </a:lnTo>
                <a:lnTo>
                  <a:pt x="2196" y="2846"/>
                </a:lnTo>
                <a:lnTo>
                  <a:pt x="2291" y="2846"/>
                </a:lnTo>
                <a:cubicBezTo>
                  <a:pt x="2355" y="2846"/>
                  <a:pt x="2403" y="2846"/>
                  <a:pt x="2450" y="2830"/>
                </a:cubicBezTo>
                <a:cubicBezTo>
                  <a:pt x="2752" y="2798"/>
                  <a:pt x="2975" y="2576"/>
                  <a:pt x="3007" y="2273"/>
                </a:cubicBezTo>
                <a:cubicBezTo>
                  <a:pt x="3007" y="2242"/>
                  <a:pt x="3007" y="2194"/>
                  <a:pt x="2991" y="2130"/>
                </a:cubicBezTo>
                <a:cubicBezTo>
                  <a:pt x="2975" y="2067"/>
                  <a:pt x="2912" y="2003"/>
                  <a:pt x="2832" y="1971"/>
                </a:cubicBezTo>
                <a:close/>
                <a:moveTo>
                  <a:pt x="2848" y="2258"/>
                </a:moveTo>
                <a:cubicBezTo>
                  <a:pt x="2816" y="2480"/>
                  <a:pt x="2657" y="2655"/>
                  <a:pt x="2434" y="2671"/>
                </a:cubicBezTo>
                <a:cubicBezTo>
                  <a:pt x="2355" y="2687"/>
                  <a:pt x="2291" y="2687"/>
                  <a:pt x="2196" y="2687"/>
                </a:cubicBezTo>
                <a:lnTo>
                  <a:pt x="2037" y="2687"/>
                </a:lnTo>
                <a:lnTo>
                  <a:pt x="1957" y="2687"/>
                </a:lnTo>
                <a:lnTo>
                  <a:pt x="1894" y="2687"/>
                </a:lnTo>
                <a:lnTo>
                  <a:pt x="1639" y="2687"/>
                </a:lnTo>
                <a:cubicBezTo>
                  <a:pt x="1528" y="2687"/>
                  <a:pt x="1416" y="2639"/>
                  <a:pt x="1321" y="2560"/>
                </a:cubicBezTo>
                <a:cubicBezTo>
                  <a:pt x="1225" y="2496"/>
                  <a:pt x="1178" y="2416"/>
                  <a:pt x="1162" y="2289"/>
                </a:cubicBezTo>
                <a:cubicBezTo>
                  <a:pt x="1146" y="2130"/>
                  <a:pt x="1178" y="2098"/>
                  <a:pt x="1194" y="2082"/>
                </a:cubicBezTo>
                <a:cubicBezTo>
                  <a:pt x="1225" y="2067"/>
                  <a:pt x="1257" y="2067"/>
                  <a:pt x="1273" y="2082"/>
                </a:cubicBezTo>
                <a:cubicBezTo>
                  <a:pt x="1305" y="2098"/>
                  <a:pt x="1305" y="2115"/>
                  <a:pt x="1321" y="2210"/>
                </a:cubicBezTo>
                <a:cubicBezTo>
                  <a:pt x="1321" y="2273"/>
                  <a:pt x="1337" y="2337"/>
                  <a:pt x="1385" y="2401"/>
                </a:cubicBezTo>
                <a:cubicBezTo>
                  <a:pt x="1385" y="2416"/>
                  <a:pt x="1464" y="2512"/>
                  <a:pt x="1560" y="2512"/>
                </a:cubicBezTo>
                <a:lnTo>
                  <a:pt x="2450" y="2512"/>
                </a:lnTo>
                <a:cubicBezTo>
                  <a:pt x="2625" y="2512"/>
                  <a:pt x="2689" y="2273"/>
                  <a:pt x="2689" y="2162"/>
                </a:cubicBezTo>
                <a:cubicBezTo>
                  <a:pt x="2689" y="2146"/>
                  <a:pt x="2689" y="2146"/>
                  <a:pt x="2705" y="2130"/>
                </a:cubicBezTo>
                <a:cubicBezTo>
                  <a:pt x="2721" y="2115"/>
                  <a:pt x="2752" y="2115"/>
                  <a:pt x="2784" y="2130"/>
                </a:cubicBezTo>
                <a:cubicBezTo>
                  <a:pt x="2800" y="2130"/>
                  <a:pt x="2832" y="2146"/>
                  <a:pt x="2848" y="217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3" name="TextBox 52">
            <a:extLst>
              <a:ext uri="{FF2B5EF4-FFF2-40B4-BE49-F238E27FC236}">
                <a16:creationId xmlns:a16="http://schemas.microsoft.com/office/drawing/2014/main" id="{7EBF43D4-A4B0-6D4A-9405-9BF83F5D647C}"/>
              </a:ext>
            </a:extLst>
          </p:cNvPr>
          <p:cNvSpPr txBox="1"/>
          <p:nvPr/>
        </p:nvSpPr>
        <p:spPr>
          <a:xfrm>
            <a:off x="8766661" y="5066137"/>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x 3</a:t>
            </a:r>
          </a:p>
        </p:txBody>
      </p:sp>
      <p:sp>
        <p:nvSpPr>
          <p:cNvPr id="54" name="TextBox 53">
            <a:extLst>
              <a:ext uri="{FF2B5EF4-FFF2-40B4-BE49-F238E27FC236}">
                <a16:creationId xmlns:a16="http://schemas.microsoft.com/office/drawing/2014/main" id="{C2823615-E09D-D846-90C2-01F5DEDC0B28}"/>
              </a:ext>
            </a:extLst>
          </p:cNvPr>
          <p:cNvSpPr txBox="1"/>
          <p:nvPr/>
        </p:nvSpPr>
        <p:spPr>
          <a:xfrm>
            <a:off x="772770" y="7940197"/>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x 2</a:t>
            </a:r>
          </a:p>
        </p:txBody>
      </p:sp>
      <p:sp>
        <p:nvSpPr>
          <p:cNvPr id="55" name="Freeform: Shape 1">
            <a:extLst>
              <a:ext uri="{FF2B5EF4-FFF2-40B4-BE49-F238E27FC236}">
                <a16:creationId xmlns:a16="http://schemas.microsoft.com/office/drawing/2014/main" id="{644BC9ED-6910-BD4C-AF1B-329F140200A3}"/>
              </a:ext>
            </a:extLst>
          </p:cNvPr>
          <p:cNvSpPr/>
          <p:nvPr/>
        </p:nvSpPr>
        <p:spPr>
          <a:xfrm>
            <a:off x="9954856" y="3379996"/>
            <a:ext cx="1425600" cy="1373759"/>
          </a:xfrm>
          <a:custGeom>
            <a:avLst/>
            <a:gdLst/>
            <a:ahLst/>
            <a:cxnLst>
              <a:cxn ang="3cd4">
                <a:pos x="hc" y="t"/>
              </a:cxn>
              <a:cxn ang="cd2">
                <a:pos x="l" y="vc"/>
              </a:cxn>
              <a:cxn ang="cd4">
                <a:pos x="hc" y="b"/>
              </a:cxn>
              <a:cxn ang="0">
                <a:pos x="r" y="vc"/>
              </a:cxn>
            </a:cxnLst>
            <a:rect l="l" t="t" r="r" b="b"/>
            <a:pathLst>
              <a:path w="3961" h="3817">
                <a:moveTo>
                  <a:pt x="3086" y="3817"/>
                </a:moveTo>
                <a:lnTo>
                  <a:pt x="3102" y="3817"/>
                </a:lnTo>
                <a:lnTo>
                  <a:pt x="3117" y="3817"/>
                </a:lnTo>
                <a:lnTo>
                  <a:pt x="3117" y="3801"/>
                </a:lnTo>
                <a:lnTo>
                  <a:pt x="3134" y="3801"/>
                </a:lnTo>
                <a:cubicBezTo>
                  <a:pt x="3149" y="3801"/>
                  <a:pt x="3144" y="3791"/>
                  <a:pt x="3149" y="3786"/>
                </a:cubicBezTo>
                <a:lnTo>
                  <a:pt x="3165" y="3786"/>
                </a:lnTo>
                <a:lnTo>
                  <a:pt x="3165" y="3770"/>
                </a:lnTo>
                <a:lnTo>
                  <a:pt x="3961" y="2354"/>
                </a:lnTo>
                <a:lnTo>
                  <a:pt x="3961" y="2307"/>
                </a:lnTo>
                <a:lnTo>
                  <a:pt x="3961" y="79"/>
                </a:lnTo>
                <a:cubicBezTo>
                  <a:pt x="3961" y="48"/>
                  <a:pt x="3929" y="0"/>
                  <a:pt x="3881" y="0"/>
                </a:cubicBezTo>
                <a:lnTo>
                  <a:pt x="3865" y="0"/>
                </a:lnTo>
                <a:lnTo>
                  <a:pt x="3483" y="0"/>
                </a:lnTo>
                <a:lnTo>
                  <a:pt x="891" y="0"/>
                </a:lnTo>
                <a:cubicBezTo>
                  <a:pt x="859" y="0"/>
                  <a:pt x="843" y="16"/>
                  <a:pt x="827" y="32"/>
                </a:cubicBezTo>
                <a:lnTo>
                  <a:pt x="16" y="1145"/>
                </a:lnTo>
                <a:cubicBezTo>
                  <a:pt x="0" y="1145"/>
                  <a:pt x="5" y="1156"/>
                  <a:pt x="0" y="1161"/>
                </a:cubicBezTo>
                <a:lnTo>
                  <a:pt x="0" y="1177"/>
                </a:lnTo>
                <a:lnTo>
                  <a:pt x="0" y="1193"/>
                </a:lnTo>
                <a:lnTo>
                  <a:pt x="0" y="3738"/>
                </a:lnTo>
                <a:cubicBezTo>
                  <a:pt x="0" y="3786"/>
                  <a:pt x="32" y="3817"/>
                  <a:pt x="80" y="3817"/>
                </a:cubicBezTo>
                <a:close/>
                <a:moveTo>
                  <a:pt x="3165" y="3435"/>
                </a:moveTo>
                <a:lnTo>
                  <a:pt x="3165" y="1225"/>
                </a:lnTo>
                <a:lnTo>
                  <a:pt x="3801" y="302"/>
                </a:lnTo>
                <a:lnTo>
                  <a:pt x="3801" y="2290"/>
                </a:lnTo>
                <a:close/>
                <a:moveTo>
                  <a:pt x="3706" y="159"/>
                </a:moveTo>
                <a:lnTo>
                  <a:pt x="3054" y="1114"/>
                </a:lnTo>
                <a:lnTo>
                  <a:pt x="1622" y="1114"/>
                </a:lnTo>
                <a:lnTo>
                  <a:pt x="2338" y="175"/>
                </a:lnTo>
                <a:lnTo>
                  <a:pt x="2338" y="159"/>
                </a:lnTo>
                <a:lnTo>
                  <a:pt x="3483" y="159"/>
                </a:lnTo>
                <a:close/>
                <a:moveTo>
                  <a:pt x="923" y="159"/>
                </a:moveTo>
                <a:lnTo>
                  <a:pt x="2147" y="159"/>
                </a:lnTo>
                <a:lnTo>
                  <a:pt x="1432" y="1114"/>
                </a:lnTo>
                <a:lnTo>
                  <a:pt x="223" y="1114"/>
                </a:lnTo>
                <a:close/>
                <a:moveTo>
                  <a:pt x="3006" y="3658"/>
                </a:moveTo>
                <a:lnTo>
                  <a:pt x="159" y="3658"/>
                </a:lnTo>
                <a:lnTo>
                  <a:pt x="159" y="1272"/>
                </a:lnTo>
                <a:lnTo>
                  <a:pt x="3006" y="1272"/>
                </a:lnTo>
                <a:close/>
                <a:moveTo>
                  <a:pt x="1114" y="2068"/>
                </a:moveTo>
                <a:lnTo>
                  <a:pt x="1893" y="2068"/>
                </a:lnTo>
                <a:cubicBezTo>
                  <a:pt x="1941" y="2068"/>
                  <a:pt x="1972" y="2036"/>
                  <a:pt x="1972" y="1988"/>
                </a:cubicBezTo>
                <a:cubicBezTo>
                  <a:pt x="1972" y="1941"/>
                  <a:pt x="1941" y="1909"/>
                  <a:pt x="1893" y="1909"/>
                </a:cubicBezTo>
                <a:lnTo>
                  <a:pt x="1114" y="1909"/>
                </a:lnTo>
                <a:cubicBezTo>
                  <a:pt x="1066" y="1909"/>
                  <a:pt x="1034" y="1941"/>
                  <a:pt x="1034" y="1988"/>
                </a:cubicBezTo>
                <a:cubicBezTo>
                  <a:pt x="1034" y="2036"/>
                  <a:pt x="1066" y="2068"/>
                  <a:pt x="1114" y="206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6" name="Freeform: Shape 16">
            <a:extLst>
              <a:ext uri="{FF2B5EF4-FFF2-40B4-BE49-F238E27FC236}">
                <a16:creationId xmlns:a16="http://schemas.microsoft.com/office/drawing/2014/main" id="{A352C1E7-A2A8-BA43-97B4-BC3093F22DB8}"/>
              </a:ext>
            </a:extLst>
          </p:cNvPr>
          <p:cNvSpPr/>
          <p:nvPr/>
        </p:nvSpPr>
        <p:spPr>
          <a:xfrm>
            <a:off x="1788100" y="6208336"/>
            <a:ext cx="1698480" cy="1465200"/>
          </a:xfrm>
          <a:custGeom>
            <a:avLst/>
            <a:gdLst/>
            <a:ahLst/>
            <a:cxnLst>
              <a:cxn ang="3cd4">
                <a:pos x="hc" y="t"/>
              </a:cxn>
              <a:cxn ang="cd2">
                <a:pos x="l" y="vc"/>
              </a:cxn>
              <a:cxn ang="cd4">
                <a:pos x="hc" y="b"/>
              </a:cxn>
              <a:cxn ang="0">
                <a:pos x="r" y="vc"/>
              </a:cxn>
            </a:cxnLst>
            <a:rect l="l" t="t" r="r" b="b"/>
            <a:pathLst>
              <a:path w="4719" h="4071">
                <a:moveTo>
                  <a:pt x="2254" y="4071"/>
                </a:moveTo>
                <a:cubicBezTo>
                  <a:pt x="4322" y="3340"/>
                  <a:pt x="4322" y="3340"/>
                  <a:pt x="4322" y="3340"/>
                </a:cubicBezTo>
                <a:cubicBezTo>
                  <a:pt x="4354" y="3324"/>
                  <a:pt x="4370" y="3292"/>
                  <a:pt x="4370" y="3261"/>
                </a:cubicBezTo>
                <a:cubicBezTo>
                  <a:pt x="4370" y="1622"/>
                  <a:pt x="4370" y="1622"/>
                  <a:pt x="4370" y="1622"/>
                </a:cubicBezTo>
                <a:cubicBezTo>
                  <a:pt x="4672" y="1511"/>
                  <a:pt x="4672" y="1511"/>
                  <a:pt x="4672" y="1511"/>
                </a:cubicBezTo>
                <a:cubicBezTo>
                  <a:pt x="4688" y="1495"/>
                  <a:pt x="4704" y="1479"/>
                  <a:pt x="4719" y="1463"/>
                </a:cubicBezTo>
                <a:cubicBezTo>
                  <a:pt x="4719" y="1447"/>
                  <a:pt x="4719" y="1416"/>
                  <a:pt x="4704" y="1399"/>
                </a:cubicBezTo>
                <a:cubicBezTo>
                  <a:pt x="4401" y="827"/>
                  <a:pt x="4401" y="827"/>
                  <a:pt x="4401" y="827"/>
                </a:cubicBezTo>
                <a:cubicBezTo>
                  <a:pt x="4385" y="827"/>
                  <a:pt x="4385" y="827"/>
                  <a:pt x="4385" y="811"/>
                </a:cubicBezTo>
                <a:cubicBezTo>
                  <a:pt x="4385" y="811"/>
                  <a:pt x="4385" y="795"/>
                  <a:pt x="4370" y="779"/>
                </a:cubicBezTo>
                <a:cubicBezTo>
                  <a:pt x="4354" y="763"/>
                  <a:pt x="4354" y="763"/>
                  <a:pt x="4354" y="763"/>
                </a:cubicBezTo>
                <a:lnTo>
                  <a:pt x="4354" y="747"/>
                </a:lnTo>
                <a:cubicBezTo>
                  <a:pt x="4338" y="747"/>
                  <a:pt x="4338" y="747"/>
                  <a:pt x="4338" y="747"/>
                </a:cubicBezTo>
                <a:lnTo>
                  <a:pt x="4322" y="747"/>
                </a:lnTo>
                <a:cubicBezTo>
                  <a:pt x="2397" y="0"/>
                  <a:pt x="2397" y="0"/>
                  <a:pt x="2397" y="0"/>
                </a:cubicBezTo>
                <a:cubicBezTo>
                  <a:pt x="2382" y="0"/>
                  <a:pt x="2382" y="0"/>
                  <a:pt x="2382" y="0"/>
                </a:cubicBezTo>
                <a:cubicBezTo>
                  <a:pt x="2365" y="0"/>
                  <a:pt x="2350" y="0"/>
                  <a:pt x="2350" y="0"/>
                </a:cubicBezTo>
                <a:lnTo>
                  <a:pt x="2334" y="0"/>
                </a:lnTo>
                <a:cubicBezTo>
                  <a:pt x="393" y="747"/>
                  <a:pt x="393" y="747"/>
                  <a:pt x="393" y="747"/>
                </a:cubicBezTo>
                <a:lnTo>
                  <a:pt x="377" y="747"/>
                </a:lnTo>
                <a:cubicBezTo>
                  <a:pt x="377" y="763"/>
                  <a:pt x="377" y="763"/>
                  <a:pt x="377" y="763"/>
                </a:cubicBezTo>
                <a:cubicBezTo>
                  <a:pt x="362" y="763"/>
                  <a:pt x="362" y="763"/>
                  <a:pt x="362" y="763"/>
                </a:cubicBezTo>
                <a:lnTo>
                  <a:pt x="362" y="779"/>
                </a:lnTo>
                <a:cubicBezTo>
                  <a:pt x="11" y="1399"/>
                  <a:pt x="11" y="1399"/>
                  <a:pt x="11" y="1399"/>
                </a:cubicBezTo>
                <a:cubicBezTo>
                  <a:pt x="-4" y="1416"/>
                  <a:pt x="-4" y="1447"/>
                  <a:pt x="11" y="1463"/>
                </a:cubicBezTo>
                <a:cubicBezTo>
                  <a:pt x="11" y="1479"/>
                  <a:pt x="28" y="1495"/>
                  <a:pt x="59" y="1511"/>
                </a:cubicBezTo>
                <a:cubicBezTo>
                  <a:pt x="409" y="1638"/>
                  <a:pt x="409" y="1638"/>
                  <a:pt x="409" y="1638"/>
                </a:cubicBezTo>
                <a:cubicBezTo>
                  <a:pt x="409" y="3261"/>
                  <a:pt x="409" y="3261"/>
                  <a:pt x="409" y="3261"/>
                </a:cubicBezTo>
                <a:cubicBezTo>
                  <a:pt x="409" y="3292"/>
                  <a:pt x="425" y="3324"/>
                  <a:pt x="457" y="3340"/>
                </a:cubicBezTo>
                <a:cubicBezTo>
                  <a:pt x="2207" y="4071"/>
                  <a:pt x="2207" y="4071"/>
                  <a:pt x="2207" y="4071"/>
                </a:cubicBezTo>
                <a:lnTo>
                  <a:pt x="2222" y="4071"/>
                </a:lnTo>
                <a:lnTo>
                  <a:pt x="2238" y="4071"/>
                </a:lnTo>
                <a:cubicBezTo>
                  <a:pt x="2254" y="4071"/>
                  <a:pt x="2254" y="4071"/>
                  <a:pt x="2254" y="4071"/>
                </a:cubicBezTo>
                <a:close/>
                <a:moveTo>
                  <a:pt x="2445" y="191"/>
                </a:moveTo>
                <a:cubicBezTo>
                  <a:pt x="4115" y="827"/>
                  <a:pt x="4115" y="827"/>
                  <a:pt x="4115" y="827"/>
                </a:cubicBezTo>
                <a:cubicBezTo>
                  <a:pt x="2445" y="1399"/>
                  <a:pt x="2445" y="1399"/>
                  <a:pt x="2445" y="1399"/>
                </a:cubicBezTo>
                <a:close/>
                <a:moveTo>
                  <a:pt x="2286" y="1447"/>
                </a:moveTo>
                <a:cubicBezTo>
                  <a:pt x="2238" y="1463"/>
                  <a:pt x="2238" y="1463"/>
                  <a:pt x="2238" y="1463"/>
                </a:cubicBezTo>
                <a:cubicBezTo>
                  <a:pt x="600" y="827"/>
                  <a:pt x="600" y="827"/>
                  <a:pt x="600" y="827"/>
                </a:cubicBezTo>
                <a:cubicBezTo>
                  <a:pt x="2286" y="191"/>
                  <a:pt x="2286" y="191"/>
                  <a:pt x="2286" y="191"/>
                </a:cubicBezTo>
                <a:close/>
                <a:moveTo>
                  <a:pt x="4227" y="3213"/>
                </a:moveTo>
                <a:cubicBezTo>
                  <a:pt x="2318" y="3880"/>
                  <a:pt x="2318" y="3880"/>
                  <a:pt x="2318" y="3880"/>
                </a:cubicBezTo>
                <a:cubicBezTo>
                  <a:pt x="2318" y="1781"/>
                  <a:pt x="2318" y="1781"/>
                  <a:pt x="2318" y="1781"/>
                </a:cubicBezTo>
                <a:cubicBezTo>
                  <a:pt x="2636" y="2226"/>
                  <a:pt x="2636" y="2226"/>
                  <a:pt x="2636" y="2226"/>
                </a:cubicBezTo>
                <a:cubicBezTo>
                  <a:pt x="2636" y="2243"/>
                  <a:pt x="2668" y="2258"/>
                  <a:pt x="2700" y="2258"/>
                </a:cubicBezTo>
                <a:lnTo>
                  <a:pt x="2716" y="2258"/>
                </a:lnTo>
                <a:cubicBezTo>
                  <a:pt x="4227" y="1686"/>
                  <a:pt x="4227" y="1686"/>
                  <a:pt x="4227" y="1686"/>
                </a:cubicBezTo>
                <a:close/>
                <a:moveTo>
                  <a:pt x="2716" y="2083"/>
                </a:moveTo>
                <a:cubicBezTo>
                  <a:pt x="2382" y="1590"/>
                  <a:pt x="2382" y="1590"/>
                  <a:pt x="2382" y="1590"/>
                </a:cubicBezTo>
                <a:cubicBezTo>
                  <a:pt x="4274" y="938"/>
                  <a:pt x="4274" y="938"/>
                  <a:pt x="4274" y="938"/>
                </a:cubicBezTo>
                <a:cubicBezTo>
                  <a:pt x="4528" y="1399"/>
                  <a:pt x="4528" y="1399"/>
                  <a:pt x="4528" y="1399"/>
                </a:cubicBezTo>
                <a:close/>
                <a:moveTo>
                  <a:pt x="441" y="938"/>
                </a:moveTo>
                <a:cubicBezTo>
                  <a:pt x="2143" y="1590"/>
                  <a:pt x="2143" y="1590"/>
                  <a:pt x="2143" y="1590"/>
                </a:cubicBezTo>
                <a:cubicBezTo>
                  <a:pt x="1888" y="2052"/>
                  <a:pt x="1888" y="2052"/>
                  <a:pt x="1888" y="2052"/>
                </a:cubicBezTo>
                <a:cubicBezTo>
                  <a:pt x="202" y="1399"/>
                  <a:pt x="202" y="1399"/>
                  <a:pt x="202" y="1399"/>
                </a:cubicBezTo>
                <a:close/>
                <a:moveTo>
                  <a:pt x="568" y="1702"/>
                </a:moveTo>
                <a:cubicBezTo>
                  <a:pt x="1904" y="2211"/>
                  <a:pt x="1904" y="2211"/>
                  <a:pt x="1904" y="2211"/>
                </a:cubicBezTo>
                <a:cubicBezTo>
                  <a:pt x="1904" y="2226"/>
                  <a:pt x="1920" y="2226"/>
                  <a:pt x="1920" y="2226"/>
                </a:cubicBezTo>
                <a:cubicBezTo>
                  <a:pt x="1952" y="2226"/>
                  <a:pt x="1984" y="2211"/>
                  <a:pt x="2000" y="2179"/>
                </a:cubicBezTo>
                <a:cubicBezTo>
                  <a:pt x="2159" y="1893"/>
                  <a:pt x="2159" y="1893"/>
                  <a:pt x="2159" y="1893"/>
                </a:cubicBezTo>
                <a:cubicBezTo>
                  <a:pt x="2159" y="3880"/>
                  <a:pt x="2159" y="3880"/>
                  <a:pt x="2159" y="3880"/>
                </a:cubicBezTo>
                <a:cubicBezTo>
                  <a:pt x="568" y="3213"/>
                  <a:pt x="568" y="3213"/>
                  <a:pt x="568" y="321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211170626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Computers / Hardware - 1</a:t>
            </a:r>
          </a:p>
        </p:txBody>
      </p:sp>
      <p:sp>
        <p:nvSpPr>
          <p:cNvPr id="22" name="TextBox 21">
            <a:extLst>
              <a:ext uri="{FF2B5EF4-FFF2-40B4-BE49-F238E27FC236}">
                <a16:creationId xmlns:a16="http://schemas.microsoft.com/office/drawing/2014/main" id="{3251BE0A-8DA5-964B-AD88-BFF902E30B5D}"/>
              </a:ext>
            </a:extLst>
          </p:cNvPr>
          <p:cNvSpPr txBox="1"/>
          <p:nvPr/>
        </p:nvSpPr>
        <p:spPr>
          <a:xfrm>
            <a:off x="1257300" y="5164929"/>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pp Window</a:t>
            </a:r>
          </a:p>
        </p:txBody>
      </p:sp>
      <p:sp>
        <p:nvSpPr>
          <p:cNvPr id="23" name="TextBox 22">
            <a:extLst>
              <a:ext uri="{FF2B5EF4-FFF2-40B4-BE49-F238E27FC236}">
                <a16:creationId xmlns:a16="http://schemas.microsoft.com/office/drawing/2014/main" id="{AFBE6A0F-CE66-A446-9EEB-62E4E17F3B2F}"/>
              </a:ext>
            </a:extLst>
          </p:cNvPr>
          <p:cNvSpPr txBox="1"/>
          <p:nvPr/>
        </p:nvSpPr>
        <p:spPr>
          <a:xfrm>
            <a:off x="9669557" y="5164929"/>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lculator</a:t>
            </a:r>
          </a:p>
        </p:txBody>
      </p:sp>
      <p:sp>
        <p:nvSpPr>
          <p:cNvPr id="24" name="TextBox 23">
            <a:extLst>
              <a:ext uri="{FF2B5EF4-FFF2-40B4-BE49-F238E27FC236}">
                <a16:creationId xmlns:a16="http://schemas.microsoft.com/office/drawing/2014/main" id="{4EF65798-67EA-064F-AE29-36429DA14DF3}"/>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ll Center</a:t>
            </a:r>
          </a:p>
        </p:txBody>
      </p:sp>
      <p:sp>
        <p:nvSpPr>
          <p:cNvPr id="25" name="TextBox 24">
            <a:extLst>
              <a:ext uri="{FF2B5EF4-FFF2-40B4-BE49-F238E27FC236}">
                <a16:creationId xmlns:a16="http://schemas.microsoft.com/office/drawing/2014/main" id="{7ED40FF1-D15D-634F-B192-33D068C8D745}"/>
              </a:ext>
            </a:extLst>
          </p:cNvPr>
          <p:cNvSpPr txBox="1"/>
          <p:nvPr/>
        </p:nvSpPr>
        <p:spPr>
          <a:xfrm>
            <a:off x="5032286" y="8292956"/>
            <a:ext cx="3502114"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omputer to Computer</a:t>
            </a:r>
          </a:p>
        </p:txBody>
      </p:sp>
      <p:sp>
        <p:nvSpPr>
          <p:cNvPr id="26" name="TextBox 25">
            <a:extLst>
              <a:ext uri="{FF2B5EF4-FFF2-40B4-BE49-F238E27FC236}">
                <a16:creationId xmlns:a16="http://schemas.microsoft.com/office/drawing/2014/main" id="{0F7E32BD-8E12-BA4D-A143-F77F5293BB5F}"/>
              </a:ext>
            </a:extLst>
          </p:cNvPr>
          <p:cNvSpPr txBox="1"/>
          <p:nvPr/>
        </p:nvSpPr>
        <p:spPr>
          <a:xfrm>
            <a:off x="9669557" y="8292956"/>
            <a:ext cx="239462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atabase</a:t>
            </a:r>
          </a:p>
        </p:txBody>
      </p:sp>
      <p:sp>
        <p:nvSpPr>
          <p:cNvPr id="27" name="TextBox 26">
            <a:extLst>
              <a:ext uri="{FF2B5EF4-FFF2-40B4-BE49-F238E27FC236}">
                <a16:creationId xmlns:a16="http://schemas.microsoft.com/office/drawing/2014/main" id="{A2B27187-E7FF-1942-AB10-C5F7ADBDEB6B}"/>
              </a:ext>
            </a:extLst>
          </p:cNvPr>
          <p:cNvSpPr txBox="1"/>
          <p:nvPr/>
        </p:nvSpPr>
        <p:spPr>
          <a:xfrm>
            <a:off x="12907045" y="5193300"/>
            <a:ext cx="311233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esktop</a:t>
            </a:r>
          </a:p>
        </p:txBody>
      </p:sp>
      <p:sp>
        <p:nvSpPr>
          <p:cNvPr id="28" name="TextBox 27">
            <a:extLst>
              <a:ext uri="{FF2B5EF4-FFF2-40B4-BE49-F238E27FC236}">
                <a16:creationId xmlns:a16="http://schemas.microsoft.com/office/drawing/2014/main" id="{E24A8CE6-4A5A-E242-8F6A-3D5992675D1C}"/>
              </a:ext>
            </a:extLst>
          </p:cNvPr>
          <p:cNvSpPr txBox="1"/>
          <p:nvPr/>
        </p:nvSpPr>
        <p:spPr>
          <a:xfrm>
            <a:off x="16677142"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ax Printer 2</a:t>
            </a:r>
          </a:p>
        </p:txBody>
      </p:sp>
      <p:sp>
        <p:nvSpPr>
          <p:cNvPr id="29" name="TextBox 28">
            <a:extLst>
              <a:ext uri="{FF2B5EF4-FFF2-40B4-BE49-F238E27FC236}">
                <a16:creationId xmlns:a16="http://schemas.microsoft.com/office/drawing/2014/main" id="{512B2A5F-36E2-C040-A5C6-C90429916BF8}"/>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ax</a:t>
            </a:r>
          </a:p>
        </p:txBody>
      </p:sp>
      <p:sp>
        <p:nvSpPr>
          <p:cNvPr id="30" name="TextBox 29">
            <a:extLst>
              <a:ext uri="{FF2B5EF4-FFF2-40B4-BE49-F238E27FC236}">
                <a16:creationId xmlns:a16="http://schemas.microsoft.com/office/drawing/2014/main" id="{A989A969-B387-1E41-8E7E-2DB9BE04E977}"/>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irewall</a:t>
            </a:r>
          </a:p>
        </p:txBody>
      </p:sp>
      <p:sp>
        <p:nvSpPr>
          <p:cNvPr id="31" name="TextBox 30">
            <a:extLst>
              <a:ext uri="{FF2B5EF4-FFF2-40B4-BE49-F238E27FC236}">
                <a16:creationId xmlns:a16="http://schemas.microsoft.com/office/drawing/2014/main" id="{D67E6C23-3827-FD47-91F1-D78D2B910A78}"/>
              </a:ext>
            </a:extLst>
          </p:cNvPr>
          <p:cNvSpPr txBox="1"/>
          <p:nvPr/>
        </p:nvSpPr>
        <p:spPr>
          <a:xfrm>
            <a:off x="9013116"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aming</a:t>
            </a:r>
          </a:p>
        </p:txBody>
      </p:sp>
      <p:sp>
        <p:nvSpPr>
          <p:cNvPr id="32" name="TextBox 31">
            <a:extLst>
              <a:ext uri="{FF2B5EF4-FFF2-40B4-BE49-F238E27FC236}">
                <a16:creationId xmlns:a16="http://schemas.microsoft.com/office/drawing/2014/main" id="{AE2FACEA-ED0C-7047-AFF7-6422078F0E90}"/>
              </a:ext>
            </a:extLst>
          </p:cNvPr>
          <p:cNvSpPr txBox="1"/>
          <p:nvPr/>
        </p:nvSpPr>
        <p:spPr>
          <a:xfrm>
            <a:off x="16817300" y="5164929"/>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aptop</a:t>
            </a:r>
          </a:p>
        </p:txBody>
      </p:sp>
      <p:sp>
        <p:nvSpPr>
          <p:cNvPr id="33" name="TextBox 32">
            <a:extLst>
              <a:ext uri="{FF2B5EF4-FFF2-40B4-BE49-F238E27FC236}">
                <a16:creationId xmlns:a16="http://schemas.microsoft.com/office/drawing/2014/main" id="{355E303E-5A76-A843-BC8B-6CCF07166A1F}"/>
              </a:ext>
            </a:extLst>
          </p:cNvPr>
          <p:cNvSpPr txBox="1"/>
          <p:nvPr/>
        </p:nvSpPr>
        <p:spPr>
          <a:xfrm>
            <a:off x="20182842" y="5003687"/>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ouse</a:t>
            </a:r>
          </a:p>
        </p:txBody>
      </p:sp>
      <p:sp>
        <p:nvSpPr>
          <p:cNvPr id="35" name="TextBox 34">
            <a:extLst>
              <a:ext uri="{FF2B5EF4-FFF2-40B4-BE49-F238E27FC236}">
                <a16:creationId xmlns:a16="http://schemas.microsoft.com/office/drawing/2014/main" id="{4BB18C48-26AF-0646-BC09-2F9A22ABA912}"/>
              </a:ext>
            </a:extLst>
          </p:cNvPr>
          <p:cNvSpPr txBox="1"/>
          <p:nvPr/>
        </p:nvSpPr>
        <p:spPr>
          <a:xfrm>
            <a:off x="5121577" y="5164929"/>
            <a:ext cx="3241460"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pplication Desktop </a:t>
            </a:r>
          </a:p>
        </p:txBody>
      </p:sp>
      <p:sp>
        <p:nvSpPr>
          <p:cNvPr id="36" name="TextBox 35">
            <a:extLst>
              <a:ext uri="{FF2B5EF4-FFF2-40B4-BE49-F238E27FC236}">
                <a16:creationId xmlns:a16="http://schemas.microsoft.com/office/drawing/2014/main" id="{C81B6E9F-E099-6848-A828-723A3D739B6D}"/>
              </a:ext>
            </a:extLst>
          </p:cNvPr>
          <p:cNvSpPr txBox="1"/>
          <p:nvPr/>
        </p:nvSpPr>
        <p:spPr>
          <a:xfrm>
            <a:off x="13049825" y="8292956"/>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ax Printer 1</a:t>
            </a:r>
          </a:p>
        </p:txBody>
      </p:sp>
      <p:sp>
        <p:nvSpPr>
          <p:cNvPr id="37" name="TextBox 36">
            <a:extLst>
              <a:ext uri="{FF2B5EF4-FFF2-40B4-BE49-F238E27FC236}">
                <a16:creationId xmlns:a16="http://schemas.microsoft.com/office/drawing/2014/main" id="{38B28EAE-6D3B-AE4F-90F8-99727D186192}"/>
              </a:ext>
            </a:extLst>
          </p:cNvPr>
          <p:cNvSpPr txBox="1"/>
          <p:nvPr/>
        </p:nvSpPr>
        <p:spPr>
          <a:xfrm>
            <a:off x="20182842" y="8292956"/>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odem</a:t>
            </a:r>
          </a:p>
        </p:txBody>
      </p:sp>
      <p:sp>
        <p:nvSpPr>
          <p:cNvPr id="38" name="Freeform: Shape 1">
            <a:extLst>
              <a:ext uri="{FF2B5EF4-FFF2-40B4-BE49-F238E27FC236}">
                <a16:creationId xmlns:a16="http://schemas.microsoft.com/office/drawing/2014/main" id="{84C98FB6-8F0A-2947-ADF1-CBFB40224E04}"/>
              </a:ext>
            </a:extLst>
          </p:cNvPr>
          <p:cNvSpPr/>
          <p:nvPr/>
        </p:nvSpPr>
        <p:spPr>
          <a:xfrm>
            <a:off x="10348948" y="3140890"/>
            <a:ext cx="1190520" cy="1625760"/>
          </a:xfrm>
          <a:custGeom>
            <a:avLst/>
            <a:gdLst/>
            <a:ahLst/>
            <a:cxnLst>
              <a:cxn ang="3cd4">
                <a:pos x="hc" y="t"/>
              </a:cxn>
              <a:cxn ang="cd2">
                <a:pos x="l" y="vc"/>
              </a:cxn>
              <a:cxn ang="cd4">
                <a:pos x="hc" y="b"/>
              </a:cxn>
              <a:cxn ang="0">
                <a:pos x="r" y="vc"/>
              </a:cxn>
            </a:cxnLst>
            <a:rect l="l" t="t" r="r" b="b"/>
            <a:pathLst>
              <a:path w="3308" h="4517">
                <a:moveTo>
                  <a:pt x="557" y="4517"/>
                </a:moveTo>
                <a:lnTo>
                  <a:pt x="2751" y="4517"/>
                </a:lnTo>
                <a:cubicBezTo>
                  <a:pt x="3054" y="4517"/>
                  <a:pt x="3308" y="4183"/>
                  <a:pt x="3308" y="3785"/>
                </a:cubicBezTo>
                <a:lnTo>
                  <a:pt x="3308" y="747"/>
                </a:lnTo>
                <a:cubicBezTo>
                  <a:pt x="3308" y="334"/>
                  <a:pt x="3054" y="0"/>
                  <a:pt x="2751" y="0"/>
                </a:cubicBezTo>
                <a:lnTo>
                  <a:pt x="557" y="0"/>
                </a:lnTo>
                <a:cubicBezTo>
                  <a:pt x="254" y="0"/>
                  <a:pt x="0" y="334"/>
                  <a:pt x="0" y="747"/>
                </a:cubicBezTo>
                <a:lnTo>
                  <a:pt x="0" y="3785"/>
                </a:lnTo>
                <a:cubicBezTo>
                  <a:pt x="0" y="4183"/>
                  <a:pt x="254" y="4517"/>
                  <a:pt x="557" y="4517"/>
                </a:cubicBezTo>
                <a:close/>
                <a:moveTo>
                  <a:pt x="159" y="747"/>
                </a:moveTo>
                <a:cubicBezTo>
                  <a:pt x="159" y="429"/>
                  <a:pt x="334" y="158"/>
                  <a:pt x="557" y="158"/>
                </a:cubicBezTo>
                <a:lnTo>
                  <a:pt x="2751" y="158"/>
                </a:lnTo>
                <a:cubicBezTo>
                  <a:pt x="2974" y="158"/>
                  <a:pt x="3149" y="429"/>
                  <a:pt x="3149" y="747"/>
                </a:cubicBezTo>
                <a:lnTo>
                  <a:pt x="3149" y="3785"/>
                </a:lnTo>
                <a:cubicBezTo>
                  <a:pt x="3149" y="4103"/>
                  <a:pt x="2974" y="4358"/>
                  <a:pt x="2751" y="4358"/>
                </a:cubicBezTo>
                <a:lnTo>
                  <a:pt x="557" y="4358"/>
                </a:lnTo>
                <a:cubicBezTo>
                  <a:pt x="334" y="4358"/>
                  <a:pt x="159" y="4103"/>
                  <a:pt x="159" y="3785"/>
                </a:cubicBezTo>
                <a:close/>
                <a:moveTo>
                  <a:pt x="524" y="1956"/>
                </a:moveTo>
                <a:lnTo>
                  <a:pt x="2799" y="1956"/>
                </a:lnTo>
                <a:cubicBezTo>
                  <a:pt x="2831" y="1956"/>
                  <a:pt x="2879" y="1924"/>
                  <a:pt x="2879" y="1876"/>
                </a:cubicBezTo>
                <a:lnTo>
                  <a:pt x="2879" y="652"/>
                </a:lnTo>
                <a:cubicBezTo>
                  <a:pt x="2879" y="604"/>
                  <a:pt x="2831" y="572"/>
                  <a:pt x="2799" y="572"/>
                </a:cubicBezTo>
                <a:lnTo>
                  <a:pt x="524" y="572"/>
                </a:lnTo>
                <a:cubicBezTo>
                  <a:pt x="477" y="572"/>
                  <a:pt x="445" y="604"/>
                  <a:pt x="445" y="652"/>
                </a:cubicBezTo>
                <a:lnTo>
                  <a:pt x="445" y="1876"/>
                </a:lnTo>
                <a:cubicBezTo>
                  <a:pt x="445" y="1924"/>
                  <a:pt x="477" y="1956"/>
                  <a:pt x="524" y="1956"/>
                </a:cubicBezTo>
                <a:close/>
                <a:moveTo>
                  <a:pt x="604" y="731"/>
                </a:moveTo>
                <a:lnTo>
                  <a:pt x="2720" y="731"/>
                </a:lnTo>
                <a:lnTo>
                  <a:pt x="2720" y="1797"/>
                </a:lnTo>
                <a:lnTo>
                  <a:pt x="604" y="1797"/>
                </a:lnTo>
                <a:close/>
                <a:moveTo>
                  <a:pt x="2656" y="2512"/>
                </a:moveTo>
                <a:lnTo>
                  <a:pt x="2211" y="2512"/>
                </a:lnTo>
                <a:cubicBezTo>
                  <a:pt x="2163" y="2512"/>
                  <a:pt x="2131" y="2545"/>
                  <a:pt x="2131" y="2592"/>
                </a:cubicBezTo>
                <a:lnTo>
                  <a:pt x="2131" y="3038"/>
                </a:lnTo>
                <a:cubicBezTo>
                  <a:pt x="2131" y="3069"/>
                  <a:pt x="2163" y="3117"/>
                  <a:pt x="2211" y="3117"/>
                </a:cubicBezTo>
                <a:lnTo>
                  <a:pt x="2656" y="3117"/>
                </a:lnTo>
                <a:cubicBezTo>
                  <a:pt x="2704" y="3117"/>
                  <a:pt x="2735" y="3069"/>
                  <a:pt x="2735" y="3038"/>
                </a:cubicBezTo>
                <a:lnTo>
                  <a:pt x="2735" y="2592"/>
                </a:lnTo>
                <a:cubicBezTo>
                  <a:pt x="2735" y="2545"/>
                  <a:pt x="2704" y="2512"/>
                  <a:pt x="2656" y="2512"/>
                </a:cubicBezTo>
                <a:close/>
                <a:moveTo>
                  <a:pt x="2577" y="2958"/>
                </a:moveTo>
                <a:lnTo>
                  <a:pt x="2290" y="2958"/>
                </a:lnTo>
                <a:lnTo>
                  <a:pt x="2290" y="2672"/>
                </a:lnTo>
                <a:lnTo>
                  <a:pt x="2577" y="2672"/>
                </a:lnTo>
                <a:close/>
                <a:moveTo>
                  <a:pt x="1097" y="2512"/>
                </a:moveTo>
                <a:lnTo>
                  <a:pt x="652" y="2512"/>
                </a:lnTo>
                <a:cubicBezTo>
                  <a:pt x="604" y="2512"/>
                  <a:pt x="572" y="2545"/>
                  <a:pt x="572" y="2592"/>
                </a:cubicBezTo>
                <a:lnTo>
                  <a:pt x="572" y="3038"/>
                </a:lnTo>
                <a:cubicBezTo>
                  <a:pt x="572" y="3069"/>
                  <a:pt x="604" y="3117"/>
                  <a:pt x="652" y="3117"/>
                </a:cubicBezTo>
                <a:lnTo>
                  <a:pt x="1097" y="3117"/>
                </a:lnTo>
                <a:cubicBezTo>
                  <a:pt x="1145" y="3117"/>
                  <a:pt x="1177" y="3069"/>
                  <a:pt x="1177" y="3038"/>
                </a:cubicBezTo>
                <a:lnTo>
                  <a:pt x="1177" y="2592"/>
                </a:lnTo>
                <a:cubicBezTo>
                  <a:pt x="1177" y="2545"/>
                  <a:pt x="1145" y="2512"/>
                  <a:pt x="1097" y="2512"/>
                </a:cubicBezTo>
                <a:close/>
                <a:moveTo>
                  <a:pt x="1018" y="2958"/>
                </a:moveTo>
                <a:lnTo>
                  <a:pt x="732" y="2958"/>
                </a:lnTo>
                <a:lnTo>
                  <a:pt x="732" y="2672"/>
                </a:lnTo>
                <a:lnTo>
                  <a:pt x="1018" y="2672"/>
                </a:lnTo>
                <a:close/>
                <a:moveTo>
                  <a:pt x="1877" y="2512"/>
                </a:moveTo>
                <a:lnTo>
                  <a:pt x="1431" y="2512"/>
                </a:lnTo>
                <a:cubicBezTo>
                  <a:pt x="1384" y="2512"/>
                  <a:pt x="1352" y="2545"/>
                  <a:pt x="1352" y="2592"/>
                </a:cubicBezTo>
                <a:lnTo>
                  <a:pt x="1352" y="3038"/>
                </a:lnTo>
                <a:cubicBezTo>
                  <a:pt x="1352" y="3069"/>
                  <a:pt x="1384" y="3117"/>
                  <a:pt x="1431" y="3117"/>
                </a:cubicBezTo>
                <a:lnTo>
                  <a:pt x="1877" y="3117"/>
                </a:lnTo>
                <a:cubicBezTo>
                  <a:pt x="1924" y="3117"/>
                  <a:pt x="1956" y="3069"/>
                  <a:pt x="1956" y="3038"/>
                </a:cubicBezTo>
                <a:lnTo>
                  <a:pt x="1956" y="2592"/>
                </a:lnTo>
                <a:cubicBezTo>
                  <a:pt x="1956" y="2545"/>
                  <a:pt x="1924" y="2512"/>
                  <a:pt x="1877" y="2512"/>
                </a:cubicBezTo>
                <a:close/>
                <a:moveTo>
                  <a:pt x="1797" y="2958"/>
                </a:moveTo>
                <a:lnTo>
                  <a:pt x="1511" y="2958"/>
                </a:lnTo>
                <a:lnTo>
                  <a:pt x="1511" y="2672"/>
                </a:lnTo>
                <a:lnTo>
                  <a:pt x="1797" y="2672"/>
                </a:lnTo>
                <a:close/>
                <a:moveTo>
                  <a:pt x="2656" y="3260"/>
                </a:moveTo>
                <a:lnTo>
                  <a:pt x="2211" y="3260"/>
                </a:lnTo>
                <a:cubicBezTo>
                  <a:pt x="2163" y="3260"/>
                  <a:pt x="2131" y="3308"/>
                  <a:pt x="2131" y="3340"/>
                </a:cubicBezTo>
                <a:lnTo>
                  <a:pt x="2131" y="3785"/>
                </a:lnTo>
                <a:cubicBezTo>
                  <a:pt x="2131" y="3833"/>
                  <a:pt x="2163" y="3865"/>
                  <a:pt x="2211" y="3865"/>
                </a:cubicBezTo>
                <a:lnTo>
                  <a:pt x="2656" y="3865"/>
                </a:lnTo>
                <a:cubicBezTo>
                  <a:pt x="2704" y="3865"/>
                  <a:pt x="2735" y="3833"/>
                  <a:pt x="2735" y="3785"/>
                </a:cubicBezTo>
                <a:lnTo>
                  <a:pt x="2735" y="3340"/>
                </a:lnTo>
                <a:cubicBezTo>
                  <a:pt x="2735" y="3308"/>
                  <a:pt x="2704" y="3260"/>
                  <a:pt x="2656" y="3260"/>
                </a:cubicBezTo>
                <a:close/>
                <a:moveTo>
                  <a:pt x="2577" y="3706"/>
                </a:moveTo>
                <a:lnTo>
                  <a:pt x="2290" y="3706"/>
                </a:lnTo>
                <a:lnTo>
                  <a:pt x="2290" y="3419"/>
                </a:lnTo>
                <a:lnTo>
                  <a:pt x="2577" y="3419"/>
                </a:lnTo>
                <a:close/>
                <a:moveTo>
                  <a:pt x="1097" y="3260"/>
                </a:moveTo>
                <a:lnTo>
                  <a:pt x="652" y="3260"/>
                </a:lnTo>
                <a:cubicBezTo>
                  <a:pt x="604" y="3260"/>
                  <a:pt x="572" y="3308"/>
                  <a:pt x="572" y="3340"/>
                </a:cubicBezTo>
                <a:lnTo>
                  <a:pt x="572" y="3785"/>
                </a:lnTo>
                <a:cubicBezTo>
                  <a:pt x="572" y="3833"/>
                  <a:pt x="604" y="3865"/>
                  <a:pt x="652" y="3865"/>
                </a:cubicBezTo>
                <a:lnTo>
                  <a:pt x="1097" y="3865"/>
                </a:lnTo>
                <a:cubicBezTo>
                  <a:pt x="1145" y="3865"/>
                  <a:pt x="1177" y="3833"/>
                  <a:pt x="1177" y="3785"/>
                </a:cubicBezTo>
                <a:lnTo>
                  <a:pt x="1177" y="3340"/>
                </a:lnTo>
                <a:cubicBezTo>
                  <a:pt x="1177" y="3308"/>
                  <a:pt x="1145" y="3260"/>
                  <a:pt x="1097" y="3260"/>
                </a:cubicBezTo>
                <a:close/>
                <a:moveTo>
                  <a:pt x="1018" y="3706"/>
                </a:moveTo>
                <a:lnTo>
                  <a:pt x="732" y="3706"/>
                </a:lnTo>
                <a:lnTo>
                  <a:pt x="732" y="3419"/>
                </a:lnTo>
                <a:lnTo>
                  <a:pt x="1018" y="3419"/>
                </a:lnTo>
                <a:close/>
                <a:moveTo>
                  <a:pt x="1877" y="3260"/>
                </a:moveTo>
                <a:lnTo>
                  <a:pt x="1431" y="3260"/>
                </a:lnTo>
                <a:cubicBezTo>
                  <a:pt x="1384" y="3260"/>
                  <a:pt x="1352" y="3308"/>
                  <a:pt x="1352" y="3340"/>
                </a:cubicBezTo>
                <a:lnTo>
                  <a:pt x="1352" y="3785"/>
                </a:lnTo>
                <a:cubicBezTo>
                  <a:pt x="1352" y="3833"/>
                  <a:pt x="1384" y="3865"/>
                  <a:pt x="1431" y="3865"/>
                </a:cubicBezTo>
                <a:lnTo>
                  <a:pt x="1877" y="3865"/>
                </a:lnTo>
                <a:cubicBezTo>
                  <a:pt x="1924" y="3865"/>
                  <a:pt x="1956" y="3833"/>
                  <a:pt x="1956" y="3785"/>
                </a:cubicBezTo>
                <a:lnTo>
                  <a:pt x="1956" y="3340"/>
                </a:lnTo>
                <a:cubicBezTo>
                  <a:pt x="1956" y="3308"/>
                  <a:pt x="1924" y="3260"/>
                  <a:pt x="1877" y="3260"/>
                </a:cubicBezTo>
                <a:close/>
                <a:moveTo>
                  <a:pt x="1797" y="3706"/>
                </a:moveTo>
                <a:lnTo>
                  <a:pt x="1511" y="3706"/>
                </a:lnTo>
                <a:lnTo>
                  <a:pt x="1511" y="3419"/>
                </a:lnTo>
                <a:lnTo>
                  <a:pt x="1797" y="341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9" name="Freeform: Shape 2">
            <a:extLst>
              <a:ext uri="{FF2B5EF4-FFF2-40B4-BE49-F238E27FC236}">
                <a16:creationId xmlns:a16="http://schemas.microsoft.com/office/drawing/2014/main" id="{EA7572C6-653E-1D41-831A-0A918CEF4C91}"/>
              </a:ext>
            </a:extLst>
          </p:cNvPr>
          <p:cNvSpPr/>
          <p:nvPr/>
        </p:nvSpPr>
        <p:spPr>
          <a:xfrm>
            <a:off x="1607204" y="6429203"/>
            <a:ext cx="1723320" cy="1625760"/>
          </a:xfrm>
          <a:custGeom>
            <a:avLst/>
            <a:gdLst/>
            <a:ahLst/>
            <a:cxnLst>
              <a:cxn ang="3cd4">
                <a:pos x="hc" y="t"/>
              </a:cxn>
              <a:cxn ang="cd2">
                <a:pos x="l" y="vc"/>
              </a:cxn>
              <a:cxn ang="cd4">
                <a:pos x="hc" y="b"/>
              </a:cxn>
              <a:cxn ang="0">
                <a:pos x="r" y="vc"/>
              </a:cxn>
            </a:cxnLst>
            <a:rect l="l" t="t" r="r" b="b"/>
            <a:pathLst>
              <a:path w="4788" h="4517">
                <a:moveTo>
                  <a:pt x="493" y="3403"/>
                </a:moveTo>
                <a:cubicBezTo>
                  <a:pt x="525" y="3515"/>
                  <a:pt x="621" y="3594"/>
                  <a:pt x="748" y="3594"/>
                </a:cubicBezTo>
                <a:cubicBezTo>
                  <a:pt x="907" y="3594"/>
                  <a:pt x="1018" y="3467"/>
                  <a:pt x="1018" y="3324"/>
                </a:cubicBezTo>
                <a:lnTo>
                  <a:pt x="1018" y="1876"/>
                </a:lnTo>
                <a:cubicBezTo>
                  <a:pt x="1018" y="1749"/>
                  <a:pt x="939" y="1654"/>
                  <a:pt x="827" y="1606"/>
                </a:cubicBezTo>
                <a:cubicBezTo>
                  <a:pt x="859" y="795"/>
                  <a:pt x="1543" y="158"/>
                  <a:pt x="2402" y="158"/>
                </a:cubicBezTo>
                <a:cubicBezTo>
                  <a:pt x="3245" y="158"/>
                  <a:pt x="3929" y="795"/>
                  <a:pt x="3961" y="1606"/>
                </a:cubicBezTo>
                <a:cubicBezTo>
                  <a:pt x="3849" y="1654"/>
                  <a:pt x="3770" y="1749"/>
                  <a:pt x="3770" y="1876"/>
                </a:cubicBezTo>
                <a:lnTo>
                  <a:pt x="3770" y="3324"/>
                </a:lnTo>
                <a:cubicBezTo>
                  <a:pt x="3770" y="3451"/>
                  <a:pt x="3849" y="3547"/>
                  <a:pt x="3961" y="3578"/>
                </a:cubicBezTo>
                <a:cubicBezTo>
                  <a:pt x="3945" y="3976"/>
                  <a:pt x="3706" y="4167"/>
                  <a:pt x="3261" y="4167"/>
                </a:cubicBezTo>
                <a:lnTo>
                  <a:pt x="2943" y="4167"/>
                </a:lnTo>
                <a:cubicBezTo>
                  <a:pt x="2911" y="4056"/>
                  <a:pt x="2815" y="3976"/>
                  <a:pt x="2688" y="3976"/>
                </a:cubicBezTo>
                <a:lnTo>
                  <a:pt x="2195" y="3976"/>
                </a:lnTo>
                <a:cubicBezTo>
                  <a:pt x="2052" y="3976"/>
                  <a:pt x="1925" y="4087"/>
                  <a:pt x="1925" y="4247"/>
                </a:cubicBezTo>
                <a:cubicBezTo>
                  <a:pt x="1925" y="4390"/>
                  <a:pt x="2052" y="4517"/>
                  <a:pt x="2195" y="4517"/>
                </a:cubicBezTo>
                <a:lnTo>
                  <a:pt x="2688" y="4517"/>
                </a:lnTo>
                <a:cubicBezTo>
                  <a:pt x="2815" y="4517"/>
                  <a:pt x="2911" y="4437"/>
                  <a:pt x="2943" y="4326"/>
                </a:cubicBezTo>
                <a:lnTo>
                  <a:pt x="3261" y="4326"/>
                </a:lnTo>
                <a:cubicBezTo>
                  <a:pt x="3802" y="4326"/>
                  <a:pt x="4104" y="4056"/>
                  <a:pt x="4120" y="3578"/>
                </a:cubicBezTo>
                <a:cubicBezTo>
                  <a:pt x="4199" y="3563"/>
                  <a:pt x="4279" y="3483"/>
                  <a:pt x="4294" y="3403"/>
                </a:cubicBezTo>
                <a:cubicBezTo>
                  <a:pt x="4581" y="3356"/>
                  <a:pt x="4788" y="3021"/>
                  <a:pt x="4788" y="2592"/>
                </a:cubicBezTo>
                <a:cubicBezTo>
                  <a:pt x="4788" y="2179"/>
                  <a:pt x="4581" y="1845"/>
                  <a:pt x="4294" y="1797"/>
                </a:cubicBezTo>
                <a:cubicBezTo>
                  <a:pt x="4279" y="1702"/>
                  <a:pt x="4199" y="1638"/>
                  <a:pt x="4120" y="1606"/>
                </a:cubicBezTo>
                <a:cubicBezTo>
                  <a:pt x="4088" y="699"/>
                  <a:pt x="3340" y="0"/>
                  <a:pt x="2402" y="0"/>
                </a:cubicBezTo>
                <a:cubicBezTo>
                  <a:pt x="1448" y="0"/>
                  <a:pt x="700" y="699"/>
                  <a:pt x="668" y="1606"/>
                </a:cubicBezTo>
                <a:cubicBezTo>
                  <a:pt x="589" y="1638"/>
                  <a:pt x="509" y="1702"/>
                  <a:pt x="493" y="1797"/>
                </a:cubicBezTo>
                <a:cubicBezTo>
                  <a:pt x="207" y="1845"/>
                  <a:pt x="0" y="2179"/>
                  <a:pt x="0" y="2592"/>
                </a:cubicBezTo>
                <a:cubicBezTo>
                  <a:pt x="0" y="3021"/>
                  <a:pt x="207" y="3356"/>
                  <a:pt x="493" y="3403"/>
                </a:cubicBezTo>
                <a:close/>
                <a:moveTo>
                  <a:pt x="2688" y="4358"/>
                </a:moveTo>
                <a:lnTo>
                  <a:pt x="2195" y="4358"/>
                </a:lnTo>
                <a:cubicBezTo>
                  <a:pt x="2131" y="4358"/>
                  <a:pt x="2084" y="4310"/>
                  <a:pt x="2084" y="4247"/>
                </a:cubicBezTo>
                <a:cubicBezTo>
                  <a:pt x="2084" y="4183"/>
                  <a:pt x="2131" y="4135"/>
                  <a:pt x="2195" y="4135"/>
                </a:cubicBezTo>
                <a:lnTo>
                  <a:pt x="2688" y="4135"/>
                </a:lnTo>
                <a:cubicBezTo>
                  <a:pt x="2752" y="4135"/>
                  <a:pt x="2800" y="4183"/>
                  <a:pt x="2800" y="4247"/>
                </a:cubicBezTo>
                <a:cubicBezTo>
                  <a:pt x="2800" y="4310"/>
                  <a:pt x="2752" y="4358"/>
                  <a:pt x="2688" y="4358"/>
                </a:cubicBezTo>
                <a:close/>
                <a:moveTo>
                  <a:pt x="4311" y="1972"/>
                </a:moveTo>
                <a:cubicBezTo>
                  <a:pt x="4502" y="2020"/>
                  <a:pt x="4645" y="2290"/>
                  <a:pt x="4645" y="2592"/>
                </a:cubicBezTo>
                <a:cubicBezTo>
                  <a:pt x="4645" y="2911"/>
                  <a:pt x="4502" y="3165"/>
                  <a:pt x="4311" y="3229"/>
                </a:cubicBezTo>
                <a:close/>
                <a:moveTo>
                  <a:pt x="4040" y="1765"/>
                </a:moveTo>
                <a:cubicBezTo>
                  <a:pt x="4104" y="1765"/>
                  <a:pt x="4151" y="1813"/>
                  <a:pt x="4151" y="1876"/>
                </a:cubicBezTo>
                <a:lnTo>
                  <a:pt x="4151" y="3324"/>
                </a:lnTo>
                <a:cubicBezTo>
                  <a:pt x="4151" y="3387"/>
                  <a:pt x="4104" y="3435"/>
                  <a:pt x="4040" y="3435"/>
                </a:cubicBezTo>
                <a:cubicBezTo>
                  <a:pt x="3976" y="3435"/>
                  <a:pt x="3929" y="3387"/>
                  <a:pt x="3929" y="3324"/>
                </a:cubicBezTo>
                <a:lnTo>
                  <a:pt x="3929" y="1876"/>
                </a:lnTo>
                <a:cubicBezTo>
                  <a:pt x="3929" y="1813"/>
                  <a:pt x="3976" y="1765"/>
                  <a:pt x="4040" y="1765"/>
                </a:cubicBezTo>
                <a:close/>
                <a:moveTo>
                  <a:pt x="636" y="1876"/>
                </a:moveTo>
                <a:cubicBezTo>
                  <a:pt x="636" y="1813"/>
                  <a:pt x="684" y="1765"/>
                  <a:pt x="748" y="1765"/>
                </a:cubicBezTo>
                <a:cubicBezTo>
                  <a:pt x="811" y="1765"/>
                  <a:pt x="859" y="1813"/>
                  <a:pt x="859" y="1876"/>
                </a:cubicBezTo>
                <a:lnTo>
                  <a:pt x="859" y="3324"/>
                </a:lnTo>
                <a:cubicBezTo>
                  <a:pt x="859" y="3387"/>
                  <a:pt x="811" y="3435"/>
                  <a:pt x="748" y="3435"/>
                </a:cubicBezTo>
                <a:cubicBezTo>
                  <a:pt x="684" y="3435"/>
                  <a:pt x="636" y="3387"/>
                  <a:pt x="636" y="3324"/>
                </a:cubicBezTo>
                <a:close/>
                <a:moveTo>
                  <a:pt x="477" y="1972"/>
                </a:moveTo>
                <a:lnTo>
                  <a:pt x="477" y="3229"/>
                </a:lnTo>
                <a:cubicBezTo>
                  <a:pt x="302" y="3165"/>
                  <a:pt x="159" y="2911"/>
                  <a:pt x="159" y="2592"/>
                </a:cubicBezTo>
                <a:cubicBezTo>
                  <a:pt x="159" y="2290"/>
                  <a:pt x="302" y="2020"/>
                  <a:pt x="477" y="1972"/>
                </a:cubicBezTo>
                <a:close/>
                <a:moveTo>
                  <a:pt x="1463" y="3244"/>
                </a:moveTo>
                <a:cubicBezTo>
                  <a:pt x="1495" y="3260"/>
                  <a:pt x="1527" y="3276"/>
                  <a:pt x="1543" y="3260"/>
                </a:cubicBezTo>
                <a:lnTo>
                  <a:pt x="1909" y="3149"/>
                </a:lnTo>
                <a:cubicBezTo>
                  <a:pt x="2052" y="3244"/>
                  <a:pt x="2243" y="3292"/>
                  <a:pt x="2418" y="3292"/>
                </a:cubicBezTo>
                <a:cubicBezTo>
                  <a:pt x="2975" y="3292"/>
                  <a:pt x="3436" y="2831"/>
                  <a:pt x="3436" y="2274"/>
                </a:cubicBezTo>
                <a:cubicBezTo>
                  <a:pt x="3436" y="1717"/>
                  <a:pt x="2975" y="1272"/>
                  <a:pt x="2418" y="1272"/>
                </a:cubicBezTo>
                <a:cubicBezTo>
                  <a:pt x="1861" y="1272"/>
                  <a:pt x="1416" y="1717"/>
                  <a:pt x="1416" y="2274"/>
                </a:cubicBezTo>
                <a:cubicBezTo>
                  <a:pt x="1416" y="2465"/>
                  <a:pt x="1463" y="2656"/>
                  <a:pt x="1559" y="2815"/>
                </a:cubicBezTo>
                <a:lnTo>
                  <a:pt x="1448" y="3165"/>
                </a:lnTo>
                <a:cubicBezTo>
                  <a:pt x="1431" y="3197"/>
                  <a:pt x="1448" y="3229"/>
                  <a:pt x="1463" y="3244"/>
                </a:cubicBezTo>
                <a:close/>
                <a:moveTo>
                  <a:pt x="2418" y="1431"/>
                </a:moveTo>
                <a:cubicBezTo>
                  <a:pt x="2895" y="1431"/>
                  <a:pt x="3276" y="1813"/>
                  <a:pt x="3276" y="2274"/>
                </a:cubicBezTo>
                <a:cubicBezTo>
                  <a:pt x="3276" y="2751"/>
                  <a:pt x="2895" y="3133"/>
                  <a:pt x="2418" y="3133"/>
                </a:cubicBezTo>
                <a:cubicBezTo>
                  <a:pt x="2259" y="3133"/>
                  <a:pt x="2100" y="3085"/>
                  <a:pt x="1957" y="2990"/>
                </a:cubicBezTo>
                <a:lnTo>
                  <a:pt x="1909" y="2990"/>
                </a:lnTo>
                <a:lnTo>
                  <a:pt x="1877" y="2990"/>
                </a:lnTo>
                <a:lnTo>
                  <a:pt x="1654" y="3069"/>
                </a:lnTo>
                <a:lnTo>
                  <a:pt x="1718" y="2831"/>
                </a:lnTo>
                <a:cubicBezTo>
                  <a:pt x="1734" y="2799"/>
                  <a:pt x="1734" y="2783"/>
                  <a:pt x="1718" y="2751"/>
                </a:cubicBezTo>
                <a:cubicBezTo>
                  <a:pt x="1622" y="2624"/>
                  <a:pt x="1559" y="2449"/>
                  <a:pt x="1559" y="2274"/>
                </a:cubicBezTo>
                <a:cubicBezTo>
                  <a:pt x="1559" y="1813"/>
                  <a:pt x="1957" y="1431"/>
                  <a:pt x="2418" y="1431"/>
                </a:cubicBezTo>
                <a:close/>
                <a:moveTo>
                  <a:pt x="3086" y="2369"/>
                </a:moveTo>
                <a:cubicBezTo>
                  <a:pt x="3133" y="2369"/>
                  <a:pt x="3166" y="2322"/>
                  <a:pt x="3166" y="2290"/>
                </a:cubicBezTo>
                <a:cubicBezTo>
                  <a:pt x="3166" y="2242"/>
                  <a:pt x="3133" y="2211"/>
                  <a:pt x="3086" y="2211"/>
                </a:cubicBezTo>
                <a:lnTo>
                  <a:pt x="1718" y="2211"/>
                </a:lnTo>
                <a:cubicBezTo>
                  <a:pt x="1686" y="2211"/>
                  <a:pt x="1639" y="2242"/>
                  <a:pt x="1639" y="2290"/>
                </a:cubicBezTo>
                <a:cubicBezTo>
                  <a:pt x="1639" y="2322"/>
                  <a:pt x="1686" y="2369"/>
                  <a:pt x="1718" y="2369"/>
                </a:cubicBezTo>
                <a:close/>
                <a:moveTo>
                  <a:pt x="1782" y="2656"/>
                </a:moveTo>
                <a:lnTo>
                  <a:pt x="3022" y="2656"/>
                </a:lnTo>
                <a:cubicBezTo>
                  <a:pt x="3070" y="2656"/>
                  <a:pt x="3102" y="2624"/>
                  <a:pt x="3102" y="2576"/>
                </a:cubicBezTo>
                <a:cubicBezTo>
                  <a:pt x="3102" y="2529"/>
                  <a:pt x="3070" y="2497"/>
                  <a:pt x="3022" y="2497"/>
                </a:cubicBezTo>
                <a:lnTo>
                  <a:pt x="1782" y="2497"/>
                </a:lnTo>
                <a:cubicBezTo>
                  <a:pt x="1734" y="2497"/>
                  <a:pt x="1702" y="2529"/>
                  <a:pt x="1702" y="2576"/>
                </a:cubicBezTo>
                <a:cubicBezTo>
                  <a:pt x="1702" y="2624"/>
                  <a:pt x="1734" y="2656"/>
                  <a:pt x="1782" y="2656"/>
                </a:cubicBezTo>
                <a:close/>
                <a:moveTo>
                  <a:pt x="1782" y="2067"/>
                </a:moveTo>
                <a:lnTo>
                  <a:pt x="3022" y="2067"/>
                </a:lnTo>
                <a:cubicBezTo>
                  <a:pt x="3070" y="2067"/>
                  <a:pt x="3102" y="2036"/>
                  <a:pt x="3102" y="1988"/>
                </a:cubicBezTo>
                <a:cubicBezTo>
                  <a:pt x="3102" y="1956"/>
                  <a:pt x="3070" y="1908"/>
                  <a:pt x="3022" y="1908"/>
                </a:cubicBezTo>
                <a:lnTo>
                  <a:pt x="1782" y="1908"/>
                </a:lnTo>
                <a:cubicBezTo>
                  <a:pt x="1734" y="1908"/>
                  <a:pt x="1702" y="1956"/>
                  <a:pt x="1702" y="1988"/>
                </a:cubicBezTo>
                <a:cubicBezTo>
                  <a:pt x="1702" y="2036"/>
                  <a:pt x="1734" y="2067"/>
                  <a:pt x="1782" y="206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0" name="Freeform: Shape 3">
            <a:extLst>
              <a:ext uri="{FF2B5EF4-FFF2-40B4-BE49-F238E27FC236}">
                <a16:creationId xmlns:a16="http://schemas.microsoft.com/office/drawing/2014/main" id="{73D31840-4103-2740-8BD0-C5E8B0FB52B1}"/>
              </a:ext>
            </a:extLst>
          </p:cNvPr>
          <p:cNvSpPr/>
          <p:nvPr/>
        </p:nvSpPr>
        <p:spPr>
          <a:xfrm>
            <a:off x="5956875" y="6360443"/>
            <a:ext cx="1969200" cy="1745999"/>
          </a:xfrm>
          <a:custGeom>
            <a:avLst/>
            <a:gdLst/>
            <a:ahLst/>
            <a:cxnLst>
              <a:cxn ang="3cd4">
                <a:pos x="hc" y="t"/>
              </a:cxn>
              <a:cxn ang="cd2">
                <a:pos x="l" y="vc"/>
              </a:cxn>
              <a:cxn ang="cd4">
                <a:pos x="hc" y="b"/>
              </a:cxn>
              <a:cxn ang="0">
                <a:pos x="r" y="vc"/>
              </a:cxn>
            </a:cxnLst>
            <a:rect l="l" t="t" r="r" b="b"/>
            <a:pathLst>
              <a:path w="5471" h="4851">
                <a:moveTo>
                  <a:pt x="270" y="2242"/>
                </a:moveTo>
                <a:lnTo>
                  <a:pt x="2863" y="2242"/>
                </a:lnTo>
                <a:cubicBezTo>
                  <a:pt x="3022" y="2242"/>
                  <a:pt x="3181" y="2084"/>
                  <a:pt x="3181" y="1940"/>
                </a:cubicBezTo>
                <a:lnTo>
                  <a:pt x="3181" y="1845"/>
                </a:lnTo>
                <a:cubicBezTo>
                  <a:pt x="3181" y="1797"/>
                  <a:pt x="3150" y="1765"/>
                  <a:pt x="3102" y="1765"/>
                </a:cubicBezTo>
                <a:lnTo>
                  <a:pt x="2974" y="1765"/>
                </a:lnTo>
                <a:lnTo>
                  <a:pt x="2974" y="238"/>
                </a:lnTo>
                <a:cubicBezTo>
                  <a:pt x="2974" y="95"/>
                  <a:pt x="2863" y="0"/>
                  <a:pt x="2720" y="0"/>
                </a:cubicBezTo>
                <a:lnTo>
                  <a:pt x="461" y="0"/>
                </a:lnTo>
                <a:cubicBezTo>
                  <a:pt x="318" y="0"/>
                  <a:pt x="207" y="95"/>
                  <a:pt x="207" y="238"/>
                </a:cubicBezTo>
                <a:lnTo>
                  <a:pt x="207" y="1765"/>
                </a:lnTo>
                <a:lnTo>
                  <a:pt x="79" y="1765"/>
                </a:lnTo>
                <a:cubicBezTo>
                  <a:pt x="32" y="1765"/>
                  <a:pt x="0" y="1797"/>
                  <a:pt x="0" y="1845"/>
                </a:cubicBezTo>
                <a:lnTo>
                  <a:pt x="0" y="1940"/>
                </a:lnTo>
                <a:cubicBezTo>
                  <a:pt x="0" y="2084"/>
                  <a:pt x="111" y="2242"/>
                  <a:pt x="270" y="2242"/>
                </a:cubicBezTo>
                <a:close/>
                <a:moveTo>
                  <a:pt x="366" y="238"/>
                </a:moveTo>
                <a:cubicBezTo>
                  <a:pt x="366" y="175"/>
                  <a:pt x="397" y="159"/>
                  <a:pt x="461" y="159"/>
                </a:cubicBezTo>
                <a:lnTo>
                  <a:pt x="2720" y="159"/>
                </a:lnTo>
                <a:cubicBezTo>
                  <a:pt x="2768" y="159"/>
                  <a:pt x="2815" y="175"/>
                  <a:pt x="2815" y="238"/>
                </a:cubicBezTo>
                <a:lnTo>
                  <a:pt x="2815" y="1765"/>
                </a:lnTo>
                <a:lnTo>
                  <a:pt x="366" y="1765"/>
                </a:lnTo>
                <a:close/>
                <a:moveTo>
                  <a:pt x="159" y="1924"/>
                </a:moveTo>
                <a:lnTo>
                  <a:pt x="286" y="1924"/>
                </a:lnTo>
                <a:lnTo>
                  <a:pt x="2895" y="1924"/>
                </a:lnTo>
                <a:lnTo>
                  <a:pt x="3022" y="1924"/>
                </a:lnTo>
                <a:lnTo>
                  <a:pt x="3022" y="1940"/>
                </a:lnTo>
                <a:cubicBezTo>
                  <a:pt x="3022" y="2004"/>
                  <a:pt x="2942" y="2084"/>
                  <a:pt x="2863" y="2084"/>
                </a:cubicBezTo>
                <a:lnTo>
                  <a:pt x="270" y="2084"/>
                </a:lnTo>
                <a:cubicBezTo>
                  <a:pt x="207" y="2084"/>
                  <a:pt x="159" y="2004"/>
                  <a:pt x="159" y="1940"/>
                </a:cubicBezTo>
                <a:close/>
                <a:moveTo>
                  <a:pt x="5185" y="4549"/>
                </a:moveTo>
                <a:lnTo>
                  <a:pt x="5313" y="4549"/>
                </a:lnTo>
                <a:cubicBezTo>
                  <a:pt x="5313" y="4612"/>
                  <a:pt x="5233" y="4692"/>
                  <a:pt x="5169" y="4692"/>
                </a:cubicBezTo>
                <a:lnTo>
                  <a:pt x="2561" y="4692"/>
                </a:lnTo>
                <a:cubicBezTo>
                  <a:pt x="2497" y="4692"/>
                  <a:pt x="2450" y="4628"/>
                  <a:pt x="2450" y="4549"/>
                </a:cubicBezTo>
                <a:lnTo>
                  <a:pt x="2577" y="4549"/>
                </a:lnTo>
                <a:cubicBezTo>
                  <a:pt x="2545" y="4549"/>
                  <a:pt x="2497" y="4517"/>
                  <a:pt x="2497" y="4469"/>
                </a:cubicBezTo>
                <a:lnTo>
                  <a:pt x="2497" y="4390"/>
                </a:lnTo>
                <a:lnTo>
                  <a:pt x="2370" y="4390"/>
                </a:lnTo>
                <a:cubicBezTo>
                  <a:pt x="2338" y="4390"/>
                  <a:pt x="2290" y="4421"/>
                  <a:pt x="2290" y="4469"/>
                </a:cubicBezTo>
                <a:lnTo>
                  <a:pt x="2290" y="4549"/>
                </a:lnTo>
                <a:cubicBezTo>
                  <a:pt x="2290" y="4708"/>
                  <a:pt x="2402" y="4851"/>
                  <a:pt x="2561" y="4851"/>
                </a:cubicBezTo>
                <a:lnTo>
                  <a:pt x="5169" y="4851"/>
                </a:lnTo>
                <a:cubicBezTo>
                  <a:pt x="5313" y="4851"/>
                  <a:pt x="5471" y="4708"/>
                  <a:pt x="5471" y="4549"/>
                </a:cubicBezTo>
                <a:lnTo>
                  <a:pt x="5471" y="4469"/>
                </a:lnTo>
                <a:cubicBezTo>
                  <a:pt x="5471" y="4421"/>
                  <a:pt x="5440" y="4390"/>
                  <a:pt x="5392" y="4390"/>
                </a:cubicBezTo>
                <a:lnTo>
                  <a:pt x="5265" y="4390"/>
                </a:lnTo>
                <a:lnTo>
                  <a:pt x="5265" y="4469"/>
                </a:lnTo>
                <a:cubicBezTo>
                  <a:pt x="5265" y="4517"/>
                  <a:pt x="5233" y="4549"/>
                  <a:pt x="5185" y="4549"/>
                </a:cubicBezTo>
                <a:close/>
                <a:moveTo>
                  <a:pt x="2497" y="2863"/>
                </a:moveTo>
                <a:lnTo>
                  <a:pt x="2497" y="4390"/>
                </a:lnTo>
                <a:lnTo>
                  <a:pt x="2497" y="4469"/>
                </a:lnTo>
                <a:cubicBezTo>
                  <a:pt x="2497" y="4517"/>
                  <a:pt x="2545" y="4549"/>
                  <a:pt x="2577" y="4549"/>
                </a:cubicBezTo>
                <a:lnTo>
                  <a:pt x="5185" y="4549"/>
                </a:lnTo>
                <a:cubicBezTo>
                  <a:pt x="5233" y="4549"/>
                  <a:pt x="5265" y="4517"/>
                  <a:pt x="5265" y="4469"/>
                </a:cubicBezTo>
                <a:lnTo>
                  <a:pt x="5265" y="4390"/>
                </a:lnTo>
                <a:lnTo>
                  <a:pt x="5265" y="2863"/>
                </a:lnTo>
                <a:cubicBezTo>
                  <a:pt x="5265" y="2720"/>
                  <a:pt x="5153" y="2608"/>
                  <a:pt x="5010" y="2608"/>
                </a:cubicBezTo>
                <a:lnTo>
                  <a:pt x="2751" y="2608"/>
                </a:lnTo>
                <a:cubicBezTo>
                  <a:pt x="2608" y="2608"/>
                  <a:pt x="2497" y="2720"/>
                  <a:pt x="2497" y="2863"/>
                </a:cubicBezTo>
                <a:close/>
                <a:moveTo>
                  <a:pt x="5106" y="2863"/>
                </a:moveTo>
                <a:lnTo>
                  <a:pt x="5106" y="4390"/>
                </a:lnTo>
                <a:lnTo>
                  <a:pt x="2656" y="4390"/>
                </a:lnTo>
                <a:lnTo>
                  <a:pt x="2656" y="2863"/>
                </a:lnTo>
                <a:cubicBezTo>
                  <a:pt x="2656" y="2799"/>
                  <a:pt x="2688" y="2767"/>
                  <a:pt x="2751" y="2767"/>
                </a:cubicBezTo>
                <a:lnTo>
                  <a:pt x="5010" y="2767"/>
                </a:lnTo>
                <a:cubicBezTo>
                  <a:pt x="5058" y="2767"/>
                  <a:pt x="5106" y="2783"/>
                  <a:pt x="5106" y="2863"/>
                </a:cubicBezTo>
                <a:close/>
                <a:moveTo>
                  <a:pt x="3293" y="1081"/>
                </a:moveTo>
                <a:lnTo>
                  <a:pt x="3817" y="1081"/>
                </a:lnTo>
                <a:cubicBezTo>
                  <a:pt x="3865" y="1081"/>
                  <a:pt x="3897" y="1049"/>
                  <a:pt x="3897" y="1002"/>
                </a:cubicBezTo>
                <a:cubicBezTo>
                  <a:pt x="3897" y="970"/>
                  <a:pt x="3865" y="922"/>
                  <a:pt x="3817" y="922"/>
                </a:cubicBezTo>
                <a:lnTo>
                  <a:pt x="3293" y="922"/>
                </a:lnTo>
                <a:cubicBezTo>
                  <a:pt x="3260" y="922"/>
                  <a:pt x="3213" y="970"/>
                  <a:pt x="3213" y="1002"/>
                </a:cubicBezTo>
                <a:cubicBezTo>
                  <a:pt x="3213" y="1049"/>
                  <a:pt x="3260" y="1081"/>
                  <a:pt x="3293" y="1081"/>
                </a:cubicBezTo>
                <a:close/>
                <a:moveTo>
                  <a:pt x="4342" y="1081"/>
                </a:moveTo>
                <a:lnTo>
                  <a:pt x="4517" y="1081"/>
                </a:lnTo>
                <a:lnTo>
                  <a:pt x="4517" y="1272"/>
                </a:lnTo>
                <a:cubicBezTo>
                  <a:pt x="4517" y="1304"/>
                  <a:pt x="4549" y="1352"/>
                  <a:pt x="4597" y="1352"/>
                </a:cubicBezTo>
                <a:cubicBezTo>
                  <a:pt x="4644" y="1352"/>
                  <a:pt x="4676" y="1304"/>
                  <a:pt x="4676" y="1272"/>
                </a:cubicBezTo>
                <a:lnTo>
                  <a:pt x="4676" y="1002"/>
                </a:lnTo>
                <a:cubicBezTo>
                  <a:pt x="4676" y="970"/>
                  <a:pt x="4644" y="922"/>
                  <a:pt x="4597" y="922"/>
                </a:cubicBezTo>
                <a:lnTo>
                  <a:pt x="4342" y="922"/>
                </a:lnTo>
                <a:cubicBezTo>
                  <a:pt x="4295" y="922"/>
                  <a:pt x="4263" y="970"/>
                  <a:pt x="4263" y="1002"/>
                </a:cubicBezTo>
                <a:cubicBezTo>
                  <a:pt x="4263" y="1049"/>
                  <a:pt x="4295" y="1081"/>
                  <a:pt x="4342" y="1081"/>
                </a:cubicBezTo>
                <a:close/>
                <a:moveTo>
                  <a:pt x="4676" y="2306"/>
                </a:moveTo>
                <a:lnTo>
                  <a:pt x="4676" y="1781"/>
                </a:lnTo>
                <a:cubicBezTo>
                  <a:pt x="4676" y="1749"/>
                  <a:pt x="4644" y="1702"/>
                  <a:pt x="4597" y="1702"/>
                </a:cubicBezTo>
                <a:cubicBezTo>
                  <a:pt x="4549" y="1702"/>
                  <a:pt x="4517" y="1749"/>
                  <a:pt x="4517" y="1781"/>
                </a:cubicBezTo>
                <a:lnTo>
                  <a:pt x="4517" y="2306"/>
                </a:lnTo>
                <a:cubicBezTo>
                  <a:pt x="4517" y="2354"/>
                  <a:pt x="4549" y="2385"/>
                  <a:pt x="4597" y="2385"/>
                </a:cubicBezTo>
                <a:cubicBezTo>
                  <a:pt x="4644" y="2385"/>
                  <a:pt x="4676" y="2354"/>
                  <a:pt x="4676" y="2306"/>
                </a:cubicBezTo>
                <a:close/>
                <a:moveTo>
                  <a:pt x="906" y="3149"/>
                </a:moveTo>
                <a:cubicBezTo>
                  <a:pt x="954" y="3149"/>
                  <a:pt x="986" y="3102"/>
                  <a:pt x="986" y="3069"/>
                </a:cubicBezTo>
                <a:lnTo>
                  <a:pt x="986" y="2545"/>
                </a:lnTo>
                <a:cubicBezTo>
                  <a:pt x="986" y="2497"/>
                  <a:pt x="954" y="2465"/>
                  <a:pt x="906" y="2465"/>
                </a:cubicBezTo>
                <a:cubicBezTo>
                  <a:pt x="859" y="2465"/>
                  <a:pt x="827" y="2497"/>
                  <a:pt x="827" y="2545"/>
                </a:cubicBezTo>
                <a:lnTo>
                  <a:pt x="827" y="3069"/>
                </a:lnTo>
                <a:cubicBezTo>
                  <a:pt x="827" y="3102"/>
                  <a:pt x="859" y="3149"/>
                  <a:pt x="906" y="3149"/>
                </a:cubicBezTo>
                <a:close/>
                <a:moveTo>
                  <a:pt x="2211" y="3929"/>
                </a:moveTo>
                <a:cubicBezTo>
                  <a:pt x="2242" y="3929"/>
                  <a:pt x="2290" y="3881"/>
                  <a:pt x="2290" y="3849"/>
                </a:cubicBezTo>
                <a:cubicBezTo>
                  <a:pt x="2290" y="3801"/>
                  <a:pt x="2242" y="3769"/>
                  <a:pt x="2211" y="3769"/>
                </a:cubicBezTo>
                <a:lnTo>
                  <a:pt x="1686" y="3769"/>
                </a:lnTo>
                <a:cubicBezTo>
                  <a:pt x="1638" y="3769"/>
                  <a:pt x="1606" y="3801"/>
                  <a:pt x="1606" y="3849"/>
                </a:cubicBezTo>
                <a:cubicBezTo>
                  <a:pt x="1606" y="3881"/>
                  <a:pt x="1638" y="3929"/>
                  <a:pt x="1686" y="3929"/>
                </a:cubicBezTo>
                <a:close/>
                <a:moveTo>
                  <a:pt x="827" y="3849"/>
                </a:moveTo>
                <a:cubicBezTo>
                  <a:pt x="827" y="3881"/>
                  <a:pt x="859" y="3929"/>
                  <a:pt x="906" y="3929"/>
                </a:cubicBezTo>
                <a:lnTo>
                  <a:pt x="1161" y="3929"/>
                </a:lnTo>
                <a:cubicBezTo>
                  <a:pt x="1209" y="3929"/>
                  <a:pt x="1241" y="3881"/>
                  <a:pt x="1241" y="3849"/>
                </a:cubicBezTo>
                <a:cubicBezTo>
                  <a:pt x="1241" y="3801"/>
                  <a:pt x="1209" y="3769"/>
                  <a:pt x="1161" y="3769"/>
                </a:cubicBezTo>
                <a:lnTo>
                  <a:pt x="986" y="3769"/>
                </a:lnTo>
                <a:lnTo>
                  <a:pt x="986" y="3578"/>
                </a:lnTo>
                <a:cubicBezTo>
                  <a:pt x="986" y="3547"/>
                  <a:pt x="954" y="3499"/>
                  <a:pt x="906" y="3499"/>
                </a:cubicBezTo>
                <a:cubicBezTo>
                  <a:pt x="859" y="3499"/>
                  <a:pt x="827" y="3547"/>
                  <a:pt x="827" y="357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7" name="Freeform: Shape 4">
            <a:extLst>
              <a:ext uri="{FF2B5EF4-FFF2-40B4-BE49-F238E27FC236}">
                <a16:creationId xmlns:a16="http://schemas.microsoft.com/office/drawing/2014/main" id="{DB9F4EF6-5061-2F43-AD22-313B92C317FA}"/>
              </a:ext>
            </a:extLst>
          </p:cNvPr>
          <p:cNvSpPr/>
          <p:nvPr/>
        </p:nvSpPr>
        <p:spPr>
          <a:xfrm>
            <a:off x="10231278" y="6686603"/>
            <a:ext cx="1379519" cy="1597320"/>
          </a:xfrm>
          <a:custGeom>
            <a:avLst/>
            <a:gdLst/>
            <a:ahLst/>
            <a:cxnLst>
              <a:cxn ang="3cd4">
                <a:pos x="hc" y="t"/>
              </a:cxn>
              <a:cxn ang="cd2">
                <a:pos x="l" y="vc"/>
              </a:cxn>
              <a:cxn ang="cd4">
                <a:pos x="hc" y="b"/>
              </a:cxn>
              <a:cxn ang="0">
                <a:pos x="r" y="vc"/>
              </a:cxn>
            </a:cxnLst>
            <a:rect l="l" t="t" r="r" b="b"/>
            <a:pathLst>
              <a:path w="3833" h="4438">
                <a:moveTo>
                  <a:pt x="287" y="2688"/>
                </a:moveTo>
                <a:cubicBezTo>
                  <a:pt x="1432" y="2688"/>
                  <a:pt x="1432" y="2688"/>
                  <a:pt x="1432" y="2688"/>
                </a:cubicBezTo>
                <a:cubicBezTo>
                  <a:pt x="1320" y="3229"/>
                  <a:pt x="1320" y="3229"/>
                  <a:pt x="1320" y="3229"/>
                </a:cubicBezTo>
                <a:cubicBezTo>
                  <a:pt x="1320" y="3245"/>
                  <a:pt x="1320" y="3277"/>
                  <a:pt x="1336" y="3293"/>
                </a:cubicBezTo>
                <a:cubicBezTo>
                  <a:pt x="1352" y="3309"/>
                  <a:pt x="1384" y="3324"/>
                  <a:pt x="1400" y="3324"/>
                </a:cubicBezTo>
                <a:cubicBezTo>
                  <a:pt x="1829" y="3324"/>
                  <a:pt x="1829" y="3324"/>
                  <a:pt x="1829" y="3324"/>
                </a:cubicBezTo>
                <a:cubicBezTo>
                  <a:pt x="1829" y="3611"/>
                  <a:pt x="1829" y="3611"/>
                  <a:pt x="1829" y="3611"/>
                </a:cubicBezTo>
                <a:cubicBezTo>
                  <a:pt x="1654" y="3659"/>
                  <a:pt x="1511" y="3818"/>
                  <a:pt x="1511" y="4024"/>
                </a:cubicBezTo>
                <a:cubicBezTo>
                  <a:pt x="1511" y="4247"/>
                  <a:pt x="1702" y="4438"/>
                  <a:pt x="1925" y="4438"/>
                </a:cubicBezTo>
                <a:cubicBezTo>
                  <a:pt x="2163" y="4438"/>
                  <a:pt x="2338" y="4247"/>
                  <a:pt x="2338" y="4024"/>
                </a:cubicBezTo>
                <a:cubicBezTo>
                  <a:pt x="2338" y="3818"/>
                  <a:pt x="2195" y="3643"/>
                  <a:pt x="1988" y="3611"/>
                </a:cubicBezTo>
                <a:cubicBezTo>
                  <a:pt x="1988" y="3324"/>
                  <a:pt x="1988" y="3324"/>
                  <a:pt x="1988" y="3324"/>
                </a:cubicBezTo>
                <a:cubicBezTo>
                  <a:pt x="2338" y="3324"/>
                  <a:pt x="2338" y="3324"/>
                  <a:pt x="2338" y="3324"/>
                </a:cubicBezTo>
                <a:cubicBezTo>
                  <a:pt x="2370" y="3324"/>
                  <a:pt x="2386" y="3309"/>
                  <a:pt x="2402" y="3293"/>
                </a:cubicBezTo>
                <a:cubicBezTo>
                  <a:pt x="2418" y="3277"/>
                  <a:pt x="2434" y="3245"/>
                  <a:pt x="2418" y="3229"/>
                </a:cubicBezTo>
                <a:cubicBezTo>
                  <a:pt x="2306" y="2688"/>
                  <a:pt x="2306" y="2688"/>
                  <a:pt x="2306" y="2688"/>
                </a:cubicBezTo>
                <a:cubicBezTo>
                  <a:pt x="3547" y="2688"/>
                  <a:pt x="3547" y="2688"/>
                  <a:pt x="3547" y="2688"/>
                </a:cubicBezTo>
                <a:cubicBezTo>
                  <a:pt x="3706" y="2688"/>
                  <a:pt x="3833" y="2561"/>
                  <a:pt x="3833" y="2402"/>
                </a:cubicBezTo>
                <a:cubicBezTo>
                  <a:pt x="3833" y="287"/>
                  <a:pt x="3833" y="287"/>
                  <a:pt x="3833" y="287"/>
                </a:cubicBezTo>
                <a:cubicBezTo>
                  <a:pt x="3833" y="128"/>
                  <a:pt x="3706" y="0"/>
                  <a:pt x="3547" y="0"/>
                </a:cubicBezTo>
                <a:cubicBezTo>
                  <a:pt x="287" y="0"/>
                  <a:pt x="287" y="0"/>
                  <a:pt x="287" y="0"/>
                </a:cubicBezTo>
                <a:cubicBezTo>
                  <a:pt x="127" y="0"/>
                  <a:pt x="0" y="128"/>
                  <a:pt x="0" y="287"/>
                </a:cubicBezTo>
                <a:cubicBezTo>
                  <a:pt x="0" y="2402"/>
                  <a:pt x="0" y="2402"/>
                  <a:pt x="0" y="2402"/>
                </a:cubicBezTo>
                <a:cubicBezTo>
                  <a:pt x="0" y="2561"/>
                  <a:pt x="127" y="2688"/>
                  <a:pt x="287" y="2688"/>
                </a:cubicBezTo>
                <a:close/>
                <a:moveTo>
                  <a:pt x="1495" y="3166"/>
                </a:moveTo>
                <a:cubicBezTo>
                  <a:pt x="1606" y="2688"/>
                  <a:pt x="1606" y="2688"/>
                  <a:pt x="1606" y="2688"/>
                </a:cubicBezTo>
                <a:cubicBezTo>
                  <a:pt x="1829" y="2688"/>
                  <a:pt x="1829" y="2688"/>
                  <a:pt x="1829" y="2688"/>
                </a:cubicBezTo>
                <a:cubicBezTo>
                  <a:pt x="1829" y="3166"/>
                  <a:pt x="1829" y="3166"/>
                  <a:pt x="1829" y="3166"/>
                </a:cubicBezTo>
                <a:close/>
                <a:moveTo>
                  <a:pt x="2179" y="4024"/>
                </a:moveTo>
                <a:cubicBezTo>
                  <a:pt x="2179" y="4168"/>
                  <a:pt x="2068" y="4279"/>
                  <a:pt x="1925" y="4279"/>
                </a:cubicBezTo>
                <a:cubicBezTo>
                  <a:pt x="1782" y="4279"/>
                  <a:pt x="1670" y="4168"/>
                  <a:pt x="1670" y="4024"/>
                </a:cubicBezTo>
                <a:cubicBezTo>
                  <a:pt x="1670" y="3881"/>
                  <a:pt x="1782" y="3754"/>
                  <a:pt x="1925" y="3754"/>
                </a:cubicBezTo>
                <a:cubicBezTo>
                  <a:pt x="2068" y="3754"/>
                  <a:pt x="2179" y="3881"/>
                  <a:pt x="2179" y="4024"/>
                </a:cubicBezTo>
                <a:close/>
                <a:moveTo>
                  <a:pt x="1925" y="1241"/>
                </a:moveTo>
                <a:cubicBezTo>
                  <a:pt x="1782" y="1241"/>
                  <a:pt x="1670" y="1130"/>
                  <a:pt x="1670" y="987"/>
                </a:cubicBezTo>
                <a:cubicBezTo>
                  <a:pt x="1670" y="843"/>
                  <a:pt x="1782" y="732"/>
                  <a:pt x="1925" y="732"/>
                </a:cubicBezTo>
                <a:cubicBezTo>
                  <a:pt x="2068" y="732"/>
                  <a:pt x="2179" y="843"/>
                  <a:pt x="2179" y="987"/>
                </a:cubicBezTo>
                <a:cubicBezTo>
                  <a:pt x="2179" y="1130"/>
                  <a:pt x="2068" y="1241"/>
                  <a:pt x="1925" y="1241"/>
                </a:cubicBezTo>
                <a:close/>
                <a:moveTo>
                  <a:pt x="1988" y="3166"/>
                </a:moveTo>
                <a:cubicBezTo>
                  <a:pt x="1988" y="2688"/>
                  <a:pt x="1988" y="2688"/>
                  <a:pt x="1988" y="2688"/>
                </a:cubicBezTo>
                <a:cubicBezTo>
                  <a:pt x="2148" y="2688"/>
                  <a:pt x="2148" y="2688"/>
                  <a:pt x="2148" y="2688"/>
                </a:cubicBezTo>
                <a:cubicBezTo>
                  <a:pt x="2243" y="3166"/>
                  <a:pt x="2243" y="3166"/>
                  <a:pt x="2243" y="3166"/>
                </a:cubicBezTo>
                <a:close/>
                <a:moveTo>
                  <a:pt x="3674" y="2402"/>
                </a:moveTo>
                <a:cubicBezTo>
                  <a:pt x="3674" y="2482"/>
                  <a:pt x="3627" y="2529"/>
                  <a:pt x="3547" y="2529"/>
                </a:cubicBezTo>
                <a:cubicBezTo>
                  <a:pt x="2211" y="2529"/>
                  <a:pt x="2211" y="2529"/>
                  <a:pt x="2211" y="2529"/>
                </a:cubicBezTo>
                <a:cubicBezTo>
                  <a:pt x="1988" y="2529"/>
                  <a:pt x="1988" y="2529"/>
                  <a:pt x="1988" y="2529"/>
                </a:cubicBezTo>
                <a:cubicBezTo>
                  <a:pt x="1988" y="2179"/>
                  <a:pt x="1988" y="2179"/>
                  <a:pt x="1988" y="2179"/>
                </a:cubicBezTo>
                <a:cubicBezTo>
                  <a:pt x="3674" y="2179"/>
                  <a:pt x="3674" y="2179"/>
                  <a:pt x="3674" y="2179"/>
                </a:cubicBezTo>
                <a:close/>
                <a:moveTo>
                  <a:pt x="159" y="287"/>
                </a:moveTo>
                <a:cubicBezTo>
                  <a:pt x="159" y="207"/>
                  <a:pt x="223" y="160"/>
                  <a:pt x="287" y="160"/>
                </a:cubicBezTo>
                <a:cubicBezTo>
                  <a:pt x="3547" y="160"/>
                  <a:pt x="3547" y="160"/>
                  <a:pt x="3547" y="160"/>
                </a:cubicBezTo>
                <a:cubicBezTo>
                  <a:pt x="3627" y="160"/>
                  <a:pt x="3674" y="207"/>
                  <a:pt x="3674" y="287"/>
                </a:cubicBezTo>
                <a:cubicBezTo>
                  <a:pt x="3674" y="2020"/>
                  <a:pt x="3674" y="2020"/>
                  <a:pt x="3674" y="2020"/>
                </a:cubicBezTo>
                <a:cubicBezTo>
                  <a:pt x="1988" y="2020"/>
                  <a:pt x="1988" y="2020"/>
                  <a:pt x="1988" y="2020"/>
                </a:cubicBezTo>
                <a:cubicBezTo>
                  <a:pt x="1988" y="1718"/>
                  <a:pt x="1988" y="1718"/>
                  <a:pt x="1988" y="1718"/>
                </a:cubicBezTo>
                <a:cubicBezTo>
                  <a:pt x="3118" y="1718"/>
                  <a:pt x="3118" y="1718"/>
                  <a:pt x="3118" y="1718"/>
                </a:cubicBezTo>
                <a:cubicBezTo>
                  <a:pt x="3165" y="1718"/>
                  <a:pt x="3197" y="1687"/>
                  <a:pt x="3197" y="1639"/>
                </a:cubicBezTo>
                <a:cubicBezTo>
                  <a:pt x="3197" y="1400"/>
                  <a:pt x="3197" y="1400"/>
                  <a:pt x="3197" y="1400"/>
                </a:cubicBezTo>
                <a:cubicBezTo>
                  <a:pt x="3404" y="1368"/>
                  <a:pt x="3547" y="1193"/>
                  <a:pt x="3547" y="987"/>
                </a:cubicBezTo>
                <a:cubicBezTo>
                  <a:pt x="3547" y="748"/>
                  <a:pt x="3356" y="573"/>
                  <a:pt x="3133" y="573"/>
                </a:cubicBezTo>
                <a:cubicBezTo>
                  <a:pt x="2911" y="573"/>
                  <a:pt x="2720" y="748"/>
                  <a:pt x="2720" y="987"/>
                </a:cubicBezTo>
                <a:cubicBezTo>
                  <a:pt x="2720" y="1178"/>
                  <a:pt x="2863" y="1352"/>
                  <a:pt x="3038" y="1384"/>
                </a:cubicBezTo>
                <a:cubicBezTo>
                  <a:pt x="3038" y="1559"/>
                  <a:pt x="3038" y="1559"/>
                  <a:pt x="3038" y="1559"/>
                </a:cubicBezTo>
                <a:cubicBezTo>
                  <a:pt x="1988" y="1559"/>
                  <a:pt x="1988" y="1559"/>
                  <a:pt x="1988" y="1559"/>
                </a:cubicBezTo>
                <a:cubicBezTo>
                  <a:pt x="1988" y="1400"/>
                  <a:pt x="1988" y="1400"/>
                  <a:pt x="1988" y="1400"/>
                </a:cubicBezTo>
                <a:cubicBezTo>
                  <a:pt x="2195" y="1368"/>
                  <a:pt x="2338" y="1193"/>
                  <a:pt x="2338" y="987"/>
                </a:cubicBezTo>
                <a:cubicBezTo>
                  <a:pt x="2338" y="748"/>
                  <a:pt x="2163" y="573"/>
                  <a:pt x="1925" y="573"/>
                </a:cubicBezTo>
                <a:cubicBezTo>
                  <a:pt x="1702" y="573"/>
                  <a:pt x="1511" y="748"/>
                  <a:pt x="1511" y="987"/>
                </a:cubicBezTo>
                <a:cubicBezTo>
                  <a:pt x="1511" y="1178"/>
                  <a:pt x="1654" y="1352"/>
                  <a:pt x="1829" y="1384"/>
                </a:cubicBezTo>
                <a:cubicBezTo>
                  <a:pt x="1829" y="1559"/>
                  <a:pt x="1829" y="1559"/>
                  <a:pt x="1829" y="1559"/>
                </a:cubicBezTo>
                <a:cubicBezTo>
                  <a:pt x="796" y="1559"/>
                  <a:pt x="796" y="1559"/>
                  <a:pt x="796" y="1559"/>
                </a:cubicBezTo>
                <a:cubicBezTo>
                  <a:pt x="796" y="1400"/>
                  <a:pt x="796" y="1400"/>
                  <a:pt x="796" y="1400"/>
                </a:cubicBezTo>
                <a:cubicBezTo>
                  <a:pt x="987" y="1368"/>
                  <a:pt x="1130" y="1193"/>
                  <a:pt x="1130" y="987"/>
                </a:cubicBezTo>
                <a:cubicBezTo>
                  <a:pt x="1130" y="748"/>
                  <a:pt x="954" y="573"/>
                  <a:pt x="716" y="573"/>
                </a:cubicBezTo>
                <a:cubicBezTo>
                  <a:pt x="493" y="573"/>
                  <a:pt x="302" y="748"/>
                  <a:pt x="302" y="987"/>
                </a:cubicBezTo>
                <a:cubicBezTo>
                  <a:pt x="302" y="1178"/>
                  <a:pt x="445" y="1352"/>
                  <a:pt x="636" y="1384"/>
                </a:cubicBezTo>
                <a:cubicBezTo>
                  <a:pt x="636" y="1639"/>
                  <a:pt x="636" y="1639"/>
                  <a:pt x="636" y="1639"/>
                </a:cubicBezTo>
                <a:cubicBezTo>
                  <a:pt x="636" y="1687"/>
                  <a:pt x="668" y="1718"/>
                  <a:pt x="716" y="1718"/>
                </a:cubicBezTo>
                <a:cubicBezTo>
                  <a:pt x="1829" y="1718"/>
                  <a:pt x="1829" y="1718"/>
                  <a:pt x="1829" y="1718"/>
                </a:cubicBezTo>
                <a:cubicBezTo>
                  <a:pt x="1829" y="2020"/>
                  <a:pt x="1829" y="2020"/>
                  <a:pt x="1829" y="2020"/>
                </a:cubicBezTo>
                <a:cubicBezTo>
                  <a:pt x="159" y="2020"/>
                  <a:pt x="159" y="2020"/>
                  <a:pt x="159" y="2020"/>
                </a:cubicBezTo>
                <a:close/>
                <a:moveTo>
                  <a:pt x="2879" y="987"/>
                </a:moveTo>
                <a:cubicBezTo>
                  <a:pt x="2879" y="843"/>
                  <a:pt x="2990" y="732"/>
                  <a:pt x="3133" y="732"/>
                </a:cubicBezTo>
                <a:cubicBezTo>
                  <a:pt x="3277" y="732"/>
                  <a:pt x="3388" y="843"/>
                  <a:pt x="3388" y="987"/>
                </a:cubicBezTo>
                <a:cubicBezTo>
                  <a:pt x="3388" y="1130"/>
                  <a:pt x="3277" y="1241"/>
                  <a:pt x="3133" y="1241"/>
                </a:cubicBezTo>
                <a:cubicBezTo>
                  <a:pt x="2990" y="1241"/>
                  <a:pt x="2879" y="1130"/>
                  <a:pt x="2879" y="987"/>
                </a:cubicBezTo>
                <a:close/>
                <a:moveTo>
                  <a:pt x="716" y="1241"/>
                </a:moveTo>
                <a:cubicBezTo>
                  <a:pt x="573" y="1241"/>
                  <a:pt x="461" y="1130"/>
                  <a:pt x="461" y="987"/>
                </a:cubicBezTo>
                <a:cubicBezTo>
                  <a:pt x="461" y="843"/>
                  <a:pt x="573" y="732"/>
                  <a:pt x="716" y="732"/>
                </a:cubicBezTo>
                <a:cubicBezTo>
                  <a:pt x="859" y="732"/>
                  <a:pt x="987" y="843"/>
                  <a:pt x="987" y="987"/>
                </a:cubicBezTo>
                <a:cubicBezTo>
                  <a:pt x="987" y="1130"/>
                  <a:pt x="859" y="1241"/>
                  <a:pt x="716" y="1241"/>
                </a:cubicBezTo>
                <a:close/>
                <a:moveTo>
                  <a:pt x="159" y="2179"/>
                </a:moveTo>
                <a:cubicBezTo>
                  <a:pt x="1829" y="2179"/>
                  <a:pt x="1829" y="2179"/>
                  <a:pt x="1829" y="2179"/>
                </a:cubicBezTo>
                <a:cubicBezTo>
                  <a:pt x="1829" y="2529"/>
                  <a:pt x="1829" y="2529"/>
                  <a:pt x="1829" y="2529"/>
                </a:cubicBezTo>
                <a:cubicBezTo>
                  <a:pt x="1543" y="2529"/>
                  <a:pt x="1543" y="2529"/>
                  <a:pt x="1543" y="2529"/>
                </a:cubicBezTo>
                <a:cubicBezTo>
                  <a:pt x="287" y="2529"/>
                  <a:pt x="287" y="2529"/>
                  <a:pt x="287" y="2529"/>
                </a:cubicBezTo>
                <a:cubicBezTo>
                  <a:pt x="223" y="2529"/>
                  <a:pt x="159" y="2482"/>
                  <a:pt x="159" y="240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8" name="Freeform: Shape 5">
            <a:extLst>
              <a:ext uri="{FF2B5EF4-FFF2-40B4-BE49-F238E27FC236}">
                <a16:creationId xmlns:a16="http://schemas.microsoft.com/office/drawing/2014/main" id="{2F0CECB6-29AA-7A4C-BC7D-6A97A549A203}"/>
              </a:ext>
            </a:extLst>
          </p:cNvPr>
          <p:cNvSpPr/>
          <p:nvPr/>
        </p:nvSpPr>
        <p:spPr>
          <a:xfrm>
            <a:off x="13773451" y="3518889"/>
            <a:ext cx="1379519" cy="1196280"/>
          </a:xfrm>
          <a:custGeom>
            <a:avLst/>
            <a:gdLst/>
            <a:ahLst/>
            <a:cxnLst>
              <a:cxn ang="3cd4">
                <a:pos x="hc" y="t"/>
              </a:cxn>
              <a:cxn ang="cd2">
                <a:pos x="l" y="vc"/>
              </a:cxn>
              <a:cxn ang="cd4">
                <a:pos x="hc" y="b"/>
              </a:cxn>
              <a:cxn ang="0">
                <a:pos x="r" y="vc"/>
              </a:cxn>
            </a:cxnLst>
            <a:rect l="l" t="t" r="r" b="b"/>
            <a:pathLst>
              <a:path w="3833" h="3324">
                <a:moveTo>
                  <a:pt x="270" y="2688"/>
                </a:moveTo>
                <a:cubicBezTo>
                  <a:pt x="1431" y="2688"/>
                  <a:pt x="1431" y="2688"/>
                  <a:pt x="1431" y="2688"/>
                </a:cubicBezTo>
                <a:cubicBezTo>
                  <a:pt x="1320" y="3229"/>
                  <a:pt x="1320" y="3229"/>
                  <a:pt x="1320" y="3229"/>
                </a:cubicBezTo>
                <a:cubicBezTo>
                  <a:pt x="1304" y="3245"/>
                  <a:pt x="1320" y="3277"/>
                  <a:pt x="1336" y="3293"/>
                </a:cubicBezTo>
                <a:cubicBezTo>
                  <a:pt x="1352" y="3309"/>
                  <a:pt x="1368" y="3324"/>
                  <a:pt x="1399" y="3324"/>
                </a:cubicBezTo>
                <a:cubicBezTo>
                  <a:pt x="2338" y="3324"/>
                  <a:pt x="2338" y="3324"/>
                  <a:pt x="2338" y="3324"/>
                </a:cubicBezTo>
                <a:cubicBezTo>
                  <a:pt x="2354" y="3324"/>
                  <a:pt x="2386" y="3309"/>
                  <a:pt x="2402" y="3293"/>
                </a:cubicBezTo>
                <a:cubicBezTo>
                  <a:pt x="2417" y="3277"/>
                  <a:pt x="2417" y="3245"/>
                  <a:pt x="2417" y="3229"/>
                </a:cubicBezTo>
                <a:cubicBezTo>
                  <a:pt x="2306" y="2688"/>
                  <a:pt x="2306" y="2688"/>
                  <a:pt x="2306" y="2688"/>
                </a:cubicBezTo>
                <a:cubicBezTo>
                  <a:pt x="3547" y="2688"/>
                  <a:pt x="3547" y="2688"/>
                  <a:pt x="3547" y="2688"/>
                </a:cubicBezTo>
                <a:cubicBezTo>
                  <a:pt x="3706" y="2688"/>
                  <a:pt x="3833" y="2561"/>
                  <a:pt x="3833" y="2402"/>
                </a:cubicBezTo>
                <a:cubicBezTo>
                  <a:pt x="3833" y="287"/>
                  <a:pt x="3833" y="287"/>
                  <a:pt x="3833" y="287"/>
                </a:cubicBezTo>
                <a:cubicBezTo>
                  <a:pt x="3833" y="127"/>
                  <a:pt x="3706" y="0"/>
                  <a:pt x="3547" y="0"/>
                </a:cubicBezTo>
                <a:cubicBezTo>
                  <a:pt x="270" y="0"/>
                  <a:pt x="270" y="0"/>
                  <a:pt x="270" y="0"/>
                </a:cubicBezTo>
                <a:cubicBezTo>
                  <a:pt x="127" y="0"/>
                  <a:pt x="0" y="127"/>
                  <a:pt x="0" y="287"/>
                </a:cubicBezTo>
                <a:cubicBezTo>
                  <a:pt x="0" y="2402"/>
                  <a:pt x="0" y="2402"/>
                  <a:pt x="0" y="2402"/>
                </a:cubicBezTo>
                <a:cubicBezTo>
                  <a:pt x="0" y="2561"/>
                  <a:pt x="127" y="2688"/>
                  <a:pt x="270" y="2688"/>
                </a:cubicBezTo>
                <a:close/>
                <a:moveTo>
                  <a:pt x="1495" y="3165"/>
                </a:moveTo>
                <a:cubicBezTo>
                  <a:pt x="1590" y="2688"/>
                  <a:pt x="1590" y="2688"/>
                  <a:pt x="1590" y="2688"/>
                </a:cubicBezTo>
                <a:cubicBezTo>
                  <a:pt x="2131" y="2688"/>
                  <a:pt x="2131" y="2688"/>
                  <a:pt x="2131" y="2688"/>
                </a:cubicBezTo>
                <a:cubicBezTo>
                  <a:pt x="2242" y="3165"/>
                  <a:pt x="2242" y="3165"/>
                  <a:pt x="2242" y="3165"/>
                </a:cubicBezTo>
                <a:close/>
                <a:moveTo>
                  <a:pt x="159" y="287"/>
                </a:moveTo>
                <a:cubicBezTo>
                  <a:pt x="159" y="207"/>
                  <a:pt x="206" y="159"/>
                  <a:pt x="270" y="159"/>
                </a:cubicBezTo>
                <a:cubicBezTo>
                  <a:pt x="3547" y="159"/>
                  <a:pt x="3547" y="159"/>
                  <a:pt x="3547" y="159"/>
                </a:cubicBezTo>
                <a:cubicBezTo>
                  <a:pt x="3610" y="159"/>
                  <a:pt x="3674" y="207"/>
                  <a:pt x="3674" y="287"/>
                </a:cubicBezTo>
                <a:cubicBezTo>
                  <a:pt x="3674" y="2020"/>
                  <a:pt x="3674" y="2020"/>
                  <a:pt x="3674" y="2020"/>
                </a:cubicBezTo>
                <a:cubicBezTo>
                  <a:pt x="159" y="2020"/>
                  <a:pt x="159" y="2020"/>
                  <a:pt x="159" y="2020"/>
                </a:cubicBezTo>
                <a:close/>
                <a:moveTo>
                  <a:pt x="159" y="2179"/>
                </a:moveTo>
                <a:cubicBezTo>
                  <a:pt x="3674" y="2179"/>
                  <a:pt x="3674" y="2179"/>
                  <a:pt x="3674" y="2179"/>
                </a:cubicBezTo>
                <a:cubicBezTo>
                  <a:pt x="3674" y="2402"/>
                  <a:pt x="3674" y="2402"/>
                  <a:pt x="3674" y="2402"/>
                </a:cubicBezTo>
                <a:cubicBezTo>
                  <a:pt x="3674" y="2481"/>
                  <a:pt x="3610" y="2529"/>
                  <a:pt x="3547" y="2529"/>
                </a:cubicBezTo>
                <a:cubicBezTo>
                  <a:pt x="2195" y="2529"/>
                  <a:pt x="2195" y="2529"/>
                  <a:pt x="2195" y="2529"/>
                </a:cubicBezTo>
                <a:cubicBezTo>
                  <a:pt x="1527" y="2529"/>
                  <a:pt x="1527" y="2529"/>
                  <a:pt x="1527" y="2529"/>
                </a:cubicBezTo>
                <a:cubicBezTo>
                  <a:pt x="270" y="2529"/>
                  <a:pt x="270" y="2529"/>
                  <a:pt x="270" y="2529"/>
                </a:cubicBezTo>
                <a:cubicBezTo>
                  <a:pt x="206" y="2529"/>
                  <a:pt x="159" y="2481"/>
                  <a:pt x="159" y="240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9" name="Freeform: Shape 6">
            <a:extLst>
              <a:ext uri="{FF2B5EF4-FFF2-40B4-BE49-F238E27FC236}">
                <a16:creationId xmlns:a16="http://schemas.microsoft.com/office/drawing/2014/main" id="{A957D82F-7BDB-4745-A2A2-05268393BA20}"/>
              </a:ext>
            </a:extLst>
          </p:cNvPr>
          <p:cNvSpPr/>
          <p:nvPr/>
        </p:nvSpPr>
        <p:spPr>
          <a:xfrm>
            <a:off x="13874556" y="6240203"/>
            <a:ext cx="1859399" cy="1860479"/>
          </a:xfrm>
          <a:custGeom>
            <a:avLst/>
            <a:gdLst/>
            <a:ahLst/>
            <a:cxnLst>
              <a:cxn ang="3cd4">
                <a:pos x="hc" y="t"/>
              </a:cxn>
              <a:cxn ang="cd2">
                <a:pos x="l" y="vc"/>
              </a:cxn>
              <a:cxn ang="cd4">
                <a:pos x="hc" y="b"/>
              </a:cxn>
              <a:cxn ang="0">
                <a:pos x="r" y="vc"/>
              </a:cxn>
            </a:cxnLst>
            <a:rect l="l" t="t" r="r" b="b"/>
            <a:pathLst>
              <a:path w="5166" h="5169">
                <a:moveTo>
                  <a:pt x="3658" y="1892"/>
                </a:moveTo>
                <a:lnTo>
                  <a:pt x="477" y="1892"/>
                </a:lnTo>
                <a:cubicBezTo>
                  <a:pt x="413" y="1892"/>
                  <a:pt x="365" y="1940"/>
                  <a:pt x="365" y="1988"/>
                </a:cubicBezTo>
                <a:lnTo>
                  <a:pt x="365" y="2131"/>
                </a:lnTo>
                <a:cubicBezTo>
                  <a:pt x="365" y="2179"/>
                  <a:pt x="413" y="2226"/>
                  <a:pt x="477" y="2226"/>
                </a:cubicBezTo>
                <a:lnTo>
                  <a:pt x="763" y="2226"/>
                </a:lnTo>
                <a:lnTo>
                  <a:pt x="874" y="2322"/>
                </a:lnTo>
                <a:cubicBezTo>
                  <a:pt x="890" y="2354"/>
                  <a:pt x="922" y="2369"/>
                  <a:pt x="970" y="2369"/>
                </a:cubicBezTo>
                <a:lnTo>
                  <a:pt x="3165" y="2369"/>
                </a:lnTo>
                <a:cubicBezTo>
                  <a:pt x="3213" y="2369"/>
                  <a:pt x="3244" y="2354"/>
                  <a:pt x="3261" y="2322"/>
                </a:cubicBezTo>
                <a:lnTo>
                  <a:pt x="3372" y="2226"/>
                </a:lnTo>
                <a:lnTo>
                  <a:pt x="3658" y="2226"/>
                </a:lnTo>
                <a:cubicBezTo>
                  <a:pt x="3722" y="2226"/>
                  <a:pt x="3770" y="2179"/>
                  <a:pt x="3770" y="2131"/>
                </a:cubicBezTo>
                <a:lnTo>
                  <a:pt x="3770" y="1988"/>
                </a:lnTo>
                <a:cubicBezTo>
                  <a:pt x="3770" y="1940"/>
                  <a:pt x="3722" y="1892"/>
                  <a:pt x="3658" y="1892"/>
                </a:cubicBezTo>
                <a:close/>
                <a:moveTo>
                  <a:pt x="3610" y="2067"/>
                </a:moveTo>
                <a:lnTo>
                  <a:pt x="3340" y="2067"/>
                </a:lnTo>
                <a:cubicBezTo>
                  <a:pt x="3324" y="2067"/>
                  <a:pt x="3292" y="2083"/>
                  <a:pt x="3276" y="2099"/>
                </a:cubicBezTo>
                <a:lnTo>
                  <a:pt x="3165" y="2210"/>
                </a:lnTo>
                <a:lnTo>
                  <a:pt x="986" y="2210"/>
                </a:lnTo>
                <a:lnTo>
                  <a:pt x="859" y="2099"/>
                </a:lnTo>
                <a:cubicBezTo>
                  <a:pt x="843" y="2083"/>
                  <a:pt x="811" y="2067"/>
                  <a:pt x="795" y="2067"/>
                </a:cubicBezTo>
                <a:lnTo>
                  <a:pt x="525" y="2067"/>
                </a:lnTo>
                <a:lnTo>
                  <a:pt x="525" y="2051"/>
                </a:lnTo>
                <a:lnTo>
                  <a:pt x="3610" y="2051"/>
                </a:lnTo>
                <a:close/>
                <a:moveTo>
                  <a:pt x="4135" y="2512"/>
                </a:moveTo>
                <a:lnTo>
                  <a:pt x="4135" y="1574"/>
                </a:lnTo>
                <a:cubicBezTo>
                  <a:pt x="4135" y="1510"/>
                  <a:pt x="4119" y="1447"/>
                  <a:pt x="4071" y="1399"/>
                </a:cubicBezTo>
                <a:lnTo>
                  <a:pt x="3276" y="604"/>
                </a:lnTo>
                <a:cubicBezTo>
                  <a:pt x="3229" y="556"/>
                  <a:pt x="3165" y="524"/>
                  <a:pt x="3101" y="524"/>
                </a:cubicBezTo>
                <a:lnTo>
                  <a:pt x="2704" y="524"/>
                </a:lnTo>
                <a:lnTo>
                  <a:pt x="2195" y="63"/>
                </a:lnTo>
                <a:cubicBezTo>
                  <a:pt x="2131" y="31"/>
                  <a:pt x="2068" y="0"/>
                  <a:pt x="2004" y="0"/>
                </a:cubicBezTo>
                <a:lnTo>
                  <a:pt x="413" y="0"/>
                </a:lnTo>
                <a:cubicBezTo>
                  <a:pt x="334" y="0"/>
                  <a:pt x="254" y="63"/>
                  <a:pt x="254" y="158"/>
                </a:cubicBezTo>
                <a:lnTo>
                  <a:pt x="254" y="604"/>
                </a:lnTo>
                <a:lnTo>
                  <a:pt x="254" y="620"/>
                </a:lnTo>
                <a:lnTo>
                  <a:pt x="63" y="827"/>
                </a:lnTo>
                <a:cubicBezTo>
                  <a:pt x="32" y="874"/>
                  <a:pt x="0" y="938"/>
                  <a:pt x="0" y="1001"/>
                </a:cubicBezTo>
                <a:lnTo>
                  <a:pt x="0" y="5010"/>
                </a:lnTo>
                <a:cubicBezTo>
                  <a:pt x="0" y="5089"/>
                  <a:pt x="79" y="5169"/>
                  <a:pt x="159" y="5169"/>
                </a:cubicBezTo>
                <a:lnTo>
                  <a:pt x="3992" y="5169"/>
                </a:lnTo>
                <a:cubicBezTo>
                  <a:pt x="4024" y="5169"/>
                  <a:pt x="4056" y="5153"/>
                  <a:pt x="4088" y="5121"/>
                </a:cubicBezTo>
                <a:cubicBezTo>
                  <a:pt x="4119" y="5089"/>
                  <a:pt x="4135" y="5057"/>
                  <a:pt x="4135" y="5010"/>
                </a:cubicBezTo>
                <a:lnTo>
                  <a:pt x="4135" y="4676"/>
                </a:lnTo>
                <a:lnTo>
                  <a:pt x="5121" y="3563"/>
                </a:lnTo>
                <a:cubicBezTo>
                  <a:pt x="5169" y="3499"/>
                  <a:pt x="5185" y="3419"/>
                  <a:pt x="5137" y="3355"/>
                </a:cubicBezTo>
                <a:lnTo>
                  <a:pt x="5106" y="3292"/>
                </a:lnTo>
                <a:cubicBezTo>
                  <a:pt x="5058" y="3228"/>
                  <a:pt x="4962" y="3197"/>
                  <a:pt x="4898" y="3244"/>
                </a:cubicBezTo>
                <a:lnTo>
                  <a:pt x="4135" y="3721"/>
                </a:lnTo>
                <a:lnTo>
                  <a:pt x="4135" y="3451"/>
                </a:lnTo>
                <a:lnTo>
                  <a:pt x="5121" y="2337"/>
                </a:lnTo>
                <a:cubicBezTo>
                  <a:pt x="5169" y="2290"/>
                  <a:pt x="5185" y="2194"/>
                  <a:pt x="5137" y="2131"/>
                </a:cubicBezTo>
                <a:lnTo>
                  <a:pt x="5106" y="2067"/>
                </a:lnTo>
                <a:cubicBezTo>
                  <a:pt x="5074" y="2036"/>
                  <a:pt x="5042" y="2003"/>
                  <a:pt x="5010" y="2003"/>
                </a:cubicBezTo>
                <a:cubicBezTo>
                  <a:pt x="4962" y="1988"/>
                  <a:pt x="4931" y="2003"/>
                  <a:pt x="4898" y="2019"/>
                </a:cubicBezTo>
                <a:close/>
                <a:moveTo>
                  <a:pt x="5010" y="2210"/>
                </a:moveTo>
                <a:lnTo>
                  <a:pt x="5010" y="2242"/>
                </a:lnTo>
                <a:lnTo>
                  <a:pt x="4008" y="3372"/>
                </a:lnTo>
                <a:cubicBezTo>
                  <a:pt x="3992" y="3387"/>
                  <a:pt x="3976" y="3403"/>
                  <a:pt x="3976" y="3419"/>
                </a:cubicBezTo>
                <a:lnTo>
                  <a:pt x="3976" y="3881"/>
                </a:lnTo>
                <a:cubicBezTo>
                  <a:pt x="3976" y="3896"/>
                  <a:pt x="3992" y="3928"/>
                  <a:pt x="4024" y="3944"/>
                </a:cubicBezTo>
                <a:cubicBezTo>
                  <a:pt x="4040" y="3960"/>
                  <a:pt x="4071" y="3960"/>
                  <a:pt x="4103" y="3944"/>
                </a:cubicBezTo>
                <a:lnTo>
                  <a:pt x="4962" y="3372"/>
                </a:lnTo>
                <a:lnTo>
                  <a:pt x="5010" y="3435"/>
                </a:lnTo>
                <a:lnTo>
                  <a:pt x="5010" y="3451"/>
                </a:lnTo>
                <a:lnTo>
                  <a:pt x="4008" y="4596"/>
                </a:lnTo>
                <a:cubicBezTo>
                  <a:pt x="3992" y="4612"/>
                  <a:pt x="3976" y="4628"/>
                  <a:pt x="3976" y="4644"/>
                </a:cubicBezTo>
                <a:lnTo>
                  <a:pt x="3992" y="5010"/>
                </a:lnTo>
                <a:lnTo>
                  <a:pt x="159" y="5010"/>
                </a:lnTo>
                <a:lnTo>
                  <a:pt x="159" y="1001"/>
                </a:lnTo>
                <a:cubicBezTo>
                  <a:pt x="159" y="970"/>
                  <a:pt x="175" y="954"/>
                  <a:pt x="190" y="922"/>
                </a:cubicBezTo>
                <a:lnTo>
                  <a:pt x="381" y="715"/>
                </a:lnTo>
                <a:cubicBezTo>
                  <a:pt x="413" y="699"/>
                  <a:pt x="413" y="667"/>
                  <a:pt x="413" y="652"/>
                </a:cubicBezTo>
                <a:lnTo>
                  <a:pt x="413" y="158"/>
                </a:lnTo>
                <a:lnTo>
                  <a:pt x="2004" y="158"/>
                </a:lnTo>
                <a:cubicBezTo>
                  <a:pt x="2035" y="158"/>
                  <a:pt x="2068" y="174"/>
                  <a:pt x="2083" y="190"/>
                </a:cubicBezTo>
                <a:lnTo>
                  <a:pt x="2608" y="667"/>
                </a:lnTo>
                <a:cubicBezTo>
                  <a:pt x="2624" y="683"/>
                  <a:pt x="2656" y="683"/>
                  <a:pt x="2672" y="683"/>
                </a:cubicBezTo>
                <a:lnTo>
                  <a:pt x="3101" y="683"/>
                </a:lnTo>
                <a:cubicBezTo>
                  <a:pt x="3117" y="683"/>
                  <a:pt x="3149" y="699"/>
                  <a:pt x="3165" y="715"/>
                </a:cubicBezTo>
                <a:lnTo>
                  <a:pt x="3960" y="1510"/>
                </a:lnTo>
                <a:cubicBezTo>
                  <a:pt x="3976" y="1527"/>
                  <a:pt x="3976" y="1542"/>
                  <a:pt x="3976" y="1574"/>
                </a:cubicBezTo>
                <a:lnTo>
                  <a:pt x="3976" y="2655"/>
                </a:lnTo>
                <a:cubicBezTo>
                  <a:pt x="3976" y="2688"/>
                  <a:pt x="3992" y="2703"/>
                  <a:pt x="4024" y="2719"/>
                </a:cubicBezTo>
                <a:cubicBezTo>
                  <a:pt x="4040" y="2735"/>
                  <a:pt x="4071" y="2735"/>
                  <a:pt x="4103" y="2719"/>
                </a:cubicBezTo>
                <a:lnTo>
                  <a:pt x="4962" y="2163"/>
                </a:lnTo>
                <a:close/>
                <a:moveTo>
                  <a:pt x="3658" y="3944"/>
                </a:moveTo>
                <a:lnTo>
                  <a:pt x="477" y="3944"/>
                </a:lnTo>
                <a:cubicBezTo>
                  <a:pt x="413" y="3944"/>
                  <a:pt x="365" y="3976"/>
                  <a:pt x="365" y="4039"/>
                </a:cubicBezTo>
                <a:lnTo>
                  <a:pt x="365" y="4167"/>
                </a:lnTo>
                <a:cubicBezTo>
                  <a:pt x="365" y="4230"/>
                  <a:pt x="413" y="4278"/>
                  <a:pt x="477" y="4278"/>
                </a:cubicBezTo>
                <a:lnTo>
                  <a:pt x="763" y="4278"/>
                </a:lnTo>
                <a:lnTo>
                  <a:pt x="874" y="4373"/>
                </a:lnTo>
                <a:cubicBezTo>
                  <a:pt x="890" y="4405"/>
                  <a:pt x="922" y="4405"/>
                  <a:pt x="970" y="4405"/>
                </a:cubicBezTo>
                <a:lnTo>
                  <a:pt x="3165" y="4405"/>
                </a:lnTo>
                <a:cubicBezTo>
                  <a:pt x="3213" y="4405"/>
                  <a:pt x="3244" y="4405"/>
                  <a:pt x="3261" y="4373"/>
                </a:cubicBezTo>
                <a:lnTo>
                  <a:pt x="3372" y="4278"/>
                </a:lnTo>
                <a:lnTo>
                  <a:pt x="3658" y="4278"/>
                </a:lnTo>
                <a:cubicBezTo>
                  <a:pt x="3722" y="4278"/>
                  <a:pt x="3770" y="4230"/>
                  <a:pt x="3770" y="4167"/>
                </a:cubicBezTo>
                <a:lnTo>
                  <a:pt x="3770" y="4039"/>
                </a:lnTo>
                <a:cubicBezTo>
                  <a:pt x="3770" y="3976"/>
                  <a:pt x="3722" y="3944"/>
                  <a:pt x="3658" y="3944"/>
                </a:cubicBezTo>
                <a:close/>
                <a:moveTo>
                  <a:pt x="3610" y="4119"/>
                </a:moveTo>
                <a:lnTo>
                  <a:pt x="3340" y="4119"/>
                </a:lnTo>
                <a:cubicBezTo>
                  <a:pt x="3324" y="4119"/>
                  <a:pt x="3292" y="4135"/>
                  <a:pt x="3276" y="4151"/>
                </a:cubicBezTo>
                <a:lnTo>
                  <a:pt x="3165" y="4262"/>
                </a:lnTo>
                <a:lnTo>
                  <a:pt x="986" y="4262"/>
                </a:lnTo>
                <a:lnTo>
                  <a:pt x="859" y="4151"/>
                </a:lnTo>
                <a:cubicBezTo>
                  <a:pt x="843" y="4135"/>
                  <a:pt x="811" y="4119"/>
                  <a:pt x="795" y="4119"/>
                </a:cubicBezTo>
                <a:lnTo>
                  <a:pt x="525" y="4119"/>
                </a:lnTo>
                <a:lnTo>
                  <a:pt x="525" y="4087"/>
                </a:lnTo>
                <a:lnTo>
                  <a:pt x="3610" y="4087"/>
                </a:lnTo>
                <a:close/>
                <a:moveTo>
                  <a:pt x="3658" y="2958"/>
                </a:moveTo>
                <a:lnTo>
                  <a:pt x="477" y="2958"/>
                </a:lnTo>
                <a:cubicBezTo>
                  <a:pt x="413" y="2958"/>
                  <a:pt x="365" y="3006"/>
                  <a:pt x="365" y="3054"/>
                </a:cubicBezTo>
                <a:lnTo>
                  <a:pt x="365" y="3197"/>
                </a:lnTo>
                <a:cubicBezTo>
                  <a:pt x="365" y="3244"/>
                  <a:pt x="413" y="3292"/>
                  <a:pt x="477" y="3292"/>
                </a:cubicBezTo>
                <a:lnTo>
                  <a:pt x="763" y="3292"/>
                </a:lnTo>
                <a:lnTo>
                  <a:pt x="874" y="3387"/>
                </a:lnTo>
                <a:cubicBezTo>
                  <a:pt x="890" y="3419"/>
                  <a:pt x="922" y="3435"/>
                  <a:pt x="970" y="3435"/>
                </a:cubicBezTo>
                <a:lnTo>
                  <a:pt x="3165" y="3435"/>
                </a:lnTo>
                <a:cubicBezTo>
                  <a:pt x="3213" y="3435"/>
                  <a:pt x="3244" y="3419"/>
                  <a:pt x="3261" y="3387"/>
                </a:cubicBezTo>
                <a:lnTo>
                  <a:pt x="3372" y="3292"/>
                </a:lnTo>
                <a:lnTo>
                  <a:pt x="3658" y="3292"/>
                </a:lnTo>
                <a:lnTo>
                  <a:pt x="3690" y="3292"/>
                </a:lnTo>
                <a:cubicBezTo>
                  <a:pt x="3737" y="3276"/>
                  <a:pt x="3770" y="3228"/>
                  <a:pt x="3770" y="3197"/>
                </a:cubicBezTo>
                <a:lnTo>
                  <a:pt x="3770" y="3054"/>
                </a:lnTo>
                <a:cubicBezTo>
                  <a:pt x="3770" y="3006"/>
                  <a:pt x="3722" y="2958"/>
                  <a:pt x="3658" y="2958"/>
                </a:cubicBezTo>
                <a:close/>
                <a:moveTo>
                  <a:pt x="3610" y="3133"/>
                </a:moveTo>
                <a:lnTo>
                  <a:pt x="3340" y="3133"/>
                </a:lnTo>
                <a:cubicBezTo>
                  <a:pt x="3324" y="3133"/>
                  <a:pt x="3292" y="3149"/>
                  <a:pt x="3276" y="3164"/>
                </a:cubicBezTo>
                <a:lnTo>
                  <a:pt x="3165" y="3276"/>
                </a:lnTo>
                <a:lnTo>
                  <a:pt x="986" y="3276"/>
                </a:lnTo>
                <a:lnTo>
                  <a:pt x="859" y="3164"/>
                </a:lnTo>
                <a:cubicBezTo>
                  <a:pt x="843" y="3149"/>
                  <a:pt x="811" y="3133"/>
                  <a:pt x="795" y="3133"/>
                </a:cubicBezTo>
                <a:lnTo>
                  <a:pt x="525" y="3133"/>
                </a:lnTo>
                <a:lnTo>
                  <a:pt x="525" y="3117"/>
                </a:lnTo>
                <a:lnTo>
                  <a:pt x="3610" y="3117"/>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Freeform: Shape 7">
            <a:extLst>
              <a:ext uri="{FF2B5EF4-FFF2-40B4-BE49-F238E27FC236}">
                <a16:creationId xmlns:a16="http://schemas.microsoft.com/office/drawing/2014/main" id="{7976730F-D959-2649-8D2C-9FBAFDD414F2}"/>
              </a:ext>
            </a:extLst>
          </p:cNvPr>
          <p:cNvSpPr/>
          <p:nvPr/>
        </p:nvSpPr>
        <p:spPr>
          <a:xfrm>
            <a:off x="17334075" y="6283403"/>
            <a:ext cx="1717560" cy="1771560"/>
          </a:xfrm>
          <a:custGeom>
            <a:avLst/>
            <a:gdLst/>
            <a:ahLst/>
            <a:cxnLst>
              <a:cxn ang="3cd4">
                <a:pos x="hc" y="t"/>
              </a:cxn>
              <a:cxn ang="cd2">
                <a:pos x="l" y="vc"/>
              </a:cxn>
              <a:cxn ang="cd4">
                <a:pos x="hc" y="b"/>
              </a:cxn>
              <a:cxn ang="0">
                <a:pos x="r" y="vc"/>
              </a:cxn>
            </a:cxnLst>
            <a:rect l="l" t="t" r="r" b="b"/>
            <a:pathLst>
              <a:path w="4772" h="4922">
                <a:moveTo>
                  <a:pt x="1" y="4731"/>
                </a:moveTo>
                <a:cubicBezTo>
                  <a:pt x="1" y="4826"/>
                  <a:pt x="80" y="4922"/>
                  <a:pt x="191" y="4922"/>
                </a:cubicBezTo>
                <a:lnTo>
                  <a:pt x="4581" y="4922"/>
                </a:lnTo>
                <a:cubicBezTo>
                  <a:pt x="4693" y="4922"/>
                  <a:pt x="4772" y="4826"/>
                  <a:pt x="4772" y="4731"/>
                </a:cubicBezTo>
                <a:lnTo>
                  <a:pt x="4772" y="1597"/>
                </a:lnTo>
                <a:cubicBezTo>
                  <a:pt x="4772" y="1533"/>
                  <a:pt x="4724" y="1486"/>
                  <a:pt x="4677" y="1486"/>
                </a:cubicBezTo>
                <a:lnTo>
                  <a:pt x="96" y="1486"/>
                </a:lnTo>
                <a:cubicBezTo>
                  <a:pt x="48" y="1486"/>
                  <a:pt x="1" y="1533"/>
                  <a:pt x="1" y="1597"/>
                </a:cubicBezTo>
                <a:close/>
                <a:moveTo>
                  <a:pt x="160" y="1645"/>
                </a:moveTo>
                <a:lnTo>
                  <a:pt x="4614" y="1645"/>
                </a:lnTo>
                <a:lnTo>
                  <a:pt x="4614" y="4731"/>
                </a:lnTo>
                <a:cubicBezTo>
                  <a:pt x="4614" y="4747"/>
                  <a:pt x="4597" y="4762"/>
                  <a:pt x="4581" y="4762"/>
                </a:cubicBezTo>
                <a:lnTo>
                  <a:pt x="191" y="4762"/>
                </a:lnTo>
                <a:cubicBezTo>
                  <a:pt x="176" y="4762"/>
                  <a:pt x="160" y="4747"/>
                  <a:pt x="160" y="4731"/>
                </a:cubicBezTo>
                <a:close/>
                <a:moveTo>
                  <a:pt x="876" y="3013"/>
                </a:moveTo>
                <a:lnTo>
                  <a:pt x="1146" y="3013"/>
                </a:lnTo>
                <a:lnTo>
                  <a:pt x="1241" y="3108"/>
                </a:lnTo>
                <a:cubicBezTo>
                  <a:pt x="1273" y="3124"/>
                  <a:pt x="1305" y="3140"/>
                  <a:pt x="1337" y="3140"/>
                </a:cubicBezTo>
                <a:lnTo>
                  <a:pt x="3452" y="3140"/>
                </a:lnTo>
                <a:cubicBezTo>
                  <a:pt x="3484" y="3140"/>
                  <a:pt x="3516" y="3124"/>
                  <a:pt x="3548" y="3108"/>
                </a:cubicBezTo>
                <a:lnTo>
                  <a:pt x="3643" y="3013"/>
                </a:lnTo>
                <a:lnTo>
                  <a:pt x="3914" y="3013"/>
                </a:lnTo>
                <a:cubicBezTo>
                  <a:pt x="3977" y="3013"/>
                  <a:pt x="4025" y="2965"/>
                  <a:pt x="4025" y="2917"/>
                </a:cubicBezTo>
                <a:lnTo>
                  <a:pt x="4025" y="2790"/>
                </a:lnTo>
                <a:cubicBezTo>
                  <a:pt x="4025" y="2726"/>
                  <a:pt x="3977" y="2679"/>
                  <a:pt x="3914" y="2679"/>
                </a:cubicBezTo>
                <a:lnTo>
                  <a:pt x="876" y="2679"/>
                </a:lnTo>
                <a:cubicBezTo>
                  <a:pt x="812" y="2679"/>
                  <a:pt x="764" y="2726"/>
                  <a:pt x="764" y="2790"/>
                </a:cubicBezTo>
                <a:lnTo>
                  <a:pt x="764" y="2917"/>
                </a:lnTo>
                <a:cubicBezTo>
                  <a:pt x="764" y="2965"/>
                  <a:pt x="812" y="3013"/>
                  <a:pt x="876" y="3013"/>
                </a:cubicBezTo>
                <a:close/>
                <a:moveTo>
                  <a:pt x="923" y="2838"/>
                </a:moveTo>
                <a:lnTo>
                  <a:pt x="3866" y="2838"/>
                </a:lnTo>
                <a:lnTo>
                  <a:pt x="3866" y="2854"/>
                </a:lnTo>
                <a:lnTo>
                  <a:pt x="3611" y="2854"/>
                </a:lnTo>
                <a:cubicBezTo>
                  <a:pt x="3596" y="2854"/>
                  <a:pt x="3563" y="2870"/>
                  <a:pt x="3548" y="2886"/>
                </a:cubicBezTo>
                <a:lnTo>
                  <a:pt x="3452" y="2981"/>
                </a:lnTo>
                <a:lnTo>
                  <a:pt x="1352" y="2997"/>
                </a:lnTo>
                <a:lnTo>
                  <a:pt x="1241" y="2886"/>
                </a:lnTo>
                <a:cubicBezTo>
                  <a:pt x="1225" y="2870"/>
                  <a:pt x="1194" y="2854"/>
                  <a:pt x="1178" y="2854"/>
                </a:cubicBezTo>
                <a:lnTo>
                  <a:pt x="923" y="2854"/>
                </a:lnTo>
                <a:close/>
                <a:moveTo>
                  <a:pt x="876" y="3872"/>
                </a:moveTo>
                <a:lnTo>
                  <a:pt x="1146" y="3872"/>
                </a:lnTo>
                <a:lnTo>
                  <a:pt x="1241" y="3967"/>
                </a:lnTo>
                <a:cubicBezTo>
                  <a:pt x="1273" y="3983"/>
                  <a:pt x="1305" y="3999"/>
                  <a:pt x="1337" y="3999"/>
                </a:cubicBezTo>
                <a:lnTo>
                  <a:pt x="3452" y="3999"/>
                </a:lnTo>
                <a:cubicBezTo>
                  <a:pt x="3484" y="3999"/>
                  <a:pt x="3516" y="3983"/>
                  <a:pt x="3548" y="3967"/>
                </a:cubicBezTo>
                <a:lnTo>
                  <a:pt x="3643" y="3872"/>
                </a:lnTo>
                <a:lnTo>
                  <a:pt x="3914" y="3872"/>
                </a:lnTo>
                <a:cubicBezTo>
                  <a:pt x="3977" y="3872"/>
                  <a:pt x="4025" y="3824"/>
                  <a:pt x="4025" y="3761"/>
                </a:cubicBezTo>
                <a:lnTo>
                  <a:pt x="4025" y="3633"/>
                </a:lnTo>
                <a:cubicBezTo>
                  <a:pt x="4025" y="3586"/>
                  <a:pt x="3977" y="3538"/>
                  <a:pt x="3914" y="3538"/>
                </a:cubicBezTo>
                <a:lnTo>
                  <a:pt x="876" y="3538"/>
                </a:lnTo>
                <a:cubicBezTo>
                  <a:pt x="812" y="3538"/>
                  <a:pt x="764" y="3586"/>
                  <a:pt x="764" y="3633"/>
                </a:cubicBezTo>
                <a:lnTo>
                  <a:pt x="764" y="3761"/>
                </a:lnTo>
                <a:cubicBezTo>
                  <a:pt x="764" y="3824"/>
                  <a:pt x="812" y="3872"/>
                  <a:pt x="876" y="3872"/>
                </a:cubicBezTo>
                <a:close/>
                <a:moveTo>
                  <a:pt x="923" y="3697"/>
                </a:moveTo>
                <a:lnTo>
                  <a:pt x="3866" y="3697"/>
                </a:lnTo>
                <a:lnTo>
                  <a:pt x="3866" y="3713"/>
                </a:lnTo>
                <a:lnTo>
                  <a:pt x="3611" y="3713"/>
                </a:lnTo>
                <a:cubicBezTo>
                  <a:pt x="3596" y="3713"/>
                  <a:pt x="3563" y="3729"/>
                  <a:pt x="3548" y="3744"/>
                </a:cubicBezTo>
                <a:lnTo>
                  <a:pt x="3452" y="3840"/>
                </a:lnTo>
                <a:lnTo>
                  <a:pt x="1352" y="3840"/>
                </a:lnTo>
                <a:lnTo>
                  <a:pt x="1241" y="3744"/>
                </a:lnTo>
                <a:cubicBezTo>
                  <a:pt x="1225" y="3729"/>
                  <a:pt x="1194" y="3713"/>
                  <a:pt x="1178" y="3713"/>
                </a:cubicBezTo>
                <a:lnTo>
                  <a:pt x="923" y="3713"/>
                </a:lnTo>
                <a:close/>
                <a:moveTo>
                  <a:pt x="1" y="929"/>
                </a:moveTo>
                <a:lnTo>
                  <a:pt x="1" y="1327"/>
                </a:lnTo>
                <a:cubicBezTo>
                  <a:pt x="1" y="1390"/>
                  <a:pt x="48" y="1438"/>
                  <a:pt x="96" y="1438"/>
                </a:cubicBezTo>
                <a:lnTo>
                  <a:pt x="4677" y="1438"/>
                </a:lnTo>
                <a:cubicBezTo>
                  <a:pt x="4724" y="1438"/>
                  <a:pt x="4772" y="1390"/>
                  <a:pt x="4772" y="1327"/>
                </a:cubicBezTo>
                <a:lnTo>
                  <a:pt x="4772" y="1024"/>
                </a:lnTo>
                <a:cubicBezTo>
                  <a:pt x="4772" y="547"/>
                  <a:pt x="4375" y="150"/>
                  <a:pt x="3897" y="150"/>
                </a:cubicBezTo>
                <a:lnTo>
                  <a:pt x="2387" y="150"/>
                </a:lnTo>
                <a:cubicBezTo>
                  <a:pt x="2355" y="150"/>
                  <a:pt x="2323" y="166"/>
                  <a:pt x="2291" y="181"/>
                </a:cubicBezTo>
                <a:lnTo>
                  <a:pt x="1718" y="643"/>
                </a:lnTo>
                <a:lnTo>
                  <a:pt x="207" y="6"/>
                </a:lnTo>
                <a:cubicBezTo>
                  <a:pt x="160" y="-9"/>
                  <a:pt x="96" y="6"/>
                  <a:pt x="80" y="54"/>
                </a:cubicBezTo>
                <a:lnTo>
                  <a:pt x="16" y="181"/>
                </a:lnTo>
                <a:cubicBezTo>
                  <a:pt x="-15" y="245"/>
                  <a:pt x="1" y="309"/>
                  <a:pt x="48" y="325"/>
                </a:cubicBezTo>
                <a:lnTo>
                  <a:pt x="828" y="738"/>
                </a:lnTo>
                <a:lnTo>
                  <a:pt x="191" y="738"/>
                </a:lnTo>
                <a:cubicBezTo>
                  <a:pt x="80" y="738"/>
                  <a:pt x="1" y="818"/>
                  <a:pt x="1" y="929"/>
                </a:cubicBezTo>
                <a:close/>
                <a:moveTo>
                  <a:pt x="1178" y="754"/>
                </a:moveTo>
                <a:lnTo>
                  <a:pt x="176" y="214"/>
                </a:lnTo>
                <a:lnTo>
                  <a:pt x="191" y="166"/>
                </a:lnTo>
                <a:lnTo>
                  <a:pt x="1703" y="802"/>
                </a:lnTo>
                <a:cubicBezTo>
                  <a:pt x="1734" y="818"/>
                  <a:pt x="1766" y="818"/>
                  <a:pt x="1782" y="786"/>
                </a:cubicBezTo>
                <a:lnTo>
                  <a:pt x="2387" y="309"/>
                </a:lnTo>
                <a:lnTo>
                  <a:pt x="3897" y="309"/>
                </a:lnTo>
                <a:cubicBezTo>
                  <a:pt x="4295" y="309"/>
                  <a:pt x="4614" y="627"/>
                  <a:pt x="4614" y="1024"/>
                </a:cubicBezTo>
                <a:lnTo>
                  <a:pt x="4614" y="1279"/>
                </a:lnTo>
                <a:lnTo>
                  <a:pt x="160" y="1279"/>
                </a:lnTo>
                <a:lnTo>
                  <a:pt x="160" y="929"/>
                </a:lnTo>
                <a:cubicBezTo>
                  <a:pt x="160" y="913"/>
                  <a:pt x="176" y="898"/>
                  <a:pt x="191" y="898"/>
                </a:cubicBezTo>
                <a:lnTo>
                  <a:pt x="1146" y="898"/>
                </a:lnTo>
                <a:cubicBezTo>
                  <a:pt x="1178" y="898"/>
                  <a:pt x="1209" y="866"/>
                  <a:pt x="1225" y="834"/>
                </a:cubicBezTo>
                <a:cubicBezTo>
                  <a:pt x="1225" y="802"/>
                  <a:pt x="1209" y="770"/>
                  <a:pt x="1178" y="75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Freeform: Shape 8">
            <a:extLst>
              <a:ext uri="{FF2B5EF4-FFF2-40B4-BE49-F238E27FC236}">
                <a16:creationId xmlns:a16="http://schemas.microsoft.com/office/drawing/2014/main" id="{51DB47C5-8B9A-6147-9631-37262B612F9C}"/>
              </a:ext>
            </a:extLst>
          </p:cNvPr>
          <p:cNvSpPr/>
          <p:nvPr/>
        </p:nvSpPr>
        <p:spPr>
          <a:xfrm>
            <a:off x="1797945" y="9574478"/>
            <a:ext cx="1740600" cy="1969560"/>
          </a:xfrm>
          <a:custGeom>
            <a:avLst/>
            <a:gdLst/>
            <a:ahLst/>
            <a:cxnLst>
              <a:cxn ang="3cd4">
                <a:pos x="hc" y="t"/>
              </a:cxn>
              <a:cxn ang="cd2">
                <a:pos x="l" y="vc"/>
              </a:cxn>
              <a:cxn ang="cd4">
                <a:pos x="hc" y="b"/>
              </a:cxn>
              <a:cxn ang="0">
                <a:pos x="r" y="vc"/>
              </a:cxn>
            </a:cxnLst>
            <a:rect l="l" t="t" r="r" b="b"/>
            <a:pathLst>
              <a:path w="4836" h="5472">
                <a:moveTo>
                  <a:pt x="1702" y="3229"/>
                </a:moveTo>
                <a:cubicBezTo>
                  <a:pt x="1654" y="3229"/>
                  <a:pt x="1623" y="3262"/>
                  <a:pt x="1623" y="3309"/>
                </a:cubicBezTo>
                <a:lnTo>
                  <a:pt x="1623" y="3850"/>
                </a:lnTo>
                <a:cubicBezTo>
                  <a:pt x="1623" y="3881"/>
                  <a:pt x="1654" y="3914"/>
                  <a:pt x="1702" y="3914"/>
                </a:cubicBezTo>
                <a:lnTo>
                  <a:pt x="4215" y="3914"/>
                </a:lnTo>
                <a:cubicBezTo>
                  <a:pt x="4263" y="3914"/>
                  <a:pt x="4295" y="3881"/>
                  <a:pt x="4295" y="3850"/>
                </a:cubicBezTo>
                <a:lnTo>
                  <a:pt x="4295" y="3309"/>
                </a:lnTo>
                <a:cubicBezTo>
                  <a:pt x="4295" y="3262"/>
                  <a:pt x="4263" y="3229"/>
                  <a:pt x="4215" y="3229"/>
                </a:cubicBezTo>
                <a:close/>
                <a:moveTo>
                  <a:pt x="4136" y="3771"/>
                </a:moveTo>
                <a:lnTo>
                  <a:pt x="1782" y="3771"/>
                </a:lnTo>
                <a:lnTo>
                  <a:pt x="1782" y="3389"/>
                </a:lnTo>
                <a:lnTo>
                  <a:pt x="4136" y="3389"/>
                </a:lnTo>
                <a:close/>
                <a:moveTo>
                  <a:pt x="4215" y="0"/>
                </a:moveTo>
                <a:lnTo>
                  <a:pt x="1527" y="0"/>
                </a:lnTo>
                <a:cubicBezTo>
                  <a:pt x="1479" y="0"/>
                  <a:pt x="1448" y="33"/>
                  <a:pt x="1448" y="80"/>
                </a:cubicBezTo>
                <a:lnTo>
                  <a:pt x="1448" y="2689"/>
                </a:lnTo>
                <a:lnTo>
                  <a:pt x="1002" y="2689"/>
                </a:lnTo>
                <a:cubicBezTo>
                  <a:pt x="923" y="2514"/>
                  <a:pt x="748" y="2387"/>
                  <a:pt x="541" y="2387"/>
                </a:cubicBezTo>
                <a:cubicBezTo>
                  <a:pt x="239" y="2387"/>
                  <a:pt x="0" y="2625"/>
                  <a:pt x="0" y="2911"/>
                </a:cubicBezTo>
                <a:lnTo>
                  <a:pt x="0" y="4947"/>
                </a:lnTo>
                <a:cubicBezTo>
                  <a:pt x="0" y="5234"/>
                  <a:pt x="239" y="5472"/>
                  <a:pt x="541" y="5472"/>
                </a:cubicBezTo>
                <a:cubicBezTo>
                  <a:pt x="748" y="5472"/>
                  <a:pt x="923" y="5361"/>
                  <a:pt x="1002" y="5170"/>
                </a:cubicBezTo>
                <a:lnTo>
                  <a:pt x="4486" y="5170"/>
                </a:lnTo>
                <a:cubicBezTo>
                  <a:pt x="4708" y="5170"/>
                  <a:pt x="4836" y="4916"/>
                  <a:pt x="4836" y="4677"/>
                </a:cubicBezTo>
                <a:lnTo>
                  <a:pt x="4836" y="3102"/>
                </a:lnTo>
                <a:cubicBezTo>
                  <a:pt x="4836" y="2848"/>
                  <a:pt x="4693" y="2689"/>
                  <a:pt x="4486" y="2689"/>
                </a:cubicBezTo>
                <a:lnTo>
                  <a:pt x="4295" y="2689"/>
                </a:lnTo>
                <a:lnTo>
                  <a:pt x="4295" y="80"/>
                </a:lnTo>
                <a:cubicBezTo>
                  <a:pt x="4295" y="33"/>
                  <a:pt x="4263" y="0"/>
                  <a:pt x="4215" y="0"/>
                </a:cubicBezTo>
                <a:close/>
                <a:moveTo>
                  <a:pt x="907" y="4947"/>
                </a:moveTo>
                <a:cubicBezTo>
                  <a:pt x="907" y="5154"/>
                  <a:pt x="732" y="5313"/>
                  <a:pt x="541" y="5313"/>
                </a:cubicBezTo>
                <a:cubicBezTo>
                  <a:pt x="334" y="5313"/>
                  <a:pt x="160" y="5154"/>
                  <a:pt x="160" y="4947"/>
                </a:cubicBezTo>
                <a:lnTo>
                  <a:pt x="160" y="2911"/>
                </a:lnTo>
                <a:cubicBezTo>
                  <a:pt x="160" y="2720"/>
                  <a:pt x="334" y="2545"/>
                  <a:pt x="541" y="2545"/>
                </a:cubicBezTo>
                <a:cubicBezTo>
                  <a:pt x="732" y="2545"/>
                  <a:pt x="907" y="2720"/>
                  <a:pt x="907" y="2911"/>
                </a:cubicBezTo>
                <a:close/>
                <a:moveTo>
                  <a:pt x="1607" y="160"/>
                </a:moveTo>
                <a:lnTo>
                  <a:pt x="4136" y="160"/>
                </a:lnTo>
                <a:lnTo>
                  <a:pt x="4136" y="2689"/>
                </a:lnTo>
                <a:lnTo>
                  <a:pt x="1607" y="2689"/>
                </a:lnTo>
                <a:close/>
                <a:moveTo>
                  <a:pt x="4486" y="2848"/>
                </a:moveTo>
                <a:cubicBezTo>
                  <a:pt x="4661" y="2848"/>
                  <a:pt x="4677" y="3023"/>
                  <a:pt x="4677" y="3102"/>
                </a:cubicBezTo>
                <a:lnTo>
                  <a:pt x="4677" y="4677"/>
                </a:lnTo>
                <a:cubicBezTo>
                  <a:pt x="4677" y="4804"/>
                  <a:pt x="4613" y="5027"/>
                  <a:pt x="4486" y="5027"/>
                </a:cubicBezTo>
                <a:lnTo>
                  <a:pt x="1066" y="5027"/>
                </a:lnTo>
                <a:lnTo>
                  <a:pt x="1066" y="4947"/>
                </a:lnTo>
                <a:lnTo>
                  <a:pt x="1066" y="2911"/>
                </a:lnTo>
                <a:lnTo>
                  <a:pt x="1066" y="2848"/>
                </a:lnTo>
                <a:lnTo>
                  <a:pt x="1527" y="2848"/>
                </a:lnTo>
                <a:lnTo>
                  <a:pt x="4215" y="2848"/>
                </a:lnTo>
                <a:close/>
                <a:moveTo>
                  <a:pt x="3770" y="796"/>
                </a:moveTo>
                <a:lnTo>
                  <a:pt x="1973" y="796"/>
                </a:lnTo>
                <a:cubicBezTo>
                  <a:pt x="1925" y="796"/>
                  <a:pt x="1893" y="843"/>
                  <a:pt x="1893" y="875"/>
                </a:cubicBezTo>
                <a:cubicBezTo>
                  <a:pt x="1893" y="923"/>
                  <a:pt x="1925" y="955"/>
                  <a:pt x="1973" y="955"/>
                </a:cubicBezTo>
                <a:lnTo>
                  <a:pt x="3770" y="955"/>
                </a:lnTo>
                <a:cubicBezTo>
                  <a:pt x="3802" y="955"/>
                  <a:pt x="3850" y="923"/>
                  <a:pt x="3850" y="875"/>
                </a:cubicBezTo>
                <a:cubicBezTo>
                  <a:pt x="3850" y="843"/>
                  <a:pt x="3802" y="796"/>
                  <a:pt x="3770" y="796"/>
                </a:cubicBezTo>
                <a:close/>
                <a:moveTo>
                  <a:pt x="3770" y="1337"/>
                </a:moveTo>
                <a:lnTo>
                  <a:pt x="1973" y="1337"/>
                </a:lnTo>
                <a:cubicBezTo>
                  <a:pt x="1925" y="1337"/>
                  <a:pt x="1893" y="1369"/>
                  <a:pt x="1893" y="1416"/>
                </a:cubicBezTo>
                <a:cubicBezTo>
                  <a:pt x="1893" y="1464"/>
                  <a:pt x="1925" y="1496"/>
                  <a:pt x="1973" y="1496"/>
                </a:cubicBezTo>
                <a:lnTo>
                  <a:pt x="3770" y="1496"/>
                </a:lnTo>
                <a:cubicBezTo>
                  <a:pt x="3802" y="1496"/>
                  <a:pt x="3850" y="1464"/>
                  <a:pt x="3850" y="1416"/>
                </a:cubicBezTo>
                <a:cubicBezTo>
                  <a:pt x="3850" y="1369"/>
                  <a:pt x="3802" y="1337"/>
                  <a:pt x="3770" y="1337"/>
                </a:cubicBezTo>
                <a:close/>
                <a:moveTo>
                  <a:pt x="3770" y="1878"/>
                </a:moveTo>
                <a:lnTo>
                  <a:pt x="1973" y="1878"/>
                </a:lnTo>
                <a:cubicBezTo>
                  <a:pt x="1925" y="1878"/>
                  <a:pt x="1893" y="1909"/>
                  <a:pt x="1893" y="1957"/>
                </a:cubicBezTo>
                <a:cubicBezTo>
                  <a:pt x="1893" y="2005"/>
                  <a:pt x="1925" y="2036"/>
                  <a:pt x="1973" y="2036"/>
                </a:cubicBezTo>
                <a:lnTo>
                  <a:pt x="3770" y="2036"/>
                </a:lnTo>
                <a:cubicBezTo>
                  <a:pt x="3802" y="2036"/>
                  <a:pt x="3850" y="2005"/>
                  <a:pt x="3850" y="1957"/>
                </a:cubicBezTo>
                <a:cubicBezTo>
                  <a:pt x="3850" y="1909"/>
                  <a:pt x="3802" y="1878"/>
                  <a:pt x="3770" y="187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9">
            <a:extLst>
              <a:ext uri="{FF2B5EF4-FFF2-40B4-BE49-F238E27FC236}">
                <a16:creationId xmlns:a16="http://schemas.microsoft.com/office/drawing/2014/main" id="{F5E200C0-FA02-574E-99C0-8B4FF85A4018}"/>
              </a:ext>
            </a:extLst>
          </p:cNvPr>
          <p:cNvSpPr/>
          <p:nvPr/>
        </p:nvSpPr>
        <p:spPr>
          <a:xfrm>
            <a:off x="5865987" y="9866798"/>
            <a:ext cx="1843199" cy="1465560"/>
          </a:xfrm>
          <a:custGeom>
            <a:avLst/>
            <a:gdLst/>
            <a:ahLst/>
            <a:cxnLst>
              <a:cxn ang="3cd4">
                <a:pos x="hc" y="t"/>
              </a:cxn>
              <a:cxn ang="cd2">
                <a:pos x="l" y="vc"/>
              </a:cxn>
              <a:cxn ang="cd4">
                <a:pos x="hc" y="b"/>
              </a:cxn>
              <a:cxn ang="0">
                <a:pos x="r" y="vc"/>
              </a:cxn>
            </a:cxnLst>
            <a:rect l="l" t="t" r="r" b="b"/>
            <a:pathLst>
              <a:path w="5121" h="4072">
                <a:moveTo>
                  <a:pt x="5121" y="986"/>
                </a:moveTo>
                <a:cubicBezTo>
                  <a:pt x="5121" y="970"/>
                  <a:pt x="5106" y="954"/>
                  <a:pt x="5106" y="954"/>
                </a:cubicBezTo>
                <a:cubicBezTo>
                  <a:pt x="5106" y="79"/>
                  <a:pt x="5106" y="79"/>
                  <a:pt x="5106" y="79"/>
                </a:cubicBezTo>
                <a:cubicBezTo>
                  <a:pt x="5106" y="31"/>
                  <a:pt x="5074" y="0"/>
                  <a:pt x="5026" y="0"/>
                </a:cubicBezTo>
                <a:cubicBezTo>
                  <a:pt x="95" y="0"/>
                  <a:pt x="95" y="0"/>
                  <a:pt x="95" y="0"/>
                </a:cubicBezTo>
                <a:cubicBezTo>
                  <a:pt x="48" y="0"/>
                  <a:pt x="16" y="31"/>
                  <a:pt x="16" y="79"/>
                </a:cubicBezTo>
                <a:cubicBezTo>
                  <a:pt x="16" y="954"/>
                  <a:pt x="16" y="954"/>
                  <a:pt x="16" y="954"/>
                </a:cubicBezTo>
                <a:cubicBezTo>
                  <a:pt x="16" y="954"/>
                  <a:pt x="0" y="970"/>
                  <a:pt x="0" y="986"/>
                </a:cubicBezTo>
                <a:cubicBezTo>
                  <a:pt x="0" y="1002"/>
                  <a:pt x="16" y="1018"/>
                  <a:pt x="16" y="1034"/>
                </a:cubicBezTo>
                <a:cubicBezTo>
                  <a:pt x="16" y="1956"/>
                  <a:pt x="16" y="1956"/>
                  <a:pt x="16" y="1956"/>
                </a:cubicBezTo>
                <a:cubicBezTo>
                  <a:pt x="16" y="1972"/>
                  <a:pt x="0" y="1988"/>
                  <a:pt x="0" y="2004"/>
                </a:cubicBezTo>
                <a:cubicBezTo>
                  <a:pt x="0" y="2020"/>
                  <a:pt x="16" y="2036"/>
                  <a:pt x="16" y="2051"/>
                </a:cubicBezTo>
                <a:cubicBezTo>
                  <a:pt x="16" y="2974"/>
                  <a:pt x="16" y="2974"/>
                  <a:pt x="16" y="2974"/>
                </a:cubicBezTo>
                <a:cubicBezTo>
                  <a:pt x="16" y="2990"/>
                  <a:pt x="0" y="3006"/>
                  <a:pt x="0" y="3022"/>
                </a:cubicBezTo>
                <a:cubicBezTo>
                  <a:pt x="0" y="3038"/>
                  <a:pt x="16" y="3054"/>
                  <a:pt x="16" y="3069"/>
                </a:cubicBezTo>
                <a:cubicBezTo>
                  <a:pt x="16" y="3992"/>
                  <a:pt x="16" y="3992"/>
                  <a:pt x="16" y="3992"/>
                </a:cubicBezTo>
                <a:cubicBezTo>
                  <a:pt x="16" y="4040"/>
                  <a:pt x="48" y="4072"/>
                  <a:pt x="95" y="4072"/>
                </a:cubicBezTo>
                <a:cubicBezTo>
                  <a:pt x="5026" y="4072"/>
                  <a:pt x="5026" y="4072"/>
                  <a:pt x="5026" y="4072"/>
                </a:cubicBezTo>
                <a:cubicBezTo>
                  <a:pt x="5074" y="4072"/>
                  <a:pt x="5106" y="4040"/>
                  <a:pt x="5106" y="3992"/>
                </a:cubicBezTo>
                <a:cubicBezTo>
                  <a:pt x="5106" y="3069"/>
                  <a:pt x="5106" y="3069"/>
                  <a:pt x="5106" y="3069"/>
                </a:cubicBezTo>
                <a:cubicBezTo>
                  <a:pt x="5106" y="3054"/>
                  <a:pt x="5121" y="3038"/>
                  <a:pt x="5121" y="3022"/>
                </a:cubicBezTo>
                <a:cubicBezTo>
                  <a:pt x="5121" y="3006"/>
                  <a:pt x="5106" y="2990"/>
                  <a:pt x="5106" y="2974"/>
                </a:cubicBezTo>
                <a:cubicBezTo>
                  <a:pt x="5106" y="2051"/>
                  <a:pt x="5106" y="2051"/>
                  <a:pt x="5106" y="2051"/>
                </a:cubicBezTo>
                <a:cubicBezTo>
                  <a:pt x="5106" y="2036"/>
                  <a:pt x="5121" y="2020"/>
                  <a:pt x="5121" y="2004"/>
                </a:cubicBezTo>
                <a:cubicBezTo>
                  <a:pt x="5121" y="1988"/>
                  <a:pt x="5106" y="1972"/>
                  <a:pt x="5106" y="1956"/>
                </a:cubicBezTo>
                <a:cubicBezTo>
                  <a:pt x="5106" y="1034"/>
                  <a:pt x="5106" y="1034"/>
                  <a:pt x="5106" y="1034"/>
                </a:cubicBezTo>
                <a:cubicBezTo>
                  <a:pt x="5106" y="1018"/>
                  <a:pt x="5121" y="1002"/>
                  <a:pt x="5121" y="986"/>
                </a:cubicBezTo>
                <a:close/>
                <a:moveTo>
                  <a:pt x="3404" y="1081"/>
                </a:moveTo>
                <a:cubicBezTo>
                  <a:pt x="3420" y="1081"/>
                  <a:pt x="3436" y="1081"/>
                  <a:pt x="3451" y="1066"/>
                </a:cubicBezTo>
                <a:cubicBezTo>
                  <a:pt x="4183" y="1066"/>
                  <a:pt x="4183" y="1066"/>
                  <a:pt x="4183" y="1066"/>
                </a:cubicBezTo>
                <a:cubicBezTo>
                  <a:pt x="4183" y="1924"/>
                  <a:pt x="4183" y="1924"/>
                  <a:pt x="4183" y="1924"/>
                </a:cubicBezTo>
                <a:cubicBezTo>
                  <a:pt x="2624" y="1924"/>
                  <a:pt x="2624" y="1924"/>
                  <a:pt x="2624" y="1924"/>
                </a:cubicBezTo>
                <a:cubicBezTo>
                  <a:pt x="2624" y="1066"/>
                  <a:pt x="2624" y="1066"/>
                  <a:pt x="2624" y="1066"/>
                </a:cubicBezTo>
                <a:cubicBezTo>
                  <a:pt x="3372" y="1066"/>
                  <a:pt x="3372" y="1066"/>
                  <a:pt x="3372" y="1066"/>
                </a:cubicBezTo>
                <a:cubicBezTo>
                  <a:pt x="3388" y="1081"/>
                  <a:pt x="3388" y="1081"/>
                  <a:pt x="3404" y="1081"/>
                </a:cubicBezTo>
                <a:close/>
                <a:moveTo>
                  <a:pt x="3340" y="2942"/>
                </a:moveTo>
                <a:cubicBezTo>
                  <a:pt x="1781" y="2942"/>
                  <a:pt x="1781" y="2942"/>
                  <a:pt x="1781" y="2942"/>
                </a:cubicBezTo>
                <a:cubicBezTo>
                  <a:pt x="1797" y="2942"/>
                  <a:pt x="1797" y="2926"/>
                  <a:pt x="1797" y="2926"/>
                </a:cubicBezTo>
                <a:cubicBezTo>
                  <a:pt x="1797" y="2084"/>
                  <a:pt x="1797" y="2084"/>
                  <a:pt x="1797" y="2084"/>
                </a:cubicBezTo>
                <a:cubicBezTo>
                  <a:pt x="3324" y="2084"/>
                  <a:pt x="3324" y="2084"/>
                  <a:pt x="3324" y="2084"/>
                </a:cubicBezTo>
                <a:cubicBezTo>
                  <a:pt x="3324" y="2926"/>
                  <a:pt x="3324" y="2926"/>
                  <a:pt x="3324" y="2926"/>
                </a:cubicBezTo>
                <a:cubicBezTo>
                  <a:pt x="3324" y="2926"/>
                  <a:pt x="3324" y="2942"/>
                  <a:pt x="3340" y="2942"/>
                </a:cubicBezTo>
                <a:close/>
                <a:moveTo>
                  <a:pt x="1797" y="159"/>
                </a:moveTo>
                <a:cubicBezTo>
                  <a:pt x="3324" y="159"/>
                  <a:pt x="3324" y="159"/>
                  <a:pt x="3324" y="159"/>
                </a:cubicBezTo>
                <a:cubicBezTo>
                  <a:pt x="3324" y="906"/>
                  <a:pt x="3324" y="906"/>
                  <a:pt x="3324" y="906"/>
                </a:cubicBezTo>
                <a:cubicBezTo>
                  <a:pt x="1797" y="906"/>
                  <a:pt x="1797" y="906"/>
                  <a:pt x="1797" y="906"/>
                </a:cubicBezTo>
                <a:close/>
                <a:moveTo>
                  <a:pt x="1718" y="1081"/>
                </a:moveTo>
                <a:cubicBezTo>
                  <a:pt x="1734" y="1081"/>
                  <a:pt x="1734" y="1081"/>
                  <a:pt x="1749" y="1066"/>
                </a:cubicBezTo>
                <a:cubicBezTo>
                  <a:pt x="2465" y="1066"/>
                  <a:pt x="2465" y="1066"/>
                  <a:pt x="2465" y="1066"/>
                </a:cubicBezTo>
                <a:cubicBezTo>
                  <a:pt x="2465" y="1924"/>
                  <a:pt x="2465" y="1924"/>
                  <a:pt x="2465" y="1924"/>
                </a:cubicBezTo>
                <a:lnTo>
                  <a:pt x="2481" y="1924"/>
                </a:lnTo>
                <a:cubicBezTo>
                  <a:pt x="939" y="1924"/>
                  <a:pt x="939" y="1924"/>
                  <a:pt x="939" y="1924"/>
                </a:cubicBezTo>
                <a:cubicBezTo>
                  <a:pt x="939" y="1066"/>
                  <a:pt x="939" y="1066"/>
                  <a:pt x="939" y="1066"/>
                </a:cubicBezTo>
                <a:cubicBezTo>
                  <a:pt x="1670" y="1066"/>
                  <a:pt x="1670" y="1066"/>
                  <a:pt x="1670" y="1066"/>
                </a:cubicBezTo>
                <a:cubicBezTo>
                  <a:pt x="1686" y="1081"/>
                  <a:pt x="1702" y="1081"/>
                  <a:pt x="1718" y="1081"/>
                </a:cubicBezTo>
                <a:close/>
                <a:moveTo>
                  <a:pt x="175" y="159"/>
                </a:moveTo>
                <a:cubicBezTo>
                  <a:pt x="1638" y="159"/>
                  <a:pt x="1638" y="159"/>
                  <a:pt x="1638" y="159"/>
                </a:cubicBezTo>
                <a:cubicBezTo>
                  <a:pt x="1638" y="906"/>
                  <a:pt x="1638" y="906"/>
                  <a:pt x="1638" y="906"/>
                </a:cubicBezTo>
                <a:cubicBezTo>
                  <a:pt x="175" y="906"/>
                  <a:pt x="175" y="906"/>
                  <a:pt x="175" y="906"/>
                </a:cubicBezTo>
                <a:close/>
                <a:moveTo>
                  <a:pt x="175" y="1066"/>
                </a:moveTo>
                <a:cubicBezTo>
                  <a:pt x="779" y="1066"/>
                  <a:pt x="779" y="1066"/>
                  <a:pt x="779" y="1066"/>
                </a:cubicBezTo>
                <a:cubicBezTo>
                  <a:pt x="779" y="1924"/>
                  <a:pt x="779" y="1924"/>
                  <a:pt x="779" y="1924"/>
                </a:cubicBezTo>
                <a:cubicBezTo>
                  <a:pt x="175" y="1924"/>
                  <a:pt x="175" y="1924"/>
                  <a:pt x="175" y="1924"/>
                </a:cubicBezTo>
                <a:close/>
                <a:moveTo>
                  <a:pt x="175" y="2084"/>
                </a:moveTo>
                <a:cubicBezTo>
                  <a:pt x="1638" y="2084"/>
                  <a:pt x="1638" y="2084"/>
                  <a:pt x="1638" y="2084"/>
                </a:cubicBezTo>
                <a:cubicBezTo>
                  <a:pt x="1638" y="2926"/>
                  <a:pt x="1638" y="2926"/>
                  <a:pt x="1638" y="2926"/>
                </a:cubicBezTo>
                <a:lnTo>
                  <a:pt x="1638" y="2942"/>
                </a:lnTo>
                <a:cubicBezTo>
                  <a:pt x="175" y="2942"/>
                  <a:pt x="175" y="2942"/>
                  <a:pt x="175" y="2942"/>
                </a:cubicBezTo>
                <a:close/>
                <a:moveTo>
                  <a:pt x="779" y="3913"/>
                </a:moveTo>
                <a:cubicBezTo>
                  <a:pt x="175" y="3913"/>
                  <a:pt x="175" y="3913"/>
                  <a:pt x="175" y="3913"/>
                </a:cubicBezTo>
                <a:cubicBezTo>
                  <a:pt x="175" y="3102"/>
                  <a:pt x="175" y="3102"/>
                  <a:pt x="175" y="3102"/>
                </a:cubicBezTo>
                <a:cubicBezTo>
                  <a:pt x="779" y="3102"/>
                  <a:pt x="779" y="3102"/>
                  <a:pt x="779" y="3102"/>
                </a:cubicBezTo>
                <a:close/>
                <a:moveTo>
                  <a:pt x="2465" y="3913"/>
                </a:moveTo>
                <a:cubicBezTo>
                  <a:pt x="939" y="3913"/>
                  <a:pt x="939" y="3913"/>
                  <a:pt x="939" y="3913"/>
                </a:cubicBezTo>
                <a:cubicBezTo>
                  <a:pt x="939" y="3102"/>
                  <a:pt x="939" y="3102"/>
                  <a:pt x="939" y="3102"/>
                </a:cubicBezTo>
                <a:cubicBezTo>
                  <a:pt x="2465" y="3102"/>
                  <a:pt x="2465" y="3102"/>
                  <a:pt x="2465" y="3102"/>
                </a:cubicBezTo>
                <a:close/>
                <a:moveTo>
                  <a:pt x="4183" y="3913"/>
                </a:moveTo>
                <a:cubicBezTo>
                  <a:pt x="2624" y="3913"/>
                  <a:pt x="2624" y="3913"/>
                  <a:pt x="2624" y="3913"/>
                </a:cubicBezTo>
                <a:cubicBezTo>
                  <a:pt x="2624" y="3102"/>
                  <a:pt x="2624" y="3102"/>
                  <a:pt x="2624" y="3102"/>
                </a:cubicBezTo>
                <a:cubicBezTo>
                  <a:pt x="4183" y="3102"/>
                  <a:pt x="4183" y="3102"/>
                  <a:pt x="4183" y="3102"/>
                </a:cubicBezTo>
                <a:close/>
                <a:moveTo>
                  <a:pt x="4947" y="3913"/>
                </a:moveTo>
                <a:cubicBezTo>
                  <a:pt x="4342" y="3913"/>
                  <a:pt x="4342" y="3913"/>
                  <a:pt x="4342" y="3913"/>
                </a:cubicBezTo>
                <a:cubicBezTo>
                  <a:pt x="4342" y="3102"/>
                  <a:pt x="4342" y="3102"/>
                  <a:pt x="4342" y="3102"/>
                </a:cubicBezTo>
                <a:cubicBezTo>
                  <a:pt x="4947" y="3102"/>
                  <a:pt x="4947" y="3102"/>
                  <a:pt x="4947" y="3102"/>
                </a:cubicBezTo>
                <a:close/>
                <a:moveTo>
                  <a:pt x="4947" y="2942"/>
                </a:moveTo>
                <a:cubicBezTo>
                  <a:pt x="3483" y="2942"/>
                  <a:pt x="3483" y="2942"/>
                  <a:pt x="3483" y="2942"/>
                </a:cubicBezTo>
                <a:lnTo>
                  <a:pt x="3483" y="2926"/>
                </a:lnTo>
                <a:cubicBezTo>
                  <a:pt x="3483" y="2084"/>
                  <a:pt x="3483" y="2084"/>
                  <a:pt x="3483" y="2084"/>
                </a:cubicBezTo>
                <a:cubicBezTo>
                  <a:pt x="4947" y="2084"/>
                  <a:pt x="4947" y="2084"/>
                  <a:pt x="4947" y="2084"/>
                </a:cubicBezTo>
                <a:close/>
                <a:moveTo>
                  <a:pt x="4947" y="1924"/>
                </a:moveTo>
                <a:cubicBezTo>
                  <a:pt x="4342" y="1924"/>
                  <a:pt x="4342" y="1924"/>
                  <a:pt x="4342" y="1924"/>
                </a:cubicBezTo>
                <a:cubicBezTo>
                  <a:pt x="4342" y="1066"/>
                  <a:pt x="4342" y="1066"/>
                  <a:pt x="4342" y="1066"/>
                </a:cubicBezTo>
                <a:cubicBezTo>
                  <a:pt x="4947" y="1066"/>
                  <a:pt x="4947" y="1066"/>
                  <a:pt x="4947" y="1066"/>
                </a:cubicBezTo>
                <a:close/>
                <a:moveTo>
                  <a:pt x="4947" y="906"/>
                </a:moveTo>
                <a:cubicBezTo>
                  <a:pt x="3483" y="906"/>
                  <a:pt x="3483" y="906"/>
                  <a:pt x="3483" y="906"/>
                </a:cubicBezTo>
                <a:cubicBezTo>
                  <a:pt x="3483" y="159"/>
                  <a:pt x="3483" y="159"/>
                  <a:pt x="3483" y="159"/>
                </a:cubicBezTo>
                <a:cubicBezTo>
                  <a:pt x="4947" y="159"/>
                  <a:pt x="4947" y="159"/>
                  <a:pt x="4947" y="1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3" name="Freeform: Shape 10">
            <a:extLst>
              <a:ext uri="{FF2B5EF4-FFF2-40B4-BE49-F238E27FC236}">
                <a16:creationId xmlns:a16="http://schemas.microsoft.com/office/drawing/2014/main" id="{28E770A4-1875-BA41-AAD3-A99144869862}"/>
              </a:ext>
            </a:extLst>
          </p:cNvPr>
          <p:cNvSpPr/>
          <p:nvPr/>
        </p:nvSpPr>
        <p:spPr>
          <a:xfrm>
            <a:off x="9840798" y="9792278"/>
            <a:ext cx="1980720" cy="1459800"/>
          </a:xfrm>
          <a:custGeom>
            <a:avLst/>
            <a:gdLst/>
            <a:ahLst/>
            <a:cxnLst>
              <a:cxn ang="3cd4">
                <a:pos x="hc" y="t"/>
              </a:cxn>
              <a:cxn ang="cd2">
                <a:pos x="l" y="vc"/>
              </a:cxn>
              <a:cxn ang="cd4">
                <a:pos x="hc" y="b"/>
              </a:cxn>
              <a:cxn ang="0">
                <a:pos x="r" y="vc"/>
              </a:cxn>
            </a:cxnLst>
            <a:rect l="l" t="t" r="r" b="b"/>
            <a:pathLst>
              <a:path w="5503" h="4056">
                <a:moveTo>
                  <a:pt x="732" y="2163"/>
                </a:moveTo>
                <a:lnTo>
                  <a:pt x="922" y="2163"/>
                </a:lnTo>
                <a:lnTo>
                  <a:pt x="922" y="2354"/>
                </a:lnTo>
                <a:cubicBezTo>
                  <a:pt x="922" y="2402"/>
                  <a:pt x="970" y="2434"/>
                  <a:pt x="1002" y="2434"/>
                </a:cubicBezTo>
                <a:cubicBezTo>
                  <a:pt x="1050" y="2434"/>
                  <a:pt x="1082" y="2402"/>
                  <a:pt x="1082" y="2354"/>
                </a:cubicBezTo>
                <a:lnTo>
                  <a:pt x="1082" y="2163"/>
                </a:lnTo>
                <a:lnTo>
                  <a:pt x="1288" y="2163"/>
                </a:lnTo>
                <a:cubicBezTo>
                  <a:pt x="1320" y="2163"/>
                  <a:pt x="1368" y="2131"/>
                  <a:pt x="1368" y="2084"/>
                </a:cubicBezTo>
                <a:cubicBezTo>
                  <a:pt x="1368" y="2036"/>
                  <a:pt x="1320" y="2004"/>
                  <a:pt x="1288" y="2004"/>
                </a:cubicBezTo>
                <a:lnTo>
                  <a:pt x="1082" y="2004"/>
                </a:lnTo>
                <a:lnTo>
                  <a:pt x="1082" y="1813"/>
                </a:lnTo>
                <a:cubicBezTo>
                  <a:pt x="1082" y="1766"/>
                  <a:pt x="1050" y="1734"/>
                  <a:pt x="1002" y="1734"/>
                </a:cubicBezTo>
                <a:cubicBezTo>
                  <a:pt x="970" y="1734"/>
                  <a:pt x="922" y="1766"/>
                  <a:pt x="922" y="1813"/>
                </a:cubicBezTo>
                <a:lnTo>
                  <a:pt x="922" y="2004"/>
                </a:lnTo>
                <a:lnTo>
                  <a:pt x="732" y="2004"/>
                </a:lnTo>
                <a:cubicBezTo>
                  <a:pt x="684" y="2004"/>
                  <a:pt x="652" y="2036"/>
                  <a:pt x="652" y="2084"/>
                </a:cubicBezTo>
                <a:cubicBezTo>
                  <a:pt x="652" y="2131"/>
                  <a:pt x="684" y="2163"/>
                  <a:pt x="732" y="2163"/>
                </a:cubicBezTo>
                <a:close/>
                <a:moveTo>
                  <a:pt x="3929" y="2004"/>
                </a:moveTo>
                <a:cubicBezTo>
                  <a:pt x="4104" y="2004"/>
                  <a:pt x="4247" y="1861"/>
                  <a:pt x="4247" y="1702"/>
                </a:cubicBezTo>
                <a:cubicBezTo>
                  <a:pt x="4247" y="1527"/>
                  <a:pt x="4104" y="1384"/>
                  <a:pt x="3929" y="1384"/>
                </a:cubicBezTo>
                <a:cubicBezTo>
                  <a:pt x="3754" y="1384"/>
                  <a:pt x="3627" y="1527"/>
                  <a:pt x="3627" y="1702"/>
                </a:cubicBezTo>
                <a:cubicBezTo>
                  <a:pt x="3627" y="1861"/>
                  <a:pt x="3754" y="2004"/>
                  <a:pt x="3929" y="2004"/>
                </a:cubicBezTo>
                <a:close/>
                <a:moveTo>
                  <a:pt x="3929" y="1543"/>
                </a:moveTo>
                <a:cubicBezTo>
                  <a:pt x="4008" y="1543"/>
                  <a:pt x="4088" y="1606"/>
                  <a:pt x="4088" y="1702"/>
                </a:cubicBezTo>
                <a:cubicBezTo>
                  <a:pt x="4088" y="1782"/>
                  <a:pt x="4008" y="1845"/>
                  <a:pt x="3929" y="1845"/>
                </a:cubicBezTo>
                <a:cubicBezTo>
                  <a:pt x="3849" y="1845"/>
                  <a:pt x="3786" y="1782"/>
                  <a:pt x="3786" y="1702"/>
                </a:cubicBezTo>
                <a:cubicBezTo>
                  <a:pt x="3786" y="1606"/>
                  <a:pt x="3849" y="1543"/>
                  <a:pt x="3929" y="1543"/>
                </a:cubicBezTo>
                <a:close/>
                <a:moveTo>
                  <a:pt x="4613" y="2004"/>
                </a:moveTo>
                <a:cubicBezTo>
                  <a:pt x="4788" y="2004"/>
                  <a:pt x="4931" y="1861"/>
                  <a:pt x="4931" y="1702"/>
                </a:cubicBezTo>
                <a:cubicBezTo>
                  <a:pt x="4931" y="1527"/>
                  <a:pt x="4788" y="1384"/>
                  <a:pt x="4613" y="1384"/>
                </a:cubicBezTo>
                <a:cubicBezTo>
                  <a:pt x="4454" y="1384"/>
                  <a:pt x="4310" y="1527"/>
                  <a:pt x="4310" y="1702"/>
                </a:cubicBezTo>
                <a:cubicBezTo>
                  <a:pt x="4310" y="1861"/>
                  <a:pt x="4454" y="2004"/>
                  <a:pt x="4613" y="2004"/>
                </a:cubicBezTo>
                <a:close/>
                <a:moveTo>
                  <a:pt x="4613" y="1543"/>
                </a:moveTo>
                <a:cubicBezTo>
                  <a:pt x="4692" y="1543"/>
                  <a:pt x="4772" y="1606"/>
                  <a:pt x="4772" y="1702"/>
                </a:cubicBezTo>
                <a:cubicBezTo>
                  <a:pt x="4772" y="1782"/>
                  <a:pt x="4692" y="1845"/>
                  <a:pt x="4613" y="1845"/>
                </a:cubicBezTo>
                <a:cubicBezTo>
                  <a:pt x="4533" y="1845"/>
                  <a:pt x="4470" y="1782"/>
                  <a:pt x="4470" y="1702"/>
                </a:cubicBezTo>
                <a:cubicBezTo>
                  <a:pt x="4470" y="1606"/>
                  <a:pt x="4533" y="1543"/>
                  <a:pt x="4613" y="1543"/>
                </a:cubicBezTo>
                <a:close/>
                <a:moveTo>
                  <a:pt x="3929" y="2688"/>
                </a:moveTo>
                <a:cubicBezTo>
                  <a:pt x="4104" y="2688"/>
                  <a:pt x="4247" y="2545"/>
                  <a:pt x="4247" y="2386"/>
                </a:cubicBezTo>
                <a:cubicBezTo>
                  <a:pt x="4247" y="2211"/>
                  <a:pt x="4104" y="2068"/>
                  <a:pt x="3929" y="2068"/>
                </a:cubicBezTo>
                <a:cubicBezTo>
                  <a:pt x="3754" y="2068"/>
                  <a:pt x="3627" y="2211"/>
                  <a:pt x="3627" y="2386"/>
                </a:cubicBezTo>
                <a:cubicBezTo>
                  <a:pt x="3627" y="2545"/>
                  <a:pt x="3754" y="2688"/>
                  <a:pt x="3929" y="2688"/>
                </a:cubicBezTo>
                <a:close/>
                <a:moveTo>
                  <a:pt x="3929" y="2227"/>
                </a:moveTo>
                <a:cubicBezTo>
                  <a:pt x="4008" y="2227"/>
                  <a:pt x="4088" y="2306"/>
                  <a:pt x="4088" y="2386"/>
                </a:cubicBezTo>
                <a:cubicBezTo>
                  <a:pt x="4088" y="2466"/>
                  <a:pt x="4008" y="2529"/>
                  <a:pt x="3929" y="2529"/>
                </a:cubicBezTo>
                <a:cubicBezTo>
                  <a:pt x="3849" y="2529"/>
                  <a:pt x="3786" y="2466"/>
                  <a:pt x="3786" y="2386"/>
                </a:cubicBezTo>
                <a:cubicBezTo>
                  <a:pt x="3786" y="2306"/>
                  <a:pt x="3849" y="2227"/>
                  <a:pt x="3929" y="2227"/>
                </a:cubicBezTo>
                <a:close/>
                <a:moveTo>
                  <a:pt x="4613" y="2688"/>
                </a:moveTo>
                <a:cubicBezTo>
                  <a:pt x="4788" y="2688"/>
                  <a:pt x="4931" y="2545"/>
                  <a:pt x="4931" y="2386"/>
                </a:cubicBezTo>
                <a:cubicBezTo>
                  <a:pt x="4931" y="2211"/>
                  <a:pt x="4788" y="2068"/>
                  <a:pt x="4613" y="2068"/>
                </a:cubicBezTo>
                <a:cubicBezTo>
                  <a:pt x="4454" y="2068"/>
                  <a:pt x="4310" y="2211"/>
                  <a:pt x="4310" y="2386"/>
                </a:cubicBezTo>
                <a:cubicBezTo>
                  <a:pt x="4310" y="2545"/>
                  <a:pt x="4454" y="2688"/>
                  <a:pt x="4613" y="2688"/>
                </a:cubicBezTo>
                <a:close/>
                <a:moveTo>
                  <a:pt x="4613" y="2227"/>
                </a:moveTo>
                <a:cubicBezTo>
                  <a:pt x="4692" y="2227"/>
                  <a:pt x="4772" y="2306"/>
                  <a:pt x="4772" y="2386"/>
                </a:cubicBezTo>
                <a:cubicBezTo>
                  <a:pt x="4772" y="2466"/>
                  <a:pt x="4692" y="2529"/>
                  <a:pt x="4613" y="2529"/>
                </a:cubicBezTo>
                <a:cubicBezTo>
                  <a:pt x="4533" y="2529"/>
                  <a:pt x="4470" y="2466"/>
                  <a:pt x="4470" y="2386"/>
                </a:cubicBezTo>
                <a:cubicBezTo>
                  <a:pt x="4470" y="2306"/>
                  <a:pt x="4533" y="2227"/>
                  <a:pt x="4613" y="2227"/>
                </a:cubicBezTo>
                <a:close/>
                <a:moveTo>
                  <a:pt x="652" y="4056"/>
                </a:moveTo>
                <a:cubicBezTo>
                  <a:pt x="1018" y="4056"/>
                  <a:pt x="1177" y="3897"/>
                  <a:pt x="1241" y="3770"/>
                </a:cubicBezTo>
                <a:lnTo>
                  <a:pt x="1256" y="3754"/>
                </a:lnTo>
                <a:lnTo>
                  <a:pt x="1511" y="3166"/>
                </a:lnTo>
                <a:cubicBezTo>
                  <a:pt x="1622" y="3245"/>
                  <a:pt x="1765" y="3245"/>
                  <a:pt x="1909" y="3245"/>
                </a:cubicBezTo>
                <a:cubicBezTo>
                  <a:pt x="2179" y="3245"/>
                  <a:pt x="2418" y="3102"/>
                  <a:pt x="2513" y="2895"/>
                </a:cubicBezTo>
                <a:lnTo>
                  <a:pt x="2974" y="2895"/>
                </a:lnTo>
                <a:cubicBezTo>
                  <a:pt x="3070" y="3102"/>
                  <a:pt x="3324" y="3245"/>
                  <a:pt x="3595" y="3245"/>
                </a:cubicBezTo>
                <a:cubicBezTo>
                  <a:pt x="3722" y="3245"/>
                  <a:pt x="3865" y="3245"/>
                  <a:pt x="3992" y="3166"/>
                </a:cubicBezTo>
                <a:lnTo>
                  <a:pt x="4247" y="3754"/>
                </a:lnTo>
                <a:lnTo>
                  <a:pt x="4247" y="3770"/>
                </a:lnTo>
                <a:cubicBezTo>
                  <a:pt x="4310" y="3897"/>
                  <a:pt x="4470" y="4056"/>
                  <a:pt x="4851" y="4056"/>
                </a:cubicBezTo>
                <a:cubicBezTo>
                  <a:pt x="5185" y="4056"/>
                  <a:pt x="5503" y="3722"/>
                  <a:pt x="5503" y="3356"/>
                </a:cubicBezTo>
                <a:cubicBezTo>
                  <a:pt x="5503" y="3309"/>
                  <a:pt x="5392" y="1829"/>
                  <a:pt x="5376" y="1543"/>
                </a:cubicBezTo>
                <a:cubicBezTo>
                  <a:pt x="5376" y="1527"/>
                  <a:pt x="5360" y="1527"/>
                  <a:pt x="5360" y="1511"/>
                </a:cubicBezTo>
                <a:cubicBezTo>
                  <a:pt x="5281" y="1066"/>
                  <a:pt x="4899" y="779"/>
                  <a:pt x="4390" y="779"/>
                </a:cubicBezTo>
                <a:cubicBezTo>
                  <a:pt x="4167" y="779"/>
                  <a:pt x="3945" y="891"/>
                  <a:pt x="3754" y="1098"/>
                </a:cubicBezTo>
                <a:lnTo>
                  <a:pt x="2688" y="1098"/>
                </a:lnTo>
                <a:cubicBezTo>
                  <a:pt x="2688" y="843"/>
                  <a:pt x="2736" y="764"/>
                  <a:pt x="2800" y="668"/>
                </a:cubicBezTo>
                <a:cubicBezTo>
                  <a:pt x="2879" y="557"/>
                  <a:pt x="2974" y="445"/>
                  <a:pt x="2974" y="80"/>
                </a:cubicBezTo>
                <a:cubicBezTo>
                  <a:pt x="2974" y="32"/>
                  <a:pt x="2927" y="0"/>
                  <a:pt x="2895" y="0"/>
                </a:cubicBezTo>
                <a:cubicBezTo>
                  <a:pt x="2847" y="0"/>
                  <a:pt x="2815" y="32"/>
                  <a:pt x="2815" y="80"/>
                </a:cubicBezTo>
                <a:cubicBezTo>
                  <a:pt x="2815" y="398"/>
                  <a:pt x="2752" y="477"/>
                  <a:pt x="2672" y="573"/>
                </a:cubicBezTo>
                <a:cubicBezTo>
                  <a:pt x="2609" y="684"/>
                  <a:pt x="2529" y="795"/>
                  <a:pt x="2529" y="1098"/>
                </a:cubicBezTo>
                <a:lnTo>
                  <a:pt x="1734" y="1098"/>
                </a:lnTo>
                <a:cubicBezTo>
                  <a:pt x="1559" y="891"/>
                  <a:pt x="1320" y="779"/>
                  <a:pt x="1098" y="779"/>
                </a:cubicBezTo>
                <a:cubicBezTo>
                  <a:pt x="589" y="779"/>
                  <a:pt x="207" y="1066"/>
                  <a:pt x="127" y="1511"/>
                </a:cubicBezTo>
                <a:lnTo>
                  <a:pt x="127" y="1543"/>
                </a:lnTo>
                <a:cubicBezTo>
                  <a:pt x="95" y="1829"/>
                  <a:pt x="0" y="3309"/>
                  <a:pt x="0" y="3356"/>
                </a:cubicBezTo>
                <a:cubicBezTo>
                  <a:pt x="0" y="3722"/>
                  <a:pt x="302" y="4056"/>
                  <a:pt x="652" y="4056"/>
                </a:cubicBezTo>
                <a:close/>
                <a:moveTo>
                  <a:pt x="286" y="1575"/>
                </a:moveTo>
                <a:lnTo>
                  <a:pt x="286" y="1559"/>
                </a:lnTo>
                <a:cubicBezTo>
                  <a:pt x="350" y="1177"/>
                  <a:pt x="668" y="939"/>
                  <a:pt x="1098" y="939"/>
                </a:cubicBezTo>
                <a:cubicBezTo>
                  <a:pt x="1288" y="939"/>
                  <a:pt x="1479" y="1034"/>
                  <a:pt x="1638" y="1225"/>
                </a:cubicBezTo>
                <a:cubicBezTo>
                  <a:pt x="1654" y="1241"/>
                  <a:pt x="1686" y="1256"/>
                  <a:pt x="1702" y="1256"/>
                </a:cubicBezTo>
                <a:lnTo>
                  <a:pt x="3786" y="1256"/>
                </a:lnTo>
                <a:cubicBezTo>
                  <a:pt x="3818" y="1256"/>
                  <a:pt x="3833" y="1241"/>
                  <a:pt x="3849" y="1225"/>
                </a:cubicBezTo>
                <a:cubicBezTo>
                  <a:pt x="4008" y="1034"/>
                  <a:pt x="4199" y="939"/>
                  <a:pt x="4390" y="939"/>
                </a:cubicBezTo>
                <a:cubicBezTo>
                  <a:pt x="4819" y="939"/>
                  <a:pt x="5154" y="1177"/>
                  <a:pt x="5201" y="1559"/>
                </a:cubicBezTo>
                <a:cubicBezTo>
                  <a:pt x="5217" y="1559"/>
                  <a:pt x="5212" y="1570"/>
                  <a:pt x="5217" y="1575"/>
                </a:cubicBezTo>
                <a:cubicBezTo>
                  <a:pt x="5249" y="2068"/>
                  <a:pt x="5328" y="3309"/>
                  <a:pt x="5345" y="3356"/>
                </a:cubicBezTo>
                <a:cubicBezTo>
                  <a:pt x="5345" y="3642"/>
                  <a:pt x="5106" y="3897"/>
                  <a:pt x="4851" y="3897"/>
                </a:cubicBezTo>
                <a:cubicBezTo>
                  <a:pt x="4597" y="3897"/>
                  <a:pt x="4454" y="3833"/>
                  <a:pt x="4390" y="3690"/>
                </a:cubicBezTo>
                <a:lnTo>
                  <a:pt x="4088" y="3006"/>
                </a:lnTo>
                <a:cubicBezTo>
                  <a:pt x="4072" y="2975"/>
                  <a:pt x="4056" y="2958"/>
                  <a:pt x="4024" y="2958"/>
                </a:cubicBezTo>
                <a:cubicBezTo>
                  <a:pt x="4008" y="2958"/>
                  <a:pt x="3976" y="2958"/>
                  <a:pt x="3961" y="2975"/>
                </a:cubicBezTo>
                <a:cubicBezTo>
                  <a:pt x="3881" y="3070"/>
                  <a:pt x="3754" y="3086"/>
                  <a:pt x="3595" y="3086"/>
                </a:cubicBezTo>
                <a:cubicBezTo>
                  <a:pt x="3340" y="3086"/>
                  <a:pt x="3149" y="2943"/>
                  <a:pt x="3101" y="2800"/>
                </a:cubicBezTo>
                <a:cubicBezTo>
                  <a:pt x="3101" y="2752"/>
                  <a:pt x="3070" y="2736"/>
                  <a:pt x="3022" y="2736"/>
                </a:cubicBezTo>
                <a:lnTo>
                  <a:pt x="2465" y="2736"/>
                </a:lnTo>
                <a:cubicBezTo>
                  <a:pt x="2434" y="2736"/>
                  <a:pt x="2402" y="2752"/>
                  <a:pt x="2386" y="2800"/>
                </a:cubicBezTo>
                <a:cubicBezTo>
                  <a:pt x="2338" y="2943"/>
                  <a:pt x="2147" y="3086"/>
                  <a:pt x="1909" y="3086"/>
                </a:cubicBezTo>
                <a:cubicBezTo>
                  <a:pt x="1734" y="3086"/>
                  <a:pt x="1622" y="3070"/>
                  <a:pt x="1543" y="2975"/>
                </a:cubicBezTo>
                <a:cubicBezTo>
                  <a:pt x="1511" y="2958"/>
                  <a:pt x="1495" y="2958"/>
                  <a:pt x="1464" y="2958"/>
                </a:cubicBezTo>
                <a:cubicBezTo>
                  <a:pt x="1431" y="2958"/>
                  <a:pt x="1416" y="2975"/>
                  <a:pt x="1400" y="3006"/>
                </a:cubicBezTo>
                <a:lnTo>
                  <a:pt x="1113" y="3690"/>
                </a:lnTo>
                <a:lnTo>
                  <a:pt x="1098" y="3690"/>
                </a:lnTo>
                <a:cubicBezTo>
                  <a:pt x="1034" y="3833"/>
                  <a:pt x="891" y="3897"/>
                  <a:pt x="652" y="3897"/>
                </a:cubicBezTo>
                <a:cubicBezTo>
                  <a:pt x="382" y="3897"/>
                  <a:pt x="159" y="3642"/>
                  <a:pt x="159" y="3356"/>
                </a:cubicBezTo>
                <a:cubicBezTo>
                  <a:pt x="159" y="3309"/>
                  <a:pt x="238" y="2068"/>
                  <a:pt x="286" y="157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4" name="Freeform: Shape 11">
            <a:extLst>
              <a:ext uri="{FF2B5EF4-FFF2-40B4-BE49-F238E27FC236}">
                <a16:creationId xmlns:a16="http://schemas.microsoft.com/office/drawing/2014/main" id="{069B608C-DE08-814D-B5F7-C47223938C50}"/>
              </a:ext>
            </a:extLst>
          </p:cNvPr>
          <p:cNvSpPr/>
          <p:nvPr/>
        </p:nvSpPr>
        <p:spPr>
          <a:xfrm>
            <a:off x="21191365" y="6358779"/>
            <a:ext cx="1666079" cy="1534319"/>
          </a:xfrm>
          <a:custGeom>
            <a:avLst/>
            <a:gdLst/>
            <a:ahLst/>
            <a:cxnLst>
              <a:cxn ang="3cd4">
                <a:pos x="hc" y="t"/>
              </a:cxn>
              <a:cxn ang="cd2">
                <a:pos x="l" y="vc"/>
              </a:cxn>
              <a:cxn ang="cd4">
                <a:pos x="hc" y="b"/>
              </a:cxn>
              <a:cxn ang="0">
                <a:pos x="r" y="vc"/>
              </a:cxn>
            </a:cxnLst>
            <a:rect l="l" t="t" r="r" b="b"/>
            <a:pathLst>
              <a:path w="4629" h="4263">
                <a:moveTo>
                  <a:pt x="651" y="795"/>
                </a:moveTo>
                <a:cubicBezTo>
                  <a:pt x="683" y="827"/>
                  <a:pt x="731" y="827"/>
                  <a:pt x="763" y="795"/>
                </a:cubicBezTo>
                <a:cubicBezTo>
                  <a:pt x="1176" y="382"/>
                  <a:pt x="1733" y="159"/>
                  <a:pt x="2321" y="159"/>
                </a:cubicBezTo>
                <a:cubicBezTo>
                  <a:pt x="2910" y="159"/>
                  <a:pt x="3467" y="382"/>
                  <a:pt x="3880" y="795"/>
                </a:cubicBezTo>
                <a:cubicBezTo>
                  <a:pt x="3896" y="812"/>
                  <a:pt x="3912" y="827"/>
                  <a:pt x="3928" y="827"/>
                </a:cubicBezTo>
                <a:cubicBezTo>
                  <a:pt x="3960" y="827"/>
                  <a:pt x="3976" y="812"/>
                  <a:pt x="3992" y="795"/>
                </a:cubicBezTo>
                <a:cubicBezTo>
                  <a:pt x="4023" y="764"/>
                  <a:pt x="4023" y="716"/>
                  <a:pt x="3992" y="684"/>
                </a:cubicBezTo>
                <a:cubicBezTo>
                  <a:pt x="3547" y="239"/>
                  <a:pt x="2942" y="0"/>
                  <a:pt x="2321" y="0"/>
                </a:cubicBezTo>
                <a:cubicBezTo>
                  <a:pt x="1685" y="0"/>
                  <a:pt x="1097" y="239"/>
                  <a:pt x="651" y="684"/>
                </a:cubicBezTo>
                <a:cubicBezTo>
                  <a:pt x="620" y="716"/>
                  <a:pt x="620" y="764"/>
                  <a:pt x="651" y="795"/>
                </a:cubicBezTo>
                <a:close/>
                <a:moveTo>
                  <a:pt x="3563" y="1225"/>
                </a:moveTo>
                <a:cubicBezTo>
                  <a:pt x="3595" y="1193"/>
                  <a:pt x="3595" y="1145"/>
                  <a:pt x="3563" y="1113"/>
                </a:cubicBezTo>
                <a:cubicBezTo>
                  <a:pt x="3229" y="780"/>
                  <a:pt x="2784" y="589"/>
                  <a:pt x="2322" y="589"/>
                </a:cubicBezTo>
                <a:cubicBezTo>
                  <a:pt x="1845" y="589"/>
                  <a:pt x="1400" y="780"/>
                  <a:pt x="1066" y="1113"/>
                </a:cubicBezTo>
                <a:cubicBezTo>
                  <a:pt x="1034" y="1145"/>
                  <a:pt x="1034" y="1193"/>
                  <a:pt x="1066" y="1225"/>
                </a:cubicBezTo>
                <a:cubicBezTo>
                  <a:pt x="1082" y="1241"/>
                  <a:pt x="1114" y="1241"/>
                  <a:pt x="1130" y="1241"/>
                </a:cubicBezTo>
                <a:cubicBezTo>
                  <a:pt x="1146" y="1241"/>
                  <a:pt x="1161" y="1241"/>
                  <a:pt x="1177" y="1225"/>
                </a:cubicBezTo>
                <a:cubicBezTo>
                  <a:pt x="1479" y="923"/>
                  <a:pt x="1893" y="748"/>
                  <a:pt x="2322" y="748"/>
                </a:cubicBezTo>
                <a:cubicBezTo>
                  <a:pt x="2752" y="748"/>
                  <a:pt x="3149" y="923"/>
                  <a:pt x="3452" y="1225"/>
                </a:cubicBezTo>
                <a:cubicBezTo>
                  <a:pt x="3484" y="1257"/>
                  <a:pt x="3531" y="1257"/>
                  <a:pt x="3563" y="1225"/>
                </a:cubicBezTo>
                <a:close/>
                <a:moveTo>
                  <a:pt x="3085" y="1670"/>
                </a:moveTo>
                <a:cubicBezTo>
                  <a:pt x="3117" y="1670"/>
                  <a:pt x="3133" y="1654"/>
                  <a:pt x="3148" y="1639"/>
                </a:cubicBezTo>
                <a:cubicBezTo>
                  <a:pt x="3181" y="1607"/>
                  <a:pt x="3181" y="1559"/>
                  <a:pt x="3148" y="1527"/>
                </a:cubicBezTo>
                <a:cubicBezTo>
                  <a:pt x="2926" y="1304"/>
                  <a:pt x="2624" y="1177"/>
                  <a:pt x="2321" y="1177"/>
                </a:cubicBezTo>
                <a:cubicBezTo>
                  <a:pt x="2003" y="1177"/>
                  <a:pt x="1717" y="1304"/>
                  <a:pt x="1494" y="1527"/>
                </a:cubicBezTo>
                <a:cubicBezTo>
                  <a:pt x="1463" y="1559"/>
                  <a:pt x="1463" y="1607"/>
                  <a:pt x="1494" y="1639"/>
                </a:cubicBezTo>
                <a:cubicBezTo>
                  <a:pt x="1526" y="1670"/>
                  <a:pt x="1574" y="1670"/>
                  <a:pt x="1606" y="1639"/>
                </a:cubicBezTo>
                <a:cubicBezTo>
                  <a:pt x="1797" y="1447"/>
                  <a:pt x="2051" y="1336"/>
                  <a:pt x="2321" y="1336"/>
                </a:cubicBezTo>
                <a:cubicBezTo>
                  <a:pt x="2592" y="1336"/>
                  <a:pt x="2847" y="1447"/>
                  <a:pt x="3038" y="1639"/>
                </a:cubicBezTo>
                <a:cubicBezTo>
                  <a:pt x="3053" y="1654"/>
                  <a:pt x="3069" y="1670"/>
                  <a:pt x="3085" y="1670"/>
                </a:cubicBezTo>
                <a:close/>
                <a:moveTo>
                  <a:pt x="4629" y="4088"/>
                </a:moveTo>
                <a:lnTo>
                  <a:pt x="4629" y="3149"/>
                </a:lnTo>
                <a:cubicBezTo>
                  <a:pt x="4629" y="3054"/>
                  <a:pt x="4549" y="2975"/>
                  <a:pt x="4454" y="2975"/>
                </a:cubicBezTo>
                <a:lnTo>
                  <a:pt x="3897" y="2975"/>
                </a:lnTo>
                <a:cubicBezTo>
                  <a:pt x="3913" y="2975"/>
                  <a:pt x="3908" y="2964"/>
                  <a:pt x="3913" y="2958"/>
                </a:cubicBezTo>
                <a:lnTo>
                  <a:pt x="3913" y="1830"/>
                </a:lnTo>
                <a:cubicBezTo>
                  <a:pt x="3913" y="1797"/>
                  <a:pt x="3866" y="1750"/>
                  <a:pt x="3834" y="1750"/>
                </a:cubicBezTo>
                <a:cubicBezTo>
                  <a:pt x="3786" y="1750"/>
                  <a:pt x="3754" y="1797"/>
                  <a:pt x="3754" y="1830"/>
                </a:cubicBezTo>
                <a:lnTo>
                  <a:pt x="3754" y="2958"/>
                </a:lnTo>
                <a:lnTo>
                  <a:pt x="3754" y="2975"/>
                </a:lnTo>
                <a:lnTo>
                  <a:pt x="939" y="2975"/>
                </a:lnTo>
                <a:lnTo>
                  <a:pt x="939" y="2958"/>
                </a:lnTo>
                <a:lnTo>
                  <a:pt x="939" y="1830"/>
                </a:lnTo>
                <a:cubicBezTo>
                  <a:pt x="939" y="1797"/>
                  <a:pt x="907" y="1750"/>
                  <a:pt x="859" y="1750"/>
                </a:cubicBezTo>
                <a:cubicBezTo>
                  <a:pt x="812" y="1750"/>
                  <a:pt x="780" y="1797"/>
                  <a:pt x="780" y="1830"/>
                </a:cubicBezTo>
                <a:lnTo>
                  <a:pt x="780" y="2958"/>
                </a:lnTo>
                <a:lnTo>
                  <a:pt x="780" y="2975"/>
                </a:lnTo>
                <a:lnTo>
                  <a:pt x="175" y="2975"/>
                </a:lnTo>
                <a:cubicBezTo>
                  <a:pt x="80" y="2975"/>
                  <a:pt x="0" y="3054"/>
                  <a:pt x="0" y="3149"/>
                </a:cubicBezTo>
                <a:lnTo>
                  <a:pt x="0" y="4088"/>
                </a:lnTo>
                <a:cubicBezTo>
                  <a:pt x="0" y="4184"/>
                  <a:pt x="80" y="4263"/>
                  <a:pt x="175" y="4263"/>
                </a:cubicBezTo>
                <a:lnTo>
                  <a:pt x="4454" y="4263"/>
                </a:lnTo>
                <a:cubicBezTo>
                  <a:pt x="4549" y="4263"/>
                  <a:pt x="4629" y="4184"/>
                  <a:pt x="4629" y="4088"/>
                </a:cubicBezTo>
                <a:close/>
                <a:moveTo>
                  <a:pt x="4454" y="4104"/>
                </a:moveTo>
                <a:lnTo>
                  <a:pt x="175" y="4104"/>
                </a:lnTo>
                <a:lnTo>
                  <a:pt x="159" y="4088"/>
                </a:lnTo>
                <a:lnTo>
                  <a:pt x="175" y="3134"/>
                </a:lnTo>
                <a:lnTo>
                  <a:pt x="4470" y="3149"/>
                </a:lnTo>
                <a:close/>
                <a:moveTo>
                  <a:pt x="2004" y="2163"/>
                </a:moveTo>
                <a:cubicBezTo>
                  <a:pt x="2004" y="2339"/>
                  <a:pt x="2148" y="2482"/>
                  <a:pt x="2322" y="2482"/>
                </a:cubicBezTo>
                <a:cubicBezTo>
                  <a:pt x="2482" y="2482"/>
                  <a:pt x="2625" y="2339"/>
                  <a:pt x="2625" y="2163"/>
                </a:cubicBezTo>
                <a:cubicBezTo>
                  <a:pt x="2625" y="2004"/>
                  <a:pt x="2482" y="1861"/>
                  <a:pt x="2322" y="1861"/>
                </a:cubicBezTo>
                <a:cubicBezTo>
                  <a:pt x="2148" y="1861"/>
                  <a:pt x="2004" y="2004"/>
                  <a:pt x="2004" y="2163"/>
                </a:cubicBezTo>
                <a:close/>
                <a:moveTo>
                  <a:pt x="2466" y="2163"/>
                </a:moveTo>
                <a:cubicBezTo>
                  <a:pt x="2466" y="2243"/>
                  <a:pt x="2402" y="2322"/>
                  <a:pt x="2322" y="2322"/>
                </a:cubicBezTo>
                <a:cubicBezTo>
                  <a:pt x="2243" y="2322"/>
                  <a:pt x="2164" y="2243"/>
                  <a:pt x="2164" y="2163"/>
                </a:cubicBezTo>
                <a:cubicBezTo>
                  <a:pt x="2164" y="2084"/>
                  <a:pt x="2243" y="2020"/>
                  <a:pt x="2322" y="2020"/>
                </a:cubicBezTo>
                <a:cubicBezTo>
                  <a:pt x="2402" y="2020"/>
                  <a:pt x="2466" y="2084"/>
                  <a:pt x="2466" y="21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5" name="Freeform: Shape 12">
            <a:extLst>
              <a:ext uri="{FF2B5EF4-FFF2-40B4-BE49-F238E27FC236}">
                <a16:creationId xmlns:a16="http://schemas.microsoft.com/office/drawing/2014/main" id="{C421DE0D-A9E8-D440-8012-DD78F35702A4}"/>
              </a:ext>
            </a:extLst>
          </p:cNvPr>
          <p:cNvSpPr/>
          <p:nvPr/>
        </p:nvSpPr>
        <p:spPr>
          <a:xfrm>
            <a:off x="21516120" y="3075270"/>
            <a:ext cx="1041839" cy="1625760"/>
          </a:xfrm>
          <a:custGeom>
            <a:avLst/>
            <a:gdLst/>
            <a:ahLst/>
            <a:cxnLst>
              <a:cxn ang="3cd4">
                <a:pos x="hc" y="t"/>
              </a:cxn>
              <a:cxn ang="cd2">
                <a:pos x="l" y="vc"/>
              </a:cxn>
              <a:cxn ang="cd4">
                <a:pos x="hc" y="b"/>
              </a:cxn>
              <a:cxn ang="0">
                <a:pos x="r" y="vc"/>
              </a:cxn>
            </a:cxnLst>
            <a:rect l="l" t="t" r="r" b="b"/>
            <a:pathLst>
              <a:path w="2895" h="4517">
                <a:moveTo>
                  <a:pt x="0" y="1623"/>
                </a:moveTo>
                <a:cubicBezTo>
                  <a:pt x="0" y="3070"/>
                  <a:pt x="0" y="3070"/>
                  <a:pt x="0" y="3070"/>
                </a:cubicBezTo>
                <a:cubicBezTo>
                  <a:pt x="0" y="3833"/>
                  <a:pt x="684" y="4517"/>
                  <a:pt x="1480" y="4517"/>
                </a:cubicBezTo>
                <a:cubicBezTo>
                  <a:pt x="2243" y="4517"/>
                  <a:pt x="2895" y="3849"/>
                  <a:pt x="2895" y="3070"/>
                </a:cubicBezTo>
                <a:cubicBezTo>
                  <a:pt x="2895" y="1623"/>
                  <a:pt x="2895" y="1623"/>
                  <a:pt x="2895" y="1623"/>
                </a:cubicBezTo>
                <a:cubicBezTo>
                  <a:pt x="2895" y="1018"/>
                  <a:pt x="2402" y="557"/>
                  <a:pt x="1766" y="557"/>
                </a:cubicBezTo>
                <a:cubicBezTo>
                  <a:pt x="1527" y="557"/>
                  <a:pt x="1527" y="557"/>
                  <a:pt x="1527" y="557"/>
                </a:cubicBezTo>
                <a:cubicBezTo>
                  <a:pt x="1527" y="509"/>
                  <a:pt x="1527" y="509"/>
                  <a:pt x="1527" y="509"/>
                </a:cubicBezTo>
                <a:cubicBezTo>
                  <a:pt x="1527" y="334"/>
                  <a:pt x="1384" y="255"/>
                  <a:pt x="1257" y="191"/>
                </a:cubicBezTo>
                <a:cubicBezTo>
                  <a:pt x="1177" y="159"/>
                  <a:pt x="1114" y="127"/>
                  <a:pt x="1114" y="79"/>
                </a:cubicBezTo>
                <a:cubicBezTo>
                  <a:pt x="1114" y="48"/>
                  <a:pt x="1082" y="0"/>
                  <a:pt x="1034" y="0"/>
                </a:cubicBezTo>
                <a:cubicBezTo>
                  <a:pt x="1002" y="0"/>
                  <a:pt x="954" y="48"/>
                  <a:pt x="954" y="79"/>
                </a:cubicBezTo>
                <a:cubicBezTo>
                  <a:pt x="954" y="223"/>
                  <a:pt x="1082" y="287"/>
                  <a:pt x="1193" y="334"/>
                </a:cubicBezTo>
                <a:cubicBezTo>
                  <a:pt x="1305" y="398"/>
                  <a:pt x="1368" y="445"/>
                  <a:pt x="1368" y="509"/>
                </a:cubicBezTo>
                <a:cubicBezTo>
                  <a:pt x="1368" y="557"/>
                  <a:pt x="1368" y="557"/>
                  <a:pt x="1368" y="557"/>
                </a:cubicBezTo>
                <a:cubicBezTo>
                  <a:pt x="1177" y="557"/>
                  <a:pt x="1177" y="557"/>
                  <a:pt x="1177" y="557"/>
                </a:cubicBezTo>
                <a:cubicBezTo>
                  <a:pt x="525" y="557"/>
                  <a:pt x="0" y="1034"/>
                  <a:pt x="0" y="1623"/>
                </a:cubicBezTo>
                <a:close/>
                <a:moveTo>
                  <a:pt x="1527" y="716"/>
                </a:moveTo>
                <a:cubicBezTo>
                  <a:pt x="1766" y="716"/>
                  <a:pt x="1766" y="716"/>
                  <a:pt x="1766" y="716"/>
                </a:cubicBezTo>
                <a:cubicBezTo>
                  <a:pt x="2307" y="716"/>
                  <a:pt x="2736" y="1114"/>
                  <a:pt x="2736" y="1623"/>
                </a:cubicBezTo>
                <a:cubicBezTo>
                  <a:pt x="1686" y="1623"/>
                  <a:pt x="1686" y="1623"/>
                  <a:pt x="1686" y="1623"/>
                </a:cubicBezTo>
                <a:cubicBezTo>
                  <a:pt x="1686" y="1384"/>
                  <a:pt x="1686" y="1384"/>
                  <a:pt x="1686" y="1384"/>
                </a:cubicBezTo>
                <a:cubicBezTo>
                  <a:pt x="1686" y="1352"/>
                  <a:pt x="1654" y="1305"/>
                  <a:pt x="1607" y="1305"/>
                </a:cubicBezTo>
                <a:cubicBezTo>
                  <a:pt x="1527" y="1305"/>
                  <a:pt x="1527" y="1305"/>
                  <a:pt x="1527" y="1305"/>
                </a:cubicBezTo>
                <a:close/>
                <a:moveTo>
                  <a:pt x="1384" y="1463"/>
                </a:moveTo>
                <a:cubicBezTo>
                  <a:pt x="1527" y="1463"/>
                  <a:pt x="1527" y="1463"/>
                  <a:pt x="1527" y="1463"/>
                </a:cubicBezTo>
                <a:cubicBezTo>
                  <a:pt x="1527" y="2068"/>
                  <a:pt x="1527" y="2068"/>
                  <a:pt x="1527" y="2068"/>
                </a:cubicBezTo>
                <a:cubicBezTo>
                  <a:pt x="1384" y="2068"/>
                  <a:pt x="1384" y="2068"/>
                  <a:pt x="1384" y="2068"/>
                </a:cubicBezTo>
                <a:close/>
                <a:moveTo>
                  <a:pt x="1607" y="2227"/>
                </a:moveTo>
                <a:cubicBezTo>
                  <a:pt x="1654" y="2227"/>
                  <a:pt x="1686" y="2195"/>
                  <a:pt x="1686" y="2147"/>
                </a:cubicBezTo>
                <a:cubicBezTo>
                  <a:pt x="1686" y="1781"/>
                  <a:pt x="1686" y="1781"/>
                  <a:pt x="1686" y="1781"/>
                </a:cubicBezTo>
                <a:cubicBezTo>
                  <a:pt x="2736" y="1781"/>
                  <a:pt x="2736" y="1781"/>
                  <a:pt x="2736" y="1781"/>
                </a:cubicBezTo>
                <a:cubicBezTo>
                  <a:pt x="2736" y="3070"/>
                  <a:pt x="2736" y="3070"/>
                  <a:pt x="2736" y="3070"/>
                </a:cubicBezTo>
                <a:cubicBezTo>
                  <a:pt x="2736" y="3770"/>
                  <a:pt x="2163" y="4358"/>
                  <a:pt x="1463" y="4358"/>
                </a:cubicBezTo>
                <a:cubicBezTo>
                  <a:pt x="764" y="4358"/>
                  <a:pt x="159" y="3754"/>
                  <a:pt x="159" y="3070"/>
                </a:cubicBezTo>
                <a:cubicBezTo>
                  <a:pt x="159" y="1781"/>
                  <a:pt x="159" y="1781"/>
                  <a:pt x="159" y="1781"/>
                </a:cubicBezTo>
                <a:cubicBezTo>
                  <a:pt x="1225" y="1781"/>
                  <a:pt x="1225" y="1781"/>
                  <a:pt x="1225" y="1781"/>
                </a:cubicBezTo>
                <a:cubicBezTo>
                  <a:pt x="1225" y="2147"/>
                  <a:pt x="1225" y="2147"/>
                  <a:pt x="1225" y="2147"/>
                </a:cubicBezTo>
                <a:cubicBezTo>
                  <a:pt x="1225" y="2195"/>
                  <a:pt x="1257" y="2227"/>
                  <a:pt x="1305" y="2227"/>
                </a:cubicBezTo>
                <a:close/>
                <a:moveTo>
                  <a:pt x="1177" y="716"/>
                </a:moveTo>
                <a:cubicBezTo>
                  <a:pt x="1368" y="716"/>
                  <a:pt x="1368" y="716"/>
                  <a:pt x="1368" y="716"/>
                </a:cubicBezTo>
                <a:cubicBezTo>
                  <a:pt x="1368" y="1305"/>
                  <a:pt x="1368" y="1305"/>
                  <a:pt x="1368" y="1305"/>
                </a:cubicBezTo>
                <a:cubicBezTo>
                  <a:pt x="1305" y="1305"/>
                  <a:pt x="1305" y="1305"/>
                  <a:pt x="1305" y="1305"/>
                </a:cubicBezTo>
                <a:cubicBezTo>
                  <a:pt x="1257" y="1305"/>
                  <a:pt x="1225" y="1352"/>
                  <a:pt x="1225" y="1384"/>
                </a:cubicBezTo>
                <a:cubicBezTo>
                  <a:pt x="1225" y="1623"/>
                  <a:pt x="1225" y="1623"/>
                  <a:pt x="1225" y="1623"/>
                </a:cubicBezTo>
                <a:cubicBezTo>
                  <a:pt x="159" y="1623"/>
                  <a:pt x="159" y="1623"/>
                  <a:pt x="159" y="1623"/>
                </a:cubicBezTo>
                <a:cubicBezTo>
                  <a:pt x="159" y="1114"/>
                  <a:pt x="621" y="716"/>
                  <a:pt x="1177" y="71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6" name="Freeform: Shape 15">
            <a:extLst>
              <a:ext uri="{FF2B5EF4-FFF2-40B4-BE49-F238E27FC236}">
                <a16:creationId xmlns:a16="http://schemas.microsoft.com/office/drawing/2014/main" id="{DC57B296-0B11-7244-A18D-777AB8CCE695}"/>
              </a:ext>
            </a:extLst>
          </p:cNvPr>
          <p:cNvSpPr/>
          <p:nvPr/>
        </p:nvSpPr>
        <p:spPr>
          <a:xfrm>
            <a:off x="6001687" y="3553090"/>
            <a:ext cx="1379519" cy="1196280"/>
          </a:xfrm>
          <a:custGeom>
            <a:avLst/>
            <a:gdLst/>
            <a:ahLst/>
            <a:cxnLst>
              <a:cxn ang="3cd4">
                <a:pos x="hc" y="t"/>
              </a:cxn>
              <a:cxn ang="cd2">
                <a:pos x="l" y="vc"/>
              </a:cxn>
              <a:cxn ang="cd4">
                <a:pos x="hc" y="b"/>
              </a:cxn>
              <a:cxn ang="0">
                <a:pos x="r" y="vc"/>
              </a:cxn>
            </a:cxnLst>
            <a:rect l="l" t="t" r="r" b="b"/>
            <a:pathLst>
              <a:path w="3833" h="3324">
                <a:moveTo>
                  <a:pt x="1288" y="763"/>
                </a:moveTo>
                <a:lnTo>
                  <a:pt x="1066" y="1352"/>
                </a:lnTo>
                <a:lnTo>
                  <a:pt x="1082" y="1352"/>
                </a:lnTo>
                <a:lnTo>
                  <a:pt x="1145" y="1193"/>
                </a:lnTo>
                <a:cubicBezTo>
                  <a:pt x="1145" y="1177"/>
                  <a:pt x="1161" y="1161"/>
                  <a:pt x="1177" y="1161"/>
                </a:cubicBezTo>
                <a:lnTo>
                  <a:pt x="1448" y="1161"/>
                </a:lnTo>
                <a:cubicBezTo>
                  <a:pt x="1463" y="1161"/>
                  <a:pt x="1479" y="1177"/>
                  <a:pt x="1479" y="1193"/>
                </a:cubicBezTo>
                <a:lnTo>
                  <a:pt x="1543" y="1352"/>
                </a:lnTo>
                <a:lnTo>
                  <a:pt x="1559" y="1352"/>
                </a:lnTo>
                <a:lnTo>
                  <a:pt x="1336" y="763"/>
                </a:lnTo>
                <a:close/>
                <a:moveTo>
                  <a:pt x="1448" y="1113"/>
                </a:moveTo>
                <a:cubicBezTo>
                  <a:pt x="1463" y="1129"/>
                  <a:pt x="1448" y="1129"/>
                  <a:pt x="1448" y="1145"/>
                </a:cubicBezTo>
                <a:lnTo>
                  <a:pt x="1432" y="1161"/>
                </a:lnTo>
                <a:lnTo>
                  <a:pt x="1209" y="1161"/>
                </a:lnTo>
                <a:cubicBezTo>
                  <a:pt x="1193" y="1161"/>
                  <a:pt x="1188" y="1150"/>
                  <a:pt x="1177" y="1145"/>
                </a:cubicBezTo>
                <a:lnTo>
                  <a:pt x="1177" y="1113"/>
                </a:lnTo>
                <a:lnTo>
                  <a:pt x="1288" y="827"/>
                </a:lnTo>
                <a:cubicBezTo>
                  <a:pt x="1288" y="811"/>
                  <a:pt x="1299" y="806"/>
                  <a:pt x="1304" y="795"/>
                </a:cubicBezTo>
                <a:lnTo>
                  <a:pt x="1320" y="795"/>
                </a:lnTo>
                <a:cubicBezTo>
                  <a:pt x="1325" y="806"/>
                  <a:pt x="1336" y="811"/>
                  <a:pt x="1336" y="827"/>
                </a:cubicBezTo>
                <a:close/>
                <a:moveTo>
                  <a:pt x="1384" y="731"/>
                </a:moveTo>
                <a:cubicBezTo>
                  <a:pt x="1384" y="715"/>
                  <a:pt x="1368" y="700"/>
                  <a:pt x="1352" y="700"/>
                </a:cubicBezTo>
                <a:lnTo>
                  <a:pt x="1272" y="700"/>
                </a:lnTo>
                <a:cubicBezTo>
                  <a:pt x="1257" y="700"/>
                  <a:pt x="1241" y="715"/>
                  <a:pt x="1241" y="731"/>
                </a:cubicBezTo>
                <a:lnTo>
                  <a:pt x="1002" y="1367"/>
                </a:lnTo>
                <a:cubicBezTo>
                  <a:pt x="986" y="1367"/>
                  <a:pt x="986" y="1384"/>
                  <a:pt x="1002" y="1400"/>
                </a:cubicBezTo>
                <a:lnTo>
                  <a:pt x="1018" y="1400"/>
                </a:lnTo>
                <a:lnTo>
                  <a:pt x="1114" y="1400"/>
                </a:lnTo>
                <a:cubicBezTo>
                  <a:pt x="1129" y="1400"/>
                  <a:pt x="1129" y="1400"/>
                  <a:pt x="1145" y="1384"/>
                </a:cubicBezTo>
                <a:lnTo>
                  <a:pt x="1193" y="1224"/>
                </a:lnTo>
                <a:lnTo>
                  <a:pt x="1432" y="1224"/>
                </a:lnTo>
                <a:lnTo>
                  <a:pt x="1495" y="1384"/>
                </a:lnTo>
                <a:cubicBezTo>
                  <a:pt x="1495" y="1400"/>
                  <a:pt x="1506" y="1395"/>
                  <a:pt x="1511" y="1400"/>
                </a:cubicBezTo>
                <a:lnTo>
                  <a:pt x="1606" y="1400"/>
                </a:lnTo>
                <a:lnTo>
                  <a:pt x="1638" y="1400"/>
                </a:lnTo>
                <a:lnTo>
                  <a:pt x="1638" y="1367"/>
                </a:lnTo>
                <a:close/>
                <a:moveTo>
                  <a:pt x="1543" y="1352"/>
                </a:moveTo>
                <a:lnTo>
                  <a:pt x="1479" y="1193"/>
                </a:lnTo>
                <a:cubicBezTo>
                  <a:pt x="1479" y="1177"/>
                  <a:pt x="1463" y="1161"/>
                  <a:pt x="1448" y="1161"/>
                </a:cubicBezTo>
                <a:lnTo>
                  <a:pt x="1177" y="1161"/>
                </a:lnTo>
                <a:cubicBezTo>
                  <a:pt x="1161" y="1161"/>
                  <a:pt x="1145" y="1177"/>
                  <a:pt x="1145" y="1193"/>
                </a:cubicBezTo>
                <a:lnTo>
                  <a:pt x="1082" y="1352"/>
                </a:lnTo>
                <a:lnTo>
                  <a:pt x="1066" y="1352"/>
                </a:lnTo>
                <a:lnTo>
                  <a:pt x="1288" y="763"/>
                </a:lnTo>
                <a:lnTo>
                  <a:pt x="1336" y="763"/>
                </a:lnTo>
                <a:lnTo>
                  <a:pt x="1559" y="1352"/>
                </a:lnTo>
                <a:close/>
                <a:moveTo>
                  <a:pt x="1320" y="795"/>
                </a:moveTo>
                <a:lnTo>
                  <a:pt x="1304" y="795"/>
                </a:lnTo>
                <a:cubicBezTo>
                  <a:pt x="1299" y="806"/>
                  <a:pt x="1288" y="811"/>
                  <a:pt x="1288" y="827"/>
                </a:cubicBezTo>
                <a:lnTo>
                  <a:pt x="1177" y="1113"/>
                </a:lnTo>
                <a:lnTo>
                  <a:pt x="1177" y="1145"/>
                </a:lnTo>
                <a:cubicBezTo>
                  <a:pt x="1188" y="1150"/>
                  <a:pt x="1193" y="1161"/>
                  <a:pt x="1209" y="1161"/>
                </a:cubicBezTo>
                <a:lnTo>
                  <a:pt x="1432" y="1161"/>
                </a:lnTo>
                <a:lnTo>
                  <a:pt x="1448" y="1145"/>
                </a:lnTo>
                <a:cubicBezTo>
                  <a:pt x="1448" y="1129"/>
                  <a:pt x="1463" y="1129"/>
                  <a:pt x="1448" y="1113"/>
                </a:cubicBezTo>
                <a:lnTo>
                  <a:pt x="1336" y="827"/>
                </a:lnTo>
                <a:cubicBezTo>
                  <a:pt x="1336" y="811"/>
                  <a:pt x="1325" y="806"/>
                  <a:pt x="1320" y="795"/>
                </a:cubicBezTo>
                <a:close/>
                <a:moveTo>
                  <a:pt x="1241" y="1097"/>
                </a:moveTo>
                <a:lnTo>
                  <a:pt x="1320" y="922"/>
                </a:lnTo>
                <a:lnTo>
                  <a:pt x="1384" y="1097"/>
                </a:lnTo>
                <a:close/>
                <a:moveTo>
                  <a:pt x="2068" y="811"/>
                </a:moveTo>
                <a:cubicBezTo>
                  <a:pt x="2052" y="795"/>
                  <a:pt x="2036" y="795"/>
                  <a:pt x="2004" y="779"/>
                </a:cubicBezTo>
                <a:cubicBezTo>
                  <a:pt x="1972" y="779"/>
                  <a:pt x="1941" y="763"/>
                  <a:pt x="1893" y="763"/>
                </a:cubicBezTo>
                <a:lnTo>
                  <a:pt x="1718" y="763"/>
                </a:lnTo>
                <a:lnTo>
                  <a:pt x="1718" y="1352"/>
                </a:lnTo>
                <a:lnTo>
                  <a:pt x="1734" y="1352"/>
                </a:lnTo>
                <a:lnTo>
                  <a:pt x="1734" y="1129"/>
                </a:lnTo>
                <a:cubicBezTo>
                  <a:pt x="1734" y="1113"/>
                  <a:pt x="1750" y="1097"/>
                  <a:pt x="1766" y="1097"/>
                </a:cubicBezTo>
                <a:lnTo>
                  <a:pt x="1893" y="1097"/>
                </a:lnTo>
                <a:cubicBezTo>
                  <a:pt x="1941" y="1097"/>
                  <a:pt x="1972" y="1097"/>
                  <a:pt x="2004" y="1081"/>
                </a:cubicBezTo>
                <a:cubicBezTo>
                  <a:pt x="2036" y="1081"/>
                  <a:pt x="2052" y="1066"/>
                  <a:pt x="2068" y="1049"/>
                </a:cubicBezTo>
                <a:cubicBezTo>
                  <a:pt x="2084" y="1034"/>
                  <a:pt x="2084" y="1018"/>
                  <a:pt x="2100" y="1002"/>
                </a:cubicBezTo>
                <a:lnTo>
                  <a:pt x="2100" y="922"/>
                </a:lnTo>
                <a:lnTo>
                  <a:pt x="2100" y="858"/>
                </a:lnTo>
                <a:cubicBezTo>
                  <a:pt x="2084" y="843"/>
                  <a:pt x="2084" y="827"/>
                  <a:pt x="2068" y="811"/>
                </a:cubicBezTo>
                <a:close/>
                <a:moveTo>
                  <a:pt x="2084" y="986"/>
                </a:moveTo>
                <a:cubicBezTo>
                  <a:pt x="2068" y="1018"/>
                  <a:pt x="2052" y="1034"/>
                  <a:pt x="2052" y="1049"/>
                </a:cubicBezTo>
                <a:cubicBezTo>
                  <a:pt x="2036" y="1066"/>
                  <a:pt x="2004" y="1066"/>
                  <a:pt x="1988" y="1081"/>
                </a:cubicBezTo>
                <a:lnTo>
                  <a:pt x="1893" y="1081"/>
                </a:lnTo>
                <a:lnTo>
                  <a:pt x="1766" y="1081"/>
                </a:lnTo>
                <a:cubicBezTo>
                  <a:pt x="1750" y="1081"/>
                  <a:pt x="1734" y="1081"/>
                  <a:pt x="1734" y="1066"/>
                </a:cubicBezTo>
                <a:lnTo>
                  <a:pt x="1734" y="811"/>
                </a:lnTo>
                <a:cubicBezTo>
                  <a:pt x="1734" y="795"/>
                  <a:pt x="1750" y="779"/>
                  <a:pt x="1766" y="779"/>
                </a:cubicBezTo>
                <a:lnTo>
                  <a:pt x="1893" y="779"/>
                </a:lnTo>
                <a:lnTo>
                  <a:pt x="1988" y="779"/>
                </a:lnTo>
                <a:cubicBezTo>
                  <a:pt x="2004" y="795"/>
                  <a:pt x="2020" y="795"/>
                  <a:pt x="2036" y="811"/>
                </a:cubicBezTo>
                <a:cubicBezTo>
                  <a:pt x="2052" y="827"/>
                  <a:pt x="2068" y="843"/>
                  <a:pt x="2068" y="875"/>
                </a:cubicBezTo>
                <a:cubicBezTo>
                  <a:pt x="2084" y="891"/>
                  <a:pt x="2084" y="906"/>
                  <a:pt x="2084" y="922"/>
                </a:cubicBezTo>
                <a:close/>
                <a:moveTo>
                  <a:pt x="2115" y="779"/>
                </a:moveTo>
                <a:cubicBezTo>
                  <a:pt x="2084" y="748"/>
                  <a:pt x="2068" y="731"/>
                  <a:pt x="2020" y="731"/>
                </a:cubicBezTo>
                <a:cubicBezTo>
                  <a:pt x="1988" y="715"/>
                  <a:pt x="1957" y="700"/>
                  <a:pt x="1893" y="700"/>
                </a:cubicBezTo>
                <a:lnTo>
                  <a:pt x="1686" y="700"/>
                </a:lnTo>
                <a:cubicBezTo>
                  <a:pt x="1670" y="700"/>
                  <a:pt x="1654" y="715"/>
                  <a:pt x="1654" y="731"/>
                </a:cubicBezTo>
                <a:lnTo>
                  <a:pt x="1654" y="1367"/>
                </a:lnTo>
                <a:cubicBezTo>
                  <a:pt x="1654" y="1400"/>
                  <a:pt x="1670" y="1400"/>
                  <a:pt x="1686" y="1400"/>
                </a:cubicBezTo>
                <a:lnTo>
                  <a:pt x="1766" y="1400"/>
                </a:lnTo>
                <a:cubicBezTo>
                  <a:pt x="1781" y="1400"/>
                  <a:pt x="1797" y="1400"/>
                  <a:pt x="1797" y="1367"/>
                </a:cubicBezTo>
                <a:lnTo>
                  <a:pt x="1797" y="1161"/>
                </a:lnTo>
                <a:lnTo>
                  <a:pt x="1893" y="1161"/>
                </a:lnTo>
                <a:cubicBezTo>
                  <a:pt x="1957" y="1161"/>
                  <a:pt x="1988" y="1145"/>
                  <a:pt x="2020" y="1145"/>
                </a:cubicBezTo>
                <a:cubicBezTo>
                  <a:pt x="2068" y="1129"/>
                  <a:pt x="2084" y="1113"/>
                  <a:pt x="2115" y="1081"/>
                </a:cubicBezTo>
                <a:cubicBezTo>
                  <a:pt x="2132" y="1066"/>
                  <a:pt x="2147" y="1034"/>
                  <a:pt x="2147" y="1018"/>
                </a:cubicBezTo>
                <a:cubicBezTo>
                  <a:pt x="2163" y="986"/>
                  <a:pt x="2163" y="954"/>
                  <a:pt x="2163" y="922"/>
                </a:cubicBezTo>
                <a:cubicBezTo>
                  <a:pt x="2163" y="906"/>
                  <a:pt x="2163" y="875"/>
                  <a:pt x="2147" y="843"/>
                </a:cubicBezTo>
                <a:cubicBezTo>
                  <a:pt x="2147" y="811"/>
                  <a:pt x="2132" y="795"/>
                  <a:pt x="2115" y="779"/>
                </a:cubicBezTo>
                <a:close/>
                <a:moveTo>
                  <a:pt x="2100" y="1002"/>
                </a:moveTo>
                <a:cubicBezTo>
                  <a:pt x="2084" y="1018"/>
                  <a:pt x="2084" y="1034"/>
                  <a:pt x="2068" y="1049"/>
                </a:cubicBezTo>
                <a:cubicBezTo>
                  <a:pt x="2052" y="1066"/>
                  <a:pt x="2036" y="1081"/>
                  <a:pt x="2004" y="1081"/>
                </a:cubicBezTo>
                <a:cubicBezTo>
                  <a:pt x="1972" y="1097"/>
                  <a:pt x="1941" y="1097"/>
                  <a:pt x="1893" y="1097"/>
                </a:cubicBezTo>
                <a:lnTo>
                  <a:pt x="1766" y="1097"/>
                </a:lnTo>
                <a:cubicBezTo>
                  <a:pt x="1750" y="1097"/>
                  <a:pt x="1734" y="1113"/>
                  <a:pt x="1734" y="1129"/>
                </a:cubicBezTo>
                <a:lnTo>
                  <a:pt x="1734" y="1352"/>
                </a:lnTo>
                <a:lnTo>
                  <a:pt x="1718" y="1352"/>
                </a:lnTo>
                <a:lnTo>
                  <a:pt x="1718" y="763"/>
                </a:lnTo>
                <a:lnTo>
                  <a:pt x="1893" y="763"/>
                </a:lnTo>
                <a:cubicBezTo>
                  <a:pt x="1941" y="763"/>
                  <a:pt x="1972" y="779"/>
                  <a:pt x="2004" y="779"/>
                </a:cubicBezTo>
                <a:cubicBezTo>
                  <a:pt x="2036" y="795"/>
                  <a:pt x="2052" y="795"/>
                  <a:pt x="2068" y="811"/>
                </a:cubicBezTo>
                <a:cubicBezTo>
                  <a:pt x="2084" y="827"/>
                  <a:pt x="2084" y="843"/>
                  <a:pt x="2100" y="858"/>
                </a:cubicBezTo>
                <a:lnTo>
                  <a:pt x="2100" y="922"/>
                </a:lnTo>
                <a:close/>
                <a:moveTo>
                  <a:pt x="2036" y="811"/>
                </a:moveTo>
                <a:cubicBezTo>
                  <a:pt x="2020" y="795"/>
                  <a:pt x="2004" y="795"/>
                  <a:pt x="1988" y="779"/>
                </a:cubicBezTo>
                <a:lnTo>
                  <a:pt x="1893" y="779"/>
                </a:lnTo>
                <a:lnTo>
                  <a:pt x="1766" y="779"/>
                </a:lnTo>
                <a:cubicBezTo>
                  <a:pt x="1750" y="779"/>
                  <a:pt x="1734" y="795"/>
                  <a:pt x="1734" y="811"/>
                </a:cubicBezTo>
                <a:lnTo>
                  <a:pt x="1734" y="1066"/>
                </a:lnTo>
                <a:cubicBezTo>
                  <a:pt x="1734" y="1081"/>
                  <a:pt x="1750" y="1081"/>
                  <a:pt x="1766" y="1081"/>
                </a:cubicBezTo>
                <a:lnTo>
                  <a:pt x="1893" y="1081"/>
                </a:lnTo>
                <a:lnTo>
                  <a:pt x="1988" y="1081"/>
                </a:lnTo>
                <a:cubicBezTo>
                  <a:pt x="2004" y="1066"/>
                  <a:pt x="2036" y="1066"/>
                  <a:pt x="2052" y="1049"/>
                </a:cubicBezTo>
                <a:cubicBezTo>
                  <a:pt x="2052" y="1034"/>
                  <a:pt x="2068" y="1018"/>
                  <a:pt x="2084" y="986"/>
                </a:cubicBezTo>
                <a:lnTo>
                  <a:pt x="2084" y="922"/>
                </a:lnTo>
                <a:cubicBezTo>
                  <a:pt x="2084" y="906"/>
                  <a:pt x="2084" y="891"/>
                  <a:pt x="2068" y="875"/>
                </a:cubicBezTo>
                <a:cubicBezTo>
                  <a:pt x="2068" y="843"/>
                  <a:pt x="2052" y="827"/>
                  <a:pt x="2036" y="811"/>
                </a:cubicBezTo>
                <a:close/>
                <a:moveTo>
                  <a:pt x="2004" y="1002"/>
                </a:moveTo>
                <a:cubicBezTo>
                  <a:pt x="1988" y="1002"/>
                  <a:pt x="1988" y="1018"/>
                  <a:pt x="1972" y="1018"/>
                </a:cubicBezTo>
                <a:cubicBezTo>
                  <a:pt x="1957" y="1018"/>
                  <a:pt x="1924" y="1034"/>
                  <a:pt x="1893" y="1034"/>
                </a:cubicBezTo>
                <a:lnTo>
                  <a:pt x="1797" y="1034"/>
                </a:lnTo>
                <a:lnTo>
                  <a:pt x="1797" y="843"/>
                </a:lnTo>
                <a:lnTo>
                  <a:pt x="1893" y="843"/>
                </a:lnTo>
                <a:lnTo>
                  <a:pt x="1972" y="843"/>
                </a:lnTo>
                <a:cubicBezTo>
                  <a:pt x="1988" y="843"/>
                  <a:pt x="1988" y="858"/>
                  <a:pt x="2004" y="858"/>
                </a:cubicBezTo>
                <a:cubicBezTo>
                  <a:pt x="2004" y="875"/>
                  <a:pt x="2020" y="875"/>
                  <a:pt x="2020" y="891"/>
                </a:cubicBezTo>
                <a:lnTo>
                  <a:pt x="2020" y="922"/>
                </a:lnTo>
                <a:lnTo>
                  <a:pt x="2020" y="970"/>
                </a:lnTo>
                <a:cubicBezTo>
                  <a:pt x="2020" y="986"/>
                  <a:pt x="2009" y="991"/>
                  <a:pt x="2004" y="1002"/>
                </a:cubicBezTo>
                <a:close/>
                <a:moveTo>
                  <a:pt x="2624" y="811"/>
                </a:moveTo>
                <a:cubicBezTo>
                  <a:pt x="2609" y="795"/>
                  <a:pt x="2593" y="795"/>
                  <a:pt x="2561" y="779"/>
                </a:cubicBezTo>
                <a:cubicBezTo>
                  <a:pt x="2545" y="779"/>
                  <a:pt x="2497" y="763"/>
                  <a:pt x="2465" y="763"/>
                </a:cubicBezTo>
                <a:lnTo>
                  <a:pt x="2275" y="763"/>
                </a:lnTo>
                <a:lnTo>
                  <a:pt x="2275" y="1352"/>
                </a:lnTo>
                <a:lnTo>
                  <a:pt x="2290" y="1352"/>
                </a:lnTo>
                <a:lnTo>
                  <a:pt x="2290" y="1129"/>
                </a:lnTo>
                <a:cubicBezTo>
                  <a:pt x="2290" y="1113"/>
                  <a:pt x="2306" y="1097"/>
                  <a:pt x="2322" y="1097"/>
                </a:cubicBezTo>
                <a:lnTo>
                  <a:pt x="2465" y="1097"/>
                </a:lnTo>
                <a:cubicBezTo>
                  <a:pt x="2497" y="1097"/>
                  <a:pt x="2529" y="1097"/>
                  <a:pt x="2561" y="1081"/>
                </a:cubicBezTo>
                <a:cubicBezTo>
                  <a:pt x="2593" y="1081"/>
                  <a:pt x="2609" y="1066"/>
                  <a:pt x="2624" y="1049"/>
                </a:cubicBezTo>
                <a:cubicBezTo>
                  <a:pt x="2641" y="1034"/>
                  <a:pt x="2656" y="1018"/>
                  <a:pt x="2656" y="1002"/>
                </a:cubicBezTo>
                <a:cubicBezTo>
                  <a:pt x="2656" y="970"/>
                  <a:pt x="2672" y="954"/>
                  <a:pt x="2672" y="922"/>
                </a:cubicBezTo>
                <a:cubicBezTo>
                  <a:pt x="2672" y="906"/>
                  <a:pt x="2656" y="891"/>
                  <a:pt x="2656" y="858"/>
                </a:cubicBezTo>
                <a:cubicBezTo>
                  <a:pt x="2656" y="843"/>
                  <a:pt x="2641" y="827"/>
                  <a:pt x="2624" y="811"/>
                </a:cubicBezTo>
                <a:close/>
                <a:moveTo>
                  <a:pt x="2641" y="986"/>
                </a:moveTo>
                <a:cubicBezTo>
                  <a:pt x="2624" y="1018"/>
                  <a:pt x="2624" y="1034"/>
                  <a:pt x="2609" y="1049"/>
                </a:cubicBezTo>
                <a:cubicBezTo>
                  <a:pt x="2593" y="1066"/>
                  <a:pt x="2561" y="1066"/>
                  <a:pt x="2545" y="1081"/>
                </a:cubicBezTo>
                <a:lnTo>
                  <a:pt x="2465" y="1081"/>
                </a:lnTo>
                <a:lnTo>
                  <a:pt x="2322" y="1081"/>
                </a:lnTo>
                <a:cubicBezTo>
                  <a:pt x="2306" y="1081"/>
                  <a:pt x="2290" y="1081"/>
                  <a:pt x="2290" y="1066"/>
                </a:cubicBezTo>
                <a:lnTo>
                  <a:pt x="2290" y="811"/>
                </a:lnTo>
                <a:cubicBezTo>
                  <a:pt x="2290" y="795"/>
                  <a:pt x="2306" y="779"/>
                  <a:pt x="2322" y="779"/>
                </a:cubicBezTo>
                <a:lnTo>
                  <a:pt x="2450" y="779"/>
                </a:lnTo>
                <a:lnTo>
                  <a:pt x="2545" y="779"/>
                </a:lnTo>
                <a:cubicBezTo>
                  <a:pt x="2561" y="795"/>
                  <a:pt x="2577" y="795"/>
                  <a:pt x="2593" y="811"/>
                </a:cubicBezTo>
                <a:cubicBezTo>
                  <a:pt x="2609" y="827"/>
                  <a:pt x="2624" y="843"/>
                  <a:pt x="2641" y="875"/>
                </a:cubicBezTo>
                <a:lnTo>
                  <a:pt x="2641" y="922"/>
                </a:lnTo>
                <a:close/>
                <a:moveTo>
                  <a:pt x="2672" y="779"/>
                </a:moveTo>
                <a:cubicBezTo>
                  <a:pt x="2641" y="748"/>
                  <a:pt x="2624" y="731"/>
                  <a:pt x="2593" y="731"/>
                </a:cubicBezTo>
                <a:cubicBezTo>
                  <a:pt x="2545" y="715"/>
                  <a:pt x="2513" y="700"/>
                  <a:pt x="2465" y="700"/>
                </a:cubicBezTo>
                <a:lnTo>
                  <a:pt x="2243" y="700"/>
                </a:lnTo>
                <a:cubicBezTo>
                  <a:pt x="2227" y="700"/>
                  <a:pt x="2211" y="715"/>
                  <a:pt x="2211" y="731"/>
                </a:cubicBezTo>
                <a:lnTo>
                  <a:pt x="2211" y="1367"/>
                </a:lnTo>
                <a:cubicBezTo>
                  <a:pt x="2211" y="1400"/>
                  <a:pt x="2227" y="1400"/>
                  <a:pt x="2243" y="1400"/>
                </a:cubicBezTo>
                <a:lnTo>
                  <a:pt x="2322" y="1400"/>
                </a:lnTo>
                <a:cubicBezTo>
                  <a:pt x="2338" y="1400"/>
                  <a:pt x="2354" y="1400"/>
                  <a:pt x="2354" y="1367"/>
                </a:cubicBezTo>
                <a:lnTo>
                  <a:pt x="2354" y="1161"/>
                </a:lnTo>
                <a:lnTo>
                  <a:pt x="2465" y="1161"/>
                </a:lnTo>
                <a:cubicBezTo>
                  <a:pt x="2513" y="1161"/>
                  <a:pt x="2545" y="1145"/>
                  <a:pt x="2577" y="1145"/>
                </a:cubicBezTo>
                <a:cubicBezTo>
                  <a:pt x="2624" y="1129"/>
                  <a:pt x="2641" y="1113"/>
                  <a:pt x="2672" y="1081"/>
                </a:cubicBezTo>
                <a:cubicBezTo>
                  <a:pt x="2688" y="1066"/>
                  <a:pt x="2704" y="1034"/>
                  <a:pt x="2720" y="1018"/>
                </a:cubicBezTo>
                <a:lnTo>
                  <a:pt x="2720" y="922"/>
                </a:lnTo>
                <a:lnTo>
                  <a:pt x="2720" y="843"/>
                </a:lnTo>
                <a:cubicBezTo>
                  <a:pt x="2704" y="811"/>
                  <a:pt x="2688" y="795"/>
                  <a:pt x="2672" y="779"/>
                </a:cubicBezTo>
                <a:close/>
                <a:moveTo>
                  <a:pt x="2656" y="1002"/>
                </a:moveTo>
                <a:cubicBezTo>
                  <a:pt x="2656" y="1018"/>
                  <a:pt x="2641" y="1034"/>
                  <a:pt x="2624" y="1049"/>
                </a:cubicBezTo>
                <a:cubicBezTo>
                  <a:pt x="2609" y="1066"/>
                  <a:pt x="2593" y="1081"/>
                  <a:pt x="2561" y="1081"/>
                </a:cubicBezTo>
                <a:cubicBezTo>
                  <a:pt x="2529" y="1097"/>
                  <a:pt x="2497" y="1097"/>
                  <a:pt x="2465" y="1097"/>
                </a:cubicBezTo>
                <a:lnTo>
                  <a:pt x="2322" y="1097"/>
                </a:lnTo>
                <a:cubicBezTo>
                  <a:pt x="2306" y="1097"/>
                  <a:pt x="2290" y="1113"/>
                  <a:pt x="2290" y="1129"/>
                </a:cubicBezTo>
                <a:lnTo>
                  <a:pt x="2290" y="1352"/>
                </a:lnTo>
                <a:lnTo>
                  <a:pt x="2275" y="1352"/>
                </a:lnTo>
                <a:lnTo>
                  <a:pt x="2275" y="763"/>
                </a:lnTo>
                <a:lnTo>
                  <a:pt x="2465" y="763"/>
                </a:lnTo>
                <a:cubicBezTo>
                  <a:pt x="2497" y="763"/>
                  <a:pt x="2545" y="779"/>
                  <a:pt x="2561" y="779"/>
                </a:cubicBezTo>
                <a:cubicBezTo>
                  <a:pt x="2593" y="795"/>
                  <a:pt x="2609" y="795"/>
                  <a:pt x="2624" y="811"/>
                </a:cubicBezTo>
                <a:cubicBezTo>
                  <a:pt x="2641" y="827"/>
                  <a:pt x="2656" y="843"/>
                  <a:pt x="2656" y="858"/>
                </a:cubicBezTo>
                <a:cubicBezTo>
                  <a:pt x="2656" y="891"/>
                  <a:pt x="2672" y="906"/>
                  <a:pt x="2672" y="922"/>
                </a:cubicBezTo>
                <a:cubicBezTo>
                  <a:pt x="2672" y="954"/>
                  <a:pt x="2656" y="970"/>
                  <a:pt x="2656" y="1002"/>
                </a:cubicBezTo>
                <a:close/>
                <a:moveTo>
                  <a:pt x="2593" y="811"/>
                </a:moveTo>
                <a:cubicBezTo>
                  <a:pt x="2577" y="795"/>
                  <a:pt x="2561" y="795"/>
                  <a:pt x="2545" y="779"/>
                </a:cubicBezTo>
                <a:lnTo>
                  <a:pt x="2450" y="779"/>
                </a:lnTo>
                <a:lnTo>
                  <a:pt x="2322" y="779"/>
                </a:lnTo>
                <a:cubicBezTo>
                  <a:pt x="2306" y="779"/>
                  <a:pt x="2290" y="795"/>
                  <a:pt x="2290" y="811"/>
                </a:cubicBezTo>
                <a:lnTo>
                  <a:pt x="2290" y="1066"/>
                </a:lnTo>
                <a:cubicBezTo>
                  <a:pt x="2290" y="1081"/>
                  <a:pt x="2306" y="1081"/>
                  <a:pt x="2322" y="1081"/>
                </a:cubicBezTo>
                <a:lnTo>
                  <a:pt x="2465" y="1081"/>
                </a:lnTo>
                <a:lnTo>
                  <a:pt x="2545" y="1081"/>
                </a:lnTo>
                <a:cubicBezTo>
                  <a:pt x="2561" y="1066"/>
                  <a:pt x="2593" y="1066"/>
                  <a:pt x="2609" y="1049"/>
                </a:cubicBezTo>
                <a:cubicBezTo>
                  <a:pt x="2624" y="1034"/>
                  <a:pt x="2624" y="1018"/>
                  <a:pt x="2641" y="986"/>
                </a:cubicBezTo>
                <a:lnTo>
                  <a:pt x="2641" y="922"/>
                </a:lnTo>
                <a:lnTo>
                  <a:pt x="2641" y="875"/>
                </a:lnTo>
                <a:cubicBezTo>
                  <a:pt x="2624" y="843"/>
                  <a:pt x="2609" y="827"/>
                  <a:pt x="2593" y="811"/>
                </a:cubicBezTo>
                <a:close/>
                <a:moveTo>
                  <a:pt x="2561" y="1002"/>
                </a:moveTo>
                <a:cubicBezTo>
                  <a:pt x="2550" y="1007"/>
                  <a:pt x="2545" y="1018"/>
                  <a:pt x="2529" y="1018"/>
                </a:cubicBezTo>
                <a:cubicBezTo>
                  <a:pt x="2513" y="1018"/>
                  <a:pt x="2481" y="1034"/>
                  <a:pt x="2465" y="1034"/>
                </a:cubicBezTo>
                <a:lnTo>
                  <a:pt x="2354" y="1034"/>
                </a:lnTo>
                <a:lnTo>
                  <a:pt x="2354" y="843"/>
                </a:lnTo>
                <a:lnTo>
                  <a:pt x="2450" y="843"/>
                </a:lnTo>
                <a:lnTo>
                  <a:pt x="2529" y="843"/>
                </a:lnTo>
                <a:cubicBezTo>
                  <a:pt x="2545" y="843"/>
                  <a:pt x="2545" y="858"/>
                  <a:pt x="2561" y="858"/>
                </a:cubicBezTo>
                <a:cubicBezTo>
                  <a:pt x="2561" y="875"/>
                  <a:pt x="2577" y="875"/>
                  <a:pt x="2577" y="891"/>
                </a:cubicBezTo>
                <a:lnTo>
                  <a:pt x="2577" y="922"/>
                </a:lnTo>
                <a:lnTo>
                  <a:pt x="2577" y="970"/>
                </a:lnTo>
                <a:cubicBezTo>
                  <a:pt x="2577" y="986"/>
                  <a:pt x="2566" y="991"/>
                  <a:pt x="2561" y="1002"/>
                </a:cubicBezTo>
                <a:close/>
                <a:moveTo>
                  <a:pt x="287" y="2688"/>
                </a:moveTo>
                <a:lnTo>
                  <a:pt x="1432" y="2688"/>
                </a:lnTo>
                <a:lnTo>
                  <a:pt x="1320" y="3229"/>
                </a:lnTo>
                <a:cubicBezTo>
                  <a:pt x="1320" y="3260"/>
                  <a:pt x="1320" y="3276"/>
                  <a:pt x="1336" y="3292"/>
                </a:cubicBezTo>
                <a:cubicBezTo>
                  <a:pt x="1352" y="3324"/>
                  <a:pt x="1384" y="3324"/>
                  <a:pt x="1400" y="3324"/>
                </a:cubicBezTo>
                <a:lnTo>
                  <a:pt x="2338" y="3324"/>
                </a:lnTo>
                <a:cubicBezTo>
                  <a:pt x="2370" y="3324"/>
                  <a:pt x="2386" y="3324"/>
                  <a:pt x="2402" y="3292"/>
                </a:cubicBezTo>
                <a:cubicBezTo>
                  <a:pt x="2418" y="3276"/>
                  <a:pt x="2433" y="3260"/>
                  <a:pt x="2418" y="3229"/>
                </a:cubicBezTo>
                <a:lnTo>
                  <a:pt x="2306" y="2688"/>
                </a:lnTo>
                <a:lnTo>
                  <a:pt x="3547" y="2688"/>
                </a:lnTo>
                <a:cubicBezTo>
                  <a:pt x="3706" y="2688"/>
                  <a:pt x="3833" y="2561"/>
                  <a:pt x="3833" y="2418"/>
                </a:cubicBezTo>
                <a:lnTo>
                  <a:pt x="3833" y="286"/>
                </a:lnTo>
                <a:cubicBezTo>
                  <a:pt x="3833" y="127"/>
                  <a:pt x="3706" y="0"/>
                  <a:pt x="3547" y="0"/>
                </a:cubicBezTo>
                <a:lnTo>
                  <a:pt x="287" y="0"/>
                </a:lnTo>
                <a:cubicBezTo>
                  <a:pt x="127" y="0"/>
                  <a:pt x="0" y="127"/>
                  <a:pt x="0" y="286"/>
                </a:cubicBezTo>
                <a:lnTo>
                  <a:pt x="0" y="2418"/>
                </a:lnTo>
                <a:cubicBezTo>
                  <a:pt x="0" y="2561"/>
                  <a:pt x="127" y="2688"/>
                  <a:pt x="287" y="2688"/>
                </a:cubicBezTo>
                <a:close/>
                <a:moveTo>
                  <a:pt x="1495" y="3165"/>
                </a:moveTo>
                <a:lnTo>
                  <a:pt x="1606" y="2688"/>
                </a:lnTo>
                <a:lnTo>
                  <a:pt x="2147" y="2688"/>
                </a:lnTo>
                <a:lnTo>
                  <a:pt x="2243" y="3165"/>
                </a:lnTo>
                <a:close/>
                <a:moveTo>
                  <a:pt x="159" y="286"/>
                </a:moveTo>
                <a:cubicBezTo>
                  <a:pt x="159" y="222"/>
                  <a:pt x="223" y="159"/>
                  <a:pt x="287" y="159"/>
                </a:cubicBezTo>
                <a:lnTo>
                  <a:pt x="3547" y="159"/>
                </a:lnTo>
                <a:cubicBezTo>
                  <a:pt x="3626" y="159"/>
                  <a:pt x="3674" y="222"/>
                  <a:pt x="3674" y="286"/>
                </a:cubicBezTo>
                <a:lnTo>
                  <a:pt x="3674" y="2036"/>
                </a:lnTo>
                <a:lnTo>
                  <a:pt x="159" y="2036"/>
                </a:lnTo>
                <a:close/>
                <a:moveTo>
                  <a:pt x="159" y="2195"/>
                </a:moveTo>
                <a:lnTo>
                  <a:pt x="3674" y="2195"/>
                </a:lnTo>
                <a:lnTo>
                  <a:pt x="3674" y="2418"/>
                </a:lnTo>
                <a:cubicBezTo>
                  <a:pt x="3674" y="2481"/>
                  <a:pt x="3626" y="2529"/>
                  <a:pt x="3547" y="2529"/>
                </a:cubicBezTo>
                <a:lnTo>
                  <a:pt x="2211" y="2529"/>
                </a:lnTo>
                <a:lnTo>
                  <a:pt x="1543" y="2529"/>
                </a:lnTo>
                <a:lnTo>
                  <a:pt x="287" y="2529"/>
                </a:lnTo>
                <a:cubicBezTo>
                  <a:pt x="223" y="2529"/>
                  <a:pt x="159" y="2481"/>
                  <a:pt x="159" y="241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0" name="Freeform: Shape 19">
            <a:extLst>
              <a:ext uri="{FF2B5EF4-FFF2-40B4-BE49-F238E27FC236}">
                <a16:creationId xmlns:a16="http://schemas.microsoft.com/office/drawing/2014/main" id="{B986D8A5-7380-134B-89EA-AE514E98CBD7}"/>
              </a:ext>
            </a:extLst>
          </p:cNvPr>
          <p:cNvSpPr/>
          <p:nvPr/>
        </p:nvSpPr>
        <p:spPr>
          <a:xfrm>
            <a:off x="1566035" y="3266530"/>
            <a:ext cx="1980720" cy="1448639"/>
          </a:xfrm>
          <a:custGeom>
            <a:avLst/>
            <a:gdLst/>
            <a:ahLst/>
            <a:cxnLst>
              <a:cxn ang="3cd4">
                <a:pos x="hc" y="t"/>
              </a:cxn>
              <a:cxn ang="cd2">
                <a:pos x="l" y="vc"/>
              </a:cxn>
              <a:cxn ang="cd4">
                <a:pos x="hc" y="b"/>
              </a:cxn>
              <a:cxn ang="0">
                <a:pos x="r" y="vc"/>
              </a:cxn>
            </a:cxnLst>
            <a:rect l="l" t="t" r="r" b="b"/>
            <a:pathLst>
              <a:path w="5503" h="4025">
                <a:moveTo>
                  <a:pt x="80" y="4025"/>
                </a:moveTo>
                <a:lnTo>
                  <a:pt x="5424" y="4025"/>
                </a:lnTo>
                <a:cubicBezTo>
                  <a:pt x="5472" y="4025"/>
                  <a:pt x="5503" y="3993"/>
                  <a:pt x="5503" y="3945"/>
                </a:cubicBezTo>
                <a:lnTo>
                  <a:pt x="5503" y="80"/>
                </a:lnTo>
                <a:cubicBezTo>
                  <a:pt x="5503" y="32"/>
                  <a:pt x="5472" y="0"/>
                  <a:pt x="5424" y="0"/>
                </a:cubicBezTo>
                <a:lnTo>
                  <a:pt x="80" y="0"/>
                </a:lnTo>
                <a:cubicBezTo>
                  <a:pt x="32" y="0"/>
                  <a:pt x="0" y="32"/>
                  <a:pt x="0" y="80"/>
                </a:cubicBezTo>
                <a:lnTo>
                  <a:pt x="0" y="3945"/>
                </a:lnTo>
                <a:cubicBezTo>
                  <a:pt x="0" y="3993"/>
                  <a:pt x="32" y="4025"/>
                  <a:pt x="80" y="4025"/>
                </a:cubicBezTo>
                <a:close/>
                <a:moveTo>
                  <a:pt x="159" y="160"/>
                </a:moveTo>
                <a:lnTo>
                  <a:pt x="5344" y="160"/>
                </a:lnTo>
                <a:lnTo>
                  <a:pt x="5344" y="923"/>
                </a:lnTo>
                <a:lnTo>
                  <a:pt x="175" y="923"/>
                </a:lnTo>
                <a:lnTo>
                  <a:pt x="159" y="923"/>
                </a:lnTo>
                <a:close/>
                <a:moveTo>
                  <a:pt x="159" y="1082"/>
                </a:moveTo>
                <a:lnTo>
                  <a:pt x="175" y="1082"/>
                </a:lnTo>
                <a:lnTo>
                  <a:pt x="5344" y="1082"/>
                </a:lnTo>
                <a:lnTo>
                  <a:pt x="5344" y="3866"/>
                </a:lnTo>
                <a:lnTo>
                  <a:pt x="159" y="3866"/>
                </a:lnTo>
                <a:close/>
                <a:moveTo>
                  <a:pt x="843" y="557"/>
                </a:moveTo>
                <a:cubicBezTo>
                  <a:pt x="907" y="557"/>
                  <a:pt x="954" y="509"/>
                  <a:pt x="954" y="446"/>
                </a:cubicBezTo>
                <a:cubicBezTo>
                  <a:pt x="954" y="382"/>
                  <a:pt x="907" y="335"/>
                  <a:pt x="843" y="335"/>
                </a:cubicBezTo>
                <a:cubicBezTo>
                  <a:pt x="779" y="335"/>
                  <a:pt x="716" y="382"/>
                  <a:pt x="716" y="446"/>
                </a:cubicBezTo>
                <a:cubicBezTo>
                  <a:pt x="716" y="509"/>
                  <a:pt x="779" y="557"/>
                  <a:pt x="843" y="557"/>
                </a:cubicBezTo>
                <a:close/>
                <a:moveTo>
                  <a:pt x="1304" y="557"/>
                </a:moveTo>
                <a:cubicBezTo>
                  <a:pt x="1368" y="557"/>
                  <a:pt x="1416" y="509"/>
                  <a:pt x="1416" y="446"/>
                </a:cubicBezTo>
                <a:cubicBezTo>
                  <a:pt x="1416" y="382"/>
                  <a:pt x="1368" y="335"/>
                  <a:pt x="1304" y="335"/>
                </a:cubicBezTo>
                <a:cubicBezTo>
                  <a:pt x="1240" y="335"/>
                  <a:pt x="1177" y="382"/>
                  <a:pt x="1177" y="446"/>
                </a:cubicBezTo>
                <a:cubicBezTo>
                  <a:pt x="1177" y="509"/>
                  <a:pt x="1240" y="557"/>
                  <a:pt x="1304" y="557"/>
                </a:cubicBezTo>
                <a:close/>
                <a:moveTo>
                  <a:pt x="1766" y="557"/>
                </a:moveTo>
                <a:cubicBezTo>
                  <a:pt x="1829" y="557"/>
                  <a:pt x="1877" y="509"/>
                  <a:pt x="1877" y="446"/>
                </a:cubicBezTo>
                <a:cubicBezTo>
                  <a:pt x="1877" y="382"/>
                  <a:pt x="1829" y="335"/>
                  <a:pt x="1766" y="335"/>
                </a:cubicBezTo>
                <a:cubicBezTo>
                  <a:pt x="1702" y="335"/>
                  <a:pt x="1639" y="382"/>
                  <a:pt x="1639" y="446"/>
                </a:cubicBezTo>
                <a:cubicBezTo>
                  <a:pt x="1639" y="509"/>
                  <a:pt x="1702" y="557"/>
                  <a:pt x="1766" y="55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1" name="Freeform: Shape 1">
            <a:extLst>
              <a:ext uri="{FF2B5EF4-FFF2-40B4-BE49-F238E27FC236}">
                <a16:creationId xmlns:a16="http://schemas.microsoft.com/office/drawing/2014/main" id="{3F9AFEBE-B686-544E-A0CB-8842F6F5762C}"/>
              </a:ext>
            </a:extLst>
          </p:cNvPr>
          <p:cNvSpPr/>
          <p:nvPr/>
        </p:nvSpPr>
        <p:spPr>
          <a:xfrm>
            <a:off x="17258250" y="3567527"/>
            <a:ext cx="1706040" cy="1196280"/>
          </a:xfrm>
          <a:custGeom>
            <a:avLst/>
            <a:gdLst/>
            <a:ahLst/>
            <a:cxnLst>
              <a:cxn ang="3cd4">
                <a:pos x="hc" y="t"/>
              </a:cxn>
              <a:cxn ang="cd2">
                <a:pos x="l" y="vc"/>
              </a:cxn>
              <a:cxn ang="cd4">
                <a:pos x="hc" y="b"/>
              </a:cxn>
              <a:cxn ang="0">
                <a:pos x="r" y="vc"/>
              </a:cxn>
            </a:cxnLst>
            <a:rect l="l" t="t" r="r" b="b"/>
            <a:pathLst>
              <a:path w="4740" h="3324">
                <a:moveTo>
                  <a:pt x="350" y="3324"/>
                </a:moveTo>
                <a:lnTo>
                  <a:pt x="4310" y="3324"/>
                </a:lnTo>
                <a:cubicBezTo>
                  <a:pt x="4518" y="3324"/>
                  <a:pt x="4740" y="3102"/>
                  <a:pt x="4740" y="2911"/>
                </a:cubicBezTo>
                <a:lnTo>
                  <a:pt x="4740" y="2768"/>
                </a:lnTo>
                <a:cubicBezTo>
                  <a:pt x="4740" y="2720"/>
                  <a:pt x="4708" y="2688"/>
                  <a:pt x="4661" y="2688"/>
                </a:cubicBezTo>
                <a:lnTo>
                  <a:pt x="4422" y="2688"/>
                </a:lnTo>
                <a:lnTo>
                  <a:pt x="4422" y="2768"/>
                </a:lnTo>
                <a:cubicBezTo>
                  <a:pt x="4422" y="2815"/>
                  <a:pt x="4390" y="2847"/>
                  <a:pt x="4342" y="2847"/>
                </a:cubicBezTo>
                <a:lnTo>
                  <a:pt x="4581" y="2847"/>
                </a:lnTo>
                <a:lnTo>
                  <a:pt x="4581" y="2911"/>
                </a:lnTo>
                <a:cubicBezTo>
                  <a:pt x="4581" y="3022"/>
                  <a:pt x="4438" y="3165"/>
                  <a:pt x="4310" y="3165"/>
                </a:cubicBezTo>
                <a:lnTo>
                  <a:pt x="350" y="3165"/>
                </a:lnTo>
                <a:cubicBezTo>
                  <a:pt x="238" y="3165"/>
                  <a:pt x="159" y="3022"/>
                  <a:pt x="159" y="2911"/>
                </a:cubicBezTo>
                <a:lnTo>
                  <a:pt x="159" y="2847"/>
                </a:lnTo>
                <a:lnTo>
                  <a:pt x="398" y="2847"/>
                </a:lnTo>
                <a:cubicBezTo>
                  <a:pt x="350" y="2847"/>
                  <a:pt x="318" y="2815"/>
                  <a:pt x="318" y="2768"/>
                </a:cubicBezTo>
                <a:lnTo>
                  <a:pt x="318" y="2688"/>
                </a:lnTo>
                <a:lnTo>
                  <a:pt x="80" y="2688"/>
                </a:lnTo>
                <a:cubicBezTo>
                  <a:pt x="32" y="2688"/>
                  <a:pt x="0" y="2720"/>
                  <a:pt x="0" y="2768"/>
                </a:cubicBezTo>
                <a:lnTo>
                  <a:pt x="0" y="2911"/>
                </a:lnTo>
                <a:cubicBezTo>
                  <a:pt x="0" y="3102"/>
                  <a:pt x="143" y="3324"/>
                  <a:pt x="350" y="3324"/>
                </a:cubicBezTo>
                <a:close/>
                <a:moveTo>
                  <a:pt x="398" y="2847"/>
                </a:moveTo>
                <a:lnTo>
                  <a:pt x="4342" y="2847"/>
                </a:lnTo>
                <a:cubicBezTo>
                  <a:pt x="4390" y="2847"/>
                  <a:pt x="4422" y="2815"/>
                  <a:pt x="4422" y="2768"/>
                </a:cubicBezTo>
                <a:lnTo>
                  <a:pt x="4422" y="2688"/>
                </a:lnTo>
                <a:lnTo>
                  <a:pt x="4422" y="334"/>
                </a:lnTo>
                <a:cubicBezTo>
                  <a:pt x="4422" y="127"/>
                  <a:pt x="4279" y="0"/>
                  <a:pt x="4072" y="0"/>
                </a:cubicBezTo>
                <a:lnTo>
                  <a:pt x="652" y="0"/>
                </a:lnTo>
                <a:cubicBezTo>
                  <a:pt x="446" y="0"/>
                  <a:pt x="318" y="127"/>
                  <a:pt x="318" y="334"/>
                </a:cubicBezTo>
                <a:lnTo>
                  <a:pt x="318" y="2688"/>
                </a:lnTo>
                <a:lnTo>
                  <a:pt x="318" y="2768"/>
                </a:lnTo>
                <a:cubicBezTo>
                  <a:pt x="318" y="2815"/>
                  <a:pt x="350" y="2847"/>
                  <a:pt x="398" y="2847"/>
                </a:cubicBezTo>
                <a:close/>
                <a:moveTo>
                  <a:pt x="477" y="334"/>
                </a:moveTo>
                <a:cubicBezTo>
                  <a:pt x="477" y="207"/>
                  <a:pt x="525" y="159"/>
                  <a:pt x="652" y="159"/>
                </a:cubicBezTo>
                <a:lnTo>
                  <a:pt x="4072" y="159"/>
                </a:lnTo>
                <a:cubicBezTo>
                  <a:pt x="4119" y="159"/>
                  <a:pt x="4263" y="175"/>
                  <a:pt x="4263" y="334"/>
                </a:cubicBezTo>
                <a:lnTo>
                  <a:pt x="4263" y="2688"/>
                </a:lnTo>
                <a:lnTo>
                  <a:pt x="477" y="2688"/>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1" name="TextBox 40">
            <a:extLst>
              <a:ext uri="{FF2B5EF4-FFF2-40B4-BE49-F238E27FC236}">
                <a16:creationId xmlns:a16="http://schemas.microsoft.com/office/drawing/2014/main" id="{CAFB8BF4-EF73-DA48-A521-2016CAC924D7}"/>
              </a:ext>
            </a:extLst>
          </p:cNvPr>
          <p:cNvSpPr txBox="1"/>
          <p:nvPr/>
        </p:nvSpPr>
        <p:spPr>
          <a:xfrm>
            <a:off x="12833318" y="1161757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ttery 5</a:t>
            </a:r>
          </a:p>
        </p:txBody>
      </p:sp>
      <p:sp>
        <p:nvSpPr>
          <p:cNvPr id="42" name="TextBox 41">
            <a:extLst>
              <a:ext uri="{FF2B5EF4-FFF2-40B4-BE49-F238E27FC236}">
                <a16:creationId xmlns:a16="http://schemas.microsoft.com/office/drawing/2014/main" id="{DE7D1FF8-5759-F04B-BCF5-5EACA3112B5F}"/>
              </a:ext>
            </a:extLst>
          </p:cNvPr>
          <p:cNvSpPr txBox="1"/>
          <p:nvPr/>
        </p:nvSpPr>
        <p:spPr>
          <a:xfrm>
            <a:off x="16673228" y="11617576"/>
            <a:ext cx="311233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ttery 6</a:t>
            </a:r>
          </a:p>
        </p:txBody>
      </p:sp>
      <p:sp>
        <p:nvSpPr>
          <p:cNvPr id="43" name="TextBox 42">
            <a:extLst>
              <a:ext uri="{FF2B5EF4-FFF2-40B4-BE49-F238E27FC236}">
                <a16:creationId xmlns:a16="http://schemas.microsoft.com/office/drawing/2014/main" id="{61DD047C-4801-7C46-BBDA-FA8EB6A7E25B}"/>
              </a:ext>
            </a:extLst>
          </p:cNvPr>
          <p:cNvSpPr txBox="1"/>
          <p:nvPr/>
        </p:nvSpPr>
        <p:spPr>
          <a:xfrm>
            <a:off x="20471840" y="1161757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r Battery</a:t>
            </a:r>
          </a:p>
        </p:txBody>
      </p:sp>
      <p:sp>
        <p:nvSpPr>
          <p:cNvPr id="44" name="Freeform: Shape 3">
            <a:extLst>
              <a:ext uri="{FF2B5EF4-FFF2-40B4-BE49-F238E27FC236}">
                <a16:creationId xmlns:a16="http://schemas.microsoft.com/office/drawing/2014/main" id="{10B45586-1BB1-A74E-97DA-428F8936B4F2}"/>
              </a:ext>
            </a:extLst>
          </p:cNvPr>
          <p:cNvSpPr/>
          <p:nvPr/>
        </p:nvSpPr>
        <p:spPr>
          <a:xfrm>
            <a:off x="17402114" y="9975164"/>
            <a:ext cx="1654560" cy="795600"/>
          </a:xfrm>
          <a:custGeom>
            <a:avLst/>
            <a:gdLst/>
            <a:ahLst/>
            <a:cxnLst>
              <a:cxn ang="3cd4">
                <a:pos x="hc" y="t"/>
              </a:cxn>
              <a:cxn ang="cd2">
                <a:pos x="l" y="vc"/>
              </a:cxn>
              <a:cxn ang="cd4">
                <a:pos x="hc" y="b"/>
              </a:cxn>
              <a:cxn ang="0">
                <a:pos x="r" y="vc"/>
              </a:cxn>
            </a:cxnLst>
            <a:rect l="l" t="t" r="r" b="b"/>
            <a:pathLst>
              <a:path w="4597" h="2211">
                <a:moveTo>
                  <a:pt x="3722" y="2211"/>
                </a:moveTo>
                <a:cubicBezTo>
                  <a:pt x="3945" y="2211"/>
                  <a:pt x="4120" y="2036"/>
                  <a:pt x="4120" y="1830"/>
                </a:cubicBezTo>
                <a:lnTo>
                  <a:pt x="4120" y="1591"/>
                </a:lnTo>
                <a:lnTo>
                  <a:pt x="4518" y="1591"/>
                </a:lnTo>
                <a:cubicBezTo>
                  <a:pt x="4565" y="1591"/>
                  <a:pt x="4597" y="1544"/>
                  <a:pt x="4597" y="1512"/>
                </a:cubicBezTo>
                <a:lnTo>
                  <a:pt x="4597" y="717"/>
                </a:lnTo>
                <a:cubicBezTo>
                  <a:pt x="4597" y="669"/>
                  <a:pt x="4565" y="637"/>
                  <a:pt x="4518" y="637"/>
                </a:cubicBezTo>
                <a:lnTo>
                  <a:pt x="4120" y="637"/>
                </a:lnTo>
                <a:lnTo>
                  <a:pt x="4120" y="398"/>
                </a:lnTo>
                <a:cubicBezTo>
                  <a:pt x="4120" y="176"/>
                  <a:pt x="3945" y="0"/>
                  <a:pt x="3722" y="0"/>
                </a:cubicBezTo>
                <a:lnTo>
                  <a:pt x="398" y="0"/>
                </a:lnTo>
                <a:cubicBezTo>
                  <a:pt x="175" y="0"/>
                  <a:pt x="0" y="176"/>
                  <a:pt x="0" y="398"/>
                </a:cubicBezTo>
                <a:lnTo>
                  <a:pt x="0" y="1830"/>
                </a:lnTo>
                <a:cubicBezTo>
                  <a:pt x="0" y="2036"/>
                  <a:pt x="175" y="2211"/>
                  <a:pt x="398" y="2211"/>
                </a:cubicBezTo>
                <a:close/>
                <a:moveTo>
                  <a:pt x="4120" y="796"/>
                </a:moveTo>
                <a:lnTo>
                  <a:pt x="4438" y="796"/>
                </a:lnTo>
                <a:lnTo>
                  <a:pt x="4438" y="1432"/>
                </a:lnTo>
                <a:lnTo>
                  <a:pt x="4120" y="1432"/>
                </a:lnTo>
                <a:close/>
                <a:moveTo>
                  <a:pt x="160" y="1830"/>
                </a:moveTo>
                <a:lnTo>
                  <a:pt x="160" y="398"/>
                </a:lnTo>
                <a:cubicBezTo>
                  <a:pt x="160" y="255"/>
                  <a:pt x="255" y="160"/>
                  <a:pt x="398" y="160"/>
                </a:cubicBezTo>
                <a:lnTo>
                  <a:pt x="3722" y="160"/>
                </a:lnTo>
                <a:cubicBezTo>
                  <a:pt x="3865" y="160"/>
                  <a:pt x="3961" y="255"/>
                  <a:pt x="3961" y="398"/>
                </a:cubicBezTo>
                <a:lnTo>
                  <a:pt x="3961" y="717"/>
                </a:lnTo>
                <a:lnTo>
                  <a:pt x="3961" y="1512"/>
                </a:lnTo>
                <a:lnTo>
                  <a:pt x="3961" y="1830"/>
                </a:lnTo>
                <a:cubicBezTo>
                  <a:pt x="3961" y="1957"/>
                  <a:pt x="3865" y="2053"/>
                  <a:pt x="3722" y="2053"/>
                </a:cubicBezTo>
                <a:lnTo>
                  <a:pt x="398" y="2053"/>
                </a:lnTo>
                <a:cubicBezTo>
                  <a:pt x="255" y="2053"/>
                  <a:pt x="160" y="1957"/>
                  <a:pt x="160" y="1830"/>
                </a:cubicBezTo>
                <a:close/>
                <a:moveTo>
                  <a:pt x="2116" y="1702"/>
                </a:moveTo>
                <a:cubicBezTo>
                  <a:pt x="2482" y="1702"/>
                  <a:pt x="2800" y="1400"/>
                  <a:pt x="2800" y="1035"/>
                </a:cubicBezTo>
                <a:cubicBezTo>
                  <a:pt x="2800" y="653"/>
                  <a:pt x="2482" y="351"/>
                  <a:pt x="2116" y="351"/>
                </a:cubicBezTo>
                <a:cubicBezTo>
                  <a:pt x="1750" y="351"/>
                  <a:pt x="1448" y="653"/>
                  <a:pt x="1448" y="1035"/>
                </a:cubicBezTo>
                <a:cubicBezTo>
                  <a:pt x="1448" y="1400"/>
                  <a:pt x="1750" y="1702"/>
                  <a:pt x="2116" y="1702"/>
                </a:cubicBezTo>
                <a:close/>
                <a:moveTo>
                  <a:pt x="2529" y="717"/>
                </a:moveTo>
                <a:cubicBezTo>
                  <a:pt x="2593" y="812"/>
                  <a:pt x="2641" y="907"/>
                  <a:pt x="2641" y="1035"/>
                </a:cubicBezTo>
                <a:cubicBezTo>
                  <a:pt x="2641" y="1305"/>
                  <a:pt x="2402" y="1544"/>
                  <a:pt x="2116" y="1544"/>
                </a:cubicBezTo>
                <a:cubicBezTo>
                  <a:pt x="2005" y="1544"/>
                  <a:pt x="1893" y="1512"/>
                  <a:pt x="1814" y="1448"/>
                </a:cubicBezTo>
                <a:cubicBezTo>
                  <a:pt x="1819" y="1443"/>
                  <a:pt x="1814" y="1432"/>
                  <a:pt x="1830" y="1432"/>
                </a:cubicBezTo>
                <a:lnTo>
                  <a:pt x="2529" y="732"/>
                </a:lnTo>
                <a:close/>
                <a:moveTo>
                  <a:pt x="2116" y="509"/>
                </a:moveTo>
                <a:cubicBezTo>
                  <a:pt x="2227" y="509"/>
                  <a:pt x="2339" y="541"/>
                  <a:pt x="2418" y="605"/>
                </a:cubicBezTo>
                <a:lnTo>
                  <a:pt x="2418" y="621"/>
                </a:lnTo>
                <a:lnTo>
                  <a:pt x="1718" y="1321"/>
                </a:lnTo>
                <a:cubicBezTo>
                  <a:pt x="1702" y="1321"/>
                  <a:pt x="1707" y="1332"/>
                  <a:pt x="1702" y="1337"/>
                </a:cubicBezTo>
                <a:cubicBezTo>
                  <a:pt x="1639" y="1241"/>
                  <a:pt x="1607" y="1146"/>
                  <a:pt x="1607" y="1035"/>
                </a:cubicBezTo>
                <a:cubicBezTo>
                  <a:pt x="1607" y="748"/>
                  <a:pt x="1830" y="509"/>
                  <a:pt x="2116" y="5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5" name="Freeform: Shape 4">
            <a:extLst>
              <a:ext uri="{FF2B5EF4-FFF2-40B4-BE49-F238E27FC236}">
                <a16:creationId xmlns:a16="http://schemas.microsoft.com/office/drawing/2014/main" id="{0A74BBB9-616C-5049-B046-D3427D7F051A}"/>
              </a:ext>
            </a:extLst>
          </p:cNvPr>
          <p:cNvSpPr/>
          <p:nvPr/>
        </p:nvSpPr>
        <p:spPr>
          <a:xfrm>
            <a:off x="13874556" y="9975164"/>
            <a:ext cx="1660319" cy="795600"/>
          </a:xfrm>
          <a:custGeom>
            <a:avLst/>
            <a:gdLst/>
            <a:ahLst/>
            <a:cxnLst>
              <a:cxn ang="3cd4">
                <a:pos x="hc" y="t"/>
              </a:cxn>
              <a:cxn ang="cd2">
                <a:pos x="l" y="vc"/>
              </a:cxn>
              <a:cxn ang="cd4">
                <a:pos x="hc" y="b"/>
              </a:cxn>
              <a:cxn ang="0">
                <a:pos x="r" y="vc"/>
              </a:cxn>
            </a:cxnLst>
            <a:rect l="l" t="t" r="r" b="b"/>
            <a:pathLst>
              <a:path w="4613" h="2211">
                <a:moveTo>
                  <a:pt x="4534" y="637"/>
                </a:moveTo>
                <a:lnTo>
                  <a:pt x="4136" y="637"/>
                </a:lnTo>
                <a:lnTo>
                  <a:pt x="4136" y="398"/>
                </a:lnTo>
                <a:cubicBezTo>
                  <a:pt x="4136" y="176"/>
                  <a:pt x="3945" y="0"/>
                  <a:pt x="3738" y="0"/>
                </a:cubicBezTo>
                <a:lnTo>
                  <a:pt x="398" y="0"/>
                </a:lnTo>
                <a:cubicBezTo>
                  <a:pt x="175" y="0"/>
                  <a:pt x="0" y="176"/>
                  <a:pt x="0" y="398"/>
                </a:cubicBezTo>
                <a:lnTo>
                  <a:pt x="0" y="1830"/>
                </a:lnTo>
                <a:cubicBezTo>
                  <a:pt x="0" y="2036"/>
                  <a:pt x="175" y="2211"/>
                  <a:pt x="398" y="2211"/>
                </a:cubicBezTo>
                <a:lnTo>
                  <a:pt x="3738" y="2211"/>
                </a:lnTo>
                <a:cubicBezTo>
                  <a:pt x="3945" y="2211"/>
                  <a:pt x="4136" y="2036"/>
                  <a:pt x="4136" y="1830"/>
                </a:cubicBezTo>
                <a:lnTo>
                  <a:pt x="4136" y="1591"/>
                </a:lnTo>
                <a:lnTo>
                  <a:pt x="4534" y="1591"/>
                </a:lnTo>
                <a:cubicBezTo>
                  <a:pt x="4565" y="1591"/>
                  <a:pt x="4613" y="1544"/>
                  <a:pt x="4613" y="1512"/>
                </a:cubicBezTo>
                <a:lnTo>
                  <a:pt x="4613" y="717"/>
                </a:lnTo>
                <a:cubicBezTo>
                  <a:pt x="4613" y="669"/>
                  <a:pt x="4565" y="637"/>
                  <a:pt x="4534" y="637"/>
                </a:cubicBezTo>
                <a:close/>
                <a:moveTo>
                  <a:pt x="3977" y="717"/>
                </a:moveTo>
                <a:lnTo>
                  <a:pt x="3977" y="1512"/>
                </a:lnTo>
                <a:lnTo>
                  <a:pt x="3977" y="1830"/>
                </a:lnTo>
                <a:cubicBezTo>
                  <a:pt x="3977" y="1957"/>
                  <a:pt x="3866" y="2053"/>
                  <a:pt x="3738" y="2053"/>
                </a:cubicBezTo>
                <a:lnTo>
                  <a:pt x="398" y="2053"/>
                </a:lnTo>
                <a:cubicBezTo>
                  <a:pt x="271" y="2053"/>
                  <a:pt x="160" y="1957"/>
                  <a:pt x="160" y="1830"/>
                </a:cubicBezTo>
                <a:lnTo>
                  <a:pt x="160" y="398"/>
                </a:lnTo>
                <a:cubicBezTo>
                  <a:pt x="160" y="255"/>
                  <a:pt x="271" y="160"/>
                  <a:pt x="398" y="160"/>
                </a:cubicBezTo>
                <a:lnTo>
                  <a:pt x="3738" y="160"/>
                </a:lnTo>
                <a:cubicBezTo>
                  <a:pt x="3866" y="160"/>
                  <a:pt x="3977" y="255"/>
                  <a:pt x="3977" y="398"/>
                </a:cubicBezTo>
                <a:close/>
                <a:moveTo>
                  <a:pt x="4454" y="1432"/>
                </a:moveTo>
                <a:lnTo>
                  <a:pt x="4136" y="1432"/>
                </a:lnTo>
                <a:lnTo>
                  <a:pt x="4136" y="796"/>
                </a:lnTo>
                <a:lnTo>
                  <a:pt x="4454" y="796"/>
                </a:lnTo>
                <a:close/>
                <a:moveTo>
                  <a:pt x="3181" y="955"/>
                </a:moveTo>
                <a:cubicBezTo>
                  <a:pt x="3214" y="955"/>
                  <a:pt x="3261" y="907"/>
                  <a:pt x="3261" y="875"/>
                </a:cubicBezTo>
                <a:cubicBezTo>
                  <a:pt x="3261" y="828"/>
                  <a:pt x="3214" y="796"/>
                  <a:pt x="3181" y="796"/>
                </a:cubicBezTo>
                <a:lnTo>
                  <a:pt x="3023" y="796"/>
                </a:lnTo>
                <a:lnTo>
                  <a:pt x="3023" y="398"/>
                </a:lnTo>
                <a:cubicBezTo>
                  <a:pt x="3023" y="351"/>
                  <a:pt x="2975" y="319"/>
                  <a:pt x="2943" y="319"/>
                </a:cubicBezTo>
                <a:lnTo>
                  <a:pt x="2227" y="319"/>
                </a:lnTo>
                <a:cubicBezTo>
                  <a:pt x="1893" y="319"/>
                  <a:pt x="1591" y="621"/>
                  <a:pt x="1591" y="939"/>
                </a:cubicBezTo>
                <a:lnTo>
                  <a:pt x="1591" y="955"/>
                </a:lnTo>
                <a:lnTo>
                  <a:pt x="796" y="955"/>
                </a:lnTo>
                <a:cubicBezTo>
                  <a:pt x="748" y="955"/>
                  <a:pt x="716" y="987"/>
                  <a:pt x="716" y="1035"/>
                </a:cubicBezTo>
                <a:cubicBezTo>
                  <a:pt x="716" y="1066"/>
                  <a:pt x="748" y="1114"/>
                  <a:pt x="796" y="1114"/>
                </a:cubicBezTo>
                <a:lnTo>
                  <a:pt x="1591" y="1114"/>
                </a:lnTo>
                <a:cubicBezTo>
                  <a:pt x="1591" y="1432"/>
                  <a:pt x="1893" y="1750"/>
                  <a:pt x="2227" y="1750"/>
                </a:cubicBezTo>
                <a:lnTo>
                  <a:pt x="2943" y="1750"/>
                </a:lnTo>
                <a:cubicBezTo>
                  <a:pt x="2975" y="1750"/>
                  <a:pt x="3023" y="1702"/>
                  <a:pt x="3023" y="1671"/>
                </a:cubicBezTo>
                <a:lnTo>
                  <a:pt x="3023" y="1273"/>
                </a:lnTo>
                <a:lnTo>
                  <a:pt x="3181" y="1273"/>
                </a:lnTo>
                <a:cubicBezTo>
                  <a:pt x="3214" y="1273"/>
                  <a:pt x="3261" y="1226"/>
                  <a:pt x="3261" y="1193"/>
                </a:cubicBezTo>
                <a:cubicBezTo>
                  <a:pt x="3261" y="1146"/>
                  <a:pt x="3214" y="1114"/>
                  <a:pt x="3181" y="1114"/>
                </a:cubicBezTo>
                <a:lnTo>
                  <a:pt x="3023" y="1114"/>
                </a:lnTo>
                <a:lnTo>
                  <a:pt x="3023" y="955"/>
                </a:lnTo>
                <a:close/>
                <a:moveTo>
                  <a:pt x="2863" y="1591"/>
                </a:moveTo>
                <a:lnTo>
                  <a:pt x="2227" y="1591"/>
                </a:lnTo>
                <a:cubicBezTo>
                  <a:pt x="1989" y="1591"/>
                  <a:pt x="1750" y="1353"/>
                  <a:pt x="1750" y="1114"/>
                </a:cubicBezTo>
                <a:lnTo>
                  <a:pt x="1750" y="939"/>
                </a:lnTo>
                <a:cubicBezTo>
                  <a:pt x="1750" y="700"/>
                  <a:pt x="1989" y="478"/>
                  <a:pt x="2227" y="478"/>
                </a:cubicBezTo>
                <a:lnTo>
                  <a:pt x="2863" y="478"/>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6" name="Freeform: Shape 11">
            <a:extLst>
              <a:ext uri="{FF2B5EF4-FFF2-40B4-BE49-F238E27FC236}">
                <a16:creationId xmlns:a16="http://schemas.microsoft.com/office/drawing/2014/main" id="{4282916E-4E61-954C-9793-D264498F3CF0}"/>
              </a:ext>
            </a:extLst>
          </p:cNvPr>
          <p:cNvSpPr/>
          <p:nvPr/>
        </p:nvSpPr>
        <p:spPr>
          <a:xfrm>
            <a:off x="21036091" y="9872203"/>
            <a:ext cx="1837439" cy="1322640"/>
          </a:xfrm>
          <a:custGeom>
            <a:avLst/>
            <a:gdLst/>
            <a:ahLst/>
            <a:cxnLst>
              <a:cxn ang="3cd4">
                <a:pos x="hc" y="t"/>
              </a:cxn>
              <a:cxn ang="cd2">
                <a:pos x="l" y="vc"/>
              </a:cxn>
              <a:cxn ang="cd4">
                <a:pos x="hc" y="b"/>
              </a:cxn>
              <a:cxn ang="0">
                <a:pos x="r" y="vc"/>
              </a:cxn>
            </a:cxnLst>
            <a:rect l="l" t="t" r="r" b="b"/>
            <a:pathLst>
              <a:path w="5105" h="3675">
                <a:moveTo>
                  <a:pt x="986" y="2068"/>
                </a:moveTo>
                <a:lnTo>
                  <a:pt x="1320" y="2068"/>
                </a:lnTo>
                <a:lnTo>
                  <a:pt x="1320" y="2402"/>
                </a:lnTo>
                <a:cubicBezTo>
                  <a:pt x="1320" y="2434"/>
                  <a:pt x="1352" y="2482"/>
                  <a:pt x="1399" y="2482"/>
                </a:cubicBezTo>
                <a:cubicBezTo>
                  <a:pt x="1447" y="2482"/>
                  <a:pt x="1479" y="2434"/>
                  <a:pt x="1479" y="2402"/>
                </a:cubicBezTo>
                <a:lnTo>
                  <a:pt x="1479" y="2068"/>
                </a:lnTo>
                <a:lnTo>
                  <a:pt x="1813" y="2068"/>
                </a:lnTo>
                <a:cubicBezTo>
                  <a:pt x="1845" y="2068"/>
                  <a:pt x="1893" y="2036"/>
                  <a:pt x="1893" y="1988"/>
                </a:cubicBezTo>
                <a:cubicBezTo>
                  <a:pt x="1893" y="1941"/>
                  <a:pt x="1845" y="1909"/>
                  <a:pt x="1813" y="1909"/>
                </a:cubicBezTo>
                <a:lnTo>
                  <a:pt x="1479" y="1909"/>
                </a:lnTo>
                <a:lnTo>
                  <a:pt x="1479" y="1575"/>
                </a:lnTo>
                <a:cubicBezTo>
                  <a:pt x="1479" y="1527"/>
                  <a:pt x="1447" y="1495"/>
                  <a:pt x="1399" y="1495"/>
                </a:cubicBezTo>
                <a:cubicBezTo>
                  <a:pt x="1352" y="1495"/>
                  <a:pt x="1320" y="1527"/>
                  <a:pt x="1320" y="1575"/>
                </a:cubicBezTo>
                <a:lnTo>
                  <a:pt x="1320" y="1909"/>
                </a:lnTo>
                <a:lnTo>
                  <a:pt x="986" y="1909"/>
                </a:lnTo>
                <a:cubicBezTo>
                  <a:pt x="938" y="1909"/>
                  <a:pt x="906" y="1941"/>
                  <a:pt x="906" y="1988"/>
                </a:cubicBezTo>
                <a:cubicBezTo>
                  <a:pt x="906" y="2036"/>
                  <a:pt x="938" y="2068"/>
                  <a:pt x="986" y="2068"/>
                </a:cubicBezTo>
                <a:close/>
                <a:moveTo>
                  <a:pt x="4930" y="477"/>
                </a:moveTo>
                <a:lnTo>
                  <a:pt x="4119" y="477"/>
                </a:lnTo>
                <a:lnTo>
                  <a:pt x="4119" y="112"/>
                </a:lnTo>
                <a:cubicBezTo>
                  <a:pt x="4119" y="48"/>
                  <a:pt x="4056" y="0"/>
                  <a:pt x="3944" y="0"/>
                </a:cubicBezTo>
                <a:lnTo>
                  <a:pt x="3420" y="0"/>
                </a:lnTo>
                <a:cubicBezTo>
                  <a:pt x="3324" y="0"/>
                  <a:pt x="3260" y="48"/>
                  <a:pt x="3260" y="112"/>
                </a:cubicBezTo>
                <a:lnTo>
                  <a:pt x="3260" y="477"/>
                </a:lnTo>
                <a:lnTo>
                  <a:pt x="3244" y="477"/>
                </a:lnTo>
                <a:lnTo>
                  <a:pt x="1861" y="477"/>
                </a:lnTo>
                <a:lnTo>
                  <a:pt x="1845" y="477"/>
                </a:lnTo>
                <a:lnTo>
                  <a:pt x="1845" y="112"/>
                </a:lnTo>
                <a:cubicBezTo>
                  <a:pt x="1845" y="48"/>
                  <a:pt x="1781" y="0"/>
                  <a:pt x="1685" y="0"/>
                </a:cubicBezTo>
                <a:lnTo>
                  <a:pt x="1145" y="0"/>
                </a:lnTo>
                <a:cubicBezTo>
                  <a:pt x="1049" y="0"/>
                  <a:pt x="986" y="48"/>
                  <a:pt x="986" y="112"/>
                </a:cubicBezTo>
                <a:lnTo>
                  <a:pt x="986" y="477"/>
                </a:lnTo>
                <a:lnTo>
                  <a:pt x="175" y="477"/>
                </a:lnTo>
                <a:cubicBezTo>
                  <a:pt x="79" y="477"/>
                  <a:pt x="0" y="541"/>
                  <a:pt x="0" y="621"/>
                </a:cubicBezTo>
                <a:lnTo>
                  <a:pt x="0" y="3531"/>
                </a:lnTo>
                <a:cubicBezTo>
                  <a:pt x="0" y="3611"/>
                  <a:pt x="79" y="3675"/>
                  <a:pt x="175" y="3675"/>
                </a:cubicBezTo>
                <a:lnTo>
                  <a:pt x="4930" y="3675"/>
                </a:lnTo>
                <a:cubicBezTo>
                  <a:pt x="5026" y="3675"/>
                  <a:pt x="5105" y="3611"/>
                  <a:pt x="5105" y="3531"/>
                </a:cubicBezTo>
                <a:lnTo>
                  <a:pt x="5105" y="621"/>
                </a:lnTo>
                <a:cubicBezTo>
                  <a:pt x="5105" y="541"/>
                  <a:pt x="5026" y="477"/>
                  <a:pt x="4930" y="477"/>
                </a:cubicBezTo>
                <a:close/>
                <a:moveTo>
                  <a:pt x="3420" y="159"/>
                </a:moveTo>
                <a:lnTo>
                  <a:pt x="3944" y="159"/>
                </a:lnTo>
                <a:lnTo>
                  <a:pt x="3960" y="159"/>
                </a:lnTo>
                <a:lnTo>
                  <a:pt x="3960" y="477"/>
                </a:lnTo>
                <a:lnTo>
                  <a:pt x="3944" y="477"/>
                </a:lnTo>
                <a:lnTo>
                  <a:pt x="3420" y="477"/>
                </a:lnTo>
                <a:close/>
                <a:moveTo>
                  <a:pt x="1145" y="159"/>
                </a:moveTo>
                <a:lnTo>
                  <a:pt x="1685" y="159"/>
                </a:lnTo>
                <a:lnTo>
                  <a:pt x="1685" y="477"/>
                </a:lnTo>
                <a:lnTo>
                  <a:pt x="1145" y="477"/>
                </a:lnTo>
                <a:close/>
                <a:moveTo>
                  <a:pt x="4947" y="3515"/>
                </a:moveTo>
                <a:lnTo>
                  <a:pt x="4930" y="3515"/>
                </a:lnTo>
                <a:lnTo>
                  <a:pt x="175" y="3515"/>
                </a:lnTo>
                <a:lnTo>
                  <a:pt x="158" y="3515"/>
                </a:lnTo>
                <a:lnTo>
                  <a:pt x="158" y="1130"/>
                </a:lnTo>
                <a:lnTo>
                  <a:pt x="4947" y="1130"/>
                </a:lnTo>
                <a:close/>
                <a:moveTo>
                  <a:pt x="4947" y="970"/>
                </a:moveTo>
                <a:lnTo>
                  <a:pt x="158" y="970"/>
                </a:lnTo>
                <a:lnTo>
                  <a:pt x="158" y="637"/>
                </a:lnTo>
                <a:lnTo>
                  <a:pt x="175" y="637"/>
                </a:lnTo>
                <a:lnTo>
                  <a:pt x="1861" y="637"/>
                </a:lnTo>
                <a:lnTo>
                  <a:pt x="3244" y="637"/>
                </a:lnTo>
                <a:lnTo>
                  <a:pt x="4930" y="637"/>
                </a:lnTo>
                <a:lnTo>
                  <a:pt x="4947" y="637"/>
                </a:lnTo>
                <a:close/>
                <a:moveTo>
                  <a:pt x="3276" y="2100"/>
                </a:moveTo>
                <a:lnTo>
                  <a:pt x="4103" y="2100"/>
                </a:lnTo>
                <a:cubicBezTo>
                  <a:pt x="4151" y="2100"/>
                  <a:pt x="4183" y="2052"/>
                  <a:pt x="4183" y="2021"/>
                </a:cubicBezTo>
                <a:cubicBezTo>
                  <a:pt x="4183" y="1973"/>
                  <a:pt x="4151" y="1941"/>
                  <a:pt x="4103" y="1941"/>
                </a:cubicBezTo>
                <a:lnTo>
                  <a:pt x="3276" y="1941"/>
                </a:lnTo>
                <a:cubicBezTo>
                  <a:pt x="3229" y="1941"/>
                  <a:pt x="3197" y="1973"/>
                  <a:pt x="3197" y="2021"/>
                </a:cubicBezTo>
                <a:cubicBezTo>
                  <a:pt x="3197" y="2052"/>
                  <a:pt x="3229" y="2100"/>
                  <a:pt x="3276" y="210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74825472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Computers / Hardware - 2</a:t>
            </a:r>
          </a:p>
        </p:txBody>
      </p:sp>
      <p:sp>
        <p:nvSpPr>
          <p:cNvPr id="33" name="TextBox 32">
            <a:extLst>
              <a:ext uri="{FF2B5EF4-FFF2-40B4-BE49-F238E27FC236}">
                <a16:creationId xmlns:a16="http://schemas.microsoft.com/office/drawing/2014/main" id="{355E303E-5A76-A843-BC8B-6CCF07166A1F}"/>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ouse</a:t>
            </a:r>
          </a:p>
        </p:txBody>
      </p:sp>
      <p:sp>
        <p:nvSpPr>
          <p:cNvPr id="41" name="TextBox 40">
            <a:extLst>
              <a:ext uri="{FF2B5EF4-FFF2-40B4-BE49-F238E27FC236}">
                <a16:creationId xmlns:a16="http://schemas.microsoft.com/office/drawing/2014/main" id="{A918A508-F757-5847-9B0F-C302DB17FA65}"/>
              </a:ext>
            </a:extLst>
          </p:cNvPr>
          <p:cNvSpPr txBox="1"/>
          <p:nvPr/>
        </p:nvSpPr>
        <p:spPr>
          <a:xfrm>
            <a:off x="1396461" y="5164929"/>
            <a:ext cx="2465738"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Network</a:t>
            </a:r>
          </a:p>
        </p:txBody>
      </p:sp>
      <p:sp>
        <p:nvSpPr>
          <p:cNvPr id="42" name="TextBox 41">
            <a:extLst>
              <a:ext uri="{FF2B5EF4-FFF2-40B4-BE49-F238E27FC236}">
                <a16:creationId xmlns:a16="http://schemas.microsoft.com/office/drawing/2014/main" id="{11F4A328-B787-EC43-AB28-C7C4E97E39A1}"/>
              </a:ext>
            </a:extLst>
          </p:cNvPr>
          <p:cNvSpPr txBox="1"/>
          <p:nvPr/>
        </p:nvSpPr>
        <p:spPr>
          <a:xfrm>
            <a:off x="5566758" y="5164929"/>
            <a:ext cx="243317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Network 2</a:t>
            </a:r>
          </a:p>
        </p:txBody>
      </p:sp>
      <p:sp>
        <p:nvSpPr>
          <p:cNvPr id="43" name="TextBox 42">
            <a:extLst>
              <a:ext uri="{FF2B5EF4-FFF2-40B4-BE49-F238E27FC236}">
                <a16:creationId xmlns:a16="http://schemas.microsoft.com/office/drawing/2014/main" id="{485ADB43-DC6B-9040-88E2-22F94057EE2A}"/>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hone</a:t>
            </a:r>
          </a:p>
        </p:txBody>
      </p:sp>
      <p:sp>
        <p:nvSpPr>
          <p:cNvPr id="44" name="TextBox 43">
            <a:extLst>
              <a:ext uri="{FF2B5EF4-FFF2-40B4-BE49-F238E27FC236}">
                <a16:creationId xmlns:a16="http://schemas.microsoft.com/office/drawing/2014/main" id="{34203033-2678-CB45-B079-E0F9C29132F3}"/>
              </a:ext>
            </a:extLst>
          </p:cNvPr>
          <p:cNvSpPr txBox="1"/>
          <p:nvPr/>
        </p:nvSpPr>
        <p:spPr>
          <a:xfrm>
            <a:off x="13471996" y="5164929"/>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atellite 1</a:t>
            </a:r>
          </a:p>
        </p:txBody>
      </p:sp>
      <p:sp>
        <p:nvSpPr>
          <p:cNvPr id="45" name="TextBox 44">
            <a:extLst>
              <a:ext uri="{FF2B5EF4-FFF2-40B4-BE49-F238E27FC236}">
                <a16:creationId xmlns:a16="http://schemas.microsoft.com/office/drawing/2014/main" id="{80117299-AFEB-274A-BAC9-58B7E403A760}"/>
              </a:ext>
            </a:extLst>
          </p:cNvPr>
          <p:cNvSpPr txBox="1"/>
          <p:nvPr/>
        </p:nvSpPr>
        <p:spPr>
          <a:xfrm>
            <a:off x="20809186" y="5164929"/>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rver</a:t>
            </a:r>
          </a:p>
        </p:txBody>
      </p:sp>
      <p:sp>
        <p:nvSpPr>
          <p:cNvPr id="46" name="TextBox 45">
            <a:extLst>
              <a:ext uri="{FF2B5EF4-FFF2-40B4-BE49-F238E27FC236}">
                <a16:creationId xmlns:a16="http://schemas.microsoft.com/office/drawing/2014/main" id="{A3C9D871-631F-8245-8DE8-A9E2D85A03B3}"/>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rver Archive</a:t>
            </a:r>
          </a:p>
        </p:txBody>
      </p:sp>
      <p:sp>
        <p:nvSpPr>
          <p:cNvPr id="47" name="TextBox 46">
            <a:extLst>
              <a:ext uri="{FF2B5EF4-FFF2-40B4-BE49-F238E27FC236}">
                <a16:creationId xmlns:a16="http://schemas.microsoft.com/office/drawing/2014/main" id="{FB842D43-CCD7-7449-9FB4-113BD07ADCF9}"/>
              </a:ext>
            </a:extLst>
          </p:cNvPr>
          <p:cNvSpPr txBox="1"/>
          <p:nvPr/>
        </p:nvSpPr>
        <p:spPr>
          <a:xfrm>
            <a:off x="5032286" y="8292956"/>
            <a:ext cx="3502114"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rver Capacity Tape</a:t>
            </a:r>
          </a:p>
        </p:txBody>
      </p:sp>
      <p:sp>
        <p:nvSpPr>
          <p:cNvPr id="48" name="TextBox 47">
            <a:extLst>
              <a:ext uri="{FF2B5EF4-FFF2-40B4-BE49-F238E27FC236}">
                <a16:creationId xmlns:a16="http://schemas.microsoft.com/office/drawing/2014/main" id="{D9FFA291-0FC1-BF46-AA71-16C597B181FF}"/>
              </a:ext>
            </a:extLst>
          </p:cNvPr>
          <p:cNvSpPr txBox="1"/>
          <p:nvPr/>
        </p:nvSpPr>
        <p:spPr>
          <a:xfrm>
            <a:off x="9084538" y="8292956"/>
            <a:ext cx="3564662"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Server Enterprise Disk</a:t>
            </a:r>
            <a:endParaRPr lang="en-US" sz="2800" dirty="0"/>
          </a:p>
        </p:txBody>
      </p:sp>
      <p:sp>
        <p:nvSpPr>
          <p:cNvPr id="49" name="TextBox 48">
            <a:extLst>
              <a:ext uri="{FF2B5EF4-FFF2-40B4-BE49-F238E27FC236}">
                <a16:creationId xmlns:a16="http://schemas.microsoft.com/office/drawing/2014/main" id="{FE9CD44F-3A27-0047-989D-0050B89FE127}"/>
              </a:ext>
            </a:extLst>
          </p:cNvPr>
          <p:cNvSpPr txBox="1"/>
          <p:nvPr/>
        </p:nvSpPr>
        <p:spPr>
          <a:xfrm>
            <a:off x="13226552" y="8292956"/>
            <a:ext cx="311233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rver Fax</a:t>
            </a:r>
          </a:p>
        </p:txBody>
      </p:sp>
      <p:sp>
        <p:nvSpPr>
          <p:cNvPr id="50" name="TextBox 49">
            <a:extLst>
              <a:ext uri="{FF2B5EF4-FFF2-40B4-BE49-F238E27FC236}">
                <a16:creationId xmlns:a16="http://schemas.microsoft.com/office/drawing/2014/main" id="{6B2EC446-440B-CF4E-85F8-D704F596B0E7}"/>
              </a:ext>
            </a:extLst>
          </p:cNvPr>
          <p:cNvSpPr txBox="1"/>
          <p:nvPr/>
        </p:nvSpPr>
        <p:spPr>
          <a:xfrm>
            <a:off x="20572486" y="8292956"/>
            <a:ext cx="2965940"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rver Modular Disk</a:t>
            </a:r>
          </a:p>
        </p:txBody>
      </p:sp>
      <p:sp>
        <p:nvSpPr>
          <p:cNvPr id="51" name="TextBox 50">
            <a:extLst>
              <a:ext uri="{FF2B5EF4-FFF2-40B4-BE49-F238E27FC236}">
                <a16:creationId xmlns:a16="http://schemas.microsoft.com/office/drawing/2014/main" id="{EA6D90B9-531E-D54D-95E0-4B5A28BACA91}"/>
              </a:ext>
            </a:extLst>
          </p:cNvPr>
          <p:cNvSpPr txBox="1"/>
          <p:nvPr/>
        </p:nvSpPr>
        <p:spPr>
          <a:xfrm>
            <a:off x="1052420" y="11657695"/>
            <a:ext cx="3153820"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rver Optical Worm</a:t>
            </a:r>
          </a:p>
        </p:txBody>
      </p:sp>
      <p:sp>
        <p:nvSpPr>
          <p:cNvPr id="52" name="TextBox 51">
            <a:extLst>
              <a:ext uri="{FF2B5EF4-FFF2-40B4-BE49-F238E27FC236}">
                <a16:creationId xmlns:a16="http://schemas.microsoft.com/office/drawing/2014/main" id="{558B43F5-61BE-DD4D-99D1-8E6E9F478FB8}"/>
              </a:ext>
            </a:extLst>
          </p:cNvPr>
          <p:cNvSpPr txBox="1"/>
          <p:nvPr/>
        </p:nvSpPr>
        <p:spPr>
          <a:xfrm>
            <a:off x="5306606" y="11657695"/>
            <a:ext cx="2953474"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rver SAT JBOD</a:t>
            </a:r>
          </a:p>
        </p:txBody>
      </p:sp>
      <p:sp>
        <p:nvSpPr>
          <p:cNvPr id="53" name="TextBox 52">
            <a:extLst>
              <a:ext uri="{FF2B5EF4-FFF2-40B4-BE49-F238E27FC236}">
                <a16:creationId xmlns:a16="http://schemas.microsoft.com/office/drawing/2014/main" id="{E6E627AC-4672-2A47-A32A-EC3C8309863B}"/>
              </a:ext>
            </a:extLst>
          </p:cNvPr>
          <p:cNvSpPr txBox="1"/>
          <p:nvPr/>
        </p:nvSpPr>
        <p:spPr>
          <a:xfrm>
            <a:off x="9013116" y="11657695"/>
            <a:ext cx="3636084"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rver Storage Archive</a:t>
            </a:r>
          </a:p>
        </p:txBody>
      </p:sp>
      <p:sp>
        <p:nvSpPr>
          <p:cNvPr id="54" name="Freeform: Shape 26">
            <a:extLst>
              <a:ext uri="{FF2B5EF4-FFF2-40B4-BE49-F238E27FC236}">
                <a16:creationId xmlns:a16="http://schemas.microsoft.com/office/drawing/2014/main" id="{622E4C57-8374-7B43-92A7-7BC9F44B6E1C}"/>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5" name="TextBox 54">
            <a:extLst>
              <a:ext uri="{FF2B5EF4-FFF2-40B4-BE49-F238E27FC236}">
                <a16:creationId xmlns:a16="http://schemas.microsoft.com/office/drawing/2014/main" id="{6854BD29-5708-F24D-8BE1-F8F44813EAC2}"/>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anner</a:t>
            </a:r>
          </a:p>
        </p:txBody>
      </p:sp>
      <p:sp>
        <p:nvSpPr>
          <p:cNvPr id="56" name="TextBox 55">
            <a:extLst>
              <a:ext uri="{FF2B5EF4-FFF2-40B4-BE49-F238E27FC236}">
                <a16:creationId xmlns:a16="http://schemas.microsoft.com/office/drawing/2014/main" id="{932A5A8A-357E-F748-93BF-268557D9A36A}"/>
              </a:ext>
            </a:extLst>
          </p:cNvPr>
          <p:cNvSpPr txBox="1"/>
          <p:nvPr/>
        </p:nvSpPr>
        <p:spPr>
          <a:xfrm>
            <a:off x="16676239" y="8292956"/>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rver Host</a:t>
            </a:r>
          </a:p>
        </p:txBody>
      </p:sp>
      <p:sp>
        <p:nvSpPr>
          <p:cNvPr id="72" name="Freeform: Shape 1">
            <a:extLst>
              <a:ext uri="{FF2B5EF4-FFF2-40B4-BE49-F238E27FC236}">
                <a16:creationId xmlns:a16="http://schemas.microsoft.com/office/drawing/2014/main" id="{D93E27FE-2DE9-CA45-B388-6B97665D6AF4}"/>
              </a:ext>
            </a:extLst>
          </p:cNvPr>
          <p:cNvSpPr/>
          <p:nvPr/>
        </p:nvSpPr>
        <p:spPr>
          <a:xfrm>
            <a:off x="1754644" y="2842343"/>
            <a:ext cx="1843199" cy="1849319"/>
          </a:xfrm>
          <a:custGeom>
            <a:avLst/>
            <a:gdLst/>
            <a:ahLst/>
            <a:cxnLst>
              <a:cxn ang="3cd4">
                <a:pos x="hc" y="t"/>
              </a:cxn>
              <a:cxn ang="cd2">
                <a:pos x="l" y="vc"/>
              </a:cxn>
              <a:cxn ang="cd4">
                <a:pos x="hc" y="b"/>
              </a:cxn>
              <a:cxn ang="0">
                <a:pos x="r" y="vc"/>
              </a:cxn>
            </a:cxnLst>
            <a:rect l="l" t="t" r="r" b="b"/>
            <a:pathLst>
              <a:path w="5121" h="5138">
                <a:moveTo>
                  <a:pt x="0" y="4502"/>
                </a:moveTo>
                <a:cubicBezTo>
                  <a:pt x="0" y="4852"/>
                  <a:pt x="270" y="5138"/>
                  <a:pt x="620" y="5138"/>
                </a:cubicBezTo>
                <a:cubicBezTo>
                  <a:pt x="938" y="5138"/>
                  <a:pt x="1192" y="4899"/>
                  <a:pt x="1240" y="4613"/>
                </a:cubicBezTo>
                <a:cubicBezTo>
                  <a:pt x="1940" y="4613"/>
                  <a:pt x="1940" y="4613"/>
                  <a:pt x="1940" y="4613"/>
                </a:cubicBezTo>
                <a:cubicBezTo>
                  <a:pt x="1988" y="4899"/>
                  <a:pt x="2243" y="5138"/>
                  <a:pt x="2561" y="5138"/>
                </a:cubicBezTo>
                <a:cubicBezTo>
                  <a:pt x="2863" y="5138"/>
                  <a:pt x="3117" y="4899"/>
                  <a:pt x="3181" y="4613"/>
                </a:cubicBezTo>
                <a:cubicBezTo>
                  <a:pt x="3881" y="4613"/>
                  <a:pt x="3881" y="4613"/>
                  <a:pt x="3881" y="4613"/>
                </a:cubicBezTo>
                <a:cubicBezTo>
                  <a:pt x="3928" y="4899"/>
                  <a:pt x="4183" y="5138"/>
                  <a:pt x="4501" y="5138"/>
                </a:cubicBezTo>
                <a:cubicBezTo>
                  <a:pt x="4851" y="5138"/>
                  <a:pt x="5121" y="4852"/>
                  <a:pt x="5121" y="4502"/>
                </a:cubicBezTo>
                <a:cubicBezTo>
                  <a:pt x="5121" y="4184"/>
                  <a:pt x="4883" y="3913"/>
                  <a:pt x="4565" y="3881"/>
                </a:cubicBezTo>
                <a:cubicBezTo>
                  <a:pt x="4565" y="3197"/>
                  <a:pt x="4565" y="3197"/>
                  <a:pt x="4565" y="3197"/>
                </a:cubicBezTo>
                <a:cubicBezTo>
                  <a:pt x="4883" y="3166"/>
                  <a:pt x="5121" y="2895"/>
                  <a:pt x="5121" y="2561"/>
                </a:cubicBezTo>
                <a:cubicBezTo>
                  <a:pt x="5121" y="2243"/>
                  <a:pt x="4883" y="1973"/>
                  <a:pt x="4565" y="1941"/>
                </a:cubicBezTo>
                <a:cubicBezTo>
                  <a:pt x="4565" y="1257"/>
                  <a:pt x="4565" y="1257"/>
                  <a:pt x="4565" y="1257"/>
                </a:cubicBezTo>
                <a:cubicBezTo>
                  <a:pt x="4883" y="1225"/>
                  <a:pt x="5121" y="955"/>
                  <a:pt x="5121" y="620"/>
                </a:cubicBezTo>
                <a:cubicBezTo>
                  <a:pt x="5121" y="286"/>
                  <a:pt x="4851" y="0"/>
                  <a:pt x="4501" y="0"/>
                </a:cubicBezTo>
                <a:cubicBezTo>
                  <a:pt x="4167" y="0"/>
                  <a:pt x="3897" y="239"/>
                  <a:pt x="3865" y="557"/>
                </a:cubicBezTo>
                <a:cubicBezTo>
                  <a:pt x="3181" y="557"/>
                  <a:pt x="3181" y="557"/>
                  <a:pt x="3181" y="557"/>
                </a:cubicBezTo>
                <a:cubicBezTo>
                  <a:pt x="3149" y="239"/>
                  <a:pt x="2879" y="0"/>
                  <a:pt x="2561" y="0"/>
                </a:cubicBezTo>
                <a:cubicBezTo>
                  <a:pt x="2227" y="0"/>
                  <a:pt x="1956" y="239"/>
                  <a:pt x="1924" y="557"/>
                </a:cubicBezTo>
                <a:cubicBezTo>
                  <a:pt x="1256" y="557"/>
                  <a:pt x="1256" y="557"/>
                  <a:pt x="1256" y="557"/>
                </a:cubicBezTo>
                <a:cubicBezTo>
                  <a:pt x="1225" y="239"/>
                  <a:pt x="954" y="0"/>
                  <a:pt x="620" y="0"/>
                </a:cubicBezTo>
                <a:cubicBezTo>
                  <a:pt x="270" y="0"/>
                  <a:pt x="0" y="286"/>
                  <a:pt x="0" y="620"/>
                </a:cubicBezTo>
                <a:cubicBezTo>
                  <a:pt x="0" y="939"/>
                  <a:pt x="222" y="1193"/>
                  <a:pt x="525" y="1257"/>
                </a:cubicBezTo>
                <a:cubicBezTo>
                  <a:pt x="525" y="1941"/>
                  <a:pt x="525" y="1941"/>
                  <a:pt x="525" y="1941"/>
                </a:cubicBezTo>
                <a:cubicBezTo>
                  <a:pt x="222" y="1988"/>
                  <a:pt x="0" y="2259"/>
                  <a:pt x="0" y="2561"/>
                </a:cubicBezTo>
                <a:cubicBezTo>
                  <a:pt x="0" y="2879"/>
                  <a:pt x="222" y="3134"/>
                  <a:pt x="525" y="3182"/>
                </a:cubicBezTo>
                <a:cubicBezTo>
                  <a:pt x="525" y="3881"/>
                  <a:pt x="525" y="3881"/>
                  <a:pt x="525" y="3881"/>
                </a:cubicBezTo>
                <a:cubicBezTo>
                  <a:pt x="222" y="3929"/>
                  <a:pt x="0" y="4200"/>
                  <a:pt x="0" y="4502"/>
                </a:cubicBezTo>
                <a:close/>
                <a:moveTo>
                  <a:pt x="1924" y="4454"/>
                </a:moveTo>
                <a:cubicBezTo>
                  <a:pt x="1256" y="4454"/>
                  <a:pt x="1256" y="4454"/>
                  <a:pt x="1256" y="4454"/>
                </a:cubicBezTo>
                <a:cubicBezTo>
                  <a:pt x="1225" y="4152"/>
                  <a:pt x="986" y="3897"/>
                  <a:pt x="683" y="3881"/>
                </a:cubicBezTo>
                <a:cubicBezTo>
                  <a:pt x="683" y="3197"/>
                  <a:pt x="683" y="3197"/>
                  <a:pt x="683" y="3197"/>
                </a:cubicBezTo>
                <a:cubicBezTo>
                  <a:pt x="954" y="3166"/>
                  <a:pt x="1177" y="2959"/>
                  <a:pt x="1240" y="2704"/>
                </a:cubicBezTo>
                <a:cubicBezTo>
                  <a:pt x="1749" y="2704"/>
                  <a:pt x="1749" y="2704"/>
                  <a:pt x="1749" y="2704"/>
                </a:cubicBezTo>
                <a:cubicBezTo>
                  <a:pt x="1797" y="3070"/>
                  <a:pt x="2099" y="3357"/>
                  <a:pt x="2481" y="3388"/>
                </a:cubicBezTo>
                <a:cubicBezTo>
                  <a:pt x="2481" y="3881"/>
                  <a:pt x="2481" y="3881"/>
                  <a:pt x="2481" y="3881"/>
                </a:cubicBezTo>
                <a:cubicBezTo>
                  <a:pt x="2179" y="3913"/>
                  <a:pt x="1956" y="4152"/>
                  <a:pt x="1924" y="4454"/>
                </a:cubicBezTo>
                <a:close/>
                <a:moveTo>
                  <a:pt x="3213" y="2625"/>
                </a:moveTo>
                <a:cubicBezTo>
                  <a:pt x="3181" y="2959"/>
                  <a:pt x="2895" y="3229"/>
                  <a:pt x="2561" y="3229"/>
                </a:cubicBezTo>
                <a:cubicBezTo>
                  <a:pt x="2195" y="3229"/>
                  <a:pt x="1892" y="2927"/>
                  <a:pt x="1892" y="2561"/>
                </a:cubicBezTo>
                <a:cubicBezTo>
                  <a:pt x="1892" y="2195"/>
                  <a:pt x="2195" y="1909"/>
                  <a:pt x="2561" y="1909"/>
                </a:cubicBezTo>
                <a:cubicBezTo>
                  <a:pt x="2927" y="1909"/>
                  <a:pt x="3213" y="2195"/>
                  <a:pt x="3213" y="2561"/>
                </a:cubicBezTo>
                <a:cubicBezTo>
                  <a:pt x="3213" y="2577"/>
                  <a:pt x="3213" y="2593"/>
                  <a:pt x="3213" y="2609"/>
                </a:cubicBezTo>
                <a:close/>
                <a:moveTo>
                  <a:pt x="2561" y="4979"/>
                </a:moveTo>
                <a:cubicBezTo>
                  <a:pt x="2290" y="4979"/>
                  <a:pt x="2083" y="4756"/>
                  <a:pt x="2083" y="4502"/>
                </a:cubicBezTo>
                <a:cubicBezTo>
                  <a:pt x="2083" y="4247"/>
                  <a:pt x="2290" y="4024"/>
                  <a:pt x="2561" y="4024"/>
                </a:cubicBezTo>
                <a:cubicBezTo>
                  <a:pt x="2815" y="4024"/>
                  <a:pt x="3022" y="4247"/>
                  <a:pt x="3022" y="4502"/>
                </a:cubicBezTo>
                <a:cubicBezTo>
                  <a:pt x="3022" y="4756"/>
                  <a:pt x="2815" y="4979"/>
                  <a:pt x="2561" y="4979"/>
                </a:cubicBezTo>
                <a:close/>
                <a:moveTo>
                  <a:pt x="3865" y="4454"/>
                </a:moveTo>
                <a:cubicBezTo>
                  <a:pt x="3181" y="4454"/>
                  <a:pt x="3181" y="4454"/>
                  <a:pt x="3181" y="4454"/>
                </a:cubicBezTo>
                <a:cubicBezTo>
                  <a:pt x="3165" y="4152"/>
                  <a:pt x="2927" y="3913"/>
                  <a:pt x="2640" y="3881"/>
                </a:cubicBezTo>
                <a:cubicBezTo>
                  <a:pt x="2640" y="3388"/>
                  <a:pt x="2640" y="3388"/>
                  <a:pt x="2640" y="3388"/>
                </a:cubicBezTo>
                <a:cubicBezTo>
                  <a:pt x="3006" y="3340"/>
                  <a:pt x="3308" y="3054"/>
                  <a:pt x="3372" y="2704"/>
                </a:cubicBezTo>
                <a:cubicBezTo>
                  <a:pt x="3881" y="2704"/>
                  <a:pt x="3881" y="2704"/>
                  <a:pt x="3881" y="2704"/>
                </a:cubicBezTo>
                <a:cubicBezTo>
                  <a:pt x="3928" y="2959"/>
                  <a:pt x="4151" y="3149"/>
                  <a:pt x="4406" y="3182"/>
                </a:cubicBezTo>
                <a:cubicBezTo>
                  <a:pt x="4406" y="3881"/>
                  <a:pt x="4406" y="3881"/>
                  <a:pt x="4406" y="3881"/>
                </a:cubicBezTo>
                <a:cubicBezTo>
                  <a:pt x="4119" y="3929"/>
                  <a:pt x="3897" y="4152"/>
                  <a:pt x="3865" y="4454"/>
                </a:cubicBezTo>
                <a:close/>
                <a:moveTo>
                  <a:pt x="4963" y="4502"/>
                </a:moveTo>
                <a:cubicBezTo>
                  <a:pt x="4963" y="4756"/>
                  <a:pt x="4755" y="4979"/>
                  <a:pt x="4501" y="4979"/>
                </a:cubicBezTo>
                <a:cubicBezTo>
                  <a:pt x="4231" y="4979"/>
                  <a:pt x="4024" y="4756"/>
                  <a:pt x="4024" y="4502"/>
                </a:cubicBezTo>
                <a:cubicBezTo>
                  <a:pt x="4024" y="4247"/>
                  <a:pt x="4231" y="4024"/>
                  <a:pt x="4501" y="4024"/>
                </a:cubicBezTo>
                <a:cubicBezTo>
                  <a:pt x="4755" y="4024"/>
                  <a:pt x="4963" y="4247"/>
                  <a:pt x="4963" y="4502"/>
                </a:cubicBezTo>
                <a:close/>
                <a:moveTo>
                  <a:pt x="4963" y="2561"/>
                </a:moveTo>
                <a:cubicBezTo>
                  <a:pt x="4963" y="2831"/>
                  <a:pt x="4755" y="3039"/>
                  <a:pt x="4501" y="3039"/>
                </a:cubicBezTo>
                <a:lnTo>
                  <a:pt x="4485" y="3039"/>
                </a:lnTo>
                <a:lnTo>
                  <a:pt x="4469" y="3039"/>
                </a:lnTo>
                <a:cubicBezTo>
                  <a:pt x="4231" y="3022"/>
                  <a:pt x="4024" y="2816"/>
                  <a:pt x="4024" y="2561"/>
                </a:cubicBezTo>
                <a:cubicBezTo>
                  <a:pt x="4024" y="2307"/>
                  <a:pt x="4231" y="2100"/>
                  <a:pt x="4501" y="2100"/>
                </a:cubicBezTo>
                <a:cubicBezTo>
                  <a:pt x="4755" y="2100"/>
                  <a:pt x="4963" y="2307"/>
                  <a:pt x="4963" y="2561"/>
                </a:cubicBezTo>
                <a:close/>
                <a:moveTo>
                  <a:pt x="4501" y="159"/>
                </a:moveTo>
                <a:cubicBezTo>
                  <a:pt x="4755" y="159"/>
                  <a:pt x="4963" y="366"/>
                  <a:pt x="4963" y="620"/>
                </a:cubicBezTo>
                <a:cubicBezTo>
                  <a:pt x="4963" y="891"/>
                  <a:pt x="4755" y="1098"/>
                  <a:pt x="4501" y="1098"/>
                </a:cubicBezTo>
                <a:cubicBezTo>
                  <a:pt x="4231" y="1098"/>
                  <a:pt x="4024" y="891"/>
                  <a:pt x="4024" y="620"/>
                </a:cubicBezTo>
                <a:cubicBezTo>
                  <a:pt x="4024" y="366"/>
                  <a:pt x="4231" y="159"/>
                  <a:pt x="4501" y="159"/>
                </a:cubicBezTo>
                <a:close/>
                <a:moveTo>
                  <a:pt x="3881" y="716"/>
                </a:moveTo>
                <a:cubicBezTo>
                  <a:pt x="3913" y="986"/>
                  <a:pt x="4135" y="1209"/>
                  <a:pt x="4406" y="1257"/>
                </a:cubicBezTo>
                <a:cubicBezTo>
                  <a:pt x="4406" y="1941"/>
                  <a:pt x="4406" y="1941"/>
                  <a:pt x="4406" y="1941"/>
                </a:cubicBezTo>
                <a:cubicBezTo>
                  <a:pt x="4103" y="1988"/>
                  <a:pt x="3881" y="2227"/>
                  <a:pt x="3865" y="2545"/>
                </a:cubicBezTo>
                <a:cubicBezTo>
                  <a:pt x="3372" y="2545"/>
                  <a:pt x="3372" y="2545"/>
                  <a:pt x="3372" y="2545"/>
                </a:cubicBezTo>
                <a:cubicBezTo>
                  <a:pt x="3356" y="2132"/>
                  <a:pt x="3038" y="1798"/>
                  <a:pt x="2640" y="1750"/>
                </a:cubicBezTo>
                <a:cubicBezTo>
                  <a:pt x="2640" y="1257"/>
                  <a:pt x="2640" y="1257"/>
                  <a:pt x="2640" y="1257"/>
                </a:cubicBezTo>
                <a:cubicBezTo>
                  <a:pt x="2910" y="1209"/>
                  <a:pt x="3133" y="1003"/>
                  <a:pt x="3181" y="716"/>
                </a:cubicBezTo>
                <a:close/>
                <a:moveTo>
                  <a:pt x="2561" y="159"/>
                </a:moveTo>
                <a:cubicBezTo>
                  <a:pt x="2815" y="159"/>
                  <a:pt x="3022" y="366"/>
                  <a:pt x="3022" y="620"/>
                </a:cubicBezTo>
                <a:cubicBezTo>
                  <a:pt x="3022" y="891"/>
                  <a:pt x="2815" y="1098"/>
                  <a:pt x="2561" y="1098"/>
                </a:cubicBezTo>
                <a:cubicBezTo>
                  <a:pt x="2290" y="1098"/>
                  <a:pt x="2083" y="891"/>
                  <a:pt x="2083" y="620"/>
                </a:cubicBezTo>
                <a:cubicBezTo>
                  <a:pt x="2083" y="366"/>
                  <a:pt x="2290" y="159"/>
                  <a:pt x="2561" y="159"/>
                </a:cubicBezTo>
                <a:close/>
                <a:moveTo>
                  <a:pt x="1924" y="716"/>
                </a:moveTo>
                <a:cubicBezTo>
                  <a:pt x="1972" y="1003"/>
                  <a:pt x="2195" y="1225"/>
                  <a:pt x="2481" y="1257"/>
                </a:cubicBezTo>
                <a:cubicBezTo>
                  <a:pt x="2481" y="1750"/>
                  <a:pt x="2481" y="1750"/>
                  <a:pt x="2481" y="1750"/>
                </a:cubicBezTo>
                <a:cubicBezTo>
                  <a:pt x="2067" y="1782"/>
                  <a:pt x="1749" y="2116"/>
                  <a:pt x="1734" y="2545"/>
                </a:cubicBezTo>
                <a:cubicBezTo>
                  <a:pt x="1256" y="2545"/>
                  <a:pt x="1256" y="2545"/>
                  <a:pt x="1256" y="2545"/>
                </a:cubicBezTo>
                <a:cubicBezTo>
                  <a:pt x="1240" y="2227"/>
                  <a:pt x="986" y="1957"/>
                  <a:pt x="683" y="1941"/>
                </a:cubicBezTo>
                <a:cubicBezTo>
                  <a:pt x="683" y="1257"/>
                  <a:pt x="683" y="1257"/>
                  <a:pt x="683" y="1257"/>
                </a:cubicBezTo>
                <a:cubicBezTo>
                  <a:pt x="970" y="1225"/>
                  <a:pt x="1209" y="1003"/>
                  <a:pt x="1240" y="716"/>
                </a:cubicBezTo>
                <a:close/>
                <a:moveTo>
                  <a:pt x="159" y="620"/>
                </a:moveTo>
                <a:cubicBezTo>
                  <a:pt x="159" y="366"/>
                  <a:pt x="365" y="159"/>
                  <a:pt x="620" y="159"/>
                </a:cubicBezTo>
                <a:cubicBezTo>
                  <a:pt x="891" y="159"/>
                  <a:pt x="1097" y="366"/>
                  <a:pt x="1097" y="620"/>
                </a:cubicBezTo>
                <a:cubicBezTo>
                  <a:pt x="1097" y="891"/>
                  <a:pt x="891" y="1098"/>
                  <a:pt x="620" y="1098"/>
                </a:cubicBezTo>
                <a:cubicBezTo>
                  <a:pt x="604" y="1098"/>
                  <a:pt x="604" y="1098"/>
                  <a:pt x="604" y="1098"/>
                </a:cubicBezTo>
                <a:cubicBezTo>
                  <a:pt x="588" y="1098"/>
                  <a:pt x="588" y="1098"/>
                  <a:pt x="588" y="1098"/>
                </a:cubicBezTo>
                <a:cubicBezTo>
                  <a:pt x="350" y="1082"/>
                  <a:pt x="159" y="875"/>
                  <a:pt x="159" y="620"/>
                </a:cubicBezTo>
                <a:close/>
                <a:moveTo>
                  <a:pt x="159" y="2561"/>
                </a:moveTo>
                <a:cubicBezTo>
                  <a:pt x="159" y="2322"/>
                  <a:pt x="350" y="2116"/>
                  <a:pt x="588" y="2100"/>
                </a:cubicBezTo>
                <a:lnTo>
                  <a:pt x="604" y="2100"/>
                </a:lnTo>
                <a:lnTo>
                  <a:pt x="620" y="2100"/>
                </a:lnTo>
                <a:cubicBezTo>
                  <a:pt x="891" y="2100"/>
                  <a:pt x="1097" y="2307"/>
                  <a:pt x="1097" y="2561"/>
                </a:cubicBezTo>
                <a:cubicBezTo>
                  <a:pt x="1097" y="2831"/>
                  <a:pt x="891" y="3039"/>
                  <a:pt x="620" y="3039"/>
                </a:cubicBezTo>
                <a:lnTo>
                  <a:pt x="604" y="3039"/>
                </a:lnTo>
                <a:cubicBezTo>
                  <a:pt x="588" y="3039"/>
                  <a:pt x="588" y="3039"/>
                  <a:pt x="573" y="3039"/>
                </a:cubicBezTo>
                <a:cubicBezTo>
                  <a:pt x="334" y="3006"/>
                  <a:pt x="159" y="2816"/>
                  <a:pt x="159" y="2561"/>
                </a:cubicBezTo>
                <a:close/>
                <a:moveTo>
                  <a:pt x="620" y="4024"/>
                </a:moveTo>
                <a:cubicBezTo>
                  <a:pt x="891" y="4024"/>
                  <a:pt x="1097" y="4247"/>
                  <a:pt x="1097" y="4502"/>
                </a:cubicBezTo>
                <a:cubicBezTo>
                  <a:pt x="1097" y="4756"/>
                  <a:pt x="891" y="4979"/>
                  <a:pt x="620" y="4979"/>
                </a:cubicBezTo>
                <a:cubicBezTo>
                  <a:pt x="365" y="4979"/>
                  <a:pt x="159" y="4756"/>
                  <a:pt x="159" y="4502"/>
                </a:cubicBezTo>
                <a:cubicBezTo>
                  <a:pt x="159" y="4247"/>
                  <a:pt x="365" y="4024"/>
                  <a:pt x="620" y="402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3" name="Freeform: Shape 2">
            <a:extLst>
              <a:ext uri="{FF2B5EF4-FFF2-40B4-BE49-F238E27FC236}">
                <a16:creationId xmlns:a16="http://schemas.microsoft.com/office/drawing/2014/main" id="{8C761A10-D3DD-1A48-815F-BAABE4F19C2C}"/>
              </a:ext>
            </a:extLst>
          </p:cNvPr>
          <p:cNvSpPr/>
          <p:nvPr/>
        </p:nvSpPr>
        <p:spPr>
          <a:xfrm>
            <a:off x="5754651" y="2568491"/>
            <a:ext cx="2072160" cy="2084040"/>
          </a:xfrm>
          <a:custGeom>
            <a:avLst/>
            <a:gdLst/>
            <a:ahLst/>
            <a:cxnLst>
              <a:cxn ang="3cd4">
                <a:pos x="hc" y="t"/>
              </a:cxn>
              <a:cxn ang="cd2">
                <a:pos x="l" y="vc"/>
              </a:cxn>
              <a:cxn ang="cd4">
                <a:pos x="hc" y="b"/>
              </a:cxn>
              <a:cxn ang="0">
                <a:pos x="r" y="vc"/>
              </a:cxn>
            </a:cxnLst>
            <a:rect l="l" t="t" r="r" b="b"/>
            <a:pathLst>
              <a:path w="5757" h="5790">
                <a:moveTo>
                  <a:pt x="95" y="2990"/>
                </a:moveTo>
                <a:cubicBezTo>
                  <a:pt x="95" y="3563"/>
                  <a:pt x="254" y="4120"/>
                  <a:pt x="588" y="4581"/>
                </a:cubicBezTo>
                <a:cubicBezTo>
                  <a:pt x="588" y="4613"/>
                  <a:pt x="588" y="4629"/>
                  <a:pt x="588" y="4660"/>
                </a:cubicBezTo>
                <a:cubicBezTo>
                  <a:pt x="588" y="5011"/>
                  <a:pt x="858" y="5281"/>
                  <a:pt x="1208" y="5281"/>
                </a:cubicBezTo>
                <a:cubicBezTo>
                  <a:pt x="1240" y="5281"/>
                  <a:pt x="1256" y="5281"/>
                  <a:pt x="1288" y="5281"/>
                </a:cubicBezTo>
                <a:cubicBezTo>
                  <a:pt x="1749" y="5615"/>
                  <a:pt x="2306" y="5790"/>
                  <a:pt x="2878" y="5790"/>
                </a:cubicBezTo>
                <a:cubicBezTo>
                  <a:pt x="3403" y="5790"/>
                  <a:pt x="3928" y="5631"/>
                  <a:pt x="4374" y="5344"/>
                </a:cubicBezTo>
                <a:cubicBezTo>
                  <a:pt x="4405" y="5344"/>
                  <a:pt x="4421" y="5344"/>
                  <a:pt x="4453" y="5344"/>
                </a:cubicBezTo>
                <a:cubicBezTo>
                  <a:pt x="4803" y="5344"/>
                  <a:pt x="5089" y="5074"/>
                  <a:pt x="5089" y="4724"/>
                </a:cubicBezTo>
                <a:cubicBezTo>
                  <a:pt x="5089" y="4708"/>
                  <a:pt x="5089" y="4708"/>
                  <a:pt x="5089" y="4692"/>
                </a:cubicBezTo>
                <a:cubicBezTo>
                  <a:pt x="5471" y="4215"/>
                  <a:pt x="5662" y="3611"/>
                  <a:pt x="5662" y="2990"/>
                </a:cubicBezTo>
                <a:cubicBezTo>
                  <a:pt x="5662" y="2815"/>
                  <a:pt x="5646" y="2641"/>
                  <a:pt x="5614" y="2450"/>
                </a:cubicBezTo>
                <a:cubicBezTo>
                  <a:pt x="5710" y="2354"/>
                  <a:pt x="5757" y="2211"/>
                  <a:pt x="5757" y="2052"/>
                </a:cubicBezTo>
                <a:cubicBezTo>
                  <a:pt x="5757" y="1718"/>
                  <a:pt x="5503" y="1448"/>
                  <a:pt x="5185" y="1431"/>
                </a:cubicBezTo>
                <a:cubicBezTo>
                  <a:pt x="4756" y="796"/>
                  <a:pt x="4087" y="366"/>
                  <a:pt x="3340" y="239"/>
                </a:cubicBezTo>
                <a:cubicBezTo>
                  <a:pt x="3229" y="96"/>
                  <a:pt x="3038" y="0"/>
                  <a:pt x="2831" y="0"/>
                </a:cubicBezTo>
                <a:cubicBezTo>
                  <a:pt x="2624" y="0"/>
                  <a:pt x="2433" y="96"/>
                  <a:pt x="2322" y="255"/>
                </a:cubicBezTo>
                <a:cubicBezTo>
                  <a:pt x="1622" y="398"/>
                  <a:pt x="985" y="827"/>
                  <a:pt x="572" y="1431"/>
                </a:cubicBezTo>
                <a:cubicBezTo>
                  <a:pt x="254" y="1448"/>
                  <a:pt x="0" y="1718"/>
                  <a:pt x="0" y="2052"/>
                </a:cubicBezTo>
                <a:cubicBezTo>
                  <a:pt x="0" y="2211"/>
                  <a:pt x="47" y="2338"/>
                  <a:pt x="143" y="2450"/>
                </a:cubicBezTo>
                <a:cubicBezTo>
                  <a:pt x="111" y="2624"/>
                  <a:pt x="95" y="2815"/>
                  <a:pt x="95" y="2990"/>
                </a:cubicBezTo>
                <a:close/>
                <a:moveTo>
                  <a:pt x="254" y="2990"/>
                </a:moveTo>
                <a:cubicBezTo>
                  <a:pt x="254" y="2847"/>
                  <a:pt x="254" y="2720"/>
                  <a:pt x="286" y="2577"/>
                </a:cubicBezTo>
                <a:cubicBezTo>
                  <a:pt x="381" y="2641"/>
                  <a:pt x="493" y="2688"/>
                  <a:pt x="636" y="2688"/>
                </a:cubicBezTo>
                <a:cubicBezTo>
                  <a:pt x="827" y="2688"/>
                  <a:pt x="1018" y="2593"/>
                  <a:pt x="1129" y="2434"/>
                </a:cubicBezTo>
                <a:cubicBezTo>
                  <a:pt x="1447" y="2561"/>
                  <a:pt x="1447" y="2561"/>
                  <a:pt x="1447" y="2561"/>
                </a:cubicBezTo>
                <a:cubicBezTo>
                  <a:pt x="1415" y="2704"/>
                  <a:pt x="1383" y="2847"/>
                  <a:pt x="1383" y="2990"/>
                </a:cubicBezTo>
                <a:cubicBezTo>
                  <a:pt x="1383" y="3388"/>
                  <a:pt x="1542" y="3754"/>
                  <a:pt x="1797" y="4024"/>
                </a:cubicBezTo>
                <a:cubicBezTo>
                  <a:pt x="1638" y="4199"/>
                  <a:pt x="1638" y="4199"/>
                  <a:pt x="1638" y="4199"/>
                </a:cubicBezTo>
                <a:cubicBezTo>
                  <a:pt x="1527" y="4088"/>
                  <a:pt x="1383" y="4024"/>
                  <a:pt x="1208" y="4024"/>
                </a:cubicBezTo>
                <a:cubicBezTo>
                  <a:pt x="970" y="4024"/>
                  <a:pt x="747" y="4168"/>
                  <a:pt x="652" y="4390"/>
                </a:cubicBezTo>
                <a:cubicBezTo>
                  <a:pt x="381" y="3960"/>
                  <a:pt x="254" y="3484"/>
                  <a:pt x="254" y="2990"/>
                </a:cubicBezTo>
                <a:close/>
                <a:moveTo>
                  <a:pt x="3547" y="3627"/>
                </a:moveTo>
                <a:cubicBezTo>
                  <a:pt x="3705" y="3468"/>
                  <a:pt x="3801" y="3245"/>
                  <a:pt x="3801" y="2990"/>
                </a:cubicBezTo>
                <a:cubicBezTo>
                  <a:pt x="3801" y="2911"/>
                  <a:pt x="3785" y="2815"/>
                  <a:pt x="3769" y="2736"/>
                </a:cubicBezTo>
                <a:cubicBezTo>
                  <a:pt x="4151" y="2593"/>
                  <a:pt x="4151" y="2593"/>
                  <a:pt x="4151" y="2593"/>
                </a:cubicBezTo>
                <a:cubicBezTo>
                  <a:pt x="4183" y="2720"/>
                  <a:pt x="4214" y="2847"/>
                  <a:pt x="4214" y="2990"/>
                </a:cubicBezTo>
                <a:cubicBezTo>
                  <a:pt x="4214" y="3356"/>
                  <a:pt x="4056" y="3706"/>
                  <a:pt x="3817" y="3945"/>
                </a:cubicBezTo>
                <a:close/>
                <a:moveTo>
                  <a:pt x="3690" y="4040"/>
                </a:moveTo>
                <a:cubicBezTo>
                  <a:pt x="3467" y="4215"/>
                  <a:pt x="3181" y="4326"/>
                  <a:pt x="2878" y="4326"/>
                </a:cubicBezTo>
                <a:cubicBezTo>
                  <a:pt x="2544" y="4326"/>
                  <a:pt x="2242" y="4215"/>
                  <a:pt x="2020" y="4008"/>
                </a:cubicBezTo>
                <a:cubicBezTo>
                  <a:pt x="2290" y="3706"/>
                  <a:pt x="2290" y="3706"/>
                  <a:pt x="2290" y="3706"/>
                </a:cubicBezTo>
                <a:cubicBezTo>
                  <a:pt x="2449" y="3833"/>
                  <a:pt x="2656" y="3913"/>
                  <a:pt x="2878" y="3913"/>
                </a:cubicBezTo>
                <a:cubicBezTo>
                  <a:pt x="3085" y="3913"/>
                  <a:pt x="3276" y="3850"/>
                  <a:pt x="3419" y="3738"/>
                </a:cubicBezTo>
                <a:close/>
                <a:moveTo>
                  <a:pt x="3705" y="2593"/>
                </a:moveTo>
                <a:cubicBezTo>
                  <a:pt x="3562" y="2290"/>
                  <a:pt x="3260" y="2084"/>
                  <a:pt x="2926" y="2068"/>
                </a:cubicBezTo>
                <a:cubicBezTo>
                  <a:pt x="2926" y="1654"/>
                  <a:pt x="2926" y="1654"/>
                  <a:pt x="2926" y="1654"/>
                </a:cubicBezTo>
                <a:cubicBezTo>
                  <a:pt x="3435" y="1670"/>
                  <a:pt x="3881" y="1988"/>
                  <a:pt x="4087" y="2450"/>
                </a:cubicBezTo>
                <a:close/>
                <a:moveTo>
                  <a:pt x="3594" y="2720"/>
                </a:moveTo>
                <a:cubicBezTo>
                  <a:pt x="3626" y="2799"/>
                  <a:pt x="3642" y="2895"/>
                  <a:pt x="3642" y="2990"/>
                </a:cubicBezTo>
                <a:cubicBezTo>
                  <a:pt x="3642" y="3420"/>
                  <a:pt x="3292" y="3754"/>
                  <a:pt x="2878" y="3754"/>
                </a:cubicBezTo>
                <a:cubicBezTo>
                  <a:pt x="2465" y="3754"/>
                  <a:pt x="2115" y="3420"/>
                  <a:pt x="2115" y="2990"/>
                </a:cubicBezTo>
                <a:cubicBezTo>
                  <a:pt x="2115" y="2593"/>
                  <a:pt x="2433" y="2259"/>
                  <a:pt x="2831" y="2227"/>
                </a:cubicBezTo>
                <a:cubicBezTo>
                  <a:pt x="2847" y="2227"/>
                  <a:pt x="2847" y="2227"/>
                  <a:pt x="2847" y="2227"/>
                </a:cubicBezTo>
                <a:cubicBezTo>
                  <a:pt x="2863" y="2227"/>
                  <a:pt x="2863" y="2227"/>
                  <a:pt x="2878" y="2227"/>
                </a:cubicBezTo>
                <a:cubicBezTo>
                  <a:pt x="3196" y="2227"/>
                  <a:pt x="3483" y="2434"/>
                  <a:pt x="3594" y="2720"/>
                </a:cubicBezTo>
                <a:close/>
                <a:moveTo>
                  <a:pt x="2767" y="2084"/>
                </a:moveTo>
                <a:cubicBezTo>
                  <a:pt x="2433" y="2115"/>
                  <a:pt x="2163" y="2338"/>
                  <a:pt x="2035" y="2624"/>
                </a:cubicBezTo>
                <a:cubicBezTo>
                  <a:pt x="1654" y="2466"/>
                  <a:pt x="1654" y="2466"/>
                  <a:pt x="1654" y="2466"/>
                </a:cubicBezTo>
                <a:cubicBezTo>
                  <a:pt x="1845" y="2020"/>
                  <a:pt x="2258" y="1702"/>
                  <a:pt x="2767" y="1670"/>
                </a:cubicBezTo>
                <a:close/>
                <a:moveTo>
                  <a:pt x="1988" y="2768"/>
                </a:moveTo>
                <a:cubicBezTo>
                  <a:pt x="1972" y="2847"/>
                  <a:pt x="1956" y="2911"/>
                  <a:pt x="1956" y="2990"/>
                </a:cubicBezTo>
                <a:cubicBezTo>
                  <a:pt x="1956" y="3229"/>
                  <a:pt x="2035" y="3436"/>
                  <a:pt x="2179" y="3595"/>
                </a:cubicBezTo>
                <a:cubicBezTo>
                  <a:pt x="1892" y="3897"/>
                  <a:pt x="1892" y="3897"/>
                  <a:pt x="1892" y="3897"/>
                </a:cubicBezTo>
                <a:cubicBezTo>
                  <a:pt x="1685" y="3659"/>
                  <a:pt x="1542" y="3341"/>
                  <a:pt x="1542" y="2990"/>
                </a:cubicBezTo>
                <a:cubicBezTo>
                  <a:pt x="1542" y="2863"/>
                  <a:pt x="1558" y="2736"/>
                  <a:pt x="1590" y="2624"/>
                </a:cubicBezTo>
                <a:close/>
                <a:moveTo>
                  <a:pt x="1288" y="5122"/>
                </a:moveTo>
                <a:cubicBezTo>
                  <a:pt x="1272" y="5122"/>
                  <a:pt x="1240" y="5122"/>
                  <a:pt x="1208" y="5122"/>
                </a:cubicBezTo>
                <a:cubicBezTo>
                  <a:pt x="954" y="5122"/>
                  <a:pt x="747" y="4915"/>
                  <a:pt x="747" y="4660"/>
                </a:cubicBezTo>
                <a:cubicBezTo>
                  <a:pt x="747" y="4629"/>
                  <a:pt x="747" y="4597"/>
                  <a:pt x="747" y="4581"/>
                </a:cubicBezTo>
                <a:cubicBezTo>
                  <a:pt x="795" y="4358"/>
                  <a:pt x="985" y="4183"/>
                  <a:pt x="1208" y="4183"/>
                </a:cubicBezTo>
                <a:cubicBezTo>
                  <a:pt x="1479" y="4183"/>
                  <a:pt x="1685" y="4390"/>
                  <a:pt x="1685" y="4660"/>
                </a:cubicBezTo>
                <a:cubicBezTo>
                  <a:pt x="1685" y="4883"/>
                  <a:pt x="1511" y="5090"/>
                  <a:pt x="1288" y="5122"/>
                </a:cubicBezTo>
                <a:close/>
                <a:moveTo>
                  <a:pt x="2878" y="5631"/>
                </a:moveTo>
                <a:cubicBezTo>
                  <a:pt x="2385" y="5631"/>
                  <a:pt x="1908" y="5487"/>
                  <a:pt x="1494" y="5233"/>
                </a:cubicBezTo>
                <a:cubicBezTo>
                  <a:pt x="1702" y="5122"/>
                  <a:pt x="1845" y="4915"/>
                  <a:pt x="1845" y="4660"/>
                </a:cubicBezTo>
                <a:cubicBezTo>
                  <a:pt x="1845" y="4533"/>
                  <a:pt x="1813" y="4406"/>
                  <a:pt x="1733" y="4311"/>
                </a:cubicBezTo>
                <a:cubicBezTo>
                  <a:pt x="1908" y="4120"/>
                  <a:pt x="1908" y="4120"/>
                  <a:pt x="1908" y="4120"/>
                </a:cubicBezTo>
                <a:cubicBezTo>
                  <a:pt x="2163" y="4358"/>
                  <a:pt x="2512" y="4486"/>
                  <a:pt x="2878" y="4486"/>
                </a:cubicBezTo>
                <a:cubicBezTo>
                  <a:pt x="3229" y="4486"/>
                  <a:pt x="3547" y="4358"/>
                  <a:pt x="3801" y="4168"/>
                </a:cubicBezTo>
                <a:cubicBezTo>
                  <a:pt x="3960" y="4342"/>
                  <a:pt x="3960" y="4342"/>
                  <a:pt x="3960" y="4342"/>
                </a:cubicBezTo>
                <a:cubicBezTo>
                  <a:pt x="3881" y="4438"/>
                  <a:pt x="3817" y="4581"/>
                  <a:pt x="3817" y="4724"/>
                </a:cubicBezTo>
                <a:cubicBezTo>
                  <a:pt x="3817" y="4963"/>
                  <a:pt x="3960" y="5185"/>
                  <a:pt x="4167" y="5281"/>
                </a:cubicBezTo>
                <a:cubicBezTo>
                  <a:pt x="3785" y="5504"/>
                  <a:pt x="3340" y="5631"/>
                  <a:pt x="2878" y="5631"/>
                </a:cubicBezTo>
                <a:close/>
                <a:moveTo>
                  <a:pt x="4453" y="5185"/>
                </a:moveTo>
                <a:cubicBezTo>
                  <a:pt x="4199" y="5185"/>
                  <a:pt x="3976" y="4978"/>
                  <a:pt x="3976" y="4724"/>
                </a:cubicBezTo>
                <a:cubicBezTo>
                  <a:pt x="3976" y="4454"/>
                  <a:pt x="4199" y="4247"/>
                  <a:pt x="4453" y="4247"/>
                </a:cubicBezTo>
                <a:cubicBezTo>
                  <a:pt x="4708" y="4247"/>
                  <a:pt x="4930" y="4454"/>
                  <a:pt x="4930" y="4724"/>
                </a:cubicBezTo>
                <a:cubicBezTo>
                  <a:pt x="4930" y="4978"/>
                  <a:pt x="4708" y="5185"/>
                  <a:pt x="4453" y="5185"/>
                </a:cubicBezTo>
                <a:close/>
                <a:moveTo>
                  <a:pt x="5042" y="4486"/>
                </a:moveTo>
                <a:cubicBezTo>
                  <a:pt x="4946" y="4263"/>
                  <a:pt x="4723" y="4088"/>
                  <a:pt x="4453" y="4088"/>
                </a:cubicBezTo>
                <a:cubicBezTo>
                  <a:pt x="4310" y="4088"/>
                  <a:pt x="4183" y="4136"/>
                  <a:pt x="4071" y="4215"/>
                </a:cubicBezTo>
                <a:cubicBezTo>
                  <a:pt x="3928" y="4056"/>
                  <a:pt x="3928" y="4056"/>
                  <a:pt x="3928" y="4056"/>
                </a:cubicBezTo>
                <a:cubicBezTo>
                  <a:pt x="4199" y="3786"/>
                  <a:pt x="4374" y="3404"/>
                  <a:pt x="4374" y="2990"/>
                </a:cubicBezTo>
                <a:cubicBezTo>
                  <a:pt x="4374" y="2832"/>
                  <a:pt x="4342" y="2672"/>
                  <a:pt x="4294" y="2529"/>
                </a:cubicBezTo>
                <a:cubicBezTo>
                  <a:pt x="4612" y="2418"/>
                  <a:pt x="4612" y="2418"/>
                  <a:pt x="4612" y="2418"/>
                </a:cubicBezTo>
                <a:cubicBezTo>
                  <a:pt x="4723" y="2577"/>
                  <a:pt x="4914" y="2688"/>
                  <a:pt x="5137" y="2688"/>
                </a:cubicBezTo>
                <a:cubicBezTo>
                  <a:pt x="5265" y="2688"/>
                  <a:pt x="5375" y="2641"/>
                  <a:pt x="5471" y="2577"/>
                </a:cubicBezTo>
                <a:cubicBezTo>
                  <a:pt x="5503" y="2720"/>
                  <a:pt x="5503" y="2847"/>
                  <a:pt x="5503" y="2990"/>
                </a:cubicBezTo>
                <a:cubicBezTo>
                  <a:pt x="5503" y="3531"/>
                  <a:pt x="5344" y="4056"/>
                  <a:pt x="5042" y="4486"/>
                </a:cubicBezTo>
                <a:close/>
                <a:moveTo>
                  <a:pt x="5598" y="2052"/>
                </a:moveTo>
                <a:cubicBezTo>
                  <a:pt x="5598" y="2179"/>
                  <a:pt x="5551" y="2290"/>
                  <a:pt x="5471" y="2370"/>
                </a:cubicBezTo>
                <a:lnTo>
                  <a:pt x="5471" y="2386"/>
                </a:lnTo>
                <a:cubicBezTo>
                  <a:pt x="5392" y="2466"/>
                  <a:pt x="5265" y="2529"/>
                  <a:pt x="5137" y="2529"/>
                </a:cubicBezTo>
                <a:cubicBezTo>
                  <a:pt x="4866" y="2529"/>
                  <a:pt x="4660" y="2306"/>
                  <a:pt x="4660" y="2052"/>
                </a:cubicBezTo>
                <a:cubicBezTo>
                  <a:pt x="4660" y="1797"/>
                  <a:pt x="4866" y="1575"/>
                  <a:pt x="5137" y="1575"/>
                </a:cubicBezTo>
                <a:cubicBezTo>
                  <a:pt x="5392" y="1575"/>
                  <a:pt x="5598" y="1797"/>
                  <a:pt x="5598" y="2052"/>
                </a:cubicBezTo>
                <a:close/>
                <a:moveTo>
                  <a:pt x="3435" y="430"/>
                </a:moveTo>
                <a:cubicBezTo>
                  <a:pt x="4056" y="557"/>
                  <a:pt x="4612" y="922"/>
                  <a:pt x="4994" y="1431"/>
                </a:cubicBezTo>
                <a:cubicBezTo>
                  <a:pt x="4708" y="1495"/>
                  <a:pt x="4501" y="1750"/>
                  <a:pt x="4501" y="2052"/>
                </a:cubicBezTo>
                <a:cubicBezTo>
                  <a:pt x="4501" y="2132"/>
                  <a:pt x="4517" y="2195"/>
                  <a:pt x="4533" y="2275"/>
                </a:cubicBezTo>
                <a:cubicBezTo>
                  <a:pt x="4247" y="2386"/>
                  <a:pt x="4247" y="2386"/>
                  <a:pt x="4247" y="2386"/>
                </a:cubicBezTo>
                <a:cubicBezTo>
                  <a:pt x="4008" y="1877"/>
                  <a:pt x="3515" y="1511"/>
                  <a:pt x="2926" y="1495"/>
                </a:cubicBezTo>
                <a:cubicBezTo>
                  <a:pt x="2926" y="1257"/>
                  <a:pt x="2926" y="1257"/>
                  <a:pt x="2926" y="1257"/>
                </a:cubicBezTo>
                <a:cubicBezTo>
                  <a:pt x="3229" y="1209"/>
                  <a:pt x="3467" y="939"/>
                  <a:pt x="3467" y="621"/>
                </a:cubicBezTo>
                <a:cubicBezTo>
                  <a:pt x="3467" y="557"/>
                  <a:pt x="3451" y="493"/>
                  <a:pt x="3435" y="430"/>
                </a:cubicBezTo>
                <a:close/>
                <a:moveTo>
                  <a:pt x="2433" y="382"/>
                </a:moveTo>
                <a:cubicBezTo>
                  <a:pt x="2529" y="239"/>
                  <a:pt x="2672" y="159"/>
                  <a:pt x="2831" y="159"/>
                </a:cubicBezTo>
                <a:cubicBezTo>
                  <a:pt x="3101" y="159"/>
                  <a:pt x="3308" y="366"/>
                  <a:pt x="3308" y="621"/>
                </a:cubicBezTo>
                <a:cubicBezTo>
                  <a:pt x="3308" y="875"/>
                  <a:pt x="3117" y="1082"/>
                  <a:pt x="2863" y="1097"/>
                </a:cubicBezTo>
                <a:lnTo>
                  <a:pt x="2847" y="1097"/>
                </a:lnTo>
                <a:cubicBezTo>
                  <a:pt x="2831" y="1097"/>
                  <a:pt x="2831" y="1097"/>
                  <a:pt x="2815" y="1097"/>
                </a:cubicBezTo>
                <a:cubicBezTo>
                  <a:pt x="2560" y="1082"/>
                  <a:pt x="2369" y="875"/>
                  <a:pt x="2369" y="621"/>
                </a:cubicBezTo>
                <a:cubicBezTo>
                  <a:pt x="2369" y="541"/>
                  <a:pt x="2385" y="445"/>
                  <a:pt x="2433" y="382"/>
                </a:cubicBezTo>
                <a:close/>
                <a:moveTo>
                  <a:pt x="2226" y="445"/>
                </a:moveTo>
                <a:cubicBezTo>
                  <a:pt x="2211" y="509"/>
                  <a:pt x="2211" y="557"/>
                  <a:pt x="2211" y="621"/>
                </a:cubicBezTo>
                <a:cubicBezTo>
                  <a:pt x="2211" y="954"/>
                  <a:pt x="2449" y="1209"/>
                  <a:pt x="2767" y="1257"/>
                </a:cubicBezTo>
                <a:cubicBezTo>
                  <a:pt x="2767" y="1511"/>
                  <a:pt x="2767" y="1511"/>
                  <a:pt x="2767" y="1511"/>
                </a:cubicBezTo>
                <a:cubicBezTo>
                  <a:pt x="2194" y="1543"/>
                  <a:pt x="1717" y="1909"/>
                  <a:pt x="1511" y="2418"/>
                </a:cubicBezTo>
                <a:cubicBezTo>
                  <a:pt x="1208" y="2306"/>
                  <a:pt x="1208" y="2306"/>
                  <a:pt x="1208" y="2306"/>
                </a:cubicBezTo>
                <a:cubicBezTo>
                  <a:pt x="1240" y="2227"/>
                  <a:pt x="1256" y="2147"/>
                  <a:pt x="1256" y="2052"/>
                </a:cubicBezTo>
                <a:cubicBezTo>
                  <a:pt x="1256" y="1750"/>
                  <a:pt x="1049" y="1495"/>
                  <a:pt x="763" y="1431"/>
                </a:cubicBezTo>
                <a:cubicBezTo>
                  <a:pt x="1113" y="939"/>
                  <a:pt x="1654" y="588"/>
                  <a:pt x="2226" y="445"/>
                </a:cubicBezTo>
                <a:close/>
                <a:moveTo>
                  <a:pt x="636" y="1575"/>
                </a:moveTo>
                <a:cubicBezTo>
                  <a:pt x="890" y="1575"/>
                  <a:pt x="1097" y="1797"/>
                  <a:pt x="1097" y="2052"/>
                </a:cubicBezTo>
                <a:cubicBezTo>
                  <a:pt x="1097" y="2306"/>
                  <a:pt x="890" y="2529"/>
                  <a:pt x="636" y="2529"/>
                </a:cubicBezTo>
                <a:cubicBezTo>
                  <a:pt x="366" y="2529"/>
                  <a:pt x="158" y="2306"/>
                  <a:pt x="158" y="2052"/>
                </a:cubicBezTo>
                <a:cubicBezTo>
                  <a:pt x="158" y="1797"/>
                  <a:pt x="366" y="1575"/>
                  <a:pt x="636" y="157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4" name="Freeform: Shape 3">
            <a:extLst>
              <a:ext uri="{FF2B5EF4-FFF2-40B4-BE49-F238E27FC236}">
                <a16:creationId xmlns:a16="http://schemas.microsoft.com/office/drawing/2014/main" id="{F0AA2239-19C9-9447-94F9-1477BA4FE141}"/>
              </a:ext>
            </a:extLst>
          </p:cNvPr>
          <p:cNvSpPr/>
          <p:nvPr/>
        </p:nvSpPr>
        <p:spPr>
          <a:xfrm>
            <a:off x="13855309" y="2968623"/>
            <a:ext cx="1717560" cy="1714680"/>
          </a:xfrm>
          <a:custGeom>
            <a:avLst/>
            <a:gdLst/>
            <a:ahLst/>
            <a:cxnLst>
              <a:cxn ang="3cd4">
                <a:pos x="hc" y="t"/>
              </a:cxn>
              <a:cxn ang="cd2">
                <a:pos x="l" y="vc"/>
              </a:cxn>
              <a:cxn ang="cd4">
                <a:pos x="hc" y="b"/>
              </a:cxn>
              <a:cxn ang="0">
                <a:pos x="r" y="vc"/>
              </a:cxn>
            </a:cxnLst>
            <a:rect l="l" t="t" r="r" b="b"/>
            <a:pathLst>
              <a:path w="4772" h="4764">
                <a:moveTo>
                  <a:pt x="691" y="1376"/>
                </a:moveTo>
                <a:lnTo>
                  <a:pt x="708" y="1376"/>
                </a:lnTo>
                <a:cubicBezTo>
                  <a:pt x="739" y="1376"/>
                  <a:pt x="771" y="1344"/>
                  <a:pt x="787" y="1297"/>
                </a:cubicBezTo>
                <a:cubicBezTo>
                  <a:pt x="803" y="1153"/>
                  <a:pt x="867" y="1026"/>
                  <a:pt x="962" y="931"/>
                </a:cubicBezTo>
                <a:cubicBezTo>
                  <a:pt x="1057" y="835"/>
                  <a:pt x="1169" y="788"/>
                  <a:pt x="1296" y="756"/>
                </a:cubicBezTo>
                <a:cubicBezTo>
                  <a:pt x="1344" y="756"/>
                  <a:pt x="1376" y="708"/>
                  <a:pt x="1360" y="660"/>
                </a:cubicBezTo>
                <a:cubicBezTo>
                  <a:pt x="1360" y="628"/>
                  <a:pt x="1312" y="597"/>
                  <a:pt x="1280" y="597"/>
                </a:cubicBezTo>
                <a:cubicBezTo>
                  <a:pt x="1105" y="628"/>
                  <a:pt x="962" y="708"/>
                  <a:pt x="851" y="819"/>
                </a:cubicBezTo>
                <a:cubicBezTo>
                  <a:pt x="724" y="947"/>
                  <a:pt x="644" y="1106"/>
                  <a:pt x="628" y="1280"/>
                </a:cubicBezTo>
                <a:cubicBezTo>
                  <a:pt x="612" y="1328"/>
                  <a:pt x="644" y="1360"/>
                  <a:pt x="691" y="1376"/>
                </a:cubicBezTo>
                <a:close/>
                <a:moveTo>
                  <a:pt x="1296" y="390"/>
                </a:moveTo>
                <a:cubicBezTo>
                  <a:pt x="1344" y="390"/>
                  <a:pt x="1376" y="342"/>
                  <a:pt x="1360" y="310"/>
                </a:cubicBezTo>
                <a:cubicBezTo>
                  <a:pt x="1360" y="262"/>
                  <a:pt x="1328" y="231"/>
                  <a:pt x="1280" y="231"/>
                </a:cubicBezTo>
                <a:cubicBezTo>
                  <a:pt x="1010" y="247"/>
                  <a:pt x="755" y="374"/>
                  <a:pt x="564" y="565"/>
                </a:cubicBezTo>
                <a:cubicBezTo>
                  <a:pt x="373" y="756"/>
                  <a:pt x="246" y="1010"/>
                  <a:pt x="230" y="1280"/>
                </a:cubicBezTo>
                <a:cubicBezTo>
                  <a:pt x="230" y="1328"/>
                  <a:pt x="262" y="1360"/>
                  <a:pt x="310" y="1376"/>
                </a:cubicBezTo>
                <a:cubicBezTo>
                  <a:pt x="358" y="1376"/>
                  <a:pt x="390" y="1344"/>
                  <a:pt x="390" y="1297"/>
                </a:cubicBezTo>
                <a:cubicBezTo>
                  <a:pt x="405" y="1058"/>
                  <a:pt x="501" y="835"/>
                  <a:pt x="676" y="676"/>
                </a:cubicBezTo>
                <a:cubicBezTo>
                  <a:pt x="835" y="501"/>
                  <a:pt x="1057" y="405"/>
                  <a:pt x="1296" y="390"/>
                </a:cubicBezTo>
                <a:close/>
                <a:moveTo>
                  <a:pt x="4063" y="24"/>
                </a:moveTo>
                <a:cubicBezTo>
                  <a:pt x="4032" y="-8"/>
                  <a:pt x="3984" y="-8"/>
                  <a:pt x="3953" y="24"/>
                </a:cubicBezTo>
                <a:lnTo>
                  <a:pt x="2870" y="1106"/>
                </a:lnTo>
                <a:cubicBezTo>
                  <a:pt x="2839" y="1137"/>
                  <a:pt x="2839" y="1185"/>
                  <a:pt x="2870" y="1217"/>
                </a:cubicBezTo>
                <a:lnTo>
                  <a:pt x="3078" y="1440"/>
                </a:lnTo>
                <a:lnTo>
                  <a:pt x="2807" y="1710"/>
                </a:lnTo>
                <a:lnTo>
                  <a:pt x="2791" y="1726"/>
                </a:lnTo>
                <a:lnTo>
                  <a:pt x="2298" y="1233"/>
                </a:lnTo>
                <a:cubicBezTo>
                  <a:pt x="2266" y="1217"/>
                  <a:pt x="2218" y="1217"/>
                  <a:pt x="2187" y="1233"/>
                </a:cubicBezTo>
                <a:lnTo>
                  <a:pt x="1948" y="1488"/>
                </a:lnTo>
                <a:cubicBezTo>
                  <a:pt x="1980" y="1392"/>
                  <a:pt x="1996" y="1312"/>
                  <a:pt x="1996" y="1217"/>
                </a:cubicBezTo>
                <a:cubicBezTo>
                  <a:pt x="2012" y="1010"/>
                  <a:pt x="1932" y="819"/>
                  <a:pt x="1789" y="660"/>
                </a:cubicBezTo>
                <a:cubicBezTo>
                  <a:pt x="1757" y="644"/>
                  <a:pt x="1709" y="644"/>
                  <a:pt x="1678" y="660"/>
                </a:cubicBezTo>
                <a:lnTo>
                  <a:pt x="691" y="1646"/>
                </a:lnTo>
                <a:cubicBezTo>
                  <a:pt x="676" y="1662"/>
                  <a:pt x="676" y="1678"/>
                  <a:pt x="676" y="1710"/>
                </a:cubicBezTo>
                <a:cubicBezTo>
                  <a:pt x="676" y="1726"/>
                  <a:pt x="676" y="1742"/>
                  <a:pt x="691" y="1758"/>
                </a:cubicBezTo>
                <a:cubicBezTo>
                  <a:pt x="835" y="1901"/>
                  <a:pt x="1026" y="1980"/>
                  <a:pt x="1217" y="1980"/>
                </a:cubicBezTo>
                <a:cubicBezTo>
                  <a:pt x="1312" y="1980"/>
                  <a:pt x="1423" y="1949"/>
                  <a:pt x="1519" y="1917"/>
                </a:cubicBezTo>
                <a:lnTo>
                  <a:pt x="1233" y="2187"/>
                </a:lnTo>
                <a:cubicBezTo>
                  <a:pt x="1217" y="2203"/>
                  <a:pt x="1217" y="2219"/>
                  <a:pt x="1217" y="2251"/>
                </a:cubicBezTo>
                <a:cubicBezTo>
                  <a:pt x="1217" y="2267"/>
                  <a:pt x="1217" y="2283"/>
                  <a:pt x="1233" y="2298"/>
                </a:cubicBezTo>
                <a:lnTo>
                  <a:pt x="1726" y="2792"/>
                </a:lnTo>
                <a:cubicBezTo>
                  <a:pt x="1720" y="2797"/>
                  <a:pt x="1709" y="2792"/>
                  <a:pt x="1709" y="2807"/>
                </a:cubicBezTo>
                <a:lnTo>
                  <a:pt x="1439" y="3078"/>
                </a:lnTo>
                <a:lnTo>
                  <a:pt x="1439" y="3094"/>
                </a:lnTo>
                <a:lnTo>
                  <a:pt x="1217" y="2871"/>
                </a:lnTo>
                <a:cubicBezTo>
                  <a:pt x="1200" y="2855"/>
                  <a:pt x="1185" y="2839"/>
                  <a:pt x="1153" y="2839"/>
                </a:cubicBezTo>
                <a:cubicBezTo>
                  <a:pt x="1137" y="2839"/>
                  <a:pt x="1121" y="2855"/>
                  <a:pt x="1105" y="2871"/>
                </a:cubicBezTo>
                <a:lnTo>
                  <a:pt x="24" y="3953"/>
                </a:lnTo>
                <a:cubicBezTo>
                  <a:pt x="-8" y="3985"/>
                  <a:pt x="-8" y="4032"/>
                  <a:pt x="24" y="4064"/>
                </a:cubicBezTo>
                <a:lnTo>
                  <a:pt x="691" y="4748"/>
                </a:lnTo>
                <a:cubicBezTo>
                  <a:pt x="708" y="4764"/>
                  <a:pt x="724" y="4764"/>
                  <a:pt x="755" y="4764"/>
                </a:cubicBezTo>
                <a:cubicBezTo>
                  <a:pt x="771" y="4764"/>
                  <a:pt x="787" y="4764"/>
                  <a:pt x="803" y="4748"/>
                </a:cubicBezTo>
                <a:lnTo>
                  <a:pt x="1900" y="3667"/>
                </a:lnTo>
                <a:cubicBezTo>
                  <a:pt x="1932" y="3634"/>
                  <a:pt x="1932" y="3587"/>
                  <a:pt x="1900" y="3555"/>
                </a:cubicBezTo>
                <a:lnTo>
                  <a:pt x="1535" y="3189"/>
                </a:lnTo>
                <a:lnTo>
                  <a:pt x="1551" y="3189"/>
                </a:lnTo>
                <a:lnTo>
                  <a:pt x="1821" y="2919"/>
                </a:lnTo>
                <a:lnTo>
                  <a:pt x="1837" y="2903"/>
                </a:lnTo>
                <a:lnTo>
                  <a:pt x="2218" y="3269"/>
                </a:lnTo>
                <a:cubicBezTo>
                  <a:pt x="2362" y="3428"/>
                  <a:pt x="2553" y="3491"/>
                  <a:pt x="2743" y="3491"/>
                </a:cubicBezTo>
                <a:cubicBezTo>
                  <a:pt x="2935" y="3491"/>
                  <a:pt x="3125" y="3428"/>
                  <a:pt x="3284" y="3285"/>
                </a:cubicBezTo>
                <a:cubicBezTo>
                  <a:pt x="3571" y="2982"/>
                  <a:pt x="3571" y="2506"/>
                  <a:pt x="3284" y="2219"/>
                </a:cubicBezTo>
                <a:lnTo>
                  <a:pt x="2902" y="1837"/>
                </a:lnTo>
                <a:lnTo>
                  <a:pt x="2918" y="1821"/>
                </a:lnTo>
                <a:lnTo>
                  <a:pt x="3189" y="1551"/>
                </a:lnTo>
                <a:lnTo>
                  <a:pt x="3539" y="1901"/>
                </a:lnTo>
                <a:cubicBezTo>
                  <a:pt x="3554" y="1917"/>
                  <a:pt x="3587" y="1917"/>
                  <a:pt x="3602" y="1917"/>
                </a:cubicBezTo>
                <a:cubicBezTo>
                  <a:pt x="3618" y="1917"/>
                  <a:pt x="3650" y="1917"/>
                  <a:pt x="3666" y="1901"/>
                </a:cubicBezTo>
                <a:lnTo>
                  <a:pt x="4748" y="803"/>
                </a:lnTo>
                <a:cubicBezTo>
                  <a:pt x="4780" y="771"/>
                  <a:pt x="4780" y="724"/>
                  <a:pt x="4748" y="692"/>
                </a:cubicBezTo>
                <a:close/>
                <a:moveTo>
                  <a:pt x="1726" y="3603"/>
                </a:moveTo>
                <a:lnTo>
                  <a:pt x="755" y="4573"/>
                </a:lnTo>
                <a:lnTo>
                  <a:pt x="182" y="4016"/>
                </a:lnTo>
                <a:lnTo>
                  <a:pt x="1153" y="3030"/>
                </a:lnTo>
                <a:close/>
                <a:moveTo>
                  <a:pt x="867" y="1694"/>
                </a:moveTo>
                <a:lnTo>
                  <a:pt x="1010" y="1551"/>
                </a:lnTo>
                <a:lnTo>
                  <a:pt x="1726" y="835"/>
                </a:lnTo>
                <a:cubicBezTo>
                  <a:pt x="1805" y="947"/>
                  <a:pt x="1853" y="1074"/>
                  <a:pt x="1837" y="1201"/>
                </a:cubicBezTo>
                <a:cubicBezTo>
                  <a:pt x="1837" y="1360"/>
                  <a:pt x="1773" y="1519"/>
                  <a:pt x="1662" y="1631"/>
                </a:cubicBezTo>
                <a:cubicBezTo>
                  <a:pt x="1439" y="1853"/>
                  <a:pt x="1105" y="1869"/>
                  <a:pt x="867" y="1694"/>
                </a:cubicBezTo>
                <a:close/>
                <a:moveTo>
                  <a:pt x="3173" y="2330"/>
                </a:moveTo>
                <a:cubicBezTo>
                  <a:pt x="3396" y="2569"/>
                  <a:pt x="3396" y="2935"/>
                  <a:pt x="3157" y="3173"/>
                </a:cubicBezTo>
                <a:cubicBezTo>
                  <a:pt x="2935" y="3396"/>
                  <a:pt x="2553" y="3396"/>
                  <a:pt x="2330" y="3158"/>
                </a:cubicBezTo>
                <a:lnTo>
                  <a:pt x="1408" y="2251"/>
                </a:lnTo>
                <a:lnTo>
                  <a:pt x="2250" y="1408"/>
                </a:lnTo>
                <a:close/>
                <a:moveTo>
                  <a:pt x="3602" y="1726"/>
                </a:moveTo>
                <a:lnTo>
                  <a:pt x="3030" y="1153"/>
                </a:lnTo>
                <a:lnTo>
                  <a:pt x="4016" y="183"/>
                </a:lnTo>
                <a:lnTo>
                  <a:pt x="4572" y="75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5" name="Freeform: Shape 4">
            <a:extLst>
              <a:ext uri="{FF2B5EF4-FFF2-40B4-BE49-F238E27FC236}">
                <a16:creationId xmlns:a16="http://schemas.microsoft.com/office/drawing/2014/main" id="{84D954FD-6425-C04E-851C-B7533BF3C030}"/>
              </a:ext>
            </a:extLst>
          </p:cNvPr>
          <p:cNvSpPr/>
          <p:nvPr/>
        </p:nvSpPr>
        <p:spPr>
          <a:xfrm>
            <a:off x="17447965" y="3102659"/>
            <a:ext cx="1585440" cy="1585800"/>
          </a:xfrm>
          <a:custGeom>
            <a:avLst/>
            <a:gdLst/>
            <a:ahLst/>
            <a:cxnLst>
              <a:cxn ang="3cd4">
                <a:pos x="hc" y="t"/>
              </a:cxn>
              <a:cxn ang="cd2">
                <a:pos x="l" y="vc"/>
              </a:cxn>
              <a:cxn ang="cd4">
                <a:pos x="hc" y="b"/>
              </a:cxn>
              <a:cxn ang="0">
                <a:pos x="r" y="vc"/>
              </a:cxn>
            </a:cxnLst>
            <a:rect l="l" t="t" r="r" b="b"/>
            <a:pathLst>
              <a:path w="4405" h="4406">
                <a:moveTo>
                  <a:pt x="3817" y="414"/>
                </a:moveTo>
                <a:lnTo>
                  <a:pt x="3133" y="414"/>
                </a:lnTo>
                <a:cubicBezTo>
                  <a:pt x="3085" y="414"/>
                  <a:pt x="3037" y="382"/>
                  <a:pt x="3006" y="350"/>
                </a:cubicBezTo>
                <a:cubicBezTo>
                  <a:pt x="2937" y="324"/>
                  <a:pt x="2926" y="271"/>
                  <a:pt x="2799" y="271"/>
                </a:cubicBezTo>
                <a:cubicBezTo>
                  <a:pt x="2672" y="271"/>
                  <a:pt x="2608" y="350"/>
                  <a:pt x="2592" y="350"/>
                </a:cubicBezTo>
                <a:cubicBezTo>
                  <a:pt x="2576" y="382"/>
                  <a:pt x="2512" y="414"/>
                  <a:pt x="2481" y="414"/>
                </a:cubicBezTo>
                <a:lnTo>
                  <a:pt x="1940" y="414"/>
                </a:lnTo>
                <a:lnTo>
                  <a:pt x="1494" y="414"/>
                </a:lnTo>
                <a:lnTo>
                  <a:pt x="604" y="414"/>
                </a:lnTo>
                <a:cubicBezTo>
                  <a:pt x="492" y="414"/>
                  <a:pt x="413" y="493"/>
                  <a:pt x="413" y="589"/>
                </a:cubicBezTo>
                <a:lnTo>
                  <a:pt x="413" y="3818"/>
                </a:lnTo>
                <a:cubicBezTo>
                  <a:pt x="413" y="3913"/>
                  <a:pt x="492" y="3992"/>
                  <a:pt x="604" y="3992"/>
                </a:cubicBezTo>
                <a:lnTo>
                  <a:pt x="2481" y="3992"/>
                </a:lnTo>
                <a:cubicBezTo>
                  <a:pt x="2528" y="3992"/>
                  <a:pt x="2592" y="4025"/>
                  <a:pt x="2608" y="4056"/>
                </a:cubicBezTo>
                <a:cubicBezTo>
                  <a:pt x="2624" y="4056"/>
                  <a:pt x="2688" y="4120"/>
                  <a:pt x="2799" y="4120"/>
                </a:cubicBezTo>
                <a:cubicBezTo>
                  <a:pt x="2926" y="4120"/>
                  <a:pt x="2926" y="4077"/>
                  <a:pt x="2990" y="4056"/>
                </a:cubicBezTo>
                <a:cubicBezTo>
                  <a:pt x="3021" y="4025"/>
                  <a:pt x="3085" y="3992"/>
                  <a:pt x="3117" y="3992"/>
                </a:cubicBezTo>
                <a:lnTo>
                  <a:pt x="3817" y="3992"/>
                </a:lnTo>
                <a:cubicBezTo>
                  <a:pt x="3912" y="3992"/>
                  <a:pt x="3992" y="3913"/>
                  <a:pt x="3992" y="3818"/>
                </a:cubicBezTo>
                <a:lnTo>
                  <a:pt x="3992" y="589"/>
                </a:lnTo>
                <a:cubicBezTo>
                  <a:pt x="3992" y="493"/>
                  <a:pt x="3912" y="414"/>
                  <a:pt x="3817" y="414"/>
                </a:cubicBezTo>
                <a:close/>
                <a:moveTo>
                  <a:pt x="1415" y="3834"/>
                </a:moveTo>
                <a:lnTo>
                  <a:pt x="604" y="3834"/>
                </a:lnTo>
                <a:cubicBezTo>
                  <a:pt x="588" y="3834"/>
                  <a:pt x="572" y="3834"/>
                  <a:pt x="572" y="3818"/>
                </a:cubicBezTo>
                <a:lnTo>
                  <a:pt x="572" y="589"/>
                </a:lnTo>
                <a:cubicBezTo>
                  <a:pt x="583" y="584"/>
                  <a:pt x="588" y="573"/>
                  <a:pt x="604" y="573"/>
                </a:cubicBezTo>
                <a:lnTo>
                  <a:pt x="1415" y="573"/>
                </a:lnTo>
                <a:close/>
                <a:moveTo>
                  <a:pt x="1860" y="3834"/>
                </a:moveTo>
                <a:lnTo>
                  <a:pt x="1574" y="3834"/>
                </a:lnTo>
                <a:lnTo>
                  <a:pt x="1574" y="573"/>
                </a:lnTo>
                <a:lnTo>
                  <a:pt x="1860" y="573"/>
                </a:lnTo>
                <a:close/>
                <a:moveTo>
                  <a:pt x="2385" y="3834"/>
                </a:moveTo>
                <a:lnTo>
                  <a:pt x="2019" y="3834"/>
                </a:lnTo>
                <a:lnTo>
                  <a:pt x="2019" y="573"/>
                </a:lnTo>
                <a:lnTo>
                  <a:pt x="2385" y="573"/>
                </a:lnTo>
                <a:close/>
                <a:moveTo>
                  <a:pt x="3054" y="3802"/>
                </a:moveTo>
                <a:lnTo>
                  <a:pt x="3054" y="3849"/>
                </a:lnTo>
                <a:cubicBezTo>
                  <a:pt x="2990" y="3865"/>
                  <a:pt x="2926" y="3897"/>
                  <a:pt x="2878" y="3945"/>
                </a:cubicBezTo>
                <a:cubicBezTo>
                  <a:pt x="2852" y="3950"/>
                  <a:pt x="2863" y="3961"/>
                  <a:pt x="2799" y="3961"/>
                </a:cubicBezTo>
                <a:cubicBezTo>
                  <a:pt x="2751" y="3961"/>
                  <a:pt x="2746" y="3950"/>
                  <a:pt x="2719" y="3945"/>
                </a:cubicBezTo>
                <a:cubicBezTo>
                  <a:pt x="2688" y="3897"/>
                  <a:pt x="2608" y="3865"/>
                  <a:pt x="2545" y="3849"/>
                </a:cubicBezTo>
                <a:lnTo>
                  <a:pt x="2545" y="557"/>
                </a:lnTo>
                <a:cubicBezTo>
                  <a:pt x="2608" y="541"/>
                  <a:pt x="2672" y="509"/>
                  <a:pt x="2719" y="462"/>
                </a:cubicBezTo>
                <a:cubicBezTo>
                  <a:pt x="2746" y="451"/>
                  <a:pt x="2751" y="430"/>
                  <a:pt x="2799" y="430"/>
                </a:cubicBezTo>
                <a:cubicBezTo>
                  <a:pt x="2863" y="430"/>
                  <a:pt x="2862" y="451"/>
                  <a:pt x="2894" y="462"/>
                </a:cubicBezTo>
                <a:cubicBezTo>
                  <a:pt x="2926" y="509"/>
                  <a:pt x="2990" y="541"/>
                  <a:pt x="3054" y="557"/>
                </a:cubicBezTo>
                <a:close/>
                <a:moveTo>
                  <a:pt x="3849" y="3818"/>
                </a:moveTo>
                <a:cubicBezTo>
                  <a:pt x="3849" y="3834"/>
                  <a:pt x="3833" y="3834"/>
                  <a:pt x="3817" y="3834"/>
                </a:cubicBezTo>
                <a:lnTo>
                  <a:pt x="3212" y="3834"/>
                </a:lnTo>
                <a:lnTo>
                  <a:pt x="3212" y="3802"/>
                </a:lnTo>
                <a:lnTo>
                  <a:pt x="3212" y="573"/>
                </a:lnTo>
                <a:lnTo>
                  <a:pt x="3817" y="573"/>
                </a:lnTo>
                <a:cubicBezTo>
                  <a:pt x="3833" y="573"/>
                  <a:pt x="3838" y="584"/>
                  <a:pt x="3849" y="589"/>
                </a:cubicBezTo>
                <a:close/>
                <a:moveTo>
                  <a:pt x="4405" y="4215"/>
                </a:moveTo>
                <a:lnTo>
                  <a:pt x="4405" y="191"/>
                </a:lnTo>
                <a:cubicBezTo>
                  <a:pt x="4405" y="80"/>
                  <a:pt x="4326" y="0"/>
                  <a:pt x="4215" y="0"/>
                </a:cubicBezTo>
                <a:lnTo>
                  <a:pt x="190" y="0"/>
                </a:lnTo>
                <a:cubicBezTo>
                  <a:pt x="79" y="0"/>
                  <a:pt x="0" y="80"/>
                  <a:pt x="0" y="191"/>
                </a:cubicBezTo>
                <a:lnTo>
                  <a:pt x="0" y="4215"/>
                </a:lnTo>
                <a:cubicBezTo>
                  <a:pt x="0" y="4327"/>
                  <a:pt x="79" y="4406"/>
                  <a:pt x="190" y="4406"/>
                </a:cubicBezTo>
                <a:lnTo>
                  <a:pt x="4215" y="4406"/>
                </a:lnTo>
                <a:cubicBezTo>
                  <a:pt x="4326" y="4406"/>
                  <a:pt x="4405" y="4327"/>
                  <a:pt x="4405" y="4215"/>
                </a:cubicBezTo>
                <a:close/>
                <a:moveTo>
                  <a:pt x="158" y="4215"/>
                </a:moveTo>
                <a:lnTo>
                  <a:pt x="158" y="191"/>
                </a:lnTo>
                <a:cubicBezTo>
                  <a:pt x="158" y="175"/>
                  <a:pt x="174" y="159"/>
                  <a:pt x="190" y="159"/>
                </a:cubicBezTo>
                <a:lnTo>
                  <a:pt x="4215" y="159"/>
                </a:lnTo>
                <a:cubicBezTo>
                  <a:pt x="4230" y="159"/>
                  <a:pt x="4246" y="175"/>
                  <a:pt x="4246" y="191"/>
                </a:cubicBezTo>
                <a:lnTo>
                  <a:pt x="4246" y="4215"/>
                </a:lnTo>
                <a:cubicBezTo>
                  <a:pt x="4246" y="4231"/>
                  <a:pt x="4230" y="4247"/>
                  <a:pt x="4215" y="4247"/>
                </a:cubicBezTo>
                <a:lnTo>
                  <a:pt x="190" y="4247"/>
                </a:lnTo>
                <a:cubicBezTo>
                  <a:pt x="174" y="4247"/>
                  <a:pt x="158" y="4231"/>
                  <a:pt x="158" y="421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6" name="Freeform: Shape 5">
            <a:extLst>
              <a:ext uri="{FF2B5EF4-FFF2-40B4-BE49-F238E27FC236}">
                <a16:creationId xmlns:a16="http://schemas.microsoft.com/office/drawing/2014/main" id="{33F7D3C8-BCA8-194C-B1A6-876F9F1A289C}"/>
              </a:ext>
            </a:extLst>
          </p:cNvPr>
          <p:cNvSpPr/>
          <p:nvPr/>
        </p:nvSpPr>
        <p:spPr>
          <a:xfrm>
            <a:off x="21545817" y="3111030"/>
            <a:ext cx="1076040" cy="1625760"/>
          </a:xfrm>
          <a:custGeom>
            <a:avLst/>
            <a:gdLst/>
            <a:ahLst/>
            <a:cxnLst>
              <a:cxn ang="3cd4">
                <a:pos x="hc" y="t"/>
              </a:cxn>
              <a:cxn ang="cd2">
                <a:pos x="l" y="vc"/>
              </a:cxn>
              <a:cxn ang="cd4">
                <a:pos x="hc" y="b"/>
              </a:cxn>
              <a:cxn ang="0">
                <a:pos x="r" y="vc"/>
              </a:cxn>
            </a:cxnLst>
            <a:rect l="l" t="t" r="r" b="b"/>
            <a:pathLst>
              <a:path w="2990" h="4517">
                <a:moveTo>
                  <a:pt x="2990" y="3865"/>
                </a:moveTo>
                <a:lnTo>
                  <a:pt x="2990" y="318"/>
                </a:lnTo>
                <a:cubicBezTo>
                  <a:pt x="2990" y="143"/>
                  <a:pt x="2847" y="0"/>
                  <a:pt x="2672" y="0"/>
                </a:cubicBezTo>
                <a:lnTo>
                  <a:pt x="318" y="0"/>
                </a:lnTo>
                <a:cubicBezTo>
                  <a:pt x="143" y="0"/>
                  <a:pt x="0" y="143"/>
                  <a:pt x="0" y="318"/>
                </a:cubicBezTo>
                <a:lnTo>
                  <a:pt x="0" y="3865"/>
                </a:lnTo>
                <a:cubicBezTo>
                  <a:pt x="0" y="4040"/>
                  <a:pt x="143" y="4183"/>
                  <a:pt x="318" y="4183"/>
                </a:cubicBezTo>
                <a:lnTo>
                  <a:pt x="2672" y="4183"/>
                </a:lnTo>
                <a:cubicBezTo>
                  <a:pt x="2847" y="4183"/>
                  <a:pt x="2990" y="4040"/>
                  <a:pt x="2990" y="3865"/>
                </a:cubicBezTo>
                <a:close/>
                <a:moveTo>
                  <a:pt x="159" y="3865"/>
                </a:moveTo>
                <a:lnTo>
                  <a:pt x="159" y="318"/>
                </a:lnTo>
                <a:cubicBezTo>
                  <a:pt x="159" y="239"/>
                  <a:pt x="222" y="159"/>
                  <a:pt x="318" y="159"/>
                </a:cubicBezTo>
                <a:lnTo>
                  <a:pt x="2672" y="159"/>
                </a:lnTo>
                <a:cubicBezTo>
                  <a:pt x="2767" y="159"/>
                  <a:pt x="2831" y="239"/>
                  <a:pt x="2831" y="318"/>
                </a:cubicBezTo>
                <a:lnTo>
                  <a:pt x="2831" y="3865"/>
                </a:lnTo>
                <a:cubicBezTo>
                  <a:pt x="2831" y="3961"/>
                  <a:pt x="2767" y="4024"/>
                  <a:pt x="2672" y="4024"/>
                </a:cubicBezTo>
                <a:lnTo>
                  <a:pt x="318" y="4024"/>
                </a:lnTo>
                <a:cubicBezTo>
                  <a:pt x="222" y="4024"/>
                  <a:pt x="159" y="3961"/>
                  <a:pt x="159" y="3865"/>
                </a:cubicBezTo>
                <a:close/>
                <a:moveTo>
                  <a:pt x="2179" y="779"/>
                </a:moveTo>
                <a:lnTo>
                  <a:pt x="779" y="779"/>
                </a:lnTo>
                <a:cubicBezTo>
                  <a:pt x="747" y="779"/>
                  <a:pt x="700" y="827"/>
                  <a:pt x="700" y="859"/>
                </a:cubicBezTo>
                <a:cubicBezTo>
                  <a:pt x="700" y="907"/>
                  <a:pt x="747" y="939"/>
                  <a:pt x="779" y="939"/>
                </a:cubicBezTo>
                <a:lnTo>
                  <a:pt x="2179" y="939"/>
                </a:lnTo>
                <a:cubicBezTo>
                  <a:pt x="2227" y="939"/>
                  <a:pt x="2258" y="907"/>
                  <a:pt x="2258" y="859"/>
                </a:cubicBezTo>
                <a:cubicBezTo>
                  <a:pt x="2258" y="827"/>
                  <a:pt x="2227" y="779"/>
                  <a:pt x="2179" y="779"/>
                </a:cubicBezTo>
                <a:close/>
                <a:moveTo>
                  <a:pt x="2036" y="4358"/>
                </a:moveTo>
                <a:cubicBezTo>
                  <a:pt x="1988" y="4358"/>
                  <a:pt x="1956" y="4390"/>
                  <a:pt x="1956" y="4438"/>
                </a:cubicBezTo>
                <a:cubicBezTo>
                  <a:pt x="1956" y="4485"/>
                  <a:pt x="1988" y="4517"/>
                  <a:pt x="2036" y="4517"/>
                </a:cubicBezTo>
                <a:lnTo>
                  <a:pt x="2417" y="4517"/>
                </a:lnTo>
                <a:cubicBezTo>
                  <a:pt x="2465" y="4517"/>
                  <a:pt x="2497" y="4485"/>
                  <a:pt x="2497" y="4438"/>
                </a:cubicBezTo>
                <a:cubicBezTo>
                  <a:pt x="2497" y="4390"/>
                  <a:pt x="2465" y="4358"/>
                  <a:pt x="2417" y="4358"/>
                </a:cubicBezTo>
                <a:close/>
                <a:moveTo>
                  <a:pt x="588" y="4358"/>
                </a:moveTo>
                <a:cubicBezTo>
                  <a:pt x="540" y="4358"/>
                  <a:pt x="509" y="4390"/>
                  <a:pt x="509" y="4438"/>
                </a:cubicBezTo>
                <a:cubicBezTo>
                  <a:pt x="509" y="4485"/>
                  <a:pt x="540" y="4517"/>
                  <a:pt x="588" y="4517"/>
                </a:cubicBezTo>
                <a:lnTo>
                  <a:pt x="970" y="4517"/>
                </a:lnTo>
                <a:cubicBezTo>
                  <a:pt x="1017" y="4517"/>
                  <a:pt x="1049" y="4485"/>
                  <a:pt x="1049" y="4438"/>
                </a:cubicBezTo>
                <a:cubicBezTo>
                  <a:pt x="1049" y="4390"/>
                  <a:pt x="1017" y="4358"/>
                  <a:pt x="970" y="4358"/>
                </a:cubicBezTo>
                <a:close/>
                <a:moveTo>
                  <a:pt x="2179" y="1288"/>
                </a:moveTo>
                <a:lnTo>
                  <a:pt x="779" y="1288"/>
                </a:lnTo>
                <a:cubicBezTo>
                  <a:pt x="747" y="1288"/>
                  <a:pt x="700" y="1320"/>
                  <a:pt x="700" y="1368"/>
                </a:cubicBezTo>
                <a:cubicBezTo>
                  <a:pt x="700" y="1400"/>
                  <a:pt x="747" y="1448"/>
                  <a:pt x="779" y="1448"/>
                </a:cubicBezTo>
                <a:lnTo>
                  <a:pt x="2179" y="1448"/>
                </a:lnTo>
                <a:cubicBezTo>
                  <a:pt x="2227" y="1448"/>
                  <a:pt x="2258" y="1400"/>
                  <a:pt x="2258" y="1368"/>
                </a:cubicBezTo>
                <a:cubicBezTo>
                  <a:pt x="2258" y="1320"/>
                  <a:pt x="2227" y="1288"/>
                  <a:pt x="2179" y="1288"/>
                </a:cubicBezTo>
                <a:close/>
                <a:moveTo>
                  <a:pt x="2179" y="1782"/>
                </a:moveTo>
                <a:lnTo>
                  <a:pt x="779" y="1782"/>
                </a:lnTo>
                <a:cubicBezTo>
                  <a:pt x="747" y="1782"/>
                  <a:pt x="700" y="1813"/>
                  <a:pt x="700" y="1861"/>
                </a:cubicBezTo>
                <a:cubicBezTo>
                  <a:pt x="700" y="1909"/>
                  <a:pt x="747" y="1940"/>
                  <a:pt x="779" y="1940"/>
                </a:cubicBezTo>
                <a:lnTo>
                  <a:pt x="2179" y="1940"/>
                </a:lnTo>
                <a:cubicBezTo>
                  <a:pt x="2227" y="1940"/>
                  <a:pt x="2258" y="1909"/>
                  <a:pt x="2258" y="1861"/>
                </a:cubicBezTo>
                <a:cubicBezTo>
                  <a:pt x="2258" y="1813"/>
                  <a:pt x="2227" y="1782"/>
                  <a:pt x="2179" y="178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7" name="Freeform: Shape 6">
            <a:extLst>
              <a:ext uri="{FF2B5EF4-FFF2-40B4-BE49-F238E27FC236}">
                <a16:creationId xmlns:a16="http://schemas.microsoft.com/office/drawing/2014/main" id="{F78C5F5C-8CDC-7E45-9233-D5EB5A3F164A}"/>
              </a:ext>
            </a:extLst>
          </p:cNvPr>
          <p:cNvSpPr/>
          <p:nvPr/>
        </p:nvSpPr>
        <p:spPr>
          <a:xfrm>
            <a:off x="1716254" y="6416988"/>
            <a:ext cx="1603080" cy="1625760"/>
          </a:xfrm>
          <a:custGeom>
            <a:avLst/>
            <a:gdLst/>
            <a:ahLst/>
            <a:cxnLst>
              <a:cxn ang="3cd4">
                <a:pos x="hc" y="t"/>
              </a:cxn>
              <a:cxn ang="cd2">
                <a:pos x="l" y="vc"/>
              </a:cxn>
              <a:cxn ang="cd4">
                <a:pos x="hc" y="b"/>
              </a:cxn>
              <a:cxn ang="0">
                <a:pos x="r" y="vc"/>
              </a:cxn>
            </a:cxnLst>
            <a:rect l="l" t="t" r="r" b="b"/>
            <a:pathLst>
              <a:path w="4454" h="4517">
                <a:moveTo>
                  <a:pt x="3690" y="3595"/>
                </a:moveTo>
                <a:cubicBezTo>
                  <a:pt x="3547" y="3595"/>
                  <a:pt x="3436" y="3722"/>
                  <a:pt x="3436" y="3849"/>
                </a:cubicBezTo>
                <a:cubicBezTo>
                  <a:pt x="3436" y="3993"/>
                  <a:pt x="3547" y="4104"/>
                  <a:pt x="3690" y="4104"/>
                </a:cubicBezTo>
                <a:cubicBezTo>
                  <a:pt x="3834" y="4104"/>
                  <a:pt x="3945" y="3993"/>
                  <a:pt x="3945" y="3849"/>
                </a:cubicBezTo>
                <a:cubicBezTo>
                  <a:pt x="3945" y="3722"/>
                  <a:pt x="3834" y="3595"/>
                  <a:pt x="3690" y="3595"/>
                </a:cubicBezTo>
                <a:close/>
                <a:moveTo>
                  <a:pt x="3690" y="3945"/>
                </a:moveTo>
                <a:cubicBezTo>
                  <a:pt x="3643" y="3945"/>
                  <a:pt x="3595" y="3913"/>
                  <a:pt x="3595" y="3849"/>
                </a:cubicBezTo>
                <a:cubicBezTo>
                  <a:pt x="3595" y="3801"/>
                  <a:pt x="3643" y="3754"/>
                  <a:pt x="3690" y="3754"/>
                </a:cubicBezTo>
                <a:cubicBezTo>
                  <a:pt x="3738" y="3754"/>
                  <a:pt x="3786" y="3801"/>
                  <a:pt x="3786" y="3849"/>
                </a:cubicBezTo>
                <a:cubicBezTo>
                  <a:pt x="3786" y="3913"/>
                  <a:pt x="3738" y="3945"/>
                  <a:pt x="3690" y="3945"/>
                </a:cubicBezTo>
                <a:close/>
                <a:moveTo>
                  <a:pt x="4454" y="4342"/>
                </a:moveTo>
                <a:lnTo>
                  <a:pt x="4454" y="175"/>
                </a:lnTo>
                <a:cubicBezTo>
                  <a:pt x="4454" y="80"/>
                  <a:pt x="4374" y="0"/>
                  <a:pt x="4279" y="0"/>
                </a:cubicBezTo>
                <a:lnTo>
                  <a:pt x="3118" y="0"/>
                </a:lnTo>
                <a:cubicBezTo>
                  <a:pt x="3022" y="0"/>
                  <a:pt x="2943" y="80"/>
                  <a:pt x="2943" y="175"/>
                </a:cubicBezTo>
                <a:lnTo>
                  <a:pt x="2943" y="4342"/>
                </a:lnTo>
                <a:cubicBezTo>
                  <a:pt x="2943" y="4438"/>
                  <a:pt x="3022" y="4517"/>
                  <a:pt x="3118" y="4517"/>
                </a:cubicBezTo>
                <a:lnTo>
                  <a:pt x="4279" y="4517"/>
                </a:lnTo>
                <a:cubicBezTo>
                  <a:pt x="4374" y="4517"/>
                  <a:pt x="4454" y="4438"/>
                  <a:pt x="4454" y="4342"/>
                </a:cubicBezTo>
                <a:close/>
                <a:moveTo>
                  <a:pt x="3102" y="4342"/>
                </a:moveTo>
                <a:lnTo>
                  <a:pt x="3102" y="175"/>
                </a:lnTo>
                <a:cubicBezTo>
                  <a:pt x="3107" y="170"/>
                  <a:pt x="3102" y="159"/>
                  <a:pt x="3118" y="159"/>
                </a:cubicBezTo>
                <a:lnTo>
                  <a:pt x="4279" y="159"/>
                </a:lnTo>
                <a:lnTo>
                  <a:pt x="4295" y="175"/>
                </a:lnTo>
                <a:lnTo>
                  <a:pt x="4295" y="4342"/>
                </a:lnTo>
                <a:lnTo>
                  <a:pt x="4279" y="4358"/>
                </a:lnTo>
                <a:lnTo>
                  <a:pt x="3118" y="4358"/>
                </a:lnTo>
                <a:cubicBezTo>
                  <a:pt x="3102" y="4358"/>
                  <a:pt x="3107" y="4347"/>
                  <a:pt x="3102" y="4342"/>
                </a:cubicBezTo>
                <a:close/>
                <a:moveTo>
                  <a:pt x="0" y="3006"/>
                </a:moveTo>
                <a:lnTo>
                  <a:pt x="0" y="3865"/>
                </a:lnTo>
                <a:cubicBezTo>
                  <a:pt x="0" y="4040"/>
                  <a:pt x="143" y="4183"/>
                  <a:pt x="319" y="4183"/>
                </a:cubicBezTo>
                <a:lnTo>
                  <a:pt x="2545" y="4183"/>
                </a:lnTo>
                <a:cubicBezTo>
                  <a:pt x="2720" y="4183"/>
                  <a:pt x="2863" y="4040"/>
                  <a:pt x="2863" y="3865"/>
                </a:cubicBezTo>
                <a:lnTo>
                  <a:pt x="2863" y="3006"/>
                </a:lnTo>
                <a:cubicBezTo>
                  <a:pt x="2863" y="2911"/>
                  <a:pt x="2816" y="2815"/>
                  <a:pt x="2752" y="2767"/>
                </a:cubicBezTo>
                <a:cubicBezTo>
                  <a:pt x="2816" y="2704"/>
                  <a:pt x="2863" y="2624"/>
                  <a:pt x="2863" y="2529"/>
                </a:cubicBezTo>
                <a:lnTo>
                  <a:pt x="2863" y="1654"/>
                </a:lnTo>
                <a:cubicBezTo>
                  <a:pt x="2863" y="1559"/>
                  <a:pt x="2816" y="1479"/>
                  <a:pt x="2752" y="1416"/>
                </a:cubicBezTo>
                <a:cubicBezTo>
                  <a:pt x="2816" y="1368"/>
                  <a:pt x="2863" y="1288"/>
                  <a:pt x="2863" y="1193"/>
                </a:cubicBezTo>
                <a:lnTo>
                  <a:pt x="2863" y="318"/>
                </a:lnTo>
                <a:cubicBezTo>
                  <a:pt x="2863" y="143"/>
                  <a:pt x="2720" y="0"/>
                  <a:pt x="2545" y="0"/>
                </a:cubicBezTo>
                <a:lnTo>
                  <a:pt x="319" y="0"/>
                </a:lnTo>
                <a:cubicBezTo>
                  <a:pt x="143" y="0"/>
                  <a:pt x="0" y="143"/>
                  <a:pt x="0" y="318"/>
                </a:cubicBezTo>
                <a:lnTo>
                  <a:pt x="0" y="1193"/>
                </a:lnTo>
                <a:cubicBezTo>
                  <a:pt x="0" y="1288"/>
                  <a:pt x="48" y="1368"/>
                  <a:pt x="111" y="1416"/>
                </a:cubicBezTo>
                <a:cubicBezTo>
                  <a:pt x="48" y="1479"/>
                  <a:pt x="0" y="1559"/>
                  <a:pt x="0" y="1654"/>
                </a:cubicBezTo>
                <a:lnTo>
                  <a:pt x="0" y="2529"/>
                </a:lnTo>
                <a:cubicBezTo>
                  <a:pt x="0" y="2624"/>
                  <a:pt x="48" y="2704"/>
                  <a:pt x="111" y="2767"/>
                </a:cubicBezTo>
                <a:cubicBezTo>
                  <a:pt x="48" y="2815"/>
                  <a:pt x="0" y="2911"/>
                  <a:pt x="0" y="3006"/>
                </a:cubicBezTo>
                <a:close/>
                <a:moveTo>
                  <a:pt x="159" y="318"/>
                </a:moveTo>
                <a:cubicBezTo>
                  <a:pt x="159" y="239"/>
                  <a:pt x="239" y="159"/>
                  <a:pt x="319" y="159"/>
                </a:cubicBezTo>
                <a:lnTo>
                  <a:pt x="2545" y="159"/>
                </a:lnTo>
                <a:cubicBezTo>
                  <a:pt x="2641" y="159"/>
                  <a:pt x="2704" y="239"/>
                  <a:pt x="2704" y="318"/>
                </a:cubicBezTo>
                <a:lnTo>
                  <a:pt x="2704" y="1193"/>
                </a:lnTo>
                <a:cubicBezTo>
                  <a:pt x="2704" y="1273"/>
                  <a:pt x="2641" y="1336"/>
                  <a:pt x="2545" y="1336"/>
                </a:cubicBezTo>
                <a:lnTo>
                  <a:pt x="319" y="1336"/>
                </a:lnTo>
                <a:cubicBezTo>
                  <a:pt x="239" y="1336"/>
                  <a:pt x="159" y="1273"/>
                  <a:pt x="159" y="1193"/>
                </a:cubicBezTo>
                <a:close/>
                <a:moveTo>
                  <a:pt x="159" y="1654"/>
                </a:moveTo>
                <a:cubicBezTo>
                  <a:pt x="159" y="1575"/>
                  <a:pt x="239" y="1495"/>
                  <a:pt x="319" y="1495"/>
                </a:cubicBezTo>
                <a:lnTo>
                  <a:pt x="2545" y="1495"/>
                </a:lnTo>
                <a:cubicBezTo>
                  <a:pt x="2641" y="1495"/>
                  <a:pt x="2704" y="1575"/>
                  <a:pt x="2704" y="1654"/>
                </a:cubicBezTo>
                <a:lnTo>
                  <a:pt x="2704" y="2529"/>
                </a:lnTo>
                <a:cubicBezTo>
                  <a:pt x="2704" y="2609"/>
                  <a:pt x="2641" y="2688"/>
                  <a:pt x="2545" y="2688"/>
                </a:cubicBezTo>
                <a:lnTo>
                  <a:pt x="319" y="2688"/>
                </a:lnTo>
                <a:cubicBezTo>
                  <a:pt x="239" y="2688"/>
                  <a:pt x="159" y="2609"/>
                  <a:pt x="159" y="2529"/>
                </a:cubicBezTo>
                <a:close/>
                <a:moveTo>
                  <a:pt x="159" y="3006"/>
                </a:moveTo>
                <a:cubicBezTo>
                  <a:pt x="159" y="2911"/>
                  <a:pt x="239" y="2847"/>
                  <a:pt x="319" y="2847"/>
                </a:cubicBezTo>
                <a:lnTo>
                  <a:pt x="2545" y="2847"/>
                </a:lnTo>
                <a:cubicBezTo>
                  <a:pt x="2641" y="2847"/>
                  <a:pt x="2704" y="2911"/>
                  <a:pt x="2704" y="3006"/>
                </a:cubicBezTo>
                <a:lnTo>
                  <a:pt x="2704" y="3865"/>
                </a:lnTo>
                <a:cubicBezTo>
                  <a:pt x="2704" y="3945"/>
                  <a:pt x="2641" y="4024"/>
                  <a:pt x="2545" y="4024"/>
                </a:cubicBezTo>
                <a:lnTo>
                  <a:pt x="319" y="4024"/>
                </a:lnTo>
                <a:cubicBezTo>
                  <a:pt x="239" y="4024"/>
                  <a:pt x="159" y="3945"/>
                  <a:pt x="159" y="3865"/>
                </a:cubicBezTo>
                <a:close/>
                <a:moveTo>
                  <a:pt x="1941" y="3324"/>
                </a:moveTo>
                <a:lnTo>
                  <a:pt x="2307" y="3324"/>
                </a:lnTo>
                <a:cubicBezTo>
                  <a:pt x="2354" y="3324"/>
                  <a:pt x="2386" y="3293"/>
                  <a:pt x="2386" y="3245"/>
                </a:cubicBezTo>
                <a:cubicBezTo>
                  <a:pt x="2386" y="3213"/>
                  <a:pt x="2354" y="3166"/>
                  <a:pt x="2307" y="3166"/>
                </a:cubicBezTo>
                <a:lnTo>
                  <a:pt x="1941" y="3166"/>
                </a:lnTo>
                <a:cubicBezTo>
                  <a:pt x="1893" y="3166"/>
                  <a:pt x="1861" y="3213"/>
                  <a:pt x="1861" y="3245"/>
                </a:cubicBezTo>
                <a:cubicBezTo>
                  <a:pt x="1861" y="3293"/>
                  <a:pt x="1893" y="3324"/>
                  <a:pt x="1941" y="3324"/>
                </a:cubicBezTo>
                <a:close/>
                <a:moveTo>
                  <a:pt x="1241" y="3324"/>
                </a:moveTo>
                <a:lnTo>
                  <a:pt x="1623" y="3324"/>
                </a:lnTo>
                <a:cubicBezTo>
                  <a:pt x="1670" y="3324"/>
                  <a:pt x="1702" y="3293"/>
                  <a:pt x="1702" y="3245"/>
                </a:cubicBezTo>
                <a:cubicBezTo>
                  <a:pt x="1702" y="3213"/>
                  <a:pt x="1670" y="3166"/>
                  <a:pt x="1623" y="3166"/>
                </a:cubicBezTo>
                <a:lnTo>
                  <a:pt x="1241" y="3166"/>
                </a:lnTo>
                <a:cubicBezTo>
                  <a:pt x="1209" y="3166"/>
                  <a:pt x="1161" y="3213"/>
                  <a:pt x="1161" y="3245"/>
                </a:cubicBezTo>
                <a:cubicBezTo>
                  <a:pt x="1161" y="3293"/>
                  <a:pt x="1209" y="3324"/>
                  <a:pt x="1241" y="3324"/>
                </a:cubicBezTo>
                <a:close/>
                <a:moveTo>
                  <a:pt x="573" y="3324"/>
                </a:moveTo>
                <a:lnTo>
                  <a:pt x="938" y="3324"/>
                </a:lnTo>
                <a:cubicBezTo>
                  <a:pt x="986" y="3324"/>
                  <a:pt x="1018" y="3293"/>
                  <a:pt x="1018" y="3245"/>
                </a:cubicBezTo>
                <a:cubicBezTo>
                  <a:pt x="1018" y="3213"/>
                  <a:pt x="986" y="3166"/>
                  <a:pt x="938" y="3166"/>
                </a:cubicBezTo>
                <a:lnTo>
                  <a:pt x="573" y="3166"/>
                </a:lnTo>
                <a:cubicBezTo>
                  <a:pt x="525" y="3166"/>
                  <a:pt x="493" y="3213"/>
                  <a:pt x="493" y="3245"/>
                </a:cubicBezTo>
                <a:cubicBezTo>
                  <a:pt x="493" y="3293"/>
                  <a:pt x="525" y="3324"/>
                  <a:pt x="573" y="3324"/>
                </a:cubicBezTo>
                <a:close/>
                <a:moveTo>
                  <a:pt x="1941" y="2291"/>
                </a:moveTo>
                <a:lnTo>
                  <a:pt x="2307" y="2291"/>
                </a:lnTo>
                <a:cubicBezTo>
                  <a:pt x="2354" y="2291"/>
                  <a:pt x="2386" y="2243"/>
                  <a:pt x="2386" y="2211"/>
                </a:cubicBezTo>
                <a:cubicBezTo>
                  <a:pt x="2386" y="2163"/>
                  <a:pt x="2354" y="2131"/>
                  <a:pt x="2307" y="2131"/>
                </a:cubicBezTo>
                <a:lnTo>
                  <a:pt x="1941" y="2131"/>
                </a:lnTo>
                <a:cubicBezTo>
                  <a:pt x="1909" y="2131"/>
                  <a:pt x="1861" y="2163"/>
                  <a:pt x="1861" y="2211"/>
                </a:cubicBezTo>
                <a:cubicBezTo>
                  <a:pt x="1861" y="2243"/>
                  <a:pt x="1909" y="2291"/>
                  <a:pt x="1941" y="2291"/>
                </a:cubicBezTo>
                <a:close/>
                <a:moveTo>
                  <a:pt x="1257" y="2291"/>
                </a:moveTo>
                <a:lnTo>
                  <a:pt x="1623" y="2291"/>
                </a:lnTo>
                <a:cubicBezTo>
                  <a:pt x="1655" y="2291"/>
                  <a:pt x="1702" y="2243"/>
                  <a:pt x="1702" y="2211"/>
                </a:cubicBezTo>
                <a:cubicBezTo>
                  <a:pt x="1702" y="2163"/>
                  <a:pt x="1655" y="2131"/>
                  <a:pt x="1623" y="2131"/>
                </a:cubicBezTo>
                <a:lnTo>
                  <a:pt x="1257" y="2131"/>
                </a:lnTo>
                <a:cubicBezTo>
                  <a:pt x="1209" y="2131"/>
                  <a:pt x="1177" y="2163"/>
                  <a:pt x="1177" y="2211"/>
                </a:cubicBezTo>
                <a:cubicBezTo>
                  <a:pt x="1177" y="2243"/>
                  <a:pt x="1209" y="2291"/>
                  <a:pt x="1257" y="2291"/>
                </a:cubicBezTo>
                <a:close/>
                <a:moveTo>
                  <a:pt x="1941" y="1034"/>
                </a:moveTo>
                <a:lnTo>
                  <a:pt x="2307" y="1034"/>
                </a:lnTo>
                <a:cubicBezTo>
                  <a:pt x="2354" y="1034"/>
                  <a:pt x="2386" y="1002"/>
                  <a:pt x="2386" y="954"/>
                </a:cubicBezTo>
                <a:cubicBezTo>
                  <a:pt x="2386" y="922"/>
                  <a:pt x="2354" y="875"/>
                  <a:pt x="2307" y="875"/>
                </a:cubicBezTo>
                <a:lnTo>
                  <a:pt x="1941" y="875"/>
                </a:lnTo>
                <a:cubicBezTo>
                  <a:pt x="1909" y="875"/>
                  <a:pt x="1861" y="922"/>
                  <a:pt x="1861" y="954"/>
                </a:cubicBezTo>
                <a:cubicBezTo>
                  <a:pt x="1861" y="1002"/>
                  <a:pt x="1909" y="1034"/>
                  <a:pt x="1941" y="1034"/>
                </a:cubicBezTo>
                <a:close/>
                <a:moveTo>
                  <a:pt x="2307" y="4517"/>
                </a:moveTo>
                <a:cubicBezTo>
                  <a:pt x="2354" y="4517"/>
                  <a:pt x="2386" y="4485"/>
                  <a:pt x="2386" y="4438"/>
                </a:cubicBezTo>
                <a:cubicBezTo>
                  <a:pt x="2386" y="4390"/>
                  <a:pt x="2354" y="4358"/>
                  <a:pt x="2307" y="4358"/>
                </a:cubicBezTo>
                <a:lnTo>
                  <a:pt x="1941" y="4358"/>
                </a:lnTo>
                <a:cubicBezTo>
                  <a:pt x="1909" y="4358"/>
                  <a:pt x="1861" y="4390"/>
                  <a:pt x="1861" y="4438"/>
                </a:cubicBezTo>
                <a:cubicBezTo>
                  <a:pt x="1861" y="4485"/>
                  <a:pt x="1909" y="4517"/>
                  <a:pt x="1941" y="4517"/>
                </a:cubicBezTo>
                <a:close/>
                <a:moveTo>
                  <a:pt x="573" y="4517"/>
                </a:moveTo>
                <a:lnTo>
                  <a:pt x="938" y="4517"/>
                </a:lnTo>
                <a:cubicBezTo>
                  <a:pt x="986" y="4517"/>
                  <a:pt x="1018" y="4485"/>
                  <a:pt x="1018" y="4438"/>
                </a:cubicBezTo>
                <a:cubicBezTo>
                  <a:pt x="1018" y="4390"/>
                  <a:pt x="986" y="4358"/>
                  <a:pt x="938" y="4358"/>
                </a:cubicBezTo>
                <a:lnTo>
                  <a:pt x="573" y="4358"/>
                </a:lnTo>
                <a:cubicBezTo>
                  <a:pt x="525" y="4358"/>
                  <a:pt x="493" y="4390"/>
                  <a:pt x="493" y="4438"/>
                </a:cubicBezTo>
                <a:cubicBezTo>
                  <a:pt x="493" y="4485"/>
                  <a:pt x="525" y="4517"/>
                  <a:pt x="573" y="451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8" name="Freeform: Shape 7">
            <a:extLst>
              <a:ext uri="{FF2B5EF4-FFF2-40B4-BE49-F238E27FC236}">
                <a16:creationId xmlns:a16="http://schemas.microsoft.com/office/drawing/2014/main" id="{9CD02FD1-9FD3-264A-8A0C-E9EFE5C24ABD}"/>
              </a:ext>
            </a:extLst>
          </p:cNvPr>
          <p:cNvSpPr/>
          <p:nvPr/>
        </p:nvSpPr>
        <p:spPr>
          <a:xfrm>
            <a:off x="5763344" y="6416988"/>
            <a:ext cx="2026439" cy="1625760"/>
          </a:xfrm>
          <a:custGeom>
            <a:avLst/>
            <a:gdLst/>
            <a:ahLst/>
            <a:cxnLst>
              <a:cxn ang="3cd4">
                <a:pos x="hc" y="t"/>
              </a:cxn>
              <a:cxn ang="cd2">
                <a:pos x="l" y="vc"/>
              </a:cxn>
              <a:cxn ang="cd4">
                <a:pos x="hc" y="b"/>
              </a:cxn>
              <a:cxn ang="0">
                <a:pos x="r" y="vc"/>
              </a:cxn>
            </a:cxnLst>
            <a:rect l="l" t="t" r="r" b="b"/>
            <a:pathLst>
              <a:path w="5630" h="4517">
                <a:moveTo>
                  <a:pt x="2815" y="3595"/>
                </a:moveTo>
                <a:cubicBezTo>
                  <a:pt x="2672" y="3595"/>
                  <a:pt x="2561" y="3722"/>
                  <a:pt x="2561" y="3849"/>
                </a:cubicBezTo>
                <a:cubicBezTo>
                  <a:pt x="2561" y="3993"/>
                  <a:pt x="2672" y="4104"/>
                  <a:pt x="2815" y="4104"/>
                </a:cubicBezTo>
                <a:cubicBezTo>
                  <a:pt x="2958" y="4104"/>
                  <a:pt x="3070" y="3993"/>
                  <a:pt x="3070" y="3849"/>
                </a:cubicBezTo>
                <a:cubicBezTo>
                  <a:pt x="3070" y="3722"/>
                  <a:pt x="2958" y="3595"/>
                  <a:pt x="2815" y="3595"/>
                </a:cubicBezTo>
                <a:close/>
                <a:moveTo>
                  <a:pt x="2815" y="3945"/>
                </a:moveTo>
                <a:cubicBezTo>
                  <a:pt x="2767" y="3945"/>
                  <a:pt x="2719" y="3913"/>
                  <a:pt x="2719" y="3849"/>
                </a:cubicBezTo>
                <a:cubicBezTo>
                  <a:pt x="2719" y="3801"/>
                  <a:pt x="2767" y="3754"/>
                  <a:pt x="2815" y="3754"/>
                </a:cubicBezTo>
                <a:cubicBezTo>
                  <a:pt x="2863" y="3754"/>
                  <a:pt x="2910" y="3801"/>
                  <a:pt x="2910" y="3849"/>
                </a:cubicBezTo>
                <a:cubicBezTo>
                  <a:pt x="2910" y="3913"/>
                  <a:pt x="2863" y="3945"/>
                  <a:pt x="2815" y="3945"/>
                </a:cubicBezTo>
                <a:close/>
                <a:moveTo>
                  <a:pt x="3388" y="0"/>
                </a:moveTo>
                <a:lnTo>
                  <a:pt x="2227" y="0"/>
                </a:lnTo>
                <a:cubicBezTo>
                  <a:pt x="2131" y="0"/>
                  <a:pt x="2052" y="80"/>
                  <a:pt x="2052" y="175"/>
                </a:cubicBezTo>
                <a:lnTo>
                  <a:pt x="2052" y="4342"/>
                </a:lnTo>
                <a:cubicBezTo>
                  <a:pt x="2052" y="4438"/>
                  <a:pt x="2131" y="4517"/>
                  <a:pt x="2227" y="4517"/>
                </a:cubicBezTo>
                <a:lnTo>
                  <a:pt x="3388" y="4517"/>
                </a:lnTo>
                <a:cubicBezTo>
                  <a:pt x="3483" y="4517"/>
                  <a:pt x="3563" y="4438"/>
                  <a:pt x="3563" y="4342"/>
                </a:cubicBezTo>
                <a:lnTo>
                  <a:pt x="3563" y="175"/>
                </a:lnTo>
                <a:cubicBezTo>
                  <a:pt x="3563" y="80"/>
                  <a:pt x="3483" y="0"/>
                  <a:pt x="3388" y="0"/>
                </a:cubicBezTo>
                <a:close/>
                <a:moveTo>
                  <a:pt x="3403" y="4342"/>
                </a:moveTo>
                <a:cubicBezTo>
                  <a:pt x="3398" y="4347"/>
                  <a:pt x="3403" y="4358"/>
                  <a:pt x="3388" y="4358"/>
                </a:cubicBezTo>
                <a:lnTo>
                  <a:pt x="2227" y="4358"/>
                </a:lnTo>
                <a:lnTo>
                  <a:pt x="2210" y="4342"/>
                </a:lnTo>
                <a:lnTo>
                  <a:pt x="2210" y="175"/>
                </a:lnTo>
                <a:lnTo>
                  <a:pt x="2227" y="159"/>
                </a:lnTo>
                <a:lnTo>
                  <a:pt x="3388" y="159"/>
                </a:lnTo>
                <a:cubicBezTo>
                  <a:pt x="3403" y="159"/>
                  <a:pt x="3398" y="170"/>
                  <a:pt x="3403" y="175"/>
                </a:cubicBezTo>
                <a:close/>
                <a:moveTo>
                  <a:pt x="302" y="4517"/>
                </a:moveTo>
                <a:lnTo>
                  <a:pt x="1670" y="4517"/>
                </a:lnTo>
                <a:cubicBezTo>
                  <a:pt x="1845" y="4517"/>
                  <a:pt x="1988" y="4374"/>
                  <a:pt x="1988" y="4199"/>
                </a:cubicBezTo>
                <a:lnTo>
                  <a:pt x="1988" y="318"/>
                </a:lnTo>
                <a:cubicBezTo>
                  <a:pt x="1988" y="143"/>
                  <a:pt x="1845" y="0"/>
                  <a:pt x="1670" y="0"/>
                </a:cubicBezTo>
                <a:lnTo>
                  <a:pt x="302" y="0"/>
                </a:lnTo>
                <a:cubicBezTo>
                  <a:pt x="143" y="0"/>
                  <a:pt x="0" y="143"/>
                  <a:pt x="0" y="318"/>
                </a:cubicBezTo>
                <a:lnTo>
                  <a:pt x="0" y="4199"/>
                </a:lnTo>
                <a:cubicBezTo>
                  <a:pt x="0" y="4374"/>
                  <a:pt x="143" y="4517"/>
                  <a:pt x="302" y="4517"/>
                </a:cubicBezTo>
                <a:close/>
                <a:moveTo>
                  <a:pt x="159" y="318"/>
                </a:moveTo>
                <a:cubicBezTo>
                  <a:pt x="159" y="239"/>
                  <a:pt x="222" y="159"/>
                  <a:pt x="302" y="159"/>
                </a:cubicBezTo>
                <a:lnTo>
                  <a:pt x="1670" y="159"/>
                </a:lnTo>
                <a:cubicBezTo>
                  <a:pt x="1749" y="159"/>
                  <a:pt x="1829" y="239"/>
                  <a:pt x="1829" y="318"/>
                </a:cubicBezTo>
                <a:lnTo>
                  <a:pt x="1829" y="4199"/>
                </a:lnTo>
                <a:cubicBezTo>
                  <a:pt x="1829" y="4279"/>
                  <a:pt x="1749" y="4358"/>
                  <a:pt x="1670" y="4358"/>
                </a:cubicBezTo>
                <a:lnTo>
                  <a:pt x="302" y="4358"/>
                </a:lnTo>
                <a:cubicBezTo>
                  <a:pt x="222" y="4358"/>
                  <a:pt x="159" y="4279"/>
                  <a:pt x="159" y="4199"/>
                </a:cubicBezTo>
                <a:close/>
                <a:moveTo>
                  <a:pt x="493" y="3833"/>
                </a:moveTo>
                <a:lnTo>
                  <a:pt x="1431" y="3833"/>
                </a:lnTo>
                <a:cubicBezTo>
                  <a:pt x="1479" y="3833"/>
                  <a:pt x="1511" y="3785"/>
                  <a:pt x="1511" y="3754"/>
                </a:cubicBezTo>
                <a:cubicBezTo>
                  <a:pt x="1511" y="3706"/>
                  <a:pt x="1479" y="3675"/>
                  <a:pt x="1431" y="3675"/>
                </a:cubicBezTo>
                <a:lnTo>
                  <a:pt x="493" y="3675"/>
                </a:lnTo>
                <a:cubicBezTo>
                  <a:pt x="445" y="3675"/>
                  <a:pt x="413" y="3706"/>
                  <a:pt x="413" y="3754"/>
                </a:cubicBezTo>
                <a:cubicBezTo>
                  <a:pt x="413" y="3785"/>
                  <a:pt x="445" y="3833"/>
                  <a:pt x="493" y="3833"/>
                </a:cubicBezTo>
                <a:close/>
                <a:moveTo>
                  <a:pt x="493" y="3229"/>
                </a:moveTo>
                <a:lnTo>
                  <a:pt x="1431" y="3229"/>
                </a:lnTo>
                <a:cubicBezTo>
                  <a:pt x="1479" y="3229"/>
                  <a:pt x="1511" y="3197"/>
                  <a:pt x="1511" y="3149"/>
                </a:cubicBezTo>
                <a:cubicBezTo>
                  <a:pt x="1511" y="3102"/>
                  <a:pt x="1479" y="3070"/>
                  <a:pt x="1431" y="3070"/>
                </a:cubicBezTo>
                <a:lnTo>
                  <a:pt x="493" y="3070"/>
                </a:lnTo>
                <a:cubicBezTo>
                  <a:pt x="445" y="3070"/>
                  <a:pt x="413" y="3102"/>
                  <a:pt x="413" y="3149"/>
                </a:cubicBezTo>
                <a:cubicBezTo>
                  <a:pt x="413" y="3197"/>
                  <a:pt x="445" y="3229"/>
                  <a:pt x="493" y="3229"/>
                </a:cubicBezTo>
                <a:close/>
                <a:moveTo>
                  <a:pt x="493" y="2624"/>
                </a:moveTo>
                <a:lnTo>
                  <a:pt x="1431" y="2624"/>
                </a:lnTo>
                <a:cubicBezTo>
                  <a:pt x="1479" y="2624"/>
                  <a:pt x="1511" y="2593"/>
                  <a:pt x="1511" y="2545"/>
                </a:cubicBezTo>
                <a:cubicBezTo>
                  <a:pt x="1511" y="2513"/>
                  <a:pt x="1479" y="2466"/>
                  <a:pt x="1431" y="2466"/>
                </a:cubicBezTo>
                <a:lnTo>
                  <a:pt x="493" y="2466"/>
                </a:lnTo>
                <a:cubicBezTo>
                  <a:pt x="445" y="2466"/>
                  <a:pt x="413" y="2513"/>
                  <a:pt x="413" y="2545"/>
                </a:cubicBezTo>
                <a:cubicBezTo>
                  <a:pt x="413" y="2593"/>
                  <a:pt x="445" y="2624"/>
                  <a:pt x="493" y="2624"/>
                </a:cubicBezTo>
                <a:close/>
                <a:moveTo>
                  <a:pt x="493" y="2036"/>
                </a:moveTo>
                <a:lnTo>
                  <a:pt x="1431" y="2036"/>
                </a:lnTo>
                <a:cubicBezTo>
                  <a:pt x="1479" y="2036"/>
                  <a:pt x="1511" y="1988"/>
                  <a:pt x="1511" y="1957"/>
                </a:cubicBezTo>
                <a:cubicBezTo>
                  <a:pt x="1511" y="1909"/>
                  <a:pt x="1479" y="1877"/>
                  <a:pt x="1431" y="1877"/>
                </a:cubicBezTo>
                <a:lnTo>
                  <a:pt x="493" y="1877"/>
                </a:lnTo>
                <a:cubicBezTo>
                  <a:pt x="445" y="1877"/>
                  <a:pt x="413" y="1909"/>
                  <a:pt x="413" y="1957"/>
                </a:cubicBezTo>
                <a:cubicBezTo>
                  <a:pt x="413" y="1988"/>
                  <a:pt x="445" y="2036"/>
                  <a:pt x="493" y="2036"/>
                </a:cubicBezTo>
                <a:close/>
                <a:moveTo>
                  <a:pt x="493" y="1431"/>
                </a:moveTo>
                <a:lnTo>
                  <a:pt x="1431" y="1431"/>
                </a:lnTo>
                <a:cubicBezTo>
                  <a:pt x="1479" y="1431"/>
                  <a:pt x="1511" y="1400"/>
                  <a:pt x="1511" y="1352"/>
                </a:cubicBezTo>
                <a:cubicBezTo>
                  <a:pt x="1511" y="1304"/>
                  <a:pt x="1479" y="1273"/>
                  <a:pt x="1431" y="1273"/>
                </a:cubicBezTo>
                <a:lnTo>
                  <a:pt x="493" y="1273"/>
                </a:lnTo>
                <a:cubicBezTo>
                  <a:pt x="445" y="1273"/>
                  <a:pt x="413" y="1304"/>
                  <a:pt x="413" y="1352"/>
                </a:cubicBezTo>
                <a:cubicBezTo>
                  <a:pt x="413" y="1400"/>
                  <a:pt x="445" y="1431"/>
                  <a:pt x="493" y="1431"/>
                </a:cubicBezTo>
                <a:close/>
                <a:moveTo>
                  <a:pt x="493" y="827"/>
                </a:moveTo>
                <a:lnTo>
                  <a:pt x="1431" y="827"/>
                </a:lnTo>
                <a:cubicBezTo>
                  <a:pt x="1479" y="827"/>
                  <a:pt x="1511" y="795"/>
                  <a:pt x="1511" y="748"/>
                </a:cubicBezTo>
                <a:cubicBezTo>
                  <a:pt x="1511" y="700"/>
                  <a:pt x="1479" y="668"/>
                  <a:pt x="1431" y="668"/>
                </a:cubicBezTo>
                <a:lnTo>
                  <a:pt x="493" y="668"/>
                </a:lnTo>
                <a:cubicBezTo>
                  <a:pt x="445" y="668"/>
                  <a:pt x="413" y="700"/>
                  <a:pt x="413" y="748"/>
                </a:cubicBezTo>
                <a:cubicBezTo>
                  <a:pt x="413" y="795"/>
                  <a:pt x="445" y="827"/>
                  <a:pt x="493" y="827"/>
                </a:cubicBezTo>
                <a:close/>
                <a:moveTo>
                  <a:pt x="5312" y="0"/>
                </a:moveTo>
                <a:lnTo>
                  <a:pt x="3960" y="0"/>
                </a:lnTo>
                <a:cubicBezTo>
                  <a:pt x="3785" y="0"/>
                  <a:pt x="3642" y="143"/>
                  <a:pt x="3642" y="318"/>
                </a:cubicBezTo>
                <a:lnTo>
                  <a:pt x="3642" y="4199"/>
                </a:lnTo>
                <a:cubicBezTo>
                  <a:pt x="3642" y="4374"/>
                  <a:pt x="3785" y="4517"/>
                  <a:pt x="3960" y="4517"/>
                </a:cubicBezTo>
                <a:lnTo>
                  <a:pt x="5312" y="4517"/>
                </a:lnTo>
                <a:cubicBezTo>
                  <a:pt x="5487" y="4517"/>
                  <a:pt x="5630" y="4374"/>
                  <a:pt x="5630" y="4199"/>
                </a:cubicBezTo>
                <a:lnTo>
                  <a:pt x="5630" y="318"/>
                </a:lnTo>
                <a:cubicBezTo>
                  <a:pt x="5630" y="143"/>
                  <a:pt x="5487" y="0"/>
                  <a:pt x="5312" y="0"/>
                </a:cubicBezTo>
                <a:close/>
                <a:moveTo>
                  <a:pt x="5471" y="4199"/>
                </a:moveTo>
                <a:cubicBezTo>
                  <a:pt x="5471" y="4279"/>
                  <a:pt x="5408" y="4358"/>
                  <a:pt x="5312" y="4358"/>
                </a:cubicBezTo>
                <a:lnTo>
                  <a:pt x="3960" y="4358"/>
                </a:lnTo>
                <a:cubicBezTo>
                  <a:pt x="3881" y="4358"/>
                  <a:pt x="3801" y="4279"/>
                  <a:pt x="3801" y="4199"/>
                </a:cubicBezTo>
                <a:lnTo>
                  <a:pt x="3801" y="318"/>
                </a:lnTo>
                <a:cubicBezTo>
                  <a:pt x="3801" y="239"/>
                  <a:pt x="3881" y="159"/>
                  <a:pt x="3960" y="159"/>
                </a:cubicBezTo>
                <a:lnTo>
                  <a:pt x="5312" y="159"/>
                </a:lnTo>
                <a:cubicBezTo>
                  <a:pt x="5408" y="159"/>
                  <a:pt x="5471" y="239"/>
                  <a:pt x="5471" y="318"/>
                </a:cubicBezTo>
                <a:close/>
                <a:moveTo>
                  <a:pt x="5090" y="3675"/>
                </a:moveTo>
                <a:lnTo>
                  <a:pt x="4135" y="3675"/>
                </a:lnTo>
                <a:cubicBezTo>
                  <a:pt x="4088" y="3675"/>
                  <a:pt x="4056" y="3706"/>
                  <a:pt x="4056" y="3754"/>
                </a:cubicBezTo>
                <a:cubicBezTo>
                  <a:pt x="4056" y="3785"/>
                  <a:pt x="4088" y="3833"/>
                  <a:pt x="4135" y="3833"/>
                </a:cubicBezTo>
                <a:lnTo>
                  <a:pt x="5090" y="3833"/>
                </a:lnTo>
                <a:cubicBezTo>
                  <a:pt x="5121" y="3833"/>
                  <a:pt x="5169" y="3785"/>
                  <a:pt x="5169" y="3754"/>
                </a:cubicBezTo>
                <a:cubicBezTo>
                  <a:pt x="5169" y="3706"/>
                  <a:pt x="5121" y="3675"/>
                  <a:pt x="5090" y="3675"/>
                </a:cubicBezTo>
                <a:close/>
                <a:moveTo>
                  <a:pt x="5090" y="3070"/>
                </a:moveTo>
                <a:lnTo>
                  <a:pt x="4135" y="3070"/>
                </a:lnTo>
                <a:cubicBezTo>
                  <a:pt x="4088" y="3070"/>
                  <a:pt x="4056" y="3102"/>
                  <a:pt x="4056" y="3149"/>
                </a:cubicBezTo>
                <a:cubicBezTo>
                  <a:pt x="4056" y="3197"/>
                  <a:pt x="4088" y="3229"/>
                  <a:pt x="4135" y="3229"/>
                </a:cubicBezTo>
                <a:lnTo>
                  <a:pt x="5090" y="3229"/>
                </a:lnTo>
                <a:cubicBezTo>
                  <a:pt x="5121" y="3229"/>
                  <a:pt x="5169" y="3197"/>
                  <a:pt x="5169" y="3149"/>
                </a:cubicBezTo>
                <a:cubicBezTo>
                  <a:pt x="5169" y="3102"/>
                  <a:pt x="5121" y="3070"/>
                  <a:pt x="5090" y="3070"/>
                </a:cubicBezTo>
                <a:close/>
                <a:moveTo>
                  <a:pt x="5090" y="2466"/>
                </a:moveTo>
                <a:lnTo>
                  <a:pt x="4135" y="2466"/>
                </a:lnTo>
                <a:cubicBezTo>
                  <a:pt x="4088" y="2466"/>
                  <a:pt x="4056" y="2513"/>
                  <a:pt x="4056" y="2545"/>
                </a:cubicBezTo>
                <a:cubicBezTo>
                  <a:pt x="4056" y="2593"/>
                  <a:pt x="4088" y="2624"/>
                  <a:pt x="4135" y="2624"/>
                </a:cubicBezTo>
                <a:lnTo>
                  <a:pt x="5090" y="2624"/>
                </a:lnTo>
                <a:cubicBezTo>
                  <a:pt x="5121" y="2624"/>
                  <a:pt x="5169" y="2593"/>
                  <a:pt x="5169" y="2545"/>
                </a:cubicBezTo>
                <a:cubicBezTo>
                  <a:pt x="5169" y="2513"/>
                  <a:pt x="5121" y="2466"/>
                  <a:pt x="5090" y="2466"/>
                </a:cubicBezTo>
                <a:close/>
                <a:moveTo>
                  <a:pt x="5090" y="1877"/>
                </a:moveTo>
                <a:lnTo>
                  <a:pt x="4135" y="1877"/>
                </a:lnTo>
                <a:cubicBezTo>
                  <a:pt x="4088" y="1877"/>
                  <a:pt x="4056" y="1909"/>
                  <a:pt x="4056" y="1957"/>
                </a:cubicBezTo>
                <a:cubicBezTo>
                  <a:pt x="4056" y="1988"/>
                  <a:pt x="4088" y="2036"/>
                  <a:pt x="4135" y="2036"/>
                </a:cubicBezTo>
                <a:lnTo>
                  <a:pt x="5090" y="2036"/>
                </a:lnTo>
                <a:cubicBezTo>
                  <a:pt x="5121" y="2036"/>
                  <a:pt x="5169" y="1988"/>
                  <a:pt x="5169" y="1957"/>
                </a:cubicBezTo>
                <a:cubicBezTo>
                  <a:pt x="5169" y="1909"/>
                  <a:pt x="5121" y="1877"/>
                  <a:pt x="5090" y="1877"/>
                </a:cubicBezTo>
                <a:close/>
                <a:moveTo>
                  <a:pt x="5090" y="1273"/>
                </a:moveTo>
                <a:lnTo>
                  <a:pt x="4135" y="1273"/>
                </a:lnTo>
                <a:cubicBezTo>
                  <a:pt x="4088" y="1273"/>
                  <a:pt x="4056" y="1304"/>
                  <a:pt x="4056" y="1352"/>
                </a:cubicBezTo>
                <a:cubicBezTo>
                  <a:pt x="4056" y="1400"/>
                  <a:pt x="4088" y="1431"/>
                  <a:pt x="4135" y="1431"/>
                </a:cubicBezTo>
                <a:lnTo>
                  <a:pt x="5090" y="1431"/>
                </a:lnTo>
                <a:cubicBezTo>
                  <a:pt x="5121" y="1431"/>
                  <a:pt x="5169" y="1400"/>
                  <a:pt x="5169" y="1352"/>
                </a:cubicBezTo>
                <a:cubicBezTo>
                  <a:pt x="5169" y="1304"/>
                  <a:pt x="5121" y="1273"/>
                  <a:pt x="5090" y="1273"/>
                </a:cubicBezTo>
                <a:close/>
                <a:moveTo>
                  <a:pt x="5090" y="668"/>
                </a:moveTo>
                <a:lnTo>
                  <a:pt x="4135" y="668"/>
                </a:lnTo>
                <a:cubicBezTo>
                  <a:pt x="4088" y="668"/>
                  <a:pt x="4056" y="700"/>
                  <a:pt x="4056" y="748"/>
                </a:cubicBezTo>
                <a:cubicBezTo>
                  <a:pt x="4056" y="795"/>
                  <a:pt x="4088" y="827"/>
                  <a:pt x="4135" y="827"/>
                </a:cubicBezTo>
                <a:lnTo>
                  <a:pt x="5090" y="827"/>
                </a:lnTo>
                <a:cubicBezTo>
                  <a:pt x="5121" y="827"/>
                  <a:pt x="5169" y="795"/>
                  <a:pt x="5169" y="748"/>
                </a:cubicBezTo>
                <a:cubicBezTo>
                  <a:pt x="5169" y="700"/>
                  <a:pt x="5121" y="668"/>
                  <a:pt x="5090" y="66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9" name="Freeform: Shape 8">
            <a:extLst>
              <a:ext uri="{FF2B5EF4-FFF2-40B4-BE49-F238E27FC236}">
                <a16:creationId xmlns:a16="http://schemas.microsoft.com/office/drawing/2014/main" id="{1E5820E8-5C6C-FF43-B277-DE50AE28F949}"/>
              </a:ext>
            </a:extLst>
          </p:cNvPr>
          <p:cNvSpPr/>
          <p:nvPr/>
        </p:nvSpPr>
        <p:spPr>
          <a:xfrm>
            <a:off x="13597729" y="7035468"/>
            <a:ext cx="2232720" cy="600840"/>
          </a:xfrm>
          <a:custGeom>
            <a:avLst/>
            <a:gdLst/>
            <a:ahLst/>
            <a:cxnLst>
              <a:cxn ang="3cd4">
                <a:pos x="hc" y="t"/>
              </a:cxn>
              <a:cxn ang="cd2">
                <a:pos x="l" y="vc"/>
              </a:cxn>
              <a:cxn ang="cd4">
                <a:pos x="hc" y="b"/>
              </a:cxn>
              <a:cxn ang="0">
                <a:pos x="r" y="vc"/>
              </a:cxn>
            </a:cxnLst>
            <a:rect l="l" t="t" r="r" b="b"/>
            <a:pathLst>
              <a:path w="6203" h="1670">
                <a:moveTo>
                  <a:pt x="5997" y="0"/>
                </a:moveTo>
                <a:lnTo>
                  <a:pt x="207" y="0"/>
                </a:lnTo>
                <a:cubicBezTo>
                  <a:pt x="96" y="0"/>
                  <a:pt x="0" y="95"/>
                  <a:pt x="0" y="207"/>
                </a:cubicBezTo>
                <a:lnTo>
                  <a:pt x="0" y="1463"/>
                </a:lnTo>
                <a:cubicBezTo>
                  <a:pt x="0" y="1575"/>
                  <a:pt x="96" y="1670"/>
                  <a:pt x="207" y="1670"/>
                </a:cubicBezTo>
                <a:lnTo>
                  <a:pt x="5997" y="1670"/>
                </a:lnTo>
                <a:cubicBezTo>
                  <a:pt x="6108" y="1670"/>
                  <a:pt x="6203" y="1575"/>
                  <a:pt x="6203" y="1463"/>
                </a:cubicBezTo>
                <a:lnTo>
                  <a:pt x="6203" y="207"/>
                </a:lnTo>
                <a:cubicBezTo>
                  <a:pt x="6203" y="95"/>
                  <a:pt x="6108" y="0"/>
                  <a:pt x="5997" y="0"/>
                </a:cubicBezTo>
                <a:close/>
                <a:moveTo>
                  <a:pt x="6045" y="1463"/>
                </a:moveTo>
                <a:cubicBezTo>
                  <a:pt x="6045" y="1495"/>
                  <a:pt x="6029" y="1511"/>
                  <a:pt x="5997" y="1511"/>
                </a:cubicBezTo>
                <a:lnTo>
                  <a:pt x="207" y="1511"/>
                </a:lnTo>
                <a:cubicBezTo>
                  <a:pt x="175" y="1511"/>
                  <a:pt x="159" y="1495"/>
                  <a:pt x="159" y="1463"/>
                </a:cubicBezTo>
                <a:lnTo>
                  <a:pt x="159" y="207"/>
                </a:lnTo>
                <a:cubicBezTo>
                  <a:pt x="159" y="175"/>
                  <a:pt x="175" y="159"/>
                  <a:pt x="207" y="159"/>
                </a:cubicBezTo>
                <a:lnTo>
                  <a:pt x="5997" y="159"/>
                </a:lnTo>
                <a:cubicBezTo>
                  <a:pt x="6029" y="159"/>
                  <a:pt x="6045" y="175"/>
                  <a:pt x="6045" y="207"/>
                </a:cubicBezTo>
                <a:close/>
                <a:moveTo>
                  <a:pt x="3166" y="748"/>
                </a:moveTo>
                <a:lnTo>
                  <a:pt x="764" y="748"/>
                </a:lnTo>
                <a:cubicBezTo>
                  <a:pt x="716" y="748"/>
                  <a:pt x="684" y="795"/>
                  <a:pt x="684" y="827"/>
                </a:cubicBezTo>
                <a:cubicBezTo>
                  <a:pt x="684" y="875"/>
                  <a:pt x="716" y="906"/>
                  <a:pt x="764" y="906"/>
                </a:cubicBezTo>
                <a:lnTo>
                  <a:pt x="3166" y="906"/>
                </a:lnTo>
                <a:cubicBezTo>
                  <a:pt x="3213" y="906"/>
                  <a:pt x="3245" y="875"/>
                  <a:pt x="3245" y="827"/>
                </a:cubicBezTo>
                <a:cubicBezTo>
                  <a:pt x="3245" y="795"/>
                  <a:pt x="3213" y="748"/>
                  <a:pt x="3166" y="74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0" name="Freeform: Shape 9">
            <a:extLst>
              <a:ext uri="{FF2B5EF4-FFF2-40B4-BE49-F238E27FC236}">
                <a16:creationId xmlns:a16="http://schemas.microsoft.com/office/drawing/2014/main" id="{0E3CB3D2-2EAB-6447-A7AD-20311702FD05}"/>
              </a:ext>
            </a:extLst>
          </p:cNvPr>
          <p:cNvSpPr/>
          <p:nvPr/>
        </p:nvSpPr>
        <p:spPr>
          <a:xfrm>
            <a:off x="17756069" y="6416988"/>
            <a:ext cx="1081800" cy="1625760"/>
          </a:xfrm>
          <a:custGeom>
            <a:avLst/>
            <a:gdLst/>
            <a:ahLst/>
            <a:cxnLst>
              <a:cxn ang="3cd4">
                <a:pos x="hc" y="t"/>
              </a:cxn>
              <a:cxn ang="cd2">
                <a:pos x="l" y="vc"/>
              </a:cxn>
              <a:cxn ang="cd4">
                <a:pos x="hc" y="b"/>
              </a:cxn>
              <a:cxn ang="0">
                <a:pos x="r" y="vc"/>
              </a:cxn>
            </a:cxnLst>
            <a:rect l="l" t="t" r="r" b="b"/>
            <a:pathLst>
              <a:path w="3006" h="4517">
                <a:moveTo>
                  <a:pt x="3006" y="3865"/>
                </a:moveTo>
                <a:lnTo>
                  <a:pt x="3006" y="318"/>
                </a:lnTo>
                <a:cubicBezTo>
                  <a:pt x="3006" y="143"/>
                  <a:pt x="2863" y="0"/>
                  <a:pt x="2688" y="0"/>
                </a:cubicBezTo>
                <a:lnTo>
                  <a:pt x="318" y="0"/>
                </a:lnTo>
                <a:cubicBezTo>
                  <a:pt x="143" y="0"/>
                  <a:pt x="0" y="143"/>
                  <a:pt x="0" y="318"/>
                </a:cubicBezTo>
                <a:lnTo>
                  <a:pt x="0" y="3865"/>
                </a:lnTo>
                <a:cubicBezTo>
                  <a:pt x="0" y="4040"/>
                  <a:pt x="143" y="4183"/>
                  <a:pt x="318" y="4183"/>
                </a:cubicBezTo>
                <a:lnTo>
                  <a:pt x="2688" y="4183"/>
                </a:lnTo>
                <a:cubicBezTo>
                  <a:pt x="2863" y="4183"/>
                  <a:pt x="3006" y="4040"/>
                  <a:pt x="3006" y="3865"/>
                </a:cubicBezTo>
                <a:close/>
                <a:moveTo>
                  <a:pt x="159" y="3865"/>
                </a:moveTo>
                <a:lnTo>
                  <a:pt x="159" y="318"/>
                </a:lnTo>
                <a:cubicBezTo>
                  <a:pt x="159" y="239"/>
                  <a:pt x="239" y="159"/>
                  <a:pt x="318" y="159"/>
                </a:cubicBezTo>
                <a:lnTo>
                  <a:pt x="2688" y="159"/>
                </a:lnTo>
                <a:cubicBezTo>
                  <a:pt x="2768" y="159"/>
                  <a:pt x="2848" y="239"/>
                  <a:pt x="2848" y="318"/>
                </a:cubicBezTo>
                <a:lnTo>
                  <a:pt x="2848" y="3865"/>
                </a:lnTo>
                <a:cubicBezTo>
                  <a:pt x="2848" y="3961"/>
                  <a:pt x="2768" y="4024"/>
                  <a:pt x="2688" y="4024"/>
                </a:cubicBezTo>
                <a:lnTo>
                  <a:pt x="318" y="4024"/>
                </a:lnTo>
                <a:cubicBezTo>
                  <a:pt x="239" y="4024"/>
                  <a:pt x="159" y="3961"/>
                  <a:pt x="159" y="3865"/>
                </a:cubicBezTo>
                <a:close/>
                <a:moveTo>
                  <a:pt x="2243" y="954"/>
                </a:moveTo>
                <a:lnTo>
                  <a:pt x="1941" y="954"/>
                </a:lnTo>
                <a:cubicBezTo>
                  <a:pt x="1893" y="954"/>
                  <a:pt x="1861" y="986"/>
                  <a:pt x="1861" y="1034"/>
                </a:cubicBezTo>
                <a:cubicBezTo>
                  <a:pt x="1861" y="1082"/>
                  <a:pt x="1893" y="1113"/>
                  <a:pt x="1941" y="1113"/>
                </a:cubicBezTo>
                <a:lnTo>
                  <a:pt x="2243" y="1113"/>
                </a:lnTo>
                <a:cubicBezTo>
                  <a:pt x="2275" y="1113"/>
                  <a:pt x="2322" y="1082"/>
                  <a:pt x="2322" y="1034"/>
                </a:cubicBezTo>
                <a:cubicBezTo>
                  <a:pt x="2322" y="986"/>
                  <a:pt x="2275" y="954"/>
                  <a:pt x="2243" y="954"/>
                </a:cubicBezTo>
                <a:close/>
                <a:moveTo>
                  <a:pt x="1336" y="1113"/>
                </a:moveTo>
                <a:lnTo>
                  <a:pt x="1639" y="1113"/>
                </a:lnTo>
                <a:cubicBezTo>
                  <a:pt x="1686" y="1113"/>
                  <a:pt x="1718" y="1082"/>
                  <a:pt x="1718" y="1034"/>
                </a:cubicBezTo>
                <a:cubicBezTo>
                  <a:pt x="1718" y="986"/>
                  <a:pt x="1686" y="954"/>
                  <a:pt x="1639" y="954"/>
                </a:cubicBezTo>
                <a:lnTo>
                  <a:pt x="1336" y="954"/>
                </a:lnTo>
                <a:cubicBezTo>
                  <a:pt x="1304" y="954"/>
                  <a:pt x="1257" y="986"/>
                  <a:pt x="1257" y="1034"/>
                </a:cubicBezTo>
                <a:cubicBezTo>
                  <a:pt x="1257" y="1082"/>
                  <a:pt x="1304" y="1113"/>
                  <a:pt x="1336" y="1113"/>
                </a:cubicBezTo>
                <a:close/>
                <a:moveTo>
                  <a:pt x="748" y="1113"/>
                </a:moveTo>
                <a:lnTo>
                  <a:pt x="1050" y="1113"/>
                </a:lnTo>
                <a:cubicBezTo>
                  <a:pt x="1082" y="1113"/>
                  <a:pt x="1130" y="1082"/>
                  <a:pt x="1130" y="1034"/>
                </a:cubicBezTo>
                <a:cubicBezTo>
                  <a:pt x="1130" y="986"/>
                  <a:pt x="1082" y="954"/>
                  <a:pt x="1050" y="954"/>
                </a:cubicBezTo>
                <a:lnTo>
                  <a:pt x="748" y="954"/>
                </a:lnTo>
                <a:cubicBezTo>
                  <a:pt x="700" y="954"/>
                  <a:pt x="668" y="986"/>
                  <a:pt x="668" y="1034"/>
                </a:cubicBezTo>
                <a:cubicBezTo>
                  <a:pt x="668" y="1082"/>
                  <a:pt x="700" y="1113"/>
                  <a:pt x="748" y="1113"/>
                </a:cubicBezTo>
                <a:close/>
                <a:moveTo>
                  <a:pt x="2243" y="1400"/>
                </a:moveTo>
                <a:lnTo>
                  <a:pt x="748" y="1400"/>
                </a:lnTo>
                <a:cubicBezTo>
                  <a:pt x="700" y="1400"/>
                  <a:pt x="668" y="1431"/>
                  <a:pt x="668" y="1479"/>
                </a:cubicBezTo>
                <a:cubicBezTo>
                  <a:pt x="668" y="1527"/>
                  <a:pt x="700" y="1559"/>
                  <a:pt x="748" y="1559"/>
                </a:cubicBezTo>
                <a:lnTo>
                  <a:pt x="2243" y="1559"/>
                </a:lnTo>
                <a:cubicBezTo>
                  <a:pt x="2275" y="1559"/>
                  <a:pt x="2322" y="1527"/>
                  <a:pt x="2322" y="1479"/>
                </a:cubicBezTo>
                <a:cubicBezTo>
                  <a:pt x="2322" y="1431"/>
                  <a:pt x="2275" y="1400"/>
                  <a:pt x="2243" y="1400"/>
                </a:cubicBezTo>
                <a:close/>
                <a:moveTo>
                  <a:pt x="2036" y="4358"/>
                </a:moveTo>
                <a:cubicBezTo>
                  <a:pt x="2004" y="4358"/>
                  <a:pt x="1957" y="4390"/>
                  <a:pt x="1957" y="4438"/>
                </a:cubicBezTo>
                <a:cubicBezTo>
                  <a:pt x="1957" y="4485"/>
                  <a:pt x="2004" y="4517"/>
                  <a:pt x="2036" y="4517"/>
                </a:cubicBezTo>
                <a:lnTo>
                  <a:pt x="2434" y="4517"/>
                </a:lnTo>
                <a:cubicBezTo>
                  <a:pt x="2466" y="4517"/>
                  <a:pt x="2513" y="4485"/>
                  <a:pt x="2513" y="4438"/>
                </a:cubicBezTo>
                <a:cubicBezTo>
                  <a:pt x="2513" y="4390"/>
                  <a:pt x="2466" y="4358"/>
                  <a:pt x="2434" y="4358"/>
                </a:cubicBezTo>
                <a:close/>
                <a:moveTo>
                  <a:pt x="604" y="4358"/>
                </a:moveTo>
                <a:cubicBezTo>
                  <a:pt x="557" y="4358"/>
                  <a:pt x="525" y="4390"/>
                  <a:pt x="525" y="4438"/>
                </a:cubicBezTo>
                <a:cubicBezTo>
                  <a:pt x="525" y="4485"/>
                  <a:pt x="557" y="4517"/>
                  <a:pt x="604" y="4517"/>
                </a:cubicBezTo>
                <a:lnTo>
                  <a:pt x="986" y="4517"/>
                </a:lnTo>
                <a:cubicBezTo>
                  <a:pt x="1034" y="4517"/>
                  <a:pt x="1066" y="4485"/>
                  <a:pt x="1066" y="4438"/>
                </a:cubicBezTo>
                <a:cubicBezTo>
                  <a:pt x="1066" y="4390"/>
                  <a:pt x="1034" y="4358"/>
                  <a:pt x="986" y="4358"/>
                </a:cubicBezTo>
                <a:close/>
                <a:moveTo>
                  <a:pt x="2243" y="1829"/>
                </a:moveTo>
                <a:lnTo>
                  <a:pt x="748" y="1829"/>
                </a:lnTo>
                <a:cubicBezTo>
                  <a:pt x="700" y="1829"/>
                  <a:pt x="668" y="1861"/>
                  <a:pt x="668" y="1909"/>
                </a:cubicBezTo>
                <a:cubicBezTo>
                  <a:pt x="668" y="1957"/>
                  <a:pt x="700" y="1988"/>
                  <a:pt x="748" y="1988"/>
                </a:cubicBezTo>
                <a:lnTo>
                  <a:pt x="2243" y="1988"/>
                </a:lnTo>
                <a:cubicBezTo>
                  <a:pt x="2275" y="1988"/>
                  <a:pt x="2322" y="1957"/>
                  <a:pt x="2322" y="1909"/>
                </a:cubicBezTo>
                <a:cubicBezTo>
                  <a:pt x="2322" y="1861"/>
                  <a:pt x="2275" y="1829"/>
                  <a:pt x="2243" y="1829"/>
                </a:cubicBezTo>
                <a:close/>
                <a:moveTo>
                  <a:pt x="2243" y="2243"/>
                </a:moveTo>
                <a:lnTo>
                  <a:pt x="748" y="2243"/>
                </a:lnTo>
                <a:cubicBezTo>
                  <a:pt x="700" y="2243"/>
                  <a:pt x="668" y="2291"/>
                  <a:pt x="668" y="2322"/>
                </a:cubicBezTo>
                <a:cubicBezTo>
                  <a:pt x="668" y="2370"/>
                  <a:pt x="700" y="2402"/>
                  <a:pt x="748" y="2402"/>
                </a:cubicBezTo>
                <a:lnTo>
                  <a:pt x="2243" y="2402"/>
                </a:lnTo>
                <a:cubicBezTo>
                  <a:pt x="2275" y="2402"/>
                  <a:pt x="2322" y="2370"/>
                  <a:pt x="2322" y="2322"/>
                </a:cubicBezTo>
                <a:cubicBezTo>
                  <a:pt x="2322" y="2291"/>
                  <a:pt x="2275" y="2243"/>
                  <a:pt x="2243" y="224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1" name="Freeform: Shape 10">
            <a:extLst>
              <a:ext uri="{FF2B5EF4-FFF2-40B4-BE49-F238E27FC236}">
                <a16:creationId xmlns:a16="http://schemas.microsoft.com/office/drawing/2014/main" id="{B8DF843D-88C7-A847-9602-666AFAC00876}"/>
              </a:ext>
            </a:extLst>
          </p:cNvPr>
          <p:cNvSpPr/>
          <p:nvPr/>
        </p:nvSpPr>
        <p:spPr>
          <a:xfrm>
            <a:off x="21516120" y="6416988"/>
            <a:ext cx="1024559" cy="1625760"/>
          </a:xfrm>
          <a:custGeom>
            <a:avLst/>
            <a:gdLst/>
            <a:ahLst/>
            <a:cxnLst>
              <a:cxn ang="3cd4">
                <a:pos x="hc" y="t"/>
              </a:cxn>
              <a:cxn ang="cd2">
                <a:pos x="l" y="vc"/>
              </a:cxn>
              <a:cxn ang="cd4">
                <a:pos x="hc" y="b"/>
              </a:cxn>
              <a:cxn ang="0">
                <a:pos x="r" y="vc"/>
              </a:cxn>
            </a:cxnLst>
            <a:rect l="l" t="t" r="r" b="b"/>
            <a:pathLst>
              <a:path w="2847" h="4517">
                <a:moveTo>
                  <a:pt x="2847" y="1193"/>
                </a:moveTo>
                <a:lnTo>
                  <a:pt x="2847" y="318"/>
                </a:lnTo>
                <a:cubicBezTo>
                  <a:pt x="2847" y="143"/>
                  <a:pt x="2704" y="0"/>
                  <a:pt x="2529" y="0"/>
                </a:cubicBezTo>
                <a:lnTo>
                  <a:pt x="302" y="0"/>
                </a:lnTo>
                <a:cubicBezTo>
                  <a:pt x="128" y="0"/>
                  <a:pt x="0" y="143"/>
                  <a:pt x="0" y="318"/>
                </a:cubicBezTo>
                <a:lnTo>
                  <a:pt x="0" y="1193"/>
                </a:lnTo>
                <a:cubicBezTo>
                  <a:pt x="0" y="1288"/>
                  <a:pt x="32" y="1368"/>
                  <a:pt x="96" y="1416"/>
                </a:cubicBezTo>
                <a:cubicBezTo>
                  <a:pt x="32" y="1479"/>
                  <a:pt x="0" y="1559"/>
                  <a:pt x="0" y="1654"/>
                </a:cubicBezTo>
                <a:lnTo>
                  <a:pt x="0" y="2529"/>
                </a:lnTo>
                <a:cubicBezTo>
                  <a:pt x="0" y="2624"/>
                  <a:pt x="32" y="2704"/>
                  <a:pt x="96" y="2767"/>
                </a:cubicBezTo>
                <a:cubicBezTo>
                  <a:pt x="32" y="2815"/>
                  <a:pt x="0" y="2911"/>
                  <a:pt x="0" y="3006"/>
                </a:cubicBezTo>
                <a:lnTo>
                  <a:pt x="0" y="3865"/>
                </a:lnTo>
                <a:cubicBezTo>
                  <a:pt x="0" y="4040"/>
                  <a:pt x="128" y="4183"/>
                  <a:pt x="302" y="4183"/>
                </a:cubicBezTo>
                <a:lnTo>
                  <a:pt x="2529" y="4183"/>
                </a:lnTo>
                <a:cubicBezTo>
                  <a:pt x="2704" y="4183"/>
                  <a:pt x="2847" y="4040"/>
                  <a:pt x="2847" y="3865"/>
                </a:cubicBezTo>
                <a:lnTo>
                  <a:pt x="2847" y="3006"/>
                </a:lnTo>
                <a:cubicBezTo>
                  <a:pt x="2847" y="2911"/>
                  <a:pt x="2800" y="2815"/>
                  <a:pt x="2736" y="2767"/>
                </a:cubicBezTo>
                <a:cubicBezTo>
                  <a:pt x="2800" y="2704"/>
                  <a:pt x="2847" y="2624"/>
                  <a:pt x="2847" y="2529"/>
                </a:cubicBezTo>
                <a:lnTo>
                  <a:pt x="2847" y="1654"/>
                </a:lnTo>
                <a:cubicBezTo>
                  <a:pt x="2847" y="1559"/>
                  <a:pt x="2800" y="1479"/>
                  <a:pt x="2736" y="1416"/>
                </a:cubicBezTo>
                <a:cubicBezTo>
                  <a:pt x="2800" y="1368"/>
                  <a:pt x="2847" y="1288"/>
                  <a:pt x="2847" y="1193"/>
                </a:cubicBezTo>
                <a:close/>
                <a:moveTo>
                  <a:pt x="2688" y="3865"/>
                </a:moveTo>
                <a:cubicBezTo>
                  <a:pt x="2688" y="3945"/>
                  <a:pt x="2625" y="4024"/>
                  <a:pt x="2529" y="4024"/>
                </a:cubicBezTo>
                <a:lnTo>
                  <a:pt x="302" y="4024"/>
                </a:lnTo>
                <a:cubicBezTo>
                  <a:pt x="223" y="4024"/>
                  <a:pt x="159" y="3945"/>
                  <a:pt x="159" y="3865"/>
                </a:cubicBezTo>
                <a:lnTo>
                  <a:pt x="159" y="3006"/>
                </a:lnTo>
                <a:cubicBezTo>
                  <a:pt x="159" y="2911"/>
                  <a:pt x="223" y="2847"/>
                  <a:pt x="302" y="2847"/>
                </a:cubicBezTo>
                <a:lnTo>
                  <a:pt x="2529" y="2847"/>
                </a:lnTo>
                <a:cubicBezTo>
                  <a:pt x="2625" y="2847"/>
                  <a:pt x="2688" y="2911"/>
                  <a:pt x="2688" y="3006"/>
                </a:cubicBezTo>
                <a:close/>
                <a:moveTo>
                  <a:pt x="2688" y="2529"/>
                </a:moveTo>
                <a:cubicBezTo>
                  <a:pt x="2688" y="2609"/>
                  <a:pt x="2625" y="2688"/>
                  <a:pt x="2529" y="2688"/>
                </a:cubicBezTo>
                <a:lnTo>
                  <a:pt x="302" y="2688"/>
                </a:lnTo>
                <a:cubicBezTo>
                  <a:pt x="223" y="2688"/>
                  <a:pt x="159" y="2609"/>
                  <a:pt x="159" y="2529"/>
                </a:cubicBezTo>
                <a:lnTo>
                  <a:pt x="159" y="1654"/>
                </a:lnTo>
                <a:cubicBezTo>
                  <a:pt x="159" y="1575"/>
                  <a:pt x="223" y="1495"/>
                  <a:pt x="302" y="1495"/>
                </a:cubicBezTo>
                <a:lnTo>
                  <a:pt x="2529" y="1495"/>
                </a:lnTo>
                <a:cubicBezTo>
                  <a:pt x="2625" y="1495"/>
                  <a:pt x="2688" y="1575"/>
                  <a:pt x="2688" y="1654"/>
                </a:cubicBezTo>
                <a:close/>
                <a:moveTo>
                  <a:pt x="2688" y="1193"/>
                </a:moveTo>
                <a:cubicBezTo>
                  <a:pt x="2688" y="1273"/>
                  <a:pt x="2625" y="1336"/>
                  <a:pt x="2529" y="1336"/>
                </a:cubicBezTo>
                <a:lnTo>
                  <a:pt x="302" y="1336"/>
                </a:lnTo>
                <a:cubicBezTo>
                  <a:pt x="223" y="1336"/>
                  <a:pt x="159" y="1273"/>
                  <a:pt x="159" y="1193"/>
                </a:cubicBezTo>
                <a:lnTo>
                  <a:pt x="159" y="318"/>
                </a:lnTo>
                <a:cubicBezTo>
                  <a:pt x="159" y="239"/>
                  <a:pt x="223" y="159"/>
                  <a:pt x="302" y="159"/>
                </a:cubicBezTo>
                <a:lnTo>
                  <a:pt x="2529" y="159"/>
                </a:lnTo>
                <a:cubicBezTo>
                  <a:pt x="2625" y="159"/>
                  <a:pt x="2688" y="239"/>
                  <a:pt x="2688" y="318"/>
                </a:cubicBezTo>
                <a:close/>
                <a:moveTo>
                  <a:pt x="2307" y="3166"/>
                </a:moveTo>
                <a:lnTo>
                  <a:pt x="1925" y="3166"/>
                </a:lnTo>
                <a:cubicBezTo>
                  <a:pt x="1893" y="3166"/>
                  <a:pt x="1846" y="3213"/>
                  <a:pt x="1846" y="3245"/>
                </a:cubicBezTo>
                <a:cubicBezTo>
                  <a:pt x="1846" y="3293"/>
                  <a:pt x="1893" y="3324"/>
                  <a:pt x="1925" y="3324"/>
                </a:cubicBezTo>
                <a:lnTo>
                  <a:pt x="2307" y="3324"/>
                </a:lnTo>
                <a:cubicBezTo>
                  <a:pt x="2338" y="3324"/>
                  <a:pt x="2386" y="3293"/>
                  <a:pt x="2386" y="3245"/>
                </a:cubicBezTo>
                <a:cubicBezTo>
                  <a:pt x="2386" y="3213"/>
                  <a:pt x="2338" y="3166"/>
                  <a:pt x="2307" y="3166"/>
                </a:cubicBezTo>
                <a:close/>
                <a:moveTo>
                  <a:pt x="1607" y="3166"/>
                </a:moveTo>
                <a:lnTo>
                  <a:pt x="1241" y="3166"/>
                </a:lnTo>
                <a:cubicBezTo>
                  <a:pt x="1193" y="3166"/>
                  <a:pt x="1161" y="3213"/>
                  <a:pt x="1161" y="3245"/>
                </a:cubicBezTo>
                <a:cubicBezTo>
                  <a:pt x="1161" y="3293"/>
                  <a:pt x="1193" y="3324"/>
                  <a:pt x="1241" y="3324"/>
                </a:cubicBezTo>
                <a:lnTo>
                  <a:pt x="1607" y="3324"/>
                </a:lnTo>
                <a:cubicBezTo>
                  <a:pt x="1655" y="3324"/>
                  <a:pt x="1686" y="3293"/>
                  <a:pt x="1686" y="3245"/>
                </a:cubicBezTo>
                <a:cubicBezTo>
                  <a:pt x="1686" y="3213"/>
                  <a:pt x="1655" y="3166"/>
                  <a:pt x="1607" y="3166"/>
                </a:cubicBezTo>
                <a:close/>
                <a:moveTo>
                  <a:pt x="923" y="3166"/>
                </a:moveTo>
                <a:lnTo>
                  <a:pt x="557" y="3166"/>
                </a:lnTo>
                <a:cubicBezTo>
                  <a:pt x="509" y="3166"/>
                  <a:pt x="477" y="3213"/>
                  <a:pt x="477" y="3245"/>
                </a:cubicBezTo>
                <a:cubicBezTo>
                  <a:pt x="477" y="3293"/>
                  <a:pt x="509" y="3324"/>
                  <a:pt x="557" y="3324"/>
                </a:cubicBezTo>
                <a:lnTo>
                  <a:pt x="923" y="3324"/>
                </a:lnTo>
                <a:cubicBezTo>
                  <a:pt x="971" y="3324"/>
                  <a:pt x="1002" y="3293"/>
                  <a:pt x="1002" y="3245"/>
                </a:cubicBezTo>
                <a:cubicBezTo>
                  <a:pt x="1002" y="3213"/>
                  <a:pt x="971" y="3166"/>
                  <a:pt x="923" y="3166"/>
                </a:cubicBezTo>
                <a:close/>
                <a:moveTo>
                  <a:pt x="2291" y="2131"/>
                </a:moveTo>
                <a:lnTo>
                  <a:pt x="1941" y="2131"/>
                </a:lnTo>
                <a:cubicBezTo>
                  <a:pt x="1893" y="2131"/>
                  <a:pt x="1861" y="2163"/>
                  <a:pt x="1861" y="2211"/>
                </a:cubicBezTo>
                <a:cubicBezTo>
                  <a:pt x="1861" y="2243"/>
                  <a:pt x="1893" y="2291"/>
                  <a:pt x="1941" y="2291"/>
                </a:cubicBezTo>
                <a:lnTo>
                  <a:pt x="2291" y="2291"/>
                </a:lnTo>
                <a:cubicBezTo>
                  <a:pt x="2338" y="2291"/>
                  <a:pt x="2370" y="2243"/>
                  <a:pt x="2370" y="2211"/>
                </a:cubicBezTo>
                <a:cubicBezTo>
                  <a:pt x="2370" y="2163"/>
                  <a:pt x="2338" y="2131"/>
                  <a:pt x="2291" y="2131"/>
                </a:cubicBezTo>
                <a:close/>
                <a:moveTo>
                  <a:pt x="1607" y="2131"/>
                </a:moveTo>
                <a:lnTo>
                  <a:pt x="1241" y="2131"/>
                </a:lnTo>
                <a:cubicBezTo>
                  <a:pt x="1193" y="2131"/>
                  <a:pt x="1161" y="2163"/>
                  <a:pt x="1161" y="2211"/>
                </a:cubicBezTo>
                <a:cubicBezTo>
                  <a:pt x="1161" y="2243"/>
                  <a:pt x="1193" y="2291"/>
                  <a:pt x="1241" y="2291"/>
                </a:cubicBezTo>
                <a:lnTo>
                  <a:pt x="1607" y="2291"/>
                </a:lnTo>
                <a:cubicBezTo>
                  <a:pt x="1638" y="2291"/>
                  <a:pt x="1686" y="2243"/>
                  <a:pt x="1686" y="2211"/>
                </a:cubicBezTo>
                <a:cubicBezTo>
                  <a:pt x="1686" y="2163"/>
                  <a:pt x="1638" y="2131"/>
                  <a:pt x="1607" y="2131"/>
                </a:cubicBezTo>
                <a:close/>
                <a:moveTo>
                  <a:pt x="2291" y="875"/>
                </a:moveTo>
                <a:lnTo>
                  <a:pt x="1941" y="875"/>
                </a:lnTo>
                <a:cubicBezTo>
                  <a:pt x="1893" y="875"/>
                  <a:pt x="1861" y="922"/>
                  <a:pt x="1861" y="954"/>
                </a:cubicBezTo>
                <a:cubicBezTo>
                  <a:pt x="1861" y="1002"/>
                  <a:pt x="1893" y="1034"/>
                  <a:pt x="1941" y="1034"/>
                </a:cubicBezTo>
                <a:lnTo>
                  <a:pt x="2291" y="1034"/>
                </a:lnTo>
                <a:cubicBezTo>
                  <a:pt x="2338" y="1034"/>
                  <a:pt x="2370" y="1002"/>
                  <a:pt x="2370" y="954"/>
                </a:cubicBezTo>
                <a:cubicBezTo>
                  <a:pt x="2370" y="922"/>
                  <a:pt x="2338" y="875"/>
                  <a:pt x="2291" y="875"/>
                </a:cubicBezTo>
                <a:close/>
                <a:moveTo>
                  <a:pt x="1941" y="4358"/>
                </a:moveTo>
                <a:cubicBezTo>
                  <a:pt x="1893" y="4358"/>
                  <a:pt x="1861" y="4390"/>
                  <a:pt x="1861" y="4438"/>
                </a:cubicBezTo>
                <a:cubicBezTo>
                  <a:pt x="1861" y="4485"/>
                  <a:pt x="1893" y="4517"/>
                  <a:pt x="1941" y="4517"/>
                </a:cubicBezTo>
                <a:lnTo>
                  <a:pt x="2291" y="4517"/>
                </a:lnTo>
                <a:cubicBezTo>
                  <a:pt x="2338" y="4517"/>
                  <a:pt x="2370" y="4485"/>
                  <a:pt x="2370" y="4438"/>
                </a:cubicBezTo>
                <a:cubicBezTo>
                  <a:pt x="2370" y="4390"/>
                  <a:pt x="2338" y="4358"/>
                  <a:pt x="2291" y="4358"/>
                </a:cubicBezTo>
                <a:close/>
                <a:moveTo>
                  <a:pt x="557" y="4358"/>
                </a:moveTo>
                <a:cubicBezTo>
                  <a:pt x="525" y="4358"/>
                  <a:pt x="477" y="4390"/>
                  <a:pt x="477" y="4438"/>
                </a:cubicBezTo>
                <a:cubicBezTo>
                  <a:pt x="477" y="4485"/>
                  <a:pt x="525" y="4517"/>
                  <a:pt x="557" y="4517"/>
                </a:cubicBezTo>
                <a:lnTo>
                  <a:pt x="923" y="4517"/>
                </a:lnTo>
                <a:cubicBezTo>
                  <a:pt x="971" y="4517"/>
                  <a:pt x="1002" y="4485"/>
                  <a:pt x="1002" y="4438"/>
                </a:cubicBezTo>
                <a:cubicBezTo>
                  <a:pt x="1002" y="4390"/>
                  <a:pt x="971" y="4358"/>
                  <a:pt x="923" y="435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2" name="Freeform: Shape 11">
            <a:extLst>
              <a:ext uri="{FF2B5EF4-FFF2-40B4-BE49-F238E27FC236}">
                <a16:creationId xmlns:a16="http://schemas.microsoft.com/office/drawing/2014/main" id="{308EBA84-5222-E646-81E5-BD1D49E945D6}"/>
              </a:ext>
            </a:extLst>
          </p:cNvPr>
          <p:cNvSpPr/>
          <p:nvPr/>
        </p:nvSpPr>
        <p:spPr>
          <a:xfrm>
            <a:off x="1811930" y="9771707"/>
            <a:ext cx="1608480" cy="1625760"/>
          </a:xfrm>
          <a:custGeom>
            <a:avLst/>
            <a:gdLst/>
            <a:ahLst/>
            <a:cxnLst>
              <a:cxn ang="3cd4">
                <a:pos x="hc" y="t"/>
              </a:cxn>
              <a:cxn ang="cd2">
                <a:pos x="l" y="vc"/>
              </a:cxn>
              <a:cxn ang="cd4">
                <a:pos x="hc" y="b"/>
              </a:cxn>
              <a:cxn ang="0">
                <a:pos x="r" y="vc"/>
              </a:cxn>
            </a:cxnLst>
            <a:rect l="l" t="t" r="r" b="b"/>
            <a:pathLst>
              <a:path w="4469" h="4517">
                <a:moveTo>
                  <a:pt x="2242" y="3324"/>
                </a:moveTo>
                <a:cubicBezTo>
                  <a:pt x="2099" y="3324"/>
                  <a:pt x="2004" y="3435"/>
                  <a:pt x="2004" y="3562"/>
                </a:cubicBezTo>
                <a:cubicBezTo>
                  <a:pt x="2004" y="3690"/>
                  <a:pt x="2099" y="3801"/>
                  <a:pt x="2242" y="3801"/>
                </a:cubicBezTo>
                <a:cubicBezTo>
                  <a:pt x="2370" y="3801"/>
                  <a:pt x="2481" y="3690"/>
                  <a:pt x="2481" y="3562"/>
                </a:cubicBezTo>
                <a:cubicBezTo>
                  <a:pt x="2481" y="3435"/>
                  <a:pt x="2370" y="3324"/>
                  <a:pt x="2242" y="3324"/>
                </a:cubicBezTo>
                <a:close/>
                <a:moveTo>
                  <a:pt x="2242" y="3642"/>
                </a:moveTo>
                <a:cubicBezTo>
                  <a:pt x="2194" y="3642"/>
                  <a:pt x="2147" y="3610"/>
                  <a:pt x="2147" y="3562"/>
                </a:cubicBezTo>
                <a:cubicBezTo>
                  <a:pt x="2147" y="3515"/>
                  <a:pt x="2194" y="3483"/>
                  <a:pt x="2242" y="3483"/>
                </a:cubicBezTo>
                <a:cubicBezTo>
                  <a:pt x="2274" y="3483"/>
                  <a:pt x="2322" y="3515"/>
                  <a:pt x="2322" y="3562"/>
                </a:cubicBezTo>
                <a:cubicBezTo>
                  <a:pt x="2322" y="3610"/>
                  <a:pt x="2274" y="3642"/>
                  <a:pt x="2242" y="3642"/>
                </a:cubicBezTo>
                <a:close/>
                <a:moveTo>
                  <a:pt x="2942" y="4008"/>
                </a:moveTo>
                <a:lnTo>
                  <a:pt x="2942" y="175"/>
                </a:lnTo>
                <a:cubicBezTo>
                  <a:pt x="2942" y="79"/>
                  <a:pt x="2863" y="0"/>
                  <a:pt x="2767" y="0"/>
                </a:cubicBezTo>
                <a:lnTo>
                  <a:pt x="1702" y="0"/>
                </a:lnTo>
                <a:cubicBezTo>
                  <a:pt x="1606" y="0"/>
                  <a:pt x="1527" y="79"/>
                  <a:pt x="1527" y="175"/>
                </a:cubicBezTo>
                <a:lnTo>
                  <a:pt x="1527" y="4008"/>
                </a:lnTo>
                <a:cubicBezTo>
                  <a:pt x="1527" y="4104"/>
                  <a:pt x="1606" y="4183"/>
                  <a:pt x="1702" y="4183"/>
                </a:cubicBezTo>
                <a:lnTo>
                  <a:pt x="2767" y="4183"/>
                </a:lnTo>
                <a:cubicBezTo>
                  <a:pt x="2863" y="4183"/>
                  <a:pt x="2942" y="4104"/>
                  <a:pt x="2942" y="4008"/>
                </a:cubicBezTo>
                <a:close/>
                <a:moveTo>
                  <a:pt x="1685" y="4008"/>
                </a:moveTo>
                <a:lnTo>
                  <a:pt x="1702" y="159"/>
                </a:lnTo>
                <a:lnTo>
                  <a:pt x="2783" y="175"/>
                </a:lnTo>
                <a:lnTo>
                  <a:pt x="2767" y="4024"/>
                </a:lnTo>
                <a:lnTo>
                  <a:pt x="1702" y="4024"/>
                </a:lnTo>
                <a:close/>
                <a:moveTo>
                  <a:pt x="4310" y="4183"/>
                </a:moveTo>
                <a:cubicBezTo>
                  <a:pt x="4405" y="4183"/>
                  <a:pt x="4469" y="4104"/>
                  <a:pt x="4469" y="4008"/>
                </a:cubicBezTo>
                <a:lnTo>
                  <a:pt x="4469" y="175"/>
                </a:lnTo>
                <a:cubicBezTo>
                  <a:pt x="4469" y="79"/>
                  <a:pt x="4405" y="0"/>
                  <a:pt x="4310" y="0"/>
                </a:cubicBezTo>
                <a:lnTo>
                  <a:pt x="3244" y="0"/>
                </a:lnTo>
                <a:cubicBezTo>
                  <a:pt x="3149" y="0"/>
                  <a:pt x="3069" y="79"/>
                  <a:pt x="3069" y="175"/>
                </a:cubicBezTo>
                <a:lnTo>
                  <a:pt x="3069" y="4008"/>
                </a:lnTo>
                <a:cubicBezTo>
                  <a:pt x="3069" y="4104"/>
                  <a:pt x="3149" y="4183"/>
                  <a:pt x="3244" y="4183"/>
                </a:cubicBezTo>
                <a:close/>
                <a:moveTo>
                  <a:pt x="3244" y="159"/>
                </a:moveTo>
                <a:lnTo>
                  <a:pt x="4310" y="175"/>
                </a:lnTo>
                <a:lnTo>
                  <a:pt x="4310" y="4024"/>
                </a:lnTo>
                <a:lnTo>
                  <a:pt x="3244" y="4024"/>
                </a:lnTo>
                <a:lnTo>
                  <a:pt x="3229" y="4008"/>
                </a:lnTo>
                <a:close/>
                <a:moveTo>
                  <a:pt x="0" y="175"/>
                </a:moveTo>
                <a:lnTo>
                  <a:pt x="0" y="4008"/>
                </a:lnTo>
                <a:cubicBezTo>
                  <a:pt x="0" y="4104"/>
                  <a:pt x="79" y="4183"/>
                  <a:pt x="158" y="4183"/>
                </a:cubicBezTo>
                <a:lnTo>
                  <a:pt x="1240" y="4183"/>
                </a:lnTo>
                <a:cubicBezTo>
                  <a:pt x="1336" y="4183"/>
                  <a:pt x="1399" y="4104"/>
                  <a:pt x="1399" y="4008"/>
                </a:cubicBezTo>
                <a:lnTo>
                  <a:pt x="1399" y="175"/>
                </a:lnTo>
                <a:cubicBezTo>
                  <a:pt x="1399" y="79"/>
                  <a:pt x="1336" y="0"/>
                  <a:pt x="1240" y="0"/>
                </a:cubicBezTo>
                <a:lnTo>
                  <a:pt x="158" y="0"/>
                </a:lnTo>
                <a:cubicBezTo>
                  <a:pt x="79" y="0"/>
                  <a:pt x="0" y="79"/>
                  <a:pt x="0" y="175"/>
                </a:cubicBezTo>
                <a:close/>
                <a:moveTo>
                  <a:pt x="158" y="159"/>
                </a:moveTo>
                <a:lnTo>
                  <a:pt x="1240" y="175"/>
                </a:lnTo>
                <a:lnTo>
                  <a:pt x="1240" y="4024"/>
                </a:lnTo>
                <a:lnTo>
                  <a:pt x="158" y="4024"/>
                </a:lnTo>
                <a:lnTo>
                  <a:pt x="158" y="4008"/>
                </a:lnTo>
                <a:close/>
                <a:moveTo>
                  <a:pt x="2751" y="4517"/>
                </a:moveTo>
                <a:lnTo>
                  <a:pt x="3117" y="4517"/>
                </a:lnTo>
                <a:cubicBezTo>
                  <a:pt x="3149" y="4517"/>
                  <a:pt x="3197" y="4469"/>
                  <a:pt x="3197" y="4437"/>
                </a:cubicBezTo>
                <a:cubicBezTo>
                  <a:pt x="3197" y="4390"/>
                  <a:pt x="3149" y="4358"/>
                  <a:pt x="3117" y="4358"/>
                </a:cubicBezTo>
                <a:lnTo>
                  <a:pt x="2751" y="4358"/>
                </a:lnTo>
                <a:cubicBezTo>
                  <a:pt x="2703" y="4358"/>
                  <a:pt x="2672" y="4390"/>
                  <a:pt x="2672" y="4437"/>
                </a:cubicBezTo>
                <a:cubicBezTo>
                  <a:pt x="2672" y="4469"/>
                  <a:pt x="2703" y="4517"/>
                  <a:pt x="2751" y="4517"/>
                </a:cubicBezTo>
                <a:close/>
                <a:moveTo>
                  <a:pt x="1384" y="4517"/>
                </a:moveTo>
                <a:lnTo>
                  <a:pt x="1733" y="4517"/>
                </a:lnTo>
                <a:cubicBezTo>
                  <a:pt x="1781" y="4517"/>
                  <a:pt x="1813" y="4469"/>
                  <a:pt x="1813" y="4437"/>
                </a:cubicBezTo>
                <a:cubicBezTo>
                  <a:pt x="1813" y="4390"/>
                  <a:pt x="1781" y="4358"/>
                  <a:pt x="1733" y="4358"/>
                </a:cubicBezTo>
                <a:lnTo>
                  <a:pt x="1384" y="4358"/>
                </a:lnTo>
                <a:cubicBezTo>
                  <a:pt x="1336" y="4358"/>
                  <a:pt x="1304" y="4390"/>
                  <a:pt x="1304" y="4437"/>
                </a:cubicBezTo>
                <a:cubicBezTo>
                  <a:pt x="1304" y="4469"/>
                  <a:pt x="1336" y="4517"/>
                  <a:pt x="1384" y="451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3" name="Freeform: Shape 12">
            <a:extLst>
              <a:ext uri="{FF2B5EF4-FFF2-40B4-BE49-F238E27FC236}">
                <a16:creationId xmlns:a16="http://schemas.microsoft.com/office/drawing/2014/main" id="{00FA0D4D-8E0D-804E-88FD-34542787C2E7}"/>
              </a:ext>
            </a:extLst>
          </p:cNvPr>
          <p:cNvSpPr/>
          <p:nvPr/>
        </p:nvSpPr>
        <p:spPr>
          <a:xfrm>
            <a:off x="6518931" y="9656868"/>
            <a:ext cx="543600" cy="1620360"/>
          </a:xfrm>
          <a:custGeom>
            <a:avLst/>
            <a:gdLst/>
            <a:ahLst/>
            <a:cxnLst>
              <a:cxn ang="3cd4">
                <a:pos x="hc" y="t"/>
              </a:cxn>
              <a:cxn ang="cd2">
                <a:pos x="l" y="vc"/>
              </a:cxn>
              <a:cxn ang="cd4">
                <a:pos x="hc" y="b"/>
              </a:cxn>
              <a:cxn ang="0">
                <a:pos x="r" y="vc"/>
              </a:cxn>
            </a:cxnLst>
            <a:rect l="l" t="t" r="r" b="b"/>
            <a:pathLst>
              <a:path w="1511" h="4502">
                <a:moveTo>
                  <a:pt x="748" y="4104"/>
                </a:moveTo>
                <a:cubicBezTo>
                  <a:pt x="891" y="4104"/>
                  <a:pt x="1002" y="3977"/>
                  <a:pt x="1002" y="3849"/>
                </a:cubicBezTo>
                <a:cubicBezTo>
                  <a:pt x="1002" y="3706"/>
                  <a:pt x="891" y="3595"/>
                  <a:pt x="748" y="3595"/>
                </a:cubicBezTo>
                <a:cubicBezTo>
                  <a:pt x="620" y="3595"/>
                  <a:pt x="509" y="3706"/>
                  <a:pt x="509" y="3849"/>
                </a:cubicBezTo>
                <a:cubicBezTo>
                  <a:pt x="509" y="3977"/>
                  <a:pt x="620" y="4104"/>
                  <a:pt x="748" y="4104"/>
                </a:cubicBezTo>
                <a:close/>
                <a:moveTo>
                  <a:pt x="748" y="3754"/>
                </a:moveTo>
                <a:cubicBezTo>
                  <a:pt x="811" y="3754"/>
                  <a:pt x="843" y="3786"/>
                  <a:pt x="843" y="3849"/>
                </a:cubicBezTo>
                <a:cubicBezTo>
                  <a:pt x="843" y="3897"/>
                  <a:pt x="811" y="3945"/>
                  <a:pt x="748" y="3945"/>
                </a:cubicBezTo>
                <a:cubicBezTo>
                  <a:pt x="700" y="3945"/>
                  <a:pt x="652" y="3897"/>
                  <a:pt x="652" y="3849"/>
                </a:cubicBezTo>
                <a:cubicBezTo>
                  <a:pt x="652" y="3786"/>
                  <a:pt x="700" y="3754"/>
                  <a:pt x="748" y="3754"/>
                </a:cubicBezTo>
                <a:close/>
                <a:moveTo>
                  <a:pt x="1337" y="4502"/>
                </a:moveTo>
                <a:cubicBezTo>
                  <a:pt x="1432" y="4502"/>
                  <a:pt x="1511" y="4423"/>
                  <a:pt x="1511" y="4327"/>
                </a:cubicBezTo>
                <a:lnTo>
                  <a:pt x="1511" y="176"/>
                </a:lnTo>
                <a:cubicBezTo>
                  <a:pt x="1511" y="80"/>
                  <a:pt x="1432" y="0"/>
                  <a:pt x="1337" y="0"/>
                </a:cubicBezTo>
                <a:lnTo>
                  <a:pt x="175" y="0"/>
                </a:lnTo>
                <a:cubicBezTo>
                  <a:pt x="80" y="0"/>
                  <a:pt x="0" y="80"/>
                  <a:pt x="0" y="176"/>
                </a:cubicBezTo>
                <a:lnTo>
                  <a:pt x="0" y="4327"/>
                </a:lnTo>
                <a:cubicBezTo>
                  <a:pt x="0" y="4423"/>
                  <a:pt x="80" y="4502"/>
                  <a:pt x="175" y="4502"/>
                </a:cubicBezTo>
                <a:close/>
                <a:moveTo>
                  <a:pt x="159" y="4327"/>
                </a:moveTo>
                <a:lnTo>
                  <a:pt x="159" y="176"/>
                </a:lnTo>
                <a:cubicBezTo>
                  <a:pt x="159" y="160"/>
                  <a:pt x="159" y="160"/>
                  <a:pt x="175" y="160"/>
                </a:cubicBezTo>
                <a:lnTo>
                  <a:pt x="1337" y="160"/>
                </a:lnTo>
                <a:cubicBezTo>
                  <a:pt x="1352" y="160"/>
                  <a:pt x="1352" y="160"/>
                  <a:pt x="1352" y="176"/>
                </a:cubicBezTo>
                <a:lnTo>
                  <a:pt x="1352" y="4327"/>
                </a:lnTo>
                <a:cubicBezTo>
                  <a:pt x="1352" y="4343"/>
                  <a:pt x="1352" y="4343"/>
                  <a:pt x="1337" y="4343"/>
                </a:cubicBezTo>
                <a:lnTo>
                  <a:pt x="175" y="4343"/>
                </a:lnTo>
                <a:cubicBezTo>
                  <a:pt x="159" y="4343"/>
                  <a:pt x="159" y="4343"/>
                  <a:pt x="159" y="432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4" name="Freeform: Shape 13">
            <a:extLst>
              <a:ext uri="{FF2B5EF4-FFF2-40B4-BE49-F238E27FC236}">
                <a16:creationId xmlns:a16="http://schemas.microsoft.com/office/drawing/2014/main" id="{0F8DE310-D4B2-944F-B5D5-0085D84D37B0}"/>
              </a:ext>
            </a:extLst>
          </p:cNvPr>
          <p:cNvSpPr/>
          <p:nvPr/>
        </p:nvSpPr>
        <p:spPr>
          <a:xfrm>
            <a:off x="10147070" y="9770988"/>
            <a:ext cx="1288080" cy="1626480"/>
          </a:xfrm>
          <a:custGeom>
            <a:avLst/>
            <a:gdLst/>
            <a:ahLst/>
            <a:cxnLst>
              <a:cxn ang="3cd4">
                <a:pos x="hc" y="t"/>
              </a:cxn>
              <a:cxn ang="cd2">
                <a:pos x="l" y="vc"/>
              </a:cxn>
              <a:cxn ang="cd4">
                <a:pos x="hc" y="b"/>
              </a:cxn>
              <a:cxn ang="0">
                <a:pos x="r" y="vc"/>
              </a:cxn>
            </a:cxnLst>
            <a:rect l="l" t="t" r="r" b="b"/>
            <a:pathLst>
              <a:path w="3579" h="4519">
                <a:moveTo>
                  <a:pt x="3181" y="415"/>
                </a:moveTo>
                <a:cubicBezTo>
                  <a:pt x="3245" y="383"/>
                  <a:pt x="3308" y="352"/>
                  <a:pt x="3340" y="320"/>
                </a:cubicBezTo>
                <a:cubicBezTo>
                  <a:pt x="3404" y="288"/>
                  <a:pt x="3420" y="240"/>
                  <a:pt x="3404" y="192"/>
                </a:cubicBezTo>
                <a:cubicBezTo>
                  <a:pt x="3372" y="81"/>
                  <a:pt x="3150" y="-14"/>
                  <a:pt x="3006" y="2"/>
                </a:cubicBezTo>
                <a:cubicBezTo>
                  <a:pt x="2959" y="17"/>
                  <a:pt x="2863" y="65"/>
                  <a:pt x="2831" y="81"/>
                </a:cubicBezTo>
                <a:cubicBezTo>
                  <a:pt x="2815" y="81"/>
                  <a:pt x="2736" y="129"/>
                  <a:pt x="2641" y="192"/>
                </a:cubicBezTo>
                <a:cubicBezTo>
                  <a:pt x="2370" y="129"/>
                  <a:pt x="2084" y="97"/>
                  <a:pt x="1797" y="97"/>
                </a:cubicBezTo>
                <a:cubicBezTo>
                  <a:pt x="795" y="97"/>
                  <a:pt x="0" y="479"/>
                  <a:pt x="0" y="988"/>
                </a:cubicBezTo>
                <a:cubicBezTo>
                  <a:pt x="0" y="1099"/>
                  <a:pt x="48" y="1210"/>
                  <a:pt x="127" y="1322"/>
                </a:cubicBezTo>
                <a:cubicBezTo>
                  <a:pt x="48" y="1417"/>
                  <a:pt x="0" y="1529"/>
                  <a:pt x="0" y="1640"/>
                </a:cubicBezTo>
                <a:cubicBezTo>
                  <a:pt x="0" y="1767"/>
                  <a:pt x="48" y="1879"/>
                  <a:pt x="127" y="1974"/>
                </a:cubicBezTo>
                <a:cubicBezTo>
                  <a:pt x="48" y="2070"/>
                  <a:pt x="0" y="2181"/>
                  <a:pt x="0" y="2308"/>
                </a:cubicBezTo>
                <a:cubicBezTo>
                  <a:pt x="0" y="2419"/>
                  <a:pt x="48" y="2531"/>
                  <a:pt x="127" y="2626"/>
                </a:cubicBezTo>
                <a:cubicBezTo>
                  <a:pt x="48" y="2737"/>
                  <a:pt x="0" y="2849"/>
                  <a:pt x="0" y="2960"/>
                </a:cubicBezTo>
                <a:cubicBezTo>
                  <a:pt x="0" y="3071"/>
                  <a:pt x="48" y="3183"/>
                  <a:pt x="127" y="3294"/>
                </a:cubicBezTo>
                <a:cubicBezTo>
                  <a:pt x="48" y="3389"/>
                  <a:pt x="0" y="3501"/>
                  <a:pt x="0" y="3612"/>
                </a:cubicBezTo>
                <a:cubicBezTo>
                  <a:pt x="0" y="4121"/>
                  <a:pt x="795" y="4519"/>
                  <a:pt x="1797" y="4519"/>
                </a:cubicBezTo>
                <a:cubicBezTo>
                  <a:pt x="2799" y="4519"/>
                  <a:pt x="3579" y="4121"/>
                  <a:pt x="3579" y="3612"/>
                </a:cubicBezTo>
                <a:cubicBezTo>
                  <a:pt x="3579" y="3501"/>
                  <a:pt x="3547" y="3389"/>
                  <a:pt x="3451" y="3294"/>
                </a:cubicBezTo>
                <a:cubicBezTo>
                  <a:pt x="3531" y="3183"/>
                  <a:pt x="3579" y="3071"/>
                  <a:pt x="3579" y="2960"/>
                </a:cubicBezTo>
                <a:cubicBezTo>
                  <a:pt x="3579" y="2849"/>
                  <a:pt x="3547" y="2737"/>
                  <a:pt x="3451" y="2626"/>
                </a:cubicBezTo>
                <a:cubicBezTo>
                  <a:pt x="3531" y="2531"/>
                  <a:pt x="3579" y="2419"/>
                  <a:pt x="3579" y="2308"/>
                </a:cubicBezTo>
                <a:cubicBezTo>
                  <a:pt x="3579" y="2181"/>
                  <a:pt x="3547" y="2070"/>
                  <a:pt x="3451" y="1974"/>
                </a:cubicBezTo>
                <a:cubicBezTo>
                  <a:pt x="3531" y="1879"/>
                  <a:pt x="3579" y="1767"/>
                  <a:pt x="3579" y="1640"/>
                </a:cubicBezTo>
                <a:cubicBezTo>
                  <a:pt x="3579" y="1529"/>
                  <a:pt x="3547" y="1417"/>
                  <a:pt x="3451" y="1322"/>
                </a:cubicBezTo>
                <a:cubicBezTo>
                  <a:pt x="3531" y="1210"/>
                  <a:pt x="3579" y="1099"/>
                  <a:pt x="3579" y="988"/>
                </a:cubicBezTo>
                <a:cubicBezTo>
                  <a:pt x="3579" y="781"/>
                  <a:pt x="3436" y="574"/>
                  <a:pt x="3181" y="415"/>
                </a:cubicBezTo>
                <a:close/>
                <a:moveTo>
                  <a:pt x="3260" y="192"/>
                </a:moveTo>
                <a:cubicBezTo>
                  <a:pt x="3308" y="256"/>
                  <a:pt x="3308" y="256"/>
                  <a:pt x="3308" y="256"/>
                </a:cubicBezTo>
                <a:cubicBezTo>
                  <a:pt x="3260" y="192"/>
                  <a:pt x="3260" y="192"/>
                  <a:pt x="3260" y="192"/>
                </a:cubicBezTo>
                <a:close/>
                <a:moveTo>
                  <a:pt x="2895" y="225"/>
                </a:moveTo>
                <a:cubicBezTo>
                  <a:pt x="2959" y="192"/>
                  <a:pt x="3006" y="161"/>
                  <a:pt x="3022" y="161"/>
                </a:cubicBezTo>
                <a:cubicBezTo>
                  <a:pt x="3038" y="161"/>
                  <a:pt x="3038" y="161"/>
                  <a:pt x="3054" y="161"/>
                </a:cubicBezTo>
                <a:cubicBezTo>
                  <a:pt x="3102" y="161"/>
                  <a:pt x="3181" y="192"/>
                  <a:pt x="3213" y="208"/>
                </a:cubicBezTo>
                <a:cubicBezTo>
                  <a:pt x="2974" y="352"/>
                  <a:pt x="2386" y="638"/>
                  <a:pt x="2036" y="797"/>
                </a:cubicBezTo>
                <a:cubicBezTo>
                  <a:pt x="1813" y="908"/>
                  <a:pt x="1813" y="908"/>
                  <a:pt x="1813" y="908"/>
                </a:cubicBezTo>
                <a:lnTo>
                  <a:pt x="1797" y="924"/>
                </a:lnTo>
                <a:cubicBezTo>
                  <a:pt x="1813" y="908"/>
                  <a:pt x="1829" y="892"/>
                  <a:pt x="1861" y="877"/>
                </a:cubicBezTo>
                <a:cubicBezTo>
                  <a:pt x="2195" y="638"/>
                  <a:pt x="2895" y="225"/>
                  <a:pt x="2895" y="225"/>
                </a:cubicBezTo>
                <a:close/>
                <a:moveTo>
                  <a:pt x="2084" y="988"/>
                </a:moveTo>
                <a:cubicBezTo>
                  <a:pt x="2084" y="1004"/>
                  <a:pt x="1988" y="1083"/>
                  <a:pt x="1797" y="1083"/>
                </a:cubicBezTo>
                <a:cubicBezTo>
                  <a:pt x="1829" y="1067"/>
                  <a:pt x="1861" y="1067"/>
                  <a:pt x="1877" y="1052"/>
                </a:cubicBezTo>
                <a:cubicBezTo>
                  <a:pt x="2068" y="972"/>
                  <a:pt x="2068" y="972"/>
                  <a:pt x="2068" y="972"/>
                </a:cubicBezTo>
                <a:cubicBezTo>
                  <a:pt x="2084" y="972"/>
                  <a:pt x="2084" y="988"/>
                  <a:pt x="2084" y="988"/>
                </a:cubicBezTo>
                <a:close/>
                <a:moveTo>
                  <a:pt x="1797" y="4360"/>
                </a:moveTo>
                <a:cubicBezTo>
                  <a:pt x="906" y="4360"/>
                  <a:pt x="159" y="4010"/>
                  <a:pt x="159" y="3612"/>
                </a:cubicBezTo>
                <a:cubicBezTo>
                  <a:pt x="159" y="3549"/>
                  <a:pt x="191" y="3469"/>
                  <a:pt x="239" y="3406"/>
                </a:cubicBezTo>
                <a:cubicBezTo>
                  <a:pt x="540" y="3676"/>
                  <a:pt x="1114" y="3851"/>
                  <a:pt x="1797" y="3851"/>
                </a:cubicBezTo>
                <a:cubicBezTo>
                  <a:pt x="2465" y="3851"/>
                  <a:pt x="3038" y="3676"/>
                  <a:pt x="3356" y="3406"/>
                </a:cubicBezTo>
                <a:cubicBezTo>
                  <a:pt x="3404" y="3469"/>
                  <a:pt x="3420" y="3549"/>
                  <a:pt x="3420" y="3612"/>
                </a:cubicBezTo>
                <a:cubicBezTo>
                  <a:pt x="3420" y="4010"/>
                  <a:pt x="2672" y="4360"/>
                  <a:pt x="1797" y="4360"/>
                </a:cubicBezTo>
                <a:close/>
                <a:moveTo>
                  <a:pt x="1797" y="3692"/>
                </a:moveTo>
                <a:cubicBezTo>
                  <a:pt x="906" y="3692"/>
                  <a:pt x="159" y="3358"/>
                  <a:pt x="159" y="2960"/>
                </a:cubicBezTo>
                <a:cubicBezTo>
                  <a:pt x="159" y="2897"/>
                  <a:pt x="191" y="2817"/>
                  <a:pt x="239" y="2753"/>
                </a:cubicBezTo>
                <a:cubicBezTo>
                  <a:pt x="540" y="3023"/>
                  <a:pt x="1114" y="3198"/>
                  <a:pt x="1797" y="3198"/>
                </a:cubicBezTo>
                <a:cubicBezTo>
                  <a:pt x="2465" y="3198"/>
                  <a:pt x="3038" y="3023"/>
                  <a:pt x="3356" y="2753"/>
                </a:cubicBezTo>
                <a:cubicBezTo>
                  <a:pt x="3404" y="2817"/>
                  <a:pt x="3420" y="2897"/>
                  <a:pt x="3420" y="2960"/>
                </a:cubicBezTo>
                <a:cubicBezTo>
                  <a:pt x="3420" y="3358"/>
                  <a:pt x="2672" y="3692"/>
                  <a:pt x="1797" y="3692"/>
                </a:cubicBezTo>
                <a:close/>
                <a:moveTo>
                  <a:pt x="1797" y="3040"/>
                </a:moveTo>
                <a:cubicBezTo>
                  <a:pt x="906" y="3040"/>
                  <a:pt x="159" y="2706"/>
                  <a:pt x="159" y="2308"/>
                </a:cubicBezTo>
                <a:cubicBezTo>
                  <a:pt x="159" y="2228"/>
                  <a:pt x="191" y="2165"/>
                  <a:pt x="239" y="2085"/>
                </a:cubicBezTo>
                <a:cubicBezTo>
                  <a:pt x="540" y="2356"/>
                  <a:pt x="1114" y="2546"/>
                  <a:pt x="1797" y="2546"/>
                </a:cubicBezTo>
                <a:cubicBezTo>
                  <a:pt x="2465" y="2546"/>
                  <a:pt x="3038" y="2356"/>
                  <a:pt x="3356" y="2085"/>
                </a:cubicBezTo>
                <a:cubicBezTo>
                  <a:pt x="3404" y="2165"/>
                  <a:pt x="3420" y="2228"/>
                  <a:pt x="3420" y="2308"/>
                </a:cubicBezTo>
                <a:cubicBezTo>
                  <a:pt x="3420" y="2706"/>
                  <a:pt x="2672" y="3040"/>
                  <a:pt x="1797" y="3040"/>
                </a:cubicBezTo>
                <a:close/>
                <a:moveTo>
                  <a:pt x="1797" y="2388"/>
                </a:moveTo>
                <a:cubicBezTo>
                  <a:pt x="906" y="2388"/>
                  <a:pt x="159" y="2038"/>
                  <a:pt x="159" y="1640"/>
                </a:cubicBezTo>
                <a:cubicBezTo>
                  <a:pt x="159" y="1576"/>
                  <a:pt x="191" y="1497"/>
                  <a:pt x="239" y="1433"/>
                </a:cubicBezTo>
                <a:cubicBezTo>
                  <a:pt x="540" y="1704"/>
                  <a:pt x="1114" y="1879"/>
                  <a:pt x="1797" y="1879"/>
                </a:cubicBezTo>
                <a:cubicBezTo>
                  <a:pt x="2465" y="1879"/>
                  <a:pt x="3038" y="1704"/>
                  <a:pt x="3356" y="1433"/>
                </a:cubicBezTo>
                <a:cubicBezTo>
                  <a:pt x="3404" y="1497"/>
                  <a:pt x="3420" y="1576"/>
                  <a:pt x="3420" y="1640"/>
                </a:cubicBezTo>
                <a:cubicBezTo>
                  <a:pt x="3420" y="2038"/>
                  <a:pt x="2672" y="2388"/>
                  <a:pt x="1797" y="2388"/>
                </a:cubicBezTo>
                <a:close/>
                <a:moveTo>
                  <a:pt x="1797" y="1719"/>
                </a:moveTo>
                <a:cubicBezTo>
                  <a:pt x="906" y="1719"/>
                  <a:pt x="159" y="1385"/>
                  <a:pt x="159" y="988"/>
                </a:cubicBezTo>
                <a:cubicBezTo>
                  <a:pt x="159" y="590"/>
                  <a:pt x="906" y="256"/>
                  <a:pt x="1797" y="256"/>
                </a:cubicBezTo>
                <a:cubicBezTo>
                  <a:pt x="2020" y="256"/>
                  <a:pt x="2227" y="272"/>
                  <a:pt x="2433" y="320"/>
                </a:cubicBezTo>
                <a:cubicBezTo>
                  <a:pt x="2227" y="447"/>
                  <a:pt x="1956" y="606"/>
                  <a:pt x="1781" y="733"/>
                </a:cubicBezTo>
                <a:cubicBezTo>
                  <a:pt x="1527" y="733"/>
                  <a:pt x="1336" y="844"/>
                  <a:pt x="1336" y="988"/>
                </a:cubicBezTo>
                <a:cubicBezTo>
                  <a:pt x="1336" y="1131"/>
                  <a:pt x="1527" y="1242"/>
                  <a:pt x="1797" y="1242"/>
                </a:cubicBezTo>
                <a:cubicBezTo>
                  <a:pt x="2052" y="1242"/>
                  <a:pt x="2242" y="1131"/>
                  <a:pt x="2242" y="988"/>
                </a:cubicBezTo>
                <a:cubicBezTo>
                  <a:pt x="2242" y="956"/>
                  <a:pt x="2227" y="924"/>
                  <a:pt x="2211" y="892"/>
                </a:cubicBezTo>
                <a:cubicBezTo>
                  <a:pt x="2450" y="781"/>
                  <a:pt x="2768" y="638"/>
                  <a:pt x="3006" y="511"/>
                </a:cubicBezTo>
                <a:cubicBezTo>
                  <a:pt x="3277" y="638"/>
                  <a:pt x="3420" y="813"/>
                  <a:pt x="3420" y="988"/>
                </a:cubicBezTo>
                <a:cubicBezTo>
                  <a:pt x="3420" y="1385"/>
                  <a:pt x="2672" y="1719"/>
                  <a:pt x="1797" y="1719"/>
                </a:cubicBezTo>
                <a:close/>
                <a:moveTo>
                  <a:pt x="1559" y="1035"/>
                </a:moveTo>
                <a:cubicBezTo>
                  <a:pt x="1527" y="1020"/>
                  <a:pt x="1495" y="1004"/>
                  <a:pt x="1495" y="988"/>
                </a:cubicBezTo>
                <a:cubicBezTo>
                  <a:pt x="1495" y="972"/>
                  <a:pt x="1527" y="956"/>
                  <a:pt x="1559" y="940"/>
                </a:cubicBezTo>
                <a:cubicBezTo>
                  <a:pt x="1543" y="988"/>
                  <a:pt x="1559" y="1020"/>
                  <a:pt x="1559" y="103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Freeform: Shape 17">
            <a:extLst>
              <a:ext uri="{FF2B5EF4-FFF2-40B4-BE49-F238E27FC236}">
                <a16:creationId xmlns:a16="http://schemas.microsoft.com/office/drawing/2014/main" id="{8A905C42-CC1A-1D42-956B-D99760AE4E3D}"/>
              </a:ext>
            </a:extLst>
          </p:cNvPr>
          <p:cNvSpPr/>
          <p:nvPr/>
        </p:nvSpPr>
        <p:spPr>
          <a:xfrm>
            <a:off x="10148117" y="6416988"/>
            <a:ext cx="1545839" cy="1625760"/>
          </a:xfrm>
          <a:custGeom>
            <a:avLst/>
            <a:gdLst/>
            <a:ahLst/>
            <a:cxnLst>
              <a:cxn ang="3cd4">
                <a:pos x="hc" y="t"/>
              </a:cxn>
              <a:cxn ang="cd2">
                <a:pos x="l" y="vc"/>
              </a:cxn>
              <a:cxn ang="cd4">
                <a:pos x="hc" y="b"/>
              </a:cxn>
              <a:cxn ang="0">
                <a:pos x="r" y="vc"/>
              </a:cxn>
            </a:cxnLst>
            <a:rect l="l" t="t" r="r" b="b"/>
            <a:pathLst>
              <a:path w="4295" h="4517">
                <a:moveTo>
                  <a:pt x="4295" y="4438"/>
                </a:moveTo>
                <a:cubicBezTo>
                  <a:pt x="4295" y="2593"/>
                  <a:pt x="4295" y="2593"/>
                  <a:pt x="4295" y="2593"/>
                </a:cubicBezTo>
                <a:cubicBezTo>
                  <a:pt x="4295" y="80"/>
                  <a:pt x="4295" y="80"/>
                  <a:pt x="4295" y="80"/>
                </a:cubicBezTo>
                <a:cubicBezTo>
                  <a:pt x="4295" y="47"/>
                  <a:pt x="4247" y="0"/>
                  <a:pt x="4216" y="0"/>
                </a:cubicBezTo>
                <a:cubicBezTo>
                  <a:pt x="2832" y="0"/>
                  <a:pt x="2832" y="0"/>
                  <a:pt x="2832" y="0"/>
                </a:cubicBezTo>
                <a:cubicBezTo>
                  <a:pt x="1464" y="0"/>
                  <a:pt x="1464" y="0"/>
                  <a:pt x="1464" y="0"/>
                </a:cubicBezTo>
                <a:cubicBezTo>
                  <a:pt x="80" y="0"/>
                  <a:pt x="80" y="0"/>
                  <a:pt x="80" y="0"/>
                </a:cubicBezTo>
                <a:cubicBezTo>
                  <a:pt x="48" y="0"/>
                  <a:pt x="0" y="47"/>
                  <a:pt x="0" y="80"/>
                </a:cubicBezTo>
                <a:cubicBezTo>
                  <a:pt x="0" y="4438"/>
                  <a:pt x="0" y="4438"/>
                  <a:pt x="0" y="4438"/>
                </a:cubicBezTo>
                <a:cubicBezTo>
                  <a:pt x="0" y="4485"/>
                  <a:pt x="48" y="4517"/>
                  <a:pt x="80" y="4517"/>
                </a:cubicBezTo>
                <a:cubicBezTo>
                  <a:pt x="780" y="4517"/>
                  <a:pt x="780" y="4517"/>
                  <a:pt x="780" y="4517"/>
                </a:cubicBezTo>
                <a:cubicBezTo>
                  <a:pt x="1464" y="4517"/>
                  <a:pt x="1464" y="4517"/>
                  <a:pt x="1464" y="4517"/>
                </a:cubicBezTo>
                <a:cubicBezTo>
                  <a:pt x="2148" y="4517"/>
                  <a:pt x="2148" y="4517"/>
                  <a:pt x="2148" y="4517"/>
                </a:cubicBezTo>
                <a:cubicBezTo>
                  <a:pt x="2832" y="4517"/>
                  <a:pt x="2832" y="4517"/>
                  <a:pt x="2832" y="4517"/>
                </a:cubicBezTo>
                <a:cubicBezTo>
                  <a:pt x="3516" y="4517"/>
                  <a:pt x="3516" y="4517"/>
                  <a:pt x="3516" y="4517"/>
                </a:cubicBezTo>
                <a:cubicBezTo>
                  <a:pt x="4216" y="4517"/>
                  <a:pt x="4216" y="4517"/>
                  <a:pt x="4216" y="4517"/>
                </a:cubicBezTo>
                <a:cubicBezTo>
                  <a:pt x="4247" y="4517"/>
                  <a:pt x="4295" y="4485"/>
                  <a:pt x="4295" y="4438"/>
                </a:cubicBezTo>
                <a:close/>
                <a:moveTo>
                  <a:pt x="1384" y="4358"/>
                </a:moveTo>
                <a:cubicBezTo>
                  <a:pt x="860" y="4358"/>
                  <a:pt x="860" y="4358"/>
                  <a:pt x="860" y="4358"/>
                </a:cubicBezTo>
                <a:cubicBezTo>
                  <a:pt x="860" y="3022"/>
                  <a:pt x="860" y="3022"/>
                  <a:pt x="860" y="3022"/>
                </a:cubicBezTo>
                <a:cubicBezTo>
                  <a:pt x="860" y="2990"/>
                  <a:pt x="875" y="2958"/>
                  <a:pt x="907" y="2943"/>
                </a:cubicBezTo>
                <a:cubicBezTo>
                  <a:pt x="1384" y="2720"/>
                  <a:pt x="1384" y="2720"/>
                  <a:pt x="1384" y="2720"/>
                </a:cubicBezTo>
                <a:close/>
                <a:moveTo>
                  <a:pt x="1384" y="2545"/>
                </a:moveTo>
                <a:cubicBezTo>
                  <a:pt x="844" y="2800"/>
                  <a:pt x="844" y="2800"/>
                  <a:pt x="844" y="2800"/>
                </a:cubicBezTo>
                <a:cubicBezTo>
                  <a:pt x="748" y="2831"/>
                  <a:pt x="700" y="2927"/>
                  <a:pt x="700" y="3022"/>
                </a:cubicBezTo>
                <a:cubicBezTo>
                  <a:pt x="700" y="4358"/>
                  <a:pt x="700" y="4358"/>
                  <a:pt x="700" y="4358"/>
                </a:cubicBezTo>
                <a:cubicBezTo>
                  <a:pt x="160" y="4358"/>
                  <a:pt x="160" y="4358"/>
                  <a:pt x="160" y="4358"/>
                </a:cubicBezTo>
                <a:cubicBezTo>
                  <a:pt x="160" y="159"/>
                  <a:pt x="160" y="159"/>
                  <a:pt x="160" y="159"/>
                </a:cubicBezTo>
                <a:cubicBezTo>
                  <a:pt x="1384" y="159"/>
                  <a:pt x="1384" y="159"/>
                  <a:pt x="1384" y="159"/>
                </a:cubicBezTo>
                <a:close/>
                <a:moveTo>
                  <a:pt x="2753" y="4358"/>
                </a:moveTo>
                <a:cubicBezTo>
                  <a:pt x="2227" y="4358"/>
                  <a:pt x="2227" y="4358"/>
                  <a:pt x="2227" y="4358"/>
                </a:cubicBezTo>
                <a:cubicBezTo>
                  <a:pt x="2227" y="3022"/>
                  <a:pt x="2227" y="3022"/>
                  <a:pt x="2227" y="3022"/>
                </a:cubicBezTo>
                <a:cubicBezTo>
                  <a:pt x="2227" y="2990"/>
                  <a:pt x="2244" y="2958"/>
                  <a:pt x="2275" y="2943"/>
                </a:cubicBezTo>
                <a:cubicBezTo>
                  <a:pt x="2753" y="2720"/>
                  <a:pt x="2753" y="2720"/>
                  <a:pt x="2753" y="2720"/>
                </a:cubicBezTo>
                <a:close/>
                <a:moveTo>
                  <a:pt x="2753" y="2545"/>
                </a:moveTo>
                <a:cubicBezTo>
                  <a:pt x="2211" y="2800"/>
                  <a:pt x="2211" y="2800"/>
                  <a:pt x="2211" y="2800"/>
                </a:cubicBezTo>
                <a:cubicBezTo>
                  <a:pt x="2132" y="2831"/>
                  <a:pt x="2068" y="2927"/>
                  <a:pt x="2068" y="3022"/>
                </a:cubicBezTo>
                <a:cubicBezTo>
                  <a:pt x="2068" y="4358"/>
                  <a:pt x="2068" y="4358"/>
                  <a:pt x="2068" y="4358"/>
                </a:cubicBezTo>
                <a:cubicBezTo>
                  <a:pt x="1544" y="4358"/>
                  <a:pt x="1544" y="4358"/>
                  <a:pt x="1544" y="4358"/>
                </a:cubicBezTo>
                <a:cubicBezTo>
                  <a:pt x="1544" y="2593"/>
                  <a:pt x="1544" y="2593"/>
                  <a:pt x="1544" y="2593"/>
                </a:cubicBezTo>
                <a:cubicBezTo>
                  <a:pt x="1544" y="159"/>
                  <a:pt x="1544" y="159"/>
                  <a:pt x="1544" y="159"/>
                </a:cubicBezTo>
                <a:cubicBezTo>
                  <a:pt x="2753" y="159"/>
                  <a:pt x="2753" y="159"/>
                  <a:pt x="2753" y="159"/>
                </a:cubicBezTo>
                <a:close/>
                <a:moveTo>
                  <a:pt x="4136" y="4358"/>
                </a:moveTo>
                <a:cubicBezTo>
                  <a:pt x="3595" y="4358"/>
                  <a:pt x="3595" y="4358"/>
                  <a:pt x="3595" y="4358"/>
                </a:cubicBezTo>
                <a:cubicBezTo>
                  <a:pt x="3595" y="3022"/>
                  <a:pt x="3595" y="3022"/>
                  <a:pt x="3595" y="3022"/>
                </a:cubicBezTo>
                <a:lnTo>
                  <a:pt x="3595" y="3006"/>
                </a:lnTo>
                <a:cubicBezTo>
                  <a:pt x="3611" y="2975"/>
                  <a:pt x="3627" y="2958"/>
                  <a:pt x="3659" y="2943"/>
                </a:cubicBezTo>
                <a:cubicBezTo>
                  <a:pt x="4136" y="2720"/>
                  <a:pt x="4136" y="2720"/>
                  <a:pt x="4136" y="2720"/>
                </a:cubicBezTo>
                <a:close/>
                <a:moveTo>
                  <a:pt x="4136" y="2545"/>
                </a:moveTo>
                <a:cubicBezTo>
                  <a:pt x="3595" y="2800"/>
                  <a:pt x="3595" y="2800"/>
                  <a:pt x="3595" y="2800"/>
                </a:cubicBezTo>
                <a:cubicBezTo>
                  <a:pt x="3500" y="2831"/>
                  <a:pt x="3436" y="2927"/>
                  <a:pt x="3436" y="3022"/>
                </a:cubicBezTo>
                <a:cubicBezTo>
                  <a:pt x="3436" y="4358"/>
                  <a:pt x="3436" y="4358"/>
                  <a:pt x="3436" y="4358"/>
                </a:cubicBezTo>
                <a:cubicBezTo>
                  <a:pt x="2911" y="4358"/>
                  <a:pt x="2911" y="4358"/>
                  <a:pt x="2911" y="4358"/>
                </a:cubicBezTo>
                <a:cubicBezTo>
                  <a:pt x="2911" y="2593"/>
                  <a:pt x="2911" y="2593"/>
                  <a:pt x="2911" y="2593"/>
                </a:cubicBezTo>
                <a:cubicBezTo>
                  <a:pt x="2911" y="159"/>
                  <a:pt x="2911" y="159"/>
                  <a:pt x="2911" y="159"/>
                </a:cubicBezTo>
                <a:cubicBezTo>
                  <a:pt x="4136" y="159"/>
                  <a:pt x="4136" y="159"/>
                  <a:pt x="4136" y="1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6" name="Freeform: Shape 18">
            <a:extLst>
              <a:ext uri="{FF2B5EF4-FFF2-40B4-BE49-F238E27FC236}">
                <a16:creationId xmlns:a16="http://schemas.microsoft.com/office/drawing/2014/main" id="{90FECB5A-1BFE-4744-87CC-8A6A0DE4E6E3}"/>
              </a:ext>
            </a:extLst>
          </p:cNvPr>
          <p:cNvSpPr/>
          <p:nvPr/>
        </p:nvSpPr>
        <p:spPr>
          <a:xfrm>
            <a:off x="10130058" y="3095169"/>
            <a:ext cx="1402199" cy="1620000"/>
          </a:xfrm>
          <a:custGeom>
            <a:avLst/>
            <a:gdLst/>
            <a:ahLst/>
            <a:cxnLst>
              <a:cxn ang="3cd4">
                <a:pos x="hc" y="t"/>
              </a:cxn>
              <a:cxn ang="cd2">
                <a:pos x="l" y="vc"/>
              </a:cxn>
              <a:cxn ang="cd4">
                <a:pos x="hc" y="b"/>
              </a:cxn>
              <a:cxn ang="0">
                <a:pos x="r" y="vc"/>
              </a:cxn>
            </a:cxnLst>
            <a:rect l="l" t="t" r="r" b="b"/>
            <a:pathLst>
              <a:path w="3896" h="4501">
                <a:moveTo>
                  <a:pt x="1081" y="4501"/>
                </a:moveTo>
                <a:cubicBezTo>
                  <a:pt x="1176" y="4501"/>
                  <a:pt x="1256" y="4421"/>
                  <a:pt x="1256" y="4342"/>
                </a:cubicBezTo>
                <a:lnTo>
                  <a:pt x="3626" y="4342"/>
                </a:lnTo>
                <a:cubicBezTo>
                  <a:pt x="3769" y="4342"/>
                  <a:pt x="3896" y="4215"/>
                  <a:pt x="3896" y="4055"/>
                </a:cubicBezTo>
                <a:lnTo>
                  <a:pt x="3896" y="461"/>
                </a:lnTo>
                <a:cubicBezTo>
                  <a:pt x="3896" y="301"/>
                  <a:pt x="3769" y="158"/>
                  <a:pt x="3626" y="158"/>
                </a:cubicBezTo>
                <a:lnTo>
                  <a:pt x="1256" y="158"/>
                </a:lnTo>
                <a:cubicBezTo>
                  <a:pt x="1256" y="79"/>
                  <a:pt x="1176" y="0"/>
                  <a:pt x="1081" y="0"/>
                </a:cubicBezTo>
                <a:lnTo>
                  <a:pt x="190" y="0"/>
                </a:lnTo>
                <a:cubicBezTo>
                  <a:pt x="95" y="0"/>
                  <a:pt x="0" y="95"/>
                  <a:pt x="0" y="191"/>
                </a:cubicBezTo>
                <a:lnTo>
                  <a:pt x="0" y="4310"/>
                </a:lnTo>
                <a:cubicBezTo>
                  <a:pt x="0" y="4421"/>
                  <a:pt x="95" y="4501"/>
                  <a:pt x="190" y="4501"/>
                </a:cubicBezTo>
                <a:close/>
                <a:moveTo>
                  <a:pt x="1272" y="318"/>
                </a:moveTo>
                <a:lnTo>
                  <a:pt x="3626" y="318"/>
                </a:lnTo>
                <a:cubicBezTo>
                  <a:pt x="3690" y="318"/>
                  <a:pt x="3737" y="381"/>
                  <a:pt x="3737" y="461"/>
                </a:cubicBezTo>
                <a:lnTo>
                  <a:pt x="3737" y="4055"/>
                </a:lnTo>
                <a:cubicBezTo>
                  <a:pt x="3737" y="4119"/>
                  <a:pt x="3690" y="4183"/>
                  <a:pt x="3626" y="4183"/>
                </a:cubicBezTo>
                <a:lnTo>
                  <a:pt x="1272" y="4183"/>
                </a:lnTo>
                <a:close/>
                <a:moveTo>
                  <a:pt x="158" y="4310"/>
                </a:moveTo>
                <a:lnTo>
                  <a:pt x="158" y="191"/>
                </a:lnTo>
                <a:cubicBezTo>
                  <a:pt x="158" y="175"/>
                  <a:pt x="174" y="158"/>
                  <a:pt x="190" y="158"/>
                </a:cubicBezTo>
                <a:lnTo>
                  <a:pt x="1081" y="158"/>
                </a:lnTo>
                <a:cubicBezTo>
                  <a:pt x="1097" y="158"/>
                  <a:pt x="1113" y="175"/>
                  <a:pt x="1113" y="191"/>
                </a:cubicBezTo>
                <a:lnTo>
                  <a:pt x="1113" y="238"/>
                </a:lnTo>
                <a:lnTo>
                  <a:pt x="1113" y="4262"/>
                </a:lnTo>
                <a:lnTo>
                  <a:pt x="1113" y="4310"/>
                </a:lnTo>
                <a:cubicBezTo>
                  <a:pt x="1113" y="4326"/>
                  <a:pt x="1097" y="4342"/>
                  <a:pt x="1081" y="4342"/>
                </a:cubicBezTo>
                <a:lnTo>
                  <a:pt x="190" y="4342"/>
                </a:lnTo>
                <a:cubicBezTo>
                  <a:pt x="174" y="4342"/>
                  <a:pt x="158" y="4326"/>
                  <a:pt x="158" y="4310"/>
                </a:cubicBezTo>
                <a:close/>
                <a:moveTo>
                  <a:pt x="3355" y="1813"/>
                </a:moveTo>
                <a:lnTo>
                  <a:pt x="1654" y="1813"/>
                </a:lnTo>
                <a:cubicBezTo>
                  <a:pt x="1558" y="1813"/>
                  <a:pt x="1494" y="1893"/>
                  <a:pt x="1494" y="1988"/>
                </a:cubicBezTo>
                <a:lnTo>
                  <a:pt x="1494" y="3690"/>
                </a:lnTo>
                <a:cubicBezTo>
                  <a:pt x="1494" y="3769"/>
                  <a:pt x="1558" y="3849"/>
                  <a:pt x="1654" y="3849"/>
                </a:cubicBezTo>
                <a:lnTo>
                  <a:pt x="2163" y="3849"/>
                </a:lnTo>
                <a:lnTo>
                  <a:pt x="2178" y="3849"/>
                </a:lnTo>
                <a:lnTo>
                  <a:pt x="2815" y="3849"/>
                </a:lnTo>
                <a:lnTo>
                  <a:pt x="2831" y="3849"/>
                </a:lnTo>
                <a:lnTo>
                  <a:pt x="3355" y="3849"/>
                </a:lnTo>
                <a:cubicBezTo>
                  <a:pt x="3435" y="3849"/>
                  <a:pt x="3515" y="3769"/>
                  <a:pt x="3515" y="3690"/>
                </a:cubicBezTo>
                <a:lnTo>
                  <a:pt x="3515" y="1988"/>
                </a:lnTo>
                <a:cubicBezTo>
                  <a:pt x="3515" y="1893"/>
                  <a:pt x="3435" y="1813"/>
                  <a:pt x="3355" y="1813"/>
                </a:cubicBezTo>
                <a:close/>
                <a:moveTo>
                  <a:pt x="2099" y="3690"/>
                </a:moveTo>
                <a:lnTo>
                  <a:pt x="1654" y="3690"/>
                </a:lnTo>
                <a:lnTo>
                  <a:pt x="1654" y="3372"/>
                </a:lnTo>
                <a:lnTo>
                  <a:pt x="2099" y="3372"/>
                </a:lnTo>
                <a:close/>
                <a:moveTo>
                  <a:pt x="2099" y="3212"/>
                </a:moveTo>
                <a:lnTo>
                  <a:pt x="1654" y="3212"/>
                </a:lnTo>
                <a:lnTo>
                  <a:pt x="1654" y="2911"/>
                </a:lnTo>
                <a:lnTo>
                  <a:pt x="2099" y="2911"/>
                </a:lnTo>
                <a:close/>
                <a:moveTo>
                  <a:pt x="2099" y="2767"/>
                </a:moveTo>
                <a:lnTo>
                  <a:pt x="1654" y="2767"/>
                </a:lnTo>
                <a:lnTo>
                  <a:pt x="1654" y="2465"/>
                </a:lnTo>
                <a:lnTo>
                  <a:pt x="2099" y="2465"/>
                </a:lnTo>
                <a:close/>
                <a:moveTo>
                  <a:pt x="2099" y="2306"/>
                </a:moveTo>
                <a:lnTo>
                  <a:pt x="1654" y="2306"/>
                </a:lnTo>
                <a:lnTo>
                  <a:pt x="1654" y="1972"/>
                </a:lnTo>
                <a:lnTo>
                  <a:pt x="2099" y="1972"/>
                </a:lnTo>
                <a:close/>
                <a:moveTo>
                  <a:pt x="2751" y="3690"/>
                </a:moveTo>
                <a:lnTo>
                  <a:pt x="2258" y="3690"/>
                </a:lnTo>
                <a:lnTo>
                  <a:pt x="2258" y="3372"/>
                </a:lnTo>
                <a:lnTo>
                  <a:pt x="2751" y="3372"/>
                </a:lnTo>
                <a:close/>
                <a:moveTo>
                  <a:pt x="2751" y="3212"/>
                </a:moveTo>
                <a:lnTo>
                  <a:pt x="2258" y="3212"/>
                </a:lnTo>
                <a:lnTo>
                  <a:pt x="2258" y="2911"/>
                </a:lnTo>
                <a:lnTo>
                  <a:pt x="2751" y="2911"/>
                </a:lnTo>
                <a:close/>
                <a:moveTo>
                  <a:pt x="2751" y="2767"/>
                </a:moveTo>
                <a:lnTo>
                  <a:pt x="2258" y="2767"/>
                </a:lnTo>
                <a:lnTo>
                  <a:pt x="2258" y="2465"/>
                </a:lnTo>
                <a:lnTo>
                  <a:pt x="2751" y="2465"/>
                </a:lnTo>
                <a:close/>
                <a:moveTo>
                  <a:pt x="2751" y="2306"/>
                </a:moveTo>
                <a:lnTo>
                  <a:pt x="2258" y="2306"/>
                </a:lnTo>
                <a:lnTo>
                  <a:pt x="2258" y="1972"/>
                </a:lnTo>
                <a:lnTo>
                  <a:pt x="2751" y="1988"/>
                </a:lnTo>
                <a:close/>
                <a:moveTo>
                  <a:pt x="3355" y="3690"/>
                </a:moveTo>
                <a:lnTo>
                  <a:pt x="2910" y="3690"/>
                </a:lnTo>
                <a:lnTo>
                  <a:pt x="2910" y="3372"/>
                </a:lnTo>
                <a:lnTo>
                  <a:pt x="3355" y="3372"/>
                </a:lnTo>
                <a:close/>
                <a:moveTo>
                  <a:pt x="3355" y="3212"/>
                </a:moveTo>
                <a:lnTo>
                  <a:pt x="2910" y="3212"/>
                </a:lnTo>
                <a:lnTo>
                  <a:pt x="2910" y="2911"/>
                </a:lnTo>
                <a:lnTo>
                  <a:pt x="3355" y="2911"/>
                </a:lnTo>
                <a:close/>
                <a:moveTo>
                  <a:pt x="3355" y="2767"/>
                </a:moveTo>
                <a:lnTo>
                  <a:pt x="2910" y="2767"/>
                </a:lnTo>
                <a:lnTo>
                  <a:pt x="2910" y="2465"/>
                </a:lnTo>
                <a:lnTo>
                  <a:pt x="3355" y="2465"/>
                </a:lnTo>
                <a:close/>
                <a:moveTo>
                  <a:pt x="3355" y="2306"/>
                </a:moveTo>
                <a:lnTo>
                  <a:pt x="2910" y="2306"/>
                </a:lnTo>
                <a:lnTo>
                  <a:pt x="2910" y="1988"/>
                </a:lnTo>
                <a:lnTo>
                  <a:pt x="3355" y="1988"/>
                </a:lnTo>
                <a:close/>
                <a:moveTo>
                  <a:pt x="3355" y="747"/>
                </a:moveTo>
                <a:lnTo>
                  <a:pt x="1654" y="747"/>
                </a:lnTo>
                <a:cubicBezTo>
                  <a:pt x="1558" y="747"/>
                  <a:pt x="1494" y="811"/>
                  <a:pt x="1494" y="906"/>
                </a:cubicBezTo>
                <a:lnTo>
                  <a:pt x="1494" y="1288"/>
                </a:lnTo>
                <a:cubicBezTo>
                  <a:pt x="1494" y="1384"/>
                  <a:pt x="1558" y="1463"/>
                  <a:pt x="1654" y="1463"/>
                </a:cubicBezTo>
                <a:lnTo>
                  <a:pt x="3355" y="1463"/>
                </a:lnTo>
                <a:cubicBezTo>
                  <a:pt x="3435" y="1463"/>
                  <a:pt x="3515" y="1384"/>
                  <a:pt x="3515" y="1288"/>
                </a:cubicBezTo>
                <a:lnTo>
                  <a:pt x="3515" y="906"/>
                </a:lnTo>
                <a:cubicBezTo>
                  <a:pt x="3515" y="811"/>
                  <a:pt x="3435" y="747"/>
                  <a:pt x="3355" y="747"/>
                </a:cubicBezTo>
                <a:close/>
                <a:moveTo>
                  <a:pt x="3355" y="1288"/>
                </a:moveTo>
                <a:lnTo>
                  <a:pt x="3355" y="1304"/>
                </a:lnTo>
                <a:lnTo>
                  <a:pt x="1654" y="1288"/>
                </a:lnTo>
                <a:lnTo>
                  <a:pt x="1654" y="906"/>
                </a:lnTo>
                <a:lnTo>
                  <a:pt x="3355" y="90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7" name="TextBox 86">
            <a:extLst>
              <a:ext uri="{FF2B5EF4-FFF2-40B4-BE49-F238E27FC236}">
                <a16:creationId xmlns:a16="http://schemas.microsoft.com/office/drawing/2014/main" id="{7ECAD844-BD94-CE4E-8CC2-2C5D39B84011}"/>
              </a:ext>
            </a:extLst>
          </p:cNvPr>
          <p:cNvSpPr txBox="1"/>
          <p:nvPr/>
        </p:nvSpPr>
        <p:spPr>
          <a:xfrm>
            <a:off x="16533105"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rver 5</a:t>
            </a:r>
          </a:p>
        </p:txBody>
      </p:sp>
      <p:sp>
        <p:nvSpPr>
          <p:cNvPr id="88" name="TextBox 87">
            <a:extLst>
              <a:ext uri="{FF2B5EF4-FFF2-40B4-BE49-F238E27FC236}">
                <a16:creationId xmlns:a16="http://schemas.microsoft.com/office/drawing/2014/main" id="{17D51C28-D54E-2A43-9206-EB9DD6E6C277}"/>
              </a:ext>
            </a:extLst>
          </p:cNvPr>
          <p:cNvSpPr txBox="1"/>
          <p:nvPr/>
        </p:nvSpPr>
        <p:spPr>
          <a:xfrm>
            <a:off x="13035720"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rver 4</a:t>
            </a:r>
          </a:p>
        </p:txBody>
      </p:sp>
      <p:sp>
        <p:nvSpPr>
          <p:cNvPr id="89" name="Freeform: Shape 2">
            <a:extLst>
              <a:ext uri="{FF2B5EF4-FFF2-40B4-BE49-F238E27FC236}">
                <a16:creationId xmlns:a16="http://schemas.microsoft.com/office/drawing/2014/main" id="{5737F364-7554-1C4D-BDCA-83CDC330DC32}"/>
              </a:ext>
            </a:extLst>
          </p:cNvPr>
          <p:cNvSpPr/>
          <p:nvPr/>
        </p:nvSpPr>
        <p:spPr>
          <a:xfrm>
            <a:off x="17756069" y="9657495"/>
            <a:ext cx="1139400" cy="1711800"/>
          </a:xfrm>
          <a:custGeom>
            <a:avLst/>
            <a:gdLst/>
            <a:ahLst/>
            <a:cxnLst>
              <a:cxn ang="3cd4">
                <a:pos x="hc" y="t"/>
              </a:cxn>
              <a:cxn ang="cd2">
                <a:pos x="l" y="vc"/>
              </a:cxn>
              <a:cxn ang="cd4">
                <a:pos x="hc" y="b"/>
              </a:cxn>
              <a:cxn ang="0">
                <a:pos x="r" y="vc"/>
              </a:cxn>
            </a:cxnLst>
            <a:rect l="l" t="t" r="r" b="b"/>
            <a:pathLst>
              <a:path w="3166" h="4756">
                <a:moveTo>
                  <a:pt x="208" y="0"/>
                </a:moveTo>
                <a:cubicBezTo>
                  <a:pt x="96" y="0"/>
                  <a:pt x="0" y="96"/>
                  <a:pt x="0" y="207"/>
                </a:cubicBezTo>
                <a:cubicBezTo>
                  <a:pt x="0" y="875"/>
                  <a:pt x="0" y="875"/>
                  <a:pt x="0" y="875"/>
                </a:cubicBezTo>
                <a:cubicBezTo>
                  <a:pt x="0" y="1829"/>
                  <a:pt x="0" y="1829"/>
                  <a:pt x="0" y="1829"/>
                </a:cubicBezTo>
                <a:cubicBezTo>
                  <a:pt x="0" y="2768"/>
                  <a:pt x="0" y="2768"/>
                  <a:pt x="0" y="2768"/>
                </a:cubicBezTo>
                <a:cubicBezTo>
                  <a:pt x="0" y="3722"/>
                  <a:pt x="0" y="3722"/>
                  <a:pt x="0" y="3722"/>
                </a:cubicBezTo>
                <a:cubicBezTo>
                  <a:pt x="0" y="4549"/>
                  <a:pt x="0" y="4549"/>
                  <a:pt x="0" y="4549"/>
                </a:cubicBezTo>
                <a:cubicBezTo>
                  <a:pt x="0" y="4661"/>
                  <a:pt x="96" y="4756"/>
                  <a:pt x="208" y="4756"/>
                </a:cubicBezTo>
                <a:cubicBezTo>
                  <a:pt x="2959" y="4756"/>
                  <a:pt x="2959" y="4756"/>
                  <a:pt x="2959" y="4756"/>
                </a:cubicBezTo>
                <a:cubicBezTo>
                  <a:pt x="3086" y="4756"/>
                  <a:pt x="3166" y="4661"/>
                  <a:pt x="3166" y="4549"/>
                </a:cubicBezTo>
                <a:cubicBezTo>
                  <a:pt x="3166" y="4120"/>
                  <a:pt x="3166" y="4120"/>
                  <a:pt x="3166" y="4120"/>
                </a:cubicBezTo>
                <a:cubicBezTo>
                  <a:pt x="3166" y="3722"/>
                  <a:pt x="3166" y="3722"/>
                  <a:pt x="3166" y="3722"/>
                </a:cubicBezTo>
                <a:cubicBezTo>
                  <a:pt x="3166" y="3245"/>
                  <a:pt x="3166" y="3245"/>
                  <a:pt x="3166" y="3245"/>
                </a:cubicBezTo>
                <a:cubicBezTo>
                  <a:pt x="3166" y="2768"/>
                  <a:pt x="3166" y="2768"/>
                  <a:pt x="3166" y="2768"/>
                </a:cubicBezTo>
                <a:cubicBezTo>
                  <a:pt x="3166" y="2307"/>
                  <a:pt x="3166" y="2307"/>
                  <a:pt x="3166" y="2307"/>
                </a:cubicBezTo>
                <a:cubicBezTo>
                  <a:pt x="3166" y="1829"/>
                  <a:pt x="3166" y="1829"/>
                  <a:pt x="3166" y="1829"/>
                </a:cubicBezTo>
                <a:cubicBezTo>
                  <a:pt x="3166" y="1352"/>
                  <a:pt x="3166" y="1352"/>
                  <a:pt x="3166" y="1352"/>
                </a:cubicBezTo>
                <a:cubicBezTo>
                  <a:pt x="3166" y="875"/>
                  <a:pt x="3166" y="875"/>
                  <a:pt x="3166" y="875"/>
                </a:cubicBezTo>
                <a:cubicBezTo>
                  <a:pt x="3166" y="302"/>
                  <a:pt x="3166" y="302"/>
                  <a:pt x="3166" y="302"/>
                </a:cubicBezTo>
                <a:cubicBezTo>
                  <a:pt x="3166" y="207"/>
                  <a:pt x="3166" y="207"/>
                  <a:pt x="3166" y="207"/>
                </a:cubicBezTo>
                <a:cubicBezTo>
                  <a:pt x="3166" y="96"/>
                  <a:pt x="3086" y="0"/>
                  <a:pt x="2959" y="0"/>
                </a:cubicBezTo>
                <a:close/>
                <a:moveTo>
                  <a:pt x="3007" y="4120"/>
                </a:moveTo>
                <a:cubicBezTo>
                  <a:pt x="3007" y="4549"/>
                  <a:pt x="3007" y="4549"/>
                  <a:pt x="3007" y="4549"/>
                </a:cubicBezTo>
                <a:cubicBezTo>
                  <a:pt x="3007" y="4581"/>
                  <a:pt x="2991" y="4597"/>
                  <a:pt x="2959" y="4597"/>
                </a:cubicBezTo>
                <a:cubicBezTo>
                  <a:pt x="208" y="4597"/>
                  <a:pt x="208" y="4597"/>
                  <a:pt x="208" y="4597"/>
                </a:cubicBezTo>
                <a:cubicBezTo>
                  <a:pt x="175" y="4597"/>
                  <a:pt x="160" y="4581"/>
                  <a:pt x="160" y="4549"/>
                </a:cubicBezTo>
                <a:cubicBezTo>
                  <a:pt x="160" y="3802"/>
                  <a:pt x="160" y="3802"/>
                  <a:pt x="160" y="3802"/>
                </a:cubicBezTo>
                <a:cubicBezTo>
                  <a:pt x="3007" y="3802"/>
                  <a:pt x="3007" y="3802"/>
                  <a:pt x="3007" y="3802"/>
                </a:cubicBezTo>
                <a:close/>
                <a:moveTo>
                  <a:pt x="3007" y="3643"/>
                </a:moveTo>
                <a:cubicBezTo>
                  <a:pt x="160" y="3643"/>
                  <a:pt x="160" y="3643"/>
                  <a:pt x="160" y="3643"/>
                </a:cubicBezTo>
                <a:cubicBezTo>
                  <a:pt x="160" y="2847"/>
                  <a:pt x="160" y="2847"/>
                  <a:pt x="160" y="2847"/>
                </a:cubicBezTo>
                <a:cubicBezTo>
                  <a:pt x="1766" y="2847"/>
                  <a:pt x="1766" y="2847"/>
                  <a:pt x="1766" y="2847"/>
                </a:cubicBezTo>
                <a:cubicBezTo>
                  <a:pt x="1925" y="3213"/>
                  <a:pt x="1925" y="3213"/>
                  <a:pt x="1925" y="3213"/>
                </a:cubicBezTo>
                <a:cubicBezTo>
                  <a:pt x="1973" y="3293"/>
                  <a:pt x="2036" y="3325"/>
                  <a:pt x="2116" y="3325"/>
                </a:cubicBezTo>
                <a:cubicBezTo>
                  <a:pt x="3007" y="3325"/>
                  <a:pt x="3007" y="3325"/>
                  <a:pt x="3007" y="3325"/>
                </a:cubicBezTo>
                <a:close/>
                <a:moveTo>
                  <a:pt x="3007" y="3165"/>
                </a:moveTo>
                <a:cubicBezTo>
                  <a:pt x="2116" y="3165"/>
                  <a:pt x="2116" y="3165"/>
                  <a:pt x="2116" y="3165"/>
                </a:cubicBezTo>
                <a:cubicBezTo>
                  <a:pt x="2100" y="3165"/>
                  <a:pt x="2084" y="3165"/>
                  <a:pt x="2084" y="3150"/>
                </a:cubicBezTo>
                <a:cubicBezTo>
                  <a:pt x="1941" y="2847"/>
                  <a:pt x="1941" y="2847"/>
                  <a:pt x="1941" y="2847"/>
                </a:cubicBezTo>
                <a:cubicBezTo>
                  <a:pt x="3007" y="2847"/>
                  <a:pt x="3007" y="2847"/>
                  <a:pt x="3007" y="2847"/>
                </a:cubicBezTo>
                <a:close/>
                <a:moveTo>
                  <a:pt x="3007" y="2688"/>
                </a:moveTo>
                <a:cubicBezTo>
                  <a:pt x="1814" y="2688"/>
                  <a:pt x="1814" y="2688"/>
                  <a:pt x="1814" y="2688"/>
                </a:cubicBezTo>
                <a:cubicBezTo>
                  <a:pt x="160" y="2688"/>
                  <a:pt x="160" y="2688"/>
                  <a:pt x="160" y="2688"/>
                </a:cubicBezTo>
                <a:cubicBezTo>
                  <a:pt x="160" y="1909"/>
                  <a:pt x="160" y="1909"/>
                  <a:pt x="160" y="1909"/>
                </a:cubicBezTo>
                <a:cubicBezTo>
                  <a:pt x="1766" y="1909"/>
                  <a:pt x="1766" y="1909"/>
                  <a:pt x="1766" y="1909"/>
                </a:cubicBezTo>
                <a:cubicBezTo>
                  <a:pt x="1925" y="2259"/>
                  <a:pt x="1925" y="2259"/>
                  <a:pt x="1925" y="2259"/>
                </a:cubicBezTo>
                <a:cubicBezTo>
                  <a:pt x="1973" y="2338"/>
                  <a:pt x="2036" y="2386"/>
                  <a:pt x="2116" y="2386"/>
                </a:cubicBezTo>
                <a:cubicBezTo>
                  <a:pt x="3007" y="2386"/>
                  <a:pt x="3007" y="2386"/>
                  <a:pt x="3007" y="2386"/>
                </a:cubicBezTo>
                <a:close/>
                <a:moveTo>
                  <a:pt x="3007" y="2227"/>
                </a:moveTo>
                <a:cubicBezTo>
                  <a:pt x="2116" y="2227"/>
                  <a:pt x="2116" y="2227"/>
                  <a:pt x="2116" y="2227"/>
                </a:cubicBezTo>
                <a:cubicBezTo>
                  <a:pt x="2100" y="2227"/>
                  <a:pt x="2084" y="2211"/>
                  <a:pt x="2084" y="2195"/>
                </a:cubicBezTo>
                <a:cubicBezTo>
                  <a:pt x="1941" y="1909"/>
                  <a:pt x="1941" y="1909"/>
                  <a:pt x="1941" y="1909"/>
                </a:cubicBezTo>
                <a:cubicBezTo>
                  <a:pt x="3007" y="1909"/>
                  <a:pt x="3007" y="1909"/>
                  <a:pt x="3007" y="1909"/>
                </a:cubicBezTo>
                <a:close/>
                <a:moveTo>
                  <a:pt x="3007" y="1750"/>
                </a:moveTo>
                <a:cubicBezTo>
                  <a:pt x="1814" y="1750"/>
                  <a:pt x="1814" y="1750"/>
                  <a:pt x="1814" y="1750"/>
                </a:cubicBezTo>
                <a:cubicBezTo>
                  <a:pt x="160" y="1750"/>
                  <a:pt x="160" y="1750"/>
                  <a:pt x="160" y="1750"/>
                </a:cubicBezTo>
                <a:cubicBezTo>
                  <a:pt x="160" y="955"/>
                  <a:pt x="160" y="955"/>
                  <a:pt x="160" y="955"/>
                </a:cubicBezTo>
                <a:cubicBezTo>
                  <a:pt x="1766" y="955"/>
                  <a:pt x="1766" y="955"/>
                  <a:pt x="1766" y="955"/>
                </a:cubicBezTo>
                <a:cubicBezTo>
                  <a:pt x="1925" y="1304"/>
                  <a:pt x="1925" y="1304"/>
                  <a:pt x="1925" y="1304"/>
                </a:cubicBezTo>
                <a:cubicBezTo>
                  <a:pt x="1973" y="1384"/>
                  <a:pt x="2036" y="1432"/>
                  <a:pt x="2116" y="1432"/>
                </a:cubicBezTo>
                <a:cubicBezTo>
                  <a:pt x="3007" y="1432"/>
                  <a:pt x="3007" y="1432"/>
                  <a:pt x="3007" y="1432"/>
                </a:cubicBezTo>
                <a:close/>
                <a:moveTo>
                  <a:pt x="3007" y="1273"/>
                </a:moveTo>
                <a:cubicBezTo>
                  <a:pt x="2116" y="1273"/>
                  <a:pt x="2116" y="1273"/>
                  <a:pt x="2116" y="1273"/>
                </a:cubicBezTo>
                <a:cubicBezTo>
                  <a:pt x="2100" y="1273"/>
                  <a:pt x="2084" y="1257"/>
                  <a:pt x="2084" y="1241"/>
                </a:cubicBezTo>
                <a:cubicBezTo>
                  <a:pt x="1941" y="955"/>
                  <a:pt x="1941" y="955"/>
                  <a:pt x="1941" y="955"/>
                </a:cubicBezTo>
                <a:cubicBezTo>
                  <a:pt x="3007" y="955"/>
                  <a:pt x="3007" y="955"/>
                  <a:pt x="3007" y="955"/>
                </a:cubicBezTo>
                <a:close/>
                <a:moveTo>
                  <a:pt x="3007" y="207"/>
                </a:moveTo>
                <a:cubicBezTo>
                  <a:pt x="3007" y="302"/>
                  <a:pt x="3007" y="302"/>
                  <a:pt x="3007" y="302"/>
                </a:cubicBezTo>
                <a:cubicBezTo>
                  <a:pt x="3007" y="796"/>
                  <a:pt x="3007" y="796"/>
                  <a:pt x="3007" y="796"/>
                </a:cubicBezTo>
                <a:cubicBezTo>
                  <a:pt x="1814" y="796"/>
                  <a:pt x="1814" y="796"/>
                  <a:pt x="1814" y="796"/>
                </a:cubicBezTo>
                <a:cubicBezTo>
                  <a:pt x="160" y="796"/>
                  <a:pt x="160" y="796"/>
                  <a:pt x="160" y="796"/>
                </a:cubicBezTo>
                <a:cubicBezTo>
                  <a:pt x="160" y="207"/>
                  <a:pt x="160" y="207"/>
                  <a:pt x="160" y="207"/>
                </a:cubicBezTo>
                <a:cubicBezTo>
                  <a:pt x="160" y="175"/>
                  <a:pt x="175" y="159"/>
                  <a:pt x="208" y="159"/>
                </a:cubicBezTo>
                <a:cubicBezTo>
                  <a:pt x="2959" y="159"/>
                  <a:pt x="2959" y="159"/>
                  <a:pt x="2959" y="159"/>
                </a:cubicBezTo>
                <a:cubicBezTo>
                  <a:pt x="2991" y="159"/>
                  <a:pt x="3007" y="175"/>
                  <a:pt x="3007" y="20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0" name="Freeform: Shape 3">
            <a:extLst>
              <a:ext uri="{FF2B5EF4-FFF2-40B4-BE49-F238E27FC236}">
                <a16:creationId xmlns:a16="http://schemas.microsoft.com/office/drawing/2014/main" id="{00220240-5F66-C44B-887D-429170135E8C}"/>
              </a:ext>
            </a:extLst>
          </p:cNvPr>
          <p:cNvSpPr/>
          <p:nvPr/>
        </p:nvSpPr>
        <p:spPr>
          <a:xfrm>
            <a:off x="14275951" y="9657495"/>
            <a:ext cx="1144800" cy="1711800"/>
          </a:xfrm>
          <a:custGeom>
            <a:avLst/>
            <a:gdLst/>
            <a:ahLst/>
            <a:cxnLst>
              <a:cxn ang="3cd4">
                <a:pos x="hc" y="t"/>
              </a:cxn>
              <a:cxn ang="cd2">
                <a:pos x="l" y="vc"/>
              </a:cxn>
              <a:cxn ang="cd4">
                <a:pos x="hc" y="b"/>
              </a:cxn>
              <a:cxn ang="0">
                <a:pos x="r" y="vc"/>
              </a:cxn>
            </a:cxnLst>
            <a:rect l="l" t="t" r="r" b="b"/>
            <a:pathLst>
              <a:path w="3181" h="4756">
                <a:moveTo>
                  <a:pt x="2434" y="287"/>
                </a:moveTo>
                <a:cubicBezTo>
                  <a:pt x="2275" y="287"/>
                  <a:pt x="2147" y="414"/>
                  <a:pt x="2147" y="573"/>
                </a:cubicBezTo>
                <a:cubicBezTo>
                  <a:pt x="2147" y="732"/>
                  <a:pt x="2275" y="843"/>
                  <a:pt x="2434" y="843"/>
                </a:cubicBezTo>
                <a:cubicBezTo>
                  <a:pt x="2577" y="843"/>
                  <a:pt x="2704" y="732"/>
                  <a:pt x="2704" y="573"/>
                </a:cubicBezTo>
                <a:cubicBezTo>
                  <a:pt x="2704" y="414"/>
                  <a:pt x="2577" y="287"/>
                  <a:pt x="2434" y="287"/>
                </a:cubicBezTo>
                <a:close/>
                <a:moveTo>
                  <a:pt x="2434" y="684"/>
                </a:moveTo>
                <a:cubicBezTo>
                  <a:pt x="2354" y="684"/>
                  <a:pt x="2307" y="637"/>
                  <a:pt x="2307" y="573"/>
                </a:cubicBezTo>
                <a:cubicBezTo>
                  <a:pt x="2307" y="509"/>
                  <a:pt x="2354" y="446"/>
                  <a:pt x="2434" y="446"/>
                </a:cubicBezTo>
                <a:cubicBezTo>
                  <a:pt x="2498" y="446"/>
                  <a:pt x="2545" y="509"/>
                  <a:pt x="2545" y="573"/>
                </a:cubicBezTo>
                <a:cubicBezTo>
                  <a:pt x="2545" y="637"/>
                  <a:pt x="2498" y="684"/>
                  <a:pt x="2434" y="684"/>
                </a:cubicBezTo>
                <a:close/>
                <a:moveTo>
                  <a:pt x="1750" y="637"/>
                </a:moveTo>
                <a:lnTo>
                  <a:pt x="636" y="637"/>
                </a:lnTo>
                <a:cubicBezTo>
                  <a:pt x="605" y="637"/>
                  <a:pt x="557" y="668"/>
                  <a:pt x="557" y="716"/>
                </a:cubicBezTo>
                <a:cubicBezTo>
                  <a:pt x="557" y="748"/>
                  <a:pt x="605" y="796"/>
                  <a:pt x="636" y="796"/>
                </a:cubicBezTo>
                <a:lnTo>
                  <a:pt x="1750" y="796"/>
                </a:lnTo>
                <a:cubicBezTo>
                  <a:pt x="1798" y="796"/>
                  <a:pt x="1829" y="748"/>
                  <a:pt x="1829" y="716"/>
                </a:cubicBezTo>
                <a:cubicBezTo>
                  <a:pt x="1829" y="668"/>
                  <a:pt x="1798" y="637"/>
                  <a:pt x="1750" y="637"/>
                </a:cubicBezTo>
                <a:close/>
                <a:moveTo>
                  <a:pt x="2434" y="1289"/>
                </a:moveTo>
                <a:cubicBezTo>
                  <a:pt x="2275" y="1289"/>
                  <a:pt x="2147" y="1416"/>
                  <a:pt x="2147" y="1559"/>
                </a:cubicBezTo>
                <a:cubicBezTo>
                  <a:pt x="2147" y="1718"/>
                  <a:pt x="2275" y="1846"/>
                  <a:pt x="2434" y="1846"/>
                </a:cubicBezTo>
                <a:cubicBezTo>
                  <a:pt x="2577" y="1846"/>
                  <a:pt x="2704" y="1718"/>
                  <a:pt x="2704" y="1559"/>
                </a:cubicBezTo>
                <a:cubicBezTo>
                  <a:pt x="2704" y="1416"/>
                  <a:pt x="2577" y="1289"/>
                  <a:pt x="2434" y="1289"/>
                </a:cubicBezTo>
                <a:close/>
                <a:moveTo>
                  <a:pt x="2434" y="1686"/>
                </a:moveTo>
                <a:cubicBezTo>
                  <a:pt x="2354" y="1686"/>
                  <a:pt x="2307" y="1623"/>
                  <a:pt x="2307" y="1559"/>
                </a:cubicBezTo>
                <a:cubicBezTo>
                  <a:pt x="2307" y="1495"/>
                  <a:pt x="2354" y="1448"/>
                  <a:pt x="2434" y="1448"/>
                </a:cubicBezTo>
                <a:cubicBezTo>
                  <a:pt x="2498" y="1448"/>
                  <a:pt x="2545" y="1495"/>
                  <a:pt x="2545" y="1559"/>
                </a:cubicBezTo>
                <a:cubicBezTo>
                  <a:pt x="2545" y="1623"/>
                  <a:pt x="2498" y="1686"/>
                  <a:pt x="2434" y="1686"/>
                </a:cubicBezTo>
                <a:close/>
                <a:moveTo>
                  <a:pt x="1750" y="1591"/>
                </a:moveTo>
                <a:lnTo>
                  <a:pt x="636" y="1591"/>
                </a:lnTo>
                <a:cubicBezTo>
                  <a:pt x="605" y="1591"/>
                  <a:pt x="557" y="1623"/>
                  <a:pt x="557" y="1670"/>
                </a:cubicBezTo>
                <a:cubicBezTo>
                  <a:pt x="557" y="1702"/>
                  <a:pt x="605" y="1750"/>
                  <a:pt x="636" y="1750"/>
                </a:cubicBezTo>
                <a:lnTo>
                  <a:pt x="1750" y="1750"/>
                </a:lnTo>
                <a:cubicBezTo>
                  <a:pt x="1798" y="1750"/>
                  <a:pt x="1829" y="1702"/>
                  <a:pt x="1829" y="1670"/>
                </a:cubicBezTo>
                <a:cubicBezTo>
                  <a:pt x="1829" y="1623"/>
                  <a:pt x="1798" y="1591"/>
                  <a:pt x="1750" y="1591"/>
                </a:cubicBezTo>
                <a:close/>
                <a:moveTo>
                  <a:pt x="2434" y="2275"/>
                </a:moveTo>
                <a:cubicBezTo>
                  <a:pt x="2275" y="2275"/>
                  <a:pt x="2147" y="2402"/>
                  <a:pt x="2147" y="2561"/>
                </a:cubicBezTo>
                <a:cubicBezTo>
                  <a:pt x="2147" y="2704"/>
                  <a:pt x="2275" y="2831"/>
                  <a:pt x="2434" y="2831"/>
                </a:cubicBezTo>
                <a:cubicBezTo>
                  <a:pt x="2577" y="2831"/>
                  <a:pt x="2704" y="2704"/>
                  <a:pt x="2704" y="2561"/>
                </a:cubicBezTo>
                <a:cubicBezTo>
                  <a:pt x="2704" y="2402"/>
                  <a:pt x="2577" y="2275"/>
                  <a:pt x="2434" y="2275"/>
                </a:cubicBezTo>
                <a:close/>
                <a:moveTo>
                  <a:pt x="2434" y="2673"/>
                </a:moveTo>
                <a:cubicBezTo>
                  <a:pt x="2354" y="2673"/>
                  <a:pt x="2307" y="2625"/>
                  <a:pt x="2307" y="2561"/>
                </a:cubicBezTo>
                <a:cubicBezTo>
                  <a:pt x="2307" y="2498"/>
                  <a:pt x="2354" y="2434"/>
                  <a:pt x="2434" y="2434"/>
                </a:cubicBezTo>
                <a:cubicBezTo>
                  <a:pt x="2498" y="2434"/>
                  <a:pt x="2545" y="2498"/>
                  <a:pt x="2545" y="2561"/>
                </a:cubicBezTo>
                <a:cubicBezTo>
                  <a:pt x="2545" y="2625"/>
                  <a:pt x="2498" y="2673"/>
                  <a:pt x="2434" y="2673"/>
                </a:cubicBezTo>
                <a:close/>
                <a:moveTo>
                  <a:pt x="1750" y="2529"/>
                </a:moveTo>
                <a:lnTo>
                  <a:pt x="636" y="2529"/>
                </a:lnTo>
                <a:cubicBezTo>
                  <a:pt x="605" y="2529"/>
                  <a:pt x="557" y="2577"/>
                  <a:pt x="557" y="2609"/>
                </a:cubicBezTo>
                <a:cubicBezTo>
                  <a:pt x="557" y="2656"/>
                  <a:pt x="605" y="2688"/>
                  <a:pt x="636" y="2688"/>
                </a:cubicBezTo>
                <a:lnTo>
                  <a:pt x="1750" y="2688"/>
                </a:lnTo>
                <a:cubicBezTo>
                  <a:pt x="1798" y="2688"/>
                  <a:pt x="1829" y="2656"/>
                  <a:pt x="1829" y="2609"/>
                </a:cubicBezTo>
                <a:cubicBezTo>
                  <a:pt x="1829" y="2577"/>
                  <a:pt x="1798" y="2529"/>
                  <a:pt x="1750" y="2529"/>
                </a:cubicBezTo>
                <a:close/>
                <a:moveTo>
                  <a:pt x="207" y="4756"/>
                </a:moveTo>
                <a:lnTo>
                  <a:pt x="2975" y="4756"/>
                </a:lnTo>
                <a:cubicBezTo>
                  <a:pt x="3086" y="4756"/>
                  <a:pt x="3181" y="4661"/>
                  <a:pt x="3181" y="4549"/>
                </a:cubicBezTo>
                <a:lnTo>
                  <a:pt x="3181" y="4040"/>
                </a:lnTo>
                <a:lnTo>
                  <a:pt x="3181" y="3086"/>
                </a:lnTo>
                <a:lnTo>
                  <a:pt x="3181" y="2147"/>
                </a:lnTo>
                <a:lnTo>
                  <a:pt x="3181" y="1034"/>
                </a:lnTo>
                <a:lnTo>
                  <a:pt x="3181" y="207"/>
                </a:lnTo>
                <a:cubicBezTo>
                  <a:pt x="3181" y="96"/>
                  <a:pt x="3086" y="0"/>
                  <a:pt x="2975" y="0"/>
                </a:cubicBezTo>
                <a:lnTo>
                  <a:pt x="207" y="0"/>
                </a:lnTo>
                <a:cubicBezTo>
                  <a:pt x="96" y="0"/>
                  <a:pt x="0" y="96"/>
                  <a:pt x="0" y="207"/>
                </a:cubicBezTo>
                <a:lnTo>
                  <a:pt x="0" y="1034"/>
                </a:lnTo>
                <a:lnTo>
                  <a:pt x="0" y="2147"/>
                </a:lnTo>
                <a:lnTo>
                  <a:pt x="0" y="3086"/>
                </a:lnTo>
                <a:lnTo>
                  <a:pt x="0" y="4040"/>
                </a:lnTo>
                <a:lnTo>
                  <a:pt x="0" y="4549"/>
                </a:lnTo>
                <a:cubicBezTo>
                  <a:pt x="0" y="4661"/>
                  <a:pt x="96" y="4756"/>
                  <a:pt x="207" y="4756"/>
                </a:cubicBezTo>
                <a:close/>
                <a:moveTo>
                  <a:pt x="159" y="207"/>
                </a:moveTo>
                <a:cubicBezTo>
                  <a:pt x="159" y="175"/>
                  <a:pt x="191" y="159"/>
                  <a:pt x="207" y="159"/>
                </a:cubicBezTo>
                <a:lnTo>
                  <a:pt x="2975" y="159"/>
                </a:lnTo>
                <a:cubicBezTo>
                  <a:pt x="3007" y="159"/>
                  <a:pt x="3022" y="175"/>
                  <a:pt x="3022" y="207"/>
                </a:cubicBezTo>
                <a:lnTo>
                  <a:pt x="3022" y="955"/>
                </a:lnTo>
                <a:lnTo>
                  <a:pt x="159" y="955"/>
                </a:lnTo>
                <a:close/>
                <a:moveTo>
                  <a:pt x="159" y="1114"/>
                </a:moveTo>
                <a:lnTo>
                  <a:pt x="3022" y="1114"/>
                </a:lnTo>
                <a:lnTo>
                  <a:pt x="3022" y="2068"/>
                </a:lnTo>
                <a:lnTo>
                  <a:pt x="159" y="2068"/>
                </a:lnTo>
                <a:close/>
                <a:moveTo>
                  <a:pt x="159" y="2227"/>
                </a:moveTo>
                <a:lnTo>
                  <a:pt x="3022" y="2227"/>
                </a:lnTo>
                <a:lnTo>
                  <a:pt x="3022" y="3007"/>
                </a:lnTo>
                <a:lnTo>
                  <a:pt x="159" y="3007"/>
                </a:lnTo>
                <a:close/>
                <a:moveTo>
                  <a:pt x="159" y="3165"/>
                </a:moveTo>
                <a:lnTo>
                  <a:pt x="3022" y="3165"/>
                </a:lnTo>
                <a:lnTo>
                  <a:pt x="3022" y="3961"/>
                </a:lnTo>
                <a:lnTo>
                  <a:pt x="159" y="3961"/>
                </a:lnTo>
                <a:close/>
                <a:moveTo>
                  <a:pt x="159" y="4120"/>
                </a:moveTo>
                <a:lnTo>
                  <a:pt x="3022" y="4120"/>
                </a:lnTo>
                <a:lnTo>
                  <a:pt x="3022" y="4549"/>
                </a:lnTo>
                <a:cubicBezTo>
                  <a:pt x="3022" y="4581"/>
                  <a:pt x="3007" y="4597"/>
                  <a:pt x="2975" y="4597"/>
                </a:cubicBezTo>
                <a:lnTo>
                  <a:pt x="207" y="4597"/>
                </a:lnTo>
                <a:cubicBezTo>
                  <a:pt x="191" y="4597"/>
                  <a:pt x="159" y="4581"/>
                  <a:pt x="159" y="4549"/>
                </a:cubicBezTo>
                <a:close/>
                <a:moveTo>
                  <a:pt x="2434" y="3277"/>
                </a:moveTo>
                <a:cubicBezTo>
                  <a:pt x="2275" y="3277"/>
                  <a:pt x="2147" y="3388"/>
                  <a:pt x="2147" y="3547"/>
                </a:cubicBezTo>
                <a:cubicBezTo>
                  <a:pt x="2147" y="3706"/>
                  <a:pt x="2275" y="3834"/>
                  <a:pt x="2434" y="3834"/>
                </a:cubicBezTo>
                <a:cubicBezTo>
                  <a:pt x="2577" y="3834"/>
                  <a:pt x="2704" y="3706"/>
                  <a:pt x="2704" y="3547"/>
                </a:cubicBezTo>
                <a:cubicBezTo>
                  <a:pt x="2704" y="3388"/>
                  <a:pt x="2577" y="3277"/>
                  <a:pt x="2434" y="3277"/>
                </a:cubicBezTo>
                <a:close/>
                <a:moveTo>
                  <a:pt x="2434" y="3674"/>
                </a:moveTo>
                <a:cubicBezTo>
                  <a:pt x="2354" y="3674"/>
                  <a:pt x="2307" y="3611"/>
                  <a:pt x="2307" y="3547"/>
                </a:cubicBezTo>
                <a:cubicBezTo>
                  <a:pt x="2307" y="3483"/>
                  <a:pt x="2354" y="3436"/>
                  <a:pt x="2434" y="3436"/>
                </a:cubicBezTo>
                <a:cubicBezTo>
                  <a:pt x="2498" y="3436"/>
                  <a:pt x="2545" y="3483"/>
                  <a:pt x="2545" y="3547"/>
                </a:cubicBezTo>
                <a:cubicBezTo>
                  <a:pt x="2545" y="3611"/>
                  <a:pt x="2498" y="3674"/>
                  <a:pt x="2434" y="3674"/>
                </a:cubicBezTo>
                <a:close/>
                <a:moveTo>
                  <a:pt x="1750" y="3643"/>
                </a:moveTo>
                <a:lnTo>
                  <a:pt x="636" y="3643"/>
                </a:lnTo>
                <a:cubicBezTo>
                  <a:pt x="605" y="3643"/>
                  <a:pt x="557" y="3691"/>
                  <a:pt x="557" y="3722"/>
                </a:cubicBezTo>
                <a:cubicBezTo>
                  <a:pt x="557" y="3770"/>
                  <a:pt x="605" y="3802"/>
                  <a:pt x="636" y="3802"/>
                </a:cubicBezTo>
                <a:lnTo>
                  <a:pt x="1750" y="3802"/>
                </a:lnTo>
                <a:cubicBezTo>
                  <a:pt x="1798" y="3802"/>
                  <a:pt x="1829" y="3770"/>
                  <a:pt x="1829" y="3722"/>
                </a:cubicBezTo>
                <a:cubicBezTo>
                  <a:pt x="1829" y="3691"/>
                  <a:pt x="1798" y="3643"/>
                  <a:pt x="1750" y="364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1" name="TextBox 90">
            <a:extLst>
              <a:ext uri="{FF2B5EF4-FFF2-40B4-BE49-F238E27FC236}">
                <a16:creationId xmlns:a16="http://schemas.microsoft.com/office/drawing/2014/main" id="{B70F92F1-A405-F045-8CDF-7BD6A87F5A60}"/>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pe Backup Rack</a:t>
            </a:r>
          </a:p>
        </p:txBody>
      </p:sp>
      <p:sp>
        <p:nvSpPr>
          <p:cNvPr id="92" name="Freeform: Shape 12">
            <a:extLst>
              <a:ext uri="{FF2B5EF4-FFF2-40B4-BE49-F238E27FC236}">
                <a16:creationId xmlns:a16="http://schemas.microsoft.com/office/drawing/2014/main" id="{82227716-F1DB-7242-B8B1-56B69E05EE4E}"/>
              </a:ext>
            </a:extLst>
          </p:cNvPr>
          <p:cNvSpPr/>
          <p:nvPr/>
        </p:nvSpPr>
        <p:spPr>
          <a:xfrm>
            <a:off x="21631886" y="9443642"/>
            <a:ext cx="973440" cy="1883160"/>
          </a:xfrm>
          <a:custGeom>
            <a:avLst/>
            <a:gdLst/>
            <a:ahLst/>
            <a:cxnLst>
              <a:cxn ang="3cd4">
                <a:pos x="hc" y="t"/>
              </a:cxn>
              <a:cxn ang="cd2">
                <a:pos x="l" y="vc"/>
              </a:cxn>
              <a:cxn ang="cd4">
                <a:pos x="hc" y="b"/>
              </a:cxn>
              <a:cxn ang="0">
                <a:pos x="r" y="vc"/>
              </a:cxn>
            </a:cxnLst>
            <a:rect l="l" t="t" r="r" b="b"/>
            <a:pathLst>
              <a:path w="2705" h="5232">
                <a:moveTo>
                  <a:pt x="1973" y="3817"/>
                </a:moveTo>
                <a:lnTo>
                  <a:pt x="764" y="3817"/>
                </a:lnTo>
                <a:lnTo>
                  <a:pt x="748" y="3817"/>
                </a:lnTo>
                <a:lnTo>
                  <a:pt x="732" y="3817"/>
                </a:lnTo>
                <a:cubicBezTo>
                  <a:pt x="573" y="3817"/>
                  <a:pt x="430" y="3960"/>
                  <a:pt x="430" y="4119"/>
                </a:cubicBezTo>
                <a:cubicBezTo>
                  <a:pt x="430" y="4294"/>
                  <a:pt x="573" y="4437"/>
                  <a:pt x="732" y="4437"/>
                </a:cubicBezTo>
                <a:cubicBezTo>
                  <a:pt x="907" y="4437"/>
                  <a:pt x="1050" y="4294"/>
                  <a:pt x="1050" y="4119"/>
                </a:cubicBezTo>
                <a:cubicBezTo>
                  <a:pt x="1050" y="4071"/>
                  <a:pt x="1035" y="4024"/>
                  <a:pt x="1003" y="3976"/>
                </a:cubicBezTo>
                <a:lnTo>
                  <a:pt x="1703" y="3976"/>
                </a:lnTo>
                <a:cubicBezTo>
                  <a:pt x="1671" y="4024"/>
                  <a:pt x="1655" y="4071"/>
                  <a:pt x="1655" y="4119"/>
                </a:cubicBezTo>
                <a:cubicBezTo>
                  <a:pt x="1655" y="4294"/>
                  <a:pt x="1798" y="4437"/>
                  <a:pt x="1957" y="4437"/>
                </a:cubicBezTo>
                <a:cubicBezTo>
                  <a:pt x="2132" y="4437"/>
                  <a:pt x="2275" y="4294"/>
                  <a:pt x="2275" y="4119"/>
                </a:cubicBezTo>
                <a:cubicBezTo>
                  <a:pt x="2275" y="3960"/>
                  <a:pt x="2132" y="3817"/>
                  <a:pt x="1973" y="3817"/>
                </a:cubicBezTo>
                <a:close/>
                <a:moveTo>
                  <a:pt x="732" y="4278"/>
                </a:moveTo>
                <a:cubicBezTo>
                  <a:pt x="653" y="4278"/>
                  <a:pt x="589" y="4199"/>
                  <a:pt x="589" y="4119"/>
                </a:cubicBezTo>
                <a:cubicBezTo>
                  <a:pt x="589" y="4039"/>
                  <a:pt x="653" y="3976"/>
                  <a:pt x="732" y="3976"/>
                </a:cubicBezTo>
                <a:cubicBezTo>
                  <a:pt x="828" y="3976"/>
                  <a:pt x="891" y="4039"/>
                  <a:pt x="891" y="4119"/>
                </a:cubicBezTo>
                <a:cubicBezTo>
                  <a:pt x="891" y="4199"/>
                  <a:pt x="828" y="4278"/>
                  <a:pt x="732" y="4278"/>
                </a:cubicBezTo>
                <a:close/>
                <a:moveTo>
                  <a:pt x="1957" y="4278"/>
                </a:moveTo>
                <a:cubicBezTo>
                  <a:pt x="1878" y="4278"/>
                  <a:pt x="1814" y="4199"/>
                  <a:pt x="1814" y="4119"/>
                </a:cubicBezTo>
                <a:cubicBezTo>
                  <a:pt x="1814" y="4039"/>
                  <a:pt x="1878" y="3976"/>
                  <a:pt x="1957" y="3976"/>
                </a:cubicBezTo>
                <a:cubicBezTo>
                  <a:pt x="2036" y="3976"/>
                  <a:pt x="2116" y="4039"/>
                  <a:pt x="2116" y="4119"/>
                </a:cubicBezTo>
                <a:cubicBezTo>
                  <a:pt x="2116" y="4199"/>
                  <a:pt x="2036" y="4278"/>
                  <a:pt x="1957" y="4278"/>
                </a:cubicBezTo>
                <a:close/>
                <a:moveTo>
                  <a:pt x="732" y="2815"/>
                </a:moveTo>
                <a:cubicBezTo>
                  <a:pt x="907" y="2815"/>
                  <a:pt x="1050" y="2672"/>
                  <a:pt x="1050" y="2512"/>
                </a:cubicBezTo>
                <a:cubicBezTo>
                  <a:pt x="1050" y="2449"/>
                  <a:pt x="1035" y="2401"/>
                  <a:pt x="1003" y="2354"/>
                </a:cubicBezTo>
                <a:lnTo>
                  <a:pt x="1703" y="2354"/>
                </a:lnTo>
                <a:cubicBezTo>
                  <a:pt x="1671" y="2401"/>
                  <a:pt x="1655" y="2449"/>
                  <a:pt x="1655" y="2512"/>
                </a:cubicBezTo>
                <a:cubicBezTo>
                  <a:pt x="1655" y="2672"/>
                  <a:pt x="1798" y="2815"/>
                  <a:pt x="1957" y="2815"/>
                </a:cubicBezTo>
                <a:cubicBezTo>
                  <a:pt x="2132" y="2815"/>
                  <a:pt x="2275" y="2672"/>
                  <a:pt x="2275" y="2512"/>
                </a:cubicBezTo>
                <a:cubicBezTo>
                  <a:pt x="2275" y="2337"/>
                  <a:pt x="2132" y="2210"/>
                  <a:pt x="1973" y="2210"/>
                </a:cubicBezTo>
                <a:lnTo>
                  <a:pt x="1973" y="2194"/>
                </a:lnTo>
                <a:lnTo>
                  <a:pt x="764" y="2194"/>
                </a:lnTo>
                <a:lnTo>
                  <a:pt x="748" y="2210"/>
                </a:lnTo>
                <a:cubicBezTo>
                  <a:pt x="743" y="2205"/>
                  <a:pt x="748" y="2194"/>
                  <a:pt x="732" y="2194"/>
                </a:cubicBezTo>
                <a:cubicBezTo>
                  <a:pt x="573" y="2194"/>
                  <a:pt x="430" y="2337"/>
                  <a:pt x="430" y="2512"/>
                </a:cubicBezTo>
                <a:cubicBezTo>
                  <a:pt x="430" y="2672"/>
                  <a:pt x="573" y="2815"/>
                  <a:pt x="732" y="2815"/>
                </a:cubicBezTo>
                <a:close/>
                <a:moveTo>
                  <a:pt x="1957" y="2354"/>
                </a:moveTo>
                <a:cubicBezTo>
                  <a:pt x="2036" y="2354"/>
                  <a:pt x="2116" y="2433"/>
                  <a:pt x="2116" y="2512"/>
                </a:cubicBezTo>
                <a:cubicBezTo>
                  <a:pt x="2116" y="2592"/>
                  <a:pt x="2036" y="2655"/>
                  <a:pt x="1957" y="2655"/>
                </a:cubicBezTo>
                <a:cubicBezTo>
                  <a:pt x="1878" y="2655"/>
                  <a:pt x="1814" y="2592"/>
                  <a:pt x="1814" y="2512"/>
                </a:cubicBezTo>
                <a:cubicBezTo>
                  <a:pt x="1814" y="2433"/>
                  <a:pt x="1878" y="2354"/>
                  <a:pt x="1957" y="2354"/>
                </a:cubicBezTo>
                <a:close/>
                <a:moveTo>
                  <a:pt x="732" y="2354"/>
                </a:moveTo>
                <a:cubicBezTo>
                  <a:pt x="828" y="2354"/>
                  <a:pt x="891" y="2433"/>
                  <a:pt x="891" y="2512"/>
                </a:cubicBezTo>
                <a:cubicBezTo>
                  <a:pt x="891" y="2592"/>
                  <a:pt x="828" y="2655"/>
                  <a:pt x="732" y="2655"/>
                </a:cubicBezTo>
                <a:cubicBezTo>
                  <a:pt x="653" y="2655"/>
                  <a:pt x="589" y="2592"/>
                  <a:pt x="589" y="2512"/>
                </a:cubicBezTo>
                <a:cubicBezTo>
                  <a:pt x="589" y="2433"/>
                  <a:pt x="653" y="2354"/>
                  <a:pt x="732" y="2354"/>
                </a:cubicBezTo>
                <a:close/>
                <a:moveTo>
                  <a:pt x="732" y="1192"/>
                </a:moveTo>
                <a:cubicBezTo>
                  <a:pt x="907" y="1192"/>
                  <a:pt x="1050" y="1065"/>
                  <a:pt x="1050" y="890"/>
                </a:cubicBezTo>
                <a:cubicBezTo>
                  <a:pt x="1050" y="842"/>
                  <a:pt x="1035" y="779"/>
                  <a:pt x="1003" y="747"/>
                </a:cubicBezTo>
                <a:lnTo>
                  <a:pt x="1703" y="747"/>
                </a:lnTo>
                <a:cubicBezTo>
                  <a:pt x="1671" y="779"/>
                  <a:pt x="1655" y="842"/>
                  <a:pt x="1655" y="890"/>
                </a:cubicBezTo>
                <a:cubicBezTo>
                  <a:pt x="1655" y="1065"/>
                  <a:pt x="1798" y="1192"/>
                  <a:pt x="1957" y="1192"/>
                </a:cubicBezTo>
                <a:cubicBezTo>
                  <a:pt x="2132" y="1192"/>
                  <a:pt x="2275" y="1065"/>
                  <a:pt x="2275" y="890"/>
                </a:cubicBezTo>
                <a:cubicBezTo>
                  <a:pt x="2275" y="715"/>
                  <a:pt x="2132" y="588"/>
                  <a:pt x="1973" y="588"/>
                </a:cubicBezTo>
                <a:lnTo>
                  <a:pt x="764" y="588"/>
                </a:lnTo>
                <a:lnTo>
                  <a:pt x="748" y="588"/>
                </a:lnTo>
                <a:lnTo>
                  <a:pt x="732" y="588"/>
                </a:lnTo>
                <a:cubicBezTo>
                  <a:pt x="573" y="588"/>
                  <a:pt x="430" y="715"/>
                  <a:pt x="430" y="890"/>
                </a:cubicBezTo>
                <a:cubicBezTo>
                  <a:pt x="430" y="1065"/>
                  <a:pt x="573" y="1192"/>
                  <a:pt x="732" y="1192"/>
                </a:cubicBezTo>
                <a:close/>
                <a:moveTo>
                  <a:pt x="1957" y="747"/>
                </a:moveTo>
                <a:cubicBezTo>
                  <a:pt x="2036" y="747"/>
                  <a:pt x="2116" y="810"/>
                  <a:pt x="2116" y="890"/>
                </a:cubicBezTo>
                <a:cubicBezTo>
                  <a:pt x="2116" y="970"/>
                  <a:pt x="2036" y="1033"/>
                  <a:pt x="1957" y="1033"/>
                </a:cubicBezTo>
                <a:cubicBezTo>
                  <a:pt x="1878" y="1033"/>
                  <a:pt x="1814" y="970"/>
                  <a:pt x="1814" y="890"/>
                </a:cubicBezTo>
                <a:cubicBezTo>
                  <a:pt x="1814" y="810"/>
                  <a:pt x="1878" y="747"/>
                  <a:pt x="1957" y="747"/>
                </a:cubicBezTo>
                <a:close/>
                <a:moveTo>
                  <a:pt x="732" y="747"/>
                </a:moveTo>
                <a:cubicBezTo>
                  <a:pt x="828" y="747"/>
                  <a:pt x="891" y="810"/>
                  <a:pt x="891" y="890"/>
                </a:cubicBezTo>
                <a:cubicBezTo>
                  <a:pt x="891" y="970"/>
                  <a:pt x="828" y="1033"/>
                  <a:pt x="732" y="1033"/>
                </a:cubicBezTo>
                <a:cubicBezTo>
                  <a:pt x="653" y="1033"/>
                  <a:pt x="589" y="970"/>
                  <a:pt x="589" y="890"/>
                </a:cubicBezTo>
                <a:cubicBezTo>
                  <a:pt x="589" y="810"/>
                  <a:pt x="653" y="747"/>
                  <a:pt x="732" y="747"/>
                </a:cubicBezTo>
                <a:close/>
                <a:moveTo>
                  <a:pt x="2625" y="5232"/>
                </a:moveTo>
                <a:cubicBezTo>
                  <a:pt x="2673" y="5232"/>
                  <a:pt x="2705" y="5200"/>
                  <a:pt x="2705" y="5153"/>
                </a:cubicBezTo>
                <a:lnTo>
                  <a:pt x="2705" y="4803"/>
                </a:lnTo>
                <a:lnTo>
                  <a:pt x="2705" y="3435"/>
                </a:lnTo>
                <a:lnTo>
                  <a:pt x="2705" y="3196"/>
                </a:lnTo>
                <a:lnTo>
                  <a:pt x="2705" y="1828"/>
                </a:lnTo>
                <a:lnTo>
                  <a:pt x="2705" y="1574"/>
                </a:lnTo>
                <a:lnTo>
                  <a:pt x="2705" y="270"/>
                </a:lnTo>
                <a:lnTo>
                  <a:pt x="2705" y="206"/>
                </a:lnTo>
                <a:cubicBezTo>
                  <a:pt x="2705" y="95"/>
                  <a:pt x="2609" y="0"/>
                  <a:pt x="2498" y="0"/>
                </a:cubicBezTo>
                <a:lnTo>
                  <a:pt x="208" y="0"/>
                </a:lnTo>
                <a:cubicBezTo>
                  <a:pt x="112" y="0"/>
                  <a:pt x="48" y="47"/>
                  <a:pt x="17" y="127"/>
                </a:cubicBezTo>
                <a:cubicBezTo>
                  <a:pt x="0" y="143"/>
                  <a:pt x="0" y="158"/>
                  <a:pt x="0" y="174"/>
                </a:cubicBezTo>
                <a:lnTo>
                  <a:pt x="0" y="206"/>
                </a:lnTo>
                <a:lnTo>
                  <a:pt x="0" y="1574"/>
                </a:lnTo>
                <a:lnTo>
                  <a:pt x="0" y="1828"/>
                </a:lnTo>
                <a:lnTo>
                  <a:pt x="0" y="3196"/>
                </a:lnTo>
                <a:lnTo>
                  <a:pt x="0" y="3435"/>
                </a:lnTo>
                <a:lnTo>
                  <a:pt x="0" y="4803"/>
                </a:lnTo>
                <a:lnTo>
                  <a:pt x="0" y="5153"/>
                </a:lnTo>
                <a:cubicBezTo>
                  <a:pt x="0" y="5200"/>
                  <a:pt x="33" y="5232"/>
                  <a:pt x="80" y="5232"/>
                </a:cubicBezTo>
                <a:cubicBezTo>
                  <a:pt x="128" y="5232"/>
                  <a:pt x="160" y="5200"/>
                  <a:pt x="160" y="5153"/>
                </a:cubicBezTo>
                <a:lnTo>
                  <a:pt x="160" y="5009"/>
                </a:lnTo>
                <a:lnTo>
                  <a:pt x="208" y="5009"/>
                </a:lnTo>
                <a:lnTo>
                  <a:pt x="2498" y="5009"/>
                </a:lnTo>
                <a:lnTo>
                  <a:pt x="2545" y="5009"/>
                </a:lnTo>
                <a:lnTo>
                  <a:pt x="2545" y="5153"/>
                </a:lnTo>
                <a:cubicBezTo>
                  <a:pt x="2545" y="5200"/>
                  <a:pt x="2577" y="5232"/>
                  <a:pt x="2625" y="5232"/>
                </a:cubicBezTo>
                <a:close/>
                <a:moveTo>
                  <a:pt x="160" y="206"/>
                </a:moveTo>
                <a:cubicBezTo>
                  <a:pt x="160" y="190"/>
                  <a:pt x="176" y="158"/>
                  <a:pt x="208" y="158"/>
                </a:cubicBezTo>
                <a:lnTo>
                  <a:pt x="2498" y="158"/>
                </a:lnTo>
                <a:cubicBezTo>
                  <a:pt x="2530" y="158"/>
                  <a:pt x="2545" y="190"/>
                  <a:pt x="2545" y="206"/>
                </a:cubicBezTo>
                <a:lnTo>
                  <a:pt x="2545" y="270"/>
                </a:lnTo>
                <a:lnTo>
                  <a:pt x="2545" y="1574"/>
                </a:lnTo>
                <a:cubicBezTo>
                  <a:pt x="2545" y="1590"/>
                  <a:pt x="2530" y="1622"/>
                  <a:pt x="2498" y="1622"/>
                </a:cubicBezTo>
                <a:lnTo>
                  <a:pt x="208" y="1622"/>
                </a:lnTo>
                <a:cubicBezTo>
                  <a:pt x="176" y="1622"/>
                  <a:pt x="160" y="1590"/>
                  <a:pt x="160" y="1574"/>
                </a:cubicBezTo>
                <a:close/>
                <a:moveTo>
                  <a:pt x="160" y="1828"/>
                </a:moveTo>
                <a:cubicBezTo>
                  <a:pt x="160" y="1797"/>
                  <a:pt x="176" y="1781"/>
                  <a:pt x="208" y="1781"/>
                </a:cubicBezTo>
                <a:lnTo>
                  <a:pt x="2498" y="1781"/>
                </a:lnTo>
                <a:cubicBezTo>
                  <a:pt x="2530" y="1781"/>
                  <a:pt x="2545" y="1797"/>
                  <a:pt x="2545" y="1828"/>
                </a:cubicBezTo>
                <a:lnTo>
                  <a:pt x="2545" y="3196"/>
                </a:lnTo>
                <a:cubicBezTo>
                  <a:pt x="2545" y="3212"/>
                  <a:pt x="2530" y="3228"/>
                  <a:pt x="2498" y="3228"/>
                </a:cubicBezTo>
                <a:lnTo>
                  <a:pt x="208" y="3228"/>
                </a:lnTo>
                <a:cubicBezTo>
                  <a:pt x="176" y="3228"/>
                  <a:pt x="160" y="3212"/>
                  <a:pt x="160" y="3196"/>
                </a:cubicBezTo>
                <a:close/>
                <a:moveTo>
                  <a:pt x="2498" y="4851"/>
                </a:moveTo>
                <a:lnTo>
                  <a:pt x="208" y="4851"/>
                </a:lnTo>
                <a:cubicBezTo>
                  <a:pt x="176" y="4851"/>
                  <a:pt x="160" y="4835"/>
                  <a:pt x="160" y="4803"/>
                </a:cubicBezTo>
                <a:lnTo>
                  <a:pt x="160" y="3435"/>
                </a:lnTo>
                <a:cubicBezTo>
                  <a:pt x="160" y="3419"/>
                  <a:pt x="176" y="3403"/>
                  <a:pt x="208" y="3403"/>
                </a:cubicBezTo>
                <a:lnTo>
                  <a:pt x="2498" y="3403"/>
                </a:lnTo>
                <a:cubicBezTo>
                  <a:pt x="2530" y="3403"/>
                  <a:pt x="2545" y="3419"/>
                  <a:pt x="2545" y="3435"/>
                </a:cubicBezTo>
                <a:lnTo>
                  <a:pt x="2545" y="4803"/>
                </a:lnTo>
                <a:cubicBezTo>
                  <a:pt x="2545" y="4835"/>
                  <a:pt x="2530" y="4851"/>
                  <a:pt x="2498" y="485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65644802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Computers / Hardware - 3</a:t>
            </a:r>
          </a:p>
        </p:txBody>
      </p:sp>
      <p:sp>
        <p:nvSpPr>
          <p:cNvPr id="57" name="TextBox 56">
            <a:extLst>
              <a:ext uri="{FF2B5EF4-FFF2-40B4-BE49-F238E27FC236}">
                <a16:creationId xmlns:a16="http://schemas.microsoft.com/office/drawing/2014/main" id="{F0E67E15-665D-AA42-B8E5-FA75988A2258}"/>
              </a:ext>
            </a:extLst>
          </p:cNvPr>
          <p:cNvSpPr txBox="1"/>
          <p:nvPr/>
        </p:nvSpPr>
        <p:spPr>
          <a:xfrm>
            <a:off x="1245460" y="5164929"/>
            <a:ext cx="276774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a:t>Touchscreen 1</a:t>
            </a:r>
            <a:endParaRPr lang="en-US" sz="2800" dirty="0"/>
          </a:p>
        </p:txBody>
      </p:sp>
      <p:sp>
        <p:nvSpPr>
          <p:cNvPr id="58" name="TextBox 57">
            <a:extLst>
              <a:ext uri="{FF2B5EF4-FFF2-40B4-BE49-F238E27FC236}">
                <a16:creationId xmlns:a16="http://schemas.microsoft.com/office/drawing/2014/main" id="{680A7499-5F0D-1E45-BBDE-5941CD599929}"/>
              </a:ext>
            </a:extLst>
          </p:cNvPr>
          <p:cNvSpPr txBox="1"/>
          <p:nvPr/>
        </p:nvSpPr>
        <p:spPr>
          <a:xfrm>
            <a:off x="5306606" y="5164929"/>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Touchscreen 2</a:t>
            </a:r>
            <a:endParaRPr lang="en-US" sz="2800" dirty="0"/>
          </a:p>
        </p:txBody>
      </p:sp>
      <p:sp>
        <p:nvSpPr>
          <p:cNvPr id="59" name="TextBox 58">
            <a:extLst>
              <a:ext uri="{FF2B5EF4-FFF2-40B4-BE49-F238E27FC236}">
                <a16:creationId xmlns:a16="http://schemas.microsoft.com/office/drawing/2014/main" id="{D84523EC-9FC0-D64F-872D-66C6DA2A0938}"/>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esktop Smartphone</a:t>
            </a:r>
          </a:p>
        </p:txBody>
      </p:sp>
      <p:sp>
        <p:nvSpPr>
          <p:cNvPr id="60" name="TextBox 59">
            <a:extLst>
              <a:ext uri="{FF2B5EF4-FFF2-40B4-BE49-F238E27FC236}">
                <a16:creationId xmlns:a16="http://schemas.microsoft.com/office/drawing/2014/main" id="{F52EBEBA-7B6D-9C4B-A0D4-D126091D5548}"/>
              </a:ext>
            </a:extLst>
          </p:cNvPr>
          <p:cNvSpPr txBox="1"/>
          <p:nvPr/>
        </p:nvSpPr>
        <p:spPr>
          <a:xfrm>
            <a:off x="13471996" y="5164929"/>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User</a:t>
            </a:r>
          </a:p>
        </p:txBody>
      </p:sp>
      <p:sp>
        <p:nvSpPr>
          <p:cNvPr id="61" name="TextBox 60">
            <a:extLst>
              <a:ext uri="{FF2B5EF4-FFF2-40B4-BE49-F238E27FC236}">
                <a16:creationId xmlns:a16="http://schemas.microsoft.com/office/drawing/2014/main" id="{721B1EB1-7B7F-7C4D-B2A9-56CD6758D6FC}"/>
              </a:ext>
            </a:extLst>
          </p:cNvPr>
          <p:cNvSpPr txBox="1"/>
          <p:nvPr/>
        </p:nvSpPr>
        <p:spPr>
          <a:xfrm>
            <a:off x="20809186" y="5164929"/>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Kiosk</a:t>
            </a:r>
          </a:p>
        </p:txBody>
      </p:sp>
      <p:sp>
        <p:nvSpPr>
          <p:cNvPr id="62" name="TextBox 61">
            <a:extLst>
              <a:ext uri="{FF2B5EF4-FFF2-40B4-BE49-F238E27FC236}">
                <a16:creationId xmlns:a16="http://schemas.microsoft.com/office/drawing/2014/main" id="{6851F3D5-3E86-9947-90A7-053CF2E24D1F}"/>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rver 1</a:t>
            </a:r>
          </a:p>
        </p:txBody>
      </p:sp>
      <p:sp>
        <p:nvSpPr>
          <p:cNvPr id="63" name="TextBox 62">
            <a:extLst>
              <a:ext uri="{FF2B5EF4-FFF2-40B4-BE49-F238E27FC236}">
                <a16:creationId xmlns:a16="http://schemas.microsoft.com/office/drawing/2014/main" id="{D1C4DF33-2A9D-5247-B034-4BC975B2EE1E}"/>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C</a:t>
            </a:r>
          </a:p>
        </p:txBody>
      </p:sp>
      <p:sp>
        <p:nvSpPr>
          <p:cNvPr id="64" name="TextBox 63">
            <a:extLst>
              <a:ext uri="{FF2B5EF4-FFF2-40B4-BE49-F238E27FC236}">
                <a16:creationId xmlns:a16="http://schemas.microsoft.com/office/drawing/2014/main" id="{4AC07770-C180-6A4E-ADE8-6FB1646F4447}"/>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outer 2</a:t>
            </a:r>
          </a:p>
        </p:txBody>
      </p:sp>
      <p:sp>
        <p:nvSpPr>
          <p:cNvPr id="65" name="TextBox 64">
            <a:extLst>
              <a:ext uri="{FF2B5EF4-FFF2-40B4-BE49-F238E27FC236}">
                <a16:creationId xmlns:a16="http://schemas.microsoft.com/office/drawing/2014/main" id="{E3E30111-3627-4A4F-8C62-3BA103F055EE}"/>
              </a:ext>
            </a:extLst>
          </p:cNvPr>
          <p:cNvSpPr txBox="1"/>
          <p:nvPr/>
        </p:nvSpPr>
        <p:spPr>
          <a:xfrm>
            <a:off x="13226552" y="8292956"/>
            <a:ext cx="311233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ub/Switch</a:t>
            </a:r>
          </a:p>
        </p:txBody>
      </p:sp>
      <p:sp>
        <p:nvSpPr>
          <p:cNvPr id="66" name="TextBox 65">
            <a:extLst>
              <a:ext uri="{FF2B5EF4-FFF2-40B4-BE49-F238E27FC236}">
                <a16:creationId xmlns:a16="http://schemas.microsoft.com/office/drawing/2014/main" id="{CB927C87-03B1-2F4E-ABA5-BDBC135BF3FB}"/>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rver</a:t>
            </a:r>
          </a:p>
        </p:txBody>
      </p:sp>
      <p:sp>
        <p:nvSpPr>
          <p:cNvPr id="67" name="TextBox 66">
            <a:extLst>
              <a:ext uri="{FF2B5EF4-FFF2-40B4-BE49-F238E27FC236}">
                <a16:creationId xmlns:a16="http://schemas.microsoft.com/office/drawing/2014/main" id="{ACA867C9-CE2D-3D46-9D2B-13D1E90695C3}"/>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AN Drive</a:t>
            </a:r>
          </a:p>
        </p:txBody>
      </p:sp>
      <p:sp>
        <p:nvSpPr>
          <p:cNvPr id="68" name="TextBox 67">
            <a:extLst>
              <a:ext uri="{FF2B5EF4-FFF2-40B4-BE49-F238E27FC236}">
                <a16:creationId xmlns:a16="http://schemas.microsoft.com/office/drawing/2014/main" id="{4E20B749-6A29-4F45-A951-718D12DE82E2}"/>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rge Server</a:t>
            </a:r>
          </a:p>
        </p:txBody>
      </p:sp>
      <p:sp>
        <p:nvSpPr>
          <p:cNvPr id="69" name="TextBox 68">
            <a:extLst>
              <a:ext uri="{FF2B5EF4-FFF2-40B4-BE49-F238E27FC236}">
                <a16:creationId xmlns:a16="http://schemas.microsoft.com/office/drawing/2014/main" id="{385209DF-D847-B041-875F-CAC4B9362FCF}"/>
              </a:ext>
            </a:extLst>
          </p:cNvPr>
          <p:cNvSpPr txBox="1"/>
          <p:nvPr/>
        </p:nvSpPr>
        <p:spPr>
          <a:xfrm>
            <a:off x="9013116"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orkload</a:t>
            </a:r>
          </a:p>
        </p:txBody>
      </p:sp>
      <p:sp>
        <p:nvSpPr>
          <p:cNvPr id="70" name="TextBox 69">
            <a:extLst>
              <a:ext uri="{FF2B5EF4-FFF2-40B4-BE49-F238E27FC236}">
                <a16:creationId xmlns:a16="http://schemas.microsoft.com/office/drawing/2014/main" id="{AB5E9B77-C32D-7A46-8962-BB1D71579D90}"/>
              </a:ext>
            </a:extLst>
          </p:cNvPr>
          <p:cNvSpPr txBox="1"/>
          <p:nvPr/>
        </p:nvSpPr>
        <p:spPr>
          <a:xfrm>
            <a:off x="13471996" y="11657695"/>
            <a:ext cx="2621444"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rver w/Workload</a:t>
            </a:r>
          </a:p>
        </p:txBody>
      </p:sp>
      <p:sp>
        <p:nvSpPr>
          <p:cNvPr id="71" name="Freeform: Shape 26">
            <a:extLst>
              <a:ext uri="{FF2B5EF4-FFF2-40B4-BE49-F238E27FC236}">
                <a16:creationId xmlns:a16="http://schemas.microsoft.com/office/drawing/2014/main" id="{C8E581C4-DEF8-A44B-91C2-2C84A8A2A0DF}"/>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TextBox 92">
            <a:extLst>
              <a:ext uri="{FF2B5EF4-FFF2-40B4-BE49-F238E27FC236}">
                <a16:creationId xmlns:a16="http://schemas.microsoft.com/office/drawing/2014/main" id="{540448CA-FC11-114E-97B5-C56D28EAA3D2}"/>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rinter</a:t>
            </a:r>
          </a:p>
        </p:txBody>
      </p:sp>
      <p:sp>
        <p:nvSpPr>
          <p:cNvPr id="94" name="TextBox 93">
            <a:extLst>
              <a:ext uri="{FF2B5EF4-FFF2-40B4-BE49-F238E27FC236}">
                <a16:creationId xmlns:a16="http://schemas.microsoft.com/office/drawing/2014/main" id="{3D8703A9-DFF3-6341-9406-9F5EB9905050}"/>
              </a:ext>
            </a:extLst>
          </p:cNvPr>
          <p:cNvSpPr txBox="1"/>
          <p:nvPr/>
        </p:nvSpPr>
        <p:spPr>
          <a:xfrm>
            <a:off x="16540096" y="8292956"/>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NIC</a:t>
            </a:r>
          </a:p>
        </p:txBody>
      </p:sp>
      <p:sp>
        <p:nvSpPr>
          <p:cNvPr id="95" name="TextBox 94">
            <a:extLst>
              <a:ext uri="{FF2B5EF4-FFF2-40B4-BE49-F238E27FC236}">
                <a16:creationId xmlns:a16="http://schemas.microsoft.com/office/drawing/2014/main" id="{180B9FA8-2E7D-4C40-945C-DF586564687F}"/>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lade Server</a:t>
            </a:r>
          </a:p>
        </p:txBody>
      </p:sp>
      <p:sp>
        <p:nvSpPr>
          <p:cNvPr id="96" name="Freeform: Shape 1">
            <a:extLst>
              <a:ext uri="{FF2B5EF4-FFF2-40B4-BE49-F238E27FC236}">
                <a16:creationId xmlns:a16="http://schemas.microsoft.com/office/drawing/2014/main" id="{4C5C25C3-71D2-194B-B735-29258C2B725E}"/>
              </a:ext>
            </a:extLst>
          </p:cNvPr>
          <p:cNvSpPr/>
          <p:nvPr/>
        </p:nvSpPr>
        <p:spPr>
          <a:xfrm>
            <a:off x="10104230" y="9701042"/>
            <a:ext cx="1373759" cy="1374120"/>
          </a:xfrm>
          <a:custGeom>
            <a:avLst/>
            <a:gdLst/>
            <a:ahLst/>
            <a:cxnLst>
              <a:cxn ang="3cd4">
                <a:pos x="hc" y="t"/>
              </a:cxn>
              <a:cxn ang="cd2">
                <a:pos x="l" y="vc"/>
              </a:cxn>
              <a:cxn ang="cd4">
                <a:pos x="hc" y="b"/>
              </a:cxn>
              <a:cxn ang="0">
                <a:pos x="r" y="vc"/>
              </a:cxn>
            </a:cxnLst>
            <a:rect l="l" t="t" r="r" b="b"/>
            <a:pathLst>
              <a:path w="3817" h="3818">
                <a:moveTo>
                  <a:pt x="3276" y="1686"/>
                </a:moveTo>
                <a:cubicBezTo>
                  <a:pt x="3197" y="1686"/>
                  <a:pt x="3149" y="1750"/>
                  <a:pt x="3149" y="1829"/>
                </a:cubicBezTo>
                <a:cubicBezTo>
                  <a:pt x="3149" y="1909"/>
                  <a:pt x="3197" y="1972"/>
                  <a:pt x="3276" y="1972"/>
                </a:cubicBezTo>
                <a:cubicBezTo>
                  <a:pt x="3355" y="1972"/>
                  <a:pt x="3419" y="1909"/>
                  <a:pt x="3419" y="1829"/>
                </a:cubicBezTo>
                <a:cubicBezTo>
                  <a:pt x="3419" y="1750"/>
                  <a:pt x="3355" y="1686"/>
                  <a:pt x="3276" y="1686"/>
                </a:cubicBezTo>
                <a:close/>
                <a:moveTo>
                  <a:pt x="3817" y="1527"/>
                </a:moveTo>
                <a:cubicBezTo>
                  <a:pt x="3817" y="1495"/>
                  <a:pt x="3817" y="1479"/>
                  <a:pt x="3801" y="1448"/>
                </a:cubicBezTo>
                <a:lnTo>
                  <a:pt x="3372" y="112"/>
                </a:lnTo>
                <a:cubicBezTo>
                  <a:pt x="3355" y="48"/>
                  <a:pt x="3292" y="0"/>
                  <a:pt x="3228" y="0"/>
                </a:cubicBezTo>
                <a:lnTo>
                  <a:pt x="588" y="0"/>
                </a:lnTo>
                <a:cubicBezTo>
                  <a:pt x="509" y="0"/>
                  <a:pt x="445" y="48"/>
                  <a:pt x="445" y="112"/>
                </a:cubicBezTo>
                <a:lnTo>
                  <a:pt x="0" y="1463"/>
                </a:lnTo>
                <a:lnTo>
                  <a:pt x="0" y="1527"/>
                </a:lnTo>
                <a:lnTo>
                  <a:pt x="0" y="2131"/>
                </a:lnTo>
                <a:cubicBezTo>
                  <a:pt x="0" y="2163"/>
                  <a:pt x="0" y="2195"/>
                  <a:pt x="15" y="2211"/>
                </a:cubicBezTo>
                <a:cubicBezTo>
                  <a:pt x="0" y="2227"/>
                  <a:pt x="0" y="2259"/>
                  <a:pt x="0" y="2291"/>
                </a:cubicBezTo>
                <a:lnTo>
                  <a:pt x="0" y="2895"/>
                </a:lnTo>
                <a:cubicBezTo>
                  <a:pt x="0" y="2927"/>
                  <a:pt x="0" y="2958"/>
                  <a:pt x="15" y="2975"/>
                </a:cubicBezTo>
                <a:cubicBezTo>
                  <a:pt x="0" y="2990"/>
                  <a:pt x="0" y="3022"/>
                  <a:pt x="0" y="3054"/>
                </a:cubicBezTo>
                <a:lnTo>
                  <a:pt x="0" y="3658"/>
                </a:lnTo>
                <a:cubicBezTo>
                  <a:pt x="0" y="3754"/>
                  <a:pt x="63" y="3818"/>
                  <a:pt x="143" y="3818"/>
                </a:cubicBezTo>
                <a:lnTo>
                  <a:pt x="3658" y="3818"/>
                </a:lnTo>
                <a:cubicBezTo>
                  <a:pt x="3753" y="3818"/>
                  <a:pt x="3817" y="3754"/>
                  <a:pt x="3817" y="3658"/>
                </a:cubicBezTo>
                <a:lnTo>
                  <a:pt x="3817" y="3054"/>
                </a:lnTo>
                <a:cubicBezTo>
                  <a:pt x="3817" y="3022"/>
                  <a:pt x="3817" y="2990"/>
                  <a:pt x="3801" y="2975"/>
                </a:cubicBezTo>
                <a:cubicBezTo>
                  <a:pt x="3817" y="2958"/>
                  <a:pt x="3817" y="2927"/>
                  <a:pt x="3817" y="2895"/>
                </a:cubicBezTo>
                <a:lnTo>
                  <a:pt x="3817" y="2291"/>
                </a:lnTo>
                <a:cubicBezTo>
                  <a:pt x="3817" y="2259"/>
                  <a:pt x="3817" y="2227"/>
                  <a:pt x="3801" y="2211"/>
                </a:cubicBezTo>
                <a:cubicBezTo>
                  <a:pt x="3817" y="2195"/>
                  <a:pt x="3817" y="2163"/>
                  <a:pt x="3817" y="2131"/>
                </a:cubicBezTo>
                <a:close/>
                <a:moveTo>
                  <a:pt x="588" y="159"/>
                </a:moveTo>
                <a:lnTo>
                  <a:pt x="3212" y="159"/>
                </a:lnTo>
                <a:lnTo>
                  <a:pt x="3610" y="1368"/>
                </a:lnTo>
                <a:lnTo>
                  <a:pt x="206" y="1368"/>
                </a:lnTo>
                <a:close/>
                <a:moveTo>
                  <a:pt x="3658" y="3658"/>
                </a:moveTo>
                <a:lnTo>
                  <a:pt x="158" y="3658"/>
                </a:lnTo>
                <a:lnTo>
                  <a:pt x="143" y="3054"/>
                </a:lnTo>
                <a:lnTo>
                  <a:pt x="3658" y="3054"/>
                </a:lnTo>
                <a:close/>
                <a:moveTo>
                  <a:pt x="3658" y="2895"/>
                </a:moveTo>
                <a:lnTo>
                  <a:pt x="158" y="2895"/>
                </a:lnTo>
                <a:lnTo>
                  <a:pt x="143" y="2291"/>
                </a:lnTo>
                <a:lnTo>
                  <a:pt x="3658" y="2291"/>
                </a:lnTo>
                <a:close/>
                <a:moveTo>
                  <a:pt x="3658" y="2131"/>
                </a:moveTo>
                <a:lnTo>
                  <a:pt x="158" y="2131"/>
                </a:lnTo>
                <a:lnTo>
                  <a:pt x="143" y="1527"/>
                </a:lnTo>
                <a:lnTo>
                  <a:pt x="158" y="1527"/>
                </a:lnTo>
                <a:lnTo>
                  <a:pt x="3658" y="1527"/>
                </a:lnTo>
                <a:close/>
                <a:moveTo>
                  <a:pt x="3276" y="2736"/>
                </a:moveTo>
                <a:cubicBezTo>
                  <a:pt x="3355" y="2736"/>
                  <a:pt x="3419" y="2672"/>
                  <a:pt x="3419" y="2593"/>
                </a:cubicBezTo>
                <a:cubicBezTo>
                  <a:pt x="3419" y="2513"/>
                  <a:pt x="3355" y="2449"/>
                  <a:pt x="3276" y="2449"/>
                </a:cubicBezTo>
                <a:cubicBezTo>
                  <a:pt x="3197" y="2449"/>
                  <a:pt x="3149" y="2513"/>
                  <a:pt x="3149" y="2593"/>
                </a:cubicBezTo>
                <a:cubicBezTo>
                  <a:pt x="3149" y="2672"/>
                  <a:pt x="3197" y="2736"/>
                  <a:pt x="3276" y="2736"/>
                </a:cubicBezTo>
                <a:close/>
                <a:moveTo>
                  <a:pt x="3276" y="3499"/>
                </a:moveTo>
                <a:cubicBezTo>
                  <a:pt x="3355" y="3499"/>
                  <a:pt x="3419" y="3436"/>
                  <a:pt x="3419" y="3356"/>
                </a:cubicBezTo>
                <a:cubicBezTo>
                  <a:pt x="3419" y="3276"/>
                  <a:pt x="3355" y="3213"/>
                  <a:pt x="3276" y="3213"/>
                </a:cubicBezTo>
                <a:cubicBezTo>
                  <a:pt x="3197" y="3213"/>
                  <a:pt x="3149" y="3276"/>
                  <a:pt x="3149" y="3356"/>
                </a:cubicBezTo>
                <a:cubicBezTo>
                  <a:pt x="3149" y="3436"/>
                  <a:pt x="3197" y="3499"/>
                  <a:pt x="3276" y="349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7" name="Freeform: Shape 5">
            <a:extLst>
              <a:ext uri="{FF2B5EF4-FFF2-40B4-BE49-F238E27FC236}">
                <a16:creationId xmlns:a16="http://schemas.microsoft.com/office/drawing/2014/main" id="{2BDA7F85-A181-9A4B-A917-E20A179E7F00}"/>
              </a:ext>
            </a:extLst>
          </p:cNvPr>
          <p:cNvSpPr/>
          <p:nvPr/>
        </p:nvSpPr>
        <p:spPr>
          <a:xfrm>
            <a:off x="5943471" y="6561514"/>
            <a:ext cx="1694520" cy="1551240"/>
          </a:xfrm>
          <a:custGeom>
            <a:avLst/>
            <a:gdLst/>
            <a:ahLst/>
            <a:cxnLst>
              <a:cxn ang="3cd4">
                <a:pos x="hc" y="t"/>
              </a:cxn>
              <a:cxn ang="cd2">
                <a:pos x="l" y="vc"/>
              </a:cxn>
              <a:cxn ang="cd4">
                <a:pos x="hc" y="b"/>
              </a:cxn>
              <a:cxn ang="0">
                <a:pos x="r" y="vc"/>
              </a:cxn>
            </a:cxnLst>
            <a:rect l="l" t="t" r="r" b="b"/>
            <a:pathLst>
              <a:path w="4708" h="4310">
                <a:moveTo>
                  <a:pt x="4533" y="3658"/>
                </a:moveTo>
                <a:cubicBezTo>
                  <a:pt x="4629" y="3658"/>
                  <a:pt x="4708" y="3579"/>
                  <a:pt x="4708" y="3483"/>
                </a:cubicBezTo>
                <a:lnTo>
                  <a:pt x="4708" y="175"/>
                </a:lnTo>
                <a:cubicBezTo>
                  <a:pt x="4708" y="79"/>
                  <a:pt x="4629" y="0"/>
                  <a:pt x="4533" y="0"/>
                </a:cubicBezTo>
                <a:lnTo>
                  <a:pt x="175" y="0"/>
                </a:lnTo>
                <a:cubicBezTo>
                  <a:pt x="79" y="0"/>
                  <a:pt x="0" y="79"/>
                  <a:pt x="0" y="175"/>
                </a:cubicBezTo>
                <a:lnTo>
                  <a:pt x="0" y="3483"/>
                </a:lnTo>
                <a:cubicBezTo>
                  <a:pt x="0" y="3579"/>
                  <a:pt x="79" y="3658"/>
                  <a:pt x="175" y="3658"/>
                </a:cubicBezTo>
                <a:lnTo>
                  <a:pt x="2275" y="3658"/>
                </a:lnTo>
                <a:lnTo>
                  <a:pt x="2275" y="4151"/>
                </a:lnTo>
                <a:lnTo>
                  <a:pt x="1002" y="4151"/>
                </a:lnTo>
                <a:cubicBezTo>
                  <a:pt x="954" y="4151"/>
                  <a:pt x="923" y="4199"/>
                  <a:pt x="923" y="4231"/>
                </a:cubicBezTo>
                <a:cubicBezTo>
                  <a:pt x="923" y="4279"/>
                  <a:pt x="954" y="4310"/>
                  <a:pt x="1002" y="4310"/>
                </a:cubicBezTo>
                <a:lnTo>
                  <a:pt x="3706" y="4310"/>
                </a:lnTo>
                <a:cubicBezTo>
                  <a:pt x="3754" y="4310"/>
                  <a:pt x="3786" y="4279"/>
                  <a:pt x="3786" y="4231"/>
                </a:cubicBezTo>
                <a:cubicBezTo>
                  <a:pt x="3786" y="4199"/>
                  <a:pt x="3754" y="4151"/>
                  <a:pt x="3706" y="4151"/>
                </a:cubicBezTo>
                <a:lnTo>
                  <a:pt x="2433" y="4151"/>
                </a:lnTo>
                <a:lnTo>
                  <a:pt x="2433" y="3658"/>
                </a:lnTo>
                <a:close/>
                <a:moveTo>
                  <a:pt x="175" y="3499"/>
                </a:moveTo>
                <a:lnTo>
                  <a:pt x="159" y="3483"/>
                </a:lnTo>
                <a:lnTo>
                  <a:pt x="159" y="175"/>
                </a:lnTo>
                <a:cubicBezTo>
                  <a:pt x="159" y="159"/>
                  <a:pt x="170" y="164"/>
                  <a:pt x="175" y="159"/>
                </a:cubicBezTo>
                <a:lnTo>
                  <a:pt x="4533" y="159"/>
                </a:lnTo>
                <a:cubicBezTo>
                  <a:pt x="4538" y="164"/>
                  <a:pt x="4549" y="159"/>
                  <a:pt x="4549" y="175"/>
                </a:cubicBezTo>
                <a:lnTo>
                  <a:pt x="4549" y="3483"/>
                </a:lnTo>
                <a:lnTo>
                  <a:pt x="4533" y="3499"/>
                </a:lnTo>
                <a:close/>
                <a:moveTo>
                  <a:pt x="4135" y="382"/>
                </a:moveTo>
                <a:lnTo>
                  <a:pt x="573" y="382"/>
                </a:lnTo>
                <a:cubicBezTo>
                  <a:pt x="477" y="382"/>
                  <a:pt x="397" y="461"/>
                  <a:pt x="397" y="556"/>
                </a:cubicBezTo>
                <a:lnTo>
                  <a:pt x="397" y="2688"/>
                </a:lnTo>
                <a:cubicBezTo>
                  <a:pt x="397" y="2767"/>
                  <a:pt x="477" y="2847"/>
                  <a:pt x="573" y="2847"/>
                </a:cubicBezTo>
                <a:lnTo>
                  <a:pt x="4135" y="2847"/>
                </a:lnTo>
                <a:cubicBezTo>
                  <a:pt x="4231" y="2847"/>
                  <a:pt x="4311" y="2767"/>
                  <a:pt x="4311" y="2688"/>
                </a:cubicBezTo>
                <a:lnTo>
                  <a:pt x="4311" y="556"/>
                </a:lnTo>
                <a:cubicBezTo>
                  <a:pt x="4311" y="461"/>
                  <a:pt x="4231" y="382"/>
                  <a:pt x="4135" y="382"/>
                </a:cubicBezTo>
                <a:close/>
                <a:moveTo>
                  <a:pt x="4151" y="2688"/>
                </a:moveTo>
                <a:lnTo>
                  <a:pt x="4135" y="2688"/>
                </a:lnTo>
                <a:lnTo>
                  <a:pt x="557" y="2688"/>
                </a:lnTo>
                <a:lnTo>
                  <a:pt x="573" y="541"/>
                </a:lnTo>
                <a:lnTo>
                  <a:pt x="4151" y="55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8" name="Freeform: Shape 6">
            <a:extLst>
              <a:ext uri="{FF2B5EF4-FFF2-40B4-BE49-F238E27FC236}">
                <a16:creationId xmlns:a16="http://schemas.microsoft.com/office/drawing/2014/main" id="{BDACA9B1-81B1-7F4E-B224-49099CC7B34C}"/>
              </a:ext>
            </a:extLst>
          </p:cNvPr>
          <p:cNvSpPr/>
          <p:nvPr/>
        </p:nvSpPr>
        <p:spPr>
          <a:xfrm>
            <a:off x="2031940" y="6343714"/>
            <a:ext cx="1133280" cy="1717560"/>
          </a:xfrm>
          <a:custGeom>
            <a:avLst/>
            <a:gdLst/>
            <a:ahLst/>
            <a:cxnLst>
              <a:cxn ang="3cd4">
                <a:pos x="hc" y="t"/>
              </a:cxn>
              <a:cxn ang="cd2">
                <a:pos x="l" y="vc"/>
              </a:cxn>
              <a:cxn ang="cd4">
                <a:pos x="hc" y="b"/>
              </a:cxn>
              <a:cxn ang="0">
                <a:pos x="r" y="vc"/>
              </a:cxn>
            </a:cxnLst>
            <a:rect l="l" t="t" r="r" b="b"/>
            <a:pathLst>
              <a:path w="3149" h="4772">
                <a:moveTo>
                  <a:pt x="3149" y="4104"/>
                </a:moveTo>
                <a:lnTo>
                  <a:pt x="3149" y="318"/>
                </a:lnTo>
                <a:cubicBezTo>
                  <a:pt x="3149" y="143"/>
                  <a:pt x="3006" y="0"/>
                  <a:pt x="2831" y="0"/>
                </a:cubicBezTo>
                <a:lnTo>
                  <a:pt x="302" y="0"/>
                </a:lnTo>
                <a:cubicBezTo>
                  <a:pt x="143" y="0"/>
                  <a:pt x="0" y="143"/>
                  <a:pt x="0" y="318"/>
                </a:cubicBezTo>
                <a:lnTo>
                  <a:pt x="0" y="4104"/>
                </a:lnTo>
                <a:cubicBezTo>
                  <a:pt x="0" y="4279"/>
                  <a:pt x="143" y="4422"/>
                  <a:pt x="302" y="4422"/>
                </a:cubicBezTo>
                <a:lnTo>
                  <a:pt x="2831" y="4422"/>
                </a:lnTo>
                <a:cubicBezTo>
                  <a:pt x="3006" y="4422"/>
                  <a:pt x="3149" y="4279"/>
                  <a:pt x="3149" y="4104"/>
                </a:cubicBezTo>
                <a:close/>
                <a:moveTo>
                  <a:pt x="159" y="4104"/>
                </a:moveTo>
                <a:lnTo>
                  <a:pt x="159" y="318"/>
                </a:lnTo>
                <a:cubicBezTo>
                  <a:pt x="159" y="239"/>
                  <a:pt x="223" y="160"/>
                  <a:pt x="302" y="160"/>
                </a:cubicBezTo>
                <a:lnTo>
                  <a:pt x="2831" y="160"/>
                </a:lnTo>
                <a:cubicBezTo>
                  <a:pt x="2927" y="160"/>
                  <a:pt x="2990" y="239"/>
                  <a:pt x="2990" y="318"/>
                </a:cubicBezTo>
                <a:lnTo>
                  <a:pt x="2990" y="4104"/>
                </a:lnTo>
                <a:cubicBezTo>
                  <a:pt x="2990" y="4184"/>
                  <a:pt x="2927" y="4263"/>
                  <a:pt x="2831" y="4263"/>
                </a:cubicBezTo>
                <a:lnTo>
                  <a:pt x="302" y="4263"/>
                </a:lnTo>
                <a:cubicBezTo>
                  <a:pt x="223" y="4263"/>
                  <a:pt x="159" y="4184"/>
                  <a:pt x="159" y="4104"/>
                </a:cubicBezTo>
                <a:close/>
                <a:moveTo>
                  <a:pt x="2561" y="3786"/>
                </a:moveTo>
                <a:lnTo>
                  <a:pt x="2243" y="3786"/>
                </a:lnTo>
                <a:cubicBezTo>
                  <a:pt x="2211" y="3786"/>
                  <a:pt x="2163" y="3818"/>
                  <a:pt x="2163" y="3866"/>
                </a:cubicBezTo>
                <a:cubicBezTo>
                  <a:pt x="2163" y="3897"/>
                  <a:pt x="2211" y="3945"/>
                  <a:pt x="2243" y="3945"/>
                </a:cubicBezTo>
                <a:lnTo>
                  <a:pt x="2561" y="3945"/>
                </a:lnTo>
                <a:cubicBezTo>
                  <a:pt x="2609" y="3945"/>
                  <a:pt x="2641" y="3897"/>
                  <a:pt x="2641" y="3866"/>
                </a:cubicBezTo>
                <a:cubicBezTo>
                  <a:pt x="2641" y="3818"/>
                  <a:pt x="2609" y="3786"/>
                  <a:pt x="2561" y="3786"/>
                </a:cubicBezTo>
                <a:close/>
                <a:moveTo>
                  <a:pt x="1924" y="3786"/>
                </a:moveTo>
                <a:lnTo>
                  <a:pt x="1623" y="3786"/>
                </a:lnTo>
                <a:cubicBezTo>
                  <a:pt x="1575" y="3786"/>
                  <a:pt x="1543" y="3818"/>
                  <a:pt x="1543" y="3866"/>
                </a:cubicBezTo>
                <a:cubicBezTo>
                  <a:pt x="1543" y="3897"/>
                  <a:pt x="1575" y="3945"/>
                  <a:pt x="1623" y="3945"/>
                </a:cubicBezTo>
                <a:lnTo>
                  <a:pt x="1924" y="3945"/>
                </a:lnTo>
                <a:cubicBezTo>
                  <a:pt x="1972" y="3945"/>
                  <a:pt x="2004" y="3897"/>
                  <a:pt x="2004" y="3866"/>
                </a:cubicBezTo>
                <a:cubicBezTo>
                  <a:pt x="2004" y="3818"/>
                  <a:pt x="1972" y="3786"/>
                  <a:pt x="1924" y="3786"/>
                </a:cubicBezTo>
                <a:close/>
                <a:moveTo>
                  <a:pt x="1304" y="3786"/>
                </a:moveTo>
                <a:lnTo>
                  <a:pt x="986" y="3786"/>
                </a:lnTo>
                <a:cubicBezTo>
                  <a:pt x="939" y="3786"/>
                  <a:pt x="906" y="3818"/>
                  <a:pt x="906" y="3866"/>
                </a:cubicBezTo>
                <a:cubicBezTo>
                  <a:pt x="906" y="3897"/>
                  <a:pt x="939" y="3945"/>
                  <a:pt x="986" y="3945"/>
                </a:cubicBezTo>
                <a:lnTo>
                  <a:pt x="1304" y="3945"/>
                </a:lnTo>
                <a:cubicBezTo>
                  <a:pt x="1352" y="3945"/>
                  <a:pt x="1384" y="3897"/>
                  <a:pt x="1384" y="3866"/>
                </a:cubicBezTo>
                <a:cubicBezTo>
                  <a:pt x="1384" y="3818"/>
                  <a:pt x="1352" y="3786"/>
                  <a:pt x="1304" y="3786"/>
                </a:cubicBezTo>
                <a:close/>
                <a:moveTo>
                  <a:pt x="2624" y="4693"/>
                </a:moveTo>
                <a:cubicBezTo>
                  <a:pt x="2624" y="4645"/>
                  <a:pt x="2593" y="4613"/>
                  <a:pt x="2545" y="4613"/>
                </a:cubicBezTo>
                <a:lnTo>
                  <a:pt x="2147" y="4613"/>
                </a:lnTo>
                <a:cubicBezTo>
                  <a:pt x="2100" y="4613"/>
                  <a:pt x="2068" y="4645"/>
                  <a:pt x="2068" y="4693"/>
                </a:cubicBezTo>
                <a:cubicBezTo>
                  <a:pt x="2068" y="4724"/>
                  <a:pt x="2100" y="4772"/>
                  <a:pt x="2147" y="4772"/>
                </a:cubicBezTo>
                <a:lnTo>
                  <a:pt x="2545" y="4772"/>
                </a:lnTo>
                <a:cubicBezTo>
                  <a:pt x="2593" y="4772"/>
                  <a:pt x="2624" y="4724"/>
                  <a:pt x="2624" y="4693"/>
                </a:cubicBezTo>
                <a:close/>
                <a:moveTo>
                  <a:pt x="1018" y="4772"/>
                </a:moveTo>
                <a:cubicBezTo>
                  <a:pt x="1066" y="4772"/>
                  <a:pt x="1097" y="4724"/>
                  <a:pt x="1097" y="4693"/>
                </a:cubicBezTo>
                <a:cubicBezTo>
                  <a:pt x="1097" y="4645"/>
                  <a:pt x="1066" y="4613"/>
                  <a:pt x="1018" y="4613"/>
                </a:cubicBezTo>
                <a:lnTo>
                  <a:pt x="620" y="4613"/>
                </a:lnTo>
                <a:cubicBezTo>
                  <a:pt x="573" y="4613"/>
                  <a:pt x="541" y="4645"/>
                  <a:pt x="541" y="4693"/>
                </a:cubicBezTo>
                <a:cubicBezTo>
                  <a:pt x="541" y="4724"/>
                  <a:pt x="573" y="4772"/>
                  <a:pt x="620" y="47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9" name="Freeform: Shape 7">
            <a:extLst>
              <a:ext uri="{FF2B5EF4-FFF2-40B4-BE49-F238E27FC236}">
                <a16:creationId xmlns:a16="http://schemas.microsoft.com/office/drawing/2014/main" id="{E566F645-53B0-534D-A019-4E60CE280341}"/>
              </a:ext>
            </a:extLst>
          </p:cNvPr>
          <p:cNvSpPr/>
          <p:nvPr/>
        </p:nvSpPr>
        <p:spPr>
          <a:xfrm>
            <a:off x="21631886" y="3052015"/>
            <a:ext cx="875879" cy="1671480"/>
          </a:xfrm>
          <a:custGeom>
            <a:avLst/>
            <a:gdLst/>
            <a:ahLst/>
            <a:cxnLst>
              <a:cxn ang="3cd4">
                <a:pos x="hc" y="t"/>
              </a:cxn>
              <a:cxn ang="cd2">
                <a:pos x="l" y="vc"/>
              </a:cxn>
              <a:cxn ang="cd4">
                <a:pos x="hc" y="b"/>
              </a:cxn>
              <a:cxn ang="0">
                <a:pos x="r" y="vc"/>
              </a:cxn>
            </a:cxnLst>
            <a:rect l="l" t="t" r="r" b="b"/>
            <a:pathLst>
              <a:path w="2434" h="4644">
                <a:moveTo>
                  <a:pt x="1590" y="430"/>
                </a:moveTo>
                <a:lnTo>
                  <a:pt x="859" y="430"/>
                </a:lnTo>
                <a:cubicBezTo>
                  <a:pt x="780" y="430"/>
                  <a:pt x="716" y="477"/>
                  <a:pt x="716" y="557"/>
                </a:cubicBezTo>
                <a:lnTo>
                  <a:pt x="716" y="1241"/>
                </a:lnTo>
                <a:cubicBezTo>
                  <a:pt x="716" y="1304"/>
                  <a:pt x="780" y="1368"/>
                  <a:pt x="859" y="1368"/>
                </a:cubicBezTo>
                <a:lnTo>
                  <a:pt x="1590" y="1368"/>
                </a:lnTo>
                <a:cubicBezTo>
                  <a:pt x="1654" y="1368"/>
                  <a:pt x="1718" y="1304"/>
                  <a:pt x="1718" y="1241"/>
                </a:cubicBezTo>
                <a:lnTo>
                  <a:pt x="1718" y="557"/>
                </a:lnTo>
                <a:cubicBezTo>
                  <a:pt x="1718" y="477"/>
                  <a:pt x="1654" y="430"/>
                  <a:pt x="1590" y="430"/>
                </a:cubicBezTo>
                <a:close/>
                <a:moveTo>
                  <a:pt x="1559" y="1209"/>
                </a:moveTo>
                <a:lnTo>
                  <a:pt x="875" y="1209"/>
                </a:lnTo>
                <a:lnTo>
                  <a:pt x="875" y="588"/>
                </a:lnTo>
                <a:lnTo>
                  <a:pt x="1559" y="588"/>
                </a:lnTo>
                <a:close/>
                <a:moveTo>
                  <a:pt x="80" y="2052"/>
                </a:moveTo>
                <a:cubicBezTo>
                  <a:pt x="48" y="2052"/>
                  <a:pt x="0" y="2084"/>
                  <a:pt x="0" y="2132"/>
                </a:cubicBezTo>
                <a:cubicBezTo>
                  <a:pt x="0" y="2179"/>
                  <a:pt x="48" y="2211"/>
                  <a:pt x="80" y="2211"/>
                </a:cubicBezTo>
                <a:lnTo>
                  <a:pt x="318" y="2211"/>
                </a:lnTo>
                <a:cubicBezTo>
                  <a:pt x="286" y="2259"/>
                  <a:pt x="271" y="2322"/>
                  <a:pt x="271" y="2370"/>
                </a:cubicBezTo>
                <a:lnTo>
                  <a:pt x="271" y="4326"/>
                </a:lnTo>
                <a:cubicBezTo>
                  <a:pt x="271" y="4501"/>
                  <a:pt x="414" y="4644"/>
                  <a:pt x="589" y="4644"/>
                </a:cubicBezTo>
                <a:lnTo>
                  <a:pt x="1845" y="4644"/>
                </a:lnTo>
                <a:cubicBezTo>
                  <a:pt x="2020" y="4644"/>
                  <a:pt x="2179" y="4501"/>
                  <a:pt x="2179" y="4326"/>
                </a:cubicBezTo>
                <a:lnTo>
                  <a:pt x="2179" y="2370"/>
                </a:lnTo>
                <a:cubicBezTo>
                  <a:pt x="2179" y="2322"/>
                  <a:pt x="2147" y="2259"/>
                  <a:pt x="2131" y="2211"/>
                </a:cubicBezTo>
                <a:lnTo>
                  <a:pt x="2354" y="2211"/>
                </a:lnTo>
                <a:cubicBezTo>
                  <a:pt x="2402" y="2211"/>
                  <a:pt x="2434" y="2179"/>
                  <a:pt x="2434" y="2132"/>
                </a:cubicBezTo>
                <a:cubicBezTo>
                  <a:pt x="2434" y="2084"/>
                  <a:pt x="2402" y="2052"/>
                  <a:pt x="2354" y="2052"/>
                </a:cubicBezTo>
                <a:lnTo>
                  <a:pt x="1304" y="2052"/>
                </a:lnTo>
                <a:lnTo>
                  <a:pt x="1304" y="1797"/>
                </a:lnTo>
                <a:lnTo>
                  <a:pt x="1845" y="1797"/>
                </a:lnTo>
                <a:cubicBezTo>
                  <a:pt x="2020" y="1797"/>
                  <a:pt x="2179" y="1654"/>
                  <a:pt x="2179" y="1479"/>
                </a:cubicBezTo>
                <a:lnTo>
                  <a:pt x="2179" y="318"/>
                </a:lnTo>
                <a:cubicBezTo>
                  <a:pt x="2179" y="143"/>
                  <a:pt x="2020" y="0"/>
                  <a:pt x="1845" y="0"/>
                </a:cubicBezTo>
                <a:lnTo>
                  <a:pt x="589" y="0"/>
                </a:lnTo>
                <a:cubicBezTo>
                  <a:pt x="414" y="0"/>
                  <a:pt x="271" y="143"/>
                  <a:pt x="271" y="318"/>
                </a:cubicBezTo>
                <a:lnTo>
                  <a:pt x="271" y="1479"/>
                </a:lnTo>
                <a:cubicBezTo>
                  <a:pt x="271" y="1654"/>
                  <a:pt x="414" y="1797"/>
                  <a:pt x="589" y="1797"/>
                </a:cubicBezTo>
                <a:lnTo>
                  <a:pt x="1145" y="1797"/>
                </a:lnTo>
                <a:lnTo>
                  <a:pt x="1145" y="2052"/>
                </a:lnTo>
                <a:close/>
                <a:moveTo>
                  <a:pt x="589" y="1638"/>
                </a:moveTo>
                <a:cubicBezTo>
                  <a:pt x="493" y="1638"/>
                  <a:pt x="429" y="1559"/>
                  <a:pt x="429" y="1479"/>
                </a:cubicBezTo>
                <a:lnTo>
                  <a:pt x="429" y="318"/>
                </a:lnTo>
                <a:cubicBezTo>
                  <a:pt x="429" y="223"/>
                  <a:pt x="493" y="159"/>
                  <a:pt x="589" y="159"/>
                </a:cubicBezTo>
                <a:lnTo>
                  <a:pt x="1845" y="159"/>
                </a:lnTo>
                <a:cubicBezTo>
                  <a:pt x="1941" y="159"/>
                  <a:pt x="2020" y="223"/>
                  <a:pt x="2020" y="318"/>
                </a:cubicBezTo>
                <a:lnTo>
                  <a:pt x="2020" y="1479"/>
                </a:lnTo>
                <a:cubicBezTo>
                  <a:pt x="2020" y="1559"/>
                  <a:pt x="1941" y="1638"/>
                  <a:pt x="1845" y="1638"/>
                </a:cubicBezTo>
                <a:close/>
                <a:moveTo>
                  <a:pt x="1845" y="2211"/>
                </a:moveTo>
                <a:cubicBezTo>
                  <a:pt x="1941" y="2211"/>
                  <a:pt x="2020" y="2290"/>
                  <a:pt x="2020" y="2370"/>
                </a:cubicBezTo>
                <a:lnTo>
                  <a:pt x="2020" y="4326"/>
                </a:lnTo>
                <a:cubicBezTo>
                  <a:pt x="2020" y="4406"/>
                  <a:pt x="1941" y="4486"/>
                  <a:pt x="1845" y="4486"/>
                </a:cubicBezTo>
                <a:lnTo>
                  <a:pt x="589" y="4486"/>
                </a:lnTo>
                <a:cubicBezTo>
                  <a:pt x="493" y="4486"/>
                  <a:pt x="429" y="4406"/>
                  <a:pt x="429" y="4326"/>
                </a:cubicBezTo>
                <a:lnTo>
                  <a:pt x="429" y="2370"/>
                </a:lnTo>
                <a:cubicBezTo>
                  <a:pt x="429" y="2290"/>
                  <a:pt x="493" y="2211"/>
                  <a:pt x="589" y="221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0" name="Freeform: Shape 8">
            <a:extLst>
              <a:ext uri="{FF2B5EF4-FFF2-40B4-BE49-F238E27FC236}">
                <a16:creationId xmlns:a16="http://schemas.microsoft.com/office/drawing/2014/main" id="{A6FED34C-0B6F-D343-B7EB-ADF955032695}"/>
              </a:ext>
            </a:extLst>
          </p:cNvPr>
          <p:cNvSpPr/>
          <p:nvPr/>
        </p:nvSpPr>
        <p:spPr>
          <a:xfrm>
            <a:off x="9987916" y="6481234"/>
            <a:ext cx="1866239" cy="1442519"/>
          </a:xfrm>
          <a:custGeom>
            <a:avLst/>
            <a:gdLst/>
            <a:ahLst/>
            <a:cxnLst>
              <a:cxn ang="3cd4">
                <a:pos x="hc" y="t"/>
              </a:cxn>
              <a:cxn ang="cd2">
                <a:pos x="l" y="vc"/>
              </a:cxn>
              <a:cxn ang="cd4">
                <a:pos x="hc" y="b"/>
              </a:cxn>
              <a:cxn ang="0">
                <a:pos x="r" y="vc"/>
              </a:cxn>
            </a:cxnLst>
            <a:rect l="l" t="t" r="r" b="b"/>
            <a:pathLst>
              <a:path w="5185" h="4008">
                <a:moveTo>
                  <a:pt x="970" y="3674"/>
                </a:moveTo>
                <a:cubicBezTo>
                  <a:pt x="1177" y="3674"/>
                  <a:pt x="1336" y="3499"/>
                  <a:pt x="1336" y="3293"/>
                </a:cubicBezTo>
                <a:cubicBezTo>
                  <a:pt x="1336" y="3086"/>
                  <a:pt x="1177" y="2911"/>
                  <a:pt x="970" y="2911"/>
                </a:cubicBezTo>
                <a:cubicBezTo>
                  <a:pt x="747" y="2911"/>
                  <a:pt x="588" y="3086"/>
                  <a:pt x="588" y="3293"/>
                </a:cubicBezTo>
                <a:cubicBezTo>
                  <a:pt x="588" y="3499"/>
                  <a:pt x="747" y="3674"/>
                  <a:pt x="970" y="3674"/>
                </a:cubicBezTo>
                <a:close/>
                <a:moveTo>
                  <a:pt x="970" y="3070"/>
                </a:moveTo>
                <a:cubicBezTo>
                  <a:pt x="1081" y="3070"/>
                  <a:pt x="1177" y="3165"/>
                  <a:pt x="1177" y="3293"/>
                </a:cubicBezTo>
                <a:cubicBezTo>
                  <a:pt x="1177" y="3420"/>
                  <a:pt x="1081" y="3515"/>
                  <a:pt x="970" y="3515"/>
                </a:cubicBezTo>
                <a:cubicBezTo>
                  <a:pt x="843" y="3515"/>
                  <a:pt x="747" y="3420"/>
                  <a:pt x="747" y="3293"/>
                </a:cubicBezTo>
                <a:cubicBezTo>
                  <a:pt x="747" y="3165"/>
                  <a:pt x="843" y="3070"/>
                  <a:pt x="970" y="3070"/>
                </a:cubicBezTo>
                <a:close/>
                <a:moveTo>
                  <a:pt x="1718" y="3595"/>
                </a:moveTo>
                <a:cubicBezTo>
                  <a:pt x="1765" y="3595"/>
                  <a:pt x="1797" y="3563"/>
                  <a:pt x="1797" y="3515"/>
                </a:cubicBezTo>
                <a:lnTo>
                  <a:pt x="1797" y="3356"/>
                </a:lnTo>
                <a:cubicBezTo>
                  <a:pt x="1797" y="3308"/>
                  <a:pt x="1765" y="3277"/>
                  <a:pt x="1718" y="3277"/>
                </a:cubicBezTo>
                <a:cubicBezTo>
                  <a:pt x="1670" y="3277"/>
                  <a:pt x="1638" y="3308"/>
                  <a:pt x="1638" y="3356"/>
                </a:cubicBezTo>
                <a:lnTo>
                  <a:pt x="1638" y="3515"/>
                </a:lnTo>
                <a:cubicBezTo>
                  <a:pt x="1638" y="3563"/>
                  <a:pt x="1670" y="3595"/>
                  <a:pt x="1718" y="3595"/>
                </a:cubicBezTo>
                <a:close/>
                <a:moveTo>
                  <a:pt x="2036" y="3595"/>
                </a:moveTo>
                <a:cubicBezTo>
                  <a:pt x="2083" y="3595"/>
                  <a:pt x="2115" y="3563"/>
                  <a:pt x="2115" y="3515"/>
                </a:cubicBezTo>
                <a:lnTo>
                  <a:pt x="2115" y="3356"/>
                </a:lnTo>
                <a:cubicBezTo>
                  <a:pt x="2115" y="3308"/>
                  <a:pt x="2083" y="3277"/>
                  <a:pt x="2036" y="3277"/>
                </a:cubicBezTo>
                <a:cubicBezTo>
                  <a:pt x="1988" y="3277"/>
                  <a:pt x="1956" y="3308"/>
                  <a:pt x="1956" y="3356"/>
                </a:cubicBezTo>
                <a:lnTo>
                  <a:pt x="1956" y="3515"/>
                </a:lnTo>
                <a:cubicBezTo>
                  <a:pt x="1956" y="3563"/>
                  <a:pt x="1988" y="3595"/>
                  <a:pt x="2036" y="3595"/>
                </a:cubicBezTo>
                <a:close/>
                <a:moveTo>
                  <a:pt x="2513" y="3595"/>
                </a:moveTo>
                <a:cubicBezTo>
                  <a:pt x="2561" y="3595"/>
                  <a:pt x="2592" y="3563"/>
                  <a:pt x="2592" y="3515"/>
                </a:cubicBezTo>
                <a:lnTo>
                  <a:pt x="2592" y="3356"/>
                </a:lnTo>
                <a:cubicBezTo>
                  <a:pt x="2592" y="3308"/>
                  <a:pt x="2561" y="3277"/>
                  <a:pt x="2513" y="3277"/>
                </a:cubicBezTo>
                <a:cubicBezTo>
                  <a:pt x="2465" y="3277"/>
                  <a:pt x="2433" y="3308"/>
                  <a:pt x="2433" y="3356"/>
                </a:cubicBezTo>
                <a:lnTo>
                  <a:pt x="2433" y="3515"/>
                </a:lnTo>
                <a:cubicBezTo>
                  <a:pt x="2433" y="3563"/>
                  <a:pt x="2465" y="3595"/>
                  <a:pt x="2513" y="3595"/>
                </a:cubicBezTo>
                <a:close/>
                <a:moveTo>
                  <a:pt x="2831" y="3595"/>
                </a:moveTo>
                <a:cubicBezTo>
                  <a:pt x="2879" y="3595"/>
                  <a:pt x="2910" y="3563"/>
                  <a:pt x="2910" y="3515"/>
                </a:cubicBezTo>
                <a:lnTo>
                  <a:pt x="2910" y="3356"/>
                </a:lnTo>
                <a:cubicBezTo>
                  <a:pt x="2910" y="3308"/>
                  <a:pt x="2879" y="3277"/>
                  <a:pt x="2831" y="3277"/>
                </a:cubicBezTo>
                <a:cubicBezTo>
                  <a:pt x="2783" y="3277"/>
                  <a:pt x="2751" y="3308"/>
                  <a:pt x="2751" y="3356"/>
                </a:cubicBezTo>
                <a:lnTo>
                  <a:pt x="2751" y="3515"/>
                </a:lnTo>
                <a:cubicBezTo>
                  <a:pt x="2751" y="3563"/>
                  <a:pt x="2783" y="3595"/>
                  <a:pt x="2831" y="3595"/>
                </a:cubicBezTo>
                <a:close/>
                <a:moveTo>
                  <a:pt x="191" y="4008"/>
                </a:moveTo>
                <a:lnTo>
                  <a:pt x="4994" y="4008"/>
                </a:lnTo>
                <a:cubicBezTo>
                  <a:pt x="5106" y="4008"/>
                  <a:pt x="5185" y="3913"/>
                  <a:pt x="5185" y="3817"/>
                </a:cubicBezTo>
                <a:lnTo>
                  <a:pt x="5185" y="2768"/>
                </a:lnTo>
                <a:cubicBezTo>
                  <a:pt x="5185" y="2672"/>
                  <a:pt x="5106" y="2593"/>
                  <a:pt x="4994" y="2593"/>
                </a:cubicBezTo>
                <a:lnTo>
                  <a:pt x="4342" y="2593"/>
                </a:lnTo>
                <a:lnTo>
                  <a:pt x="4342" y="1829"/>
                </a:lnTo>
                <a:cubicBezTo>
                  <a:pt x="4342" y="1702"/>
                  <a:pt x="4278" y="1606"/>
                  <a:pt x="4183" y="1575"/>
                </a:cubicBezTo>
                <a:lnTo>
                  <a:pt x="4183" y="79"/>
                </a:lnTo>
                <a:cubicBezTo>
                  <a:pt x="4183" y="48"/>
                  <a:pt x="4151" y="0"/>
                  <a:pt x="4103" y="0"/>
                </a:cubicBezTo>
                <a:cubicBezTo>
                  <a:pt x="4055" y="0"/>
                  <a:pt x="4024" y="48"/>
                  <a:pt x="4024" y="79"/>
                </a:cubicBezTo>
                <a:lnTo>
                  <a:pt x="4024" y="1559"/>
                </a:lnTo>
                <a:cubicBezTo>
                  <a:pt x="3928" y="1591"/>
                  <a:pt x="3865" y="1702"/>
                  <a:pt x="3865" y="1829"/>
                </a:cubicBezTo>
                <a:lnTo>
                  <a:pt x="3865" y="2593"/>
                </a:lnTo>
                <a:lnTo>
                  <a:pt x="191" y="2593"/>
                </a:lnTo>
                <a:cubicBezTo>
                  <a:pt x="79" y="2593"/>
                  <a:pt x="0" y="2672"/>
                  <a:pt x="0" y="2768"/>
                </a:cubicBezTo>
                <a:lnTo>
                  <a:pt x="0" y="3817"/>
                </a:lnTo>
                <a:cubicBezTo>
                  <a:pt x="0" y="3913"/>
                  <a:pt x="79" y="4008"/>
                  <a:pt x="191" y="4008"/>
                </a:cubicBezTo>
                <a:close/>
                <a:moveTo>
                  <a:pt x="4024" y="1829"/>
                </a:moveTo>
                <a:cubicBezTo>
                  <a:pt x="4024" y="1750"/>
                  <a:pt x="4040" y="1718"/>
                  <a:pt x="4103" y="1718"/>
                </a:cubicBezTo>
                <a:cubicBezTo>
                  <a:pt x="4167" y="1718"/>
                  <a:pt x="4183" y="1781"/>
                  <a:pt x="4183" y="1829"/>
                </a:cubicBezTo>
                <a:lnTo>
                  <a:pt x="4183" y="2593"/>
                </a:lnTo>
                <a:lnTo>
                  <a:pt x="4024" y="2593"/>
                </a:lnTo>
                <a:close/>
                <a:moveTo>
                  <a:pt x="159" y="2768"/>
                </a:moveTo>
                <a:cubicBezTo>
                  <a:pt x="159" y="2752"/>
                  <a:pt x="174" y="2752"/>
                  <a:pt x="191" y="2752"/>
                </a:cubicBezTo>
                <a:lnTo>
                  <a:pt x="3945" y="2752"/>
                </a:lnTo>
                <a:lnTo>
                  <a:pt x="4263" y="2752"/>
                </a:lnTo>
                <a:lnTo>
                  <a:pt x="4994" y="2752"/>
                </a:lnTo>
                <a:cubicBezTo>
                  <a:pt x="5010" y="2752"/>
                  <a:pt x="5026" y="2752"/>
                  <a:pt x="5026" y="2768"/>
                </a:cubicBezTo>
                <a:lnTo>
                  <a:pt x="5026" y="3817"/>
                </a:lnTo>
                <a:cubicBezTo>
                  <a:pt x="5026" y="3833"/>
                  <a:pt x="5010" y="3849"/>
                  <a:pt x="4994" y="3849"/>
                </a:cubicBezTo>
                <a:lnTo>
                  <a:pt x="191" y="3849"/>
                </a:lnTo>
                <a:cubicBezTo>
                  <a:pt x="174" y="3849"/>
                  <a:pt x="159" y="3833"/>
                  <a:pt x="159" y="381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1" name="Freeform: Shape 9">
            <a:extLst>
              <a:ext uri="{FF2B5EF4-FFF2-40B4-BE49-F238E27FC236}">
                <a16:creationId xmlns:a16="http://schemas.microsoft.com/office/drawing/2014/main" id="{9A14302B-4780-AE48-863A-1207073A6033}"/>
              </a:ext>
            </a:extLst>
          </p:cNvPr>
          <p:cNvSpPr/>
          <p:nvPr/>
        </p:nvSpPr>
        <p:spPr>
          <a:xfrm>
            <a:off x="13723729" y="6956434"/>
            <a:ext cx="1980720" cy="589680"/>
          </a:xfrm>
          <a:custGeom>
            <a:avLst/>
            <a:gdLst/>
            <a:ahLst/>
            <a:cxnLst>
              <a:cxn ang="3cd4">
                <a:pos x="hc" y="t"/>
              </a:cxn>
              <a:cxn ang="cd2">
                <a:pos x="l" y="vc"/>
              </a:cxn>
              <a:cxn ang="cd4">
                <a:pos x="hc" y="b"/>
              </a:cxn>
              <a:cxn ang="0">
                <a:pos x="r" y="vc"/>
              </a:cxn>
            </a:cxnLst>
            <a:rect l="l" t="t" r="r" b="b"/>
            <a:pathLst>
              <a:path w="5503" h="1639">
                <a:moveTo>
                  <a:pt x="5312" y="0"/>
                </a:moveTo>
                <a:lnTo>
                  <a:pt x="191" y="0"/>
                </a:lnTo>
                <a:cubicBezTo>
                  <a:pt x="95" y="0"/>
                  <a:pt x="0" y="96"/>
                  <a:pt x="0" y="207"/>
                </a:cubicBezTo>
                <a:lnTo>
                  <a:pt x="0" y="1448"/>
                </a:lnTo>
                <a:cubicBezTo>
                  <a:pt x="0" y="1559"/>
                  <a:pt x="95" y="1639"/>
                  <a:pt x="191" y="1639"/>
                </a:cubicBezTo>
                <a:lnTo>
                  <a:pt x="5312" y="1639"/>
                </a:lnTo>
                <a:cubicBezTo>
                  <a:pt x="5408" y="1639"/>
                  <a:pt x="5503" y="1559"/>
                  <a:pt x="5503" y="1448"/>
                </a:cubicBezTo>
                <a:lnTo>
                  <a:pt x="5503" y="207"/>
                </a:lnTo>
                <a:cubicBezTo>
                  <a:pt x="5503" y="96"/>
                  <a:pt x="5408" y="0"/>
                  <a:pt x="5312" y="0"/>
                </a:cubicBezTo>
                <a:close/>
                <a:moveTo>
                  <a:pt x="5344" y="1448"/>
                </a:moveTo>
                <a:cubicBezTo>
                  <a:pt x="5344" y="1464"/>
                  <a:pt x="5329" y="1479"/>
                  <a:pt x="5312" y="1479"/>
                </a:cubicBezTo>
                <a:lnTo>
                  <a:pt x="191" y="1479"/>
                </a:lnTo>
                <a:cubicBezTo>
                  <a:pt x="175" y="1479"/>
                  <a:pt x="159" y="1464"/>
                  <a:pt x="159" y="1448"/>
                </a:cubicBezTo>
                <a:lnTo>
                  <a:pt x="159" y="207"/>
                </a:lnTo>
                <a:cubicBezTo>
                  <a:pt x="159" y="191"/>
                  <a:pt x="175" y="159"/>
                  <a:pt x="191" y="159"/>
                </a:cubicBezTo>
                <a:lnTo>
                  <a:pt x="5312" y="159"/>
                </a:lnTo>
                <a:cubicBezTo>
                  <a:pt x="5329" y="159"/>
                  <a:pt x="5344" y="191"/>
                  <a:pt x="5344" y="207"/>
                </a:cubicBezTo>
                <a:close/>
                <a:moveTo>
                  <a:pt x="4803" y="366"/>
                </a:moveTo>
                <a:lnTo>
                  <a:pt x="4454" y="366"/>
                </a:lnTo>
                <a:lnTo>
                  <a:pt x="4454" y="716"/>
                </a:lnTo>
                <a:lnTo>
                  <a:pt x="4803" y="716"/>
                </a:lnTo>
                <a:close/>
                <a:moveTo>
                  <a:pt x="3006" y="366"/>
                </a:moveTo>
                <a:lnTo>
                  <a:pt x="2672" y="366"/>
                </a:lnTo>
                <a:lnTo>
                  <a:pt x="2657" y="366"/>
                </a:lnTo>
                <a:lnTo>
                  <a:pt x="2657" y="716"/>
                </a:lnTo>
                <a:lnTo>
                  <a:pt x="2672" y="716"/>
                </a:lnTo>
                <a:lnTo>
                  <a:pt x="3006" y="716"/>
                </a:lnTo>
                <a:lnTo>
                  <a:pt x="3022" y="716"/>
                </a:lnTo>
                <a:lnTo>
                  <a:pt x="3022" y="366"/>
                </a:lnTo>
                <a:close/>
                <a:moveTo>
                  <a:pt x="4199" y="366"/>
                </a:moveTo>
                <a:lnTo>
                  <a:pt x="3865" y="366"/>
                </a:lnTo>
                <a:lnTo>
                  <a:pt x="3849" y="366"/>
                </a:lnTo>
                <a:lnTo>
                  <a:pt x="3849" y="716"/>
                </a:lnTo>
                <a:lnTo>
                  <a:pt x="3865" y="716"/>
                </a:lnTo>
                <a:lnTo>
                  <a:pt x="4199" y="716"/>
                </a:lnTo>
                <a:lnTo>
                  <a:pt x="4215" y="716"/>
                </a:lnTo>
                <a:lnTo>
                  <a:pt x="4215" y="366"/>
                </a:lnTo>
                <a:close/>
                <a:moveTo>
                  <a:pt x="3611" y="366"/>
                </a:moveTo>
                <a:lnTo>
                  <a:pt x="3261" y="366"/>
                </a:lnTo>
                <a:lnTo>
                  <a:pt x="3261" y="716"/>
                </a:lnTo>
                <a:lnTo>
                  <a:pt x="3611" y="716"/>
                </a:lnTo>
                <a:close/>
                <a:moveTo>
                  <a:pt x="1829" y="366"/>
                </a:moveTo>
                <a:lnTo>
                  <a:pt x="1479" y="366"/>
                </a:lnTo>
                <a:lnTo>
                  <a:pt x="1479" y="716"/>
                </a:lnTo>
                <a:lnTo>
                  <a:pt x="1829" y="716"/>
                </a:lnTo>
                <a:close/>
                <a:moveTo>
                  <a:pt x="493" y="637"/>
                </a:moveTo>
                <a:lnTo>
                  <a:pt x="1193" y="637"/>
                </a:lnTo>
                <a:lnTo>
                  <a:pt x="1193" y="461"/>
                </a:lnTo>
                <a:lnTo>
                  <a:pt x="493" y="461"/>
                </a:lnTo>
                <a:close/>
                <a:moveTo>
                  <a:pt x="2418" y="366"/>
                </a:moveTo>
                <a:lnTo>
                  <a:pt x="2068" y="366"/>
                </a:lnTo>
                <a:lnTo>
                  <a:pt x="2068" y="716"/>
                </a:lnTo>
                <a:lnTo>
                  <a:pt x="2418" y="716"/>
                </a:lnTo>
                <a:close/>
                <a:moveTo>
                  <a:pt x="4803" y="875"/>
                </a:moveTo>
                <a:lnTo>
                  <a:pt x="4454" y="875"/>
                </a:lnTo>
                <a:lnTo>
                  <a:pt x="4454" y="891"/>
                </a:lnTo>
                <a:lnTo>
                  <a:pt x="4454" y="1225"/>
                </a:lnTo>
                <a:lnTo>
                  <a:pt x="4454" y="1241"/>
                </a:lnTo>
                <a:lnTo>
                  <a:pt x="4803" y="1241"/>
                </a:lnTo>
                <a:lnTo>
                  <a:pt x="4803" y="1225"/>
                </a:lnTo>
                <a:lnTo>
                  <a:pt x="4803" y="891"/>
                </a:lnTo>
                <a:close/>
                <a:moveTo>
                  <a:pt x="3006" y="875"/>
                </a:moveTo>
                <a:lnTo>
                  <a:pt x="2672" y="875"/>
                </a:lnTo>
                <a:lnTo>
                  <a:pt x="2657" y="891"/>
                </a:lnTo>
                <a:lnTo>
                  <a:pt x="2657" y="1225"/>
                </a:lnTo>
                <a:cubicBezTo>
                  <a:pt x="2657" y="1241"/>
                  <a:pt x="2667" y="1236"/>
                  <a:pt x="2672" y="1241"/>
                </a:cubicBezTo>
                <a:lnTo>
                  <a:pt x="3006" y="1241"/>
                </a:lnTo>
                <a:cubicBezTo>
                  <a:pt x="3022" y="1241"/>
                  <a:pt x="3022" y="1241"/>
                  <a:pt x="3022" y="1225"/>
                </a:cubicBezTo>
                <a:lnTo>
                  <a:pt x="3022" y="891"/>
                </a:lnTo>
                <a:cubicBezTo>
                  <a:pt x="3017" y="886"/>
                  <a:pt x="3022" y="875"/>
                  <a:pt x="3006" y="875"/>
                </a:cubicBezTo>
                <a:close/>
                <a:moveTo>
                  <a:pt x="4199" y="875"/>
                </a:moveTo>
                <a:lnTo>
                  <a:pt x="3865" y="875"/>
                </a:lnTo>
                <a:cubicBezTo>
                  <a:pt x="3849" y="875"/>
                  <a:pt x="3854" y="886"/>
                  <a:pt x="3849" y="891"/>
                </a:cubicBezTo>
                <a:lnTo>
                  <a:pt x="3849" y="1225"/>
                </a:lnTo>
                <a:cubicBezTo>
                  <a:pt x="3849" y="1241"/>
                  <a:pt x="3849" y="1241"/>
                  <a:pt x="3865" y="1241"/>
                </a:cubicBezTo>
                <a:lnTo>
                  <a:pt x="4199" y="1241"/>
                </a:lnTo>
                <a:cubicBezTo>
                  <a:pt x="4204" y="1236"/>
                  <a:pt x="4215" y="1241"/>
                  <a:pt x="4215" y="1225"/>
                </a:cubicBezTo>
                <a:lnTo>
                  <a:pt x="4215" y="891"/>
                </a:lnTo>
                <a:close/>
                <a:moveTo>
                  <a:pt x="3611" y="875"/>
                </a:moveTo>
                <a:lnTo>
                  <a:pt x="3261" y="875"/>
                </a:lnTo>
                <a:lnTo>
                  <a:pt x="3261" y="891"/>
                </a:lnTo>
                <a:lnTo>
                  <a:pt x="3261" y="1225"/>
                </a:lnTo>
                <a:lnTo>
                  <a:pt x="3261" y="1241"/>
                </a:lnTo>
                <a:lnTo>
                  <a:pt x="3611" y="1241"/>
                </a:lnTo>
                <a:lnTo>
                  <a:pt x="3611" y="1225"/>
                </a:lnTo>
                <a:lnTo>
                  <a:pt x="3611" y="891"/>
                </a:lnTo>
                <a:close/>
                <a:moveTo>
                  <a:pt x="1829" y="875"/>
                </a:moveTo>
                <a:lnTo>
                  <a:pt x="1479" y="875"/>
                </a:lnTo>
                <a:lnTo>
                  <a:pt x="1479" y="891"/>
                </a:lnTo>
                <a:lnTo>
                  <a:pt x="1479" y="1225"/>
                </a:lnTo>
                <a:lnTo>
                  <a:pt x="1479" y="1241"/>
                </a:lnTo>
                <a:lnTo>
                  <a:pt x="1829" y="1241"/>
                </a:lnTo>
                <a:lnTo>
                  <a:pt x="1829" y="1225"/>
                </a:lnTo>
                <a:lnTo>
                  <a:pt x="1829" y="891"/>
                </a:lnTo>
                <a:close/>
                <a:moveTo>
                  <a:pt x="2418" y="875"/>
                </a:moveTo>
                <a:lnTo>
                  <a:pt x="2068" y="875"/>
                </a:lnTo>
                <a:lnTo>
                  <a:pt x="2068" y="891"/>
                </a:lnTo>
                <a:lnTo>
                  <a:pt x="2068" y="1225"/>
                </a:lnTo>
                <a:lnTo>
                  <a:pt x="2068" y="1241"/>
                </a:lnTo>
                <a:lnTo>
                  <a:pt x="2418" y="1241"/>
                </a:lnTo>
                <a:lnTo>
                  <a:pt x="2418" y="1225"/>
                </a:lnTo>
                <a:lnTo>
                  <a:pt x="2418" y="891"/>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2" name="Freeform: Shape 10">
            <a:extLst>
              <a:ext uri="{FF2B5EF4-FFF2-40B4-BE49-F238E27FC236}">
                <a16:creationId xmlns:a16="http://schemas.microsoft.com/office/drawing/2014/main" id="{2FFB7360-C45A-2043-B2C3-C8AD1E4608EA}"/>
              </a:ext>
            </a:extLst>
          </p:cNvPr>
          <p:cNvSpPr/>
          <p:nvPr/>
        </p:nvSpPr>
        <p:spPr>
          <a:xfrm>
            <a:off x="17376144" y="6670234"/>
            <a:ext cx="1729080" cy="1167840"/>
          </a:xfrm>
          <a:custGeom>
            <a:avLst/>
            <a:gdLst/>
            <a:ahLst/>
            <a:cxnLst>
              <a:cxn ang="3cd4">
                <a:pos x="hc" y="t"/>
              </a:cxn>
              <a:cxn ang="cd2">
                <a:pos x="l" y="vc"/>
              </a:cxn>
              <a:cxn ang="cd4">
                <a:pos x="hc" y="b"/>
              </a:cxn>
              <a:cxn ang="0">
                <a:pos x="r" y="vc"/>
              </a:cxn>
            </a:cxnLst>
            <a:rect l="l" t="t" r="r" b="b"/>
            <a:pathLst>
              <a:path w="4804" h="3245">
                <a:moveTo>
                  <a:pt x="4724" y="2577"/>
                </a:moveTo>
                <a:cubicBezTo>
                  <a:pt x="4740" y="2577"/>
                  <a:pt x="4756" y="2577"/>
                  <a:pt x="4771" y="2561"/>
                </a:cubicBezTo>
                <a:cubicBezTo>
                  <a:pt x="4787" y="2545"/>
                  <a:pt x="4804" y="2529"/>
                  <a:pt x="4804" y="2497"/>
                </a:cubicBezTo>
                <a:lnTo>
                  <a:pt x="4804" y="80"/>
                </a:lnTo>
                <a:cubicBezTo>
                  <a:pt x="4804" y="32"/>
                  <a:pt x="4756" y="0"/>
                  <a:pt x="4724" y="0"/>
                </a:cubicBezTo>
                <a:lnTo>
                  <a:pt x="79" y="0"/>
                </a:lnTo>
                <a:cubicBezTo>
                  <a:pt x="32" y="0"/>
                  <a:pt x="0" y="32"/>
                  <a:pt x="0" y="80"/>
                </a:cubicBezTo>
                <a:lnTo>
                  <a:pt x="0" y="3165"/>
                </a:lnTo>
                <a:cubicBezTo>
                  <a:pt x="0" y="3197"/>
                  <a:pt x="32" y="3245"/>
                  <a:pt x="79" y="3245"/>
                </a:cubicBezTo>
                <a:lnTo>
                  <a:pt x="652" y="3245"/>
                </a:lnTo>
                <a:lnTo>
                  <a:pt x="1320" y="3245"/>
                </a:lnTo>
                <a:lnTo>
                  <a:pt x="1988" y="3245"/>
                </a:lnTo>
                <a:lnTo>
                  <a:pt x="2656" y="3245"/>
                </a:lnTo>
                <a:lnTo>
                  <a:pt x="3213" y="3245"/>
                </a:lnTo>
                <a:cubicBezTo>
                  <a:pt x="3260" y="3245"/>
                  <a:pt x="3292" y="3197"/>
                  <a:pt x="3292" y="3165"/>
                </a:cubicBezTo>
                <a:lnTo>
                  <a:pt x="3292" y="2577"/>
                </a:lnTo>
                <a:close/>
                <a:moveTo>
                  <a:pt x="4644" y="2417"/>
                </a:moveTo>
                <a:lnTo>
                  <a:pt x="3213" y="2417"/>
                </a:lnTo>
                <a:cubicBezTo>
                  <a:pt x="3197" y="2417"/>
                  <a:pt x="3181" y="2434"/>
                  <a:pt x="3165" y="2450"/>
                </a:cubicBezTo>
                <a:cubicBezTo>
                  <a:pt x="3149" y="2450"/>
                  <a:pt x="3133" y="2481"/>
                  <a:pt x="3133" y="2497"/>
                </a:cubicBezTo>
                <a:lnTo>
                  <a:pt x="3133" y="3086"/>
                </a:lnTo>
                <a:lnTo>
                  <a:pt x="2736" y="3086"/>
                </a:lnTo>
                <a:lnTo>
                  <a:pt x="2736" y="2513"/>
                </a:lnTo>
                <a:cubicBezTo>
                  <a:pt x="2736" y="2481"/>
                  <a:pt x="2704" y="2434"/>
                  <a:pt x="2656" y="2434"/>
                </a:cubicBezTo>
                <a:cubicBezTo>
                  <a:pt x="2608" y="2434"/>
                  <a:pt x="2577" y="2481"/>
                  <a:pt x="2577" y="2513"/>
                </a:cubicBezTo>
                <a:lnTo>
                  <a:pt x="2577" y="3086"/>
                </a:lnTo>
                <a:lnTo>
                  <a:pt x="2068" y="3086"/>
                </a:lnTo>
                <a:lnTo>
                  <a:pt x="2068" y="2513"/>
                </a:lnTo>
                <a:cubicBezTo>
                  <a:pt x="2068" y="2481"/>
                  <a:pt x="2036" y="2434"/>
                  <a:pt x="1988" y="2434"/>
                </a:cubicBezTo>
                <a:cubicBezTo>
                  <a:pt x="1940" y="2434"/>
                  <a:pt x="1908" y="2481"/>
                  <a:pt x="1908" y="2513"/>
                </a:cubicBezTo>
                <a:lnTo>
                  <a:pt x="1908" y="3086"/>
                </a:lnTo>
                <a:lnTo>
                  <a:pt x="1399" y="3086"/>
                </a:lnTo>
                <a:lnTo>
                  <a:pt x="1399" y="2513"/>
                </a:lnTo>
                <a:cubicBezTo>
                  <a:pt x="1399" y="2481"/>
                  <a:pt x="1368" y="2434"/>
                  <a:pt x="1320" y="2434"/>
                </a:cubicBezTo>
                <a:cubicBezTo>
                  <a:pt x="1272" y="2434"/>
                  <a:pt x="1241" y="2481"/>
                  <a:pt x="1241" y="2513"/>
                </a:cubicBezTo>
                <a:lnTo>
                  <a:pt x="1241" y="3086"/>
                </a:lnTo>
                <a:lnTo>
                  <a:pt x="732" y="3086"/>
                </a:lnTo>
                <a:lnTo>
                  <a:pt x="732" y="2513"/>
                </a:lnTo>
                <a:cubicBezTo>
                  <a:pt x="732" y="2481"/>
                  <a:pt x="700" y="2434"/>
                  <a:pt x="652" y="2434"/>
                </a:cubicBezTo>
                <a:cubicBezTo>
                  <a:pt x="604" y="2434"/>
                  <a:pt x="572" y="2481"/>
                  <a:pt x="572" y="2513"/>
                </a:cubicBezTo>
                <a:lnTo>
                  <a:pt x="572" y="3086"/>
                </a:lnTo>
                <a:lnTo>
                  <a:pt x="159" y="3086"/>
                </a:lnTo>
                <a:lnTo>
                  <a:pt x="159" y="159"/>
                </a:lnTo>
                <a:lnTo>
                  <a:pt x="4644" y="159"/>
                </a:lnTo>
                <a:close/>
                <a:moveTo>
                  <a:pt x="588" y="1177"/>
                </a:moveTo>
                <a:lnTo>
                  <a:pt x="763" y="1177"/>
                </a:lnTo>
                <a:lnTo>
                  <a:pt x="763" y="1798"/>
                </a:lnTo>
                <a:cubicBezTo>
                  <a:pt x="763" y="1845"/>
                  <a:pt x="795" y="1877"/>
                  <a:pt x="843" y="1877"/>
                </a:cubicBezTo>
                <a:lnTo>
                  <a:pt x="2370" y="1877"/>
                </a:lnTo>
                <a:lnTo>
                  <a:pt x="2370" y="1972"/>
                </a:lnTo>
                <a:cubicBezTo>
                  <a:pt x="2370" y="2020"/>
                  <a:pt x="2402" y="2052"/>
                  <a:pt x="2449" y="2052"/>
                </a:cubicBezTo>
                <a:lnTo>
                  <a:pt x="2958" y="2052"/>
                </a:lnTo>
                <a:cubicBezTo>
                  <a:pt x="3006" y="2052"/>
                  <a:pt x="3038" y="2020"/>
                  <a:pt x="3038" y="1972"/>
                </a:cubicBezTo>
                <a:lnTo>
                  <a:pt x="3038" y="1463"/>
                </a:lnTo>
                <a:cubicBezTo>
                  <a:pt x="3038" y="1416"/>
                  <a:pt x="3006" y="1384"/>
                  <a:pt x="2958" y="1384"/>
                </a:cubicBezTo>
                <a:lnTo>
                  <a:pt x="2783" y="1384"/>
                </a:lnTo>
                <a:lnTo>
                  <a:pt x="2783" y="700"/>
                </a:lnTo>
                <a:lnTo>
                  <a:pt x="3754" y="700"/>
                </a:lnTo>
                <a:lnTo>
                  <a:pt x="3754" y="923"/>
                </a:lnTo>
                <a:lnTo>
                  <a:pt x="3451" y="923"/>
                </a:lnTo>
                <a:cubicBezTo>
                  <a:pt x="3404" y="923"/>
                  <a:pt x="3372" y="954"/>
                  <a:pt x="3372" y="1002"/>
                </a:cubicBezTo>
                <a:lnTo>
                  <a:pt x="3372" y="1527"/>
                </a:lnTo>
                <a:cubicBezTo>
                  <a:pt x="3372" y="1559"/>
                  <a:pt x="3404" y="1590"/>
                  <a:pt x="3451" y="1590"/>
                </a:cubicBezTo>
                <a:lnTo>
                  <a:pt x="4231" y="1590"/>
                </a:lnTo>
                <a:cubicBezTo>
                  <a:pt x="4278" y="1590"/>
                  <a:pt x="4310" y="1559"/>
                  <a:pt x="4310" y="1527"/>
                </a:cubicBezTo>
                <a:lnTo>
                  <a:pt x="4310" y="1002"/>
                </a:lnTo>
                <a:cubicBezTo>
                  <a:pt x="4310" y="954"/>
                  <a:pt x="4278" y="923"/>
                  <a:pt x="4231" y="923"/>
                </a:cubicBezTo>
                <a:lnTo>
                  <a:pt x="3913" y="923"/>
                </a:lnTo>
                <a:lnTo>
                  <a:pt x="3913" y="620"/>
                </a:lnTo>
                <a:cubicBezTo>
                  <a:pt x="3913" y="572"/>
                  <a:pt x="3881" y="541"/>
                  <a:pt x="3833" y="541"/>
                </a:cubicBezTo>
                <a:lnTo>
                  <a:pt x="2704" y="541"/>
                </a:lnTo>
                <a:cubicBezTo>
                  <a:pt x="2656" y="541"/>
                  <a:pt x="2624" y="572"/>
                  <a:pt x="2624" y="620"/>
                </a:cubicBezTo>
                <a:lnTo>
                  <a:pt x="2624" y="1384"/>
                </a:lnTo>
                <a:lnTo>
                  <a:pt x="2449" y="1384"/>
                </a:lnTo>
                <a:cubicBezTo>
                  <a:pt x="2402" y="1384"/>
                  <a:pt x="2370" y="1416"/>
                  <a:pt x="2370" y="1463"/>
                </a:cubicBezTo>
                <a:lnTo>
                  <a:pt x="2370" y="1718"/>
                </a:lnTo>
                <a:lnTo>
                  <a:pt x="923" y="1718"/>
                </a:lnTo>
                <a:lnTo>
                  <a:pt x="923" y="1177"/>
                </a:lnTo>
                <a:lnTo>
                  <a:pt x="1097" y="1177"/>
                </a:lnTo>
                <a:cubicBezTo>
                  <a:pt x="1145" y="1177"/>
                  <a:pt x="1177" y="1145"/>
                  <a:pt x="1177" y="1098"/>
                </a:cubicBezTo>
                <a:lnTo>
                  <a:pt x="1177" y="572"/>
                </a:lnTo>
                <a:cubicBezTo>
                  <a:pt x="1177" y="541"/>
                  <a:pt x="1145" y="493"/>
                  <a:pt x="1097" y="493"/>
                </a:cubicBezTo>
                <a:lnTo>
                  <a:pt x="588" y="493"/>
                </a:lnTo>
                <a:cubicBezTo>
                  <a:pt x="541" y="493"/>
                  <a:pt x="509" y="541"/>
                  <a:pt x="509" y="572"/>
                </a:cubicBezTo>
                <a:lnTo>
                  <a:pt x="509" y="1098"/>
                </a:lnTo>
                <a:cubicBezTo>
                  <a:pt x="509" y="1145"/>
                  <a:pt x="541" y="1177"/>
                  <a:pt x="588" y="1177"/>
                </a:cubicBezTo>
                <a:close/>
                <a:moveTo>
                  <a:pt x="4151" y="1081"/>
                </a:moveTo>
                <a:lnTo>
                  <a:pt x="4151" y="1447"/>
                </a:lnTo>
                <a:lnTo>
                  <a:pt x="3531" y="1447"/>
                </a:lnTo>
                <a:lnTo>
                  <a:pt x="3531" y="1081"/>
                </a:lnTo>
                <a:close/>
                <a:moveTo>
                  <a:pt x="2529" y="1543"/>
                </a:moveTo>
                <a:lnTo>
                  <a:pt x="2879" y="1543"/>
                </a:lnTo>
                <a:lnTo>
                  <a:pt x="2879" y="1893"/>
                </a:lnTo>
                <a:lnTo>
                  <a:pt x="2529" y="1893"/>
                </a:lnTo>
                <a:close/>
                <a:moveTo>
                  <a:pt x="668" y="652"/>
                </a:moveTo>
                <a:lnTo>
                  <a:pt x="1018" y="652"/>
                </a:lnTo>
                <a:lnTo>
                  <a:pt x="1018" y="1018"/>
                </a:lnTo>
                <a:lnTo>
                  <a:pt x="668" y="1018"/>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3" name="Freeform: Shape 11">
            <a:extLst>
              <a:ext uri="{FF2B5EF4-FFF2-40B4-BE49-F238E27FC236}">
                <a16:creationId xmlns:a16="http://schemas.microsoft.com/office/drawing/2014/main" id="{44B2DDD5-9BE0-6445-BCEB-783131D3C44D}"/>
              </a:ext>
            </a:extLst>
          </p:cNvPr>
          <p:cNvSpPr/>
          <p:nvPr/>
        </p:nvSpPr>
        <p:spPr>
          <a:xfrm>
            <a:off x="17407645" y="3075055"/>
            <a:ext cx="1666079" cy="1625760"/>
          </a:xfrm>
          <a:custGeom>
            <a:avLst/>
            <a:gdLst/>
            <a:ahLst/>
            <a:cxnLst>
              <a:cxn ang="3cd4">
                <a:pos x="hc" y="t"/>
              </a:cxn>
              <a:cxn ang="cd2">
                <a:pos x="l" y="vc"/>
              </a:cxn>
              <a:cxn ang="cd4">
                <a:pos x="hc" y="b"/>
              </a:cxn>
              <a:cxn ang="0">
                <a:pos x="r" y="vc"/>
              </a:cxn>
            </a:cxnLst>
            <a:rect l="l" t="t" r="r" b="b"/>
            <a:pathLst>
              <a:path w="4629" h="4517">
                <a:moveTo>
                  <a:pt x="4629" y="3133"/>
                </a:moveTo>
                <a:cubicBezTo>
                  <a:pt x="4629" y="1495"/>
                  <a:pt x="4629" y="1495"/>
                  <a:pt x="4629" y="1495"/>
                </a:cubicBezTo>
                <a:cubicBezTo>
                  <a:pt x="4629" y="1177"/>
                  <a:pt x="4374" y="922"/>
                  <a:pt x="4072" y="922"/>
                </a:cubicBezTo>
                <a:cubicBezTo>
                  <a:pt x="3468" y="922"/>
                  <a:pt x="3468" y="922"/>
                  <a:pt x="3468" y="922"/>
                </a:cubicBezTo>
                <a:cubicBezTo>
                  <a:pt x="3468" y="79"/>
                  <a:pt x="3468" y="79"/>
                  <a:pt x="3468" y="79"/>
                </a:cubicBezTo>
                <a:cubicBezTo>
                  <a:pt x="3468" y="32"/>
                  <a:pt x="3436" y="0"/>
                  <a:pt x="3388" y="0"/>
                </a:cubicBezTo>
                <a:cubicBezTo>
                  <a:pt x="1241" y="0"/>
                  <a:pt x="1241" y="0"/>
                  <a:pt x="1241" y="0"/>
                </a:cubicBezTo>
                <a:cubicBezTo>
                  <a:pt x="1193" y="0"/>
                  <a:pt x="1161" y="32"/>
                  <a:pt x="1161" y="79"/>
                </a:cubicBezTo>
                <a:cubicBezTo>
                  <a:pt x="1161" y="922"/>
                  <a:pt x="1161" y="922"/>
                  <a:pt x="1161" y="922"/>
                </a:cubicBezTo>
                <a:cubicBezTo>
                  <a:pt x="557" y="922"/>
                  <a:pt x="557" y="922"/>
                  <a:pt x="557" y="922"/>
                </a:cubicBezTo>
                <a:cubicBezTo>
                  <a:pt x="255" y="922"/>
                  <a:pt x="0" y="1177"/>
                  <a:pt x="0" y="1495"/>
                </a:cubicBezTo>
                <a:cubicBezTo>
                  <a:pt x="0" y="3133"/>
                  <a:pt x="0" y="3133"/>
                  <a:pt x="0" y="3133"/>
                </a:cubicBezTo>
                <a:cubicBezTo>
                  <a:pt x="0" y="3451"/>
                  <a:pt x="255" y="3705"/>
                  <a:pt x="557" y="3705"/>
                </a:cubicBezTo>
                <a:cubicBezTo>
                  <a:pt x="875" y="3705"/>
                  <a:pt x="875" y="3705"/>
                  <a:pt x="875" y="3705"/>
                </a:cubicBezTo>
                <a:cubicBezTo>
                  <a:pt x="732" y="4422"/>
                  <a:pt x="732" y="4422"/>
                  <a:pt x="732" y="4422"/>
                </a:cubicBezTo>
                <a:cubicBezTo>
                  <a:pt x="732" y="4453"/>
                  <a:pt x="732" y="4469"/>
                  <a:pt x="748" y="4485"/>
                </a:cubicBezTo>
                <a:cubicBezTo>
                  <a:pt x="764" y="4517"/>
                  <a:pt x="780" y="4517"/>
                  <a:pt x="811" y="4517"/>
                </a:cubicBezTo>
                <a:cubicBezTo>
                  <a:pt x="3849" y="4517"/>
                  <a:pt x="3849" y="4517"/>
                  <a:pt x="3849" y="4517"/>
                </a:cubicBezTo>
                <a:cubicBezTo>
                  <a:pt x="3881" y="4517"/>
                  <a:pt x="3897" y="4517"/>
                  <a:pt x="3913" y="4485"/>
                </a:cubicBezTo>
                <a:cubicBezTo>
                  <a:pt x="3929" y="4469"/>
                  <a:pt x="3945" y="4453"/>
                  <a:pt x="3929" y="4422"/>
                </a:cubicBezTo>
                <a:cubicBezTo>
                  <a:pt x="3801" y="3705"/>
                  <a:pt x="3801" y="3705"/>
                  <a:pt x="3801" y="3705"/>
                </a:cubicBezTo>
                <a:cubicBezTo>
                  <a:pt x="4072" y="3705"/>
                  <a:pt x="4072" y="3705"/>
                  <a:pt x="4072" y="3705"/>
                </a:cubicBezTo>
                <a:cubicBezTo>
                  <a:pt x="4374" y="3705"/>
                  <a:pt x="4629" y="3451"/>
                  <a:pt x="4629" y="3133"/>
                </a:cubicBezTo>
                <a:close/>
                <a:moveTo>
                  <a:pt x="1320" y="159"/>
                </a:moveTo>
                <a:cubicBezTo>
                  <a:pt x="3309" y="159"/>
                  <a:pt x="3309" y="159"/>
                  <a:pt x="3309" y="159"/>
                </a:cubicBezTo>
                <a:cubicBezTo>
                  <a:pt x="3309" y="922"/>
                  <a:pt x="3309" y="922"/>
                  <a:pt x="3309" y="922"/>
                </a:cubicBezTo>
                <a:cubicBezTo>
                  <a:pt x="1320" y="922"/>
                  <a:pt x="1320" y="922"/>
                  <a:pt x="1320" y="922"/>
                </a:cubicBezTo>
                <a:close/>
                <a:moveTo>
                  <a:pt x="907" y="4358"/>
                </a:moveTo>
                <a:cubicBezTo>
                  <a:pt x="1034" y="3705"/>
                  <a:pt x="1034" y="3705"/>
                  <a:pt x="1034" y="3705"/>
                </a:cubicBezTo>
                <a:cubicBezTo>
                  <a:pt x="1066" y="3690"/>
                  <a:pt x="1082" y="3658"/>
                  <a:pt x="1082" y="3626"/>
                </a:cubicBezTo>
                <a:cubicBezTo>
                  <a:pt x="1082" y="3610"/>
                  <a:pt x="1082" y="3578"/>
                  <a:pt x="1050" y="3562"/>
                </a:cubicBezTo>
                <a:cubicBezTo>
                  <a:pt x="1225" y="2704"/>
                  <a:pt x="1225" y="2704"/>
                  <a:pt x="1225" y="2704"/>
                </a:cubicBezTo>
                <a:cubicBezTo>
                  <a:pt x="3436" y="2704"/>
                  <a:pt x="3436" y="2704"/>
                  <a:pt x="3436" y="2704"/>
                </a:cubicBezTo>
                <a:cubicBezTo>
                  <a:pt x="3468" y="2878"/>
                  <a:pt x="3468" y="2878"/>
                  <a:pt x="3468" y="2878"/>
                </a:cubicBezTo>
                <a:cubicBezTo>
                  <a:pt x="3468" y="2895"/>
                  <a:pt x="3452" y="2910"/>
                  <a:pt x="3452" y="2926"/>
                </a:cubicBezTo>
                <a:cubicBezTo>
                  <a:pt x="3452" y="2958"/>
                  <a:pt x="3468" y="2990"/>
                  <a:pt x="3500" y="2990"/>
                </a:cubicBezTo>
                <a:cubicBezTo>
                  <a:pt x="3611" y="3562"/>
                  <a:pt x="3611" y="3562"/>
                  <a:pt x="3611" y="3562"/>
                </a:cubicBezTo>
                <a:cubicBezTo>
                  <a:pt x="3579" y="3578"/>
                  <a:pt x="3563" y="3595"/>
                  <a:pt x="3563" y="3626"/>
                </a:cubicBezTo>
                <a:cubicBezTo>
                  <a:pt x="3563" y="3674"/>
                  <a:pt x="3595" y="3705"/>
                  <a:pt x="3626" y="3705"/>
                </a:cubicBezTo>
                <a:cubicBezTo>
                  <a:pt x="3754" y="4358"/>
                  <a:pt x="3754" y="4358"/>
                  <a:pt x="3754" y="4358"/>
                </a:cubicBezTo>
                <a:close/>
                <a:moveTo>
                  <a:pt x="843" y="2847"/>
                </a:moveTo>
                <a:cubicBezTo>
                  <a:pt x="843" y="2020"/>
                  <a:pt x="843" y="2020"/>
                  <a:pt x="843" y="2020"/>
                </a:cubicBezTo>
                <a:cubicBezTo>
                  <a:pt x="3818" y="2020"/>
                  <a:pt x="3818" y="2020"/>
                  <a:pt x="3818" y="2020"/>
                </a:cubicBezTo>
                <a:cubicBezTo>
                  <a:pt x="3818" y="2847"/>
                  <a:pt x="3818" y="2847"/>
                  <a:pt x="3818" y="2847"/>
                </a:cubicBezTo>
                <a:cubicBezTo>
                  <a:pt x="3626" y="2847"/>
                  <a:pt x="3626" y="2847"/>
                  <a:pt x="3626" y="2847"/>
                </a:cubicBezTo>
                <a:cubicBezTo>
                  <a:pt x="3579" y="2608"/>
                  <a:pt x="3579" y="2608"/>
                  <a:pt x="3579" y="2608"/>
                </a:cubicBezTo>
                <a:cubicBezTo>
                  <a:pt x="3579" y="2577"/>
                  <a:pt x="3547" y="2544"/>
                  <a:pt x="3500" y="2544"/>
                </a:cubicBezTo>
                <a:cubicBezTo>
                  <a:pt x="1161" y="2544"/>
                  <a:pt x="1161" y="2544"/>
                  <a:pt x="1161" y="2544"/>
                </a:cubicBezTo>
                <a:cubicBezTo>
                  <a:pt x="1113" y="2544"/>
                  <a:pt x="1082" y="2577"/>
                  <a:pt x="1082" y="2608"/>
                </a:cubicBezTo>
                <a:cubicBezTo>
                  <a:pt x="1034" y="2847"/>
                  <a:pt x="1034" y="2847"/>
                  <a:pt x="1034" y="2847"/>
                </a:cubicBezTo>
                <a:close/>
                <a:moveTo>
                  <a:pt x="4072" y="3547"/>
                </a:moveTo>
                <a:cubicBezTo>
                  <a:pt x="3770" y="3547"/>
                  <a:pt x="3770" y="3547"/>
                  <a:pt x="3770" y="3547"/>
                </a:cubicBezTo>
                <a:cubicBezTo>
                  <a:pt x="3658" y="3006"/>
                  <a:pt x="3658" y="3006"/>
                  <a:pt x="3658" y="3006"/>
                </a:cubicBezTo>
                <a:cubicBezTo>
                  <a:pt x="3897" y="3006"/>
                  <a:pt x="3897" y="3006"/>
                  <a:pt x="3897" y="3006"/>
                </a:cubicBezTo>
                <a:cubicBezTo>
                  <a:pt x="3945" y="3006"/>
                  <a:pt x="3977" y="2974"/>
                  <a:pt x="3977" y="2926"/>
                </a:cubicBezTo>
                <a:cubicBezTo>
                  <a:pt x="3977" y="1940"/>
                  <a:pt x="3977" y="1940"/>
                  <a:pt x="3977" y="1940"/>
                </a:cubicBezTo>
                <a:cubicBezTo>
                  <a:pt x="3977" y="1892"/>
                  <a:pt x="3945" y="1860"/>
                  <a:pt x="3897" y="1860"/>
                </a:cubicBezTo>
                <a:cubicBezTo>
                  <a:pt x="764" y="1860"/>
                  <a:pt x="764" y="1860"/>
                  <a:pt x="764" y="1860"/>
                </a:cubicBezTo>
                <a:cubicBezTo>
                  <a:pt x="732" y="1860"/>
                  <a:pt x="684" y="1892"/>
                  <a:pt x="684" y="1940"/>
                </a:cubicBezTo>
                <a:cubicBezTo>
                  <a:pt x="684" y="2926"/>
                  <a:pt x="684" y="2926"/>
                  <a:pt x="684" y="2926"/>
                </a:cubicBezTo>
                <a:cubicBezTo>
                  <a:pt x="684" y="2974"/>
                  <a:pt x="732" y="3006"/>
                  <a:pt x="764" y="3006"/>
                </a:cubicBezTo>
                <a:cubicBezTo>
                  <a:pt x="1002" y="3006"/>
                  <a:pt x="1002" y="3006"/>
                  <a:pt x="1002" y="3006"/>
                </a:cubicBezTo>
                <a:cubicBezTo>
                  <a:pt x="891" y="3547"/>
                  <a:pt x="891" y="3547"/>
                  <a:pt x="891" y="3547"/>
                </a:cubicBezTo>
                <a:cubicBezTo>
                  <a:pt x="557" y="3547"/>
                  <a:pt x="557" y="3547"/>
                  <a:pt x="557" y="3547"/>
                </a:cubicBezTo>
                <a:cubicBezTo>
                  <a:pt x="334" y="3547"/>
                  <a:pt x="159" y="3372"/>
                  <a:pt x="159" y="3133"/>
                </a:cubicBezTo>
                <a:cubicBezTo>
                  <a:pt x="159" y="1495"/>
                  <a:pt x="159" y="1495"/>
                  <a:pt x="159" y="1495"/>
                </a:cubicBezTo>
                <a:cubicBezTo>
                  <a:pt x="159" y="1272"/>
                  <a:pt x="334" y="1081"/>
                  <a:pt x="557" y="1081"/>
                </a:cubicBezTo>
                <a:cubicBezTo>
                  <a:pt x="1241" y="1081"/>
                  <a:pt x="1241" y="1081"/>
                  <a:pt x="1241" y="1081"/>
                </a:cubicBezTo>
                <a:cubicBezTo>
                  <a:pt x="3388" y="1081"/>
                  <a:pt x="3388" y="1081"/>
                  <a:pt x="3388" y="1081"/>
                </a:cubicBezTo>
                <a:cubicBezTo>
                  <a:pt x="4072" y="1081"/>
                  <a:pt x="4072" y="1081"/>
                  <a:pt x="4072" y="1081"/>
                </a:cubicBezTo>
                <a:cubicBezTo>
                  <a:pt x="4295" y="1081"/>
                  <a:pt x="4470" y="1272"/>
                  <a:pt x="4470" y="1495"/>
                </a:cubicBezTo>
                <a:cubicBezTo>
                  <a:pt x="4470" y="3133"/>
                  <a:pt x="4470" y="3133"/>
                  <a:pt x="4470" y="3133"/>
                </a:cubicBezTo>
                <a:cubicBezTo>
                  <a:pt x="4470" y="3372"/>
                  <a:pt x="4295" y="3547"/>
                  <a:pt x="4072" y="354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4" name="Freeform: Shape 13">
            <a:extLst>
              <a:ext uri="{FF2B5EF4-FFF2-40B4-BE49-F238E27FC236}">
                <a16:creationId xmlns:a16="http://schemas.microsoft.com/office/drawing/2014/main" id="{35F5FCF3-183F-364E-A9F0-D838EC557103}"/>
              </a:ext>
            </a:extLst>
          </p:cNvPr>
          <p:cNvSpPr/>
          <p:nvPr/>
        </p:nvSpPr>
        <p:spPr>
          <a:xfrm>
            <a:off x="9970348" y="3507395"/>
            <a:ext cx="1614240" cy="1196280"/>
          </a:xfrm>
          <a:custGeom>
            <a:avLst/>
            <a:gdLst/>
            <a:ahLst/>
            <a:cxnLst>
              <a:cxn ang="3cd4">
                <a:pos x="hc" y="t"/>
              </a:cxn>
              <a:cxn ang="cd2">
                <a:pos x="l" y="vc"/>
              </a:cxn>
              <a:cxn ang="cd4">
                <a:pos x="hc" y="b"/>
              </a:cxn>
              <a:cxn ang="0">
                <a:pos x="r" y="vc"/>
              </a:cxn>
            </a:cxnLst>
            <a:rect l="l" t="t" r="r" b="b"/>
            <a:pathLst>
              <a:path w="4485" h="3324">
                <a:moveTo>
                  <a:pt x="4199" y="0"/>
                </a:moveTo>
                <a:cubicBezTo>
                  <a:pt x="938" y="0"/>
                  <a:pt x="938" y="0"/>
                  <a:pt x="938" y="0"/>
                </a:cubicBezTo>
                <a:cubicBezTo>
                  <a:pt x="779" y="0"/>
                  <a:pt x="652" y="127"/>
                  <a:pt x="652" y="287"/>
                </a:cubicBezTo>
                <a:cubicBezTo>
                  <a:pt x="652" y="779"/>
                  <a:pt x="652" y="779"/>
                  <a:pt x="652" y="779"/>
                </a:cubicBezTo>
                <a:cubicBezTo>
                  <a:pt x="223" y="779"/>
                  <a:pt x="223" y="779"/>
                  <a:pt x="223" y="779"/>
                </a:cubicBezTo>
                <a:cubicBezTo>
                  <a:pt x="95" y="779"/>
                  <a:pt x="0" y="891"/>
                  <a:pt x="0" y="1018"/>
                </a:cubicBezTo>
                <a:cubicBezTo>
                  <a:pt x="0" y="3086"/>
                  <a:pt x="0" y="3086"/>
                  <a:pt x="0" y="3086"/>
                </a:cubicBezTo>
                <a:cubicBezTo>
                  <a:pt x="0" y="3213"/>
                  <a:pt x="95" y="3324"/>
                  <a:pt x="223" y="3324"/>
                </a:cubicBezTo>
                <a:cubicBezTo>
                  <a:pt x="1241" y="3324"/>
                  <a:pt x="1241" y="3324"/>
                  <a:pt x="1241" y="3324"/>
                </a:cubicBezTo>
                <a:cubicBezTo>
                  <a:pt x="1368" y="3324"/>
                  <a:pt x="1463" y="3213"/>
                  <a:pt x="1463" y="3086"/>
                </a:cubicBezTo>
                <a:cubicBezTo>
                  <a:pt x="1463" y="2688"/>
                  <a:pt x="1463" y="2688"/>
                  <a:pt x="1463" y="2688"/>
                </a:cubicBezTo>
                <a:cubicBezTo>
                  <a:pt x="2084" y="2688"/>
                  <a:pt x="2084" y="2688"/>
                  <a:pt x="2084" y="2688"/>
                </a:cubicBezTo>
                <a:cubicBezTo>
                  <a:pt x="1972" y="3229"/>
                  <a:pt x="1972" y="3229"/>
                  <a:pt x="1972" y="3229"/>
                </a:cubicBezTo>
                <a:cubicBezTo>
                  <a:pt x="1972" y="3245"/>
                  <a:pt x="1972" y="3276"/>
                  <a:pt x="1988" y="3293"/>
                </a:cubicBezTo>
                <a:cubicBezTo>
                  <a:pt x="2004" y="3308"/>
                  <a:pt x="2020" y="3324"/>
                  <a:pt x="2051" y="3324"/>
                </a:cubicBezTo>
                <a:cubicBezTo>
                  <a:pt x="2990" y="3324"/>
                  <a:pt x="2990" y="3324"/>
                  <a:pt x="2990" y="3324"/>
                </a:cubicBezTo>
                <a:cubicBezTo>
                  <a:pt x="3022" y="3324"/>
                  <a:pt x="3038" y="3308"/>
                  <a:pt x="3054" y="3293"/>
                </a:cubicBezTo>
                <a:cubicBezTo>
                  <a:pt x="3069" y="3276"/>
                  <a:pt x="3069" y="3245"/>
                  <a:pt x="3069" y="3229"/>
                </a:cubicBezTo>
                <a:cubicBezTo>
                  <a:pt x="2958" y="2688"/>
                  <a:pt x="2958" y="2688"/>
                  <a:pt x="2958" y="2688"/>
                </a:cubicBezTo>
                <a:cubicBezTo>
                  <a:pt x="4199" y="2688"/>
                  <a:pt x="4199" y="2688"/>
                  <a:pt x="4199" y="2688"/>
                </a:cubicBezTo>
                <a:cubicBezTo>
                  <a:pt x="4358" y="2688"/>
                  <a:pt x="4485" y="2561"/>
                  <a:pt x="4485" y="2402"/>
                </a:cubicBezTo>
                <a:cubicBezTo>
                  <a:pt x="4485" y="287"/>
                  <a:pt x="4485" y="287"/>
                  <a:pt x="4485" y="287"/>
                </a:cubicBezTo>
                <a:cubicBezTo>
                  <a:pt x="4485" y="127"/>
                  <a:pt x="4358" y="0"/>
                  <a:pt x="4199" y="0"/>
                </a:cubicBezTo>
                <a:close/>
                <a:moveTo>
                  <a:pt x="1304" y="3086"/>
                </a:moveTo>
                <a:cubicBezTo>
                  <a:pt x="1304" y="3133"/>
                  <a:pt x="1272" y="3165"/>
                  <a:pt x="1241" y="3165"/>
                </a:cubicBezTo>
                <a:cubicBezTo>
                  <a:pt x="223" y="3165"/>
                  <a:pt x="223" y="3165"/>
                  <a:pt x="223" y="3165"/>
                </a:cubicBezTo>
                <a:cubicBezTo>
                  <a:pt x="191" y="3165"/>
                  <a:pt x="159" y="3133"/>
                  <a:pt x="159" y="3086"/>
                </a:cubicBezTo>
                <a:cubicBezTo>
                  <a:pt x="159" y="2911"/>
                  <a:pt x="159" y="2911"/>
                  <a:pt x="159" y="2911"/>
                </a:cubicBezTo>
                <a:cubicBezTo>
                  <a:pt x="1304" y="2911"/>
                  <a:pt x="1304" y="2911"/>
                  <a:pt x="1304" y="2911"/>
                </a:cubicBezTo>
                <a:close/>
                <a:moveTo>
                  <a:pt x="1304" y="2752"/>
                </a:moveTo>
                <a:cubicBezTo>
                  <a:pt x="159" y="2752"/>
                  <a:pt x="159" y="2752"/>
                  <a:pt x="159" y="2752"/>
                </a:cubicBezTo>
                <a:cubicBezTo>
                  <a:pt x="159" y="1352"/>
                  <a:pt x="159" y="1352"/>
                  <a:pt x="159" y="1352"/>
                </a:cubicBezTo>
                <a:cubicBezTo>
                  <a:pt x="1304" y="1352"/>
                  <a:pt x="1304" y="1352"/>
                  <a:pt x="1304" y="1352"/>
                </a:cubicBezTo>
                <a:close/>
                <a:moveTo>
                  <a:pt x="1304" y="1193"/>
                </a:moveTo>
                <a:cubicBezTo>
                  <a:pt x="159" y="1193"/>
                  <a:pt x="159" y="1193"/>
                  <a:pt x="159" y="1193"/>
                </a:cubicBezTo>
                <a:cubicBezTo>
                  <a:pt x="159" y="1018"/>
                  <a:pt x="159" y="1018"/>
                  <a:pt x="159" y="1018"/>
                </a:cubicBezTo>
                <a:cubicBezTo>
                  <a:pt x="159" y="970"/>
                  <a:pt x="191" y="939"/>
                  <a:pt x="223" y="939"/>
                </a:cubicBezTo>
                <a:cubicBezTo>
                  <a:pt x="1241" y="939"/>
                  <a:pt x="1241" y="939"/>
                  <a:pt x="1241" y="939"/>
                </a:cubicBezTo>
                <a:cubicBezTo>
                  <a:pt x="1272" y="939"/>
                  <a:pt x="1304" y="970"/>
                  <a:pt x="1304" y="1018"/>
                </a:cubicBezTo>
                <a:close/>
                <a:moveTo>
                  <a:pt x="2147" y="3165"/>
                </a:moveTo>
                <a:cubicBezTo>
                  <a:pt x="2242" y="2688"/>
                  <a:pt x="2242" y="2688"/>
                  <a:pt x="2242" y="2688"/>
                </a:cubicBezTo>
                <a:cubicBezTo>
                  <a:pt x="2799" y="2688"/>
                  <a:pt x="2799" y="2688"/>
                  <a:pt x="2799" y="2688"/>
                </a:cubicBezTo>
                <a:cubicBezTo>
                  <a:pt x="2895" y="3165"/>
                  <a:pt x="2895" y="3165"/>
                  <a:pt x="2895" y="3165"/>
                </a:cubicBezTo>
                <a:close/>
                <a:moveTo>
                  <a:pt x="4326" y="2402"/>
                </a:moveTo>
                <a:cubicBezTo>
                  <a:pt x="4326" y="2481"/>
                  <a:pt x="4262" y="2529"/>
                  <a:pt x="4199" y="2529"/>
                </a:cubicBezTo>
                <a:cubicBezTo>
                  <a:pt x="2863" y="2529"/>
                  <a:pt x="2863" y="2529"/>
                  <a:pt x="2863" y="2529"/>
                </a:cubicBezTo>
                <a:cubicBezTo>
                  <a:pt x="2179" y="2529"/>
                  <a:pt x="2179" y="2529"/>
                  <a:pt x="2179" y="2529"/>
                </a:cubicBezTo>
                <a:cubicBezTo>
                  <a:pt x="1463" y="2529"/>
                  <a:pt x="1463" y="2529"/>
                  <a:pt x="1463" y="2529"/>
                </a:cubicBezTo>
                <a:cubicBezTo>
                  <a:pt x="1463" y="2179"/>
                  <a:pt x="1463" y="2179"/>
                  <a:pt x="1463" y="2179"/>
                </a:cubicBezTo>
                <a:cubicBezTo>
                  <a:pt x="4326" y="2179"/>
                  <a:pt x="4326" y="2179"/>
                  <a:pt x="4326" y="2179"/>
                </a:cubicBezTo>
                <a:close/>
                <a:moveTo>
                  <a:pt x="4326" y="2020"/>
                </a:moveTo>
                <a:cubicBezTo>
                  <a:pt x="1463" y="2020"/>
                  <a:pt x="1463" y="2020"/>
                  <a:pt x="1463" y="2020"/>
                </a:cubicBezTo>
                <a:cubicBezTo>
                  <a:pt x="1463" y="1018"/>
                  <a:pt x="1463" y="1018"/>
                  <a:pt x="1463" y="1018"/>
                </a:cubicBezTo>
                <a:cubicBezTo>
                  <a:pt x="1463" y="891"/>
                  <a:pt x="1368" y="779"/>
                  <a:pt x="1241" y="779"/>
                </a:cubicBezTo>
                <a:cubicBezTo>
                  <a:pt x="811" y="779"/>
                  <a:pt x="811" y="779"/>
                  <a:pt x="811" y="779"/>
                </a:cubicBezTo>
                <a:cubicBezTo>
                  <a:pt x="811" y="287"/>
                  <a:pt x="811" y="287"/>
                  <a:pt x="811" y="287"/>
                </a:cubicBezTo>
                <a:cubicBezTo>
                  <a:pt x="811" y="207"/>
                  <a:pt x="859" y="159"/>
                  <a:pt x="938" y="159"/>
                </a:cubicBezTo>
                <a:cubicBezTo>
                  <a:pt x="4199" y="159"/>
                  <a:pt x="4199" y="159"/>
                  <a:pt x="4199" y="159"/>
                </a:cubicBezTo>
                <a:cubicBezTo>
                  <a:pt x="4262" y="159"/>
                  <a:pt x="4326" y="207"/>
                  <a:pt x="4326" y="28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5" name="Freeform: Shape 14">
            <a:extLst>
              <a:ext uri="{FF2B5EF4-FFF2-40B4-BE49-F238E27FC236}">
                <a16:creationId xmlns:a16="http://schemas.microsoft.com/office/drawing/2014/main" id="{6017C592-3AAB-AE4A-B8A0-7CFD42274A03}"/>
              </a:ext>
            </a:extLst>
          </p:cNvPr>
          <p:cNvSpPr/>
          <p:nvPr/>
        </p:nvSpPr>
        <p:spPr>
          <a:xfrm>
            <a:off x="6318034" y="3072491"/>
            <a:ext cx="914760" cy="1580040"/>
          </a:xfrm>
          <a:custGeom>
            <a:avLst/>
            <a:gdLst/>
            <a:ahLst/>
            <a:cxnLst>
              <a:cxn ang="3cd4">
                <a:pos x="hc" y="t"/>
              </a:cxn>
              <a:cxn ang="cd2">
                <a:pos x="l" y="vc"/>
              </a:cxn>
              <a:cxn ang="cd4">
                <a:pos x="hc" y="b"/>
              </a:cxn>
              <a:cxn ang="0">
                <a:pos x="r" y="vc"/>
              </a:cxn>
            </a:cxnLst>
            <a:rect l="l" t="t" r="r" b="b"/>
            <a:pathLst>
              <a:path w="2542" h="4390">
                <a:moveTo>
                  <a:pt x="777" y="0"/>
                </a:moveTo>
                <a:cubicBezTo>
                  <a:pt x="618" y="0"/>
                  <a:pt x="491" y="143"/>
                  <a:pt x="491" y="318"/>
                </a:cubicBezTo>
                <a:cubicBezTo>
                  <a:pt x="491" y="1479"/>
                  <a:pt x="491" y="1479"/>
                  <a:pt x="491" y="1479"/>
                </a:cubicBezTo>
                <a:cubicBezTo>
                  <a:pt x="427" y="1479"/>
                  <a:pt x="331" y="1496"/>
                  <a:pt x="268" y="1543"/>
                </a:cubicBezTo>
                <a:cubicBezTo>
                  <a:pt x="204" y="1607"/>
                  <a:pt x="173" y="1686"/>
                  <a:pt x="157" y="1750"/>
                </a:cubicBezTo>
                <a:cubicBezTo>
                  <a:pt x="141" y="1814"/>
                  <a:pt x="141" y="1814"/>
                  <a:pt x="141" y="1814"/>
                </a:cubicBezTo>
                <a:cubicBezTo>
                  <a:pt x="109" y="1909"/>
                  <a:pt x="77" y="2036"/>
                  <a:pt x="61" y="2084"/>
                </a:cubicBezTo>
                <a:cubicBezTo>
                  <a:pt x="45" y="2148"/>
                  <a:pt x="45" y="2148"/>
                  <a:pt x="45" y="2148"/>
                </a:cubicBezTo>
                <a:cubicBezTo>
                  <a:pt x="13" y="2291"/>
                  <a:pt x="-18" y="2418"/>
                  <a:pt x="13" y="2545"/>
                </a:cubicBezTo>
                <a:cubicBezTo>
                  <a:pt x="61" y="2688"/>
                  <a:pt x="157" y="2815"/>
                  <a:pt x="300" y="2879"/>
                </a:cubicBezTo>
                <a:cubicBezTo>
                  <a:pt x="379" y="2927"/>
                  <a:pt x="459" y="2975"/>
                  <a:pt x="539" y="3023"/>
                </a:cubicBezTo>
                <a:cubicBezTo>
                  <a:pt x="506" y="3038"/>
                  <a:pt x="491" y="3070"/>
                  <a:pt x="491" y="3102"/>
                </a:cubicBezTo>
                <a:cubicBezTo>
                  <a:pt x="491" y="4311"/>
                  <a:pt x="491" y="4311"/>
                  <a:pt x="491" y="4311"/>
                </a:cubicBezTo>
                <a:cubicBezTo>
                  <a:pt x="491" y="4359"/>
                  <a:pt x="539" y="4390"/>
                  <a:pt x="570" y="4390"/>
                </a:cubicBezTo>
                <a:cubicBezTo>
                  <a:pt x="2463" y="4390"/>
                  <a:pt x="2463" y="4390"/>
                  <a:pt x="2463" y="4390"/>
                </a:cubicBezTo>
                <a:cubicBezTo>
                  <a:pt x="2511" y="4390"/>
                  <a:pt x="2542" y="4359"/>
                  <a:pt x="2542" y="4311"/>
                </a:cubicBezTo>
                <a:cubicBezTo>
                  <a:pt x="2542" y="3102"/>
                  <a:pt x="2542" y="3102"/>
                  <a:pt x="2542" y="3102"/>
                </a:cubicBezTo>
                <a:cubicBezTo>
                  <a:pt x="2542" y="3054"/>
                  <a:pt x="2511" y="3023"/>
                  <a:pt x="2463" y="3023"/>
                </a:cubicBezTo>
                <a:cubicBezTo>
                  <a:pt x="2336" y="3023"/>
                  <a:pt x="2336" y="3023"/>
                  <a:pt x="2336" y="3023"/>
                </a:cubicBezTo>
                <a:cubicBezTo>
                  <a:pt x="2336" y="1448"/>
                  <a:pt x="2336" y="1448"/>
                  <a:pt x="2336" y="1448"/>
                </a:cubicBezTo>
                <a:cubicBezTo>
                  <a:pt x="2336" y="1273"/>
                  <a:pt x="2209" y="1130"/>
                  <a:pt x="2049" y="1130"/>
                </a:cubicBezTo>
                <a:cubicBezTo>
                  <a:pt x="1986" y="1130"/>
                  <a:pt x="1922" y="1145"/>
                  <a:pt x="1875" y="1177"/>
                </a:cubicBezTo>
                <a:cubicBezTo>
                  <a:pt x="1827" y="1082"/>
                  <a:pt x="1731" y="1018"/>
                  <a:pt x="1620" y="1018"/>
                </a:cubicBezTo>
                <a:cubicBezTo>
                  <a:pt x="1557" y="1018"/>
                  <a:pt x="1509" y="1050"/>
                  <a:pt x="1461" y="1082"/>
                </a:cubicBezTo>
                <a:cubicBezTo>
                  <a:pt x="1413" y="987"/>
                  <a:pt x="1318" y="923"/>
                  <a:pt x="1206" y="923"/>
                </a:cubicBezTo>
                <a:cubicBezTo>
                  <a:pt x="1158" y="923"/>
                  <a:pt x="1111" y="923"/>
                  <a:pt x="1079" y="955"/>
                </a:cubicBezTo>
                <a:cubicBezTo>
                  <a:pt x="1079" y="318"/>
                  <a:pt x="1079" y="318"/>
                  <a:pt x="1079" y="318"/>
                </a:cubicBezTo>
                <a:cubicBezTo>
                  <a:pt x="1079" y="143"/>
                  <a:pt x="936" y="0"/>
                  <a:pt x="777" y="0"/>
                </a:cubicBezTo>
                <a:close/>
                <a:moveTo>
                  <a:pt x="2256" y="3181"/>
                </a:moveTo>
                <a:cubicBezTo>
                  <a:pt x="2384" y="3181"/>
                  <a:pt x="2384" y="3181"/>
                  <a:pt x="2384" y="3181"/>
                </a:cubicBezTo>
                <a:cubicBezTo>
                  <a:pt x="2384" y="4231"/>
                  <a:pt x="2384" y="4231"/>
                  <a:pt x="2384" y="4231"/>
                </a:cubicBezTo>
                <a:cubicBezTo>
                  <a:pt x="649" y="4231"/>
                  <a:pt x="649" y="4231"/>
                  <a:pt x="649" y="4231"/>
                </a:cubicBezTo>
                <a:cubicBezTo>
                  <a:pt x="649" y="3181"/>
                  <a:pt x="649" y="3181"/>
                  <a:pt x="649" y="3181"/>
                </a:cubicBezTo>
                <a:cubicBezTo>
                  <a:pt x="666" y="3181"/>
                  <a:pt x="666" y="3181"/>
                  <a:pt x="666" y="3181"/>
                </a:cubicBezTo>
                <a:close/>
                <a:moveTo>
                  <a:pt x="1079" y="1321"/>
                </a:moveTo>
                <a:cubicBezTo>
                  <a:pt x="1079" y="1209"/>
                  <a:pt x="1079" y="1209"/>
                  <a:pt x="1079" y="1209"/>
                </a:cubicBezTo>
                <a:cubicBezTo>
                  <a:pt x="1079" y="1130"/>
                  <a:pt x="1143" y="1082"/>
                  <a:pt x="1206" y="1082"/>
                </a:cubicBezTo>
                <a:cubicBezTo>
                  <a:pt x="1270" y="1082"/>
                  <a:pt x="1334" y="1145"/>
                  <a:pt x="1334" y="1225"/>
                </a:cubicBezTo>
                <a:cubicBezTo>
                  <a:pt x="1334" y="1336"/>
                  <a:pt x="1334" y="1336"/>
                  <a:pt x="1334" y="1336"/>
                </a:cubicBezTo>
                <a:lnTo>
                  <a:pt x="1334" y="1352"/>
                </a:lnTo>
                <a:cubicBezTo>
                  <a:pt x="1334" y="1432"/>
                  <a:pt x="1334" y="1432"/>
                  <a:pt x="1334" y="1432"/>
                </a:cubicBezTo>
                <a:cubicBezTo>
                  <a:pt x="1334" y="1479"/>
                  <a:pt x="1366" y="1511"/>
                  <a:pt x="1413" y="1511"/>
                </a:cubicBezTo>
                <a:cubicBezTo>
                  <a:pt x="1461" y="1511"/>
                  <a:pt x="1493" y="1479"/>
                  <a:pt x="1493" y="1432"/>
                </a:cubicBezTo>
                <a:cubicBezTo>
                  <a:pt x="1493" y="1321"/>
                  <a:pt x="1493" y="1321"/>
                  <a:pt x="1493" y="1321"/>
                </a:cubicBezTo>
                <a:cubicBezTo>
                  <a:pt x="1509" y="1241"/>
                  <a:pt x="1557" y="1177"/>
                  <a:pt x="1620" y="1177"/>
                </a:cubicBezTo>
                <a:cubicBezTo>
                  <a:pt x="1684" y="1177"/>
                  <a:pt x="1747" y="1241"/>
                  <a:pt x="1747" y="1336"/>
                </a:cubicBezTo>
                <a:cubicBezTo>
                  <a:pt x="1747" y="1432"/>
                  <a:pt x="1747" y="1432"/>
                  <a:pt x="1747" y="1432"/>
                </a:cubicBezTo>
                <a:cubicBezTo>
                  <a:pt x="1747" y="1479"/>
                  <a:pt x="1795" y="1511"/>
                  <a:pt x="1827" y="1511"/>
                </a:cubicBezTo>
                <a:cubicBezTo>
                  <a:pt x="1875" y="1511"/>
                  <a:pt x="1906" y="1479"/>
                  <a:pt x="1906" y="1432"/>
                </a:cubicBezTo>
                <a:cubicBezTo>
                  <a:pt x="1906" y="1352"/>
                  <a:pt x="1970" y="1288"/>
                  <a:pt x="2049" y="1288"/>
                </a:cubicBezTo>
                <a:cubicBezTo>
                  <a:pt x="2113" y="1288"/>
                  <a:pt x="2176" y="1352"/>
                  <a:pt x="2176" y="1448"/>
                </a:cubicBezTo>
                <a:cubicBezTo>
                  <a:pt x="2176" y="3023"/>
                  <a:pt x="2176" y="3023"/>
                  <a:pt x="2176" y="3023"/>
                </a:cubicBezTo>
                <a:cubicBezTo>
                  <a:pt x="713" y="3023"/>
                  <a:pt x="713" y="3023"/>
                  <a:pt x="713" y="3023"/>
                </a:cubicBezTo>
                <a:cubicBezTo>
                  <a:pt x="697" y="2975"/>
                  <a:pt x="697" y="2975"/>
                  <a:pt x="697" y="2975"/>
                </a:cubicBezTo>
                <a:cubicBezTo>
                  <a:pt x="697" y="2959"/>
                  <a:pt x="682" y="2943"/>
                  <a:pt x="682" y="2927"/>
                </a:cubicBezTo>
                <a:cubicBezTo>
                  <a:pt x="586" y="2863"/>
                  <a:pt x="475" y="2800"/>
                  <a:pt x="379" y="2736"/>
                </a:cubicBezTo>
                <a:cubicBezTo>
                  <a:pt x="268" y="2688"/>
                  <a:pt x="204" y="2609"/>
                  <a:pt x="173" y="2497"/>
                </a:cubicBezTo>
                <a:cubicBezTo>
                  <a:pt x="141" y="2418"/>
                  <a:pt x="173" y="2306"/>
                  <a:pt x="188" y="2195"/>
                </a:cubicBezTo>
                <a:cubicBezTo>
                  <a:pt x="220" y="2132"/>
                  <a:pt x="220" y="2132"/>
                  <a:pt x="220" y="2132"/>
                </a:cubicBezTo>
                <a:cubicBezTo>
                  <a:pt x="220" y="2068"/>
                  <a:pt x="268" y="1957"/>
                  <a:pt x="284" y="1861"/>
                </a:cubicBezTo>
                <a:cubicBezTo>
                  <a:pt x="316" y="1797"/>
                  <a:pt x="316" y="1797"/>
                  <a:pt x="316" y="1797"/>
                </a:cubicBezTo>
                <a:cubicBezTo>
                  <a:pt x="331" y="1734"/>
                  <a:pt x="348" y="1702"/>
                  <a:pt x="379" y="1654"/>
                </a:cubicBezTo>
                <a:cubicBezTo>
                  <a:pt x="395" y="1654"/>
                  <a:pt x="459" y="1639"/>
                  <a:pt x="491" y="1639"/>
                </a:cubicBezTo>
                <a:cubicBezTo>
                  <a:pt x="491" y="1750"/>
                  <a:pt x="491" y="2036"/>
                  <a:pt x="491" y="2179"/>
                </a:cubicBezTo>
                <a:cubicBezTo>
                  <a:pt x="491" y="2195"/>
                  <a:pt x="491" y="2195"/>
                  <a:pt x="491" y="2195"/>
                </a:cubicBezTo>
                <a:cubicBezTo>
                  <a:pt x="491" y="2211"/>
                  <a:pt x="491" y="2227"/>
                  <a:pt x="491" y="2243"/>
                </a:cubicBezTo>
                <a:cubicBezTo>
                  <a:pt x="491" y="2291"/>
                  <a:pt x="522" y="2323"/>
                  <a:pt x="570" y="2323"/>
                </a:cubicBezTo>
                <a:cubicBezTo>
                  <a:pt x="618" y="2323"/>
                  <a:pt x="649" y="2291"/>
                  <a:pt x="649" y="2243"/>
                </a:cubicBezTo>
                <a:cubicBezTo>
                  <a:pt x="649" y="2227"/>
                  <a:pt x="649" y="2211"/>
                  <a:pt x="649" y="2195"/>
                </a:cubicBezTo>
                <a:cubicBezTo>
                  <a:pt x="649" y="318"/>
                  <a:pt x="649" y="318"/>
                  <a:pt x="649" y="318"/>
                </a:cubicBezTo>
                <a:cubicBezTo>
                  <a:pt x="649" y="223"/>
                  <a:pt x="713" y="160"/>
                  <a:pt x="777" y="160"/>
                </a:cubicBezTo>
                <a:cubicBezTo>
                  <a:pt x="857" y="160"/>
                  <a:pt x="920" y="223"/>
                  <a:pt x="920" y="318"/>
                </a:cubicBezTo>
                <a:cubicBezTo>
                  <a:pt x="920" y="1209"/>
                  <a:pt x="920" y="1209"/>
                  <a:pt x="920" y="1209"/>
                </a:cubicBezTo>
                <a:cubicBezTo>
                  <a:pt x="920" y="1225"/>
                  <a:pt x="920" y="1225"/>
                  <a:pt x="920" y="1225"/>
                </a:cubicBezTo>
                <a:cubicBezTo>
                  <a:pt x="920" y="1288"/>
                  <a:pt x="920" y="1288"/>
                  <a:pt x="920" y="1288"/>
                </a:cubicBezTo>
                <a:cubicBezTo>
                  <a:pt x="920" y="1321"/>
                  <a:pt x="920" y="1321"/>
                  <a:pt x="920" y="1321"/>
                </a:cubicBezTo>
                <a:cubicBezTo>
                  <a:pt x="920" y="1368"/>
                  <a:pt x="952" y="1400"/>
                  <a:pt x="1000" y="1400"/>
                </a:cubicBezTo>
                <a:cubicBezTo>
                  <a:pt x="1031" y="1400"/>
                  <a:pt x="1079" y="1368"/>
                  <a:pt x="1079" y="132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6" name="Freeform: Shape 15">
            <a:extLst>
              <a:ext uri="{FF2B5EF4-FFF2-40B4-BE49-F238E27FC236}">
                <a16:creationId xmlns:a16="http://schemas.microsoft.com/office/drawing/2014/main" id="{5C296F34-8DE8-F548-9281-FB4D16652937}"/>
              </a:ext>
            </a:extLst>
          </p:cNvPr>
          <p:cNvSpPr/>
          <p:nvPr/>
        </p:nvSpPr>
        <p:spPr>
          <a:xfrm>
            <a:off x="1811930" y="2673507"/>
            <a:ext cx="1608840" cy="2026439"/>
          </a:xfrm>
          <a:custGeom>
            <a:avLst/>
            <a:gdLst/>
            <a:ahLst/>
            <a:cxnLst>
              <a:cxn ang="3cd4">
                <a:pos x="hc" y="t"/>
              </a:cxn>
              <a:cxn ang="cd2">
                <a:pos x="l" y="vc"/>
              </a:cxn>
              <a:cxn ang="cd4">
                <a:pos x="hc" y="b"/>
              </a:cxn>
              <a:cxn ang="0">
                <a:pos x="r" y="vc"/>
              </a:cxn>
            </a:cxnLst>
            <a:rect l="l" t="t" r="r" b="b"/>
            <a:pathLst>
              <a:path w="4470" h="5630">
                <a:moveTo>
                  <a:pt x="4072" y="3292"/>
                </a:moveTo>
                <a:cubicBezTo>
                  <a:pt x="4263" y="3292"/>
                  <a:pt x="4470" y="3149"/>
                  <a:pt x="4470" y="2926"/>
                </a:cubicBezTo>
                <a:cubicBezTo>
                  <a:pt x="4470" y="333"/>
                  <a:pt x="4470" y="333"/>
                  <a:pt x="4470" y="333"/>
                </a:cubicBezTo>
                <a:cubicBezTo>
                  <a:pt x="4470" y="110"/>
                  <a:pt x="4263" y="0"/>
                  <a:pt x="4072" y="0"/>
                </a:cubicBezTo>
                <a:cubicBezTo>
                  <a:pt x="350" y="0"/>
                  <a:pt x="350" y="0"/>
                  <a:pt x="350" y="0"/>
                </a:cubicBezTo>
                <a:cubicBezTo>
                  <a:pt x="143" y="0"/>
                  <a:pt x="0" y="127"/>
                  <a:pt x="0" y="333"/>
                </a:cubicBezTo>
                <a:cubicBezTo>
                  <a:pt x="0" y="2926"/>
                  <a:pt x="0" y="2926"/>
                  <a:pt x="0" y="2926"/>
                </a:cubicBezTo>
                <a:cubicBezTo>
                  <a:pt x="0" y="3133"/>
                  <a:pt x="159" y="3292"/>
                  <a:pt x="350" y="3292"/>
                </a:cubicBezTo>
                <a:cubicBezTo>
                  <a:pt x="939" y="3292"/>
                  <a:pt x="939" y="3292"/>
                  <a:pt x="939" y="3292"/>
                </a:cubicBezTo>
                <a:cubicBezTo>
                  <a:pt x="939" y="3307"/>
                  <a:pt x="939" y="3307"/>
                  <a:pt x="939" y="3324"/>
                </a:cubicBezTo>
                <a:cubicBezTo>
                  <a:pt x="923" y="3387"/>
                  <a:pt x="923" y="3387"/>
                  <a:pt x="923" y="3387"/>
                </a:cubicBezTo>
                <a:cubicBezTo>
                  <a:pt x="891" y="3515"/>
                  <a:pt x="859" y="3642"/>
                  <a:pt x="891" y="3769"/>
                </a:cubicBezTo>
                <a:cubicBezTo>
                  <a:pt x="939" y="3928"/>
                  <a:pt x="1034" y="4055"/>
                  <a:pt x="1177" y="4119"/>
                </a:cubicBezTo>
                <a:cubicBezTo>
                  <a:pt x="1257" y="4151"/>
                  <a:pt x="1336" y="4199"/>
                  <a:pt x="1416" y="4262"/>
                </a:cubicBezTo>
                <a:cubicBezTo>
                  <a:pt x="1384" y="4278"/>
                  <a:pt x="1368" y="4294"/>
                  <a:pt x="1368" y="4325"/>
                </a:cubicBezTo>
                <a:cubicBezTo>
                  <a:pt x="1368" y="5551"/>
                  <a:pt x="1368" y="5551"/>
                  <a:pt x="1368" y="5551"/>
                </a:cubicBezTo>
                <a:cubicBezTo>
                  <a:pt x="1368" y="5582"/>
                  <a:pt x="1416" y="5630"/>
                  <a:pt x="1447" y="5630"/>
                </a:cubicBezTo>
                <a:cubicBezTo>
                  <a:pt x="3340" y="5630"/>
                  <a:pt x="3340" y="5630"/>
                  <a:pt x="3340" y="5630"/>
                </a:cubicBezTo>
                <a:cubicBezTo>
                  <a:pt x="3388" y="5630"/>
                  <a:pt x="3420" y="5582"/>
                  <a:pt x="3420" y="5551"/>
                </a:cubicBezTo>
                <a:cubicBezTo>
                  <a:pt x="3420" y="4325"/>
                  <a:pt x="3420" y="4325"/>
                  <a:pt x="3420" y="4325"/>
                </a:cubicBezTo>
                <a:cubicBezTo>
                  <a:pt x="3420" y="4294"/>
                  <a:pt x="3388" y="4246"/>
                  <a:pt x="3340" y="4246"/>
                </a:cubicBezTo>
                <a:cubicBezTo>
                  <a:pt x="3213" y="4246"/>
                  <a:pt x="3213" y="4246"/>
                  <a:pt x="3213" y="4246"/>
                </a:cubicBezTo>
                <a:cubicBezTo>
                  <a:pt x="3213" y="3292"/>
                  <a:pt x="3213" y="3292"/>
                  <a:pt x="3213" y="3292"/>
                </a:cubicBezTo>
                <a:close/>
                <a:moveTo>
                  <a:pt x="4311" y="2926"/>
                </a:moveTo>
                <a:cubicBezTo>
                  <a:pt x="4311" y="3053"/>
                  <a:pt x="4199" y="3133"/>
                  <a:pt x="4072" y="3133"/>
                </a:cubicBezTo>
                <a:cubicBezTo>
                  <a:pt x="3213" y="3133"/>
                  <a:pt x="3213" y="3133"/>
                  <a:pt x="3213" y="3133"/>
                </a:cubicBezTo>
                <a:cubicBezTo>
                  <a:pt x="3213" y="2926"/>
                  <a:pt x="3213" y="2926"/>
                  <a:pt x="3213" y="2926"/>
                </a:cubicBezTo>
                <a:cubicBezTo>
                  <a:pt x="3659" y="2926"/>
                  <a:pt x="3659" y="2926"/>
                  <a:pt x="3659" y="2926"/>
                </a:cubicBezTo>
                <a:cubicBezTo>
                  <a:pt x="3690" y="2926"/>
                  <a:pt x="3738" y="2894"/>
                  <a:pt x="3738" y="2846"/>
                </a:cubicBezTo>
                <a:cubicBezTo>
                  <a:pt x="3738" y="1765"/>
                  <a:pt x="3738" y="1765"/>
                  <a:pt x="3738" y="1765"/>
                </a:cubicBezTo>
                <a:cubicBezTo>
                  <a:pt x="3770" y="1876"/>
                  <a:pt x="3897" y="1972"/>
                  <a:pt x="4024" y="1972"/>
                </a:cubicBezTo>
                <a:cubicBezTo>
                  <a:pt x="4152" y="1972"/>
                  <a:pt x="4263" y="1876"/>
                  <a:pt x="4311" y="1765"/>
                </a:cubicBezTo>
                <a:close/>
                <a:moveTo>
                  <a:pt x="3865" y="1654"/>
                </a:moveTo>
                <a:cubicBezTo>
                  <a:pt x="3865" y="1558"/>
                  <a:pt x="3945" y="1494"/>
                  <a:pt x="4024" y="1494"/>
                </a:cubicBezTo>
                <a:cubicBezTo>
                  <a:pt x="4104" y="1494"/>
                  <a:pt x="4183" y="1558"/>
                  <a:pt x="4183" y="1654"/>
                </a:cubicBezTo>
                <a:cubicBezTo>
                  <a:pt x="4183" y="1733"/>
                  <a:pt x="4104" y="1813"/>
                  <a:pt x="4024" y="1813"/>
                </a:cubicBezTo>
                <a:cubicBezTo>
                  <a:pt x="3945" y="1813"/>
                  <a:pt x="3865" y="1733"/>
                  <a:pt x="3865" y="1654"/>
                </a:cubicBezTo>
                <a:close/>
                <a:moveTo>
                  <a:pt x="350" y="3133"/>
                </a:moveTo>
                <a:cubicBezTo>
                  <a:pt x="239" y="3133"/>
                  <a:pt x="159" y="3053"/>
                  <a:pt x="159" y="2926"/>
                </a:cubicBezTo>
                <a:cubicBezTo>
                  <a:pt x="159" y="333"/>
                  <a:pt x="159" y="333"/>
                  <a:pt x="159" y="333"/>
                </a:cubicBezTo>
                <a:cubicBezTo>
                  <a:pt x="159" y="190"/>
                  <a:pt x="271" y="158"/>
                  <a:pt x="350" y="158"/>
                </a:cubicBezTo>
                <a:cubicBezTo>
                  <a:pt x="4072" y="158"/>
                  <a:pt x="4072" y="158"/>
                  <a:pt x="4072" y="158"/>
                </a:cubicBezTo>
                <a:cubicBezTo>
                  <a:pt x="4104" y="158"/>
                  <a:pt x="4311" y="158"/>
                  <a:pt x="4311" y="333"/>
                </a:cubicBezTo>
                <a:cubicBezTo>
                  <a:pt x="4311" y="1526"/>
                  <a:pt x="4311" y="1526"/>
                  <a:pt x="4311" y="1526"/>
                </a:cubicBezTo>
                <a:cubicBezTo>
                  <a:pt x="4263" y="1415"/>
                  <a:pt x="4152" y="1336"/>
                  <a:pt x="4024" y="1336"/>
                </a:cubicBezTo>
                <a:cubicBezTo>
                  <a:pt x="3897" y="1336"/>
                  <a:pt x="3770" y="1415"/>
                  <a:pt x="3738" y="1526"/>
                </a:cubicBezTo>
                <a:cubicBezTo>
                  <a:pt x="3738" y="445"/>
                  <a:pt x="3738" y="445"/>
                  <a:pt x="3738" y="445"/>
                </a:cubicBezTo>
                <a:cubicBezTo>
                  <a:pt x="3738" y="397"/>
                  <a:pt x="3690" y="365"/>
                  <a:pt x="3659" y="365"/>
                </a:cubicBezTo>
                <a:cubicBezTo>
                  <a:pt x="525" y="365"/>
                  <a:pt x="525" y="365"/>
                  <a:pt x="525" y="365"/>
                </a:cubicBezTo>
                <a:cubicBezTo>
                  <a:pt x="477" y="365"/>
                  <a:pt x="445" y="397"/>
                  <a:pt x="445" y="445"/>
                </a:cubicBezTo>
                <a:cubicBezTo>
                  <a:pt x="445" y="2846"/>
                  <a:pt x="445" y="2846"/>
                  <a:pt x="445" y="2846"/>
                </a:cubicBezTo>
                <a:cubicBezTo>
                  <a:pt x="445" y="2894"/>
                  <a:pt x="477" y="2926"/>
                  <a:pt x="525" y="2926"/>
                </a:cubicBezTo>
                <a:cubicBezTo>
                  <a:pt x="1050" y="2926"/>
                  <a:pt x="1050" y="2926"/>
                  <a:pt x="1050" y="2926"/>
                </a:cubicBezTo>
                <a:cubicBezTo>
                  <a:pt x="1050" y="2942"/>
                  <a:pt x="1034" y="2958"/>
                  <a:pt x="1034" y="2990"/>
                </a:cubicBezTo>
                <a:cubicBezTo>
                  <a:pt x="986" y="3133"/>
                  <a:pt x="986" y="3133"/>
                  <a:pt x="986" y="3133"/>
                </a:cubicBezTo>
                <a:close/>
                <a:moveTo>
                  <a:pt x="1257" y="3976"/>
                </a:moveTo>
                <a:cubicBezTo>
                  <a:pt x="1145" y="3928"/>
                  <a:pt x="1082" y="3833"/>
                  <a:pt x="1050" y="3737"/>
                </a:cubicBezTo>
                <a:cubicBezTo>
                  <a:pt x="1018" y="3642"/>
                  <a:pt x="1050" y="3546"/>
                  <a:pt x="1082" y="3419"/>
                </a:cubicBezTo>
                <a:cubicBezTo>
                  <a:pt x="1098" y="3355"/>
                  <a:pt x="1098" y="3355"/>
                  <a:pt x="1098" y="3355"/>
                </a:cubicBezTo>
                <a:cubicBezTo>
                  <a:pt x="1098" y="3324"/>
                  <a:pt x="1114" y="3292"/>
                  <a:pt x="1129" y="3244"/>
                </a:cubicBezTo>
                <a:cubicBezTo>
                  <a:pt x="1193" y="3021"/>
                  <a:pt x="1193" y="3021"/>
                  <a:pt x="1193" y="3021"/>
                </a:cubicBezTo>
                <a:cubicBezTo>
                  <a:pt x="1209" y="2958"/>
                  <a:pt x="1225" y="2926"/>
                  <a:pt x="1257" y="2894"/>
                </a:cubicBezTo>
                <a:cubicBezTo>
                  <a:pt x="1272" y="2878"/>
                  <a:pt x="1336" y="2878"/>
                  <a:pt x="1368" y="2878"/>
                </a:cubicBezTo>
                <a:cubicBezTo>
                  <a:pt x="1368" y="2974"/>
                  <a:pt x="1368" y="3276"/>
                  <a:pt x="1368" y="3419"/>
                </a:cubicBezTo>
                <a:cubicBezTo>
                  <a:pt x="1368" y="3467"/>
                  <a:pt x="1368" y="3467"/>
                  <a:pt x="1368" y="3467"/>
                </a:cubicBezTo>
                <a:cubicBezTo>
                  <a:pt x="1368" y="3515"/>
                  <a:pt x="1416" y="3546"/>
                  <a:pt x="1447" y="3546"/>
                </a:cubicBezTo>
                <a:cubicBezTo>
                  <a:pt x="1495" y="3546"/>
                  <a:pt x="1527" y="3515"/>
                  <a:pt x="1527" y="3482"/>
                </a:cubicBezTo>
                <a:cubicBezTo>
                  <a:pt x="1527" y="3419"/>
                  <a:pt x="1527" y="3419"/>
                  <a:pt x="1527" y="3419"/>
                </a:cubicBezTo>
                <a:cubicBezTo>
                  <a:pt x="1527" y="1542"/>
                  <a:pt x="1527" y="1542"/>
                  <a:pt x="1527" y="1542"/>
                </a:cubicBezTo>
                <a:cubicBezTo>
                  <a:pt x="1527" y="1463"/>
                  <a:pt x="1591" y="1383"/>
                  <a:pt x="1654" y="1383"/>
                </a:cubicBezTo>
                <a:cubicBezTo>
                  <a:pt x="1734" y="1383"/>
                  <a:pt x="1798" y="1463"/>
                  <a:pt x="1798" y="1542"/>
                </a:cubicBezTo>
                <a:cubicBezTo>
                  <a:pt x="1798" y="2433"/>
                  <a:pt x="1798" y="2433"/>
                  <a:pt x="1798" y="2433"/>
                </a:cubicBezTo>
                <a:lnTo>
                  <a:pt x="1798" y="2449"/>
                </a:lnTo>
                <a:lnTo>
                  <a:pt x="1798" y="2465"/>
                </a:lnTo>
                <a:cubicBezTo>
                  <a:pt x="1798" y="2512"/>
                  <a:pt x="1798" y="2512"/>
                  <a:pt x="1798" y="2512"/>
                </a:cubicBezTo>
                <a:lnTo>
                  <a:pt x="1798" y="2528"/>
                </a:lnTo>
                <a:cubicBezTo>
                  <a:pt x="1798" y="2560"/>
                  <a:pt x="1798" y="2560"/>
                  <a:pt x="1798" y="2560"/>
                </a:cubicBezTo>
                <a:cubicBezTo>
                  <a:pt x="1798" y="2608"/>
                  <a:pt x="1829" y="2640"/>
                  <a:pt x="1877" y="2640"/>
                </a:cubicBezTo>
                <a:cubicBezTo>
                  <a:pt x="1909" y="2640"/>
                  <a:pt x="1956" y="2608"/>
                  <a:pt x="1956" y="2560"/>
                </a:cubicBezTo>
                <a:cubicBezTo>
                  <a:pt x="1956" y="2449"/>
                  <a:pt x="1956" y="2449"/>
                  <a:pt x="1956" y="2449"/>
                </a:cubicBezTo>
                <a:cubicBezTo>
                  <a:pt x="1956" y="2369"/>
                  <a:pt x="2020" y="2306"/>
                  <a:pt x="2084" y="2306"/>
                </a:cubicBezTo>
                <a:cubicBezTo>
                  <a:pt x="2147" y="2306"/>
                  <a:pt x="2211" y="2385"/>
                  <a:pt x="2211" y="2465"/>
                </a:cubicBezTo>
                <a:cubicBezTo>
                  <a:pt x="2211" y="2576"/>
                  <a:pt x="2211" y="2576"/>
                  <a:pt x="2211" y="2576"/>
                </a:cubicBezTo>
                <a:cubicBezTo>
                  <a:pt x="2211" y="2672"/>
                  <a:pt x="2211" y="2672"/>
                  <a:pt x="2211" y="2672"/>
                </a:cubicBezTo>
                <a:cubicBezTo>
                  <a:pt x="2211" y="2703"/>
                  <a:pt x="2243" y="2751"/>
                  <a:pt x="2290" y="2751"/>
                </a:cubicBezTo>
                <a:cubicBezTo>
                  <a:pt x="2338" y="2751"/>
                  <a:pt x="2370" y="2703"/>
                  <a:pt x="2370" y="2672"/>
                </a:cubicBezTo>
                <a:cubicBezTo>
                  <a:pt x="2370" y="2560"/>
                  <a:pt x="2370" y="2560"/>
                  <a:pt x="2370" y="2560"/>
                </a:cubicBezTo>
                <a:cubicBezTo>
                  <a:pt x="2386" y="2481"/>
                  <a:pt x="2434" y="2417"/>
                  <a:pt x="2498" y="2417"/>
                </a:cubicBezTo>
                <a:cubicBezTo>
                  <a:pt x="2577" y="2417"/>
                  <a:pt x="2625" y="2481"/>
                  <a:pt x="2625" y="2560"/>
                </a:cubicBezTo>
                <a:cubicBezTo>
                  <a:pt x="2625" y="2672"/>
                  <a:pt x="2625" y="2672"/>
                  <a:pt x="2625" y="2672"/>
                </a:cubicBezTo>
                <a:cubicBezTo>
                  <a:pt x="2625" y="2703"/>
                  <a:pt x="2672" y="2751"/>
                  <a:pt x="2704" y="2751"/>
                </a:cubicBezTo>
                <a:cubicBezTo>
                  <a:pt x="2752" y="2751"/>
                  <a:pt x="2784" y="2703"/>
                  <a:pt x="2784" y="2672"/>
                </a:cubicBezTo>
                <a:cubicBezTo>
                  <a:pt x="2784" y="2655"/>
                  <a:pt x="2784" y="2655"/>
                  <a:pt x="2784" y="2655"/>
                </a:cubicBezTo>
                <a:cubicBezTo>
                  <a:pt x="2784" y="2576"/>
                  <a:pt x="2847" y="2528"/>
                  <a:pt x="2927" y="2528"/>
                </a:cubicBezTo>
                <a:cubicBezTo>
                  <a:pt x="2990" y="2528"/>
                  <a:pt x="3054" y="2592"/>
                  <a:pt x="3054" y="2672"/>
                </a:cubicBezTo>
                <a:cubicBezTo>
                  <a:pt x="3054" y="4246"/>
                  <a:pt x="3054" y="4246"/>
                  <a:pt x="3054" y="4246"/>
                </a:cubicBezTo>
                <a:cubicBezTo>
                  <a:pt x="1591" y="4246"/>
                  <a:pt x="1591" y="4246"/>
                  <a:pt x="1591" y="4246"/>
                </a:cubicBezTo>
                <a:cubicBezTo>
                  <a:pt x="1575" y="4199"/>
                  <a:pt x="1575" y="4199"/>
                  <a:pt x="1575" y="4199"/>
                </a:cubicBezTo>
                <a:cubicBezTo>
                  <a:pt x="1575" y="4182"/>
                  <a:pt x="1559" y="4167"/>
                  <a:pt x="1559" y="4167"/>
                </a:cubicBezTo>
                <a:cubicBezTo>
                  <a:pt x="1447" y="4087"/>
                  <a:pt x="1352" y="4024"/>
                  <a:pt x="1257" y="3976"/>
                </a:cubicBezTo>
                <a:close/>
                <a:moveTo>
                  <a:pt x="3261" y="4405"/>
                </a:moveTo>
                <a:cubicBezTo>
                  <a:pt x="3261" y="5471"/>
                  <a:pt x="3261" y="5471"/>
                  <a:pt x="3261" y="5471"/>
                </a:cubicBezTo>
                <a:cubicBezTo>
                  <a:pt x="1527" y="5471"/>
                  <a:pt x="1527" y="5471"/>
                  <a:pt x="1527" y="5471"/>
                </a:cubicBezTo>
                <a:cubicBezTo>
                  <a:pt x="1527" y="4405"/>
                  <a:pt x="1527" y="4405"/>
                  <a:pt x="1527" y="4405"/>
                </a:cubicBezTo>
                <a:cubicBezTo>
                  <a:pt x="1543" y="4405"/>
                  <a:pt x="1543" y="4405"/>
                  <a:pt x="1543" y="4405"/>
                </a:cubicBezTo>
                <a:cubicBezTo>
                  <a:pt x="3134" y="4405"/>
                  <a:pt x="3134" y="4405"/>
                  <a:pt x="3134" y="4405"/>
                </a:cubicBezTo>
                <a:close/>
                <a:moveTo>
                  <a:pt x="2927" y="2369"/>
                </a:moveTo>
                <a:cubicBezTo>
                  <a:pt x="2863" y="2369"/>
                  <a:pt x="2799" y="2385"/>
                  <a:pt x="2752" y="2417"/>
                </a:cubicBezTo>
                <a:cubicBezTo>
                  <a:pt x="2704" y="2322"/>
                  <a:pt x="2608" y="2258"/>
                  <a:pt x="2498" y="2258"/>
                </a:cubicBezTo>
                <a:cubicBezTo>
                  <a:pt x="2434" y="2258"/>
                  <a:pt x="2386" y="2274"/>
                  <a:pt x="2338" y="2306"/>
                </a:cubicBezTo>
                <a:cubicBezTo>
                  <a:pt x="2290" y="2210"/>
                  <a:pt x="2195" y="2146"/>
                  <a:pt x="2084" y="2146"/>
                </a:cubicBezTo>
                <a:cubicBezTo>
                  <a:pt x="2036" y="2146"/>
                  <a:pt x="1989" y="2163"/>
                  <a:pt x="1956" y="2178"/>
                </a:cubicBezTo>
                <a:cubicBezTo>
                  <a:pt x="1956" y="1542"/>
                  <a:pt x="1956" y="1542"/>
                  <a:pt x="1956" y="1542"/>
                </a:cubicBezTo>
                <a:cubicBezTo>
                  <a:pt x="1956" y="1367"/>
                  <a:pt x="1813" y="1224"/>
                  <a:pt x="1654" y="1224"/>
                </a:cubicBezTo>
                <a:cubicBezTo>
                  <a:pt x="1495" y="1224"/>
                  <a:pt x="1368" y="1367"/>
                  <a:pt x="1368" y="1542"/>
                </a:cubicBezTo>
                <a:cubicBezTo>
                  <a:pt x="1368" y="2719"/>
                  <a:pt x="1368" y="2719"/>
                  <a:pt x="1368" y="2719"/>
                </a:cubicBezTo>
                <a:cubicBezTo>
                  <a:pt x="1304" y="2703"/>
                  <a:pt x="1209" y="2735"/>
                  <a:pt x="1161" y="2767"/>
                </a:cubicBezTo>
                <a:cubicBezTo>
                  <a:pt x="605" y="2767"/>
                  <a:pt x="605" y="2767"/>
                  <a:pt x="605" y="2767"/>
                </a:cubicBezTo>
                <a:cubicBezTo>
                  <a:pt x="605" y="524"/>
                  <a:pt x="605" y="524"/>
                  <a:pt x="605" y="524"/>
                </a:cubicBezTo>
                <a:cubicBezTo>
                  <a:pt x="3579" y="524"/>
                  <a:pt x="3579" y="524"/>
                  <a:pt x="3579" y="524"/>
                </a:cubicBezTo>
                <a:cubicBezTo>
                  <a:pt x="3579" y="2767"/>
                  <a:pt x="3579" y="2767"/>
                  <a:pt x="3579" y="2767"/>
                </a:cubicBezTo>
                <a:cubicBezTo>
                  <a:pt x="3213" y="2767"/>
                  <a:pt x="3213" y="2767"/>
                  <a:pt x="3213" y="2767"/>
                </a:cubicBezTo>
                <a:cubicBezTo>
                  <a:pt x="3213" y="2672"/>
                  <a:pt x="3213" y="2672"/>
                  <a:pt x="3213" y="2672"/>
                </a:cubicBezTo>
                <a:cubicBezTo>
                  <a:pt x="3213" y="2497"/>
                  <a:pt x="3086" y="2369"/>
                  <a:pt x="2927" y="236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7" name="Freeform: Shape 16">
            <a:extLst>
              <a:ext uri="{FF2B5EF4-FFF2-40B4-BE49-F238E27FC236}">
                <a16:creationId xmlns:a16="http://schemas.microsoft.com/office/drawing/2014/main" id="{551D6F36-18A9-324B-905C-CFF6D67E1E3E}"/>
              </a:ext>
            </a:extLst>
          </p:cNvPr>
          <p:cNvSpPr/>
          <p:nvPr/>
        </p:nvSpPr>
        <p:spPr>
          <a:xfrm>
            <a:off x="13809818" y="3085559"/>
            <a:ext cx="2118240" cy="1620000"/>
          </a:xfrm>
          <a:custGeom>
            <a:avLst/>
            <a:gdLst/>
            <a:ahLst/>
            <a:cxnLst>
              <a:cxn ang="3cd4">
                <a:pos x="hc" y="t"/>
              </a:cxn>
              <a:cxn ang="cd2">
                <a:pos x="l" y="vc"/>
              </a:cxn>
              <a:cxn ang="cd4">
                <a:pos x="hc" y="b"/>
              </a:cxn>
              <a:cxn ang="0">
                <a:pos x="r" y="vc"/>
              </a:cxn>
            </a:cxnLst>
            <a:rect l="l" t="t" r="r" b="b"/>
            <a:pathLst>
              <a:path w="5885" h="4501">
                <a:moveTo>
                  <a:pt x="5615" y="1176"/>
                </a:moveTo>
                <a:cubicBezTo>
                  <a:pt x="3006" y="1176"/>
                  <a:pt x="3006" y="1176"/>
                  <a:pt x="3006" y="1176"/>
                </a:cubicBezTo>
                <a:lnTo>
                  <a:pt x="2990" y="1176"/>
                </a:lnTo>
                <a:cubicBezTo>
                  <a:pt x="2990" y="875"/>
                  <a:pt x="2990" y="875"/>
                  <a:pt x="2990" y="875"/>
                </a:cubicBezTo>
                <a:cubicBezTo>
                  <a:pt x="2975" y="302"/>
                  <a:pt x="2641" y="111"/>
                  <a:pt x="2434" y="48"/>
                </a:cubicBezTo>
                <a:cubicBezTo>
                  <a:pt x="2084" y="-64"/>
                  <a:pt x="1654" y="31"/>
                  <a:pt x="1511" y="238"/>
                </a:cubicBezTo>
                <a:lnTo>
                  <a:pt x="1495" y="238"/>
                </a:lnTo>
                <a:cubicBezTo>
                  <a:pt x="1145" y="238"/>
                  <a:pt x="891" y="509"/>
                  <a:pt x="891" y="875"/>
                </a:cubicBezTo>
                <a:cubicBezTo>
                  <a:pt x="891" y="1176"/>
                  <a:pt x="891" y="1176"/>
                  <a:pt x="891" y="1176"/>
                </a:cubicBezTo>
                <a:cubicBezTo>
                  <a:pt x="875" y="1176"/>
                  <a:pt x="843" y="1193"/>
                  <a:pt x="811" y="1209"/>
                </a:cubicBezTo>
                <a:cubicBezTo>
                  <a:pt x="764" y="1272"/>
                  <a:pt x="732" y="1336"/>
                  <a:pt x="748" y="1431"/>
                </a:cubicBezTo>
                <a:cubicBezTo>
                  <a:pt x="748" y="1813"/>
                  <a:pt x="748" y="1813"/>
                  <a:pt x="748" y="1813"/>
                </a:cubicBezTo>
                <a:cubicBezTo>
                  <a:pt x="748" y="1924"/>
                  <a:pt x="827" y="2020"/>
                  <a:pt x="954" y="2067"/>
                </a:cubicBezTo>
                <a:cubicBezTo>
                  <a:pt x="970" y="2402"/>
                  <a:pt x="1177" y="2783"/>
                  <a:pt x="1448" y="3006"/>
                </a:cubicBezTo>
                <a:cubicBezTo>
                  <a:pt x="1193" y="3387"/>
                  <a:pt x="1193" y="3387"/>
                  <a:pt x="1193" y="3387"/>
                </a:cubicBezTo>
                <a:cubicBezTo>
                  <a:pt x="954" y="3387"/>
                  <a:pt x="954" y="3387"/>
                  <a:pt x="954" y="3387"/>
                </a:cubicBezTo>
                <a:cubicBezTo>
                  <a:pt x="350" y="3387"/>
                  <a:pt x="0" y="3690"/>
                  <a:pt x="0" y="4230"/>
                </a:cubicBezTo>
                <a:cubicBezTo>
                  <a:pt x="0" y="4421"/>
                  <a:pt x="0" y="4421"/>
                  <a:pt x="0" y="4421"/>
                </a:cubicBezTo>
                <a:cubicBezTo>
                  <a:pt x="0" y="4469"/>
                  <a:pt x="32" y="4501"/>
                  <a:pt x="79" y="4501"/>
                </a:cubicBezTo>
                <a:cubicBezTo>
                  <a:pt x="127" y="4501"/>
                  <a:pt x="159" y="4469"/>
                  <a:pt x="159" y="4421"/>
                </a:cubicBezTo>
                <a:cubicBezTo>
                  <a:pt x="159" y="4230"/>
                  <a:pt x="159" y="4230"/>
                  <a:pt x="159" y="4230"/>
                </a:cubicBezTo>
                <a:cubicBezTo>
                  <a:pt x="159" y="3626"/>
                  <a:pt x="652" y="3547"/>
                  <a:pt x="954" y="3547"/>
                </a:cubicBezTo>
                <a:cubicBezTo>
                  <a:pt x="1225" y="3547"/>
                  <a:pt x="1225" y="3547"/>
                  <a:pt x="1225" y="3547"/>
                </a:cubicBezTo>
                <a:cubicBezTo>
                  <a:pt x="1257" y="3547"/>
                  <a:pt x="1288" y="3530"/>
                  <a:pt x="1305" y="3499"/>
                </a:cubicBezTo>
                <a:cubicBezTo>
                  <a:pt x="1591" y="3085"/>
                  <a:pt x="1591" y="3085"/>
                  <a:pt x="1591" y="3085"/>
                </a:cubicBezTo>
                <a:cubicBezTo>
                  <a:pt x="1702" y="3149"/>
                  <a:pt x="1829" y="3181"/>
                  <a:pt x="1972" y="3181"/>
                </a:cubicBezTo>
                <a:cubicBezTo>
                  <a:pt x="2115" y="3181"/>
                  <a:pt x="2259" y="3133"/>
                  <a:pt x="2386" y="3054"/>
                </a:cubicBezTo>
                <a:cubicBezTo>
                  <a:pt x="2672" y="3499"/>
                  <a:pt x="2672" y="3499"/>
                  <a:pt x="2672" y="3499"/>
                </a:cubicBezTo>
                <a:cubicBezTo>
                  <a:pt x="2688" y="3530"/>
                  <a:pt x="2704" y="3547"/>
                  <a:pt x="2736" y="3547"/>
                </a:cubicBezTo>
                <a:cubicBezTo>
                  <a:pt x="3006" y="3547"/>
                  <a:pt x="3006" y="3547"/>
                  <a:pt x="3006" y="3547"/>
                </a:cubicBezTo>
                <a:cubicBezTo>
                  <a:pt x="3420" y="3547"/>
                  <a:pt x="3865" y="3721"/>
                  <a:pt x="3865" y="4230"/>
                </a:cubicBezTo>
                <a:cubicBezTo>
                  <a:pt x="3865" y="4421"/>
                  <a:pt x="3865" y="4421"/>
                  <a:pt x="3865" y="4421"/>
                </a:cubicBezTo>
                <a:cubicBezTo>
                  <a:pt x="3865" y="4469"/>
                  <a:pt x="3897" y="4501"/>
                  <a:pt x="3945" y="4501"/>
                </a:cubicBezTo>
                <a:cubicBezTo>
                  <a:pt x="4406" y="4501"/>
                  <a:pt x="4406" y="4501"/>
                  <a:pt x="4406" y="4501"/>
                </a:cubicBezTo>
                <a:cubicBezTo>
                  <a:pt x="4422" y="4501"/>
                  <a:pt x="4454" y="4501"/>
                  <a:pt x="4469" y="4485"/>
                </a:cubicBezTo>
                <a:cubicBezTo>
                  <a:pt x="4486" y="4453"/>
                  <a:pt x="4486" y="4438"/>
                  <a:pt x="4486" y="4405"/>
                </a:cubicBezTo>
                <a:cubicBezTo>
                  <a:pt x="4359" y="3881"/>
                  <a:pt x="4359" y="3881"/>
                  <a:pt x="4359" y="3881"/>
                </a:cubicBezTo>
                <a:cubicBezTo>
                  <a:pt x="5615" y="3881"/>
                  <a:pt x="5615" y="3881"/>
                  <a:pt x="5615" y="3881"/>
                </a:cubicBezTo>
                <a:cubicBezTo>
                  <a:pt x="5758" y="3881"/>
                  <a:pt x="5885" y="3753"/>
                  <a:pt x="5885" y="3594"/>
                </a:cubicBezTo>
                <a:cubicBezTo>
                  <a:pt x="5885" y="1463"/>
                  <a:pt x="5885" y="1463"/>
                  <a:pt x="5885" y="1463"/>
                </a:cubicBezTo>
                <a:cubicBezTo>
                  <a:pt x="5885" y="1304"/>
                  <a:pt x="5758" y="1176"/>
                  <a:pt x="5615" y="1176"/>
                </a:cubicBezTo>
                <a:close/>
                <a:moveTo>
                  <a:pt x="1972" y="3022"/>
                </a:moveTo>
                <a:cubicBezTo>
                  <a:pt x="1495" y="3022"/>
                  <a:pt x="1114" y="2465"/>
                  <a:pt x="1114" y="1988"/>
                </a:cubicBezTo>
                <a:cubicBezTo>
                  <a:pt x="1114" y="1940"/>
                  <a:pt x="1066" y="1908"/>
                  <a:pt x="1034" y="1908"/>
                </a:cubicBezTo>
                <a:cubicBezTo>
                  <a:pt x="970" y="1908"/>
                  <a:pt x="907" y="1861"/>
                  <a:pt x="907" y="1813"/>
                </a:cubicBezTo>
                <a:cubicBezTo>
                  <a:pt x="907" y="1431"/>
                  <a:pt x="907" y="1431"/>
                  <a:pt x="907" y="1431"/>
                </a:cubicBezTo>
                <a:cubicBezTo>
                  <a:pt x="907" y="1384"/>
                  <a:pt x="907" y="1352"/>
                  <a:pt x="923" y="1336"/>
                </a:cubicBezTo>
                <a:cubicBezTo>
                  <a:pt x="923" y="1320"/>
                  <a:pt x="939" y="1320"/>
                  <a:pt x="954" y="1320"/>
                </a:cubicBezTo>
                <a:cubicBezTo>
                  <a:pt x="987" y="1336"/>
                  <a:pt x="1002" y="1320"/>
                  <a:pt x="1018" y="1304"/>
                </a:cubicBezTo>
                <a:cubicBezTo>
                  <a:pt x="1050" y="1288"/>
                  <a:pt x="1050" y="1272"/>
                  <a:pt x="1050" y="1240"/>
                </a:cubicBezTo>
                <a:cubicBezTo>
                  <a:pt x="1050" y="875"/>
                  <a:pt x="1050" y="875"/>
                  <a:pt x="1050" y="875"/>
                </a:cubicBezTo>
                <a:cubicBezTo>
                  <a:pt x="1050" y="604"/>
                  <a:pt x="1241" y="397"/>
                  <a:pt x="1479" y="397"/>
                </a:cubicBezTo>
                <a:cubicBezTo>
                  <a:pt x="1527" y="397"/>
                  <a:pt x="1591" y="397"/>
                  <a:pt x="1639" y="334"/>
                </a:cubicBezTo>
                <a:cubicBezTo>
                  <a:pt x="1734" y="191"/>
                  <a:pt x="2084" y="95"/>
                  <a:pt x="2386" y="191"/>
                </a:cubicBezTo>
                <a:cubicBezTo>
                  <a:pt x="2577" y="254"/>
                  <a:pt x="2815" y="429"/>
                  <a:pt x="2832" y="875"/>
                </a:cubicBezTo>
                <a:cubicBezTo>
                  <a:pt x="2832" y="1240"/>
                  <a:pt x="2832" y="1240"/>
                  <a:pt x="2832" y="1240"/>
                </a:cubicBezTo>
                <a:cubicBezTo>
                  <a:pt x="2832" y="1288"/>
                  <a:pt x="2863" y="1320"/>
                  <a:pt x="2911" y="1320"/>
                </a:cubicBezTo>
                <a:cubicBezTo>
                  <a:pt x="2943" y="1320"/>
                  <a:pt x="2959" y="1336"/>
                  <a:pt x="2959" y="1336"/>
                </a:cubicBezTo>
                <a:cubicBezTo>
                  <a:pt x="2975" y="1336"/>
                  <a:pt x="2975" y="1336"/>
                  <a:pt x="2975" y="1336"/>
                </a:cubicBezTo>
                <a:cubicBezTo>
                  <a:pt x="2975" y="1352"/>
                  <a:pt x="2975" y="1399"/>
                  <a:pt x="2975" y="1431"/>
                </a:cubicBezTo>
                <a:cubicBezTo>
                  <a:pt x="2975" y="1813"/>
                  <a:pt x="2975" y="1813"/>
                  <a:pt x="2975" y="1813"/>
                </a:cubicBezTo>
                <a:cubicBezTo>
                  <a:pt x="2975" y="1861"/>
                  <a:pt x="2943" y="1908"/>
                  <a:pt x="2879" y="1908"/>
                </a:cubicBezTo>
                <a:cubicBezTo>
                  <a:pt x="2847" y="1908"/>
                  <a:pt x="2800" y="1940"/>
                  <a:pt x="2800" y="1988"/>
                </a:cubicBezTo>
                <a:cubicBezTo>
                  <a:pt x="2800" y="2465"/>
                  <a:pt x="2434" y="3022"/>
                  <a:pt x="1972" y="3022"/>
                </a:cubicBezTo>
                <a:close/>
                <a:moveTo>
                  <a:pt x="4024" y="4342"/>
                </a:moveTo>
                <a:cubicBezTo>
                  <a:pt x="4024" y="4230"/>
                  <a:pt x="4024" y="4230"/>
                  <a:pt x="4024" y="4230"/>
                </a:cubicBezTo>
                <a:cubicBezTo>
                  <a:pt x="4024" y="4087"/>
                  <a:pt x="4008" y="3976"/>
                  <a:pt x="3961" y="3881"/>
                </a:cubicBezTo>
                <a:cubicBezTo>
                  <a:pt x="4104" y="3881"/>
                  <a:pt x="4104" y="3881"/>
                  <a:pt x="4104" y="3881"/>
                </a:cubicBezTo>
                <a:cubicBezTo>
                  <a:pt x="4199" y="3881"/>
                  <a:pt x="4199" y="3881"/>
                  <a:pt x="4199" y="3881"/>
                </a:cubicBezTo>
                <a:cubicBezTo>
                  <a:pt x="4311" y="4342"/>
                  <a:pt x="4311" y="4342"/>
                  <a:pt x="4311" y="4342"/>
                </a:cubicBezTo>
                <a:close/>
                <a:moveTo>
                  <a:pt x="5726" y="3594"/>
                </a:moveTo>
                <a:cubicBezTo>
                  <a:pt x="5726" y="3658"/>
                  <a:pt x="5678" y="3721"/>
                  <a:pt x="5615" y="3721"/>
                </a:cubicBezTo>
                <a:cubicBezTo>
                  <a:pt x="4263" y="3721"/>
                  <a:pt x="4263" y="3721"/>
                  <a:pt x="4263" y="3721"/>
                </a:cubicBezTo>
                <a:cubicBezTo>
                  <a:pt x="4104" y="3721"/>
                  <a:pt x="4104" y="3721"/>
                  <a:pt x="4104" y="3721"/>
                </a:cubicBezTo>
                <a:cubicBezTo>
                  <a:pt x="3850" y="3721"/>
                  <a:pt x="3850" y="3721"/>
                  <a:pt x="3850" y="3721"/>
                </a:cubicBezTo>
                <a:cubicBezTo>
                  <a:pt x="3690" y="3499"/>
                  <a:pt x="3388" y="3387"/>
                  <a:pt x="3006" y="3387"/>
                </a:cubicBezTo>
                <a:cubicBezTo>
                  <a:pt x="2784" y="3387"/>
                  <a:pt x="2784" y="3387"/>
                  <a:pt x="2784" y="3387"/>
                </a:cubicBezTo>
                <a:cubicBezTo>
                  <a:pt x="2768" y="3372"/>
                  <a:pt x="2768" y="3372"/>
                  <a:pt x="2768" y="3372"/>
                </a:cubicBezTo>
                <a:cubicBezTo>
                  <a:pt x="5726" y="3372"/>
                  <a:pt x="5726" y="3372"/>
                  <a:pt x="5726" y="3372"/>
                </a:cubicBezTo>
                <a:close/>
                <a:moveTo>
                  <a:pt x="5726" y="3212"/>
                </a:moveTo>
                <a:cubicBezTo>
                  <a:pt x="2672" y="3212"/>
                  <a:pt x="2672" y="3212"/>
                  <a:pt x="2672" y="3212"/>
                </a:cubicBezTo>
                <a:cubicBezTo>
                  <a:pt x="2513" y="2958"/>
                  <a:pt x="2513" y="2958"/>
                  <a:pt x="2513" y="2958"/>
                </a:cubicBezTo>
                <a:cubicBezTo>
                  <a:pt x="2768" y="2735"/>
                  <a:pt x="2943" y="2385"/>
                  <a:pt x="2959" y="2051"/>
                </a:cubicBezTo>
                <a:cubicBezTo>
                  <a:pt x="3070" y="2020"/>
                  <a:pt x="3133" y="1924"/>
                  <a:pt x="3133" y="1813"/>
                </a:cubicBezTo>
                <a:cubicBezTo>
                  <a:pt x="3133" y="1415"/>
                  <a:pt x="3133" y="1415"/>
                  <a:pt x="3133" y="1415"/>
                </a:cubicBezTo>
                <a:cubicBezTo>
                  <a:pt x="3133" y="1399"/>
                  <a:pt x="3133" y="1367"/>
                  <a:pt x="3133" y="1336"/>
                </a:cubicBezTo>
                <a:cubicBezTo>
                  <a:pt x="5615" y="1336"/>
                  <a:pt x="5615" y="1336"/>
                  <a:pt x="5615" y="1336"/>
                </a:cubicBezTo>
                <a:cubicBezTo>
                  <a:pt x="5678" y="1336"/>
                  <a:pt x="5726" y="1399"/>
                  <a:pt x="5726" y="14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8" name="Freeform: Shape 5">
            <a:extLst>
              <a:ext uri="{FF2B5EF4-FFF2-40B4-BE49-F238E27FC236}">
                <a16:creationId xmlns:a16="http://schemas.microsoft.com/office/drawing/2014/main" id="{0E462814-CC17-6048-95B3-8E8DACE134ED}"/>
              </a:ext>
            </a:extLst>
          </p:cNvPr>
          <p:cNvSpPr/>
          <p:nvPr/>
        </p:nvSpPr>
        <p:spPr>
          <a:xfrm>
            <a:off x="21049380" y="6836194"/>
            <a:ext cx="1975320" cy="589320"/>
          </a:xfrm>
          <a:custGeom>
            <a:avLst/>
            <a:gdLst/>
            <a:ahLst/>
            <a:cxnLst>
              <a:cxn ang="3cd4">
                <a:pos x="hc" y="t"/>
              </a:cxn>
              <a:cxn ang="cd2">
                <a:pos x="l" y="vc"/>
              </a:cxn>
              <a:cxn ang="cd4">
                <a:pos x="hc" y="b"/>
              </a:cxn>
              <a:cxn ang="0">
                <a:pos x="r" y="vc"/>
              </a:cxn>
            </a:cxnLst>
            <a:rect l="l" t="t" r="r" b="b"/>
            <a:pathLst>
              <a:path w="5488" h="1638">
                <a:moveTo>
                  <a:pt x="5297" y="0"/>
                </a:moveTo>
                <a:lnTo>
                  <a:pt x="191" y="0"/>
                </a:lnTo>
                <a:cubicBezTo>
                  <a:pt x="80" y="0"/>
                  <a:pt x="0" y="96"/>
                  <a:pt x="0" y="207"/>
                </a:cubicBezTo>
                <a:lnTo>
                  <a:pt x="0" y="1447"/>
                </a:lnTo>
                <a:cubicBezTo>
                  <a:pt x="0" y="1559"/>
                  <a:pt x="80" y="1638"/>
                  <a:pt x="191" y="1638"/>
                </a:cubicBezTo>
                <a:lnTo>
                  <a:pt x="5297" y="1638"/>
                </a:lnTo>
                <a:cubicBezTo>
                  <a:pt x="5408" y="1638"/>
                  <a:pt x="5488" y="1559"/>
                  <a:pt x="5488" y="1447"/>
                </a:cubicBezTo>
                <a:lnTo>
                  <a:pt x="5488" y="207"/>
                </a:lnTo>
                <a:cubicBezTo>
                  <a:pt x="5488" y="96"/>
                  <a:pt x="5408" y="0"/>
                  <a:pt x="5297" y="0"/>
                </a:cubicBezTo>
                <a:close/>
                <a:moveTo>
                  <a:pt x="5328" y="1447"/>
                </a:moveTo>
                <a:cubicBezTo>
                  <a:pt x="5328" y="1464"/>
                  <a:pt x="5313" y="1479"/>
                  <a:pt x="5297" y="1479"/>
                </a:cubicBezTo>
                <a:lnTo>
                  <a:pt x="191" y="1479"/>
                </a:lnTo>
                <a:cubicBezTo>
                  <a:pt x="175" y="1479"/>
                  <a:pt x="159" y="1464"/>
                  <a:pt x="159" y="1447"/>
                </a:cubicBezTo>
                <a:lnTo>
                  <a:pt x="159" y="207"/>
                </a:lnTo>
                <a:cubicBezTo>
                  <a:pt x="159" y="191"/>
                  <a:pt x="175" y="159"/>
                  <a:pt x="191" y="159"/>
                </a:cubicBezTo>
                <a:lnTo>
                  <a:pt x="5297" y="159"/>
                </a:lnTo>
                <a:cubicBezTo>
                  <a:pt x="5313" y="159"/>
                  <a:pt x="5328" y="191"/>
                  <a:pt x="5328" y="207"/>
                </a:cubicBezTo>
                <a:close/>
                <a:moveTo>
                  <a:pt x="4438" y="1209"/>
                </a:moveTo>
                <a:lnTo>
                  <a:pt x="4788" y="1209"/>
                </a:lnTo>
                <a:lnTo>
                  <a:pt x="4788" y="859"/>
                </a:lnTo>
                <a:lnTo>
                  <a:pt x="4438" y="859"/>
                </a:lnTo>
                <a:close/>
                <a:moveTo>
                  <a:pt x="3802" y="1209"/>
                </a:moveTo>
                <a:lnTo>
                  <a:pt x="4167" y="1209"/>
                </a:lnTo>
                <a:lnTo>
                  <a:pt x="4167" y="859"/>
                </a:lnTo>
                <a:lnTo>
                  <a:pt x="3802" y="859"/>
                </a:lnTo>
                <a:close/>
                <a:moveTo>
                  <a:pt x="3818" y="700"/>
                </a:moveTo>
                <a:lnTo>
                  <a:pt x="4167" y="700"/>
                </a:lnTo>
                <a:lnTo>
                  <a:pt x="4167" y="350"/>
                </a:lnTo>
                <a:lnTo>
                  <a:pt x="3818" y="350"/>
                </a:lnTo>
                <a:close/>
                <a:moveTo>
                  <a:pt x="3182" y="700"/>
                </a:moveTo>
                <a:lnTo>
                  <a:pt x="3547" y="700"/>
                </a:lnTo>
                <a:lnTo>
                  <a:pt x="3547" y="350"/>
                </a:lnTo>
                <a:lnTo>
                  <a:pt x="3182" y="350"/>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9" name="Freeform: Shape 1">
            <a:extLst>
              <a:ext uri="{FF2B5EF4-FFF2-40B4-BE49-F238E27FC236}">
                <a16:creationId xmlns:a16="http://schemas.microsoft.com/office/drawing/2014/main" id="{A5871315-2BD8-A24D-882C-16B7B86A1C80}"/>
              </a:ext>
            </a:extLst>
          </p:cNvPr>
          <p:cNvSpPr/>
          <p:nvPr/>
        </p:nvSpPr>
        <p:spPr>
          <a:xfrm>
            <a:off x="13881278" y="9701042"/>
            <a:ext cx="1975320" cy="1368360"/>
          </a:xfrm>
          <a:custGeom>
            <a:avLst/>
            <a:gdLst/>
            <a:ahLst/>
            <a:cxnLst>
              <a:cxn ang="3cd4">
                <a:pos x="hc" y="t"/>
              </a:cxn>
              <a:cxn ang="cd2">
                <a:pos x="l" y="vc"/>
              </a:cxn>
              <a:cxn ang="cd4">
                <a:pos x="hc" y="b"/>
              </a:cxn>
              <a:cxn ang="0">
                <a:pos x="r" y="vc"/>
              </a:cxn>
            </a:cxnLst>
            <a:rect l="l" t="t" r="r" b="b"/>
            <a:pathLst>
              <a:path w="5488" h="3802">
                <a:moveTo>
                  <a:pt x="5488" y="3611"/>
                </a:moveTo>
                <a:lnTo>
                  <a:pt x="5488" y="2370"/>
                </a:lnTo>
                <a:cubicBezTo>
                  <a:pt x="5488" y="2259"/>
                  <a:pt x="5408" y="2163"/>
                  <a:pt x="5297" y="2163"/>
                </a:cubicBezTo>
                <a:lnTo>
                  <a:pt x="191" y="2163"/>
                </a:lnTo>
                <a:cubicBezTo>
                  <a:pt x="80" y="2163"/>
                  <a:pt x="0" y="2259"/>
                  <a:pt x="0" y="2370"/>
                </a:cubicBezTo>
                <a:lnTo>
                  <a:pt x="0" y="3611"/>
                </a:lnTo>
                <a:cubicBezTo>
                  <a:pt x="0" y="3722"/>
                  <a:pt x="80" y="3802"/>
                  <a:pt x="191" y="3802"/>
                </a:cubicBezTo>
                <a:lnTo>
                  <a:pt x="5297" y="3802"/>
                </a:lnTo>
                <a:cubicBezTo>
                  <a:pt x="5408" y="3802"/>
                  <a:pt x="5488" y="3722"/>
                  <a:pt x="5488" y="3611"/>
                </a:cubicBezTo>
                <a:close/>
                <a:moveTo>
                  <a:pt x="159" y="3611"/>
                </a:moveTo>
                <a:lnTo>
                  <a:pt x="159" y="2370"/>
                </a:lnTo>
                <a:cubicBezTo>
                  <a:pt x="159" y="2354"/>
                  <a:pt x="175" y="2322"/>
                  <a:pt x="191" y="2322"/>
                </a:cubicBezTo>
                <a:lnTo>
                  <a:pt x="5297" y="2322"/>
                </a:lnTo>
                <a:cubicBezTo>
                  <a:pt x="5313" y="2322"/>
                  <a:pt x="5329" y="2354"/>
                  <a:pt x="5329" y="2370"/>
                </a:cubicBezTo>
                <a:lnTo>
                  <a:pt x="5329" y="3611"/>
                </a:lnTo>
                <a:cubicBezTo>
                  <a:pt x="5329" y="3627"/>
                  <a:pt x="5313" y="3642"/>
                  <a:pt x="5297" y="3642"/>
                </a:cubicBezTo>
                <a:lnTo>
                  <a:pt x="191" y="3642"/>
                </a:lnTo>
                <a:cubicBezTo>
                  <a:pt x="175" y="3642"/>
                  <a:pt x="159" y="3627"/>
                  <a:pt x="159" y="3611"/>
                </a:cubicBezTo>
                <a:close/>
                <a:moveTo>
                  <a:pt x="4438" y="3372"/>
                </a:moveTo>
                <a:lnTo>
                  <a:pt x="4788" y="3372"/>
                </a:lnTo>
                <a:lnTo>
                  <a:pt x="4788" y="3022"/>
                </a:lnTo>
                <a:lnTo>
                  <a:pt x="4438" y="3022"/>
                </a:lnTo>
                <a:close/>
                <a:moveTo>
                  <a:pt x="3802" y="3372"/>
                </a:moveTo>
                <a:lnTo>
                  <a:pt x="4168" y="3372"/>
                </a:lnTo>
                <a:lnTo>
                  <a:pt x="4168" y="3022"/>
                </a:lnTo>
                <a:lnTo>
                  <a:pt x="3802" y="3022"/>
                </a:lnTo>
                <a:close/>
                <a:moveTo>
                  <a:pt x="3818" y="2863"/>
                </a:moveTo>
                <a:lnTo>
                  <a:pt x="4168" y="2863"/>
                </a:lnTo>
                <a:lnTo>
                  <a:pt x="4168" y="2513"/>
                </a:lnTo>
                <a:lnTo>
                  <a:pt x="3818" y="2513"/>
                </a:lnTo>
                <a:close/>
                <a:moveTo>
                  <a:pt x="3181" y="2863"/>
                </a:moveTo>
                <a:lnTo>
                  <a:pt x="3547" y="2863"/>
                </a:lnTo>
                <a:lnTo>
                  <a:pt x="3547" y="2513"/>
                </a:lnTo>
                <a:lnTo>
                  <a:pt x="3181" y="2513"/>
                </a:lnTo>
                <a:close/>
                <a:moveTo>
                  <a:pt x="1639" y="255"/>
                </a:moveTo>
                <a:cubicBezTo>
                  <a:pt x="1639" y="398"/>
                  <a:pt x="1750" y="509"/>
                  <a:pt x="1893" y="509"/>
                </a:cubicBezTo>
                <a:lnTo>
                  <a:pt x="3484" y="509"/>
                </a:lnTo>
                <a:cubicBezTo>
                  <a:pt x="3611" y="509"/>
                  <a:pt x="3722" y="398"/>
                  <a:pt x="3722" y="255"/>
                </a:cubicBezTo>
                <a:cubicBezTo>
                  <a:pt x="3722" y="112"/>
                  <a:pt x="3611" y="0"/>
                  <a:pt x="3484" y="0"/>
                </a:cubicBezTo>
                <a:lnTo>
                  <a:pt x="1893" y="0"/>
                </a:lnTo>
                <a:cubicBezTo>
                  <a:pt x="1750" y="0"/>
                  <a:pt x="1639" y="112"/>
                  <a:pt x="1639" y="255"/>
                </a:cubicBezTo>
                <a:close/>
                <a:moveTo>
                  <a:pt x="1893" y="159"/>
                </a:moveTo>
                <a:lnTo>
                  <a:pt x="3484" y="159"/>
                </a:lnTo>
                <a:cubicBezTo>
                  <a:pt x="3531" y="159"/>
                  <a:pt x="3563" y="207"/>
                  <a:pt x="3563" y="255"/>
                </a:cubicBezTo>
                <a:cubicBezTo>
                  <a:pt x="3563" y="302"/>
                  <a:pt x="3531" y="350"/>
                  <a:pt x="3484" y="350"/>
                </a:cubicBezTo>
                <a:lnTo>
                  <a:pt x="1893" y="350"/>
                </a:lnTo>
                <a:cubicBezTo>
                  <a:pt x="1845" y="350"/>
                  <a:pt x="1797" y="302"/>
                  <a:pt x="1797" y="255"/>
                </a:cubicBezTo>
                <a:cubicBezTo>
                  <a:pt x="1797" y="207"/>
                  <a:pt x="1845" y="159"/>
                  <a:pt x="1893" y="159"/>
                </a:cubicBezTo>
                <a:close/>
                <a:moveTo>
                  <a:pt x="1607" y="779"/>
                </a:moveTo>
                <a:lnTo>
                  <a:pt x="1607" y="1098"/>
                </a:lnTo>
                <a:cubicBezTo>
                  <a:pt x="1607" y="1113"/>
                  <a:pt x="1607" y="1113"/>
                  <a:pt x="1623" y="1113"/>
                </a:cubicBezTo>
                <a:lnTo>
                  <a:pt x="3754" y="1113"/>
                </a:lnTo>
                <a:cubicBezTo>
                  <a:pt x="3759" y="1108"/>
                  <a:pt x="3770" y="1113"/>
                  <a:pt x="3770" y="1098"/>
                </a:cubicBezTo>
                <a:lnTo>
                  <a:pt x="3770" y="779"/>
                </a:lnTo>
                <a:lnTo>
                  <a:pt x="3754" y="764"/>
                </a:lnTo>
                <a:lnTo>
                  <a:pt x="1623" y="764"/>
                </a:lnTo>
                <a:cubicBezTo>
                  <a:pt x="1607" y="764"/>
                  <a:pt x="1612" y="774"/>
                  <a:pt x="1607" y="779"/>
                </a:cubicBezTo>
                <a:close/>
                <a:moveTo>
                  <a:pt x="1607" y="1797"/>
                </a:moveTo>
                <a:cubicBezTo>
                  <a:pt x="1607" y="1813"/>
                  <a:pt x="1607" y="1813"/>
                  <a:pt x="1623" y="1813"/>
                </a:cubicBezTo>
                <a:lnTo>
                  <a:pt x="3754" y="1813"/>
                </a:lnTo>
                <a:cubicBezTo>
                  <a:pt x="3759" y="1808"/>
                  <a:pt x="3770" y="1813"/>
                  <a:pt x="3770" y="1797"/>
                </a:cubicBezTo>
                <a:lnTo>
                  <a:pt x="3770" y="1479"/>
                </a:lnTo>
                <a:lnTo>
                  <a:pt x="3754" y="1463"/>
                </a:lnTo>
                <a:lnTo>
                  <a:pt x="1623" y="1463"/>
                </a:lnTo>
                <a:cubicBezTo>
                  <a:pt x="1607" y="1463"/>
                  <a:pt x="1612" y="1474"/>
                  <a:pt x="1607" y="147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0" name="Freeform: Shape 12">
            <a:extLst>
              <a:ext uri="{FF2B5EF4-FFF2-40B4-BE49-F238E27FC236}">
                <a16:creationId xmlns:a16="http://schemas.microsoft.com/office/drawing/2014/main" id="{2BC9AB5A-AD8D-7340-83E7-6C636F2F1B37}"/>
              </a:ext>
            </a:extLst>
          </p:cNvPr>
          <p:cNvSpPr/>
          <p:nvPr/>
        </p:nvSpPr>
        <p:spPr>
          <a:xfrm>
            <a:off x="1794838" y="10106739"/>
            <a:ext cx="1866239" cy="509399"/>
          </a:xfrm>
          <a:custGeom>
            <a:avLst/>
            <a:gdLst/>
            <a:ahLst/>
            <a:cxnLst>
              <a:cxn ang="3cd4">
                <a:pos x="hc" y="t"/>
              </a:cxn>
              <a:cxn ang="cd2">
                <a:pos x="l" y="vc"/>
              </a:cxn>
              <a:cxn ang="cd4">
                <a:pos x="hc" y="b"/>
              </a:cxn>
              <a:cxn ang="0">
                <a:pos x="r" y="vc"/>
              </a:cxn>
            </a:cxnLst>
            <a:rect l="l" t="t" r="r" b="b"/>
            <a:pathLst>
              <a:path w="5185" h="1416">
                <a:moveTo>
                  <a:pt x="3945" y="604"/>
                </a:moveTo>
                <a:lnTo>
                  <a:pt x="3690" y="604"/>
                </a:lnTo>
                <a:lnTo>
                  <a:pt x="3690" y="843"/>
                </a:lnTo>
                <a:lnTo>
                  <a:pt x="3945" y="843"/>
                </a:lnTo>
                <a:close/>
                <a:moveTo>
                  <a:pt x="4644" y="604"/>
                </a:moveTo>
                <a:lnTo>
                  <a:pt x="4390" y="604"/>
                </a:lnTo>
                <a:lnTo>
                  <a:pt x="4390" y="843"/>
                </a:lnTo>
                <a:lnTo>
                  <a:pt x="4644" y="843"/>
                </a:lnTo>
                <a:close/>
                <a:moveTo>
                  <a:pt x="4294" y="604"/>
                </a:moveTo>
                <a:lnTo>
                  <a:pt x="4040" y="604"/>
                </a:lnTo>
                <a:lnTo>
                  <a:pt x="4040" y="843"/>
                </a:lnTo>
                <a:lnTo>
                  <a:pt x="4294" y="843"/>
                </a:lnTo>
                <a:close/>
                <a:moveTo>
                  <a:pt x="175" y="1416"/>
                </a:moveTo>
                <a:lnTo>
                  <a:pt x="4994" y="1416"/>
                </a:lnTo>
                <a:cubicBezTo>
                  <a:pt x="5090" y="1416"/>
                  <a:pt x="5185" y="1336"/>
                  <a:pt x="5185" y="1241"/>
                </a:cubicBezTo>
                <a:lnTo>
                  <a:pt x="5185" y="191"/>
                </a:lnTo>
                <a:cubicBezTo>
                  <a:pt x="5185" y="80"/>
                  <a:pt x="5090" y="0"/>
                  <a:pt x="4994" y="0"/>
                </a:cubicBezTo>
                <a:lnTo>
                  <a:pt x="175" y="0"/>
                </a:lnTo>
                <a:cubicBezTo>
                  <a:pt x="79" y="0"/>
                  <a:pt x="0" y="80"/>
                  <a:pt x="0" y="191"/>
                </a:cubicBezTo>
                <a:lnTo>
                  <a:pt x="0" y="1241"/>
                </a:lnTo>
                <a:cubicBezTo>
                  <a:pt x="0" y="1336"/>
                  <a:pt x="79" y="1416"/>
                  <a:pt x="175" y="1416"/>
                </a:cubicBezTo>
                <a:close/>
                <a:moveTo>
                  <a:pt x="159" y="191"/>
                </a:moveTo>
                <a:cubicBezTo>
                  <a:pt x="159" y="175"/>
                  <a:pt x="159" y="159"/>
                  <a:pt x="175" y="159"/>
                </a:cubicBezTo>
                <a:lnTo>
                  <a:pt x="4994" y="159"/>
                </a:lnTo>
                <a:cubicBezTo>
                  <a:pt x="5010" y="159"/>
                  <a:pt x="5026" y="175"/>
                  <a:pt x="5026" y="191"/>
                </a:cubicBezTo>
                <a:lnTo>
                  <a:pt x="5026" y="1241"/>
                </a:lnTo>
                <a:cubicBezTo>
                  <a:pt x="5026" y="1256"/>
                  <a:pt x="5010" y="1256"/>
                  <a:pt x="4994" y="1256"/>
                </a:cubicBezTo>
                <a:lnTo>
                  <a:pt x="175" y="1256"/>
                </a:lnTo>
                <a:cubicBezTo>
                  <a:pt x="159" y="1256"/>
                  <a:pt x="159" y="1256"/>
                  <a:pt x="159" y="1241"/>
                </a:cubicBezTo>
                <a:close/>
                <a:moveTo>
                  <a:pt x="652" y="795"/>
                </a:moveTo>
                <a:lnTo>
                  <a:pt x="2640" y="795"/>
                </a:lnTo>
                <a:cubicBezTo>
                  <a:pt x="2688" y="795"/>
                  <a:pt x="2720" y="747"/>
                  <a:pt x="2720" y="716"/>
                </a:cubicBezTo>
                <a:cubicBezTo>
                  <a:pt x="2720" y="668"/>
                  <a:pt x="2688" y="636"/>
                  <a:pt x="2640" y="636"/>
                </a:cubicBezTo>
                <a:lnTo>
                  <a:pt x="652" y="636"/>
                </a:lnTo>
                <a:cubicBezTo>
                  <a:pt x="604" y="636"/>
                  <a:pt x="573" y="668"/>
                  <a:pt x="573" y="716"/>
                </a:cubicBezTo>
                <a:cubicBezTo>
                  <a:pt x="573" y="747"/>
                  <a:pt x="604" y="795"/>
                  <a:pt x="652" y="79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1" name="Freeform: Shape 2">
            <a:extLst>
              <a:ext uri="{FF2B5EF4-FFF2-40B4-BE49-F238E27FC236}">
                <a16:creationId xmlns:a16="http://schemas.microsoft.com/office/drawing/2014/main" id="{50F9B51F-D248-BC46-B532-14B8150B3A98}"/>
              </a:ext>
            </a:extLst>
          </p:cNvPr>
          <p:cNvSpPr/>
          <p:nvPr/>
        </p:nvSpPr>
        <p:spPr>
          <a:xfrm>
            <a:off x="6320019" y="9546242"/>
            <a:ext cx="1139040" cy="1780560"/>
          </a:xfrm>
          <a:custGeom>
            <a:avLst/>
            <a:gdLst/>
            <a:ahLst/>
            <a:cxnLst>
              <a:cxn ang="3cd4">
                <a:pos x="hc" y="t"/>
              </a:cxn>
              <a:cxn ang="cd2">
                <a:pos x="l" y="vc"/>
              </a:cxn>
              <a:cxn ang="cd4">
                <a:pos x="hc" y="b"/>
              </a:cxn>
              <a:cxn ang="0">
                <a:pos x="r" y="vc"/>
              </a:cxn>
            </a:cxnLst>
            <a:rect l="l" t="t" r="r" b="b"/>
            <a:pathLst>
              <a:path w="3165" h="4947">
                <a:moveTo>
                  <a:pt x="2338" y="350"/>
                </a:moveTo>
                <a:lnTo>
                  <a:pt x="2099" y="350"/>
                </a:lnTo>
                <a:lnTo>
                  <a:pt x="2099" y="589"/>
                </a:lnTo>
                <a:lnTo>
                  <a:pt x="2338" y="589"/>
                </a:lnTo>
                <a:close/>
                <a:moveTo>
                  <a:pt x="2004" y="350"/>
                </a:moveTo>
                <a:lnTo>
                  <a:pt x="1765" y="350"/>
                </a:lnTo>
                <a:lnTo>
                  <a:pt x="1765" y="589"/>
                </a:lnTo>
                <a:lnTo>
                  <a:pt x="2004" y="589"/>
                </a:lnTo>
                <a:close/>
                <a:moveTo>
                  <a:pt x="2672" y="716"/>
                </a:moveTo>
                <a:lnTo>
                  <a:pt x="2434" y="716"/>
                </a:lnTo>
                <a:lnTo>
                  <a:pt x="2434" y="955"/>
                </a:lnTo>
                <a:lnTo>
                  <a:pt x="2672" y="955"/>
                </a:lnTo>
                <a:close/>
                <a:moveTo>
                  <a:pt x="2338" y="716"/>
                </a:moveTo>
                <a:lnTo>
                  <a:pt x="2099" y="716"/>
                </a:lnTo>
                <a:lnTo>
                  <a:pt x="2099" y="955"/>
                </a:lnTo>
                <a:lnTo>
                  <a:pt x="2338" y="955"/>
                </a:lnTo>
                <a:close/>
                <a:moveTo>
                  <a:pt x="2338" y="1941"/>
                </a:moveTo>
                <a:lnTo>
                  <a:pt x="2099" y="1941"/>
                </a:lnTo>
                <a:lnTo>
                  <a:pt x="2099" y="2195"/>
                </a:lnTo>
                <a:lnTo>
                  <a:pt x="2338" y="2195"/>
                </a:lnTo>
                <a:close/>
                <a:moveTo>
                  <a:pt x="2004" y="1941"/>
                </a:moveTo>
                <a:lnTo>
                  <a:pt x="1765" y="1941"/>
                </a:lnTo>
                <a:lnTo>
                  <a:pt x="1765" y="2195"/>
                </a:lnTo>
                <a:lnTo>
                  <a:pt x="2004" y="2195"/>
                </a:lnTo>
                <a:close/>
                <a:moveTo>
                  <a:pt x="2672" y="2307"/>
                </a:moveTo>
                <a:lnTo>
                  <a:pt x="2434" y="2307"/>
                </a:lnTo>
                <a:lnTo>
                  <a:pt x="2434" y="2545"/>
                </a:lnTo>
                <a:lnTo>
                  <a:pt x="2672" y="2545"/>
                </a:lnTo>
                <a:close/>
                <a:moveTo>
                  <a:pt x="2338" y="2307"/>
                </a:moveTo>
                <a:lnTo>
                  <a:pt x="2099" y="2307"/>
                </a:lnTo>
                <a:lnTo>
                  <a:pt x="2099" y="2545"/>
                </a:lnTo>
                <a:lnTo>
                  <a:pt x="2338" y="2545"/>
                </a:lnTo>
                <a:close/>
                <a:moveTo>
                  <a:pt x="2338" y="3548"/>
                </a:moveTo>
                <a:lnTo>
                  <a:pt x="2099" y="3548"/>
                </a:lnTo>
                <a:lnTo>
                  <a:pt x="2099" y="3786"/>
                </a:lnTo>
                <a:lnTo>
                  <a:pt x="2338" y="3786"/>
                </a:lnTo>
                <a:close/>
                <a:moveTo>
                  <a:pt x="2004" y="3548"/>
                </a:moveTo>
                <a:lnTo>
                  <a:pt x="1765" y="3548"/>
                </a:lnTo>
                <a:lnTo>
                  <a:pt x="1765" y="3786"/>
                </a:lnTo>
                <a:lnTo>
                  <a:pt x="2004" y="3786"/>
                </a:lnTo>
                <a:close/>
                <a:moveTo>
                  <a:pt x="2672" y="3897"/>
                </a:moveTo>
                <a:lnTo>
                  <a:pt x="2434" y="3897"/>
                </a:lnTo>
                <a:lnTo>
                  <a:pt x="2434" y="4152"/>
                </a:lnTo>
                <a:lnTo>
                  <a:pt x="2672" y="4152"/>
                </a:lnTo>
                <a:close/>
                <a:moveTo>
                  <a:pt x="2338" y="3897"/>
                </a:moveTo>
                <a:lnTo>
                  <a:pt x="2099" y="3897"/>
                </a:lnTo>
                <a:lnTo>
                  <a:pt x="2099" y="4152"/>
                </a:lnTo>
                <a:lnTo>
                  <a:pt x="2338" y="4152"/>
                </a:lnTo>
                <a:close/>
                <a:moveTo>
                  <a:pt x="0" y="3500"/>
                </a:moveTo>
                <a:lnTo>
                  <a:pt x="0" y="4629"/>
                </a:lnTo>
                <a:cubicBezTo>
                  <a:pt x="0" y="4804"/>
                  <a:pt x="143" y="4947"/>
                  <a:pt x="318" y="4947"/>
                </a:cubicBezTo>
                <a:lnTo>
                  <a:pt x="2847" y="4947"/>
                </a:lnTo>
                <a:cubicBezTo>
                  <a:pt x="3022" y="4947"/>
                  <a:pt x="3165" y="4804"/>
                  <a:pt x="3165" y="4629"/>
                </a:cubicBezTo>
                <a:lnTo>
                  <a:pt x="3165" y="3500"/>
                </a:lnTo>
                <a:cubicBezTo>
                  <a:pt x="3165" y="3404"/>
                  <a:pt x="3117" y="3325"/>
                  <a:pt x="3054" y="3261"/>
                </a:cubicBezTo>
                <a:cubicBezTo>
                  <a:pt x="3117" y="3213"/>
                  <a:pt x="3165" y="3118"/>
                  <a:pt x="3165" y="3022"/>
                </a:cubicBezTo>
                <a:lnTo>
                  <a:pt x="3165" y="1909"/>
                </a:lnTo>
                <a:cubicBezTo>
                  <a:pt x="3165" y="1813"/>
                  <a:pt x="3117" y="1734"/>
                  <a:pt x="3054" y="1670"/>
                </a:cubicBezTo>
                <a:cubicBezTo>
                  <a:pt x="3117" y="1607"/>
                  <a:pt x="3165" y="1527"/>
                  <a:pt x="3165" y="1432"/>
                </a:cubicBezTo>
                <a:lnTo>
                  <a:pt x="3165" y="303"/>
                </a:lnTo>
                <a:cubicBezTo>
                  <a:pt x="3165" y="143"/>
                  <a:pt x="3022" y="0"/>
                  <a:pt x="2847" y="0"/>
                </a:cubicBezTo>
                <a:lnTo>
                  <a:pt x="318" y="0"/>
                </a:lnTo>
                <a:cubicBezTo>
                  <a:pt x="143" y="0"/>
                  <a:pt x="0" y="143"/>
                  <a:pt x="0" y="303"/>
                </a:cubicBezTo>
                <a:lnTo>
                  <a:pt x="0" y="1432"/>
                </a:lnTo>
                <a:cubicBezTo>
                  <a:pt x="0" y="1527"/>
                  <a:pt x="47" y="1607"/>
                  <a:pt x="111" y="1670"/>
                </a:cubicBezTo>
                <a:cubicBezTo>
                  <a:pt x="47" y="1734"/>
                  <a:pt x="0" y="1813"/>
                  <a:pt x="0" y="1909"/>
                </a:cubicBezTo>
                <a:lnTo>
                  <a:pt x="0" y="3022"/>
                </a:lnTo>
                <a:cubicBezTo>
                  <a:pt x="0" y="3118"/>
                  <a:pt x="47" y="3213"/>
                  <a:pt x="111" y="3261"/>
                </a:cubicBezTo>
                <a:cubicBezTo>
                  <a:pt x="47" y="3325"/>
                  <a:pt x="0" y="3404"/>
                  <a:pt x="0" y="3500"/>
                </a:cubicBezTo>
                <a:close/>
                <a:moveTo>
                  <a:pt x="159" y="303"/>
                </a:moveTo>
                <a:cubicBezTo>
                  <a:pt x="159" y="223"/>
                  <a:pt x="238" y="159"/>
                  <a:pt x="318" y="159"/>
                </a:cubicBezTo>
                <a:lnTo>
                  <a:pt x="2847" y="159"/>
                </a:lnTo>
                <a:cubicBezTo>
                  <a:pt x="2926" y="159"/>
                  <a:pt x="3006" y="223"/>
                  <a:pt x="3006" y="303"/>
                </a:cubicBezTo>
                <a:lnTo>
                  <a:pt x="3006" y="1432"/>
                </a:lnTo>
                <a:cubicBezTo>
                  <a:pt x="3006" y="1527"/>
                  <a:pt x="2926" y="1591"/>
                  <a:pt x="2847" y="1591"/>
                </a:cubicBezTo>
                <a:lnTo>
                  <a:pt x="318" y="1591"/>
                </a:lnTo>
                <a:cubicBezTo>
                  <a:pt x="238" y="1591"/>
                  <a:pt x="159" y="1527"/>
                  <a:pt x="159" y="1432"/>
                </a:cubicBezTo>
                <a:close/>
                <a:moveTo>
                  <a:pt x="159" y="1909"/>
                </a:moveTo>
                <a:cubicBezTo>
                  <a:pt x="159" y="1813"/>
                  <a:pt x="238" y="1750"/>
                  <a:pt x="318" y="1750"/>
                </a:cubicBezTo>
                <a:lnTo>
                  <a:pt x="2847" y="1750"/>
                </a:lnTo>
                <a:cubicBezTo>
                  <a:pt x="2926" y="1750"/>
                  <a:pt x="3006" y="1813"/>
                  <a:pt x="3006" y="1909"/>
                </a:cubicBezTo>
                <a:lnTo>
                  <a:pt x="3006" y="3022"/>
                </a:lnTo>
                <a:cubicBezTo>
                  <a:pt x="3006" y="3118"/>
                  <a:pt x="2926" y="3182"/>
                  <a:pt x="2847" y="3182"/>
                </a:cubicBezTo>
                <a:lnTo>
                  <a:pt x="318" y="3182"/>
                </a:lnTo>
                <a:cubicBezTo>
                  <a:pt x="238" y="3182"/>
                  <a:pt x="159" y="3118"/>
                  <a:pt x="159" y="3022"/>
                </a:cubicBezTo>
                <a:close/>
                <a:moveTo>
                  <a:pt x="159" y="3500"/>
                </a:moveTo>
                <a:cubicBezTo>
                  <a:pt x="159" y="3420"/>
                  <a:pt x="238" y="3340"/>
                  <a:pt x="318" y="3340"/>
                </a:cubicBezTo>
                <a:lnTo>
                  <a:pt x="2847" y="3340"/>
                </a:lnTo>
                <a:cubicBezTo>
                  <a:pt x="2926" y="3340"/>
                  <a:pt x="3006" y="3420"/>
                  <a:pt x="3006" y="3500"/>
                </a:cubicBezTo>
                <a:lnTo>
                  <a:pt x="3006" y="4629"/>
                </a:lnTo>
                <a:cubicBezTo>
                  <a:pt x="3006" y="4709"/>
                  <a:pt x="2926" y="4788"/>
                  <a:pt x="2847" y="4788"/>
                </a:cubicBezTo>
                <a:lnTo>
                  <a:pt x="318" y="4788"/>
                </a:lnTo>
                <a:cubicBezTo>
                  <a:pt x="238" y="4788"/>
                  <a:pt x="159" y="4709"/>
                  <a:pt x="159" y="462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2" name="Freeform: Shape 7">
            <a:extLst>
              <a:ext uri="{FF2B5EF4-FFF2-40B4-BE49-F238E27FC236}">
                <a16:creationId xmlns:a16="http://schemas.microsoft.com/office/drawing/2014/main" id="{7E487AAC-AE6F-E24B-863B-90D39A5D57BE}"/>
              </a:ext>
            </a:extLst>
          </p:cNvPr>
          <p:cNvSpPr/>
          <p:nvPr/>
        </p:nvSpPr>
        <p:spPr>
          <a:xfrm>
            <a:off x="17422232" y="10211257"/>
            <a:ext cx="1792080" cy="978480"/>
          </a:xfrm>
          <a:custGeom>
            <a:avLst/>
            <a:gdLst/>
            <a:ahLst/>
            <a:cxnLst>
              <a:cxn ang="3cd4">
                <a:pos x="hc" y="t"/>
              </a:cxn>
              <a:cxn ang="cd2">
                <a:pos x="l" y="vc"/>
              </a:cxn>
              <a:cxn ang="cd4">
                <a:pos x="hc" y="b"/>
              </a:cxn>
              <a:cxn ang="0">
                <a:pos x="r" y="vc"/>
              </a:cxn>
            </a:cxnLst>
            <a:rect l="l" t="t" r="r" b="b"/>
            <a:pathLst>
              <a:path w="4979" h="2719">
                <a:moveTo>
                  <a:pt x="319" y="2719"/>
                </a:moveTo>
                <a:lnTo>
                  <a:pt x="4661" y="2719"/>
                </a:lnTo>
                <a:cubicBezTo>
                  <a:pt x="4836" y="2719"/>
                  <a:pt x="4979" y="2576"/>
                  <a:pt x="4979" y="2401"/>
                </a:cubicBezTo>
                <a:lnTo>
                  <a:pt x="4979" y="318"/>
                </a:lnTo>
                <a:cubicBezTo>
                  <a:pt x="4979" y="143"/>
                  <a:pt x="4836" y="0"/>
                  <a:pt x="4661" y="0"/>
                </a:cubicBezTo>
                <a:lnTo>
                  <a:pt x="319" y="0"/>
                </a:lnTo>
                <a:cubicBezTo>
                  <a:pt x="143" y="0"/>
                  <a:pt x="0" y="143"/>
                  <a:pt x="0" y="318"/>
                </a:cubicBezTo>
                <a:lnTo>
                  <a:pt x="0" y="2401"/>
                </a:lnTo>
                <a:cubicBezTo>
                  <a:pt x="0" y="2576"/>
                  <a:pt x="143" y="2719"/>
                  <a:pt x="319" y="2719"/>
                </a:cubicBezTo>
                <a:close/>
                <a:moveTo>
                  <a:pt x="159" y="318"/>
                </a:moveTo>
                <a:cubicBezTo>
                  <a:pt x="159" y="238"/>
                  <a:pt x="239" y="158"/>
                  <a:pt x="319" y="158"/>
                </a:cubicBezTo>
                <a:lnTo>
                  <a:pt x="4661" y="158"/>
                </a:lnTo>
                <a:cubicBezTo>
                  <a:pt x="4740" y="158"/>
                  <a:pt x="4820" y="238"/>
                  <a:pt x="4820" y="318"/>
                </a:cubicBezTo>
                <a:lnTo>
                  <a:pt x="4820" y="2401"/>
                </a:lnTo>
                <a:cubicBezTo>
                  <a:pt x="4820" y="2481"/>
                  <a:pt x="4740" y="2560"/>
                  <a:pt x="4661" y="2560"/>
                </a:cubicBezTo>
                <a:lnTo>
                  <a:pt x="319" y="2560"/>
                </a:lnTo>
                <a:cubicBezTo>
                  <a:pt x="239" y="2560"/>
                  <a:pt x="159" y="2481"/>
                  <a:pt x="159" y="2401"/>
                </a:cubicBezTo>
                <a:close/>
                <a:moveTo>
                  <a:pt x="4135" y="2258"/>
                </a:moveTo>
                <a:cubicBezTo>
                  <a:pt x="4183" y="2258"/>
                  <a:pt x="4215" y="2226"/>
                  <a:pt x="4215" y="2179"/>
                </a:cubicBezTo>
                <a:lnTo>
                  <a:pt x="4215" y="604"/>
                </a:lnTo>
                <a:cubicBezTo>
                  <a:pt x="4215" y="556"/>
                  <a:pt x="4183" y="524"/>
                  <a:pt x="4135" y="524"/>
                </a:cubicBezTo>
                <a:cubicBezTo>
                  <a:pt x="4088" y="524"/>
                  <a:pt x="4056" y="556"/>
                  <a:pt x="4056" y="604"/>
                </a:cubicBezTo>
                <a:lnTo>
                  <a:pt x="4056" y="2179"/>
                </a:lnTo>
                <a:cubicBezTo>
                  <a:pt x="4056" y="2226"/>
                  <a:pt x="4088" y="2258"/>
                  <a:pt x="4135" y="2258"/>
                </a:cubicBezTo>
                <a:close/>
                <a:moveTo>
                  <a:pt x="3468" y="2258"/>
                </a:moveTo>
                <a:cubicBezTo>
                  <a:pt x="3515" y="2258"/>
                  <a:pt x="3547" y="2226"/>
                  <a:pt x="3547" y="2179"/>
                </a:cubicBezTo>
                <a:lnTo>
                  <a:pt x="3547" y="604"/>
                </a:lnTo>
                <a:cubicBezTo>
                  <a:pt x="3547" y="556"/>
                  <a:pt x="3515" y="524"/>
                  <a:pt x="3468" y="524"/>
                </a:cubicBezTo>
                <a:cubicBezTo>
                  <a:pt x="3436" y="524"/>
                  <a:pt x="3388" y="556"/>
                  <a:pt x="3388" y="604"/>
                </a:cubicBezTo>
                <a:lnTo>
                  <a:pt x="3388" y="2179"/>
                </a:lnTo>
                <a:cubicBezTo>
                  <a:pt x="3388" y="2226"/>
                  <a:pt x="3436" y="2258"/>
                  <a:pt x="3468" y="2258"/>
                </a:cubicBezTo>
                <a:close/>
                <a:moveTo>
                  <a:pt x="2816" y="2258"/>
                </a:moveTo>
                <a:cubicBezTo>
                  <a:pt x="2847" y="2258"/>
                  <a:pt x="2895" y="2226"/>
                  <a:pt x="2895" y="2179"/>
                </a:cubicBezTo>
                <a:lnTo>
                  <a:pt x="2895" y="604"/>
                </a:lnTo>
                <a:cubicBezTo>
                  <a:pt x="2895" y="556"/>
                  <a:pt x="2847" y="524"/>
                  <a:pt x="2816" y="524"/>
                </a:cubicBezTo>
                <a:cubicBezTo>
                  <a:pt x="2768" y="524"/>
                  <a:pt x="2736" y="556"/>
                  <a:pt x="2736" y="604"/>
                </a:cubicBezTo>
                <a:lnTo>
                  <a:pt x="2736" y="2179"/>
                </a:lnTo>
                <a:cubicBezTo>
                  <a:pt x="2736" y="2226"/>
                  <a:pt x="2768" y="2258"/>
                  <a:pt x="2816" y="2258"/>
                </a:cubicBezTo>
                <a:close/>
                <a:moveTo>
                  <a:pt x="2147" y="2258"/>
                </a:moveTo>
                <a:cubicBezTo>
                  <a:pt x="2195" y="2258"/>
                  <a:pt x="2227" y="2226"/>
                  <a:pt x="2227" y="2179"/>
                </a:cubicBezTo>
                <a:lnTo>
                  <a:pt x="2227" y="604"/>
                </a:lnTo>
                <a:cubicBezTo>
                  <a:pt x="2227" y="556"/>
                  <a:pt x="2195" y="524"/>
                  <a:pt x="2147" y="524"/>
                </a:cubicBezTo>
                <a:cubicBezTo>
                  <a:pt x="2100" y="524"/>
                  <a:pt x="2068" y="556"/>
                  <a:pt x="2068" y="604"/>
                </a:cubicBezTo>
                <a:lnTo>
                  <a:pt x="2068" y="2179"/>
                </a:lnTo>
                <a:cubicBezTo>
                  <a:pt x="2068" y="2226"/>
                  <a:pt x="2100" y="2258"/>
                  <a:pt x="2147" y="2258"/>
                </a:cubicBezTo>
                <a:close/>
                <a:moveTo>
                  <a:pt x="1480" y="2258"/>
                </a:moveTo>
                <a:cubicBezTo>
                  <a:pt x="1527" y="2258"/>
                  <a:pt x="1559" y="2226"/>
                  <a:pt x="1559" y="2179"/>
                </a:cubicBezTo>
                <a:lnTo>
                  <a:pt x="1559" y="604"/>
                </a:lnTo>
                <a:cubicBezTo>
                  <a:pt x="1559" y="556"/>
                  <a:pt x="1527" y="524"/>
                  <a:pt x="1480" y="524"/>
                </a:cubicBezTo>
                <a:cubicBezTo>
                  <a:pt x="1447" y="524"/>
                  <a:pt x="1400" y="556"/>
                  <a:pt x="1400" y="604"/>
                </a:cubicBezTo>
                <a:lnTo>
                  <a:pt x="1400" y="2179"/>
                </a:lnTo>
                <a:cubicBezTo>
                  <a:pt x="1400" y="2226"/>
                  <a:pt x="1447" y="2258"/>
                  <a:pt x="1480" y="2258"/>
                </a:cubicBezTo>
                <a:close/>
                <a:moveTo>
                  <a:pt x="828" y="2258"/>
                </a:moveTo>
                <a:cubicBezTo>
                  <a:pt x="859" y="2258"/>
                  <a:pt x="907" y="2226"/>
                  <a:pt x="907" y="2179"/>
                </a:cubicBezTo>
                <a:lnTo>
                  <a:pt x="907" y="604"/>
                </a:lnTo>
                <a:cubicBezTo>
                  <a:pt x="907" y="556"/>
                  <a:pt x="859" y="524"/>
                  <a:pt x="828" y="524"/>
                </a:cubicBezTo>
                <a:cubicBezTo>
                  <a:pt x="780" y="524"/>
                  <a:pt x="748" y="556"/>
                  <a:pt x="748" y="604"/>
                </a:cubicBezTo>
                <a:lnTo>
                  <a:pt x="748" y="2179"/>
                </a:lnTo>
                <a:cubicBezTo>
                  <a:pt x="748" y="2226"/>
                  <a:pt x="780" y="2258"/>
                  <a:pt x="828" y="225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3" name="TextBox 112">
            <a:extLst>
              <a:ext uri="{FF2B5EF4-FFF2-40B4-BE49-F238E27FC236}">
                <a16:creationId xmlns:a16="http://schemas.microsoft.com/office/drawing/2014/main" id="{A9924854-5CCF-C040-AF9F-02FA47BAD114}"/>
              </a:ext>
            </a:extLst>
          </p:cNvPr>
          <p:cNvSpPr txBox="1"/>
          <p:nvPr/>
        </p:nvSpPr>
        <p:spPr>
          <a:xfrm>
            <a:off x="20817716" y="11641335"/>
            <a:ext cx="276774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lade Rack</a:t>
            </a:r>
          </a:p>
        </p:txBody>
      </p:sp>
      <p:sp>
        <p:nvSpPr>
          <p:cNvPr id="114" name="Freeform: Shape 11">
            <a:extLst>
              <a:ext uri="{FF2B5EF4-FFF2-40B4-BE49-F238E27FC236}">
                <a16:creationId xmlns:a16="http://schemas.microsoft.com/office/drawing/2014/main" id="{1382FE41-46B2-1244-BEAC-5FB27FA2D50D}"/>
              </a:ext>
            </a:extLst>
          </p:cNvPr>
          <p:cNvSpPr/>
          <p:nvPr/>
        </p:nvSpPr>
        <p:spPr>
          <a:xfrm>
            <a:off x="21631886" y="9546242"/>
            <a:ext cx="1139400" cy="1780560"/>
          </a:xfrm>
          <a:custGeom>
            <a:avLst/>
            <a:gdLst/>
            <a:ahLst/>
            <a:cxnLst>
              <a:cxn ang="3cd4">
                <a:pos x="hc" y="t"/>
              </a:cxn>
              <a:cxn ang="cd2">
                <a:pos x="l" y="vc"/>
              </a:cxn>
              <a:cxn ang="cd4">
                <a:pos x="hc" y="b"/>
              </a:cxn>
              <a:cxn ang="0">
                <a:pos x="r" y="vc"/>
              </a:cxn>
            </a:cxnLst>
            <a:rect l="l" t="t" r="r" b="b"/>
            <a:pathLst>
              <a:path w="3166" h="4947">
                <a:moveTo>
                  <a:pt x="2514" y="1257"/>
                </a:moveTo>
                <a:cubicBezTo>
                  <a:pt x="2562" y="1257"/>
                  <a:pt x="2593" y="1225"/>
                  <a:pt x="2593" y="1177"/>
                </a:cubicBezTo>
                <a:lnTo>
                  <a:pt x="2593" y="541"/>
                </a:lnTo>
                <a:cubicBezTo>
                  <a:pt x="2593" y="493"/>
                  <a:pt x="2562" y="461"/>
                  <a:pt x="2514" y="461"/>
                </a:cubicBezTo>
                <a:cubicBezTo>
                  <a:pt x="2466" y="461"/>
                  <a:pt x="2434" y="493"/>
                  <a:pt x="2434" y="541"/>
                </a:cubicBezTo>
                <a:lnTo>
                  <a:pt x="2434" y="1177"/>
                </a:lnTo>
                <a:cubicBezTo>
                  <a:pt x="2434" y="1225"/>
                  <a:pt x="2466" y="1257"/>
                  <a:pt x="2514" y="1257"/>
                </a:cubicBezTo>
                <a:close/>
                <a:moveTo>
                  <a:pt x="2036" y="1257"/>
                </a:moveTo>
                <a:cubicBezTo>
                  <a:pt x="2084" y="1257"/>
                  <a:pt x="2116" y="1225"/>
                  <a:pt x="2116" y="1177"/>
                </a:cubicBezTo>
                <a:lnTo>
                  <a:pt x="2116" y="541"/>
                </a:lnTo>
                <a:cubicBezTo>
                  <a:pt x="2116" y="493"/>
                  <a:pt x="2084" y="461"/>
                  <a:pt x="2036" y="461"/>
                </a:cubicBezTo>
                <a:cubicBezTo>
                  <a:pt x="1989" y="461"/>
                  <a:pt x="1957" y="493"/>
                  <a:pt x="1957" y="541"/>
                </a:cubicBezTo>
                <a:lnTo>
                  <a:pt x="1957" y="1177"/>
                </a:lnTo>
                <a:cubicBezTo>
                  <a:pt x="1957" y="1225"/>
                  <a:pt x="1989" y="1257"/>
                  <a:pt x="2036" y="1257"/>
                </a:cubicBezTo>
                <a:close/>
                <a:moveTo>
                  <a:pt x="1559" y="1257"/>
                </a:moveTo>
                <a:cubicBezTo>
                  <a:pt x="1607" y="1257"/>
                  <a:pt x="1639" y="1225"/>
                  <a:pt x="1639" y="1177"/>
                </a:cubicBezTo>
                <a:lnTo>
                  <a:pt x="1639" y="541"/>
                </a:lnTo>
                <a:cubicBezTo>
                  <a:pt x="1639" y="493"/>
                  <a:pt x="1607" y="461"/>
                  <a:pt x="1559" y="461"/>
                </a:cubicBezTo>
                <a:cubicBezTo>
                  <a:pt x="1512" y="461"/>
                  <a:pt x="1480" y="493"/>
                  <a:pt x="1480" y="541"/>
                </a:cubicBezTo>
                <a:lnTo>
                  <a:pt x="1480" y="1177"/>
                </a:lnTo>
                <a:cubicBezTo>
                  <a:pt x="1480" y="1225"/>
                  <a:pt x="1512" y="1257"/>
                  <a:pt x="1559" y="1257"/>
                </a:cubicBezTo>
                <a:close/>
                <a:moveTo>
                  <a:pt x="1082" y="1257"/>
                </a:moveTo>
                <a:cubicBezTo>
                  <a:pt x="1130" y="1257"/>
                  <a:pt x="1162" y="1225"/>
                  <a:pt x="1162" y="1177"/>
                </a:cubicBezTo>
                <a:lnTo>
                  <a:pt x="1162" y="541"/>
                </a:lnTo>
                <a:cubicBezTo>
                  <a:pt x="1162" y="493"/>
                  <a:pt x="1130" y="461"/>
                  <a:pt x="1082" y="461"/>
                </a:cubicBezTo>
                <a:cubicBezTo>
                  <a:pt x="1050" y="461"/>
                  <a:pt x="1003" y="493"/>
                  <a:pt x="1003" y="541"/>
                </a:cubicBezTo>
                <a:lnTo>
                  <a:pt x="1003" y="1177"/>
                </a:lnTo>
                <a:cubicBezTo>
                  <a:pt x="1003" y="1225"/>
                  <a:pt x="1050" y="1257"/>
                  <a:pt x="1082" y="1257"/>
                </a:cubicBezTo>
                <a:close/>
                <a:moveTo>
                  <a:pt x="621" y="1257"/>
                </a:moveTo>
                <a:cubicBezTo>
                  <a:pt x="653" y="1257"/>
                  <a:pt x="700" y="1225"/>
                  <a:pt x="700" y="1177"/>
                </a:cubicBezTo>
                <a:lnTo>
                  <a:pt x="700" y="541"/>
                </a:lnTo>
                <a:cubicBezTo>
                  <a:pt x="700" y="493"/>
                  <a:pt x="653" y="461"/>
                  <a:pt x="621" y="461"/>
                </a:cubicBezTo>
                <a:cubicBezTo>
                  <a:pt x="573" y="461"/>
                  <a:pt x="541" y="493"/>
                  <a:pt x="541" y="541"/>
                </a:cubicBezTo>
                <a:lnTo>
                  <a:pt x="541" y="1177"/>
                </a:lnTo>
                <a:cubicBezTo>
                  <a:pt x="541" y="1225"/>
                  <a:pt x="573" y="1257"/>
                  <a:pt x="621" y="1257"/>
                </a:cubicBezTo>
                <a:close/>
                <a:moveTo>
                  <a:pt x="2514" y="2863"/>
                </a:moveTo>
                <a:cubicBezTo>
                  <a:pt x="2562" y="2863"/>
                  <a:pt x="2593" y="2831"/>
                  <a:pt x="2593" y="2799"/>
                </a:cubicBezTo>
                <a:lnTo>
                  <a:pt x="2593" y="2147"/>
                </a:lnTo>
                <a:cubicBezTo>
                  <a:pt x="2593" y="2115"/>
                  <a:pt x="2562" y="2068"/>
                  <a:pt x="2514" y="2068"/>
                </a:cubicBezTo>
                <a:cubicBezTo>
                  <a:pt x="2466" y="2068"/>
                  <a:pt x="2434" y="2115"/>
                  <a:pt x="2434" y="2147"/>
                </a:cubicBezTo>
                <a:lnTo>
                  <a:pt x="2434" y="2799"/>
                </a:lnTo>
                <a:cubicBezTo>
                  <a:pt x="2434" y="2831"/>
                  <a:pt x="2466" y="2863"/>
                  <a:pt x="2514" y="2863"/>
                </a:cubicBezTo>
                <a:close/>
                <a:moveTo>
                  <a:pt x="2036" y="2863"/>
                </a:moveTo>
                <a:cubicBezTo>
                  <a:pt x="2084" y="2863"/>
                  <a:pt x="2116" y="2831"/>
                  <a:pt x="2116" y="2799"/>
                </a:cubicBezTo>
                <a:lnTo>
                  <a:pt x="2116" y="2147"/>
                </a:lnTo>
                <a:cubicBezTo>
                  <a:pt x="2116" y="2115"/>
                  <a:pt x="2084" y="2068"/>
                  <a:pt x="2036" y="2068"/>
                </a:cubicBezTo>
                <a:cubicBezTo>
                  <a:pt x="1989" y="2068"/>
                  <a:pt x="1957" y="2115"/>
                  <a:pt x="1957" y="2147"/>
                </a:cubicBezTo>
                <a:lnTo>
                  <a:pt x="1957" y="2799"/>
                </a:lnTo>
                <a:cubicBezTo>
                  <a:pt x="1957" y="2831"/>
                  <a:pt x="1989" y="2863"/>
                  <a:pt x="2036" y="2863"/>
                </a:cubicBezTo>
                <a:close/>
                <a:moveTo>
                  <a:pt x="1559" y="2863"/>
                </a:moveTo>
                <a:cubicBezTo>
                  <a:pt x="1607" y="2863"/>
                  <a:pt x="1639" y="2831"/>
                  <a:pt x="1639" y="2799"/>
                </a:cubicBezTo>
                <a:lnTo>
                  <a:pt x="1639" y="2147"/>
                </a:lnTo>
                <a:cubicBezTo>
                  <a:pt x="1639" y="2115"/>
                  <a:pt x="1607" y="2068"/>
                  <a:pt x="1559" y="2068"/>
                </a:cubicBezTo>
                <a:cubicBezTo>
                  <a:pt x="1512" y="2068"/>
                  <a:pt x="1480" y="2115"/>
                  <a:pt x="1480" y="2147"/>
                </a:cubicBezTo>
                <a:lnTo>
                  <a:pt x="1480" y="2799"/>
                </a:lnTo>
                <a:cubicBezTo>
                  <a:pt x="1480" y="2831"/>
                  <a:pt x="1512" y="2863"/>
                  <a:pt x="1559" y="2863"/>
                </a:cubicBezTo>
                <a:close/>
                <a:moveTo>
                  <a:pt x="1082" y="2863"/>
                </a:moveTo>
                <a:cubicBezTo>
                  <a:pt x="1130" y="2863"/>
                  <a:pt x="1162" y="2831"/>
                  <a:pt x="1162" y="2799"/>
                </a:cubicBezTo>
                <a:lnTo>
                  <a:pt x="1162" y="2147"/>
                </a:lnTo>
                <a:cubicBezTo>
                  <a:pt x="1162" y="2115"/>
                  <a:pt x="1130" y="2068"/>
                  <a:pt x="1082" y="2068"/>
                </a:cubicBezTo>
                <a:cubicBezTo>
                  <a:pt x="1050" y="2068"/>
                  <a:pt x="1003" y="2115"/>
                  <a:pt x="1003" y="2147"/>
                </a:cubicBezTo>
                <a:lnTo>
                  <a:pt x="1003" y="2799"/>
                </a:lnTo>
                <a:cubicBezTo>
                  <a:pt x="1003" y="2831"/>
                  <a:pt x="1050" y="2863"/>
                  <a:pt x="1082" y="2863"/>
                </a:cubicBezTo>
                <a:close/>
                <a:moveTo>
                  <a:pt x="621" y="2863"/>
                </a:moveTo>
                <a:cubicBezTo>
                  <a:pt x="653" y="2863"/>
                  <a:pt x="700" y="2831"/>
                  <a:pt x="700" y="2799"/>
                </a:cubicBezTo>
                <a:lnTo>
                  <a:pt x="700" y="2147"/>
                </a:lnTo>
                <a:cubicBezTo>
                  <a:pt x="700" y="2115"/>
                  <a:pt x="653" y="2068"/>
                  <a:pt x="621" y="2068"/>
                </a:cubicBezTo>
                <a:cubicBezTo>
                  <a:pt x="573" y="2068"/>
                  <a:pt x="541" y="2115"/>
                  <a:pt x="541" y="2147"/>
                </a:cubicBezTo>
                <a:lnTo>
                  <a:pt x="541" y="2799"/>
                </a:lnTo>
                <a:cubicBezTo>
                  <a:pt x="541" y="2831"/>
                  <a:pt x="573" y="2863"/>
                  <a:pt x="621" y="2863"/>
                </a:cubicBezTo>
                <a:close/>
                <a:moveTo>
                  <a:pt x="2514" y="4469"/>
                </a:moveTo>
                <a:cubicBezTo>
                  <a:pt x="2562" y="4469"/>
                  <a:pt x="2593" y="4438"/>
                  <a:pt x="2593" y="4390"/>
                </a:cubicBezTo>
                <a:lnTo>
                  <a:pt x="2593" y="3754"/>
                </a:lnTo>
                <a:cubicBezTo>
                  <a:pt x="2593" y="3706"/>
                  <a:pt x="2562" y="3674"/>
                  <a:pt x="2514" y="3674"/>
                </a:cubicBezTo>
                <a:cubicBezTo>
                  <a:pt x="2466" y="3674"/>
                  <a:pt x="2434" y="3706"/>
                  <a:pt x="2434" y="3754"/>
                </a:cubicBezTo>
                <a:lnTo>
                  <a:pt x="2434" y="4390"/>
                </a:lnTo>
                <a:cubicBezTo>
                  <a:pt x="2434" y="4438"/>
                  <a:pt x="2466" y="4469"/>
                  <a:pt x="2514" y="4469"/>
                </a:cubicBezTo>
                <a:close/>
                <a:moveTo>
                  <a:pt x="2036" y="4469"/>
                </a:moveTo>
                <a:cubicBezTo>
                  <a:pt x="2084" y="4469"/>
                  <a:pt x="2116" y="4438"/>
                  <a:pt x="2116" y="4390"/>
                </a:cubicBezTo>
                <a:lnTo>
                  <a:pt x="2116" y="3754"/>
                </a:lnTo>
                <a:cubicBezTo>
                  <a:pt x="2116" y="3706"/>
                  <a:pt x="2084" y="3674"/>
                  <a:pt x="2036" y="3674"/>
                </a:cubicBezTo>
                <a:cubicBezTo>
                  <a:pt x="1989" y="3674"/>
                  <a:pt x="1957" y="3706"/>
                  <a:pt x="1957" y="3754"/>
                </a:cubicBezTo>
                <a:lnTo>
                  <a:pt x="1957" y="4390"/>
                </a:lnTo>
                <a:cubicBezTo>
                  <a:pt x="1957" y="4438"/>
                  <a:pt x="1989" y="4469"/>
                  <a:pt x="2036" y="4469"/>
                </a:cubicBezTo>
                <a:close/>
                <a:moveTo>
                  <a:pt x="1559" y="4469"/>
                </a:moveTo>
                <a:cubicBezTo>
                  <a:pt x="1607" y="4469"/>
                  <a:pt x="1639" y="4438"/>
                  <a:pt x="1639" y="4390"/>
                </a:cubicBezTo>
                <a:lnTo>
                  <a:pt x="1639" y="3754"/>
                </a:lnTo>
                <a:cubicBezTo>
                  <a:pt x="1639" y="3706"/>
                  <a:pt x="1607" y="3674"/>
                  <a:pt x="1559" y="3674"/>
                </a:cubicBezTo>
                <a:cubicBezTo>
                  <a:pt x="1512" y="3674"/>
                  <a:pt x="1480" y="3706"/>
                  <a:pt x="1480" y="3754"/>
                </a:cubicBezTo>
                <a:lnTo>
                  <a:pt x="1480" y="4390"/>
                </a:lnTo>
                <a:cubicBezTo>
                  <a:pt x="1480" y="4438"/>
                  <a:pt x="1512" y="4469"/>
                  <a:pt x="1559" y="4469"/>
                </a:cubicBezTo>
                <a:close/>
                <a:moveTo>
                  <a:pt x="1082" y="4469"/>
                </a:moveTo>
                <a:cubicBezTo>
                  <a:pt x="1130" y="4469"/>
                  <a:pt x="1162" y="4438"/>
                  <a:pt x="1162" y="4390"/>
                </a:cubicBezTo>
                <a:lnTo>
                  <a:pt x="1162" y="3754"/>
                </a:lnTo>
                <a:cubicBezTo>
                  <a:pt x="1162" y="3706"/>
                  <a:pt x="1130" y="3674"/>
                  <a:pt x="1082" y="3674"/>
                </a:cubicBezTo>
                <a:cubicBezTo>
                  <a:pt x="1050" y="3674"/>
                  <a:pt x="1003" y="3706"/>
                  <a:pt x="1003" y="3754"/>
                </a:cubicBezTo>
                <a:lnTo>
                  <a:pt x="1003" y="4390"/>
                </a:lnTo>
                <a:cubicBezTo>
                  <a:pt x="1003" y="4438"/>
                  <a:pt x="1050" y="4469"/>
                  <a:pt x="1082" y="4469"/>
                </a:cubicBezTo>
                <a:close/>
                <a:moveTo>
                  <a:pt x="621" y="4469"/>
                </a:moveTo>
                <a:cubicBezTo>
                  <a:pt x="653" y="4469"/>
                  <a:pt x="700" y="4438"/>
                  <a:pt x="700" y="4390"/>
                </a:cubicBezTo>
                <a:lnTo>
                  <a:pt x="700" y="3754"/>
                </a:lnTo>
                <a:cubicBezTo>
                  <a:pt x="700" y="3706"/>
                  <a:pt x="653" y="3674"/>
                  <a:pt x="621" y="3674"/>
                </a:cubicBezTo>
                <a:cubicBezTo>
                  <a:pt x="573" y="3674"/>
                  <a:pt x="541" y="3706"/>
                  <a:pt x="541" y="3754"/>
                </a:cubicBezTo>
                <a:lnTo>
                  <a:pt x="541" y="4390"/>
                </a:lnTo>
                <a:cubicBezTo>
                  <a:pt x="541" y="4438"/>
                  <a:pt x="573" y="4469"/>
                  <a:pt x="621" y="4469"/>
                </a:cubicBezTo>
                <a:close/>
                <a:moveTo>
                  <a:pt x="0" y="3515"/>
                </a:moveTo>
                <a:lnTo>
                  <a:pt x="0" y="4629"/>
                </a:lnTo>
                <a:cubicBezTo>
                  <a:pt x="0" y="4804"/>
                  <a:pt x="144" y="4947"/>
                  <a:pt x="318" y="4947"/>
                </a:cubicBezTo>
                <a:lnTo>
                  <a:pt x="2848" y="4947"/>
                </a:lnTo>
                <a:cubicBezTo>
                  <a:pt x="3023" y="4947"/>
                  <a:pt x="3166" y="4804"/>
                  <a:pt x="3166" y="4629"/>
                </a:cubicBezTo>
                <a:lnTo>
                  <a:pt x="3166" y="3515"/>
                </a:lnTo>
                <a:cubicBezTo>
                  <a:pt x="3166" y="3420"/>
                  <a:pt x="3118" y="3324"/>
                  <a:pt x="3054" y="3277"/>
                </a:cubicBezTo>
                <a:cubicBezTo>
                  <a:pt x="3118" y="3213"/>
                  <a:pt x="3166" y="3133"/>
                  <a:pt x="3166" y="3038"/>
                </a:cubicBezTo>
                <a:lnTo>
                  <a:pt x="3166" y="1909"/>
                </a:lnTo>
                <a:cubicBezTo>
                  <a:pt x="3166" y="1813"/>
                  <a:pt x="3118" y="1734"/>
                  <a:pt x="3054" y="1670"/>
                </a:cubicBezTo>
                <a:cubicBezTo>
                  <a:pt x="3118" y="1623"/>
                  <a:pt x="3166" y="1527"/>
                  <a:pt x="3166" y="1432"/>
                </a:cubicBezTo>
                <a:lnTo>
                  <a:pt x="3166" y="318"/>
                </a:lnTo>
                <a:cubicBezTo>
                  <a:pt x="3166" y="143"/>
                  <a:pt x="3023" y="0"/>
                  <a:pt x="2848" y="0"/>
                </a:cubicBezTo>
                <a:lnTo>
                  <a:pt x="318" y="0"/>
                </a:lnTo>
                <a:cubicBezTo>
                  <a:pt x="144" y="0"/>
                  <a:pt x="0" y="143"/>
                  <a:pt x="0" y="318"/>
                </a:cubicBezTo>
                <a:lnTo>
                  <a:pt x="0" y="1432"/>
                </a:lnTo>
                <a:cubicBezTo>
                  <a:pt x="0" y="1527"/>
                  <a:pt x="48" y="1623"/>
                  <a:pt x="112" y="1670"/>
                </a:cubicBezTo>
                <a:cubicBezTo>
                  <a:pt x="48" y="1734"/>
                  <a:pt x="0" y="1813"/>
                  <a:pt x="0" y="1909"/>
                </a:cubicBezTo>
                <a:lnTo>
                  <a:pt x="0" y="3038"/>
                </a:lnTo>
                <a:cubicBezTo>
                  <a:pt x="0" y="3133"/>
                  <a:pt x="48" y="3213"/>
                  <a:pt x="112" y="3277"/>
                </a:cubicBezTo>
                <a:cubicBezTo>
                  <a:pt x="48" y="3324"/>
                  <a:pt x="0" y="3420"/>
                  <a:pt x="0" y="3515"/>
                </a:cubicBezTo>
                <a:close/>
                <a:moveTo>
                  <a:pt x="160" y="318"/>
                </a:moveTo>
                <a:cubicBezTo>
                  <a:pt x="160" y="223"/>
                  <a:pt x="239" y="159"/>
                  <a:pt x="318" y="159"/>
                </a:cubicBezTo>
                <a:lnTo>
                  <a:pt x="2848" y="159"/>
                </a:lnTo>
                <a:cubicBezTo>
                  <a:pt x="2927" y="159"/>
                  <a:pt x="3007" y="223"/>
                  <a:pt x="3007" y="318"/>
                </a:cubicBezTo>
                <a:lnTo>
                  <a:pt x="3007" y="1432"/>
                </a:lnTo>
                <a:cubicBezTo>
                  <a:pt x="3007" y="1527"/>
                  <a:pt x="2927" y="1591"/>
                  <a:pt x="2848" y="1591"/>
                </a:cubicBezTo>
                <a:lnTo>
                  <a:pt x="318" y="1591"/>
                </a:lnTo>
                <a:cubicBezTo>
                  <a:pt x="239" y="1591"/>
                  <a:pt x="160" y="1527"/>
                  <a:pt x="160" y="1432"/>
                </a:cubicBezTo>
                <a:close/>
                <a:moveTo>
                  <a:pt x="160" y="1909"/>
                </a:moveTo>
                <a:cubicBezTo>
                  <a:pt x="160" y="1829"/>
                  <a:pt x="239" y="1750"/>
                  <a:pt x="318" y="1750"/>
                </a:cubicBezTo>
                <a:lnTo>
                  <a:pt x="2848" y="1750"/>
                </a:lnTo>
                <a:cubicBezTo>
                  <a:pt x="2927" y="1750"/>
                  <a:pt x="3007" y="1829"/>
                  <a:pt x="3007" y="1909"/>
                </a:cubicBezTo>
                <a:lnTo>
                  <a:pt x="3007" y="3038"/>
                </a:lnTo>
                <a:cubicBezTo>
                  <a:pt x="3007" y="3117"/>
                  <a:pt x="2927" y="3197"/>
                  <a:pt x="2848" y="3197"/>
                </a:cubicBezTo>
                <a:lnTo>
                  <a:pt x="318" y="3197"/>
                </a:lnTo>
                <a:cubicBezTo>
                  <a:pt x="239" y="3197"/>
                  <a:pt x="160" y="3117"/>
                  <a:pt x="160" y="3038"/>
                </a:cubicBezTo>
                <a:close/>
                <a:moveTo>
                  <a:pt x="160" y="3515"/>
                </a:moveTo>
                <a:cubicBezTo>
                  <a:pt x="160" y="3420"/>
                  <a:pt x="239" y="3356"/>
                  <a:pt x="318" y="3356"/>
                </a:cubicBezTo>
                <a:lnTo>
                  <a:pt x="2848" y="3356"/>
                </a:lnTo>
                <a:cubicBezTo>
                  <a:pt x="2927" y="3356"/>
                  <a:pt x="3007" y="3420"/>
                  <a:pt x="3007" y="3515"/>
                </a:cubicBezTo>
                <a:lnTo>
                  <a:pt x="3007" y="4629"/>
                </a:lnTo>
                <a:cubicBezTo>
                  <a:pt x="3007" y="4724"/>
                  <a:pt x="2927" y="4787"/>
                  <a:pt x="2848" y="4787"/>
                </a:cubicBezTo>
                <a:lnTo>
                  <a:pt x="318" y="4787"/>
                </a:lnTo>
                <a:cubicBezTo>
                  <a:pt x="239" y="4787"/>
                  <a:pt x="160" y="4724"/>
                  <a:pt x="160" y="462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49633177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Computers / Hardware - 4</a:t>
            </a:r>
          </a:p>
        </p:txBody>
      </p:sp>
      <p:sp>
        <p:nvSpPr>
          <p:cNvPr id="115" name="TextBox 114">
            <a:extLst>
              <a:ext uri="{FF2B5EF4-FFF2-40B4-BE49-F238E27FC236}">
                <a16:creationId xmlns:a16="http://schemas.microsoft.com/office/drawing/2014/main" id="{3C244A3A-D71E-6145-BDA8-AAFF76D1B3C5}"/>
              </a:ext>
            </a:extLst>
          </p:cNvPr>
          <p:cNvSpPr txBox="1"/>
          <p:nvPr/>
        </p:nvSpPr>
        <p:spPr>
          <a:xfrm>
            <a:off x="5306606" y="5164929"/>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ool Box</a:t>
            </a:r>
          </a:p>
        </p:txBody>
      </p:sp>
      <p:sp>
        <p:nvSpPr>
          <p:cNvPr id="116" name="TextBox 115">
            <a:extLst>
              <a:ext uri="{FF2B5EF4-FFF2-40B4-BE49-F238E27FC236}">
                <a16:creationId xmlns:a16="http://schemas.microsoft.com/office/drawing/2014/main" id="{78A89D71-3AFA-B749-A711-ED43C9FFD98B}"/>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ster</a:t>
            </a:r>
          </a:p>
        </p:txBody>
      </p:sp>
      <p:sp>
        <p:nvSpPr>
          <p:cNvPr id="117" name="TextBox 116">
            <a:extLst>
              <a:ext uri="{FF2B5EF4-FFF2-40B4-BE49-F238E27FC236}">
                <a16:creationId xmlns:a16="http://schemas.microsoft.com/office/drawing/2014/main" id="{63029B8E-7354-2442-A11A-50F3572640A4}"/>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lave</a:t>
            </a:r>
          </a:p>
        </p:txBody>
      </p:sp>
      <p:sp>
        <p:nvSpPr>
          <p:cNvPr id="118" name="TextBox 117">
            <a:extLst>
              <a:ext uri="{FF2B5EF4-FFF2-40B4-BE49-F238E27FC236}">
                <a16:creationId xmlns:a16="http://schemas.microsoft.com/office/drawing/2014/main" id="{03986A17-B2EA-6C4C-A432-1687E720F474}"/>
              </a:ext>
            </a:extLst>
          </p:cNvPr>
          <p:cNvSpPr txBox="1"/>
          <p:nvPr/>
        </p:nvSpPr>
        <p:spPr>
          <a:xfrm>
            <a:off x="20809186" y="5164929"/>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uild Tools</a:t>
            </a:r>
          </a:p>
        </p:txBody>
      </p:sp>
      <p:sp>
        <p:nvSpPr>
          <p:cNvPr id="119" name="TextBox 118">
            <a:extLst>
              <a:ext uri="{FF2B5EF4-FFF2-40B4-BE49-F238E27FC236}">
                <a16:creationId xmlns:a16="http://schemas.microsoft.com/office/drawing/2014/main" id="{03A00481-C4AB-CA4E-86B0-8070BB843378}"/>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ard Drive</a:t>
            </a:r>
          </a:p>
        </p:txBody>
      </p:sp>
      <p:sp>
        <p:nvSpPr>
          <p:cNvPr id="120" name="TextBox 119">
            <a:extLst>
              <a:ext uri="{FF2B5EF4-FFF2-40B4-BE49-F238E27FC236}">
                <a16:creationId xmlns:a16="http://schemas.microsoft.com/office/drawing/2014/main" id="{A8C45768-37C2-1242-A670-A554D3566C91}"/>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RT Monitor</a:t>
            </a:r>
          </a:p>
        </p:txBody>
      </p:sp>
      <p:sp>
        <p:nvSpPr>
          <p:cNvPr id="121" name="TextBox 120">
            <a:extLst>
              <a:ext uri="{FF2B5EF4-FFF2-40B4-BE49-F238E27FC236}">
                <a16:creationId xmlns:a16="http://schemas.microsoft.com/office/drawing/2014/main" id="{E5753C48-19B6-AE4E-8A66-66726C8F1095}"/>
              </a:ext>
            </a:extLst>
          </p:cNvPr>
          <p:cNvSpPr txBox="1"/>
          <p:nvPr/>
        </p:nvSpPr>
        <p:spPr>
          <a:xfrm>
            <a:off x="9013116"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oftware</a:t>
            </a:r>
          </a:p>
        </p:txBody>
      </p:sp>
      <p:sp>
        <p:nvSpPr>
          <p:cNvPr id="122" name="TextBox 121">
            <a:extLst>
              <a:ext uri="{FF2B5EF4-FFF2-40B4-BE49-F238E27FC236}">
                <a16:creationId xmlns:a16="http://schemas.microsoft.com/office/drawing/2014/main" id="{B044D3A0-4C41-7845-BF43-8B1FCE02696A}"/>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ight</a:t>
            </a:r>
          </a:p>
        </p:txBody>
      </p:sp>
      <p:sp>
        <p:nvSpPr>
          <p:cNvPr id="123" name="TextBox 122">
            <a:extLst>
              <a:ext uri="{FF2B5EF4-FFF2-40B4-BE49-F238E27FC236}">
                <a16:creationId xmlns:a16="http://schemas.microsoft.com/office/drawing/2014/main" id="{9907C98C-F0B2-1444-9670-FB54C3740E3C}"/>
              </a:ext>
            </a:extLst>
          </p:cNvPr>
          <p:cNvSpPr txBox="1"/>
          <p:nvPr/>
        </p:nvSpPr>
        <p:spPr>
          <a:xfrm>
            <a:off x="833124" y="5158664"/>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Keyboard</a:t>
            </a:r>
          </a:p>
        </p:txBody>
      </p:sp>
      <p:sp>
        <p:nvSpPr>
          <p:cNvPr id="124" name="Freeform: Shape 26">
            <a:extLst>
              <a:ext uri="{FF2B5EF4-FFF2-40B4-BE49-F238E27FC236}">
                <a16:creationId xmlns:a16="http://schemas.microsoft.com/office/drawing/2014/main" id="{B10E5BD2-7FEF-5E46-994C-0EB34A31F622}"/>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5" name="TextBox 124">
            <a:extLst>
              <a:ext uri="{FF2B5EF4-FFF2-40B4-BE49-F238E27FC236}">
                <a16:creationId xmlns:a16="http://schemas.microsoft.com/office/drawing/2014/main" id="{5C75AD7E-6C95-6F47-98B3-7B2377BB1448}"/>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pe Measure</a:t>
            </a:r>
          </a:p>
        </p:txBody>
      </p:sp>
      <p:sp>
        <p:nvSpPr>
          <p:cNvPr id="126" name="TextBox 125">
            <a:extLst>
              <a:ext uri="{FF2B5EF4-FFF2-40B4-BE49-F238E27FC236}">
                <a16:creationId xmlns:a16="http://schemas.microsoft.com/office/drawing/2014/main" id="{77FBEB93-BDF6-1145-B72A-FFD97A0E680C}"/>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V</a:t>
            </a:r>
          </a:p>
        </p:txBody>
      </p:sp>
      <p:sp>
        <p:nvSpPr>
          <p:cNvPr id="127" name="Freeform: Shape 2">
            <a:extLst>
              <a:ext uri="{FF2B5EF4-FFF2-40B4-BE49-F238E27FC236}">
                <a16:creationId xmlns:a16="http://schemas.microsoft.com/office/drawing/2014/main" id="{9656CC8A-458A-5649-BB0F-44495F1D3146}"/>
              </a:ext>
            </a:extLst>
          </p:cNvPr>
          <p:cNvSpPr/>
          <p:nvPr/>
        </p:nvSpPr>
        <p:spPr>
          <a:xfrm>
            <a:off x="6043837" y="3553863"/>
            <a:ext cx="1637280" cy="1374120"/>
          </a:xfrm>
          <a:custGeom>
            <a:avLst/>
            <a:gdLst/>
            <a:ahLst/>
            <a:cxnLst>
              <a:cxn ang="3cd4">
                <a:pos x="hc" y="t"/>
              </a:cxn>
              <a:cxn ang="cd2">
                <a:pos x="l" y="vc"/>
              </a:cxn>
              <a:cxn ang="cd4">
                <a:pos x="hc" y="b"/>
              </a:cxn>
              <a:cxn ang="0">
                <a:pos x="r" y="vc"/>
              </a:cxn>
            </a:cxnLst>
            <a:rect l="l" t="t" r="r" b="b"/>
            <a:pathLst>
              <a:path w="4549" h="3818">
                <a:moveTo>
                  <a:pt x="4549" y="3500"/>
                </a:moveTo>
                <a:lnTo>
                  <a:pt x="4549" y="1035"/>
                </a:lnTo>
                <a:cubicBezTo>
                  <a:pt x="4549" y="860"/>
                  <a:pt x="4390" y="717"/>
                  <a:pt x="4215" y="717"/>
                </a:cubicBezTo>
                <a:lnTo>
                  <a:pt x="3420" y="717"/>
                </a:lnTo>
                <a:lnTo>
                  <a:pt x="3420" y="748"/>
                </a:lnTo>
                <a:cubicBezTo>
                  <a:pt x="3420" y="796"/>
                  <a:pt x="3372" y="828"/>
                  <a:pt x="3340" y="828"/>
                </a:cubicBezTo>
                <a:cubicBezTo>
                  <a:pt x="3293" y="828"/>
                  <a:pt x="3261" y="796"/>
                  <a:pt x="3261" y="748"/>
                </a:cubicBezTo>
                <a:lnTo>
                  <a:pt x="3261" y="717"/>
                </a:lnTo>
                <a:lnTo>
                  <a:pt x="1288" y="717"/>
                </a:lnTo>
                <a:lnTo>
                  <a:pt x="1288" y="748"/>
                </a:lnTo>
                <a:cubicBezTo>
                  <a:pt x="1288" y="796"/>
                  <a:pt x="1257" y="828"/>
                  <a:pt x="1209" y="828"/>
                </a:cubicBezTo>
                <a:cubicBezTo>
                  <a:pt x="1161" y="828"/>
                  <a:pt x="1129" y="796"/>
                  <a:pt x="1129" y="748"/>
                </a:cubicBezTo>
                <a:lnTo>
                  <a:pt x="1129" y="717"/>
                </a:lnTo>
                <a:lnTo>
                  <a:pt x="334" y="717"/>
                </a:lnTo>
                <a:cubicBezTo>
                  <a:pt x="143" y="717"/>
                  <a:pt x="0" y="860"/>
                  <a:pt x="0" y="1035"/>
                </a:cubicBezTo>
                <a:lnTo>
                  <a:pt x="0" y="3500"/>
                </a:lnTo>
                <a:cubicBezTo>
                  <a:pt x="0" y="3675"/>
                  <a:pt x="143" y="3818"/>
                  <a:pt x="334" y="3818"/>
                </a:cubicBezTo>
                <a:lnTo>
                  <a:pt x="4215" y="3818"/>
                </a:lnTo>
                <a:cubicBezTo>
                  <a:pt x="4390" y="3818"/>
                  <a:pt x="4549" y="3675"/>
                  <a:pt x="4549" y="3500"/>
                </a:cubicBezTo>
                <a:close/>
                <a:moveTo>
                  <a:pt x="4390" y="1941"/>
                </a:moveTo>
                <a:lnTo>
                  <a:pt x="4390" y="3500"/>
                </a:lnTo>
                <a:cubicBezTo>
                  <a:pt x="4390" y="3580"/>
                  <a:pt x="4311" y="3659"/>
                  <a:pt x="4215" y="3659"/>
                </a:cubicBezTo>
                <a:lnTo>
                  <a:pt x="334" y="3659"/>
                </a:lnTo>
                <a:cubicBezTo>
                  <a:pt x="239" y="3659"/>
                  <a:pt x="159" y="3580"/>
                  <a:pt x="159" y="3500"/>
                </a:cubicBezTo>
                <a:lnTo>
                  <a:pt x="159" y="1941"/>
                </a:lnTo>
                <a:lnTo>
                  <a:pt x="95" y="1941"/>
                </a:lnTo>
                <a:cubicBezTo>
                  <a:pt x="64" y="1941"/>
                  <a:pt x="16" y="1909"/>
                  <a:pt x="16" y="1862"/>
                </a:cubicBezTo>
                <a:cubicBezTo>
                  <a:pt x="16" y="1814"/>
                  <a:pt x="64" y="1782"/>
                  <a:pt x="95" y="1782"/>
                </a:cubicBezTo>
                <a:lnTo>
                  <a:pt x="159" y="1782"/>
                </a:lnTo>
                <a:lnTo>
                  <a:pt x="159" y="1035"/>
                </a:lnTo>
                <a:cubicBezTo>
                  <a:pt x="159" y="955"/>
                  <a:pt x="239" y="875"/>
                  <a:pt x="334" y="875"/>
                </a:cubicBezTo>
                <a:lnTo>
                  <a:pt x="4215" y="875"/>
                </a:lnTo>
                <a:cubicBezTo>
                  <a:pt x="4311" y="875"/>
                  <a:pt x="4390" y="955"/>
                  <a:pt x="4390" y="1035"/>
                </a:cubicBezTo>
                <a:lnTo>
                  <a:pt x="4390" y="1782"/>
                </a:lnTo>
                <a:lnTo>
                  <a:pt x="4438" y="1782"/>
                </a:lnTo>
                <a:cubicBezTo>
                  <a:pt x="4485" y="1782"/>
                  <a:pt x="4517" y="1814"/>
                  <a:pt x="4517" y="1862"/>
                </a:cubicBezTo>
                <a:cubicBezTo>
                  <a:pt x="4517" y="1909"/>
                  <a:pt x="4485" y="1941"/>
                  <a:pt x="4438" y="1941"/>
                </a:cubicBezTo>
                <a:close/>
                <a:moveTo>
                  <a:pt x="1209" y="828"/>
                </a:moveTo>
                <a:cubicBezTo>
                  <a:pt x="1257" y="828"/>
                  <a:pt x="1288" y="796"/>
                  <a:pt x="1288" y="748"/>
                </a:cubicBezTo>
                <a:lnTo>
                  <a:pt x="1288" y="717"/>
                </a:lnTo>
                <a:lnTo>
                  <a:pt x="1288" y="589"/>
                </a:lnTo>
                <a:cubicBezTo>
                  <a:pt x="1288" y="351"/>
                  <a:pt x="1448" y="160"/>
                  <a:pt x="1654" y="160"/>
                </a:cubicBezTo>
                <a:lnTo>
                  <a:pt x="2895" y="160"/>
                </a:lnTo>
                <a:cubicBezTo>
                  <a:pt x="3085" y="160"/>
                  <a:pt x="3261" y="351"/>
                  <a:pt x="3261" y="589"/>
                </a:cubicBezTo>
                <a:lnTo>
                  <a:pt x="3261" y="717"/>
                </a:lnTo>
                <a:lnTo>
                  <a:pt x="3261" y="748"/>
                </a:lnTo>
                <a:cubicBezTo>
                  <a:pt x="3261" y="796"/>
                  <a:pt x="3293" y="828"/>
                  <a:pt x="3340" y="828"/>
                </a:cubicBezTo>
                <a:cubicBezTo>
                  <a:pt x="3372" y="828"/>
                  <a:pt x="3420" y="796"/>
                  <a:pt x="3420" y="748"/>
                </a:cubicBezTo>
                <a:lnTo>
                  <a:pt x="3420" y="717"/>
                </a:lnTo>
                <a:lnTo>
                  <a:pt x="3420" y="589"/>
                </a:lnTo>
                <a:cubicBezTo>
                  <a:pt x="3420" y="255"/>
                  <a:pt x="3181" y="0"/>
                  <a:pt x="2895" y="0"/>
                </a:cubicBezTo>
                <a:lnTo>
                  <a:pt x="1654" y="0"/>
                </a:lnTo>
                <a:cubicBezTo>
                  <a:pt x="1368" y="0"/>
                  <a:pt x="1129" y="255"/>
                  <a:pt x="1129" y="589"/>
                </a:cubicBezTo>
                <a:lnTo>
                  <a:pt x="1129" y="717"/>
                </a:lnTo>
                <a:lnTo>
                  <a:pt x="1129" y="748"/>
                </a:lnTo>
                <a:cubicBezTo>
                  <a:pt x="1129" y="796"/>
                  <a:pt x="1161" y="828"/>
                  <a:pt x="1209" y="828"/>
                </a:cubicBezTo>
                <a:close/>
                <a:moveTo>
                  <a:pt x="4517" y="1862"/>
                </a:moveTo>
                <a:cubicBezTo>
                  <a:pt x="4517" y="1814"/>
                  <a:pt x="4485" y="1782"/>
                  <a:pt x="4438" y="1782"/>
                </a:cubicBezTo>
                <a:lnTo>
                  <a:pt x="4390" y="1782"/>
                </a:lnTo>
                <a:lnTo>
                  <a:pt x="2736" y="1782"/>
                </a:lnTo>
                <a:lnTo>
                  <a:pt x="1813" y="1782"/>
                </a:lnTo>
                <a:lnTo>
                  <a:pt x="159" y="1782"/>
                </a:lnTo>
                <a:lnTo>
                  <a:pt x="95" y="1782"/>
                </a:lnTo>
                <a:cubicBezTo>
                  <a:pt x="64" y="1782"/>
                  <a:pt x="16" y="1814"/>
                  <a:pt x="16" y="1862"/>
                </a:cubicBezTo>
                <a:cubicBezTo>
                  <a:pt x="16" y="1909"/>
                  <a:pt x="64" y="1941"/>
                  <a:pt x="95" y="1941"/>
                </a:cubicBezTo>
                <a:lnTo>
                  <a:pt x="159" y="1941"/>
                </a:lnTo>
                <a:lnTo>
                  <a:pt x="1734" y="1941"/>
                </a:lnTo>
                <a:lnTo>
                  <a:pt x="1734" y="2466"/>
                </a:lnTo>
                <a:cubicBezTo>
                  <a:pt x="1734" y="2514"/>
                  <a:pt x="1766" y="2545"/>
                  <a:pt x="1813" y="2545"/>
                </a:cubicBezTo>
                <a:lnTo>
                  <a:pt x="2736" y="2545"/>
                </a:lnTo>
                <a:cubicBezTo>
                  <a:pt x="2784" y="2545"/>
                  <a:pt x="2815" y="2514"/>
                  <a:pt x="2815" y="2466"/>
                </a:cubicBezTo>
                <a:lnTo>
                  <a:pt x="2815" y="1941"/>
                </a:lnTo>
                <a:lnTo>
                  <a:pt x="4390" y="1941"/>
                </a:lnTo>
                <a:lnTo>
                  <a:pt x="4438" y="1941"/>
                </a:lnTo>
                <a:cubicBezTo>
                  <a:pt x="4485" y="1941"/>
                  <a:pt x="4517" y="1909"/>
                  <a:pt x="4517" y="1862"/>
                </a:cubicBezTo>
                <a:close/>
                <a:moveTo>
                  <a:pt x="2656" y="2387"/>
                </a:moveTo>
                <a:lnTo>
                  <a:pt x="1893" y="2387"/>
                </a:lnTo>
                <a:lnTo>
                  <a:pt x="1893" y="1941"/>
                </a:lnTo>
                <a:lnTo>
                  <a:pt x="2656" y="1941"/>
                </a:lnTo>
                <a:close/>
                <a:moveTo>
                  <a:pt x="1352" y="1337"/>
                </a:moveTo>
                <a:lnTo>
                  <a:pt x="716" y="1337"/>
                </a:lnTo>
                <a:cubicBezTo>
                  <a:pt x="684" y="1337"/>
                  <a:pt x="636" y="1369"/>
                  <a:pt x="636" y="1416"/>
                </a:cubicBezTo>
                <a:cubicBezTo>
                  <a:pt x="636" y="1464"/>
                  <a:pt x="684" y="1496"/>
                  <a:pt x="716" y="1496"/>
                </a:cubicBezTo>
                <a:lnTo>
                  <a:pt x="1352" y="1496"/>
                </a:lnTo>
                <a:cubicBezTo>
                  <a:pt x="1400" y="1496"/>
                  <a:pt x="1431" y="1464"/>
                  <a:pt x="1431" y="1416"/>
                </a:cubicBezTo>
                <a:cubicBezTo>
                  <a:pt x="1431" y="1369"/>
                  <a:pt x="1400" y="1337"/>
                  <a:pt x="1352" y="1337"/>
                </a:cubicBezTo>
                <a:close/>
                <a:moveTo>
                  <a:pt x="3181" y="1496"/>
                </a:moveTo>
                <a:lnTo>
                  <a:pt x="3817" y="1496"/>
                </a:lnTo>
                <a:cubicBezTo>
                  <a:pt x="3865" y="1496"/>
                  <a:pt x="3897" y="1464"/>
                  <a:pt x="3897" y="1416"/>
                </a:cubicBezTo>
                <a:cubicBezTo>
                  <a:pt x="3897" y="1369"/>
                  <a:pt x="3865" y="1337"/>
                  <a:pt x="3817" y="1337"/>
                </a:cubicBezTo>
                <a:lnTo>
                  <a:pt x="3181" y="1337"/>
                </a:lnTo>
                <a:cubicBezTo>
                  <a:pt x="3133" y="1337"/>
                  <a:pt x="3102" y="1369"/>
                  <a:pt x="3102" y="1416"/>
                </a:cubicBezTo>
                <a:cubicBezTo>
                  <a:pt x="3102" y="1464"/>
                  <a:pt x="3133" y="1496"/>
                  <a:pt x="3181" y="149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8" name="Freeform: Shape 3">
            <a:extLst>
              <a:ext uri="{FF2B5EF4-FFF2-40B4-BE49-F238E27FC236}">
                <a16:creationId xmlns:a16="http://schemas.microsoft.com/office/drawing/2014/main" id="{F0B14F9E-5758-D546-A399-4E175EB9F7CF}"/>
              </a:ext>
            </a:extLst>
          </p:cNvPr>
          <p:cNvSpPr/>
          <p:nvPr/>
        </p:nvSpPr>
        <p:spPr>
          <a:xfrm>
            <a:off x="21197836" y="2927075"/>
            <a:ext cx="1551599" cy="1776600"/>
          </a:xfrm>
          <a:custGeom>
            <a:avLst/>
            <a:gdLst/>
            <a:ahLst/>
            <a:cxnLst>
              <a:cxn ang="3cd4">
                <a:pos x="hc" y="t"/>
              </a:cxn>
              <a:cxn ang="cd2">
                <a:pos x="l" y="vc"/>
              </a:cxn>
              <a:cxn ang="cd4">
                <a:pos x="hc" y="b"/>
              </a:cxn>
              <a:cxn ang="0">
                <a:pos x="r" y="vc"/>
              </a:cxn>
            </a:cxnLst>
            <a:rect l="l" t="t" r="r" b="b"/>
            <a:pathLst>
              <a:path w="4311" h="4936">
                <a:moveTo>
                  <a:pt x="2974" y="116"/>
                </a:moveTo>
                <a:lnTo>
                  <a:pt x="2545" y="100"/>
                </a:lnTo>
                <a:cubicBezTo>
                  <a:pt x="2529" y="100"/>
                  <a:pt x="2497" y="100"/>
                  <a:pt x="2481" y="116"/>
                </a:cubicBezTo>
                <a:cubicBezTo>
                  <a:pt x="2481" y="132"/>
                  <a:pt x="2354" y="275"/>
                  <a:pt x="2179" y="228"/>
                </a:cubicBezTo>
                <a:cubicBezTo>
                  <a:pt x="2067" y="196"/>
                  <a:pt x="1988" y="132"/>
                  <a:pt x="1972" y="85"/>
                </a:cubicBezTo>
                <a:cubicBezTo>
                  <a:pt x="1972" y="69"/>
                  <a:pt x="1956" y="37"/>
                  <a:pt x="1924" y="21"/>
                </a:cubicBezTo>
                <a:cubicBezTo>
                  <a:pt x="1845" y="-27"/>
                  <a:pt x="1288" y="5"/>
                  <a:pt x="938" y="148"/>
                </a:cubicBezTo>
                <a:cubicBezTo>
                  <a:pt x="557" y="307"/>
                  <a:pt x="16" y="991"/>
                  <a:pt x="0" y="1103"/>
                </a:cubicBezTo>
                <a:cubicBezTo>
                  <a:pt x="0" y="1166"/>
                  <a:pt x="31" y="1230"/>
                  <a:pt x="64" y="1246"/>
                </a:cubicBezTo>
                <a:cubicBezTo>
                  <a:pt x="111" y="1261"/>
                  <a:pt x="175" y="1278"/>
                  <a:pt x="286" y="1182"/>
                </a:cubicBezTo>
                <a:cubicBezTo>
                  <a:pt x="302" y="1182"/>
                  <a:pt x="318" y="1166"/>
                  <a:pt x="334" y="1150"/>
                </a:cubicBezTo>
                <a:cubicBezTo>
                  <a:pt x="461" y="1023"/>
                  <a:pt x="731" y="752"/>
                  <a:pt x="1225" y="737"/>
                </a:cubicBezTo>
                <a:lnTo>
                  <a:pt x="1288" y="1118"/>
                </a:lnTo>
                <a:cubicBezTo>
                  <a:pt x="1288" y="1150"/>
                  <a:pt x="1320" y="1182"/>
                  <a:pt x="1352" y="1182"/>
                </a:cubicBezTo>
                <a:lnTo>
                  <a:pt x="1352" y="2041"/>
                </a:lnTo>
                <a:lnTo>
                  <a:pt x="1288" y="2041"/>
                </a:lnTo>
                <a:cubicBezTo>
                  <a:pt x="1240" y="2041"/>
                  <a:pt x="1209" y="2073"/>
                  <a:pt x="1209" y="2120"/>
                </a:cubicBezTo>
                <a:cubicBezTo>
                  <a:pt x="1182" y="2353"/>
                  <a:pt x="1177" y="2454"/>
                  <a:pt x="1129" y="2820"/>
                </a:cubicBezTo>
                <a:cubicBezTo>
                  <a:pt x="1129" y="2948"/>
                  <a:pt x="1113" y="3329"/>
                  <a:pt x="1097" y="3711"/>
                </a:cubicBezTo>
                <a:cubicBezTo>
                  <a:pt x="1097" y="4029"/>
                  <a:pt x="1082" y="4395"/>
                  <a:pt x="1066" y="4442"/>
                </a:cubicBezTo>
                <a:cubicBezTo>
                  <a:pt x="1034" y="4633"/>
                  <a:pt x="1161" y="4840"/>
                  <a:pt x="1352" y="4888"/>
                </a:cubicBezTo>
                <a:cubicBezTo>
                  <a:pt x="1447" y="4920"/>
                  <a:pt x="1543" y="4936"/>
                  <a:pt x="1654" y="4936"/>
                </a:cubicBezTo>
                <a:cubicBezTo>
                  <a:pt x="1734" y="4936"/>
                  <a:pt x="1829" y="4920"/>
                  <a:pt x="1909" y="4904"/>
                </a:cubicBezTo>
                <a:cubicBezTo>
                  <a:pt x="2115" y="4856"/>
                  <a:pt x="2243" y="4650"/>
                  <a:pt x="2195" y="4442"/>
                </a:cubicBezTo>
                <a:cubicBezTo>
                  <a:pt x="2195" y="4395"/>
                  <a:pt x="2179" y="4013"/>
                  <a:pt x="2163" y="3695"/>
                </a:cubicBezTo>
                <a:cubicBezTo>
                  <a:pt x="2163" y="3329"/>
                  <a:pt x="2147" y="2948"/>
                  <a:pt x="2131" y="2820"/>
                </a:cubicBezTo>
                <a:cubicBezTo>
                  <a:pt x="2099" y="2454"/>
                  <a:pt x="2088" y="2353"/>
                  <a:pt x="2067" y="2120"/>
                </a:cubicBezTo>
                <a:cubicBezTo>
                  <a:pt x="2067" y="2073"/>
                  <a:pt x="2036" y="2041"/>
                  <a:pt x="1988" y="2041"/>
                </a:cubicBezTo>
                <a:lnTo>
                  <a:pt x="1924" y="2041"/>
                </a:lnTo>
                <a:lnTo>
                  <a:pt x="1924" y="1182"/>
                </a:lnTo>
                <a:cubicBezTo>
                  <a:pt x="1940" y="1166"/>
                  <a:pt x="1956" y="1150"/>
                  <a:pt x="1956" y="1118"/>
                </a:cubicBezTo>
                <a:cubicBezTo>
                  <a:pt x="1956" y="1103"/>
                  <a:pt x="2004" y="816"/>
                  <a:pt x="2275" y="816"/>
                </a:cubicBezTo>
                <a:cubicBezTo>
                  <a:pt x="2386" y="816"/>
                  <a:pt x="2433" y="848"/>
                  <a:pt x="2433" y="864"/>
                </a:cubicBezTo>
                <a:cubicBezTo>
                  <a:pt x="2433" y="912"/>
                  <a:pt x="2481" y="943"/>
                  <a:pt x="2513" y="943"/>
                </a:cubicBezTo>
                <a:lnTo>
                  <a:pt x="2942" y="927"/>
                </a:lnTo>
                <a:cubicBezTo>
                  <a:pt x="2974" y="927"/>
                  <a:pt x="3006" y="912"/>
                  <a:pt x="3022" y="880"/>
                </a:cubicBezTo>
                <a:cubicBezTo>
                  <a:pt x="3022" y="864"/>
                  <a:pt x="3101" y="609"/>
                  <a:pt x="3054" y="196"/>
                </a:cubicBezTo>
                <a:cubicBezTo>
                  <a:pt x="3038" y="148"/>
                  <a:pt x="3006" y="132"/>
                  <a:pt x="2974" y="116"/>
                </a:cubicBezTo>
                <a:close/>
                <a:moveTo>
                  <a:pt x="2879" y="769"/>
                </a:moveTo>
                <a:lnTo>
                  <a:pt x="2561" y="784"/>
                </a:lnTo>
                <a:cubicBezTo>
                  <a:pt x="2529" y="721"/>
                  <a:pt x="2449" y="657"/>
                  <a:pt x="2275" y="657"/>
                </a:cubicBezTo>
                <a:cubicBezTo>
                  <a:pt x="1988" y="657"/>
                  <a:pt x="1861" y="880"/>
                  <a:pt x="1813" y="1039"/>
                </a:cubicBezTo>
                <a:cubicBezTo>
                  <a:pt x="1797" y="1039"/>
                  <a:pt x="1797" y="1039"/>
                  <a:pt x="1781" y="1055"/>
                </a:cubicBezTo>
                <a:cubicBezTo>
                  <a:pt x="1766" y="1070"/>
                  <a:pt x="1766" y="1087"/>
                  <a:pt x="1766" y="1118"/>
                </a:cubicBezTo>
                <a:lnTo>
                  <a:pt x="1766" y="2120"/>
                </a:lnTo>
                <a:cubicBezTo>
                  <a:pt x="1766" y="2168"/>
                  <a:pt x="1797" y="2200"/>
                  <a:pt x="1845" y="2200"/>
                </a:cubicBezTo>
                <a:lnTo>
                  <a:pt x="1924" y="2200"/>
                </a:lnTo>
                <a:cubicBezTo>
                  <a:pt x="1924" y="2327"/>
                  <a:pt x="1956" y="2566"/>
                  <a:pt x="1972" y="2836"/>
                </a:cubicBezTo>
                <a:cubicBezTo>
                  <a:pt x="1988" y="2948"/>
                  <a:pt x="2004" y="3361"/>
                  <a:pt x="2004" y="3711"/>
                </a:cubicBezTo>
                <a:cubicBezTo>
                  <a:pt x="2020" y="4141"/>
                  <a:pt x="2036" y="4427"/>
                  <a:pt x="2036" y="4475"/>
                </a:cubicBezTo>
                <a:cubicBezTo>
                  <a:pt x="2067" y="4602"/>
                  <a:pt x="1988" y="4713"/>
                  <a:pt x="1877" y="4745"/>
                </a:cubicBezTo>
                <a:cubicBezTo>
                  <a:pt x="1718" y="4793"/>
                  <a:pt x="1558" y="4777"/>
                  <a:pt x="1384" y="4745"/>
                </a:cubicBezTo>
                <a:cubicBezTo>
                  <a:pt x="1272" y="4713"/>
                  <a:pt x="1209" y="4586"/>
                  <a:pt x="1225" y="4475"/>
                </a:cubicBezTo>
                <a:cubicBezTo>
                  <a:pt x="1240" y="4411"/>
                  <a:pt x="1240" y="4141"/>
                  <a:pt x="1257" y="3711"/>
                </a:cubicBezTo>
                <a:cubicBezTo>
                  <a:pt x="1272" y="3361"/>
                  <a:pt x="1288" y="2963"/>
                  <a:pt x="1288" y="2836"/>
                </a:cubicBezTo>
                <a:cubicBezTo>
                  <a:pt x="1320" y="2566"/>
                  <a:pt x="1336" y="2327"/>
                  <a:pt x="1352" y="2200"/>
                </a:cubicBezTo>
                <a:lnTo>
                  <a:pt x="1431" y="2200"/>
                </a:lnTo>
                <a:cubicBezTo>
                  <a:pt x="1463" y="2200"/>
                  <a:pt x="1511" y="2168"/>
                  <a:pt x="1511" y="2120"/>
                </a:cubicBezTo>
                <a:lnTo>
                  <a:pt x="1511" y="1103"/>
                </a:lnTo>
                <a:cubicBezTo>
                  <a:pt x="1511" y="1070"/>
                  <a:pt x="1479" y="1039"/>
                  <a:pt x="1431" y="1039"/>
                </a:cubicBezTo>
                <a:lnTo>
                  <a:pt x="1368" y="641"/>
                </a:lnTo>
                <a:cubicBezTo>
                  <a:pt x="1368" y="594"/>
                  <a:pt x="1336" y="561"/>
                  <a:pt x="1288" y="561"/>
                </a:cubicBezTo>
                <a:cubicBezTo>
                  <a:pt x="700" y="561"/>
                  <a:pt x="350" y="896"/>
                  <a:pt x="222" y="1023"/>
                </a:cubicBezTo>
                <a:cubicBezTo>
                  <a:pt x="366" y="832"/>
                  <a:pt x="716" y="418"/>
                  <a:pt x="1002" y="307"/>
                </a:cubicBezTo>
                <a:cubicBezTo>
                  <a:pt x="1304" y="180"/>
                  <a:pt x="1718" y="148"/>
                  <a:pt x="1829" y="164"/>
                </a:cubicBezTo>
                <a:cubicBezTo>
                  <a:pt x="1861" y="243"/>
                  <a:pt x="1940" y="323"/>
                  <a:pt x="2147" y="371"/>
                </a:cubicBezTo>
                <a:cubicBezTo>
                  <a:pt x="2354" y="434"/>
                  <a:pt x="2513" y="307"/>
                  <a:pt x="2576" y="260"/>
                </a:cubicBezTo>
                <a:lnTo>
                  <a:pt x="2895" y="275"/>
                </a:lnTo>
                <a:cubicBezTo>
                  <a:pt x="2927" y="514"/>
                  <a:pt x="2895" y="689"/>
                  <a:pt x="2879" y="769"/>
                </a:cubicBezTo>
                <a:close/>
                <a:moveTo>
                  <a:pt x="3372" y="1691"/>
                </a:moveTo>
                <a:lnTo>
                  <a:pt x="2847" y="1691"/>
                </a:lnTo>
                <a:cubicBezTo>
                  <a:pt x="2799" y="1691"/>
                  <a:pt x="2767" y="1723"/>
                  <a:pt x="2767" y="1770"/>
                </a:cubicBezTo>
                <a:cubicBezTo>
                  <a:pt x="2767" y="1802"/>
                  <a:pt x="2799" y="1850"/>
                  <a:pt x="2847" y="1850"/>
                </a:cubicBezTo>
                <a:lnTo>
                  <a:pt x="3038" y="1850"/>
                </a:lnTo>
                <a:lnTo>
                  <a:pt x="3038" y="3997"/>
                </a:lnTo>
                <a:cubicBezTo>
                  <a:pt x="3038" y="4045"/>
                  <a:pt x="3070" y="4077"/>
                  <a:pt x="3117" y="4077"/>
                </a:cubicBezTo>
                <a:cubicBezTo>
                  <a:pt x="3165" y="4077"/>
                  <a:pt x="3197" y="4045"/>
                  <a:pt x="3197" y="3997"/>
                </a:cubicBezTo>
                <a:lnTo>
                  <a:pt x="3197" y="1850"/>
                </a:lnTo>
                <a:lnTo>
                  <a:pt x="3372" y="1850"/>
                </a:lnTo>
                <a:cubicBezTo>
                  <a:pt x="3420" y="1850"/>
                  <a:pt x="3451" y="1802"/>
                  <a:pt x="3451" y="1770"/>
                </a:cubicBezTo>
                <a:cubicBezTo>
                  <a:pt x="3451" y="1723"/>
                  <a:pt x="3420" y="1691"/>
                  <a:pt x="3372" y="1691"/>
                </a:cubicBezTo>
                <a:close/>
                <a:moveTo>
                  <a:pt x="4231" y="1278"/>
                </a:moveTo>
                <a:lnTo>
                  <a:pt x="3706" y="1278"/>
                </a:lnTo>
                <a:cubicBezTo>
                  <a:pt x="3658" y="1278"/>
                  <a:pt x="3626" y="1309"/>
                  <a:pt x="3626" y="1357"/>
                </a:cubicBezTo>
                <a:cubicBezTo>
                  <a:pt x="3626" y="1389"/>
                  <a:pt x="3658" y="1436"/>
                  <a:pt x="3706" y="1436"/>
                </a:cubicBezTo>
                <a:lnTo>
                  <a:pt x="3881" y="1436"/>
                </a:lnTo>
                <a:lnTo>
                  <a:pt x="3881" y="3584"/>
                </a:lnTo>
                <a:cubicBezTo>
                  <a:pt x="3881" y="3632"/>
                  <a:pt x="3929" y="3663"/>
                  <a:pt x="3960" y="3663"/>
                </a:cubicBezTo>
                <a:cubicBezTo>
                  <a:pt x="4008" y="3663"/>
                  <a:pt x="4040" y="3632"/>
                  <a:pt x="4040" y="3584"/>
                </a:cubicBezTo>
                <a:lnTo>
                  <a:pt x="4040" y="1436"/>
                </a:lnTo>
                <a:lnTo>
                  <a:pt x="4231" y="1436"/>
                </a:lnTo>
                <a:cubicBezTo>
                  <a:pt x="4278" y="1436"/>
                  <a:pt x="4311" y="1389"/>
                  <a:pt x="4311" y="1357"/>
                </a:cubicBezTo>
                <a:cubicBezTo>
                  <a:pt x="4311" y="1309"/>
                  <a:pt x="4278" y="1278"/>
                  <a:pt x="4231" y="127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9" name="Freeform: Shape 4">
            <a:extLst>
              <a:ext uri="{FF2B5EF4-FFF2-40B4-BE49-F238E27FC236}">
                <a16:creationId xmlns:a16="http://schemas.microsoft.com/office/drawing/2014/main" id="{65912FCE-C473-B741-BE27-27BCE1821959}"/>
              </a:ext>
            </a:extLst>
          </p:cNvPr>
          <p:cNvSpPr/>
          <p:nvPr/>
        </p:nvSpPr>
        <p:spPr>
          <a:xfrm>
            <a:off x="17453248" y="3384295"/>
            <a:ext cx="1751759" cy="1339200"/>
          </a:xfrm>
          <a:custGeom>
            <a:avLst/>
            <a:gdLst/>
            <a:ahLst/>
            <a:cxnLst>
              <a:cxn ang="3cd4">
                <a:pos x="hc" y="t"/>
              </a:cxn>
              <a:cxn ang="cd2">
                <a:pos x="l" y="vc"/>
              </a:cxn>
              <a:cxn ang="cd4">
                <a:pos x="hc" y="b"/>
              </a:cxn>
              <a:cxn ang="0">
                <a:pos x="r" y="vc"/>
              </a:cxn>
            </a:cxnLst>
            <a:rect l="l" t="t" r="r" b="b"/>
            <a:pathLst>
              <a:path w="4867" h="3721">
                <a:moveTo>
                  <a:pt x="731" y="3688"/>
                </a:moveTo>
                <a:lnTo>
                  <a:pt x="3531" y="3688"/>
                </a:lnTo>
                <a:cubicBezTo>
                  <a:pt x="3578" y="3688"/>
                  <a:pt x="3610" y="3657"/>
                  <a:pt x="3610" y="3609"/>
                </a:cubicBezTo>
                <a:lnTo>
                  <a:pt x="3610" y="3450"/>
                </a:lnTo>
                <a:lnTo>
                  <a:pt x="4708" y="3450"/>
                </a:lnTo>
                <a:lnTo>
                  <a:pt x="4708" y="3641"/>
                </a:lnTo>
                <a:cubicBezTo>
                  <a:pt x="4708" y="3673"/>
                  <a:pt x="4756" y="3721"/>
                  <a:pt x="4787" y="3721"/>
                </a:cubicBezTo>
                <a:cubicBezTo>
                  <a:pt x="4835" y="3721"/>
                  <a:pt x="4867" y="3673"/>
                  <a:pt x="4867" y="3641"/>
                </a:cubicBezTo>
                <a:lnTo>
                  <a:pt x="4867" y="3593"/>
                </a:lnTo>
                <a:lnTo>
                  <a:pt x="4867" y="3386"/>
                </a:lnTo>
                <a:lnTo>
                  <a:pt x="4867" y="3370"/>
                </a:lnTo>
                <a:lnTo>
                  <a:pt x="4867" y="2830"/>
                </a:lnTo>
                <a:cubicBezTo>
                  <a:pt x="4867" y="2782"/>
                  <a:pt x="4835" y="2750"/>
                  <a:pt x="4787" y="2750"/>
                </a:cubicBezTo>
                <a:lnTo>
                  <a:pt x="3610" y="2750"/>
                </a:lnTo>
                <a:lnTo>
                  <a:pt x="3610" y="1812"/>
                </a:lnTo>
                <a:cubicBezTo>
                  <a:pt x="3610" y="1287"/>
                  <a:pt x="3388" y="794"/>
                  <a:pt x="2990" y="444"/>
                </a:cubicBezTo>
                <a:cubicBezTo>
                  <a:pt x="2608" y="110"/>
                  <a:pt x="2084" y="-50"/>
                  <a:pt x="1558" y="14"/>
                </a:cubicBezTo>
                <a:cubicBezTo>
                  <a:pt x="668" y="126"/>
                  <a:pt x="0" y="921"/>
                  <a:pt x="0" y="1859"/>
                </a:cubicBezTo>
                <a:lnTo>
                  <a:pt x="0" y="2957"/>
                </a:lnTo>
                <a:cubicBezTo>
                  <a:pt x="0" y="3370"/>
                  <a:pt x="318" y="3688"/>
                  <a:pt x="731" y="3688"/>
                </a:cubicBezTo>
                <a:close/>
                <a:moveTo>
                  <a:pt x="3610" y="2909"/>
                </a:moveTo>
                <a:lnTo>
                  <a:pt x="3881" y="2909"/>
                </a:lnTo>
                <a:lnTo>
                  <a:pt x="3881" y="3021"/>
                </a:lnTo>
                <a:cubicBezTo>
                  <a:pt x="3881" y="3068"/>
                  <a:pt x="3929" y="3100"/>
                  <a:pt x="3960" y="3100"/>
                </a:cubicBezTo>
                <a:cubicBezTo>
                  <a:pt x="4008" y="3100"/>
                  <a:pt x="4040" y="3068"/>
                  <a:pt x="4040" y="3021"/>
                </a:cubicBezTo>
                <a:lnTo>
                  <a:pt x="4040" y="2909"/>
                </a:lnTo>
                <a:lnTo>
                  <a:pt x="4294" y="2909"/>
                </a:lnTo>
                <a:lnTo>
                  <a:pt x="4294" y="3021"/>
                </a:lnTo>
                <a:cubicBezTo>
                  <a:pt x="4294" y="3068"/>
                  <a:pt x="4326" y="3100"/>
                  <a:pt x="4374" y="3100"/>
                </a:cubicBezTo>
                <a:cubicBezTo>
                  <a:pt x="4405" y="3100"/>
                  <a:pt x="4438" y="3068"/>
                  <a:pt x="4453" y="3021"/>
                </a:cubicBezTo>
                <a:lnTo>
                  <a:pt x="4453" y="2909"/>
                </a:lnTo>
                <a:lnTo>
                  <a:pt x="4708" y="2909"/>
                </a:lnTo>
                <a:lnTo>
                  <a:pt x="4708" y="3291"/>
                </a:lnTo>
                <a:lnTo>
                  <a:pt x="3610" y="3291"/>
                </a:lnTo>
                <a:close/>
                <a:moveTo>
                  <a:pt x="159" y="1859"/>
                </a:moveTo>
                <a:cubicBezTo>
                  <a:pt x="159" y="1000"/>
                  <a:pt x="763" y="269"/>
                  <a:pt x="1590" y="173"/>
                </a:cubicBezTo>
                <a:cubicBezTo>
                  <a:pt x="2067" y="110"/>
                  <a:pt x="2529" y="253"/>
                  <a:pt x="2894" y="571"/>
                </a:cubicBezTo>
                <a:cubicBezTo>
                  <a:pt x="3244" y="889"/>
                  <a:pt x="3451" y="1334"/>
                  <a:pt x="3451" y="1812"/>
                </a:cubicBezTo>
                <a:lnTo>
                  <a:pt x="3451" y="2814"/>
                </a:lnTo>
                <a:lnTo>
                  <a:pt x="3451" y="2830"/>
                </a:lnTo>
                <a:lnTo>
                  <a:pt x="3451" y="3370"/>
                </a:lnTo>
                <a:lnTo>
                  <a:pt x="3451" y="3386"/>
                </a:lnTo>
                <a:lnTo>
                  <a:pt x="3451" y="3530"/>
                </a:lnTo>
                <a:lnTo>
                  <a:pt x="731" y="3530"/>
                </a:lnTo>
                <a:cubicBezTo>
                  <a:pt x="413" y="3530"/>
                  <a:pt x="159" y="3275"/>
                  <a:pt x="159" y="2957"/>
                </a:cubicBezTo>
                <a:close/>
                <a:moveTo>
                  <a:pt x="1797" y="2782"/>
                </a:moveTo>
                <a:cubicBezTo>
                  <a:pt x="2338" y="2782"/>
                  <a:pt x="2783" y="2352"/>
                  <a:pt x="2783" y="1812"/>
                </a:cubicBezTo>
                <a:cubicBezTo>
                  <a:pt x="2783" y="1271"/>
                  <a:pt x="2338" y="825"/>
                  <a:pt x="1797" y="825"/>
                </a:cubicBezTo>
                <a:cubicBezTo>
                  <a:pt x="1256" y="825"/>
                  <a:pt x="827" y="1271"/>
                  <a:pt x="827" y="1812"/>
                </a:cubicBezTo>
                <a:cubicBezTo>
                  <a:pt x="827" y="2066"/>
                  <a:pt x="922" y="2305"/>
                  <a:pt x="1113" y="2495"/>
                </a:cubicBezTo>
                <a:cubicBezTo>
                  <a:pt x="1288" y="2686"/>
                  <a:pt x="1542" y="2782"/>
                  <a:pt x="1797" y="2782"/>
                </a:cubicBezTo>
                <a:close/>
                <a:moveTo>
                  <a:pt x="1797" y="985"/>
                </a:moveTo>
                <a:cubicBezTo>
                  <a:pt x="2258" y="985"/>
                  <a:pt x="2624" y="1350"/>
                  <a:pt x="2624" y="1812"/>
                </a:cubicBezTo>
                <a:cubicBezTo>
                  <a:pt x="2624" y="2257"/>
                  <a:pt x="2258" y="2623"/>
                  <a:pt x="1797" y="2623"/>
                </a:cubicBezTo>
                <a:cubicBezTo>
                  <a:pt x="1575" y="2623"/>
                  <a:pt x="1384" y="2543"/>
                  <a:pt x="1224" y="2384"/>
                </a:cubicBezTo>
                <a:cubicBezTo>
                  <a:pt x="1066" y="2225"/>
                  <a:pt x="986" y="2018"/>
                  <a:pt x="986" y="1812"/>
                </a:cubicBezTo>
                <a:cubicBezTo>
                  <a:pt x="986" y="1350"/>
                  <a:pt x="1352" y="985"/>
                  <a:pt x="1797" y="98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0" name="Freeform: Shape 5">
            <a:extLst>
              <a:ext uri="{FF2B5EF4-FFF2-40B4-BE49-F238E27FC236}">
                <a16:creationId xmlns:a16="http://schemas.microsoft.com/office/drawing/2014/main" id="{3ED19465-5494-0549-A8A6-AADEDE23502D}"/>
              </a:ext>
            </a:extLst>
          </p:cNvPr>
          <p:cNvSpPr/>
          <p:nvPr/>
        </p:nvSpPr>
        <p:spPr>
          <a:xfrm>
            <a:off x="1884733" y="9817695"/>
            <a:ext cx="1368360" cy="1368000"/>
          </a:xfrm>
          <a:custGeom>
            <a:avLst/>
            <a:gdLst/>
            <a:ahLst/>
            <a:cxnLst>
              <a:cxn ang="3cd4">
                <a:pos x="hc" y="t"/>
              </a:cxn>
              <a:cxn ang="cd2">
                <a:pos x="l" y="vc"/>
              </a:cxn>
              <a:cxn ang="cd4">
                <a:pos x="hc" y="b"/>
              </a:cxn>
              <a:cxn ang="0">
                <a:pos x="r" y="vc"/>
              </a:cxn>
            </a:cxnLst>
            <a:rect l="l" t="t" r="r" b="b"/>
            <a:pathLst>
              <a:path w="3802" h="3801">
                <a:moveTo>
                  <a:pt x="3038" y="3340"/>
                </a:moveTo>
                <a:cubicBezTo>
                  <a:pt x="3118" y="3340"/>
                  <a:pt x="3181" y="3276"/>
                  <a:pt x="3181" y="3181"/>
                </a:cubicBezTo>
                <a:cubicBezTo>
                  <a:pt x="3181" y="3101"/>
                  <a:pt x="3118" y="3038"/>
                  <a:pt x="3038" y="3038"/>
                </a:cubicBezTo>
                <a:cubicBezTo>
                  <a:pt x="2959" y="3038"/>
                  <a:pt x="2879" y="3101"/>
                  <a:pt x="2879" y="3181"/>
                </a:cubicBezTo>
                <a:cubicBezTo>
                  <a:pt x="2879" y="3276"/>
                  <a:pt x="2959" y="3340"/>
                  <a:pt x="3038" y="3340"/>
                </a:cubicBezTo>
                <a:close/>
                <a:moveTo>
                  <a:pt x="0" y="2735"/>
                </a:moveTo>
                <a:lnTo>
                  <a:pt x="0" y="3642"/>
                </a:lnTo>
                <a:cubicBezTo>
                  <a:pt x="0" y="3722"/>
                  <a:pt x="80" y="3801"/>
                  <a:pt x="160" y="3801"/>
                </a:cubicBezTo>
                <a:lnTo>
                  <a:pt x="3643" y="3801"/>
                </a:lnTo>
                <a:cubicBezTo>
                  <a:pt x="3722" y="3801"/>
                  <a:pt x="3802" y="3722"/>
                  <a:pt x="3802" y="3642"/>
                </a:cubicBezTo>
                <a:lnTo>
                  <a:pt x="3802" y="2735"/>
                </a:lnTo>
                <a:cubicBezTo>
                  <a:pt x="3802" y="2704"/>
                  <a:pt x="3786" y="2688"/>
                  <a:pt x="3786" y="2672"/>
                </a:cubicBezTo>
                <a:lnTo>
                  <a:pt x="3356" y="127"/>
                </a:lnTo>
                <a:cubicBezTo>
                  <a:pt x="3341" y="63"/>
                  <a:pt x="3277" y="0"/>
                  <a:pt x="3213" y="0"/>
                </a:cubicBezTo>
                <a:lnTo>
                  <a:pt x="589" y="0"/>
                </a:lnTo>
                <a:cubicBezTo>
                  <a:pt x="525" y="0"/>
                  <a:pt x="461" y="63"/>
                  <a:pt x="446" y="127"/>
                </a:cubicBezTo>
                <a:lnTo>
                  <a:pt x="16" y="2688"/>
                </a:lnTo>
                <a:cubicBezTo>
                  <a:pt x="16" y="2704"/>
                  <a:pt x="0" y="2720"/>
                  <a:pt x="0" y="2735"/>
                </a:cubicBezTo>
                <a:close/>
                <a:moveTo>
                  <a:pt x="589" y="159"/>
                </a:moveTo>
                <a:lnTo>
                  <a:pt x="3197" y="159"/>
                </a:lnTo>
                <a:lnTo>
                  <a:pt x="3611" y="2577"/>
                </a:lnTo>
                <a:lnTo>
                  <a:pt x="191" y="2577"/>
                </a:lnTo>
                <a:close/>
                <a:moveTo>
                  <a:pt x="160" y="2735"/>
                </a:moveTo>
                <a:lnTo>
                  <a:pt x="3643" y="2735"/>
                </a:lnTo>
                <a:lnTo>
                  <a:pt x="3643" y="3642"/>
                </a:lnTo>
                <a:lnTo>
                  <a:pt x="160" y="3642"/>
                </a:lnTo>
                <a:close/>
                <a:moveTo>
                  <a:pt x="1909" y="1145"/>
                </a:moveTo>
                <a:cubicBezTo>
                  <a:pt x="1782" y="1145"/>
                  <a:pt x="1670" y="1208"/>
                  <a:pt x="1670" y="1288"/>
                </a:cubicBezTo>
                <a:cubicBezTo>
                  <a:pt x="1670" y="1383"/>
                  <a:pt x="1782" y="1447"/>
                  <a:pt x="1909" y="1447"/>
                </a:cubicBezTo>
                <a:cubicBezTo>
                  <a:pt x="2020" y="1447"/>
                  <a:pt x="2132" y="1383"/>
                  <a:pt x="2132" y="1288"/>
                </a:cubicBezTo>
                <a:cubicBezTo>
                  <a:pt x="2132" y="1208"/>
                  <a:pt x="2020" y="1145"/>
                  <a:pt x="1909" y="1145"/>
                </a:cubicBezTo>
                <a:close/>
                <a:moveTo>
                  <a:pt x="1909" y="541"/>
                </a:moveTo>
                <a:cubicBezTo>
                  <a:pt x="1273" y="541"/>
                  <a:pt x="764" y="906"/>
                  <a:pt x="764" y="1368"/>
                </a:cubicBezTo>
                <a:cubicBezTo>
                  <a:pt x="764" y="1829"/>
                  <a:pt x="1273" y="2211"/>
                  <a:pt x="1909" y="2211"/>
                </a:cubicBezTo>
                <a:cubicBezTo>
                  <a:pt x="2529" y="2211"/>
                  <a:pt x="3038" y="1829"/>
                  <a:pt x="3038" y="1368"/>
                </a:cubicBezTo>
                <a:cubicBezTo>
                  <a:pt x="3038" y="906"/>
                  <a:pt x="2529" y="541"/>
                  <a:pt x="1909" y="541"/>
                </a:cubicBezTo>
                <a:close/>
                <a:moveTo>
                  <a:pt x="1909" y="2051"/>
                </a:moveTo>
                <a:cubicBezTo>
                  <a:pt x="1368" y="2051"/>
                  <a:pt x="923" y="1749"/>
                  <a:pt x="923" y="1368"/>
                </a:cubicBezTo>
                <a:cubicBezTo>
                  <a:pt x="923" y="1002"/>
                  <a:pt x="1368" y="699"/>
                  <a:pt x="1909" y="699"/>
                </a:cubicBezTo>
                <a:cubicBezTo>
                  <a:pt x="2450" y="699"/>
                  <a:pt x="2879" y="1002"/>
                  <a:pt x="2879" y="1368"/>
                </a:cubicBezTo>
                <a:cubicBezTo>
                  <a:pt x="2879" y="1749"/>
                  <a:pt x="2450" y="2051"/>
                  <a:pt x="1909" y="205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1" name="Freeform: Shape 6">
            <a:extLst>
              <a:ext uri="{FF2B5EF4-FFF2-40B4-BE49-F238E27FC236}">
                <a16:creationId xmlns:a16="http://schemas.microsoft.com/office/drawing/2014/main" id="{8469F4AF-B51B-7441-AE2B-BD72E2115617}"/>
              </a:ext>
            </a:extLst>
          </p:cNvPr>
          <p:cNvSpPr/>
          <p:nvPr/>
        </p:nvSpPr>
        <p:spPr>
          <a:xfrm>
            <a:off x="6143918" y="9829215"/>
            <a:ext cx="1437119" cy="1344960"/>
          </a:xfrm>
          <a:custGeom>
            <a:avLst/>
            <a:gdLst/>
            <a:ahLst/>
            <a:cxnLst>
              <a:cxn ang="3cd4">
                <a:pos x="hc" y="t"/>
              </a:cxn>
              <a:cxn ang="cd2">
                <a:pos x="l" y="vc"/>
              </a:cxn>
              <a:cxn ang="cd4">
                <a:pos x="hc" y="b"/>
              </a:cxn>
              <a:cxn ang="0">
                <a:pos x="r" y="vc"/>
              </a:cxn>
            </a:cxnLst>
            <a:rect l="l" t="t" r="r" b="b"/>
            <a:pathLst>
              <a:path w="3993" h="3737">
                <a:moveTo>
                  <a:pt x="0" y="158"/>
                </a:moveTo>
                <a:lnTo>
                  <a:pt x="0" y="2878"/>
                </a:lnTo>
                <a:cubicBezTo>
                  <a:pt x="0" y="2958"/>
                  <a:pt x="64" y="3037"/>
                  <a:pt x="160" y="3037"/>
                </a:cubicBezTo>
                <a:lnTo>
                  <a:pt x="1226" y="3037"/>
                </a:lnTo>
                <a:lnTo>
                  <a:pt x="1226" y="3578"/>
                </a:lnTo>
                <a:lnTo>
                  <a:pt x="351" y="3578"/>
                </a:lnTo>
                <a:cubicBezTo>
                  <a:pt x="303" y="3578"/>
                  <a:pt x="271" y="3610"/>
                  <a:pt x="271" y="3658"/>
                </a:cubicBezTo>
                <a:cubicBezTo>
                  <a:pt x="271" y="3706"/>
                  <a:pt x="303" y="3737"/>
                  <a:pt x="351" y="3737"/>
                </a:cubicBezTo>
                <a:lnTo>
                  <a:pt x="1305" y="3737"/>
                </a:lnTo>
                <a:lnTo>
                  <a:pt x="2689" y="3737"/>
                </a:lnTo>
                <a:lnTo>
                  <a:pt x="3643" y="3737"/>
                </a:lnTo>
                <a:cubicBezTo>
                  <a:pt x="3675" y="3737"/>
                  <a:pt x="3723" y="3706"/>
                  <a:pt x="3723" y="3658"/>
                </a:cubicBezTo>
                <a:cubicBezTo>
                  <a:pt x="3723" y="3610"/>
                  <a:pt x="3675" y="3578"/>
                  <a:pt x="3643" y="3578"/>
                </a:cubicBezTo>
                <a:lnTo>
                  <a:pt x="2768" y="3578"/>
                </a:lnTo>
                <a:lnTo>
                  <a:pt x="2768" y="3037"/>
                </a:lnTo>
                <a:lnTo>
                  <a:pt x="3834" y="3037"/>
                </a:lnTo>
                <a:cubicBezTo>
                  <a:pt x="3914" y="3037"/>
                  <a:pt x="3993" y="2958"/>
                  <a:pt x="3993" y="2878"/>
                </a:cubicBezTo>
                <a:lnTo>
                  <a:pt x="3993" y="158"/>
                </a:lnTo>
                <a:cubicBezTo>
                  <a:pt x="3993" y="79"/>
                  <a:pt x="3914" y="0"/>
                  <a:pt x="3834" y="0"/>
                </a:cubicBezTo>
                <a:lnTo>
                  <a:pt x="160" y="0"/>
                </a:lnTo>
                <a:cubicBezTo>
                  <a:pt x="64" y="0"/>
                  <a:pt x="0" y="79"/>
                  <a:pt x="0" y="158"/>
                </a:cubicBezTo>
                <a:close/>
                <a:moveTo>
                  <a:pt x="2609" y="3578"/>
                </a:moveTo>
                <a:lnTo>
                  <a:pt x="1384" y="3578"/>
                </a:lnTo>
                <a:lnTo>
                  <a:pt x="1384" y="3054"/>
                </a:lnTo>
                <a:lnTo>
                  <a:pt x="2609" y="3054"/>
                </a:lnTo>
                <a:close/>
                <a:moveTo>
                  <a:pt x="3834" y="158"/>
                </a:moveTo>
                <a:lnTo>
                  <a:pt x="3834" y="2878"/>
                </a:lnTo>
                <a:lnTo>
                  <a:pt x="160" y="2878"/>
                </a:lnTo>
                <a:lnTo>
                  <a:pt x="160" y="158"/>
                </a:lnTo>
                <a:close/>
                <a:moveTo>
                  <a:pt x="621" y="2369"/>
                </a:moveTo>
                <a:lnTo>
                  <a:pt x="3357" y="2369"/>
                </a:lnTo>
                <a:cubicBezTo>
                  <a:pt x="3452" y="2369"/>
                  <a:pt x="3516" y="2306"/>
                  <a:pt x="3516" y="2226"/>
                </a:cubicBezTo>
                <a:lnTo>
                  <a:pt x="3516" y="572"/>
                </a:lnTo>
                <a:cubicBezTo>
                  <a:pt x="3516" y="492"/>
                  <a:pt x="3452" y="413"/>
                  <a:pt x="3357" y="413"/>
                </a:cubicBezTo>
                <a:lnTo>
                  <a:pt x="621" y="413"/>
                </a:lnTo>
                <a:cubicBezTo>
                  <a:pt x="542" y="413"/>
                  <a:pt x="478" y="492"/>
                  <a:pt x="478" y="572"/>
                </a:cubicBezTo>
                <a:lnTo>
                  <a:pt x="478" y="2226"/>
                </a:lnTo>
                <a:cubicBezTo>
                  <a:pt x="478" y="2306"/>
                  <a:pt x="542" y="2369"/>
                  <a:pt x="621" y="2369"/>
                </a:cubicBezTo>
                <a:close/>
                <a:moveTo>
                  <a:pt x="3357" y="572"/>
                </a:moveTo>
                <a:lnTo>
                  <a:pt x="3357" y="2210"/>
                </a:lnTo>
                <a:lnTo>
                  <a:pt x="637" y="2226"/>
                </a:lnTo>
                <a:lnTo>
                  <a:pt x="621" y="572"/>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2" name="Freeform: Shape 15">
            <a:extLst>
              <a:ext uri="{FF2B5EF4-FFF2-40B4-BE49-F238E27FC236}">
                <a16:creationId xmlns:a16="http://schemas.microsoft.com/office/drawing/2014/main" id="{18517BDD-8B2F-FD4B-B06D-09D98CB6B109}"/>
              </a:ext>
            </a:extLst>
          </p:cNvPr>
          <p:cNvSpPr/>
          <p:nvPr/>
        </p:nvSpPr>
        <p:spPr>
          <a:xfrm>
            <a:off x="9938833" y="9508726"/>
            <a:ext cx="1700280" cy="1700280"/>
          </a:xfrm>
          <a:custGeom>
            <a:avLst/>
            <a:gdLst/>
            <a:ahLst/>
            <a:cxnLst>
              <a:cxn ang="3cd4">
                <a:pos x="hc" y="t"/>
              </a:cxn>
              <a:cxn ang="cd2">
                <a:pos x="l" y="vc"/>
              </a:cxn>
              <a:cxn ang="cd4">
                <a:pos x="hc" y="b"/>
              </a:cxn>
              <a:cxn ang="0">
                <a:pos x="r" y="vc"/>
              </a:cxn>
            </a:cxnLst>
            <a:rect l="l" t="t" r="r" b="b"/>
            <a:pathLst>
              <a:path w="4724" h="4724">
                <a:moveTo>
                  <a:pt x="2370" y="0"/>
                </a:moveTo>
                <a:cubicBezTo>
                  <a:pt x="1066" y="0"/>
                  <a:pt x="0" y="1050"/>
                  <a:pt x="0" y="2354"/>
                </a:cubicBezTo>
                <a:cubicBezTo>
                  <a:pt x="0" y="3658"/>
                  <a:pt x="1066" y="4724"/>
                  <a:pt x="2370" y="4724"/>
                </a:cubicBezTo>
                <a:cubicBezTo>
                  <a:pt x="3675" y="4724"/>
                  <a:pt x="4724" y="3658"/>
                  <a:pt x="4724" y="2354"/>
                </a:cubicBezTo>
                <a:cubicBezTo>
                  <a:pt x="4724" y="1050"/>
                  <a:pt x="3675" y="0"/>
                  <a:pt x="2370" y="0"/>
                </a:cubicBezTo>
                <a:close/>
                <a:moveTo>
                  <a:pt x="2370" y="4565"/>
                </a:moveTo>
                <a:cubicBezTo>
                  <a:pt x="1145" y="4565"/>
                  <a:pt x="159" y="3579"/>
                  <a:pt x="159" y="2354"/>
                </a:cubicBezTo>
                <a:cubicBezTo>
                  <a:pt x="159" y="1145"/>
                  <a:pt x="1145" y="159"/>
                  <a:pt x="2370" y="159"/>
                </a:cubicBezTo>
                <a:cubicBezTo>
                  <a:pt x="3579" y="159"/>
                  <a:pt x="4565" y="1145"/>
                  <a:pt x="4565" y="2354"/>
                </a:cubicBezTo>
                <a:cubicBezTo>
                  <a:pt x="4565" y="3579"/>
                  <a:pt x="3579" y="4565"/>
                  <a:pt x="2370" y="4565"/>
                </a:cubicBezTo>
                <a:close/>
                <a:moveTo>
                  <a:pt x="3213" y="605"/>
                </a:moveTo>
                <a:cubicBezTo>
                  <a:pt x="3166" y="588"/>
                  <a:pt x="3118" y="605"/>
                  <a:pt x="3102" y="636"/>
                </a:cubicBezTo>
                <a:cubicBezTo>
                  <a:pt x="3086" y="684"/>
                  <a:pt x="3102" y="732"/>
                  <a:pt x="3149" y="748"/>
                </a:cubicBezTo>
                <a:cubicBezTo>
                  <a:pt x="3754" y="1050"/>
                  <a:pt x="4151" y="1670"/>
                  <a:pt x="4151" y="2354"/>
                </a:cubicBezTo>
                <a:cubicBezTo>
                  <a:pt x="4151" y="2402"/>
                  <a:pt x="4184" y="2433"/>
                  <a:pt x="4231" y="2433"/>
                </a:cubicBezTo>
                <a:cubicBezTo>
                  <a:pt x="4279" y="2433"/>
                  <a:pt x="4311" y="2402"/>
                  <a:pt x="4311" y="2354"/>
                </a:cubicBezTo>
                <a:cubicBezTo>
                  <a:pt x="4311" y="1622"/>
                  <a:pt x="3881" y="923"/>
                  <a:pt x="3213" y="605"/>
                </a:cubicBezTo>
                <a:close/>
                <a:moveTo>
                  <a:pt x="2370" y="572"/>
                </a:moveTo>
                <a:cubicBezTo>
                  <a:pt x="2497" y="572"/>
                  <a:pt x="2625" y="588"/>
                  <a:pt x="2752" y="605"/>
                </a:cubicBezTo>
                <a:cubicBezTo>
                  <a:pt x="2752" y="620"/>
                  <a:pt x="2752" y="620"/>
                  <a:pt x="2768" y="620"/>
                </a:cubicBezTo>
                <a:cubicBezTo>
                  <a:pt x="2800" y="620"/>
                  <a:pt x="2831" y="588"/>
                  <a:pt x="2847" y="557"/>
                </a:cubicBezTo>
                <a:cubicBezTo>
                  <a:pt x="2847" y="509"/>
                  <a:pt x="2831" y="461"/>
                  <a:pt x="2784" y="461"/>
                </a:cubicBezTo>
                <a:cubicBezTo>
                  <a:pt x="2640" y="429"/>
                  <a:pt x="2513" y="414"/>
                  <a:pt x="2370" y="414"/>
                </a:cubicBezTo>
                <a:cubicBezTo>
                  <a:pt x="2322" y="414"/>
                  <a:pt x="2291" y="445"/>
                  <a:pt x="2291" y="493"/>
                </a:cubicBezTo>
                <a:cubicBezTo>
                  <a:pt x="2291" y="541"/>
                  <a:pt x="2322" y="572"/>
                  <a:pt x="2370" y="572"/>
                </a:cubicBezTo>
                <a:close/>
                <a:moveTo>
                  <a:pt x="2370" y="1654"/>
                </a:moveTo>
                <a:cubicBezTo>
                  <a:pt x="1973" y="1654"/>
                  <a:pt x="1670" y="1972"/>
                  <a:pt x="1670" y="2354"/>
                </a:cubicBezTo>
                <a:cubicBezTo>
                  <a:pt x="1670" y="2751"/>
                  <a:pt x="1973" y="3054"/>
                  <a:pt x="2370" y="3054"/>
                </a:cubicBezTo>
                <a:cubicBezTo>
                  <a:pt x="2752" y="3054"/>
                  <a:pt x="3070" y="2751"/>
                  <a:pt x="3070" y="2354"/>
                </a:cubicBezTo>
                <a:cubicBezTo>
                  <a:pt x="3070" y="1972"/>
                  <a:pt x="2752" y="1654"/>
                  <a:pt x="2370" y="1654"/>
                </a:cubicBezTo>
                <a:close/>
                <a:moveTo>
                  <a:pt x="2370" y="2895"/>
                </a:moveTo>
                <a:cubicBezTo>
                  <a:pt x="2068" y="2895"/>
                  <a:pt x="1830" y="2656"/>
                  <a:pt x="1830" y="2354"/>
                </a:cubicBezTo>
                <a:cubicBezTo>
                  <a:pt x="1830" y="2052"/>
                  <a:pt x="2068" y="1813"/>
                  <a:pt x="2370" y="1813"/>
                </a:cubicBezTo>
                <a:cubicBezTo>
                  <a:pt x="2672" y="1813"/>
                  <a:pt x="2911" y="2052"/>
                  <a:pt x="2911" y="2354"/>
                </a:cubicBezTo>
                <a:cubicBezTo>
                  <a:pt x="2911" y="2656"/>
                  <a:pt x="2672" y="2895"/>
                  <a:pt x="2370" y="2895"/>
                </a:cubicBezTo>
                <a:close/>
                <a:moveTo>
                  <a:pt x="2370" y="2068"/>
                </a:moveTo>
                <a:cubicBezTo>
                  <a:pt x="2211" y="2068"/>
                  <a:pt x="2084" y="2195"/>
                  <a:pt x="2084" y="2354"/>
                </a:cubicBezTo>
                <a:cubicBezTo>
                  <a:pt x="2084" y="2513"/>
                  <a:pt x="2211" y="2640"/>
                  <a:pt x="2370" y="2640"/>
                </a:cubicBezTo>
                <a:cubicBezTo>
                  <a:pt x="2529" y="2640"/>
                  <a:pt x="2657" y="2513"/>
                  <a:pt x="2657" y="2354"/>
                </a:cubicBezTo>
                <a:cubicBezTo>
                  <a:pt x="2657" y="2195"/>
                  <a:pt x="2529" y="2068"/>
                  <a:pt x="2370" y="2068"/>
                </a:cubicBezTo>
                <a:close/>
                <a:moveTo>
                  <a:pt x="2370" y="2481"/>
                </a:moveTo>
                <a:cubicBezTo>
                  <a:pt x="2291" y="2481"/>
                  <a:pt x="2243" y="2433"/>
                  <a:pt x="2243" y="2354"/>
                </a:cubicBezTo>
                <a:cubicBezTo>
                  <a:pt x="2243" y="2290"/>
                  <a:pt x="2291" y="2227"/>
                  <a:pt x="2370" y="2227"/>
                </a:cubicBezTo>
                <a:cubicBezTo>
                  <a:pt x="2434" y="2227"/>
                  <a:pt x="2497" y="2290"/>
                  <a:pt x="2497" y="2354"/>
                </a:cubicBezTo>
                <a:cubicBezTo>
                  <a:pt x="2497" y="2433"/>
                  <a:pt x="2434" y="2481"/>
                  <a:pt x="2370" y="248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3" name="Freeform: Shape 16">
            <a:extLst>
              <a:ext uri="{FF2B5EF4-FFF2-40B4-BE49-F238E27FC236}">
                <a16:creationId xmlns:a16="http://schemas.microsoft.com/office/drawing/2014/main" id="{8E346CE7-3084-D541-B8A2-E119AB6E8EEF}"/>
              </a:ext>
            </a:extLst>
          </p:cNvPr>
          <p:cNvSpPr/>
          <p:nvPr/>
        </p:nvSpPr>
        <p:spPr>
          <a:xfrm>
            <a:off x="14070098" y="9600167"/>
            <a:ext cx="1425239" cy="1516680"/>
          </a:xfrm>
          <a:custGeom>
            <a:avLst/>
            <a:gdLst/>
            <a:ahLst/>
            <a:cxnLst>
              <a:cxn ang="3cd4">
                <a:pos x="hc" y="t"/>
              </a:cxn>
              <a:cxn ang="cd2">
                <a:pos x="l" y="vc"/>
              </a:cxn>
              <a:cxn ang="cd4">
                <a:pos x="hc" y="b"/>
              </a:cxn>
              <a:cxn ang="0">
                <a:pos x="r" y="vc"/>
              </a:cxn>
            </a:cxnLst>
            <a:rect l="l" t="t" r="r" b="b"/>
            <a:pathLst>
              <a:path w="3960" h="4214">
                <a:moveTo>
                  <a:pt x="1988" y="0"/>
                </a:moveTo>
                <a:cubicBezTo>
                  <a:pt x="1097" y="0"/>
                  <a:pt x="365" y="716"/>
                  <a:pt x="365" y="1607"/>
                </a:cubicBezTo>
                <a:cubicBezTo>
                  <a:pt x="365" y="2497"/>
                  <a:pt x="1097" y="3214"/>
                  <a:pt x="1988" y="3214"/>
                </a:cubicBezTo>
                <a:cubicBezTo>
                  <a:pt x="2862" y="3214"/>
                  <a:pt x="3594" y="2497"/>
                  <a:pt x="3594" y="1607"/>
                </a:cubicBezTo>
                <a:cubicBezTo>
                  <a:pt x="3594" y="716"/>
                  <a:pt x="2862" y="0"/>
                  <a:pt x="1988" y="0"/>
                </a:cubicBezTo>
                <a:close/>
                <a:moveTo>
                  <a:pt x="1988" y="3054"/>
                </a:moveTo>
                <a:cubicBezTo>
                  <a:pt x="1177" y="3054"/>
                  <a:pt x="525" y="2402"/>
                  <a:pt x="525" y="1607"/>
                </a:cubicBezTo>
                <a:cubicBezTo>
                  <a:pt x="525" y="812"/>
                  <a:pt x="1177" y="160"/>
                  <a:pt x="1988" y="160"/>
                </a:cubicBezTo>
                <a:cubicBezTo>
                  <a:pt x="2783" y="160"/>
                  <a:pt x="3436" y="812"/>
                  <a:pt x="3436" y="1607"/>
                </a:cubicBezTo>
                <a:cubicBezTo>
                  <a:pt x="3436" y="2402"/>
                  <a:pt x="2783" y="3054"/>
                  <a:pt x="1988" y="3054"/>
                </a:cubicBezTo>
                <a:close/>
                <a:moveTo>
                  <a:pt x="1988" y="1034"/>
                </a:moveTo>
                <a:cubicBezTo>
                  <a:pt x="1638" y="1034"/>
                  <a:pt x="1368" y="1305"/>
                  <a:pt x="1368" y="1639"/>
                </a:cubicBezTo>
                <a:cubicBezTo>
                  <a:pt x="1368" y="1988"/>
                  <a:pt x="1638" y="2259"/>
                  <a:pt x="1988" y="2259"/>
                </a:cubicBezTo>
                <a:cubicBezTo>
                  <a:pt x="2322" y="2259"/>
                  <a:pt x="2592" y="1988"/>
                  <a:pt x="2592" y="1639"/>
                </a:cubicBezTo>
                <a:cubicBezTo>
                  <a:pt x="2592" y="1305"/>
                  <a:pt x="2322" y="1034"/>
                  <a:pt x="1988" y="1034"/>
                </a:cubicBezTo>
                <a:close/>
                <a:moveTo>
                  <a:pt x="2258" y="1464"/>
                </a:moveTo>
                <a:cubicBezTo>
                  <a:pt x="2258" y="1527"/>
                  <a:pt x="2210" y="1559"/>
                  <a:pt x="2163" y="1559"/>
                </a:cubicBezTo>
                <a:cubicBezTo>
                  <a:pt x="2099" y="1559"/>
                  <a:pt x="2067" y="1527"/>
                  <a:pt x="2067" y="1464"/>
                </a:cubicBezTo>
                <a:cubicBezTo>
                  <a:pt x="2067" y="1416"/>
                  <a:pt x="2099" y="1368"/>
                  <a:pt x="2163" y="1368"/>
                </a:cubicBezTo>
                <a:cubicBezTo>
                  <a:pt x="2210" y="1368"/>
                  <a:pt x="2258" y="1416"/>
                  <a:pt x="2258" y="1464"/>
                </a:cubicBezTo>
                <a:close/>
                <a:moveTo>
                  <a:pt x="1988" y="2100"/>
                </a:moveTo>
                <a:cubicBezTo>
                  <a:pt x="1733" y="2100"/>
                  <a:pt x="1527" y="1893"/>
                  <a:pt x="1527" y="1639"/>
                </a:cubicBezTo>
                <a:cubicBezTo>
                  <a:pt x="1527" y="1400"/>
                  <a:pt x="1733" y="1193"/>
                  <a:pt x="1988" y="1193"/>
                </a:cubicBezTo>
                <a:cubicBezTo>
                  <a:pt x="2036" y="1193"/>
                  <a:pt x="2083" y="1193"/>
                  <a:pt x="2115" y="1209"/>
                </a:cubicBezTo>
                <a:cubicBezTo>
                  <a:pt x="2004" y="1225"/>
                  <a:pt x="1909" y="1336"/>
                  <a:pt x="1909" y="1464"/>
                </a:cubicBezTo>
                <a:cubicBezTo>
                  <a:pt x="1909" y="1607"/>
                  <a:pt x="2020" y="1718"/>
                  <a:pt x="2163" y="1718"/>
                </a:cubicBezTo>
                <a:cubicBezTo>
                  <a:pt x="2290" y="1718"/>
                  <a:pt x="2401" y="1623"/>
                  <a:pt x="2418" y="1512"/>
                </a:cubicBezTo>
                <a:cubicBezTo>
                  <a:pt x="2433" y="1543"/>
                  <a:pt x="2433" y="1591"/>
                  <a:pt x="2433" y="1639"/>
                </a:cubicBezTo>
                <a:cubicBezTo>
                  <a:pt x="2433" y="1893"/>
                  <a:pt x="2227" y="2100"/>
                  <a:pt x="1988" y="2100"/>
                </a:cubicBezTo>
                <a:close/>
                <a:moveTo>
                  <a:pt x="3388" y="2878"/>
                </a:moveTo>
                <a:cubicBezTo>
                  <a:pt x="3356" y="2847"/>
                  <a:pt x="3308" y="2847"/>
                  <a:pt x="3276" y="2878"/>
                </a:cubicBezTo>
                <a:cubicBezTo>
                  <a:pt x="2942" y="3228"/>
                  <a:pt x="2481" y="3419"/>
                  <a:pt x="1988" y="3419"/>
                </a:cubicBezTo>
                <a:cubicBezTo>
                  <a:pt x="1479" y="3419"/>
                  <a:pt x="1018" y="3228"/>
                  <a:pt x="683" y="2878"/>
                </a:cubicBezTo>
                <a:cubicBezTo>
                  <a:pt x="652" y="2847"/>
                  <a:pt x="604" y="2847"/>
                  <a:pt x="572" y="2878"/>
                </a:cubicBezTo>
                <a:cubicBezTo>
                  <a:pt x="222" y="3213"/>
                  <a:pt x="0" y="3689"/>
                  <a:pt x="0" y="4135"/>
                </a:cubicBezTo>
                <a:cubicBezTo>
                  <a:pt x="0" y="4183"/>
                  <a:pt x="31" y="4214"/>
                  <a:pt x="79" y="4214"/>
                </a:cubicBezTo>
                <a:lnTo>
                  <a:pt x="3881" y="4214"/>
                </a:lnTo>
                <a:cubicBezTo>
                  <a:pt x="3928" y="4214"/>
                  <a:pt x="3960" y="4183"/>
                  <a:pt x="3960" y="4135"/>
                </a:cubicBezTo>
                <a:cubicBezTo>
                  <a:pt x="3960" y="3689"/>
                  <a:pt x="3737" y="3213"/>
                  <a:pt x="3388" y="2878"/>
                </a:cubicBezTo>
                <a:close/>
                <a:moveTo>
                  <a:pt x="159" y="4055"/>
                </a:moveTo>
                <a:cubicBezTo>
                  <a:pt x="191" y="3689"/>
                  <a:pt x="350" y="3324"/>
                  <a:pt x="636" y="3053"/>
                </a:cubicBezTo>
                <a:cubicBezTo>
                  <a:pt x="986" y="3387"/>
                  <a:pt x="1463" y="3578"/>
                  <a:pt x="1988" y="3578"/>
                </a:cubicBezTo>
                <a:cubicBezTo>
                  <a:pt x="2497" y="3578"/>
                  <a:pt x="2974" y="3387"/>
                  <a:pt x="3340" y="3053"/>
                </a:cubicBezTo>
                <a:cubicBezTo>
                  <a:pt x="3594" y="3324"/>
                  <a:pt x="3769" y="3689"/>
                  <a:pt x="3801" y="405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4" name="Freeform: Shape 17">
            <a:extLst>
              <a:ext uri="{FF2B5EF4-FFF2-40B4-BE49-F238E27FC236}">
                <a16:creationId xmlns:a16="http://schemas.microsoft.com/office/drawing/2014/main" id="{BC1C5E24-8217-9D4B-A757-30A0BE3772BF}"/>
              </a:ext>
            </a:extLst>
          </p:cNvPr>
          <p:cNvSpPr/>
          <p:nvPr/>
        </p:nvSpPr>
        <p:spPr>
          <a:xfrm>
            <a:off x="17530983" y="9579287"/>
            <a:ext cx="1528560" cy="1555199"/>
          </a:xfrm>
          <a:custGeom>
            <a:avLst/>
            <a:gdLst/>
            <a:ahLst/>
            <a:cxnLst>
              <a:cxn ang="3cd4">
                <a:pos x="hc" y="t"/>
              </a:cxn>
              <a:cxn ang="cd2">
                <a:pos x="l" y="vc"/>
              </a:cxn>
              <a:cxn ang="cd4">
                <a:pos x="hc" y="b"/>
              </a:cxn>
              <a:cxn ang="0">
                <a:pos x="r" y="vc"/>
              </a:cxn>
            </a:cxnLst>
            <a:rect l="l" t="t" r="r" b="b"/>
            <a:pathLst>
              <a:path w="4247" h="4321">
                <a:moveTo>
                  <a:pt x="0" y="4035"/>
                </a:moveTo>
                <a:cubicBezTo>
                  <a:pt x="0" y="4194"/>
                  <a:pt x="128" y="4321"/>
                  <a:pt x="303" y="4321"/>
                </a:cubicBezTo>
                <a:lnTo>
                  <a:pt x="3945" y="4321"/>
                </a:lnTo>
                <a:cubicBezTo>
                  <a:pt x="4104" y="4321"/>
                  <a:pt x="4247" y="4194"/>
                  <a:pt x="4247" y="4035"/>
                </a:cubicBezTo>
                <a:lnTo>
                  <a:pt x="4247" y="1601"/>
                </a:lnTo>
                <a:cubicBezTo>
                  <a:pt x="4247" y="1442"/>
                  <a:pt x="4104" y="1299"/>
                  <a:pt x="3945" y="1299"/>
                </a:cubicBezTo>
                <a:lnTo>
                  <a:pt x="1941" y="1299"/>
                </a:lnTo>
                <a:lnTo>
                  <a:pt x="2800" y="122"/>
                </a:lnTo>
                <a:cubicBezTo>
                  <a:pt x="2832" y="90"/>
                  <a:pt x="2815" y="43"/>
                  <a:pt x="2784" y="10"/>
                </a:cubicBezTo>
                <a:cubicBezTo>
                  <a:pt x="2752" y="-5"/>
                  <a:pt x="2705" y="-5"/>
                  <a:pt x="2672" y="27"/>
                </a:cubicBezTo>
                <a:lnTo>
                  <a:pt x="1750" y="1299"/>
                </a:lnTo>
                <a:lnTo>
                  <a:pt x="1511" y="1299"/>
                </a:lnTo>
                <a:lnTo>
                  <a:pt x="621" y="27"/>
                </a:lnTo>
                <a:cubicBezTo>
                  <a:pt x="605" y="-5"/>
                  <a:pt x="557" y="-5"/>
                  <a:pt x="509" y="10"/>
                </a:cubicBezTo>
                <a:cubicBezTo>
                  <a:pt x="478" y="43"/>
                  <a:pt x="478" y="90"/>
                  <a:pt x="493" y="122"/>
                </a:cubicBezTo>
                <a:lnTo>
                  <a:pt x="1321" y="1299"/>
                </a:lnTo>
                <a:lnTo>
                  <a:pt x="303" y="1299"/>
                </a:lnTo>
                <a:cubicBezTo>
                  <a:pt x="128" y="1299"/>
                  <a:pt x="0" y="1442"/>
                  <a:pt x="0" y="1601"/>
                </a:cubicBezTo>
                <a:close/>
                <a:moveTo>
                  <a:pt x="160" y="1601"/>
                </a:moveTo>
                <a:cubicBezTo>
                  <a:pt x="160" y="1522"/>
                  <a:pt x="223" y="1458"/>
                  <a:pt x="303" y="1458"/>
                </a:cubicBezTo>
                <a:lnTo>
                  <a:pt x="1479" y="1458"/>
                </a:lnTo>
                <a:lnTo>
                  <a:pt x="1798" y="1458"/>
                </a:lnTo>
                <a:lnTo>
                  <a:pt x="3945" y="1458"/>
                </a:lnTo>
                <a:cubicBezTo>
                  <a:pt x="4024" y="1458"/>
                  <a:pt x="4088" y="1522"/>
                  <a:pt x="4088" y="1601"/>
                </a:cubicBezTo>
                <a:lnTo>
                  <a:pt x="4088" y="4035"/>
                </a:lnTo>
                <a:cubicBezTo>
                  <a:pt x="4088" y="4099"/>
                  <a:pt x="4024" y="4162"/>
                  <a:pt x="3945" y="4162"/>
                </a:cubicBezTo>
                <a:lnTo>
                  <a:pt x="303" y="4162"/>
                </a:lnTo>
                <a:cubicBezTo>
                  <a:pt x="223" y="4162"/>
                  <a:pt x="160" y="4099"/>
                  <a:pt x="160" y="4035"/>
                </a:cubicBezTo>
                <a:close/>
                <a:moveTo>
                  <a:pt x="430" y="3924"/>
                </a:moveTo>
                <a:lnTo>
                  <a:pt x="2815" y="3924"/>
                </a:lnTo>
                <a:cubicBezTo>
                  <a:pt x="2848" y="3924"/>
                  <a:pt x="2895" y="3892"/>
                  <a:pt x="2895" y="3844"/>
                </a:cubicBezTo>
                <a:lnTo>
                  <a:pt x="2895" y="1776"/>
                </a:lnTo>
                <a:cubicBezTo>
                  <a:pt x="2895" y="1745"/>
                  <a:pt x="2848" y="1697"/>
                  <a:pt x="2815" y="1697"/>
                </a:cubicBezTo>
                <a:lnTo>
                  <a:pt x="430" y="1697"/>
                </a:lnTo>
                <a:cubicBezTo>
                  <a:pt x="398" y="1697"/>
                  <a:pt x="350" y="1745"/>
                  <a:pt x="350" y="1776"/>
                </a:cubicBezTo>
                <a:lnTo>
                  <a:pt x="350" y="3844"/>
                </a:lnTo>
                <a:cubicBezTo>
                  <a:pt x="350" y="3892"/>
                  <a:pt x="398" y="3924"/>
                  <a:pt x="430" y="3924"/>
                </a:cubicBezTo>
                <a:close/>
                <a:moveTo>
                  <a:pt x="509" y="1856"/>
                </a:moveTo>
                <a:lnTo>
                  <a:pt x="2736" y="1856"/>
                </a:lnTo>
                <a:lnTo>
                  <a:pt x="2736" y="3764"/>
                </a:lnTo>
                <a:lnTo>
                  <a:pt x="509" y="3764"/>
                </a:lnTo>
                <a:close/>
                <a:moveTo>
                  <a:pt x="3484" y="2508"/>
                </a:moveTo>
                <a:cubicBezTo>
                  <a:pt x="3706" y="2508"/>
                  <a:pt x="3881" y="2333"/>
                  <a:pt x="3881" y="2126"/>
                </a:cubicBezTo>
                <a:cubicBezTo>
                  <a:pt x="3881" y="1903"/>
                  <a:pt x="3706" y="1728"/>
                  <a:pt x="3484" y="1728"/>
                </a:cubicBezTo>
                <a:cubicBezTo>
                  <a:pt x="3277" y="1728"/>
                  <a:pt x="3102" y="1903"/>
                  <a:pt x="3102" y="2126"/>
                </a:cubicBezTo>
                <a:cubicBezTo>
                  <a:pt x="3102" y="2333"/>
                  <a:pt x="3277" y="2508"/>
                  <a:pt x="3484" y="2508"/>
                </a:cubicBezTo>
                <a:close/>
                <a:moveTo>
                  <a:pt x="3484" y="1888"/>
                </a:moveTo>
                <a:cubicBezTo>
                  <a:pt x="3611" y="1888"/>
                  <a:pt x="3723" y="1999"/>
                  <a:pt x="3723" y="2126"/>
                </a:cubicBezTo>
                <a:cubicBezTo>
                  <a:pt x="3723" y="2254"/>
                  <a:pt x="3611" y="2349"/>
                  <a:pt x="3484" y="2349"/>
                </a:cubicBezTo>
                <a:cubicBezTo>
                  <a:pt x="3357" y="2349"/>
                  <a:pt x="3261" y="2254"/>
                  <a:pt x="3261" y="2126"/>
                </a:cubicBezTo>
                <a:cubicBezTo>
                  <a:pt x="3261" y="1999"/>
                  <a:pt x="3357" y="1888"/>
                  <a:pt x="3484" y="1888"/>
                </a:cubicBezTo>
                <a:close/>
                <a:moveTo>
                  <a:pt x="3484" y="2683"/>
                </a:moveTo>
                <a:cubicBezTo>
                  <a:pt x="3324" y="2683"/>
                  <a:pt x="3181" y="2826"/>
                  <a:pt x="3181" y="2985"/>
                </a:cubicBezTo>
                <a:cubicBezTo>
                  <a:pt x="3181" y="3160"/>
                  <a:pt x="3324" y="3303"/>
                  <a:pt x="3484" y="3303"/>
                </a:cubicBezTo>
                <a:cubicBezTo>
                  <a:pt x="3659" y="3303"/>
                  <a:pt x="3786" y="3160"/>
                  <a:pt x="3786" y="2985"/>
                </a:cubicBezTo>
                <a:cubicBezTo>
                  <a:pt x="3786" y="2826"/>
                  <a:pt x="3659" y="2683"/>
                  <a:pt x="3484" y="2683"/>
                </a:cubicBezTo>
                <a:close/>
                <a:moveTo>
                  <a:pt x="3484" y="3144"/>
                </a:moveTo>
                <a:cubicBezTo>
                  <a:pt x="3404" y="3144"/>
                  <a:pt x="3341" y="3064"/>
                  <a:pt x="3341" y="2985"/>
                </a:cubicBezTo>
                <a:cubicBezTo>
                  <a:pt x="3341" y="2906"/>
                  <a:pt x="3404" y="2842"/>
                  <a:pt x="3484" y="2842"/>
                </a:cubicBezTo>
                <a:cubicBezTo>
                  <a:pt x="3563" y="2842"/>
                  <a:pt x="3627" y="2906"/>
                  <a:pt x="3627" y="2985"/>
                </a:cubicBezTo>
                <a:cubicBezTo>
                  <a:pt x="3627" y="3064"/>
                  <a:pt x="3563" y="3144"/>
                  <a:pt x="3484" y="314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5" name="Freeform: Shape 18">
            <a:extLst>
              <a:ext uri="{FF2B5EF4-FFF2-40B4-BE49-F238E27FC236}">
                <a16:creationId xmlns:a16="http://schemas.microsoft.com/office/drawing/2014/main" id="{71A38E6B-F17A-E44A-86E7-C76329D8CDEB}"/>
              </a:ext>
            </a:extLst>
          </p:cNvPr>
          <p:cNvSpPr/>
          <p:nvPr/>
        </p:nvSpPr>
        <p:spPr>
          <a:xfrm>
            <a:off x="1924858" y="3699836"/>
            <a:ext cx="1654200" cy="1064520"/>
          </a:xfrm>
          <a:custGeom>
            <a:avLst/>
            <a:gdLst/>
            <a:ahLst/>
            <a:cxnLst>
              <a:cxn ang="3cd4">
                <a:pos x="hc" y="t"/>
              </a:cxn>
              <a:cxn ang="cd2">
                <a:pos x="l" y="vc"/>
              </a:cxn>
              <a:cxn ang="cd4">
                <a:pos x="hc" y="b"/>
              </a:cxn>
              <a:cxn ang="0">
                <a:pos x="r" y="vc"/>
              </a:cxn>
            </a:cxnLst>
            <a:rect l="l" t="t" r="r" b="b"/>
            <a:pathLst>
              <a:path w="4596" h="2958">
                <a:moveTo>
                  <a:pt x="4135" y="286"/>
                </a:moveTo>
                <a:lnTo>
                  <a:pt x="461" y="286"/>
                </a:lnTo>
                <a:cubicBezTo>
                  <a:pt x="366" y="286"/>
                  <a:pt x="286" y="366"/>
                  <a:pt x="286" y="461"/>
                </a:cubicBezTo>
                <a:lnTo>
                  <a:pt x="286" y="2513"/>
                </a:lnTo>
                <a:cubicBezTo>
                  <a:pt x="286" y="2608"/>
                  <a:pt x="366" y="2688"/>
                  <a:pt x="461" y="2688"/>
                </a:cubicBezTo>
                <a:lnTo>
                  <a:pt x="4135" y="2688"/>
                </a:lnTo>
                <a:cubicBezTo>
                  <a:pt x="4183" y="2688"/>
                  <a:pt x="4231" y="2672"/>
                  <a:pt x="4263" y="2624"/>
                </a:cubicBezTo>
                <a:cubicBezTo>
                  <a:pt x="4295" y="2593"/>
                  <a:pt x="4310" y="2560"/>
                  <a:pt x="4310" y="2513"/>
                </a:cubicBezTo>
                <a:lnTo>
                  <a:pt x="4310" y="461"/>
                </a:lnTo>
                <a:cubicBezTo>
                  <a:pt x="4310" y="366"/>
                  <a:pt x="4231" y="286"/>
                  <a:pt x="4135" y="286"/>
                </a:cubicBezTo>
                <a:close/>
                <a:moveTo>
                  <a:pt x="2608" y="1781"/>
                </a:moveTo>
                <a:lnTo>
                  <a:pt x="1988" y="1781"/>
                </a:lnTo>
                <a:lnTo>
                  <a:pt x="1988" y="1193"/>
                </a:lnTo>
                <a:lnTo>
                  <a:pt x="2608" y="1193"/>
                </a:lnTo>
                <a:close/>
                <a:moveTo>
                  <a:pt x="2608" y="445"/>
                </a:moveTo>
                <a:lnTo>
                  <a:pt x="2608" y="1034"/>
                </a:lnTo>
                <a:lnTo>
                  <a:pt x="1988" y="1034"/>
                </a:lnTo>
                <a:lnTo>
                  <a:pt x="1988" y="445"/>
                </a:lnTo>
                <a:close/>
                <a:moveTo>
                  <a:pt x="1224" y="445"/>
                </a:moveTo>
                <a:lnTo>
                  <a:pt x="1829" y="445"/>
                </a:lnTo>
                <a:lnTo>
                  <a:pt x="1829" y="1034"/>
                </a:lnTo>
                <a:lnTo>
                  <a:pt x="1224" y="1034"/>
                </a:lnTo>
                <a:close/>
                <a:moveTo>
                  <a:pt x="445" y="461"/>
                </a:moveTo>
                <a:cubicBezTo>
                  <a:pt x="445" y="445"/>
                  <a:pt x="456" y="450"/>
                  <a:pt x="461" y="445"/>
                </a:cubicBezTo>
                <a:lnTo>
                  <a:pt x="1066" y="445"/>
                </a:lnTo>
                <a:lnTo>
                  <a:pt x="1066" y="1034"/>
                </a:lnTo>
                <a:lnTo>
                  <a:pt x="445" y="1034"/>
                </a:lnTo>
                <a:close/>
                <a:moveTo>
                  <a:pt x="445" y="1193"/>
                </a:moveTo>
                <a:lnTo>
                  <a:pt x="1829" y="1193"/>
                </a:lnTo>
                <a:lnTo>
                  <a:pt x="1829" y="1781"/>
                </a:lnTo>
                <a:lnTo>
                  <a:pt x="445" y="1781"/>
                </a:lnTo>
                <a:close/>
                <a:moveTo>
                  <a:pt x="1066" y="2529"/>
                </a:moveTo>
                <a:lnTo>
                  <a:pt x="461" y="2529"/>
                </a:lnTo>
                <a:lnTo>
                  <a:pt x="445" y="2513"/>
                </a:lnTo>
                <a:lnTo>
                  <a:pt x="445" y="1940"/>
                </a:lnTo>
                <a:lnTo>
                  <a:pt x="1066" y="1940"/>
                </a:lnTo>
                <a:close/>
                <a:moveTo>
                  <a:pt x="1224" y="2529"/>
                </a:moveTo>
                <a:lnTo>
                  <a:pt x="1224" y="1940"/>
                </a:lnTo>
                <a:lnTo>
                  <a:pt x="3372" y="1940"/>
                </a:lnTo>
                <a:lnTo>
                  <a:pt x="3372" y="2529"/>
                </a:lnTo>
                <a:close/>
                <a:moveTo>
                  <a:pt x="2768" y="1193"/>
                </a:moveTo>
                <a:lnTo>
                  <a:pt x="3372" y="1193"/>
                </a:lnTo>
                <a:lnTo>
                  <a:pt x="3372" y="1781"/>
                </a:lnTo>
                <a:lnTo>
                  <a:pt x="2768" y="1781"/>
                </a:lnTo>
                <a:close/>
                <a:moveTo>
                  <a:pt x="3451" y="1034"/>
                </a:moveTo>
                <a:lnTo>
                  <a:pt x="2768" y="1034"/>
                </a:lnTo>
                <a:lnTo>
                  <a:pt x="2768" y="445"/>
                </a:lnTo>
                <a:lnTo>
                  <a:pt x="4135" y="445"/>
                </a:lnTo>
                <a:cubicBezTo>
                  <a:pt x="4140" y="450"/>
                  <a:pt x="4151" y="445"/>
                  <a:pt x="4151" y="461"/>
                </a:cubicBezTo>
                <a:lnTo>
                  <a:pt x="4151" y="1034"/>
                </a:lnTo>
                <a:lnTo>
                  <a:pt x="3467" y="1034"/>
                </a:lnTo>
                <a:close/>
                <a:moveTo>
                  <a:pt x="3531" y="1193"/>
                </a:moveTo>
                <a:lnTo>
                  <a:pt x="4151" y="1193"/>
                </a:lnTo>
                <a:lnTo>
                  <a:pt x="4151" y="1781"/>
                </a:lnTo>
                <a:lnTo>
                  <a:pt x="3531" y="1781"/>
                </a:lnTo>
                <a:close/>
                <a:moveTo>
                  <a:pt x="4135" y="2529"/>
                </a:moveTo>
                <a:lnTo>
                  <a:pt x="3531" y="2529"/>
                </a:lnTo>
                <a:lnTo>
                  <a:pt x="3531" y="1940"/>
                </a:lnTo>
                <a:lnTo>
                  <a:pt x="4151" y="1940"/>
                </a:lnTo>
                <a:lnTo>
                  <a:pt x="4151" y="2513"/>
                </a:lnTo>
                <a:close/>
                <a:moveTo>
                  <a:pt x="4596" y="2783"/>
                </a:moveTo>
                <a:lnTo>
                  <a:pt x="4596" y="191"/>
                </a:lnTo>
                <a:cubicBezTo>
                  <a:pt x="4596" y="79"/>
                  <a:pt x="4517" y="0"/>
                  <a:pt x="4422" y="0"/>
                </a:cubicBezTo>
                <a:lnTo>
                  <a:pt x="175" y="0"/>
                </a:lnTo>
                <a:cubicBezTo>
                  <a:pt x="79" y="0"/>
                  <a:pt x="0" y="79"/>
                  <a:pt x="0" y="191"/>
                </a:cubicBezTo>
                <a:lnTo>
                  <a:pt x="0" y="2783"/>
                </a:lnTo>
                <a:cubicBezTo>
                  <a:pt x="0" y="2879"/>
                  <a:pt x="79" y="2958"/>
                  <a:pt x="175" y="2958"/>
                </a:cubicBezTo>
                <a:lnTo>
                  <a:pt x="4422" y="2958"/>
                </a:lnTo>
                <a:cubicBezTo>
                  <a:pt x="4469" y="2958"/>
                  <a:pt x="4517" y="2942"/>
                  <a:pt x="4549" y="2911"/>
                </a:cubicBezTo>
                <a:cubicBezTo>
                  <a:pt x="4581" y="2879"/>
                  <a:pt x="4596" y="2831"/>
                  <a:pt x="4596" y="2783"/>
                </a:cubicBezTo>
                <a:close/>
                <a:moveTo>
                  <a:pt x="4422" y="2799"/>
                </a:moveTo>
                <a:lnTo>
                  <a:pt x="175" y="2799"/>
                </a:lnTo>
                <a:cubicBezTo>
                  <a:pt x="170" y="2794"/>
                  <a:pt x="159" y="2799"/>
                  <a:pt x="159" y="2783"/>
                </a:cubicBezTo>
                <a:lnTo>
                  <a:pt x="159" y="191"/>
                </a:lnTo>
                <a:cubicBezTo>
                  <a:pt x="159" y="175"/>
                  <a:pt x="170" y="170"/>
                  <a:pt x="175" y="159"/>
                </a:cubicBezTo>
                <a:lnTo>
                  <a:pt x="4422" y="159"/>
                </a:lnTo>
                <a:cubicBezTo>
                  <a:pt x="4427" y="170"/>
                  <a:pt x="4438" y="175"/>
                  <a:pt x="4438" y="191"/>
                </a:cubicBezTo>
                <a:lnTo>
                  <a:pt x="4438" y="2783"/>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6" name="Freeform: Shape 3">
            <a:extLst>
              <a:ext uri="{FF2B5EF4-FFF2-40B4-BE49-F238E27FC236}">
                <a16:creationId xmlns:a16="http://schemas.microsoft.com/office/drawing/2014/main" id="{6F4DCC7C-8DEE-0B49-9876-2C58B508FA58}"/>
              </a:ext>
            </a:extLst>
          </p:cNvPr>
          <p:cNvSpPr/>
          <p:nvPr/>
        </p:nvSpPr>
        <p:spPr>
          <a:xfrm>
            <a:off x="9892381" y="3699836"/>
            <a:ext cx="1860479" cy="1150560"/>
          </a:xfrm>
          <a:custGeom>
            <a:avLst/>
            <a:gdLst/>
            <a:ahLst/>
            <a:cxnLst>
              <a:cxn ang="3cd4">
                <a:pos x="hc" y="t"/>
              </a:cxn>
              <a:cxn ang="cd2">
                <a:pos x="l" y="vc"/>
              </a:cxn>
              <a:cxn ang="cd4">
                <a:pos x="hc" y="b"/>
              </a:cxn>
              <a:cxn ang="0">
                <a:pos x="r" y="vc"/>
              </a:cxn>
            </a:cxnLst>
            <a:rect l="l" t="t" r="r" b="b"/>
            <a:pathLst>
              <a:path w="5169" h="3197">
                <a:moveTo>
                  <a:pt x="175" y="1415"/>
                </a:moveTo>
                <a:lnTo>
                  <a:pt x="4994" y="1415"/>
                </a:lnTo>
                <a:cubicBezTo>
                  <a:pt x="5089" y="1415"/>
                  <a:pt x="5169" y="1336"/>
                  <a:pt x="5169" y="1225"/>
                </a:cubicBezTo>
                <a:lnTo>
                  <a:pt x="5169" y="175"/>
                </a:lnTo>
                <a:cubicBezTo>
                  <a:pt x="5169" y="79"/>
                  <a:pt x="5089" y="0"/>
                  <a:pt x="4994" y="0"/>
                </a:cubicBezTo>
                <a:lnTo>
                  <a:pt x="175" y="0"/>
                </a:lnTo>
                <a:cubicBezTo>
                  <a:pt x="80" y="0"/>
                  <a:pt x="0" y="79"/>
                  <a:pt x="0" y="175"/>
                </a:cubicBezTo>
                <a:lnTo>
                  <a:pt x="0" y="1225"/>
                </a:lnTo>
                <a:cubicBezTo>
                  <a:pt x="0" y="1336"/>
                  <a:pt x="80" y="1415"/>
                  <a:pt x="175" y="1415"/>
                </a:cubicBezTo>
                <a:close/>
                <a:moveTo>
                  <a:pt x="143" y="175"/>
                </a:moveTo>
                <a:cubicBezTo>
                  <a:pt x="154" y="170"/>
                  <a:pt x="159" y="159"/>
                  <a:pt x="175" y="159"/>
                </a:cubicBezTo>
                <a:lnTo>
                  <a:pt x="4994" y="159"/>
                </a:lnTo>
                <a:cubicBezTo>
                  <a:pt x="5010" y="159"/>
                  <a:pt x="5005" y="170"/>
                  <a:pt x="5010" y="175"/>
                </a:cubicBezTo>
                <a:lnTo>
                  <a:pt x="5010" y="1225"/>
                </a:lnTo>
                <a:cubicBezTo>
                  <a:pt x="5010" y="1240"/>
                  <a:pt x="5010" y="1257"/>
                  <a:pt x="4994" y="1257"/>
                </a:cubicBezTo>
                <a:lnTo>
                  <a:pt x="175" y="1257"/>
                </a:lnTo>
                <a:cubicBezTo>
                  <a:pt x="159" y="1257"/>
                  <a:pt x="143" y="1240"/>
                  <a:pt x="143" y="1225"/>
                </a:cubicBezTo>
                <a:close/>
                <a:moveTo>
                  <a:pt x="3944" y="620"/>
                </a:moveTo>
                <a:lnTo>
                  <a:pt x="3690" y="620"/>
                </a:lnTo>
                <a:lnTo>
                  <a:pt x="3690" y="875"/>
                </a:lnTo>
                <a:lnTo>
                  <a:pt x="3944" y="875"/>
                </a:lnTo>
                <a:close/>
                <a:moveTo>
                  <a:pt x="4628" y="620"/>
                </a:moveTo>
                <a:lnTo>
                  <a:pt x="4390" y="620"/>
                </a:lnTo>
                <a:lnTo>
                  <a:pt x="4390" y="875"/>
                </a:lnTo>
                <a:lnTo>
                  <a:pt x="4628" y="875"/>
                </a:lnTo>
                <a:close/>
                <a:moveTo>
                  <a:pt x="4294" y="620"/>
                </a:moveTo>
                <a:lnTo>
                  <a:pt x="4040" y="620"/>
                </a:lnTo>
                <a:lnTo>
                  <a:pt x="4040" y="875"/>
                </a:lnTo>
                <a:lnTo>
                  <a:pt x="4294" y="875"/>
                </a:lnTo>
                <a:close/>
                <a:moveTo>
                  <a:pt x="175" y="3197"/>
                </a:moveTo>
                <a:lnTo>
                  <a:pt x="4994" y="3197"/>
                </a:lnTo>
                <a:cubicBezTo>
                  <a:pt x="5089" y="3197"/>
                  <a:pt x="5169" y="3117"/>
                  <a:pt x="5169" y="3022"/>
                </a:cubicBezTo>
                <a:lnTo>
                  <a:pt x="5169" y="1972"/>
                </a:lnTo>
                <a:cubicBezTo>
                  <a:pt x="5169" y="1861"/>
                  <a:pt x="5089" y="1781"/>
                  <a:pt x="4994" y="1781"/>
                </a:cubicBezTo>
                <a:lnTo>
                  <a:pt x="175" y="1781"/>
                </a:lnTo>
                <a:cubicBezTo>
                  <a:pt x="80" y="1781"/>
                  <a:pt x="0" y="1861"/>
                  <a:pt x="0" y="1972"/>
                </a:cubicBezTo>
                <a:lnTo>
                  <a:pt x="0" y="3022"/>
                </a:lnTo>
                <a:cubicBezTo>
                  <a:pt x="0" y="3117"/>
                  <a:pt x="80" y="3197"/>
                  <a:pt x="175" y="3197"/>
                </a:cubicBezTo>
                <a:close/>
                <a:moveTo>
                  <a:pt x="143" y="1972"/>
                </a:moveTo>
                <a:cubicBezTo>
                  <a:pt x="143" y="1956"/>
                  <a:pt x="159" y="1940"/>
                  <a:pt x="175" y="1940"/>
                </a:cubicBezTo>
                <a:lnTo>
                  <a:pt x="4994" y="1940"/>
                </a:lnTo>
                <a:cubicBezTo>
                  <a:pt x="5010" y="1940"/>
                  <a:pt x="5010" y="1956"/>
                  <a:pt x="5010" y="1972"/>
                </a:cubicBezTo>
                <a:lnTo>
                  <a:pt x="5010" y="3022"/>
                </a:lnTo>
                <a:cubicBezTo>
                  <a:pt x="5005" y="3027"/>
                  <a:pt x="5010" y="3038"/>
                  <a:pt x="4994" y="3038"/>
                </a:cubicBezTo>
                <a:lnTo>
                  <a:pt x="175" y="3038"/>
                </a:lnTo>
                <a:cubicBezTo>
                  <a:pt x="159" y="3038"/>
                  <a:pt x="154" y="3027"/>
                  <a:pt x="143" y="3022"/>
                </a:cubicBezTo>
                <a:close/>
                <a:moveTo>
                  <a:pt x="3944" y="2370"/>
                </a:moveTo>
                <a:lnTo>
                  <a:pt x="3690" y="2370"/>
                </a:lnTo>
                <a:lnTo>
                  <a:pt x="3690" y="2624"/>
                </a:lnTo>
                <a:lnTo>
                  <a:pt x="3944" y="2624"/>
                </a:lnTo>
                <a:close/>
                <a:moveTo>
                  <a:pt x="4628" y="2370"/>
                </a:moveTo>
                <a:lnTo>
                  <a:pt x="4390" y="2370"/>
                </a:lnTo>
                <a:lnTo>
                  <a:pt x="4390" y="2624"/>
                </a:lnTo>
                <a:lnTo>
                  <a:pt x="4628" y="2624"/>
                </a:lnTo>
                <a:close/>
                <a:moveTo>
                  <a:pt x="4294" y="2370"/>
                </a:moveTo>
                <a:lnTo>
                  <a:pt x="4040" y="2370"/>
                </a:lnTo>
                <a:lnTo>
                  <a:pt x="4040" y="2624"/>
                </a:lnTo>
                <a:lnTo>
                  <a:pt x="4294" y="2624"/>
                </a:lnTo>
                <a:close/>
                <a:moveTo>
                  <a:pt x="636" y="2576"/>
                </a:moveTo>
                <a:lnTo>
                  <a:pt x="2640" y="2576"/>
                </a:lnTo>
                <a:cubicBezTo>
                  <a:pt x="2688" y="2576"/>
                  <a:pt x="2720" y="2529"/>
                  <a:pt x="2720" y="2497"/>
                </a:cubicBezTo>
                <a:cubicBezTo>
                  <a:pt x="2720" y="2449"/>
                  <a:pt x="2688" y="2418"/>
                  <a:pt x="2640" y="2418"/>
                </a:cubicBezTo>
                <a:lnTo>
                  <a:pt x="636" y="2418"/>
                </a:lnTo>
                <a:cubicBezTo>
                  <a:pt x="604" y="2418"/>
                  <a:pt x="556" y="2449"/>
                  <a:pt x="556" y="2497"/>
                </a:cubicBezTo>
                <a:cubicBezTo>
                  <a:pt x="556" y="2529"/>
                  <a:pt x="604" y="2576"/>
                  <a:pt x="636" y="257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7" name="Freeform: Shape 4">
            <a:extLst>
              <a:ext uri="{FF2B5EF4-FFF2-40B4-BE49-F238E27FC236}">
                <a16:creationId xmlns:a16="http://schemas.microsoft.com/office/drawing/2014/main" id="{172F7B3B-C632-7C4B-A8B1-B2FCB92D05D0}"/>
              </a:ext>
            </a:extLst>
          </p:cNvPr>
          <p:cNvSpPr/>
          <p:nvPr/>
        </p:nvSpPr>
        <p:spPr>
          <a:xfrm>
            <a:off x="13757465" y="3718223"/>
            <a:ext cx="1866239" cy="1139040"/>
          </a:xfrm>
          <a:custGeom>
            <a:avLst/>
            <a:gdLst/>
            <a:ahLst/>
            <a:cxnLst>
              <a:cxn ang="3cd4">
                <a:pos x="hc" y="t"/>
              </a:cxn>
              <a:cxn ang="cd2">
                <a:pos x="l" y="vc"/>
              </a:cxn>
              <a:cxn ang="cd4">
                <a:pos x="hc" y="b"/>
              </a:cxn>
              <a:cxn ang="0">
                <a:pos x="r" y="vc"/>
              </a:cxn>
            </a:cxnLst>
            <a:rect l="l" t="t" r="r" b="b"/>
            <a:pathLst>
              <a:path w="5185" h="3165">
                <a:moveTo>
                  <a:pt x="5010" y="0"/>
                </a:moveTo>
                <a:lnTo>
                  <a:pt x="191" y="0"/>
                </a:lnTo>
                <a:cubicBezTo>
                  <a:pt x="79" y="0"/>
                  <a:pt x="0" y="95"/>
                  <a:pt x="0" y="191"/>
                </a:cubicBezTo>
                <a:lnTo>
                  <a:pt x="0" y="1241"/>
                </a:lnTo>
                <a:cubicBezTo>
                  <a:pt x="0" y="1336"/>
                  <a:pt x="79" y="1415"/>
                  <a:pt x="191" y="1415"/>
                </a:cubicBezTo>
                <a:lnTo>
                  <a:pt x="5010" y="1415"/>
                </a:lnTo>
                <a:cubicBezTo>
                  <a:pt x="5105" y="1415"/>
                  <a:pt x="5185" y="1336"/>
                  <a:pt x="5185" y="1241"/>
                </a:cubicBezTo>
                <a:lnTo>
                  <a:pt x="5185" y="191"/>
                </a:lnTo>
                <a:cubicBezTo>
                  <a:pt x="5185" y="95"/>
                  <a:pt x="5105" y="0"/>
                  <a:pt x="5010" y="0"/>
                </a:cubicBezTo>
                <a:close/>
                <a:moveTo>
                  <a:pt x="5026" y="1241"/>
                </a:moveTo>
                <a:cubicBezTo>
                  <a:pt x="5026" y="1256"/>
                  <a:pt x="5015" y="1251"/>
                  <a:pt x="5010" y="1256"/>
                </a:cubicBezTo>
                <a:lnTo>
                  <a:pt x="191" y="1256"/>
                </a:lnTo>
                <a:cubicBezTo>
                  <a:pt x="175" y="1256"/>
                  <a:pt x="159" y="1256"/>
                  <a:pt x="159" y="1241"/>
                </a:cubicBezTo>
                <a:lnTo>
                  <a:pt x="159" y="191"/>
                </a:lnTo>
                <a:cubicBezTo>
                  <a:pt x="159" y="175"/>
                  <a:pt x="175" y="159"/>
                  <a:pt x="191" y="159"/>
                </a:cubicBezTo>
                <a:lnTo>
                  <a:pt x="5010" y="159"/>
                </a:lnTo>
                <a:cubicBezTo>
                  <a:pt x="5015" y="170"/>
                  <a:pt x="5026" y="175"/>
                  <a:pt x="5026" y="191"/>
                </a:cubicBezTo>
                <a:close/>
                <a:moveTo>
                  <a:pt x="3690" y="843"/>
                </a:moveTo>
                <a:lnTo>
                  <a:pt x="3944" y="843"/>
                </a:lnTo>
                <a:lnTo>
                  <a:pt x="3944" y="588"/>
                </a:lnTo>
                <a:lnTo>
                  <a:pt x="3690" y="588"/>
                </a:lnTo>
                <a:close/>
                <a:moveTo>
                  <a:pt x="4390" y="843"/>
                </a:moveTo>
                <a:lnTo>
                  <a:pt x="4644" y="843"/>
                </a:lnTo>
                <a:lnTo>
                  <a:pt x="4644" y="588"/>
                </a:lnTo>
                <a:lnTo>
                  <a:pt x="4390" y="588"/>
                </a:lnTo>
                <a:close/>
                <a:moveTo>
                  <a:pt x="4040" y="843"/>
                </a:moveTo>
                <a:lnTo>
                  <a:pt x="4294" y="843"/>
                </a:lnTo>
                <a:lnTo>
                  <a:pt x="4294" y="588"/>
                </a:lnTo>
                <a:lnTo>
                  <a:pt x="4040" y="588"/>
                </a:lnTo>
                <a:close/>
                <a:moveTo>
                  <a:pt x="5185" y="2974"/>
                </a:moveTo>
                <a:lnTo>
                  <a:pt x="5185" y="1924"/>
                </a:lnTo>
                <a:cubicBezTo>
                  <a:pt x="5185" y="1829"/>
                  <a:pt x="5105" y="1750"/>
                  <a:pt x="5010" y="1750"/>
                </a:cubicBezTo>
                <a:lnTo>
                  <a:pt x="191" y="1750"/>
                </a:lnTo>
                <a:cubicBezTo>
                  <a:pt x="79" y="1750"/>
                  <a:pt x="0" y="1829"/>
                  <a:pt x="0" y="1924"/>
                </a:cubicBezTo>
                <a:lnTo>
                  <a:pt x="0" y="2974"/>
                </a:lnTo>
                <a:cubicBezTo>
                  <a:pt x="0" y="3069"/>
                  <a:pt x="79" y="3165"/>
                  <a:pt x="191" y="3165"/>
                </a:cubicBezTo>
                <a:lnTo>
                  <a:pt x="5010" y="3165"/>
                </a:lnTo>
                <a:cubicBezTo>
                  <a:pt x="5105" y="3165"/>
                  <a:pt x="5185" y="3069"/>
                  <a:pt x="5185" y="2974"/>
                </a:cubicBezTo>
                <a:close/>
                <a:moveTo>
                  <a:pt x="159" y="2974"/>
                </a:moveTo>
                <a:lnTo>
                  <a:pt x="159" y="1924"/>
                </a:lnTo>
                <a:cubicBezTo>
                  <a:pt x="159" y="1908"/>
                  <a:pt x="175" y="1908"/>
                  <a:pt x="191" y="1908"/>
                </a:cubicBezTo>
                <a:lnTo>
                  <a:pt x="5010" y="1908"/>
                </a:lnTo>
                <a:cubicBezTo>
                  <a:pt x="5015" y="1913"/>
                  <a:pt x="5026" y="1908"/>
                  <a:pt x="5026" y="1924"/>
                </a:cubicBezTo>
                <a:lnTo>
                  <a:pt x="5026" y="2974"/>
                </a:lnTo>
                <a:cubicBezTo>
                  <a:pt x="5026" y="2990"/>
                  <a:pt x="5015" y="2995"/>
                  <a:pt x="5010" y="3006"/>
                </a:cubicBezTo>
                <a:lnTo>
                  <a:pt x="191" y="3006"/>
                </a:lnTo>
                <a:cubicBezTo>
                  <a:pt x="175" y="3006"/>
                  <a:pt x="159" y="2990"/>
                  <a:pt x="159" y="2974"/>
                </a:cubicBezTo>
                <a:close/>
                <a:moveTo>
                  <a:pt x="3690" y="2624"/>
                </a:moveTo>
                <a:lnTo>
                  <a:pt x="3944" y="2624"/>
                </a:lnTo>
                <a:lnTo>
                  <a:pt x="3944" y="2370"/>
                </a:lnTo>
                <a:lnTo>
                  <a:pt x="3690" y="2370"/>
                </a:lnTo>
                <a:close/>
                <a:moveTo>
                  <a:pt x="4390" y="2624"/>
                </a:moveTo>
                <a:lnTo>
                  <a:pt x="4644" y="2624"/>
                </a:lnTo>
                <a:lnTo>
                  <a:pt x="4644" y="2370"/>
                </a:lnTo>
                <a:lnTo>
                  <a:pt x="4390" y="2370"/>
                </a:lnTo>
                <a:close/>
                <a:moveTo>
                  <a:pt x="4040" y="2624"/>
                </a:moveTo>
                <a:lnTo>
                  <a:pt x="4294" y="2624"/>
                </a:lnTo>
                <a:lnTo>
                  <a:pt x="4294" y="2370"/>
                </a:lnTo>
                <a:lnTo>
                  <a:pt x="4040" y="2370"/>
                </a:lnTo>
                <a:close/>
                <a:moveTo>
                  <a:pt x="2656" y="636"/>
                </a:moveTo>
                <a:lnTo>
                  <a:pt x="652" y="636"/>
                </a:lnTo>
                <a:cubicBezTo>
                  <a:pt x="604" y="636"/>
                  <a:pt x="572" y="668"/>
                  <a:pt x="572" y="715"/>
                </a:cubicBezTo>
                <a:cubicBezTo>
                  <a:pt x="572" y="763"/>
                  <a:pt x="604" y="795"/>
                  <a:pt x="652" y="795"/>
                </a:cubicBezTo>
                <a:lnTo>
                  <a:pt x="2656" y="795"/>
                </a:lnTo>
                <a:cubicBezTo>
                  <a:pt x="2688" y="795"/>
                  <a:pt x="2736" y="763"/>
                  <a:pt x="2736" y="715"/>
                </a:cubicBezTo>
                <a:cubicBezTo>
                  <a:pt x="2736" y="668"/>
                  <a:pt x="2688" y="636"/>
                  <a:pt x="2656" y="63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8" name="TextBox 137">
            <a:extLst>
              <a:ext uri="{FF2B5EF4-FFF2-40B4-BE49-F238E27FC236}">
                <a16:creationId xmlns:a16="http://schemas.microsoft.com/office/drawing/2014/main" id="{4EF742BF-EB52-4D4D-A44C-9685E626C556}"/>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gent</a:t>
            </a:r>
          </a:p>
        </p:txBody>
      </p:sp>
      <p:sp>
        <p:nvSpPr>
          <p:cNvPr id="139" name="TextBox 138">
            <a:extLst>
              <a:ext uri="{FF2B5EF4-FFF2-40B4-BE49-F238E27FC236}">
                <a16:creationId xmlns:a16="http://schemas.microsoft.com/office/drawing/2014/main" id="{4275D8EC-1700-D84D-ADC9-DADEC2333552}"/>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alkie Talkie</a:t>
            </a:r>
          </a:p>
        </p:txBody>
      </p:sp>
      <p:sp>
        <p:nvSpPr>
          <p:cNvPr id="140" name="TextBox 139">
            <a:extLst>
              <a:ext uri="{FF2B5EF4-FFF2-40B4-BE49-F238E27FC236}">
                <a16:creationId xmlns:a16="http://schemas.microsoft.com/office/drawing/2014/main" id="{8B354069-5BBB-9142-964E-9FCAC46FD8E6}"/>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sh Register</a:t>
            </a:r>
          </a:p>
        </p:txBody>
      </p:sp>
      <p:sp>
        <p:nvSpPr>
          <p:cNvPr id="141" name="TextBox 140">
            <a:extLst>
              <a:ext uri="{FF2B5EF4-FFF2-40B4-BE49-F238E27FC236}">
                <a16:creationId xmlns:a16="http://schemas.microsoft.com/office/drawing/2014/main" id="{0F51917E-7BCD-F24C-BC8A-5CC271B74301}"/>
              </a:ext>
            </a:extLst>
          </p:cNvPr>
          <p:cNvSpPr txBox="1"/>
          <p:nvPr/>
        </p:nvSpPr>
        <p:spPr>
          <a:xfrm>
            <a:off x="13226552" y="8292956"/>
            <a:ext cx="311233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i-Fi</a:t>
            </a:r>
          </a:p>
        </p:txBody>
      </p:sp>
      <p:sp>
        <p:nvSpPr>
          <p:cNvPr id="142" name="TextBox 141">
            <a:extLst>
              <a:ext uri="{FF2B5EF4-FFF2-40B4-BE49-F238E27FC236}">
                <a16:creationId xmlns:a16="http://schemas.microsoft.com/office/drawing/2014/main" id="{85AEAB1E-94A2-3644-8A56-9422F7FEDFEF}"/>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F Connector</a:t>
            </a:r>
          </a:p>
        </p:txBody>
      </p:sp>
      <p:sp>
        <p:nvSpPr>
          <p:cNvPr id="143" name="TextBox 142">
            <a:extLst>
              <a:ext uri="{FF2B5EF4-FFF2-40B4-BE49-F238E27FC236}">
                <a16:creationId xmlns:a16="http://schemas.microsoft.com/office/drawing/2014/main" id="{D394CD0B-ED1E-094A-A8D4-52B221091621}"/>
              </a:ext>
            </a:extLst>
          </p:cNvPr>
          <p:cNvSpPr txBox="1"/>
          <p:nvPr/>
        </p:nvSpPr>
        <p:spPr>
          <a:xfrm>
            <a:off x="16540096" y="8292956"/>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Old Phone</a:t>
            </a:r>
          </a:p>
        </p:txBody>
      </p:sp>
      <p:sp>
        <p:nvSpPr>
          <p:cNvPr id="144" name="Freeform: Shape 2">
            <a:extLst>
              <a:ext uri="{FF2B5EF4-FFF2-40B4-BE49-F238E27FC236}">
                <a16:creationId xmlns:a16="http://schemas.microsoft.com/office/drawing/2014/main" id="{F976E57D-7B74-E14D-BC4C-469CB444020B}"/>
              </a:ext>
            </a:extLst>
          </p:cNvPr>
          <p:cNvSpPr/>
          <p:nvPr/>
        </p:nvSpPr>
        <p:spPr>
          <a:xfrm>
            <a:off x="1750273" y="6825453"/>
            <a:ext cx="2015280" cy="1162080"/>
          </a:xfrm>
          <a:custGeom>
            <a:avLst/>
            <a:gdLst/>
            <a:ahLst/>
            <a:cxnLst>
              <a:cxn ang="3cd4">
                <a:pos x="hc" y="t"/>
              </a:cxn>
              <a:cxn ang="cd2">
                <a:pos x="l" y="vc"/>
              </a:cxn>
              <a:cxn ang="cd4">
                <a:pos x="hc" y="b"/>
              </a:cxn>
              <a:cxn ang="0">
                <a:pos x="r" y="vc"/>
              </a:cxn>
            </a:cxnLst>
            <a:rect l="l" t="t" r="r" b="b"/>
            <a:pathLst>
              <a:path w="5599" h="3229">
                <a:moveTo>
                  <a:pt x="1018" y="2736"/>
                </a:moveTo>
                <a:cubicBezTo>
                  <a:pt x="1018" y="3006"/>
                  <a:pt x="1209" y="3229"/>
                  <a:pt x="1431" y="3229"/>
                </a:cubicBezTo>
                <a:cubicBezTo>
                  <a:pt x="4183" y="3229"/>
                  <a:pt x="4183" y="3229"/>
                  <a:pt x="4183" y="3229"/>
                </a:cubicBezTo>
                <a:cubicBezTo>
                  <a:pt x="4406" y="3229"/>
                  <a:pt x="4581" y="3006"/>
                  <a:pt x="4581" y="2736"/>
                </a:cubicBezTo>
                <a:cubicBezTo>
                  <a:pt x="4581" y="2402"/>
                  <a:pt x="4581" y="2402"/>
                  <a:pt x="4581" y="2402"/>
                </a:cubicBezTo>
                <a:cubicBezTo>
                  <a:pt x="5329" y="2402"/>
                  <a:pt x="5329" y="2402"/>
                  <a:pt x="5329" y="2402"/>
                </a:cubicBezTo>
                <a:cubicBezTo>
                  <a:pt x="4915" y="2815"/>
                  <a:pt x="4915" y="2815"/>
                  <a:pt x="4915" y="2815"/>
                </a:cubicBezTo>
                <a:cubicBezTo>
                  <a:pt x="4883" y="2847"/>
                  <a:pt x="4883" y="2895"/>
                  <a:pt x="4915" y="2927"/>
                </a:cubicBezTo>
                <a:cubicBezTo>
                  <a:pt x="4931" y="2942"/>
                  <a:pt x="4963" y="2942"/>
                  <a:pt x="4978" y="2942"/>
                </a:cubicBezTo>
                <a:cubicBezTo>
                  <a:pt x="4994" y="2942"/>
                  <a:pt x="5011" y="2942"/>
                  <a:pt x="5026" y="2927"/>
                </a:cubicBezTo>
                <a:cubicBezTo>
                  <a:pt x="5583" y="2386"/>
                  <a:pt x="5583" y="2386"/>
                  <a:pt x="5583" y="2386"/>
                </a:cubicBezTo>
                <a:cubicBezTo>
                  <a:pt x="5583" y="2370"/>
                  <a:pt x="5583" y="2370"/>
                  <a:pt x="5583" y="2370"/>
                </a:cubicBezTo>
                <a:lnTo>
                  <a:pt x="5583" y="2354"/>
                </a:lnTo>
                <a:lnTo>
                  <a:pt x="5599" y="2354"/>
                </a:lnTo>
                <a:cubicBezTo>
                  <a:pt x="5599" y="2338"/>
                  <a:pt x="5599" y="2338"/>
                  <a:pt x="5599" y="2338"/>
                </a:cubicBezTo>
                <a:cubicBezTo>
                  <a:pt x="5599" y="2322"/>
                  <a:pt x="5599" y="2322"/>
                  <a:pt x="5599" y="2322"/>
                </a:cubicBezTo>
                <a:lnTo>
                  <a:pt x="5599" y="2306"/>
                </a:lnTo>
                <a:lnTo>
                  <a:pt x="5599" y="2290"/>
                </a:lnTo>
                <a:cubicBezTo>
                  <a:pt x="5599" y="2290"/>
                  <a:pt x="5583" y="2290"/>
                  <a:pt x="5583" y="2275"/>
                </a:cubicBezTo>
                <a:lnTo>
                  <a:pt x="5583" y="2258"/>
                </a:lnTo>
                <a:cubicBezTo>
                  <a:pt x="5026" y="1718"/>
                  <a:pt x="5026" y="1718"/>
                  <a:pt x="5026" y="1718"/>
                </a:cubicBezTo>
                <a:cubicBezTo>
                  <a:pt x="4994" y="1686"/>
                  <a:pt x="4947" y="1686"/>
                  <a:pt x="4915" y="1718"/>
                </a:cubicBezTo>
                <a:cubicBezTo>
                  <a:pt x="4883" y="1749"/>
                  <a:pt x="4883" y="1797"/>
                  <a:pt x="4915" y="1829"/>
                </a:cubicBezTo>
                <a:cubicBezTo>
                  <a:pt x="5329" y="2243"/>
                  <a:pt x="5329" y="2243"/>
                  <a:pt x="5329" y="2243"/>
                </a:cubicBezTo>
                <a:cubicBezTo>
                  <a:pt x="4581" y="2243"/>
                  <a:pt x="4581" y="2243"/>
                  <a:pt x="4581" y="2243"/>
                </a:cubicBezTo>
                <a:cubicBezTo>
                  <a:pt x="4581" y="1558"/>
                  <a:pt x="4581" y="1558"/>
                  <a:pt x="4581" y="1558"/>
                </a:cubicBezTo>
                <a:cubicBezTo>
                  <a:pt x="5360" y="1558"/>
                  <a:pt x="5360" y="1558"/>
                  <a:pt x="5360" y="1558"/>
                </a:cubicBezTo>
                <a:cubicBezTo>
                  <a:pt x="5408" y="1558"/>
                  <a:pt x="5440" y="1511"/>
                  <a:pt x="5440" y="1479"/>
                </a:cubicBezTo>
                <a:cubicBezTo>
                  <a:pt x="5440" y="1431"/>
                  <a:pt x="5408" y="1400"/>
                  <a:pt x="5360" y="1400"/>
                </a:cubicBezTo>
                <a:cubicBezTo>
                  <a:pt x="4581" y="1400"/>
                  <a:pt x="4581" y="1400"/>
                  <a:pt x="4581" y="1400"/>
                </a:cubicBezTo>
                <a:cubicBezTo>
                  <a:pt x="4581" y="1034"/>
                  <a:pt x="4581" y="1034"/>
                  <a:pt x="4581" y="1034"/>
                </a:cubicBezTo>
                <a:cubicBezTo>
                  <a:pt x="4581" y="763"/>
                  <a:pt x="4406" y="540"/>
                  <a:pt x="4183" y="540"/>
                </a:cubicBezTo>
                <a:cubicBezTo>
                  <a:pt x="3531" y="540"/>
                  <a:pt x="3531" y="540"/>
                  <a:pt x="3531" y="540"/>
                </a:cubicBezTo>
                <a:cubicBezTo>
                  <a:pt x="3531" y="493"/>
                  <a:pt x="3531" y="493"/>
                  <a:pt x="3531" y="493"/>
                </a:cubicBezTo>
                <a:cubicBezTo>
                  <a:pt x="3531" y="222"/>
                  <a:pt x="3340" y="0"/>
                  <a:pt x="3118" y="0"/>
                </a:cubicBezTo>
                <a:cubicBezTo>
                  <a:pt x="2481" y="0"/>
                  <a:pt x="2481" y="0"/>
                  <a:pt x="2481" y="0"/>
                </a:cubicBezTo>
                <a:cubicBezTo>
                  <a:pt x="2258" y="0"/>
                  <a:pt x="2084" y="222"/>
                  <a:pt x="2084" y="493"/>
                </a:cubicBezTo>
                <a:cubicBezTo>
                  <a:pt x="2084" y="540"/>
                  <a:pt x="2084" y="540"/>
                  <a:pt x="2084" y="540"/>
                </a:cubicBezTo>
                <a:cubicBezTo>
                  <a:pt x="1431" y="540"/>
                  <a:pt x="1431" y="540"/>
                  <a:pt x="1431" y="540"/>
                </a:cubicBezTo>
                <a:cubicBezTo>
                  <a:pt x="1209" y="540"/>
                  <a:pt x="1018" y="763"/>
                  <a:pt x="1018" y="1034"/>
                </a:cubicBezTo>
                <a:cubicBezTo>
                  <a:pt x="1018" y="1400"/>
                  <a:pt x="1018" y="1400"/>
                  <a:pt x="1018" y="1400"/>
                </a:cubicBezTo>
                <a:cubicBezTo>
                  <a:pt x="270" y="1400"/>
                  <a:pt x="270" y="1400"/>
                  <a:pt x="270" y="1400"/>
                </a:cubicBezTo>
                <a:cubicBezTo>
                  <a:pt x="684" y="986"/>
                  <a:pt x="684" y="986"/>
                  <a:pt x="684" y="986"/>
                </a:cubicBezTo>
                <a:cubicBezTo>
                  <a:pt x="716" y="954"/>
                  <a:pt x="716" y="906"/>
                  <a:pt x="684" y="875"/>
                </a:cubicBezTo>
                <a:cubicBezTo>
                  <a:pt x="652" y="843"/>
                  <a:pt x="604" y="843"/>
                  <a:pt x="573" y="875"/>
                </a:cubicBezTo>
                <a:cubicBezTo>
                  <a:pt x="32" y="1415"/>
                  <a:pt x="32" y="1415"/>
                  <a:pt x="32" y="1415"/>
                </a:cubicBezTo>
                <a:cubicBezTo>
                  <a:pt x="16" y="1415"/>
                  <a:pt x="16" y="1415"/>
                  <a:pt x="16" y="1431"/>
                </a:cubicBezTo>
                <a:lnTo>
                  <a:pt x="16" y="1447"/>
                </a:lnTo>
                <a:cubicBezTo>
                  <a:pt x="0" y="1447"/>
                  <a:pt x="0" y="1447"/>
                  <a:pt x="0" y="1463"/>
                </a:cubicBezTo>
                <a:lnTo>
                  <a:pt x="0" y="1479"/>
                </a:lnTo>
                <a:cubicBezTo>
                  <a:pt x="0" y="1495"/>
                  <a:pt x="0" y="1495"/>
                  <a:pt x="16" y="1495"/>
                </a:cubicBezTo>
                <a:cubicBezTo>
                  <a:pt x="16" y="1511"/>
                  <a:pt x="16" y="1511"/>
                  <a:pt x="16" y="1511"/>
                </a:cubicBezTo>
                <a:cubicBezTo>
                  <a:pt x="16" y="1527"/>
                  <a:pt x="16" y="1527"/>
                  <a:pt x="32" y="1527"/>
                </a:cubicBezTo>
                <a:cubicBezTo>
                  <a:pt x="573" y="2067"/>
                  <a:pt x="573" y="2067"/>
                  <a:pt x="573" y="2067"/>
                </a:cubicBezTo>
                <a:cubicBezTo>
                  <a:pt x="588" y="2084"/>
                  <a:pt x="604" y="2099"/>
                  <a:pt x="636" y="2099"/>
                </a:cubicBezTo>
                <a:cubicBezTo>
                  <a:pt x="652" y="2099"/>
                  <a:pt x="668" y="2084"/>
                  <a:pt x="684" y="2067"/>
                </a:cubicBezTo>
                <a:cubicBezTo>
                  <a:pt x="716" y="2036"/>
                  <a:pt x="716" y="1988"/>
                  <a:pt x="684" y="1956"/>
                </a:cubicBezTo>
                <a:cubicBezTo>
                  <a:pt x="270" y="1558"/>
                  <a:pt x="270" y="1558"/>
                  <a:pt x="270" y="1558"/>
                </a:cubicBezTo>
                <a:cubicBezTo>
                  <a:pt x="1018" y="1558"/>
                  <a:pt x="1018" y="1558"/>
                  <a:pt x="1018" y="1558"/>
                </a:cubicBezTo>
                <a:cubicBezTo>
                  <a:pt x="1018" y="2243"/>
                  <a:pt x="1018" y="2243"/>
                  <a:pt x="1018" y="2243"/>
                </a:cubicBezTo>
                <a:cubicBezTo>
                  <a:pt x="159" y="2243"/>
                  <a:pt x="159" y="2243"/>
                  <a:pt x="159" y="2243"/>
                </a:cubicBezTo>
                <a:cubicBezTo>
                  <a:pt x="127" y="2243"/>
                  <a:pt x="79" y="2275"/>
                  <a:pt x="79" y="2322"/>
                </a:cubicBezTo>
                <a:cubicBezTo>
                  <a:pt x="79" y="2370"/>
                  <a:pt x="127" y="2402"/>
                  <a:pt x="159" y="2402"/>
                </a:cubicBezTo>
                <a:cubicBezTo>
                  <a:pt x="1018" y="2402"/>
                  <a:pt x="1018" y="2402"/>
                  <a:pt x="1018" y="2402"/>
                </a:cubicBezTo>
                <a:close/>
                <a:moveTo>
                  <a:pt x="3929" y="700"/>
                </a:moveTo>
                <a:cubicBezTo>
                  <a:pt x="4183" y="700"/>
                  <a:pt x="4183" y="700"/>
                  <a:pt x="4183" y="700"/>
                </a:cubicBezTo>
                <a:cubicBezTo>
                  <a:pt x="4311" y="700"/>
                  <a:pt x="4422" y="859"/>
                  <a:pt x="4422" y="1034"/>
                </a:cubicBezTo>
                <a:cubicBezTo>
                  <a:pt x="4422" y="1400"/>
                  <a:pt x="4422" y="1400"/>
                  <a:pt x="4422" y="1400"/>
                </a:cubicBezTo>
                <a:cubicBezTo>
                  <a:pt x="3929" y="1400"/>
                  <a:pt x="3929" y="1400"/>
                  <a:pt x="3929" y="1400"/>
                </a:cubicBezTo>
                <a:close/>
                <a:moveTo>
                  <a:pt x="3929" y="1558"/>
                </a:moveTo>
                <a:cubicBezTo>
                  <a:pt x="4422" y="1558"/>
                  <a:pt x="4422" y="1558"/>
                  <a:pt x="4422" y="1558"/>
                </a:cubicBezTo>
                <a:cubicBezTo>
                  <a:pt x="4422" y="2243"/>
                  <a:pt x="4422" y="2243"/>
                  <a:pt x="4422" y="2243"/>
                </a:cubicBezTo>
                <a:cubicBezTo>
                  <a:pt x="3929" y="2243"/>
                  <a:pt x="3929" y="2243"/>
                  <a:pt x="3929" y="2243"/>
                </a:cubicBezTo>
                <a:close/>
                <a:moveTo>
                  <a:pt x="3929" y="2402"/>
                </a:moveTo>
                <a:cubicBezTo>
                  <a:pt x="4422" y="2402"/>
                  <a:pt x="4422" y="2402"/>
                  <a:pt x="4422" y="2402"/>
                </a:cubicBezTo>
                <a:cubicBezTo>
                  <a:pt x="4422" y="2736"/>
                  <a:pt x="4422" y="2736"/>
                  <a:pt x="4422" y="2736"/>
                </a:cubicBezTo>
                <a:cubicBezTo>
                  <a:pt x="4422" y="2927"/>
                  <a:pt x="4311" y="3070"/>
                  <a:pt x="4183" y="3070"/>
                </a:cubicBezTo>
                <a:cubicBezTo>
                  <a:pt x="3929" y="3070"/>
                  <a:pt x="3929" y="3070"/>
                  <a:pt x="3929" y="3070"/>
                </a:cubicBezTo>
                <a:close/>
                <a:moveTo>
                  <a:pt x="2243" y="493"/>
                </a:moveTo>
                <a:cubicBezTo>
                  <a:pt x="2243" y="318"/>
                  <a:pt x="2354" y="159"/>
                  <a:pt x="2481" y="159"/>
                </a:cubicBezTo>
                <a:cubicBezTo>
                  <a:pt x="3118" y="159"/>
                  <a:pt x="3118" y="159"/>
                  <a:pt x="3118" y="159"/>
                </a:cubicBezTo>
                <a:cubicBezTo>
                  <a:pt x="3245" y="159"/>
                  <a:pt x="3372" y="318"/>
                  <a:pt x="3372" y="493"/>
                </a:cubicBezTo>
                <a:cubicBezTo>
                  <a:pt x="3372" y="540"/>
                  <a:pt x="3372" y="540"/>
                  <a:pt x="3372" y="540"/>
                </a:cubicBezTo>
                <a:cubicBezTo>
                  <a:pt x="2243" y="540"/>
                  <a:pt x="2243" y="540"/>
                  <a:pt x="2243" y="540"/>
                </a:cubicBezTo>
                <a:close/>
                <a:moveTo>
                  <a:pt x="1845" y="700"/>
                </a:moveTo>
                <a:cubicBezTo>
                  <a:pt x="3770" y="700"/>
                  <a:pt x="3770" y="700"/>
                  <a:pt x="3770" y="700"/>
                </a:cubicBezTo>
                <a:cubicBezTo>
                  <a:pt x="3770" y="1400"/>
                  <a:pt x="3770" y="1400"/>
                  <a:pt x="3770" y="1400"/>
                </a:cubicBezTo>
                <a:cubicBezTo>
                  <a:pt x="1845" y="1400"/>
                  <a:pt x="1845" y="1400"/>
                  <a:pt x="1845" y="1400"/>
                </a:cubicBezTo>
                <a:close/>
                <a:moveTo>
                  <a:pt x="1845" y="1558"/>
                </a:moveTo>
                <a:cubicBezTo>
                  <a:pt x="3770" y="1558"/>
                  <a:pt x="3770" y="1558"/>
                  <a:pt x="3770" y="1558"/>
                </a:cubicBezTo>
                <a:cubicBezTo>
                  <a:pt x="3770" y="2243"/>
                  <a:pt x="3770" y="2243"/>
                  <a:pt x="3770" y="2243"/>
                </a:cubicBezTo>
                <a:cubicBezTo>
                  <a:pt x="1845" y="2243"/>
                  <a:pt x="1845" y="2243"/>
                  <a:pt x="1845" y="2243"/>
                </a:cubicBezTo>
                <a:close/>
                <a:moveTo>
                  <a:pt x="1845" y="2402"/>
                </a:moveTo>
                <a:cubicBezTo>
                  <a:pt x="3770" y="2402"/>
                  <a:pt x="3770" y="2402"/>
                  <a:pt x="3770" y="2402"/>
                </a:cubicBezTo>
                <a:cubicBezTo>
                  <a:pt x="3770" y="3070"/>
                  <a:pt x="3770" y="3070"/>
                  <a:pt x="3770" y="3070"/>
                </a:cubicBezTo>
                <a:cubicBezTo>
                  <a:pt x="1845" y="3070"/>
                  <a:pt x="1845" y="3070"/>
                  <a:pt x="1845" y="3070"/>
                </a:cubicBezTo>
                <a:close/>
                <a:moveTo>
                  <a:pt x="1177" y="1034"/>
                </a:moveTo>
                <a:cubicBezTo>
                  <a:pt x="1177" y="859"/>
                  <a:pt x="1288" y="700"/>
                  <a:pt x="1431" y="700"/>
                </a:cubicBezTo>
                <a:cubicBezTo>
                  <a:pt x="1686" y="700"/>
                  <a:pt x="1686" y="700"/>
                  <a:pt x="1686" y="700"/>
                </a:cubicBezTo>
                <a:cubicBezTo>
                  <a:pt x="1686" y="1400"/>
                  <a:pt x="1686" y="1400"/>
                  <a:pt x="1686" y="1400"/>
                </a:cubicBezTo>
                <a:cubicBezTo>
                  <a:pt x="1177" y="1400"/>
                  <a:pt x="1177" y="1400"/>
                  <a:pt x="1177" y="1400"/>
                </a:cubicBezTo>
                <a:close/>
                <a:moveTo>
                  <a:pt x="1177" y="1558"/>
                </a:moveTo>
                <a:cubicBezTo>
                  <a:pt x="1686" y="1558"/>
                  <a:pt x="1686" y="1558"/>
                  <a:pt x="1686" y="1558"/>
                </a:cubicBezTo>
                <a:cubicBezTo>
                  <a:pt x="1686" y="2243"/>
                  <a:pt x="1686" y="2243"/>
                  <a:pt x="1686" y="2243"/>
                </a:cubicBezTo>
                <a:cubicBezTo>
                  <a:pt x="1177" y="2243"/>
                  <a:pt x="1177" y="2243"/>
                  <a:pt x="1177" y="2243"/>
                </a:cubicBezTo>
                <a:close/>
                <a:moveTo>
                  <a:pt x="1177" y="2402"/>
                </a:moveTo>
                <a:cubicBezTo>
                  <a:pt x="1686" y="2402"/>
                  <a:pt x="1686" y="2402"/>
                  <a:pt x="1686" y="2402"/>
                </a:cubicBezTo>
                <a:cubicBezTo>
                  <a:pt x="1686" y="3070"/>
                  <a:pt x="1686" y="3070"/>
                  <a:pt x="1686" y="3070"/>
                </a:cubicBezTo>
                <a:cubicBezTo>
                  <a:pt x="1431" y="3070"/>
                  <a:pt x="1431" y="3070"/>
                  <a:pt x="1431" y="3070"/>
                </a:cubicBezTo>
                <a:cubicBezTo>
                  <a:pt x="1288" y="3070"/>
                  <a:pt x="1177" y="2927"/>
                  <a:pt x="1177" y="273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5" name="Freeform: Shape 9">
            <a:extLst>
              <a:ext uri="{FF2B5EF4-FFF2-40B4-BE49-F238E27FC236}">
                <a16:creationId xmlns:a16="http://schemas.microsoft.com/office/drawing/2014/main" id="{30642CA4-0FFB-5C45-83E6-E8EBC3582A3B}"/>
              </a:ext>
            </a:extLst>
          </p:cNvPr>
          <p:cNvSpPr/>
          <p:nvPr/>
        </p:nvSpPr>
        <p:spPr>
          <a:xfrm>
            <a:off x="10060654" y="6493173"/>
            <a:ext cx="1557359" cy="1557359"/>
          </a:xfrm>
          <a:custGeom>
            <a:avLst/>
            <a:gdLst/>
            <a:ahLst/>
            <a:cxnLst>
              <a:cxn ang="3cd4">
                <a:pos x="hc" y="t"/>
              </a:cxn>
              <a:cxn ang="cd2">
                <a:pos x="l" y="vc"/>
              </a:cxn>
              <a:cxn ang="cd4">
                <a:pos x="hc" y="b"/>
              </a:cxn>
              <a:cxn ang="0">
                <a:pos x="r" y="vc"/>
              </a:cxn>
            </a:cxnLst>
            <a:rect l="l" t="t" r="r" b="b"/>
            <a:pathLst>
              <a:path w="4327" h="4327">
                <a:moveTo>
                  <a:pt x="4041" y="4327"/>
                </a:moveTo>
                <a:cubicBezTo>
                  <a:pt x="4200" y="4327"/>
                  <a:pt x="4327" y="4199"/>
                  <a:pt x="4327" y="4040"/>
                </a:cubicBezTo>
                <a:lnTo>
                  <a:pt x="4327" y="3388"/>
                </a:lnTo>
                <a:lnTo>
                  <a:pt x="4327" y="3372"/>
                </a:lnTo>
                <a:lnTo>
                  <a:pt x="4009" y="1241"/>
                </a:lnTo>
                <a:cubicBezTo>
                  <a:pt x="3977" y="1066"/>
                  <a:pt x="3866" y="954"/>
                  <a:pt x="3723" y="954"/>
                </a:cubicBezTo>
                <a:lnTo>
                  <a:pt x="3372" y="954"/>
                </a:lnTo>
                <a:lnTo>
                  <a:pt x="3372" y="780"/>
                </a:lnTo>
                <a:lnTo>
                  <a:pt x="3643" y="780"/>
                </a:lnTo>
                <a:cubicBezTo>
                  <a:pt x="3691" y="780"/>
                  <a:pt x="3723" y="748"/>
                  <a:pt x="3723" y="700"/>
                </a:cubicBezTo>
                <a:lnTo>
                  <a:pt x="3723" y="80"/>
                </a:lnTo>
                <a:cubicBezTo>
                  <a:pt x="3723" y="32"/>
                  <a:pt x="3691" y="0"/>
                  <a:pt x="3643" y="0"/>
                </a:cubicBezTo>
                <a:lnTo>
                  <a:pt x="2434" y="0"/>
                </a:lnTo>
                <a:cubicBezTo>
                  <a:pt x="2387" y="0"/>
                  <a:pt x="2355" y="32"/>
                  <a:pt x="2355" y="80"/>
                </a:cubicBezTo>
                <a:lnTo>
                  <a:pt x="2355" y="700"/>
                </a:lnTo>
                <a:cubicBezTo>
                  <a:pt x="2355" y="748"/>
                  <a:pt x="2387" y="780"/>
                  <a:pt x="2434" y="780"/>
                </a:cubicBezTo>
                <a:lnTo>
                  <a:pt x="2689" y="780"/>
                </a:lnTo>
                <a:lnTo>
                  <a:pt x="2689" y="954"/>
                </a:lnTo>
                <a:lnTo>
                  <a:pt x="2068" y="954"/>
                </a:lnTo>
                <a:lnTo>
                  <a:pt x="2068" y="509"/>
                </a:lnTo>
                <a:cubicBezTo>
                  <a:pt x="2068" y="478"/>
                  <a:pt x="2036" y="430"/>
                  <a:pt x="1989" y="430"/>
                </a:cubicBezTo>
                <a:lnTo>
                  <a:pt x="860" y="430"/>
                </a:lnTo>
                <a:cubicBezTo>
                  <a:pt x="828" y="430"/>
                  <a:pt x="780" y="478"/>
                  <a:pt x="780" y="509"/>
                </a:cubicBezTo>
                <a:lnTo>
                  <a:pt x="780" y="954"/>
                </a:lnTo>
                <a:lnTo>
                  <a:pt x="621" y="954"/>
                </a:lnTo>
                <a:cubicBezTo>
                  <a:pt x="462" y="954"/>
                  <a:pt x="351" y="1066"/>
                  <a:pt x="319" y="1241"/>
                </a:cubicBezTo>
                <a:lnTo>
                  <a:pt x="0" y="3372"/>
                </a:lnTo>
                <a:lnTo>
                  <a:pt x="0" y="3388"/>
                </a:lnTo>
                <a:lnTo>
                  <a:pt x="0" y="4040"/>
                </a:lnTo>
                <a:cubicBezTo>
                  <a:pt x="0" y="4199"/>
                  <a:pt x="144" y="4327"/>
                  <a:pt x="303" y="4327"/>
                </a:cubicBezTo>
                <a:close/>
                <a:moveTo>
                  <a:pt x="2514" y="621"/>
                </a:moveTo>
                <a:lnTo>
                  <a:pt x="2514" y="159"/>
                </a:lnTo>
                <a:lnTo>
                  <a:pt x="3563" y="159"/>
                </a:lnTo>
                <a:lnTo>
                  <a:pt x="3563" y="621"/>
                </a:lnTo>
                <a:close/>
                <a:moveTo>
                  <a:pt x="3214" y="780"/>
                </a:moveTo>
                <a:lnTo>
                  <a:pt x="3214" y="954"/>
                </a:lnTo>
                <a:lnTo>
                  <a:pt x="2848" y="954"/>
                </a:lnTo>
                <a:lnTo>
                  <a:pt x="2848" y="780"/>
                </a:lnTo>
                <a:close/>
                <a:moveTo>
                  <a:pt x="939" y="1034"/>
                </a:moveTo>
                <a:lnTo>
                  <a:pt x="939" y="589"/>
                </a:lnTo>
                <a:lnTo>
                  <a:pt x="1909" y="589"/>
                </a:lnTo>
                <a:lnTo>
                  <a:pt x="1909" y="1034"/>
                </a:lnTo>
                <a:lnTo>
                  <a:pt x="1909" y="2005"/>
                </a:lnTo>
                <a:lnTo>
                  <a:pt x="939" y="2005"/>
                </a:lnTo>
                <a:close/>
                <a:moveTo>
                  <a:pt x="478" y="1257"/>
                </a:moveTo>
                <a:cubicBezTo>
                  <a:pt x="509" y="1130"/>
                  <a:pt x="573" y="1114"/>
                  <a:pt x="621" y="1114"/>
                </a:cubicBezTo>
                <a:lnTo>
                  <a:pt x="780" y="1114"/>
                </a:lnTo>
                <a:lnTo>
                  <a:pt x="780" y="2084"/>
                </a:lnTo>
                <a:cubicBezTo>
                  <a:pt x="780" y="2132"/>
                  <a:pt x="828" y="2163"/>
                  <a:pt x="860" y="2163"/>
                </a:cubicBezTo>
                <a:lnTo>
                  <a:pt x="1989" y="2163"/>
                </a:lnTo>
                <a:cubicBezTo>
                  <a:pt x="2036" y="2163"/>
                  <a:pt x="2068" y="2132"/>
                  <a:pt x="2068" y="2084"/>
                </a:cubicBezTo>
                <a:lnTo>
                  <a:pt x="2068" y="1114"/>
                </a:lnTo>
                <a:lnTo>
                  <a:pt x="3723" y="1114"/>
                </a:lnTo>
                <a:cubicBezTo>
                  <a:pt x="3738" y="1114"/>
                  <a:pt x="3818" y="1114"/>
                  <a:pt x="3850" y="1257"/>
                </a:cubicBezTo>
                <a:lnTo>
                  <a:pt x="4152" y="3309"/>
                </a:lnTo>
                <a:lnTo>
                  <a:pt x="176" y="3309"/>
                </a:lnTo>
                <a:close/>
                <a:moveTo>
                  <a:pt x="160" y="4040"/>
                </a:moveTo>
                <a:lnTo>
                  <a:pt x="160" y="3468"/>
                </a:lnTo>
                <a:lnTo>
                  <a:pt x="4168" y="3468"/>
                </a:lnTo>
                <a:lnTo>
                  <a:pt x="4168" y="4040"/>
                </a:lnTo>
                <a:cubicBezTo>
                  <a:pt x="4168" y="4104"/>
                  <a:pt x="4104" y="4168"/>
                  <a:pt x="4041" y="4168"/>
                </a:cubicBezTo>
                <a:lnTo>
                  <a:pt x="303" y="4168"/>
                </a:lnTo>
                <a:cubicBezTo>
                  <a:pt x="223" y="4168"/>
                  <a:pt x="160" y="4104"/>
                  <a:pt x="160" y="4040"/>
                </a:cubicBezTo>
                <a:close/>
                <a:moveTo>
                  <a:pt x="1575" y="875"/>
                </a:moveTo>
                <a:lnTo>
                  <a:pt x="1289" y="875"/>
                </a:lnTo>
                <a:cubicBezTo>
                  <a:pt x="1241" y="875"/>
                  <a:pt x="1209" y="907"/>
                  <a:pt x="1209" y="954"/>
                </a:cubicBezTo>
                <a:cubicBezTo>
                  <a:pt x="1209" y="987"/>
                  <a:pt x="1241" y="1034"/>
                  <a:pt x="1289" y="1034"/>
                </a:cubicBezTo>
                <a:lnTo>
                  <a:pt x="1575" y="1034"/>
                </a:lnTo>
                <a:cubicBezTo>
                  <a:pt x="1623" y="1034"/>
                  <a:pt x="1655" y="987"/>
                  <a:pt x="1655" y="954"/>
                </a:cubicBezTo>
                <a:cubicBezTo>
                  <a:pt x="1655" y="907"/>
                  <a:pt x="1623" y="875"/>
                  <a:pt x="1575" y="875"/>
                </a:cubicBezTo>
                <a:close/>
                <a:moveTo>
                  <a:pt x="1575" y="1225"/>
                </a:moveTo>
                <a:lnTo>
                  <a:pt x="1289" y="1225"/>
                </a:lnTo>
                <a:cubicBezTo>
                  <a:pt x="1241" y="1225"/>
                  <a:pt x="1209" y="1257"/>
                  <a:pt x="1209" y="1305"/>
                </a:cubicBezTo>
                <a:cubicBezTo>
                  <a:pt x="1209" y="1336"/>
                  <a:pt x="1241" y="1384"/>
                  <a:pt x="1289" y="1384"/>
                </a:cubicBezTo>
                <a:lnTo>
                  <a:pt x="1575" y="1384"/>
                </a:lnTo>
                <a:cubicBezTo>
                  <a:pt x="1623" y="1384"/>
                  <a:pt x="1655" y="1336"/>
                  <a:pt x="1655" y="1305"/>
                </a:cubicBezTo>
                <a:cubicBezTo>
                  <a:pt x="1655" y="1257"/>
                  <a:pt x="1623" y="1225"/>
                  <a:pt x="1575" y="1225"/>
                </a:cubicBezTo>
                <a:close/>
                <a:moveTo>
                  <a:pt x="1575" y="1559"/>
                </a:moveTo>
                <a:lnTo>
                  <a:pt x="1289" y="1559"/>
                </a:lnTo>
                <a:cubicBezTo>
                  <a:pt x="1241" y="1559"/>
                  <a:pt x="1209" y="1607"/>
                  <a:pt x="1209" y="1639"/>
                </a:cubicBezTo>
                <a:cubicBezTo>
                  <a:pt x="1209" y="1686"/>
                  <a:pt x="1241" y="1718"/>
                  <a:pt x="1289" y="1718"/>
                </a:cubicBezTo>
                <a:lnTo>
                  <a:pt x="1575" y="1718"/>
                </a:lnTo>
                <a:cubicBezTo>
                  <a:pt x="1623" y="1718"/>
                  <a:pt x="1655" y="1686"/>
                  <a:pt x="1655" y="1639"/>
                </a:cubicBezTo>
                <a:cubicBezTo>
                  <a:pt x="1655" y="1607"/>
                  <a:pt x="1623" y="1559"/>
                  <a:pt x="1575" y="1559"/>
                </a:cubicBezTo>
                <a:close/>
                <a:moveTo>
                  <a:pt x="2164" y="3993"/>
                </a:moveTo>
                <a:cubicBezTo>
                  <a:pt x="2259" y="3993"/>
                  <a:pt x="2339" y="3913"/>
                  <a:pt x="2339" y="3818"/>
                </a:cubicBezTo>
                <a:cubicBezTo>
                  <a:pt x="2339" y="3722"/>
                  <a:pt x="2259" y="3643"/>
                  <a:pt x="2164" y="3643"/>
                </a:cubicBezTo>
                <a:cubicBezTo>
                  <a:pt x="2068" y="3643"/>
                  <a:pt x="1989" y="3722"/>
                  <a:pt x="1989" y="3818"/>
                </a:cubicBezTo>
                <a:cubicBezTo>
                  <a:pt x="1989" y="3913"/>
                  <a:pt x="2068" y="3993"/>
                  <a:pt x="2164" y="3993"/>
                </a:cubicBezTo>
                <a:close/>
                <a:moveTo>
                  <a:pt x="2530" y="1989"/>
                </a:moveTo>
                <a:lnTo>
                  <a:pt x="3563" y="1989"/>
                </a:lnTo>
                <a:cubicBezTo>
                  <a:pt x="3611" y="1989"/>
                  <a:pt x="3659" y="1957"/>
                  <a:pt x="3691" y="1925"/>
                </a:cubicBezTo>
                <a:cubicBezTo>
                  <a:pt x="3723" y="1893"/>
                  <a:pt x="3738" y="1845"/>
                  <a:pt x="3723" y="1798"/>
                </a:cubicBezTo>
                <a:lnTo>
                  <a:pt x="3691" y="1463"/>
                </a:lnTo>
                <a:cubicBezTo>
                  <a:pt x="3675" y="1384"/>
                  <a:pt x="3595" y="1305"/>
                  <a:pt x="3500" y="1305"/>
                </a:cubicBezTo>
                <a:lnTo>
                  <a:pt x="2530" y="1305"/>
                </a:lnTo>
                <a:cubicBezTo>
                  <a:pt x="2434" y="1305"/>
                  <a:pt x="2355" y="1384"/>
                  <a:pt x="2355" y="1480"/>
                </a:cubicBezTo>
                <a:lnTo>
                  <a:pt x="2355" y="1798"/>
                </a:lnTo>
                <a:cubicBezTo>
                  <a:pt x="2355" y="1909"/>
                  <a:pt x="2434" y="1989"/>
                  <a:pt x="2530" y="1989"/>
                </a:cubicBezTo>
                <a:close/>
                <a:moveTo>
                  <a:pt x="2514" y="1480"/>
                </a:moveTo>
                <a:cubicBezTo>
                  <a:pt x="2514" y="1463"/>
                  <a:pt x="2514" y="1463"/>
                  <a:pt x="2530" y="1463"/>
                </a:cubicBezTo>
                <a:lnTo>
                  <a:pt x="3500" y="1463"/>
                </a:lnTo>
                <a:cubicBezTo>
                  <a:pt x="3516" y="1463"/>
                  <a:pt x="3532" y="1480"/>
                  <a:pt x="3532" y="1496"/>
                </a:cubicBezTo>
                <a:lnTo>
                  <a:pt x="3563" y="1829"/>
                </a:lnTo>
                <a:lnTo>
                  <a:pt x="2530" y="1829"/>
                </a:lnTo>
                <a:cubicBezTo>
                  <a:pt x="2514" y="1829"/>
                  <a:pt x="2514" y="1814"/>
                  <a:pt x="2514" y="1798"/>
                </a:cubicBezTo>
                <a:close/>
                <a:moveTo>
                  <a:pt x="2609" y="2163"/>
                </a:moveTo>
                <a:lnTo>
                  <a:pt x="2418" y="2163"/>
                </a:lnTo>
                <a:cubicBezTo>
                  <a:pt x="2371" y="2163"/>
                  <a:pt x="2339" y="2195"/>
                  <a:pt x="2339" y="2243"/>
                </a:cubicBezTo>
                <a:lnTo>
                  <a:pt x="2339" y="2434"/>
                </a:lnTo>
                <a:cubicBezTo>
                  <a:pt x="2339" y="2481"/>
                  <a:pt x="2371" y="2514"/>
                  <a:pt x="2418" y="2514"/>
                </a:cubicBezTo>
                <a:lnTo>
                  <a:pt x="2609" y="2514"/>
                </a:lnTo>
                <a:cubicBezTo>
                  <a:pt x="2657" y="2514"/>
                  <a:pt x="2689" y="2481"/>
                  <a:pt x="2689" y="2434"/>
                </a:cubicBezTo>
                <a:lnTo>
                  <a:pt x="2689" y="2243"/>
                </a:lnTo>
                <a:cubicBezTo>
                  <a:pt x="2689" y="2195"/>
                  <a:pt x="2657" y="2163"/>
                  <a:pt x="2609" y="2163"/>
                </a:cubicBezTo>
                <a:close/>
                <a:moveTo>
                  <a:pt x="3134" y="2163"/>
                </a:moveTo>
                <a:lnTo>
                  <a:pt x="2943" y="2163"/>
                </a:lnTo>
                <a:cubicBezTo>
                  <a:pt x="2896" y="2163"/>
                  <a:pt x="2863" y="2195"/>
                  <a:pt x="2863" y="2243"/>
                </a:cubicBezTo>
                <a:lnTo>
                  <a:pt x="2863" y="2434"/>
                </a:lnTo>
                <a:cubicBezTo>
                  <a:pt x="2863" y="2481"/>
                  <a:pt x="2896" y="2514"/>
                  <a:pt x="2943" y="2514"/>
                </a:cubicBezTo>
                <a:lnTo>
                  <a:pt x="3134" y="2514"/>
                </a:lnTo>
                <a:cubicBezTo>
                  <a:pt x="3166" y="2514"/>
                  <a:pt x="3214" y="2481"/>
                  <a:pt x="3214" y="2434"/>
                </a:cubicBezTo>
                <a:lnTo>
                  <a:pt x="3214" y="2243"/>
                </a:lnTo>
                <a:cubicBezTo>
                  <a:pt x="3214" y="2195"/>
                  <a:pt x="3166" y="2163"/>
                  <a:pt x="3134" y="2163"/>
                </a:cubicBezTo>
                <a:close/>
                <a:moveTo>
                  <a:pt x="3643" y="2163"/>
                </a:moveTo>
                <a:lnTo>
                  <a:pt x="3468" y="2163"/>
                </a:lnTo>
                <a:cubicBezTo>
                  <a:pt x="3420" y="2163"/>
                  <a:pt x="3389" y="2195"/>
                  <a:pt x="3389" y="2243"/>
                </a:cubicBezTo>
                <a:lnTo>
                  <a:pt x="3389" y="2434"/>
                </a:lnTo>
                <a:cubicBezTo>
                  <a:pt x="3389" y="2481"/>
                  <a:pt x="3420" y="2514"/>
                  <a:pt x="3468" y="2514"/>
                </a:cubicBezTo>
                <a:lnTo>
                  <a:pt x="3643" y="2514"/>
                </a:lnTo>
                <a:cubicBezTo>
                  <a:pt x="3691" y="2514"/>
                  <a:pt x="3723" y="2481"/>
                  <a:pt x="3723" y="2434"/>
                </a:cubicBezTo>
                <a:lnTo>
                  <a:pt x="3723" y="2243"/>
                </a:lnTo>
                <a:cubicBezTo>
                  <a:pt x="3723" y="2195"/>
                  <a:pt x="3691" y="2163"/>
                  <a:pt x="3643" y="2163"/>
                </a:cubicBezTo>
                <a:close/>
                <a:moveTo>
                  <a:pt x="2609" y="2689"/>
                </a:moveTo>
                <a:lnTo>
                  <a:pt x="2418" y="2689"/>
                </a:lnTo>
                <a:cubicBezTo>
                  <a:pt x="2371" y="2689"/>
                  <a:pt x="2339" y="2720"/>
                  <a:pt x="2339" y="2768"/>
                </a:cubicBezTo>
                <a:lnTo>
                  <a:pt x="2339" y="2959"/>
                </a:lnTo>
                <a:cubicBezTo>
                  <a:pt x="2339" y="2990"/>
                  <a:pt x="2371" y="3038"/>
                  <a:pt x="2418" y="3038"/>
                </a:cubicBezTo>
                <a:lnTo>
                  <a:pt x="2609" y="3038"/>
                </a:lnTo>
                <a:cubicBezTo>
                  <a:pt x="2657" y="3038"/>
                  <a:pt x="2689" y="2990"/>
                  <a:pt x="2689" y="2959"/>
                </a:cubicBezTo>
                <a:lnTo>
                  <a:pt x="2689" y="2768"/>
                </a:lnTo>
                <a:cubicBezTo>
                  <a:pt x="2689" y="2720"/>
                  <a:pt x="2657" y="2689"/>
                  <a:pt x="2609" y="2689"/>
                </a:cubicBezTo>
                <a:close/>
                <a:moveTo>
                  <a:pt x="3134" y="2689"/>
                </a:moveTo>
                <a:lnTo>
                  <a:pt x="2943" y="2689"/>
                </a:lnTo>
                <a:cubicBezTo>
                  <a:pt x="2896" y="2689"/>
                  <a:pt x="2863" y="2720"/>
                  <a:pt x="2863" y="2768"/>
                </a:cubicBezTo>
                <a:lnTo>
                  <a:pt x="2863" y="2959"/>
                </a:lnTo>
                <a:cubicBezTo>
                  <a:pt x="2863" y="2990"/>
                  <a:pt x="2896" y="3038"/>
                  <a:pt x="2943" y="3038"/>
                </a:cubicBezTo>
                <a:lnTo>
                  <a:pt x="3134" y="3038"/>
                </a:lnTo>
                <a:cubicBezTo>
                  <a:pt x="3166" y="3038"/>
                  <a:pt x="3214" y="2990"/>
                  <a:pt x="3214" y="2959"/>
                </a:cubicBezTo>
                <a:lnTo>
                  <a:pt x="3214" y="2768"/>
                </a:lnTo>
                <a:cubicBezTo>
                  <a:pt x="3214" y="2720"/>
                  <a:pt x="3166" y="2689"/>
                  <a:pt x="3134" y="2689"/>
                </a:cubicBezTo>
                <a:close/>
                <a:moveTo>
                  <a:pt x="3643" y="2689"/>
                </a:moveTo>
                <a:lnTo>
                  <a:pt x="3468" y="2689"/>
                </a:lnTo>
                <a:cubicBezTo>
                  <a:pt x="3420" y="2689"/>
                  <a:pt x="3389" y="2720"/>
                  <a:pt x="3389" y="2768"/>
                </a:cubicBezTo>
                <a:lnTo>
                  <a:pt x="3389" y="2959"/>
                </a:lnTo>
                <a:cubicBezTo>
                  <a:pt x="3389" y="2990"/>
                  <a:pt x="3420" y="3038"/>
                  <a:pt x="3468" y="3038"/>
                </a:cubicBezTo>
                <a:lnTo>
                  <a:pt x="3643" y="3038"/>
                </a:lnTo>
                <a:cubicBezTo>
                  <a:pt x="3691" y="3038"/>
                  <a:pt x="3723" y="2990"/>
                  <a:pt x="3723" y="2959"/>
                </a:cubicBezTo>
                <a:lnTo>
                  <a:pt x="3723" y="2768"/>
                </a:lnTo>
                <a:cubicBezTo>
                  <a:pt x="3723" y="2720"/>
                  <a:pt x="3691" y="2689"/>
                  <a:pt x="3643" y="268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6" name="Freeform: Shape 10">
            <a:extLst>
              <a:ext uri="{FF2B5EF4-FFF2-40B4-BE49-F238E27FC236}">
                <a16:creationId xmlns:a16="http://schemas.microsoft.com/office/drawing/2014/main" id="{64A2247C-F5F2-0A4E-8976-9A281DCE9E88}"/>
              </a:ext>
            </a:extLst>
          </p:cNvPr>
          <p:cNvSpPr/>
          <p:nvPr/>
        </p:nvSpPr>
        <p:spPr>
          <a:xfrm>
            <a:off x="21182787" y="6418653"/>
            <a:ext cx="1699919" cy="1706400"/>
          </a:xfrm>
          <a:custGeom>
            <a:avLst/>
            <a:gdLst/>
            <a:ahLst/>
            <a:cxnLst>
              <a:cxn ang="3cd4">
                <a:pos x="hc" y="t"/>
              </a:cxn>
              <a:cxn ang="cd2">
                <a:pos x="l" y="vc"/>
              </a:cxn>
              <a:cxn ang="cd4">
                <a:pos x="hc" y="b"/>
              </a:cxn>
              <a:cxn ang="0">
                <a:pos x="r" y="vc"/>
              </a:cxn>
            </a:cxnLst>
            <a:rect l="l" t="t" r="r" b="b"/>
            <a:pathLst>
              <a:path w="4723" h="4741">
                <a:moveTo>
                  <a:pt x="2354" y="0"/>
                </a:moveTo>
                <a:cubicBezTo>
                  <a:pt x="1049" y="0"/>
                  <a:pt x="0" y="1066"/>
                  <a:pt x="0" y="2370"/>
                </a:cubicBezTo>
                <a:cubicBezTo>
                  <a:pt x="0" y="3675"/>
                  <a:pt x="1049" y="4741"/>
                  <a:pt x="2354" y="4741"/>
                </a:cubicBezTo>
                <a:cubicBezTo>
                  <a:pt x="3658" y="4741"/>
                  <a:pt x="4723" y="3675"/>
                  <a:pt x="4723" y="2370"/>
                </a:cubicBezTo>
                <a:cubicBezTo>
                  <a:pt x="4723" y="1066"/>
                  <a:pt x="3658" y="0"/>
                  <a:pt x="2354" y="0"/>
                </a:cubicBezTo>
                <a:close/>
                <a:moveTo>
                  <a:pt x="2354" y="4581"/>
                </a:moveTo>
                <a:cubicBezTo>
                  <a:pt x="1240" y="4581"/>
                  <a:pt x="318" y="3738"/>
                  <a:pt x="175" y="2657"/>
                </a:cubicBezTo>
                <a:cubicBezTo>
                  <a:pt x="1097" y="2657"/>
                  <a:pt x="1097" y="2657"/>
                  <a:pt x="1097" y="2657"/>
                </a:cubicBezTo>
                <a:cubicBezTo>
                  <a:pt x="1097" y="1878"/>
                  <a:pt x="1097" y="1878"/>
                  <a:pt x="1097" y="1878"/>
                </a:cubicBezTo>
                <a:cubicBezTo>
                  <a:pt x="1765" y="1878"/>
                  <a:pt x="1765" y="1878"/>
                  <a:pt x="1765" y="1878"/>
                </a:cubicBezTo>
                <a:cubicBezTo>
                  <a:pt x="1765" y="2657"/>
                  <a:pt x="1765" y="2657"/>
                  <a:pt x="1765" y="2657"/>
                </a:cubicBezTo>
                <a:cubicBezTo>
                  <a:pt x="2926" y="2657"/>
                  <a:pt x="2926" y="2657"/>
                  <a:pt x="2926" y="2657"/>
                </a:cubicBezTo>
                <a:cubicBezTo>
                  <a:pt x="2926" y="1878"/>
                  <a:pt x="2926" y="1878"/>
                  <a:pt x="2926" y="1878"/>
                </a:cubicBezTo>
                <a:cubicBezTo>
                  <a:pt x="3610" y="1878"/>
                  <a:pt x="3610" y="1878"/>
                  <a:pt x="3610" y="1878"/>
                </a:cubicBezTo>
                <a:cubicBezTo>
                  <a:pt x="3610" y="2657"/>
                  <a:pt x="3610" y="2657"/>
                  <a:pt x="3610" y="2657"/>
                </a:cubicBezTo>
                <a:cubicBezTo>
                  <a:pt x="4548" y="2657"/>
                  <a:pt x="4548" y="2657"/>
                  <a:pt x="4548" y="2657"/>
                </a:cubicBezTo>
                <a:cubicBezTo>
                  <a:pt x="4405" y="3738"/>
                  <a:pt x="3483" y="4581"/>
                  <a:pt x="2354" y="4581"/>
                </a:cubicBezTo>
                <a:close/>
                <a:moveTo>
                  <a:pt x="3769" y="2514"/>
                </a:moveTo>
                <a:cubicBezTo>
                  <a:pt x="3769" y="1718"/>
                  <a:pt x="3769" y="1718"/>
                  <a:pt x="3769" y="1718"/>
                </a:cubicBezTo>
                <a:cubicBezTo>
                  <a:pt x="2767" y="1718"/>
                  <a:pt x="2767" y="1718"/>
                  <a:pt x="2767" y="1718"/>
                </a:cubicBezTo>
                <a:cubicBezTo>
                  <a:pt x="2767" y="2514"/>
                  <a:pt x="2767" y="2514"/>
                  <a:pt x="2767" y="2514"/>
                </a:cubicBezTo>
                <a:cubicBezTo>
                  <a:pt x="1924" y="2514"/>
                  <a:pt x="1924" y="2514"/>
                  <a:pt x="1924" y="2514"/>
                </a:cubicBezTo>
                <a:cubicBezTo>
                  <a:pt x="1924" y="1718"/>
                  <a:pt x="1924" y="1718"/>
                  <a:pt x="1924" y="1718"/>
                </a:cubicBezTo>
                <a:cubicBezTo>
                  <a:pt x="938" y="1718"/>
                  <a:pt x="938" y="1718"/>
                  <a:pt x="938" y="1718"/>
                </a:cubicBezTo>
                <a:cubicBezTo>
                  <a:pt x="938" y="2514"/>
                  <a:pt x="938" y="2514"/>
                  <a:pt x="938" y="2514"/>
                </a:cubicBezTo>
                <a:cubicBezTo>
                  <a:pt x="158" y="2514"/>
                  <a:pt x="158" y="2514"/>
                  <a:pt x="158" y="2514"/>
                </a:cubicBezTo>
                <a:cubicBezTo>
                  <a:pt x="158" y="2466"/>
                  <a:pt x="158" y="2418"/>
                  <a:pt x="158" y="2370"/>
                </a:cubicBezTo>
                <a:cubicBezTo>
                  <a:pt x="158" y="1161"/>
                  <a:pt x="1145" y="160"/>
                  <a:pt x="2354" y="160"/>
                </a:cubicBezTo>
                <a:cubicBezTo>
                  <a:pt x="3578" y="160"/>
                  <a:pt x="4565" y="1161"/>
                  <a:pt x="4565" y="2370"/>
                </a:cubicBezTo>
                <a:cubicBezTo>
                  <a:pt x="4565" y="2418"/>
                  <a:pt x="4565" y="2466"/>
                  <a:pt x="4565" y="251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7" name="Freeform: Shape 16">
            <a:extLst>
              <a:ext uri="{FF2B5EF4-FFF2-40B4-BE49-F238E27FC236}">
                <a16:creationId xmlns:a16="http://schemas.microsoft.com/office/drawing/2014/main" id="{AF3BC884-8EC2-344D-99F4-09AE644D8280}"/>
              </a:ext>
            </a:extLst>
          </p:cNvPr>
          <p:cNvSpPr/>
          <p:nvPr/>
        </p:nvSpPr>
        <p:spPr>
          <a:xfrm>
            <a:off x="6101014" y="6458973"/>
            <a:ext cx="1459800" cy="1625760"/>
          </a:xfrm>
          <a:custGeom>
            <a:avLst/>
            <a:gdLst/>
            <a:ahLst/>
            <a:cxnLst>
              <a:cxn ang="3cd4">
                <a:pos x="hc" y="t"/>
              </a:cxn>
              <a:cxn ang="cd2">
                <a:pos x="l" y="vc"/>
              </a:cxn>
              <a:cxn ang="cd4">
                <a:pos x="hc" y="b"/>
              </a:cxn>
              <a:cxn ang="0">
                <a:pos x="r" y="vc"/>
              </a:cxn>
            </a:cxnLst>
            <a:rect l="l" t="t" r="r" b="b"/>
            <a:pathLst>
              <a:path w="4056" h="4517">
                <a:moveTo>
                  <a:pt x="1193" y="0"/>
                </a:moveTo>
                <a:cubicBezTo>
                  <a:pt x="1161" y="0"/>
                  <a:pt x="1113" y="32"/>
                  <a:pt x="1113" y="79"/>
                </a:cubicBezTo>
                <a:lnTo>
                  <a:pt x="1113" y="1193"/>
                </a:lnTo>
                <a:lnTo>
                  <a:pt x="1034" y="1193"/>
                </a:lnTo>
                <a:cubicBezTo>
                  <a:pt x="1002" y="1193"/>
                  <a:pt x="954" y="1225"/>
                  <a:pt x="954" y="1272"/>
                </a:cubicBezTo>
                <a:lnTo>
                  <a:pt x="954" y="1511"/>
                </a:lnTo>
                <a:lnTo>
                  <a:pt x="382" y="1511"/>
                </a:lnTo>
                <a:cubicBezTo>
                  <a:pt x="175" y="1511"/>
                  <a:pt x="0" y="1686"/>
                  <a:pt x="0" y="1893"/>
                </a:cubicBezTo>
                <a:lnTo>
                  <a:pt x="0" y="3006"/>
                </a:lnTo>
                <a:cubicBezTo>
                  <a:pt x="0" y="3133"/>
                  <a:pt x="95" y="3213"/>
                  <a:pt x="159" y="3261"/>
                </a:cubicBezTo>
                <a:lnTo>
                  <a:pt x="159" y="4263"/>
                </a:lnTo>
                <a:cubicBezTo>
                  <a:pt x="159" y="4406"/>
                  <a:pt x="270" y="4517"/>
                  <a:pt x="413" y="4517"/>
                </a:cubicBezTo>
                <a:lnTo>
                  <a:pt x="1495" y="4517"/>
                </a:lnTo>
                <a:cubicBezTo>
                  <a:pt x="1638" y="4517"/>
                  <a:pt x="1749" y="4406"/>
                  <a:pt x="1749" y="4263"/>
                </a:cubicBezTo>
                <a:lnTo>
                  <a:pt x="1749" y="3261"/>
                </a:lnTo>
                <a:cubicBezTo>
                  <a:pt x="1813" y="3213"/>
                  <a:pt x="1909" y="3133"/>
                  <a:pt x="1909" y="3006"/>
                </a:cubicBezTo>
                <a:lnTo>
                  <a:pt x="1909" y="1893"/>
                </a:lnTo>
                <a:cubicBezTo>
                  <a:pt x="1909" y="1686"/>
                  <a:pt x="1734" y="1511"/>
                  <a:pt x="1511" y="1511"/>
                </a:cubicBezTo>
                <a:lnTo>
                  <a:pt x="1431" y="1511"/>
                </a:lnTo>
                <a:lnTo>
                  <a:pt x="1431" y="1272"/>
                </a:lnTo>
                <a:cubicBezTo>
                  <a:pt x="1431" y="1225"/>
                  <a:pt x="1400" y="1193"/>
                  <a:pt x="1352" y="1193"/>
                </a:cubicBezTo>
                <a:lnTo>
                  <a:pt x="1273" y="1193"/>
                </a:lnTo>
                <a:lnTo>
                  <a:pt x="1273" y="79"/>
                </a:lnTo>
                <a:cubicBezTo>
                  <a:pt x="1273" y="32"/>
                  <a:pt x="1240" y="0"/>
                  <a:pt x="1193" y="0"/>
                </a:cubicBezTo>
                <a:close/>
                <a:moveTo>
                  <a:pt x="1113" y="1352"/>
                </a:moveTo>
                <a:lnTo>
                  <a:pt x="1273" y="1352"/>
                </a:lnTo>
                <a:lnTo>
                  <a:pt x="1273" y="1511"/>
                </a:lnTo>
                <a:lnTo>
                  <a:pt x="1113" y="1511"/>
                </a:lnTo>
                <a:close/>
                <a:moveTo>
                  <a:pt x="1352" y="1670"/>
                </a:moveTo>
                <a:lnTo>
                  <a:pt x="1511" y="1670"/>
                </a:lnTo>
                <a:cubicBezTo>
                  <a:pt x="1654" y="1670"/>
                  <a:pt x="1749" y="1766"/>
                  <a:pt x="1749" y="1893"/>
                </a:cubicBezTo>
                <a:lnTo>
                  <a:pt x="1749" y="3006"/>
                </a:lnTo>
                <a:cubicBezTo>
                  <a:pt x="1749" y="3054"/>
                  <a:pt x="1686" y="3117"/>
                  <a:pt x="1638" y="3149"/>
                </a:cubicBezTo>
                <a:cubicBezTo>
                  <a:pt x="1606" y="3149"/>
                  <a:pt x="1591" y="3181"/>
                  <a:pt x="1591" y="3213"/>
                </a:cubicBezTo>
                <a:lnTo>
                  <a:pt x="1591" y="4263"/>
                </a:lnTo>
                <a:cubicBezTo>
                  <a:pt x="1591" y="4311"/>
                  <a:pt x="1543" y="4358"/>
                  <a:pt x="1495" y="4358"/>
                </a:cubicBezTo>
                <a:lnTo>
                  <a:pt x="413" y="4358"/>
                </a:lnTo>
                <a:cubicBezTo>
                  <a:pt x="366" y="4358"/>
                  <a:pt x="318" y="4311"/>
                  <a:pt x="318" y="4263"/>
                </a:cubicBezTo>
                <a:lnTo>
                  <a:pt x="318" y="3213"/>
                </a:lnTo>
                <a:cubicBezTo>
                  <a:pt x="318" y="3181"/>
                  <a:pt x="302" y="3149"/>
                  <a:pt x="270" y="3149"/>
                </a:cubicBezTo>
                <a:cubicBezTo>
                  <a:pt x="222" y="3117"/>
                  <a:pt x="159" y="3054"/>
                  <a:pt x="159" y="3006"/>
                </a:cubicBezTo>
                <a:lnTo>
                  <a:pt x="159" y="1893"/>
                </a:lnTo>
                <a:cubicBezTo>
                  <a:pt x="159" y="1766"/>
                  <a:pt x="255" y="1670"/>
                  <a:pt x="382" y="1670"/>
                </a:cubicBezTo>
                <a:lnTo>
                  <a:pt x="1034" y="1670"/>
                </a:lnTo>
                <a:close/>
                <a:moveTo>
                  <a:pt x="509" y="2067"/>
                </a:moveTo>
                <a:cubicBezTo>
                  <a:pt x="509" y="2100"/>
                  <a:pt x="541" y="2147"/>
                  <a:pt x="588" y="2147"/>
                </a:cubicBezTo>
                <a:lnTo>
                  <a:pt x="1336" y="2147"/>
                </a:lnTo>
                <a:cubicBezTo>
                  <a:pt x="1384" y="2147"/>
                  <a:pt x="1416" y="2100"/>
                  <a:pt x="1416" y="2067"/>
                </a:cubicBezTo>
                <a:cubicBezTo>
                  <a:pt x="1416" y="2020"/>
                  <a:pt x="1384" y="1988"/>
                  <a:pt x="1336" y="1988"/>
                </a:cubicBezTo>
                <a:lnTo>
                  <a:pt x="588" y="1988"/>
                </a:lnTo>
                <a:cubicBezTo>
                  <a:pt x="541" y="1988"/>
                  <a:pt x="509" y="2020"/>
                  <a:pt x="509" y="2067"/>
                </a:cubicBezTo>
                <a:close/>
                <a:moveTo>
                  <a:pt x="1336" y="2624"/>
                </a:moveTo>
                <a:lnTo>
                  <a:pt x="588" y="2624"/>
                </a:lnTo>
                <a:cubicBezTo>
                  <a:pt x="541" y="2624"/>
                  <a:pt x="509" y="2656"/>
                  <a:pt x="509" y="2704"/>
                </a:cubicBezTo>
                <a:cubicBezTo>
                  <a:pt x="509" y="2736"/>
                  <a:pt x="541" y="2784"/>
                  <a:pt x="588" y="2784"/>
                </a:cubicBezTo>
                <a:lnTo>
                  <a:pt x="1336" y="2784"/>
                </a:lnTo>
                <a:cubicBezTo>
                  <a:pt x="1384" y="2784"/>
                  <a:pt x="1416" y="2736"/>
                  <a:pt x="1416" y="2704"/>
                </a:cubicBezTo>
                <a:cubicBezTo>
                  <a:pt x="1416" y="2656"/>
                  <a:pt x="1384" y="2624"/>
                  <a:pt x="1336" y="2624"/>
                </a:cubicBezTo>
                <a:close/>
                <a:moveTo>
                  <a:pt x="1336" y="2306"/>
                </a:moveTo>
                <a:lnTo>
                  <a:pt x="588" y="2306"/>
                </a:lnTo>
                <a:cubicBezTo>
                  <a:pt x="541" y="2306"/>
                  <a:pt x="509" y="2338"/>
                  <a:pt x="509" y="2386"/>
                </a:cubicBezTo>
                <a:cubicBezTo>
                  <a:pt x="509" y="2418"/>
                  <a:pt x="541" y="2465"/>
                  <a:pt x="588" y="2465"/>
                </a:cubicBezTo>
                <a:lnTo>
                  <a:pt x="1336" y="2465"/>
                </a:lnTo>
                <a:cubicBezTo>
                  <a:pt x="1384" y="2465"/>
                  <a:pt x="1416" y="2418"/>
                  <a:pt x="1416" y="2386"/>
                </a:cubicBezTo>
                <a:cubicBezTo>
                  <a:pt x="1416" y="2338"/>
                  <a:pt x="1384" y="2306"/>
                  <a:pt x="1336" y="2306"/>
                </a:cubicBezTo>
                <a:close/>
                <a:moveTo>
                  <a:pt x="3484" y="1988"/>
                </a:moveTo>
                <a:lnTo>
                  <a:pt x="2736" y="1988"/>
                </a:lnTo>
                <a:cubicBezTo>
                  <a:pt x="2688" y="1988"/>
                  <a:pt x="2656" y="2020"/>
                  <a:pt x="2656" y="2067"/>
                </a:cubicBezTo>
                <a:cubicBezTo>
                  <a:pt x="2656" y="2100"/>
                  <a:pt x="2688" y="2147"/>
                  <a:pt x="2736" y="2147"/>
                </a:cubicBezTo>
                <a:lnTo>
                  <a:pt x="3484" y="2147"/>
                </a:lnTo>
                <a:cubicBezTo>
                  <a:pt x="3531" y="2147"/>
                  <a:pt x="3563" y="2100"/>
                  <a:pt x="3563" y="2067"/>
                </a:cubicBezTo>
                <a:cubicBezTo>
                  <a:pt x="3563" y="2020"/>
                  <a:pt x="3531" y="1988"/>
                  <a:pt x="3484" y="1988"/>
                </a:cubicBezTo>
                <a:close/>
                <a:moveTo>
                  <a:pt x="3484" y="2624"/>
                </a:moveTo>
                <a:lnTo>
                  <a:pt x="2736" y="2624"/>
                </a:lnTo>
                <a:cubicBezTo>
                  <a:pt x="2688" y="2624"/>
                  <a:pt x="2656" y="2656"/>
                  <a:pt x="2656" y="2704"/>
                </a:cubicBezTo>
                <a:cubicBezTo>
                  <a:pt x="2656" y="2736"/>
                  <a:pt x="2688" y="2784"/>
                  <a:pt x="2736" y="2784"/>
                </a:cubicBezTo>
                <a:lnTo>
                  <a:pt x="3484" y="2784"/>
                </a:lnTo>
                <a:cubicBezTo>
                  <a:pt x="3531" y="2784"/>
                  <a:pt x="3563" y="2736"/>
                  <a:pt x="3563" y="2704"/>
                </a:cubicBezTo>
                <a:cubicBezTo>
                  <a:pt x="3563" y="2656"/>
                  <a:pt x="3531" y="2624"/>
                  <a:pt x="3484" y="2624"/>
                </a:cubicBezTo>
                <a:close/>
                <a:moveTo>
                  <a:pt x="3484" y="2306"/>
                </a:moveTo>
                <a:lnTo>
                  <a:pt x="2736" y="2306"/>
                </a:lnTo>
                <a:cubicBezTo>
                  <a:pt x="2688" y="2306"/>
                  <a:pt x="2656" y="2338"/>
                  <a:pt x="2656" y="2386"/>
                </a:cubicBezTo>
                <a:cubicBezTo>
                  <a:pt x="2656" y="2418"/>
                  <a:pt x="2688" y="2465"/>
                  <a:pt x="2736" y="2465"/>
                </a:cubicBezTo>
                <a:lnTo>
                  <a:pt x="3484" y="2465"/>
                </a:lnTo>
                <a:cubicBezTo>
                  <a:pt x="3531" y="2465"/>
                  <a:pt x="3563" y="2418"/>
                  <a:pt x="3563" y="2386"/>
                </a:cubicBezTo>
                <a:cubicBezTo>
                  <a:pt x="3563" y="2338"/>
                  <a:pt x="3531" y="2306"/>
                  <a:pt x="3484" y="2306"/>
                </a:cubicBezTo>
                <a:close/>
                <a:moveTo>
                  <a:pt x="3674" y="1511"/>
                </a:moveTo>
                <a:lnTo>
                  <a:pt x="3579" y="1511"/>
                </a:lnTo>
                <a:lnTo>
                  <a:pt x="3579" y="1272"/>
                </a:lnTo>
                <a:cubicBezTo>
                  <a:pt x="3579" y="1225"/>
                  <a:pt x="3547" y="1193"/>
                  <a:pt x="3499" y="1193"/>
                </a:cubicBezTo>
                <a:lnTo>
                  <a:pt x="3420" y="1193"/>
                </a:lnTo>
                <a:lnTo>
                  <a:pt x="3420" y="79"/>
                </a:lnTo>
                <a:cubicBezTo>
                  <a:pt x="3420" y="32"/>
                  <a:pt x="3388" y="0"/>
                  <a:pt x="3340" y="0"/>
                </a:cubicBezTo>
                <a:cubicBezTo>
                  <a:pt x="3308" y="0"/>
                  <a:pt x="3276" y="32"/>
                  <a:pt x="3276" y="79"/>
                </a:cubicBezTo>
                <a:lnTo>
                  <a:pt x="3276" y="1193"/>
                </a:lnTo>
                <a:lnTo>
                  <a:pt x="3197" y="1193"/>
                </a:lnTo>
                <a:cubicBezTo>
                  <a:pt x="3149" y="1193"/>
                  <a:pt x="3118" y="1225"/>
                  <a:pt x="3118" y="1272"/>
                </a:cubicBezTo>
                <a:lnTo>
                  <a:pt x="3118" y="1511"/>
                </a:lnTo>
                <a:lnTo>
                  <a:pt x="2545" y="1511"/>
                </a:lnTo>
                <a:cubicBezTo>
                  <a:pt x="2322" y="1511"/>
                  <a:pt x="2147" y="1686"/>
                  <a:pt x="2147" y="1893"/>
                </a:cubicBezTo>
                <a:lnTo>
                  <a:pt x="2147" y="3006"/>
                </a:lnTo>
                <a:cubicBezTo>
                  <a:pt x="2147" y="3133"/>
                  <a:pt x="2243" y="3213"/>
                  <a:pt x="2306" y="3261"/>
                </a:cubicBezTo>
                <a:lnTo>
                  <a:pt x="2306" y="4263"/>
                </a:lnTo>
                <a:cubicBezTo>
                  <a:pt x="2306" y="4406"/>
                  <a:pt x="2418" y="4517"/>
                  <a:pt x="2561" y="4517"/>
                </a:cubicBezTo>
                <a:lnTo>
                  <a:pt x="3642" y="4517"/>
                </a:lnTo>
                <a:cubicBezTo>
                  <a:pt x="3785" y="4517"/>
                  <a:pt x="3897" y="4406"/>
                  <a:pt x="3897" y="4263"/>
                </a:cubicBezTo>
                <a:lnTo>
                  <a:pt x="3897" y="3261"/>
                </a:lnTo>
                <a:cubicBezTo>
                  <a:pt x="3960" y="3213"/>
                  <a:pt x="4056" y="3133"/>
                  <a:pt x="4056" y="3006"/>
                </a:cubicBezTo>
                <a:lnTo>
                  <a:pt x="4056" y="1893"/>
                </a:lnTo>
                <a:cubicBezTo>
                  <a:pt x="4056" y="1686"/>
                  <a:pt x="3881" y="1511"/>
                  <a:pt x="3674" y="1511"/>
                </a:cubicBezTo>
                <a:close/>
                <a:moveTo>
                  <a:pt x="3276" y="1352"/>
                </a:moveTo>
                <a:lnTo>
                  <a:pt x="3420" y="1352"/>
                </a:lnTo>
                <a:lnTo>
                  <a:pt x="3420" y="1511"/>
                </a:lnTo>
                <a:lnTo>
                  <a:pt x="3276" y="1511"/>
                </a:lnTo>
                <a:close/>
                <a:moveTo>
                  <a:pt x="3897" y="3006"/>
                </a:moveTo>
                <a:cubicBezTo>
                  <a:pt x="3897" y="3054"/>
                  <a:pt x="3833" y="3117"/>
                  <a:pt x="3785" y="3149"/>
                </a:cubicBezTo>
                <a:cubicBezTo>
                  <a:pt x="3754" y="3149"/>
                  <a:pt x="3738" y="3181"/>
                  <a:pt x="3738" y="3213"/>
                </a:cubicBezTo>
                <a:lnTo>
                  <a:pt x="3738" y="4263"/>
                </a:lnTo>
                <a:cubicBezTo>
                  <a:pt x="3738" y="4311"/>
                  <a:pt x="3690" y="4358"/>
                  <a:pt x="3642" y="4358"/>
                </a:cubicBezTo>
                <a:lnTo>
                  <a:pt x="2561" y="4358"/>
                </a:lnTo>
                <a:cubicBezTo>
                  <a:pt x="2513" y="4358"/>
                  <a:pt x="2466" y="4311"/>
                  <a:pt x="2466" y="4263"/>
                </a:cubicBezTo>
                <a:lnTo>
                  <a:pt x="2466" y="3213"/>
                </a:lnTo>
                <a:cubicBezTo>
                  <a:pt x="2466" y="3181"/>
                  <a:pt x="2449" y="3149"/>
                  <a:pt x="2418" y="3149"/>
                </a:cubicBezTo>
                <a:cubicBezTo>
                  <a:pt x="2370" y="3117"/>
                  <a:pt x="2306" y="3054"/>
                  <a:pt x="2306" y="3006"/>
                </a:cubicBezTo>
                <a:lnTo>
                  <a:pt x="2306" y="1893"/>
                </a:lnTo>
                <a:cubicBezTo>
                  <a:pt x="2306" y="1766"/>
                  <a:pt x="2402" y="1670"/>
                  <a:pt x="2545" y="1670"/>
                </a:cubicBezTo>
                <a:lnTo>
                  <a:pt x="3197" y="1670"/>
                </a:lnTo>
                <a:lnTo>
                  <a:pt x="3499" y="1670"/>
                </a:lnTo>
                <a:lnTo>
                  <a:pt x="3674" y="1670"/>
                </a:lnTo>
                <a:cubicBezTo>
                  <a:pt x="3802" y="1670"/>
                  <a:pt x="3897" y="1766"/>
                  <a:pt x="3897" y="189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8" name="Freeform: Shape 17">
            <a:extLst>
              <a:ext uri="{FF2B5EF4-FFF2-40B4-BE49-F238E27FC236}">
                <a16:creationId xmlns:a16="http://schemas.microsoft.com/office/drawing/2014/main" id="{8B55FD64-0B27-F74E-9848-8FF52FE7127C}"/>
              </a:ext>
            </a:extLst>
          </p:cNvPr>
          <p:cNvSpPr/>
          <p:nvPr/>
        </p:nvSpPr>
        <p:spPr>
          <a:xfrm>
            <a:off x="17549635" y="6596493"/>
            <a:ext cx="1745999" cy="1356480"/>
          </a:xfrm>
          <a:custGeom>
            <a:avLst/>
            <a:gdLst/>
            <a:ahLst/>
            <a:cxnLst>
              <a:cxn ang="3cd4">
                <a:pos x="hc" y="t"/>
              </a:cxn>
              <a:cxn ang="cd2">
                <a:pos x="l" y="vc"/>
              </a:cxn>
              <a:cxn ang="cd4">
                <a:pos x="hc" y="b"/>
              </a:cxn>
              <a:cxn ang="0">
                <a:pos x="r" y="vc"/>
              </a:cxn>
            </a:cxnLst>
            <a:rect l="l" t="t" r="r" b="b"/>
            <a:pathLst>
              <a:path w="4851" h="3769">
                <a:moveTo>
                  <a:pt x="255" y="1527"/>
                </a:moveTo>
                <a:lnTo>
                  <a:pt x="874" y="1527"/>
                </a:lnTo>
                <a:cubicBezTo>
                  <a:pt x="1002" y="1527"/>
                  <a:pt x="1161" y="1447"/>
                  <a:pt x="1161" y="1320"/>
                </a:cubicBezTo>
                <a:lnTo>
                  <a:pt x="1161" y="1161"/>
                </a:lnTo>
                <a:cubicBezTo>
                  <a:pt x="1161" y="843"/>
                  <a:pt x="1797" y="620"/>
                  <a:pt x="2386" y="620"/>
                </a:cubicBezTo>
                <a:lnTo>
                  <a:pt x="2465" y="620"/>
                </a:lnTo>
                <a:cubicBezTo>
                  <a:pt x="3070" y="620"/>
                  <a:pt x="3706" y="843"/>
                  <a:pt x="3706" y="1161"/>
                </a:cubicBezTo>
                <a:lnTo>
                  <a:pt x="3706" y="1320"/>
                </a:lnTo>
                <a:cubicBezTo>
                  <a:pt x="3706" y="1447"/>
                  <a:pt x="3849" y="1527"/>
                  <a:pt x="3976" y="1527"/>
                </a:cubicBezTo>
                <a:lnTo>
                  <a:pt x="4612" y="1527"/>
                </a:lnTo>
                <a:cubicBezTo>
                  <a:pt x="4756" y="1527"/>
                  <a:pt x="4851" y="1431"/>
                  <a:pt x="4851" y="1320"/>
                </a:cubicBezTo>
                <a:lnTo>
                  <a:pt x="4851" y="1049"/>
                </a:lnTo>
                <a:cubicBezTo>
                  <a:pt x="4851" y="397"/>
                  <a:pt x="3658" y="0"/>
                  <a:pt x="2529" y="0"/>
                </a:cubicBezTo>
                <a:lnTo>
                  <a:pt x="2322" y="0"/>
                </a:lnTo>
                <a:cubicBezTo>
                  <a:pt x="1209" y="0"/>
                  <a:pt x="0" y="397"/>
                  <a:pt x="0" y="1049"/>
                </a:cubicBezTo>
                <a:lnTo>
                  <a:pt x="0" y="1320"/>
                </a:lnTo>
                <a:cubicBezTo>
                  <a:pt x="0" y="1431"/>
                  <a:pt x="95" y="1527"/>
                  <a:pt x="255" y="1527"/>
                </a:cubicBezTo>
                <a:close/>
                <a:moveTo>
                  <a:pt x="159" y="1049"/>
                </a:moveTo>
                <a:cubicBezTo>
                  <a:pt x="159" y="524"/>
                  <a:pt x="1304" y="158"/>
                  <a:pt x="2322" y="158"/>
                </a:cubicBezTo>
                <a:lnTo>
                  <a:pt x="2529" y="158"/>
                </a:lnTo>
                <a:cubicBezTo>
                  <a:pt x="3563" y="158"/>
                  <a:pt x="4692" y="524"/>
                  <a:pt x="4692" y="1049"/>
                </a:cubicBezTo>
                <a:lnTo>
                  <a:pt x="4692" y="1320"/>
                </a:lnTo>
                <a:cubicBezTo>
                  <a:pt x="4692" y="1367"/>
                  <a:pt x="4639" y="1351"/>
                  <a:pt x="4612" y="1367"/>
                </a:cubicBezTo>
                <a:lnTo>
                  <a:pt x="3976" y="1367"/>
                </a:lnTo>
                <a:cubicBezTo>
                  <a:pt x="3913" y="1367"/>
                  <a:pt x="3865" y="1336"/>
                  <a:pt x="3865" y="1320"/>
                </a:cubicBezTo>
                <a:lnTo>
                  <a:pt x="3865" y="1161"/>
                </a:lnTo>
                <a:cubicBezTo>
                  <a:pt x="3865" y="715"/>
                  <a:pt x="3149" y="461"/>
                  <a:pt x="2465" y="461"/>
                </a:cubicBezTo>
                <a:lnTo>
                  <a:pt x="2386" y="461"/>
                </a:lnTo>
                <a:cubicBezTo>
                  <a:pt x="1702" y="461"/>
                  <a:pt x="1002" y="715"/>
                  <a:pt x="1002" y="1161"/>
                </a:cubicBezTo>
                <a:lnTo>
                  <a:pt x="1002" y="1320"/>
                </a:lnTo>
                <a:cubicBezTo>
                  <a:pt x="1002" y="1336"/>
                  <a:pt x="938" y="1367"/>
                  <a:pt x="874" y="1367"/>
                </a:cubicBezTo>
                <a:lnTo>
                  <a:pt x="255" y="1367"/>
                </a:lnTo>
                <a:cubicBezTo>
                  <a:pt x="223" y="1351"/>
                  <a:pt x="159" y="1367"/>
                  <a:pt x="159" y="1320"/>
                </a:cubicBezTo>
                <a:close/>
                <a:moveTo>
                  <a:pt x="4310" y="2560"/>
                </a:moveTo>
                <a:cubicBezTo>
                  <a:pt x="4310" y="2545"/>
                  <a:pt x="4310" y="2529"/>
                  <a:pt x="4294" y="2513"/>
                </a:cubicBezTo>
                <a:lnTo>
                  <a:pt x="3610" y="1479"/>
                </a:lnTo>
                <a:cubicBezTo>
                  <a:pt x="3531" y="1336"/>
                  <a:pt x="3356" y="1240"/>
                  <a:pt x="3181" y="1240"/>
                </a:cubicBezTo>
                <a:lnTo>
                  <a:pt x="1606" y="1240"/>
                </a:lnTo>
                <a:cubicBezTo>
                  <a:pt x="1447" y="1240"/>
                  <a:pt x="1288" y="1320"/>
                  <a:pt x="1209" y="1479"/>
                </a:cubicBezTo>
                <a:lnTo>
                  <a:pt x="556" y="2529"/>
                </a:lnTo>
                <a:cubicBezTo>
                  <a:pt x="541" y="2529"/>
                  <a:pt x="541" y="2545"/>
                  <a:pt x="541" y="2560"/>
                </a:cubicBezTo>
                <a:lnTo>
                  <a:pt x="541" y="3420"/>
                </a:lnTo>
                <a:cubicBezTo>
                  <a:pt x="541" y="3578"/>
                  <a:pt x="652" y="3769"/>
                  <a:pt x="843" y="3769"/>
                </a:cubicBezTo>
                <a:lnTo>
                  <a:pt x="3945" y="3769"/>
                </a:lnTo>
                <a:cubicBezTo>
                  <a:pt x="4135" y="3769"/>
                  <a:pt x="4310" y="3594"/>
                  <a:pt x="4310" y="3420"/>
                </a:cubicBezTo>
                <a:close/>
                <a:moveTo>
                  <a:pt x="4151" y="3420"/>
                </a:moveTo>
                <a:cubicBezTo>
                  <a:pt x="4151" y="3499"/>
                  <a:pt x="4040" y="3610"/>
                  <a:pt x="3945" y="3610"/>
                </a:cubicBezTo>
                <a:lnTo>
                  <a:pt x="843" y="3610"/>
                </a:lnTo>
                <a:cubicBezTo>
                  <a:pt x="764" y="3610"/>
                  <a:pt x="700" y="3515"/>
                  <a:pt x="700" y="3420"/>
                </a:cubicBezTo>
                <a:lnTo>
                  <a:pt x="700" y="2592"/>
                </a:lnTo>
                <a:lnTo>
                  <a:pt x="1352" y="1558"/>
                </a:lnTo>
                <a:cubicBezTo>
                  <a:pt x="1400" y="1463"/>
                  <a:pt x="1495" y="1399"/>
                  <a:pt x="1606" y="1399"/>
                </a:cubicBezTo>
                <a:lnTo>
                  <a:pt x="3181" y="1399"/>
                </a:lnTo>
                <a:cubicBezTo>
                  <a:pt x="3292" y="1399"/>
                  <a:pt x="3419" y="1463"/>
                  <a:pt x="3467" y="1558"/>
                </a:cubicBezTo>
                <a:lnTo>
                  <a:pt x="3483" y="1558"/>
                </a:lnTo>
                <a:lnTo>
                  <a:pt x="4151" y="2592"/>
                </a:lnTo>
                <a:close/>
                <a:moveTo>
                  <a:pt x="2401" y="1542"/>
                </a:moveTo>
                <a:cubicBezTo>
                  <a:pt x="1782" y="1542"/>
                  <a:pt x="1304" y="1829"/>
                  <a:pt x="1304" y="2179"/>
                </a:cubicBezTo>
                <a:cubicBezTo>
                  <a:pt x="1304" y="2529"/>
                  <a:pt x="1782" y="2799"/>
                  <a:pt x="2401" y="2799"/>
                </a:cubicBezTo>
                <a:cubicBezTo>
                  <a:pt x="3006" y="2799"/>
                  <a:pt x="3483" y="2529"/>
                  <a:pt x="3483" y="2179"/>
                </a:cubicBezTo>
                <a:cubicBezTo>
                  <a:pt x="3483" y="1829"/>
                  <a:pt x="3006" y="1542"/>
                  <a:pt x="2401" y="1542"/>
                </a:cubicBezTo>
                <a:close/>
                <a:moveTo>
                  <a:pt x="2401" y="2640"/>
                </a:moveTo>
                <a:cubicBezTo>
                  <a:pt x="1892" y="2640"/>
                  <a:pt x="1463" y="2433"/>
                  <a:pt x="1463" y="2179"/>
                </a:cubicBezTo>
                <a:cubicBezTo>
                  <a:pt x="1463" y="1924"/>
                  <a:pt x="1892" y="1702"/>
                  <a:pt x="2401" y="1702"/>
                </a:cubicBezTo>
                <a:cubicBezTo>
                  <a:pt x="2895" y="1702"/>
                  <a:pt x="3324" y="1924"/>
                  <a:pt x="3324" y="2179"/>
                </a:cubicBezTo>
                <a:cubicBezTo>
                  <a:pt x="3324" y="2433"/>
                  <a:pt x="2895" y="2640"/>
                  <a:pt x="2401" y="26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9" name="Freeform: Shape 18">
            <a:extLst>
              <a:ext uri="{FF2B5EF4-FFF2-40B4-BE49-F238E27FC236}">
                <a16:creationId xmlns:a16="http://schemas.microsoft.com/office/drawing/2014/main" id="{38E67BE0-C1A8-0846-BC72-172B1470939A}"/>
              </a:ext>
            </a:extLst>
          </p:cNvPr>
          <p:cNvSpPr/>
          <p:nvPr/>
        </p:nvSpPr>
        <p:spPr>
          <a:xfrm>
            <a:off x="13989818" y="6413253"/>
            <a:ext cx="1585800" cy="1654200"/>
          </a:xfrm>
          <a:custGeom>
            <a:avLst/>
            <a:gdLst/>
            <a:ahLst/>
            <a:cxnLst>
              <a:cxn ang="3cd4">
                <a:pos x="hc" y="t"/>
              </a:cxn>
              <a:cxn ang="cd2">
                <a:pos x="l" y="vc"/>
              </a:cxn>
              <a:cxn ang="cd4">
                <a:pos x="hc" y="b"/>
              </a:cxn>
              <a:cxn ang="0">
                <a:pos x="r" y="vc"/>
              </a:cxn>
            </a:cxnLst>
            <a:rect l="l" t="t" r="r" b="b"/>
            <a:pathLst>
              <a:path w="4406" h="4596">
                <a:moveTo>
                  <a:pt x="4406" y="3849"/>
                </a:moveTo>
                <a:cubicBezTo>
                  <a:pt x="4406" y="3451"/>
                  <a:pt x="4072" y="3117"/>
                  <a:pt x="3674" y="3117"/>
                </a:cubicBezTo>
                <a:lnTo>
                  <a:pt x="2545" y="3117"/>
                </a:lnTo>
                <a:lnTo>
                  <a:pt x="2545" y="2194"/>
                </a:lnTo>
                <a:cubicBezTo>
                  <a:pt x="2545" y="2020"/>
                  <a:pt x="2386" y="1876"/>
                  <a:pt x="2211" y="1876"/>
                </a:cubicBezTo>
                <a:cubicBezTo>
                  <a:pt x="2020" y="1876"/>
                  <a:pt x="1861" y="2020"/>
                  <a:pt x="1861" y="2194"/>
                </a:cubicBezTo>
                <a:lnTo>
                  <a:pt x="1861" y="3117"/>
                </a:lnTo>
                <a:lnTo>
                  <a:pt x="732" y="3117"/>
                </a:lnTo>
                <a:cubicBezTo>
                  <a:pt x="334" y="3117"/>
                  <a:pt x="0" y="3451"/>
                  <a:pt x="0" y="3849"/>
                </a:cubicBezTo>
                <a:cubicBezTo>
                  <a:pt x="0" y="4262"/>
                  <a:pt x="334" y="4596"/>
                  <a:pt x="732" y="4596"/>
                </a:cubicBezTo>
                <a:lnTo>
                  <a:pt x="3674" y="4596"/>
                </a:lnTo>
                <a:cubicBezTo>
                  <a:pt x="4072" y="4596"/>
                  <a:pt x="4406" y="4262"/>
                  <a:pt x="4406" y="3849"/>
                </a:cubicBezTo>
                <a:close/>
                <a:moveTo>
                  <a:pt x="2020" y="2194"/>
                </a:moveTo>
                <a:cubicBezTo>
                  <a:pt x="2020" y="2115"/>
                  <a:pt x="2100" y="2036"/>
                  <a:pt x="2211" y="2036"/>
                </a:cubicBezTo>
                <a:cubicBezTo>
                  <a:pt x="2307" y="2036"/>
                  <a:pt x="2386" y="2115"/>
                  <a:pt x="2386" y="2194"/>
                </a:cubicBezTo>
                <a:lnTo>
                  <a:pt x="2386" y="3117"/>
                </a:lnTo>
                <a:lnTo>
                  <a:pt x="2020" y="3117"/>
                </a:lnTo>
                <a:close/>
                <a:moveTo>
                  <a:pt x="159" y="3849"/>
                </a:moveTo>
                <a:cubicBezTo>
                  <a:pt x="159" y="3531"/>
                  <a:pt x="414" y="3276"/>
                  <a:pt x="732" y="3276"/>
                </a:cubicBezTo>
                <a:lnTo>
                  <a:pt x="1941" y="3276"/>
                </a:lnTo>
                <a:lnTo>
                  <a:pt x="2465" y="3276"/>
                </a:lnTo>
                <a:lnTo>
                  <a:pt x="3674" y="3276"/>
                </a:lnTo>
                <a:cubicBezTo>
                  <a:pt x="3992" y="3276"/>
                  <a:pt x="4247" y="3531"/>
                  <a:pt x="4247" y="3849"/>
                </a:cubicBezTo>
                <a:cubicBezTo>
                  <a:pt x="4247" y="4167"/>
                  <a:pt x="3992" y="4438"/>
                  <a:pt x="3674" y="4438"/>
                </a:cubicBezTo>
                <a:lnTo>
                  <a:pt x="732" y="4438"/>
                </a:lnTo>
                <a:cubicBezTo>
                  <a:pt x="414" y="4438"/>
                  <a:pt x="159" y="4167"/>
                  <a:pt x="159" y="3849"/>
                </a:cubicBezTo>
                <a:close/>
                <a:moveTo>
                  <a:pt x="732" y="3483"/>
                </a:moveTo>
                <a:cubicBezTo>
                  <a:pt x="525" y="3483"/>
                  <a:pt x="366" y="3642"/>
                  <a:pt x="366" y="3833"/>
                </a:cubicBezTo>
                <a:cubicBezTo>
                  <a:pt x="366" y="4040"/>
                  <a:pt x="525" y="4199"/>
                  <a:pt x="732" y="4199"/>
                </a:cubicBezTo>
                <a:cubicBezTo>
                  <a:pt x="923" y="4199"/>
                  <a:pt x="1082" y="4040"/>
                  <a:pt x="1082" y="3833"/>
                </a:cubicBezTo>
                <a:cubicBezTo>
                  <a:pt x="1082" y="3642"/>
                  <a:pt x="923" y="3483"/>
                  <a:pt x="732" y="3483"/>
                </a:cubicBezTo>
                <a:close/>
                <a:moveTo>
                  <a:pt x="732" y="4040"/>
                </a:moveTo>
                <a:cubicBezTo>
                  <a:pt x="620" y="4040"/>
                  <a:pt x="525" y="3944"/>
                  <a:pt x="525" y="3833"/>
                </a:cubicBezTo>
                <a:cubicBezTo>
                  <a:pt x="525" y="3721"/>
                  <a:pt x="620" y="3642"/>
                  <a:pt x="732" y="3642"/>
                </a:cubicBezTo>
                <a:cubicBezTo>
                  <a:pt x="843" y="3642"/>
                  <a:pt x="923" y="3721"/>
                  <a:pt x="923" y="3833"/>
                </a:cubicBezTo>
                <a:cubicBezTo>
                  <a:pt x="923" y="3944"/>
                  <a:pt x="843" y="4040"/>
                  <a:pt x="732" y="4040"/>
                </a:cubicBezTo>
                <a:close/>
                <a:moveTo>
                  <a:pt x="3834" y="827"/>
                </a:moveTo>
                <a:cubicBezTo>
                  <a:pt x="3849" y="827"/>
                  <a:pt x="3865" y="811"/>
                  <a:pt x="3881" y="795"/>
                </a:cubicBezTo>
                <a:cubicBezTo>
                  <a:pt x="3913" y="763"/>
                  <a:pt x="3913" y="715"/>
                  <a:pt x="3881" y="684"/>
                </a:cubicBezTo>
                <a:cubicBezTo>
                  <a:pt x="3436" y="238"/>
                  <a:pt x="2847" y="0"/>
                  <a:pt x="2211" y="0"/>
                </a:cubicBezTo>
                <a:cubicBezTo>
                  <a:pt x="1591" y="0"/>
                  <a:pt x="986" y="238"/>
                  <a:pt x="541" y="684"/>
                </a:cubicBezTo>
                <a:cubicBezTo>
                  <a:pt x="509" y="715"/>
                  <a:pt x="509" y="763"/>
                  <a:pt x="541" y="795"/>
                </a:cubicBezTo>
                <a:cubicBezTo>
                  <a:pt x="573" y="827"/>
                  <a:pt x="620" y="827"/>
                  <a:pt x="652" y="795"/>
                </a:cubicBezTo>
                <a:cubicBezTo>
                  <a:pt x="1066" y="381"/>
                  <a:pt x="1623" y="159"/>
                  <a:pt x="2211" y="159"/>
                </a:cubicBezTo>
                <a:cubicBezTo>
                  <a:pt x="2800" y="159"/>
                  <a:pt x="3356" y="381"/>
                  <a:pt x="3770" y="795"/>
                </a:cubicBezTo>
                <a:cubicBezTo>
                  <a:pt x="3786" y="811"/>
                  <a:pt x="3802" y="827"/>
                  <a:pt x="3834" y="827"/>
                </a:cubicBezTo>
                <a:close/>
                <a:moveTo>
                  <a:pt x="3468" y="1224"/>
                </a:moveTo>
                <a:cubicBezTo>
                  <a:pt x="3500" y="1193"/>
                  <a:pt x="3500" y="1129"/>
                  <a:pt x="3468" y="1113"/>
                </a:cubicBezTo>
                <a:cubicBezTo>
                  <a:pt x="3134" y="779"/>
                  <a:pt x="2688" y="588"/>
                  <a:pt x="2211" y="588"/>
                </a:cubicBezTo>
                <a:cubicBezTo>
                  <a:pt x="1750" y="588"/>
                  <a:pt x="1304" y="779"/>
                  <a:pt x="971" y="1113"/>
                </a:cubicBezTo>
                <a:cubicBezTo>
                  <a:pt x="938" y="1129"/>
                  <a:pt x="938" y="1193"/>
                  <a:pt x="971" y="1224"/>
                </a:cubicBezTo>
                <a:cubicBezTo>
                  <a:pt x="986" y="1240"/>
                  <a:pt x="1002" y="1240"/>
                  <a:pt x="1018" y="1240"/>
                </a:cubicBezTo>
                <a:cubicBezTo>
                  <a:pt x="1034" y="1240"/>
                  <a:pt x="1066" y="1240"/>
                  <a:pt x="1082" y="1224"/>
                </a:cubicBezTo>
                <a:cubicBezTo>
                  <a:pt x="1384" y="922"/>
                  <a:pt x="1782" y="747"/>
                  <a:pt x="2211" y="747"/>
                </a:cubicBezTo>
                <a:cubicBezTo>
                  <a:pt x="2641" y="747"/>
                  <a:pt x="3054" y="922"/>
                  <a:pt x="3356" y="1224"/>
                </a:cubicBezTo>
                <a:cubicBezTo>
                  <a:pt x="3388" y="1256"/>
                  <a:pt x="3436" y="1256"/>
                  <a:pt x="3468" y="1224"/>
                </a:cubicBezTo>
                <a:close/>
                <a:moveTo>
                  <a:pt x="1384" y="1527"/>
                </a:moveTo>
                <a:cubicBezTo>
                  <a:pt x="1352" y="1558"/>
                  <a:pt x="1352" y="1606"/>
                  <a:pt x="1384" y="1638"/>
                </a:cubicBezTo>
                <a:cubicBezTo>
                  <a:pt x="1416" y="1670"/>
                  <a:pt x="1464" y="1670"/>
                  <a:pt x="1495" y="1638"/>
                </a:cubicBezTo>
                <a:cubicBezTo>
                  <a:pt x="1686" y="1447"/>
                  <a:pt x="1941" y="1336"/>
                  <a:pt x="2211" y="1336"/>
                </a:cubicBezTo>
                <a:cubicBezTo>
                  <a:pt x="2482" y="1336"/>
                  <a:pt x="2736" y="1447"/>
                  <a:pt x="2927" y="1638"/>
                </a:cubicBezTo>
                <a:cubicBezTo>
                  <a:pt x="2943" y="1654"/>
                  <a:pt x="2959" y="1670"/>
                  <a:pt x="2991" y="1670"/>
                </a:cubicBezTo>
                <a:cubicBezTo>
                  <a:pt x="3007" y="1670"/>
                  <a:pt x="3022" y="1654"/>
                  <a:pt x="3038" y="1638"/>
                </a:cubicBezTo>
                <a:cubicBezTo>
                  <a:pt x="3070" y="1606"/>
                  <a:pt x="3070" y="1558"/>
                  <a:pt x="3038" y="1527"/>
                </a:cubicBezTo>
                <a:cubicBezTo>
                  <a:pt x="2816" y="1304"/>
                  <a:pt x="2529" y="1176"/>
                  <a:pt x="2211" y="1176"/>
                </a:cubicBezTo>
                <a:cubicBezTo>
                  <a:pt x="1909" y="1176"/>
                  <a:pt x="1607" y="1304"/>
                  <a:pt x="1384" y="152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50" name="TextBox 149">
            <a:extLst>
              <a:ext uri="{FF2B5EF4-FFF2-40B4-BE49-F238E27FC236}">
                <a16:creationId xmlns:a16="http://schemas.microsoft.com/office/drawing/2014/main" id="{9B7D658A-243D-CA46-A030-9754D12D719D}"/>
              </a:ext>
            </a:extLst>
          </p:cNvPr>
          <p:cNvSpPr txBox="1"/>
          <p:nvPr/>
        </p:nvSpPr>
        <p:spPr>
          <a:xfrm>
            <a:off x="20578735" y="11663150"/>
            <a:ext cx="276774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PU</a:t>
            </a:r>
          </a:p>
        </p:txBody>
      </p:sp>
      <p:sp>
        <p:nvSpPr>
          <p:cNvPr id="151" name="Freeform: Shape 1">
            <a:extLst>
              <a:ext uri="{FF2B5EF4-FFF2-40B4-BE49-F238E27FC236}">
                <a16:creationId xmlns:a16="http://schemas.microsoft.com/office/drawing/2014/main" id="{821F7C75-BE1E-CC4E-ADA0-3F7A7E2E7035}"/>
              </a:ext>
            </a:extLst>
          </p:cNvPr>
          <p:cNvSpPr/>
          <p:nvPr/>
        </p:nvSpPr>
        <p:spPr>
          <a:xfrm>
            <a:off x="21285386" y="9425548"/>
            <a:ext cx="1597320" cy="1603080"/>
          </a:xfrm>
          <a:custGeom>
            <a:avLst/>
            <a:gdLst/>
            <a:ahLst/>
            <a:cxnLst>
              <a:cxn ang="3cd4">
                <a:pos x="hc" y="t"/>
              </a:cxn>
              <a:cxn ang="cd2">
                <a:pos x="l" y="vc"/>
              </a:cxn>
              <a:cxn ang="cd4">
                <a:pos x="hc" y="b"/>
              </a:cxn>
              <a:cxn ang="0">
                <a:pos x="r" y="vc"/>
              </a:cxn>
            </a:cxnLst>
            <a:rect l="l" t="t" r="r" b="b"/>
            <a:pathLst>
              <a:path w="4438" h="4454">
                <a:moveTo>
                  <a:pt x="3181" y="1193"/>
                </a:moveTo>
                <a:lnTo>
                  <a:pt x="1272" y="1193"/>
                </a:lnTo>
                <a:cubicBezTo>
                  <a:pt x="1224" y="1193"/>
                  <a:pt x="1193" y="1225"/>
                  <a:pt x="1193" y="1273"/>
                </a:cubicBezTo>
                <a:lnTo>
                  <a:pt x="1193" y="3182"/>
                </a:lnTo>
                <a:cubicBezTo>
                  <a:pt x="1193" y="3213"/>
                  <a:pt x="1224" y="3261"/>
                  <a:pt x="1272" y="3261"/>
                </a:cubicBezTo>
                <a:lnTo>
                  <a:pt x="3181" y="3261"/>
                </a:lnTo>
                <a:cubicBezTo>
                  <a:pt x="3213" y="3261"/>
                  <a:pt x="3260" y="3213"/>
                  <a:pt x="3260" y="3182"/>
                </a:cubicBezTo>
                <a:lnTo>
                  <a:pt x="3260" y="1273"/>
                </a:lnTo>
                <a:cubicBezTo>
                  <a:pt x="3260" y="1225"/>
                  <a:pt x="3213" y="1193"/>
                  <a:pt x="3181" y="1193"/>
                </a:cubicBezTo>
                <a:close/>
                <a:moveTo>
                  <a:pt x="3102" y="3102"/>
                </a:moveTo>
                <a:lnTo>
                  <a:pt x="1352" y="3102"/>
                </a:lnTo>
                <a:lnTo>
                  <a:pt x="1352" y="1352"/>
                </a:lnTo>
                <a:lnTo>
                  <a:pt x="3102" y="1352"/>
                </a:lnTo>
                <a:close/>
                <a:moveTo>
                  <a:pt x="79" y="3579"/>
                </a:moveTo>
                <a:cubicBezTo>
                  <a:pt x="32" y="3579"/>
                  <a:pt x="0" y="3611"/>
                  <a:pt x="0" y="3658"/>
                </a:cubicBezTo>
                <a:cubicBezTo>
                  <a:pt x="0" y="3691"/>
                  <a:pt x="32" y="3738"/>
                  <a:pt x="79" y="3738"/>
                </a:cubicBezTo>
                <a:lnTo>
                  <a:pt x="557" y="3738"/>
                </a:lnTo>
                <a:lnTo>
                  <a:pt x="557" y="3818"/>
                </a:lnTo>
                <a:cubicBezTo>
                  <a:pt x="557" y="3849"/>
                  <a:pt x="588" y="3897"/>
                  <a:pt x="636" y="3897"/>
                </a:cubicBezTo>
                <a:lnTo>
                  <a:pt x="715" y="3897"/>
                </a:lnTo>
                <a:lnTo>
                  <a:pt x="715" y="4374"/>
                </a:lnTo>
                <a:cubicBezTo>
                  <a:pt x="715" y="4406"/>
                  <a:pt x="747" y="4454"/>
                  <a:pt x="795" y="4454"/>
                </a:cubicBezTo>
                <a:cubicBezTo>
                  <a:pt x="843" y="4454"/>
                  <a:pt x="875" y="4406"/>
                  <a:pt x="875" y="4374"/>
                </a:cubicBezTo>
                <a:lnTo>
                  <a:pt x="875" y="3897"/>
                </a:lnTo>
                <a:lnTo>
                  <a:pt x="1034" y="3897"/>
                </a:lnTo>
                <a:lnTo>
                  <a:pt x="1034" y="4374"/>
                </a:lnTo>
                <a:cubicBezTo>
                  <a:pt x="1034" y="4406"/>
                  <a:pt x="1066" y="4454"/>
                  <a:pt x="1113" y="4454"/>
                </a:cubicBezTo>
                <a:cubicBezTo>
                  <a:pt x="1161" y="4454"/>
                  <a:pt x="1193" y="4406"/>
                  <a:pt x="1193" y="4374"/>
                </a:cubicBezTo>
                <a:lnTo>
                  <a:pt x="1193" y="3897"/>
                </a:lnTo>
                <a:lnTo>
                  <a:pt x="1352" y="3897"/>
                </a:lnTo>
                <a:lnTo>
                  <a:pt x="1352" y="4374"/>
                </a:lnTo>
                <a:cubicBezTo>
                  <a:pt x="1352" y="4406"/>
                  <a:pt x="1384" y="4454"/>
                  <a:pt x="1432" y="4454"/>
                </a:cubicBezTo>
                <a:cubicBezTo>
                  <a:pt x="1479" y="4454"/>
                  <a:pt x="1511" y="4406"/>
                  <a:pt x="1511" y="4374"/>
                </a:cubicBezTo>
                <a:lnTo>
                  <a:pt x="1511" y="3897"/>
                </a:lnTo>
                <a:lnTo>
                  <a:pt x="1670" y="3897"/>
                </a:lnTo>
                <a:lnTo>
                  <a:pt x="1670" y="4374"/>
                </a:lnTo>
                <a:cubicBezTo>
                  <a:pt x="1670" y="4406"/>
                  <a:pt x="1702" y="4454"/>
                  <a:pt x="1750" y="4454"/>
                </a:cubicBezTo>
                <a:cubicBezTo>
                  <a:pt x="1781" y="4454"/>
                  <a:pt x="1829" y="4406"/>
                  <a:pt x="1829" y="4374"/>
                </a:cubicBezTo>
                <a:lnTo>
                  <a:pt x="1829" y="3897"/>
                </a:lnTo>
                <a:lnTo>
                  <a:pt x="1988" y="3897"/>
                </a:lnTo>
                <a:lnTo>
                  <a:pt x="1988" y="4374"/>
                </a:lnTo>
                <a:cubicBezTo>
                  <a:pt x="1988" y="4406"/>
                  <a:pt x="2020" y="4454"/>
                  <a:pt x="2068" y="4454"/>
                </a:cubicBezTo>
                <a:cubicBezTo>
                  <a:pt x="2099" y="4454"/>
                  <a:pt x="2147" y="4406"/>
                  <a:pt x="2147" y="4374"/>
                </a:cubicBezTo>
                <a:lnTo>
                  <a:pt x="2147" y="3897"/>
                </a:lnTo>
                <a:lnTo>
                  <a:pt x="2306" y="3897"/>
                </a:lnTo>
                <a:lnTo>
                  <a:pt x="2306" y="4374"/>
                </a:lnTo>
                <a:cubicBezTo>
                  <a:pt x="2306" y="4406"/>
                  <a:pt x="2338" y="4454"/>
                  <a:pt x="2386" y="4454"/>
                </a:cubicBezTo>
                <a:cubicBezTo>
                  <a:pt x="2417" y="4454"/>
                  <a:pt x="2465" y="4406"/>
                  <a:pt x="2465" y="4374"/>
                </a:cubicBezTo>
                <a:lnTo>
                  <a:pt x="2465" y="3897"/>
                </a:lnTo>
                <a:lnTo>
                  <a:pt x="2624" y="3897"/>
                </a:lnTo>
                <a:lnTo>
                  <a:pt x="2624" y="4374"/>
                </a:lnTo>
                <a:cubicBezTo>
                  <a:pt x="2624" y="4406"/>
                  <a:pt x="2656" y="4454"/>
                  <a:pt x="2704" y="4454"/>
                </a:cubicBezTo>
                <a:cubicBezTo>
                  <a:pt x="2736" y="4454"/>
                  <a:pt x="2783" y="4406"/>
                  <a:pt x="2783" y="4374"/>
                </a:cubicBezTo>
                <a:lnTo>
                  <a:pt x="2783" y="3897"/>
                </a:lnTo>
                <a:lnTo>
                  <a:pt x="2942" y="3897"/>
                </a:lnTo>
                <a:lnTo>
                  <a:pt x="2942" y="4374"/>
                </a:lnTo>
                <a:cubicBezTo>
                  <a:pt x="2942" y="4406"/>
                  <a:pt x="2974" y="4454"/>
                  <a:pt x="3022" y="4454"/>
                </a:cubicBezTo>
                <a:cubicBezTo>
                  <a:pt x="3054" y="4454"/>
                  <a:pt x="3102" y="4406"/>
                  <a:pt x="3102" y="4374"/>
                </a:cubicBezTo>
                <a:lnTo>
                  <a:pt x="3102" y="3897"/>
                </a:lnTo>
                <a:lnTo>
                  <a:pt x="3260" y="3897"/>
                </a:lnTo>
                <a:lnTo>
                  <a:pt x="3260" y="4374"/>
                </a:lnTo>
                <a:cubicBezTo>
                  <a:pt x="3260" y="4406"/>
                  <a:pt x="3292" y="4454"/>
                  <a:pt x="3340" y="4454"/>
                </a:cubicBezTo>
                <a:cubicBezTo>
                  <a:pt x="3372" y="4454"/>
                  <a:pt x="3420" y="4406"/>
                  <a:pt x="3420" y="4374"/>
                </a:cubicBezTo>
                <a:lnTo>
                  <a:pt x="3420" y="3897"/>
                </a:lnTo>
                <a:lnTo>
                  <a:pt x="3578" y="3897"/>
                </a:lnTo>
                <a:lnTo>
                  <a:pt x="3578" y="4374"/>
                </a:lnTo>
                <a:cubicBezTo>
                  <a:pt x="3578" y="4406"/>
                  <a:pt x="3610" y="4454"/>
                  <a:pt x="3658" y="4454"/>
                </a:cubicBezTo>
                <a:cubicBezTo>
                  <a:pt x="3690" y="4454"/>
                  <a:pt x="3738" y="4406"/>
                  <a:pt x="3738" y="4374"/>
                </a:cubicBezTo>
                <a:lnTo>
                  <a:pt x="3738" y="3897"/>
                </a:lnTo>
                <a:lnTo>
                  <a:pt x="3817" y="3897"/>
                </a:lnTo>
                <a:cubicBezTo>
                  <a:pt x="3849" y="3897"/>
                  <a:pt x="3897" y="3849"/>
                  <a:pt x="3897" y="3818"/>
                </a:cubicBezTo>
                <a:lnTo>
                  <a:pt x="3897" y="3738"/>
                </a:lnTo>
                <a:lnTo>
                  <a:pt x="4358" y="3738"/>
                </a:lnTo>
                <a:cubicBezTo>
                  <a:pt x="4406" y="3738"/>
                  <a:pt x="4438" y="3691"/>
                  <a:pt x="4438" y="3658"/>
                </a:cubicBezTo>
                <a:cubicBezTo>
                  <a:pt x="4438" y="3611"/>
                  <a:pt x="4406" y="3579"/>
                  <a:pt x="4358" y="3579"/>
                </a:cubicBezTo>
                <a:lnTo>
                  <a:pt x="3897" y="3579"/>
                </a:lnTo>
                <a:lnTo>
                  <a:pt x="3897" y="3420"/>
                </a:lnTo>
                <a:lnTo>
                  <a:pt x="4358" y="3420"/>
                </a:lnTo>
                <a:cubicBezTo>
                  <a:pt x="4406" y="3420"/>
                  <a:pt x="4438" y="3372"/>
                  <a:pt x="4438" y="3340"/>
                </a:cubicBezTo>
                <a:cubicBezTo>
                  <a:pt x="4438" y="3293"/>
                  <a:pt x="4406" y="3261"/>
                  <a:pt x="4358" y="3261"/>
                </a:cubicBezTo>
                <a:lnTo>
                  <a:pt x="3897" y="3261"/>
                </a:lnTo>
                <a:lnTo>
                  <a:pt x="3897" y="3102"/>
                </a:lnTo>
                <a:lnTo>
                  <a:pt x="4358" y="3102"/>
                </a:lnTo>
                <a:cubicBezTo>
                  <a:pt x="4406" y="3102"/>
                  <a:pt x="4438" y="3054"/>
                  <a:pt x="4438" y="3022"/>
                </a:cubicBezTo>
                <a:cubicBezTo>
                  <a:pt x="4438" y="2974"/>
                  <a:pt x="4406" y="2943"/>
                  <a:pt x="4358" y="2943"/>
                </a:cubicBezTo>
                <a:lnTo>
                  <a:pt x="3897" y="2943"/>
                </a:lnTo>
                <a:lnTo>
                  <a:pt x="3897" y="2784"/>
                </a:lnTo>
                <a:lnTo>
                  <a:pt x="4358" y="2784"/>
                </a:lnTo>
                <a:cubicBezTo>
                  <a:pt x="4406" y="2784"/>
                  <a:pt x="4438" y="2752"/>
                  <a:pt x="4438" y="2704"/>
                </a:cubicBezTo>
                <a:cubicBezTo>
                  <a:pt x="4438" y="2656"/>
                  <a:pt x="4406" y="2625"/>
                  <a:pt x="4358" y="2625"/>
                </a:cubicBezTo>
                <a:lnTo>
                  <a:pt x="3897" y="2625"/>
                </a:lnTo>
                <a:lnTo>
                  <a:pt x="3897" y="2465"/>
                </a:lnTo>
                <a:lnTo>
                  <a:pt x="4358" y="2465"/>
                </a:lnTo>
                <a:cubicBezTo>
                  <a:pt x="4406" y="2465"/>
                  <a:pt x="4438" y="2434"/>
                  <a:pt x="4438" y="2386"/>
                </a:cubicBezTo>
                <a:cubicBezTo>
                  <a:pt x="4438" y="2338"/>
                  <a:pt x="4406" y="2307"/>
                  <a:pt x="4358" y="2307"/>
                </a:cubicBezTo>
                <a:lnTo>
                  <a:pt x="3897" y="2307"/>
                </a:lnTo>
                <a:lnTo>
                  <a:pt x="3897" y="2147"/>
                </a:lnTo>
                <a:lnTo>
                  <a:pt x="4358" y="2147"/>
                </a:lnTo>
                <a:cubicBezTo>
                  <a:pt x="4406" y="2147"/>
                  <a:pt x="4438" y="2116"/>
                  <a:pt x="4438" y="2068"/>
                </a:cubicBezTo>
                <a:cubicBezTo>
                  <a:pt x="4438" y="2020"/>
                  <a:pt x="4406" y="1988"/>
                  <a:pt x="4358" y="1988"/>
                </a:cubicBezTo>
                <a:lnTo>
                  <a:pt x="3897" y="1988"/>
                </a:lnTo>
                <a:lnTo>
                  <a:pt x="3897" y="1829"/>
                </a:lnTo>
                <a:lnTo>
                  <a:pt x="4358" y="1829"/>
                </a:lnTo>
                <a:cubicBezTo>
                  <a:pt x="4406" y="1829"/>
                  <a:pt x="4438" y="1798"/>
                  <a:pt x="4438" y="1750"/>
                </a:cubicBezTo>
                <a:cubicBezTo>
                  <a:pt x="4438" y="1702"/>
                  <a:pt x="4406" y="1670"/>
                  <a:pt x="4358" y="1670"/>
                </a:cubicBezTo>
                <a:lnTo>
                  <a:pt x="3897" y="1670"/>
                </a:lnTo>
                <a:lnTo>
                  <a:pt x="3897" y="1511"/>
                </a:lnTo>
                <a:lnTo>
                  <a:pt x="4358" y="1511"/>
                </a:lnTo>
                <a:cubicBezTo>
                  <a:pt x="4406" y="1511"/>
                  <a:pt x="4438" y="1479"/>
                  <a:pt x="4438" y="1432"/>
                </a:cubicBezTo>
                <a:cubicBezTo>
                  <a:pt x="4438" y="1384"/>
                  <a:pt x="4406" y="1352"/>
                  <a:pt x="4358" y="1352"/>
                </a:cubicBezTo>
                <a:lnTo>
                  <a:pt x="3897" y="1352"/>
                </a:lnTo>
                <a:lnTo>
                  <a:pt x="3897" y="1193"/>
                </a:lnTo>
                <a:lnTo>
                  <a:pt x="4358" y="1193"/>
                </a:lnTo>
                <a:cubicBezTo>
                  <a:pt x="4406" y="1193"/>
                  <a:pt x="4438" y="1161"/>
                  <a:pt x="4438" y="1114"/>
                </a:cubicBezTo>
                <a:cubicBezTo>
                  <a:pt x="4438" y="1066"/>
                  <a:pt x="4406" y="1034"/>
                  <a:pt x="4358" y="1034"/>
                </a:cubicBezTo>
                <a:lnTo>
                  <a:pt x="3897" y="1034"/>
                </a:lnTo>
                <a:lnTo>
                  <a:pt x="3897" y="875"/>
                </a:lnTo>
                <a:lnTo>
                  <a:pt x="4358" y="875"/>
                </a:lnTo>
                <a:cubicBezTo>
                  <a:pt x="4406" y="875"/>
                  <a:pt x="4438" y="843"/>
                  <a:pt x="4438" y="795"/>
                </a:cubicBezTo>
                <a:cubicBezTo>
                  <a:pt x="4438" y="748"/>
                  <a:pt x="4406" y="716"/>
                  <a:pt x="4358" y="716"/>
                </a:cubicBezTo>
                <a:lnTo>
                  <a:pt x="3897" y="716"/>
                </a:lnTo>
                <a:lnTo>
                  <a:pt x="3897" y="637"/>
                </a:lnTo>
                <a:cubicBezTo>
                  <a:pt x="3897" y="589"/>
                  <a:pt x="3849" y="557"/>
                  <a:pt x="3817" y="557"/>
                </a:cubicBezTo>
                <a:lnTo>
                  <a:pt x="3738" y="557"/>
                </a:lnTo>
                <a:lnTo>
                  <a:pt x="3738" y="80"/>
                </a:lnTo>
                <a:cubicBezTo>
                  <a:pt x="3738" y="32"/>
                  <a:pt x="3690" y="0"/>
                  <a:pt x="3658" y="0"/>
                </a:cubicBezTo>
                <a:cubicBezTo>
                  <a:pt x="3610" y="0"/>
                  <a:pt x="3578" y="32"/>
                  <a:pt x="3578" y="80"/>
                </a:cubicBezTo>
                <a:lnTo>
                  <a:pt x="3578" y="557"/>
                </a:lnTo>
                <a:lnTo>
                  <a:pt x="3420" y="557"/>
                </a:lnTo>
                <a:lnTo>
                  <a:pt x="3420" y="80"/>
                </a:lnTo>
                <a:cubicBezTo>
                  <a:pt x="3420" y="32"/>
                  <a:pt x="3372" y="0"/>
                  <a:pt x="3340" y="0"/>
                </a:cubicBezTo>
                <a:cubicBezTo>
                  <a:pt x="3292" y="0"/>
                  <a:pt x="3260" y="32"/>
                  <a:pt x="3260" y="80"/>
                </a:cubicBezTo>
                <a:lnTo>
                  <a:pt x="3260" y="557"/>
                </a:lnTo>
                <a:lnTo>
                  <a:pt x="3102" y="557"/>
                </a:lnTo>
                <a:lnTo>
                  <a:pt x="3102" y="80"/>
                </a:lnTo>
                <a:cubicBezTo>
                  <a:pt x="3102" y="32"/>
                  <a:pt x="3054" y="0"/>
                  <a:pt x="3022" y="0"/>
                </a:cubicBezTo>
                <a:cubicBezTo>
                  <a:pt x="2974" y="0"/>
                  <a:pt x="2942" y="32"/>
                  <a:pt x="2942" y="80"/>
                </a:cubicBezTo>
                <a:lnTo>
                  <a:pt x="2942" y="557"/>
                </a:lnTo>
                <a:lnTo>
                  <a:pt x="2783" y="557"/>
                </a:lnTo>
                <a:lnTo>
                  <a:pt x="2783" y="80"/>
                </a:lnTo>
                <a:cubicBezTo>
                  <a:pt x="2783" y="32"/>
                  <a:pt x="2736" y="0"/>
                  <a:pt x="2704" y="0"/>
                </a:cubicBezTo>
                <a:cubicBezTo>
                  <a:pt x="2656" y="0"/>
                  <a:pt x="2624" y="32"/>
                  <a:pt x="2624" y="80"/>
                </a:cubicBezTo>
                <a:lnTo>
                  <a:pt x="2624" y="557"/>
                </a:lnTo>
                <a:lnTo>
                  <a:pt x="2465" y="557"/>
                </a:lnTo>
                <a:lnTo>
                  <a:pt x="2465" y="80"/>
                </a:lnTo>
                <a:cubicBezTo>
                  <a:pt x="2465" y="32"/>
                  <a:pt x="2417" y="0"/>
                  <a:pt x="2386" y="0"/>
                </a:cubicBezTo>
                <a:cubicBezTo>
                  <a:pt x="2338" y="0"/>
                  <a:pt x="2306" y="32"/>
                  <a:pt x="2306" y="80"/>
                </a:cubicBezTo>
                <a:lnTo>
                  <a:pt x="2306" y="557"/>
                </a:lnTo>
                <a:lnTo>
                  <a:pt x="2147" y="557"/>
                </a:lnTo>
                <a:lnTo>
                  <a:pt x="2147" y="80"/>
                </a:lnTo>
                <a:cubicBezTo>
                  <a:pt x="2147" y="32"/>
                  <a:pt x="2099" y="0"/>
                  <a:pt x="2068" y="0"/>
                </a:cubicBezTo>
                <a:cubicBezTo>
                  <a:pt x="2020" y="0"/>
                  <a:pt x="1988" y="32"/>
                  <a:pt x="1988" y="80"/>
                </a:cubicBezTo>
                <a:lnTo>
                  <a:pt x="1988" y="557"/>
                </a:lnTo>
                <a:lnTo>
                  <a:pt x="1829" y="557"/>
                </a:lnTo>
                <a:lnTo>
                  <a:pt x="1829" y="80"/>
                </a:lnTo>
                <a:cubicBezTo>
                  <a:pt x="1829" y="32"/>
                  <a:pt x="1781" y="0"/>
                  <a:pt x="1750" y="0"/>
                </a:cubicBezTo>
                <a:cubicBezTo>
                  <a:pt x="1702" y="0"/>
                  <a:pt x="1670" y="32"/>
                  <a:pt x="1670" y="80"/>
                </a:cubicBezTo>
                <a:lnTo>
                  <a:pt x="1670" y="557"/>
                </a:lnTo>
                <a:lnTo>
                  <a:pt x="1511" y="557"/>
                </a:lnTo>
                <a:lnTo>
                  <a:pt x="1511" y="80"/>
                </a:lnTo>
                <a:cubicBezTo>
                  <a:pt x="1511" y="32"/>
                  <a:pt x="1479" y="0"/>
                  <a:pt x="1432" y="0"/>
                </a:cubicBezTo>
                <a:cubicBezTo>
                  <a:pt x="1384" y="0"/>
                  <a:pt x="1352" y="32"/>
                  <a:pt x="1352" y="80"/>
                </a:cubicBezTo>
                <a:lnTo>
                  <a:pt x="1352" y="557"/>
                </a:lnTo>
                <a:lnTo>
                  <a:pt x="1193" y="557"/>
                </a:lnTo>
                <a:lnTo>
                  <a:pt x="1193" y="80"/>
                </a:lnTo>
                <a:cubicBezTo>
                  <a:pt x="1193" y="32"/>
                  <a:pt x="1161" y="0"/>
                  <a:pt x="1113" y="0"/>
                </a:cubicBezTo>
                <a:cubicBezTo>
                  <a:pt x="1066" y="0"/>
                  <a:pt x="1034" y="32"/>
                  <a:pt x="1034" y="80"/>
                </a:cubicBezTo>
                <a:lnTo>
                  <a:pt x="1034" y="557"/>
                </a:lnTo>
                <a:lnTo>
                  <a:pt x="875" y="557"/>
                </a:lnTo>
                <a:lnTo>
                  <a:pt x="875" y="80"/>
                </a:lnTo>
                <a:cubicBezTo>
                  <a:pt x="875" y="32"/>
                  <a:pt x="843" y="0"/>
                  <a:pt x="795" y="0"/>
                </a:cubicBezTo>
                <a:cubicBezTo>
                  <a:pt x="747" y="0"/>
                  <a:pt x="715" y="32"/>
                  <a:pt x="715" y="80"/>
                </a:cubicBezTo>
                <a:lnTo>
                  <a:pt x="715" y="557"/>
                </a:lnTo>
                <a:lnTo>
                  <a:pt x="636" y="557"/>
                </a:lnTo>
                <a:cubicBezTo>
                  <a:pt x="588" y="557"/>
                  <a:pt x="557" y="589"/>
                  <a:pt x="557" y="637"/>
                </a:cubicBezTo>
                <a:lnTo>
                  <a:pt x="557" y="716"/>
                </a:lnTo>
                <a:lnTo>
                  <a:pt x="79" y="716"/>
                </a:lnTo>
                <a:cubicBezTo>
                  <a:pt x="32" y="716"/>
                  <a:pt x="0" y="748"/>
                  <a:pt x="0" y="795"/>
                </a:cubicBezTo>
                <a:cubicBezTo>
                  <a:pt x="0" y="843"/>
                  <a:pt x="32" y="875"/>
                  <a:pt x="79" y="875"/>
                </a:cubicBezTo>
                <a:lnTo>
                  <a:pt x="557" y="875"/>
                </a:lnTo>
                <a:lnTo>
                  <a:pt x="557" y="1034"/>
                </a:lnTo>
                <a:lnTo>
                  <a:pt x="79" y="1034"/>
                </a:lnTo>
                <a:cubicBezTo>
                  <a:pt x="32" y="1034"/>
                  <a:pt x="0" y="1066"/>
                  <a:pt x="0" y="1114"/>
                </a:cubicBezTo>
                <a:cubicBezTo>
                  <a:pt x="0" y="1161"/>
                  <a:pt x="32" y="1193"/>
                  <a:pt x="79" y="1193"/>
                </a:cubicBezTo>
                <a:lnTo>
                  <a:pt x="557" y="1193"/>
                </a:lnTo>
                <a:lnTo>
                  <a:pt x="557" y="1352"/>
                </a:lnTo>
                <a:lnTo>
                  <a:pt x="79" y="1352"/>
                </a:lnTo>
                <a:cubicBezTo>
                  <a:pt x="32" y="1352"/>
                  <a:pt x="0" y="1384"/>
                  <a:pt x="0" y="1432"/>
                </a:cubicBezTo>
                <a:cubicBezTo>
                  <a:pt x="0" y="1479"/>
                  <a:pt x="32" y="1511"/>
                  <a:pt x="79" y="1511"/>
                </a:cubicBezTo>
                <a:lnTo>
                  <a:pt x="557" y="1511"/>
                </a:lnTo>
                <a:lnTo>
                  <a:pt x="557" y="1670"/>
                </a:lnTo>
                <a:lnTo>
                  <a:pt x="79" y="1670"/>
                </a:lnTo>
                <a:cubicBezTo>
                  <a:pt x="32" y="1670"/>
                  <a:pt x="0" y="1702"/>
                  <a:pt x="0" y="1750"/>
                </a:cubicBezTo>
                <a:cubicBezTo>
                  <a:pt x="0" y="1798"/>
                  <a:pt x="32" y="1829"/>
                  <a:pt x="79" y="1829"/>
                </a:cubicBezTo>
                <a:lnTo>
                  <a:pt x="557" y="1829"/>
                </a:lnTo>
                <a:lnTo>
                  <a:pt x="557" y="1988"/>
                </a:lnTo>
                <a:lnTo>
                  <a:pt x="79" y="1988"/>
                </a:lnTo>
                <a:cubicBezTo>
                  <a:pt x="32" y="1988"/>
                  <a:pt x="0" y="2020"/>
                  <a:pt x="0" y="2068"/>
                </a:cubicBezTo>
                <a:cubicBezTo>
                  <a:pt x="0" y="2116"/>
                  <a:pt x="32" y="2147"/>
                  <a:pt x="79" y="2147"/>
                </a:cubicBezTo>
                <a:lnTo>
                  <a:pt x="557" y="2147"/>
                </a:lnTo>
                <a:lnTo>
                  <a:pt x="557" y="2307"/>
                </a:lnTo>
                <a:lnTo>
                  <a:pt x="79" y="2307"/>
                </a:lnTo>
                <a:cubicBezTo>
                  <a:pt x="32" y="2307"/>
                  <a:pt x="0" y="2338"/>
                  <a:pt x="0" y="2386"/>
                </a:cubicBezTo>
                <a:cubicBezTo>
                  <a:pt x="0" y="2434"/>
                  <a:pt x="32" y="2465"/>
                  <a:pt x="79" y="2465"/>
                </a:cubicBezTo>
                <a:lnTo>
                  <a:pt x="557" y="2465"/>
                </a:lnTo>
                <a:lnTo>
                  <a:pt x="557" y="2625"/>
                </a:lnTo>
                <a:lnTo>
                  <a:pt x="79" y="2625"/>
                </a:lnTo>
                <a:cubicBezTo>
                  <a:pt x="32" y="2625"/>
                  <a:pt x="0" y="2656"/>
                  <a:pt x="0" y="2704"/>
                </a:cubicBezTo>
                <a:cubicBezTo>
                  <a:pt x="0" y="2752"/>
                  <a:pt x="32" y="2784"/>
                  <a:pt x="79" y="2784"/>
                </a:cubicBezTo>
                <a:lnTo>
                  <a:pt x="557" y="2784"/>
                </a:lnTo>
                <a:lnTo>
                  <a:pt x="557" y="2943"/>
                </a:lnTo>
                <a:lnTo>
                  <a:pt x="79" y="2943"/>
                </a:lnTo>
                <a:cubicBezTo>
                  <a:pt x="32" y="2943"/>
                  <a:pt x="0" y="2974"/>
                  <a:pt x="0" y="3022"/>
                </a:cubicBezTo>
                <a:cubicBezTo>
                  <a:pt x="0" y="3054"/>
                  <a:pt x="32" y="3102"/>
                  <a:pt x="79" y="3102"/>
                </a:cubicBezTo>
                <a:lnTo>
                  <a:pt x="557" y="3102"/>
                </a:lnTo>
                <a:lnTo>
                  <a:pt x="557" y="3261"/>
                </a:lnTo>
                <a:lnTo>
                  <a:pt x="79" y="3261"/>
                </a:lnTo>
                <a:cubicBezTo>
                  <a:pt x="32" y="3261"/>
                  <a:pt x="0" y="3293"/>
                  <a:pt x="0" y="3340"/>
                </a:cubicBezTo>
                <a:cubicBezTo>
                  <a:pt x="0" y="3372"/>
                  <a:pt x="32" y="3420"/>
                  <a:pt x="79" y="3420"/>
                </a:cubicBezTo>
                <a:lnTo>
                  <a:pt x="557" y="3420"/>
                </a:lnTo>
                <a:lnTo>
                  <a:pt x="557" y="3579"/>
                </a:lnTo>
                <a:close/>
                <a:moveTo>
                  <a:pt x="715" y="716"/>
                </a:moveTo>
                <a:lnTo>
                  <a:pt x="3738" y="716"/>
                </a:lnTo>
                <a:lnTo>
                  <a:pt x="3738" y="3738"/>
                </a:lnTo>
                <a:lnTo>
                  <a:pt x="715" y="3738"/>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09492898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Computers / Hardware - 5</a:t>
            </a:r>
          </a:p>
        </p:txBody>
      </p:sp>
      <p:sp>
        <p:nvSpPr>
          <p:cNvPr id="40" name="TextBox 39">
            <a:extLst>
              <a:ext uri="{FF2B5EF4-FFF2-40B4-BE49-F238E27FC236}">
                <a16:creationId xmlns:a16="http://schemas.microsoft.com/office/drawing/2014/main" id="{564AFA76-3FB5-C74C-9DF1-CA3FE340CD1B}"/>
              </a:ext>
            </a:extLst>
          </p:cNvPr>
          <p:cNvSpPr txBox="1"/>
          <p:nvPr/>
        </p:nvSpPr>
        <p:spPr>
          <a:xfrm>
            <a:off x="5306606" y="5164929"/>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rinter </a:t>
            </a:r>
          </a:p>
        </p:txBody>
      </p:sp>
      <p:sp>
        <p:nvSpPr>
          <p:cNvPr id="41" name="TextBox 40">
            <a:extLst>
              <a:ext uri="{FF2B5EF4-FFF2-40B4-BE49-F238E27FC236}">
                <a16:creationId xmlns:a16="http://schemas.microsoft.com/office/drawing/2014/main" id="{1675568F-B3AD-3443-AF56-43E0637F6649}"/>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rojector</a:t>
            </a:r>
          </a:p>
        </p:txBody>
      </p:sp>
      <p:sp>
        <p:nvSpPr>
          <p:cNvPr id="42" name="TextBox 41">
            <a:extLst>
              <a:ext uri="{FF2B5EF4-FFF2-40B4-BE49-F238E27FC236}">
                <a16:creationId xmlns:a16="http://schemas.microsoft.com/office/drawing/2014/main" id="{FEB059B3-5879-BA4F-81F1-613DF5877E0C}"/>
              </a:ext>
            </a:extLst>
          </p:cNvPr>
          <p:cNvSpPr txBox="1"/>
          <p:nvPr/>
        </p:nvSpPr>
        <p:spPr>
          <a:xfrm>
            <a:off x="20809186" y="5164929"/>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adio Tower 2</a:t>
            </a:r>
          </a:p>
        </p:txBody>
      </p:sp>
      <p:sp>
        <p:nvSpPr>
          <p:cNvPr id="43" name="TextBox 42">
            <a:extLst>
              <a:ext uri="{FF2B5EF4-FFF2-40B4-BE49-F238E27FC236}">
                <a16:creationId xmlns:a16="http://schemas.microsoft.com/office/drawing/2014/main" id="{70B27EA5-095F-3E4A-886B-8C0D735313BC}"/>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ble 1</a:t>
            </a:r>
          </a:p>
        </p:txBody>
      </p:sp>
      <p:sp>
        <p:nvSpPr>
          <p:cNvPr id="44" name="TextBox 43">
            <a:extLst>
              <a:ext uri="{FF2B5EF4-FFF2-40B4-BE49-F238E27FC236}">
                <a16:creationId xmlns:a16="http://schemas.microsoft.com/office/drawing/2014/main" id="{EF2E3BEE-F81D-7247-A61B-6C23417F2D69}"/>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ble 2</a:t>
            </a:r>
          </a:p>
        </p:txBody>
      </p:sp>
      <p:sp>
        <p:nvSpPr>
          <p:cNvPr id="45" name="TextBox 44">
            <a:extLst>
              <a:ext uri="{FF2B5EF4-FFF2-40B4-BE49-F238E27FC236}">
                <a16:creationId xmlns:a16="http://schemas.microsoft.com/office/drawing/2014/main" id="{99AD1300-63C3-854D-9C37-C8FDC7A37676}"/>
              </a:ext>
            </a:extLst>
          </p:cNvPr>
          <p:cNvSpPr txBox="1"/>
          <p:nvPr/>
        </p:nvSpPr>
        <p:spPr>
          <a:xfrm>
            <a:off x="9013116"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ble 3</a:t>
            </a:r>
          </a:p>
        </p:txBody>
      </p:sp>
      <p:sp>
        <p:nvSpPr>
          <p:cNvPr id="46" name="TextBox 45">
            <a:extLst>
              <a:ext uri="{FF2B5EF4-FFF2-40B4-BE49-F238E27FC236}">
                <a16:creationId xmlns:a16="http://schemas.microsoft.com/office/drawing/2014/main" id="{305EA2DC-13B0-AC42-BDBB-CC3564FEB84E}"/>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ble 4</a:t>
            </a:r>
          </a:p>
        </p:txBody>
      </p:sp>
      <p:sp>
        <p:nvSpPr>
          <p:cNvPr id="47" name="TextBox 46">
            <a:extLst>
              <a:ext uri="{FF2B5EF4-FFF2-40B4-BE49-F238E27FC236}">
                <a16:creationId xmlns:a16="http://schemas.microsoft.com/office/drawing/2014/main" id="{828BAC7B-8A34-5C49-B53D-DC86799F01BF}"/>
              </a:ext>
            </a:extLst>
          </p:cNvPr>
          <p:cNvSpPr txBox="1"/>
          <p:nvPr/>
        </p:nvSpPr>
        <p:spPr>
          <a:xfrm>
            <a:off x="584369" y="5164929"/>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isk 1</a:t>
            </a:r>
          </a:p>
        </p:txBody>
      </p:sp>
      <p:sp>
        <p:nvSpPr>
          <p:cNvPr id="48" name="Freeform: Shape 26">
            <a:extLst>
              <a:ext uri="{FF2B5EF4-FFF2-40B4-BE49-F238E27FC236}">
                <a16:creationId xmlns:a16="http://schemas.microsoft.com/office/drawing/2014/main" id="{06E5CFC2-AC1F-3545-AE76-51FFCF8001B3}"/>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9" name="TextBox 48">
            <a:extLst>
              <a:ext uri="{FF2B5EF4-FFF2-40B4-BE49-F238E27FC236}">
                <a16:creationId xmlns:a16="http://schemas.microsoft.com/office/drawing/2014/main" id="{A5D5661A-5B8D-BE41-8810-A2703A837093}"/>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adio Tower 1</a:t>
            </a:r>
          </a:p>
        </p:txBody>
      </p:sp>
      <p:sp>
        <p:nvSpPr>
          <p:cNvPr id="50" name="TextBox 49">
            <a:extLst>
              <a:ext uri="{FF2B5EF4-FFF2-40B4-BE49-F238E27FC236}">
                <a16:creationId xmlns:a16="http://schemas.microsoft.com/office/drawing/2014/main" id="{624FF14F-4CA6-5547-A782-9583FA11278B}"/>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ble 5</a:t>
            </a:r>
          </a:p>
        </p:txBody>
      </p:sp>
      <p:sp>
        <p:nvSpPr>
          <p:cNvPr id="51" name="Freeform: Shape 1">
            <a:extLst>
              <a:ext uri="{FF2B5EF4-FFF2-40B4-BE49-F238E27FC236}">
                <a16:creationId xmlns:a16="http://schemas.microsoft.com/office/drawing/2014/main" id="{D03D9E75-76DF-7240-965E-9649E6617DD2}"/>
              </a:ext>
            </a:extLst>
          </p:cNvPr>
          <p:cNvSpPr/>
          <p:nvPr/>
        </p:nvSpPr>
        <p:spPr>
          <a:xfrm>
            <a:off x="1750273" y="3164729"/>
            <a:ext cx="1253520" cy="1711439"/>
          </a:xfrm>
          <a:custGeom>
            <a:avLst/>
            <a:gdLst/>
            <a:ahLst/>
            <a:cxnLst>
              <a:cxn ang="3cd4">
                <a:pos x="hc" y="t"/>
              </a:cxn>
              <a:cxn ang="cd2">
                <a:pos x="l" y="vc"/>
              </a:cxn>
              <a:cxn ang="cd4">
                <a:pos x="hc" y="b"/>
              </a:cxn>
              <a:cxn ang="0">
                <a:pos x="r" y="vc"/>
              </a:cxn>
            </a:cxnLst>
            <a:rect l="l" t="t" r="r" b="b"/>
            <a:pathLst>
              <a:path w="3483" h="4755">
                <a:moveTo>
                  <a:pt x="223" y="0"/>
                </a:moveTo>
                <a:cubicBezTo>
                  <a:pt x="95" y="0"/>
                  <a:pt x="0" y="95"/>
                  <a:pt x="0" y="222"/>
                </a:cubicBezTo>
                <a:lnTo>
                  <a:pt x="0" y="4517"/>
                </a:lnTo>
                <a:cubicBezTo>
                  <a:pt x="0" y="4644"/>
                  <a:pt x="95" y="4755"/>
                  <a:pt x="223" y="4755"/>
                </a:cubicBezTo>
                <a:lnTo>
                  <a:pt x="3245" y="4755"/>
                </a:lnTo>
                <a:cubicBezTo>
                  <a:pt x="3388" y="4755"/>
                  <a:pt x="3483" y="4644"/>
                  <a:pt x="3483" y="4517"/>
                </a:cubicBezTo>
                <a:lnTo>
                  <a:pt x="3483" y="222"/>
                </a:lnTo>
                <a:cubicBezTo>
                  <a:pt x="3483" y="95"/>
                  <a:pt x="3388" y="0"/>
                  <a:pt x="3245" y="0"/>
                </a:cubicBezTo>
                <a:close/>
                <a:moveTo>
                  <a:pt x="3324" y="4517"/>
                </a:moveTo>
                <a:cubicBezTo>
                  <a:pt x="3324" y="4565"/>
                  <a:pt x="3292" y="4597"/>
                  <a:pt x="3245" y="4597"/>
                </a:cubicBezTo>
                <a:lnTo>
                  <a:pt x="223" y="4597"/>
                </a:lnTo>
                <a:cubicBezTo>
                  <a:pt x="191" y="4597"/>
                  <a:pt x="159" y="4565"/>
                  <a:pt x="159" y="4517"/>
                </a:cubicBezTo>
                <a:lnTo>
                  <a:pt x="159" y="3483"/>
                </a:lnTo>
                <a:lnTo>
                  <a:pt x="3324" y="3483"/>
                </a:lnTo>
                <a:close/>
                <a:moveTo>
                  <a:pt x="3324" y="222"/>
                </a:moveTo>
                <a:lnTo>
                  <a:pt x="3324" y="3324"/>
                </a:lnTo>
                <a:lnTo>
                  <a:pt x="159" y="3324"/>
                </a:lnTo>
                <a:lnTo>
                  <a:pt x="159" y="222"/>
                </a:lnTo>
                <a:cubicBezTo>
                  <a:pt x="159" y="191"/>
                  <a:pt x="191" y="159"/>
                  <a:pt x="223" y="159"/>
                </a:cubicBezTo>
                <a:lnTo>
                  <a:pt x="3245" y="159"/>
                </a:lnTo>
                <a:cubicBezTo>
                  <a:pt x="3292" y="159"/>
                  <a:pt x="3324" y="191"/>
                  <a:pt x="3324" y="222"/>
                </a:cubicBezTo>
                <a:close/>
                <a:moveTo>
                  <a:pt x="1781" y="397"/>
                </a:moveTo>
                <a:cubicBezTo>
                  <a:pt x="1081" y="397"/>
                  <a:pt x="509" y="954"/>
                  <a:pt x="509" y="1654"/>
                </a:cubicBezTo>
                <a:cubicBezTo>
                  <a:pt x="509" y="2036"/>
                  <a:pt x="668" y="2386"/>
                  <a:pt x="938" y="2608"/>
                </a:cubicBezTo>
                <a:cubicBezTo>
                  <a:pt x="1161" y="2815"/>
                  <a:pt x="1463" y="2927"/>
                  <a:pt x="1781" y="2927"/>
                </a:cubicBezTo>
                <a:cubicBezTo>
                  <a:pt x="2481" y="2927"/>
                  <a:pt x="3054" y="2354"/>
                  <a:pt x="3054" y="1654"/>
                </a:cubicBezTo>
                <a:cubicBezTo>
                  <a:pt x="3054" y="954"/>
                  <a:pt x="2481" y="397"/>
                  <a:pt x="1781" y="397"/>
                </a:cubicBezTo>
                <a:close/>
                <a:moveTo>
                  <a:pt x="1781" y="2767"/>
                </a:moveTo>
                <a:cubicBezTo>
                  <a:pt x="1527" y="2767"/>
                  <a:pt x="1288" y="2688"/>
                  <a:pt x="1113" y="2545"/>
                </a:cubicBezTo>
                <a:lnTo>
                  <a:pt x="1447" y="2163"/>
                </a:lnTo>
                <a:cubicBezTo>
                  <a:pt x="1479" y="2131"/>
                  <a:pt x="1463" y="2083"/>
                  <a:pt x="1432" y="2052"/>
                </a:cubicBezTo>
                <a:cubicBezTo>
                  <a:pt x="1400" y="2020"/>
                  <a:pt x="1352" y="2020"/>
                  <a:pt x="1320" y="2052"/>
                </a:cubicBezTo>
                <a:lnTo>
                  <a:pt x="986" y="2433"/>
                </a:lnTo>
                <a:cubicBezTo>
                  <a:pt x="795" y="2243"/>
                  <a:pt x="668" y="1956"/>
                  <a:pt x="668" y="1654"/>
                </a:cubicBezTo>
                <a:cubicBezTo>
                  <a:pt x="668" y="1049"/>
                  <a:pt x="1161" y="556"/>
                  <a:pt x="1781" y="556"/>
                </a:cubicBezTo>
                <a:cubicBezTo>
                  <a:pt x="2386" y="556"/>
                  <a:pt x="2895" y="1049"/>
                  <a:pt x="2895" y="1654"/>
                </a:cubicBezTo>
                <a:cubicBezTo>
                  <a:pt x="2895" y="2274"/>
                  <a:pt x="2386" y="2767"/>
                  <a:pt x="1781" y="2767"/>
                </a:cubicBezTo>
                <a:close/>
                <a:moveTo>
                  <a:pt x="1781" y="1383"/>
                </a:moveTo>
                <a:cubicBezTo>
                  <a:pt x="1622" y="1383"/>
                  <a:pt x="1495" y="1511"/>
                  <a:pt x="1495" y="1654"/>
                </a:cubicBezTo>
                <a:cubicBezTo>
                  <a:pt x="1495" y="1813"/>
                  <a:pt x="1622" y="1940"/>
                  <a:pt x="1781" y="1940"/>
                </a:cubicBezTo>
                <a:cubicBezTo>
                  <a:pt x="1924" y="1940"/>
                  <a:pt x="2052" y="1813"/>
                  <a:pt x="2052" y="1654"/>
                </a:cubicBezTo>
                <a:cubicBezTo>
                  <a:pt x="2052" y="1511"/>
                  <a:pt x="1924" y="1383"/>
                  <a:pt x="1781" y="1383"/>
                </a:cubicBezTo>
                <a:close/>
                <a:moveTo>
                  <a:pt x="1781" y="1781"/>
                </a:moveTo>
                <a:cubicBezTo>
                  <a:pt x="1718" y="1781"/>
                  <a:pt x="1654" y="1734"/>
                  <a:pt x="1654" y="1654"/>
                </a:cubicBezTo>
                <a:cubicBezTo>
                  <a:pt x="1654" y="1591"/>
                  <a:pt x="1718" y="1543"/>
                  <a:pt x="1781" y="1543"/>
                </a:cubicBezTo>
                <a:cubicBezTo>
                  <a:pt x="1845" y="1543"/>
                  <a:pt x="1893" y="1591"/>
                  <a:pt x="1893" y="1654"/>
                </a:cubicBezTo>
                <a:cubicBezTo>
                  <a:pt x="1893" y="1734"/>
                  <a:pt x="1845" y="1781"/>
                  <a:pt x="1781" y="1781"/>
                </a:cubicBezTo>
                <a:close/>
                <a:moveTo>
                  <a:pt x="2768" y="4326"/>
                </a:moveTo>
                <a:cubicBezTo>
                  <a:pt x="2926" y="4326"/>
                  <a:pt x="3054" y="4199"/>
                  <a:pt x="3054" y="4040"/>
                </a:cubicBezTo>
                <a:cubicBezTo>
                  <a:pt x="3054" y="3897"/>
                  <a:pt x="2926" y="3769"/>
                  <a:pt x="2768" y="3769"/>
                </a:cubicBezTo>
                <a:cubicBezTo>
                  <a:pt x="2624" y="3769"/>
                  <a:pt x="2497" y="3897"/>
                  <a:pt x="2497" y="4040"/>
                </a:cubicBezTo>
                <a:cubicBezTo>
                  <a:pt x="2497" y="4199"/>
                  <a:pt x="2624" y="4326"/>
                  <a:pt x="2768" y="4326"/>
                </a:cubicBezTo>
                <a:close/>
                <a:moveTo>
                  <a:pt x="2768" y="3928"/>
                </a:moveTo>
                <a:cubicBezTo>
                  <a:pt x="2831" y="3928"/>
                  <a:pt x="2895" y="3976"/>
                  <a:pt x="2895" y="4040"/>
                </a:cubicBezTo>
                <a:cubicBezTo>
                  <a:pt x="2895" y="4103"/>
                  <a:pt x="2831" y="4167"/>
                  <a:pt x="2768" y="4167"/>
                </a:cubicBezTo>
                <a:cubicBezTo>
                  <a:pt x="2704" y="4167"/>
                  <a:pt x="2656" y="4103"/>
                  <a:pt x="2656" y="4040"/>
                </a:cubicBezTo>
                <a:cubicBezTo>
                  <a:pt x="2656" y="3976"/>
                  <a:pt x="2704" y="3928"/>
                  <a:pt x="2768" y="392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2" name="Freeform: Shape 3">
            <a:extLst>
              <a:ext uri="{FF2B5EF4-FFF2-40B4-BE49-F238E27FC236}">
                <a16:creationId xmlns:a16="http://schemas.microsoft.com/office/drawing/2014/main" id="{D0FD9B5B-BDB5-4145-ADBD-9674D7383A2D}"/>
              </a:ext>
            </a:extLst>
          </p:cNvPr>
          <p:cNvSpPr/>
          <p:nvPr/>
        </p:nvSpPr>
        <p:spPr>
          <a:xfrm>
            <a:off x="13798034" y="3425711"/>
            <a:ext cx="1717560" cy="915840"/>
          </a:xfrm>
          <a:custGeom>
            <a:avLst/>
            <a:gdLst/>
            <a:ahLst/>
            <a:cxnLst>
              <a:cxn ang="3cd4">
                <a:pos x="hc" y="t"/>
              </a:cxn>
              <a:cxn ang="cd2">
                <a:pos x="l" y="vc"/>
              </a:cxn>
              <a:cxn ang="cd4">
                <a:pos x="hc" y="b"/>
              </a:cxn>
              <a:cxn ang="0">
                <a:pos x="r" y="vc"/>
              </a:cxn>
            </a:cxnLst>
            <a:rect l="l" t="t" r="r" b="b"/>
            <a:pathLst>
              <a:path w="4772" h="2545">
                <a:moveTo>
                  <a:pt x="477" y="2227"/>
                </a:moveTo>
                <a:lnTo>
                  <a:pt x="477" y="2466"/>
                </a:lnTo>
                <a:cubicBezTo>
                  <a:pt x="477" y="2498"/>
                  <a:pt x="509" y="2545"/>
                  <a:pt x="557" y="2545"/>
                </a:cubicBezTo>
                <a:lnTo>
                  <a:pt x="1193" y="2545"/>
                </a:lnTo>
                <a:cubicBezTo>
                  <a:pt x="1241" y="2545"/>
                  <a:pt x="1273" y="2498"/>
                  <a:pt x="1273" y="2466"/>
                </a:cubicBezTo>
                <a:lnTo>
                  <a:pt x="1273" y="2227"/>
                </a:lnTo>
                <a:lnTo>
                  <a:pt x="3659" y="2227"/>
                </a:lnTo>
                <a:lnTo>
                  <a:pt x="3659" y="2466"/>
                </a:lnTo>
                <a:cubicBezTo>
                  <a:pt x="3659" y="2498"/>
                  <a:pt x="3690" y="2545"/>
                  <a:pt x="3738" y="2545"/>
                </a:cubicBezTo>
                <a:lnTo>
                  <a:pt x="4374" y="2545"/>
                </a:lnTo>
                <a:cubicBezTo>
                  <a:pt x="4406" y="2545"/>
                  <a:pt x="4454" y="2498"/>
                  <a:pt x="4454" y="2466"/>
                </a:cubicBezTo>
                <a:lnTo>
                  <a:pt x="4454" y="2211"/>
                </a:lnTo>
                <a:cubicBezTo>
                  <a:pt x="4629" y="2179"/>
                  <a:pt x="4772" y="2021"/>
                  <a:pt x="4772" y="1830"/>
                </a:cubicBezTo>
                <a:lnTo>
                  <a:pt x="4772" y="398"/>
                </a:lnTo>
                <a:cubicBezTo>
                  <a:pt x="4772" y="176"/>
                  <a:pt x="4581" y="0"/>
                  <a:pt x="4374" y="0"/>
                </a:cubicBezTo>
                <a:lnTo>
                  <a:pt x="398" y="0"/>
                </a:lnTo>
                <a:cubicBezTo>
                  <a:pt x="175" y="0"/>
                  <a:pt x="0" y="176"/>
                  <a:pt x="0" y="398"/>
                </a:cubicBezTo>
                <a:lnTo>
                  <a:pt x="0" y="1830"/>
                </a:lnTo>
                <a:cubicBezTo>
                  <a:pt x="0" y="2036"/>
                  <a:pt x="175" y="2227"/>
                  <a:pt x="398" y="2227"/>
                </a:cubicBezTo>
                <a:close/>
                <a:moveTo>
                  <a:pt x="1114" y="2386"/>
                </a:moveTo>
                <a:lnTo>
                  <a:pt x="636" y="2386"/>
                </a:lnTo>
                <a:lnTo>
                  <a:pt x="636" y="2227"/>
                </a:lnTo>
                <a:lnTo>
                  <a:pt x="1114" y="2227"/>
                </a:lnTo>
                <a:close/>
                <a:moveTo>
                  <a:pt x="4295" y="2386"/>
                </a:moveTo>
                <a:lnTo>
                  <a:pt x="3817" y="2386"/>
                </a:lnTo>
                <a:lnTo>
                  <a:pt x="3817" y="2227"/>
                </a:lnTo>
                <a:lnTo>
                  <a:pt x="4295" y="2227"/>
                </a:lnTo>
                <a:close/>
                <a:moveTo>
                  <a:pt x="159" y="1830"/>
                </a:moveTo>
                <a:lnTo>
                  <a:pt x="159" y="398"/>
                </a:lnTo>
                <a:cubicBezTo>
                  <a:pt x="159" y="255"/>
                  <a:pt x="271" y="159"/>
                  <a:pt x="398" y="159"/>
                </a:cubicBezTo>
                <a:lnTo>
                  <a:pt x="4374" y="159"/>
                </a:lnTo>
                <a:cubicBezTo>
                  <a:pt x="4502" y="159"/>
                  <a:pt x="4613" y="255"/>
                  <a:pt x="4613" y="398"/>
                </a:cubicBezTo>
                <a:lnTo>
                  <a:pt x="4613" y="1830"/>
                </a:lnTo>
                <a:cubicBezTo>
                  <a:pt x="4613" y="1957"/>
                  <a:pt x="4502" y="2068"/>
                  <a:pt x="4374" y="2068"/>
                </a:cubicBezTo>
                <a:lnTo>
                  <a:pt x="3738" y="2068"/>
                </a:lnTo>
                <a:lnTo>
                  <a:pt x="1193" y="2068"/>
                </a:lnTo>
                <a:lnTo>
                  <a:pt x="557" y="2068"/>
                </a:lnTo>
                <a:lnTo>
                  <a:pt x="398" y="2068"/>
                </a:lnTo>
                <a:cubicBezTo>
                  <a:pt x="271" y="2068"/>
                  <a:pt x="159" y="1957"/>
                  <a:pt x="159" y="1830"/>
                </a:cubicBezTo>
                <a:close/>
                <a:moveTo>
                  <a:pt x="3722" y="1702"/>
                </a:moveTo>
                <a:cubicBezTo>
                  <a:pt x="4088" y="1702"/>
                  <a:pt x="4390" y="1400"/>
                  <a:pt x="4390" y="1034"/>
                </a:cubicBezTo>
                <a:cubicBezTo>
                  <a:pt x="4390" y="652"/>
                  <a:pt x="4088" y="350"/>
                  <a:pt x="3722" y="350"/>
                </a:cubicBezTo>
                <a:cubicBezTo>
                  <a:pt x="3341" y="350"/>
                  <a:pt x="3038" y="652"/>
                  <a:pt x="3038" y="1034"/>
                </a:cubicBezTo>
                <a:cubicBezTo>
                  <a:pt x="3038" y="1400"/>
                  <a:pt x="3341" y="1702"/>
                  <a:pt x="3722" y="1702"/>
                </a:cubicBezTo>
                <a:close/>
                <a:moveTo>
                  <a:pt x="3722" y="509"/>
                </a:moveTo>
                <a:cubicBezTo>
                  <a:pt x="4008" y="509"/>
                  <a:pt x="4231" y="748"/>
                  <a:pt x="4231" y="1034"/>
                </a:cubicBezTo>
                <a:cubicBezTo>
                  <a:pt x="4231" y="1321"/>
                  <a:pt x="4008" y="1543"/>
                  <a:pt x="3722" y="1543"/>
                </a:cubicBezTo>
                <a:cubicBezTo>
                  <a:pt x="3436" y="1543"/>
                  <a:pt x="3198" y="1321"/>
                  <a:pt x="3198" y="1034"/>
                </a:cubicBezTo>
                <a:cubicBezTo>
                  <a:pt x="3198" y="748"/>
                  <a:pt x="3436" y="509"/>
                  <a:pt x="3722" y="509"/>
                </a:cubicBezTo>
                <a:close/>
                <a:moveTo>
                  <a:pt x="3722" y="907"/>
                </a:moveTo>
                <a:cubicBezTo>
                  <a:pt x="3786" y="907"/>
                  <a:pt x="3834" y="971"/>
                  <a:pt x="3834" y="1034"/>
                </a:cubicBezTo>
                <a:cubicBezTo>
                  <a:pt x="3834" y="1066"/>
                  <a:pt x="3881" y="1114"/>
                  <a:pt x="3913" y="1114"/>
                </a:cubicBezTo>
                <a:cubicBezTo>
                  <a:pt x="3961" y="1114"/>
                  <a:pt x="3993" y="1066"/>
                  <a:pt x="3993" y="1034"/>
                </a:cubicBezTo>
                <a:cubicBezTo>
                  <a:pt x="3993" y="875"/>
                  <a:pt x="3865" y="748"/>
                  <a:pt x="3722" y="748"/>
                </a:cubicBezTo>
                <a:cubicBezTo>
                  <a:pt x="3674" y="748"/>
                  <a:pt x="3643" y="780"/>
                  <a:pt x="3643" y="828"/>
                </a:cubicBezTo>
                <a:cubicBezTo>
                  <a:pt x="3643" y="875"/>
                  <a:pt x="3674" y="907"/>
                  <a:pt x="3722" y="907"/>
                </a:cubicBezTo>
                <a:close/>
                <a:moveTo>
                  <a:pt x="716" y="1670"/>
                </a:moveTo>
                <a:cubicBezTo>
                  <a:pt x="764" y="1670"/>
                  <a:pt x="796" y="1623"/>
                  <a:pt x="796" y="1591"/>
                </a:cubicBezTo>
                <a:lnTo>
                  <a:pt x="796" y="637"/>
                </a:lnTo>
                <a:cubicBezTo>
                  <a:pt x="796" y="589"/>
                  <a:pt x="764" y="557"/>
                  <a:pt x="716" y="557"/>
                </a:cubicBezTo>
                <a:cubicBezTo>
                  <a:pt x="668" y="557"/>
                  <a:pt x="636" y="589"/>
                  <a:pt x="636" y="637"/>
                </a:cubicBezTo>
                <a:lnTo>
                  <a:pt x="636" y="1591"/>
                </a:lnTo>
                <a:cubicBezTo>
                  <a:pt x="636" y="1623"/>
                  <a:pt x="668" y="1670"/>
                  <a:pt x="716" y="1670"/>
                </a:cubicBezTo>
                <a:close/>
                <a:moveTo>
                  <a:pt x="1034" y="1670"/>
                </a:moveTo>
                <a:cubicBezTo>
                  <a:pt x="1082" y="1670"/>
                  <a:pt x="1114" y="1623"/>
                  <a:pt x="1114" y="1591"/>
                </a:cubicBezTo>
                <a:lnTo>
                  <a:pt x="1114" y="637"/>
                </a:lnTo>
                <a:cubicBezTo>
                  <a:pt x="1114" y="589"/>
                  <a:pt x="1082" y="557"/>
                  <a:pt x="1034" y="557"/>
                </a:cubicBezTo>
                <a:cubicBezTo>
                  <a:pt x="986" y="557"/>
                  <a:pt x="954" y="589"/>
                  <a:pt x="954" y="637"/>
                </a:cubicBezTo>
                <a:lnTo>
                  <a:pt x="954" y="1591"/>
                </a:lnTo>
                <a:cubicBezTo>
                  <a:pt x="954" y="1623"/>
                  <a:pt x="986" y="1670"/>
                  <a:pt x="1034" y="1670"/>
                </a:cubicBezTo>
                <a:close/>
                <a:moveTo>
                  <a:pt x="1352" y="1670"/>
                </a:moveTo>
                <a:cubicBezTo>
                  <a:pt x="1400" y="1670"/>
                  <a:pt x="1432" y="1623"/>
                  <a:pt x="1432" y="1591"/>
                </a:cubicBezTo>
                <a:lnTo>
                  <a:pt x="1432" y="637"/>
                </a:lnTo>
                <a:cubicBezTo>
                  <a:pt x="1432" y="589"/>
                  <a:pt x="1400" y="557"/>
                  <a:pt x="1352" y="557"/>
                </a:cubicBezTo>
                <a:cubicBezTo>
                  <a:pt x="1305" y="557"/>
                  <a:pt x="1273" y="589"/>
                  <a:pt x="1273" y="637"/>
                </a:cubicBezTo>
                <a:lnTo>
                  <a:pt x="1273" y="1591"/>
                </a:lnTo>
                <a:cubicBezTo>
                  <a:pt x="1273" y="1623"/>
                  <a:pt x="1305" y="1670"/>
                  <a:pt x="1352" y="167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3" name="Freeform: Shape 4">
            <a:extLst>
              <a:ext uri="{FF2B5EF4-FFF2-40B4-BE49-F238E27FC236}">
                <a16:creationId xmlns:a16="http://schemas.microsoft.com/office/drawing/2014/main" id="{5254BA92-B9F1-6B4F-AA5A-0BE2121C7E19}"/>
              </a:ext>
            </a:extLst>
          </p:cNvPr>
          <p:cNvSpPr/>
          <p:nvPr/>
        </p:nvSpPr>
        <p:spPr>
          <a:xfrm>
            <a:off x="1784472" y="9548775"/>
            <a:ext cx="1637640" cy="1636920"/>
          </a:xfrm>
          <a:custGeom>
            <a:avLst/>
            <a:gdLst/>
            <a:ahLst/>
            <a:cxnLst>
              <a:cxn ang="3cd4">
                <a:pos x="hc" y="t"/>
              </a:cxn>
              <a:cxn ang="cd2">
                <a:pos x="l" y="vc"/>
              </a:cxn>
              <a:cxn ang="cd4">
                <a:pos x="hc" y="b"/>
              </a:cxn>
              <a:cxn ang="0">
                <a:pos x="r" y="vc"/>
              </a:cxn>
            </a:cxnLst>
            <a:rect l="l" t="t" r="r" b="b"/>
            <a:pathLst>
              <a:path w="4550" h="4548">
                <a:moveTo>
                  <a:pt x="1607" y="2449"/>
                </a:moveTo>
                <a:cubicBezTo>
                  <a:pt x="1639" y="2449"/>
                  <a:pt x="1671" y="2417"/>
                  <a:pt x="1687" y="2385"/>
                </a:cubicBezTo>
                <a:cubicBezTo>
                  <a:pt x="2068" y="95"/>
                  <a:pt x="2068" y="95"/>
                  <a:pt x="2068" y="95"/>
                </a:cubicBezTo>
                <a:cubicBezTo>
                  <a:pt x="2068" y="63"/>
                  <a:pt x="2068" y="47"/>
                  <a:pt x="2053" y="31"/>
                </a:cubicBezTo>
                <a:cubicBezTo>
                  <a:pt x="2036" y="15"/>
                  <a:pt x="2005" y="0"/>
                  <a:pt x="1989" y="0"/>
                </a:cubicBezTo>
                <a:cubicBezTo>
                  <a:pt x="80" y="0"/>
                  <a:pt x="80" y="0"/>
                  <a:pt x="80" y="0"/>
                </a:cubicBezTo>
                <a:cubicBezTo>
                  <a:pt x="48" y="0"/>
                  <a:pt x="32" y="15"/>
                  <a:pt x="17" y="31"/>
                </a:cubicBezTo>
                <a:cubicBezTo>
                  <a:pt x="0" y="47"/>
                  <a:pt x="0" y="63"/>
                  <a:pt x="0" y="95"/>
                </a:cubicBezTo>
                <a:cubicBezTo>
                  <a:pt x="96" y="684"/>
                  <a:pt x="96" y="684"/>
                  <a:pt x="96" y="684"/>
                </a:cubicBezTo>
                <a:cubicBezTo>
                  <a:pt x="96" y="699"/>
                  <a:pt x="96" y="715"/>
                  <a:pt x="112" y="731"/>
                </a:cubicBezTo>
                <a:cubicBezTo>
                  <a:pt x="382" y="2385"/>
                  <a:pt x="382" y="2385"/>
                  <a:pt x="382" y="2385"/>
                </a:cubicBezTo>
                <a:cubicBezTo>
                  <a:pt x="382" y="2417"/>
                  <a:pt x="414" y="2449"/>
                  <a:pt x="462" y="2449"/>
                </a:cubicBezTo>
                <a:cubicBezTo>
                  <a:pt x="939" y="2449"/>
                  <a:pt x="939" y="2449"/>
                  <a:pt x="939" y="2449"/>
                </a:cubicBezTo>
                <a:cubicBezTo>
                  <a:pt x="939" y="3419"/>
                  <a:pt x="939" y="3419"/>
                  <a:pt x="939" y="3419"/>
                </a:cubicBezTo>
                <a:cubicBezTo>
                  <a:pt x="939" y="3944"/>
                  <a:pt x="1512" y="4548"/>
                  <a:pt x="2243" y="4548"/>
                </a:cubicBezTo>
                <a:cubicBezTo>
                  <a:pt x="2975" y="4548"/>
                  <a:pt x="3532" y="3944"/>
                  <a:pt x="3532" y="3419"/>
                </a:cubicBezTo>
                <a:cubicBezTo>
                  <a:pt x="3532" y="3212"/>
                  <a:pt x="3532" y="3212"/>
                  <a:pt x="3532" y="3212"/>
                </a:cubicBezTo>
                <a:cubicBezTo>
                  <a:pt x="4089" y="3212"/>
                  <a:pt x="4089" y="3212"/>
                  <a:pt x="4089" y="3212"/>
                </a:cubicBezTo>
                <a:cubicBezTo>
                  <a:pt x="4120" y="3212"/>
                  <a:pt x="4152" y="3181"/>
                  <a:pt x="4168" y="3149"/>
                </a:cubicBezTo>
                <a:cubicBezTo>
                  <a:pt x="4550" y="858"/>
                  <a:pt x="4550" y="858"/>
                  <a:pt x="4550" y="858"/>
                </a:cubicBezTo>
                <a:cubicBezTo>
                  <a:pt x="4550" y="827"/>
                  <a:pt x="4534" y="811"/>
                  <a:pt x="4534" y="795"/>
                </a:cubicBezTo>
                <a:cubicBezTo>
                  <a:pt x="4518" y="779"/>
                  <a:pt x="4486" y="763"/>
                  <a:pt x="4470" y="763"/>
                </a:cubicBezTo>
                <a:cubicBezTo>
                  <a:pt x="2562" y="763"/>
                  <a:pt x="2562" y="763"/>
                  <a:pt x="2562" y="763"/>
                </a:cubicBezTo>
                <a:cubicBezTo>
                  <a:pt x="2530" y="763"/>
                  <a:pt x="2514" y="779"/>
                  <a:pt x="2498" y="795"/>
                </a:cubicBezTo>
                <a:cubicBezTo>
                  <a:pt x="2482" y="811"/>
                  <a:pt x="2482" y="827"/>
                  <a:pt x="2482" y="858"/>
                </a:cubicBezTo>
                <a:cubicBezTo>
                  <a:pt x="2863" y="3149"/>
                  <a:pt x="2863" y="3149"/>
                  <a:pt x="2863" y="3149"/>
                </a:cubicBezTo>
                <a:cubicBezTo>
                  <a:pt x="2863" y="3181"/>
                  <a:pt x="2895" y="3212"/>
                  <a:pt x="2943" y="3212"/>
                </a:cubicBezTo>
                <a:cubicBezTo>
                  <a:pt x="3372" y="3212"/>
                  <a:pt x="3372" y="3212"/>
                  <a:pt x="3372" y="3212"/>
                </a:cubicBezTo>
                <a:cubicBezTo>
                  <a:pt x="3372" y="3419"/>
                  <a:pt x="3372" y="3419"/>
                  <a:pt x="3372" y="3419"/>
                </a:cubicBezTo>
                <a:cubicBezTo>
                  <a:pt x="3372" y="3849"/>
                  <a:pt x="2863" y="4390"/>
                  <a:pt x="2243" y="4390"/>
                </a:cubicBezTo>
                <a:cubicBezTo>
                  <a:pt x="1607" y="4390"/>
                  <a:pt x="1098" y="3849"/>
                  <a:pt x="1098" y="3419"/>
                </a:cubicBezTo>
                <a:cubicBezTo>
                  <a:pt x="1098" y="2449"/>
                  <a:pt x="1098" y="2449"/>
                  <a:pt x="1098" y="2449"/>
                </a:cubicBezTo>
                <a:close/>
                <a:moveTo>
                  <a:pt x="2657" y="922"/>
                </a:moveTo>
                <a:cubicBezTo>
                  <a:pt x="4375" y="922"/>
                  <a:pt x="4375" y="922"/>
                  <a:pt x="4375" y="922"/>
                </a:cubicBezTo>
                <a:cubicBezTo>
                  <a:pt x="4295" y="1367"/>
                  <a:pt x="4295" y="1367"/>
                  <a:pt x="4295" y="1367"/>
                </a:cubicBezTo>
                <a:cubicBezTo>
                  <a:pt x="2720" y="1367"/>
                  <a:pt x="2720" y="1367"/>
                  <a:pt x="2720" y="1367"/>
                </a:cubicBezTo>
                <a:close/>
                <a:moveTo>
                  <a:pt x="2752" y="1527"/>
                </a:moveTo>
                <a:cubicBezTo>
                  <a:pt x="4263" y="1527"/>
                  <a:pt x="4263" y="1527"/>
                  <a:pt x="4263" y="1527"/>
                </a:cubicBezTo>
                <a:cubicBezTo>
                  <a:pt x="4247" y="1685"/>
                  <a:pt x="4247" y="1685"/>
                  <a:pt x="4247" y="1685"/>
                </a:cubicBezTo>
                <a:cubicBezTo>
                  <a:pt x="2784" y="1685"/>
                  <a:pt x="2784" y="1685"/>
                  <a:pt x="2784" y="1685"/>
                </a:cubicBezTo>
                <a:close/>
                <a:moveTo>
                  <a:pt x="3007" y="3054"/>
                </a:moveTo>
                <a:cubicBezTo>
                  <a:pt x="2800" y="1845"/>
                  <a:pt x="2800" y="1845"/>
                  <a:pt x="2800" y="1845"/>
                </a:cubicBezTo>
                <a:cubicBezTo>
                  <a:pt x="4216" y="1845"/>
                  <a:pt x="4216" y="1845"/>
                  <a:pt x="4216" y="1845"/>
                </a:cubicBezTo>
                <a:cubicBezTo>
                  <a:pt x="4025" y="3054"/>
                  <a:pt x="4025" y="3054"/>
                  <a:pt x="4025" y="3054"/>
                </a:cubicBezTo>
                <a:close/>
                <a:moveTo>
                  <a:pt x="175" y="158"/>
                </a:moveTo>
                <a:cubicBezTo>
                  <a:pt x="1893" y="158"/>
                  <a:pt x="1893" y="158"/>
                  <a:pt x="1893" y="158"/>
                </a:cubicBezTo>
                <a:cubicBezTo>
                  <a:pt x="1814" y="604"/>
                  <a:pt x="1814" y="604"/>
                  <a:pt x="1814" y="604"/>
                </a:cubicBezTo>
                <a:cubicBezTo>
                  <a:pt x="255" y="604"/>
                  <a:pt x="255" y="604"/>
                  <a:pt x="255" y="604"/>
                </a:cubicBezTo>
                <a:close/>
                <a:moveTo>
                  <a:pt x="271" y="763"/>
                </a:moveTo>
                <a:cubicBezTo>
                  <a:pt x="1798" y="763"/>
                  <a:pt x="1798" y="763"/>
                  <a:pt x="1798" y="763"/>
                </a:cubicBezTo>
                <a:cubicBezTo>
                  <a:pt x="1766" y="922"/>
                  <a:pt x="1766" y="922"/>
                  <a:pt x="1766" y="922"/>
                </a:cubicBezTo>
                <a:cubicBezTo>
                  <a:pt x="303" y="922"/>
                  <a:pt x="303" y="922"/>
                  <a:pt x="303" y="922"/>
                </a:cubicBezTo>
                <a:close/>
                <a:moveTo>
                  <a:pt x="526" y="2290"/>
                </a:moveTo>
                <a:cubicBezTo>
                  <a:pt x="319" y="1081"/>
                  <a:pt x="319" y="1081"/>
                  <a:pt x="319" y="1081"/>
                </a:cubicBezTo>
                <a:cubicBezTo>
                  <a:pt x="1735" y="1081"/>
                  <a:pt x="1735" y="1081"/>
                  <a:pt x="1735" y="1081"/>
                </a:cubicBezTo>
                <a:cubicBezTo>
                  <a:pt x="1544" y="2290"/>
                  <a:pt x="1544" y="2290"/>
                  <a:pt x="1544" y="229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4" name="Freeform: Shape 5">
            <a:extLst>
              <a:ext uri="{FF2B5EF4-FFF2-40B4-BE49-F238E27FC236}">
                <a16:creationId xmlns:a16="http://schemas.microsoft.com/office/drawing/2014/main" id="{42BF1433-2FE9-7F42-8F5B-918BFD6DCD7F}"/>
              </a:ext>
            </a:extLst>
          </p:cNvPr>
          <p:cNvSpPr/>
          <p:nvPr/>
        </p:nvSpPr>
        <p:spPr>
          <a:xfrm>
            <a:off x="5975013" y="9634455"/>
            <a:ext cx="1482840" cy="1465560"/>
          </a:xfrm>
          <a:custGeom>
            <a:avLst/>
            <a:gdLst/>
            <a:ahLst/>
            <a:cxnLst>
              <a:cxn ang="3cd4">
                <a:pos x="hc" y="t"/>
              </a:cxn>
              <a:cxn ang="cd2">
                <a:pos x="l" y="vc"/>
              </a:cxn>
              <a:cxn ang="cd4">
                <a:pos x="hc" y="b"/>
              </a:cxn>
              <a:cxn ang="0">
                <a:pos x="r" y="vc"/>
              </a:cxn>
            </a:cxnLst>
            <a:rect l="l" t="t" r="r" b="b"/>
            <a:pathLst>
              <a:path w="4120" h="4072">
                <a:moveTo>
                  <a:pt x="2402" y="175"/>
                </a:moveTo>
                <a:lnTo>
                  <a:pt x="780" y="0"/>
                </a:lnTo>
                <a:cubicBezTo>
                  <a:pt x="748" y="0"/>
                  <a:pt x="732" y="0"/>
                  <a:pt x="716" y="16"/>
                </a:cubicBezTo>
                <a:cubicBezTo>
                  <a:pt x="700" y="32"/>
                  <a:pt x="684" y="48"/>
                  <a:pt x="684" y="80"/>
                </a:cubicBezTo>
                <a:lnTo>
                  <a:pt x="684" y="1432"/>
                </a:lnTo>
                <a:cubicBezTo>
                  <a:pt x="684" y="1464"/>
                  <a:pt x="700" y="1479"/>
                  <a:pt x="716" y="1495"/>
                </a:cubicBezTo>
                <a:cubicBezTo>
                  <a:pt x="732" y="1511"/>
                  <a:pt x="748" y="1511"/>
                  <a:pt x="763" y="1511"/>
                </a:cubicBezTo>
                <a:lnTo>
                  <a:pt x="780" y="1511"/>
                </a:lnTo>
                <a:lnTo>
                  <a:pt x="2402" y="1352"/>
                </a:lnTo>
                <a:cubicBezTo>
                  <a:pt x="2450" y="1336"/>
                  <a:pt x="2481" y="1304"/>
                  <a:pt x="2481" y="1273"/>
                </a:cubicBezTo>
                <a:lnTo>
                  <a:pt x="2481" y="843"/>
                </a:lnTo>
                <a:lnTo>
                  <a:pt x="3388" y="843"/>
                </a:lnTo>
                <a:cubicBezTo>
                  <a:pt x="3547" y="843"/>
                  <a:pt x="3643" y="938"/>
                  <a:pt x="3659" y="1034"/>
                </a:cubicBezTo>
                <a:cubicBezTo>
                  <a:pt x="3690" y="1146"/>
                  <a:pt x="3626" y="1241"/>
                  <a:pt x="3531" y="1289"/>
                </a:cubicBezTo>
                <a:lnTo>
                  <a:pt x="462" y="2656"/>
                </a:lnTo>
                <a:cubicBezTo>
                  <a:pt x="287" y="2752"/>
                  <a:pt x="191" y="2911"/>
                  <a:pt x="239" y="3102"/>
                </a:cubicBezTo>
                <a:cubicBezTo>
                  <a:pt x="287" y="3292"/>
                  <a:pt x="462" y="3420"/>
                  <a:pt x="668" y="3420"/>
                </a:cubicBezTo>
                <a:lnTo>
                  <a:pt x="1511" y="3420"/>
                </a:lnTo>
                <a:lnTo>
                  <a:pt x="1511" y="3818"/>
                </a:lnTo>
                <a:cubicBezTo>
                  <a:pt x="1511" y="3865"/>
                  <a:pt x="1527" y="3897"/>
                  <a:pt x="1575" y="3897"/>
                </a:cubicBezTo>
                <a:lnTo>
                  <a:pt x="2911" y="4024"/>
                </a:lnTo>
                <a:cubicBezTo>
                  <a:pt x="2927" y="4040"/>
                  <a:pt x="2927" y="4040"/>
                  <a:pt x="2942" y="4040"/>
                </a:cubicBezTo>
                <a:lnTo>
                  <a:pt x="2959" y="4040"/>
                </a:lnTo>
                <a:lnTo>
                  <a:pt x="3340" y="4072"/>
                </a:lnTo>
                <a:lnTo>
                  <a:pt x="3356" y="4072"/>
                </a:lnTo>
                <a:cubicBezTo>
                  <a:pt x="3372" y="4072"/>
                  <a:pt x="3388" y="4072"/>
                  <a:pt x="3404" y="4056"/>
                </a:cubicBezTo>
                <a:cubicBezTo>
                  <a:pt x="3420" y="4040"/>
                  <a:pt x="3436" y="4009"/>
                  <a:pt x="3436" y="3992"/>
                </a:cubicBezTo>
                <a:lnTo>
                  <a:pt x="3436" y="2625"/>
                </a:lnTo>
                <a:cubicBezTo>
                  <a:pt x="3436" y="2609"/>
                  <a:pt x="3420" y="2593"/>
                  <a:pt x="3404" y="2577"/>
                </a:cubicBezTo>
                <a:cubicBezTo>
                  <a:pt x="3388" y="2561"/>
                  <a:pt x="3372" y="2545"/>
                  <a:pt x="3340" y="2545"/>
                </a:cubicBezTo>
                <a:lnTo>
                  <a:pt x="1575" y="2720"/>
                </a:lnTo>
                <a:cubicBezTo>
                  <a:pt x="1527" y="2720"/>
                  <a:pt x="1511" y="2768"/>
                  <a:pt x="1511" y="2800"/>
                </a:cubicBezTo>
                <a:lnTo>
                  <a:pt x="1511" y="3261"/>
                </a:lnTo>
                <a:lnTo>
                  <a:pt x="668" y="3261"/>
                </a:lnTo>
                <a:cubicBezTo>
                  <a:pt x="509" y="3261"/>
                  <a:pt x="414" y="3165"/>
                  <a:pt x="398" y="3054"/>
                </a:cubicBezTo>
                <a:cubicBezTo>
                  <a:pt x="382" y="3006"/>
                  <a:pt x="366" y="2879"/>
                  <a:pt x="525" y="2800"/>
                </a:cubicBezTo>
                <a:lnTo>
                  <a:pt x="3595" y="1432"/>
                </a:lnTo>
                <a:cubicBezTo>
                  <a:pt x="3770" y="1352"/>
                  <a:pt x="3849" y="1177"/>
                  <a:pt x="3817" y="1002"/>
                </a:cubicBezTo>
                <a:cubicBezTo>
                  <a:pt x="3770" y="811"/>
                  <a:pt x="3595" y="684"/>
                  <a:pt x="3388" y="684"/>
                </a:cubicBezTo>
                <a:lnTo>
                  <a:pt x="2481" y="684"/>
                </a:lnTo>
                <a:lnTo>
                  <a:pt x="2481" y="239"/>
                </a:lnTo>
                <a:cubicBezTo>
                  <a:pt x="2481" y="207"/>
                  <a:pt x="2450" y="175"/>
                  <a:pt x="2402" y="175"/>
                </a:cubicBezTo>
                <a:close/>
                <a:moveTo>
                  <a:pt x="954" y="1336"/>
                </a:moveTo>
                <a:lnTo>
                  <a:pt x="843" y="1352"/>
                </a:lnTo>
                <a:lnTo>
                  <a:pt x="843" y="159"/>
                </a:lnTo>
                <a:lnTo>
                  <a:pt x="954" y="175"/>
                </a:lnTo>
                <a:close/>
                <a:moveTo>
                  <a:pt x="2322" y="1193"/>
                </a:moveTo>
                <a:lnTo>
                  <a:pt x="1114" y="1320"/>
                </a:lnTo>
                <a:lnTo>
                  <a:pt x="1114" y="191"/>
                </a:lnTo>
                <a:lnTo>
                  <a:pt x="2322" y="318"/>
                </a:lnTo>
                <a:close/>
                <a:moveTo>
                  <a:pt x="3022" y="2736"/>
                </a:moveTo>
                <a:lnTo>
                  <a:pt x="3277" y="2720"/>
                </a:lnTo>
                <a:lnTo>
                  <a:pt x="3277" y="3913"/>
                </a:lnTo>
                <a:lnTo>
                  <a:pt x="3022" y="3881"/>
                </a:lnTo>
                <a:close/>
                <a:moveTo>
                  <a:pt x="1670" y="2879"/>
                </a:moveTo>
                <a:lnTo>
                  <a:pt x="2863" y="2752"/>
                </a:lnTo>
                <a:lnTo>
                  <a:pt x="2863" y="3865"/>
                </a:lnTo>
                <a:lnTo>
                  <a:pt x="1670" y="3754"/>
                </a:lnTo>
                <a:close/>
                <a:moveTo>
                  <a:pt x="430" y="955"/>
                </a:moveTo>
                <a:lnTo>
                  <a:pt x="430" y="557"/>
                </a:lnTo>
                <a:cubicBezTo>
                  <a:pt x="430" y="509"/>
                  <a:pt x="398" y="477"/>
                  <a:pt x="350" y="477"/>
                </a:cubicBezTo>
                <a:cubicBezTo>
                  <a:pt x="318" y="477"/>
                  <a:pt x="271" y="509"/>
                  <a:pt x="271" y="557"/>
                </a:cubicBezTo>
                <a:lnTo>
                  <a:pt x="271" y="955"/>
                </a:lnTo>
                <a:cubicBezTo>
                  <a:pt x="271" y="1002"/>
                  <a:pt x="318" y="1034"/>
                  <a:pt x="350" y="1034"/>
                </a:cubicBezTo>
                <a:cubicBezTo>
                  <a:pt x="398" y="1034"/>
                  <a:pt x="430" y="1002"/>
                  <a:pt x="430" y="955"/>
                </a:cubicBezTo>
                <a:close/>
                <a:moveTo>
                  <a:pt x="0" y="1241"/>
                </a:moveTo>
                <a:cubicBezTo>
                  <a:pt x="0" y="1273"/>
                  <a:pt x="48" y="1320"/>
                  <a:pt x="80" y="1320"/>
                </a:cubicBezTo>
                <a:cubicBezTo>
                  <a:pt x="127" y="1320"/>
                  <a:pt x="159" y="1273"/>
                  <a:pt x="159" y="1241"/>
                </a:cubicBezTo>
                <a:lnTo>
                  <a:pt x="159" y="286"/>
                </a:lnTo>
                <a:cubicBezTo>
                  <a:pt x="159" y="239"/>
                  <a:pt x="127" y="207"/>
                  <a:pt x="80" y="207"/>
                </a:cubicBezTo>
                <a:cubicBezTo>
                  <a:pt x="48" y="207"/>
                  <a:pt x="0" y="239"/>
                  <a:pt x="0" y="286"/>
                </a:cubicBezTo>
                <a:close/>
                <a:moveTo>
                  <a:pt x="3547" y="3006"/>
                </a:moveTo>
                <a:lnTo>
                  <a:pt x="3547" y="3547"/>
                </a:lnTo>
                <a:cubicBezTo>
                  <a:pt x="3547" y="3595"/>
                  <a:pt x="3579" y="3627"/>
                  <a:pt x="3626" y="3627"/>
                </a:cubicBezTo>
                <a:cubicBezTo>
                  <a:pt x="3674" y="3627"/>
                  <a:pt x="3706" y="3595"/>
                  <a:pt x="3706" y="3547"/>
                </a:cubicBezTo>
                <a:lnTo>
                  <a:pt x="3706" y="3006"/>
                </a:lnTo>
                <a:cubicBezTo>
                  <a:pt x="3706" y="2959"/>
                  <a:pt x="3674" y="2927"/>
                  <a:pt x="3626" y="2927"/>
                </a:cubicBezTo>
                <a:cubicBezTo>
                  <a:pt x="3579" y="2927"/>
                  <a:pt x="3547" y="2959"/>
                  <a:pt x="3547" y="3006"/>
                </a:cubicBezTo>
                <a:close/>
                <a:moveTo>
                  <a:pt x="4040" y="2783"/>
                </a:moveTo>
                <a:cubicBezTo>
                  <a:pt x="3992" y="2783"/>
                  <a:pt x="3961" y="2831"/>
                  <a:pt x="3961" y="2863"/>
                </a:cubicBezTo>
                <a:lnTo>
                  <a:pt x="3961" y="3690"/>
                </a:lnTo>
                <a:cubicBezTo>
                  <a:pt x="3961" y="3738"/>
                  <a:pt x="3992" y="3770"/>
                  <a:pt x="4040" y="3770"/>
                </a:cubicBezTo>
                <a:cubicBezTo>
                  <a:pt x="4072" y="3770"/>
                  <a:pt x="4120" y="3738"/>
                  <a:pt x="4120" y="3690"/>
                </a:cubicBezTo>
                <a:lnTo>
                  <a:pt x="4120" y="2863"/>
                </a:lnTo>
                <a:cubicBezTo>
                  <a:pt x="4120" y="2831"/>
                  <a:pt x="4072" y="2783"/>
                  <a:pt x="4040" y="278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5" name="Freeform: Shape 6">
            <a:extLst>
              <a:ext uri="{FF2B5EF4-FFF2-40B4-BE49-F238E27FC236}">
                <a16:creationId xmlns:a16="http://schemas.microsoft.com/office/drawing/2014/main" id="{B05532CF-91B7-4948-92E6-6C0BDADF8B46}"/>
              </a:ext>
            </a:extLst>
          </p:cNvPr>
          <p:cNvSpPr/>
          <p:nvPr/>
        </p:nvSpPr>
        <p:spPr>
          <a:xfrm>
            <a:off x="17486634" y="9622935"/>
            <a:ext cx="1482840" cy="1482840"/>
          </a:xfrm>
          <a:custGeom>
            <a:avLst/>
            <a:gdLst/>
            <a:ahLst/>
            <a:cxnLst>
              <a:cxn ang="3cd4">
                <a:pos x="hc" y="t"/>
              </a:cxn>
              <a:cxn ang="cd2">
                <a:pos x="l" y="vc"/>
              </a:cxn>
              <a:cxn ang="cd4">
                <a:pos x="hc" y="b"/>
              </a:cxn>
              <a:cxn ang="0">
                <a:pos x="r" y="vc"/>
              </a:cxn>
            </a:cxnLst>
            <a:rect l="l" t="t" r="r" b="b"/>
            <a:pathLst>
              <a:path w="4120" h="4120">
                <a:moveTo>
                  <a:pt x="2800" y="4120"/>
                </a:moveTo>
                <a:cubicBezTo>
                  <a:pt x="3897" y="4120"/>
                  <a:pt x="3897" y="4120"/>
                  <a:pt x="3897" y="4120"/>
                </a:cubicBezTo>
                <a:cubicBezTo>
                  <a:pt x="3945" y="4120"/>
                  <a:pt x="3976" y="4088"/>
                  <a:pt x="3976" y="4041"/>
                </a:cubicBezTo>
                <a:cubicBezTo>
                  <a:pt x="3976" y="3579"/>
                  <a:pt x="3976" y="3579"/>
                  <a:pt x="3976" y="3579"/>
                </a:cubicBezTo>
                <a:cubicBezTo>
                  <a:pt x="4040" y="3579"/>
                  <a:pt x="4040" y="3579"/>
                  <a:pt x="4040" y="3579"/>
                </a:cubicBezTo>
                <a:cubicBezTo>
                  <a:pt x="4072" y="3579"/>
                  <a:pt x="4120" y="3547"/>
                  <a:pt x="4120" y="3500"/>
                </a:cubicBezTo>
                <a:cubicBezTo>
                  <a:pt x="4120" y="2132"/>
                  <a:pt x="4120" y="2132"/>
                  <a:pt x="4120" y="2132"/>
                </a:cubicBezTo>
                <a:cubicBezTo>
                  <a:pt x="4120" y="2084"/>
                  <a:pt x="4072" y="2052"/>
                  <a:pt x="4040" y="2052"/>
                </a:cubicBezTo>
                <a:cubicBezTo>
                  <a:pt x="3436" y="2052"/>
                  <a:pt x="3436" y="2052"/>
                  <a:pt x="3436" y="2052"/>
                </a:cubicBezTo>
                <a:cubicBezTo>
                  <a:pt x="3436" y="843"/>
                  <a:pt x="3436" y="843"/>
                  <a:pt x="3436" y="843"/>
                </a:cubicBezTo>
                <a:cubicBezTo>
                  <a:pt x="3436" y="461"/>
                  <a:pt x="3133" y="143"/>
                  <a:pt x="2784" y="143"/>
                </a:cubicBezTo>
                <a:cubicBezTo>
                  <a:pt x="2593" y="143"/>
                  <a:pt x="2593" y="143"/>
                  <a:pt x="2593" y="143"/>
                </a:cubicBezTo>
                <a:cubicBezTo>
                  <a:pt x="2227" y="143"/>
                  <a:pt x="1909" y="478"/>
                  <a:pt x="1909" y="843"/>
                </a:cubicBezTo>
                <a:cubicBezTo>
                  <a:pt x="1909" y="3245"/>
                  <a:pt x="1909" y="3245"/>
                  <a:pt x="1909" y="3245"/>
                </a:cubicBezTo>
                <a:cubicBezTo>
                  <a:pt x="1909" y="3532"/>
                  <a:pt x="1702" y="3833"/>
                  <a:pt x="1416" y="3833"/>
                </a:cubicBezTo>
                <a:cubicBezTo>
                  <a:pt x="1225" y="3833"/>
                  <a:pt x="1225" y="3833"/>
                  <a:pt x="1225" y="3833"/>
                </a:cubicBezTo>
                <a:cubicBezTo>
                  <a:pt x="954" y="3833"/>
                  <a:pt x="700" y="3547"/>
                  <a:pt x="700" y="3245"/>
                </a:cubicBezTo>
                <a:cubicBezTo>
                  <a:pt x="700" y="2084"/>
                  <a:pt x="700" y="2084"/>
                  <a:pt x="700" y="2084"/>
                </a:cubicBezTo>
                <a:cubicBezTo>
                  <a:pt x="1161" y="2084"/>
                  <a:pt x="1161" y="2084"/>
                  <a:pt x="1161" y="2084"/>
                </a:cubicBezTo>
                <a:cubicBezTo>
                  <a:pt x="1209" y="2084"/>
                  <a:pt x="1240" y="2036"/>
                  <a:pt x="1240" y="2005"/>
                </a:cubicBezTo>
                <a:cubicBezTo>
                  <a:pt x="1240" y="636"/>
                  <a:pt x="1240" y="636"/>
                  <a:pt x="1240" y="636"/>
                </a:cubicBezTo>
                <a:cubicBezTo>
                  <a:pt x="1240" y="589"/>
                  <a:pt x="1209" y="557"/>
                  <a:pt x="1161" y="557"/>
                </a:cubicBezTo>
                <a:cubicBezTo>
                  <a:pt x="970" y="557"/>
                  <a:pt x="970" y="557"/>
                  <a:pt x="970" y="557"/>
                </a:cubicBezTo>
                <a:cubicBezTo>
                  <a:pt x="970" y="80"/>
                  <a:pt x="970" y="80"/>
                  <a:pt x="970" y="80"/>
                </a:cubicBezTo>
                <a:cubicBezTo>
                  <a:pt x="970" y="48"/>
                  <a:pt x="938" y="0"/>
                  <a:pt x="891" y="0"/>
                </a:cubicBezTo>
                <a:cubicBezTo>
                  <a:pt x="350" y="0"/>
                  <a:pt x="350" y="0"/>
                  <a:pt x="350" y="0"/>
                </a:cubicBezTo>
                <a:cubicBezTo>
                  <a:pt x="302" y="0"/>
                  <a:pt x="270" y="48"/>
                  <a:pt x="270" y="80"/>
                </a:cubicBezTo>
                <a:cubicBezTo>
                  <a:pt x="270" y="557"/>
                  <a:pt x="270" y="557"/>
                  <a:pt x="270" y="557"/>
                </a:cubicBezTo>
                <a:cubicBezTo>
                  <a:pt x="79" y="557"/>
                  <a:pt x="79" y="557"/>
                  <a:pt x="79" y="557"/>
                </a:cubicBezTo>
                <a:cubicBezTo>
                  <a:pt x="32" y="557"/>
                  <a:pt x="0" y="589"/>
                  <a:pt x="0" y="636"/>
                </a:cubicBezTo>
                <a:cubicBezTo>
                  <a:pt x="0" y="2005"/>
                  <a:pt x="0" y="2005"/>
                  <a:pt x="0" y="2005"/>
                </a:cubicBezTo>
                <a:cubicBezTo>
                  <a:pt x="0" y="2036"/>
                  <a:pt x="32" y="2084"/>
                  <a:pt x="79" y="2084"/>
                </a:cubicBezTo>
                <a:cubicBezTo>
                  <a:pt x="541" y="2084"/>
                  <a:pt x="541" y="2084"/>
                  <a:pt x="541" y="2084"/>
                </a:cubicBezTo>
                <a:cubicBezTo>
                  <a:pt x="541" y="3245"/>
                  <a:pt x="541" y="3245"/>
                  <a:pt x="541" y="3245"/>
                </a:cubicBezTo>
                <a:cubicBezTo>
                  <a:pt x="541" y="3643"/>
                  <a:pt x="875" y="3993"/>
                  <a:pt x="1225" y="3993"/>
                </a:cubicBezTo>
                <a:cubicBezTo>
                  <a:pt x="1416" y="3993"/>
                  <a:pt x="1416" y="3993"/>
                  <a:pt x="1416" y="3993"/>
                </a:cubicBezTo>
                <a:cubicBezTo>
                  <a:pt x="1797" y="3993"/>
                  <a:pt x="2068" y="3595"/>
                  <a:pt x="2068" y="3245"/>
                </a:cubicBezTo>
                <a:cubicBezTo>
                  <a:pt x="2068" y="843"/>
                  <a:pt x="2068" y="843"/>
                  <a:pt x="2068" y="843"/>
                </a:cubicBezTo>
                <a:cubicBezTo>
                  <a:pt x="2068" y="557"/>
                  <a:pt x="2322" y="303"/>
                  <a:pt x="2593" y="303"/>
                </a:cubicBezTo>
                <a:cubicBezTo>
                  <a:pt x="2784" y="303"/>
                  <a:pt x="2784" y="303"/>
                  <a:pt x="2784" y="303"/>
                </a:cubicBezTo>
                <a:cubicBezTo>
                  <a:pt x="3038" y="303"/>
                  <a:pt x="3276" y="557"/>
                  <a:pt x="3276" y="843"/>
                </a:cubicBezTo>
                <a:cubicBezTo>
                  <a:pt x="3276" y="2052"/>
                  <a:pt x="3276" y="2052"/>
                  <a:pt x="3276" y="2052"/>
                </a:cubicBezTo>
                <a:cubicBezTo>
                  <a:pt x="2672" y="2052"/>
                  <a:pt x="2672" y="2052"/>
                  <a:pt x="2672" y="2052"/>
                </a:cubicBezTo>
                <a:cubicBezTo>
                  <a:pt x="2624" y="2052"/>
                  <a:pt x="2593" y="2084"/>
                  <a:pt x="2593" y="2132"/>
                </a:cubicBezTo>
                <a:cubicBezTo>
                  <a:pt x="2593" y="3500"/>
                  <a:pt x="2593" y="3500"/>
                  <a:pt x="2593" y="3500"/>
                </a:cubicBezTo>
                <a:cubicBezTo>
                  <a:pt x="2593" y="3547"/>
                  <a:pt x="2624" y="3579"/>
                  <a:pt x="2672" y="3579"/>
                </a:cubicBezTo>
                <a:cubicBezTo>
                  <a:pt x="2720" y="3579"/>
                  <a:pt x="2720" y="3579"/>
                  <a:pt x="2720" y="3579"/>
                </a:cubicBezTo>
                <a:cubicBezTo>
                  <a:pt x="2720" y="4041"/>
                  <a:pt x="2720" y="4041"/>
                  <a:pt x="2720" y="4041"/>
                </a:cubicBezTo>
                <a:cubicBezTo>
                  <a:pt x="2720" y="4088"/>
                  <a:pt x="2767" y="4120"/>
                  <a:pt x="2800" y="4120"/>
                </a:cubicBezTo>
                <a:close/>
                <a:moveTo>
                  <a:pt x="430" y="160"/>
                </a:moveTo>
                <a:cubicBezTo>
                  <a:pt x="811" y="160"/>
                  <a:pt x="811" y="160"/>
                  <a:pt x="811" y="160"/>
                </a:cubicBezTo>
                <a:cubicBezTo>
                  <a:pt x="811" y="557"/>
                  <a:pt x="811" y="557"/>
                  <a:pt x="811" y="557"/>
                </a:cubicBezTo>
                <a:cubicBezTo>
                  <a:pt x="430" y="557"/>
                  <a:pt x="430" y="557"/>
                  <a:pt x="430" y="557"/>
                </a:cubicBezTo>
                <a:close/>
                <a:moveTo>
                  <a:pt x="159" y="1925"/>
                </a:moveTo>
                <a:cubicBezTo>
                  <a:pt x="159" y="716"/>
                  <a:pt x="159" y="716"/>
                  <a:pt x="159" y="716"/>
                </a:cubicBezTo>
                <a:cubicBezTo>
                  <a:pt x="350" y="716"/>
                  <a:pt x="350" y="716"/>
                  <a:pt x="350" y="716"/>
                </a:cubicBezTo>
                <a:cubicBezTo>
                  <a:pt x="891" y="716"/>
                  <a:pt x="891" y="716"/>
                  <a:pt x="891" y="716"/>
                </a:cubicBezTo>
                <a:cubicBezTo>
                  <a:pt x="1082" y="716"/>
                  <a:pt x="1082" y="716"/>
                  <a:pt x="1082" y="716"/>
                </a:cubicBezTo>
                <a:cubicBezTo>
                  <a:pt x="1082" y="1925"/>
                  <a:pt x="1082" y="1925"/>
                  <a:pt x="1082" y="1925"/>
                </a:cubicBezTo>
                <a:close/>
                <a:moveTo>
                  <a:pt x="3817" y="3961"/>
                </a:moveTo>
                <a:cubicBezTo>
                  <a:pt x="3563" y="3961"/>
                  <a:pt x="3563" y="3961"/>
                  <a:pt x="3563" y="3961"/>
                </a:cubicBezTo>
                <a:cubicBezTo>
                  <a:pt x="3563" y="3706"/>
                  <a:pt x="3563" y="3706"/>
                  <a:pt x="3563" y="3706"/>
                </a:cubicBezTo>
                <a:cubicBezTo>
                  <a:pt x="3563" y="3659"/>
                  <a:pt x="3531" y="3627"/>
                  <a:pt x="3484" y="3627"/>
                </a:cubicBezTo>
                <a:cubicBezTo>
                  <a:pt x="3452" y="3627"/>
                  <a:pt x="3404" y="3659"/>
                  <a:pt x="3404" y="3706"/>
                </a:cubicBezTo>
                <a:cubicBezTo>
                  <a:pt x="3404" y="3961"/>
                  <a:pt x="3404" y="3961"/>
                  <a:pt x="3404" y="3961"/>
                </a:cubicBezTo>
                <a:cubicBezTo>
                  <a:pt x="3293" y="3961"/>
                  <a:pt x="3293" y="3961"/>
                  <a:pt x="3293" y="3961"/>
                </a:cubicBezTo>
                <a:cubicBezTo>
                  <a:pt x="3293" y="3706"/>
                  <a:pt x="3293" y="3706"/>
                  <a:pt x="3293" y="3706"/>
                </a:cubicBezTo>
                <a:cubicBezTo>
                  <a:pt x="3293" y="3659"/>
                  <a:pt x="3261" y="3627"/>
                  <a:pt x="3213" y="3627"/>
                </a:cubicBezTo>
                <a:cubicBezTo>
                  <a:pt x="3165" y="3627"/>
                  <a:pt x="3133" y="3659"/>
                  <a:pt x="3133" y="3706"/>
                </a:cubicBezTo>
                <a:cubicBezTo>
                  <a:pt x="3133" y="3961"/>
                  <a:pt x="3133" y="3961"/>
                  <a:pt x="3133" y="3961"/>
                </a:cubicBezTo>
                <a:cubicBezTo>
                  <a:pt x="2879" y="3961"/>
                  <a:pt x="2879" y="3961"/>
                  <a:pt x="2879" y="3961"/>
                </a:cubicBezTo>
                <a:cubicBezTo>
                  <a:pt x="2879" y="3579"/>
                  <a:pt x="2879" y="3579"/>
                  <a:pt x="2879" y="3579"/>
                </a:cubicBezTo>
                <a:cubicBezTo>
                  <a:pt x="3817" y="3579"/>
                  <a:pt x="3817" y="3579"/>
                  <a:pt x="3817" y="3579"/>
                </a:cubicBezTo>
                <a:close/>
                <a:moveTo>
                  <a:pt x="2752" y="2211"/>
                </a:moveTo>
                <a:cubicBezTo>
                  <a:pt x="3960" y="2211"/>
                  <a:pt x="3960" y="2211"/>
                  <a:pt x="3960" y="2211"/>
                </a:cubicBezTo>
                <a:cubicBezTo>
                  <a:pt x="3960" y="3420"/>
                  <a:pt x="3960" y="3420"/>
                  <a:pt x="3960" y="3420"/>
                </a:cubicBezTo>
                <a:cubicBezTo>
                  <a:pt x="3897" y="3420"/>
                  <a:pt x="3897" y="3420"/>
                  <a:pt x="3897" y="3420"/>
                </a:cubicBezTo>
                <a:cubicBezTo>
                  <a:pt x="2800" y="3420"/>
                  <a:pt x="2800" y="3420"/>
                  <a:pt x="2800" y="3420"/>
                </a:cubicBezTo>
                <a:cubicBezTo>
                  <a:pt x="2752" y="3420"/>
                  <a:pt x="2752" y="3420"/>
                  <a:pt x="2752" y="342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6" name="Freeform: Shape 7">
            <a:extLst>
              <a:ext uri="{FF2B5EF4-FFF2-40B4-BE49-F238E27FC236}">
                <a16:creationId xmlns:a16="http://schemas.microsoft.com/office/drawing/2014/main" id="{D638B0A7-7B0A-674E-8496-A7FD6E284A6D}"/>
              </a:ext>
            </a:extLst>
          </p:cNvPr>
          <p:cNvSpPr/>
          <p:nvPr/>
        </p:nvSpPr>
        <p:spPr>
          <a:xfrm>
            <a:off x="14101513" y="9525735"/>
            <a:ext cx="1139400" cy="1683000"/>
          </a:xfrm>
          <a:custGeom>
            <a:avLst/>
            <a:gdLst/>
            <a:ahLst/>
            <a:cxnLst>
              <a:cxn ang="3cd4">
                <a:pos x="hc" y="t"/>
              </a:cxn>
              <a:cxn ang="cd2">
                <a:pos x="l" y="vc"/>
              </a:cxn>
              <a:cxn ang="cd4">
                <a:pos x="hc" y="b"/>
              </a:cxn>
              <a:cxn ang="0">
                <a:pos x="r" y="vc"/>
              </a:cxn>
            </a:cxnLst>
            <a:rect l="l" t="t" r="r" b="b"/>
            <a:pathLst>
              <a:path w="3166" h="4676">
                <a:moveTo>
                  <a:pt x="1209" y="4676"/>
                </a:moveTo>
                <a:cubicBezTo>
                  <a:pt x="2227" y="4676"/>
                  <a:pt x="2227" y="4676"/>
                  <a:pt x="2227" y="4676"/>
                </a:cubicBezTo>
                <a:cubicBezTo>
                  <a:pt x="2545" y="4676"/>
                  <a:pt x="2847" y="4374"/>
                  <a:pt x="2847" y="4072"/>
                </a:cubicBezTo>
                <a:cubicBezTo>
                  <a:pt x="2847" y="2290"/>
                  <a:pt x="2847" y="2290"/>
                  <a:pt x="2847" y="2290"/>
                </a:cubicBezTo>
                <a:cubicBezTo>
                  <a:pt x="3086" y="2290"/>
                  <a:pt x="3086" y="2290"/>
                  <a:pt x="3086" y="2290"/>
                </a:cubicBezTo>
                <a:cubicBezTo>
                  <a:pt x="3133" y="2290"/>
                  <a:pt x="3166" y="2258"/>
                  <a:pt x="3166" y="2211"/>
                </a:cubicBezTo>
                <a:cubicBezTo>
                  <a:pt x="3166" y="1431"/>
                  <a:pt x="3166" y="1431"/>
                  <a:pt x="3166" y="1431"/>
                </a:cubicBezTo>
                <a:cubicBezTo>
                  <a:pt x="3166" y="1384"/>
                  <a:pt x="3133" y="1352"/>
                  <a:pt x="3086" y="1352"/>
                </a:cubicBezTo>
                <a:cubicBezTo>
                  <a:pt x="3006" y="1352"/>
                  <a:pt x="3006" y="1352"/>
                  <a:pt x="3006" y="1352"/>
                </a:cubicBezTo>
                <a:cubicBezTo>
                  <a:pt x="3006" y="954"/>
                  <a:pt x="3006" y="954"/>
                  <a:pt x="3006" y="954"/>
                </a:cubicBezTo>
                <a:cubicBezTo>
                  <a:pt x="3006" y="906"/>
                  <a:pt x="2975" y="875"/>
                  <a:pt x="2927" y="875"/>
                </a:cubicBezTo>
                <a:cubicBezTo>
                  <a:pt x="2450" y="875"/>
                  <a:pt x="2450" y="875"/>
                  <a:pt x="2450" y="875"/>
                </a:cubicBezTo>
                <a:cubicBezTo>
                  <a:pt x="2402" y="875"/>
                  <a:pt x="2370" y="906"/>
                  <a:pt x="2370" y="954"/>
                </a:cubicBezTo>
                <a:cubicBezTo>
                  <a:pt x="2370" y="1352"/>
                  <a:pt x="2370" y="1352"/>
                  <a:pt x="2370" y="1352"/>
                </a:cubicBezTo>
                <a:cubicBezTo>
                  <a:pt x="2291" y="1352"/>
                  <a:pt x="2291" y="1352"/>
                  <a:pt x="2291" y="1352"/>
                </a:cubicBezTo>
                <a:cubicBezTo>
                  <a:pt x="2259" y="1352"/>
                  <a:pt x="2211" y="1384"/>
                  <a:pt x="2211" y="1431"/>
                </a:cubicBezTo>
                <a:cubicBezTo>
                  <a:pt x="2211" y="2211"/>
                  <a:pt x="2211" y="2211"/>
                  <a:pt x="2211" y="2211"/>
                </a:cubicBezTo>
                <a:cubicBezTo>
                  <a:pt x="2211" y="2258"/>
                  <a:pt x="2259" y="2290"/>
                  <a:pt x="2291" y="2290"/>
                </a:cubicBezTo>
                <a:cubicBezTo>
                  <a:pt x="2688" y="2290"/>
                  <a:pt x="2688" y="2290"/>
                  <a:pt x="2688" y="2290"/>
                </a:cubicBezTo>
                <a:cubicBezTo>
                  <a:pt x="2688" y="4072"/>
                  <a:pt x="2688" y="4072"/>
                  <a:pt x="2688" y="4072"/>
                </a:cubicBezTo>
                <a:cubicBezTo>
                  <a:pt x="2688" y="4294"/>
                  <a:pt x="2450" y="4517"/>
                  <a:pt x="2227" y="4517"/>
                </a:cubicBezTo>
                <a:cubicBezTo>
                  <a:pt x="1209" y="4517"/>
                  <a:pt x="1209" y="4517"/>
                  <a:pt x="1209" y="4517"/>
                </a:cubicBezTo>
                <a:cubicBezTo>
                  <a:pt x="987" y="4517"/>
                  <a:pt x="779" y="4294"/>
                  <a:pt x="779" y="4072"/>
                </a:cubicBezTo>
                <a:cubicBezTo>
                  <a:pt x="779" y="2609"/>
                  <a:pt x="779" y="2609"/>
                  <a:pt x="779" y="2609"/>
                </a:cubicBezTo>
                <a:cubicBezTo>
                  <a:pt x="1336" y="2609"/>
                  <a:pt x="1336" y="2609"/>
                  <a:pt x="1336" y="2609"/>
                </a:cubicBezTo>
                <a:cubicBezTo>
                  <a:pt x="1384" y="2609"/>
                  <a:pt x="1416" y="2576"/>
                  <a:pt x="1416" y="2529"/>
                </a:cubicBezTo>
                <a:cubicBezTo>
                  <a:pt x="1416" y="477"/>
                  <a:pt x="1416" y="477"/>
                  <a:pt x="1416" y="477"/>
                </a:cubicBezTo>
                <a:cubicBezTo>
                  <a:pt x="1416" y="430"/>
                  <a:pt x="1384" y="397"/>
                  <a:pt x="1336" y="397"/>
                </a:cubicBezTo>
                <a:cubicBezTo>
                  <a:pt x="939" y="397"/>
                  <a:pt x="939" y="397"/>
                  <a:pt x="939" y="397"/>
                </a:cubicBezTo>
                <a:cubicBezTo>
                  <a:pt x="939" y="79"/>
                  <a:pt x="939" y="79"/>
                  <a:pt x="939" y="79"/>
                </a:cubicBezTo>
                <a:cubicBezTo>
                  <a:pt x="939" y="32"/>
                  <a:pt x="907" y="0"/>
                  <a:pt x="859" y="0"/>
                </a:cubicBezTo>
                <a:cubicBezTo>
                  <a:pt x="827" y="0"/>
                  <a:pt x="779" y="32"/>
                  <a:pt x="779" y="79"/>
                </a:cubicBezTo>
                <a:cubicBezTo>
                  <a:pt x="779" y="397"/>
                  <a:pt x="779" y="397"/>
                  <a:pt x="779" y="397"/>
                </a:cubicBezTo>
                <a:cubicBezTo>
                  <a:pt x="621" y="397"/>
                  <a:pt x="621" y="397"/>
                  <a:pt x="621" y="397"/>
                </a:cubicBezTo>
                <a:cubicBezTo>
                  <a:pt x="621" y="79"/>
                  <a:pt x="621" y="79"/>
                  <a:pt x="621" y="79"/>
                </a:cubicBezTo>
                <a:cubicBezTo>
                  <a:pt x="621" y="32"/>
                  <a:pt x="589" y="0"/>
                  <a:pt x="541" y="0"/>
                </a:cubicBezTo>
                <a:cubicBezTo>
                  <a:pt x="509" y="0"/>
                  <a:pt x="461" y="32"/>
                  <a:pt x="461" y="79"/>
                </a:cubicBezTo>
                <a:cubicBezTo>
                  <a:pt x="461" y="397"/>
                  <a:pt x="461" y="397"/>
                  <a:pt x="461" y="397"/>
                </a:cubicBezTo>
                <a:cubicBezTo>
                  <a:pt x="64" y="397"/>
                  <a:pt x="64" y="397"/>
                  <a:pt x="64" y="397"/>
                </a:cubicBezTo>
                <a:cubicBezTo>
                  <a:pt x="32" y="397"/>
                  <a:pt x="0" y="430"/>
                  <a:pt x="0" y="477"/>
                </a:cubicBezTo>
                <a:cubicBezTo>
                  <a:pt x="0" y="2529"/>
                  <a:pt x="0" y="2529"/>
                  <a:pt x="0" y="2529"/>
                </a:cubicBezTo>
                <a:cubicBezTo>
                  <a:pt x="0" y="2576"/>
                  <a:pt x="32" y="2609"/>
                  <a:pt x="64" y="2609"/>
                </a:cubicBezTo>
                <a:cubicBezTo>
                  <a:pt x="621" y="2609"/>
                  <a:pt x="621" y="2609"/>
                  <a:pt x="621" y="2609"/>
                </a:cubicBezTo>
                <a:cubicBezTo>
                  <a:pt x="621" y="4072"/>
                  <a:pt x="621" y="4072"/>
                  <a:pt x="621" y="4072"/>
                </a:cubicBezTo>
                <a:cubicBezTo>
                  <a:pt x="621" y="4390"/>
                  <a:pt x="907" y="4676"/>
                  <a:pt x="1209" y="4676"/>
                </a:cubicBezTo>
                <a:close/>
                <a:moveTo>
                  <a:pt x="2529" y="1034"/>
                </a:moveTo>
                <a:cubicBezTo>
                  <a:pt x="2847" y="1034"/>
                  <a:pt x="2847" y="1034"/>
                  <a:pt x="2847" y="1034"/>
                </a:cubicBezTo>
                <a:cubicBezTo>
                  <a:pt x="2847" y="1352"/>
                  <a:pt x="2847" y="1352"/>
                  <a:pt x="2847" y="1352"/>
                </a:cubicBezTo>
                <a:cubicBezTo>
                  <a:pt x="2529" y="1352"/>
                  <a:pt x="2529" y="1352"/>
                  <a:pt x="2529" y="1352"/>
                </a:cubicBezTo>
                <a:close/>
                <a:moveTo>
                  <a:pt x="2370" y="2131"/>
                </a:moveTo>
                <a:cubicBezTo>
                  <a:pt x="2370" y="1511"/>
                  <a:pt x="2370" y="1511"/>
                  <a:pt x="2370" y="1511"/>
                </a:cubicBezTo>
                <a:cubicBezTo>
                  <a:pt x="2450" y="1511"/>
                  <a:pt x="2450" y="1511"/>
                  <a:pt x="2450" y="1511"/>
                </a:cubicBezTo>
                <a:cubicBezTo>
                  <a:pt x="2927" y="1511"/>
                  <a:pt x="2927" y="1511"/>
                  <a:pt x="2927" y="1511"/>
                </a:cubicBezTo>
                <a:cubicBezTo>
                  <a:pt x="3006" y="1511"/>
                  <a:pt x="3006" y="1511"/>
                  <a:pt x="3006" y="1511"/>
                </a:cubicBezTo>
                <a:cubicBezTo>
                  <a:pt x="3006" y="2131"/>
                  <a:pt x="3006" y="2131"/>
                  <a:pt x="3006" y="2131"/>
                </a:cubicBezTo>
                <a:close/>
                <a:moveTo>
                  <a:pt x="143" y="2449"/>
                </a:moveTo>
                <a:cubicBezTo>
                  <a:pt x="143" y="557"/>
                  <a:pt x="143" y="557"/>
                  <a:pt x="143" y="557"/>
                </a:cubicBezTo>
                <a:cubicBezTo>
                  <a:pt x="1257" y="557"/>
                  <a:pt x="1257" y="557"/>
                  <a:pt x="1257" y="557"/>
                </a:cubicBezTo>
                <a:cubicBezTo>
                  <a:pt x="1257" y="2449"/>
                  <a:pt x="1257" y="2449"/>
                  <a:pt x="1257" y="244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7" name="Freeform: Shape 8">
            <a:extLst>
              <a:ext uri="{FF2B5EF4-FFF2-40B4-BE49-F238E27FC236}">
                <a16:creationId xmlns:a16="http://schemas.microsoft.com/office/drawing/2014/main" id="{EAB445A4-267B-994E-B80E-A6EA21BF2E87}"/>
              </a:ext>
            </a:extLst>
          </p:cNvPr>
          <p:cNvSpPr/>
          <p:nvPr/>
        </p:nvSpPr>
        <p:spPr>
          <a:xfrm>
            <a:off x="10135533" y="9640215"/>
            <a:ext cx="1459439" cy="1454040"/>
          </a:xfrm>
          <a:custGeom>
            <a:avLst/>
            <a:gdLst/>
            <a:ahLst/>
            <a:cxnLst>
              <a:cxn ang="3cd4">
                <a:pos x="hc" y="t"/>
              </a:cxn>
              <a:cxn ang="cd2">
                <a:pos x="l" y="vc"/>
              </a:cxn>
              <a:cxn ang="cd4">
                <a:pos x="hc" y="b"/>
              </a:cxn>
              <a:cxn ang="0">
                <a:pos x="r" y="vc"/>
              </a:cxn>
            </a:cxnLst>
            <a:rect l="l" t="t" r="r" b="b"/>
            <a:pathLst>
              <a:path w="4055" h="4040">
                <a:moveTo>
                  <a:pt x="3976" y="3404"/>
                </a:moveTo>
                <a:cubicBezTo>
                  <a:pt x="4008" y="3404"/>
                  <a:pt x="4055" y="3372"/>
                  <a:pt x="4055" y="3324"/>
                </a:cubicBezTo>
                <a:cubicBezTo>
                  <a:pt x="4055" y="3276"/>
                  <a:pt x="4008" y="3245"/>
                  <a:pt x="3976" y="3245"/>
                </a:cubicBezTo>
                <a:cubicBezTo>
                  <a:pt x="3833" y="3245"/>
                  <a:pt x="3833" y="3245"/>
                  <a:pt x="3833" y="3245"/>
                </a:cubicBezTo>
                <a:cubicBezTo>
                  <a:pt x="3833" y="2911"/>
                  <a:pt x="3833" y="2911"/>
                  <a:pt x="3833" y="2911"/>
                </a:cubicBezTo>
                <a:cubicBezTo>
                  <a:pt x="3833" y="2879"/>
                  <a:pt x="3833" y="2863"/>
                  <a:pt x="3801" y="2847"/>
                </a:cubicBezTo>
                <a:cubicBezTo>
                  <a:pt x="3785" y="2831"/>
                  <a:pt x="3769" y="2815"/>
                  <a:pt x="3737" y="2831"/>
                </a:cubicBezTo>
                <a:cubicBezTo>
                  <a:pt x="2751" y="3006"/>
                  <a:pt x="2751" y="3006"/>
                  <a:pt x="2751" y="3006"/>
                </a:cubicBezTo>
                <a:cubicBezTo>
                  <a:pt x="2719" y="3006"/>
                  <a:pt x="2688" y="3038"/>
                  <a:pt x="2688" y="3086"/>
                </a:cubicBezTo>
                <a:cubicBezTo>
                  <a:pt x="2688" y="3388"/>
                  <a:pt x="2688" y="3388"/>
                  <a:pt x="2688" y="3388"/>
                </a:cubicBezTo>
                <a:cubicBezTo>
                  <a:pt x="620" y="3388"/>
                  <a:pt x="620" y="3388"/>
                  <a:pt x="620" y="3388"/>
                </a:cubicBezTo>
                <a:cubicBezTo>
                  <a:pt x="588" y="3388"/>
                  <a:pt x="159" y="3356"/>
                  <a:pt x="159" y="2927"/>
                </a:cubicBezTo>
                <a:cubicBezTo>
                  <a:pt x="159" y="2497"/>
                  <a:pt x="413" y="2449"/>
                  <a:pt x="620" y="2449"/>
                </a:cubicBezTo>
                <a:cubicBezTo>
                  <a:pt x="635" y="2449"/>
                  <a:pt x="683" y="2449"/>
                  <a:pt x="747" y="2449"/>
                </a:cubicBezTo>
                <a:cubicBezTo>
                  <a:pt x="1558" y="2481"/>
                  <a:pt x="2528" y="2481"/>
                  <a:pt x="2783" y="2306"/>
                </a:cubicBezTo>
                <a:cubicBezTo>
                  <a:pt x="3101" y="2068"/>
                  <a:pt x="3117" y="1670"/>
                  <a:pt x="2974" y="1416"/>
                </a:cubicBezTo>
                <a:cubicBezTo>
                  <a:pt x="2846" y="1193"/>
                  <a:pt x="2528" y="1018"/>
                  <a:pt x="2067" y="1225"/>
                </a:cubicBezTo>
                <a:cubicBezTo>
                  <a:pt x="1590" y="1448"/>
                  <a:pt x="1049" y="1463"/>
                  <a:pt x="763" y="1273"/>
                </a:cubicBezTo>
                <a:cubicBezTo>
                  <a:pt x="620" y="1177"/>
                  <a:pt x="540" y="1050"/>
                  <a:pt x="540" y="891"/>
                </a:cubicBezTo>
                <a:cubicBezTo>
                  <a:pt x="540" y="875"/>
                  <a:pt x="540" y="875"/>
                  <a:pt x="540" y="859"/>
                </a:cubicBezTo>
                <a:cubicBezTo>
                  <a:pt x="922" y="859"/>
                  <a:pt x="922" y="859"/>
                  <a:pt x="922" y="859"/>
                </a:cubicBezTo>
                <a:cubicBezTo>
                  <a:pt x="970" y="859"/>
                  <a:pt x="1001" y="827"/>
                  <a:pt x="1001" y="779"/>
                </a:cubicBezTo>
                <a:cubicBezTo>
                  <a:pt x="1001" y="79"/>
                  <a:pt x="1001" y="79"/>
                  <a:pt x="1001" y="79"/>
                </a:cubicBezTo>
                <a:cubicBezTo>
                  <a:pt x="1001" y="32"/>
                  <a:pt x="970" y="0"/>
                  <a:pt x="922" y="0"/>
                </a:cubicBezTo>
                <a:cubicBezTo>
                  <a:pt x="222" y="0"/>
                  <a:pt x="222" y="0"/>
                  <a:pt x="222" y="0"/>
                </a:cubicBezTo>
                <a:cubicBezTo>
                  <a:pt x="174" y="0"/>
                  <a:pt x="143" y="32"/>
                  <a:pt x="143" y="79"/>
                </a:cubicBezTo>
                <a:cubicBezTo>
                  <a:pt x="143" y="779"/>
                  <a:pt x="143" y="779"/>
                  <a:pt x="143" y="779"/>
                </a:cubicBezTo>
                <a:cubicBezTo>
                  <a:pt x="143" y="827"/>
                  <a:pt x="174" y="859"/>
                  <a:pt x="222" y="859"/>
                </a:cubicBezTo>
                <a:cubicBezTo>
                  <a:pt x="397" y="859"/>
                  <a:pt x="397" y="859"/>
                  <a:pt x="397" y="859"/>
                </a:cubicBezTo>
                <a:cubicBezTo>
                  <a:pt x="381" y="875"/>
                  <a:pt x="381" y="875"/>
                  <a:pt x="381" y="891"/>
                </a:cubicBezTo>
                <a:cubicBezTo>
                  <a:pt x="381" y="1097"/>
                  <a:pt x="492" y="1288"/>
                  <a:pt x="668" y="1400"/>
                </a:cubicBezTo>
                <a:cubicBezTo>
                  <a:pt x="1018" y="1622"/>
                  <a:pt x="1590" y="1606"/>
                  <a:pt x="2131" y="1368"/>
                </a:cubicBezTo>
                <a:cubicBezTo>
                  <a:pt x="2497" y="1193"/>
                  <a:pt x="2736" y="1336"/>
                  <a:pt x="2831" y="1495"/>
                </a:cubicBezTo>
                <a:cubicBezTo>
                  <a:pt x="2942" y="1686"/>
                  <a:pt x="2926" y="1988"/>
                  <a:pt x="2688" y="2179"/>
                </a:cubicBezTo>
                <a:cubicBezTo>
                  <a:pt x="2528" y="2291"/>
                  <a:pt x="1876" y="2338"/>
                  <a:pt x="747" y="2291"/>
                </a:cubicBezTo>
                <a:cubicBezTo>
                  <a:pt x="683" y="2291"/>
                  <a:pt x="635" y="2291"/>
                  <a:pt x="620" y="2291"/>
                </a:cubicBezTo>
                <a:cubicBezTo>
                  <a:pt x="111" y="2291"/>
                  <a:pt x="0" y="2640"/>
                  <a:pt x="0" y="2927"/>
                </a:cubicBezTo>
                <a:cubicBezTo>
                  <a:pt x="0" y="3388"/>
                  <a:pt x="397" y="3531"/>
                  <a:pt x="604" y="3547"/>
                </a:cubicBezTo>
                <a:cubicBezTo>
                  <a:pt x="2688" y="3547"/>
                  <a:pt x="2688" y="3547"/>
                  <a:pt x="2688" y="3547"/>
                </a:cubicBezTo>
                <a:cubicBezTo>
                  <a:pt x="2688" y="3785"/>
                  <a:pt x="2688" y="3785"/>
                  <a:pt x="2688" y="3785"/>
                </a:cubicBezTo>
                <a:cubicBezTo>
                  <a:pt x="2688" y="3833"/>
                  <a:pt x="2719" y="3865"/>
                  <a:pt x="2751" y="3865"/>
                </a:cubicBezTo>
                <a:cubicBezTo>
                  <a:pt x="3737" y="4040"/>
                  <a:pt x="3737" y="4040"/>
                  <a:pt x="3737" y="4040"/>
                </a:cubicBezTo>
                <a:cubicBezTo>
                  <a:pt x="3753" y="4040"/>
                  <a:pt x="3753" y="4040"/>
                  <a:pt x="3753" y="4040"/>
                </a:cubicBezTo>
                <a:cubicBezTo>
                  <a:pt x="3769" y="4040"/>
                  <a:pt x="3801" y="4040"/>
                  <a:pt x="3801" y="4024"/>
                </a:cubicBezTo>
                <a:cubicBezTo>
                  <a:pt x="3833" y="4008"/>
                  <a:pt x="3833" y="3993"/>
                  <a:pt x="3833" y="3960"/>
                </a:cubicBezTo>
                <a:cubicBezTo>
                  <a:pt x="3833" y="3690"/>
                  <a:pt x="3833" y="3690"/>
                  <a:pt x="3833" y="3690"/>
                </a:cubicBezTo>
                <a:cubicBezTo>
                  <a:pt x="3976" y="3690"/>
                  <a:pt x="3976" y="3690"/>
                  <a:pt x="3976" y="3690"/>
                </a:cubicBezTo>
                <a:cubicBezTo>
                  <a:pt x="4008" y="3690"/>
                  <a:pt x="4055" y="3658"/>
                  <a:pt x="4055" y="3611"/>
                </a:cubicBezTo>
                <a:cubicBezTo>
                  <a:pt x="4055" y="3563"/>
                  <a:pt x="4008" y="3531"/>
                  <a:pt x="3976" y="3531"/>
                </a:cubicBezTo>
                <a:cubicBezTo>
                  <a:pt x="3833" y="3531"/>
                  <a:pt x="3833" y="3531"/>
                  <a:pt x="3833" y="3531"/>
                </a:cubicBezTo>
                <a:cubicBezTo>
                  <a:pt x="3833" y="3404"/>
                  <a:pt x="3833" y="3404"/>
                  <a:pt x="3833" y="3404"/>
                </a:cubicBezTo>
                <a:close/>
                <a:moveTo>
                  <a:pt x="302" y="700"/>
                </a:moveTo>
                <a:cubicBezTo>
                  <a:pt x="302" y="159"/>
                  <a:pt x="302" y="159"/>
                  <a:pt x="302" y="159"/>
                </a:cubicBezTo>
                <a:cubicBezTo>
                  <a:pt x="843" y="159"/>
                  <a:pt x="843" y="159"/>
                  <a:pt x="843" y="159"/>
                </a:cubicBezTo>
                <a:cubicBezTo>
                  <a:pt x="843" y="700"/>
                  <a:pt x="843" y="700"/>
                  <a:pt x="843" y="700"/>
                </a:cubicBezTo>
                <a:close/>
                <a:moveTo>
                  <a:pt x="3674" y="3865"/>
                </a:moveTo>
                <a:cubicBezTo>
                  <a:pt x="2846" y="3722"/>
                  <a:pt x="2846" y="3722"/>
                  <a:pt x="2846" y="3722"/>
                </a:cubicBezTo>
                <a:cubicBezTo>
                  <a:pt x="2846" y="3149"/>
                  <a:pt x="2846" y="3149"/>
                  <a:pt x="2846" y="3149"/>
                </a:cubicBezTo>
                <a:cubicBezTo>
                  <a:pt x="3674" y="2990"/>
                  <a:pt x="3674" y="2990"/>
                  <a:pt x="3674" y="299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8" name="Freeform: Shape 11">
            <a:extLst>
              <a:ext uri="{FF2B5EF4-FFF2-40B4-BE49-F238E27FC236}">
                <a16:creationId xmlns:a16="http://schemas.microsoft.com/office/drawing/2014/main" id="{40C9B76A-B2FE-5047-8355-36364198BD59}"/>
              </a:ext>
            </a:extLst>
          </p:cNvPr>
          <p:cNvSpPr/>
          <p:nvPr/>
        </p:nvSpPr>
        <p:spPr>
          <a:xfrm>
            <a:off x="21262707" y="3029171"/>
            <a:ext cx="1270800" cy="1711800"/>
          </a:xfrm>
          <a:custGeom>
            <a:avLst/>
            <a:gdLst/>
            <a:ahLst/>
            <a:cxnLst>
              <a:cxn ang="3cd4">
                <a:pos x="hc" y="t"/>
              </a:cxn>
              <a:cxn ang="cd2">
                <a:pos x="l" y="vc"/>
              </a:cxn>
              <a:cxn ang="cd4">
                <a:pos x="hc" y="b"/>
              </a:cxn>
              <a:cxn ang="0">
                <a:pos x="r" y="vc"/>
              </a:cxn>
            </a:cxnLst>
            <a:rect l="l" t="t" r="r" b="b"/>
            <a:pathLst>
              <a:path w="3531" h="4756">
                <a:moveTo>
                  <a:pt x="3531" y="1766"/>
                </a:moveTo>
                <a:cubicBezTo>
                  <a:pt x="3531" y="779"/>
                  <a:pt x="2752" y="0"/>
                  <a:pt x="1766" y="0"/>
                </a:cubicBezTo>
                <a:cubicBezTo>
                  <a:pt x="795" y="0"/>
                  <a:pt x="0" y="779"/>
                  <a:pt x="0" y="1766"/>
                </a:cubicBezTo>
                <a:cubicBezTo>
                  <a:pt x="0" y="2466"/>
                  <a:pt x="414" y="3070"/>
                  <a:pt x="1018" y="3356"/>
                </a:cubicBezTo>
                <a:cubicBezTo>
                  <a:pt x="509" y="4597"/>
                  <a:pt x="509" y="4597"/>
                  <a:pt x="509" y="4597"/>
                </a:cubicBezTo>
                <a:cubicBezTo>
                  <a:pt x="382" y="4597"/>
                  <a:pt x="382" y="4597"/>
                  <a:pt x="382" y="4597"/>
                </a:cubicBezTo>
                <a:cubicBezTo>
                  <a:pt x="334" y="4597"/>
                  <a:pt x="303" y="4629"/>
                  <a:pt x="303" y="4676"/>
                </a:cubicBezTo>
                <a:cubicBezTo>
                  <a:pt x="303" y="4724"/>
                  <a:pt x="334" y="4756"/>
                  <a:pt x="382" y="4756"/>
                </a:cubicBezTo>
                <a:cubicBezTo>
                  <a:pt x="700" y="4756"/>
                  <a:pt x="700" y="4756"/>
                  <a:pt x="700" y="4756"/>
                </a:cubicBezTo>
                <a:cubicBezTo>
                  <a:pt x="748" y="4756"/>
                  <a:pt x="780" y="4724"/>
                  <a:pt x="780" y="4676"/>
                </a:cubicBezTo>
                <a:cubicBezTo>
                  <a:pt x="780" y="4660"/>
                  <a:pt x="780" y="4645"/>
                  <a:pt x="764" y="4645"/>
                </a:cubicBezTo>
                <a:cubicBezTo>
                  <a:pt x="1766" y="4183"/>
                  <a:pt x="1766" y="4183"/>
                  <a:pt x="1766" y="4183"/>
                </a:cubicBezTo>
                <a:cubicBezTo>
                  <a:pt x="2720" y="4612"/>
                  <a:pt x="2720" y="4612"/>
                  <a:pt x="2720" y="4612"/>
                </a:cubicBezTo>
                <a:cubicBezTo>
                  <a:pt x="2704" y="4629"/>
                  <a:pt x="2688" y="4645"/>
                  <a:pt x="2688" y="4676"/>
                </a:cubicBezTo>
                <a:cubicBezTo>
                  <a:pt x="2688" y="4724"/>
                  <a:pt x="2720" y="4756"/>
                  <a:pt x="2768" y="4756"/>
                </a:cubicBezTo>
                <a:cubicBezTo>
                  <a:pt x="3086" y="4756"/>
                  <a:pt x="3086" y="4756"/>
                  <a:pt x="3086" y="4756"/>
                </a:cubicBezTo>
                <a:cubicBezTo>
                  <a:pt x="3134" y="4756"/>
                  <a:pt x="3166" y="4724"/>
                  <a:pt x="3166" y="4676"/>
                </a:cubicBezTo>
                <a:cubicBezTo>
                  <a:pt x="3166" y="4629"/>
                  <a:pt x="3134" y="4597"/>
                  <a:pt x="3086" y="4597"/>
                </a:cubicBezTo>
                <a:cubicBezTo>
                  <a:pt x="3039" y="4597"/>
                  <a:pt x="3039" y="4597"/>
                  <a:pt x="3039" y="4597"/>
                </a:cubicBezTo>
                <a:cubicBezTo>
                  <a:pt x="2513" y="3356"/>
                  <a:pt x="2513" y="3356"/>
                  <a:pt x="2513" y="3356"/>
                </a:cubicBezTo>
                <a:cubicBezTo>
                  <a:pt x="3118" y="3070"/>
                  <a:pt x="3531" y="2466"/>
                  <a:pt x="3531" y="1766"/>
                </a:cubicBezTo>
                <a:close/>
                <a:moveTo>
                  <a:pt x="732" y="4485"/>
                </a:moveTo>
                <a:cubicBezTo>
                  <a:pt x="1003" y="3833"/>
                  <a:pt x="1003" y="3833"/>
                  <a:pt x="1003" y="3833"/>
                </a:cubicBezTo>
                <a:cubicBezTo>
                  <a:pt x="1575" y="4104"/>
                  <a:pt x="1575" y="4104"/>
                  <a:pt x="1575" y="4104"/>
                </a:cubicBezTo>
                <a:close/>
                <a:moveTo>
                  <a:pt x="1050" y="3690"/>
                </a:moveTo>
                <a:cubicBezTo>
                  <a:pt x="1161" y="3420"/>
                  <a:pt x="1161" y="3420"/>
                  <a:pt x="1161" y="3420"/>
                </a:cubicBezTo>
                <a:cubicBezTo>
                  <a:pt x="1352" y="3484"/>
                  <a:pt x="1559" y="3531"/>
                  <a:pt x="1766" y="3531"/>
                </a:cubicBezTo>
                <a:cubicBezTo>
                  <a:pt x="1989" y="3531"/>
                  <a:pt x="2179" y="3484"/>
                  <a:pt x="2370" y="3420"/>
                </a:cubicBezTo>
                <a:cubicBezTo>
                  <a:pt x="2482" y="3690"/>
                  <a:pt x="2482" y="3690"/>
                  <a:pt x="2482" y="3690"/>
                </a:cubicBezTo>
                <a:cubicBezTo>
                  <a:pt x="1766" y="4008"/>
                  <a:pt x="1766" y="4008"/>
                  <a:pt x="1766" y="4008"/>
                </a:cubicBezTo>
                <a:close/>
                <a:moveTo>
                  <a:pt x="1845" y="1734"/>
                </a:moveTo>
                <a:cubicBezTo>
                  <a:pt x="1845" y="1718"/>
                  <a:pt x="1845" y="1718"/>
                  <a:pt x="1830" y="1718"/>
                </a:cubicBezTo>
                <a:cubicBezTo>
                  <a:pt x="1830" y="1702"/>
                  <a:pt x="1813" y="1686"/>
                  <a:pt x="1798" y="1686"/>
                </a:cubicBezTo>
                <a:cubicBezTo>
                  <a:pt x="1782" y="1686"/>
                  <a:pt x="1766" y="1686"/>
                  <a:pt x="1750" y="1686"/>
                </a:cubicBezTo>
                <a:lnTo>
                  <a:pt x="1734" y="1686"/>
                </a:lnTo>
                <a:lnTo>
                  <a:pt x="1718" y="1702"/>
                </a:lnTo>
                <a:cubicBezTo>
                  <a:pt x="1718" y="1702"/>
                  <a:pt x="1702" y="1702"/>
                  <a:pt x="1702" y="1718"/>
                </a:cubicBezTo>
                <a:lnTo>
                  <a:pt x="1702" y="1734"/>
                </a:lnTo>
                <a:cubicBezTo>
                  <a:pt x="1384" y="2481"/>
                  <a:pt x="1384" y="2481"/>
                  <a:pt x="1384" y="2481"/>
                </a:cubicBezTo>
                <a:cubicBezTo>
                  <a:pt x="1130" y="2338"/>
                  <a:pt x="955" y="2068"/>
                  <a:pt x="955" y="1766"/>
                </a:cubicBezTo>
                <a:cubicBezTo>
                  <a:pt x="955" y="1304"/>
                  <a:pt x="1321" y="939"/>
                  <a:pt x="1766" y="939"/>
                </a:cubicBezTo>
                <a:cubicBezTo>
                  <a:pt x="2211" y="939"/>
                  <a:pt x="2577" y="1304"/>
                  <a:pt x="2577" y="1766"/>
                </a:cubicBezTo>
                <a:cubicBezTo>
                  <a:pt x="2577" y="2068"/>
                  <a:pt x="2402" y="2338"/>
                  <a:pt x="2148" y="2481"/>
                </a:cubicBezTo>
                <a:close/>
                <a:moveTo>
                  <a:pt x="2004" y="2545"/>
                </a:moveTo>
                <a:cubicBezTo>
                  <a:pt x="1925" y="2561"/>
                  <a:pt x="1845" y="2577"/>
                  <a:pt x="1766" y="2577"/>
                </a:cubicBezTo>
                <a:cubicBezTo>
                  <a:pt x="1686" y="2577"/>
                  <a:pt x="1607" y="2561"/>
                  <a:pt x="1527" y="2545"/>
                </a:cubicBezTo>
                <a:cubicBezTo>
                  <a:pt x="1766" y="1972"/>
                  <a:pt x="1766" y="1972"/>
                  <a:pt x="1766" y="1972"/>
                </a:cubicBezTo>
                <a:close/>
                <a:moveTo>
                  <a:pt x="1480" y="2688"/>
                </a:moveTo>
                <a:cubicBezTo>
                  <a:pt x="1559" y="2720"/>
                  <a:pt x="1670" y="2736"/>
                  <a:pt x="1766" y="2736"/>
                </a:cubicBezTo>
                <a:cubicBezTo>
                  <a:pt x="1877" y="2736"/>
                  <a:pt x="1973" y="2720"/>
                  <a:pt x="2068" y="2688"/>
                </a:cubicBezTo>
                <a:cubicBezTo>
                  <a:pt x="2307" y="3276"/>
                  <a:pt x="2307" y="3276"/>
                  <a:pt x="2307" y="3276"/>
                </a:cubicBezTo>
                <a:cubicBezTo>
                  <a:pt x="2148" y="3340"/>
                  <a:pt x="1957" y="3372"/>
                  <a:pt x="1766" y="3372"/>
                </a:cubicBezTo>
                <a:cubicBezTo>
                  <a:pt x="1575" y="3372"/>
                  <a:pt x="1400" y="3340"/>
                  <a:pt x="1225" y="3276"/>
                </a:cubicBezTo>
                <a:close/>
                <a:moveTo>
                  <a:pt x="2545" y="3833"/>
                </a:moveTo>
                <a:cubicBezTo>
                  <a:pt x="2816" y="4485"/>
                  <a:pt x="2816" y="4485"/>
                  <a:pt x="2816" y="4485"/>
                </a:cubicBezTo>
                <a:cubicBezTo>
                  <a:pt x="1957" y="4104"/>
                  <a:pt x="1957" y="4104"/>
                  <a:pt x="1957" y="4104"/>
                </a:cubicBezTo>
                <a:close/>
                <a:moveTo>
                  <a:pt x="2450" y="3213"/>
                </a:moveTo>
                <a:cubicBezTo>
                  <a:pt x="2211" y="2624"/>
                  <a:pt x="2211" y="2624"/>
                  <a:pt x="2211" y="2624"/>
                </a:cubicBezTo>
                <a:cubicBezTo>
                  <a:pt x="2530" y="2466"/>
                  <a:pt x="2736" y="2131"/>
                  <a:pt x="2736" y="1766"/>
                </a:cubicBezTo>
                <a:cubicBezTo>
                  <a:pt x="2736" y="1225"/>
                  <a:pt x="2307" y="779"/>
                  <a:pt x="1766" y="779"/>
                </a:cubicBezTo>
                <a:cubicBezTo>
                  <a:pt x="1241" y="779"/>
                  <a:pt x="795" y="1225"/>
                  <a:pt x="795" y="1766"/>
                </a:cubicBezTo>
                <a:cubicBezTo>
                  <a:pt x="795" y="2131"/>
                  <a:pt x="1018" y="2466"/>
                  <a:pt x="1321" y="2624"/>
                </a:cubicBezTo>
                <a:cubicBezTo>
                  <a:pt x="1082" y="3213"/>
                  <a:pt x="1082" y="3213"/>
                  <a:pt x="1082" y="3213"/>
                </a:cubicBezTo>
                <a:cubicBezTo>
                  <a:pt x="541" y="2958"/>
                  <a:pt x="159" y="2402"/>
                  <a:pt x="159" y="1766"/>
                </a:cubicBezTo>
                <a:cubicBezTo>
                  <a:pt x="159" y="875"/>
                  <a:pt x="891" y="159"/>
                  <a:pt x="1766" y="159"/>
                </a:cubicBezTo>
                <a:cubicBezTo>
                  <a:pt x="2657" y="159"/>
                  <a:pt x="3372" y="875"/>
                  <a:pt x="3372" y="1766"/>
                </a:cubicBezTo>
                <a:cubicBezTo>
                  <a:pt x="3372" y="2402"/>
                  <a:pt x="3006" y="2958"/>
                  <a:pt x="2450" y="321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9" name="Freeform: Shape 12">
            <a:extLst>
              <a:ext uri="{FF2B5EF4-FFF2-40B4-BE49-F238E27FC236}">
                <a16:creationId xmlns:a16="http://schemas.microsoft.com/office/drawing/2014/main" id="{04E470AE-45AF-A648-94FE-7D9041122694}"/>
              </a:ext>
            </a:extLst>
          </p:cNvPr>
          <p:cNvSpPr/>
          <p:nvPr/>
        </p:nvSpPr>
        <p:spPr>
          <a:xfrm>
            <a:off x="17429395" y="3037811"/>
            <a:ext cx="1700280" cy="1691640"/>
          </a:xfrm>
          <a:custGeom>
            <a:avLst/>
            <a:gdLst/>
            <a:ahLst/>
            <a:cxnLst>
              <a:cxn ang="3cd4">
                <a:pos x="hc" y="t"/>
              </a:cxn>
              <a:cxn ang="cd2">
                <a:pos x="l" y="vc"/>
              </a:cxn>
              <a:cxn ang="cd4">
                <a:pos x="hc" y="b"/>
              </a:cxn>
              <a:cxn ang="0">
                <a:pos x="r" y="vc"/>
              </a:cxn>
            </a:cxnLst>
            <a:rect l="l" t="t" r="r" b="b"/>
            <a:pathLst>
              <a:path w="4724" h="4700">
                <a:moveTo>
                  <a:pt x="748" y="3396"/>
                </a:moveTo>
                <a:cubicBezTo>
                  <a:pt x="764" y="3396"/>
                  <a:pt x="795" y="3380"/>
                  <a:pt x="811" y="3364"/>
                </a:cubicBezTo>
                <a:cubicBezTo>
                  <a:pt x="843" y="3332"/>
                  <a:pt x="843" y="3284"/>
                  <a:pt x="811" y="3252"/>
                </a:cubicBezTo>
                <a:cubicBezTo>
                  <a:pt x="382" y="2839"/>
                  <a:pt x="159" y="2282"/>
                  <a:pt x="159" y="1694"/>
                </a:cubicBezTo>
                <a:cubicBezTo>
                  <a:pt x="159" y="1106"/>
                  <a:pt x="382" y="564"/>
                  <a:pt x="811" y="135"/>
                </a:cubicBezTo>
                <a:cubicBezTo>
                  <a:pt x="843" y="103"/>
                  <a:pt x="843" y="55"/>
                  <a:pt x="811" y="24"/>
                </a:cubicBezTo>
                <a:cubicBezTo>
                  <a:pt x="779" y="-8"/>
                  <a:pt x="731" y="-8"/>
                  <a:pt x="700" y="24"/>
                </a:cubicBezTo>
                <a:cubicBezTo>
                  <a:pt x="255" y="469"/>
                  <a:pt x="0" y="1073"/>
                  <a:pt x="0" y="1694"/>
                </a:cubicBezTo>
                <a:cubicBezTo>
                  <a:pt x="0" y="2330"/>
                  <a:pt x="255" y="2919"/>
                  <a:pt x="700" y="3364"/>
                </a:cubicBezTo>
                <a:cubicBezTo>
                  <a:pt x="716" y="3380"/>
                  <a:pt x="731" y="3396"/>
                  <a:pt x="748" y="3396"/>
                </a:cubicBezTo>
                <a:close/>
                <a:moveTo>
                  <a:pt x="3976" y="3396"/>
                </a:moveTo>
                <a:cubicBezTo>
                  <a:pt x="3993" y="3396"/>
                  <a:pt x="4024" y="3380"/>
                  <a:pt x="4040" y="3364"/>
                </a:cubicBezTo>
                <a:cubicBezTo>
                  <a:pt x="4485" y="2919"/>
                  <a:pt x="4724" y="2330"/>
                  <a:pt x="4724" y="1694"/>
                </a:cubicBezTo>
                <a:cubicBezTo>
                  <a:pt x="4724" y="1073"/>
                  <a:pt x="4485" y="469"/>
                  <a:pt x="4040" y="24"/>
                </a:cubicBezTo>
                <a:cubicBezTo>
                  <a:pt x="4008" y="-8"/>
                  <a:pt x="3945" y="-8"/>
                  <a:pt x="3929" y="24"/>
                </a:cubicBezTo>
                <a:cubicBezTo>
                  <a:pt x="3897" y="55"/>
                  <a:pt x="3897" y="103"/>
                  <a:pt x="3929" y="135"/>
                </a:cubicBezTo>
                <a:cubicBezTo>
                  <a:pt x="4342" y="564"/>
                  <a:pt x="4565" y="1106"/>
                  <a:pt x="4565" y="1694"/>
                </a:cubicBezTo>
                <a:cubicBezTo>
                  <a:pt x="4565" y="2282"/>
                  <a:pt x="4342" y="2839"/>
                  <a:pt x="3929" y="3252"/>
                </a:cubicBezTo>
                <a:cubicBezTo>
                  <a:pt x="3897" y="3284"/>
                  <a:pt x="3897" y="3332"/>
                  <a:pt x="3929" y="3364"/>
                </a:cubicBezTo>
                <a:cubicBezTo>
                  <a:pt x="3945" y="3380"/>
                  <a:pt x="3961" y="3396"/>
                  <a:pt x="3976" y="3396"/>
                </a:cubicBezTo>
                <a:close/>
                <a:moveTo>
                  <a:pt x="1113" y="2951"/>
                </a:moveTo>
                <a:cubicBezTo>
                  <a:pt x="1130" y="2966"/>
                  <a:pt x="1145" y="2966"/>
                  <a:pt x="1177" y="2966"/>
                </a:cubicBezTo>
                <a:cubicBezTo>
                  <a:pt x="1193" y="2966"/>
                  <a:pt x="1209" y="2966"/>
                  <a:pt x="1225" y="2951"/>
                </a:cubicBezTo>
                <a:cubicBezTo>
                  <a:pt x="1257" y="2919"/>
                  <a:pt x="1257" y="2871"/>
                  <a:pt x="1225" y="2839"/>
                </a:cubicBezTo>
                <a:cubicBezTo>
                  <a:pt x="922" y="2537"/>
                  <a:pt x="748" y="2123"/>
                  <a:pt x="748" y="1694"/>
                </a:cubicBezTo>
                <a:cubicBezTo>
                  <a:pt x="748" y="1264"/>
                  <a:pt x="922" y="867"/>
                  <a:pt x="1225" y="564"/>
                </a:cubicBezTo>
                <a:cubicBezTo>
                  <a:pt x="1257" y="533"/>
                  <a:pt x="1257" y="485"/>
                  <a:pt x="1225" y="453"/>
                </a:cubicBezTo>
                <a:cubicBezTo>
                  <a:pt x="1193" y="421"/>
                  <a:pt x="1145" y="421"/>
                  <a:pt x="1113" y="453"/>
                </a:cubicBezTo>
                <a:cubicBezTo>
                  <a:pt x="779" y="787"/>
                  <a:pt x="588" y="1233"/>
                  <a:pt x="588" y="1694"/>
                </a:cubicBezTo>
                <a:cubicBezTo>
                  <a:pt x="588" y="2171"/>
                  <a:pt x="779" y="2616"/>
                  <a:pt x="1113" y="2951"/>
                </a:cubicBezTo>
                <a:close/>
                <a:moveTo>
                  <a:pt x="3611" y="453"/>
                </a:moveTo>
                <a:cubicBezTo>
                  <a:pt x="3579" y="421"/>
                  <a:pt x="3531" y="421"/>
                  <a:pt x="3499" y="453"/>
                </a:cubicBezTo>
                <a:cubicBezTo>
                  <a:pt x="3467" y="485"/>
                  <a:pt x="3467" y="533"/>
                  <a:pt x="3499" y="564"/>
                </a:cubicBezTo>
                <a:cubicBezTo>
                  <a:pt x="3802" y="867"/>
                  <a:pt x="3976" y="1264"/>
                  <a:pt x="3976" y="1694"/>
                </a:cubicBezTo>
                <a:cubicBezTo>
                  <a:pt x="3976" y="2123"/>
                  <a:pt x="3802" y="2537"/>
                  <a:pt x="3499" y="2839"/>
                </a:cubicBezTo>
                <a:cubicBezTo>
                  <a:pt x="3467" y="2871"/>
                  <a:pt x="3467" y="2919"/>
                  <a:pt x="3499" y="2951"/>
                </a:cubicBezTo>
                <a:cubicBezTo>
                  <a:pt x="3515" y="2966"/>
                  <a:pt x="3531" y="2966"/>
                  <a:pt x="3563" y="2966"/>
                </a:cubicBezTo>
                <a:cubicBezTo>
                  <a:pt x="3579" y="2966"/>
                  <a:pt x="3595" y="2966"/>
                  <a:pt x="3611" y="2951"/>
                </a:cubicBezTo>
                <a:cubicBezTo>
                  <a:pt x="3945" y="2616"/>
                  <a:pt x="4136" y="2171"/>
                  <a:pt x="4136" y="1694"/>
                </a:cubicBezTo>
                <a:cubicBezTo>
                  <a:pt x="4136" y="1233"/>
                  <a:pt x="3945" y="787"/>
                  <a:pt x="3611" y="453"/>
                </a:cubicBezTo>
                <a:close/>
                <a:moveTo>
                  <a:pt x="1654" y="867"/>
                </a:moveTo>
                <a:cubicBezTo>
                  <a:pt x="1622" y="835"/>
                  <a:pt x="1559" y="835"/>
                  <a:pt x="1543" y="867"/>
                </a:cubicBezTo>
                <a:cubicBezTo>
                  <a:pt x="1320" y="1089"/>
                  <a:pt x="1193" y="1392"/>
                  <a:pt x="1193" y="1694"/>
                </a:cubicBezTo>
                <a:cubicBezTo>
                  <a:pt x="1193" y="2012"/>
                  <a:pt x="1320" y="2314"/>
                  <a:pt x="1543" y="2521"/>
                </a:cubicBezTo>
                <a:cubicBezTo>
                  <a:pt x="1543" y="2537"/>
                  <a:pt x="1575" y="2553"/>
                  <a:pt x="1591" y="2553"/>
                </a:cubicBezTo>
                <a:cubicBezTo>
                  <a:pt x="1606" y="2553"/>
                  <a:pt x="1639" y="2537"/>
                  <a:pt x="1654" y="2521"/>
                </a:cubicBezTo>
                <a:cubicBezTo>
                  <a:pt x="1686" y="2489"/>
                  <a:pt x="1686" y="2442"/>
                  <a:pt x="1654" y="2410"/>
                </a:cubicBezTo>
                <a:cubicBezTo>
                  <a:pt x="1463" y="2219"/>
                  <a:pt x="1352" y="1964"/>
                  <a:pt x="1352" y="1694"/>
                </a:cubicBezTo>
                <a:cubicBezTo>
                  <a:pt x="1352" y="1424"/>
                  <a:pt x="1463" y="1169"/>
                  <a:pt x="1654" y="978"/>
                </a:cubicBezTo>
                <a:cubicBezTo>
                  <a:pt x="1686" y="946"/>
                  <a:pt x="1686" y="898"/>
                  <a:pt x="1654" y="867"/>
                </a:cubicBezTo>
                <a:close/>
                <a:moveTo>
                  <a:pt x="3197" y="867"/>
                </a:moveTo>
                <a:cubicBezTo>
                  <a:pt x="3165" y="835"/>
                  <a:pt x="3118" y="835"/>
                  <a:pt x="3086" y="867"/>
                </a:cubicBezTo>
                <a:cubicBezTo>
                  <a:pt x="3054" y="898"/>
                  <a:pt x="3054" y="946"/>
                  <a:pt x="3086" y="978"/>
                </a:cubicBezTo>
                <a:cubicBezTo>
                  <a:pt x="3276" y="1169"/>
                  <a:pt x="3372" y="1424"/>
                  <a:pt x="3372" y="1694"/>
                </a:cubicBezTo>
                <a:cubicBezTo>
                  <a:pt x="3372" y="1964"/>
                  <a:pt x="3276" y="2219"/>
                  <a:pt x="3086" y="2410"/>
                </a:cubicBezTo>
                <a:cubicBezTo>
                  <a:pt x="3054" y="2442"/>
                  <a:pt x="3054" y="2489"/>
                  <a:pt x="3086" y="2521"/>
                </a:cubicBezTo>
                <a:cubicBezTo>
                  <a:pt x="3102" y="2537"/>
                  <a:pt x="3118" y="2553"/>
                  <a:pt x="3133" y="2553"/>
                </a:cubicBezTo>
                <a:cubicBezTo>
                  <a:pt x="3149" y="2553"/>
                  <a:pt x="3181" y="2537"/>
                  <a:pt x="3197" y="2521"/>
                </a:cubicBezTo>
                <a:cubicBezTo>
                  <a:pt x="3420" y="2314"/>
                  <a:pt x="3531" y="2012"/>
                  <a:pt x="3531" y="1694"/>
                </a:cubicBezTo>
                <a:cubicBezTo>
                  <a:pt x="3531" y="1392"/>
                  <a:pt x="3420" y="1089"/>
                  <a:pt x="3197" y="867"/>
                </a:cubicBezTo>
                <a:close/>
                <a:moveTo>
                  <a:pt x="1479" y="4636"/>
                </a:moveTo>
                <a:lnTo>
                  <a:pt x="1479" y="4652"/>
                </a:lnTo>
                <a:cubicBezTo>
                  <a:pt x="1495" y="4652"/>
                  <a:pt x="1495" y="4652"/>
                  <a:pt x="1495" y="4668"/>
                </a:cubicBezTo>
                <a:cubicBezTo>
                  <a:pt x="1500" y="4673"/>
                  <a:pt x="1511" y="4668"/>
                  <a:pt x="1511" y="4684"/>
                </a:cubicBezTo>
                <a:lnTo>
                  <a:pt x="1527" y="4684"/>
                </a:lnTo>
                <a:cubicBezTo>
                  <a:pt x="1532" y="4689"/>
                  <a:pt x="1527" y="4700"/>
                  <a:pt x="1543" y="4700"/>
                </a:cubicBezTo>
                <a:lnTo>
                  <a:pt x="1559" y="4700"/>
                </a:lnTo>
                <a:lnTo>
                  <a:pt x="3165" y="4700"/>
                </a:lnTo>
                <a:cubicBezTo>
                  <a:pt x="3197" y="4700"/>
                  <a:pt x="3213" y="4684"/>
                  <a:pt x="3229" y="4668"/>
                </a:cubicBezTo>
                <a:cubicBezTo>
                  <a:pt x="3245" y="4652"/>
                  <a:pt x="3245" y="4621"/>
                  <a:pt x="3245" y="4588"/>
                </a:cubicBezTo>
                <a:lnTo>
                  <a:pt x="2434" y="1710"/>
                </a:lnTo>
                <a:cubicBezTo>
                  <a:pt x="2418" y="1646"/>
                  <a:pt x="2306" y="1646"/>
                  <a:pt x="2291" y="1710"/>
                </a:cubicBezTo>
                <a:lnTo>
                  <a:pt x="1479" y="4588"/>
                </a:lnTo>
                <a:lnTo>
                  <a:pt x="1479" y="4605"/>
                </a:lnTo>
                <a:lnTo>
                  <a:pt x="1479" y="4621"/>
                </a:lnTo>
                <a:close/>
                <a:moveTo>
                  <a:pt x="3070" y="4541"/>
                </a:moveTo>
                <a:lnTo>
                  <a:pt x="1925" y="4541"/>
                </a:lnTo>
                <a:lnTo>
                  <a:pt x="2927" y="4080"/>
                </a:lnTo>
                <a:close/>
                <a:moveTo>
                  <a:pt x="2879" y="3905"/>
                </a:moveTo>
                <a:lnTo>
                  <a:pt x="2036" y="3905"/>
                </a:lnTo>
                <a:lnTo>
                  <a:pt x="2752" y="3443"/>
                </a:lnTo>
                <a:close/>
                <a:moveTo>
                  <a:pt x="2370" y="2028"/>
                </a:moveTo>
                <a:lnTo>
                  <a:pt x="2704" y="3269"/>
                </a:lnTo>
                <a:lnTo>
                  <a:pt x="2020" y="3269"/>
                </a:lnTo>
                <a:close/>
                <a:moveTo>
                  <a:pt x="1972" y="3427"/>
                </a:moveTo>
                <a:lnTo>
                  <a:pt x="2481" y="3427"/>
                </a:lnTo>
                <a:lnTo>
                  <a:pt x="1861" y="3825"/>
                </a:lnTo>
                <a:close/>
                <a:moveTo>
                  <a:pt x="1797" y="4064"/>
                </a:moveTo>
                <a:lnTo>
                  <a:pt x="2593" y="4064"/>
                </a:lnTo>
                <a:lnTo>
                  <a:pt x="1686" y="4478"/>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Freeform: Shape 14">
            <a:extLst>
              <a:ext uri="{FF2B5EF4-FFF2-40B4-BE49-F238E27FC236}">
                <a16:creationId xmlns:a16="http://schemas.microsoft.com/office/drawing/2014/main" id="{54030A9B-9DE2-C644-B235-1F97B5E6507F}"/>
              </a:ext>
            </a:extLst>
          </p:cNvPr>
          <p:cNvSpPr/>
          <p:nvPr/>
        </p:nvSpPr>
        <p:spPr>
          <a:xfrm>
            <a:off x="5854774" y="3069491"/>
            <a:ext cx="1666079" cy="1631520"/>
          </a:xfrm>
          <a:custGeom>
            <a:avLst/>
            <a:gdLst/>
            <a:ahLst/>
            <a:cxnLst>
              <a:cxn ang="3cd4">
                <a:pos x="hc" y="t"/>
              </a:cxn>
              <a:cxn ang="cd2">
                <a:pos x="l" y="vc"/>
              </a:cxn>
              <a:cxn ang="cd4">
                <a:pos x="hc" y="b"/>
              </a:cxn>
              <a:cxn ang="0">
                <a:pos x="r" y="vc"/>
              </a:cxn>
            </a:cxnLst>
            <a:rect l="l" t="t" r="r" b="b"/>
            <a:pathLst>
              <a:path w="4629" h="4533">
                <a:moveTo>
                  <a:pt x="3388" y="0"/>
                </a:moveTo>
                <a:lnTo>
                  <a:pt x="1241" y="0"/>
                </a:lnTo>
                <a:cubicBezTo>
                  <a:pt x="1193" y="0"/>
                  <a:pt x="1161" y="31"/>
                  <a:pt x="1161" y="79"/>
                </a:cubicBezTo>
                <a:lnTo>
                  <a:pt x="1161" y="938"/>
                </a:lnTo>
                <a:lnTo>
                  <a:pt x="557" y="938"/>
                </a:lnTo>
                <a:cubicBezTo>
                  <a:pt x="255" y="938"/>
                  <a:pt x="0" y="1192"/>
                  <a:pt x="0" y="1494"/>
                </a:cubicBezTo>
                <a:lnTo>
                  <a:pt x="0" y="3149"/>
                </a:lnTo>
                <a:cubicBezTo>
                  <a:pt x="0" y="3467"/>
                  <a:pt x="255" y="3721"/>
                  <a:pt x="557" y="3721"/>
                </a:cubicBezTo>
                <a:lnTo>
                  <a:pt x="843" y="3721"/>
                </a:lnTo>
                <a:lnTo>
                  <a:pt x="716" y="4437"/>
                </a:lnTo>
                <a:cubicBezTo>
                  <a:pt x="700" y="4453"/>
                  <a:pt x="716" y="4485"/>
                  <a:pt x="732" y="4500"/>
                </a:cubicBezTo>
                <a:cubicBezTo>
                  <a:pt x="748" y="4517"/>
                  <a:pt x="764" y="4533"/>
                  <a:pt x="795" y="4533"/>
                </a:cubicBezTo>
                <a:lnTo>
                  <a:pt x="3834" y="4533"/>
                </a:lnTo>
                <a:cubicBezTo>
                  <a:pt x="3865" y="4533"/>
                  <a:pt x="3881" y="4517"/>
                  <a:pt x="3897" y="4500"/>
                </a:cubicBezTo>
                <a:cubicBezTo>
                  <a:pt x="3913" y="4485"/>
                  <a:pt x="3913" y="4453"/>
                  <a:pt x="3913" y="4437"/>
                </a:cubicBezTo>
                <a:lnTo>
                  <a:pt x="3770" y="3721"/>
                </a:lnTo>
                <a:lnTo>
                  <a:pt x="3786" y="3721"/>
                </a:lnTo>
                <a:lnTo>
                  <a:pt x="4072" y="3721"/>
                </a:lnTo>
                <a:cubicBezTo>
                  <a:pt x="4374" y="3721"/>
                  <a:pt x="4629" y="3467"/>
                  <a:pt x="4629" y="3149"/>
                </a:cubicBezTo>
                <a:lnTo>
                  <a:pt x="4629" y="1494"/>
                </a:lnTo>
                <a:cubicBezTo>
                  <a:pt x="4629" y="1192"/>
                  <a:pt x="4374" y="938"/>
                  <a:pt x="4072" y="938"/>
                </a:cubicBezTo>
                <a:lnTo>
                  <a:pt x="3468" y="938"/>
                </a:lnTo>
                <a:lnTo>
                  <a:pt x="3468" y="79"/>
                </a:lnTo>
                <a:cubicBezTo>
                  <a:pt x="3468" y="31"/>
                  <a:pt x="3436" y="0"/>
                  <a:pt x="3388" y="0"/>
                </a:cubicBezTo>
                <a:close/>
                <a:moveTo>
                  <a:pt x="1320" y="158"/>
                </a:moveTo>
                <a:lnTo>
                  <a:pt x="3309" y="158"/>
                </a:lnTo>
                <a:lnTo>
                  <a:pt x="3309" y="938"/>
                </a:lnTo>
                <a:lnTo>
                  <a:pt x="1320" y="938"/>
                </a:lnTo>
                <a:close/>
                <a:moveTo>
                  <a:pt x="891" y="4373"/>
                </a:moveTo>
                <a:lnTo>
                  <a:pt x="1209" y="2703"/>
                </a:lnTo>
                <a:lnTo>
                  <a:pt x="3420" y="2703"/>
                </a:lnTo>
                <a:lnTo>
                  <a:pt x="3738" y="4373"/>
                </a:lnTo>
                <a:close/>
                <a:moveTo>
                  <a:pt x="4072" y="1097"/>
                </a:moveTo>
                <a:cubicBezTo>
                  <a:pt x="4295" y="1097"/>
                  <a:pt x="4470" y="1272"/>
                  <a:pt x="4470" y="1494"/>
                </a:cubicBezTo>
                <a:lnTo>
                  <a:pt x="4470" y="3149"/>
                </a:lnTo>
                <a:cubicBezTo>
                  <a:pt x="4470" y="3372"/>
                  <a:pt x="4295" y="3562"/>
                  <a:pt x="4072" y="3562"/>
                </a:cubicBezTo>
                <a:lnTo>
                  <a:pt x="3786" y="3562"/>
                </a:lnTo>
                <a:lnTo>
                  <a:pt x="3754" y="3562"/>
                </a:lnTo>
                <a:lnTo>
                  <a:pt x="3563" y="2608"/>
                </a:lnTo>
                <a:cubicBezTo>
                  <a:pt x="3563" y="2576"/>
                  <a:pt x="3531" y="2544"/>
                  <a:pt x="3483" y="2544"/>
                </a:cubicBezTo>
                <a:lnTo>
                  <a:pt x="1146" y="2544"/>
                </a:lnTo>
                <a:cubicBezTo>
                  <a:pt x="1098" y="2544"/>
                  <a:pt x="1066" y="2576"/>
                  <a:pt x="1066" y="2608"/>
                </a:cubicBezTo>
                <a:lnTo>
                  <a:pt x="875" y="3562"/>
                </a:lnTo>
                <a:lnTo>
                  <a:pt x="557" y="3562"/>
                </a:lnTo>
                <a:cubicBezTo>
                  <a:pt x="334" y="3562"/>
                  <a:pt x="159" y="3372"/>
                  <a:pt x="159" y="3149"/>
                </a:cubicBezTo>
                <a:lnTo>
                  <a:pt x="159" y="1494"/>
                </a:lnTo>
                <a:cubicBezTo>
                  <a:pt x="159" y="1272"/>
                  <a:pt x="334" y="1097"/>
                  <a:pt x="557" y="1097"/>
                </a:cubicBezTo>
                <a:lnTo>
                  <a:pt x="1241" y="1097"/>
                </a:lnTo>
                <a:lnTo>
                  <a:pt x="3388" y="1097"/>
                </a:lnTo>
                <a:close/>
                <a:moveTo>
                  <a:pt x="3945" y="1860"/>
                </a:moveTo>
                <a:cubicBezTo>
                  <a:pt x="4088" y="1860"/>
                  <a:pt x="4200" y="1749"/>
                  <a:pt x="4200" y="1606"/>
                </a:cubicBezTo>
                <a:cubicBezTo>
                  <a:pt x="4200" y="1463"/>
                  <a:pt x="4088" y="1336"/>
                  <a:pt x="3945" y="1336"/>
                </a:cubicBezTo>
                <a:cubicBezTo>
                  <a:pt x="3802" y="1336"/>
                  <a:pt x="3691" y="1463"/>
                  <a:pt x="3691" y="1606"/>
                </a:cubicBezTo>
                <a:cubicBezTo>
                  <a:pt x="3691" y="1749"/>
                  <a:pt x="3802" y="1860"/>
                  <a:pt x="3945" y="1860"/>
                </a:cubicBezTo>
                <a:close/>
                <a:moveTo>
                  <a:pt x="3945" y="1494"/>
                </a:moveTo>
                <a:cubicBezTo>
                  <a:pt x="3992" y="1494"/>
                  <a:pt x="4040" y="1542"/>
                  <a:pt x="4040" y="1606"/>
                </a:cubicBezTo>
                <a:cubicBezTo>
                  <a:pt x="4040" y="1654"/>
                  <a:pt x="3992" y="1701"/>
                  <a:pt x="3945" y="1701"/>
                </a:cubicBezTo>
                <a:cubicBezTo>
                  <a:pt x="3881" y="1701"/>
                  <a:pt x="3849" y="1654"/>
                  <a:pt x="3849" y="1606"/>
                </a:cubicBezTo>
                <a:cubicBezTo>
                  <a:pt x="3849" y="1542"/>
                  <a:pt x="3881" y="1494"/>
                  <a:pt x="3945" y="149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TextBox 60">
            <a:extLst>
              <a:ext uri="{FF2B5EF4-FFF2-40B4-BE49-F238E27FC236}">
                <a16:creationId xmlns:a16="http://schemas.microsoft.com/office/drawing/2014/main" id="{8C2BF0C8-B389-A94E-824B-F375BD7DE729}"/>
              </a:ext>
            </a:extLst>
          </p:cNvPr>
          <p:cNvSpPr txBox="1"/>
          <p:nvPr/>
        </p:nvSpPr>
        <p:spPr>
          <a:xfrm>
            <a:off x="9553486" y="5164929"/>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AM</a:t>
            </a:r>
          </a:p>
        </p:txBody>
      </p:sp>
      <p:sp>
        <p:nvSpPr>
          <p:cNvPr id="62" name="Freeform: Shape 1">
            <a:extLst>
              <a:ext uri="{FF2B5EF4-FFF2-40B4-BE49-F238E27FC236}">
                <a16:creationId xmlns:a16="http://schemas.microsoft.com/office/drawing/2014/main" id="{17AA0C7E-7836-3B48-BECF-9457AC4CE7FA}"/>
              </a:ext>
            </a:extLst>
          </p:cNvPr>
          <p:cNvSpPr/>
          <p:nvPr/>
        </p:nvSpPr>
        <p:spPr>
          <a:xfrm>
            <a:off x="10202943" y="3468209"/>
            <a:ext cx="1654560" cy="910080"/>
          </a:xfrm>
          <a:custGeom>
            <a:avLst/>
            <a:gdLst/>
            <a:ahLst/>
            <a:cxnLst>
              <a:cxn ang="3cd4">
                <a:pos x="hc" y="t"/>
              </a:cxn>
              <a:cxn ang="cd2">
                <a:pos x="l" y="vc"/>
              </a:cxn>
              <a:cxn ang="cd4">
                <a:pos x="hc" y="b"/>
              </a:cxn>
              <a:cxn ang="0">
                <a:pos x="r" y="vc"/>
              </a:cxn>
            </a:cxnLst>
            <a:rect l="l" t="t" r="r" b="b"/>
            <a:pathLst>
              <a:path w="4597" h="2529">
                <a:moveTo>
                  <a:pt x="398" y="2529"/>
                </a:moveTo>
                <a:lnTo>
                  <a:pt x="4199" y="2529"/>
                </a:lnTo>
                <a:cubicBezTo>
                  <a:pt x="4247" y="2529"/>
                  <a:pt x="4279" y="2497"/>
                  <a:pt x="4279" y="2449"/>
                </a:cubicBezTo>
                <a:lnTo>
                  <a:pt x="4279" y="1893"/>
                </a:lnTo>
                <a:lnTo>
                  <a:pt x="4517" y="1893"/>
                </a:lnTo>
                <a:cubicBezTo>
                  <a:pt x="4565" y="1893"/>
                  <a:pt x="4597" y="1860"/>
                  <a:pt x="4597" y="1813"/>
                </a:cubicBezTo>
                <a:lnTo>
                  <a:pt x="4597" y="79"/>
                </a:lnTo>
                <a:cubicBezTo>
                  <a:pt x="4597" y="32"/>
                  <a:pt x="4565" y="0"/>
                  <a:pt x="4517" y="0"/>
                </a:cubicBezTo>
                <a:lnTo>
                  <a:pt x="80" y="0"/>
                </a:lnTo>
                <a:cubicBezTo>
                  <a:pt x="32" y="0"/>
                  <a:pt x="0" y="32"/>
                  <a:pt x="0" y="79"/>
                </a:cubicBezTo>
                <a:lnTo>
                  <a:pt x="0" y="1813"/>
                </a:lnTo>
                <a:cubicBezTo>
                  <a:pt x="0" y="1860"/>
                  <a:pt x="32" y="1893"/>
                  <a:pt x="80" y="1893"/>
                </a:cubicBezTo>
                <a:lnTo>
                  <a:pt x="318" y="1893"/>
                </a:lnTo>
                <a:lnTo>
                  <a:pt x="318" y="2449"/>
                </a:lnTo>
                <a:cubicBezTo>
                  <a:pt x="318" y="2497"/>
                  <a:pt x="350" y="2529"/>
                  <a:pt x="398" y="2529"/>
                </a:cubicBezTo>
                <a:close/>
                <a:moveTo>
                  <a:pt x="4120" y="2369"/>
                </a:moveTo>
                <a:lnTo>
                  <a:pt x="3961" y="2369"/>
                </a:lnTo>
                <a:lnTo>
                  <a:pt x="3961" y="2051"/>
                </a:lnTo>
                <a:cubicBezTo>
                  <a:pt x="3961" y="2020"/>
                  <a:pt x="3929" y="1972"/>
                  <a:pt x="3881" y="1972"/>
                </a:cubicBezTo>
                <a:cubicBezTo>
                  <a:pt x="3849" y="1972"/>
                  <a:pt x="3802" y="2020"/>
                  <a:pt x="3802" y="2051"/>
                </a:cubicBezTo>
                <a:lnTo>
                  <a:pt x="3802" y="2369"/>
                </a:lnTo>
                <a:lnTo>
                  <a:pt x="3642" y="2369"/>
                </a:lnTo>
                <a:lnTo>
                  <a:pt x="3642" y="2051"/>
                </a:lnTo>
                <a:cubicBezTo>
                  <a:pt x="3642" y="2020"/>
                  <a:pt x="3611" y="1972"/>
                  <a:pt x="3563" y="1972"/>
                </a:cubicBezTo>
                <a:cubicBezTo>
                  <a:pt x="3531" y="1972"/>
                  <a:pt x="3484" y="2020"/>
                  <a:pt x="3484" y="2051"/>
                </a:cubicBezTo>
                <a:lnTo>
                  <a:pt x="3484" y="2369"/>
                </a:lnTo>
                <a:lnTo>
                  <a:pt x="3324" y="2369"/>
                </a:lnTo>
                <a:lnTo>
                  <a:pt x="3324" y="2051"/>
                </a:lnTo>
                <a:cubicBezTo>
                  <a:pt x="3324" y="2020"/>
                  <a:pt x="3293" y="1972"/>
                  <a:pt x="3245" y="1972"/>
                </a:cubicBezTo>
                <a:cubicBezTo>
                  <a:pt x="3213" y="1972"/>
                  <a:pt x="3166" y="2020"/>
                  <a:pt x="3166" y="2051"/>
                </a:cubicBezTo>
                <a:lnTo>
                  <a:pt x="3166" y="2369"/>
                </a:lnTo>
                <a:lnTo>
                  <a:pt x="3006" y="2369"/>
                </a:lnTo>
                <a:lnTo>
                  <a:pt x="3006" y="2051"/>
                </a:lnTo>
                <a:cubicBezTo>
                  <a:pt x="3006" y="2020"/>
                  <a:pt x="2975" y="1972"/>
                  <a:pt x="2927" y="1972"/>
                </a:cubicBezTo>
                <a:cubicBezTo>
                  <a:pt x="2895" y="1972"/>
                  <a:pt x="2847" y="2020"/>
                  <a:pt x="2847" y="2051"/>
                </a:cubicBezTo>
                <a:lnTo>
                  <a:pt x="2847" y="2369"/>
                </a:lnTo>
                <a:lnTo>
                  <a:pt x="2688" y="2369"/>
                </a:lnTo>
                <a:lnTo>
                  <a:pt x="2688" y="2051"/>
                </a:lnTo>
                <a:cubicBezTo>
                  <a:pt x="2688" y="2020"/>
                  <a:pt x="2657" y="1972"/>
                  <a:pt x="2609" y="1972"/>
                </a:cubicBezTo>
                <a:cubicBezTo>
                  <a:pt x="2577" y="1972"/>
                  <a:pt x="2529" y="2020"/>
                  <a:pt x="2529" y="2051"/>
                </a:cubicBezTo>
                <a:lnTo>
                  <a:pt x="2529" y="2369"/>
                </a:lnTo>
                <a:lnTo>
                  <a:pt x="2370" y="2369"/>
                </a:lnTo>
                <a:lnTo>
                  <a:pt x="2370" y="2051"/>
                </a:lnTo>
                <a:cubicBezTo>
                  <a:pt x="2370" y="2020"/>
                  <a:pt x="2338" y="1972"/>
                  <a:pt x="2291" y="1972"/>
                </a:cubicBezTo>
                <a:cubicBezTo>
                  <a:pt x="2259" y="1972"/>
                  <a:pt x="2211" y="2020"/>
                  <a:pt x="2211" y="2051"/>
                </a:cubicBezTo>
                <a:lnTo>
                  <a:pt x="2211" y="2369"/>
                </a:lnTo>
                <a:lnTo>
                  <a:pt x="2052" y="2369"/>
                </a:lnTo>
                <a:lnTo>
                  <a:pt x="2052" y="2051"/>
                </a:lnTo>
                <a:cubicBezTo>
                  <a:pt x="2052" y="2020"/>
                  <a:pt x="2020" y="1972"/>
                  <a:pt x="1972" y="1972"/>
                </a:cubicBezTo>
                <a:cubicBezTo>
                  <a:pt x="1940" y="1972"/>
                  <a:pt x="1893" y="2020"/>
                  <a:pt x="1893" y="2051"/>
                </a:cubicBezTo>
                <a:lnTo>
                  <a:pt x="1893" y="2369"/>
                </a:lnTo>
                <a:lnTo>
                  <a:pt x="1750" y="2369"/>
                </a:lnTo>
                <a:lnTo>
                  <a:pt x="1750" y="2051"/>
                </a:lnTo>
                <a:cubicBezTo>
                  <a:pt x="1750" y="2020"/>
                  <a:pt x="1702" y="1972"/>
                  <a:pt x="1670" y="1972"/>
                </a:cubicBezTo>
                <a:cubicBezTo>
                  <a:pt x="1622" y="1972"/>
                  <a:pt x="1591" y="2020"/>
                  <a:pt x="1591" y="2051"/>
                </a:cubicBezTo>
                <a:lnTo>
                  <a:pt x="1591" y="2369"/>
                </a:lnTo>
                <a:lnTo>
                  <a:pt x="1431" y="2369"/>
                </a:lnTo>
                <a:lnTo>
                  <a:pt x="1431" y="2051"/>
                </a:lnTo>
                <a:cubicBezTo>
                  <a:pt x="1431" y="2020"/>
                  <a:pt x="1384" y="1972"/>
                  <a:pt x="1352" y="1972"/>
                </a:cubicBezTo>
                <a:cubicBezTo>
                  <a:pt x="1304" y="1972"/>
                  <a:pt x="1273" y="2020"/>
                  <a:pt x="1273" y="2051"/>
                </a:cubicBezTo>
                <a:lnTo>
                  <a:pt x="1273" y="2369"/>
                </a:lnTo>
                <a:lnTo>
                  <a:pt x="1113" y="2369"/>
                </a:lnTo>
                <a:lnTo>
                  <a:pt x="1113" y="2051"/>
                </a:lnTo>
                <a:cubicBezTo>
                  <a:pt x="1113" y="2020"/>
                  <a:pt x="1066" y="1972"/>
                  <a:pt x="1034" y="1972"/>
                </a:cubicBezTo>
                <a:cubicBezTo>
                  <a:pt x="986" y="1972"/>
                  <a:pt x="955" y="2020"/>
                  <a:pt x="955" y="2051"/>
                </a:cubicBezTo>
                <a:lnTo>
                  <a:pt x="955" y="2369"/>
                </a:lnTo>
                <a:lnTo>
                  <a:pt x="795" y="2369"/>
                </a:lnTo>
                <a:lnTo>
                  <a:pt x="795" y="2051"/>
                </a:lnTo>
                <a:cubicBezTo>
                  <a:pt x="795" y="2020"/>
                  <a:pt x="748" y="1972"/>
                  <a:pt x="716" y="1972"/>
                </a:cubicBezTo>
                <a:cubicBezTo>
                  <a:pt x="668" y="1972"/>
                  <a:pt x="636" y="2020"/>
                  <a:pt x="636" y="2051"/>
                </a:cubicBezTo>
                <a:lnTo>
                  <a:pt x="636" y="2369"/>
                </a:lnTo>
                <a:lnTo>
                  <a:pt x="477" y="2369"/>
                </a:lnTo>
                <a:lnTo>
                  <a:pt x="477" y="1893"/>
                </a:lnTo>
                <a:lnTo>
                  <a:pt x="4120" y="1893"/>
                </a:lnTo>
                <a:close/>
                <a:moveTo>
                  <a:pt x="159" y="1733"/>
                </a:moveTo>
                <a:lnTo>
                  <a:pt x="159" y="159"/>
                </a:lnTo>
                <a:lnTo>
                  <a:pt x="4438" y="159"/>
                </a:lnTo>
                <a:lnTo>
                  <a:pt x="4438" y="1733"/>
                </a:lnTo>
                <a:lnTo>
                  <a:pt x="4199" y="1733"/>
                </a:lnTo>
                <a:lnTo>
                  <a:pt x="398" y="1733"/>
                </a:lnTo>
                <a:close/>
                <a:moveTo>
                  <a:pt x="557" y="1574"/>
                </a:moveTo>
                <a:lnTo>
                  <a:pt x="1193" y="1574"/>
                </a:lnTo>
                <a:cubicBezTo>
                  <a:pt x="1225" y="1574"/>
                  <a:pt x="1273" y="1542"/>
                  <a:pt x="1273" y="1495"/>
                </a:cubicBezTo>
                <a:lnTo>
                  <a:pt x="1273" y="397"/>
                </a:lnTo>
                <a:cubicBezTo>
                  <a:pt x="1273" y="350"/>
                  <a:pt x="1225" y="318"/>
                  <a:pt x="1193" y="318"/>
                </a:cubicBezTo>
                <a:lnTo>
                  <a:pt x="557" y="318"/>
                </a:lnTo>
                <a:cubicBezTo>
                  <a:pt x="509" y="318"/>
                  <a:pt x="477" y="350"/>
                  <a:pt x="477" y="397"/>
                </a:cubicBezTo>
                <a:lnTo>
                  <a:pt x="477" y="1495"/>
                </a:lnTo>
                <a:cubicBezTo>
                  <a:pt x="477" y="1542"/>
                  <a:pt x="509" y="1574"/>
                  <a:pt x="557" y="1574"/>
                </a:cubicBezTo>
                <a:close/>
                <a:moveTo>
                  <a:pt x="636" y="477"/>
                </a:moveTo>
                <a:lnTo>
                  <a:pt x="1113" y="477"/>
                </a:lnTo>
                <a:lnTo>
                  <a:pt x="1113" y="1415"/>
                </a:lnTo>
                <a:lnTo>
                  <a:pt x="636" y="1415"/>
                </a:lnTo>
                <a:close/>
                <a:moveTo>
                  <a:pt x="1511" y="1574"/>
                </a:moveTo>
                <a:lnTo>
                  <a:pt x="2131" y="1574"/>
                </a:lnTo>
                <a:cubicBezTo>
                  <a:pt x="2179" y="1574"/>
                  <a:pt x="2211" y="1542"/>
                  <a:pt x="2211" y="1495"/>
                </a:cubicBezTo>
                <a:lnTo>
                  <a:pt x="2211" y="397"/>
                </a:lnTo>
                <a:cubicBezTo>
                  <a:pt x="2211" y="350"/>
                  <a:pt x="2179" y="318"/>
                  <a:pt x="2131" y="318"/>
                </a:cubicBezTo>
                <a:lnTo>
                  <a:pt x="1511" y="318"/>
                </a:lnTo>
                <a:cubicBezTo>
                  <a:pt x="1464" y="318"/>
                  <a:pt x="1431" y="350"/>
                  <a:pt x="1431" y="397"/>
                </a:cubicBezTo>
                <a:lnTo>
                  <a:pt x="1431" y="1495"/>
                </a:lnTo>
                <a:cubicBezTo>
                  <a:pt x="1431" y="1542"/>
                  <a:pt x="1464" y="1574"/>
                  <a:pt x="1511" y="1574"/>
                </a:cubicBezTo>
                <a:close/>
                <a:moveTo>
                  <a:pt x="1591" y="477"/>
                </a:moveTo>
                <a:lnTo>
                  <a:pt x="2052" y="477"/>
                </a:lnTo>
                <a:lnTo>
                  <a:pt x="2052" y="1415"/>
                </a:lnTo>
                <a:lnTo>
                  <a:pt x="1591" y="1415"/>
                </a:lnTo>
                <a:close/>
                <a:moveTo>
                  <a:pt x="2449" y="1574"/>
                </a:moveTo>
                <a:lnTo>
                  <a:pt x="3086" y="1574"/>
                </a:lnTo>
                <a:cubicBezTo>
                  <a:pt x="3133" y="1574"/>
                  <a:pt x="3166" y="1542"/>
                  <a:pt x="3166" y="1495"/>
                </a:cubicBezTo>
                <a:lnTo>
                  <a:pt x="3166" y="397"/>
                </a:lnTo>
                <a:cubicBezTo>
                  <a:pt x="3166" y="350"/>
                  <a:pt x="3133" y="318"/>
                  <a:pt x="3086" y="318"/>
                </a:cubicBezTo>
                <a:lnTo>
                  <a:pt x="2449" y="318"/>
                </a:lnTo>
                <a:cubicBezTo>
                  <a:pt x="2418" y="318"/>
                  <a:pt x="2370" y="350"/>
                  <a:pt x="2370" y="397"/>
                </a:cubicBezTo>
                <a:lnTo>
                  <a:pt x="2370" y="1495"/>
                </a:lnTo>
                <a:cubicBezTo>
                  <a:pt x="2370" y="1542"/>
                  <a:pt x="2418" y="1574"/>
                  <a:pt x="2449" y="1574"/>
                </a:cubicBezTo>
                <a:close/>
                <a:moveTo>
                  <a:pt x="2529" y="477"/>
                </a:moveTo>
                <a:lnTo>
                  <a:pt x="3006" y="477"/>
                </a:lnTo>
                <a:lnTo>
                  <a:pt x="3006" y="1415"/>
                </a:lnTo>
                <a:lnTo>
                  <a:pt x="2529" y="1415"/>
                </a:lnTo>
                <a:close/>
                <a:moveTo>
                  <a:pt x="3404" y="1574"/>
                </a:moveTo>
                <a:lnTo>
                  <a:pt x="4040" y="1574"/>
                </a:lnTo>
                <a:cubicBezTo>
                  <a:pt x="4088" y="1574"/>
                  <a:pt x="4120" y="1542"/>
                  <a:pt x="4120" y="1495"/>
                </a:cubicBezTo>
                <a:lnTo>
                  <a:pt x="4120" y="397"/>
                </a:lnTo>
                <a:cubicBezTo>
                  <a:pt x="4120" y="350"/>
                  <a:pt x="4088" y="318"/>
                  <a:pt x="4040" y="318"/>
                </a:cubicBezTo>
                <a:lnTo>
                  <a:pt x="3404" y="318"/>
                </a:lnTo>
                <a:cubicBezTo>
                  <a:pt x="3372" y="318"/>
                  <a:pt x="3324" y="350"/>
                  <a:pt x="3324" y="397"/>
                </a:cubicBezTo>
                <a:lnTo>
                  <a:pt x="3324" y="1495"/>
                </a:lnTo>
                <a:cubicBezTo>
                  <a:pt x="3324" y="1542"/>
                  <a:pt x="3372" y="1574"/>
                  <a:pt x="3404" y="1574"/>
                </a:cubicBezTo>
                <a:close/>
                <a:moveTo>
                  <a:pt x="3484" y="477"/>
                </a:moveTo>
                <a:lnTo>
                  <a:pt x="3961" y="477"/>
                </a:lnTo>
                <a:lnTo>
                  <a:pt x="3961" y="1415"/>
                </a:lnTo>
                <a:lnTo>
                  <a:pt x="3484" y="1415"/>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3" name="TextBox 62">
            <a:extLst>
              <a:ext uri="{FF2B5EF4-FFF2-40B4-BE49-F238E27FC236}">
                <a16:creationId xmlns:a16="http://schemas.microsoft.com/office/drawing/2014/main" id="{CCB52400-00F6-B748-B788-D4D13CCEF332}"/>
              </a:ext>
            </a:extLst>
          </p:cNvPr>
          <p:cNvSpPr txBox="1"/>
          <p:nvPr/>
        </p:nvSpPr>
        <p:spPr>
          <a:xfrm>
            <a:off x="1052420" y="8356952"/>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D</a:t>
            </a:r>
          </a:p>
        </p:txBody>
      </p:sp>
      <p:sp>
        <p:nvSpPr>
          <p:cNvPr id="64" name="TextBox 63">
            <a:extLst>
              <a:ext uri="{FF2B5EF4-FFF2-40B4-BE49-F238E27FC236}">
                <a16:creationId xmlns:a16="http://schemas.microsoft.com/office/drawing/2014/main" id="{255C2691-D021-C742-A38E-AF76ACD22740}"/>
              </a:ext>
            </a:extLst>
          </p:cNvPr>
          <p:cNvSpPr txBox="1"/>
          <p:nvPr/>
        </p:nvSpPr>
        <p:spPr>
          <a:xfrm>
            <a:off x="5306606" y="8356952"/>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loppy</a:t>
            </a:r>
          </a:p>
        </p:txBody>
      </p:sp>
      <p:sp>
        <p:nvSpPr>
          <p:cNvPr id="65" name="TextBox 64">
            <a:extLst>
              <a:ext uri="{FF2B5EF4-FFF2-40B4-BE49-F238E27FC236}">
                <a16:creationId xmlns:a16="http://schemas.microsoft.com/office/drawing/2014/main" id="{ED70D813-DB16-244F-85DE-ABF4CA3DC711}"/>
              </a:ext>
            </a:extLst>
          </p:cNvPr>
          <p:cNvSpPr txBox="1"/>
          <p:nvPr/>
        </p:nvSpPr>
        <p:spPr>
          <a:xfrm>
            <a:off x="9013116" y="8356952"/>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ub 1</a:t>
            </a:r>
          </a:p>
        </p:txBody>
      </p:sp>
      <p:sp>
        <p:nvSpPr>
          <p:cNvPr id="66" name="TextBox 65">
            <a:extLst>
              <a:ext uri="{FF2B5EF4-FFF2-40B4-BE49-F238E27FC236}">
                <a16:creationId xmlns:a16="http://schemas.microsoft.com/office/drawing/2014/main" id="{FF2DBECF-7D5B-014B-8768-680CD8833569}"/>
              </a:ext>
            </a:extLst>
          </p:cNvPr>
          <p:cNvSpPr txBox="1"/>
          <p:nvPr/>
        </p:nvSpPr>
        <p:spPr>
          <a:xfrm>
            <a:off x="13471996" y="8356952"/>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ub 2</a:t>
            </a:r>
          </a:p>
        </p:txBody>
      </p:sp>
      <p:sp>
        <p:nvSpPr>
          <p:cNvPr id="67" name="TextBox 66">
            <a:extLst>
              <a:ext uri="{FF2B5EF4-FFF2-40B4-BE49-F238E27FC236}">
                <a16:creationId xmlns:a16="http://schemas.microsoft.com/office/drawing/2014/main" id="{B8DEA9D0-722C-184A-AAA8-73FC039E557A}"/>
              </a:ext>
            </a:extLst>
          </p:cNvPr>
          <p:cNvSpPr txBox="1"/>
          <p:nvPr/>
        </p:nvSpPr>
        <p:spPr>
          <a:xfrm>
            <a:off x="20182842" y="8356952"/>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ouse 2</a:t>
            </a:r>
          </a:p>
        </p:txBody>
      </p:sp>
      <p:sp>
        <p:nvSpPr>
          <p:cNvPr id="68" name="TextBox 67">
            <a:extLst>
              <a:ext uri="{FF2B5EF4-FFF2-40B4-BE49-F238E27FC236}">
                <a16:creationId xmlns:a16="http://schemas.microsoft.com/office/drawing/2014/main" id="{C9A438E5-6A7F-7747-A3B2-21FE8DB3C00D}"/>
              </a:ext>
            </a:extLst>
          </p:cNvPr>
          <p:cNvSpPr txBox="1"/>
          <p:nvPr/>
        </p:nvSpPr>
        <p:spPr>
          <a:xfrm>
            <a:off x="16453702" y="8356952"/>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ouse 1</a:t>
            </a:r>
          </a:p>
        </p:txBody>
      </p:sp>
      <p:sp>
        <p:nvSpPr>
          <p:cNvPr id="69" name="Freeform: Shape 1">
            <a:extLst>
              <a:ext uri="{FF2B5EF4-FFF2-40B4-BE49-F238E27FC236}">
                <a16:creationId xmlns:a16="http://schemas.microsoft.com/office/drawing/2014/main" id="{54D1367E-4CD3-D74A-B88F-A483FC40C598}"/>
              </a:ext>
            </a:extLst>
          </p:cNvPr>
          <p:cNvSpPr/>
          <p:nvPr/>
        </p:nvSpPr>
        <p:spPr>
          <a:xfrm>
            <a:off x="6054623" y="6548109"/>
            <a:ext cx="1465560" cy="1465560"/>
          </a:xfrm>
          <a:custGeom>
            <a:avLst/>
            <a:gdLst/>
            <a:ahLst/>
            <a:cxnLst>
              <a:cxn ang="3cd4">
                <a:pos x="hc" y="t"/>
              </a:cxn>
              <a:cxn ang="cd2">
                <a:pos x="l" y="vc"/>
              </a:cxn>
              <a:cxn ang="cd4">
                <a:pos x="hc" y="b"/>
              </a:cxn>
              <a:cxn ang="0">
                <a:pos x="r" y="vc"/>
              </a:cxn>
            </a:cxnLst>
            <a:rect l="l" t="t" r="r" b="b"/>
            <a:pathLst>
              <a:path w="4072" h="4072">
                <a:moveTo>
                  <a:pt x="255" y="4072"/>
                </a:moveTo>
                <a:cubicBezTo>
                  <a:pt x="1034" y="4072"/>
                  <a:pt x="1034" y="4072"/>
                  <a:pt x="1034" y="4072"/>
                </a:cubicBezTo>
                <a:cubicBezTo>
                  <a:pt x="3181" y="4072"/>
                  <a:pt x="3181" y="4072"/>
                  <a:pt x="3181" y="4072"/>
                </a:cubicBezTo>
                <a:cubicBezTo>
                  <a:pt x="3818" y="4072"/>
                  <a:pt x="3818" y="4072"/>
                  <a:pt x="3818" y="4072"/>
                </a:cubicBezTo>
                <a:cubicBezTo>
                  <a:pt x="3961" y="4072"/>
                  <a:pt x="4072" y="3945"/>
                  <a:pt x="4072" y="3802"/>
                </a:cubicBezTo>
                <a:cubicBezTo>
                  <a:pt x="4072" y="779"/>
                  <a:pt x="4072" y="779"/>
                  <a:pt x="4072" y="779"/>
                </a:cubicBezTo>
                <a:cubicBezTo>
                  <a:pt x="4072" y="748"/>
                  <a:pt x="4056" y="700"/>
                  <a:pt x="4040" y="668"/>
                </a:cubicBezTo>
                <a:cubicBezTo>
                  <a:pt x="3499" y="48"/>
                  <a:pt x="3499" y="48"/>
                  <a:pt x="3499" y="48"/>
                </a:cubicBezTo>
                <a:cubicBezTo>
                  <a:pt x="3467" y="16"/>
                  <a:pt x="3420" y="0"/>
                  <a:pt x="3372" y="0"/>
                </a:cubicBezTo>
                <a:cubicBezTo>
                  <a:pt x="3181" y="0"/>
                  <a:pt x="3181" y="0"/>
                  <a:pt x="3181" y="0"/>
                </a:cubicBezTo>
                <a:cubicBezTo>
                  <a:pt x="2640" y="0"/>
                  <a:pt x="2640" y="0"/>
                  <a:pt x="2640" y="0"/>
                </a:cubicBezTo>
                <a:cubicBezTo>
                  <a:pt x="1845" y="0"/>
                  <a:pt x="1845" y="0"/>
                  <a:pt x="1845" y="0"/>
                </a:cubicBezTo>
                <a:cubicBezTo>
                  <a:pt x="1034" y="0"/>
                  <a:pt x="1034" y="0"/>
                  <a:pt x="1034" y="0"/>
                </a:cubicBezTo>
                <a:cubicBezTo>
                  <a:pt x="255" y="0"/>
                  <a:pt x="255" y="0"/>
                  <a:pt x="255" y="0"/>
                </a:cubicBezTo>
                <a:cubicBezTo>
                  <a:pt x="127" y="0"/>
                  <a:pt x="0" y="112"/>
                  <a:pt x="0" y="255"/>
                </a:cubicBezTo>
                <a:cubicBezTo>
                  <a:pt x="0" y="3802"/>
                  <a:pt x="0" y="3802"/>
                  <a:pt x="0" y="3802"/>
                </a:cubicBezTo>
                <a:cubicBezTo>
                  <a:pt x="0" y="3945"/>
                  <a:pt x="127" y="4072"/>
                  <a:pt x="255" y="4072"/>
                </a:cubicBezTo>
                <a:close/>
                <a:moveTo>
                  <a:pt x="3101" y="3913"/>
                </a:moveTo>
                <a:cubicBezTo>
                  <a:pt x="1113" y="3913"/>
                  <a:pt x="1113" y="3913"/>
                  <a:pt x="1113" y="3913"/>
                </a:cubicBezTo>
                <a:cubicBezTo>
                  <a:pt x="1113" y="2720"/>
                  <a:pt x="1113" y="2720"/>
                  <a:pt x="1113" y="2720"/>
                </a:cubicBezTo>
                <a:cubicBezTo>
                  <a:pt x="3101" y="2720"/>
                  <a:pt x="3101" y="2720"/>
                  <a:pt x="3101" y="2720"/>
                </a:cubicBezTo>
                <a:close/>
                <a:moveTo>
                  <a:pt x="1925" y="159"/>
                </a:moveTo>
                <a:cubicBezTo>
                  <a:pt x="2561" y="159"/>
                  <a:pt x="2561" y="159"/>
                  <a:pt x="2561" y="159"/>
                </a:cubicBezTo>
                <a:cubicBezTo>
                  <a:pt x="2561" y="1082"/>
                  <a:pt x="2561" y="1082"/>
                  <a:pt x="2561" y="1082"/>
                </a:cubicBezTo>
                <a:cubicBezTo>
                  <a:pt x="1925" y="1082"/>
                  <a:pt x="1925" y="1082"/>
                  <a:pt x="1925" y="1082"/>
                </a:cubicBezTo>
                <a:close/>
                <a:moveTo>
                  <a:pt x="1113" y="159"/>
                </a:moveTo>
                <a:cubicBezTo>
                  <a:pt x="1765" y="159"/>
                  <a:pt x="1765" y="159"/>
                  <a:pt x="1765" y="159"/>
                </a:cubicBezTo>
                <a:cubicBezTo>
                  <a:pt x="1765" y="1161"/>
                  <a:pt x="1765" y="1161"/>
                  <a:pt x="1765" y="1161"/>
                </a:cubicBezTo>
                <a:cubicBezTo>
                  <a:pt x="1765" y="1193"/>
                  <a:pt x="1797" y="1241"/>
                  <a:pt x="1845" y="1241"/>
                </a:cubicBezTo>
                <a:cubicBezTo>
                  <a:pt x="2640" y="1241"/>
                  <a:pt x="2640" y="1241"/>
                  <a:pt x="2640" y="1241"/>
                </a:cubicBezTo>
                <a:cubicBezTo>
                  <a:pt x="2688" y="1241"/>
                  <a:pt x="2720" y="1193"/>
                  <a:pt x="2720" y="1161"/>
                </a:cubicBezTo>
                <a:cubicBezTo>
                  <a:pt x="2720" y="159"/>
                  <a:pt x="2720" y="159"/>
                  <a:pt x="2720" y="159"/>
                </a:cubicBezTo>
                <a:cubicBezTo>
                  <a:pt x="3101" y="159"/>
                  <a:pt x="3101" y="159"/>
                  <a:pt x="3101" y="159"/>
                </a:cubicBezTo>
                <a:cubicBezTo>
                  <a:pt x="3101" y="1352"/>
                  <a:pt x="3101" y="1352"/>
                  <a:pt x="3101" y="1352"/>
                </a:cubicBezTo>
                <a:cubicBezTo>
                  <a:pt x="1113" y="1352"/>
                  <a:pt x="1113" y="1352"/>
                  <a:pt x="1113" y="1352"/>
                </a:cubicBezTo>
                <a:close/>
                <a:moveTo>
                  <a:pt x="159" y="255"/>
                </a:moveTo>
                <a:cubicBezTo>
                  <a:pt x="159" y="191"/>
                  <a:pt x="207" y="159"/>
                  <a:pt x="255" y="159"/>
                </a:cubicBezTo>
                <a:cubicBezTo>
                  <a:pt x="954" y="159"/>
                  <a:pt x="954" y="159"/>
                  <a:pt x="954" y="159"/>
                </a:cubicBezTo>
                <a:cubicBezTo>
                  <a:pt x="954" y="1432"/>
                  <a:pt x="954" y="1432"/>
                  <a:pt x="954" y="1432"/>
                </a:cubicBezTo>
                <a:cubicBezTo>
                  <a:pt x="954" y="1463"/>
                  <a:pt x="986" y="1511"/>
                  <a:pt x="1034" y="1511"/>
                </a:cubicBezTo>
                <a:cubicBezTo>
                  <a:pt x="3181" y="1511"/>
                  <a:pt x="3181" y="1511"/>
                  <a:pt x="3181" y="1511"/>
                </a:cubicBezTo>
                <a:cubicBezTo>
                  <a:pt x="3229" y="1511"/>
                  <a:pt x="3261" y="1463"/>
                  <a:pt x="3261" y="1432"/>
                </a:cubicBezTo>
                <a:cubicBezTo>
                  <a:pt x="3261" y="159"/>
                  <a:pt x="3261" y="159"/>
                  <a:pt x="3261" y="159"/>
                </a:cubicBezTo>
                <a:cubicBezTo>
                  <a:pt x="3372" y="159"/>
                  <a:pt x="3372" y="159"/>
                  <a:pt x="3372" y="159"/>
                </a:cubicBezTo>
                <a:cubicBezTo>
                  <a:pt x="3913" y="779"/>
                  <a:pt x="3913" y="779"/>
                  <a:pt x="3913" y="779"/>
                </a:cubicBezTo>
                <a:cubicBezTo>
                  <a:pt x="3913" y="3802"/>
                  <a:pt x="3913" y="3802"/>
                  <a:pt x="3913" y="3802"/>
                </a:cubicBezTo>
                <a:cubicBezTo>
                  <a:pt x="3913" y="3865"/>
                  <a:pt x="3881" y="3913"/>
                  <a:pt x="3818" y="3913"/>
                </a:cubicBezTo>
                <a:cubicBezTo>
                  <a:pt x="3261" y="3913"/>
                  <a:pt x="3261" y="3913"/>
                  <a:pt x="3261" y="3913"/>
                </a:cubicBezTo>
                <a:cubicBezTo>
                  <a:pt x="3261" y="2641"/>
                  <a:pt x="3261" y="2641"/>
                  <a:pt x="3261" y="2641"/>
                </a:cubicBezTo>
                <a:cubicBezTo>
                  <a:pt x="3261" y="2593"/>
                  <a:pt x="3229" y="2561"/>
                  <a:pt x="3181" y="2561"/>
                </a:cubicBezTo>
                <a:cubicBezTo>
                  <a:pt x="1034" y="2561"/>
                  <a:pt x="1034" y="2561"/>
                  <a:pt x="1034" y="2561"/>
                </a:cubicBezTo>
                <a:cubicBezTo>
                  <a:pt x="986" y="2561"/>
                  <a:pt x="954" y="2593"/>
                  <a:pt x="954" y="2641"/>
                </a:cubicBezTo>
                <a:cubicBezTo>
                  <a:pt x="954" y="3913"/>
                  <a:pt x="954" y="3913"/>
                  <a:pt x="954" y="3913"/>
                </a:cubicBezTo>
                <a:cubicBezTo>
                  <a:pt x="255" y="3913"/>
                  <a:pt x="255" y="3913"/>
                  <a:pt x="255" y="3913"/>
                </a:cubicBezTo>
                <a:cubicBezTo>
                  <a:pt x="207" y="3913"/>
                  <a:pt x="159" y="3865"/>
                  <a:pt x="159" y="380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0" name="Freeform: Shape 4">
            <a:extLst>
              <a:ext uri="{FF2B5EF4-FFF2-40B4-BE49-F238E27FC236}">
                <a16:creationId xmlns:a16="http://schemas.microsoft.com/office/drawing/2014/main" id="{FED222A1-1FF0-6245-82AE-361624DA6BC9}"/>
              </a:ext>
            </a:extLst>
          </p:cNvPr>
          <p:cNvSpPr/>
          <p:nvPr/>
        </p:nvSpPr>
        <p:spPr>
          <a:xfrm>
            <a:off x="13864946" y="6602992"/>
            <a:ext cx="1711800" cy="1219320"/>
          </a:xfrm>
          <a:custGeom>
            <a:avLst/>
            <a:gdLst/>
            <a:ahLst/>
            <a:cxnLst>
              <a:cxn ang="3cd4">
                <a:pos x="hc" y="t"/>
              </a:cxn>
              <a:cxn ang="cd2">
                <a:pos x="l" y="vc"/>
              </a:cxn>
              <a:cxn ang="cd4">
                <a:pos x="hc" y="b"/>
              </a:cxn>
              <a:cxn ang="0">
                <a:pos x="r" y="vc"/>
              </a:cxn>
            </a:cxnLst>
            <a:rect l="l" t="t" r="r" b="b"/>
            <a:pathLst>
              <a:path w="4756" h="3388">
                <a:moveTo>
                  <a:pt x="4756" y="3245"/>
                </a:moveTo>
                <a:lnTo>
                  <a:pt x="4756" y="1480"/>
                </a:lnTo>
                <a:cubicBezTo>
                  <a:pt x="4756" y="1400"/>
                  <a:pt x="4692" y="1320"/>
                  <a:pt x="4613" y="1320"/>
                </a:cubicBezTo>
                <a:lnTo>
                  <a:pt x="3388" y="1320"/>
                </a:lnTo>
                <a:cubicBezTo>
                  <a:pt x="3356" y="1002"/>
                  <a:pt x="3133" y="843"/>
                  <a:pt x="2911" y="843"/>
                </a:cubicBezTo>
                <a:lnTo>
                  <a:pt x="1925" y="843"/>
                </a:lnTo>
                <a:cubicBezTo>
                  <a:pt x="1702" y="843"/>
                  <a:pt x="1479" y="1002"/>
                  <a:pt x="1447" y="1320"/>
                </a:cubicBezTo>
                <a:lnTo>
                  <a:pt x="143" y="1320"/>
                </a:lnTo>
                <a:cubicBezTo>
                  <a:pt x="63" y="1320"/>
                  <a:pt x="0" y="1400"/>
                  <a:pt x="0" y="1480"/>
                </a:cubicBezTo>
                <a:lnTo>
                  <a:pt x="0" y="3245"/>
                </a:lnTo>
                <a:cubicBezTo>
                  <a:pt x="0" y="3325"/>
                  <a:pt x="63" y="3388"/>
                  <a:pt x="143" y="3388"/>
                </a:cubicBezTo>
                <a:lnTo>
                  <a:pt x="4613" y="3388"/>
                </a:lnTo>
                <a:cubicBezTo>
                  <a:pt x="4692" y="3388"/>
                  <a:pt x="4756" y="3325"/>
                  <a:pt x="4756" y="3245"/>
                </a:cubicBezTo>
                <a:close/>
                <a:moveTo>
                  <a:pt x="1925" y="1002"/>
                </a:moveTo>
                <a:lnTo>
                  <a:pt x="2911" y="1002"/>
                </a:lnTo>
                <a:cubicBezTo>
                  <a:pt x="3086" y="1002"/>
                  <a:pt x="3197" y="1129"/>
                  <a:pt x="3229" y="1320"/>
                </a:cubicBezTo>
                <a:lnTo>
                  <a:pt x="1607" y="1320"/>
                </a:lnTo>
                <a:cubicBezTo>
                  <a:pt x="1623" y="1129"/>
                  <a:pt x="1750" y="1002"/>
                  <a:pt x="1925" y="1002"/>
                </a:cubicBezTo>
                <a:close/>
                <a:moveTo>
                  <a:pt x="4597" y="3229"/>
                </a:moveTo>
                <a:lnTo>
                  <a:pt x="159" y="3245"/>
                </a:lnTo>
                <a:lnTo>
                  <a:pt x="143" y="1480"/>
                </a:lnTo>
                <a:lnTo>
                  <a:pt x="1495" y="1480"/>
                </a:lnTo>
                <a:lnTo>
                  <a:pt x="1527" y="1480"/>
                </a:lnTo>
                <a:lnTo>
                  <a:pt x="3308" y="1480"/>
                </a:lnTo>
                <a:lnTo>
                  <a:pt x="3340" y="1480"/>
                </a:lnTo>
                <a:lnTo>
                  <a:pt x="4597" y="1480"/>
                </a:lnTo>
                <a:close/>
                <a:moveTo>
                  <a:pt x="636" y="1798"/>
                </a:moveTo>
                <a:lnTo>
                  <a:pt x="477" y="1798"/>
                </a:lnTo>
                <a:cubicBezTo>
                  <a:pt x="429" y="1798"/>
                  <a:pt x="398" y="1845"/>
                  <a:pt x="398" y="1877"/>
                </a:cubicBezTo>
                <a:cubicBezTo>
                  <a:pt x="398" y="1925"/>
                  <a:pt x="429" y="1957"/>
                  <a:pt x="477" y="1957"/>
                </a:cubicBezTo>
                <a:lnTo>
                  <a:pt x="636" y="1957"/>
                </a:lnTo>
                <a:cubicBezTo>
                  <a:pt x="668" y="1957"/>
                  <a:pt x="716" y="1925"/>
                  <a:pt x="716" y="1877"/>
                </a:cubicBezTo>
                <a:cubicBezTo>
                  <a:pt x="716" y="1845"/>
                  <a:pt x="668" y="1798"/>
                  <a:pt x="636" y="1798"/>
                </a:cubicBezTo>
                <a:close/>
                <a:moveTo>
                  <a:pt x="1114" y="1798"/>
                </a:moveTo>
                <a:lnTo>
                  <a:pt x="954" y="1798"/>
                </a:lnTo>
                <a:cubicBezTo>
                  <a:pt x="907" y="1798"/>
                  <a:pt x="875" y="1845"/>
                  <a:pt x="875" y="1877"/>
                </a:cubicBezTo>
                <a:cubicBezTo>
                  <a:pt x="875" y="1925"/>
                  <a:pt x="907" y="1957"/>
                  <a:pt x="954" y="1957"/>
                </a:cubicBezTo>
                <a:lnTo>
                  <a:pt x="1114" y="1957"/>
                </a:lnTo>
                <a:cubicBezTo>
                  <a:pt x="1145" y="1957"/>
                  <a:pt x="1193" y="1925"/>
                  <a:pt x="1193" y="1877"/>
                </a:cubicBezTo>
                <a:cubicBezTo>
                  <a:pt x="1193" y="1845"/>
                  <a:pt x="1145" y="1798"/>
                  <a:pt x="1114" y="1798"/>
                </a:cubicBezTo>
                <a:close/>
                <a:moveTo>
                  <a:pt x="1114" y="2275"/>
                </a:moveTo>
                <a:lnTo>
                  <a:pt x="954" y="2275"/>
                </a:lnTo>
                <a:cubicBezTo>
                  <a:pt x="907" y="2275"/>
                  <a:pt x="875" y="2323"/>
                  <a:pt x="875" y="2354"/>
                </a:cubicBezTo>
                <a:cubicBezTo>
                  <a:pt x="875" y="2402"/>
                  <a:pt x="907" y="2434"/>
                  <a:pt x="954" y="2434"/>
                </a:cubicBezTo>
                <a:lnTo>
                  <a:pt x="1114" y="2434"/>
                </a:lnTo>
                <a:cubicBezTo>
                  <a:pt x="1145" y="2434"/>
                  <a:pt x="1193" y="2402"/>
                  <a:pt x="1193" y="2354"/>
                </a:cubicBezTo>
                <a:cubicBezTo>
                  <a:pt x="1193" y="2323"/>
                  <a:pt x="1145" y="2275"/>
                  <a:pt x="1114" y="2275"/>
                </a:cubicBezTo>
                <a:close/>
                <a:moveTo>
                  <a:pt x="1432" y="1957"/>
                </a:moveTo>
                <a:lnTo>
                  <a:pt x="1590" y="1957"/>
                </a:lnTo>
                <a:cubicBezTo>
                  <a:pt x="1623" y="1957"/>
                  <a:pt x="1670" y="1925"/>
                  <a:pt x="1670" y="1877"/>
                </a:cubicBezTo>
                <a:cubicBezTo>
                  <a:pt x="1670" y="1845"/>
                  <a:pt x="1623" y="1798"/>
                  <a:pt x="1590" y="1798"/>
                </a:cubicBezTo>
                <a:lnTo>
                  <a:pt x="1432" y="1798"/>
                </a:lnTo>
                <a:cubicBezTo>
                  <a:pt x="1384" y="1798"/>
                  <a:pt x="1352" y="1845"/>
                  <a:pt x="1352" y="1877"/>
                </a:cubicBezTo>
                <a:cubicBezTo>
                  <a:pt x="1352" y="1925"/>
                  <a:pt x="1384" y="1957"/>
                  <a:pt x="1432" y="1957"/>
                </a:cubicBezTo>
                <a:close/>
                <a:moveTo>
                  <a:pt x="1432" y="2434"/>
                </a:moveTo>
                <a:lnTo>
                  <a:pt x="1590" y="2434"/>
                </a:lnTo>
                <a:cubicBezTo>
                  <a:pt x="1623" y="2434"/>
                  <a:pt x="1670" y="2402"/>
                  <a:pt x="1670" y="2354"/>
                </a:cubicBezTo>
                <a:cubicBezTo>
                  <a:pt x="1670" y="2323"/>
                  <a:pt x="1623" y="2275"/>
                  <a:pt x="1590" y="2275"/>
                </a:cubicBezTo>
                <a:lnTo>
                  <a:pt x="1432" y="2275"/>
                </a:lnTo>
                <a:cubicBezTo>
                  <a:pt x="1384" y="2275"/>
                  <a:pt x="1352" y="2323"/>
                  <a:pt x="1352" y="2354"/>
                </a:cubicBezTo>
                <a:cubicBezTo>
                  <a:pt x="1352" y="2402"/>
                  <a:pt x="1384" y="2434"/>
                  <a:pt x="1432" y="2434"/>
                </a:cubicBezTo>
                <a:close/>
                <a:moveTo>
                  <a:pt x="1909" y="2434"/>
                </a:moveTo>
                <a:lnTo>
                  <a:pt x="2068" y="2434"/>
                </a:lnTo>
                <a:cubicBezTo>
                  <a:pt x="2099" y="2434"/>
                  <a:pt x="2147" y="2402"/>
                  <a:pt x="2147" y="2354"/>
                </a:cubicBezTo>
                <a:cubicBezTo>
                  <a:pt x="2147" y="2323"/>
                  <a:pt x="2099" y="2275"/>
                  <a:pt x="2068" y="2275"/>
                </a:cubicBezTo>
                <a:lnTo>
                  <a:pt x="1909" y="2275"/>
                </a:lnTo>
                <a:cubicBezTo>
                  <a:pt x="1861" y="2275"/>
                  <a:pt x="1829" y="2323"/>
                  <a:pt x="1829" y="2354"/>
                </a:cubicBezTo>
                <a:cubicBezTo>
                  <a:pt x="1829" y="2402"/>
                  <a:pt x="1861" y="2434"/>
                  <a:pt x="1909" y="2434"/>
                </a:cubicBezTo>
                <a:close/>
                <a:moveTo>
                  <a:pt x="2386" y="2434"/>
                </a:moveTo>
                <a:lnTo>
                  <a:pt x="2529" y="2434"/>
                </a:lnTo>
                <a:cubicBezTo>
                  <a:pt x="2577" y="2434"/>
                  <a:pt x="2608" y="2402"/>
                  <a:pt x="2608" y="2354"/>
                </a:cubicBezTo>
                <a:cubicBezTo>
                  <a:pt x="2608" y="2323"/>
                  <a:pt x="2577" y="2275"/>
                  <a:pt x="2529" y="2275"/>
                </a:cubicBezTo>
                <a:lnTo>
                  <a:pt x="2386" y="2275"/>
                </a:lnTo>
                <a:cubicBezTo>
                  <a:pt x="2338" y="2275"/>
                  <a:pt x="2307" y="2323"/>
                  <a:pt x="2307" y="2354"/>
                </a:cubicBezTo>
                <a:cubicBezTo>
                  <a:pt x="2307" y="2402"/>
                  <a:pt x="2338" y="2434"/>
                  <a:pt x="2386" y="2434"/>
                </a:cubicBezTo>
                <a:close/>
                <a:moveTo>
                  <a:pt x="1909" y="1957"/>
                </a:moveTo>
                <a:lnTo>
                  <a:pt x="2068" y="1957"/>
                </a:lnTo>
                <a:cubicBezTo>
                  <a:pt x="2099" y="1957"/>
                  <a:pt x="2147" y="1925"/>
                  <a:pt x="2147" y="1877"/>
                </a:cubicBezTo>
                <a:cubicBezTo>
                  <a:pt x="2147" y="1845"/>
                  <a:pt x="2099" y="1798"/>
                  <a:pt x="2068" y="1798"/>
                </a:cubicBezTo>
                <a:lnTo>
                  <a:pt x="1909" y="1798"/>
                </a:lnTo>
                <a:cubicBezTo>
                  <a:pt x="1861" y="1798"/>
                  <a:pt x="1829" y="1845"/>
                  <a:pt x="1829" y="1877"/>
                </a:cubicBezTo>
                <a:cubicBezTo>
                  <a:pt x="1829" y="1925"/>
                  <a:pt x="1861" y="1957"/>
                  <a:pt x="1909" y="1957"/>
                </a:cubicBezTo>
                <a:close/>
                <a:moveTo>
                  <a:pt x="636" y="2275"/>
                </a:moveTo>
                <a:lnTo>
                  <a:pt x="477" y="2275"/>
                </a:lnTo>
                <a:cubicBezTo>
                  <a:pt x="429" y="2275"/>
                  <a:pt x="398" y="2323"/>
                  <a:pt x="398" y="2354"/>
                </a:cubicBezTo>
                <a:cubicBezTo>
                  <a:pt x="398" y="2402"/>
                  <a:pt x="429" y="2434"/>
                  <a:pt x="477" y="2434"/>
                </a:cubicBezTo>
                <a:lnTo>
                  <a:pt x="636" y="2434"/>
                </a:lnTo>
                <a:cubicBezTo>
                  <a:pt x="668" y="2434"/>
                  <a:pt x="716" y="2402"/>
                  <a:pt x="716" y="2354"/>
                </a:cubicBezTo>
                <a:cubicBezTo>
                  <a:pt x="716" y="2323"/>
                  <a:pt x="668" y="2275"/>
                  <a:pt x="636" y="2275"/>
                </a:cubicBezTo>
                <a:close/>
                <a:moveTo>
                  <a:pt x="636" y="2752"/>
                </a:moveTo>
                <a:lnTo>
                  <a:pt x="477" y="2752"/>
                </a:lnTo>
                <a:cubicBezTo>
                  <a:pt x="429" y="2752"/>
                  <a:pt x="398" y="2799"/>
                  <a:pt x="398" y="2832"/>
                </a:cubicBezTo>
                <a:cubicBezTo>
                  <a:pt x="398" y="2879"/>
                  <a:pt x="429" y="2911"/>
                  <a:pt x="477" y="2911"/>
                </a:cubicBezTo>
                <a:lnTo>
                  <a:pt x="636" y="2911"/>
                </a:lnTo>
                <a:cubicBezTo>
                  <a:pt x="668" y="2911"/>
                  <a:pt x="716" y="2879"/>
                  <a:pt x="716" y="2832"/>
                </a:cubicBezTo>
                <a:cubicBezTo>
                  <a:pt x="716" y="2799"/>
                  <a:pt x="668" y="2752"/>
                  <a:pt x="636" y="2752"/>
                </a:cubicBezTo>
                <a:close/>
                <a:moveTo>
                  <a:pt x="4120" y="1957"/>
                </a:moveTo>
                <a:lnTo>
                  <a:pt x="4279" y="1957"/>
                </a:lnTo>
                <a:cubicBezTo>
                  <a:pt x="4326" y="1957"/>
                  <a:pt x="4358" y="1925"/>
                  <a:pt x="4358" y="1877"/>
                </a:cubicBezTo>
                <a:cubicBezTo>
                  <a:pt x="4358" y="1845"/>
                  <a:pt x="4326" y="1798"/>
                  <a:pt x="4279" y="1798"/>
                </a:cubicBezTo>
                <a:lnTo>
                  <a:pt x="4120" y="1798"/>
                </a:lnTo>
                <a:cubicBezTo>
                  <a:pt x="4088" y="1798"/>
                  <a:pt x="4040" y="1845"/>
                  <a:pt x="4040" y="1877"/>
                </a:cubicBezTo>
                <a:cubicBezTo>
                  <a:pt x="4040" y="1925"/>
                  <a:pt x="4088" y="1957"/>
                  <a:pt x="4120" y="1957"/>
                </a:cubicBezTo>
                <a:close/>
                <a:moveTo>
                  <a:pt x="4120" y="2434"/>
                </a:moveTo>
                <a:lnTo>
                  <a:pt x="4279" y="2434"/>
                </a:lnTo>
                <a:cubicBezTo>
                  <a:pt x="4326" y="2434"/>
                  <a:pt x="4358" y="2402"/>
                  <a:pt x="4358" y="2354"/>
                </a:cubicBezTo>
                <a:cubicBezTo>
                  <a:pt x="4358" y="2323"/>
                  <a:pt x="4326" y="2275"/>
                  <a:pt x="4279" y="2275"/>
                </a:cubicBezTo>
                <a:lnTo>
                  <a:pt x="4120" y="2275"/>
                </a:lnTo>
                <a:cubicBezTo>
                  <a:pt x="4088" y="2275"/>
                  <a:pt x="4040" y="2323"/>
                  <a:pt x="4040" y="2354"/>
                </a:cubicBezTo>
                <a:cubicBezTo>
                  <a:pt x="4040" y="2402"/>
                  <a:pt x="4088" y="2434"/>
                  <a:pt x="4120" y="2434"/>
                </a:cubicBezTo>
                <a:close/>
                <a:moveTo>
                  <a:pt x="3643" y="1957"/>
                </a:moveTo>
                <a:lnTo>
                  <a:pt x="3801" y="1957"/>
                </a:lnTo>
                <a:cubicBezTo>
                  <a:pt x="3849" y="1957"/>
                  <a:pt x="3881" y="1925"/>
                  <a:pt x="3881" y="1877"/>
                </a:cubicBezTo>
                <a:cubicBezTo>
                  <a:pt x="3881" y="1845"/>
                  <a:pt x="3849" y="1798"/>
                  <a:pt x="3801" y="1798"/>
                </a:cubicBezTo>
                <a:lnTo>
                  <a:pt x="3643" y="1798"/>
                </a:lnTo>
                <a:cubicBezTo>
                  <a:pt x="3611" y="1798"/>
                  <a:pt x="3563" y="1845"/>
                  <a:pt x="3563" y="1877"/>
                </a:cubicBezTo>
                <a:cubicBezTo>
                  <a:pt x="3563" y="1925"/>
                  <a:pt x="3611" y="1957"/>
                  <a:pt x="3643" y="1957"/>
                </a:cubicBezTo>
                <a:close/>
                <a:moveTo>
                  <a:pt x="3643" y="2434"/>
                </a:moveTo>
                <a:lnTo>
                  <a:pt x="3801" y="2434"/>
                </a:lnTo>
                <a:cubicBezTo>
                  <a:pt x="3849" y="2434"/>
                  <a:pt x="3881" y="2402"/>
                  <a:pt x="3881" y="2354"/>
                </a:cubicBezTo>
                <a:cubicBezTo>
                  <a:pt x="3881" y="2323"/>
                  <a:pt x="3849" y="2275"/>
                  <a:pt x="3801" y="2275"/>
                </a:cubicBezTo>
                <a:lnTo>
                  <a:pt x="3643" y="2275"/>
                </a:lnTo>
                <a:cubicBezTo>
                  <a:pt x="3611" y="2275"/>
                  <a:pt x="3563" y="2323"/>
                  <a:pt x="3563" y="2354"/>
                </a:cubicBezTo>
                <a:cubicBezTo>
                  <a:pt x="3563" y="2402"/>
                  <a:pt x="3611" y="2434"/>
                  <a:pt x="3643" y="2434"/>
                </a:cubicBezTo>
                <a:close/>
                <a:moveTo>
                  <a:pt x="2386" y="1957"/>
                </a:moveTo>
                <a:lnTo>
                  <a:pt x="2529" y="1957"/>
                </a:lnTo>
                <a:cubicBezTo>
                  <a:pt x="2577" y="1957"/>
                  <a:pt x="2608" y="1925"/>
                  <a:pt x="2608" y="1877"/>
                </a:cubicBezTo>
                <a:cubicBezTo>
                  <a:pt x="2608" y="1845"/>
                  <a:pt x="2577" y="1798"/>
                  <a:pt x="2529" y="1798"/>
                </a:cubicBezTo>
                <a:lnTo>
                  <a:pt x="2386" y="1798"/>
                </a:lnTo>
                <a:cubicBezTo>
                  <a:pt x="2338" y="1798"/>
                  <a:pt x="2307" y="1845"/>
                  <a:pt x="2307" y="1877"/>
                </a:cubicBezTo>
                <a:cubicBezTo>
                  <a:pt x="2307" y="1925"/>
                  <a:pt x="2338" y="1957"/>
                  <a:pt x="2386" y="1957"/>
                </a:cubicBezTo>
                <a:close/>
                <a:moveTo>
                  <a:pt x="3006" y="2275"/>
                </a:moveTo>
                <a:lnTo>
                  <a:pt x="2847" y="2275"/>
                </a:lnTo>
                <a:cubicBezTo>
                  <a:pt x="2816" y="2275"/>
                  <a:pt x="2768" y="2323"/>
                  <a:pt x="2768" y="2354"/>
                </a:cubicBezTo>
                <a:cubicBezTo>
                  <a:pt x="2768" y="2402"/>
                  <a:pt x="2816" y="2434"/>
                  <a:pt x="2847" y="2434"/>
                </a:cubicBezTo>
                <a:lnTo>
                  <a:pt x="3006" y="2434"/>
                </a:lnTo>
                <a:cubicBezTo>
                  <a:pt x="3054" y="2434"/>
                  <a:pt x="3086" y="2402"/>
                  <a:pt x="3086" y="2354"/>
                </a:cubicBezTo>
                <a:cubicBezTo>
                  <a:pt x="3086" y="2323"/>
                  <a:pt x="3054" y="2275"/>
                  <a:pt x="3006" y="2275"/>
                </a:cubicBezTo>
                <a:close/>
                <a:moveTo>
                  <a:pt x="3006" y="1798"/>
                </a:moveTo>
                <a:lnTo>
                  <a:pt x="2847" y="1798"/>
                </a:lnTo>
                <a:cubicBezTo>
                  <a:pt x="2816" y="1798"/>
                  <a:pt x="2768" y="1845"/>
                  <a:pt x="2768" y="1877"/>
                </a:cubicBezTo>
                <a:cubicBezTo>
                  <a:pt x="2768" y="1925"/>
                  <a:pt x="2816" y="1957"/>
                  <a:pt x="2847" y="1957"/>
                </a:cubicBezTo>
                <a:lnTo>
                  <a:pt x="3006" y="1957"/>
                </a:lnTo>
                <a:cubicBezTo>
                  <a:pt x="3054" y="1957"/>
                  <a:pt x="3086" y="1925"/>
                  <a:pt x="3086" y="1877"/>
                </a:cubicBezTo>
                <a:cubicBezTo>
                  <a:pt x="3086" y="1845"/>
                  <a:pt x="3054" y="1798"/>
                  <a:pt x="3006" y="1798"/>
                </a:cubicBezTo>
                <a:close/>
                <a:moveTo>
                  <a:pt x="4120" y="2911"/>
                </a:moveTo>
                <a:lnTo>
                  <a:pt x="4279" y="2911"/>
                </a:lnTo>
                <a:cubicBezTo>
                  <a:pt x="4326" y="2911"/>
                  <a:pt x="4358" y="2879"/>
                  <a:pt x="4358" y="2832"/>
                </a:cubicBezTo>
                <a:cubicBezTo>
                  <a:pt x="4358" y="2799"/>
                  <a:pt x="4326" y="2752"/>
                  <a:pt x="4279" y="2752"/>
                </a:cubicBezTo>
                <a:lnTo>
                  <a:pt x="4120" y="2752"/>
                </a:lnTo>
                <a:cubicBezTo>
                  <a:pt x="4088" y="2752"/>
                  <a:pt x="4040" y="2799"/>
                  <a:pt x="4040" y="2832"/>
                </a:cubicBezTo>
                <a:cubicBezTo>
                  <a:pt x="4040" y="2879"/>
                  <a:pt x="4088" y="2911"/>
                  <a:pt x="4120" y="2911"/>
                </a:cubicBezTo>
                <a:close/>
                <a:moveTo>
                  <a:pt x="1114" y="2752"/>
                </a:moveTo>
                <a:lnTo>
                  <a:pt x="954" y="2752"/>
                </a:lnTo>
                <a:cubicBezTo>
                  <a:pt x="907" y="2752"/>
                  <a:pt x="875" y="2799"/>
                  <a:pt x="875" y="2832"/>
                </a:cubicBezTo>
                <a:cubicBezTo>
                  <a:pt x="875" y="2879"/>
                  <a:pt x="907" y="2911"/>
                  <a:pt x="954" y="2911"/>
                </a:cubicBezTo>
                <a:lnTo>
                  <a:pt x="1114" y="2911"/>
                </a:lnTo>
                <a:cubicBezTo>
                  <a:pt x="1145" y="2911"/>
                  <a:pt x="1193" y="2879"/>
                  <a:pt x="1193" y="2832"/>
                </a:cubicBezTo>
                <a:cubicBezTo>
                  <a:pt x="1193" y="2799"/>
                  <a:pt x="1145" y="2752"/>
                  <a:pt x="1114" y="2752"/>
                </a:cubicBezTo>
                <a:close/>
                <a:moveTo>
                  <a:pt x="3006" y="2752"/>
                </a:moveTo>
                <a:lnTo>
                  <a:pt x="1432" y="2752"/>
                </a:lnTo>
                <a:cubicBezTo>
                  <a:pt x="1384" y="2752"/>
                  <a:pt x="1352" y="2799"/>
                  <a:pt x="1352" y="2832"/>
                </a:cubicBezTo>
                <a:cubicBezTo>
                  <a:pt x="1352" y="2879"/>
                  <a:pt x="1384" y="2911"/>
                  <a:pt x="1432" y="2911"/>
                </a:cubicBezTo>
                <a:lnTo>
                  <a:pt x="3006" y="2911"/>
                </a:lnTo>
                <a:cubicBezTo>
                  <a:pt x="3054" y="2911"/>
                  <a:pt x="3086" y="2879"/>
                  <a:pt x="3086" y="2832"/>
                </a:cubicBezTo>
                <a:cubicBezTo>
                  <a:pt x="3086" y="2799"/>
                  <a:pt x="3054" y="2752"/>
                  <a:pt x="3006" y="2752"/>
                </a:cubicBezTo>
                <a:close/>
                <a:moveTo>
                  <a:pt x="1941" y="589"/>
                </a:moveTo>
                <a:cubicBezTo>
                  <a:pt x="1909" y="620"/>
                  <a:pt x="1909" y="668"/>
                  <a:pt x="1941" y="700"/>
                </a:cubicBezTo>
                <a:cubicBezTo>
                  <a:pt x="1972" y="732"/>
                  <a:pt x="2020" y="732"/>
                  <a:pt x="2052" y="700"/>
                </a:cubicBezTo>
                <a:cubicBezTo>
                  <a:pt x="2243" y="509"/>
                  <a:pt x="2593" y="509"/>
                  <a:pt x="2784" y="700"/>
                </a:cubicBezTo>
                <a:cubicBezTo>
                  <a:pt x="2799" y="716"/>
                  <a:pt x="2816" y="732"/>
                  <a:pt x="2831" y="732"/>
                </a:cubicBezTo>
                <a:cubicBezTo>
                  <a:pt x="2863" y="732"/>
                  <a:pt x="2879" y="716"/>
                  <a:pt x="2895" y="700"/>
                </a:cubicBezTo>
                <a:cubicBezTo>
                  <a:pt x="2927" y="668"/>
                  <a:pt x="2927" y="620"/>
                  <a:pt x="2895" y="589"/>
                </a:cubicBezTo>
                <a:cubicBezTo>
                  <a:pt x="2640" y="334"/>
                  <a:pt x="2195" y="334"/>
                  <a:pt x="1941" y="589"/>
                </a:cubicBezTo>
                <a:close/>
                <a:moveTo>
                  <a:pt x="3181" y="430"/>
                </a:moveTo>
                <a:cubicBezTo>
                  <a:pt x="3213" y="398"/>
                  <a:pt x="3213" y="350"/>
                  <a:pt x="3181" y="318"/>
                </a:cubicBezTo>
                <a:cubicBezTo>
                  <a:pt x="2974" y="112"/>
                  <a:pt x="2704" y="0"/>
                  <a:pt x="2418" y="0"/>
                </a:cubicBezTo>
                <a:cubicBezTo>
                  <a:pt x="2131" y="0"/>
                  <a:pt x="1861" y="112"/>
                  <a:pt x="1654" y="318"/>
                </a:cubicBezTo>
                <a:cubicBezTo>
                  <a:pt x="1623" y="350"/>
                  <a:pt x="1623" y="398"/>
                  <a:pt x="1654" y="430"/>
                </a:cubicBezTo>
                <a:cubicBezTo>
                  <a:pt x="1670" y="445"/>
                  <a:pt x="1702" y="445"/>
                  <a:pt x="1718" y="445"/>
                </a:cubicBezTo>
                <a:cubicBezTo>
                  <a:pt x="1734" y="445"/>
                  <a:pt x="1750" y="445"/>
                  <a:pt x="1766" y="430"/>
                </a:cubicBezTo>
                <a:cubicBezTo>
                  <a:pt x="1941" y="255"/>
                  <a:pt x="2179" y="159"/>
                  <a:pt x="2418" y="159"/>
                </a:cubicBezTo>
                <a:cubicBezTo>
                  <a:pt x="2656" y="159"/>
                  <a:pt x="2895" y="255"/>
                  <a:pt x="3054" y="430"/>
                </a:cubicBezTo>
                <a:cubicBezTo>
                  <a:pt x="3086" y="462"/>
                  <a:pt x="3149" y="462"/>
                  <a:pt x="3181" y="43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1" name="Freeform: Shape 5">
            <a:extLst>
              <a:ext uri="{FF2B5EF4-FFF2-40B4-BE49-F238E27FC236}">
                <a16:creationId xmlns:a16="http://schemas.microsoft.com/office/drawing/2014/main" id="{0D4D7B8C-B371-B64C-957F-5951516CF538}"/>
              </a:ext>
            </a:extLst>
          </p:cNvPr>
          <p:cNvSpPr/>
          <p:nvPr/>
        </p:nvSpPr>
        <p:spPr>
          <a:xfrm>
            <a:off x="9959650" y="6671752"/>
            <a:ext cx="1717560" cy="1081800"/>
          </a:xfrm>
          <a:custGeom>
            <a:avLst/>
            <a:gdLst/>
            <a:ahLst/>
            <a:cxnLst>
              <a:cxn ang="3cd4">
                <a:pos x="hc" y="t"/>
              </a:cxn>
              <a:cxn ang="cd2">
                <a:pos x="l" y="vc"/>
              </a:cxn>
              <a:cxn ang="cd4">
                <a:pos x="hc" y="b"/>
              </a:cxn>
              <a:cxn ang="0">
                <a:pos x="r" y="vc"/>
              </a:cxn>
            </a:cxnLst>
            <a:rect l="l" t="t" r="r" b="b"/>
            <a:pathLst>
              <a:path w="4772" h="3006">
                <a:moveTo>
                  <a:pt x="4772" y="2863"/>
                </a:moveTo>
                <a:lnTo>
                  <a:pt x="4772" y="1098"/>
                </a:lnTo>
                <a:cubicBezTo>
                  <a:pt x="4772" y="1018"/>
                  <a:pt x="4692" y="954"/>
                  <a:pt x="4613" y="954"/>
                </a:cubicBezTo>
                <a:lnTo>
                  <a:pt x="3388" y="954"/>
                </a:lnTo>
                <a:cubicBezTo>
                  <a:pt x="3356" y="620"/>
                  <a:pt x="3134" y="477"/>
                  <a:pt x="2911" y="477"/>
                </a:cubicBezTo>
                <a:lnTo>
                  <a:pt x="2863" y="477"/>
                </a:lnTo>
                <a:lnTo>
                  <a:pt x="2863" y="398"/>
                </a:lnTo>
                <a:cubicBezTo>
                  <a:pt x="2863" y="111"/>
                  <a:pt x="2577" y="0"/>
                  <a:pt x="2322" y="0"/>
                </a:cubicBezTo>
                <a:lnTo>
                  <a:pt x="159" y="0"/>
                </a:lnTo>
                <a:cubicBezTo>
                  <a:pt x="111" y="0"/>
                  <a:pt x="80" y="32"/>
                  <a:pt x="80" y="80"/>
                </a:cubicBezTo>
                <a:cubicBezTo>
                  <a:pt x="80" y="111"/>
                  <a:pt x="111" y="159"/>
                  <a:pt x="159" y="159"/>
                </a:cubicBezTo>
                <a:lnTo>
                  <a:pt x="2322" y="159"/>
                </a:lnTo>
                <a:cubicBezTo>
                  <a:pt x="2450" y="159"/>
                  <a:pt x="2704" y="207"/>
                  <a:pt x="2704" y="398"/>
                </a:cubicBezTo>
                <a:lnTo>
                  <a:pt x="2704" y="477"/>
                </a:lnTo>
                <a:lnTo>
                  <a:pt x="1925" y="477"/>
                </a:lnTo>
                <a:cubicBezTo>
                  <a:pt x="1702" y="477"/>
                  <a:pt x="1480" y="620"/>
                  <a:pt x="1447" y="954"/>
                </a:cubicBezTo>
                <a:lnTo>
                  <a:pt x="143" y="954"/>
                </a:lnTo>
                <a:cubicBezTo>
                  <a:pt x="64" y="954"/>
                  <a:pt x="0" y="1018"/>
                  <a:pt x="0" y="1098"/>
                </a:cubicBezTo>
                <a:lnTo>
                  <a:pt x="0" y="2863"/>
                </a:lnTo>
                <a:cubicBezTo>
                  <a:pt x="0" y="2943"/>
                  <a:pt x="64" y="3006"/>
                  <a:pt x="143" y="3006"/>
                </a:cubicBezTo>
                <a:lnTo>
                  <a:pt x="4613" y="3006"/>
                </a:lnTo>
                <a:cubicBezTo>
                  <a:pt x="4692" y="3006"/>
                  <a:pt x="4772" y="2943"/>
                  <a:pt x="4772" y="2863"/>
                </a:cubicBezTo>
                <a:close/>
                <a:moveTo>
                  <a:pt x="1925" y="636"/>
                </a:moveTo>
                <a:lnTo>
                  <a:pt x="2911" y="636"/>
                </a:lnTo>
                <a:cubicBezTo>
                  <a:pt x="3102" y="636"/>
                  <a:pt x="3213" y="748"/>
                  <a:pt x="3229" y="954"/>
                </a:cubicBezTo>
                <a:lnTo>
                  <a:pt x="1607" y="954"/>
                </a:lnTo>
                <a:cubicBezTo>
                  <a:pt x="1638" y="748"/>
                  <a:pt x="1750" y="636"/>
                  <a:pt x="1925" y="636"/>
                </a:cubicBezTo>
                <a:close/>
                <a:moveTo>
                  <a:pt x="4613" y="2847"/>
                </a:moveTo>
                <a:lnTo>
                  <a:pt x="159" y="2863"/>
                </a:lnTo>
                <a:lnTo>
                  <a:pt x="143" y="1114"/>
                </a:lnTo>
                <a:lnTo>
                  <a:pt x="1511" y="1098"/>
                </a:lnTo>
                <a:lnTo>
                  <a:pt x="1527" y="1114"/>
                </a:lnTo>
                <a:lnTo>
                  <a:pt x="3309" y="1114"/>
                </a:lnTo>
                <a:cubicBezTo>
                  <a:pt x="3325" y="1114"/>
                  <a:pt x="3340" y="1098"/>
                  <a:pt x="3356" y="1098"/>
                </a:cubicBezTo>
                <a:lnTo>
                  <a:pt x="4613" y="1098"/>
                </a:lnTo>
                <a:close/>
                <a:moveTo>
                  <a:pt x="637" y="1432"/>
                </a:moveTo>
                <a:lnTo>
                  <a:pt x="477" y="1432"/>
                </a:lnTo>
                <a:cubicBezTo>
                  <a:pt x="430" y="1432"/>
                  <a:pt x="398" y="1463"/>
                  <a:pt x="398" y="1511"/>
                </a:cubicBezTo>
                <a:cubicBezTo>
                  <a:pt x="398" y="1543"/>
                  <a:pt x="430" y="1590"/>
                  <a:pt x="477" y="1590"/>
                </a:cubicBezTo>
                <a:lnTo>
                  <a:pt x="637" y="1590"/>
                </a:lnTo>
                <a:cubicBezTo>
                  <a:pt x="684" y="1590"/>
                  <a:pt x="716" y="1543"/>
                  <a:pt x="716" y="1511"/>
                </a:cubicBezTo>
                <a:cubicBezTo>
                  <a:pt x="716" y="1463"/>
                  <a:pt x="684" y="1432"/>
                  <a:pt x="637" y="1432"/>
                </a:cubicBezTo>
                <a:close/>
                <a:moveTo>
                  <a:pt x="1114" y="1432"/>
                </a:moveTo>
                <a:lnTo>
                  <a:pt x="955" y="1432"/>
                </a:lnTo>
                <a:cubicBezTo>
                  <a:pt x="907" y="1432"/>
                  <a:pt x="875" y="1463"/>
                  <a:pt x="875" y="1511"/>
                </a:cubicBezTo>
                <a:cubicBezTo>
                  <a:pt x="875" y="1543"/>
                  <a:pt x="907" y="1590"/>
                  <a:pt x="955" y="1590"/>
                </a:cubicBezTo>
                <a:lnTo>
                  <a:pt x="1114" y="1590"/>
                </a:lnTo>
                <a:cubicBezTo>
                  <a:pt x="1161" y="1590"/>
                  <a:pt x="1193" y="1543"/>
                  <a:pt x="1193" y="1511"/>
                </a:cubicBezTo>
                <a:cubicBezTo>
                  <a:pt x="1193" y="1463"/>
                  <a:pt x="1161" y="1432"/>
                  <a:pt x="1114" y="1432"/>
                </a:cubicBezTo>
                <a:close/>
                <a:moveTo>
                  <a:pt x="1114" y="1893"/>
                </a:moveTo>
                <a:lnTo>
                  <a:pt x="955" y="1893"/>
                </a:lnTo>
                <a:cubicBezTo>
                  <a:pt x="907" y="1893"/>
                  <a:pt x="875" y="1941"/>
                  <a:pt x="875" y="1972"/>
                </a:cubicBezTo>
                <a:cubicBezTo>
                  <a:pt x="875" y="2020"/>
                  <a:pt x="907" y="2052"/>
                  <a:pt x="955" y="2052"/>
                </a:cubicBezTo>
                <a:lnTo>
                  <a:pt x="1114" y="2052"/>
                </a:lnTo>
                <a:cubicBezTo>
                  <a:pt x="1161" y="2052"/>
                  <a:pt x="1193" y="2020"/>
                  <a:pt x="1193" y="1972"/>
                </a:cubicBezTo>
                <a:cubicBezTo>
                  <a:pt x="1193" y="1941"/>
                  <a:pt x="1161" y="1893"/>
                  <a:pt x="1114" y="1893"/>
                </a:cubicBezTo>
                <a:close/>
                <a:moveTo>
                  <a:pt x="1432" y="1590"/>
                </a:moveTo>
                <a:lnTo>
                  <a:pt x="1591" y="1590"/>
                </a:lnTo>
                <a:cubicBezTo>
                  <a:pt x="1638" y="1590"/>
                  <a:pt x="1670" y="1543"/>
                  <a:pt x="1670" y="1511"/>
                </a:cubicBezTo>
                <a:cubicBezTo>
                  <a:pt x="1670" y="1463"/>
                  <a:pt x="1638" y="1432"/>
                  <a:pt x="1591" y="1432"/>
                </a:cubicBezTo>
                <a:lnTo>
                  <a:pt x="1432" y="1432"/>
                </a:lnTo>
                <a:cubicBezTo>
                  <a:pt x="1384" y="1432"/>
                  <a:pt x="1352" y="1463"/>
                  <a:pt x="1352" y="1511"/>
                </a:cubicBezTo>
                <a:cubicBezTo>
                  <a:pt x="1352" y="1543"/>
                  <a:pt x="1384" y="1590"/>
                  <a:pt x="1432" y="1590"/>
                </a:cubicBezTo>
                <a:close/>
                <a:moveTo>
                  <a:pt x="1432" y="2052"/>
                </a:moveTo>
                <a:lnTo>
                  <a:pt x="1591" y="2052"/>
                </a:lnTo>
                <a:cubicBezTo>
                  <a:pt x="1638" y="2052"/>
                  <a:pt x="1670" y="2020"/>
                  <a:pt x="1670" y="1972"/>
                </a:cubicBezTo>
                <a:cubicBezTo>
                  <a:pt x="1670" y="1941"/>
                  <a:pt x="1638" y="1893"/>
                  <a:pt x="1591" y="1893"/>
                </a:cubicBezTo>
                <a:lnTo>
                  <a:pt x="1432" y="1893"/>
                </a:lnTo>
                <a:cubicBezTo>
                  <a:pt x="1384" y="1893"/>
                  <a:pt x="1352" y="1941"/>
                  <a:pt x="1352" y="1972"/>
                </a:cubicBezTo>
                <a:cubicBezTo>
                  <a:pt x="1352" y="2020"/>
                  <a:pt x="1384" y="2052"/>
                  <a:pt x="1432" y="2052"/>
                </a:cubicBezTo>
                <a:close/>
                <a:moveTo>
                  <a:pt x="1909" y="2052"/>
                </a:moveTo>
                <a:lnTo>
                  <a:pt x="2068" y="2052"/>
                </a:lnTo>
                <a:cubicBezTo>
                  <a:pt x="2116" y="2052"/>
                  <a:pt x="2147" y="2020"/>
                  <a:pt x="2147" y="1972"/>
                </a:cubicBezTo>
                <a:cubicBezTo>
                  <a:pt x="2147" y="1941"/>
                  <a:pt x="2116" y="1893"/>
                  <a:pt x="2068" y="1893"/>
                </a:cubicBezTo>
                <a:lnTo>
                  <a:pt x="1909" y="1893"/>
                </a:lnTo>
                <a:cubicBezTo>
                  <a:pt x="1861" y="1893"/>
                  <a:pt x="1829" y="1941"/>
                  <a:pt x="1829" y="1972"/>
                </a:cubicBezTo>
                <a:cubicBezTo>
                  <a:pt x="1829" y="2020"/>
                  <a:pt x="1861" y="2052"/>
                  <a:pt x="1909" y="2052"/>
                </a:cubicBezTo>
                <a:close/>
                <a:moveTo>
                  <a:pt x="2386" y="2052"/>
                </a:moveTo>
                <a:lnTo>
                  <a:pt x="2545" y="2052"/>
                </a:lnTo>
                <a:cubicBezTo>
                  <a:pt x="2593" y="2052"/>
                  <a:pt x="2625" y="2020"/>
                  <a:pt x="2625" y="1972"/>
                </a:cubicBezTo>
                <a:cubicBezTo>
                  <a:pt x="2625" y="1941"/>
                  <a:pt x="2593" y="1893"/>
                  <a:pt x="2545" y="1893"/>
                </a:cubicBezTo>
                <a:lnTo>
                  <a:pt x="2386" y="1893"/>
                </a:lnTo>
                <a:cubicBezTo>
                  <a:pt x="2338" y="1893"/>
                  <a:pt x="2307" y="1941"/>
                  <a:pt x="2307" y="1972"/>
                </a:cubicBezTo>
                <a:cubicBezTo>
                  <a:pt x="2307" y="2020"/>
                  <a:pt x="2338" y="2052"/>
                  <a:pt x="2386" y="2052"/>
                </a:cubicBezTo>
                <a:close/>
                <a:moveTo>
                  <a:pt x="1909" y="1590"/>
                </a:moveTo>
                <a:lnTo>
                  <a:pt x="2068" y="1590"/>
                </a:lnTo>
                <a:cubicBezTo>
                  <a:pt x="2116" y="1590"/>
                  <a:pt x="2147" y="1543"/>
                  <a:pt x="2147" y="1511"/>
                </a:cubicBezTo>
                <a:cubicBezTo>
                  <a:pt x="2147" y="1463"/>
                  <a:pt x="2116" y="1432"/>
                  <a:pt x="2068" y="1432"/>
                </a:cubicBezTo>
                <a:lnTo>
                  <a:pt x="1909" y="1432"/>
                </a:lnTo>
                <a:cubicBezTo>
                  <a:pt x="1861" y="1432"/>
                  <a:pt x="1829" y="1463"/>
                  <a:pt x="1829" y="1511"/>
                </a:cubicBezTo>
                <a:cubicBezTo>
                  <a:pt x="1829" y="1543"/>
                  <a:pt x="1861" y="1590"/>
                  <a:pt x="1909" y="1590"/>
                </a:cubicBezTo>
                <a:close/>
                <a:moveTo>
                  <a:pt x="637" y="1893"/>
                </a:moveTo>
                <a:lnTo>
                  <a:pt x="477" y="1893"/>
                </a:lnTo>
                <a:cubicBezTo>
                  <a:pt x="430" y="1893"/>
                  <a:pt x="398" y="1941"/>
                  <a:pt x="398" y="1972"/>
                </a:cubicBezTo>
                <a:cubicBezTo>
                  <a:pt x="398" y="2020"/>
                  <a:pt x="430" y="2052"/>
                  <a:pt x="477" y="2052"/>
                </a:cubicBezTo>
                <a:lnTo>
                  <a:pt x="637" y="2052"/>
                </a:lnTo>
                <a:cubicBezTo>
                  <a:pt x="684" y="2052"/>
                  <a:pt x="716" y="2020"/>
                  <a:pt x="716" y="1972"/>
                </a:cubicBezTo>
                <a:cubicBezTo>
                  <a:pt x="716" y="1941"/>
                  <a:pt x="684" y="1893"/>
                  <a:pt x="637" y="1893"/>
                </a:cubicBezTo>
                <a:close/>
                <a:moveTo>
                  <a:pt x="637" y="2370"/>
                </a:moveTo>
                <a:lnTo>
                  <a:pt x="477" y="2370"/>
                </a:lnTo>
                <a:cubicBezTo>
                  <a:pt x="430" y="2370"/>
                  <a:pt x="398" y="2418"/>
                  <a:pt x="398" y="2450"/>
                </a:cubicBezTo>
                <a:cubicBezTo>
                  <a:pt x="398" y="2497"/>
                  <a:pt x="430" y="2529"/>
                  <a:pt x="477" y="2529"/>
                </a:cubicBezTo>
                <a:lnTo>
                  <a:pt x="637" y="2529"/>
                </a:lnTo>
                <a:cubicBezTo>
                  <a:pt x="684" y="2529"/>
                  <a:pt x="716" y="2497"/>
                  <a:pt x="716" y="2450"/>
                </a:cubicBezTo>
                <a:cubicBezTo>
                  <a:pt x="716" y="2418"/>
                  <a:pt x="684" y="2370"/>
                  <a:pt x="637" y="2370"/>
                </a:cubicBezTo>
                <a:close/>
                <a:moveTo>
                  <a:pt x="4136" y="1590"/>
                </a:moveTo>
                <a:lnTo>
                  <a:pt x="4295" y="1590"/>
                </a:lnTo>
                <a:cubicBezTo>
                  <a:pt x="4327" y="1590"/>
                  <a:pt x="4374" y="1543"/>
                  <a:pt x="4374" y="1511"/>
                </a:cubicBezTo>
                <a:cubicBezTo>
                  <a:pt x="4374" y="1463"/>
                  <a:pt x="4327" y="1432"/>
                  <a:pt x="4295" y="1432"/>
                </a:cubicBezTo>
                <a:lnTo>
                  <a:pt x="4136" y="1432"/>
                </a:lnTo>
                <a:cubicBezTo>
                  <a:pt x="4088" y="1432"/>
                  <a:pt x="4056" y="1463"/>
                  <a:pt x="4056" y="1511"/>
                </a:cubicBezTo>
                <a:cubicBezTo>
                  <a:pt x="4056" y="1543"/>
                  <a:pt x="4088" y="1590"/>
                  <a:pt x="4136" y="1590"/>
                </a:cubicBezTo>
                <a:close/>
                <a:moveTo>
                  <a:pt x="4136" y="2052"/>
                </a:moveTo>
                <a:lnTo>
                  <a:pt x="4295" y="2052"/>
                </a:lnTo>
                <a:cubicBezTo>
                  <a:pt x="4327" y="2052"/>
                  <a:pt x="4374" y="2020"/>
                  <a:pt x="4374" y="1972"/>
                </a:cubicBezTo>
                <a:cubicBezTo>
                  <a:pt x="4374" y="1941"/>
                  <a:pt x="4327" y="1893"/>
                  <a:pt x="4295" y="1893"/>
                </a:cubicBezTo>
                <a:lnTo>
                  <a:pt x="4136" y="1893"/>
                </a:lnTo>
                <a:cubicBezTo>
                  <a:pt x="4088" y="1893"/>
                  <a:pt x="4056" y="1941"/>
                  <a:pt x="4056" y="1972"/>
                </a:cubicBezTo>
                <a:cubicBezTo>
                  <a:pt x="4056" y="2020"/>
                  <a:pt x="4088" y="2052"/>
                  <a:pt x="4136" y="2052"/>
                </a:cubicBezTo>
                <a:close/>
                <a:moveTo>
                  <a:pt x="3659" y="1590"/>
                </a:moveTo>
                <a:lnTo>
                  <a:pt x="3818" y="1590"/>
                </a:lnTo>
                <a:cubicBezTo>
                  <a:pt x="3849" y="1590"/>
                  <a:pt x="3897" y="1543"/>
                  <a:pt x="3897" y="1511"/>
                </a:cubicBezTo>
                <a:cubicBezTo>
                  <a:pt x="3897" y="1463"/>
                  <a:pt x="3849" y="1432"/>
                  <a:pt x="3818" y="1432"/>
                </a:cubicBezTo>
                <a:lnTo>
                  <a:pt x="3659" y="1432"/>
                </a:lnTo>
                <a:cubicBezTo>
                  <a:pt x="3611" y="1432"/>
                  <a:pt x="3579" y="1463"/>
                  <a:pt x="3579" y="1511"/>
                </a:cubicBezTo>
                <a:cubicBezTo>
                  <a:pt x="3579" y="1543"/>
                  <a:pt x="3611" y="1590"/>
                  <a:pt x="3659" y="1590"/>
                </a:cubicBezTo>
                <a:close/>
                <a:moveTo>
                  <a:pt x="3659" y="2052"/>
                </a:moveTo>
                <a:lnTo>
                  <a:pt x="3818" y="2052"/>
                </a:lnTo>
                <a:cubicBezTo>
                  <a:pt x="3849" y="2052"/>
                  <a:pt x="3897" y="2020"/>
                  <a:pt x="3897" y="1972"/>
                </a:cubicBezTo>
                <a:cubicBezTo>
                  <a:pt x="3897" y="1941"/>
                  <a:pt x="3849" y="1893"/>
                  <a:pt x="3818" y="1893"/>
                </a:cubicBezTo>
                <a:lnTo>
                  <a:pt x="3659" y="1893"/>
                </a:lnTo>
                <a:cubicBezTo>
                  <a:pt x="3611" y="1893"/>
                  <a:pt x="3579" y="1941"/>
                  <a:pt x="3579" y="1972"/>
                </a:cubicBezTo>
                <a:cubicBezTo>
                  <a:pt x="3579" y="2020"/>
                  <a:pt x="3611" y="2052"/>
                  <a:pt x="3659" y="2052"/>
                </a:cubicBezTo>
                <a:close/>
                <a:moveTo>
                  <a:pt x="2386" y="1590"/>
                </a:moveTo>
                <a:lnTo>
                  <a:pt x="2545" y="1590"/>
                </a:lnTo>
                <a:cubicBezTo>
                  <a:pt x="2593" y="1590"/>
                  <a:pt x="2625" y="1543"/>
                  <a:pt x="2625" y="1511"/>
                </a:cubicBezTo>
                <a:cubicBezTo>
                  <a:pt x="2625" y="1463"/>
                  <a:pt x="2593" y="1432"/>
                  <a:pt x="2545" y="1432"/>
                </a:cubicBezTo>
                <a:lnTo>
                  <a:pt x="2386" y="1432"/>
                </a:lnTo>
                <a:cubicBezTo>
                  <a:pt x="2338" y="1432"/>
                  <a:pt x="2307" y="1463"/>
                  <a:pt x="2307" y="1511"/>
                </a:cubicBezTo>
                <a:cubicBezTo>
                  <a:pt x="2307" y="1543"/>
                  <a:pt x="2338" y="1590"/>
                  <a:pt x="2386" y="1590"/>
                </a:cubicBezTo>
                <a:close/>
                <a:moveTo>
                  <a:pt x="3022" y="1893"/>
                </a:moveTo>
                <a:lnTo>
                  <a:pt x="2863" y="1893"/>
                </a:lnTo>
                <a:cubicBezTo>
                  <a:pt x="2816" y="1893"/>
                  <a:pt x="2784" y="1941"/>
                  <a:pt x="2784" y="1972"/>
                </a:cubicBezTo>
                <a:cubicBezTo>
                  <a:pt x="2784" y="2020"/>
                  <a:pt x="2816" y="2052"/>
                  <a:pt x="2863" y="2052"/>
                </a:cubicBezTo>
                <a:lnTo>
                  <a:pt x="3022" y="2052"/>
                </a:lnTo>
                <a:cubicBezTo>
                  <a:pt x="3070" y="2052"/>
                  <a:pt x="3102" y="2020"/>
                  <a:pt x="3102" y="1972"/>
                </a:cubicBezTo>
                <a:cubicBezTo>
                  <a:pt x="3102" y="1941"/>
                  <a:pt x="3070" y="1893"/>
                  <a:pt x="3022" y="1893"/>
                </a:cubicBezTo>
                <a:close/>
                <a:moveTo>
                  <a:pt x="3022" y="1432"/>
                </a:moveTo>
                <a:lnTo>
                  <a:pt x="2863" y="1432"/>
                </a:lnTo>
                <a:cubicBezTo>
                  <a:pt x="2816" y="1432"/>
                  <a:pt x="2784" y="1463"/>
                  <a:pt x="2784" y="1511"/>
                </a:cubicBezTo>
                <a:cubicBezTo>
                  <a:pt x="2784" y="1543"/>
                  <a:pt x="2816" y="1590"/>
                  <a:pt x="2863" y="1590"/>
                </a:cubicBezTo>
                <a:lnTo>
                  <a:pt x="3022" y="1590"/>
                </a:lnTo>
                <a:cubicBezTo>
                  <a:pt x="3070" y="1590"/>
                  <a:pt x="3102" y="1543"/>
                  <a:pt x="3102" y="1511"/>
                </a:cubicBezTo>
                <a:cubicBezTo>
                  <a:pt x="3102" y="1463"/>
                  <a:pt x="3070" y="1432"/>
                  <a:pt x="3022" y="1432"/>
                </a:cubicBezTo>
                <a:close/>
                <a:moveTo>
                  <a:pt x="4136" y="2529"/>
                </a:moveTo>
                <a:lnTo>
                  <a:pt x="4295" y="2529"/>
                </a:lnTo>
                <a:cubicBezTo>
                  <a:pt x="4327" y="2529"/>
                  <a:pt x="4374" y="2497"/>
                  <a:pt x="4374" y="2450"/>
                </a:cubicBezTo>
                <a:cubicBezTo>
                  <a:pt x="4374" y="2418"/>
                  <a:pt x="4327" y="2370"/>
                  <a:pt x="4295" y="2370"/>
                </a:cubicBezTo>
                <a:lnTo>
                  <a:pt x="4136" y="2370"/>
                </a:lnTo>
                <a:cubicBezTo>
                  <a:pt x="4088" y="2370"/>
                  <a:pt x="4056" y="2418"/>
                  <a:pt x="4056" y="2450"/>
                </a:cubicBezTo>
                <a:cubicBezTo>
                  <a:pt x="4056" y="2497"/>
                  <a:pt x="4088" y="2529"/>
                  <a:pt x="4136" y="2529"/>
                </a:cubicBezTo>
                <a:close/>
                <a:moveTo>
                  <a:pt x="1114" y="2370"/>
                </a:moveTo>
                <a:lnTo>
                  <a:pt x="955" y="2370"/>
                </a:lnTo>
                <a:cubicBezTo>
                  <a:pt x="907" y="2370"/>
                  <a:pt x="875" y="2418"/>
                  <a:pt x="875" y="2450"/>
                </a:cubicBezTo>
                <a:cubicBezTo>
                  <a:pt x="875" y="2497"/>
                  <a:pt x="907" y="2529"/>
                  <a:pt x="955" y="2529"/>
                </a:cubicBezTo>
                <a:lnTo>
                  <a:pt x="1114" y="2529"/>
                </a:lnTo>
                <a:cubicBezTo>
                  <a:pt x="1161" y="2529"/>
                  <a:pt x="1193" y="2497"/>
                  <a:pt x="1193" y="2450"/>
                </a:cubicBezTo>
                <a:cubicBezTo>
                  <a:pt x="1193" y="2418"/>
                  <a:pt x="1161" y="2370"/>
                  <a:pt x="1114" y="2370"/>
                </a:cubicBezTo>
                <a:close/>
                <a:moveTo>
                  <a:pt x="3022" y="2370"/>
                </a:moveTo>
                <a:lnTo>
                  <a:pt x="1432" y="2370"/>
                </a:lnTo>
                <a:cubicBezTo>
                  <a:pt x="1384" y="2370"/>
                  <a:pt x="1352" y="2418"/>
                  <a:pt x="1352" y="2450"/>
                </a:cubicBezTo>
                <a:cubicBezTo>
                  <a:pt x="1352" y="2497"/>
                  <a:pt x="1384" y="2529"/>
                  <a:pt x="1432" y="2529"/>
                </a:cubicBezTo>
                <a:lnTo>
                  <a:pt x="3022" y="2529"/>
                </a:lnTo>
                <a:cubicBezTo>
                  <a:pt x="3070" y="2529"/>
                  <a:pt x="3102" y="2497"/>
                  <a:pt x="3102" y="2450"/>
                </a:cubicBezTo>
                <a:cubicBezTo>
                  <a:pt x="3102" y="2418"/>
                  <a:pt x="3070" y="2370"/>
                  <a:pt x="3022" y="237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2" name="Freeform: Shape 18">
            <a:extLst>
              <a:ext uri="{FF2B5EF4-FFF2-40B4-BE49-F238E27FC236}">
                <a16:creationId xmlns:a16="http://schemas.microsoft.com/office/drawing/2014/main" id="{63547380-89D0-2A43-9F4D-8B7D9A88B810}"/>
              </a:ext>
            </a:extLst>
          </p:cNvPr>
          <p:cNvSpPr/>
          <p:nvPr/>
        </p:nvSpPr>
        <p:spPr>
          <a:xfrm>
            <a:off x="1750273" y="6851589"/>
            <a:ext cx="1711800" cy="858599"/>
          </a:xfrm>
          <a:custGeom>
            <a:avLst/>
            <a:gdLst/>
            <a:ahLst/>
            <a:cxnLst>
              <a:cxn ang="3cd4">
                <a:pos x="hc" y="t"/>
              </a:cxn>
              <a:cxn ang="cd2">
                <a:pos x="l" y="vc"/>
              </a:cxn>
              <a:cxn ang="cd4">
                <a:pos x="hc" y="b"/>
              </a:cxn>
              <a:cxn ang="0">
                <a:pos x="r" y="vc"/>
              </a:cxn>
            </a:cxnLst>
            <a:rect l="l" t="t" r="r" b="b"/>
            <a:pathLst>
              <a:path w="4756" h="2386">
                <a:moveTo>
                  <a:pt x="1304" y="1272"/>
                </a:moveTo>
                <a:lnTo>
                  <a:pt x="1956" y="1272"/>
                </a:lnTo>
                <a:lnTo>
                  <a:pt x="1956" y="1877"/>
                </a:lnTo>
                <a:lnTo>
                  <a:pt x="2211" y="1877"/>
                </a:lnTo>
                <a:lnTo>
                  <a:pt x="2211" y="493"/>
                </a:lnTo>
                <a:lnTo>
                  <a:pt x="1956" y="493"/>
                </a:lnTo>
                <a:lnTo>
                  <a:pt x="1956" y="1098"/>
                </a:lnTo>
                <a:lnTo>
                  <a:pt x="1304" y="1098"/>
                </a:lnTo>
                <a:lnTo>
                  <a:pt x="1304" y="493"/>
                </a:lnTo>
                <a:lnTo>
                  <a:pt x="1050" y="493"/>
                </a:lnTo>
                <a:lnTo>
                  <a:pt x="1050" y="1877"/>
                </a:lnTo>
                <a:lnTo>
                  <a:pt x="1304" y="1877"/>
                </a:lnTo>
                <a:close/>
                <a:moveTo>
                  <a:pt x="3292" y="1829"/>
                </a:moveTo>
                <a:cubicBezTo>
                  <a:pt x="3388" y="1798"/>
                  <a:pt x="3452" y="1750"/>
                  <a:pt x="3515" y="1686"/>
                </a:cubicBezTo>
                <a:cubicBezTo>
                  <a:pt x="3579" y="1623"/>
                  <a:pt x="3627" y="1559"/>
                  <a:pt x="3658" y="1463"/>
                </a:cubicBezTo>
                <a:cubicBezTo>
                  <a:pt x="3690" y="1384"/>
                  <a:pt x="3706" y="1289"/>
                  <a:pt x="3706" y="1193"/>
                </a:cubicBezTo>
                <a:cubicBezTo>
                  <a:pt x="3706" y="1082"/>
                  <a:pt x="3690" y="1002"/>
                  <a:pt x="3658" y="907"/>
                </a:cubicBezTo>
                <a:cubicBezTo>
                  <a:pt x="3627" y="827"/>
                  <a:pt x="3579" y="748"/>
                  <a:pt x="3515" y="700"/>
                </a:cubicBezTo>
                <a:cubicBezTo>
                  <a:pt x="3452" y="636"/>
                  <a:pt x="3388" y="589"/>
                  <a:pt x="3292" y="557"/>
                </a:cubicBezTo>
                <a:cubicBezTo>
                  <a:pt x="3213" y="509"/>
                  <a:pt x="3118" y="493"/>
                  <a:pt x="3006" y="493"/>
                </a:cubicBezTo>
                <a:lnTo>
                  <a:pt x="2482" y="493"/>
                </a:lnTo>
                <a:lnTo>
                  <a:pt x="2482" y="1877"/>
                </a:lnTo>
                <a:lnTo>
                  <a:pt x="3006" y="1877"/>
                </a:lnTo>
                <a:cubicBezTo>
                  <a:pt x="3118" y="1877"/>
                  <a:pt x="3213" y="1861"/>
                  <a:pt x="3292" y="1829"/>
                </a:cubicBezTo>
                <a:close/>
                <a:moveTo>
                  <a:pt x="2752" y="700"/>
                </a:moveTo>
                <a:lnTo>
                  <a:pt x="3006" y="700"/>
                </a:lnTo>
                <a:cubicBezTo>
                  <a:pt x="3086" y="700"/>
                  <a:pt x="3134" y="716"/>
                  <a:pt x="3197" y="732"/>
                </a:cubicBezTo>
                <a:cubicBezTo>
                  <a:pt x="3245" y="763"/>
                  <a:pt x="3292" y="796"/>
                  <a:pt x="3324" y="827"/>
                </a:cubicBezTo>
                <a:cubicBezTo>
                  <a:pt x="3372" y="875"/>
                  <a:pt x="3404" y="923"/>
                  <a:pt x="3420" y="986"/>
                </a:cubicBezTo>
                <a:cubicBezTo>
                  <a:pt x="3436" y="1050"/>
                  <a:pt x="3452" y="1114"/>
                  <a:pt x="3452" y="1193"/>
                </a:cubicBezTo>
                <a:cubicBezTo>
                  <a:pt x="3452" y="1257"/>
                  <a:pt x="3436" y="1336"/>
                  <a:pt x="3420" y="1384"/>
                </a:cubicBezTo>
                <a:cubicBezTo>
                  <a:pt x="3404" y="1448"/>
                  <a:pt x="3372" y="1495"/>
                  <a:pt x="3324" y="1543"/>
                </a:cubicBezTo>
                <a:cubicBezTo>
                  <a:pt x="3292" y="1591"/>
                  <a:pt x="3245" y="1623"/>
                  <a:pt x="3197" y="1638"/>
                </a:cubicBezTo>
                <a:cubicBezTo>
                  <a:pt x="3134" y="1654"/>
                  <a:pt x="3086" y="1670"/>
                  <a:pt x="3006" y="1670"/>
                </a:cubicBezTo>
                <a:lnTo>
                  <a:pt x="2752" y="1670"/>
                </a:lnTo>
                <a:close/>
                <a:moveTo>
                  <a:pt x="4088" y="2386"/>
                </a:moveTo>
                <a:cubicBezTo>
                  <a:pt x="4454" y="2386"/>
                  <a:pt x="4756" y="2084"/>
                  <a:pt x="4756" y="1702"/>
                </a:cubicBezTo>
                <a:lnTo>
                  <a:pt x="4756" y="668"/>
                </a:lnTo>
                <a:cubicBezTo>
                  <a:pt x="4756" y="302"/>
                  <a:pt x="4454" y="0"/>
                  <a:pt x="4088" y="0"/>
                </a:cubicBezTo>
                <a:lnTo>
                  <a:pt x="668" y="0"/>
                </a:lnTo>
                <a:cubicBezTo>
                  <a:pt x="302" y="0"/>
                  <a:pt x="0" y="302"/>
                  <a:pt x="0" y="668"/>
                </a:cubicBezTo>
                <a:lnTo>
                  <a:pt x="0" y="1702"/>
                </a:lnTo>
                <a:cubicBezTo>
                  <a:pt x="0" y="2084"/>
                  <a:pt x="302" y="2386"/>
                  <a:pt x="668" y="2386"/>
                </a:cubicBezTo>
                <a:close/>
                <a:moveTo>
                  <a:pt x="159" y="1702"/>
                </a:moveTo>
                <a:lnTo>
                  <a:pt x="159" y="668"/>
                </a:lnTo>
                <a:cubicBezTo>
                  <a:pt x="159" y="382"/>
                  <a:pt x="382" y="159"/>
                  <a:pt x="668" y="159"/>
                </a:cubicBezTo>
                <a:lnTo>
                  <a:pt x="4088" y="159"/>
                </a:lnTo>
                <a:cubicBezTo>
                  <a:pt x="4374" y="159"/>
                  <a:pt x="4597" y="382"/>
                  <a:pt x="4597" y="668"/>
                </a:cubicBezTo>
                <a:lnTo>
                  <a:pt x="4597" y="1702"/>
                </a:lnTo>
                <a:cubicBezTo>
                  <a:pt x="4597" y="1989"/>
                  <a:pt x="4374" y="2227"/>
                  <a:pt x="4088" y="2227"/>
                </a:cubicBezTo>
                <a:lnTo>
                  <a:pt x="668" y="2227"/>
                </a:lnTo>
                <a:cubicBezTo>
                  <a:pt x="382" y="2227"/>
                  <a:pt x="159" y="1989"/>
                  <a:pt x="159" y="170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3" name="Freeform: Shape 26">
            <a:extLst>
              <a:ext uri="{FF2B5EF4-FFF2-40B4-BE49-F238E27FC236}">
                <a16:creationId xmlns:a16="http://schemas.microsoft.com/office/drawing/2014/main" id="{42F92585-51AB-BC4C-A1AD-C923895675B0}"/>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4" name="Freeform: Shape 7">
            <a:extLst>
              <a:ext uri="{FF2B5EF4-FFF2-40B4-BE49-F238E27FC236}">
                <a16:creationId xmlns:a16="http://schemas.microsoft.com/office/drawing/2014/main" id="{E6DB59D5-0ADC-3B49-82DC-B71E09008198}"/>
              </a:ext>
            </a:extLst>
          </p:cNvPr>
          <p:cNvSpPr/>
          <p:nvPr/>
        </p:nvSpPr>
        <p:spPr>
          <a:xfrm>
            <a:off x="21509308" y="6392371"/>
            <a:ext cx="1024199" cy="1671480"/>
          </a:xfrm>
          <a:custGeom>
            <a:avLst/>
            <a:gdLst/>
            <a:ahLst/>
            <a:cxnLst>
              <a:cxn ang="3cd4">
                <a:pos x="hc" y="t"/>
              </a:cxn>
              <a:cxn ang="cd2">
                <a:pos x="l" y="vc"/>
              </a:cxn>
              <a:cxn ang="cd4">
                <a:pos x="hc" y="b"/>
              </a:cxn>
              <a:cxn ang="0">
                <a:pos x="r" y="vc"/>
              </a:cxn>
            </a:cxnLst>
            <a:rect l="l" t="t" r="r" b="b"/>
            <a:pathLst>
              <a:path w="2846" h="4644">
                <a:moveTo>
                  <a:pt x="1399" y="4644"/>
                </a:moveTo>
                <a:cubicBezTo>
                  <a:pt x="2210" y="4644"/>
                  <a:pt x="2846" y="3976"/>
                  <a:pt x="2846" y="3149"/>
                </a:cubicBezTo>
                <a:cubicBezTo>
                  <a:pt x="2846" y="2036"/>
                  <a:pt x="2846" y="2036"/>
                  <a:pt x="2846" y="2036"/>
                </a:cubicBezTo>
                <a:cubicBezTo>
                  <a:pt x="2846" y="1368"/>
                  <a:pt x="2337" y="843"/>
                  <a:pt x="1717" y="843"/>
                </a:cubicBezTo>
                <a:cubicBezTo>
                  <a:pt x="1479" y="843"/>
                  <a:pt x="1479" y="843"/>
                  <a:pt x="1479" y="843"/>
                </a:cubicBezTo>
                <a:cubicBezTo>
                  <a:pt x="1431" y="588"/>
                  <a:pt x="986" y="0"/>
                  <a:pt x="318" y="0"/>
                </a:cubicBezTo>
                <a:cubicBezTo>
                  <a:pt x="270" y="0"/>
                  <a:pt x="238" y="32"/>
                  <a:pt x="238" y="79"/>
                </a:cubicBezTo>
                <a:cubicBezTo>
                  <a:pt x="238" y="111"/>
                  <a:pt x="270" y="159"/>
                  <a:pt x="318" y="159"/>
                </a:cubicBezTo>
                <a:cubicBezTo>
                  <a:pt x="906" y="159"/>
                  <a:pt x="1256" y="668"/>
                  <a:pt x="1319" y="843"/>
                </a:cubicBezTo>
                <a:cubicBezTo>
                  <a:pt x="1097" y="843"/>
                  <a:pt x="1097" y="843"/>
                  <a:pt x="1097" y="843"/>
                </a:cubicBezTo>
                <a:cubicBezTo>
                  <a:pt x="477" y="843"/>
                  <a:pt x="0" y="1368"/>
                  <a:pt x="0" y="2036"/>
                </a:cubicBezTo>
                <a:cubicBezTo>
                  <a:pt x="0" y="3149"/>
                  <a:pt x="0" y="3149"/>
                  <a:pt x="0" y="3149"/>
                </a:cubicBezTo>
                <a:cubicBezTo>
                  <a:pt x="0" y="3992"/>
                  <a:pt x="604" y="4644"/>
                  <a:pt x="1399" y="4644"/>
                </a:cubicBezTo>
                <a:close/>
                <a:moveTo>
                  <a:pt x="1431" y="1002"/>
                </a:moveTo>
                <a:cubicBezTo>
                  <a:pt x="1717" y="1002"/>
                  <a:pt x="1717" y="1002"/>
                  <a:pt x="1717" y="1002"/>
                </a:cubicBezTo>
                <a:cubicBezTo>
                  <a:pt x="2258" y="1002"/>
                  <a:pt x="2688" y="1463"/>
                  <a:pt x="2688" y="2036"/>
                </a:cubicBezTo>
                <a:cubicBezTo>
                  <a:pt x="2688" y="2115"/>
                  <a:pt x="2688" y="2115"/>
                  <a:pt x="2688" y="2115"/>
                </a:cubicBezTo>
                <a:cubicBezTo>
                  <a:pt x="1431" y="2115"/>
                  <a:pt x="1431" y="2115"/>
                  <a:pt x="1431" y="2115"/>
                </a:cubicBezTo>
                <a:close/>
                <a:moveTo>
                  <a:pt x="158" y="2036"/>
                </a:moveTo>
                <a:cubicBezTo>
                  <a:pt x="158" y="1447"/>
                  <a:pt x="572" y="1002"/>
                  <a:pt x="1097" y="1002"/>
                </a:cubicBezTo>
                <a:cubicBezTo>
                  <a:pt x="1272" y="1002"/>
                  <a:pt x="1272" y="1002"/>
                  <a:pt x="1272" y="1002"/>
                </a:cubicBezTo>
                <a:cubicBezTo>
                  <a:pt x="1272" y="2115"/>
                  <a:pt x="1272" y="2115"/>
                  <a:pt x="1272" y="2115"/>
                </a:cubicBezTo>
                <a:cubicBezTo>
                  <a:pt x="158" y="2115"/>
                  <a:pt x="158" y="2115"/>
                  <a:pt x="158" y="2115"/>
                </a:cubicBezTo>
                <a:close/>
                <a:moveTo>
                  <a:pt x="158" y="2274"/>
                </a:moveTo>
                <a:cubicBezTo>
                  <a:pt x="2688" y="2274"/>
                  <a:pt x="2688" y="2274"/>
                  <a:pt x="2688" y="2274"/>
                </a:cubicBezTo>
                <a:cubicBezTo>
                  <a:pt x="2688" y="3149"/>
                  <a:pt x="2688" y="3149"/>
                  <a:pt x="2688" y="3149"/>
                </a:cubicBezTo>
                <a:cubicBezTo>
                  <a:pt x="2688" y="3881"/>
                  <a:pt x="2115" y="4485"/>
                  <a:pt x="1399" y="4485"/>
                </a:cubicBezTo>
                <a:cubicBezTo>
                  <a:pt x="700" y="4485"/>
                  <a:pt x="158" y="3897"/>
                  <a:pt x="158" y="314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5" name="Freeform: Shape 8">
            <a:extLst>
              <a:ext uri="{FF2B5EF4-FFF2-40B4-BE49-F238E27FC236}">
                <a16:creationId xmlns:a16="http://schemas.microsoft.com/office/drawing/2014/main" id="{7C0E6BD7-421A-7941-B605-0D5416F55C87}"/>
              </a:ext>
            </a:extLst>
          </p:cNvPr>
          <p:cNvSpPr/>
          <p:nvPr/>
        </p:nvSpPr>
        <p:spPr>
          <a:xfrm>
            <a:off x="17694601" y="6369331"/>
            <a:ext cx="1145160" cy="1717560"/>
          </a:xfrm>
          <a:custGeom>
            <a:avLst/>
            <a:gdLst/>
            <a:ahLst/>
            <a:cxnLst>
              <a:cxn ang="3cd4">
                <a:pos x="hc" y="t"/>
              </a:cxn>
              <a:cxn ang="cd2">
                <a:pos x="l" y="vc"/>
              </a:cxn>
              <a:cxn ang="cd4">
                <a:pos x="hc" y="b"/>
              </a:cxn>
              <a:cxn ang="0">
                <a:pos x="r" y="vc"/>
              </a:cxn>
            </a:cxnLst>
            <a:rect l="l" t="t" r="r" b="b"/>
            <a:pathLst>
              <a:path w="3182" h="4772">
                <a:moveTo>
                  <a:pt x="1512" y="4772"/>
                </a:moveTo>
                <a:lnTo>
                  <a:pt x="1735" y="4772"/>
                </a:lnTo>
                <a:cubicBezTo>
                  <a:pt x="2530" y="4772"/>
                  <a:pt x="3182" y="4088"/>
                  <a:pt x="3182" y="3261"/>
                </a:cubicBezTo>
                <a:lnTo>
                  <a:pt x="3182" y="1177"/>
                </a:lnTo>
                <a:cubicBezTo>
                  <a:pt x="3182" y="525"/>
                  <a:pt x="2673" y="0"/>
                  <a:pt x="2021" y="0"/>
                </a:cubicBezTo>
                <a:lnTo>
                  <a:pt x="1241" y="0"/>
                </a:lnTo>
                <a:cubicBezTo>
                  <a:pt x="573" y="0"/>
                  <a:pt x="0" y="541"/>
                  <a:pt x="0" y="1177"/>
                </a:cubicBezTo>
                <a:lnTo>
                  <a:pt x="0" y="3261"/>
                </a:lnTo>
                <a:cubicBezTo>
                  <a:pt x="0" y="4072"/>
                  <a:pt x="717" y="4772"/>
                  <a:pt x="1512" y="4772"/>
                </a:cubicBezTo>
                <a:close/>
                <a:moveTo>
                  <a:pt x="160" y="1177"/>
                </a:moveTo>
                <a:cubicBezTo>
                  <a:pt x="160" y="621"/>
                  <a:pt x="653" y="159"/>
                  <a:pt x="1241" y="159"/>
                </a:cubicBezTo>
                <a:lnTo>
                  <a:pt x="2021" y="159"/>
                </a:lnTo>
                <a:cubicBezTo>
                  <a:pt x="2577" y="159"/>
                  <a:pt x="3023" y="605"/>
                  <a:pt x="3023" y="1177"/>
                </a:cubicBezTo>
                <a:lnTo>
                  <a:pt x="3023" y="3261"/>
                </a:lnTo>
                <a:cubicBezTo>
                  <a:pt x="3023" y="4008"/>
                  <a:pt x="2450" y="4613"/>
                  <a:pt x="1735" y="4613"/>
                </a:cubicBezTo>
                <a:lnTo>
                  <a:pt x="1512" y="4613"/>
                </a:lnTo>
                <a:cubicBezTo>
                  <a:pt x="796" y="4613"/>
                  <a:pt x="160" y="3977"/>
                  <a:pt x="160" y="3261"/>
                </a:cubicBezTo>
                <a:close/>
                <a:moveTo>
                  <a:pt x="1623" y="4008"/>
                </a:moveTo>
                <a:cubicBezTo>
                  <a:pt x="1782" y="4008"/>
                  <a:pt x="1909" y="3881"/>
                  <a:pt x="1909" y="3722"/>
                </a:cubicBezTo>
                <a:cubicBezTo>
                  <a:pt x="1909" y="3579"/>
                  <a:pt x="1782" y="3452"/>
                  <a:pt x="1623" y="3452"/>
                </a:cubicBezTo>
                <a:cubicBezTo>
                  <a:pt x="1480" y="3452"/>
                  <a:pt x="1353" y="3579"/>
                  <a:pt x="1353" y="3722"/>
                </a:cubicBezTo>
                <a:cubicBezTo>
                  <a:pt x="1353" y="3881"/>
                  <a:pt x="1480" y="4008"/>
                  <a:pt x="1623" y="4008"/>
                </a:cubicBezTo>
                <a:close/>
                <a:moveTo>
                  <a:pt x="1623" y="3611"/>
                </a:moveTo>
                <a:cubicBezTo>
                  <a:pt x="1687" y="3611"/>
                  <a:pt x="1750" y="3659"/>
                  <a:pt x="1750" y="3722"/>
                </a:cubicBezTo>
                <a:cubicBezTo>
                  <a:pt x="1750" y="3802"/>
                  <a:pt x="1687" y="3850"/>
                  <a:pt x="1623" y="3850"/>
                </a:cubicBezTo>
                <a:cubicBezTo>
                  <a:pt x="1559" y="3850"/>
                  <a:pt x="1512" y="3802"/>
                  <a:pt x="1512" y="3722"/>
                </a:cubicBezTo>
                <a:cubicBezTo>
                  <a:pt x="1512" y="3659"/>
                  <a:pt x="1559" y="3611"/>
                  <a:pt x="1623" y="361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6" name="TextBox 75">
            <a:extLst>
              <a:ext uri="{FF2B5EF4-FFF2-40B4-BE49-F238E27FC236}">
                <a16:creationId xmlns:a16="http://schemas.microsoft.com/office/drawing/2014/main" id="{0D79CBF0-0699-8243-96B0-BC85ACE1001C}"/>
              </a:ext>
            </a:extLst>
          </p:cNvPr>
          <p:cNvSpPr txBox="1"/>
          <p:nvPr/>
        </p:nvSpPr>
        <p:spPr>
          <a:xfrm>
            <a:off x="20560861" y="11543215"/>
            <a:ext cx="276774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an</a:t>
            </a:r>
          </a:p>
        </p:txBody>
      </p:sp>
      <p:sp>
        <p:nvSpPr>
          <p:cNvPr id="77" name="Freeform: Shape 9">
            <a:extLst>
              <a:ext uri="{FF2B5EF4-FFF2-40B4-BE49-F238E27FC236}">
                <a16:creationId xmlns:a16="http://schemas.microsoft.com/office/drawing/2014/main" id="{9A42F087-F661-4849-AB95-3E7E3D8C3E5A}"/>
              </a:ext>
            </a:extLst>
          </p:cNvPr>
          <p:cNvSpPr/>
          <p:nvPr/>
        </p:nvSpPr>
        <p:spPr>
          <a:xfrm>
            <a:off x="21168260" y="9388215"/>
            <a:ext cx="1488239" cy="1706040"/>
          </a:xfrm>
          <a:custGeom>
            <a:avLst/>
            <a:gdLst/>
            <a:ahLst/>
            <a:cxnLst>
              <a:cxn ang="3cd4">
                <a:pos x="hc" y="t"/>
              </a:cxn>
              <a:cxn ang="cd2">
                <a:pos x="l" y="vc"/>
              </a:cxn>
              <a:cxn ang="cd4">
                <a:pos x="hc" y="b"/>
              </a:cxn>
              <a:cxn ang="0">
                <a:pos x="r" y="vc"/>
              </a:cxn>
            </a:cxnLst>
            <a:rect l="l" t="t" r="r" b="b"/>
            <a:pathLst>
              <a:path w="4135" h="4740">
                <a:moveTo>
                  <a:pt x="3577" y="2641"/>
                </a:moveTo>
                <a:cubicBezTo>
                  <a:pt x="3530" y="2529"/>
                  <a:pt x="3386" y="2465"/>
                  <a:pt x="3085" y="2418"/>
                </a:cubicBezTo>
                <a:cubicBezTo>
                  <a:pt x="2877" y="2386"/>
                  <a:pt x="2671" y="2307"/>
                  <a:pt x="2512" y="2243"/>
                </a:cubicBezTo>
                <a:cubicBezTo>
                  <a:pt x="2528" y="2195"/>
                  <a:pt x="2543" y="2132"/>
                  <a:pt x="2543" y="2068"/>
                </a:cubicBezTo>
                <a:cubicBezTo>
                  <a:pt x="2543" y="1956"/>
                  <a:pt x="2496" y="1845"/>
                  <a:pt x="2432" y="1766"/>
                </a:cubicBezTo>
                <a:cubicBezTo>
                  <a:pt x="2496" y="1638"/>
                  <a:pt x="2591" y="1416"/>
                  <a:pt x="2559" y="1098"/>
                </a:cubicBezTo>
                <a:cubicBezTo>
                  <a:pt x="2512" y="477"/>
                  <a:pt x="2225" y="398"/>
                  <a:pt x="2114" y="398"/>
                </a:cubicBezTo>
                <a:cubicBezTo>
                  <a:pt x="2034" y="398"/>
                  <a:pt x="1987" y="414"/>
                  <a:pt x="1939" y="462"/>
                </a:cubicBezTo>
                <a:cubicBezTo>
                  <a:pt x="1876" y="557"/>
                  <a:pt x="1876" y="700"/>
                  <a:pt x="1955" y="1018"/>
                </a:cubicBezTo>
                <a:cubicBezTo>
                  <a:pt x="2003" y="1209"/>
                  <a:pt x="2019" y="1416"/>
                  <a:pt x="2019" y="1575"/>
                </a:cubicBezTo>
                <a:lnTo>
                  <a:pt x="2019" y="1590"/>
                </a:lnTo>
                <a:cubicBezTo>
                  <a:pt x="1844" y="1607"/>
                  <a:pt x="1701" y="1718"/>
                  <a:pt x="1637" y="1877"/>
                </a:cubicBezTo>
                <a:cubicBezTo>
                  <a:pt x="1494" y="1877"/>
                  <a:pt x="1223" y="1893"/>
                  <a:pt x="937" y="2084"/>
                </a:cubicBezTo>
                <a:cubicBezTo>
                  <a:pt x="683" y="2259"/>
                  <a:pt x="555" y="2418"/>
                  <a:pt x="540" y="2561"/>
                </a:cubicBezTo>
                <a:cubicBezTo>
                  <a:pt x="523" y="2641"/>
                  <a:pt x="540" y="2704"/>
                  <a:pt x="587" y="2768"/>
                </a:cubicBezTo>
                <a:cubicBezTo>
                  <a:pt x="619" y="2799"/>
                  <a:pt x="667" y="2847"/>
                  <a:pt x="746" y="2847"/>
                </a:cubicBezTo>
                <a:lnTo>
                  <a:pt x="762" y="2847"/>
                </a:lnTo>
                <a:cubicBezTo>
                  <a:pt x="858" y="2847"/>
                  <a:pt x="985" y="2784"/>
                  <a:pt x="1192" y="2608"/>
                </a:cubicBezTo>
                <a:cubicBezTo>
                  <a:pt x="1350" y="2481"/>
                  <a:pt x="1510" y="2386"/>
                  <a:pt x="1653" y="2322"/>
                </a:cubicBezTo>
                <a:lnTo>
                  <a:pt x="1653" y="2307"/>
                </a:lnTo>
                <a:cubicBezTo>
                  <a:pt x="1748" y="2450"/>
                  <a:pt x="1891" y="2545"/>
                  <a:pt x="2067" y="2545"/>
                </a:cubicBezTo>
                <a:cubicBezTo>
                  <a:pt x="2114" y="2545"/>
                  <a:pt x="2146" y="2545"/>
                  <a:pt x="2178" y="2529"/>
                </a:cubicBezTo>
                <a:cubicBezTo>
                  <a:pt x="2305" y="2720"/>
                  <a:pt x="2512" y="2879"/>
                  <a:pt x="2719" y="2974"/>
                </a:cubicBezTo>
                <a:cubicBezTo>
                  <a:pt x="2877" y="3038"/>
                  <a:pt x="3021" y="3070"/>
                  <a:pt x="3132" y="3070"/>
                </a:cubicBezTo>
                <a:cubicBezTo>
                  <a:pt x="3291" y="3070"/>
                  <a:pt x="3418" y="2990"/>
                  <a:pt x="3514" y="2863"/>
                </a:cubicBezTo>
                <a:cubicBezTo>
                  <a:pt x="3546" y="2831"/>
                  <a:pt x="3609" y="2736"/>
                  <a:pt x="3577" y="2641"/>
                </a:cubicBezTo>
                <a:close/>
                <a:moveTo>
                  <a:pt x="1573" y="2179"/>
                </a:moveTo>
                <a:cubicBezTo>
                  <a:pt x="1430" y="2259"/>
                  <a:pt x="1255" y="2354"/>
                  <a:pt x="1096" y="2481"/>
                </a:cubicBezTo>
                <a:cubicBezTo>
                  <a:pt x="889" y="2656"/>
                  <a:pt x="794" y="2704"/>
                  <a:pt x="762" y="2688"/>
                </a:cubicBezTo>
                <a:cubicBezTo>
                  <a:pt x="746" y="2688"/>
                  <a:pt x="730" y="2688"/>
                  <a:pt x="714" y="2656"/>
                </a:cubicBezTo>
                <a:cubicBezTo>
                  <a:pt x="698" y="2641"/>
                  <a:pt x="683" y="2608"/>
                  <a:pt x="698" y="2593"/>
                </a:cubicBezTo>
                <a:cubicBezTo>
                  <a:pt x="698" y="2529"/>
                  <a:pt x="762" y="2402"/>
                  <a:pt x="1032" y="2211"/>
                </a:cubicBezTo>
                <a:cubicBezTo>
                  <a:pt x="1223" y="2084"/>
                  <a:pt x="1430" y="2036"/>
                  <a:pt x="1589" y="2036"/>
                </a:cubicBezTo>
                <a:lnTo>
                  <a:pt x="1589" y="2068"/>
                </a:lnTo>
                <a:cubicBezTo>
                  <a:pt x="1589" y="2099"/>
                  <a:pt x="1589" y="2132"/>
                  <a:pt x="1605" y="2163"/>
                </a:cubicBezTo>
                <a:close/>
                <a:moveTo>
                  <a:pt x="2067" y="573"/>
                </a:moveTo>
                <a:cubicBezTo>
                  <a:pt x="2067" y="557"/>
                  <a:pt x="2082" y="557"/>
                  <a:pt x="2114" y="557"/>
                </a:cubicBezTo>
                <a:cubicBezTo>
                  <a:pt x="2273" y="557"/>
                  <a:pt x="2385" y="763"/>
                  <a:pt x="2400" y="1114"/>
                </a:cubicBezTo>
                <a:cubicBezTo>
                  <a:pt x="2416" y="1336"/>
                  <a:pt x="2368" y="1527"/>
                  <a:pt x="2305" y="1654"/>
                </a:cubicBezTo>
                <a:cubicBezTo>
                  <a:pt x="2273" y="1638"/>
                  <a:pt x="2225" y="1623"/>
                  <a:pt x="2178" y="1607"/>
                </a:cubicBezTo>
                <a:lnTo>
                  <a:pt x="2178" y="1559"/>
                </a:lnTo>
                <a:cubicBezTo>
                  <a:pt x="2178" y="1400"/>
                  <a:pt x="2162" y="1193"/>
                  <a:pt x="2114" y="986"/>
                </a:cubicBezTo>
                <a:cubicBezTo>
                  <a:pt x="2034" y="668"/>
                  <a:pt x="2050" y="589"/>
                  <a:pt x="2067" y="573"/>
                </a:cubicBezTo>
                <a:close/>
                <a:moveTo>
                  <a:pt x="2067" y="2386"/>
                </a:moveTo>
                <a:cubicBezTo>
                  <a:pt x="1891" y="2386"/>
                  <a:pt x="1748" y="2243"/>
                  <a:pt x="1748" y="2068"/>
                </a:cubicBezTo>
                <a:cubicBezTo>
                  <a:pt x="1748" y="1893"/>
                  <a:pt x="1891" y="1750"/>
                  <a:pt x="2067" y="1750"/>
                </a:cubicBezTo>
                <a:cubicBezTo>
                  <a:pt x="2241" y="1750"/>
                  <a:pt x="2385" y="1893"/>
                  <a:pt x="2385" y="2068"/>
                </a:cubicBezTo>
                <a:cubicBezTo>
                  <a:pt x="2385" y="2243"/>
                  <a:pt x="2241" y="2386"/>
                  <a:pt x="2067" y="2386"/>
                </a:cubicBezTo>
                <a:close/>
                <a:moveTo>
                  <a:pt x="3386" y="2768"/>
                </a:moveTo>
                <a:cubicBezTo>
                  <a:pt x="3307" y="2879"/>
                  <a:pt x="3195" y="2990"/>
                  <a:pt x="2782" y="2831"/>
                </a:cubicBezTo>
                <a:cubicBezTo>
                  <a:pt x="2543" y="2720"/>
                  <a:pt x="2385" y="2561"/>
                  <a:pt x="2321" y="2465"/>
                </a:cubicBezTo>
                <a:cubicBezTo>
                  <a:pt x="2368" y="2450"/>
                  <a:pt x="2400" y="2418"/>
                  <a:pt x="2432" y="2386"/>
                </a:cubicBezTo>
                <a:lnTo>
                  <a:pt x="2448" y="2386"/>
                </a:lnTo>
                <a:cubicBezTo>
                  <a:pt x="2607" y="2450"/>
                  <a:pt x="2830" y="2545"/>
                  <a:pt x="3068" y="2577"/>
                </a:cubicBezTo>
                <a:cubicBezTo>
                  <a:pt x="3386" y="2625"/>
                  <a:pt x="3302" y="2651"/>
                  <a:pt x="3418" y="2688"/>
                </a:cubicBezTo>
                <a:cubicBezTo>
                  <a:pt x="3434" y="2704"/>
                  <a:pt x="3418" y="2720"/>
                  <a:pt x="3386" y="2768"/>
                </a:cubicBezTo>
                <a:close/>
                <a:moveTo>
                  <a:pt x="4135" y="2068"/>
                </a:moveTo>
                <a:cubicBezTo>
                  <a:pt x="4135" y="923"/>
                  <a:pt x="3213" y="0"/>
                  <a:pt x="2068" y="0"/>
                </a:cubicBezTo>
                <a:cubicBezTo>
                  <a:pt x="938" y="0"/>
                  <a:pt x="0" y="923"/>
                  <a:pt x="0" y="2068"/>
                </a:cubicBezTo>
                <a:cubicBezTo>
                  <a:pt x="0" y="2895"/>
                  <a:pt x="493" y="3611"/>
                  <a:pt x="1208" y="3945"/>
                </a:cubicBezTo>
                <a:lnTo>
                  <a:pt x="1193" y="3961"/>
                </a:lnTo>
                <a:cubicBezTo>
                  <a:pt x="1193" y="4167"/>
                  <a:pt x="1097" y="4581"/>
                  <a:pt x="954" y="4581"/>
                </a:cubicBezTo>
                <a:cubicBezTo>
                  <a:pt x="906" y="4581"/>
                  <a:pt x="874" y="4613"/>
                  <a:pt x="874" y="4661"/>
                </a:cubicBezTo>
                <a:cubicBezTo>
                  <a:pt x="874" y="4692"/>
                  <a:pt x="906" y="4740"/>
                  <a:pt x="954" y="4740"/>
                </a:cubicBezTo>
                <a:lnTo>
                  <a:pt x="2051" y="4740"/>
                </a:lnTo>
                <a:lnTo>
                  <a:pt x="3213" y="4740"/>
                </a:lnTo>
                <a:cubicBezTo>
                  <a:pt x="3260" y="4740"/>
                  <a:pt x="3292" y="4692"/>
                  <a:pt x="3292" y="4661"/>
                </a:cubicBezTo>
                <a:cubicBezTo>
                  <a:pt x="3292" y="4613"/>
                  <a:pt x="3260" y="4581"/>
                  <a:pt x="3213" y="4581"/>
                </a:cubicBezTo>
                <a:cubicBezTo>
                  <a:pt x="3069" y="4581"/>
                  <a:pt x="2926" y="4152"/>
                  <a:pt x="2926" y="3961"/>
                </a:cubicBezTo>
                <a:lnTo>
                  <a:pt x="2926" y="3945"/>
                </a:lnTo>
                <a:cubicBezTo>
                  <a:pt x="3642" y="3626"/>
                  <a:pt x="4135" y="2895"/>
                  <a:pt x="4135" y="2068"/>
                </a:cubicBezTo>
                <a:close/>
                <a:moveTo>
                  <a:pt x="2958" y="4581"/>
                </a:moveTo>
                <a:lnTo>
                  <a:pt x="2051" y="4581"/>
                </a:lnTo>
                <a:lnTo>
                  <a:pt x="1193" y="4581"/>
                </a:lnTo>
                <a:cubicBezTo>
                  <a:pt x="1304" y="4406"/>
                  <a:pt x="1351" y="4152"/>
                  <a:pt x="1351" y="4008"/>
                </a:cubicBezTo>
                <a:cubicBezTo>
                  <a:pt x="1574" y="4088"/>
                  <a:pt x="1813" y="4135"/>
                  <a:pt x="2068" y="4135"/>
                </a:cubicBezTo>
                <a:cubicBezTo>
                  <a:pt x="2322" y="4135"/>
                  <a:pt x="2560" y="4088"/>
                  <a:pt x="2767" y="4008"/>
                </a:cubicBezTo>
                <a:cubicBezTo>
                  <a:pt x="2783" y="4152"/>
                  <a:pt x="2847" y="4406"/>
                  <a:pt x="2958" y="4581"/>
                </a:cubicBezTo>
                <a:close/>
                <a:moveTo>
                  <a:pt x="2068" y="3977"/>
                </a:moveTo>
                <a:cubicBezTo>
                  <a:pt x="1018" y="3977"/>
                  <a:pt x="159" y="3117"/>
                  <a:pt x="159" y="2068"/>
                </a:cubicBezTo>
                <a:cubicBezTo>
                  <a:pt x="159" y="1018"/>
                  <a:pt x="1018" y="159"/>
                  <a:pt x="2068" y="159"/>
                </a:cubicBezTo>
                <a:cubicBezTo>
                  <a:pt x="3117" y="159"/>
                  <a:pt x="3976" y="1018"/>
                  <a:pt x="3976" y="2068"/>
                </a:cubicBezTo>
                <a:cubicBezTo>
                  <a:pt x="3976" y="3117"/>
                  <a:pt x="3117" y="3977"/>
                  <a:pt x="2068" y="397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78888230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Computers / Hardware - 6</a:t>
            </a:r>
          </a:p>
        </p:txBody>
      </p:sp>
      <p:sp>
        <p:nvSpPr>
          <p:cNvPr id="78" name="TextBox 77">
            <a:extLst>
              <a:ext uri="{FF2B5EF4-FFF2-40B4-BE49-F238E27FC236}">
                <a16:creationId xmlns:a16="http://schemas.microsoft.com/office/drawing/2014/main" id="{622C3033-C51E-9B45-9377-8674E13116BC}"/>
              </a:ext>
            </a:extLst>
          </p:cNvPr>
          <p:cNvSpPr txBox="1"/>
          <p:nvPr/>
        </p:nvSpPr>
        <p:spPr>
          <a:xfrm>
            <a:off x="5306606" y="5164929"/>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eplicate</a:t>
            </a:r>
          </a:p>
        </p:txBody>
      </p:sp>
      <p:sp>
        <p:nvSpPr>
          <p:cNvPr id="79" name="TextBox 78">
            <a:extLst>
              <a:ext uri="{FF2B5EF4-FFF2-40B4-BE49-F238E27FC236}">
                <a16:creationId xmlns:a16="http://schemas.microsoft.com/office/drawing/2014/main" id="{AE554060-CD7E-CD4A-9F00-4FF82D376741}"/>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PU</a:t>
            </a:r>
          </a:p>
        </p:txBody>
      </p:sp>
      <p:sp>
        <p:nvSpPr>
          <p:cNvPr id="80" name="TextBox 79">
            <a:extLst>
              <a:ext uri="{FF2B5EF4-FFF2-40B4-BE49-F238E27FC236}">
                <a16:creationId xmlns:a16="http://schemas.microsoft.com/office/drawing/2014/main" id="{63FCB919-1E94-1B45-8CAB-5D6A52FE2D6B}"/>
              </a:ext>
            </a:extLst>
          </p:cNvPr>
          <p:cNvSpPr txBox="1"/>
          <p:nvPr/>
        </p:nvSpPr>
        <p:spPr>
          <a:xfrm>
            <a:off x="16914282" y="5164929"/>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c</a:t>
            </a:r>
          </a:p>
        </p:txBody>
      </p:sp>
      <p:sp>
        <p:nvSpPr>
          <p:cNvPr id="81" name="TextBox 80">
            <a:extLst>
              <a:ext uri="{FF2B5EF4-FFF2-40B4-BE49-F238E27FC236}">
                <a16:creationId xmlns:a16="http://schemas.microsoft.com/office/drawing/2014/main" id="{309F2969-636F-9342-91AF-73C397DB019F}"/>
              </a:ext>
            </a:extLst>
          </p:cNvPr>
          <p:cNvSpPr txBox="1"/>
          <p:nvPr/>
        </p:nvSpPr>
        <p:spPr>
          <a:xfrm>
            <a:off x="19983334" y="5081734"/>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esktop 1</a:t>
            </a:r>
          </a:p>
        </p:txBody>
      </p:sp>
      <p:sp>
        <p:nvSpPr>
          <p:cNvPr id="82" name="TextBox 81">
            <a:extLst>
              <a:ext uri="{FF2B5EF4-FFF2-40B4-BE49-F238E27FC236}">
                <a16:creationId xmlns:a16="http://schemas.microsoft.com/office/drawing/2014/main" id="{08988CE4-401B-644E-AA8C-AD9E15344AF4}"/>
              </a:ext>
            </a:extLst>
          </p:cNvPr>
          <p:cNvSpPr txBox="1"/>
          <p:nvPr/>
        </p:nvSpPr>
        <p:spPr>
          <a:xfrm>
            <a:off x="1031310"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evices 1</a:t>
            </a:r>
          </a:p>
        </p:txBody>
      </p:sp>
      <p:sp>
        <p:nvSpPr>
          <p:cNvPr id="83" name="TextBox 82">
            <a:extLst>
              <a:ext uri="{FF2B5EF4-FFF2-40B4-BE49-F238E27FC236}">
                <a16:creationId xmlns:a16="http://schemas.microsoft.com/office/drawing/2014/main" id="{F87DCE70-CEF2-BE41-ACD3-99D654B43EE5}"/>
              </a:ext>
            </a:extLst>
          </p:cNvPr>
          <p:cNvSpPr txBox="1"/>
          <p:nvPr/>
        </p:nvSpPr>
        <p:spPr>
          <a:xfrm>
            <a:off x="5083562"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evices 2</a:t>
            </a:r>
          </a:p>
        </p:txBody>
      </p:sp>
      <p:sp>
        <p:nvSpPr>
          <p:cNvPr id="84" name="TextBox 83">
            <a:extLst>
              <a:ext uri="{FF2B5EF4-FFF2-40B4-BE49-F238E27FC236}">
                <a16:creationId xmlns:a16="http://schemas.microsoft.com/office/drawing/2014/main" id="{AA884B0B-F8CD-A94A-B1F2-981C6C633932}"/>
              </a:ext>
            </a:extLst>
          </p:cNvPr>
          <p:cNvSpPr txBox="1"/>
          <p:nvPr/>
        </p:nvSpPr>
        <p:spPr>
          <a:xfrm>
            <a:off x="9225576" y="8292956"/>
            <a:ext cx="311233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evices 3</a:t>
            </a:r>
          </a:p>
        </p:txBody>
      </p:sp>
      <p:sp>
        <p:nvSpPr>
          <p:cNvPr id="85" name="TextBox 84">
            <a:extLst>
              <a:ext uri="{FF2B5EF4-FFF2-40B4-BE49-F238E27FC236}">
                <a16:creationId xmlns:a16="http://schemas.microsoft.com/office/drawing/2014/main" id="{E29A487A-416E-1548-A3B5-7B4A896D172D}"/>
              </a:ext>
            </a:extLst>
          </p:cNvPr>
          <p:cNvSpPr txBox="1"/>
          <p:nvPr/>
        </p:nvSpPr>
        <p:spPr>
          <a:xfrm>
            <a:off x="16691741"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evices 5</a:t>
            </a:r>
          </a:p>
        </p:txBody>
      </p:sp>
      <p:sp>
        <p:nvSpPr>
          <p:cNvPr id="86" name="TextBox 85">
            <a:extLst>
              <a:ext uri="{FF2B5EF4-FFF2-40B4-BE49-F238E27FC236}">
                <a16:creationId xmlns:a16="http://schemas.microsoft.com/office/drawing/2014/main" id="{EE986A6B-2671-C64A-8FE4-1AD7C487384F}"/>
              </a:ext>
            </a:extLst>
          </p:cNvPr>
          <p:cNvSpPr txBox="1"/>
          <p:nvPr/>
        </p:nvSpPr>
        <p:spPr>
          <a:xfrm>
            <a:off x="12802638"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C Laptop</a:t>
            </a:r>
          </a:p>
        </p:txBody>
      </p:sp>
      <p:sp>
        <p:nvSpPr>
          <p:cNvPr id="87" name="TextBox 86">
            <a:extLst>
              <a:ext uri="{FF2B5EF4-FFF2-40B4-BE49-F238E27FC236}">
                <a16:creationId xmlns:a16="http://schemas.microsoft.com/office/drawing/2014/main" id="{62BD4552-D225-6A45-BD16-10C1F5D209C7}"/>
              </a:ext>
            </a:extLst>
          </p:cNvPr>
          <p:cNvSpPr txBox="1"/>
          <p:nvPr/>
        </p:nvSpPr>
        <p:spPr>
          <a:xfrm>
            <a:off x="12925022" y="8292956"/>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evices 4</a:t>
            </a:r>
          </a:p>
        </p:txBody>
      </p:sp>
      <p:sp>
        <p:nvSpPr>
          <p:cNvPr id="88" name="Freeform: Shape 6">
            <a:extLst>
              <a:ext uri="{FF2B5EF4-FFF2-40B4-BE49-F238E27FC236}">
                <a16:creationId xmlns:a16="http://schemas.microsoft.com/office/drawing/2014/main" id="{D7E95835-8B11-F944-9AAC-ADF3763BF626}"/>
              </a:ext>
            </a:extLst>
          </p:cNvPr>
          <p:cNvSpPr/>
          <p:nvPr/>
        </p:nvSpPr>
        <p:spPr>
          <a:xfrm>
            <a:off x="9994654" y="3038729"/>
            <a:ext cx="1786320" cy="1791720"/>
          </a:xfrm>
          <a:custGeom>
            <a:avLst/>
            <a:gdLst/>
            <a:ahLst/>
            <a:cxnLst>
              <a:cxn ang="3cd4">
                <a:pos x="hc" y="t"/>
              </a:cxn>
              <a:cxn ang="cd2">
                <a:pos x="l" y="vc"/>
              </a:cxn>
              <a:cxn ang="cd4">
                <a:pos x="hc" y="b"/>
              </a:cxn>
              <a:cxn ang="0">
                <a:pos x="r" y="vc"/>
              </a:cxn>
            </a:cxnLst>
            <a:rect l="l" t="t" r="r" b="b"/>
            <a:pathLst>
              <a:path w="4963" h="4978">
                <a:moveTo>
                  <a:pt x="1830" y="3276"/>
                </a:moveTo>
                <a:cubicBezTo>
                  <a:pt x="1830" y="3292"/>
                  <a:pt x="1861" y="3308"/>
                  <a:pt x="1877" y="3308"/>
                </a:cubicBezTo>
                <a:lnTo>
                  <a:pt x="3039" y="3308"/>
                </a:lnTo>
                <a:cubicBezTo>
                  <a:pt x="3054" y="3308"/>
                  <a:pt x="3086" y="3292"/>
                  <a:pt x="3102" y="3276"/>
                </a:cubicBezTo>
                <a:lnTo>
                  <a:pt x="3293" y="3085"/>
                </a:lnTo>
                <a:cubicBezTo>
                  <a:pt x="3309" y="3070"/>
                  <a:pt x="3309" y="3054"/>
                  <a:pt x="3309" y="3037"/>
                </a:cubicBezTo>
                <a:lnTo>
                  <a:pt x="3309" y="1940"/>
                </a:lnTo>
                <a:cubicBezTo>
                  <a:pt x="3309" y="1924"/>
                  <a:pt x="3309" y="1909"/>
                  <a:pt x="3293" y="1892"/>
                </a:cubicBezTo>
                <a:lnTo>
                  <a:pt x="3102" y="1701"/>
                </a:lnTo>
                <a:cubicBezTo>
                  <a:pt x="3086" y="1686"/>
                  <a:pt x="3054" y="1670"/>
                  <a:pt x="3039" y="1670"/>
                </a:cubicBezTo>
                <a:lnTo>
                  <a:pt x="1877" y="1670"/>
                </a:lnTo>
                <a:cubicBezTo>
                  <a:pt x="1861" y="1670"/>
                  <a:pt x="1830" y="1686"/>
                  <a:pt x="1830" y="1701"/>
                </a:cubicBezTo>
                <a:lnTo>
                  <a:pt x="1639" y="1892"/>
                </a:lnTo>
                <a:cubicBezTo>
                  <a:pt x="1623" y="1909"/>
                  <a:pt x="1607" y="1924"/>
                  <a:pt x="1607" y="1940"/>
                </a:cubicBezTo>
                <a:lnTo>
                  <a:pt x="1607" y="3037"/>
                </a:lnTo>
                <a:cubicBezTo>
                  <a:pt x="1607" y="3054"/>
                  <a:pt x="1623" y="3070"/>
                  <a:pt x="1639" y="3085"/>
                </a:cubicBezTo>
                <a:close/>
                <a:moveTo>
                  <a:pt x="1766" y="1972"/>
                </a:moveTo>
                <a:lnTo>
                  <a:pt x="1909" y="1829"/>
                </a:lnTo>
                <a:lnTo>
                  <a:pt x="3006" y="1829"/>
                </a:lnTo>
                <a:lnTo>
                  <a:pt x="3150" y="1972"/>
                </a:lnTo>
                <a:lnTo>
                  <a:pt x="3150" y="3006"/>
                </a:lnTo>
                <a:lnTo>
                  <a:pt x="3006" y="3149"/>
                </a:lnTo>
                <a:lnTo>
                  <a:pt x="1909" y="3149"/>
                </a:lnTo>
                <a:lnTo>
                  <a:pt x="1766" y="3006"/>
                </a:lnTo>
                <a:close/>
                <a:moveTo>
                  <a:pt x="80" y="3085"/>
                </a:moveTo>
                <a:cubicBezTo>
                  <a:pt x="32" y="3085"/>
                  <a:pt x="0" y="3133"/>
                  <a:pt x="0" y="3165"/>
                </a:cubicBezTo>
                <a:cubicBezTo>
                  <a:pt x="0" y="3213"/>
                  <a:pt x="32" y="3245"/>
                  <a:pt x="80" y="3245"/>
                </a:cubicBezTo>
                <a:lnTo>
                  <a:pt x="923" y="3245"/>
                </a:lnTo>
                <a:lnTo>
                  <a:pt x="923" y="3515"/>
                </a:lnTo>
                <a:cubicBezTo>
                  <a:pt x="923" y="3531"/>
                  <a:pt x="939" y="3546"/>
                  <a:pt x="955" y="3563"/>
                </a:cubicBezTo>
                <a:lnTo>
                  <a:pt x="1304" y="3928"/>
                </a:lnTo>
                <a:cubicBezTo>
                  <a:pt x="1321" y="3944"/>
                  <a:pt x="1352" y="3944"/>
                  <a:pt x="1368" y="3944"/>
                </a:cubicBezTo>
                <a:lnTo>
                  <a:pt x="1718" y="3944"/>
                </a:lnTo>
                <a:lnTo>
                  <a:pt x="1718" y="4899"/>
                </a:lnTo>
                <a:cubicBezTo>
                  <a:pt x="1718" y="4930"/>
                  <a:pt x="1750" y="4978"/>
                  <a:pt x="1798" y="4978"/>
                </a:cubicBezTo>
                <a:cubicBezTo>
                  <a:pt x="1845" y="4978"/>
                  <a:pt x="1877" y="4930"/>
                  <a:pt x="1877" y="4899"/>
                </a:cubicBezTo>
                <a:lnTo>
                  <a:pt x="1877" y="3944"/>
                </a:lnTo>
                <a:lnTo>
                  <a:pt x="2402" y="3944"/>
                </a:lnTo>
                <a:lnTo>
                  <a:pt x="2402" y="4899"/>
                </a:lnTo>
                <a:cubicBezTo>
                  <a:pt x="2402" y="4930"/>
                  <a:pt x="2434" y="4978"/>
                  <a:pt x="2482" y="4978"/>
                </a:cubicBezTo>
                <a:cubicBezTo>
                  <a:pt x="2530" y="4978"/>
                  <a:pt x="2561" y="4930"/>
                  <a:pt x="2561" y="4899"/>
                </a:cubicBezTo>
                <a:lnTo>
                  <a:pt x="2561" y="3944"/>
                </a:lnTo>
                <a:lnTo>
                  <a:pt x="3086" y="3944"/>
                </a:lnTo>
                <a:lnTo>
                  <a:pt x="3086" y="4899"/>
                </a:lnTo>
                <a:cubicBezTo>
                  <a:pt x="3086" y="4930"/>
                  <a:pt x="3118" y="4978"/>
                  <a:pt x="3166" y="4978"/>
                </a:cubicBezTo>
                <a:cubicBezTo>
                  <a:pt x="3213" y="4978"/>
                  <a:pt x="3245" y="4930"/>
                  <a:pt x="3245" y="4899"/>
                </a:cubicBezTo>
                <a:lnTo>
                  <a:pt x="3245" y="3944"/>
                </a:lnTo>
                <a:lnTo>
                  <a:pt x="3548" y="3944"/>
                </a:lnTo>
                <a:cubicBezTo>
                  <a:pt x="3579" y="3944"/>
                  <a:pt x="3595" y="3944"/>
                  <a:pt x="3611" y="3928"/>
                </a:cubicBezTo>
                <a:lnTo>
                  <a:pt x="3961" y="3563"/>
                </a:lnTo>
                <a:cubicBezTo>
                  <a:pt x="3977" y="3546"/>
                  <a:pt x="3993" y="3531"/>
                  <a:pt x="3993" y="3515"/>
                </a:cubicBezTo>
                <a:lnTo>
                  <a:pt x="3993" y="3245"/>
                </a:lnTo>
                <a:lnTo>
                  <a:pt x="4884" y="3245"/>
                </a:lnTo>
                <a:cubicBezTo>
                  <a:pt x="4931" y="3245"/>
                  <a:pt x="4963" y="3213"/>
                  <a:pt x="4963" y="3165"/>
                </a:cubicBezTo>
                <a:cubicBezTo>
                  <a:pt x="4963" y="3133"/>
                  <a:pt x="4931" y="3085"/>
                  <a:pt x="4884" y="3085"/>
                </a:cubicBezTo>
                <a:lnTo>
                  <a:pt x="3993" y="3085"/>
                </a:lnTo>
                <a:lnTo>
                  <a:pt x="3993" y="2561"/>
                </a:lnTo>
                <a:lnTo>
                  <a:pt x="4884" y="2561"/>
                </a:lnTo>
                <a:cubicBezTo>
                  <a:pt x="4931" y="2561"/>
                  <a:pt x="4963" y="2528"/>
                  <a:pt x="4963" y="2481"/>
                </a:cubicBezTo>
                <a:cubicBezTo>
                  <a:pt x="4963" y="2449"/>
                  <a:pt x="4931" y="2401"/>
                  <a:pt x="4884" y="2401"/>
                </a:cubicBezTo>
                <a:lnTo>
                  <a:pt x="3993" y="2401"/>
                </a:lnTo>
                <a:lnTo>
                  <a:pt x="3993" y="1876"/>
                </a:lnTo>
                <a:lnTo>
                  <a:pt x="4884" y="1876"/>
                </a:lnTo>
                <a:cubicBezTo>
                  <a:pt x="4931" y="1876"/>
                  <a:pt x="4963" y="1845"/>
                  <a:pt x="4963" y="1797"/>
                </a:cubicBezTo>
                <a:cubicBezTo>
                  <a:pt x="4963" y="1765"/>
                  <a:pt x="4931" y="1733"/>
                  <a:pt x="4884" y="1733"/>
                </a:cubicBezTo>
                <a:lnTo>
                  <a:pt x="3993" y="1733"/>
                </a:lnTo>
                <a:lnTo>
                  <a:pt x="3993" y="1463"/>
                </a:lnTo>
                <a:cubicBezTo>
                  <a:pt x="3993" y="1447"/>
                  <a:pt x="3977" y="1431"/>
                  <a:pt x="3961" y="1415"/>
                </a:cubicBezTo>
                <a:lnTo>
                  <a:pt x="3611" y="1049"/>
                </a:lnTo>
                <a:cubicBezTo>
                  <a:pt x="3595" y="1034"/>
                  <a:pt x="3579" y="1034"/>
                  <a:pt x="3548" y="1034"/>
                </a:cubicBezTo>
                <a:lnTo>
                  <a:pt x="3245" y="1034"/>
                </a:lnTo>
                <a:lnTo>
                  <a:pt x="3245" y="79"/>
                </a:lnTo>
                <a:cubicBezTo>
                  <a:pt x="3245" y="31"/>
                  <a:pt x="3213" y="0"/>
                  <a:pt x="3166" y="0"/>
                </a:cubicBezTo>
                <a:cubicBezTo>
                  <a:pt x="3118" y="0"/>
                  <a:pt x="3086" y="31"/>
                  <a:pt x="3086" y="79"/>
                </a:cubicBezTo>
                <a:lnTo>
                  <a:pt x="3086" y="1034"/>
                </a:lnTo>
                <a:lnTo>
                  <a:pt x="2561" y="1034"/>
                </a:lnTo>
                <a:lnTo>
                  <a:pt x="2561" y="79"/>
                </a:lnTo>
                <a:cubicBezTo>
                  <a:pt x="2561" y="31"/>
                  <a:pt x="2530" y="0"/>
                  <a:pt x="2482" y="0"/>
                </a:cubicBezTo>
                <a:cubicBezTo>
                  <a:pt x="2434" y="0"/>
                  <a:pt x="2402" y="31"/>
                  <a:pt x="2402" y="79"/>
                </a:cubicBezTo>
                <a:lnTo>
                  <a:pt x="2402" y="1034"/>
                </a:lnTo>
                <a:lnTo>
                  <a:pt x="1877" y="1034"/>
                </a:lnTo>
                <a:lnTo>
                  <a:pt x="1877" y="79"/>
                </a:lnTo>
                <a:cubicBezTo>
                  <a:pt x="1877" y="31"/>
                  <a:pt x="1845" y="0"/>
                  <a:pt x="1798" y="0"/>
                </a:cubicBezTo>
                <a:cubicBezTo>
                  <a:pt x="1750" y="0"/>
                  <a:pt x="1718" y="31"/>
                  <a:pt x="1718" y="79"/>
                </a:cubicBezTo>
                <a:lnTo>
                  <a:pt x="1718" y="1034"/>
                </a:lnTo>
                <a:lnTo>
                  <a:pt x="1368" y="1034"/>
                </a:lnTo>
                <a:cubicBezTo>
                  <a:pt x="1352" y="1034"/>
                  <a:pt x="1321" y="1034"/>
                  <a:pt x="1304" y="1049"/>
                </a:cubicBezTo>
                <a:lnTo>
                  <a:pt x="955" y="1415"/>
                </a:lnTo>
                <a:cubicBezTo>
                  <a:pt x="939" y="1431"/>
                  <a:pt x="923" y="1447"/>
                  <a:pt x="923" y="1463"/>
                </a:cubicBezTo>
                <a:lnTo>
                  <a:pt x="923" y="1733"/>
                </a:lnTo>
                <a:lnTo>
                  <a:pt x="80" y="1733"/>
                </a:lnTo>
                <a:cubicBezTo>
                  <a:pt x="32" y="1733"/>
                  <a:pt x="0" y="1765"/>
                  <a:pt x="0" y="1797"/>
                </a:cubicBezTo>
                <a:cubicBezTo>
                  <a:pt x="0" y="1845"/>
                  <a:pt x="32" y="1876"/>
                  <a:pt x="80" y="1876"/>
                </a:cubicBezTo>
                <a:lnTo>
                  <a:pt x="923" y="1876"/>
                </a:lnTo>
                <a:lnTo>
                  <a:pt x="923" y="2401"/>
                </a:lnTo>
                <a:lnTo>
                  <a:pt x="80" y="2401"/>
                </a:lnTo>
                <a:cubicBezTo>
                  <a:pt x="32" y="2401"/>
                  <a:pt x="0" y="2449"/>
                  <a:pt x="0" y="2481"/>
                </a:cubicBezTo>
                <a:cubicBezTo>
                  <a:pt x="0" y="2528"/>
                  <a:pt x="32" y="2561"/>
                  <a:pt x="80" y="2561"/>
                </a:cubicBezTo>
                <a:lnTo>
                  <a:pt x="923" y="2561"/>
                </a:lnTo>
                <a:lnTo>
                  <a:pt x="923" y="3085"/>
                </a:lnTo>
                <a:close/>
                <a:moveTo>
                  <a:pt x="1082" y="1495"/>
                </a:moveTo>
                <a:lnTo>
                  <a:pt x="1400" y="1192"/>
                </a:lnTo>
                <a:lnTo>
                  <a:pt x="3515" y="1192"/>
                </a:lnTo>
                <a:lnTo>
                  <a:pt x="3834" y="1495"/>
                </a:lnTo>
                <a:lnTo>
                  <a:pt x="3834" y="3483"/>
                </a:lnTo>
                <a:lnTo>
                  <a:pt x="3515" y="3785"/>
                </a:lnTo>
                <a:lnTo>
                  <a:pt x="1400" y="3785"/>
                </a:lnTo>
                <a:lnTo>
                  <a:pt x="1082" y="3483"/>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9" name="Freeform: Shape 10">
            <a:extLst>
              <a:ext uri="{FF2B5EF4-FFF2-40B4-BE49-F238E27FC236}">
                <a16:creationId xmlns:a16="http://schemas.microsoft.com/office/drawing/2014/main" id="{BB090658-CF47-234A-AADD-DD19E2FC70BD}"/>
              </a:ext>
            </a:extLst>
          </p:cNvPr>
          <p:cNvSpPr/>
          <p:nvPr/>
        </p:nvSpPr>
        <p:spPr>
          <a:xfrm>
            <a:off x="17381961" y="6397840"/>
            <a:ext cx="1425600" cy="1437119"/>
          </a:xfrm>
          <a:custGeom>
            <a:avLst/>
            <a:gdLst/>
            <a:ahLst/>
            <a:cxnLst>
              <a:cxn ang="3cd4">
                <a:pos x="hc" y="t"/>
              </a:cxn>
              <a:cxn ang="cd2">
                <a:pos x="l" y="vc"/>
              </a:cxn>
              <a:cxn ang="cd4">
                <a:pos x="hc" y="b"/>
              </a:cxn>
              <a:cxn ang="0">
                <a:pos x="r" y="vc"/>
              </a:cxn>
            </a:cxnLst>
            <a:rect l="l" t="t" r="r" b="b"/>
            <a:pathLst>
              <a:path w="3961" h="3993">
                <a:moveTo>
                  <a:pt x="1432" y="3181"/>
                </a:moveTo>
                <a:lnTo>
                  <a:pt x="1750" y="3181"/>
                </a:lnTo>
                <a:cubicBezTo>
                  <a:pt x="1782" y="3181"/>
                  <a:pt x="1829" y="3150"/>
                  <a:pt x="1829" y="3102"/>
                </a:cubicBezTo>
                <a:cubicBezTo>
                  <a:pt x="1829" y="3054"/>
                  <a:pt x="1782" y="3023"/>
                  <a:pt x="1750" y="3023"/>
                </a:cubicBezTo>
                <a:lnTo>
                  <a:pt x="1432" y="3023"/>
                </a:lnTo>
                <a:cubicBezTo>
                  <a:pt x="1384" y="3023"/>
                  <a:pt x="1352" y="3054"/>
                  <a:pt x="1352" y="3102"/>
                </a:cubicBezTo>
                <a:cubicBezTo>
                  <a:pt x="1352" y="3150"/>
                  <a:pt x="1384" y="3181"/>
                  <a:pt x="1432" y="3181"/>
                </a:cubicBezTo>
                <a:close/>
                <a:moveTo>
                  <a:pt x="0" y="287"/>
                </a:moveTo>
                <a:lnTo>
                  <a:pt x="0" y="3261"/>
                </a:lnTo>
                <a:cubicBezTo>
                  <a:pt x="0" y="3420"/>
                  <a:pt x="175" y="3500"/>
                  <a:pt x="334" y="3500"/>
                </a:cubicBezTo>
                <a:lnTo>
                  <a:pt x="2386" y="3500"/>
                </a:lnTo>
                <a:lnTo>
                  <a:pt x="2386" y="3738"/>
                </a:lnTo>
                <a:cubicBezTo>
                  <a:pt x="2386" y="3881"/>
                  <a:pt x="2498" y="3993"/>
                  <a:pt x="2641" y="3993"/>
                </a:cubicBezTo>
                <a:lnTo>
                  <a:pt x="3706" y="3993"/>
                </a:lnTo>
                <a:cubicBezTo>
                  <a:pt x="3849" y="3993"/>
                  <a:pt x="3961" y="3881"/>
                  <a:pt x="3961" y="3738"/>
                </a:cubicBezTo>
                <a:lnTo>
                  <a:pt x="3961" y="1225"/>
                </a:lnTo>
                <a:cubicBezTo>
                  <a:pt x="3961" y="1082"/>
                  <a:pt x="3849" y="971"/>
                  <a:pt x="3706" y="971"/>
                </a:cubicBezTo>
                <a:lnTo>
                  <a:pt x="3325" y="971"/>
                </a:lnTo>
                <a:lnTo>
                  <a:pt x="3325" y="287"/>
                </a:lnTo>
                <a:cubicBezTo>
                  <a:pt x="3325" y="128"/>
                  <a:pt x="3213" y="0"/>
                  <a:pt x="3070" y="0"/>
                </a:cubicBezTo>
                <a:lnTo>
                  <a:pt x="334" y="0"/>
                </a:lnTo>
                <a:cubicBezTo>
                  <a:pt x="175" y="0"/>
                  <a:pt x="0" y="128"/>
                  <a:pt x="0" y="287"/>
                </a:cubicBezTo>
                <a:close/>
                <a:moveTo>
                  <a:pt x="2386" y="1225"/>
                </a:moveTo>
                <a:lnTo>
                  <a:pt x="2386" y="2545"/>
                </a:lnTo>
                <a:lnTo>
                  <a:pt x="637" y="2545"/>
                </a:lnTo>
                <a:lnTo>
                  <a:pt x="637" y="637"/>
                </a:lnTo>
                <a:lnTo>
                  <a:pt x="2688" y="637"/>
                </a:lnTo>
                <a:lnTo>
                  <a:pt x="2688" y="971"/>
                </a:lnTo>
                <a:lnTo>
                  <a:pt x="2641" y="971"/>
                </a:lnTo>
                <a:cubicBezTo>
                  <a:pt x="2498" y="971"/>
                  <a:pt x="2386" y="1082"/>
                  <a:pt x="2386" y="1225"/>
                </a:cubicBezTo>
                <a:close/>
                <a:moveTo>
                  <a:pt x="3802" y="3738"/>
                </a:moveTo>
                <a:cubicBezTo>
                  <a:pt x="3802" y="3786"/>
                  <a:pt x="3770" y="3834"/>
                  <a:pt x="3706" y="3834"/>
                </a:cubicBezTo>
                <a:lnTo>
                  <a:pt x="2641" y="3834"/>
                </a:lnTo>
                <a:cubicBezTo>
                  <a:pt x="2577" y="3834"/>
                  <a:pt x="2529" y="3786"/>
                  <a:pt x="2529" y="3738"/>
                </a:cubicBezTo>
                <a:lnTo>
                  <a:pt x="2529" y="3516"/>
                </a:lnTo>
                <a:lnTo>
                  <a:pt x="3802" y="3516"/>
                </a:lnTo>
                <a:close/>
                <a:moveTo>
                  <a:pt x="3802" y="3357"/>
                </a:moveTo>
                <a:lnTo>
                  <a:pt x="2529" y="3357"/>
                </a:lnTo>
                <a:lnTo>
                  <a:pt x="2529" y="1607"/>
                </a:lnTo>
                <a:lnTo>
                  <a:pt x="3802" y="1607"/>
                </a:lnTo>
                <a:close/>
                <a:moveTo>
                  <a:pt x="3706" y="1130"/>
                </a:moveTo>
                <a:cubicBezTo>
                  <a:pt x="3770" y="1130"/>
                  <a:pt x="3802" y="1178"/>
                  <a:pt x="3802" y="1225"/>
                </a:cubicBezTo>
                <a:lnTo>
                  <a:pt x="3802" y="1448"/>
                </a:lnTo>
                <a:lnTo>
                  <a:pt x="2529" y="1448"/>
                </a:lnTo>
                <a:lnTo>
                  <a:pt x="2529" y="1225"/>
                </a:lnTo>
                <a:cubicBezTo>
                  <a:pt x="2529" y="1178"/>
                  <a:pt x="2577" y="1130"/>
                  <a:pt x="2641" y="1130"/>
                </a:cubicBezTo>
                <a:close/>
                <a:moveTo>
                  <a:pt x="159" y="287"/>
                </a:moveTo>
                <a:cubicBezTo>
                  <a:pt x="159" y="239"/>
                  <a:pt x="255" y="160"/>
                  <a:pt x="334" y="160"/>
                </a:cubicBezTo>
                <a:lnTo>
                  <a:pt x="3070" y="160"/>
                </a:lnTo>
                <a:cubicBezTo>
                  <a:pt x="3134" y="160"/>
                  <a:pt x="3165" y="223"/>
                  <a:pt x="3165" y="287"/>
                </a:cubicBezTo>
                <a:lnTo>
                  <a:pt x="3165" y="971"/>
                </a:lnTo>
                <a:lnTo>
                  <a:pt x="2847" y="971"/>
                </a:lnTo>
                <a:lnTo>
                  <a:pt x="2847" y="557"/>
                </a:lnTo>
                <a:cubicBezTo>
                  <a:pt x="2847" y="526"/>
                  <a:pt x="2816" y="478"/>
                  <a:pt x="2768" y="478"/>
                </a:cubicBezTo>
                <a:lnTo>
                  <a:pt x="557" y="478"/>
                </a:lnTo>
                <a:cubicBezTo>
                  <a:pt x="509" y="478"/>
                  <a:pt x="477" y="526"/>
                  <a:pt x="477" y="557"/>
                </a:cubicBezTo>
                <a:lnTo>
                  <a:pt x="477" y="2625"/>
                </a:lnTo>
                <a:cubicBezTo>
                  <a:pt x="477" y="2672"/>
                  <a:pt x="509" y="2705"/>
                  <a:pt x="557" y="2705"/>
                </a:cubicBezTo>
                <a:lnTo>
                  <a:pt x="2386" y="2705"/>
                </a:lnTo>
                <a:lnTo>
                  <a:pt x="2386" y="3341"/>
                </a:lnTo>
                <a:lnTo>
                  <a:pt x="334" y="3341"/>
                </a:lnTo>
                <a:cubicBezTo>
                  <a:pt x="255" y="3341"/>
                  <a:pt x="159" y="3309"/>
                  <a:pt x="159" y="326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0" name="Freeform: Shape 11">
            <a:extLst>
              <a:ext uri="{FF2B5EF4-FFF2-40B4-BE49-F238E27FC236}">
                <a16:creationId xmlns:a16="http://schemas.microsoft.com/office/drawing/2014/main" id="{01BD2D13-C2A4-AB42-8244-DD395434FE44}"/>
              </a:ext>
            </a:extLst>
          </p:cNvPr>
          <p:cNvSpPr/>
          <p:nvPr/>
        </p:nvSpPr>
        <p:spPr>
          <a:xfrm>
            <a:off x="13539469" y="6403960"/>
            <a:ext cx="1832040" cy="1430999"/>
          </a:xfrm>
          <a:custGeom>
            <a:avLst/>
            <a:gdLst/>
            <a:ahLst/>
            <a:cxnLst>
              <a:cxn ang="3cd4">
                <a:pos x="hc" y="t"/>
              </a:cxn>
              <a:cxn ang="cd2">
                <a:pos x="l" y="vc"/>
              </a:cxn>
              <a:cxn ang="cd4">
                <a:pos x="hc" y="b"/>
              </a:cxn>
              <a:cxn ang="0">
                <a:pos x="r" y="vc"/>
              </a:cxn>
            </a:cxnLst>
            <a:rect l="l" t="t" r="r" b="b"/>
            <a:pathLst>
              <a:path w="5090" h="3976">
                <a:moveTo>
                  <a:pt x="4803" y="795"/>
                </a:moveTo>
                <a:lnTo>
                  <a:pt x="4294" y="795"/>
                </a:lnTo>
                <a:lnTo>
                  <a:pt x="4294" y="381"/>
                </a:lnTo>
                <a:cubicBezTo>
                  <a:pt x="4294" y="158"/>
                  <a:pt x="4056" y="0"/>
                  <a:pt x="3833" y="0"/>
                </a:cubicBezTo>
                <a:lnTo>
                  <a:pt x="668" y="0"/>
                </a:lnTo>
                <a:cubicBezTo>
                  <a:pt x="461" y="0"/>
                  <a:pt x="318" y="158"/>
                  <a:pt x="318" y="381"/>
                </a:cubicBezTo>
                <a:lnTo>
                  <a:pt x="318" y="2863"/>
                </a:lnTo>
                <a:lnTo>
                  <a:pt x="79" y="2863"/>
                </a:lnTo>
                <a:cubicBezTo>
                  <a:pt x="32" y="2863"/>
                  <a:pt x="0" y="2910"/>
                  <a:pt x="0" y="2958"/>
                </a:cubicBezTo>
                <a:cubicBezTo>
                  <a:pt x="0" y="3069"/>
                  <a:pt x="0" y="3340"/>
                  <a:pt x="270" y="3340"/>
                </a:cubicBezTo>
                <a:lnTo>
                  <a:pt x="2068" y="3340"/>
                </a:lnTo>
                <a:lnTo>
                  <a:pt x="2068" y="3690"/>
                </a:lnTo>
                <a:cubicBezTo>
                  <a:pt x="2068" y="3849"/>
                  <a:pt x="2195" y="3976"/>
                  <a:pt x="2338" y="3976"/>
                </a:cubicBezTo>
                <a:lnTo>
                  <a:pt x="4803" y="3976"/>
                </a:lnTo>
                <a:cubicBezTo>
                  <a:pt x="4962" y="3976"/>
                  <a:pt x="5090" y="3849"/>
                  <a:pt x="5090" y="3690"/>
                </a:cubicBezTo>
                <a:lnTo>
                  <a:pt x="5090" y="1065"/>
                </a:lnTo>
                <a:cubicBezTo>
                  <a:pt x="5090" y="922"/>
                  <a:pt x="4962" y="795"/>
                  <a:pt x="4803" y="795"/>
                </a:cubicBezTo>
                <a:close/>
                <a:moveTo>
                  <a:pt x="2068" y="3181"/>
                </a:moveTo>
                <a:lnTo>
                  <a:pt x="270" y="3181"/>
                </a:lnTo>
                <a:cubicBezTo>
                  <a:pt x="206" y="3181"/>
                  <a:pt x="175" y="3164"/>
                  <a:pt x="159" y="3021"/>
                </a:cubicBezTo>
                <a:lnTo>
                  <a:pt x="397" y="3021"/>
                </a:lnTo>
                <a:lnTo>
                  <a:pt x="2068" y="3021"/>
                </a:lnTo>
                <a:close/>
                <a:moveTo>
                  <a:pt x="2068" y="2863"/>
                </a:moveTo>
                <a:lnTo>
                  <a:pt x="477" y="2863"/>
                </a:lnTo>
                <a:lnTo>
                  <a:pt x="477" y="381"/>
                </a:lnTo>
                <a:cubicBezTo>
                  <a:pt x="477" y="270"/>
                  <a:pt x="541" y="158"/>
                  <a:pt x="668" y="158"/>
                </a:cubicBezTo>
                <a:lnTo>
                  <a:pt x="3833" y="158"/>
                </a:lnTo>
                <a:cubicBezTo>
                  <a:pt x="3960" y="158"/>
                  <a:pt x="4135" y="270"/>
                  <a:pt x="4135" y="381"/>
                </a:cubicBezTo>
                <a:lnTo>
                  <a:pt x="4135" y="795"/>
                </a:lnTo>
                <a:lnTo>
                  <a:pt x="3817" y="795"/>
                </a:lnTo>
                <a:lnTo>
                  <a:pt x="3817" y="556"/>
                </a:lnTo>
                <a:cubicBezTo>
                  <a:pt x="3817" y="509"/>
                  <a:pt x="3769" y="476"/>
                  <a:pt x="3738" y="476"/>
                </a:cubicBezTo>
                <a:lnTo>
                  <a:pt x="875" y="476"/>
                </a:lnTo>
                <a:cubicBezTo>
                  <a:pt x="827" y="476"/>
                  <a:pt x="795" y="509"/>
                  <a:pt x="795" y="556"/>
                </a:cubicBezTo>
                <a:lnTo>
                  <a:pt x="795" y="2465"/>
                </a:lnTo>
                <a:cubicBezTo>
                  <a:pt x="795" y="2497"/>
                  <a:pt x="827" y="2544"/>
                  <a:pt x="875" y="2544"/>
                </a:cubicBezTo>
                <a:lnTo>
                  <a:pt x="2068" y="2544"/>
                </a:lnTo>
                <a:close/>
                <a:moveTo>
                  <a:pt x="2068" y="1065"/>
                </a:moveTo>
                <a:lnTo>
                  <a:pt x="2068" y="2385"/>
                </a:lnTo>
                <a:lnTo>
                  <a:pt x="954" y="2385"/>
                </a:lnTo>
                <a:lnTo>
                  <a:pt x="954" y="636"/>
                </a:lnTo>
                <a:lnTo>
                  <a:pt x="3658" y="636"/>
                </a:lnTo>
                <a:lnTo>
                  <a:pt x="3658" y="795"/>
                </a:lnTo>
                <a:lnTo>
                  <a:pt x="2338" y="795"/>
                </a:lnTo>
                <a:cubicBezTo>
                  <a:pt x="2195" y="795"/>
                  <a:pt x="2068" y="922"/>
                  <a:pt x="2068" y="1065"/>
                </a:cubicBezTo>
                <a:close/>
                <a:moveTo>
                  <a:pt x="4931" y="3690"/>
                </a:moveTo>
                <a:cubicBezTo>
                  <a:pt x="4931" y="3753"/>
                  <a:pt x="4867" y="3817"/>
                  <a:pt x="4803" y="3817"/>
                </a:cubicBezTo>
                <a:lnTo>
                  <a:pt x="2338" y="3817"/>
                </a:lnTo>
                <a:cubicBezTo>
                  <a:pt x="2274" y="3817"/>
                  <a:pt x="2226" y="3753"/>
                  <a:pt x="2226" y="3690"/>
                </a:cubicBezTo>
                <a:lnTo>
                  <a:pt x="2226" y="1065"/>
                </a:lnTo>
                <a:cubicBezTo>
                  <a:pt x="2226" y="1001"/>
                  <a:pt x="2274" y="954"/>
                  <a:pt x="2338" y="954"/>
                </a:cubicBezTo>
                <a:lnTo>
                  <a:pt x="4803" y="954"/>
                </a:lnTo>
                <a:cubicBezTo>
                  <a:pt x="4867" y="954"/>
                  <a:pt x="4931" y="1001"/>
                  <a:pt x="4931" y="1065"/>
                </a:cubicBezTo>
                <a:close/>
                <a:moveTo>
                  <a:pt x="4533" y="1272"/>
                </a:moveTo>
                <a:lnTo>
                  <a:pt x="2624" y="1272"/>
                </a:lnTo>
                <a:cubicBezTo>
                  <a:pt x="2577" y="1272"/>
                  <a:pt x="2545" y="1304"/>
                  <a:pt x="2545" y="1351"/>
                </a:cubicBezTo>
                <a:lnTo>
                  <a:pt x="2545" y="3101"/>
                </a:lnTo>
                <a:cubicBezTo>
                  <a:pt x="2545" y="3133"/>
                  <a:pt x="2577" y="3181"/>
                  <a:pt x="2624" y="3181"/>
                </a:cubicBezTo>
                <a:lnTo>
                  <a:pt x="4533" y="3181"/>
                </a:lnTo>
                <a:cubicBezTo>
                  <a:pt x="4565" y="3181"/>
                  <a:pt x="4613" y="3133"/>
                  <a:pt x="4613" y="3101"/>
                </a:cubicBezTo>
                <a:lnTo>
                  <a:pt x="4613" y="1351"/>
                </a:lnTo>
                <a:cubicBezTo>
                  <a:pt x="4613" y="1304"/>
                  <a:pt x="4565" y="1272"/>
                  <a:pt x="4533" y="1272"/>
                </a:cubicBezTo>
                <a:close/>
                <a:moveTo>
                  <a:pt x="4453" y="3021"/>
                </a:moveTo>
                <a:lnTo>
                  <a:pt x="2704" y="3021"/>
                </a:lnTo>
                <a:lnTo>
                  <a:pt x="2704" y="1431"/>
                </a:lnTo>
                <a:lnTo>
                  <a:pt x="4453" y="1431"/>
                </a:lnTo>
                <a:close/>
                <a:moveTo>
                  <a:pt x="3658" y="3340"/>
                </a:moveTo>
                <a:lnTo>
                  <a:pt x="3499" y="3340"/>
                </a:lnTo>
                <a:cubicBezTo>
                  <a:pt x="3451" y="3340"/>
                  <a:pt x="3420" y="3372"/>
                  <a:pt x="3420" y="3419"/>
                </a:cubicBezTo>
                <a:cubicBezTo>
                  <a:pt x="3420" y="3451"/>
                  <a:pt x="3451" y="3499"/>
                  <a:pt x="3499" y="3499"/>
                </a:cubicBezTo>
                <a:lnTo>
                  <a:pt x="3658" y="3499"/>
                </a:lnTo>
                <a:cubicBezTo>
                  <a:pt x="3690" y="3499"/>
                  <a:pt x="3738" y="3451"/>
                  <a:pt x="3738" y="3419"/>
                </a:cubicBezTo>
                <a:cubicBezTo>
                  <a:pt x="3738" y="3372"/>
                  <a:pt x="3690" y="3340"/>
                  <a:pt x="3658" y="33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1" name="Freeform: Shape 12">
            <a:extLst>
              <a:ext uri="{FF2B5EF4-FFF2-40B4-BE49-F238E27FC236}">
                <a16:creationId xmlns:a16="http://schemas.microsoft.com/office/drawing/2014/main" id="{1A3CC3E6-FF0E-7349-8255-DE39A8F4B78C}"/>
              </a:ext>
            </a:extLst>
          </p:cNvPr>
          <p:cNvSpPr/>
          <p:nvPr/>
        </p:nvSpPr>
        <p:spPr>
          <a:xfrm>
            <a:off x="9811457" y="6346360"/>
            <a:ext cx="1717560" cy="1540080"/>
          </a:xfrm>
          <a:custGeom>
            <a:avLst/>
            <a:gdLst/>
            <a:ahLst/>
            <a:cxnLst>
              <a:cxn ang="3cd4">
                <a:pos x="hc" y="t"/>
              </a:cxn>
              <a:cxn ang="cd2">
                <a:pos x="l" y="vc"/>
              </a:cxn>
              <a:cxn ang="cd4">
                <a:pos x="hc" y="b"/>
              </a:cxn>
              <a:cxn ang="0">
                <a:pos x="r" y="vc"/>
              </a:cxn>
            </a:cxnLst>
            <a:rect l="l" t="t" r="r" b="b"/>
            <a:pathLst>
              <a:path w="4772" h="4279">
                <a:moveTo>
                  <a:pt x="4533" y="1750"/>
                </a:moveTo>
                <a:cubicBezTo>
                  <a:pt x="4454" y="1750"/>
                  <a:pt x="4454" y="1750"/>
                  <a:pt x="4454" y="1750"/>
                </a:cubicBezTo>
                <a:cubicBezTo>
                  <a:pt x="4454" y="493"/>
                  <a:pt x="4454" y="493"/>
                  <a:pt x="4454" y="493"/>
                </a:cubicBezTo>
                <a:cubicBezTo>
                  <a:pt x="4454" y="303"/>
                  <a:pt x="4263" y="0"/>
                  <a:pt x="4040" y="0"/>
                </a:cubicBezTo>
                <a:cubicBezTo>
                  <a:pt x="716" y="0"/>
                  <a:pt x="716" y="0"/>
                  <a:pt x="716" y="0"/>
                </a:cubicBezTo>
                <a:cubicBezTo>
                  <a:pt x="493" y="0"/>
                  <a:pt x="318" y="303"/>
                  <a:pt x="318" y="493"/>
                </a:cubicBezTo>
                <a:cubicBezTo>
                  <a:pt x="318" y="2863"/>
                  <a:pt x="318" y="2863"/>
                  <a:pt x="318" y="2863"/>
                </a:cubicBezTo>
                <a:cubicBezTo>
                  <a:pt x="79" y="2863"/>
                  <a:pt x="79" y="2863"/>
                  <a:pt x="79" y="2863"/>
                </a:cubicBezTo>
                <a:cubicBezTo>
                  <a:pt x="48" y="2863"/>
                  <a:pt x="0" y="2895"/>
                  <a:pt x="0" y="2943"/>
                </a:cubicBezTo>
                <a:cubicBezTo>
                  <a:pt x="0" y="3070"/>
                  <a:pt x="0" y="3070"/>
                  <a:pt x="0" y="3070"/>
                </a:cubicBezTo>
                <a:cubicBezTo>
                  <a:pt x="0" y="3324"/>
                  <a:pt x="127" y="3500"/>
                  <a:pt x="318" y="3500"/>
                </a:cubicBezTo>
                <a:cubicBezTo>
                  <a:pt x="3340" y="3500"/>
                  <a:pt x="3340" y="3500"/>
                  <a:pt x="3340" y="3500"/>
                </a:cubicBezTo>
                <a:cubicBezTo>
                  <a:pt x="3340" y="4056"/>
                  <a:pt x="3340" y="4056"/>
                  <a:pt x="3340" y="4056"/>
                </a:cubicBezTo>
                <a:cubicBezTo>
                  <a:pt x="3340" y="4184"/>
                  <a:pt x="3451" y="4279"/>
                  <a:pt x="3579" y="4279"/>
                </a:cubicBezTo>
                <a:cubicBezTo>
                  <a:pt x="4533" y="4279"/>
                  <a:pt x="4533" y="4279"/>
                  <a:pt x="4533" y="4279"/>
                </a:cubicBezTo>
                <a:cubicBezTo>
                  <a:pt x="4660" y="4279"/>
                  <a:pt x="4772" y="4184"/>
                  <a:pt x="4772" y="4056"/>
                </a:cubicBezTo>
                <a:cubicBezTo>
                  <a:pt x="4772" y="1973"/>
                  <a:pt x="4772" y="1973"/>
                  <a:pt x="4772" y="1973"/>
                </a:cubicBezTo>
                <a:cubicBezTo>
                  <a:pt x="4772" y="1845"/>
                  <a:pt x="4660" y="1750"/>
                  <a:pt x="4533" y="1750"/>
                </a:cubicBezTo>
                <a:close/>
                <a:moveTo>
                  <a:pt x="3340" y="3341"/>
                </a:moveTo>
                <a:cubicBezTo>
                  <a:pt x="318" y="3341"/>
                  <a:pt x="318" y="3341"/>
                  <a:pt x="318" y="3341"/>
                </a:cubicBezTo>
                <a:cubicBezTo>
                  <a:pt x="175" y="3341"/>
                  <a:pt x="159" y="3102"/>
                  <a:pt x="159" y="3070"/>
                </a:cubicBezTo>
                <a:cubicBezTo>
                  <a:pt x="159" y="3023"/>
                  <a:pt x="159" y="3023"/>
                  <a:pt x="159" y="3023"/>
                </a:cubicBezTo>
                <a:cubicBezTo>
                  <a:pt x="398" y="3023"/>
                  <a:pt x="398" y="3023"/>
                  <a:pt x="398" y="3023"/>
                </a:cubicBezTo>
                <a:cubicBezTo>
                  <a:pt x="3340" y="3023"/>
                  <a:pt x="3340" y="3023"/>
                  <a:pt x="3340" y="3023"/>
                </a:cubicBezTo>
                <a:close/>
                <a:moveTo>
                  <a:pt x="3340" y="2863"/>
                </a:moveTo>
                <a:cubicBezTo>
                  <a:pt x="477" y="2863"/>
                  <a:pt x="477" y="2863"/>
                  <a:pt x="477" y="2863"/>
                </a:cubicBezTo>
                <a:cubicBezTo>
                  <a:pt x="477" y="493"/>
                  <a:pt x="477" y="493"/>
                  <a:pt x="477" y="493"/>
                </a:cubicBezTo>
                <a:cubicBezTo>
                  <a:pt x="477" y="366"/>
                  <a:pt x="604" y="160"/>
                  <a:pt x="716" y="160"/>
                </a:cubicBezTo>
                <a:cubicBezTo>
                  <a:pt x="4040" y="160"/>
                  <a:pt x="4040" y="160"/>
                  <a:pt x="4040" y="160"/>
                </a:cubicBezTo>
                <a:cubicBezTo>
                  <a:pt x="4151" y="160"/>
                  <a:pt x="4294" y="366"/>
                  <a:pt x="4294" y="493"/>
                </a:cubicBezTo>
                <a:cubicBezTo>
                  <a:pt x="4294" y="1750"/>
                  <a:pt x="4294" y="1750"/>
                  <a:pt x="4294" y="1750"/>
                </a:cubicBezTo>
                <a:cubicBezTo>
                  <a:pt x="3976" y="1750"/>
                  <a:pt x="3976" y="1750"/>
                  <a:pt x="3976" y="1750"/>
                </a:cubicBezTo>
                <a:cubicBezTo>
                  <a:pt x="3976" y="557"/>
                  <a:pt x="3976" y="557"/>
                  <a:pt x="3976" y="557"/>
                </a:cubicBezTo>
                <a:cubicBezTo>
                  <a:pt x="3976" y="509"/>
                  <a:pt x="3945" y="478"/>
                  <a:pt x="3897" y="478"/>
                </a:cubicBezTo>
                <a:cubicBezTo>
                  <a:pt x="875" y="478"/>
                  <a:pt x="875" y="478"/>
                  <a:pt x="875" y="478"/>
                </a:cubicBezTo>
                <a:cubicBezTo>
                  <a:pt x="843" y="478"/>
                  <a:pt x="795" y="509"/>
                  <a:pt x="795" y="557"/>
                </a:cubicBezTo>
                <a:cubicBezTo>
                  <a:pt x="795" y="2625"/>
                  <a:pt x="795" y="2625"/>
                  <a:pt x="795" y="2625"/>
                </a:cubicBezTo>
                <a:cubicBezTo>
                  <a:pt x="795" y="2657"/>
                  <a:pt x="843" y="2704"/>
                  <a:pt x="875" y="2704"/>
                </a:cubicBezTo>
                <a:cubicBezTo>
                  <a:pt x="3340" y="2704"/>
                  <a:pt x="3340" y="2704"/>
                  <a:pt x="3340" y="2704"/>
                </a:cubicBezTo>
                <a:close/>
                <a:moveTo>
                  <a:pt x="3340" y="1973"/>
                </a:moveTo>
                <a:cubicBezTo>
                  <a:pt x="3340" y="2545"/>
                  <a:pt x="3340" y="2545"/>
                  <a:pt x="3340" y="2545"/>
                </a:cubicBezTo>
                <a:cubicBezTo>
                  <a:pt x="954" y="2545"/>
                  <a:pt x="954" y="2545"/>
                  <a:pt x="954" y="2545"/>
                </a:cubicBezTo>
                <a:cubicBezTo>
                  <a:pt x="954" y="636"/>
                  <a:pt x="954" y="636"/>
                  <a:pt x="954" y="636"/>
                </a:cubicBezTo>
                <a:cubicBezTo>
                  <a:pt x="3817" y="636"/>
                  <a:pt x="3817" y="636"/>
                  <a:pt x="3817" y="636"/>
                </a:cubicBezTo>
                <a:cubicBezTo>
                  <a:pt x="3817" y="1750"/>
                  <a:pt x="3817" y="1750"/>
                  <a:pt x="3817" y="1750"/>
                </a:cubicBezTo>
                <a:cubicBezTo>
                  <a:pt x="3579" y="1750"/>
                  <a:pt x="3579" y="1750"/>
                  <a:pt x="3579" y="1750"/>
                </a:cubicBezTo>
                <a:cubicBezTo>
                  <a:pt x="3451" y="1750"/>
                  <a:pt x="3340" y="1845"/>
                  <a:pt x="3340" y="1973"/>
                </a:cubicBezTo>
                <a:close/>
                <a:moveTo>
                  <a:pt x="4612" y="4056"/>
                </a:moveTo>
                <a:cubicBezTo>
                  <a:pt x="4612" y="4088"/>
                  <a:pt x="4581" y="4120"/>
                  <a:pt x="4533" y="4120"/>
                </a:cubicBezTo>
                <a:cubicBezTo>
                  <a:pt x="3579" y="4120"/>
                  <a:pt x="3579" y="4120"/>
                  <a:pt x="3579" y="4120"/>
                </a:cubicBezTo>
                <a:cubicBezTo>
                  <a:pt x="3531" y="4120"/>
                  <a:pt x="3499" y="4088"/>
                  <a:pt x="3499" y="4056"/>
                </a:cubicBezTo>
                <a:cubicBezTo>
                  <a:pt x="3499" y="3818"/>
                  <a:pt x="3499" y="3818"/>
                  <a:pt x="3499" y="3818"/>
                </a:cubicBezTo>
                <a:cubicBezTo>
                  <a:pt x="4612" y="3818"/>
                  <a:pt x="4612" y="3818"/>
                  <a:pt x="4612" y="3818"/>
                </a:cubicBezTo>
                <a:close/>
                <a:moveTo>
                  <a:pt x="4612" y="3659"/>
                </a:moveTo>
                <a:cubicBezTo>
                  <a:pt x="3499" y="3659"/>
                  <a:pt x="3499" y="3659"/>
                  <a:pt x="3499" y="3659"/>
                </a:cubicBezTo>
                <a:cubicBezTo>
                  <a:pt x="3499" y="2227"/>
                  <a:pt x="3499" y="2227"/>
                  <a:pt x="3499" y="2227"/>
                </a:cubicBezTo>
                <a:cubicBezTo>
                  <a:pt x="4612" y="2227"/>
                  <a:pt x="4612" y="2227"/>
                  <a:pt x="4612" y="2227"/>
                </a:cubicBezTo>
                <a:close/>
                <a:moveTo>
                  <a:pt x="4612" y="2068"/>
                </a:moveTo>
                <a:cubicBezTo>
                  <a:pt x="3499" y="2068"/>
                  <a:pt x="3499" y="2068"/>
                  <a:pt x="3499" y="2068"/>
                </a:cubicBezTo>
                <a:cubicBezTo>
                  <a:pt x="3499" y="1973"/>
                  <a:pt x="3499" y="1973"/>
                  <a:pt x="3499" y="1973"/>
                </a:cubicBezTo>
                <a:cubicBezTo>
                  <a:pt x="3499" y="1941"/>
                  <a:pt x="3531" y="1909"/>
                  <a:pt x="3579" y="1909"/>
                </a:cubicBezTo>
                <a:cubicBezTo>
                  <a:pt x="4533" y="1909"/>
                  <a:pt x="4533" y="1909"/>
                  <a:pt x="4533" y="1909"/>
                </a:cubicBezTo>
                <a:cubicBezTo>
                  <a:pt x="4581" y="1909"/>
                  <a:pt x="4612" y="1941"/>
                  <a:pt x="4612" y="197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2" name="Freeform: Shape 13">
            <a:extLst>
              <a:ext uri="{FF2B5EF4-FFF2-40B4-BE49-F238E27FC236}">
                <a16:creationId xmlns:a16="http://schemas.microsoft.com/office/drawing/2014/main" id="{FFCE7784-6E19-C84D-8B45-86855F368C3E}"/>
              </a:ext>
            </a:extLst>
          </p:cNvPr>
          <p:cNvSpPr/>
          <p:nvPr/>
        </p:nvSpPr>
        <p:spPr>
          <a:xfrm>
            <a:off x="5905416" y="6512320"/>
            <a:ext cx="1917719" cy="1208159"/>
          </a:xfrm>
          <a:custGeom>
            <a:avLst/>
            <a:gdLst/>
            <a:ahLst/>
            <a:cxnLst>
              <a:cxn ang="3cd4">
                <a:pos x="hc" y="t"/>
              </a:cxn>
              <a:cxn ang="cd2">
                <a:pos x="l" y="vc"/>
              </a:cxn>
              <a:cxn ang="cd4">
                <a:pos x="hc" y="b"/>
              </a:cxn>
              <a:cxn ang="0">
                <a:pos x="r" y="vc"/>
              </a:cxn>
            </a:cxnLst>
            <a:rect l="l" t="t" r="r" b="b"/>
            <a:pathLst>
              <a:path w="5328" h="3357">
                <a:moveTo>
                  <a:pt x="5248" y="2832"/>
                </a:moveTo>
                <a:lnTo>
                  <a:pt x="5074" y="2832"/>
                </a:lnTo>
                <a:lnTo>
                  <a:pt x="5074" y="1018"/>
                </a:lnTo>
                <a:cubicBezTo>
                  <a:pt x="5074" y="844"/>
                  <a:pt x="4883" y="748"/>
                  <a:pt x="4708" y="748"/>
                </a:cubicBezTo>
                <a:lnTo>
                  <a:pt x="3722" y="748"/>
                </a:lnTo>
                <a:lnTo>
                  <a:pt x="3722" y="366"/>
                </a:lnTo>
                <a:cubicBezTo>
                  <a:pt x="3722" y="191"/>
                  <a:pt x="3611" y="0"/>
                  <a:pt x="3403" y="0"/>
                </a:cubicBezTo>
                <a:lnTo>
                  <a:pt x="254" y="0"/>
                </a:lnTo>
                <a:cubicBezTo>
                  <a:pt x="95" y="0"/>
                  <a:pt x="0" y="223"/>
                  <a:pt x="0" y="366"/>
                </a:cubicBezTo>
                <a:lnTo>
                  <a:pt x="0" y="2434"/>
                </a:lnTo>
                <a:cubicBezTo>
                  <a:pt x="0" y="2593"/>
                  <a:pt x="95" y="2752"/>
                  <a:pt x="254" y="2752"/>
                </a:cubicBezTo>
                <a:lnTo>
                  <a:pt x="1400" y="2752"/>
                </a:lnTo>
                <a:lnTo>
                  <a:pt x="1288" y="3198"/>
                </a:lnTo>
                <a:lnTo>
                  <a:pt x="1129" y="3198"/>
                </a:lnTo>
                <a:cubicBezTo>
                  <a:pt x="1081" y="3198"/>
                  <a:pt x="1049" y="3229"/>
                  <a:pt x="1049" y="3277"/>
                </a:cubicBezTo>
                <a:cubicBezTo>
                  <a:pt x="1049" y="3325"/>
                  <a:pt x="1081" y="3357"/>
                  <a:pt x="1129" y="3357"/>
                </a:cubicBezTo>
                <a:lnTo>
                  <a:pt x="1940" y="3357"/>
                </a:lnTo>
                <a:lnTo>
                  <a:pt x="2481" y="3357"/>
                </a:lnTo>
                <a:lnTo>
                  <a:pt x="5090" y="3357"/>
                </a:lnTo>
                <a:cubicBezTo>
                  <a:pt x="5248" y="3357"/>
                  <a:pt x="5328" y="3245"/>
                  <a:pt x="5328" y="3023"/>
                </a:cubicBezTo>
                <a:lnTo>
                  <a:pt x="5328" y="2911"/>
                </a:lnTo>
                <a:cubicBezTo>
                  <a:pt x="5328" y="2863"/>
                  <a:pt x="5281" y="2832"/>
                  <a:pt x="5248" y="2832"/>
                </a:cubicBezTo>
                <a:close/>
                <a:moveTo>
                  <a:pt x="4708" y="907"/>
                </a:moveTo>
                <a:cubicBezTo>
                  <a:pt x="4803" y="907"/>
                  <a:pt x="4915" y="955"/>
                  <a:pt x="4915" y="1018"/>
                </a:cubicBezTo>
                <a:lnTo>
                  <a:pt x="4915" y="2832"/>
                </a:lnTo>
                <a:lnTo>
                  <a:pt x="2131" y="2832"/>
                </a:lnTo>
                <a:lnTo>
                  <a:pt x="2131" y="1018"/>
                </a:lnTo>
                <a:cubicBezTo>
                  <a:pt x="2131" y="939"/>
                  <a:pt x="2163" y="907"/>
                  <a:pt x="2258" y="907"/>
                </a:cubicBezTo>
                <a:close/>
                <a:moveTo>
                  <a:pt x="159" y="366"/>
                </a:moveTo>
                <a:cubicBezTo>
                  <a:pt x="159" y="287"/>
                  <a:pt x="206" y="160"/>
                  <a:pt x="254" y="160"/>
                </a:cubicBezTo>
                <a:lnTo>
                  <a:pt x="3403" y="160"/>
                </a:lnTo>
                <a:cubicBezTo>
                  <a:pt x="3563" y="160"/>
                  <a:pt x="3510" y="297"/>
                  <a:pt x="3563" y="366"/>
                </a:cubicBezTo>
                <a:lnTo>
                  <a:pt x="3563" y="748"/>
                </a:lnTo>
                <a:lnTo>
                  <a:pt x="2258" y="748"/>
                </a:lnTo>
                <a:cubicBezTo>
                  <a:pt x="2084" y="748"/>
                  <a:pt x="1972" y="860"/>
                  <a:pt x="1972" y="1018"/>
                </a:cubicBezTo>
                <a:lnTo>
                  <a:pt x="1972" y="2100"/>
                </a:lnTo>
                <a:lnTo>
                  <a:pt x="159" y="2100"/>
                </a:lnTo>
                <a:close/>
                <a:moveTo>
                  <a:pt x="254" y="2593"/>
                </a:moveTo>
                <a:cubicBezTo>
                  <a:pt x="206" y="2593"/>
                  <a:pt x="159" y="2514"/>
                  <a:pt x="159" y="2434"/>
                </a:cubicBezTo>
                <a:lnTo>
                  <a:pt x="159" y="2259"/>
                </a:lnTo>
                <a:lnTo>
                  <a:pt x="1972" y="2259"/>
                </a:lnTo>
                <a:lnTo>
                  <a:pt x="1972" y="2593"/>
                </a:lnTo>
                <a:lnTo>
                  <a:pt x="1495" y="2593"/>
                </a:lnTo>
                <a:close/>
                <a:moveTo>
                  <a:pt x="1718" y="2911"/>
                </a:moveTo>
                <a:lnTo>
                  <a:pt x="1718" y="3023"/>
                </a:lnTo>
                <a:cubicBezTo>
                  <a:pt x="1718" y="3086"/>
                  <a:pt x="1733" y="3150"/>
                  <a:pt x="1749" y="3198"/>
                </a:cubicBezTo>
                <a:lnTo>
                  <a:pt x="1447" y="3198"/>
                </a:lnTo>
                <a:lnTo>
                  <a:pt x="1558" y="2752"/>
                </a:lnTo>
                <a:lnTo>
                  <a:pt x="1972" y="2752"/>
                </a:lnTo>
                <a:lnTo>
                  <a:pt x="1972" y="2832"/>
                </a:lnTo>
                <a:lnTo>
                  <a:pt x="1797" y="2832"/>
                </a:lnTo>
                <a:cubicBezTo>
                  <a:pt x="1766" y="2832"/>
                  <a:pt x="1718" y="2863"/>
                  <a:pt x="1718" y="2911"/>
                </a:cubicBezTo>
                <a:close/>
                <a:moveTo>
                  <a:pt x="5169" y="3023"/>
                </a:moveTo>
                <a:cubicBezTo>
                  <a:pt x="5169" y="3198"/>
                  <a:pt x="5121" y="3198"/>
                  <a:pt x="5090" y="3198"/>
                </a:cubicBezTo>
                <a:lnTo>
                  <a:pt x="2481" y="3198"/>
                </a:lnTo>
                <a:lnTo>
                  <a:pt x="1940" y="3198"/>
                </a:lnTo>
                <a:cubicBezTo>
                  <a:pt x="1924" y="3198"/>
                  <a:pt x="1876" y="3198"/>
                  <a:pt x="1876" y="3023"/>
                </a:cubicBezTo>
                <a:lnTo>
                  <a:pt x="1876" y="2991"/>
                </a:lnTo>
                <a:lnTo>
                  <a:pt x="2052" y="2991"/>
                </a:lnTo>
                <a:lnTo>
                  <a:pt x="4994" y="2991"/>
                </a:lnTo>
                <a:lnTo>
                  <a:pt x="5169" y="2991"/>
                </a:lnTo>
                <a:close/>
                <a:moveTo>
                  <a:pt x="2418" y="2625"/>
                </a:moveTo>
                <a:lnTo>
                  <a:pt x="4629" y="2625"/>
                </a:lnTo>
                <a:cubicBezTo>
                  <a:pt x="4676" y="2625"/>
                  <a:pt x="4708" y="2593"/>
                  <a:pt x="4708" y="2545"/>
                </a:cubicBezTo>
                <a:lnTo>
                  <a:pt x="4708" y="1193"/>
                </a:lnTo>
                <a:cubicBezTo>
                  <a:pt x="4708" y="1146"/>
                  <a:pt x="4676" y="1114"/>
                  <a:pt x="4629" y="1114"/>
                </a:cubicBezTo>
                <a:lnTo>
                  <a:pt x="2418" y="1114"/>
                </a:lnTo>
                <a:cubicBezTo>
                  <a:pt x="2370" y="1114"/>
                  <a:pt x="2338" y="1146"/>
                  <a:pt x="2338" y="1193"/>
                </a:cubicBezTo>
                <a:lnTo>
                  <a:pt x="2338" y="2545"/>
                </a:lnTo>
                <a:cubicBezTo>
                  <a:pt x="2338" y="2593"/>
                  <a:pt x="2370" y="2625"/>
                  <a:pt x="2418" y="2625"/>
                </a:cubicBezTo>
                <a:close/>
                <a:moveTo>
                  <a:pt x="2497" y="1273"/>
                </a:moveTo>
                <a:lnTo>
                  <a:pt x="4549" y="1273"/>
                </a:lnTo>
                <a:lnTo>
                  <a:pt x="4549" y="2466"/>
                </a:lnTo>
                <a:lnTo>
                  <a:pt x="2497" y="246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Freeform: Shape 14">
            <a:extLst>
              <a:ext uri="{FF2B5EF4-FFF2-40B4-BE49-F238E27FC236}">
                <a16:creationId xmlns:a16="http://schemas.microsoft.com/office/drawing/2014/main" id="{AB1AE704-CCBD-FC4C-8262-8E13C3A73D5A}"/>
              </a:ext>
            </a:extLst>
          </p:cNvPr>
          <p:cNvSpPr/>
          <p:nvPr/>
        </p:nvSpPr>
        <p:spPr>
          <a:xfrm>
            <a:off x="1880335" y="6483879"/>
            <a:ext cx="1963800" cy="1265040"/>
          </a:xfrm>
          <a:custGeom>
            <a:avLst/>
            <a:gdLst/>
            <a:ahLst/>
            <a:cxnLst>
              <a:cxn ang="3cd4">
                <a:pos x="hc" y="t"/>
              </a:cxn>
              <a:cxn ang="cd2">
                <a:pos x="l" y="vc"/>
              </a:cxn>
              <a:cxn ang="cd4">
                <a:pos x="hc" y="b"/>
              </a:cxn>
              <a:cxn ang="0">
                <a:pos x="r" y="vc"/>
              </a:cxn>
            </a:cxnLst>
            <a:rect l="l" t="t" r="r" b="b"/>
            <a:pathLst>
              <a:path w="5456" h="3515">
                <a:moveTo>
                  <a:pt x="1400" y="3356"/>
                </a:moveTo>
                <a:lnTo>
                  <a:pt x="1305" y="3356"/>
                </a:lnTo>
                <a:cubicBezTo>
                  <a:pt x="1273" y="3356"/>
                  <a:pt x="1225" y="3404"/>
                  <a:pt x="1225" y="3436"/>
                </a:cubicBezTo>
                <a:cubicBezTo>
                  <a:pt x="1225" y="3483"/>
                  <a:pt x="1273" y="3515"/>
                  <a:pt x="1305" y="3515"/>
                </a:cubicBezTo>
                <a:lnTo>
                  <a:pt x="1464" y="3515"/>
                </a:lnTo>
                <a:lnTo>
                  <a:pt x="2418" y="3515"/>
                </a:lnTo>
                <a:lnTo>
                  <a:pt x="2609" y="3515"/>
                </a:lnTo>
                <a:cubicBezTo>
                  <a:pt x="2641" y="3515"/>
                  <a:pt x="2688" y="3483"/>
                  <a:pt x="2688" y="3436"/>
                </a:cubicBezTo>
                <a:cubicBezTo>
                  <a:pt x="2688" y="3404"/>
                  <a:pt x="2641" y="3356"/>
                  <a:pt x="2609" y="3356"/>
                </a:cubicBezTo>
                <a:lnTo>
                  <a:pt x="2482" y="3356"/>
                </a:lnTo>
                <a:lnTo>
                  <a:pt x="2386" y="2879"/>
                </a:lnTo>
                <a:lnTo>
                  <a:pt x="2975" y="2879"/>
                </a:lnTo>
                <a:lnTo>
                  <a:pt x="2975" y="3277"/>
                </a:lnTo>
                <a:cubicBezTo>
                  <a:pt x="2975" y="3420"/>
                  <a:pt x="3086" y="3515"/>
                  <a:pt x="3213" y="3515"/>
                </a:cubicBezTo>
                <a:lnTo>
                  <a:pt x="5217" y="3515"/>
                </a:lnTo>
                <a:cubicBezTo>
                  <a:pt x="5360" y="3515"/>
                  <a:pt x="5456" y="3420"/>
                  <a:pt x="5456" y="3277"/>
                </a:cubicBezTo>
                <a:lnTo>
                  <a:pt x="5456" y="1145"/>
                </a:lnTo>
                <a:cubicBezTo>
                  <a:pt x="5456" y="1018"/>
                  <a:pt x="5360" y="906"/>
                  <a:pt x="5217" y="906"/>
                </a:cubicBezTo>
                <a:lnTo>
                  <a:pt x="3913" y="906"/>
                </a:lnTo>
                <a:lnTo>
                  <a:pt x="3913" y="254"/>
                </a:lnTo>
                <a:cubicBezTo>
                  <a:pt x="3913" y="111"/>
                  <a:pt x="3786" y="0"/>
                  <a:pt x="3611" y="0"/>
                </a:cubicBezTo>
                <a:lnTo>
                  <a:pt x="303" y="0"/>
                </a:lnTo>
                <a:cubicBezTo>
                  <a:pt x="128" y="0"/>
                  <a:pt x="0" y="111"/>
                  <a:pt x="0" y="254"/>
                </a:cubicBezTo>
                <a:lnTo>
                  <a:pt x="0" y="2561"/>
                </a:lnTo>
                <a:cubicBezTo>
                  <a:pt x="0" y="2720"/>
                  <a:pt x="143" y="2879"/>
                  <a:pt x="303" y="2879"/>
                </a:cubicBezTo>
                <a:lnTo>
                  <a:pt x="1496" y="2879"/>
                </a:lnTo>
                <a:close/>
                <a:moveTo>
                  <a:pt x="1559" y="3356"/>
                </a:moveTo>
                <a:lnTo>
                  <a:pt x="1654" y="2879"/>
                </a:lnTo>
                <a:lnTo>
                  <a:pt x="2227" y="2879"/>
                </a:lnTo>
                <a:lnTo>
                  <a:pt x="2323" y="3356"/>
                </a:lnTo>
                <a:close/>
                <a:moveTo>
                  <a:pt x="5217" y="1066"/>
                </a:moveTo>
                <a:cubicBezTo>
                  <a:pt x="5265" y="1066"/>
                  <a:pt x="5297" y="1097"/>
                  <a:pt x="5297" y="1145"/>
                </a:cubicBezTo>
                <a:lnTo>
                  <a:pt x="5297" y="3277"/>
                </a:lnTo>
                <a:cubicBezTo>
                  <a:pt x="5297" y="3324"/>
                  <a:pt x="5265" y="3356"/>
                  <a:pt x="5217" y="3356"/>
                </a:cubicBezTo>
                <a:lnTo>
                  <a:pt x="3213" y="3356"/>
                </a:lnTo>
                <a:cubicBezTo>
                  <a:pt x="3166" y="3356"/>
                  <a:pt x="3134" y="3324"/>
                  <a:pt x="3134" y="3277"/>
                </a:cubicBezTo>
                <a:lnTo>
                  <a:pt x="3134" y="1145"/>
                </a:lnTo>
                <a:cubicBezTo>
                  <a:pt x="3134" y="1097"/>
                  <a:pt x="3166" y="1066"/>
                  <a:pt x="3213" y="1066"/>
                </a:cubicBezTo>
                <a:close/>
                <a:moveTo>
                  <a:pt x="160" y="254"/>
                </a:moveTo>
                <a:cubicBezTo>
                  <a:pt x="160" y="175"/>
                  <a:pt x="255" y="159"/>
                  <a:pt x="303" y="159"/>
                </a:cubicBezTo>
                <a:lnTo>
                  <a:pt x="3611" y="159"/>
                </a:lnTo>
                <a:cubicBezTo>
                  <a:pt x="3659" y="159"/>
                  <a:pt x="3754" y="175"/>
                  <a:pt x="3754" y="254"/>
                </a:cubicBezTo>
                <a:lnTo>
                  <a:pt x="3754" y="906"/>
                </a:lnTo>
                <a:lnTo>
                  <a:pt x="3213" y="906"/>
                </a:lnTo>
                <a:cubicBezTo>
                  <a:pt x="3086" y="906"/>
                  <a:pt x="2975" y="1018"/>
                  <a:pt x="2975" y="1145"/>
                </a:cubicBezTo>
                <a:lnTo>
                  <a:pt x="2975" y="2195"/>
                </a:lnTo>
                <a:lnTo>
                  <a:pt x="160" y="2195"/>
                </a:lnTo>
                <a:close/>
                <a:moveTo>
                  <a:pt x="303" y="2720"/>
                </a:moveTo>
                <a:cubicBezTo>
                  <a:pt x="239" y="2720"/>
                  <a:pt x="160" y="2624"/>
                  <a:pt x="160" y="2561"/>
                </a:cubicBezTo>
                <a:lnTo>
                  <a:pt x="160" y="2354"/>
                </a:lnTo>
                <a:lnTo>
                  <a:pt x="2975" y="2354"/>
                </a:lnTo>
                <a:lnTo>
                  <a:pt x="2975" y="2720"/>
                </a:lnTo>
                <a:lnTo>
                  <a:pt x="2291" y="2720"/>
                </a:lnTo>
                <a:lnTo>
                  <a:pt x="1591" y="2720"/>
                </a:lnTo>
                <a:close/>
                <a:moveTo>
                  <a:pt x="3436" y="2879"/>
                </a:moveTo>
                <a:lnTo>
                  <a:pt x="4995" y="2879"/>
                </a:lnTo>
                <a:cubicBezTo>
                  <a:pt x="5042" y="2879"/>
                  <a:pt x="5074" y="2847"/>
                  <a:pt x="5074" y="2799"/>
                </a:cubicBezTo>
                <a:lnTo>
                  <a:pt x="5074" y="1368"/>
                </a:lnTo>
                <a:cubicBezTo>
                  <a:pt x="5074" y="1336"/>
                  <a:pt x="5042" y="1288"/>
                  <a:pt x="4995" y="1288"/>
                </a:cubicBezTo>
                <a:lnTo>
                  <a:pt x="3436" y="1288"/>
                </a:lnTo>
                <a:cubicBezTo>
                  <a:pt x="3404" y="1288"/>
                  <a:pt x="3357" y="1336"/>
                  <a:pt x="3357" y="1368"/>
                </a:cubicBezTo>
                <a:lnTo>
                  <a:pt x="3357" y="2799"/>
                </a:lnTo>
                <a:cubicBezTo>
                  <a:pt x="3357" y="2847"/>
                  <a:pt x="3404" y="2879"/>
                  <a:pt x="3436" y="2879"/>
                </a:cubicBezTo>
                <a:close/>
                <a:moveTo>
                  <a:pt x="3515" y="1448"/>
                </a:moveTo>
                <a:lnTo>
                  <a:pt x="4915" y="1448"/>
                </a:lnTo>
                <a:lnTo>
                  <a:pt x="4915" y="2720"/>
                </a:lnTo>
                <a:lnTo>
                  <a:pt x="3515" y="2720"/>
                </a:lnTo>
                <a:close/>
                <a:moveTo>
                  <a:pt x="4279" y="2975"/>
                </a:moveTo>
                <a:lnTo>
                  <a:pt x="4152" y="2975"/>
                </a:lnTo>
                <a:cubicBezTo>
                  <a:pt x="4104" y="2975"/>
                  <a:pt x="4072" y="3006"/>
                  <a:pt x="4072" y="3054"/>
                </a:cubicBezTo>
                <a:cubicBezTo>
                  <a:pt x="4072" y="3102"/>
                  <a:pt x="4104" y="3133"/>
                  <a:pt x="4152" y="3133"/>
                </a:cubicBezTo>
                <a:lnTo>
                  <a:pt x="4279" y="3133"/>
                </a:lnTo>
                <a:cubicBezTo>
                  <a:pt x="4327" y="3133"/>
                  <a:pt x="4359" y="3102"/>
                  <a:pt x="4359" y="3054"/>
                </a:cubicBezTo>
                <a:cubicBezTo>
                  <a:pt x="4359" y="3006"/>
                  <a:pt x="4327" y="2975"/>
                  <a:pt x="4279" y="297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4" name="Freeform: Shape 15">
            <a:extLst>
              <a:ext uri="{FF2B5EF4-FFF2-40B4-BE49-F238E27FC236}">
                <a16:creationId xmlns:a16="http://schemas.microsoft.com/office/drawing/2014/main" id="{0AA8D261-60A0-4D4B-BCB6-759AD582A88A}"/>
              </a:ext>
            </a:extLst>
          </p:cNvPr>
          <p:cNvSpPr/>
          <p:nvPr/>
        </p:nvSpPr>
        <p:spPr>
          <a:xfrm>
            <a:off x="20970746" y="3049458"/>
            <a:ext cx="1717560" cy="1711439"/>
          </a:xfrm>
          <a:custGeom>
            <a:avLst/>
            <a:gdLst/>
            <a:ahLst/>
            <a:cxnLst>
              <a:cxn ang="3cd4">
                <a:pos x="hc" y="t"/>
              </a:cxn>
              <a:cxn ang="cd2">
                <a:pos x="l" y="vc"/>
              </a:cxn>
              <a:cxn ang="cd4">
                <a:pos x="hc" y="b"/>
              </a:cxn>
              <a:cxn ang="0">
                <a:pos x="r" y="vc"/>
              </a:cxn>
            </a:cxnLst>
            <a:rect l="l" t="t" r="r" b="b"/>
            <a:pathLst>
              <a:path w="4772" h="4755">
                <a:moveTo>
                  <a:pt x="4374" y="477"/>
                </a:moveTo>
                <a:lnTo>
                  <a:pt x="1909" y="477"/>
                </a:lnTo>
                <a:lnTo>
                  <a:pt x="1909" y="79"/>
                </a:lnTo>
                <a:cubicBezTo>
                  <a:pt x="1909" y="32"/>
                  <a:pt x="1877" y="0"/>
                  <a:pt x="1829" y="0"/>
                </a:cubicBezTo>
                <a:lnTo>
                  <a:pt x="79" y="0"/>
                </a:lnTo>
                <a:cubicBezTo>
                  <a:pt x="47" y="0"/>
                  <a:pt x="0" y="32"/>
                  <a:pt x="0" y="79"/>
                </a:cubicBezTo>
                <a:lnTo>
                  <a:pt x="0" y="4676"/>
                </a:lnTo>
                <a:cubicBezTo>
                  <a:pt x="0" y="4724"/>
                  <a:pt x="47" y="4755"/>
                  <a:pt x="79" y="4755"/>
                </a:cubicBezTo>
                <a:lnTo>
                  <a:pt x="1749" y="4755"/>
                </a:lnTo>
                <a:lnTo>
                  <a:pt x="1829" y="4755"/>
                </a:lnTo>
                <a:lnTo>
                  <a:pt x="2927" y="4755"/>
                </a:lnTo>
                <a:cubicBezTo>
                  <a:pt x="2943" y="4755"/>
                  <a:pt x="2974" y="4755"/>
                  <a:pt x="2990" y="4740"/>
                </a:cubicBezTo>
                <a:cubicBezTo>
                  <a:pt x="3006" y="4708"/>
                  <a:pt x="3006" y="4692"/>
                  <a:pt x="3006" y="4660"/>
                </a:cubicBezTo>
                <a:lnTo>
                  <a:pt x="2847" y="3976"/>
                </a:lnTo>
                <a:lnTo>
                  <a:pt x="4374" y="3976"/>
                </a:lnTo>
                <a:cubicBezTo>
                  <a:pt x="4549" y="3976"/>
                  <a:pt x="4772" y="3785"/>
                  <a:pt x="4772" y="3595"/>
                </a:cubicBezTo>
                <a:lnTo>
                  <a:pt x="4772" y="922"/>
                </a:lnTo>
                <a:cubicBezTo>
                  <a:pt x="4772" y="747"/>
                  <a:pt x="4645" y="477"/>
                  <a:pt x="4374" y="477"/>
                </a:cubicBezTo>
                <a:close/>
                <a:moveTo>
                  <a:pt x="1749" y="4597"/>
                </a:moveTo>
                <a:lnTo>
                  <a:pt x="159" y="4597"/>
                </a:lnTo>
                <a:lnTo>
                  <a:pt x="159" y="3499"/>
                </a:lnTo>
                <a:lnTo>
                  <a:pt x="1749" y="3499"/>
                </a:lnTo>
                <a:close/>
                <a:moveTo>
                  <a:pt x="1749" y="3340"/>
                </a:moveTo>
                <a:lnTo>
                  <a:pt x="159" y="3340"/>
                </a:lnTo>
                <a:lnTo>
                  <a:pt x="159" y="159"/>
                </a:lnTo>
                <a:lnTo>
                  <a:pt x="1749" y="159"/>
                </a:lnTo>
                <a:close/>
                <a:moveTo>
                  <a:pt x="1909" y="4597"/>
                </a:moveTo>
                <a:lnTo>
                  <a:pt x="1909" y="3976"/>
                </a:lnTo>
                <a:lnTo>
                  <a:pt x="2688" y="3976"/>
                </a:lnTo>
                <a:lnTo>
                  <a:pt x="2831" y="4597"/>
                </a:lnTo>
                <a:close/>
                <a:moveTo>
                  <a:pt x="4613" y="3595"/>
                </a:moveTo>
                <a:cubicBezTo>
                  <a:pt x="4613" y="3690"/>
                  <a:pt x="4485" y="3817"/>
                  <a:pt x="4374" y="3817"/>
                </a:cubicBezTo>
                <a:lnTo>
                  <a:pt x="2752" y="3817"/>
                </a:lnTo>
                <a:lnTo>
                  <a:pt x="1909" y="3817"/>
                </a:lnTo>
                <a:lnTo>
                  <a:pt x="1909" y="3340"/>
                </a:lnTo>
                <a:lnTo>
                  <a:pt x="4613" y="3340"/>
                </a:lnTo>
                <a:close/>
                <a:moveTo>
                  <a:pt x="4613" y="3181"/>
                </a:moveTo>
                <a:lnTo>
                  <a:pt x="1909" y="3181"/>
                </a:lnTo>
                <a:lnTo>
                  <a:pt x="1909" y="636"/>
                </a:lnTo>
                <a:lnTo>
                  <a:pt x="4374" y="636"/>
                </a:lnTo>
                <a:cubicBezTo>
                  <a:pt x="4549" y="636"/>
                  <a:pt x="4613" y="827"/>
                  <a:pt x="4613" y="922"/>
                </a:cubicBezTo>
                <a:close/>
                <a:moveTo>
                  <a:pt x="398" y="2544"/>
                </a:moveTo>
                <a:lnTo>
                  <a:pt x="1511" y="2544"/>
                </a:lnTo>
                <a:cubicBezTo>
                  <a:pt x="1559" y="2544"/>
                  <a:pt x="1591" y="2497"/>
                  <a:pt x="1591" y="2465"/>
                </a:cubicBezTo>
                <a:lnTo>
                  <a:pt x="1591" y="1829"/>
                </a:lnTo>
                <a:cubicBezTo>
                  <a:pt x="1591" y="1781"/>
                  <a:pt x="1559" y="1749"/>
                  <a:pt x="1511" y="1749"/>
                </a:cubicBezTo>
                <a:lnTo>
                  <a:pt x="398" y="1749"/>
                </a:lnTo>
                <a:cubicBezTo>
                  <a:pt x="366" y="1749"/>
                  <a:pt x="318" y="1781"/>
                  <a:pt x="318" y="1829"/>
                </a:cubicBezTo>
                <a:lnTo>
                  <a:pt x="318" y="2465"/>
                </a:lnTo>
                <a:cubicBezTo>
                  <a:pt x="318" y="2497"/>
                  <a:pt x="366" y="2544"/>
                  <a:pt x="398" y="2544"/>
                </a:cubicBezTo>
                <a:close/>
                <a:moveTo>
                  <a:pt x="477" y="1908"/>
                </a:moveTo>
                <a:lnTo>
                  <a:pt x="1431" y="1908"/>
                </a:lnTo>
                <a:lnTo>
                  <a:pt x="1431" y="2068"/>
                </a:lnTo>
                <a:lnTo>
                  <a:pt x="477" y="2068"/>
                </a:lnTo>
                <a:close/>
                <a:moveTo>
                  <a:pt x="477" y="2226"/>
                </a:moveTo>
                <a:lnTo>
                  <a:pt x="1431" y="2226"/>
                </a:lnTo>
                <a:lnTo>
                  <a:pt x="1431" y="2386"/>
                </a:lnTo>
                <a:lnTo>
                  <a:pt x="477" y="2386"/>
                </a:lnTo>
                <a:close/>
                <a:moveTo>
                  <a:pt x="652" y="4151"/>
                </a:moveTo>
                <a:cubicBezTo>
                  <a:pt x="716" y="4151"/>
                  <a:pt x="763" y="4103"/>
                  <a:pt x="763" y="4056"/>
                </a:cubicBezTo>
                <a:cubicBezTo>
                  <a:pt x="763" y="3992"/>
                  <a:pt x="716" y="3944"/>
                  <a:pt x="652" y="3944"/>
                </a:cubicBezTo>
                <a:cubicBezTo>
                  <a:pt x="604" y="3944"/>
                  <a:pt x="556" y="3992"/>
                  <a:pt x="556" y="4056"/>
                </a:cubicBezTo>
                <a:cubicBezTo>
                  <a:pt x="556" y="4103"/>
                  <a:pt x="604" y="4151"/>
                  <a:pt x="652" y="4151"/>
                </a:cubicBezTo>
                <a:close/>
                <a:moveTo>
                  <a:pt x="1256" y="4151"/>
                </a:moveTo>
                <a:cubicBezTo>
                  <a:pt x="1304" y="4151"/>
                  <a:pt x="1352" y="4103"/>
                  <a:pt x="1352" y="4056"/>
                </a:cubicBezTo>
                <a:cubicBezTo>
                  <a:pt x="1352" y="3992"/>
                  <a:pt x="1304" y="3944"/>
                  <a:pt x="1256" y="3944"/>
                </a:cubicBezTo>
                <a:cubicBezTo>
                  <a:pt x="1193" y="3944"/>
                  <a:pt x="1161" y="3992"/>
                  <a:pt x="1161" y="4056"/>
                </a:cubicBezTo>
                <a:cubicBezTo>
                  <a:pt x="1161" y="4103"/>
                  <a:pt x="1193" y="4151"/>
                  <a:pt x="1256" y="415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5" name="Freeform: Shape 16">
            <a:extLst>
              <a:ext uri="{FF2B5EF4-FFF2-40B4-BE49-F238E27FC236}">
                <a16:creationId xmlns:a16="http://schemas.microsoft.com/office/drawing/2014/main" id="{10F00978-DB99-0944-95A9-6D72ECB29D4A}"/>
              </a:ext>
            </a:extLst>
          </p:cNvPr>
          <p:cNvSpPr/>
          <p:nvPr/>
        </p:nvSpPr>
        <p:spPr>
          <a:xfrm>
            <a:off x="17166321" y="3352717"/>
            <a:ext cx="1641240" cy="1373759"/>
          </a:xfrm>
          <a:custGeom>
            <a:avLst/>
            <a:gdLst/>
            <a:ahLst/>
            <a:cxnLst>
              <a:cxn ang="3cd4">
                <a:pos x="hc" y="t"/>
              </a:cxn>
              <a:cxn ang="cd2">
                <a:pos x="l" y="vc"/>
              </a:cxn>
              <a:cxn ang="cd4">
                <a:pos x="hc" y="b"/>
              </a:cxn>
              <a:cxn ang="0">
                <a:pos x="r" y="vc"/>
              </a:cxn>
            </a:cxnLst>
            <a:rect l="l" t="t" r="r" b="b"/>
            <a:pathLst>
              <a:path w="4560" h="3817">
                <a:moveTo>
                  <a:pt x="4507" y="3690"/>
                </a:moveTo>
                <a:cubicBezTo>
                  <a:pt x="4571" y="3626"/>
                  <a:pt x="4571" y="3531"/>
                  <a:pt x="4539" y="3436"/>
                </a:cubicBezTo>
                <a:lnTo>
                  <a:pt x="4332" y="2847"/>
                </a:lnTo>
                <a:cubicBezTo>
                  <a:pt x="4300" y="2736"/>
                  <a:pt x="4205" y="2640"/>
                  <a:pt x="4109" y="2593"/>
                </a:cubicBezTo>
                <a:cubicBezTo>
                  <a:pt x="4173" y="2529"/>
                  <a:pt x="4221" y="2433"/>
                  <a:pt x="4221" y="2322"/>
                </a:cubicBezTo>
                <a:lnTo>
                  <a:pt x="4221" y="382"/>
                </a:lnTo>
                <a:cubicBezTo>
                  <a:pt x="4221" y="175"/>
                  <a:pt x="4062" y="0"/>
                  <a:pt x="3855" y="0"/>
                </a:cubicBezTo>
                <a:lnTo>
                  <a:pt x="626" y="0"/>
                </a:lnTo>
                <a:cubicBezTo>
                  <a:pt x="419" y="0"/>
                  <a:pt x="261" y="175"/>
                  <a:pt x="261" y="382"/>
                </a:cubicBezTo>
                <a:lnTo>
                  <a:pt x="261" y="2322"/>
                </a:lnTo>
                <a:cubicBezTo>
                  <a:pt x="261" y="2449"/>
                  <a:pt x="308" y="2561"/>
                  <a:pt x="404" y="2624"/>
                </a:cubicBezTo>
                <a:cubicBezTo>
                  <a:pt x="324" y="2672"/>
                  <a:pt x="261" y="2752"/>
                  <a:pt x="228" y="2847"/>
                </a:cubicBezTo>
                <a:lnTo>
                  <a:pt x="22" y="3436"/>
                </a:lnTo>
                <a:cubicBezTo>
                  <a:pt x="-10" y="3531"/>
                  <a:pt x="-10" y="3626"/>
                  <a:pt x="38" y="3690"/>
                </a:cubicBezTo>
                <a:cubicBezTo>
                  <a:pt x="101" y="3770"/>
                  <a:pt x="181" y="3817"/>
                  <a:pt x="292" y="3817"/>
                </a:cubicBezTo>
                <a:lnTo>
                  <a:pt x="4269" y="3817"/>
                </a:lnTo>
                <a:cubicBezTo>
                  <a:pt x="4380" y="3817"/>
                  <a:pt x="4460" y="3770"/>
                  <a:pt x="4507" y="3690"/>
                </a:cubicBezTo>
                <a:close/>
                <a:moveTo>
                  <a:pt x="419" y="382"/>
                </a:moveTo>
                <a:cubicBezTo>
                  <a:pt x="419" y="254"/>
                  <a:pt x="515" y="159"/>
                  <a:pt x="626" y="159"/>
                </a:cubicBezTo>
                <a:lnTo>
                  <a:pt x="3855" y="159"/>
                </a:lnTo>
                <a:cubicBezTo>
                  <a:pt x="3966" y="159"/>
                  <a:pt x="4062" y="254"/>
                  <a:pt x="4062" y="382"/>
                </a:cubicBezTo>
                <a:lnTo>
                  <a:pt x="4062" y="2147"/>
                </a:lnTo>
                <a:lnTo>
                  <a:pt x="419" y="2147"/>
                </a:lnTo>
                <a:close/>
                <a:moveTo>
                  <a:pt x="419" y="2306"/>
                </a:moveTo>
                <a:lnTo>
                  <a:pt x="4062" y="2306"/>
                </a:lnTo>
                <a:lnTo>
                  <a:pt x="4062" y="2322"/>
                </a:lnTo>
                <a:cubicBezTo>
                  <a:pt x="4062" y="2433"/>
                  <a:pt x="3966" y="2545"/>
                  <a:pt x="3855" y="2545"/>
                </a:cubicBezTo>
                <a:lnTo>
                  <a:pt x="690" y="2545"/>
                </a:lnTo>
                <a:lnTo>
                  <a:pt x="626" y="2545"/>
                </a:lnTo>
                <a:cubicBezTo>
                  <a:pt x="515" y="2545"/>
                  <a:pt x="419" y="2433"/>
                  <a:pt x="419" y="2322"/>
                </a:cubicBezTo>
                <a:close/>
                <a:moveTo>
                  <a:pt x="165" y="3611"/>
                </a:moveTo>
                <a:cubicBezTo>
                  <a:pt x="149" y="3579"/>
                  <a:pt x="149" y="3531"/>
                  <a:pt x="165" y="3499"/>
                </a:cubicBezTo>
                <a:lnTo>
                  <a:pt x="371" y="2895"/>
                </a:lnTo>
                <a:cubicBezTo>
                  <a:pt x="404" y="2784"/>
                  <a:pt x="547" y="2704"/>
                  <a:pt x="690" y="2704"/>
                </a:cubicBezTo>
                <a:lnTo>
                  <a:pt x="3855" y="2704"/>
                </a:lnTo>
                <a:lnTo>
                  <a:pt x="3871" y="2704"/>
                </a:lnTo>
                <a:cubicBezTo>
                  <a:pt x="4014" y="2704"/>
                  <a:pt x="4142" y="2784"/>
                  <a:pt x="4189" y="2895"/>
                </a:cubicBezTo>
                <a:lnTo>
                  <a:pt x="4396" y="3499"/>
                </a:lnTo>
                <a:cubicBezTo>
                  <a:pt x="4396" y="3531"/>
                  <a:pt x="4412" y="3579"/>
                  <a:pt x="4380" y="3611"/>
                </a:cubicBezTo>
                <a:cubicBezTo>
                  <a:pt x="4364" y="3626"/>
                  <a:pt x="4316" y="3658"/>
                  <a:pt x="4269" y="3658"/>
                </a:cubicBezTo>
                <a:lnTo>
                  <a:pt x="292" y="3658"/>
                </a:lnTo>
                <a:cubicBezTo>
                  <a:pt x="228" y="3658"/>
                  <a:pt x="197" y="3626"/>
                  <a:pt x="165" y="3611"/>
                </a:cubicBezTo>
                <a:close/>
                <a:moveTo>
                  <a:pt x="897" y="3022"/>
                </a:moveTo>
                <a:lnTo>
                  <a:pt x="1056" y="3022"/>
                </a:lnTo>
                <a:cubicBezTo>
                  <a:pt x="1088" y="3022"/>
                  <a:pt x="1135" y="2974"/>
                  <a:pt x="1135" y="2942"/>
                </a:cubicBezTo>
                <a:cubicBezTo>
                  <a:pt x="1135" y="2895"/>
                  <a:pt x="1088" y="2863"/>
                  <a:pt x="1056" y="2863"/>
                </a:cubicBezTo>
                <a:lnTo>
                  <a:pt x="897" y="2863"/>
                </a:lnTo>
                <a:cubicBezTo>
                  <a:pt x="849" y="2863"/>
                  <a:pt x="817" y="2895"/>
                  <a:pt x="817" y="2942"/>
                </a:cubicBezTo>
                <a:cubicBezTo>
                  <a:pt x="817" y="2974"/>
                  <a:pt x="849" y="3022"/>
                  <a:pt x="897" y="3022"/>
                </a:cubicBezTo>
                <a:close/>
                <a:moveTo>
                  <a:pt x="1533" y="3022"/>
                </a:moveTo>
                <a:lnTo>
                  <a:pt x="3585" y="3022"/>
                </a:lnTo>
                <a:cubicBezTo>
                  <a:pt x="3633" y="3022"/>
                  <a:pt x="3664" y="2974"/>
                  <a:pt x="3664" y="2942"/>
                </a:cubicBezTo>
                <a:cubicBezTo>
                  <a:pt x="3664" y="2895"/>
                  <a:pt x="3633" y="2863"/>
                  <a:pt x="3585" y="2863"/>
                </a:cubicBezTo>
                <a:lnTo>
                  <a:pt x="1533" y="2863"/>
                </a:lnTo>
                <a:cubicBezTo>
                  <a:pt x="1485" y="2863"/>
                  <a:pt x="1453" y="2895"/>
                  <a:pt x="1453" y="2942"/>
                </a:cubicBezTo>
                <a:cubicBezTo>
                  <a:pt x="1453" y="2974"/>
                  <a:pt x="1485" y="3022"/>
                  <a:pt x="1533" y="3022"/>
                </a:cubicBezTo>
                <a:close/>
                <a:moveTo>
                  <a:pt x="3903" y="3181"/>
                </a:moveTo>
                <a:lnTo>
                  <a:pt x="737" y="3181"/>
                </a:lnTo>
                <a:cubicBezTo>
                  <a:pt x="690" y="3181"/>
                  <a:pt x="658" y="3213"/>
                  <a:pt x="658" y="3261"/>
                </a:cubicBezTo>
                <a:cubicBezTo>
                  <a:pt x="658" y="3293"/>
                  <a:pt x="690" y="3340"/>
                  <a:pt x="737" y="3340"/>
                </a:cubicBezTo>
                <a:lnTo>
                  <a:pt x="3903" y="3340"/>
                </a:lnTo>
                <a:cubicBezTo>
                  <a:pt x="3951" y="3340"/>
                  <a:pt x="3982" y="3293"/>
                  <a:pt x="3982" y="3261"/>
                </a:cubicBezTo>
                <a:cubicBezTo>
                  <a:pt x="3982" y="3213"/>
                  <a:pt x="3951" y="3181"/>
                  <a:pt x="3903" y="318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6" name="Freeform: Shape 17">
            <a:extLst>
              <a:ext uri="{FF2B5EF4-FFF2-40B4-BE49-F238E27FC236}">
                <a16:creationId xmlns:a16="http://schemas.microsoft.com/office/drawing/2014/main" id="{ACFF34E8-6086-A94B-BB67-BFF266373EB0}"/>
              </a:ext>
            </a:extLst>
          </p:cNvPr>
          <p:cNvSpPr/>
          <p:nvPr/>
        </p:nvSpPr>
        <p:spPr>
          <a:xfrm>
            <a:off x="13530838" y="3324277"/>
            <a:ext cx="1717200" cy="1430999"/>
          </a:xfrm>
          <a:custGeom>
            <a:avLst/>
            <a:gdLst/>
            <a:ahLst/>
            <a:cxnLst>
              <a:cxn ang="3cd4">
                <a:pos x="hc" y="t"/>
              </a:cxn>
              <a:cxn ang="cd2">
                <a:pos x="l" y="vc"/>
              </a:cxn>
              <a:cxn ang="cd4">
                <a:pos x="hc" y="b"/>
              </a:cxn>
              <a:cxn ang="0">
                <a:pos x="r" y="vc"/>
              </a:cxn>
            </a:cxnLst>
            <a:rect l="l" t="t" r="r" b="b"/>
            <a:pathLst>
              <a:path w="4771" h="3976">
                <a:moveTo>
                  <a:pt x="3896" y="476"/>
                </a:moveTo>
                <a:lnTo>
                  <a:pt x="875" y="476"/>
                </a:lnTo>
                <a:cubicBezTo>
                  <a:pt x="842" y="476"/>
                  <a:pt x="795" y="509"/>
                  <a:pt x="795" y="556"/>
                </a:cubicBezTo>
                <a:lnTo>
                  <a:pt x="795" y="2306"/>
                </a:lnTo>
                <a:cubicBezTo>
                  <a:pt x="795" y="2337"/>
                  <a:pt x="842" y="2385"/>
                  <a:pt x="875" y="2385"/>
                </a:cubicBezTo>
                <a:lnTo>
                  <a:pt x="3896" y="2385"/>
                </a:lnTo>
                <a:cubicBezTo>
                  <a:pt x="3944" y="2385"/>
                  <a:pt x="3976" y="2337"/>
                  <a:pt x="3976" y="2306"/>
                </a:cubicBezTo>
                <a:lnTo>
                  <a:pt x="3976" y="556"/>
                </a:lnTo>
                <a:cubicBezTo>
                  <a:pt x="3976" y="509"/>
                  <a:pt x="3944" y="476"/>
                  <a:pt x="3896" y="476"/>
                </a:cubicBezTo>
                <a:close/>
                <a:moveTo>
                  <a:pt x="3817" y="2226"/>
                </a:moveTo>
                <a:lnTo>
                  <a:pt x="954" y="2226"/>
                </a:lnTo>
                <a:lnTo>
                  <a:pt x="954" y="636"/>
                </a:lnTo>
                <a:lnTo>
                  <a:pt x="3817" y="636"/>
                </a:lnTo>
                <a:close/>
                <a:moveTo>
                  <a:pt x="15" y="3546"/>
                </a:moveTo>
                <a:lnTo>
                  <a:pt x="0" y="3562"/>
                </a:lnTo>
                <a:lnTo>
                  <a:pt x="0" y="3578"/>
                </a:lnTo>
                <a:lnTo>
                  <a:pt x="0" y="3626"/>
                </a:lnTo>
                <a:cubicBezTo>
                  <a:pt x="0" y="3833"/>
                  <a:pt x="143" y="3976"/>
                  <a:pt x="366" y="3976"/>
                </a:cubicBezTo>
                <a:lnTo>
                  <a:pt x="4326" y="3976"/>
                </a:lnTo>
                <a:cubicBezTo>
                  <a:pt x="4549" y="3976"/>
                  <a:pt x="4771" y="3833"/>
                  <a:pt x="4771" y="3626"/>
                </a:cubicBezTo>
                <a:lnTo>
                  <a:pt x="4771" y="3578"/>
                </a:lnTo>
                <a:lnTo>
                  <a:pt x="4771" y="3562"/>
                </a:lnTo>
                <a:lnTo>
                  <a:pt x="4771" y="3546"/>
                </a:lnTo>
                <a:lnTo>
                  <a:pt x="4453" y="2767"/>
                </a:lnTo>
                <a:lnTo>
                  <a:pt x="4453" y="461"/>
                </a:lnTo>
                <a:cubicBezTo>
                  <a:pt x="4453" y="270"/>
                  <a:pt x="4310" y="0"/>
                  <a:pt x="4087" y="0"/>
                </a:cubicBezTo>
                <a:lnTo>
                  <a:pt x="763" y="0"/>
                </a:lnTo>
                <a:cubicBezTo>
                  <a:pt x="556" y="0"/>
                  <a:pt x="318" y="238"/>
                  <a:pt x="318" y="461"/>
                </a:cubicBezTo>
                <a:lnTo>
                  <a:pt x="318" y="2767"/>
                </a:lnTo>
                <a:close/>
                <a:moveTo>
                  <a:pt x="477" y="461"/>
                </a:moveTo>
                <a:cubicBezTo>
                  <a:pt x="477" y="333"/>
                  <a:pt x="636" y="158"/>
                  <a:pt x="763" y="158"/>
                </a:cubicBezTo>
                <a:lnTo>
                  <a:pt x="4087" y="158"/>
                </a:lnTo>
                <a:cubicBezTo>
                  <a:pt x="4199" y="158"/>
                  <a:pt x="4294" y="318"/>
                  <a:pt x="4294" y="461"/>
                </a:cubicBezTo>
                <a:lnTo>
                  <a:pt x="4294" y="2703"/>
                </a:lnTo>
                <a:lnTo>
                  <a:pt x="477" y="2703"/>
                </a:lnTo>
                <a:close/>
                <a:moveTo>
                  <a:pt x="461" y="2863"/>
                </a:moveTo>
                <a:lnTo>
                  <a:pt x="4326" y="2863"/>
                </a:lnTo>
                <a:lnTo>
                  <a:pt x="4580" y="3499"/>
                </a:lnTo>
                <a:lnTo>
                  <a:pt x="206" y="3499"/>
                </a:lnTo>
                <a:close/>
                <a:moveTo>
                  <a:pt x="4613" y="3658"/>
                </a:moveTo>
                <a:cubicBezTo>
                  <a:pt x="4596" y="3737"/>
                  <a:pt x="4453" y="3817"/>
                  <a:pt x="4326" y="3817"/>
                </a:cubicBezTo>
                <a:lnTo>
                  <a:pt x="366" y="3817"/>
                </a:lnTo>
                <a:cubicBezTo>
                  <a:pt x="302" y="3817"/>
                  <a:pt x="175" y="3801"/>
                  <a:pt x="159" y="365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7" name="TextBox 96">
            <a:extLst>
              <a:ext uri="{FF2B5EF4-FFF2-40B4-BE49-F238E27FC236}">
                <a16:creationId xmlns:a16="http://schemas.microsoft.com/office/drawing/2014/main" id="{B86EC243-EDF6-B849-92A5-E0138CCC1CD5}"/>
              </a:ext>
            </a:extLst>
          </p:cNvPr>
          <p:cNvSpPr txBox="1"/>
          <p:nvPr/>
        </p:nvSpPr>
        <p:spPr>
          <a:xfrm>
            <a:off x="780351" y="11657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ocket</a:t>
            </a:r>
          </a:p>
        </p:txBody>
      </p:sp>
      <p:sp>
        <p:nvSpPr>
          <p:cNvPr id="98" name="TextBox 97">
            <a:extLst>
              <a:ext uri="{FF2B5EF4-FFF2-40B4-BE49-F238E27FC236}">
                <a16:creationId xmlns:a16="http://schemas.microsoft.com/office/drawing/2014/main" id="{0D281F28-838B-994C-8B62-8109DD66DA07}"/>
              </a:ext>
            </a:extLst>
          </p:cNvPr>
          <p:cNvSpPr txBox="1"/>
          <p:nvPr/>
        </p:nvSpPr>
        <p:spPr>
          <a:xfrm>
            <a:off x="4970832" y="11657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ttery</a:t>
            </a:r>
          </a:p>
        </p:txBody>
      </p:sp>
      <p:sp>
        <p:nvSpPr>
          <p:cNvPr id="99" name="TextBox 98">
            <a:extLst>
              <a:ext uri="{FF2B5EF4-FFF2-40B4-BE49-F238E27FC236}">
                <a16:creationId xmlns:a16="http://schemas.microsoft.com/office/drawing/2014/main" id="{C6B57748-4824-1443-9FF4-2E777AFC7D8F}"/>
              </a:ext>
            </a:extLst>
          </p:cNvPr>
          <p:cNvSpPr txBox="1"/>
          <p:nvPr/>
        </p:nvSpPr>
        <p:spPr>
          <a:xfrm>
            <a:off x="13530838" y="11657929"/>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ttery 2</a:t>
            </a:r>
          </a:p>
        </p:txBody>
      </p:sp>
      <p:sp>
        <p:nvSpPr>
          <p:cNvPr id="100" name="TextBox 99">
            <a:extLst>
              <a:ext uri="{FF2B5EF4-FFF2-40B4-BE49-F238E27FC236}">
                <a16:creationId xmlns:a16="http://schemas.microsoft.com/office/drawing/2014/main" id="{01897134-827D-8440-998F-5866B1C05B4D}"/>
              </a:ext>
            </a:extLst>
          </p:cNvPr>
          <p:cNvSpPr txBox="1"/>
          <p:nvPr/>
        </p:nvSpPr>
        <p:spPr>
          <a:xfrm>
            <a:off x="1112639" y="5211131"/>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lug</a:t>
            </a:r>
          </a:p>
        </p:txBody>
      </p:sp>
      <p:sp>
        <p:nvSpPr>
          <p:cNvPr id="101" name="Freeform: Shape 26">
            <a:extLst>
              <a:ext uri="{FF2B5EF4-FFF2-40B4-BE49-F238E27FC236}">
                <a16:creationId xmlns:a16="http://schemas.microsoft.com/office/drawing/2014/main" id="{78908012-8D9F-3C45-859D-51CAA3720229}"/>
              </a:ext>
            </a:extLst>
          </p:cNvPr>
          <p:cNvSpPr/>
          <p:nvPr/>
        </p:nvSpPr>
        <p:spPr>
          <a:xfrm>
            <a:off x="2562682" y="10514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2" name="TextBox 101">
            <a:extLst>
              <a:ext uri="{FF2B5EF4-FFF2-40B4-BE49-F238E27FC236}">
                <a16:creationId xmlns:a16="http://schemas.microsoft.com/office/drawing/2014/main" id="{8209EB34-A4DA-AC47-81F9-D22D26E65557}"/>
              </a:ext>
            </a:extLst>
          </p:cNvPr>
          <p:cNvSpPr txBox="1"/>
          <p:nvPr/>
        </p:nvSpPr>
        <p:spPr>
          <a:xfrm>
            <a:off x="9079152" y="11657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ttery 1</a:t>
            </a:r>
          </a:p>
        </p:txBody>
      </p:sp>
      <p:sp>
        <p:nvSpPr>
          <p:cNvPr id="103" name="Freeform: Shape 2">
            <a:extLst>
              <a:ext uri="{FF2B5EF4-FFF2-40B4-BE49-F238E27FC236}">
                <a16:creationId xmlns:a16="http://schemas.microsoft.com/office/drawing/2014/main" id="{9D5221AA-5C28-6C43-A6D2-0180615BCC46}"/>
              </a:ext>
            </a:extLst>
          </p:cNvPr>
          <p:cNvSpPr/>
          <p:nvPr/>
        </p:nvSpPr>
        <p:spPr>
          <a:xfrm>
            <a:off x="6112338" y="3283863"/>
            <a:ext cx="1270800" cy="1585800"/>
          </a:xfrm>
          <a:custGeom>
            <a:avLst/>
            <a:gdLst/>
            <a:ahLst/>
            <a:cxnLst>
              <a:cxn ang="3cd4">
                <a:pos x="hc" y="t"/>
              </a:cxn>
              <a:cxn ang="cd2">
                <a:pos x="l" y="vc"/>
              </a:cxn>
              <a:cxn ang="cd4">
                <a:pos x="hc" y="b"/>
              </a:cxn>
              <a:cxn ang="0">
                <a:pos x="r" y="vc"/>
              </a:cxn>
            </a:cxnLst>
            <a:rect l="l" t="t" r="r" b="b"/>
            <a:pathLst>
              <a:path w="3531" h="4406">
                <a:moveTo>
                  <a:pt x="1161" y="4247"/>
                </a:moveTo>
                <a:cubicBezTo>
                  <a:pt x="1161" y="4326"/>
                  <a:pt x="1241" y="4406"/>
                  <a:pt x="1336" y="4406"/>
                </a:cubicBezTo>
                <a:lnTo>
                  <a:pt x="3356" y="4406"/>
                </a:lnTo>
                <a:cubicBezTo>
                  <a:pt x="3451" y="4406"/>
                  <a:pt x="3531" y="4326"/>
                  <a:pt x="3531" y="4247"/>
                </a:cubicBezTo>
                <a:lnTo>
                  <a:pt x="3531" y="1336"/>
                </a:lnTo>
                <a:cubicBezTo>
                  <a:pt x="3531" y="1241"/>
                  <a:pt x="3451" y="1177"/>
                  <a:pt x="3356" y="1177"/>
                </a:cubicBezTo>
                <a:lnTo>
                  <a:pt x="2354" y="1177"/>
                </a:lnTo>
                <a:lnTo>
                  <a:pt x="2354" y="159"/>
                </a:lnTo>
                <a:cubicBezTo>
                  <a:pt x="2354" y="80"/>
                  <a:pt x="2275" y="0"/>
                  <a:pt x="2179" y="0"/>
                </a:cubicBezTo>
                <a:lnTo>
                  <a:pt x="159" y="0"/>
                </a:lnTo>
                <a:cubicBezTo>
                  <a:pt x="63" y="0"/>
                  <a:pt x="0" y="80"/>
                  <a:pt x="0" y="159"/>
                </a:cubicBezTo>
                <a:lnTo>
                  <a:pt x="0" y="3070"/>
                </a:lnTo>
                <a:cubicBezTo>
                  <a:pt x="0" y="3165"/>
                  <a:pt x="63" y="3229"/>
                  <a:pt x="159" y="3229"/>
                </a:cubicBezTo>
                <a:lnTo>
                  <a:pt x="1161" y="3229"/>
                </a:lnTo>
                <a:close/>
                <a:moveTo>
                  <a:pt x="3372" y="4247"/>
                </a:moveTo>
                <a:lnTo>
                  <a:pt x="3356" y="4247"/>
                </a:lnTo>
                <a:lnTo>
                  <a:pt x="1320" y="4247"/>
                </a:lnTo>
                <a:lnTo>
                  <a:pt x="1320" y="3817"/>
                </a:lnTo>
                <a:lnTo>
                  <a:pt x="3372" y="3817"/>
                </a:lnTo>
                <a:close/>
                <a:moveTo>
                  <a:pt x="3372" y="1336"/>
                </a:moveTo>
                <a:lnTo>
                  <a:pt x="3372" y="3659"/>
                </a:lnTo>
                <a:lnTo>
                  <a:pt x="1320" y="3659"/>
                </a:lnTo>
                <a:lnTo>
                  <a:pt x="1336" y="1336"/>
                </a:lnTo>
                <a:close/>
                <a:moveTo>
                  <a:pt x="159" y="159"/>
                </a:moveTo>
                <a:lnTo>
                  <a:pt x="2195" y="159"/>
                </a:lnTo>
                <a:lnTo>
                  <a:pt x="2195" y="1177"/>
                </a:lnTo>
                <a:lnTo>
                  <a:pt x="1336" y="1177"/>
                </a:lnTo>
                <a:cubicBezTo>
                  <a:pt x="1241" y="1177"/>
                  <a:pt x="1161" y="1241"/>
                  <a:pt x="1161" y="1336"/>
                </a:cubicBezTo>
                <a:lnTo>
                  <a:pt x="1161" y="2641"/>
                </a:lnTo>
                <a:lnTo>
                  <a:pt x="159" y="2641"/>
                </a:lnTo>
                <a:close/>
                <a:moveTo>
                  <a:pt x="159" y="3070"/>
                </a:moveTo>
                <a:lnTo>
                  <a:pt x="159" y="2799"/>
                </a:lnTo>
                <a:lnTo>
                  <a:pt x="1161" y="2799"/>
                </a:lnTo>
                <a:lnTo>
                  <a:pt x="1161" y="3070"/>
                </a:lnTo>
                <a:close/>
                <a:moveTo>
                  <a:pt x="1543" y="2211"/>
                </a:moveTo>
                <a:lnTo>
                  <a:pt x="2131" y="2211"/>
                </a:lnTo>
                <a:cubicBezTo>
                  <a:pt x="2163" y="2211"/>
                  <a:pt x="2211" y="2180"/>
                  <a:pt x="2211" y="2132"/>
                </a:cubicBezTo>
                <a:lnTo>
                  <a:pt x="2211" y="1543"/>
                </a:lnTo>
                <a:cubicBezTo>
                  <a:pt x="2211" y="1495"/>
                  <a:pt x="2163" y="1463"/>
                  <a:pt x="2131" y="1463"/>
                </a:cubicBezTo>
                <a:lnTo>
                  <a:pt x="1543" y="1463"/>
                </a:lnTo>
                <a:cubicBezTo>
                  <a:pt x="1495" y="1463"/>
                  <a:pt x="1463" y="1495"/>
                  <a:pt x="1463" y="1543"/>
                </a:cubicBezTo>
                <a:lnTo>
                  <a:pt x="1463" y="2132"/>
                </a:lnTo>
                <a:cubicBezTo>
                  <a:pt x="1463" y="2180"/>
                  <a:pt x="1495" y="2211"/>
                  <a:pt x="1543" y="2211"/>
                </a:cubicBezTo>
                <a:close/>
                <a:moveTo>
                  <a:pt x="1622" y="1623"/>
                </a:moveTo>
                <a:lnTo>
                  <a:pt x="2052" y="1623"/>
                </a:lnTo>
                <a:lnTo>
                  <a:pt x="2052" y="2052"/>
                </a:lnTo>
                <a:lnTo>
                  <a:pt x="1622" y="2052"/>
                </a:lnTo>
                <a:close/>
                <a:moveTo>
                  <a:pt x="954" y="287"/>
                </a:moveTo>
                <a:lnTo>
                  <a:pt x="366" y="287"/>
                </a:lnTo>
                <a:cubicBezTo>
                  <a:pt x="318" y="287"/>
                  <a:pt x="286" y="318"/>
                  <a:pt x="286" y="366"/>
                </a:cubicBezTo>
                <a:lnTo>
                  <a:pt x="286" y="954"/>
                </a:lnTo>
                <a:cubicBezTo>
                  <a:pt x="286" y="1002"/>
                  <a:pt x="318" y="1034"/>
                  <a:pt x="366" y="1034"/>
                </a:cubicBezTo>
                <a:lnTo>
                  <a:pt x="954" y="1034"/>
                </a:lnTo>
                <a:cubicBezTo>
                  <a:pt x="1002" y="1034"/>
                  <a:pt x="1034" y="1002"/>
                  <a:pt x="1034" y="954"/>
                </a:cubicBezTo>
                <a:lnTo>
                  <a:pt x="1034" y="366"/>
                </a:lnTo>
                <a:cubicBezTo>
                  <a:pt x="1034" y="318"/>
                  <a:pt x="1002" y="287"/>
                  <a:pt x="954" y="287"/>
                </a:cubicBezTo>
                <a:close/>
                <a:moveTo>
                  <a:pt x="875" y="875"/>
                </a:moveTo>
                <a:lnTo>
                  <a:pt x="445" y="875"/>
                </a:lnTo>
                <a:lnTo>
                  <a:pt x="445" y="445"/>
                </a:lnTo>
                <a:lnTo>
                  <a:pt x="875" y="445"/>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4" name="Freeform: Shape 7">
            <a:extLst>
              <a:ext uri="{FF2B5EF4-FFF2-40B4-BE49-F238E27FC236}">
                <a16:creationId xmlns:a16="http://schemas.microsoft.com/office/drawing/2014/main" id="{99B523DB-34A2-D04F-878B-48F170D1788B}"/>
              </a:ext>
            </a:extLst>
          </p:cNvPr>
          <p:cNvSpPr/>
          <p:nvPr/>
        </p:nvSpPr>
        <p:spPr>
          <a:xfrm>
            <a:off x="13877596" y="9960745"/>
            <a:ext cx="1603080" cy="795600"/>
          </a:xfrm>
          <a:custGeom>
            <a:avLst/>
            <a:gdLst/>
            <a:ahLst/>
            <a:cxnLst>
              <a:cxn ang="3cd4">
                <a:pos x="hc" y="t"/>
              </a:cxn>
              <a:cxn ang="cd2">
                <a:pos x="l" y="vc"/>
              </a:cxn>
              <a:cxn ang="cd4">
                <a:pos x="hc" y="b"/>
              </a:cxn>
              <a:cxn ang="0">
                <a:pos x="r" y="vc"/>
              </a:cxn>
            </a:cxnLst>
            <a:rect l="l" t="t" r="r" b="b"/>
            <a:pathLst>
              <a:path w="4454" h="2211">
                <a:moveTo>
                  <a:pt x="0" y="1813"/>
                </a:moveTo>
                <a:cubicBezTo>
                  <a:pt x="0" y="2036"/>
                  <a:pt x="175" y="2211"/>
                  <a:pt x="398" y="2211"/>
                </a:cubicBezTo>
                <a:lnTo>
                  <a:pt x="3579" y="2211"/>
                </a:lnTo>
                <a:cubicBezTo>
                  <a:pt x="3802" y="2211"/>
                  <a:pt x="3976" y="2036"/>
                  <a:pt x="3976" y="1813"/>
                </a:cubicBezTo>
                <a:lnTo>
                  <a:pt x="3976" y="1575"/>
                </a:lnTo>
                <a:lnTo>
                  <a:pt x="4375" y="1575"/>
                </a:lnTo>
                <a:cubicBezTo>
                  <a:pt x="4406" y="1575"/>
                  <a:pt x="4454" y="1542"/>
                  <a:pt x="4454" y="1495"/>
                </a:cubicBezTo>
                <a:lnTo>
                  <a:pt x="4454" y="715"/>
                </a:lnTo>
                <a:cubicBezTo>
                  <a:pt x="4454" y="668"/>
                  <a:pt x="4406" y="636"/>
                  <a:pt x="4375" y="636"/>
                </a:cubicBezTo>
                <a:lnTo>
                  <a:pt x="3976" y="636"/>
                </a:lnTo>
                <a:lnTo>
                  <a:pt x="3976" y="381"/>
                </a:lnTo>
                <a:cubicBezTo>
                  <a:pt x="3976" y="175"/>
                  <a:pt x="3802" y="0"/>
                  <a:pt x="3579" y="0"/>
                </a:cubicBezTo>
                <a:lnTo>
                  <a:pt x="398" y="0"/>
                </a:lnTo>
                <a:cubicBezTo>
                  <a:pt x="175" y="0"/>
                  <a:pt x="0" y="175"/>
                  <a:pt x="0" y="381"/>
                </a:cubicBezTo>
                <a:close/>
                <a:moveTo>
                  <a:pt x="3976" y="795"/>
                </a:moveTo>
                <a:lnTo>
                  <a:pt x="4295" y="795"/>
                </a:lnTo>
                <a:lnTo>
                  <a:pt x="4295" y="1415"/>
                </a:lnTo>
                <a:lnTo>
                  <a:pt x="3976" y="1415"/>
                </a:lnTo>
                <a:close/>
                <a:moveTo>
                  <a:pt x="159" y="381"/>
                </a:moveTo>
                <a:cubicBezTo>
                  <a:pt x="159" y="254"/>
                  <a:pt x="271" y="159"/>
                  <a:pt x="398" y="159"/>
                </a:cubicBezTo>
                <a:lnTo>
                  <a:pt x="3579" y="159"/>
                </a:lnTo>
                <a:cubicBezTo>
                  <a:pt x="3706" y="159"/>
                  <a:pt x="3818" y="254"/>
                  <a:pt x="3818" y="381"/>
                </a:cubicBezTo>
                <a:lnTo>
                  <a:pt x="3818" y="715"/>
                </a:lnTo>
                <a:lnTo>
                  <a:pt x="3818" y="1495"/>
                </a:lnTo>
                <a:lnTo>
                  <a:pt x="3818" y="1813"/>
                </a:lnTo>
                <a:cubicBezTo>
                  <a:pt x="3818" y="1956"/>
                  <a:pt x="3706" y="2051"/>
                  <a:pt x="3579" y="2051"/>
                </a:cubicBezTo>
                <a:lnTo>
                  <a:pt x="398" y="2051"/>
                </a:lnTo>
                <a:cubicBezTo>
                  <a:pt x="271" y="2051"/>
                  <a:pt x="159" y="1956"/>
                  <a:pt x="159" y="1813"/>
                </a:cubicBezTo>
                <a:close/>
                <a:moveTo>
                  <a:pt x="557" y="1733"/>
                </a:moveTo>
                <a:lnTo>
                  <a:pt x="1034" y="1733"/>
                </a:lnTo>
                <a:cubicBezTo>
                  <a:pt x="1082" y="1733"/>
                  <a:pt x="1113" y="1702"/>
                  <a:pt x="1113" y="1654"/>
                </a:cubicBezTo>
                <a:lnTo>
                  <a:pt x="1113" y="557"/>
                </a:lnTo>
                <a:cubicBezTo>
                  <a:pt x="1113" y="509"/>
                  <a:pt x="1082" y="477"/>
                  <a:pt x="1034" y="477"/>
                </a:cubicBezTo>
                <a:lnTo>
                  <a:pt x="557" y="477"/>
                </a:lnTo>
                <a:cubicBezTo>
                  <a:pt x="509" y="477"/>
                  <a:pt x="477" y="509"/>
                  <a:pt x="477" y="557"/>
                </a:cubicBezTo>
                <a:lnTo>
                  <a:pt x="477" y="1654"/>
                </a:lnTo>
                <a:cubicBezTo>
                  <a:pt x="477" y="1702"/>
                  <a:pt x="509" y="1733"/>
                  <a:pt x="557" y="1733"/>
                </a:cubicBezTo>
                <a:close/>
                <a:moveTo>
                  <a:pt x="637" y="636"/>
                </a:moveTo>
                <a:lnTo>
                  <a:pt x="955" y="636"/>
                </a:lnTo>
                <a:lnTo>
                  <a:pt x="955" y="1575"/>
                </a:lnTo>
                <a:lnTo>
                  <a:pt x="637" y="1575"/>
                </a:lnTo>
                <a:close/>
                <a:moveTo>
                  <a:pt x="1352" y="1733"/>
                </a:moveTo>
                <a:lnTo>
                  <a:pt x="1830" y="1733"/>
                </a:lnTo>
                <a:cubicBezTo>
                  <a:pt x="1877" y="1733"/>
                  <a:pt x="1909" y="1702"/>
                  <a:pt x="1909" y="1654"/>
                </a:cubicBezTo>
                <a:lnTo>
                  <a:pt x="1909" y="557"/>
                </a:lnTo>
                <a:cubicBezTo>
                  <a:pt x="1909" y="509"/>
                  <a:pt x="1877" y="477"/>
                  <a:pt x="1830" y="477"/>
                </a:cubicBezTo>
                <a:lnTo>
                  <a:pt x="1352" y="477"/>
                </a:lnTo>
                <a:cubicBezTo>
                  <a:pt x="1304" y="477"/>
                  <a:pt x="1273" y="509"/>
                  <a:pt x="1273" y="557"/>
                </a:cubicBezTo>
                <a:lnTo>
                  <a:pt x="1273" y="1654"/>
                </a:lnTo>
                <a:cubicBezTo>
                  <a:pt x="1273" y="1702"/>
                  <a:pt x="1304" y="1733"/>
                  <a:pt x="1352" y="1733"/>
                </a:cubicBezTo>
                <a:close/>
                <a:moveTo>
                  <a:pt x="1432" y="636"/>
                </a:moveTo>
                <a:lnTo>
                  <a:pt x="1750" y="636"/>
                </a:lnTo>
                <a:lnTo>
                  <a:pt x="1750" y="1575"/>
                </a:lnTo>
                <a:lnTo>
                  <a:pt x="1432" y="1575"/>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5" name="Freeform: Shape 8">
            <a:extLst>
              <a:ext uri="{FF2B5EF4-FFF2-40B4-BE49-F238E27FC236}">
                <a16:creationId xmlns:a16="http://schemas.microsoft.com/office/drawing/2014/main" id="{E4AABC40-C009-C348-A051-9FC756B75CB8}"/>
              </a:ext>
            </a:extLst>
          </p:cNvPr>
          <p:cNvSpPr/>
          <p:nvPr/>
        </p:nvSpPr>
        <p:spPr>
          <a:xfrm>
            <a:off x="9924984" y="9960745"/>
            <a:ext cx="1603080" cy="795600"/>
          </a:xfrm>
          <a:custGeom>
            <a:avLst/>
            <a:gdLst/>
            <a:ahLst/>
            <a:cxnLst>
              <a:cxn ang="3cd4">
                <a:pos x="hc" y="t"/>
              </a:cxn>
              <a:cxn ang="cd2">
                <a:pos x="l" y="vc"/>
              </a:cxn>
              <a:cxn ang="cd4">
                <a:pos x="hc" y="b"/>
              </a:cxn>
              <a:cxn ang="0">
                <a:pos x="r" y="vc"/>
              </a:cxn>
            </a:cxnLst>
            <a:rect l="l" t="t" r="r" b="b"/>
            <a:pathLst>
              <a:path w="4454" h="2211">
                <a:moveTo>
                  <a:pt x="3579" y="0"/>
                </a:moveTo>
                <a:lnTo>
                  <a:pt x="398" y="0"/>
                </a:lnTo>
                <a:cubicBezTo>
                  <a:pt x="191" y="0"/>
                  <a:pt x="0" y="175"/>
                  <a:pt x="0" y="381"/>
                </a:cubicBezTo>
                <a:lnTo>
                  <a:pt x="0" y="1813"/>
                </a:lnTo>
                <a:cubicBezTo>
                  <a:pt x="0" y="2036"/>
                  <a:pt x="191" y="2211"/>
                  <a:pt x="398" y="2211"/>
                </a:cubicBezTo>
                <a:lnTo>
                  <a:pt x="3579" y="2211"/>
                </a:lnTo>
                <a:cubicBezTo>
                  <a:pt x="3802" y="2211"/>
                  <a:pt x="3977" y="2036"/>
                  <a:pt x="3977" y="1813"/>
                </a:cubicBezTo>
                <a:lnTo>
                  <a:pt x="3977" y="1575"/>
                </a:lnTo>
                <a:lnTo>
                  <a:pt x="4375" y="1575"/>
                </a:lnTo>
                <a:cubicBezTo>
                  <a:pt x="4422" y="1575"/>
                  <a:pt x="4454" y="1542"/>
                  <a:pt x="4454" y="1495"/>
                </a:cubicBezTo>
                <a:lnTo>
                  <a:pt x="4454" y="715"/>
                </a:lnTo>
                <a:cubicBezTo>
                  <a:pt x="4454" y="668"/>
                  <a:pt x="4422" y="636"/>
                  <a:pt x="4375" y="636"/>
                </a:cubicBezTo>
                <a:lnTo>
                  <a:pt x="3977" y="636"/>
                </a:lnTo>
                <a:lnTo>
                  <a:pt x="3977" y="381"/>
                </a:lnTo>
                <a:cubicBezTo>
                  <a:pt x="3977" y="175"/>
                  <a:pt x="3802" y="0"/>
                  <a:pt x="3579" y="0"/>
                </a:cubicBezTo>
                <a:close/>
                <a:moveTo>
                  <a:pt x="3818" y="715"/>
                </a:moveTo>
                <a:lnTo>
                  <a:pt x="3818" y="1495"/>
                </a:lnTo>
                <a:lnTo>
                  <a:pt x="3818" y="1813"/>
                </a:lnTo>
                <a:cubicBezTo>
                  <a:pt x="3818" y="1956"/>
                  <a:pt x="3706" y="2051"/>
                  <a:pt x="3579" y="2051"/>
                </a:cubicBezTo>
                <a:lnTo>
                  <a:pt x="398" y="2051"/>
                </a:lnTo>
                <a:cubicBezTo>
                  <a:pt x="271" y="2051"/>
                  <a:pt x="160" y="1956"/>
                  <a:pt x="160" y="1813"/>
                </a:cubicBezTo>
                <a:lnTo>
                  <a:pt x="160" y="381"/>
                </a:lnTo>
                <a:cubicBezTo>
                  <a:pt x="160" y="254"/>
                  <a:pt x="271" y="159"/>
                  <a:pt x="398" y="159"/>
                </a:cubicBezTo>
                <a:lnTo>
                  <a:pt x="3579" y="159"/>
                </a:lnTo>
                <a:cubicBezTo>
                  <a:pt x="3706" y="159"/>
                  <a:pt x="3818" y="254"/>
                  <a:pt x="3818" y="381"/>
                </a:cubicBezTo>
                <a:close/>
                <a:moveTo>
                  <a:pt x="4295" y="795"/>
                </a:moveTo>
                <a:lnTo>
                  <a:pt x="4295" y="1415"/>
                </a:lnTo>
                <a:lnTo>
                  <a:pt x="3977" y="1415"/>
                </a:lnTo>
                <a:lnTo>
                  <a:pt x="3977" y="795"/>
                </a:lnTo>
                <a:close/>
                <a:moveTo>
                  <a:pt x="1034" y="477"/>
                </a:moveTo>
                <a:lnTo>
                  <a:pt x="557" y="477"/>
                </a:lnTo>
                <a:cubicBezTo>
                  <a:pt x="525" y="477"/>
                  <a:pt x="478" y="509"/>
                  <a:pt x="478" y="557"/>
                </a:cubicBezTo>
                <a:lnTo>
                  <a:pt x="478" y="1654"/>
                </a:lnTo>
                <a:cubicBezTo>
                  <a:pt x="478" y="1702"/>
                  <a:pt x="525" y="1733"/>
                  <a:pt x="557" y="1733"/>
                </a:cubicBezTo>
                <a:lnTo>
                  <a:pt x="1034" y="1733"/>
                </a:lnTo>
                <a:cubicBezTo>
                  <a:pt x="1082" y="1733"/>
                  <a:pt x="1114" y="1702"/>
                  <a:pt x="1114" y="1654"/>
                </a:cubicBezTo>
                <a:lnTo>
                  <a:pt x="1114" y="557"/>
                </a:lnTo>
                <a:cubicBezTo>
                  <a:pt x="1114" y="509"/>
                  <a:pt x="1082" y="477"/>
                  <a:pt x="1034" y="477"/>
                </a:cubicBezTo>
                <a:close/>
                <a:moveTo>
                  <a:pt x="955" y="1575"/>
                </a:moveTo>
                <a:lnTo>
                  <a:pt x="637" y="1575"/>
                </a:lnTo>
                <a:lnTo>
                  <a:pt x="637" y="636"/>
                </a:lnTo>
                <a:lnTo>
                  <a:pt x="955" y="63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6" name="Freeform: Shape 9">
            <a:extLst>
              <a:ext uri="{FF2B5EF4-FFF2-40B4-BE49-F238E27FC236}">
                <a16:creationId xmlns:a16="http://schemas.microsoft.com/office/drawing/2014/main" id="{D1823DE2-1073-6247-BCBC-F27B84578197}"/>
              </a:ext>
            </a:extLst>
          </p:cNvPr>
          <p:cNvSpPr/>
          <p:nvPr/>
        </p:nvSpPr>
        <p:spPr>
          <a:xfrm>
            <a:off x="5879850" y="9960745"/>
            <a:ext cx="1596960" cy="795600"/>
          </a:xfrm>
          <a:custGeom>
            <a:avLst/>
            <a:gdLst/>
            <a:ahLst/>
            <a:cxnLst>
              <a:cxn ang="3cd4">
                <a:pos x="hc" y="t"/>
              </a:cxn>
              <a:cxn ang="cd2">
                <a:pos x="l" y="vc"/>
              </a:cxn>
              <a:cxn ang="cd4">
                <a:pos x="hc" y="b"/>
              </a:cxn>
              <a:cxn ang="0">
                <a:pos x="r" y="vc"/>
              </a:cxn>
            </a:cxnLst>
            <a:rect l="l" t="t" r="r" b="b"/>
            <a:pathLst>
              <a:path w="4437" h="2211">
                <a:moveTo>
                  <a:pt x="0" y="381"/>
                </a:moveTo>
                <a:cubicBezTo>
                  <a:pt x="0" y="1813"/>
                  <a:pt x="0" y="1813"/>
                  <a:pt x="0" y="1813"/>
                </a:cubicBezTo>
                <a:cubicBezTo>
                  <a:pt x="0" y="2036"/>
                  <a:pt x="174" y="2211"/>
                  <a:pt x="397" y="2211"/>
                </a:cubicBezTo>
                <a:cubicBezTo>
                  <a:pt x="3563" y="2211"/>
                  <a:pt x="3563" y="2211"/>
                  <a:pt x="3563" y="2211"/>
                </a:cubicBezTo>
                <a:cubicBezTo>
                  <a:pt x="3785" y="2211"/>
                  <a:pt x="3960" y="2036"/>
                  <a:pt x="3960" y="1813"/>
                </a:cubicBezTo>
                <a:cubicBezTo>
                  <a:pt x="3960" y="1575"/>
                  <a:pt x="3960" y="1575"/>
                  <a:pt x="3960" y="1575"/>
                </a:cubicBezTo>
                <a:cubicBezTo>
                  <a:pt x="4358" y="1575"/>
                  <a:pt x="4358" y="1575"/>
                  <a:pt x="4358" y="1575"/>
                </a:cubicBezTo>
                <a:cubicBezTo>
                  <a:pt x="4405" y="1575"/>
                  <a:pt x="4437" y="1542"/>
                  <a:pt x="4437" y="1495"/>
                </a:cubicBezTo>
                <a:cubicBezTo>
                  <a:pt x="4437" y="715"/>
                  <a:pt x="4437" y="715"/>
                  <a:pt x="4437" y="715"/>
                </a:cubicBezTo>
                <a:cubicBezTo>
                  <a:pt x="4437" y="668"/>
                  <a:pt x="4405" y="636"/>
                  <a:pt x="4358" y="636"/>
                </a:cubicBezTo>
                <a:cubicBezTo>
                  <a:pt x="3960" y="636"/>
                  <a:pt x="3960" y="636"/>
                  <a:pt x="3960" y="636"/>
                </a:cubicBezTo>
                <a:cubicBezTo>
                  <a:pt x="3960" y="381"/>
                  <a:pt x="3960" y="381"/>
                  <a:pt x="3960" y="381"/>
                </a:cubicBezTo>
                <a:cubicBezTo>
                  <a:pt x="3960" y="175"/>
                  <a:pt x="3785" y="0"/>
                  <a:pt x="3563" y="0"/>
                </a:cubicBezTo>
                <a:cubicBezTo>
                  <a:pt x="397" y="0"/>
                  <a:pt x="397" y="0"/>
                  <a:pt x="397" y="0"/>
                </a:cubicBezTo>
                <a:cubicBezTo>
                  <a:pt x="174" y="0"/>
                  <a:pt x="0" y="175"/>
                  <a:pt x="0" y="381"/>
                </a:cubicBezTo>
                <a:close/>
                <a:moveTo>
                  <a:pt x="3960" y="795"/>
                </a:moveTo>
                <a:cubicBezTo>
                  <a:pt x="4278" y="795"/>
                  <a:pt x="4278" y="795"/>
                  <a:pt x="4278" y="795"/>
                </a:cubicBezTo>
                <a:cubicBezTo>
                  <a:pt x="4278" y="1415"/>
                  <a:pt x="4278" y="1415"/>
                  <a:pt x="4278" y="1415"/>
                </a:cubicBezTo>
                <a:cubicBezTo>
                  <a:pt x="3960" y="1415"/>
                  <a:pt x="3960" y="1415"/>
                  <a:pt x="3960" y="1415"/>
                </a:cubicBezTo>
                <a:close/>
                <a:moveTo>
                  <a:pt x="159" y="381"/>
                </a:moveTo>
                <a:cubicBezTo>
                  <a:pt x="159" y="254"/>
                  <a:pt x="254" y="159"/>
                  <a:pt x="397" y="159"/>
                </a:cubicBezTo>
                <a:cubicBezTo>
                  <a:pt x="3563" y="159"/>
                  <a:pt x="3563" y="159"/>
                  <a:pt x="3563" y="159"/>
                </a:cubicBezTo>
                <a:cubicBezTo>
                  <a:pt x="3706" y="159"/>
                  <a:pt x="3801" y="254"/>
                  <a:pt x="3801" y="381"/>
                </a:cubicBezTo>
                <a:cubicBezTo>
                  <a:pt x="3801" y="715"/>
                  <a:pt x="3801" y="715"/>
                  <a:pt x="3801" y="715"/>
                </a:cubicBezTo>
                <a:cubicBezTo>
                  <a:pt x="3801" y="1495"/>
                  <a:pt x="3801" y="1495"/>
                  <a:pt x="3801" y="1495"/>
                </a:cubicBezTo>
                <a:cubicBezTo>
                  <a:pt x="3801" y="1813"/>
                  <a:pt x="3801" y="1813"/>
                  <a:pt x="3801" y="1813"/>
                </a:cubicBezTo>
                <a:cubicBezTo>
                  <a:pt x="3801" y="1956"/>
                  <a:pt x="3706" y="2051"/>
                  <a:pt x="3563" y="2051"/>
                </a:cubicBezTo>
                <a:cubicBezTo>
                  <a:pt x="397" y="2051"/>
                  <a:pt x="397" y="2051"/>
                  <a:pt x="397" y="2051"/>
                </a:cubicBezTo>
                <a:cubicBezTo>
                  <a:pt x="254" y="2051"/>
                  <a:pt x="159" y="1956"/>
                  <a:pt x="159" y="181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7" name="Freeform: Shape 13">
            <a:extLst>
              <a:ext uri="{FF2B5EF4-FFF2-40B4-BE49-F238E27FC236}">
                <a16:creationId xmlns:a16="http://schemas.microsoft.com/office/drawing/2014/main" id="{FE963200-5B2A-4441-85E1-D29402BE03FF}"/>
              </a:ext>
            </a:extLst>
          </p:cNvPr>
          <p:cNvSpPr/>
          <p:nvPr/>
        </p:nvSpPr>
        <p:spPr>
          <a:xfrm>
            <a:off x="2054149" y="3273587"/>
            <a:ext cx="1270800" cy="1722960"/>
          </a:xfrm>
          <a:custGeom>
            <a:avLst/>
            <a:gdLst/>
            <a:ahLst/>
            <a:cxnLst>
              <a:cxn ang="3cd4">
                <a:pos x="hc" y="t"/>
              </a:cxn>
              <a:cxn ang="cd2">
                <a:pos x="l" y="vc"/>
              </a:cxn>
              <a:cxn ang="cd4">
                <a:pos x="hc" y="b"/>
              </a:cxn>
              <a:cxn ang="0">
                <a:pos x="r" y="vc"/>
              </a:cxn>
            </a:cxnLst>
            <a:rect l="l" t="t" r="r" b="b"/>
            <a:pathLst>
              <a:path w="3531" h="4787">
                <a:moveTo>
                  <a:pt x="716" y="0"/>
                </a:moveTo>
                <a:cubicBezTo>
                  <a:pt x="525" y="0"/>
                  <a:pt x="382" y="175"/>
                  <a:pt x="382" y="397"/>
                </a:cubicBezTo>
                <a:lnTo>
                  <a:pt x="382" y="1654"/>
                </a:lnTo>
                <a:cubicBezTo>
                  <a:pt x="175" y="1670"/>
                  <a:pt x="0" y="1845"/>
                  <a:pt x="0" y="2068"/>
                </a:cubicBezTo>
                <a:lnTo>
                  <a:pt x="0" y="2274"/>
                </a:lnTo>
                <a:cubicBezTo>
                  <a:pt x="0" y="2401"/>
                  <a:pt x="64" y="2529"/>
                  <a:pt x="175" y="2608"/>
                </a:cubicBezTo>
                <a:cubicBezTo>
                  <a:pt x="175" y="2847"/>
                  <a:pt x="191" y="3260"/>
                  <a:pt x="397" y="3610"/>
                </a:cubicBezTo>
                <a:cubicBezTo>
                  <a:pt x="557" y="3896"/>
                  <a:pt x="859" y="4151"/>
                  <a:pt x="1113" y="4342"/>
                </a:cubicBezTo>
                <a:cubicBezTo>
                  <a:pt x="1288" y="4501"/>
                  <a:pt x="1463" y="4644"/>
                  <a:pt x="1479" y="4740"/>
                </a:cubicBezTo>
                <a:lnTo>
                  <a:pt x="1495" y="4787"/>
                </a:lnTo>
                <a:lnTo>
                  <a:pt x="2036" y="4787"/>
                </a:lnTo>
                <a:lnTo>
                  <a:pt x="2052" y="4740"/>
                </a:lnTo>
                <a:cubicBezTo>
                  <a:pt x="2067" y="4644"/>
                  <a:pt x="2258" y="4501"/>
                  <a:pt x="2433" y="4342"/>
                </a:cubicBezTo>
                <a:cubicBezTo>
                  <a:pt x="2672" y="4151"/>
                  <a:pt x="2974" y="3896"/>
                  <a:pt x="3133" y="3610"/>
                </a:cubicBezTo>
                <a:cubicBezTo>
                  <a:pt x="3340" y="3260"/>
                  <a:pt x="3372" y="2847"/>
                  <a:pt x="3356" y="2608"/>
                </a:cubicBezTo>
                <a:cubicBezTo>
                  <a:pt x="3467" y="2529"/>
                  <a:pt x="3531" y="2401"/>
                  <a:pt x="3531" y="2274"/>
                </a:cubicBezTo>
                <a:lnTo>
                  <a:pt x="3531" y="2068"/>
                </a:lnTo>
                <a:cubicBezTo>
                  <a:pt x="3531" y="1829"/>
                  <a:pt x="3356" y="1654"/>
                  <a:pt x="3117" y="1654"/>
                </a:cubicBezTo>
                <a:lnTo>
                  <a:pt x="3054" y="1654"/>
                </a:lnTo>
                <a:lnTo>
                  <a:pt x="3054" y="397"/>
                </a:lnTo>
                <a:cubicBezTo>
                  <a:pt x="3054" y="175"/>
                  <a:pt x="2911" y="0"/>
                  <a:pt x="2736" y="0"/>
                </a:cubicBezTo>
                <a:cubicBezTo>
                  <a:pt x="2545" y="0"/>
                  <a:pt x="2402" y="175"/>
                  <a:pt x="2402" y="397"/>
                </a:cubicBezTo>
                <a:lnTo>
                  <a:pt x="2402" y="1654"/>
                </a:lnTo>
                <a:lnTo>
                  <a:pt x="1034" y="1654"/>
                </a:lnTo>
                <a:lnTo>
                  <a:pt x="1034" y="397"/>
                </a:lnTo>
                <a:cubicBezTo>
                  <a:pt x="1034" y="175"/>
                  <a:pt x="891" y="0"/>
                  <a:pt x="716" y="0"/>
                </a:cubicBezTo>
                <a:close/>
                <a:moveTo>
                  <a:pt x="2561" y="1813"/>
                </a:moveTo>
                <a:lnTo>
                  <a:pt x="2561" y="397"/>
                </a:lnTo>
                <a:cubicBezTo>
                  <a:pt x="2561" y="270"/>
                  <a:pt x="2640" y="159"/>
                  <a:pt x="2736" y="159"/>
                </a:cubicBezTo>
                <a:cubicBezTo>
                  <a:pt x="2815" y="159"/>
                  <a:pt x="2894" y="270"/>
                  <a:pt x="2894" y="397"/>
                </a:cubicBezTo>
                <a:lnTo>
                  <a:pt x="2894" y="1813"/>
                </a:lnTo>
                <a:lnTo>
                  <a:pt x="3117" y="1813"/>
                </a:lnTo>
                <a:cubicBezTo>
                  <a:pt x="3260" y="1813"/>
                  <a:pt x="3372" y="1924"/>
                  <a:pt x="3372" y="2068"/>
                </a:cubicBezTo>
                <a:lnTo>
                  <a:pt x="3372" y="2274"/>
                </a:lnTo>
                <a:cubicBezTo>
                  <a:pt x="3372" y="2354"/>
                  <a:pt x="3324" y="2449"/>
                  <a:pt x="3229" y="2497"/>
                </a:cubicBezTo>
                <a:lnTo>
                  <a:pt x="3181" y="2513"/>
                </a:lnTo>
                <a:lnTo>
                  <a:pt x="3197" y="2560"/>
                </a:lnTo>
                <a:cubicBezTo>
                  <a:pt x="3213" y="2783"/>
                  <a:pt x="3197" y="3196"/>
                  <a:pt x="3006" y="3531"/>
                </a:cubicBezTo>
                <a:cubicBezTo>
                  <a:pt x="2847" y="3801"/>
                  <a:pt x="2561" y="4040"/>
                  <a:pt x="2322" y="4231"/>
                </a:cubicBezTo>
                <a:cubicBezTo>
                  <a:pt x="2131" y="4390"/>
                  <a:pt x="1972" y="4517"/>
                  <a:pt x="1924" y="4628"/>
                </a:cubicBezTo>
                <a:lnTo>
                  <a:pt x="1622" y="4628"/>
                </a:lnTo>
                <a:cubicBezTo>
                  <a:pt x="1558" y="4517"/>
                  <a:pt x="1400" y="4390"/>
                  <a:pt x="1209" y="4231"/>
                </a:cubicBezTo>
                <a:cubicBezTo>
                  <a:pt x="970" y="4040"/>
                  <a:pt x="684" y="3801"/>
                  <a:pt x="540" y="3531"/>
                </a:cubicBezTo>
                <a:cubicBezTo>
                  <a:pt x="334" y="3196"/>
                  <a:pt x="334" y="2783"/>
                  <a:pt x="350" y="2560"/>
                </a:cubicBezTo>
                <a:lnTo>
                  <a:pt x="350" y="2513"/>
                </a:lnTo>
                <a:lnTo>
                  <a:pt x="302" y="2497"/>
                </a:lnTo>
                <a:cubicBezTo>
                  <a:pt x="207" y="2449"/>
                  <a:pt x="159" y="2354"/>
                  <a:pt x="159" y="2274"/>
                </a:cubicBezTo>
                <a:lnTo>
                  <a:pt x="159" y="2068"/>
                </a:lnTo>
                <a:cubicBezTo>
                  <a:pt x="159" y="1924"/>
                  <a:pt x="270" y="1813"/>
                  <a:pt x="413" y="1813"/>
                </a:cubicBezTo>
                <a:lnTo>
                  <a:pt x="540" y="1813"/>
                </a:lnTo>
                <a:lnTo>
                  <a:pt x="540" y="397"/>
                </a:lnTo>
                <a:cubicBezTo>
                  <a:pt x="540" y="270"/>
                  <a:pt x="620" y="159"/>
                  <a:pt x="716" y="159"/>
                </a:cubicBezTo>
                <a:cubicBezTo>
                  <a:pt x="795" y="159"/>
                  <a:pt x="875" y="270"/>
                  <a:pt x="875" y="397"/>
                </a:cubicBezTo>
                <a:lnTo>
                  <a:pt x="875" y="1813"/>
                </a:lnTo>
                <a:close/>
                <a:moveTo>
                  <a:pt x="716" y="2529"/>
                </a:moveTo>
                <a:cubicBezTo>
                  <a:pt x="716" y="2577"/>
                  <a:pt x="748" y="2608"/>
                  <a:pt x="795" y="2608"/>
                </a:cubicBezTo>
                <a:lnTo>
                  <a:pt x="2751" y="2608"/>
                </a:lnTo>
                <a:cubicBezTo>
                  <a:pt x="2784" y="2608"/>
                  <a:pt x="2831" y="2577"/>
                  <a:pt x="2831" y="2529"/>
                </a:cubicBezTo>
                <a:cubicBezTo>
                  <a:pt x="2831" y="2497"/>
                  <a:pt x="2784" y="2449"/>
                  <a:pt x="2751" y="2449"/>
                </a:cubicBezTo>
                <a:lnTo>
                  <a:pt x="795" y="2449"/>
                </a:lnTo>
                <a:cubicBezTo>
                  <a:pt x="748" y="2449"/>
                  <a:pt x="716" y="2497"/>
                  <a:pt x="716" y="252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8" name="Freeform: Shape 38">
            <a:extLst>
              <a:ext uri="{FF2B5EF4-FFF2-40B4-BE49-F238E27FC236}">
                <a16:creationId xmlns:a16="http://schemas.microsoft.com/office/drawing/2014/main" id="{67C1883E-3308-4844-B2B1-D4E6CB3991E5}"/>
              </a:ext>
            </a:extLst>
          </p:cNvPr>
          <p:cNvSpPr/>
          <p:nvPr/>
        </p:nvSpPr>
        <p:spPr>
          <a:xfrm>
            <a:off x="1880335" y="9843551"/>
            <a:ext cx="1402199" cy="1276560"/>
          </a:xfrm>
          <a:custGeom>
            <a:avLst/>
            <a:gdLst/>
            <a:ahLst/>
            <a:cxnLst>
              <a:cxn ang="3cd4">
                <a:pos x="hc" y="t"/>
              </a:cxn>
              <a:cxn ang="cd2">
                <a:pos x="l" y="vc"/>
              </a:cxn>
              <a:cxn ang="cd4">
                <a:pos x="hc" y="b"/>
              </a:cxn>
              <a:cxn ang="0">
                <a:pos x="r" y="vc"/>
              </a:cxn>
            </a:cxnLst>
            <a:rect l="l" t="t" r="r" b="b"/>
            <a:pathLst>
              <a:path w="3896" h="3547">
                <a:moveTo>
                  <a:pt x="2916" y="167"/>
                </a:moveTo>
                <a:lnTo>
                  <a:pt x="2909" y="159"/>
                </a:lnTo>
                <a:lnTo>
                  <a:pt x="986" y="159"/>
                </a:lnTo>
                <a:lnTo>
                  <a:pt x="978" y="168"/>
                </a:lnTo>
                <a:cubicBezTo>
                  <a:pt x="974" y="171"/>
                  <a:pt x="971" y="174"/>
                  <a:pt x="968" y="176"/>
                </a:cubicBezTo>
                <a:cubicBezTo>
                  <a:pt x="849" y="260"/>
                  <a:pt x="740" y="359"/>
                  <a:pt x="642" y="470"/>
                </a:cubicBezTo>
                <a:cubicBezTo>
                  <a:pt x="544" y="580"/>
                  <a:pt x="457" y="704"/>
                  <a:pt x="386" y="839"/>
                </a:cubicBezTo>
                <a:cubicBezTo>
                  <a:pt x="314" y="973"/>
                  <a:pt x="258" y="1119"/>
                  <a:pt x="219" y="1274"/>
                </a:cubicBezTo>
                <a:cubicBezTo>
                  <a:pt x="180" y="1429"/>
                  <a:pt x="159" y="1593"/>
                  <a:pt x="159" y="1766"/>
                </a:cubicBezTo>
                <a:cubicBezTo>
                  <a:pt x="159" y="1942"/>
                  <a:pt x="180" y="2109"/>
                  <a:pt x="219" y="2267"/>
                </a:cubicBezTo>
                <a:cubicBezTo>
                  <a:pt x="258" y="2425"/>
                  <a:pt x="315" y="2572"/>
                  <a:pt x="386" y="2709"/>
                </a:cubicBezTo>
                <a:cubicBezTo>
                  <a:pt x="458" y="2845"/>
                  <a:pt x="544" y="2971"/>
                  <a:pt x="642" y="3085"/>
                </a:cubicBezTo>
                <a:cubicBezTo>
                  <a:pt x="740" y="3198"/>
                  <a:pt x="850" y="3300"/>
                  <a:pt x="969" y="3388"/>
                </a:cubicBezTo>
                <a:lnTo>
                  <a:pt x="2923" y="3388"/>
                </a:lnTo>
                <a:lnTo>
                  <a:pt x="2931" y="3384"/>
                </a:lnTo>
                <a:cubicBezTo>
                  <a:pt x="3048" y="3297"/>
                  <a:pt x="3156" y="3197"/>
                  <a:pt x="3253" y="3085"/>
                </a:cubicBezTo>
                <a:cubicBezTo>
                  <a:pt x="3351" y="2971"/>
                  <a:pt x="3438" y="2845"/>
                  <a:pt x="3509" y="2709"/>
                </a:cubicBezTo>
                <a:cubicBezTo>
                  <a:pt x="3581" y="2572"/>
                  <a:pt x="3638" y="2425"/>
                  <a:pt x="3677" y="2267"/>
                </a:cubicBezTo>
                <a:cubicBezTo>
                  <a:pt x="3716" y="2109"/>
                  <a:pt x="3737" y="1942"/>
                  <a:pt x="3737" y="1766"/>
                </a:cubicBezTo>
                <a:cubicBezTo>
                  <a:pt x="3737" y="1593"/>
                  <a:pt x="3716" y="1429"/>
                  <a:pt x="3677" y="1274"/>
                </a:cubicBezTo>
                <a:cubicBezTo>
                  <a:pt x="3638" y="1119"/>
                  <a:pt x="3581" y="973"/>
                  <a:pt x="3510" y="839"/>
                </a:cubicBezTo>
                <a:cubicBezTo>
                  <a:pt x="3438" y="704"/>
                  <a:pt x="3352" y="580"/>
                  <a:pt x="3254" y="470"/>
                </a:cubicBezTo>
                <a:cubicBezTo>
                  <a:pt x="3156" y="359"/>
                  <a:pt x="3046" y="260"/>
                  <a:pt x="2927" y="176"/>
                </a:cubicBezTo>
                <a:cubicBezTo>
                  <a:pt x="2923" y="173"/>
                  <a:pt x="2920" y="171"/>
                  <a:pt x="2916" y="167"/>
                </a:cubicBezTo>
                <a:close/>
                <a:moveTo>
                  <a:pt x="897" y="23"/>
                </a:moveTo>
                <a:cubicBezTo>
                  <a:pt x="902" y="18"/>
                  <a:pt x="907" y="14"/>
                  <a:pt x="914" y="11"/>
                </a:cubicBezTo>
                <a:cubicBezTo>
                  <a:pt x="926" y="3"/>
                  <a:pt x="939" y="0"/>
                  <a:pt x="954" y="0"/>
                </a:cubicBezTo>
                <a:lnTo>
                  <a:pt x="2927" y="0"/>
                </a:lnTo>
                <a:lnTo>
                  <a:pt x="2943" y="0"/>
                </a:lnTo>
                <a:cubicBezTo>
                  <a:pt x="2957" y="0"/>
                  <a:pt x="2970" y="3"/>
                  <a:pt x="2982" y="11"/>
                </a:cubicBezTo>
                <a:cubicBezTo>
                  <a:pt x="2989" y="15"/>
                  <a:pt x="2994" y="19"/>
                  <a:pt x="3000" y="24"/>
                </a:cubicBezTo>
                <a:lnTo>
                  <a:pt x="3026" y="51"/>
                </a:lnTo>
                <a:cubicBezTo>
                  <a:pt x="3151" y="141"/>
                  <a:pt x="3268" y="246"/>
                  <a:pt x="3373" y="364"/>
                </a:cubicBezTo>
                <a:cubicBezTo>
                  <a:pt x="3479" y="484"/>
                  <a:pt x="3573" y="618"/>
                  <a:pt x="3650" y="764"/>
                </a:cubicBezTo>
                <a:cubicBezTo>
                  <a:pt x="3728" y="910"/>
                  <a:pt x="3789" y="1067"/>
                  <a:pt x="3831" y="1235"/>
                </a:cubicBezTo>
                <a:cubicBezTo>
                  <a:pt x="3873" y="1402"/>
                  <a:pt x="3896" y="1580"/>
                  <a:pt x="3896" y="1766"/>
                </a:cubicBezTo>
                <a:cubicBezTo>
                  <a:pt x="3896" y="1955"/>
                  <a:pt x="3873" y="2136"/>
                  <a:pt x="3831" y="2305"/>
                </a:cubicBezTo>
                <a:cubicBezTo>
                  <a:pt x="3789" y="2476"/>
                  <a:pt x="3728" y="2635"/>
                  <a:pt x="3650" y="2783"/>
                </a:cubicBezTo>
                <a:cubicBezTo>
                  <a:pt x="3573" y="2930"/>
                  <a:pt x="3479" y="3066"/>
                  <a:pt x="3373" y="3189"/>
                </a:cubicBezTo>
                <a:cubicBezTo>
                  <a:pt x="3267" y="3311"/>
                  <a:pt x="3149" y="3420"/>
                  <a:pt x="3021" y="3515"/>
                </a:cubicBezTo>
                <a:cubicBezTo>
                  <a:pt x="3018" y="3517"/>
                  <a:pt x="3016" y="3519"/>
                  <a:pt x="3013" y="3520"/>
                </a:cubicBezTo>
                <a:cubicBezTo>
                  <a:pt x="3012" y="3521"/>
                  <a:pt x="3011" y="3522"/>
                  <a:pt x="3010" y="3522"/>
                </a:cubicBezTo>
                <a:lnTo>
                  <a:pt x="2979" y="3538"/>
                </a:lnTo>
                <a:cubicBezTo>
                  <a:pt x="2967" y="3544"/>
                  <a:pt x="2956" y="3547"/>
                  <a:pt x="2943" y="3547"/>
                </a:cubicBezTo>
                <a:lnTo>
                  <a:pt x="2927" y="3547"/>
                </a:lnTo>
                <a:lnTo>
                  <a:pt x="954" y="3547"/>
                </a:lnTo>
                <a:lnTo>
                  <a:pt x="938" y="3547"/>
                </a:lnTo>
                <a:cubicBezTo>
                  <a:pt x="923" y="3547"/>
                  <a:pt x="910" y="3544"/>
                  <a:pt x="898" y="3536"/>
                </a:cubicBezTo>
                <a:cubicBezTo>
                  <a:pt x="891" y="3533"/>
                  <a:pt x="886" y="3529"/>
                  <a:pt x="881" y="3524"/>
                </a:cubicBezTo>
                <a:lnTo>
                  <a:pt x="869" y="3512"/>
                </a:lnTo>
                <a:cubicBezTo>
                  <a:pt x="743" y="3418"/>
                  <a:pt x="626" y="3310"/>
                  <a:pt x="522" y="3189"/>
                </a:cubicBezTo>
                <a:cubicBezTo>
                  <a:pt x="416" y="3066"/>
                  <a:pt x="323" y="2930"/>
                  <a:pt x="245" y="2783"/>
                </a:cubicBezTo>
                <a:cubicBezTo>
                  <a:pt x="168" y="2635"/>
                  <a:pt x="107" y="2475"/>
                  <a:pt x="65" y="2305"/>
                </a:cubicBezTo>
                <a:cubicBezTo>
                  <a:pt x="23" y="2136"/>
                  <a:pt x="0" y="1955"/>
                  <a:pt x="0" y="1766"/>
                </a:cubicBezTo>
                <a:cubicBezTo>
                  <a:pt x="0" y="1580"/>
                  <a:pt x="23" y="1402"/>
                  <a:pt x="65" y="1235"/>
                </a:cubicBezTo>
                <a:cubicBezTo>
                  <a:pt x="107" y="1067"/>
                  <a:pt x="168" y="910"/>
                  <a:pt x="245" y="764"/>
                </a:cubicBezTo>
                <a:cubicBezTo>
                  <a:pt x="323" y="618"/>
                  <a:pt x="416" y="484"/>
                  <a:pt x="522" y="364"/>
                </a:cubicBezTo>
                <a:cubicBezTo>
                  <a:pt x="627" y="246"/>
                  <a:pt x="744" y="141"/>
                  <a:pt x="870" y="51"/>
                </a:cubicBezTo>
                <a:close/>
                <a:moveTo>
                  <a:pt x="2276" y="2828"/>
                </a:moveTo>
                <a:lnTo>
                  <a:pt x="2211" y="2784"/>
                </a:lnTo>
                <a:lnTo>
                  <a:pt x="2290" y="2784"/>
                </a:lnTo>
                <a:cubicBezTo>
                  <a:pt x="2290" y="2796"/>
                  <a:pt x="2287" y="2809"/>
                  <a:pt x="2280" y="2822"/>
                </a:cubicBezTo>
                <a:cubicBezTo>
                  <a:pt x="2280" y="2823"/>
                  <a:pt x="2279" y="2823"/>
                  <a:pt x="2279" y="2824"/>
                </a:cubicBezTo>
                <a:cubicBezTo>
                  <a:pt x="2275" y="2831"/>
                  <a:pt x="2270" y="2837"/>
                  <a:pt x="2263" y="2843"/>
                </a:cubicBezTo>
                <a:cubicBezTo>
                  <a:pt x="2260" y="2846"/>
                  <a:pt x="2256" y="2850"/>
                  <a:pt x="2250" y="2853"/>
                </a:cubicBezTo>
                <a:cubicBezTo>
                  <a:pt x="2248" y="2854"/>
                  <a:pt x="2245" y="2856"/>
                  <a:pt x="2241" y="2858"/>
                </a:cubicBezTo>
                <a:cubicBezTo>
                  <a:pt x="2238" y="2859"/>
                  <a:pt x="2234" y="2861"/>
                  <a:pt x="2229" y="2862"/>
                </a:cubicBezTo>
                <a:cubicBezTo>
                  <a:pt x="2227" y="2863"/>
                  <a:pt x="2224" y="2863"/>
                  <a:pt x="2221" y="2864"/>
                </a:cubicBezTo>
                <a:cubicBezTo>
                  <a:pt x="2217" y="2865"/>
                  <a:pt x="2213" y="2866"/>
                  <a:pt x="2208" y="2866"/>
                </a:cubicBezTo>
                <a:cubicBezTo>
                  <a:pt x="2204" y="2867"/>
                  <a:pt x="2199" y="2867"/>
                  <a:pt x="2194" y="2868"/>
                </a:cubicBezTo>
                <a:cubicBezTo>
                  <a:pt x="2186" y="2869"/>
                  <a:pt x="2176" y="2869"/>
                  <a:pt x="2164" y="2870"/>
                </a:cubicBezTo>
                <a:cubicBezTo>
                  <a:pt x="2153" y="2871"/>
                  <a:pt x="2140" y="2871"/>
                  <a:pt x="2127" y="2872"/>
                </a:cubicBezTo>
                <a:cubicBezTo>
                  <a:pt x="2073" y="2874"/>
                  <a:pt x="2003" y="2875"/>
                  <a:pt x="1932" y="2875"/>
                </a:cubicBezTo>
                <a:cubicBezTo>
                  <a:pt x="1861" y="2875"/>
                  <a:pt x="1791" y="2874"/>
                  <a:pt x="1737" y="2872"/>
                </a:cubicBezTo>
                <a:cubicBezTo>
                  <a:pt x="1724" y="2871"/>
                  <a:pt x="1711" y="2871"/>
                  <a:pt x="1700" y="2870"/>
                </a:cubicBezTo>
                <a:cubicBezTo>
                  <a:pt x="1688" y="2869"/>
                  <a:pt x="1678" y="2869"/>
                  <a:pt x="1670" y="2868"/>
                </a:cubicBezTo>
                <a:cubicBezTo>
                  <a:pt x="1665" y="2867"/>
                  <a:pt x="1660" y="2867"/>
                  <a:pt x="1656" y="2866"/>
                </a:cubicBezTo>
                <a:cubicBezTo>
                  <a:pt x="1651" y="2866"/>
                  <a:pt x="1647" y="2865"/>
                  <a:pt x="1643" y="2864"/>
                </a:cubicBezTo>
                <a:cubicBezTo>
                  <a:pt x="1640" y="2863"/>
                  <a:pt x="1637" y="2863"/>
                  <a:pt x="1635" y="2862"/>
                </a:cubicBezTo>
                <a:cubicBezTo>
                  <a:pt x="1630" y="2861"/>
                  <a:pt x="1626" y="2859"/>
                  <a:pt x="1623" y="2858"/>
                </a:cubicBezTo>
                <a:cubicBezTo>
                  <a:pt x="1619" y="2856"/>
                  <a:pt x="1616" y="2854"/>
                  <a:pt x="1614" y="2853"/>
                </a:cubicBezTo>
                <a:cubicBezTo>
                  <a:pt x="1608" y="2850"/>
                  <a:pt x="1604" y="2846"/>
                  <a:pt x="1601" y="2843"/>
                </a:cubicBezTo>
                <a:cubicBezTo>
                  <a:pt x="1594" y="2837"/>
                  <a:pt x="1589" y="2831"/>
                  <a:pt x="1585" y="2824"/>
                </a:cubicBezTo>
                <a:cubicBezTo>
                  <a:pt x="1566" y="2796"/>
                  <a:pt x="1552" y="2767"/>
                  <a:pt x="1542" y="2738"/>
                </a:cubicBezTo>
                <a:cubicBezTo>
                  <a:pt x="1531" y="2705"/>
                  <a:pt x="1526" y="2673"/>
                  <a:pt x="1526" y="2641"/>
                </a:cubicBezTo>
                <a:cubicBezTo>
                  <a:pt x="1526" y="2586"/>
                  <a:pt x="1537" y="2533"/>
                  <a:pt x="1557" y="2486"/>
                </a:cubicBezTo>
                <a:cubicBezTo>
                  <a:pt x="1578" y="2438"/>
                  <a:pt x="1607" y="2396"/>
                  <a:pt x="1643" y="2360"/>
                </a:cubicBezTo>
                <a:cubicBezTo>
                  <a:pt x="1679" y="2324"/>
                  <a:pt x="1722" y="2295"/>
                  <a:pt x="1769" y="2274"/>
                </a:cubicBezTo>
                <a:cubicBezTo>
                  <a:pt x="1817" y="2254"/>
                  <a:pt x="1870" y="2243"/>
                  <a:pt x="1925" y="2243"/>
                </a:cubicBezTo>
                <a:cubicBezTo>
                  <a:pt x="1979" y="2243"/>
                  <a:pt x="2032" y="2254"/>
                  <a:pt x="2079" y="2274"/>
                </a:cubicBezTo>
                <a:cubicBezTo>
                  <a:pt x="2127" y="2295"/>
                  <a:pt x="2169" y="2324"/>
                  <a:pt x="2205" y="2360"/>
                </a:cubicBezTo>
                <a:cubicBezTo>
                  <a:pt x="2241" y="2396"/>
                  <a:pt x="2270" y="2438"/>
                  <a:pt x="2291" y="2486"/>
                </a:cubicBezTo>
                <a:cubicBezTo>
                  <a:pt x="2311" y="2533"/>
                  <a:pt x="2322" y="2586"/>
                  <a:pt x="2322" y="2641"/>
                </a:cubicBezTo>
                <a:cubicBezTo>
                  <a:pt x="2322" y="2669"/>
                  <a:pt x="2322" y="2697"/>
                  <a:pt x="2317" y="2726"/>
                </a:cubicBezTo>
                <a:cubicBezTo>
                  <a:pt x="2314" y="2742"/>
                  <a:pt x="2310" y="2759"/>
                  <a:pt x="2303" y="2776"/>
                </a:cubicBezTo>
                <a:cubicBezTo>
                  <a:pt x="2297" y="2792"/>
                  <a:pt x="2289" y="2808"/>
                  <a:pt x="2279" y="2824"/>
                </a:cubicBezTo>
                <a:cubicBezTo>
                  <a:pt x="2278" y="2826"/>
                  <a:pt x="2277" y="2827"/>
                  <a:pt x="2276" y="2828"/>
                </a:cubicBezTo>
                <a:close/>
                <a:moveTo>
                  <a:pt x="2154" y="2711"/>
                </a:moveTo>
                <a:cubicBezTo>
                  <a:pt x="2155" y="2711"/>
                  <a:pt x="2156" y="2711"/>
                  <a:pt x="2157" y="2711"/>
                </a:cubicBezTo>
                <a:cubicBezTo>
                  <a:pt x="2159" y="2707"/>
                  <a:pt x="2159" y="2703"/>
                  <a:pt x="2160" y="2699"/>
                </a:cubicBezTo>
                <a:cubicBezTo>
                  <a:pt x="2163" y="2680"/>
                  <a:pt x="2163" y="2660"/>
                  <a:pt x="2163" y="2641"/>
                </a:cubicBezTo>
                <a:cubicBezTo>
                  <a:pt x="2163" y="2608"/>
                  <a:pt x="2156" y="2577"/>
                  <a:pt x="2144" y="2548"/>
                </a:cubicBezTo>
                <a:cubicBezTo>
                  <a:pt x="2132" y="2519"/>
                  <a:pt x="2115" y="2494"/>
                  <a:pt x="2093" y="2472"/>
                </a:cubicBezTo>
                <a:cubicBezTo>
                  <a:pt x="2071" y="2450"/>
                  <a:pt x="2046" y="2433"/>
                  <a:pt x="2017" y="2421"/>
                </a:cubicBezTo>
                <a:cubicBezTo>
                  <a:pt x="1988" y="2409"/>
                  <a:pt x="1957" y="2402"/>
                  <a:pt x="1925" y="2402"/>
                </a:cubicBezTo>
                <a:cubicBezTo>
                  <a:pt x="1891" y="2402"/>
                  <a:pt x="1860" y="2409"/>
                  <a:pt x="1831" y="2421"/>
                </a:cubicBezTo>
                <a:cubicBezTo>
                  <a:pt x="1803" y="2433"/>
                  <a:pt x="1777" y="2450"/>
                  <a:pt x="1755" y="2472"/>
                </a:cubicBezTo>
                <a:cubicBezTo>
                  <a:pt x="1733" y="2494"/>
                  <a:pt x="1716" y="2520"/>
                  <a:pt x="1704" y="2548"/>
                </a:cubicBezTo>
                <a:cubicBezTo>
                  <a:pt x="1692" y="2577"/>
                  <a:pt x="1685" y="2608"/>
                  <a:pt x="1685" y="2641"/>
                </a:cubicBezTo>
                <a:cubicBezTo>
                  <a:pt x="1685" y="2656"/>
                  <a:pt x="1688" y="2672"/>
                  <a:pt x="1693" y="2687"/>
                </a:cubicBezTo>
                <a:cubicBezTo>
                  <a:pt x="1696" y="2695"/>
                  <a:pt x="1699" y="2703"/>
                  <a:pt x="1703" y="2711"/>
                </a:cubicBezTo>
                <a:cubicBezTo>
                  <a:pt x="1705" y="2711"/>
                  <a:pt x="1707" y="2711"/>
                  <a:pt x="1710" y="2711"/>
                </a:cubicBezTo>
                <a:cubicBezTo>
                  <a:pt x="1720" y="2712"/>
                  <a:pt x="1731" y="2713"/>
                  <a:pt x="1744" y="2713"/>
                </a:cubicBezTo>
                <a:cubicBezTo>
                  <a:pt x="1795" y="2715"/>
                  <a:pt x="1863" y="2716"/>
                  <a:pt x="1932" y="2716"/>
                </a:cubicBezTo>
                <a:cubicBezTo>
                  <a:pt x="2001" y="2716"/>
                  <a:pt x="2069" y="2715"/>
                  <a:pt x="2120" y="2713"/>
                </a:cubicBezTo>
                <a:cubicBezTo>
                  <a:pt x="2133" y="2713"/>
                  <a:pt x="2144" y="2712"/>
                  <a:pt x="2154" y="2711"/>
                </a:cubicBezTo>
                <a:close/>
                <a:moveTo>
                  <a:pt x="2671" y="1830"/>
                </a:moveTo>
                <a:cubicBezTo>
                  <a:pt x="2671" y="1852"/>
                  <a:pt x="2667" y="1872"/>
                  <a:pt x="2660" y="1890"/>
                </a:cubicBezTo>
                <a:cubicBezTo>
                  <a:pt x="2653" y="1911"/>
                  <a:pt x="2641" y="1928"/>
                  <a:pt x="2627" y="1943"/>
                </a:cubicBezTo>
                <a:cubicBezTo>
                  <a:pt x="2612" y="1958"/>
                  <a:pt x="2594" y="1970"/>
                  <a:pt x="2574" y="1978"/>
                </a:cubicBezTo>
                <a:cubicBezTo>
                  <a:pt x="2556" y="1985"/>
                  <a:pt x="2535" y="1989"/>
                  <a:pt x="2513" y="1989"/>
                </a:cubicBezTo>
                <a:cubicBezTo>
                  <a:pt x="2490" y="1989"/>
                  <a:pt x="2469" y="1985"/>
                  <a:pt x="2451" y="1978"/>
                </a:cubicBezTo>
                <a:cubicBezTo>
                  <a:pt x="2431" y="1970"/>
                  <a:pt x="2413" y="1958"/>
                  <a:pt x="2398" y="1943"/>
                </a:cubicBezTo>
                <a:cubicBezTo>
                  <a:pt x="2384" y="1928"/>
                  <a:pt x="2372" y="1911"/>
                  <a:pt x="2365" y="1890"/>
                </a:cubicBezTo>
                <a:cubicBezTo>
                  <a:pt x="2358" y="1872"/>
                  <a:pt x="2354" y="1852"/>
                  <a:pt x="2354" y="1830"/>
                </a:cubicBezTo>
                <a:lnTo>
                  <a:pt x="2354" y="1083"/>
                </a:lnTo>
                <a:cubicBezTo>
                  <a:pt x="2354" y="1065"/>
                  <a:pt x="2358" y="1046"/>
                  <a:pt x="2365" y="1026"/>
                </a:cubicBezTo>
                <a:cubicBezTo>
                  <a:pt x="2372" y="1009"/>
                  <a:pt x="2382" y="993"/>
                  <a:pt x="2395" y="978"/>
                </a:cubicBezTo>
                <a:cubicBezTo>
                  <a:pt x="2408" y="963"/>
                  <a:pt x="2425" y="949"/>
                  <a:pt x="2444" y="940"/>
                </a:cubicBezTo>
                <a:cubicBezTo>
                  <a:pt x="2454" y="934"/>
                  <a:pt x="2465" y="930"/>
                  <a:pt x="2476" y="927"/>
                </a:cubicBezTo>
                <a:cubicBezTo>
                  <a:pt x="2488" y="925"/>
                  <a:pt x="2500" y="923"/>
                  <a:pt x="2513" y="923"/>
                </a:cubicBezTo>
                <a:cubicBezTo>
                  <a:pt x="2525" y="923"/>
                  <a:pt x="2537" y="925"/>
                  <a:pt x="2549" y="927"/>
                </a:cubicBezTo>
                <a:cubicBezTo>
                  <a:pt x="2560" y="930"/>
                  <a:pt x="2571" y="934"/>
                  <a:pt x="2581" y="940"/>
                </a:cubicBezTo>
                <a:cubicBezTo>
                  <a:pt x="2600" y="949"/>
                  <a:pt x="2617" y="963"/>
                  <a:pt x="2630" y="978"/>
                </a:cubicBezTo>
                <a:cubicBezTo>
                  <a:pt x="2643" y="993"/>
                  <a:pt x="2653" y="1009"/>
                  <a:pt x="2660" y="1026"/>
                </a:cubicBezTo>
                <a:cubicBezTo>
                  <a:pt x="2667" y="1046"/>
                  <a:pt x="2671" y="1065"/>
                  <a:pt x="2671" y="1083"/>
                </a:cubicBezTo>
                <a:close/>
                <a:moveTo>
                  <a:pt x="1526" y="1830"/>
                </a:moveTo>
                <a:cubicBezTo>
                  <a:pt x="1526" y="1842"/>
                  <a:pt x="1524" y="1854"/>
                  <a:pt x="1522" y="1866"/>
                </a:cubicBezTo>
                <a:cubicBezTo>
                  <a:pt x="1519" y="1877"/>
                  <a:pt x="1515" y="1888"/>
                  <a:pt x="1510" y="1898"/>
                </a:cubicBezTo>
                <a:cubicBezTo>
                  <a:pt x="1500" y="1917"/>
                  <a:pt x="1487" y="1933"/>
                  <a:pt x="1472" y="1947"/>
                </a:cubicBezTo>
                <a:cubicBezTo>
                  <a:pt x="1457" y="1960"/>
                  <a:pt x="1441" y="1970"/>
                  <a:pt x="1424" y="1977"/>
                </a:cubicBezTo>
                <a:cubicBezTo>
                  <a:pt x="1415" y="1981"/>
                  <a:pt x="1406" y="1984"/>
                  <a:pt x="1397" y="1986"/>
                </a:cubicBezTo>
                <a:cubicBezTo>
                  <a:pt x="1387" y="1988"/>
                  <a:pt x="1377" y="1989"/>
                  <a:pt x="1368" y="1989"/>
                </a:cubicBezTo>
                <a:cubicBezTo>
                  <a:pt x="1345" y="1989"/>
                  <a:pt x="1324" y="1985"/>
                  <a:pt x="1306" y="1978"/>
                </a:cubicBezTo>
                <a:cubicBezTo>
                  <a:pt x="1286" y="1970"/>
                  <a:pt x="1268" y="1958"/>
                  <a:pt x="1253" y="1944"/>
                </a:cubicBezTo>
                <a:cubicBezTo>
                  <a:pt x="1239" y="1929"/>
                  <a:pt x="1227" y="1911"/>
                  <a:pt x="1219" y="1891"/>
                </a:cubicBezTo>
                <a:cubicBezTo>
                  <a:pt x="1212" y="1873"/>
                  <a:pt x="1208" y="1852"/>
                  <a:pt x="1208" y="1830"/>
                </a:cubicBezTo>
                <a:lnTo>
                  <a:pt x="1208" y="1083"/>
                </a:lnTo>
                <a:cubicBezTo>
                  <a:pt x="1208" y="1065"/>
                  <a:pt x="1212" y="1045"/>
                  <a:pt x="1220" y="1026"/>
                </a:cubicBezTo>
                <a:cubicBezTo>
                  <a:pt x="1227" y="1009"/>
                  <a:pt x="1237" y="992"/>
                  <a:pt x="1250" y="978"/>
                </a:cubicBezTo>
                <a:cubicBezTo>
                  <a:pt x="1263" y="962"/>
                  <a:pt x="1280" y="949"/>
                  <a:pt x="1299" y="939"/>
                </a:cubicBezTo>
                <a:cubicBezTo>
                  <a:pt x="1309" y="934"/>
                  <a:pt x="1320" y="930"/>
                  <a:pt x="1331" y="927"/>
                </a:cubicBezTo>
                <a:cubicBezTo>
                  <a:pt x="1343" y="925"/>
                  <a:pt x="1355" y="923"/>
                  <a:pt x="1368" y="923"/>
                </a:cubicBezTo>
                <a:cubicBezTo>
                  <a:pt x="1379" y="923"/>
                  <a:pt x="1391" y="925"/>
                  <a:pt x="1404" y="929"/>
                </a:cubicBezTo>
                <a:cubicBezTo>
                  <a:pt x="1413" y="932"/>
                  <a:pt x="1422" y="936"/>
                  <a:pt x="1432" y="941"/>
                </a:cubicBezTo>
                <a:cubicBezTo>
                  <a:pt x="1447" y="949"/>
                  <a:pt x="1462" y="961"/>
                  <a:pt x="1475" y="974"/>
                </a:cubicBezTo>
                <a:cubicBezTo>
                  <a:pt x="1489" y="988"/>
                  <a:pt x="1500" y="1003"/>
                  <a:pt x="1509" y="1018"/>
                </a:cubicBezTo>
                <a:cubicBezTo>
                  <a:pt x="1514" y="1028"/>
                  <a:pt x="1518" y="1037"/>
                  <a:pt x="1520" y="1047"/>
                </a:cubicBezTo>
                <a:cubicBezTo>
                  <a:pt x="1524" y="1059"/>
                  <a:pt x="1526" y="1071"/>
                  <a:pt x="1526" y="1083"/>
                </a:cubicBezTo>
                <a:close/>
              </a:path>
            </a:pathLst>
          </a:custGeom>
          <a:solidFill>
            <a:schemeClr val="accent2"/>
          </a:solidFill>
          <a:ln cap="flat">
            <a:noFill/>
            <a:prstDash val="solid"/>
          </a:ln>
        </p:spPr>
        <p:txBody>
          <a:bodyPr vert="horz" wrap="none" lIns="28440" tIns="28440" rIns="28440" bIns="2844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9" name="TextBox 108">
            <a:extLst>
              <a:ext uri="{FF2B5EF4-FFF2-40B4-BE49-F238E27FC236}">
                <a16:creationId xmlns:a16="http://schemas.microsoft.com/office/drawing/2014/main" id="{CF908568-3FD1-FA42-A071-F540F3616B0B}"/>
              </a:ext>
            </a:extLst>
          </p:cNvPr>
          <p:cNvSpPr txBox="1"/>
          <p:nvPr/>
        </p:nvSpPr>
        <p:spPr>
          <a:xfrm>
            <a:off x="17098282" y="11698913"/>
            <a:ext cx="276774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ttery 3</a:t>
            </a:r>
          </a:p>
        </p:txBody>
      </p:sp>
      <p:sp>
        <p:nvSpPr>
          <p:cNvPr id="110" name="Freeform: Shape 6">
            <a:extLst>
              <a:ext uri="{FF2B5EF4-FFF2-40B4-BE49-F238E27FC236}">
                <a16:creationId xmlns:a16="http://schemas.microsoft.com/office/drawing/2014/main" id="{B2078AD4-F225-8546-86D8-A9C899D3387B}"/>
              </a:ext>
            </a:extLst>
          </p:cNvPr>
          <p:cNvSpPr/>
          <p:nvPr/>
        </p:nvSpPr>
        <p:spPr>
          <a:xfrm>
            <a:off x="17603095" y="9960745"/>
            <a:ext cx="1602720" cy="795600"/>
          </a:xfrm>
          <a:custGeom>
            <a:avLst/>
            <a:gdLst/>
            <a:ahLst/>
            <a:cxnLst>
              <a:cxn ang="3cd4">
                <a:pos x="hc" y="t"/>
              </a:cxn>
              <a:cxn ang="cd2">
                <a:pos x="l" y="vc"/>
              </a:cxn>
              <a:cxn ang="cd4">
                <a:pos x="hc" y="b"/>
              </a:cxn>
              <a:cxn ang="0">
                <a:pos x="r" y="vc"/>
              </a:cxn>
            </a:cxnLst>
            <a:rect l="l" t="t" r="r" b="b"/>
            <a:pathLst>
              <a:path w="4453" h="2211">
                <a:moveTo>
                  <a:pt x="4374" y="637"/>
                </a:moveTo>
                <a:lnTo>
                  <a:pt x="3976" y="637"/>
                </a:lnTo>
                <a:lnTo>
                  <a:pt x="3976" y="398"/>
                </a:lnTo>
                <a:cubicBezTo>
                  <a:pt x="3976" y="176"/>
                  <a:pt x="3785" y="0"/>
                  <a:pt x="3578" y="0"/>
                </a:cubicBezTo>
                <a:lnTo>
                  <a:pt x="397" y="0"/>
                </a:lnTo>
                <a:cubicBezTo>
                  <a:pt x="175" y="0"/>
                  <a:pt x="0" y="176"/>
                  <a:pt x="0" y="398"/>
                </a:cubicBezTo>
                <a:lnTo>
                  <a:pt x="0" y="1830"/>
                </a:lnTo>
                <a:cubicBezTo>
                  <a:pt x="0" y="2036"/>
                  <a:pt x="175" y="2211"/>
                  <a:pt x="397" y="2211"/>
                </a:cubicBezTo>
                <a:lnTo>
                  <a:pt x="3578" y="2211"/>
                </a:lnTo>
                <a:cubicBezTo>
                  <a:pt x="3785" y="2211"/>
                  <a:pt x="3976" y="2036"/>
                  <a:pt x="3976" y="1830"/>
                </a:cubicBezTo>
                <a:lnTo>
                  <a:pt x="3976" y="1591"/>
                </a:lnTo>
                <a:lnTo>
                  <a:pt x="4374" y="1591"/>
                </a:lnTo>
                <a:cubicBezTo>
                  <a:pt x="4406" y="1591"/>
                  <a:pt x="4453" y="1544"/>
                  <a:pt x="4453" y="1512"/>
                </a:cubicBezTo>
                <a:lnTo>
                  <a:pt x="4453" y="717"/>
                </a:lnTo>
                <a:cubicBezTo>
                  <a:pt x="4453" y="669"/>
                  <a:pt x="4406" y="637"/>
                  <a:pt x="4374" y="637"/>
                </a:cubicBezTo>
                <a:close/>
                <a:moveTo>
                  <a:pt x="3817" y="717"/>
                </a:moveTo>
                <a:lnTo>
                  <a:pt x="3817" y="1512"/>
                </a:lnTo>
                <a:lnTo>
                  <a:pt x="3817" y="1830"/>
                </a:lnTo>
                <a:cubicBezTo>
                  <a:pt x="3817" y="1957"/>
                  <a:pt x="3706" y="2053"/>
                  <a:pt x="3578" y="2053"/>
                </a:cubicBezTo>
                <a:lnTo>
                  <a:pt x="397" y="2053"/>
                </a:lnTo>
                <a:cubicBezTo>
                  <a:pt x="270" y="2053"/>
                  <a:pt x="159" y="1957"/>
                  <a:pt x="159" y="1830"/>
                </a:cubicBezTo>
                <a:lnTo>
                  <a:pt x="159" y="398"/>
                </a:lnTo>
                <a:cubicBezTo>
                  <a:pt x="159" y="255"/>
                  <a:pt x="270" y="160"/>
                  <a:pt x="397" y="160"/>
                </a:cubicBezTo>
                <a:lnTo>
                  <a:pt x="3578" y="160"/>
                </a:lnTo>
                <a:cubicBezTo>
                  <a:pt x="3706" y="160"/>
                  <a:pt x="3817" y="255"/>
                  <a:pt x="3817" y="398"/>
                </a:cubicBezTo>
                <a:close/>
                <a:moveTo>
                  <a:pt x="4294" y="1432"/>
                </a:moveTo>
                <a:lnTo>
                  <a:pt x="3976" y="1432"/>
                </a:lnTo>
                <a:lnTo>
                  <a:pt x="3976" y="796"/>
                </a:lnTo>
                <a:lnTo>
                  <a:pt x="4294" y="796"/>
                </a:lnTo>
                <a:close/>
                <a:moveTo>
                  <a:pt x="1034" y="478"/>
                </a:moveTo>
                <a:lnTo>
                  <a:pt x="557" y="478"/>
                </a:lnTo>
                <a:cubicBezTo>
                  <a:pt x="509" y="478"/>
                  <a:pt x="477" y="509"/>
                  <a:pt x="477" y="557"/>
                </a:cubicBezTo>
                <a:lnTo>
                  <a:pt x="477" y="1671"/>
                </a:lnTo>
                <a:cubicBezTo>
                  <a:pt x="477" y="1702"/>
                  <a:pt x="509" y="1750"/>
                  <a:pt x="557" y="1750"/>
                </a:cubicBezTo>
                <a:lnTo>
                  <a:pt x="1034" y="1750"/>
                </a:lnTo>
                <a:cubicBezTo>
                  <a:pt x="1081" y="1750"/>
                  <a:pt x="1113" y="1702"/>
                  <a:pt x="1113" y="1671"/>
                </a:cubicBezTo>
                <a:lnTo>
                  <a:pt x="1113" y="557"/>
                </a:lnTo>
                <a:cubicBezTo>
                  <a:pt x="1113" y="509"/>
                  <a:pt x="1081" y="478"/>
                  <a:pt x="1034" y="478"/>
                </a:cubicBezTo>
                <a:close/>
                <a:moveTo>
                  <a:pt x="954" y="1591"/>
                </a:moveTo>
                <a:lnTo>
                  <a:pt x="636" y="1591"/>
                </a:lnTo>
                <a:lnTo>
                  <a:pt x="636" y="637"/>
                </a:lnTo>
                <a:lnTo>
                  <a:pt x="954" y="637"/>
                </a:lnTo>
                <a:close/>
                <a:moveTo>
                  <a:pt x="1829" y="478"/>
                </a:moveTo>
                <a:lnTo>
                  <a:pt x="1352" y="478"/>
                </a:lnTo>
                <a:cubicBezTo>
                  <a:pt x="1304" y="478"/>
                  <a:pt x="1272" y="509"/>
                  <a:pt x="1272" y="557"/>
                </a:cubicBezTo>
                <a:lnTo>
                  <a:pt x="1272" y="1671"/>
                </a:lnTo>
                <a:cubicBezTo>
                  <a:pt x="1272" y="1702"/>
                  <a:pt x="1304" y="1750"/>
                  <a:pt x="1352" y="1750"/>
                </a:cubicBezTo>
                <a:lnTo>
                  <a:pt x="1829" y="1750"/>
                </a:lnTo>
                <a:cubicBezTo>
                  <a:pt x="1876" y="1750"/>
                  <a:pt x="1908" y="1702"/>
                  <a:pt x="1908" y="1671"/>
                </a:cubicBezTo>
                <a:lnTo>
                  <a:pt x="1908" y="557"/>
                </a:lnTo>
                <a:cubicBezTo>
                  <a:pt x="1908" y="509"/>
                  <a:pt x="1876" y="478"/>
                  <a:pt x="1829" y="478"/>
                </a:cubicBezTo>
                <a:close/>
                <a:moveTo>
                  <a:pt x="1749" y="1591"/>
                </a:moveTo>
                <a:lnTo>
                  <a:pt x="1431" y="1591"/>
                </a:lnTo>
                <a:lnTo>
                  <a:pt x="1431" y="637"/>
                </a:lnTo>
                <a:lnTo>
                  <a:pt x="1749" y="637"/>
                </a:lnTo>
                <a:close/>
                <a:moveTo>
                  <a:pt x="2624" y="478"/>
                </a:moveTo>
                <a:lnTo>
                  <a:pt x="2147" y="478"/>
                </a:lnTo>
                <a:cubicBezTo>
                  <a:pt x="2099" y="478"/>
                  <a:pt x="2067" y="509"/>
                  <a:pt x="2067" y="557"/>
                </a:cubicBezTo>
                <a:lnTo>
                  <a:pt x="2067" y="1671"/>
                </a:lnTo>
                <a:cubicBezTo>
                  <a:pt x="2067" y="1702"/>
                  <a:pt x="2099" y="1750"/>
                  <a:pt x="2147" y="1750"/>
                </a:cubicBezTo>
                <a:lnTo>
                  <a:pt x="2624" y="1750"/>
                </a:lnTo>
                <a:cubicBezTo>
                  <a:pt x="2672" y="1750"/>
                  <a:pt x="2704" y="1702"/>
                  <a:pt x="2704" y="1671"/>
                </a:cubicBezTo>
                <a:lnTo>
                  <a:pt x="2704" y="557"/>
                </a:lnTo>
                <a:cubicBezTo>
                  <a:pt x="2704" y="509"/>
                  <a:pt x="2672" y="478"/>
                  <a:pt x="2624" y="478"/>
                </a:cubicBezTo>
                <a:close/>
                <a:moveTo>
                  <a:pt x="2545" y="1591"/>
                </a:moveTo>
                <a:lnTo>
                  <a:pt x="2227" y="1591"/>
                </a:lnTo>
                <a:lnTo>
                  <a:pt x="2227" y="637"/>
                </a:lnTo>
                <a:lnTo>
                  <a:pt x="2545" y="637"/>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1" name="TextBox 110">
            <a:extLst>
              <a:ext uri="{FF2B5EF4-FFF2-40B4-BE49-F238E27FC236}">
                <a16:creationId xmlns:a16="http://schemas.microsoft.com/office/drawing/2014/main" id="{49C5CFB3-E47D-FA46-A550-B989C46C23AF}"/>
              </a:ext>
            </a:extLst>
          </p:cNvPr>
          <p:cNvSpPr txBox="1"/>
          <p:nvPr/>
        </p:nvSpPr>
        <p:spPr>
          <a:xfrm>
            <a:off x="20244795" y="8320123"/>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A Battery</a:t>
            </a:r>
          </a:p>
        </p:txBody>
      </p:sp>
      <p:sp>
        <p:nvSpPr>
          <p:cNvPr id="112" name="Freeform: Shape 10">
            <a:extLst>
              <a:ext uri="{FF2B5EF4-FFF2-40B4-BE49-F238E27FC236}">
                <a16:creationId xmlns:a16="http://schemas.microsoft.com/office/drawing/2014/main" id="{B247854C-E387-5E44-9112-83FCD246B3B3}"/>
              </a:ext>
            </a:extLst>
          </p:cNvPr>
          <p:cNvSpPr/>
          <p:nvPr/>
        </p:nvSpPr>
        <p:spPr>
          <a:xfrm>
            <a:off x="21356178" y="6072092"/>
            <a:ext cx="864359" cy="1912319"/>
          </a:xfrm>
          <a:custGeom>
            <a:avLst/>
            <a:gdLst/>
            <a:ahLst/>
            <a:cxnLst>
              <a:cxn ang="3cd4">
                <a:pos x="hc" y="t"/>
              </a:cxn>
              <a:cxn ang="cd2">
                <a:pos x="l" y="vc"/>
              </a:cxn>
              <a:cxn ang="cd4">
                <a:pos x="hc" y="b"/>
              </a:cxn>
              <a:cxn ang="0">
                <a:pos x="r" y="vc"/>
              </a:cxn>
            </a:cxnLst>
            <a:rect l="l" t="t" r="r" b="b"/>
            <a:pathLst>
              <a:path w="2402" h="5313">
                <a:moveTo>
                  <a:pt x="1415" y="0"/>
                </a:moveTo>
                <a:lnTo>
                  <a:pt x="986" y="0"/>
                </a:lnTo>
                <a:cubicBezTo>
                  <a:pt x="858" y="0"/>
                  <a:pt x="747" y="112"/>
                  <a:pt x="747" y="239"/>
                </a:cubicBezTo>
                <a:lnTo>
                  <a:pt x="747" y="541"/>
                </a:lnTo>
                <a:lnTo>
                  <a:pt x="652" y="541"/>
                </a:lnTo>
                <a:cubicBezTo>
                  <a:pt x="286" y="541"/>
                  <a:pt x="0" y="827"/>
                  <a:pt x="0" y="1193"/>
                </a:cubicBezTo>
                <a:lnTo>
                  <a:pt x="0" y="4660"/>
                </a:lnTo>
                <a:cubicBezTo>
                  <a:pt x="0" y="5010"/>
                  <a:pt x="286" y="5313"/>
                  <a:pt x="652" y="5313"/>
                </a:cubicBezTo>
                <a:lnTo>
                  <a:pt x="1749" y="5313"/>
                </a:lnTo>
                <a:cubicBezTo>
                  <a:pt x="2115" y="5313"/>
                  <a:pt x="2402" y="5010"/>
                  <a:pt x="2402" y="4660"/>
                </a:cubicBezTo>
                <a:lnTo>
                  <a:pt x="2402" y="1193"/>
                </a:lnTo>
                <a:cubicBezTo>
                  <a:pt x="2402" y="827"/>
                  <a:pt x="2115" y="541"/>
                  <a:pt x="1749" y="541"/>
                </a:cubicBezTo>
                <a:lnTo>
                  <a:pt x="1654" y="541"/>
                </a:lnTo>
                <a:lnTo>
                  <a:pt x="1654" y="239"/>
                </a:lnTo>
                <a:cubicBezTo>
                  <a:pt x="1654" y="112"/>
                  <a:pt x="1542" y="0"/>
                  <a:pt x="1415" y="0"/>
                </a:cubicBezTo>
                <a:close/>
                <a:moveTo>
                  <a:pt x="1749" y="700"/>
                </a:moveTo>
                <a:cubicBezTo>
                  <a:pt x="2020" y="700"/>
                  <a:pt x="2242" y="923"/>
                  <a:pt x="2242" y="1193"/>
                </a:cubicBezTo>
                <a:lnTo>
                  <a:pt x="2242" y="4660"/>
                </a:lnTo>
                <a:cubicBezTo>
                  <a:pt x="2242" y="4931"/>
                  <a:pt x="2020" y="5154"/>
                  <a:pt x="1749" y="5154"/>
                </a:cubicBezTo>
                <a:lnTo>
                  <a:pt x="652" y="5154"/>
                </a:lnTo>
                <a:cubicBezTo>
                  <a:pt x="381" y="5154"/>
                  <a:pt x="158" y="4931"/>
                  <a:pt x="158" y="4660"/>
                </a:cubicBezTo>
                <a:lnTo>
                  <a:pt x="158" y="1193"/>
                </a:lnTo>
                <a:cubicBezTo>
                  <a:pt x="158" y="923"/>
                  <a:pt x="381" y="700"/>
                  <a:pt x="652" y="700"/>
                </a:cubicBezTo>
                <a:lnTo>
                  <a:pt x="906" y="700"/>
                </a:lnTo>
                <a:lnTo>
                  <a:pt x="906" y="239"/>
                </a:lnTo>
                <a:cubicBezTo>
                  <a:pt x="906" y="191"/>
                  <a:pt x="938" y="159"/>
                  <a:pt x="986" y="159"/>
                </a:cubicBezTo>
                <a:lnTo>
                  <a:pt x="1415" y="159"/>
                </a:lnTo>
                <a:cubicBezTo>
                  <a:pt x="1463" y="159"/>
                  <a:pt x="1495" y="191"/>
                  <a:pt x="1495" y="239"/>
                </a:cubicBezTo>
                <a:lnTo>
                  <a:pt x="1495" y="700"/>
                </a:lnTo>
                <a:close/>
                <a:moveTo>
                  <a:pt x="1304" y="1400"/>
                </a:moveTo>
                <a:cubicBezTo>
                  <a:pt x="1304" y="1352"/>
                  <a:pt x="1256" y="1320"/>
                  <a:pt x="1224" y="1320"/>
                </a:cubicBezTo>
                <a:cubicBezTo>
                  <a:pt x="1176" y="1320"/>
                  <a:pt x="1145" y="1352"/>
                  <a:pt x="1145" y="1400"/>
                </a:cubicBezTo>
                <a:lnTo>
                  <a:pt x="1145" y="1702"/>
                </a:lnTo>
                <a:lnTo>
                  <a:pt x="827" y="1702"/>
                </a:lnTo>
                <a:cubicBezTo>
                  <a:pt x="779" y="1702"/>
                  <a:pt x="747" y="1750"/>
                  <a:pt x="747" y="1781"/>
                </a:cubicBezTo>
                <a:cubicBezTo>
                  <a:pt x="747" y="1829"/>
                  <a:pt x="779" y="1861"/>
                  <a:pt x="827" y="1861"/>
                </a:cubicBezTo>
                <a:lnTo>
                  <a:pt x="1145" y="1861"/>
                </a:lnTo>
                <a:lnTo>
                  <a:pt x="1145" y="2179"/>
                </a:lnTo>
                <a:cubicBezTo>
                  <a:pt x="1145" y="2227"/>
                  <a:pt x="1176" y="2259"/>
                  <a:pt x="1224" y="2259"/>
                </a:cubicBezTo>
                <a:cubicBezTo>
                  <a:pt x="1256" y="2259"/>
                  <a:pt x="1304" y="2227"/>
                  <a:pt x="1304" y="2179"/>
                </a:cubicBezTo>
                <a:lnTo>
                  <a:pt x="1304" y="1861"/>
                </a:lnTo>
                <a:lnTo>
                  <a:pt x="1606" y="1861"/>
                </a:lnTo>
                <a:cubicBezTo>
                  <a:pt x="1654" y="1861"/>
                  <a:pt x="1685" y="1829"/>
                  <a:pt x="1685" y="1781"/>
                </a:cubicBezTo>
                <a:cubicBezTo>
                  <a:pt x="1685" y="1750"/>
                  <a:pt x="1654" y="1702"/>
                  <a:pt x="1606" y="1702"/>
                </a:cubicBezTo>
                <a:lnTo>
                  <a:pt x="1304" y="1702"/>
                </a:lnTo>
                <a:close/>
                <a:moveTo>
                  <a:pt x="1606" y="4279"/>
                </a:moveTo>
                <a:lnTo>
                  <a:pt x="827" y="4279"/>
                </a:lnTo>
                <a:cubicBezTo>
                  <a:pt x="779" y="4279"/>
                  <a:pt x="747" y="4311"/>
                  <a:pt x="747" y="4358"/>
                </a:cubicBezTo>
                <a:cubicBezTo>
                  <a:pt x="747" y="4390"/>
                  <a:pt x="779" y="4422"/>
                  <a:pt x="827" y="4422"/>
                </a:cubicBezTo>
                <a:lnTo>
                  <a:pt x="1606" y="4422"/>
                </a:lnTo>
                <a:cubicBezTo>
                  <a:pt x="1654" y="4422"/>
                  <a:pt x="1685" y="4390"/>
                  <a:pt x="1685" y="4358"/>
                </a:cubicBezTo>
                <a:cubicBezTo>
                  <a:pt x="1685" y="4311"/>
                  <a:pt x="1654" y="4279"/>
                  <a:pt x="1606" y="427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3" name="TextBox 112">
            <a:extLst>
              <a:ext uri="{FF2B5EF4-FFF2-40B4-BE49-F238E27FC236}">
                <a16:creationId xmlns:a16="http://schemas.microsoft.com/office/drawing/2014/main" id="{DD754E93-A8B0-554F-AEBC-1E6FE3692E02}"/>
              </a:ext>
            </a:extLst>
          </p:cNvPr>
          <p:cNvSpPr txBox="1"/>
          <p:nvPr/>
        </p:nvSpPr>
        <p:spPr>
          <a:xfrm>
            <a:off x="20420163" y="11724053"/>
            <a:ext cx="276774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ttery 4</a:t>
            </a:r>
          </a:p>
        </p:txBody>
      </p:sp>
      <p:sp>
        <p:nvSpPr>
          <p:cNvPr id="114" name="Freeform: Shape 5">
            <a:extLst>
              <a:ext uri="{FF2B5EF4-FFF2-40B4-BE49-F238E27FC236}">
                <a16:creationId xmlns:a16="http://schemas.microsoft.com/office/drawing/2014/main" id="{0A2D8165-EA65-3849-AFB7-50D9F30BE091}"/>
              </a:ext>
            </a:extLst>
          </p:cNvPr>
          <p:cNvSpPr/>
          <p:nvPr/>
        </p:nvSpPr>
        <p:spPr>
          <a:xfrm>
            <a:off x="21066069" y="9870942"/>
            <a:ext cx="1602720" cy="795600"/>
          </a:xfrm>
          <a:custGeom>
            <a:avLst/>
            <a:gdLst/>
            <a:ahLst/>
            <a:cxnLst>
              <a:cxn ang="3cd4">
                <a:pos x="hc" y="t"/>
              </a:cxn>
              <a:cxn ang="cd2">
                <a:pos x="l" y="vc"/>
              </a:cxn>
              <a:cxn ang="cd4">
                <a:pos x="hc" y="b"/>
              </a:cxn>
              <a:cxn ang="0">
                <a:pos x="r" y="vc"/>
              </a:cxn>
            </a:cxnLst>
            <a:rect l="l" t="t" r="r" b="b"/>
            <a:pathLst>
              <a:path w="4453" h="2211">
                <a:moveTo>
                  <a:pt x="4374" y="637"/>
                </a:moveTo>
                <a:lnTo>
                  <a:pt x="3977" y="637"/>
                </a:lnTo>
                <a:lnTo>
                  <a:pt x="3977" y="398"/>
                </a:lnTo>
                <a:cubicBezTo>
                  <a:pt x="3977" y="176"/>
                  <a:pt x="3801" y="0"/>
                  <a:pt x="3579" y="0"/>
                </a:cubicBezTo>
                <a:lnTo>
                  <a:pt x="398" y="0"/>
                </a:lnTo>
                <a:cubicBezTo>
                  <a:pt x="175" y="0"/>
                  <a:pt x="0" y="176"/>
                  <a:pt x="0" y="398"/>
                </a:cubicBezTo>
                <a:lnTo>
                  <a:pt x="0" y="1830"/>
                </a:lnTo>
                <a:cubicBezTo>
                  <a:pt x="0" y="2036"/>
                  <a:pt x="175" y="2211"/>
                  <a:pt x="398" y="2211"/>
                </a:cubicBezTo>
                <a:lnTo>
                  <a:pt x="3579" y="2211"/>
                </a:lnTo>
                <a:cubicBezTo>
                  <a:pt x="3801" y="2211"/>
                  <a:pt x="3977" y="2036"/>
                  <a:pt x="3977" y="1830"/>
                </a:cubicBezTo>
                <a:lnTo>
                  <a:pt x="3977" y="1591"/>
                </a:lnTo>
                <a:lnTo>
                  <a:pt x="4374" y="1591"/>
                </a:lnTo>
                <a:cubicBezTo>
                  <a:pt x="4406" y="1591"/>
                  <a:pt x="4453" y="1544"/>
                  <a:pt x="4453" y="1512"/>
                </a:cubicBezTo>
                <a:lnTo>
                  <a:pt x="4453" y="717"/>
                </a:lnTo>
                <a:cubicBezTo>
                  <a:pt x="4453" y="669"/>
                  <a:pt x="4406" y="637"/>
                  <a:pt x="4374" y="637"/>
                </a:cubicBezTo>
                <a:close/>
                <a:moveTo>
                  <a:pt x="3817" y="717"/>
                </a:moveTo>
                <a:lnTo>
                  <a:pt x="3817" y="1512"/>
                </a:lnTo>
                <a:lnTo>
                  <a:pt x="3817" y="1830"/>
                </a:lnTo>
                <a:cubicBezTo>
                  <a:pt x="3817" y="1957"/>
                  <a:pt x="3706" y="2053"/>
                  <a:pt x="3579" y="2053"/>
                </a:cubicBezTo>
                <a:lnTo>
                  <a:pt x="398" y="2053"/>
                </a:lnTo>
                <a:cubicBezTo>
                  <a:pt x="271" y="2053"/>
                  <a:pt x="159" y="1957"/>
                  <a:pt x="159" y="1830"/>
                </a:cubicBezTo>
                <a:lnTo>
                  <a:pt x="159" y="398"/>
                </a:lnTo>
                <a:cubicBezTo>
                  <a:pt x="159" y="255"/>
                  <a:pt x="271" y="160"/>
                  <a:pt x="398" y="160"/>
                </a:cubicBezTo>
                <a:lnTo>
                  <a:pt x="3579" y="160"/>
                </a:lnTo>
                <a:cubicBezTo>
                  <a:pt x="3706" y="160"/>
                  <a:pt x="3817" y="255"/>
                  <a:pt x="3817" y="398"/>
                </a:cubicBezTo>
                <a:close/>
                <a:moveTo>
                  <a:pt x="4295" y="1432"/>
                </a:moveTo>
                <a:lnTo>
                  <a:pt x="3977" y="1432"/>
                </a:lnTo>
                <a:lnTo>
                  <a:pt x="3977" y="796"/>
                </a:lnTo>
                <a:lnTo>
                  <a:pt x="4295" y="796"/>
                </a:lnTo>
                <a:close/>
                <a:moveTo>
                  <a:pt x="1034" y="478"/>
                </a:moveTo>
                <a:lnTo>
                  <a:pt x="557" y="478"/>
                </a:lnTo>
                <a:cubicBezTo>
                  <a:pt x="509" y="478"/>
                  <a:pt x="477" y="509"/>
                  <a:pt x="477" y="557"/>
                </a:cubicBezTo>
                <a:lnTo>
                  <a:pt x="477" y="1671"/>
                </a:lnTo>
                <a:cubicBezTo>
                  <a:pt x="477" y="1702"/>
                  <a:pt x="509" y="1750"/>
                  <a:pt x="557" y="1750"/>
                </a:cubicBezTo>
                <a:lnTo>
                  <a:pt x="1034" y="1750"/>
                </a:lnTo>
                <a:cubicBezTo>
                  <a:pt x="1081" y="1750"/>
                  <a:pt x="1114" y="1702"/>
                  <a:pt x="1114" y="1671"/>
                </a:cubicBezTo>
                <a:lnTo>
                  <a:pt x="1114" y="557"/>
                </a:lnTo>
                <a:cubicBezTo>
                  <a:pt x="1114" y="509"/>
                  <a:pt x="1081" y="478"/>
                  <a:pt x="1034" y="478"/>
                </a:cubicBezTo>
                <a:close/>
                <a:moveTo>
                  <a:pt x="954" y="1591"/>
                </a:moveTo>
                <a:lnTo>
                  <a:pt x="636" y="1591"/>
                </a:lnTo>
                <a:lnTo>
                  <a:pt x="636" y="637"/>
                </a:lnTo>
                <a:lnTo>
                  <a:pt x="954" y="637"/>
                </a:lnTo>
                <a:close/>
                <a:moveTo>
                  <a:pt x="1829" y="478"/>
                </a:moveTo>
                <a:lnTo>
                  <a:pt x="1352" y="478"/>
                </a:lnTo>
                <a:cubicBezTo>
                  <a:pt x="1304" y="478"/>
                  <a:pt x="1272" y="509"/>
                  <a:pt x="1272" y="557"/>
                </a:cubicBezTo>
                <a:lnTo>
                  <a:pt x="1272" y="1671"/>
                </a:lnTo>
                <a:cubicBezTo>
                  <a:pt x="1272" y="1702"/>
                  <a:pt x="1304" y="1750"/>
                  <a:pt x="1352" y="1750"/>
                </a:cubicBezTo>
                <a:lnTo>
                  <a:pt x="1829" y="1750"/>
                </a:lnTo>
                <a:cubicBezTo>
                  <a:pt x="1877" y="1750"/>
                  <a:pt x="1909" y="1702"/>
                  <a:pt x="1909" y="1671"/>
                </a:cubicBezTo>
                <a:lnTo>
                  <a:pt x="1909" y="557"/>
                </a:lnTo>
                <a:cubicBezTo>
                  <a:pt x="1909" y="509"/>
                  <a:pt x="1877" y="478"/>
                  <a:pt x="1829" y="478"/>
                </a:cubicBezTo>
                <a:close/>
                <a:moveTo>
                  <a:pt x="1750" y="1591"/>
                </a:moveTo>
                <a:lnTo>
                  <a:pt x="1432" y="1591"/>
                </a:lnTo>
                <a:lnTo>
                  <a:pt x="1432" y="637"/>
                </a:lnTo>
                <a:lnTo>
                  <a:pt x="1750" y="637"/>
                </a:lnTo>
                <a:close/>
                <a:moveTo>
                  <a:pt x="2624" y="478"/>
                </a:moveTo>
                <a:lnTo>
                  <a:pt x="2147" y="478"/>
                </a:lnTo>
                <a:cubicBezTo>
                  <a:pt x="2099" y="478"/>
                  <a:pt x="2068" y="509"/>
                  <a:pt x="2068" y="557"/>
                </a:cubicBezTo>
                <a:lnTo>
                  <a:pt x="2068" y="1671"/>
                </a:lnTo>
                <a:cubicBezTo>
                  <a:pt x="2068" y="1702"/>
                  <a:pt x="2099" y="1750"/>
                  <a:pt x="2147" y="1750"/>
                </a:cubicBezTo>
                <a:lnTo>
                  <a:pt x="2624" y="1750"/>
                </a:lnTo>
                <a:cubicBezTo>
                  <a:pt x="2672" y="1750"/>
                  <a:pt x="2704" y="1702"/>
                  <a:pt x="2704" y="1671"/>
                </a:cubicBezTo>
                <a:lnTo>
                  <a:pt x="2704" y="557"/>
                </a:lnTo>
                <a:cubicBezTo>
                  <a:pt x="2704" y="509"/>
                  <a:pt x="2672" y="478"/>
                  <a:pt x="2624" y="478"/>
                </a:cubicBezTo>
                <a:close/>
                <a:moveTo>
                  <a:pt x="2545" y="1591"/>
                </a:moveTo>
                <a:lnTo>
                  <a:pt x="2227" y="1591"/>
                </a:lnTo>
                <a:lnTo>
                  <a:pt x="2227" y="637"/>
                </a:lnTo>
                <a:lnTo>
                  <a:pt x="2545" y="637"/>
                </a:lnTo>
                <a:close/>
                <a:moveTo>
                  <a:pt x="3420" y="478"/>
                </a:moveTo>
                <a:lnTo>
                  <a:pt x="2943" y="478"/>
                </a:lnTo>
                <a:cubicBezTo>
                  <a:pt x="2895" y="478"/>
                  <a:pt x="2863" y="509"/>
                  <a:pt x="2863" y="557"/>
                </a:cubicBezTo>
                <a:lnTo>
                  <a:pt x="2863" y="1671"/>
                </a:lnTo>
                <a:cubicBezTo>
                  <a:pt x="2863" y="1702"/>
                  <a:pt x="2895" y="1750"/>
                  <a:pt x="2943" y="1750"/>
                </a:cubicBezTo>
                <a:lnTo>
                  <a:pt x="3420" y="1750"/>
                </a:lnTo>
                <a:cubicBezTo>
                  <a:pt x="3468" y="1750"/>
                  <a:pt x="3499" y="1702"/>
                  <a:pt x="3499" y="1671"/>
                </a:cubicBezTo>
                <a:lnTo>
                  <a:pt x="3499" y="557"/>
                </a:lnTo>
                <a:cubicBezTo>
                  <a:pt x="3499" y="509"/>
                  <a:pt x="3468" y="478"/>
                  <a:pt x="3420" y="478"/>
                </a:cubicBezTo>
                <a:close/>
                <a:moveTo>
                  <a:pt x="3340" y="1591"/>
                </a:moveTo>
                <a:lnTo>
                  <a:pt x="3022" y="1591"/>
                </a:lnTo>
                <a:lnTo>
                  <a:pt x="3022" y="637"/>
                </a:lnTo>
                <a:lnTo>
                  <a:pt x="3340" y="637"/>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55613943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Devices - 1</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10" name="TextBox 9">
            <a:extLst>
              <a:ext uri="{FF2B5EF4-FFF2-40B4-BE49-F238E27FC236}">
                <a16:creationId xmlns:a16="http://schemas.microsoft.com/office/drawing/2014/main" id="{2CC606F8-9694-424D-8E6B-9BE3195A7887}"/>
              </a:ext>
            </a:extLst>
          </p:cNvPr>
          <p:cNvSpPr txBox="1"/>
          <p:nvPr/>
        </p:nvSpPr>
        <p:spPr>
          <a:xfrm>
            <a:off x="1176622" y="11799653"/>
            <a:ext cx="276774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elephone</a:t>
            </a:r>
          </a:p>
        </p:txBody>
      </p:sp>
      <p:sp>
        <p:nvSpPr>
          <p:cNvPr id="11" name="TextBox 10">
            <a:extLst>
              <a:ext uri="{FF2B5EF4-FFF2-40B4-BE49-F238E27FC236}">
                <a16:creationId xmlns:a16="http://schemas.microsoft.com/office/drawing/2014/main" id="{581DDB9F-BD7D-9B4D-8BED-B7484682C2E6}"/>
              </a:ext>
            </a:extLst>
          </p:cNvPr>
          <p:cNvSpPr txBox="1"/>
          <p:nvPr/>
        </p:nvSpPr>
        <p:spPr>
          <a:xfrm>
            <a:off x="836628" y="852533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DA</a:t>
            </a:r>
          </a:p>
        </p:txBody>
      </p:sp>
      <p:sp>
        <p:nvSpPr>
          <p:cNvPr id="12" name="TextBox 11">
            <a:extLst>
              <a:ext uri="{FF2B5EF4-FFF2-40B4-BE49-F238E27FC236}">
                <a16:creationId xmlns:a16="http://schemas.microsoft.com/office/drawing/2014/main" id="{E10809EC-47A3-9A4C-9C05-51448F5C07C2}"/>
              </a:ext>
            </a:extLst>
          </p:cNvPr>
          <p:cNvSpPr txBox="1"/>
          <p:nvPr/>
        </p:nvSpPr>
        <p:spPr>
          <a:xfrm>
            <a:off x="16254031"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mart Phone 2</a:t>
            </a:r>
          </a:p>
        </p:txBody>
      </p:sp>
      <p:sp>
        <p:nvSpPr>
          <p:cNvPr id="13" name="TextBox 12">
            <a:extLst>
              <a:ext uri="{FF2B5EF4-FFF2-40B4-BE49-F238E27FC236}">
                <a16:creationId xmlns:a16="http://schemas.microsoft.com/office/drawing/2014/main" id="{E9366B7A-785C-434D-9ABC-CC56081F9DB6}"/>
              </a:ext>
            </a:extLst>
          </p:cNvPr>
          <p:cNvSpPr txBox="1"/>
          <p:nvPr/>
        </p:nvSpPr>
        <p:spPr>
          <a:xfrm>
            <a:off x="8942016"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blet</a:t>
            </a:r>
          </a:p>
        </p:txBody>
      </p:sp>
      <p:sp>
        <p:nvSpPr>
          <p:cNvPr id="14" name="TextBox 13">
            <a:extLst>
              <a:ext uri="{FF2B5EF4-FFF2-40B4-BE49-F238E27FC236}">
                <a16:creationId xmlns:a16="http://schemas.microsoft.com/office/drawing/2014/main" id="{7DA1FCE8-4AAF-D843-BF25-1966323D9BDC}"/>
              </a:ext>
            </a:extLst>
          </p:cNvPr>
          <p:cNvSpPr txBox="1"/>
          <p:nvPr/>
        </p:nvSpPr>
        <p:spPr>
          <a:xfrm>
            <a:off x="5333578" y="5181222"/>
            <a:ext cx="311233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Phone</a:t>
            </a:r>
          </a:p>
        </p:txBody>
      </p:sp>
      <p:sp>
        <p:nvSpPr>
          <p:cNvPr id="15" name="TextBox 14">
            <a:extLst>
              <a:ext uri="{FF2B5EF4-FFF2-40B4-BE49-F238E27FC236}">
                <a16:creationId xmlns:a16="http://schemas.microsoft.com/office/drawing/2014/main" id="{A1ABE9FF-E489-BE46-930C-A281A88E52CE}"/>
              </a:ext>
            </a:extLst>
          </p:cNvPr>
          <p:cNvSpPr txBox="1"/>
          <p:nvPr/>
        </p:nvSpPr>
        <p:spPr>
          <a:xfrm>
            <a:off x="12657998" y="5181222"/>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hat</a:t>
            </a:r>
          </a:p>
        </p:txBody>
      </p:sp>
      <p:sp>
        <p:nvSpPr>
          <p:cNvPr id="16" name="Freeform: Shape 26">
            <a:extLst>
              <a:ext uri="{FF2B5EF4-FFF2-40B4-BE49-F238E27FC236}">
                <a16:creationId xmlns:a16="http://schemas.microsoft.com/office/drawing/2014/main" id="{CD74F622-0422-A94F-B547-89E9CAF4C0C9}"/>
              </a:ext>
            </a:extLst>
          </p:cNvPr>
          <p:cNvSpPr/>
          <p:nvPr/>
        </p:nvSpPr>
        <p:spPr>
          <a:xfrm>
            <a:off x="10724347"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7" name="TextBox 16">
            <a:extLst>
              <a:ext uri="{FF2B5EF4-FFF2-40B4-BE49-F238E27FC236}">
                <a16:creationId xmlns:a16="http://schemas.microsoft.com/office/drawing/2014/main" id="{66CD2D1C-E3C8-0B4A-AC0E-DF657D01AF6B}"/>
              </a:ext>
            </a:extLst>
          </p:cNvPr>
          <p:cNvSpPr txBox="1"/>
          <p:nvPr/>
        </p:nvSpPr>
        <p:spPr>
          <a:xfrm>
            <a:off x="9103617" y="5181222"/>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Phone 2</a:t>
            </a:r>
          </a:p>
        </p:txBody>
      </p:sp>
      <p:sp>
        <p:nvSpPr>
          <p:cNvPr id="18" name="Freeform: Shape 2">
            <a:extLst>
              <a:ext uri="{FF2B5EF4-FFF2-40B4-BE49-F238E27FC236}">
                <a16:creationId xmlns:a16="http://schemas.microsoft.com/office/drawing/2014/main" id="{3C8100D1-5EF8-9840-B1E0-E5C351D85814}"/>
              </a:ext>
            </a:extLst>
          </p:cNvPr>
          <p:cNvSpPr/>
          <p:nvPr/>
        </p:nvSpPr>
        <p:spPr>
          <a:xfrm>
            <a:off x="1745452" y="9726685"/>
            <a:ext cx="1630079" cy="1625760"/>
          </a:xfrm>
          <a:custGeom>
            <a:avLst/>
            <a:gdLst/>
            <a:ahLst/>
            <a:cxnLst>
              <a:cxn ang="3cd4">
                <a:pos x="hc" y="t"/>
              </a:cxn>
              <a:cxn ang="cd2">
                <a:pos x="l" y="vc"/>
              </a:cxn>
              <a:cxn ang="cd4">
                <a:pos x="hc" y="b"/>
              </a:cxn>
              <a:cxn ang="0">
                <a:pos x="r" y="vc"/>
              </a:cxn>
            </a:cxnLst>
            <a:rect l="l" t="t" r="r" b="b"/>
            <a:pathLst>
              <a:path w="4529" h="4517">
                <a:moveTo>
                  <a:pt x="1046" y="1050"/>
                </a:moveTo>
                <a:cubicBezTo>
                  <a:pt x="521" y="1575"/>
                  <a:pt x="155" y="2227"/>
                  <a:pt x="43" y="2879"/>
                </a:cubicBezTo>
                <a:cubicBezTo>
                  <a:pt x="-84" y="3531"/>
                  <a:pt x="76" y="4104"/>
                  <a:pt x="457" y="4486"/>
                </a:cubicBezTo>
                <a:cubicBezTo>
                  <a:pt x="473" y="4501"/>
                  <a:pt x="489" y="4517"/>
                  <a:pt x="521" y="4517"/>
                </a:cubicBezTo>
                <a:cubicBezTo>
                  <a:pt x="616" y="4517"/>
                  <a:pt x="839" y="4422"/>
                  <a:pt x="1364" y="3897"/>
                </a:cubicBezTo>
                <a:cubicBezTo>
                  <a:pt x="1825" y="3420"/>
                  <a:pt x="1666" y="3117"/>
                  <a:pt x="1523" y="2974"/>
                </a:cubicBezTo>
                <a:cubicBezTo>
                  <a:pt x="1427" y="2879"/>
                  <a:pt x="1300" y="2847"/>
                  <a:pt x="1173" y="2879"/>
                </a:cubicBezTo>
                <a:cubicBezTo>
                  <a:pt x="1141" y="2465"/>
                  <a:pt x="1316" y="2004"/>
                  <a:pt x="1666" y="1654"/>
                </a:cubicBezTo>
                <a:cubicBezTo>
                  <a:pt x="2016" y="1304"/>
                  <a:pt x="2461" y="1129"/>
                  <a:pt x="2891" y="1177"/>
                </a:cubicBezTo>
                <a:cubicBezTo>
                  <a:pt x="2859" y="1289"/>
                  <a:pt x="2891" y="1432"/>
                  <a:pt x="2986" y="1527"/>
                </a:cubicBezTo>
                <a:cubicBezTo>
                  <a:pt x="3145" y="1670"/>
                  <a:pt x="3511" y="1750"/>
                  <a:pt x="3909" y="1352"/>
                </a:cubicBezTo>
                <a:cubicBezTo>
                  <a:pt x="4306" y="938"/>
                  <a:pt x="4529" y="652"/>
                  <a:pt x="4529" y="525"/>
                </a:cubicBezTo>
                <a:cubicBezTo>
                  <a:pt x="4529" y="477"/>
                  <a:pt x="4497" y="462"/>
                  <a:pt x="4497" y="445"/>
                </a:cubicBezTo>
                <a:cubicBezTo>
                  <a:pt x="3718" y="-334"/>
                  <a:pt x="2159" y="-64"/>
                  <a:pt x="1046" y="1050"/>
                </a:cubicBezTo>
                <a:close/>
                <a:moveTo>
                  <a:pt x="3797" y="1241"/>
                </a:moveTo>
                <a:cubicBezTo>
                  <a:pt x="3479" y="1543"/>
                  <a:pt x="3209" y="1511"/>
                  <a:pt x="3097" y="1400"/>
                </a:cubicBezTo>
                <a:cubicBezTo>
                  <a:pt x="3034" y="1336"/>
                  <a:pt x="3018" y="1225"/>
                  <a:pt x="3066" y="1145"/>
                </a:cubicBezTo>
                <a:cubicBezTo>
                  <a:pt x="3082" y="1114"/>
                  <a:pt x="3082" y="1098"/>
                  <a:pt x="3066" y="1066"/>
                </a:cubicBezTo>
                <a:cubicBezTo>
                  <a:pt x="3050" y="1050"/>
                  <a:pt x="3034" y="1034"/>
                  <a:pt x="3002" y="1034"/>
                </a:cubicBezTo>
                <a:cubicBezTo>
                  <a:pt x="2509" y="938"/>
                  <a:pt x="1952" y="1145"/>
                  <a:pt x="1555" y="1543"/>
                </a:cubicBezTo>
                <a:cubicBezTo>
                  <a:pt x="1141" y="1956"/>
                  <a:pt x="950" y="2513"/>
                  <a:pt x="1030" y="3006"/>
                </a:cubicBezTo>
                <a:cubicBezTo>
                  <a:pt x="1046" y="3022"/>
                  <a:pt x="1061" y="3038"/>
                  <a:pt x="1077" y="3054"/>
                </a:cubicBezTo>
                <a:cubicBezTo>
                  <a:pt x="1093" y="3070"/>
                  <a:pt x="1125" y="3070"/>
                  <a:pt x="1157" y="3054"/>
                </a:cubicBezTo>
                <a:cubicBezTo>
                  <a:pt x="1237" y="3006"/>
                  <a:pt x="1348" y="3022"/>
                  <a:pt x="1412" y="3102"/>
                </a:cubicBezTo>
                <a:cubicBezTo>
                  <a:pt x="1586" y="3261"/>
                  <a:pt x="1539" y="3499"/>
                  <a:pt x="1252" y="3786"/>
                </a:cubicBezTo>
                <a:cubicBezTo>
                  <a:pt x="775" y="4263"/>
                  <a:pt x="600" y="4343"/>
                  <a:pt x="552" y="4358"/>
                </a:cubicBezTo>
                <a:cubicBezTo>
                  <a:pt x="219" y="4008"/>
                  <a:pt x="91" y="3499"/>
                  <a:pt x="203" y="2911"/>
                </a:cubicBezTo>
                <a:cubicBezTo>
                  <a:pt x="314" y="2290"/>
                  <a:pt x="648" y="1670"/>
                  <a:pt x="1173" y="1161"/>
                </a:cubicBezTo>
                <a:cubicBezTo>
                  <a:pt x="2207" y="111"/>
                  <a:pt x="3638" y="-159"/>
                  <a:pt x="4354" y="541"/>
                </a:cubicBezTo>
                <a:cubicBezTo>
                  <a:pt x="4354" y="589"/>
                  <a:pt x="4258" y="763"/>
                  <a:pt x="3797" y="124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9" name="Freeform: Shape 5">
            <a:extLst>
              <a:ext uri="{FF2B5EF4-FFF2-40B4-BE49-F238E27FC236}">
                <a16:creationId xmlns:a16="http://schemas.microsoft.com/office/drawing/2014/main" id="{A44D8C22-8F22-EA44-9007-33C9EF411CB8}"/>
              </a:ext>
            </a:extLst>
          </p:cNvPr>
          <p:cNvSpPr/>
          <p:nvPr/>
        </p:nvSpPr>
        <p:spPr>
          <a:xfrm>
            <a:off x="17435595" y="3034721"/>
            <a:ext cx="978840" cy="1740239"/>
          </a:xfrm>
          <a:custGeom>
            <a:avLst/>
            <a:gdLst/>
            <a:ahLst/>
            <a:cxnLst>
              <a:cxn ang="3cd4">
                <a:pos x="hc" y="t"/>
              </a:cxn>
              <a:cxn ang="cd2">
                <a:pos x="l" y="vc"/>
              </a:cxn>
              <a:cxn ang="cd4">
                <a:pos x="hc" y="b"/>
              </a:cxn>
              <a:cxn ang="0">
                <a:pos x="r" y="vc"/>
              </a:cxn>
            </a:cxnLst>
            <a:rect l="l" t="t" r="r" b="b"/>
            <a:pathLst>
              <a:path w="2720" h="4835">
                <a:moveTo>
                  <a:pt x="2720" y="318"/>
                </a:moveTo>
                <a:cubicBezTo>
                  <a:pt x="2720" y="143"/>
                  <a:pt x="2577" y="0"/>
                  <a:pt x="2402" y="0"/>
                </a:cubicBezTo>
                <a:lnTo>
                  <a:pt x="318" y="0"/>
                </a:lnTo>
                <a:cubicBezTo>
                  <a:pt x="143" y="0"/>
                  <a:pt x="0" y="143"/>
                  <a:pt x="0" y="318"/>
                </a:cubicBezTo>
                <a:lnTo>
                  <a:pt x="0" y="4502"/>
                </a:lnTo>
                <a:cubicBezTo>
                  <a:pt x="0" y="4692"/>
                  <a:pt x="143" y="4835"/>
                  <a:pt x="318" y="4835"/>
                </a:cubicBezTo>
                <a:lnTo>
                  <a:pt x="2402" y="4835"/>
                </a:lnTo>
                <a:cubicBezTo>
                  <a:pt x="2577" y="4835"/>
                  <a:pt x="2720" y="4692"/>
                  <a:pt x="2720" y="4502"/>
                </a:cubicBezTo>
                <a:close/>
                <a:moveTo>
                  <a:pt x="2561" y="4502"/>
                </a:moveTo>
                <a:cubicBezTo>
                  <a:pt x="2561" y="4597"/>
                  <a:pt x="2481" y="4676"/>
                  <a:pt x="2402" y="4676"/>
                </a:cubicBezTo>
                <a:lnTo>
                  <a:pt x="318" y="4676"/>
                </a:lnTo>
                <a:cubicBezTo>
                  <a:pt x="238" y="4676"/>
                  <a:pt x="159" y="4597"/>
                  <a:pt x="159" y="4502"/>
                </a:cubicBezTo>
                <a:lnTo>
                  <a:pt x="159" y="318"/>
                </a:lnTo>
                <a:cubicBezTo>
                  <a:pt x="159" y="222"/>
                  <a:pt x="238" y="159"/>
                  <a:pt x="318" y="159"/>
                </a:cubicBezTo>
                <a:lnTo>
                  <a:pt x="2402" y="159"/>
                </a:lnTo>
                <a:cubicBezTo>
                  <a:pt x="2481" y="159"/>
                  <a:pt x="2561" y="222"/>
                  <a:pt x="2561" y="318"/>
                </a:cubicBezTo>
                <a:close/>
                <a:moveTo>
                  <a:pt x="2291" y="764"/>
                </a:moveTo>
                <a:lnTo>
                  <a:pt x="429" y="764"/>
                </a:lnTo>
                <a:cubicBezTo>
                  <a:pt x="398" y="764"/>
                  <a:pt x="350" y="795"/>
                  <a:pt x="350" y="843"/>
                </a:cubicBezTo>
                <a:lnTo>
                  <a:pt x="350" y="3722"/>
                </a:lnTo>
                <a:cubicBezTo>
                  <a:pt x="350" y="3754"/>
                  <a:pt x="398" y="3802"/>
                  <a:pt x="429" y="3802"/>
                </a:cubicBezTo>
                <a:lnTo>
                  <a:pt x="2291" y="3802"/>
                </a:lnTo>
                <a:cubicBezTo>
                  <a:pt x="2322" y="3802"/>
                  <a:pt x="2354" y="3754"/>
                  <a:pt x="2354" y="3722"/>
                </a:cubicBezTo>
                <a:lnTo>
                  <a:pt x="2354" y="843"/>
                </a:lnTo>
                <a:cubicBezTo>
                  <a:pt x="2354" y="795"/>
                  <a:pt x="2322" y="764"/>
                  <a:pt x="2291" y="764"/>
                </a:cubicBezTo>
                <a:close/>
                <a:moveTo>
                  <a:pt x="2211" y="3642"/>
                </a:moveTo>
                <a:lnTo>
                  <a:pt x="509" y="3642"/>
                </a:lnTo>
                <a:lnTo>
                  <a:pt x="509" y="922"/>
                </a:lnTo>
                <a:lnTo>
                  <a:pt x="2211" y="922"/>
                </a:lnTo>
                <a:close/>
                <a:moveTo>
                  <a:pt x="1161" y="573"/>
                </a:moveTo>
                <a:lnTo>
                  <a:pt x="1543" y="573"/>
                </a:lnTo>
                <a:cubicBezTo>
                  <a:pt x="1607" y="573"/>
                  <a:pt x="1654" y="525"/>
                  <a:pt x="1654" y="461"/>
                </a:cubicBezTo>
                <a:cubicBezTo>
                  <a:pt x="1654" y="382"/>
                  <a:pt x="1607" y="334"/>
                  <a:pt x="1543" y="334"/>
                </a:cubicBezTo>
                <a:lnTo>
                  <a:pt x="1161" y="334"/>
                </a:lnTo>
                <a:cubicBezTo>
                  <a:pt x="1098" y="334"/>
                  <a:pt x="1034" y="382"/>
                  <a:pt x="1034" y="461"/>
                </a:cubicBezTo>
                <a:cubicBezTo>
                  <a:pt x="1034" y="525"/>
                  <a:pt x="1098" y="573"/>
                  <a:pt x="1161" y="573"/>
                </a:cubicBezTo>
                <a:close/>
                <a:moveTo>
                  <a:pt x="1368" y="4008"/>
                </a:moveTo>
                <a:cubicBezTo>
                  <a:pt x="1241" y="4008"/>
                  <a:pt x="1145" y="4103"/>
                  <a:pt x="1145" y="4231"/>
                </a:cubicBezTo>
                <a:cubicBezTo>
                  <a:pt x="1145" y="4358"/>
                  <a:pt x="1241" y="4454"/>
                  <a:pt x="1368" y="4454"/>
                </a:cubicBezTo>
                <a:cubicBezTo>
                  <a:pt x="1479" y="4454"/>
                  <a:pt x="1574" y="4358"/>
                  <a:pt x="1574" y="4231"/>
                </a:cubicBezTo>
                <a:cubicBezTo>
                  <a:pt x="1574" y="4103"/>
                  <a:pt x="1479" y="4008"/>
                  <a:pt x="1368" y="400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0" name="Freeform: Shape 11">
            <a:extLst>
              <a:ext uri="{FF2B5EF4-FFF2-40B4-BE49-F238E27FC236}">
                <a16:creationId xmlns:a16="http://schemas.microsoft.com/office/drawing/2014/main" id="{83262C45-BA87-BF47-B1BF-19573A4FB6B6}"/>
              </a:ext>
            </a:extLst>
          </p:cNvPr>
          <p:cNvSpPr/>
          <p:nvPr/>
        </p:nvSpPr>
        <p:spPr>
          <a:xfrm>
            <a:off x="6400324" y="3236966"/>
            <a:ext cx="835919" cy="1465200"/>
          </a:xfrm>
          <a:custGeom>
            <a:avLst/>
            <a:gdLst/>
            <a:ahLst/>
            <a:cxnLst>
              <a:cxn ang="3cd4">
                <a:pos x="hc" y="t"/>
              </a:cxn>
              <a:cxn ang="cd2">
                <a:pos x="l" y="vc"/>
              </a:cxn>
              <a:cxn ang="cd4">
                <a:pos x="hc" y="b"/>
              </a:cxn>
              <a:cxn ang="0">
                <a:pos x="r" y="vc"/>
              </a:cxn>
            </a:cxnLst>
            <a:rect l="l" t="t" r="r" b="b"/>
            <a:pathLst>
              <a:path w="2323" h="4071">
                <a:moveTo>
                  <a:pt x="334" y="4071"/>
                </a:moveTo>
                <a:lnTo>
                  <a:pt x="1988" y="4071"/>
                </a:lnTo>
                <a:cubicBezTo>
                  <a:pt x="2164" y="4071"/>
                  <a:pt x="2323" y="3913"/>
                  <a:pt x="2323" y="3737"/>
                </a:cubicBezTo>
                <a:lnTo>
                  <a:pt x="2323" y="334"/>
                </a:lnTo>
                <a:cubicBezTo>
                  <a:pt x="2323" y="143"/>
                  <a:pt x="2164" y="0"/>
                  <a:pt x="1988" y="0"/>
                </a:cubicBezTo>
                <a:lnTo>
                  <a:pt x="334" y="0"/>
                </a:lnTo>
                <a:cubicBezTo>
                  <a:pt x="143" y="0"/>
                  <a:pt x="0" y="143"/>
                  <a:pt x="0" y="334"/>
                </a:cubicBezTo>
                <a:lnTo>
                  <a:pt x="0" y="3737"/>
                </a:lnTo>
                <a:cubicBezTo>
                  <a:pt x="0" y="3913"/>
                  <a:pt x="143" y="4071"/>
                  <a:pt x="334" y="4071"/>
                </a:cubicBezTo>
                <a:close/>
                <a:moveTo>
                  <a:pt x="160" y="334"/>
                </a:moveTo>
                <a:cubicBezTo>
                  <a:pt x="160" y="238"/>
                  <a:pt x="239" y="159"/>
                  <a:pt x="334" y="159"/>
                </a:cubicBezTo>
                <a:lnTo>
                  <a:pt x="1988" y="159"/>
                </a:lnTo>
                <a:cubicBezTo>
                  <a:pt x="2084" y="159"/>
                  <a:pt x="2164" y="238"/>
                  <a:pt x="2164" y="334"/>
                </a:cubicBezTo>
                <a:lnTo>
                  <a:pt x="2164" y="668"/>
                </a:lnTo>
                <a:lnTo>
                  <a:pt x="160" y="668"/>
                </a:lnTo>
                <a:close/>
                <a:moveTo>
                  <a:pt x="160" y="827"/>
                </a:moveTo>
                <a:lnTo>
                  <a:pt x="2164" y="827"/>
                </a:lnTo>
                <a:lnTo>
                  <a:pt x="2164" y="3229"/>
                </a:lnTo>
                <a:lnTo>
                  <a:pt x="160" y="3229"/>
                </a:lnTo>
                <a:close/>
                <a:moveTo>
                  <a:pt x="160" y="3388"/>
                </a:moveTo>
                <a:lnTo>
                  <a:pt x="2164" y="3388"/>
                </a:lnTo>
                <a:lnTo>
                  <a:pt x="2164" y="3737"/>
                </a:lnTo>
                <a:cubicBezTo>
                  <a:pt x="2164" y="3833"/>
                  <a:pt x="2084" y="3913"/>
                  <a:pt x="1988" y="3913"/>
                </a:cubicBezTo>
                <a:lnTo>
                  <a:pt x="334" y="3913"/>
                </a:lnTo>
                <a:cubicBezTo>
                  <a:pt x="239" y="3913"/>
                  <a:pt x="160" y="3833"/>
                  <a:pt x="160" y="3737"/>
                </a:cubicBezTo>
                <a:close/>
                <a:moveTo>
                  <a:pt x="1209" y="350"/>
                </a:moveTo>
                <a:cubicBezTo>
                  <a:pt x="1178" y="318"/>
                  <a:pt x="1130" y="318"/>
                  <a:pt x="1098" y="350"/>
                </a:cubicBezTo>
                <a:cubicBezTo>
                  <a:pt x="1098" y="365"/>
                  <a:pt x="1082" y="365"/>
                  <a:pt x="1082" y="381"/>
                </a:cubicBezTo>
                <a:lnTo>
                  <a:pt x="1082" y="413"/>
                </a:lnTo>
                <a:cubicBezTo>
                  <a:pt x="1082" y="429"/>
                  <a:pt x="1082" y="461"/>
                  <a:pt x="1098" y="461"/>
                </a:cubicBezTo>
                <a:lnTo>
                  <a:pt x="1130" y="493"/>
                </a:lnTo>
                <a:lnTo>
                  <a:pt x="1161" y="493"/>
                </a:lnTo>
                <a:lnTo>
                  <a:pt x="1193" y="493"/>
                </a:lnTo>
                <a:cubicBezTo>
                  <a:pt x="1193" y="477"/>
                  <a:pt x="1209" y="477"/>
                  <a:pt x="1209" y="461"/>
                </a:cubicBezTo>
                <a:cubicBezTo>
                  <a:pt x="1225" y="461"/>
                  <a:pt x="1241" y="429"/>
                  <a:pt x="1241" y="413"/>
                </a:cubicBezTo>
                <a:cubicBezTo>
                  <a:pt x="1241" y="398"/>
                  <a:pt x="1241" y="398"/>
                  <a:pt x="1225" y="381"/>
                </a:cubicBezTo>
                <a:cubicBezTo>
                  <a:pt x="1225" y="365"/>
                  <a:pt x="1225" y="365"/>
                  <a:pt x="1209" y="350"/>
                </a:cubicBezTo>
                <a:close/>
                <a:moveTo>
                  <a:pt x="955" y="3658"/>
                </a:moveTo>
                <a:lnTo>
                  <a:pt x="1368" y="3658"/>
                </a:lnTo>
                <a:cubicBezTo>
                  <a:pt x="1400" y="3658"/>
                  <a:pt x="1448" y="3626"/>
                  <a:pt x="1448" y="3579"/>
                </a:cubicBezTo>
                <a:cubicBezTo>
                  <a:pt x="1448" y="3547"/>
                  <a:pt x="1400" y="3499"/>
                  <a:pt x="1368" y="3499"/>
                </a:cubicBezTo>
                <a:lnTo>
                  <a:pt x="955" y="3499"/>
                </a:lnTo>
                <a:cubicBezTo>
                  <a:pt x="907" y="3499"/>
                  <a:pt x="875" y="3547"/>
                  <a:pt x="875" y="3579"/>
                </a:cubicBezTo>
                <a:cubicBezTo>
                  <a:pt x="875" y="3626"/>
                  <a:pt x="907" y="3658"/>
                  <a:pt x="955" y="365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1" name="Freeform: Shape 12">
            <a:extLst>
              <a:ext uri="{FF2B5EF4-FFF2-40B4-BE49-F238E27FC236}">
                <a16:creationId xmlns:a16="http://schemas.microsoft.com/office/drawing/2014/main" id="{ACEEBA3B-F07B-9144-A9B7-186148893FF1}"/>
              </a:ext>
            </a:extLst>
          </p:cNvPr>
          <p:cNvSpPr/>
          <p:nvPr/>
        </p:nvSpPr>
        <p:spPr>
          <a:xfrm>
            <a:off x="10000028" y="3236966"/>
            <a:ext cx="1448639" cy="1465200"/>
          </a:xfrm>
          <a:custGeom>
            <a:avLst/>
            <a:gdLst/>
            <a:ahLst/>
            <a:cxnLst>
              <a:cxn ang="3cd4">
                <a:pos x="hc" y="t"/>
              </a:cxn>
              <a:cxn ang="cd2">
                <a:pos x="l" y="vc"/>
              </a:cxn>
              <a:cxn ang="cd4">
                <a:pos x="hc" y="b"/>
              </a:cxn>
              <a:cxn ang="0">
                <a:pos x="r" y="vc"/>
              </a:cxn>
            </a:cxnLst>
            <a:rect l="l" t="t" r="r" b="b"/>
            <a:pathLst>
              <a:path w="4025" h="4071">
                <a:moveTo>
                  <a:pt x="1989" y="4071"/>
                </a:moveTo>
                <a:cubicBezTo>
                  <a:pt x="2180" y="4071"/>
                  <a:pt x="2323" y="3913"/>
                  <a:pt x="2323" y="3737"/>
                </a:cubicBezTo>
                <a:lnTo>
                  <a:pt x="2323" y="334"/>
                </a:lnTo>
                <a:cubicBezTo>
                  <a:pt x="2323" y="143"/>
                  <a:pt x="2180" y="0"/>
                  <a:pt x="1989" y="0"/>
                </a:cubicBezTo>
                <a:lnTo>
                  <a:pt x="334" y="0"/>
                </a:lnTo>
                <a:cubicBezTo>
                  <a:pt x="159" y="0"/>
                  <a:pt x="0" y="143"/>
                  <a:pt x="0" y="334"/>
                </a:cubicBezTo>
                <a:lnTo>
                  <a:pt x="0" y="3737"/>
                </a:lnTo>
                <a:cubicBezTo>
                  <a:pt x="0" y="3913"/>
                  <a:pt x="159" y="4071"/>
                  <a:pt x="334" y="4071"/>
                </a:cubicBezTo>
                <a:close/>
                <a:moveTo>
                  <a:pt x="159" y="334"/>
                </a:moveTo>
                <a:cubicBezTo>
                  <a:pt x="159" y="238"/>
                  <a:pt x="239" y="159"/>
                  <a:pt x="334" y="159"/>
                </a:cubicBezTo>
                <a:lnTo>
                  <a:pt x="1989" y="159"/>
                </a:lnTo>
                <a:cubicBezTo>
                  <a:pt x="2084" y="159"/>
                  <a:pt x="2163" y="238"/>
                  <a:pt x="2163" y="334"/>
                </a:cubicBezTo>
                <a:lnTo>
                  <a:pt x="2163" y="668"/>
                </a:lnTo>
                <a:lnTo>
                  <a:pt x="159" y="668"/>
                </a:lnTo>
                <a:close/>
                <a:moveTo>
                  <a:pt x="159" y="827"/>
                </a:moveTo>
                <a:lnTo>
                  <a:pt x="2163" y="827"/>
                </a:lnTo>
                <a:lnTo>
                  <a:pt x="2163" y="3229"/>
                </a:lnTo>
                <a:lnTo>
                  <a:pt x="159" y="3229"/>
                </a:lnTo>
                <a:close/>
                <a:moveTo>
                  <a:pt x="159" y="3737"/>
                </a:moveTo>
                <a:lnTo>
                  <a:pt x="159" y="3388"/>
                </a:lnTo>
                <a:lnTo>
                  <a:pt x="2163" y="3388"/>
                </a:lnTo>
                <a:lnTo>
                  <a:pt x="2163" y="3737"/>
                </a:lnTo>
                <a:cubicBezTo>
                  <a:pt x="2163" y="3833"/>
                  <a:pt x="2084" y="3913"/>
                  <a:pt x="1989" y="3913"/>
                </a:cubicBezTo>
                <a:lnTo>
                  <a:pt x="334" y="3913"/>
                </a:lnTo>
                <a:cubicBezTo>
                  <a:pt x="239" y="3913"/>
                  <a:pt x="159" y="3833"/>
                  <a:pt x="159" y="3737"/>
                </a:cubicBezTo>
                <a:close/>
                <a:moveTo>
                  <a:pt x="1098" y="350"/>
                </a:moveTo>
                <a:cubicBezTo>
                  <a:pt x="1098" y="365"/>
                  <a:pt x="1098" y="365"/>
                  <a:pt x="1082" y="381"/>
                </a:cubicBezTo>
                <a:lnTo>
                  <a:pt x="1082" y="413"/>
                </a:lnTo>
                <a:cubicBezTo>
                  <a:pt x="1082" y="429"/>
                  <a:pt x="1082" y="461"/>
                  <a:pt x="1098" y="461"/>
                </a:cubicBezTo>
                <a:lnTo>
                  <a:pt x="1130" y="493"/>
                </a:lnTo>
                <a:lnTo>
                  <a:pt x="1162" y="493"/>
                </a:lnTo>
                <a:cubicBezTo>
                  <a:pt x="1177" y="493"/>
                  <a:pt x="1193" y="477"/>
                  <a:pt x="1209" y="461"/>
                </a:cubicBezTo>
                <a:cubicBezTo>
                  <a:pt x="1225" y="461"/>
                  <a:pt x="1241" y="429"/>
                  <a:pt x="1241" y="413"/>
                </a:cubicBezTo>
                <a:cubicBezTo>
                  <a:pt x="1241" y="398"/>
                  <a:pt x="1225" y="365"/>
                  <a:pt x="1209" y="350"/>
                </a:cubicBezTo>
                <a:cubicBezTo>
                  <a:pt x="1193" y="318"/>
                  <a:pt x="1130" y="318"/>
                  <a:pt x="1098" y="350"/>
                </a:cubicBezTo>
                <a:close/>
                <a:moveTo>
                  <a:pt x="2593" y="159"/>
                </a:moveTo>
                <a:cubicBezTo>
                  <a:pt x="3293" y="159"/>
                  <a:pt x="3865" y="731"/>
                  <a:pt x="3865" y="1431"/>
                </a:cubicBezTo>
                <a:cubicBezTo>
                  <a:pt x="3865" y="1463"/>
                  <a:pt x="3897" y="1511"/>
                  <a:pt x="3945" y="1511"/>
                </a:cubicBezTo>
                <a:cubicBezTo>
                  <a:pt x="3993" y="1511"/>
                  <a:pt x="4025" y="1463"/>
                  <a:pt x="4025" y="1431"/>
                </a:cubicBezTo>
                <a:cubicBezTo>
                  <a:pt x="4025" y="636"/>
                  <a:pt x="3388" y="0"/>
                  <a:pt x="2593" y="0"/>
                </a:cubicBezTo>
                <a:cubicBezTo>
                  <a:pt x="2545" y="0"/>
                  <a:pt x="2513" y="32"/>
                  <a:pt x="2513" y="79"/>
                </a:cubicBezTo>
                <a:cubicBezTo>
                  <a:pt x="2513" y="111"/>
                  <a:pt x="2545" y="159"/>
                  <a:pt x="2593" y="159"/>
                </a:cubicBezTo>
                <a:close/>
                <a:moveTo>
                  <a:pt x="2593" y="1161"/>
                </a:moveTo>
                <a:cubicBezTo>
                  <a:pt x="2736" y="1161"/>
                  <a:pt x="2847" y="1288"/>
                  <a:pt x="2847" y="1431"/>
                </a:cubicBezTo>
                <a:cubicBezTo>
                  <a:pt x="2847" y="1463"/>
                  <a:pt x="2895" y="1511"/>
                  <a:pt x="2927" y="1511"/>
                </a:cubicBezTo>
                <a:cubicBezTo>
                  <a:pt x="2975" y="1511"/>
                  <a:pt x="3007" y="1463"/>
                  <a:pt x="3007" y="1431"/>
                </a:cubicBezTo>
                <a:cubicBezTo>
                  <a:pt x="3007" y="1193"/>
                  <a:pt x="2832" y="1002"/>
                  <a:pt x="2593" y="1002"/>
                </a:cubicBezTo>
                <a:cubicBezTo>
                  <a:pt x="2545" y="1002"/>
                  <a:pt x="2513" y="1050"/>
                  <a:pt x="2513" y="1081"/>
                </a:cubicBezTo>
                <a:cubicBezTo>
                  <a:pt x="2513" y="1129"/>
                  <a:pt x="2545" y="1161"/>
                  <a:pt x="2593" y="1161"/>
                </a:cubicBezTo>
                <a:close/>
                <a:moveTo>
                  <a:pt x="2593" y="668"/>
                </a:moveTo>
                <a:cubicBezTo>
                  <a:pt x="3022" y="668"/>
                  <a:pt x="3356" y="1002"/>
                  <a:pt x="3356" y="1431"/>
                </a:cubicBezTo>
                <a:cubicBezTo>
                  <a:pt x="3356" y="1463"/>
                  <a:pt x="3388" y="1511"/>
                  <a:pt x="3436" y="1511"/>
                </a:cubicBezTo>
                <a:cubicBezTo>
                  <a:pt x="3484" y="1511"/>
                  <a:pt x="3516" y="1463"/>
                  <a:pt x="3516" y="1431"/>
                </a:cubicBezTo>
                <a:cubicBezTo>
                  <a:pt x="3516" y="922"/>
                  <a:pt x="3102" y="508"/>
                  <a:pt x="2593" y="508"/>
                </a:cubicBezTo>
                <a:cubicBezTo>
                  <a:pt x="2545" y="508"/>
                  <a:pt x="2513" y="541"/>
                  <a:pt x="2513" y="588"/>
                </a:cubicBezTo>
                <a:cubicBezTo>
                  <a:pt x="2513" y="620"/>
                  <a:pt x="2545" y="668"/>
                  <a:pt x="2593" y="668"/>
                </a:cubicBezTo>
                <a:close/>
                <a:moveTo>
                  <a:pt x="954" y="3658"/>
                </a:moveTo>
                <a:lnTo>
                  <a:pt x="1368" y="3658"/>
                </a:lnTo>
                <a:cubicBezTo>
                  <a:pt x="1400" y="3658"/>
                  <a:pt x="1448" y="3626"/>
                  <a:pt x="1448" y="3579"/>
                </a:cubicBezTo>
                <a:cubicBezTo>
                  <a:pt x="1448" y="3547"/>
                  <a:pt x="1400" y="3499"/>
                  <a:pt x="1368" y="3499"/>
                </a:cubicBezTo>
                <a:lnTo>
                  <a:pt x="954" y="3499"/>
                </a:lnTo>
                <a:cubicBezTo>
                  <a:pt x="923" y="3499"/>
                  <a:pt x="875" y="3547"/>
                  <a:pt x="875" y="3579"/>
                </a:cubicBezTo>
                <a:cubicBezTo>
                  <a:pt x="875" y="3626"/>
                  <a:pt x="923" y="3658"/>
                  <a:pt x="954" y="365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2" name="Freeform: Shape 13">
            <a:extLst>
              <a:ext uri="{FF2B5EF4-FFF2-40B4-BE49-F238E27FC236}">
                <a16:creationId xmlns:a16="http://schemas.microsoft.com/office/drawing/2014/main" id="{D3873C6A-C04B-3940-B374-92ADD70B25BE}"/>
              </a:ext>
            </a:extLst>
          </p:cNvPr>
          <p:cNvSpPr/>
          <p:nvPr/>
        </p:nvSpPr>
        <p:spPr>
          <a:xfrm>
            <a:off x="1981579" y="6481171"/>
            <a:ext cx="1274760" cy="1568519"/>
          </a:xfrm>
          <a:custGeom>
            <a:avLst/>
            <a:gdLst/>
            <a:ahLst/>
            <a:cxnLst>
              <a:cxn ang="3cd4">
                <a:pos x="hc" y="t"/>
              </a:cxn>
              <a:cxn ang="cd2">
                <a:pos x="l" y="vc"/>
              </a:cxn>
              <a:cxn ang="cd4">
                <a:pos x="hc" y="b"/>
              </a:cxn>
              <a:cxn ang="0">
                <a:pos x="r" y="vc"/>
              </a:cxn>
            </a:cxnLst>
            <a:rect l="l" t="t" r="r" b="b"/>
            <a:pathLst>
              <a:path w="3542" h="4358">
                <a:moveTo>
                  <a:pt x="2943" y="0"/>
                </a:moveTo>
                <a:lnTo>
                  <a:pt x="80" y="0"/>
                </a:lnTo>
                <a:cubicBezTo>
                  <a:pt x="48" y="0"/>
                  <a:pt x="0" y="31"/>
                  <a:pt x="0" y="79"/>
                </a:cubicBezTo>
                <a:lnTo>
                  <a:pt x="0" y="4278"/>
                </a:lnTo>
                <a:cubicBezTo>
                  <a:pt x="0" y="4310"/>
                  <a:pt x="48" y="4358"/>
                  <a:pt x="80" y="4358"/>
                </a:cubicBezTo>
                <a:lnTo>
                  <a:pt x="2943" y="4358"/>
                </a:lnTo>
                <a:cubicBezTo>
                  <a:pt x="2991" y="4358"/>
                  <a:pt x="3022" y="4310"/>
                  <a:pt x="3022" y="4278"/>
                </a:cubicBezTo>
                <a:lnTo>
                  <a:pt x="3022" y="1304"/>
                </a:lnTo>
                <a:cubicBezTo>
                  <a:pt x="3197" y="1049"/>
                  <a:pt x="3372" y="795"/>
                  <a:pt x="3531" y="540"/>
                </a:cubicBezTo>
                <a:cubicBezTo>
                  <a:pt x="3547" y="492"/>
                  <a:pt x="3547" y="445"/>
                  <a:pt x="3515" y="429"/>
                </a:cubicBezTo>
                <a:cubicBezTo>
                  <a:pt x="3468" y="397"/>
                  <a:pt x="3420" y="413"/>
                  <a:pt x="3404" y="445"/>
                </a:cubicBezTo>
                <a:cubicBezTo>
                  <a:pt x="3277" y="620"/>
                  <a:pt x="3149" y="795"/>
                  <a:pt x="3022" y="986"/>
                </a:cubicBezTo>
                <a:lnTo>
                  <a:pt x="3022" y="79"/>
                </a:lnTo>
                <a:cubicBezTo>
                  <a:pt x="3022" y="31"/>
                  <a:pt x="2991" y="0"/>
                  <a:pt x="2943" y="0"/>
                </a:cubicBezTo>
                <a:close/>
                <a:moveTo>
                  <a:pt x="2863" y="1209"/>
                </a:moveTo>
                <a:cubicBezTo>
                  <a:pt x="2800" y="1320"/>
                  <a:pt x="2720" y="1431"/>
                  <a:pt x="2640" y="1543"/>
                </a:cubicBezTo>
                <a:lnTo>
                  <a:pt x="2640" y="492"/>
                </a:lnTo>
                <a:cubicBezTo>
                  <a:pt x="2640" y="445"/>
                  <a:pt x="2609" y="413"/>
                  <a:pt x="2561" y="413"/>
                </a:cubicBezTo>
                <a:lnTo>
                  <a:pt x="461" y="413"/>
                </a:lnTo>
                <a:cubicBezTo>
                  <a:pt x="429" y="413"/>
                  <a:pt x="382" y="445"/>
                  <a:pt x="382" y="492"/>
                </a:cubicBezTo>
                <a:lnTo>
                  <a:pt x="382" y="3340"/>
                </a:lnTo>
                <a:cubicBezTo>
                  <a:pt x="382" y="3388"/>
                  <a:pt x="429" y="3419"/>
                  <a:pt x="461" y="3419"/>
                </a:cubicBezTo>
                <a:lnTo>
                  <a:pt x="2561" y="3419"/>
                </a:lnTo>
                <a:cubicBezTo>
                  <a:pt x="2609" y="3419"/>
                  <a:pt x="2640" y="3388"/>
                  <a:pt x="2640" y="3340"/>
                </a:cubicBezTo>
                <a:lnTo>
                  <a:pt x="2640" y="1876"/>
                </a:lnTo>
                <a:lnTo>
                  <a:pt x="2672" y="1845"/>
                </a:lnTo>
                <a:cubicBezTo>
                  <a:pt x="2736" y="1733"/>
                  <a:pt x="2800" y="1638"/>
                  <a:pt x="2863" y="1543"/>
                </a:cubicBezTo>
                <a:lnTo>
                  <a:pt x="2863" y="4199"/>
                </a:lnTo>
                <a:lnTo>
                  <a:pt x="159" y="4199"/>
                </a:lnTo>
                <a:lnTo>
                  <a:pt x="159" y="159"/>
                </a:lnTo>
                <a:lnTo>
                  <a:pt x="2863" y="159"/>
                </a:lnTo>
                <a:close/>
                <a:moveTo>
                  <a:pt x="1702" y="3101"/>
                </a:moveTo>
                <a:cubicBezTo>
                  <a:pt x="1702" y="3117"/>
                  <a:pt x="1718" y="3117"/>
                  <a:pt x="1734" y="3101"/>
                </a:cubicBezTo>
                <a:cubicBezTo>
                  <a:pt x="1845" y="3022"/>
                  <a:pt x="1925" y="2910"/>
                  <a:pt x="2004" y="2815"/>
                </a:cubicBezTo>
                <a:lnTo>
                  <a:pt x="2227" y="2481"/>
                </a:lnTo>
                <a:lnTo>
                  <a:pt x="2482" y="2099"/>
                </a:lnTo>
                <a:lnTo>
                  <a:pt x="2482" y="3260"/>
                </a:lnTo>
                <a:lnTo>
                  <a:pt x="541" y="3260"/>
                </a:lnTo>
                <a:lnTo>
                  <a:pt x="541" y="572"/>
                </a:lnTo>
                <a:lnTo>
                  <a:pt x="2482" y="572"/>
                </a:lnTo>
                <a:lnTo>
                  <a:pt x="2482" y="1781"/>
                </a:lnTo>
                <a:lnTo>
                  <a:pt x="2084" y="2385"/>
                </a:lnTo>
                <a:lnTo>
                  <a:pt x="1861" y="2719"/>
                </a:lnTo>
                <a:cubicBezTo>
                  <a:pt x="1798" y="2831"/>
                  <a:pt x="1718" y="2942"/>
                  <a:pt x="1686" y="3069"/>
                </a:cubicBezTo>
                <a:cubicBezTo>
                  <a:pt x="1686" y="3085"/>
                  <a:pt x="1686" y="3085"/>
                  <a:pt x="1702" y="3101"/>
                </a:cubicBezTo>
                <a:close/>
                <a:moveTo>
                  <a:pt x="589" y="4055"/>
                </a:moveTo>
                <a:cubicBezTo>
                  <a:pt x="684" y="4055"/>
                  <a:pt x="764" y="3976"/>
                  <a:pt x="764" y="3881"/>
                </a:cubicBezTo>
                <a:cubicBezTo>
                  <a:pt x="764" y="3785"/>
                  <a:pt x="684" y="3706"/>
                  <a:pt x="589" y="3706"/>
                </a:cubicBezTo>
                <a:cubicBezTo>
                  <a:pt x="493" y="3706"/>
                  <a:pt x="429" y="3785"/>
                  <a:pt x="429" y="3881"/>
                </a:cubicBezTo>
                <a:cubicBezTo>
                  <a:pt x="429" y="3976"/>
                  <a:pt x="493" y="4055"/>
                  <a:pt x="589" y="4055"/>
                </a:cubicBezTo>
                <a:close/>
                <a:moveTo>
                  <a:pt x="1177" y="4055"/>
                </a:moveTo>
                <a:cubicBezTo>
                  <a:pt x="1272" y="4055"/>
                  <a:pt x="1352" y="3976"/>
                  <a:pt x="1352" y="3881"/>
                </a:cubicBezTo>
                <a:cubicBezTo>
                  <a:pt x="1352" y="3785"/>
                  <a:pt x="1272" y="3706"/>
                  <a:pt x="1177" y="3706"/>
                </a:cubicBezTo>
                <a:cubicBezTo>
                  <a:pt x="1082" y="3706"/>
                  <a:pt x="1018" y="3785"/>
                  <a:pt x="1018" y="3881"/>
                </a:cubicBezTo>
                <a:cubicBezTo>
                  <a:pt x="1018" y="3976"/>
                  <a:pt x="1082" y="4055"/>
                  <a:pt x="1177" y="4055"/>
                </a:cubicBezTo>
                <a:close/>
                <a:moveTo>
                  <a:pt x="1765" y="4055"/>
                </a:moveTo>
                <a:cubicBezTo>
                  <a:pt x="1861" y="4055"/>
                  <a:pt x="1941" y="3976"/>
                  <a:pt x="1941" y="3881"/>
                </a:cubicBezTo>
                <a:cubicBezTo>
                  <a:pt x="1941" y="3785"/>
                  <a:pt x="1861" y="3706"/>
                  <a:pt x="1765" y="3706"/>
                </a:cubicBezTo>
                <a:cubicBezTo>
                  <a:pt x="1670" y="3706"/>
                  <a:pt x="1591" y="3785"/>
                  <a:pt x="1591" y="3881"/>
                </a:cubicBezTo>
                <a:cubicBezTo>
                  <a:pt x="1591" y="3976"/>
                  <a:pt x="1670" y="4055"/>
                  <a:pt x="1765" y="405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3" name="Freeform: Shape 15">
            <a:extLst>
              <a:ext uri="{FF2B5EF4-FFF2-40B4-BE49-F238E27FC236}">
                <a16:creationId xmlns:a16="http://schemas.microsoft.com/office/drawing/2014/main" id="{848C0004-DDCB-F749-8EBB-581EE3C6BC45}"/>
              </a:ext>
            </a:extLst>
          </p:cNvPr>
          <p:cNvSpPr/>
          <p:nvPr/>
        </p:nvSpPr>
        <p:spPr>
          <a:xfrm>
            <a:off x="9885548" y="6312409"/>
            <a:ext cx="1677599" cy="1608840"/>
          </a:xfrm>
          <a:custGeom>
            <a:avLst/>
            <a:gdLst/>
            <a:ahLst/>
            <a:cxnLst>
              <a:cxn ang="3cd4">
                <a:pos x="hc" y="t"/>
              </a:cxn>
              <a:cxn ang="cd2">
                <a:pos x="l" y="vc"/>
              </a:cxn>
              <a:cxn ang="cd4">
                <a:pos x="hc" y="b"/>
              </a:cxn>
              <a:cxn ang="0">
                <a:pos x="r" y="vc"/>
              </a:cxn>
            </a:cxnLst>
            <a:rect l="l" t="t" r="r" b="b"/>
            <a:pathLst>
              <a:path w="4661" h="4470">
                <a:moveTo>
                  <a:pt x="636" y="1368"/>
                </a:moveTo>
                <a:cubicBezTo>
                  <a:pt x="462" y="1368"/>
                  <a:pt x="318" y="1511"/>
                  <a:pt x="318" y="1670"/>
                </a:cubicBezTo>
                <a:cubicBezTo>
                  <a:pt x="318" y="1845"/>
                  <a:pt x="462" y="1988"/>
                  <a:pt x="636" y="1988"/>
                </a:cubicBezTo>
                <a:cubicBezTo>
                  <a:pt x="811" y="1988"/>
                  <a:pt x="954" y="1845"/>
                  <a:pt x="954" y="1670"/>
                </a:cubicBezTo>
                <a:cubicBezTo>
                  <a:pt x="954" y="1511"/>
                  <a:pt x="811" y="1368"/>
                  <a:pt x="636" y="1368"/>
                </a:cubicBezTo>
                <a:close/>
                <a:moveTo>
                  <a:pt x="636" y="1829"/>
                </a:moveTo>
                <a:cubicBezTo>
                  <a:pt x="557" y="1829"/>
                  <a:pt x="477" y="1765"/>
                  <a:pt x="477" y="1670"/>
                </a:cubicBezTo>
                <a:cubicBezTo>
                  <a:pt x="477" y="1591"/>
                  <a:pt x="557" y="1527"/>
                  <a:pt x="636" y="1527"/>
                </a:cubicBezTo>
                <a:cubicBezTo>
                  <a:pt x="716" y="1527"/>
                  <a:pt x="795" y="1591"/>
                  <a:pt x="795" y="1670"/>
                </a:cubicBezTo>
                <a:cubicBezTo>
                  <a:pt x="795" y="1765"/>
                  <a:pt x="716" y="1829"/>
                  <a:pt x="636" y="1829"/>
                </a:cubicBezTo>
                <a:close/>
                <a:moveTo>
                  <a:pt x="4661" y="3118"/>
                </a:moveTo>
                <a:lnTo>
                  <a:pt x="4661" y="223"/>
                </a:lnTo>
                <a:cubicBezTo>
                  <a:pt x="4661" y="111"/>
                  <a:pt x="4549" y="0"/>
                  <a:pt x="4422" y="0"/>
                </a:cubicBezTo>
                <a:lnTo>
                  <a:pt x="223" y="0"/>
                </a:lnTo>
                <a:cubicBezTo>
                  <a:pt x="96" y="0"/>
                  <a:pt x="0" y="111"/>
                  <a:pt x="0" y="223"/>
                </a:cubicBezTo>
                <a:lnTo>
                  <a:pt x="0" y="3118"/>
                </a:lnTo>
                <a:cubicBezTo>
                  <a:pt x="0" y="3245"/>
                  <a:pt x="96" y="3356"/>
                  <a:pt x="223" y="3356"/>
                </a:cubicBezTo>
                <a:lnTo>
                  <a:pt x="2879" y="3356"/>
                </a:lnTo>
                <a:lnTo>
                  <a:pt x="3817" y="4294"/>
                </a:lnTo>
                <a:cubicBezTo>
                  <a:pt x="3849" y="4310"/>
                  <a:pt x="3881" y="4327"/>
                  <a:pt x="3913" y="4327"/>
                </a:cubicBezTo>
                <a:cubicBezTo>
                  <a:pt x="3929" y="4327"/>
                  <a:pt x="3944" y="4327"/>
                  <a:pt x="3977" y="4310"/>
                </a:cubicBezTo>
                <a:lnTo>
                  <a:pt x="4056" y="4406"/>
                </a:lnTo>
                <a:cubicBezTo>
                  <a:pt x="4104" y="4454"/>
                  <a:pt x="4167" y="4470"/>
                  <a:pt x="4231" y="4470"/>
                </a:cubicBezTo>
                <a:cubicBezTo>
                  <a:pt x="4295" y="4470"/>
                  <a:pt x="4358" y="4454"/>
                  <a:pt x="4406" y="4406"/>
                </a:cubicBezTo>
                <a:cubicBezTo>
                  <a:pt x="4438" y="4358"/>
                  <a:pt x="4470" y="4294"/>
                  <a:pt x="4470" y="4231"/>
                </a:cubicBezTo>
                <a:cubicBezTo>
                  <a:pt x="4470" y="4167"/>
                  <a:pt x="4438" y="4104"/>
                  <a:pt x="4406" y="4056"/>
                </a:cubicBezTo>
                <a:lnTo>
                  <a:pt x="4310" y="3976"/>
                </a:lnTo>
                <a:cubicBezTo>
                  <a:pt x="4326" y="3961"/>
                  <a:pt x="4326" y="3945"/>
                  <a:pt x="4326" y="3913"/>
                </a:cubicBezTo>
                <a:cubicBezTo>
                  <a:pt x="4326" y="3881"/>
                  <a:pt x="4310" y="3849"/>
                  <a:pt x="4279" y="3818"/>
                </a:cubicBezTo>
                <a:lnTo>
                  <a:pt x="3817" y="3356"/>
                </a:lnTo>
                <a:lnTo>
                  <a:pt x="4422" y="3356"/>
                </a:lnTo>
                <a:cubicBezTo>
                  <a:pt x="4549" y="3356"/>
                  <a:pt x="4661" y="3245"/>
                  <a:pt x="4661" y="3118"/>
                </a:cubicBezTo>
                <a:close/>
                <a:moveTo>
                  <a:pt x="4295" y="4167"/>
                </a:moveTo>
                <a:cubicBezTo>
                  <a:pt x="4295" y="4183"/>
                  <a:pt x="4310" y="4215"/>
                  <a:pt x="4310" y="4231"/>
                </a:cubicBezTo>
                <a:cubicBezTo>
                  <a:pt x="4310" y="4263"/>
                  <a:pt x="4295" y="4279"/>
                  <a:pt x="4295" y="4294"/>
                </a:cubicBezTo>
                <a:cubicBezTo>
                  <a:pt x="4263" y="4327"/>
                  <a:pt x="4199" y="4327"/>
                  <a:pt x="4167" y="4294"/>
                </a:cubicBezTo>
                <a:lnTo>
                  <a:pt x="4104" y="4231"/>
                </a:lnTo>
                <a:cubicBezTo>
                  <a:pt x="4120" y="4199"/>
                  <a:pt x="4152" y="4183"/>
                  <a:pt x="4167" y="4167"/>
                </a:cubicBezTo>
                <a:cubicBezTo>
                  <a:pt x="4183" y="4151"/>
                  <a:pt x="4199" y="4136"/>
                  <a:pt x="4215" y="4104"/>
                </a:cubicBezTo>
                <a:close/>
                <a:moveTo>
                  <a:pt x="4167" y="3913"/>
                </a:moveTo>
                <a:cubicBezTo>
                  <a:pt x="4167" y="3945"/>
                  <a:pt x="4088" y="4024"/>
                  <a:pt x="4056" y="4056"/>
                </a:cubicBezTo>
                <a:cubicBezTo>
                  <a:pt x="4024" y="4088"/>
                  <a:pt x="3977" y="4119"/>
                  <a:pt x="3961" y="4151"/>
                </a:cubicBezTo>
                <a:cubicBezTo>
                  <a:pt x="3944" y="4151"/>
                  <a:pt x="3944" y="4167"/>
                  <a:pt x="3929" y="4167"/>
                </a:cubicBezTo>
                <a:cubicBezTo>
                  <a:pt x="3897" y="4151"/>
                  <a:pt x="2672" y="2927"/>
                  <a:pt x="2625" y="2879"/>
                </a:cubicBezTo>
                <a:cubicBezTo>
                  <a:pt x="2577" y="2831"/>
                  <a:pt x="2529" y="2800"/>
                  <a:pt x="2481" y="2783"/>
                </a:cubicBezTo>
                <a:lnTo>
                  <a:pt x="2768" y="2481"/>
                </a:lnTo>
                <a:cubicBezTo>
                  <a:pt x="2799" y="2529"/>
                  <a:pt x="2816" y="2592"/>
                  <a:pt x="2863" y="2624"/>
                </a:cubicBezTo>
                <a:close/>
                <a:moveTo>
                  <a:pt x="1956" y="2036"/>
                </a:moveTo>
                <a:cubicBezTo>
                  <a:pt x="1956" y="2068"/>
                  <a:pt x="1956" y="2083"/>
                  <a:pt x="1972" y="2100"/>
                </a:cubicBezTo>
                <a:lnTo>
                  <a:pt x="2020" y="2147"/>
                </a:lnTo>
                <a:cubicBezTo>
                  <a:pt x="2004" y="2163"/>
                  <a:pt x="1988" y="2211"/>
                  <a:pt x="2004" y="2227"/>
                </a:cubicBezTo>
                <a:lnTo>
                  <a:pt x="2243" y="2815"/>
                </a:lnTo>
                <a:lnTo>
                  <a:pt x="1272" y="2815"/>
                </a:lnTo>
                <a:lnTo>
                  <a:pt x="1272" y="541"/>
                </a:lnTo>
                <a:lnTo>
                  <a:pt x="4120" y="541"/>
                </a:lnTo>
                <a:lnTo>
                  <a:pt x="4120" y="2815"/>
                </a:lnTo>
                <a:lnTo>
                  <a:pt x="3292" y="2815"/>
                </a:lnTo>
                <a:lnTo>
                  <a:pt x="3277" y="2815"/>
                </a:lnTo>
                <a:lnTo>
                  <a:pt x="2974" y="2513"/>
                </a:lnTo>
                <a:cubicBezTo>
                  <a:pt x="2927" y="2465"/>
                  <a:pt x="2895" y="2354"/>
                  <a:pt x="2879" y="2322"/>
                </a:cubicBezTo>
                <a:lnTo>
                  <a:pt x="2879" y="2306"/>
                </a:lnTo>
                <a:cubicBezTo>
                  <a:pt x="2879" y="2291"/>
                  <a:pt x="2879" y="2291"/>
                  <a:pt x="2863" y="2291"/>
                </a:cubicBezTo>
                <a:lnTo>
                  <a:pt x="2863" y="2274"/>
                </a:lnTo>
                <a:lnTo>
                  <a:pt x="2847" y="2274"/>
                </a:lnTo>
                <a:cubicBezTo>
                  <a:pt x="2847" y="2259"/>
                  <a:pt x="2836" y="2264"/>
                  <a:pt x="2831" y="2259"/>
                </a:cubicBezTo>
                <a:lnTo>
                  <a:pt x="2227" y="2020"/>
                </a:lnTo>
                <a:cubicBezTo>
                  <a:pt x="2195" y="2004"/>
                  <a:pt x="2163" y="2004"/>
                  <a:pt x="2147" y="2036"/>
                </a:cubicBezTo>
                <a:lnTo>
                  <a:pt x="2131" y="2036"/>
                </a:lnTo>
                <a:lnTo>
                  <a:pt x="2084" y="1988"/>
                </a:lnTo>
                <a:cubicBezTo>
                  <a:pt x="2084" y="1972"/>
                  <a:pt x="2068" y="1972"/>
                  <a:pt x="2052" y="1972"/>
                </a:cubicBezTo>
                <a:cubicBezTo>
                  <a:pt x="2020" y="1956"/>
                  <a:pt x="1988" y="1956"/>
                  <a:pt x="1972" y="1972"/>
                </a:cubicBezTo>
                <a:cubicBezTo>
                  <a:pt x="1956" y="1988"/>
                  <a:pt x="1941" y="2020"/>
                  <a:pt x="1956" y="2036"/>
                </a:cubicBezTo>
                <a:close/>
                <a:moveTo>
                  <a:pt x="2179" y="2227"/>
                </a:moveTo>
                <a:lnTo>
                  <a:pt x="2211" y="2179"/>
                </a:lnTo>
                <a:lnTo>
                  <a:pt x="2656" y="2370"/>
                </a:lnTo>
                <a:lnTo>
                  <a:pt x="2354" y="2672"/>
                </a:lnTo>
                <a:close/>
                <a:moveTo>
                  <a:pt x="3658" y="3197"/>
                </a:moveTo>
                <a:lnTo>
                  <a:pt x="3436" y="2974"/>
                </a:lnTo>
                <a:lnTo>
                  <a:pt x="4199" y="2974"/>
                </a:lnTo>
                <a:cubicBezTo>
                  <a:pt x="4247" y="2974"/>
                  <a:pt x="4279" y="2943"/>
                  <a:pt x="4279" y="2895"/>
                </a:cubicBezTo>
                <a:lnTo>
                  <a:pt x="4279" y="461"/>
                </a:lnTo>
                <a:cubicBezTo>
                  <a:pt x="4279" y="413"/>
                  <a:pt x="4247" y="382"/>
                  <a:pt x="4199" y="382"/>
                </a:cubicBezTo>
                <a:lnTo>
                  <a:pt x="1193" y="382"/>
                </a:lnTo>
                <a:cubicBezTo>
                  <a:pt x="1161" y="382"/>
                  <a:pt x="1129" y="413"/>
                  <a:pt x="1129" y="461"/>
                </a:cubicBezTo>
                <a:lnTo>
                  <a:pt x="1129" y="2895"/>
                </a:lnTo>
                <a:cubicBezTo>
                  <a:pt x="1129" y="2943"/>
                  <a:pt x="1161" y="2974"/>
                  <a:pt x="1193" y="2974"/>
                </a:cubicBezTo>
                <a:lnTo>
                  <a:pt x="2481" y="2974"/>
                </a:lnTo>
                <a:lnTo>
                  <a:pt x="2497" y="2974"/>
                </a:lnTo>
                <a:cubicBezTo>
                  <a:pt x="2502" y="2979"/>
                  <a:pt x="2513" y="2974"/>
                  <a:pt x="2513" y="2990"/>
                </a:cubicBezTo>
                <a:cubicBezTo>
                  <a:pt x="2529" y="2990"/>
                  <a:pt x="2608" y="3070"/>
                  <a:pt x="2720" y="3197"/>
                </a:cubicBezTo>
                <a:lnTo>
                  <a:pt x="223" y="3197"/>
                </a:lnTo>
                <a:cubicBezTo>
                  <a:pt x="191" y="3197"/>
                  <a:pt x="159" y="3165"/>
                  <a:pt x="159" y="3118"/>
                </a:cubicBezTo>
                <a:lnTo>
                  <a:pt x="159" y="223"/>
                </a:lnTo>
                <a:cubicBezTo>
                  <a:pt x="159" y="191"/>
                  <a:pt x="191" y="159"/>
                  <a:pt x="223" y="159"/>
                </a:cubicBezTo>
                <a:lnTo>
                  <a:pt x="4422" y="159"/>
                </a:lnTo>
                <a:cubicBezTo>
                  <a:pt x="4470" y="159"/>
                  <a:pt x="4501" y="191"/>
                  <a:pt x="4501" y="223"/>
                </a:cubicBezTo>
                <a:lnTo>
                  <a:pt x="4501" y="3118"/>
                </a:lnTo>
                <a:cubicBezTo>
                  <a:pt x="4501" y="3165"/>
                  <a:pt x="4470" y="3197"/>
                  <a:pt x="4422" y="3197"/>
                </a:cubicBezTo>
                <a:close/>
                <a:moveTo>
                  <a:pt x="636" y="1082"/>
                </a:moveTo>
                <a:cubicBezTo>
                  <a:pt x="732" y="1082"/>
                  <a:pt x="811" y="1002"/>
                  <a:pt x="811" y="907"/>
                </a:cubicBezTo>
                <a:lnTo>
                  <a:pt x="811" y="573"/>
                </a:lnTo>
                <a:cubicBezTo>
                  <a:pt x="811" y="477"/>
                  <a:pt x="732" y="398"/>
                  <a:pt x="636" y="398"/>
                </a:cubicBezTo>
                <a:cubicBezTo>
                  <a:pt x="541" y="398"/>
                  <a:pt x="462" y="477"/>
                  <a:pt x="462" y="573"/>
                </a:cubicBezTo>
                <a:lnTo>
                  <a:pt x="462" y="907"/>
                </a:lnTo>
                <a:cubicBezTo>
                  <a:pt x="462" y="1002"/>
                  <a:pt x="541" y="1082"/>
                  <a:pt x="636" y="1082"/>
                </a:cubicBezTo>
                <a:close/>
                <a:moveTo>
                  <a:pt x="636" y="2274"/>
                </a:moveTo>
                <a:cubicBezTo>
                  <a:pt x="541" y="2274"/>
                  <a:pt x="462" y="2354"/>
                  <a:pt x="462" y="2449"/>
                </a:cubicBezTo>
                <a:lnTo>
                  <a:pt x="462" y="2783"/>
                </a:lnTo>
                <a:cubicBezTo>
                  <a:pt x="462" y="2879"/>
                  <a:pt x="541" y="2958"/>
                  <a:pt x="636" y="2958"/>
                </a:cubicBezTo>
                <a:cubicBezTo>
                  <a:pt x="732" y="2958"/>
                  <a:pt x="811" y="2879"/>
                  <a:pt x="811" y="2783"/>
                </a:cubicBezTo>
                <a:lnTo>
                  <a:pt x="811" y="2449"/>
                </a:lnTo>
                <a:cubicBezTo>
                  <a:pt x="811" y="2354"/>
                  <a:pt x="732" y="2274"/>
                  <a:pt x="636" y="227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4" name="Freeform: Shape 16">
            <a:extLst>
              <a:ext uri="{FF2B5EF4-FFF2-40B4-BE49-F238E27FC236}">
                <a16:creationId xmlns:a16="http://schemas.microsoft.com/office/drawing/2014/main" id="{802771F4-3770-DE46-8532-4AD2EE14E2FE}"/>
              </a:ext>
            </a:extLst>
          </p:cNvPr>
          <p:cNvSpPr/>
          <p:nvPr/>
        </p:nvSpPr>
        <p:spPr>
          <a:xfrm>
            <a:off x="13674712" y="3239770"/>
            <a:ext cx="1711800" cy="1465200"/>
          </a:xfrm>
          <a:custGeom>
            <a:avLst/>
            <a:gdLst/>
            <a:ahLst/>
            <a:cxnLst>
              <a:cxn ang="3cd4">
                <a:pos x="hc" y="t"/>
              </a:cxn>
              <a:cxn ang="cd2">
                <a:pos x="l" y="vc"/>
              </a:cxn>
              <a:cxn ang="cd4">
                <a:pos x="hc" y="b"/>
              </a:cxn>
              <a:cxn ang="0">
                <a:pos x="r" y="vc"/>
              </a:cxn>
            </a:cxnLst>
            <a:rect l="l" t="t" r="r" b="b"/>
            <a:pathLst>
              <a:path w="4756" h="4071">
                <a:moveTo>
                  <a:pt x="2433" y="2052"/>
                </a:moveTo>
                <a:cubicBezTo>
                  <a:pt x="2401" y="2068"/>
                  <a:pt x="2401" y="2099"/>
                  <a:pt x="2401" y="2131"/>
                </a:cubicBezTo>
                <a:cubicBezTo>
                  <a:pt x="2417" y="2163"/>
                  <a:pt x="2449" y="2195"/>
                  <a:pt x="2481" y="2195"/>
                </a:cubicBezTo>
                <a:cubicBezTo>
                  <a:pt x="3006" y="2195"/>
                  <a:pt x="3292" y="2004"/>
                  <a:pt x="3435" y="1813"/>
                </a:cubicBezTo>
                <a:cubicBezTo>
                  <a:pt x="4135" y="1940"/>
                  <a:pt x="4756" y="1495"/>
                  <a:pt x="4756" y="922"/>
                </a:cubicBezTo>
                <a:cubicBezTo>
                  <a:pt x="4756" y="413"/>
                  <a:pt x="4278" y="0"/>
                  <a:pt x="3674" y="0"/>
                </a:cubicBezTo>
                <a:cubicBezTo>
                  <a:pt x="3069" y="0"/>
                  <a:pt x="2576" y="413"/>
                  <a:pt x="2576" y="922"/>
                </a:cubicBezTo>
                <a:cubicBezTo>
                  <a:pt x="2576" y="1145"/>
                  <a:pt x="2672" y="1352"/>
                  <a:pt x="2847" y="1526"/>
                </a:cubicBezTo>
                <a:cubicBezTo>
                  <a:pt x="2751" y="1749"/>
                  <a:pt x="2608" y="1924"/>
                  <a:pt x="2433" y="2052"/>
                </a:cubicBezTo>
                <a:close/>
                <a:moveTo>
                  <a:pt x="3006" y="1526"/>
                </a:moveTo>
                <a:cubicBezTo>
                  <a:pt x="3021" y="1495"/>
                  <a:pt x="3021" y="1463"/>
                  <a:pt x="2990" y="1447"/>
                </a:cubicBezTo>
                <a:cubicBezTo>
                  <a:pt x="2831" y="1304"/>
                  <a:pt x="2735" y="1113"/>
                  <a:pt x="2735" y="922"/>
                </a:cubicBezTo>
                <a:cubicBezTo>
                  <a:pt x="2735" y="493"/>
                  <a:pt x="3149" y="159"/>
                  <a:pt x="3674" y="159"/>
                </a:cubicBezTo>
                <a:cubicBezTo>
                  <a:pt x="4183" y="159"/>
                  <a:pt x="4596" y="493"/>
                  <a:pt x="4596" y="922"/>
                </a:cubicBezTo>
                <a:cubicBezTo>
                  <a:pt x="4596" y="1399"/>
                  <a:pt x="4039" y="1797"/>
                  <a:pt x="3419" y="1654"/>
                </a:cubicBezTo>
                <a:cubicBezTo>
                  <a:pt x="3387" y="1654"/>
                  <a:pt x="3356" y="1654"/>
                  <a:pt x="3340" y="1686"/>
                </a:cubicBezTo>
                <a:cubicBezTo>
                  <a:pt x="3212" y="1861"/>
                  <a:pt x="2990" y="1972"/>
                  <a:pt x="2703" y="2020"/>
                </a:cubicBezTo>
                <a:cubicBezTo>
                  <a:pt x="2831" y="1892"/>
                  <a:pt x="2942" y="1717"/>
                  <a:pt x="3006" y="1526"/>
                </a:cubicBezTo>
                <a:close/>
                <a:moveTo>
                  <a:pt x="1208" y="350"/>
                </a:moveTo>
                <a:cubicBezTo>
                  <a:pt x="1176" y="318"/>
                  <a:pt x="1129" y="318"/>
                  <a:pt x="1097" y="350"/>
                </a:cubicBezTo>
                <a:cubicBezTo>
                  <a:pt x="1097" y="365"/>
                  <a:pt x="1081" y="365"/>
                  <a:pt x="1081" y="381"/>
                </a:cubicBezTo>
                <a:lnTo>
                  <a:pt x="1081" y="413"/>
                </a:lnTo>
                <a:cubicBezTo>
                  <a:pt x="1081" y="429"/>
                  <a:pt x="1081" y="461"/>
                  <a:pt x="1097" y="461"/>
                </a:cubicBezTo>
                <a:lnTo>
                  <a:pt x="1129" y="493"/>
                </a:lnTo>
                <a:lnTo>
                  <a:pt x="1161" y="493"/>
                </a:lnTo>
                <a:lnTo>
                  <a:pt x="1193" y="493"/>
                </a:lnTo>
                <a:cubicBezTo>
                  <a:pt x="1193" y="477"/>
                  <a:pt x="1208" y="477"/>
                  <a:pt x="1208" y="461"/>
                </a:cubicBezTo>
                <a:cubicBezTo>
                  <a:pt x="1224" y="461"/>
                  <a:pt x="1240" y="429"/>
                  <a:pt x="1240" y="413"/>
                </a:cubicBezTo>
                <a:cubicBezTo>
                  <a:pt x="1240" y="398"/>
                  <a:pt x="1240" y="398"/>
                  <a:pt x="1224" y="381"/>
                </a:cubicBezTo>
                <a:cubicBezTo>
                  <a:pt x="1224" y="365"/>
                  <a:pt x="1224" y="365"/>
                  <a:pt x="1208" y="350"/>
                </a:cubicBezTo>
                <a:close/>
                <a:moveTo>
                  <a:pt x="1018" y="3737"/>
                </a:moveTo>
                <a:lnTo>
                  <a:pt x="1288" y="3737"/>
                </a:lnTo>
                <a:cubicBezTo>
                  <a:pt x="1336" y="3737"/>
                  <a:pt x="1367" y="3690"/>
                  <a:pt x="1367" y="3658"/>
                </a:cubicBezTo>
                <a:cubicBezTo>
                  <a:pt x="1367" y="3610"/>
                  <a:pt x="1336" y="3579"/>
                  <a:pt x="1288" y="3579"/>
                </a:cubicBezTo>
                <a:lnTo>
                  <a:pt x="1018" y="3579"/>
                </a:lnTo>
                <a:cubicBezTo>
                  <a:pt x="970" y="3579"/>
                  <a:pt x="938" y="3610"/>
                  <a:pt x="938" y="3658"/>
                </a:cubicBezTo>
                <a:cubicBezTo>
                  <a:pt x="938" y="3690"/>
                  <a:pt x="970" y="3737"/>
                  <a:pt x="1018" y="3737"/>
                </a:cubicBezTo>
                <a:close/>
                <a:moveTo>
                  <a:pt x="333" y="4071"/>
                </a:moveTo>
                <a:lnTo>
                  <a:pt x="1988" y="4071"/>
                </a:lnTo>
                <a:cubicBezTo>
                  <a:pt x="2163" y="4071"/>
                  <a:pt x="2322" y="3913"/>
                  <a:pt x="2322" y="3737"/>
                </a:cubicBezTo>
                <a:lnTo>
                  <a:pt x="2322" y="334"/>
                </a:lnTo>
                <a:cubicBezTo>
                  <a:pt x="2322" y="143"/>
                  <a:pt x="2163" y="0"/>
                  <a:pt x="1988" y="0"/>
                </a:cubicBezTo>
                <a:lnTo>
                  <a:pt x="333" y="0"/>
                </a:lnTo>
                <a:cubicBezTo>
                  <a:pt x="143" y="0"/>
                  <a:pt x="0" y="143"/>
                  <a:pt x="0" y="334"/>
                </a:cubicBezTo>
                <a:lnTo>
                  <a:pt x="0" y="3737"/>
                </a:lnTo>
                <a:cubicBezTo>
                  <a:pt x="0" y="3913"/>
                  <a:pt x="143" y="4071"/>
                  <a:pt x="333" y="4071"/>
                </a:cubicBezTo>
                <a:close/>
                <a:moveTo>
                  <a:pt x="158" y="334"/>
                </a:moveTo>
                <a:cubicBezTo>
                  <a:pt x="158" y="238"/>
                  <a:pt x="238" y="159"/>
                  <a:pt x="333" y="159"/>
                </a:cubicBezTo>
                <a:lnTo>
                  <a:pt x="1988" y="159"/>
                </a:lnTo>
                <a:cubicBezTo>
                  <a:pt x="2083" y="159"/>
                  <a:pt x="2163" y="238"/>
                  <a:pt x="2163" y="334"/>
                </a:cubicBezTo>
                <a:lnTo>
                  <a:pt x="2163" y="668"/>
                </a:lnTo>
                <a:lnTo>
                  <a:pt x="158" y="668"/>
                </a:lnTo>
                <a:close/>
                <a:moveTo>
                  <a:pt x="158" y="827"/>
                </a:moveTo>
                <a:lnTo>
                  <a:pt x="2163" y="827"/>
                </a:lnTo>
                <a:lnTo>
                  <a:pt x="2163" y="3229"/>
                </a:lnTo>
                <a:lnTo>
                  <a:pt x="158" y="3229"/>
                </a:lnTo>
                <a:close/>
                <a:moveTo>
                  <a:pt x="158" y="3388"/>
                </a:moveTo>
                <a:lnTo>
                  <a:pt x="2163" y="3388"/>
                </a:lnTo>
                <a:lnTo>
                  <a:pt x="2163" y="3737"/>
                </a:lnTo>
                <a:cubicBezTo>
                  <a:pt x="2163" y="3833"/>
                  <a:pt x="2083" y="3913"/>
                  <a:pt x="1988" y="3913"/>
                </a:cubicBezTo>
                <a:lnTo>
                  <a:pt x="333" y="3913"/>
                </a:lnTo>
                <a:cubicBezTo>
                  <a:pt x="238" y="3913"/>
                  <a:pt x="158" y="3833"/>
                  <a:pt x="158" y="373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5" name="TextBox 24">
            <a:extLst>
              <a:ext uri="{FF2B5EF4-FFF2-40B4-BE49-F238E27FC236}">
                <a16:creationId xmlns:a16="http://schemas.microsoft.com/office/drawing/2014/main" id="{A5447D36-7E08-A047-A6F8-70972E3044D3}"/>
              </a:ext>
            </a:extLst>
          </p:cNvPr>
          <p:cNvSpPr txBox="1"/>
          <p:nvPr/>
        </p:nvSpPr>
        <p:spPr>
          <a:xfrm>
            <a:off x="4973386" y="8290167"/>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Pad</a:t>
            </a:r>
          </a:p>
        </p:txBody>
      </p:sp>
      <p:sp>
        <p:nvSpPr>
          <p:cNvPr id="26" name="TextBox 25">
            <a:extLst>
              <a:ext uri="{FF2B5EF4-FFF2-40B4-BE49-F238E27FC236}">
                <a16:creationId xmlns:a16="http://schemas.microsoft.com/office/drawing/2014/main" id="{4B7F622D-85D0-3444-9E7C-A421A0019C38}"/>
              </a:ext>
            </a:extLst>
          </p:cNvPr>
          <p:cNvSpPr txBox="1"/>
          <p:nvPr/>
        </p:nvSpPr>
        <p:spPr>
          <a:xfrm>
            <a:off x="754389" y="5164929"/>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mart Phone</a:t>
            </a:r>
          </a:p>
        </p:txBody>
      </p:sp>
      <p:sp>
        <p:nvSpPr>
          <p:cNvPr id="27" name="Freeform: Shape 15">
            <a:extLst>
              <a:ext uri="{FF2B5EF4-FFF2-40B4-BE49-F238E27FC236}">
                <a16:creationId xmlns:a16="http://schemas.microsoft.com/office/drawing/2014/main" id="{F27E937A-A0BC-B744-9B63-D139EB215621}"/>
              </a:ext>
            </a:extLst>
          </p:cNvPr>
          <p:cNvSpPr/>
          <p:nvPr/>
        </p:nvSpPr>
        <p:spPr>
          <a:xfrm>
            <a:off x="2158340" y="3215582"/>
            <a:ext cx="921239" cy="1626119"/>
          </a:xfrm>
          <a:custGeom>
            <a:avLst/>
            <a:gdLst/>
            <a:ahLst/>
            <a:cxnLst>
              <a:cxn ang="3cd4">
                <a:pos x="hc" y="t"/>
              </a:cxn>
              <a:cxn ang="cd2">
                <a:pos x="l" y="vc"/>
              </a:cxn>
              <a:cxn ang="cd4">
                <a:pos x="hc" y="b"/>
              </a:cxn>
              <a:cxn ang="0">
                <a:pos x="r" y="vc"/>
              </a:cxn>
            </a:cxnLst>
            <a:rect l="l" t="t" r="r" b="b"/>
            <a:pathLst>
              <a:path w="2560" h="4518">
                <a:moveTo>
                  <a:pt x="0" y="366"/>
                </a:moveTo>
                <a:cubicBezTo>
                  <a:pt x="0" y="4152"/>
                  <a:pt x="0" y="4152"/>
                  <a:pt x="0" y="4152"/>
                </a:cubicBezTo>
                <a:cubicBezTo>
                  <a:pt x="0" y="4359"/>
                  <a:pt x="159" y="4518"/>
                  <a:pt x="349" y="4518"/>
                </a:cubicBezTo>
                <a:cubicBezTo>
                  <a:pt x="2195" y="4518"/>
                  <a:pt x="2195" y="4518"/>
                  <a:pt x="2195" y="4518"/>
                </a:cubicBezTo>
                <a:cubicBezTo>
                  <a:pt x="2385" y="4518"/>
                  <a:pt x="2560" y="4359"/>
                  <a:pt x="2560" y="4152"/>
                </a:cubicBezTo>
                <a:cubicBezTo>
                  <a:pt x="2560" y="366"/>
                  <a:pt x="2560" y="366"/>
                  <a:pt x="2560" y="366"/>
                </a:cubicBezTo>
                <a:cubicBezTo>
                  <a:pt x="2560" y="176"/>
                  <a:pt x="2385" y="0"/>
                  <a:pt x="2195" y="0"/>
                </a:cubicBezTo>
                <a:cubicBezTo>
                  <a:pt x="349" y="0"/>
                  <a:pt x="349" y="0"/>
                  <a:pt x="349" y="0"/>
                </a:cubicBezTo>
                <a:cubicBezTo>
                  <a:pt x="159" y="0"/>
                  <a:pt x="0" y="176"/>
                  <a:pt x="0" y="366"/>
                </a:cubicBezTo>
                <a:close/>
                <a:moveTo>
                  <a:pt x="2401" y="4152"/>
                </a:moveTo>
                <a:cubicBezTo>
                  <a:pt x="2401" y="4263"/>
                  <a:pt x="2306" y="4359"/>
                  <a:pt x="2195" y="4359"/>
                </a:cubicBezTo>
                <a:cubicBezTo>
                  <a:pt x="349" y="4359"/>
                  <a:pt x="349" y="4359"/>
                  <a:pt x="349" y="4359"/>
                </a:cubicBezTo>
                <a:cubicBezTo>
                  <a:pt x="238" y="4359"/>
                  <a:pt x="159" y="4263"/>
                  <a:pt x="159" y="4152"/>
                </a:cubicBezTo>
                <a:cubicBezTo>
                  <a:pt x="159" y="3771"/>
                  <a:pt x="159" y="3771"/>
                  <a:pt x="159" y="3771"/>
                </a:cubicBezTo>
                <a:cubicBezTo>
                  <a:pt x="2401" y="3771"/>
                  <a:pt x="2401" y="3771"/>
                  <a:pt x="2401" y="3771"/>
                </a:cubicBezTo>
                <a:close/>
                <a:moveTo>
                  <a:pt x="2401" y="3611"/>
                </a:moveTo>
                <a:cubicBezTo>
                  <a:pt x="159" y="3611"/>
                  <a:pt x="159" y="3611"/>
                  <a:pt x="159" y="3611"/>
                </a:cubicBezTo>
                <a:cubicBezTo>
                  <a:pt x="159" y="923"/>
                  <a:pt x="159" y="923"/>
                  <a:pt x="159" y="923"/>
                </a:cubicBezTo>
                <a:cubicBezTo>
                  <a:pt x="2401" y="923"/>
                  <a:pt x="2401" y="923"/>
                  <a:pt x="2401" y="923"/>
                </a:cubicBezTo>
                <a:close/>
                <a:moveTo>
                  <a:pt x="2401" y="366"/>
                </a:moveTo>
                <a:cubicBezTo>
                  <a:pt x="2401" y="764"/>
                  <a:pt x="2401" y="764"/>
                  <a:pt x="2401" y="764"/>
                </a:cubicBezTo>
                <a:cubicBezTo>
                  <a:pt x="159" y="764"/>
                  <a:pt x="159" y="764"/>
                  <a:pt x="159" y="764"/>
                </a:cubicBezTo>
                <a:cubicBezTo>
                  <a:pt x="159" y="366"/>
                  <a:pt x="159" y="366"/>
                  <a:pt x="159" y="366"/>
                </a:cubicBezTo>
                <a:cubicBezTo>
                  <a:pt x="159" y="255"/>
                  <a:pt x="238" y="160"/>
                  <a:pt x="349" y="160"/>
                </a:cubicBezTo>
                <a:cubicBezTo>
                  <a:pt x="2195" y="160"/>
                  <a:pt x="2195" y="160"/>
                  <a:pt x="2195" y="160"/>
                </a:cubicBezTo>
                <a:cubicBezTo>
                  <a:pt x="2306" y="160"/>
                  <a:pt x="2401" y="255"/>
                  <a:pt x="2401" y="36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8" name="Freeform: Shape 16">
            <a:extLst>
              <a:ext uri="{FF2B5EF4-FFF2-40B4-BE49-F238E27FC236}">
                <a16:creationId xmlns:a16="http://schemas.microsoft.com/office/drawing/2014/main" id="{07EC0982-DD0E-5046-A9ED-1D94A4F253D6}"/>
              </a:ext>
            </a:extLst>
          </p:cNvPr>
          <p:cNvSpPr/>
          <p:nvPr/>
        </p:nvSpPr>
        <p:spPr>
          <a:xfrm>
            <a:off x="6067081" y="6530179"/>
            <a:ext cx="1614600" cy="1190520"/>
          </a:xfrm>
          <a:custGeom>
            <a:avLst/>
            <a:gdLst/>
            <a:ahLst/>
            <a:cxnLst>
              <a:cxn ang="3cd4">
                <a:pos x="hc" y="t"/>
              </a:cxn>
              <a:cxn ang="cd2">
                <a:pos x="l" y="vc"/>
              </a:cxn>
              <a:cxn ang="cd4">
                <a:pos x="hc" y="b"/>
              </a:cxn>
              <a:cxn ang="0">
                <a:pos x="r" y="vc"/>
              </a:cxn>
            </a:cxnLst>
            <a:rect l="l" t="t" r="r" b="b"/>
            <a:pathLst>
              <a:path w="4486" h="3308">
                <a:moveTo>
                  <a:pt x="4088" y="0"/>
                </a:moveTo>
                <a:cubicBezTo>
                  <a:pt x="366" y="0"/>
                  <a:pt x="366" y="0"/>
                  <a:pt x="366" y="0"/>
                </a:cubicBezTo>
                <a:cubicBezTo>
                  <a:pt x="143" y="0"/>
                  <a:pt x="0" y="143"/>
                  <a:pt x="0" y="334"/>
                </a:cubicBezTo>
                <a:cubicBezTo>
                  <a:pt x="0" y="2926"/>
                  <a:pt x="0" y="2926"/>
                  <a:pt x="0" y="2926"/>
                </a:cubicBezTo>
                <a:cubicBezTo>
                  <a:pt x="0" y="3149"/>
                  <a:pt x="160" y="3308"/>
                  <a:pt x="366" y="3308"/>
                </a:cubicBezTo>
                <a:cubicBezTo>
                  <a:pt x="4088" y="3308"/>
                  <a:pt x="4088" y="3308"/>
                  <a:pt x="4088" y="3308"/>
                </a:cubicBezTo>
                <a:cubicBezTo>
                  <a:pt x="4279" y="3308"/>
                  <a:pt x="4486" y="3149"/>
                  <a:pt x="4486" y="2926"/>
                </a:cubicBezTo>
                <a:cubicBezTo>
                  <a:pt x="4486" y="334"/>
                  <a:pt x="4486" y="334"/>
                  <a:pt x="4486" y="334"/>
                </a:cubicBezTo>
                <a:cubicBezTo>
                  <a:pt x="4486" y="111"/>
                  <a:pt x="4279" y="0"/>
                  <a:pt x="4088" y="0"/>
                </a:cubicBezTo>
                <a:close/>
                <a:moveTo>
                  <a:pt x="4327" y="1542"/>
                </a:moveTo>
                <a:cubicBezTo>
                  <a:pt x="4279" y="1415"/>
                  <a:pt x="4168" y="1336"/>
                  <a:pt x="4024" y="1336"/>
                </a:cubicBezTo>
                <a:cubicBezTo>
                  <a:pt x="3897" y="1336"/>
                  <a:pt x="3786" y="1431"/>
                  <a:pt x="3738" y="1542"/>
                </a:cubicBezTo>
                <a:cubicBezTo>
                  <a:pt x="3738" y="461"/>
                  <a:pt x="3738" y="461"/>
                  <a:pt x="3738" y="461"/>
                </a:cubicBezTo>
                <a:cubicBezTo>
                  <a:pt x="3738" y="413"/>
                  <a:pt x="3706" y="381"/>
                  <a:pt x="3659" y="381"/>
                </a:cubicBezTo>
                <a:cubicBezTo>
                  <a:pt x="525" y="381"/>
                  <a:pt x="525" y="381"/>
                  <a:pt x="525" y="381"/>
                </a:cubicBezTo>
                <a:cubicBezTo>
                  <a:pt x="494" y="381"/>
                  <a:pt x="446" y="413"/>
                  <a:pt x="446" y="461"/>
                </a:cubicBezTo>
                <a:cubicBezTo>
                  <a:pt x="446" y="2863"/>
                  <a:pt x="446" y="2863"/>
                  <a:pt x="446" y="2863"/>
                </a:cubicBezTo>
                <a:cubicBezTo>
                  <a:pt x="446" y="2894"/>
                  <a:pt x="494" y="2942"/>
                  <a:pt x="525" y="2942"/>
                </a:cubicBezTo>
                <a:cubicBezTo>
                  <a:pt x="3659" y="2942"/>
                  <a:pt x="3659" y="2942"/>
                  <a:pt x="3659" y="2942"/>
                </a:cubicBezTo>
                <a:cubicBezTo>
                  <a:pt x="3706" y="2942"/>
                  <a:pt x="3738" y="2894"/>
                  <a:pt x="3738" y="2863"/>
                </a:cubicBezTo>
                <a:cubicBezTo>
                  <a:pt x="3738" y="1765"/>
                  <a:pt x="3738" y="1765"/>
                  <a:pt x="3738" y="1765"/>
                </a:cubicBezTo>
                <a:cubicBezTo>
                  <a:pt x="3786" y="1892"/>
                  <a:pt x="3897" y="1972"/>
                  <a:pt x="4024" y="1972"/>
                </a:cubicBezTo>
                <a:cubicBezTo>
                  <a:pt x="4168" y="1972"/>
                  <a:pt x="4279" y="1892"/>
                  <a:pt x="4327" y="1765"/>
                </a:cubicBezTo>
                <a:cubicBezTo>
                  <a:pt x="4327" y="2926"/>
                  <a:pt x="4327" y="2926"/>
                  <a:pt x="4327" y="2926"/>
                </a:cubicBezTo>
                <a:cubicBezTo>
                  <a:pt x="4327" y="3054"/>
                  <a:pt x="4199" y="3149"/>
                  <a:pt x="4088" y="3149"/>
                </a:cubicBezTo>
                <a:cubicBezTo>
                  <a:pt x="366" y="3149"/>
                  <a:pt x="366" y="3149"/>
                  <a:pt x="366" y="3149"/>
                </a:cubicBezTo>
                <a:cubicBezTo>
                  <a:pt x="255" y="3149"/>
                  <a:pt x="160" y="3054"/>
                  <a:pt x="160" y="2926"/>
                </a:cubicBezTo>
                <a:cubicBezTo>
                  <a:pt x="160" y="334"/>
                  <a:pt x="160" y="334"/>
                  <a:pt x="160" y="334"/>
                </a:cubicBezTo>
                <a:cubicBezTo>
                  <a:pt x="160" y="191"/>
                  <a:pt x="271" y="159"/>
                  <a:pt x="366" y="159"/>
                </a:cubicBezTo>
                <a:cubicBezTo>
                  <a:pt x="4088" y="159"/>
                  <a:pt x="4088" y="159"/>
                  <a:pt x="4088" y="159"/>
                </a:cubicBezTo>
                <a:cubicBezTo>
                  <a:pt x="4104" y="159"/>
                  <a:pt x="4327" y="174"/>
                  <a:pt x="4327" y="334"/>
                </a:cubicBezTo>
                <a:close/>
                <a:moveTo>
                  <a:pt x="4184" y="1654"/>
                </a:moveTo>
                <a:cubicBezTo>
                  <a:pt x="4184" y="1749"/>
                  <a:pt x="4120" y="1813"/>
                  <a:pt x="4024" y="1813"/>
                </a:cubicBezTo>
                <a:cubicBezTo>
                  <a:pt x="3945" y="1813"/>
                  <a:pt x="3881" y="1749"/>
                  <a:pt x="3881" y="1654"/>
                </a:cubicBezTo>
                <a:cubicBezTo>
                  <a:pt x="3881" y="1574"/>
                  <a:pt x="3945" y="1495"/>
                  <a:pt x="4024" y="1495"/>
                </a:cubicBezTo>
                <a:cubicBezTo>
                  <a:pt x="4120" y="1495"/>
                  <a:pt x="4184" y="1574"/>
                  <a:pt x="4184" y="1654"/>
                </a:cubicBezTo>
                <a:close/>
                <a:moveTo>
                  <a:pt x="3579" y="540"/>
                </a:moveTo>
                <a:cubicBezTo>
                  <a:pt x="3579" y="2783"/>
                  <a:pt x="3579" y="2783"/>
                  <a:pt x="3579" y="2783"/>
                </a:cubicBezTo>
                <a:cubicBezTo>
                  <a:pt x="605" y="2783"/>
                  <a:pt x="605" y="2783"/>
                  <a:pt x="605" y="2783"/>
                </a:cubicBezTo>
                <a:cubicBezTo>
                  <a:pt x="605" y="540"/>
                  <a:pt x="605" y="540"/>
                  <a:pt x="605" y="5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9" name="TextBox 28">
            <a:extLst>
              <a:ext uri="{FF2B5EF4-FFF2-40B4-BE49-F238E27FC236}">
                <a16:creationId xmlns:a16="http://schemas.microsoft.com/office/drawing/2014/main" id="{09C43D60-B14E-9642-9C55-FC7AC23771E7}"/>
              </a:ext>
            </a:extLst>
          </p:cNvPr>
          <p:cNvSpPr txBox="1"/>
          <p:nvPr/>
        </p:nvSpPr>
        <p:spPr>
          <a:xfrm>
            <a:off x="16254031" y="8595157"/>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Pad</a:t>
            </a:r>
          </a:p>
        </p:txBody>
      </p:sp>
      <p:sp>
        <p:nvSpPr>
          <p:cNvPr id="30" name="TextBox 29">
            <a:extLst>
              <a:ext uri="{FF2B5EF4-FFF2-40B4-BE49-F238E27FC236}">
                <a16:creationId xmlns:a16="http://schemas.microsoft.com/office/drawing/2014/main" id="{79D72259-0A8B-7E44-8B67-2252A63FF8BC}"/>
              </a:ext>
            </a:extLst>
          </p:cNvPr>
          <p:cNvSpPr txBox="1"/>
          <p:nvPr/>
        </p:nvSpPr>
        <p:spPr>
          <a:xfrm>
            <a:off x="20273041" y="8555250"/>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blet</a:t>
            </a:r>
          </a:p>
        </p:txBody>
      </p:sp>
      <p:sp>
        <p:nvSpPr>
          <p:cNvPr id="31" name="TextBox 30">
            <a:extLst>
              <a:ext uri="{FF2B5EF4-FFF2-40B4-BE49-F238E27FC236}">
                <a16:creationId xmlns:a16="http://schemas.microsoft.com/office/drawing/2014/main" id="{3C5C820C-FB63-1948-8CB7-CA21ED224B31}"/>
              </a:ext>
            </a:extLst>
          </p:cNvPr>
          <p:cNvSpPr txBox="1"/>
          <p:nvPr/>
        </p:nvSpPr>
        <p:spPr>
          <a:xfrm>
            <a:off x="12690160" y="854397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blet Document</a:t>
            </a:r>
          </a:p>
        </p:txBody>
      </p:sp>
      <p:sp>
        <p:nvSpPr>
          <p:cNvPr id="32" name="Freeform: Shape 3">
            <a:extLst>
              <a:ext uri="{FF2B5EF4-FFF2-40B4-BE49-F238E27FC236}">
                <a16:creationId xmlns:a16="http://schemas.microsoft.com/office/drawing/2014/main" id="{5C4FF329-4063-9B4B-B700-2C103C50897B}"/>
              </a:ext>
            </a:extLst>
          </p:cNvPr>
          <p:cNvSpPr/>
          <p:nvPr/>
        </p:nvSpPr>
        <p:spPr>
          <a:xfrm>
            <a:off x="17263875" y="6381472"/>
            <a:ext cx="1322280" cy="1797480"/>
          </a:xfrm>
          <a:custGeom>
            <a:avLst/>
            <a:gdLst/>
            <a:ahLst/>
            <a:cxnLst>
              <a:cxn ang="3cd4">
                <a:pos x="hc" y="t"/>
              </a:cxn>
              <a:cxn ang="cd2">
                <a:pos x="l" y="vc"/>
              </a:cxn>
              <a:cxn ang="cd4">
                <a:pos x="hc" y="b"/>
              </a:cxn>
              <a:cxn ang="0">
                <a:pos x="r" y="vc"/>
              </a:cxn>
            </a:cxnLst>
            <a:rect l="l" t="t" r="r" b="b"/>
            <a:pathLst>
              <a:path w="3674" h="4994">
                <a:moveTo>
                  <a:pt x="3309" y="0"/>
                </a:moveTo>
                <a:cubicBezTo>
                  <a:pt x="413" y="0"/>
                  <a:pt x="413" y="0"/>
                  <a:pt x="413" y="0"/>
                </a:cubicBezTo>
                <a:cubicBezTo>
                  <a:pt x="175" y="0"/>
                  <a:pt x="0" y="158"/>
                  <a:pt x="0" y="381"/>
                </a:cubicBezTo>
                <a:cubicBezTo>
                  <a:pt x="0" y="4564"/>
                  <a:pt x="0" y="4564"/>
                  <a:pt x="0" y="4564"/>
                </a:cubicBezTo>
                <a:cubicBezTo>
                  <a:pt x="0" y="4771"/>
                  <a:pt x="159" y="4994"/>
                  <a:pt x="413" y="4994"/>
                </a:cubicBezTo>
                <a:cubicBezTo>
                  <a:pt x="3309" y="4994"/>
                  <a:pt x="3309" y="4994"/>
                  <a:pt x="3309" y="4994"/>
                </a:cubicBezTo>
                <a:cubicBezTo>
                  <a:pt x="3563" y="4994"/>
                  <a:pt x="3674" y="4771"/>
                  <a:pt x="3674" y="4564"/>
                </a:cubicBezTo>
                <a:cubicBezTo>
                  <a:pt x="3674" y="381"/>
                  <a:pt x="3674" y="381"/>
                  <a:pt x="3674" y="381"/>
                </a:cubicBezTo>
                <a:cubicBezTo>
                  <a:pt x="3674" y="143"/>
                  <a:pt x="3531" y="0"/>
                  <a:pt x="3309" y="0"/>
                </a:cubicBezTo>
                <a:close/>
                <a:moveTo>
                  <a:pt x="3515" y="4564"/>
                </a:moveTo>
                <a:cubicBezTo>
                  <a:pt x="3515" y="4580"/>
                  <a:pt x="3499" y="4835"/>
                  <a:pt x="3309" y="4835"/>
                </a:cubicBezTo>
                <a:cubicBezTo>
                  <a:pt x="1893" y="4835"/>
                  <a:pt x="1893" y="4835"/>
                  <a:pt x="1893" y="4835"/>
                </a:cubicBezTo>
                <a:cubicBezTo>
                  <a:pt x="2052" y="4803"/>
                  <a:pt x="2179" y="4660"/>
                  <a:pt x="2179" y="4501"/>
                </a:cubicBezTo>
                <a:cubicBezTo>
                  <a:pt x="2179" y="4326"/>
                  <a:pt x="2052" y="4182"/>
                  <a:pt x="1893" y="4151"/>
                </a:cubicBezTo>
                <a:cubicBezTo>
                  <a:pt x="3181" y="4151"/>
                  <a:pt x="3181" y="4151"/>
                  <a:pt x="3181" y="4151"/>
                </a:cubicBezTo>
                <a:cubicBezTo>
                  <a:pt x="3229" y="4151"/>
                  <a:pt x="3261" y="4119"/>
                  <a:pt x="3261" y="4071"/>
                </a:cubicBezTo>
                <a:cubicBezTo>
                  <a:pt x="3261" y="572"/>
                  <a:pt x="3261" y="572"/>
                  <a:pt x="3261" y="572"/>
                </a:cubicBezTo>
                <a:cubicBezTo>
                  <a:pt x="3261" y="524"/>
                  <a:pt x="3229" y="492"/>
                  <a:pt x="3181" y="492"/>
                </a:cubicBezTo>
                <a:cubicBezTo>
                  <a:pt x="493" y="492"/>
                  <a:pt x="493" y="492"/>
                  <a:pt x="493" y="492"/>
                </a:cubicBezTo>
                <a:cubicBezTo>
                  <a:pt x="445" y="492"/>
                  <a:pt x="413" y="524"/>
                  <a:pt x="413" y="572"/>
                </a:cubicBezTo>
                <a:cubicBezTo>
                  <a:pt x="413" y="4071"/>
                  <a:pt x="413" y="4071"/>
                  <a:pt x="413" y="4071"/>
                </a:cubicBezTo>
                <a:cubicBezTo>
                  <a:pt x="413" y="4119"/>
                  <a:pt x="445" y="4151"/>
                  <a:pt x="493" y="4151"/>
                </a:cubicBezTo>
                <a:cubicBezTo>
                  <a:pt x="1766" y="4151"/>
                  <a:pt x="1766" y="4151"/>
                  <a:pt x="1766" y="4151"/>
                </a:cubicBezTo>
                <a:cubicBezTo>
                  <a:pt x="1606" y="4182"/>
                  <a:pt x="1495" y="4326"/>
                  <a:pt x="1495" y="4501"/>
                </a:cubicBezTo>
                <a:cubicBezTo>
                  <a:pt x="1495" y="4660"/>
                  <a:pt x="1606" y="4803"/>
                  <a:pt x="1766" y="4835"/>
                </a:cubicBezTo>
                <a:cubicBezTo>
                  <a:pt x="413" y="4835"/>
                  <a:pt x="413" y="4835"/>
                  <a:pt x="413" y="4835"/>
                </a:cubicBezTo>
                <a:cubicBezTo>
                  <a:pt x="255" y="4835"/>
                  <a:pt x="159" y="4691"/>
                  <a:pt x="159" y="4564"/>
                </a:cubicBezTo>
                <a:cubicBezTo>
                  <a:pt x="159" y="381"/>
                  <a:pt x="159" y="381"/>
                  <a:pt x="159" y="381"/>
                </a:cubicBezTo>
                <a:cubicBezTo>
                  <a:pt x="159" y="254"/>
                  <a:pt x="255" y="158"/>
                  <a:pt x="413" y="158"/>
                </a:cubicBezTo>
                <a:cubicBezTo>
                  <a:pt x="3309" y="158"/>
                  <a:pt x="3309" y="158"/>
                  <a:pt x="3309" y="158"/>
                </a:cubicBezTo>
                <a:cubicBezTo>
                  <a:pt x="3484" y="158"/>
                  <a:pt x="3515" y="286"/>
                  <a:pt x="3515" y="381"/>
                </a:cubicBezTo>
                <a:close/>
                <a:moveTo>
                  <a:pt x="1829" y="4676"/>
                </a:moveTo>
                <a:cubicBezTo>
                  <a:pt x="1734" y="4676"/>
                  <a:pt x="1654" y="4596"/>
                  <a:pt x="1654" y="4501"/>
                </a:cubicBezTo>
                <a:cubicBezTo>
                  <a:pt x="1654" y="4390"/>
                  <a:pt x="1734" y="4310"/>
                  <a:pt x="1829" y="4310"/>
                </a:cubicBezTo>
                <a:cubicBezTo>
                  <a:pt x="1940" y="4310"/>
                  <a:pt x="2020" y="4390"/>
                  <a:pt x="2020" y="4501"/>
                </a:cubicBezTo>
                <a:cubicBezTo>
                  <a:pt x="2020" y="4596"/>
                  <a:pt x="1940" y="4676"/>
                  <a:pt x="1829" y="4676"/>
                </a:cubicBezTo>
                <a:close/>
                <a:moveTo>
                  <a:pt x="573" y="3992"/>
                </a:moveTo>
                <a:cubicBezTo>
                  <a:pt x="573" y="652"/>
                  <a:pt x="573" y="652"/>
                  <a:pt x="573" y="652"/>
                </a:cubicBezTo>
                <a:cubicBezTo>
                  <a:pt x="3102" y="652"/>
                  <a:pt x="3102" y="652"/>
                  <a:pt x="3102" y="652"/>
                </a:cubicBezTo>
                <a:cubicBezTo>
                  <a:pt x="3102" y="3992"/>
                  <a:pt x="3102" y="3992"/>
                  <a:pt x="3102" y="399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3" name="Freeform: Shape 7">
            <a:extLst>
              <a:ext uri="{FF2B5EF4-FFF2-40B4-BE49-F238E27FC236}">
                <a16:creationId xmlns:a16="http://schemas.microsoft.com/office/drawing/2014/main" id="{410AE557-44AA-4C4A-B63A-9194FBEE2470}"/>
              </a:ext>
            </a:extLst>
          </p:cNvPr>
          <p:cNvSpPr/>
          <p:nvPr/>
        </p:nvSpPr>
        <p:spPr>
          <a:xfrm>
            <a:off x="13649750" y="6474673"/>
            <a:ext cx="1322280" cy="1797480"/>
          </a:xfrm>
          <a:custGeom>
            <a:avLst/>
            <a:gdLst/>
            <a:ahLst/>
            <a:cxnLst>
              <a:cxn ang="3cd4">
                <a:pos x="hc" y="t"/>
              </a:cxn>
              <a:cxn ang="cd2">
                <a:pos x="l" y="vc"/>
              </a:cxn>
              <a:cxn ang="cd4">
                <a:pos x="hc" y="b"/>
              </a:cxn>
              <a:cxn ang="0">
                <a:pos x="r" y="vc"/>
              </a:cxn>
            </a:cxnLst>
            <a:rect l="l" t="t" r="r" b="b"/>
            <a:pathLst>
              <a:path w="3674" h="4994">
                <a:moveTo>
                  <a:pt x="2067" y="4405"/>
                </a:moveTo>
                <a:lnTo>
                  <a:pt x="1606" y="4405"/>
                </a:lnTo>
                <a:cubicBezTo>
                  <a:pt x="1558" y="4405"/>
                  <a:pt x="1527" y="4453"/>
                  <a:pt x="1527" y="4485"/>
                </a:cubicBezTo>
                <a:cubicBezTo>
                  <a:pt x="1527" y="4533"/>
                  <a:pt x="1558" y="4564"/>
                  <a:pt x="1606" y="4564"/>
                </a:cubicBezTo>
                <a:lnTo>
                  <a:pt x="2067" y="4564"/>
                </a:lnTo>
                <a:cubicBezTo>
                  <a:pt x="2115" y="4564"/>
                  <a:pt x="2147" y="4533"/>
                  <a:pt x="2147" y="4485"/>
                </a:cubicBezTo>
                <a:cubicBezTo>
                  <a:pt x="2147" y="4453"/>
                  <a:pt x="2115" y="4405"/>
                  <a:pt x="2067" y="4405"/>
                </a:cubicBezTo>
                <a:close/>
                <a:moveTo>
                  <a:pt x="2688" y="1113"/>
                </a:moveTo>
                <a:lnTo>
                  <a:pt x="954" y="1113"/>
                </a:lnTo>
                <a:cubicBezTo>
                  <a:pt x="922" y="1113"/>
                  <a:pt x="874" y="1145"/>
                  <a:pt x="874" y="1192"/>
                </a:cubicBezTo>
                <a:cubicBezTo>
                  <a:pt x="874" y="1240"/>
                  <a:pt x="922" y="1272"/>
                  <a:pt x="954" y="1272"/>
                </a:cubicBezTo>
                <a:lnTo>
                  <a:pt x="2688" y="1272"/>
                </a:lnTo>
                <a:cubicBezTo>
                  <a:pt x="2735" y="1272"/>
                  <a:pt x="2767" y="1240"/>
                  <a:pt x="2767" y="1192"/>
                </a:cubicBezTo>
                <a:cubicBezTo>
                  <a:pt x="2767" y="1145"/>
                  <a:pt x="2735" y="1113"/>
                  <a:pt x="2688" y="1113"/>
                </a:cubicBezTo>
                <a:close/>
                <a:moveTo>
                  <a:pt x="2688" y="1733"/>
                </a:moveTo>
                <a:lnTo>
                  <a:pt x="954" y="1733"/>
                </a:lnTo>
                <a:cubicBezTo>
                  <a:pt x="922" y="1733"/>
                  <a:pt x="874" y="1765"/>
                  <a:pt x="874" y="1813"/>
                </a:cubicBezTo>
                <a:cubicBezTo>
                  <a:pt x="874" y="1860"/>
                  <a:pt x="922" y="1892"/>
                  <a:pt x="954" y="1892"/>
                </a:cubicBezTo>
                <a:lnTo>
                  <a:pt x="2688" y="1892"/>
                </a:lnTo>
                <a:cubicBezTo>
                  <a:pt x="2735" y="1892"/>
                  <a:pt x="2767" y="1860"/>
                  <a:pt x="2767" y="1813"/>
                </a:cubicBezTo>
                <a:cubicBezTo>
                  <a:pt x="2767" y="1765"/>
                  <a:pt x="2735" y="1733"/>
                  <a:pt x="2688" y="1733"/>
                </a:cubicBezTo>
                <a:close/>
                <a:moveTo>
                  <a:pt x="2688" y="2354"/>
                </a:moveTo>
                <a:lnTo>
                  <a:pt x="954" y="2354"/>
                </a:lnTo>
                <a:cubicBezTo>
                  <a:pt x="922" y="2354"/>
                  <a:pt x="874" y="2385"/>
                  <a:pt x="874" y="2433"/>
                </a:cubicBezTo>
                <a:cubicBezTo>
                  <a:pt x="874" y="2465"/>
                  <a:pt x="922" y="2512"/>
                  <a:pt x="954" y="2512"/>
                </a:cubicBezTo>
                <a:lnTo>
                  <a:pt x="2688" y="2512"/>
                </a:lnTo>
                <a:cubicBezTo>
                  <a:pt x="2735" y="2512"/>
                  <a:pt x="2767" y="2465"/>
                  <a:pt x="2767" y="2433"/>
                </a:cubicBezTo>
                <a:cubicBezTo>
                  <a:pt x="2767" y="2385"/>
                  <a:pt x="2735" y="2354"/>
                  <a:pt x="2688" y="2354"/>
                </a:cubicBezTo>
                <a:close/>
                <a:moveTo>
                  <a:pt x="1892" y="2958"/>
                </a:moveTo>
                <a:lnTo>
                  <a:pt x="954" y="2958"/>
                </a:lnTo>
                <a:cubicBezTo>
                  <a:pt x="922" y="2958"/>
                  <a:pt x="874" y="3006"/>
                  <a:pt x="874" y="3037"/>
                </a:cubicBezTo>
                <a:cubicBezTo>
                  <a:pt x="874" y="3085"/>
                  <a:pt x="922" y="3117"/>
                  <a:pt x="954" y="3117"/>
                </a:cubicBezTo>
                <a:lnTo>
                  <a:pt x="1892" y="3117"/>
                </a:lnTo>
                <a:cubicBezTo>
                  <a:pt x="1940" y="3117"/>
                  <a:pt x="1972" y="3085"/>
                  <a:pt x="1972" y="3037"/>
                </a:cubicBezTo>
                <a:cubicBezTo>
                  <a:pt x="1972" y="3006"/>
                  <a:pt x="1940" y="2958"/>
                  <a:pt x="1892" y="2958"/>
                </a:cubicBezTo>
                <a:close/>
                <a:moveTo>
                  <a:pt x="413" y="4994"/>
                </a:moveTo>
                <a:lnTo>
                  <a:pt x="3308" y="4994"/>
                </a:lnTo>
                <a:cubicBezTo>
                  <a:pt x="3563" y="4994"/>
                  <a:pt x="3674" y="4771"/>
                  <a:pt x="3674" y="4564"/>
                </a:cubicBezTo>
                <a:lnTo>
                  <a:pt x="3674" y="381"/>
                </a:lnTo>
                <a:cubicBezTo>
                  <a:pt x="3674" y="143"/>
                  <a:pt x="3531" y="0"/>
                  <a:pt x="3308" y="0"/>
                </a:cubicBezTo>
                <a:lnTo>
                  <a:pt x="413" y="0"/>
                </a:lnTo>
                <a:cubicBezTo>
                  <a:pt x="174" y="0"/>
                  <a:pt x="0" y="158"/>
                  <a:pt x="0" y="381"/>
                </a:cubicBezTo>
                <a:lnTo>
                  <a:pt x="0" y="4564"/>
                </a:lnTo>
                <a:cubicBezTo>
                  <a:pt x="0" y="4771"/>
                  <a:pt x="158" y="4994"/>
                  <a:pt x="413" y="4994"/>
                </a:cubicBezTo>
                <a:close/>
                <a:moveTo>
                  <a:pt x="158" y="381"/>
                </a:moveTo>
                <a:cubicBezTo>
                  <a:pt x="158" y="254"/>
                  <a:pt x="270" y="158"/>
                  <a:pt x="413" y="158"/>
                </a:cubicBezTo>
                <a:lnTo>
                  <a:pt x="3308" y="158"/>
                </a:lnTo>
                <a:cubicBezTo>
                  <a:pt x="3483" y="158"/>
                  <a:pt x="3515" y="286"/>
                  <a:pt x="3515" y="381"/>
                </a:cubicBezTo>
                <a:lnTo>
                  <a:pt x="3515" y="4564"/>
                </a:lnTo>
                <a:cubicBezTo>
                  <a:pt x="3515" y="4580"/>
                  <a:pt x="3515" y="4835"/>
                  <a:pt x="3308" y="4835"/>
                </a:cubicBezTo>
                <a:lnTo>
                  <a:pt x="413" y="4835"/>
                </a:lnTo>
                <a:cubicBezTo>
                  <a:pt x="254" y="4835"/>
                  <a:pt x="158" y="4691"/>
                  <a:pt x="158" y="4564"/>
                </a:cubicBezTo>
                <a:close/>
                <a:moveTo>
                  <a:pt x="492" y="4151"/>
                </a:moveTo>
                <a:lnTo>
                  <a:pt x="3181" y="4151"/>
                </a:lnTo>
                <a:cubicBezTo>
                  <a:pt x="3228" y="4151"/>
                  <a:pt x="3260" y="4119"/>
                  <a:pt x="3260" y="4071"/>
                </a:cubicBezTo>
                <a:lnTo>
                  <a:pt x="3260" y="572"/>
                </a:lnTo>
                <a:cubicBezTo>
                  <a:pt x="3260" y="524"/>
                  <a:pt x="3228" y="492"/>
                  <a:pt x="3181" y="492"/>
                </a:cubicBezTo>
                <a:lnTo>
                  <a:pt x="492" y="492"/>
                </a:lnTo>
                <a:cubicBezTo>
                  <a:pt x="445" y="492"/>
                  <a:pt x="413" y="524"/>
                  <a:pt x="413" y="572"/>
                </a:cubicBezTo>
                <a:lnTo>
                  <a:pt x="413" y="4071"/>
                </a:lnTo>
                <a:cubicBezTo>
                  <a:pt x="413" y="4119"/>
                  <a:pt x="445" y="4151"/>
                  <a:pt x="492" y="4151"/>
                </a:cubicBezTo>
                <a:close/>
                <a:moveTo>
                  <a:pt x="572" y="652"/>
                </a:moveTo>
                <a:lnTo>
                  <a:pt x="3101" y="652"/>
                </a:lnTo>
                <a:lnTo>
                  <a:pt x="3101" y="3992"/>
                </a:lnTo>
                <a:lnTo>
                  <a:pt x="572" y="3992"/>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4" name="Freeform: Shape 8">
            <a:extLst>
              <a:ext uri="{FF2B5EF4-FFF2-40B4-BE49-F238E27FC236}">
                <a16:creationId xmlns:a16="http://schemas.microsoft.com/office/drawing/2014/main" id="{B0374520-B23F-EC4B-AA63-47CAAC37A5A9}"/>
              </a:ext>
            </a:extLst>
          </p:cNvPr>
          <p:cNvSpPr/>
          <p:nvPr/>
        </p:nvSpPr>
        <p:spPr>
          <a:xfrm>
            <a:off x="20858171" y="6341565"/>
            <a:ext cx="1322280" cy="1797480"/>
          </a:xfrm>
          <a:custGeom>
            <a:avLst/>
            <a:gdLst/>
            <a:ahLst/>
            <a:cxnLst>
              <a:cxn ang="3cd4">
                <a:pos x="hc" y="t"/>
              </a:cxn>
              <a:cxn ang="cd2">
                <a:pos x="l" y="vc"/>
              </a:cxn>
              <a:cxn ang="cd4">
                <a:pos x="hc" y="b"/>
              </a:cxn>
              <a:cxn ang="0">
                <a:pos x="r" y="vc"/>
              </a:cxn>
            </a:cxnLst>
            <a:rect l="l" t="t" r="r" b="b"/>
            <a:pathLst>
              <a:path w="3674" h="4994">
                <a:moveTo>
                  <a:pt x="2068" y="4405"/>
                </a:moveTo>
                <a:lnTo>
                  <a:pt x="1606" y="4405"/>
                </a:lnTo>
                <a:cubicBezTo>
                  <a:pt x="1559" y="4405"/>
                  <a:pt x="1527" y="4453"/>
                  <a:pt x="1527" y="4485"/>
                </a:cubicBezTo>
                <a:cubicBezTo>
                  <a:pt x="1527" y="4533"/>
                  <a:pt x="1559" y="4564"/>
                  <a:pt x="1606" y="4564"/>
                </a:cubicBezTo>
                <a:lnTo>
                  <a:pt x="2068" y="4564"/>
                </a:lnTo>
                <a:cubicBezTo>
                  <a:pt x="2115" y="4564"/>
                  <a:pt x="2147" y="4533"/>
                  <a:pt x="2147" y="4485"/>
                </a:cubicBezTo>
                <a:cubicBezTo>
                  <a:pt x="2147" y="4453"/>
                  <a:pt x="2115" y="4405"/>
                  <a:pt x="2068" y="4405"/>
                </a:cubicBezTo>
                <a:close/>
                <a:moveTo>
                  <a:pt x="3308" y="0"/>
                </a:moveTo>
                <a:lnTo>
                  <a:pt x="414" y="0"/>
                </a:lnTo>
                <a:cubicBezTo>
                  <a:pt x="175" y="0"/>
                  <a:pt x="0" y="158"/>
                  <a:pt x="0" y="381"/>
                </a:cubicBezTo>
                <a:lnTo>
                  <a:pt x="0" y="4564"/>
                </a:lnTo>
                <a:cubicBezTo>
                  <a:pt x="0" y="4771"/>
                  <a:pt x="159" y="4994"/>
                  <a:pt x="414" y="4994"/>
                </a:cubicBezTo>
                <a:lnTo>
                  <a:pt x="3308" y="4994"/>
                </a:lnTo>
                <a:cubicBezTo>
                  <a:pt x="3563" y="4994"/>
                  <a:pt x="3674" y="4771"/>
                  <a:pt x="3674" y="4564"/>
                </a:cubicBezTo>
                <a:lnTo>
                  <a:pt x="3674" y="381"/>
                </a:lnTo>
                <a:cubicBezTo>
                  <a:pt x="3674" y="143"/>
                  <a:pt x="3531" y="0"/>
                  <a:pt x="3308" y="0"/>
                </a:cubicBezTo>
                <a:close/>
                <a:moveTo>
                  <a:pt x="3515" y="4564"/>
                </a:moveTo>
                <a:cubicBezTo>
                  <a:pt x="3515" y="4580"/>
                  <a:pt x="3515" y="4835"/>
                  <a:pt x="3308" y="4835"/>
                </a:cubicBezTo>
                <a:lnTo>
                  <a:pt x="414" y="4835"/>
                </a:lnTo>
                <a:cubicBezTo>
                  <a:pt x="254" y="4835"/>
                  <a:pt x="159" y="4691"/>
                  <a:pt x="159" y="4564"/>
                </a:cubicBezTo>
                <a:lnTo>
                  <a:pt x="159" y="381"/>
                </a:lnTo>
                <a:cubicBezTo>
                  <a:pt x="159" y="254"/>
                  <a:pt x="270" y="158"/>
                  <a:pt x="414" y="158"/>
                </a:cubicBezTo>
                <a:lnTo>
                  <a:pt x="3308" y="158"/>
                </a:lnTo>
                <a:cubicBezTo>
                  <a:pt x="3483" y="158"/>
                  <a:pt x="3515" y="286"/>
                  <a:pt x="3515" y="381"/>
                </a:cubicBezTo>
                <a:close/>
                <a:moveTo>
                  <a:pt x="3181" y="492"/>
                </a:moveTo>
                <a:lnTo>
                  <a:pt x="493" y="492"/>
                </a:lnTo>
                <a:cubicBezTo>
                  <a:pt x="445" y="492"/>
                  <a:pt x="414" y="524"/>
                  <a:pt x="414" y="572"/>
                </a:cubicBezTo>
                <a:lnTo>
                  <a:pt x="414" y="4071"/>
                </a:lnTo>
                <a:cubicBezTo>
                  <a:pt x="414" y="4119"/>
                  <a:pt x="445" y="4151"/>
                  <a:pt x="493" y="4151"/>
                </a:cubicBezTo>
                <a:lnTo>
                  <a:pt x="3181" y="4151"/>
                </a:lnTo>
                <a:cubicBezTo>
                  <a:pt x="3229" y="4151"/>
                  <a:pt x="3260" y="4119"/>
                  <a:pt x="3260" y="4071"/>
                </a:cubicBezTo>
                <a:lnTo>
                  <a:pt x="3260" y="572"/>
                </a:lnTo>
                <a:cubicBezTo>
                  <a:pt x="3260" y="524"/>
                  <a:pt x="3229" y="492"/>
                  <a:pt x="3181" y="492"/>
                </a:cubicBezTo>
                <a:close/>
                <a:moveTo>
                  <a:pt x="3101" y="3992"/>
                </a:moveTo>
                <a:lnTo>
                  <a:pt x="572" y="3992"/>
                </a:lnTo>
                <a:lnTo>
                  <a:pt x="572" y="652"/>
                </a:lnTo>
                <a:lnTo>
                  <a:pt x="3101" y="652"/>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5" name="TextBox 34">
            <a:extLst>
              <a:ext uri="{FF2B5EF4-FFF2-40B4-BE49-F238E27FC236}">
                <a16:creationId xmlns:a16="http://schemas.microsoft.com/office/drawing/2014/main" id="{F3D556B9-FA15-0A4F-892A-BF002C88ECDF}"/>
              </a:ext>
            </a:extLst>
          </p:cNvPr>
          <p:cNvSpPr txBox="1"/>
          <p:nvPr/>
        </p:nvSpPr>
        <p:spPr>
          <a:xfrm>
            <a:off x="12804094" y="11776103"/>
            <a:ext cx="311233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mera</a:t>
            </a:r>
          </a:p>
        </p:txBody>
      </p:sp>
      <p:sp>
        <p:nvSpPr>
          <p:cNvPr id="36" name="TextBox 35">
            <a:extLst>
              <a:ext uri="{FF2B5EF4-FFF2-40B4-BE49-F238E27FC236}">
                <a16:creationId xmlns:a16="http://schemas.microsoft.com/office/drawing/2014/main" id="{1B6F287E-A347-7F4C-A8BB-3A06D1C69526}"/>
              </a:ext>
            </a:extLst>
          </p:cNvPr>
          <p:cNvSpPr txBox="1"/>
          <p:nvPr/>
        </p:nvSpPr>
        <p:spPr>
          <a:xfrm>
            <a:off x="4917016" y="11776103"/>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eadset</a:t>
            </a:r>
          </a:p>
        </p:txBody>
      </p:sp>
      <p:sp>
        <p:nvSpPr>
          <p:cNvPr id="37" name="Freeform: Shape 2">
            <a:extLst>
              <a:ext uri="{FF2B5EF4-FFF2-40B4-BE49-F238E27FC236}">
                <a16:creationId xmlns:a16="http://schemas.microsoft.com/office/drawing/2014/main" id="{C725BE3F-1993-5B40-8939-2E77602DC7B2}"/>
              </a:ext>
            </a:extLst>
          </p:cNvPr>
          <p:cNvSpPr/>
          <p:nvPr/>
        </p:nvSpPr>
        <p:spPr>
          <a:xfrm>
            <a:off x="13375107" y="10094042"/>
            <a:ext cx="1763280" cy="1259280"/>
          </a:xfrm>
          <a:custGeom>
            <a:avLst/>
            <a:gdLst/>
            <a:ahLst/>
            <a:cxnLst>
              <a:cxn ang="3cd4">
                <a:pos x="hc" y="t"/>
              </a:cxn>
              <a:cxn ang="cd2">
                <a:pos x="l" y="vc"/>
              </a:cxn>
              <a:cxn ang="cd4">
                <a:pos x="hc" y="b"/>
              </a:cxn>
              <a:cxn ang="0">
                <a:pos x="r" y="vc"/>
              </a:cxn>
            </a:cxnLst>
            <a:rect l="l" t="t" r="r" b="b"/>
            <a:pathLst>
              <a:path w="4899" h="3499">
                <a:moveTo>
                  <a:pt x="4263" y="366"/>
                </a:moveTo>
                <a:lnTo>
                  <a:pt x="1766" y="366"/>
                </a:lnTo>
                <a:lnTo>
                  <a:pt x="1718" y="175"/>
                </a:lnTo>
                <a:cubicBezTo>
                  <a:pt x="1702" y="80"/>
                  <a:pt x="1623" y="0"/>
                  <a:pt x="1511" y="0"/>
                </a:cubicBezTo>
                <a:lnTo>
                  <a:pt x="1002" y="0"/>
                </a:lnTo>
                <a:cubicBezTo>
                  <a:pt x="891" y="0"/>
                  <a:pt x="811" y="80"/>
                  <a:pt x="796" y="175"/>
                </a:cubicBezTo>
                <a:lnTo>
                  <a:pt x="748" y="366"/>
                </a:lnTo>
                <a:lnTo>
                  <a:pt x="636" y="366"/>
                </a:lnTo>
                <a:cubicBezTo>
                  <a:pt x="287" y="366"/>
                  <a:pt x="0" y="653"/>
                  <a:pt x="0" y="1018"/>
                </a:cubicBezTo>
                <a:lnTo>
                  <a:pt x="0" y="2847"/>
                </a:lnTo>
                <a:cubicBezTo>
                  <a:pt x="0" y="3213"/>
                  <a:pt x="287" y="3499"/>
                  <a:pt x="636" y="3499"/>
                </a:cubicBezTo>
                <a:lnTo>
                  <a:pt x="4263" y="3499"/>
                </a:lnTo>
                <a:cubicBezTo>
                  <a:pt x="4613" y="3499"/>
                  <a:pt x="4899" y="3213"/>
                  <a:pt x="4899" y="2847"/>
                </a:cubicBezTo>
                <a:lnTo>
                  <a:pt x="4899" y="1018"/>
                </a:lnTo>
                <a:cubicBezTo>
                  <a:pt x="4899" y="653"/>
                  <a:pt x="4613" y="366"/>
                  <a:pt x="4263" y="366"/>
                </a:cubicBezTo>
                <a:close/>
                <a:moveTo>
                  <a:pt x="954" y="207"/>
                </a:moveTo>
                <a:cubicBezTo>
                  <a:pt x="954" y="175"/>
                  <a:pt x="971" y="159"/>
                  <a:pt x="1002" y="159"/>
                </a:cubicBezTo>
                <a:lnTo>
                  <a:pt x="1511" y="159"/>
                </a:lnTo>
                <a:cubicBezTo>
                  <a:pt x="1543" y="159"/>
                  <a:pt x="1559" y="175"/>
                  <a:pt x="1559" y="207"/>
                </a:cubicBezTo>
                <a:lnTo>
                  <a:pt x="1607" y="366"/>
                </a:lnTo>
                <a:lnTo>
                  <a:pt x="907" y="366"/>
                </a:lnTo>
                <a:close/>
                <a:moveTo>
                  <a:pt x="4740" y="2847"/>
                </a:moveTo>
                <a:cubicBezTo>
                  <a:pt x="4740" y="3118"/>
                  <a:pt x="4517" y="3340"/>
                  <a:pt x="4263" y="3340"/>
                </a:cubicBezTo>
                <a:lnTo>
                  <a:pt x="636" y="3340"/>
                </a:lnTo>
                <a:cubicBezTo>
                  <a:pt x="366" y="3340"/>
                  <a:pt x="159" y="3118"/>
                  <a:pt x="159" y="2847"/>
                </a:cubicBezTo>
                <a:lnTo>
                  <a:pt x="159" y="1018"/>
                </a:lnTo>
                <a:cubicBezTo>
                  <a:pt x="159" y="748"/>
                  <a:pt x="366" y="525"/>
                  <a:pt x="636" y="525"/>
                </a:cubicBezTo>
                <a:lnTo>
                  <a:pt x="811" y="525"/>
                </a:lnTo>
                <a:lnTo>
                  <a:pt x="1702" y="525"/>
                </a:lnTo>
                <a:lnTo>
                  <a:pt x="4263" y="525"/>
                </a:lnTo>
                <a:cubicBezTo>
                  <a:pt x="4517" y="525"/>
                  <a:pt x="4740" y="748"/>
                  <a:pt x="4740" y="1018"/>
                </a:cubicBezTo>
                <a:close/>
                <a:moveTo>
                  <a:pt x="4247" y="732"/>
                </a:moveTo>
                <a:cubicBezTo>
                  <a:pt x="4088" y="732"/>
                  <a:pt x="3977" y="859"/>
                  <a:pt x="3977" y="1018"/>
                </a:cubicBezTo>
                <a:cubicBezTo>
                  <a:pt x="3977" y="1177"/>
                  <a:pt x="4088" y="1320"/>
                  <a:pt x="4247" y="1320"/>
                </a:cubicBezTo>
                <a:cubicBezTo>
                  <a:pt x="4406" y="1320"/>
                  <a:pt x="4534" y="1177"/>
                  <a:pt x="4534" y="1018"/>
                </a:cubicBezTo>
                <a:cubicBezTo>
                  <a:pt x="4534" y="859"/>
                  <a:pt x="4406" y="732"/>
                  <a:pt x="4247" y="732"/>
                </a:cubicBezTo>
                <a:close/>
                <a:moveTo>
                  <a:pt x="4247" y="1162"/>
                </a:moveTo>
                <a:cubicBezTo>
                  <a:pt x="4183" y="1162"/>
                  <a:pt x="4136" y="1098"/>
                  <a:pt x="4136" y="1018"/>
                </a:cubicBezTo>
                <a:cubicBezTo>
                  <a:pt x="4136" y="954"/>
                  <a:pt x="4183" y="891"/>
                  <a:pt x="4247" y="891"/>
                </a:cubicBezTo>
                <a:cubicBezTo>
                  <a:pt x="4327" y="891"/>
                  <a:pt x="4374" y="954"/>
                  <a:pt x="4374" y="1018"/>
                </a:cubicBezTo>
                <a:cubicBezTo>
                  <a:pt x="4374" y="1098"/>
                  <a:pt x="4327" y="1162"/>
                  <a:pt x="4247" y="1162"/>
                </a:cubicBezTo>
                <a:close/>
                <a:moveTo>
                  <a:pt x="2450" y="1225"/>
                </a:moveTo>
                <a:cubicBezTo>
                  <a:pt x="2052" y="1225"/>
                  <a:pt x="1734" y="1559"/>
                  <a:pt x="1734" y="1957"/>
                </a:cubicBezTo>
                <a:cubicBezTo>
                  <a:pt x="1734" y="2370"/>
                  <a:pt x="2052" y="2704"/>
                  <a:pt x="2450" y="2704"/>
                </a:cubicBezTo>
                <a:cubicBezTo>
                  <a:pt x="2847" y="2704"/>
                  <a:pt x="3166" y="2370"/>
                  <a:pt x="3166" y="1957"/>
                </a:cubicBezTo>
                <a:cubicBezTo>
                  <a:pt x="3166" y="1559"/>
                  <a:pt x="2847" y="1225"/>
                  <a:pt x="2450" y="1225"/>
                </a:cubicBezTo>
                <a:close/>
                <a:moveTo>
                  <a:pt x="2450" y="2545"/>
                </a:moveTo>
                <a:cubicBezTo>
                  <a:pt x="2148" y="2545"/>
                  <a:pt x="1893" y="2275"/>
                  <a:pt x="1893" y="1957"/>
                </a:cubicBezTo>
                <a:cubicBezTo>
                  <a:pt x="1893" y="1638"/>
                  <a:pt x="2148" y="1384"/>
                  <a:pt x="2450" y="1384"/>
                </a:cubicBezTo>
                <a:cubicBezTo>
                  <a:pt x="2752" y="1384"/>
                  <a:pt x="3007" y="1638"/>
                  <a:pt x="3007" y="1957"/>
                </a:cubicBezTo>
                <a:cubicBezTo>
                  <a:pt x="3007" y="2275"/>
                  <a:pt x="2752" y="2545"/>
                  <a:pt x="2450" y="2545"/>
                </a:cubicBezTo>
                <a:close/>
                <a:moveTo>
                  <a:pt x="2450" y="875"/>
                </a:moveTo>
                <a:cubicBezTo>
                  <a:pt x="1861" y="875"/>
                  <a:pt x="1384" y="1352"/>
                  <a:pt x="1384" y="1957"/>
                </a:cubicBezTo>
                <a:cubicBezTo>
                  <a:pt x="1384" y="2561"/>
                  <a:pt x="1861" y="3054"/>
                  <a:pt x="2450" y="3054"/>
                </a:cubicBezTo>
                <a:cubicBezTo>
                  <a:pt x="3038" y="3054"/>
                  <a:pt x="3499" y="2561"/>
                  <a:pt x="3499" y="1957"/>
                </a:cubicBezTo>
                <a:cubicBezTo>
                  <a:pt x="3499" y="1352"/>
                  <a:pt x="3038" y="875"/>
                  <a:pt x="2450" y="875"/>
                </a:cubicBezTo>
                <a:close/>
                <a:moveTo>
                  <a:pt x="2450" y="2895"/>
                </a:moveTo>
                <a:cubicBezTo>
                  <a:pt x="1957" y="2895"/>
                  <a:pt x="1543" y="2466"/>
                  <a:pt x="1543" y="1957"/>
                </a:cubicBezTo>
                <a:cubicBezTo>
                  <a:pt x="1543" y="1448"/>
                  <a:pt x="1957" y="1034"/>
                  <a:pt x="2450" y="1034"/>
                </a:cubicBezTo>
                <a:cubicBezTo>
                  <a:pt x="2943" y="1034"/>
                  <a:pt x="3341" y="1448"/>
                  <a:pt x="3341" y="1957"/>
                </a:cubicBezTo>
                <a:cubicBezTo>
                  <a:pt x="3341" y="2466"/>
                  <a:pt x="2943" y="2895"/>
                  <a:pt x="2450" y="289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8" name="Freeform: Shape 13">
            <a:extLst>
              <a:ext uri="{FF2B5EF4-FFF2-40B4-BE49-F238E27FC236}">
                <a16:creationId xmlns:a16="http://schemas.microsoft.com/office/drawing/2014/main" id="{B329D7E5-BC90-9D46-94DC-C394640C85B0}"/>
              </a:ext>
            </a:extLst>
          </p:cNvPr>
          <p:cNvSpPr/>
          <p:nvPr/>
        </p:nvSpPr>
        <p:spPr>
          <a:xfrm>
            <a:off x="5880596" y="9638451"/>
            <a:ext cx="1803600" cy="1694520"/>
          </a:xfrm>
          <a:custGeom>
            <a:avLst/>
            <a:gdLst/>
            <a:ahLst/>
            <a:cxnLst>
              <a:cxn ang="3cd4">
                <a:pos x="hc" y="t"/>
              </a:cxn>
              <a:cxn ang="cd2">
                <a:pos x="l" y="vc"/>
              </a:cxn>
              <a:cxn ang="cd4">
                <a:pos x="hc" y="b"/>
              </a:cxn>
              <a:cxn ang="0">
                <a:pos x="r" y="vc"/>
              </a:cxn>
            </a:cxnLst>
            <a:rect l="l" t="t" r="r" b="b"/>
            <a:pathLst>
              <a:path w="5011" h="4708">
                <a:moveTo>
                  <a:pt x="4502" y="1877"/>
                </a:moveTo>
                <a:cubicBezTo>
                  <a:pt x="4470" y="1782"/>
                  <a:pt x="4390" y="1702"/>
                  <a:pt x="4295" y="1671"/>
                </a:cubicBezTo>
                <a:cubicBezTo>
                  <a:pt x="4232" y="748"/>
                  <a:pt x="3452" y="0"/>
                  <a:pt x="2514" y="0"/>
                </a:cubicBezTo>
                <a:cubicBezTo>
                  <a:pt x="1559" y="0"/>
                  <a:pt x="780" y="748"/>
                  <a:pt x="716" y="1671"/>
                </a:cubicBezTo>
                <a:cubicBezTo>
                  <a:pt x="621" y="1702"/>
                  <a:pt x="541" y="1782"/>
                  <a:pt x="525" y="1877"/>
                </a:cubicBezTo>
                <a:cubicBezTo>
                  <a:pt x="223" y="1925"/>
                  <a:pt x="0" y="2275"/>
                  <a:pt x="0" y="2705"/>
                </a:cubicBezTo>
                <a:cubicBezTo>
                  <a:pt x="0" y="3134"/>
                  <a:pt x="223" y="3484"/>
                  <a:pt x="525" y="3532"/>
                </a:cubicBezTo>
                <a:cubicBezTo>
                  <a:pt x="557" y="3659"/>
                  <a:pt x="652" y="3738"/>
                  <a:pt x="796" y="3738"/>
                </a:cubicBezTo>
                <a:cubicBezTo>
                  <a:pt x="939" y="3738"/>
                  <a:pt x="1066" y="3611"/>
                  <a:pt x="1066" y="3468"/>
                </a:cubicBezTo>
                <a:cubicBezTo>
                  <a:pt x="1066" y="1941"/>
                  <a:pt x="1066" y="1941"/>
                  <a:pt x="1066" y="1941"/>
                </a:cubicBezTo>
                <a:cubicBezTo>
                  <a:pt x="1066" y="1814"/>
                  <a:pt x="987" y="1718"/>
                  <a:pt x="875" y="1671"/>
                </a:cubicBezTo>
                <a:cubicBezTo>
                  <a:pt x="939" y="827"/>
                  <a:pt x="1639" y="160"/>
                  <a:pt x="2514" y="160"/>
                </a:cubicBezTo>
                <a:cubicBezTo>
                  <a:pt x="3372" y="160"/>
                  <a:pt x="4072" y="827"/>
                  <a:pt x="4136" y="1671"/>
                </a:cubicBezTo>
                <a:cubicBezTo>
                  <a:pt x="4024" y="1718"/>
                  <a:pt x="3945" y="1814"/>
                  <a:pt x="3945" y="1941"/>
                </a:cubicBezTo>
                <a:cubicBezTo>
                  <a:pt x="3945" y="3468"/>
                  <a:pt x="3945" y="3468"/>
                  <a:pt x="3945" y="3468"/>
                </a:cubicBezTo>
                <a:cubicBezTo>
                  <a:pt x="3945" y="3579"/>
                  <a:pt x="4024" y="3690"/>
                  <a:pt x="4136" y="3723"/>
                </a:cubicBezTo>
                <a:cubicBezTo>
                  <a:pt x="4088" y="4120"/>
                  <a:pt x="3834" y="4343"/>
                  <a:pt x="3420" y="4343"/>
                </a:cubicBezTo>
                <a:cubicBezTo>
                  <a:pt x="3086" y="4343"/>
                  <a:pt x="3086" y="4343"/>
                  <a:pt x="3086" y="4343"/>
                </a:cubicBezTo>
                <a:cubicBezTo>
                  <a:pt x="3039" y="4231"/>
                  <a:pt x="2943" y="4136"/>
                  <a:pt x="2816" y="4136"/>
                </a:cubicBezTo>
                <a:cubicBezTo>
                  <a:pt x="2307" y="4136"/>
                  <a:pt x="2307" y="4136"/>
                  <a:pt x="2307" y="4136"/>
                </a:cubicBezTo>
                <a:cubicBezTo>
                  <a:pt x="2148" y="4136"/>
                  <a:pt x="2021" y="4263"/>
                  <a:pt x="2021" y="4422"/>
                </a:cubicBezTo>
                <a:cubicBezTo>
                  <a:pt x="2021" y="4581"/>
                  <a:pt x="2148" y="4708"/>
                  <a:pt x="2307" y="4708"/>
                </a:cubicBezTo>
                <a:cubicBezTo>
                  <a:pt x="2816" y="4708"/>
                  <a:pt x="2816" y="4708"/>
                  <a:pt x="2816" y="4708"/>
                </a:cubicBezTo>
                <a:cubicBezTo>
                  <a:pt x="2943" y="4708"/>
                  <a:pt x="3039" y="4613"/>
                  <a:pt x="3086" y="4502"/>
                </a:cubicBezTo>
                <a:cubicBezTo>
                  <a:pt x="3420" y="4502"/>
                  <a:pt x="3420" y="4502"/>
                  <a:pt x="3420" y="4502"/>
                </a:cubicBezTo>
                <a:cubicBezTo>
                  <a:pt x="3929" y="4502"/>
                  <a:pt x="4247" y="4216"/>
                  <a:pt x="4295" y="3738"/>
                </a:cubicBezTo>
                <a:cubicBezTo>
                  <a:pt x="4390" y="3707"/>
                  <a:pt x="4470" y="3627"/>
                  <a:pt x="4502" y="3532"/>
                </a:cubicBezTo>
                <a:cubicBezTo>
                  <a:pt x="4788" y="3484"/>
                  <a:pt x="5011" y="3134"/>
                  <a:pt x="5011" y="2705"/>
                </a:cubicBezTo>
                <a:cubicBezTo>
                  <a:pt x="5011" y="2275"/>
                  <a:pt x="4788" y="1925"/>
                  <a:pt x="4502" y="1877"/>
                </a:cubicBezTo>
                <a:close/>
                <a:moveTo>
                  <a:pt x="509" y="3372"/>
                </a:moveTo>
                <a:cubicBezTo>
                  <a:pt x="318" y="3309"/>
                  <a:pt x="160" y="3023"/>
                  <a:pt x="160" y="2705"/>
                </a:cubicBezTo>
                <a:cubicBezTo>
                  <a:pt x="160" y="2386"/>
                  <a:pt x="318" y="2100"/>
                  <a:pt x="509" y="2036"/>
                </a:cubicBezTo>
                <a:close/>
                <a:moveTo>
                  <a:pt x="907" y="1941"/>
                </a:moveTo>
                <a:cubicBezTo>
                  <a:pt x="907" y="3468"/>
                  <a:pt x="907" y="3468"/>
                  <a:pt x="907" y="3468"/>
                </a:cubicBezTo>
                <a:cubicBezTo>
                  <a:pt x="907" y="3532"/>
                  <a:pt x="860" y="3579"/>
                  <a:pt x="796" y="3579"/>
                </a:cubicBezTo>
                <a:cubicBezTo>
                  <a:pt x="716" y="3579"/>
                  <a:pt x="669" y="3532"/>
                  <a:pt x="669" y="3468"/>
                </a:cubicBezTo>
                <a:cubicBezTo>
                  <a:pt x="669" y="1941"/>
                  <a:pt x="669" y="1941"/>
                  <a:pt x="669" y="1941"/>
                </a:cubicBezTo>
                <a:cubicBezTo>
                  <a:pt x="669" y="1877"/>
                  <a:pt x="716" y="1830"/>
                  <a:pt x="796" y="1830"/>
                </a:cubicBezTo>
                <a:cubicBezTo>
                  <a:pt x="860" y="1830"/>
                  <a:pt x="907" y="1877"/>
                  <a:pt x="907" y="1941"/>
                </a:cubicBezTo>
                <a:close/>
                <a:moveTo>
                  <a:pt x="2816" y="4550"/>
                </a:moveTo>
                <a:cubicBezTo>
                  <a:pt x="2307" y="4550"/>
                  <a:pt x="2307" y="4550"/>
                  <a:pt x="2307" y="4550"/>
                </a:cubicBezTo>
                <a:cubicBezTo>
                  <a:pt x="2243" y="4550"/>
                  <a:pt x="2179" y="4486"/>
                  <a:pt x="2179" y="4422"/>
                </a:cubicBezTo>
                <a:cubicBezTo>
                  <a:pt x="2179" y="4359"/>
                  <a:pt x="2243" y="4295"/>
                  <a:pt x="2307" y="4295"/>
                </a:cubicBezTo>
                <a:cubicBezTo>
                  <a:pt x="2816" y="4295"/>
                  <a:pt x="2816" y="4295"/>
                  <a:pt x="2816" y="4295"/>
                </a:cubicBezTo>
                <a:cubicBezTo>
                  <a:pt x="2879" y="4295"/>
                  <a:pt x="2927" y="4359"/>
                  <a:pt x="2927" y="4422"/>
                </a:cubicBezTo>
                <a:cubicBezTo>
                  <a:pt x="2927" y="4486"/>
                  <a:pt x="2879" y="4550"/>
                  <a:pt x="2816" y="4550"/>
                </a:cubicBezTo>
                <a:close/>
                <a:moveTo>
                  <a:pt x="4343" y="3468"/>
                </a:moveTo>
                <a:cubicBezTo>
                  <a:pt x="4343" y="3532"/>
                  <a:pt x="4295" y="3579"/>
                  <a:pt x="4215" y="3579"/>
                </a:cubicBezTo>
                <a:cubicBezTo>
                  <a:pt x="4152" y="3579"/>
                  <a:pt x="4104" y="3532"/>
                  <a:pt x="4104" y="3468"/>
                </a:cubicBezTo>
                <a:cubicBezTo>
                  <a:pt x="4104" y="1941"/>
                  <a:pt x="4104" y="1941"/>
                  <a:pt x="4104" y="1941"/>
                </a:cubicBezTo>
                <a:cubicBezTo>
                  <a:pt x="4104" y="1877"/>
                  <a:pt x="4152" y="1830"/>
                  <a:pt x="4215" y="1830"/>
                </a:cubicBezTo>
                <a:cubicBezTo>
                  <a:pt x="4295" y="1830"/>
                  <a:pt x="4343" y="1877"/>
                  <a:pt x="4343" y="1941"/>
                </a:cubicBezTo>
                <a:close/>
                <a:moveTo>
                  <a:pt x="4502" y="3372"/>
                </a:moveTo>
                <a:cubicBezTo>
                  <a:pt x="4502" y="2036"/>
                  <a:pt x="4502" y="2036"/>
                  <a:pt x="4502" y="2036"/>
                </a:cubicBezTo>
                <a:cubicBezTo>
                  <a:pt x="4693" y="2100"/>
                  <a:pt x="4852" y="2386"/>
                  <a:pt x="4852" y="2705"/>
                </a:cubicBezTo>
                <a:cubicBezTo>
                  <a:pt x="4852" y="3023"/>
                  <a:pt x="4693" y="3309"/>
                  <a:pt x="4502" y="33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9" name="TextBox 38">
            <a:extLst>
              <a:ext uri="{FF2B5EF4-FFF2-40B4-BE49-F238E27FC236}">
                <a16:creationId xmlns:a16="http://schemas.microsoft.com/office/drawing/2014/main" id="{8F88D0F5-BED6-1C4E-A04B-BE61DA175245}"/>
              </a:ext>
            </a:extLst>
          </p:cNvPr>
          <p:cNvSpPr txBox="1"/>
          <p:nvPr/>
        </p:nvSpPr>
        <p:spPr>
          <a:xfrm>
            <a:off x="8812157" y="11799653"/>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mcorder</a:t>
            </a:r>
          </a:p>
        </p:txBody>
      </p:sp>
      <p:sp>
        <p:nvSpPr>
          <p:cNvPr id="47" name="Freeform: Shape 4">
            <a:extLst>
              <a:ext uri="{FF2B5EF4-FFF2-40B4-BE49-F238E27FC236}">
                <a16:creationId xmlns:a16="http://schemas.microsoft.com/office/drawing/2014/main" id="{068BB60A-BF62-E844-9608-C37C80706D74}"/>
              </a:ext>
            </a:extLst>
          </p:cNvPr>
          <p:cNvSpPr/>
          <p:nvPr/>
        </p:nvSpPr>
        <p:spPr>
          <a:xfrm>
            <a:off x="9819667" y="10008106"/>
            <a:ext cx="1809360" cy="1230839"/>
          </a:xfrm>
          <a:custGeom>
            <a:avLst/>
            <a:gdLst/>
            <a:ahLst/>
            <a:cxnLst>
              <a:cxn ang="3cd4">
                <a:pos x="hc" y="t"/>
              </a:cxn>
              <a:cxn ang="cd2">
                <a:pos x="l" y="vc"/>
              </a:cxn>
              <a:cxn ang="cd4">
                <a:pos x="hc" y="b"/>
              </a:cxn>
              <a:cxn ang="0">
                <a:pos x="r" y="vc"/>
              </a:cxn>
            </a:cxnLst>
            <a:rect l="l" t="t" r="r" b="b"/>
            <a:pathLst>
              <a:path w="5027" h="3420">
                <a:moveTo>
                  <a:pt x="4979" y="1049"/>
                </a:moveTo>
                <a:cubicBezTo>
                  <a:pt x="4963" y="1034"/>
                  <a:pt x="4931" y="1034"/>
                  <a:pt x="4899" y="1049"/>
                </a:cubicBezTo>
                <a:lnTo>
                  <a:pt x="3929" y="1606"/>
                </a:lnTo>
                <a:lnTo>
                  <a:pt x="3929" y="1129"/>
                </a:lnTo>
                <a:cubicBezTo>
                  <a:pt x="3929" y="891"/>
                  <a:pt x="3723" y="700"/>
                  <a:pt x="3484" y="700"/>
                </a:cubicBezTo>
                <a:lnTo>
                  <a:pt x="1845" y="700"/>
                </a:lnTo>
                <a:cubicBezTo>
                  <a:pt x="1861" y="684"/>
                  <a:pt x="1861" y="668"/>
                  <a:pt x="1861" y="652"/>
                </a:cubicBezTo>
                <a:lnTo>
                  <a:pt x="1861" y="79"/>
                </a:lnTo>
                <a:cubicBezTo>
                  <a:pt x="1861" y="31"/>
                  <a:pt x="1830" y="0"/>
                  <a:pt x="1782" y="0"/>
                </a:cubicBezTo>
                <a:lnTo>
                  <a:pt x="430" y="0"/>
                </a:lnTo>
                <a:cubicBezTo>
                  <a:pt x="382" y="0"/>
                  <a:pt x="351" y="31"/>
                  <a:pt x="351" y="79"/>
                </a:cubicBezTo>
                <a:cubicBezTo>
                  <a:pt x="351" y="127"/>
                  <a:pt x="382" y="159"/>
                  <a:pt x="430" y="159"/>
                </a:cubicBezTo>
                <a:lnTo>
                  <a:pt x="1702" y="159"/>
                </a:lnTo>
                <a:lnTo>
                  <a:pt x="1702" y="652"/>
                </a:lnTo>
                <a:cubicBezTo>
                  <a:pt x="1702" y="668"/>
                  <a:pt x="1718" y="684"/>
                  <a:pt x="1718" y="700"/>
                </a:cubicBezTo>
                <a:lnTo>
                  <a:pt x="430" y="700"/>
                </a:lnTo>
                <a:cubicBezTo>
                  <a:pt x="191" y="700"/>
                  <a:pt x="0" y="891"/>
                  <a:pt x="0" y="1129"/>
                </a:cubicBezTo>
                <a:lnTo>
                  <a:pt x="0" y="2990"/>
                </a:lnTo>
                <a:cubicBezTo>
                  <a:pt x="0" y="3229"/>
                  <a:pt x="191" y="3420"/>
                  <a:pt x="430" y="3420"/>
                </a:cubicBezTo>
                <a:lnTo>
                  <a:pt x="3484" y="3420"/>
                </a:lnTo>
                <a:cubicBezTo>
                  <a:pt x="3723" y="3420"/>
                  <a:pt x="3929" y="3229"/>
                  <a:pt x="3929" y="2990"/>
                </a:cubicBezTo>
                <a:lnTo>
                  <a:pt x="3929" y="2545"/>
                </a:lnTo>
                <a:lnTo>
                  <a:pt x="4899" y="3085"/>
                </a:lnTo>
                <a:lnTo>
                  <a:pt x="4947" y="3085"/>
                </a:lnTo>
                <a:lnTo>
                  <a:pt x="4979" y="3085"/>
                </a:lnTo>
                <a:cubicBezTo>
                  <a:pt x="5011" y="3070"/>
                  <a:pt x="5027" y="3038"/>
                  <a:pt x="5027" y="3006"/>
                </a:cubicBezTo>
                <a:lnTo>
                  <a:pt x="5027" y="1113"/>
                </a:lnTo>
                <a:cubicBezTo>
                  <a:pt x="5027" y="1082"/>
                  <a:pt x="5011" y="1049"/>
                  <a:pt x="4979" y="1049"/>
                </a:cubicBezTo>
                <a:close/>
                <a:moveTo>
                  <a:pt x="3770" y="2990"/>
                </a:moveTo>
                <a:cubicBezTo>
                  <a:pt x="3770" y="3149"/>
                  <a:pt x="3643" y="3260"/>
                  <a:pt x="3484" y="3260"/>
                </a:cubicBezTo>
                <a:lnTo>
                  <a:pt x="430" y="3260"/>
                </a:lnTo>
                <a:cubicBezTo>
                  <a:pt x="287" y="3260"/>
                  <a:pt x="160" y="3149"/>
                  <a:pt x="160" y="2990"/>
                </a:cubicBezTo>
                <a:lnTo>
                  <a:pt x="160" y="1129"/>
                </a:lnTo>
                <a:cubicBezTo>
                  <a:pt x="160" y="986"/>
                  <a:pt x="287" y="859"/>
                  <a:pt x="430" y="859"/>
                </a:cubicBezTo>
                <a:lnTo>
                  <a:pt x="3484" y="859"/>
                </a:lnTo>
                <a:cubicBezTo>
                  <a:pt x="3643" y="859"/>
                  <a:pt x="3770" y="986"/>
                  <a:pt x="3770" y="1129"/>
                </a:cubicBezTo>
                <a:close/>
                <a:moveTo>
                  <a:pt x="4868" y="2879"/>
                </a:moveTo>
                <a:lnTo>
                  <a:pt x="3993" y="2402"/>
                </a:lnTo>
                <a:lnTo>
                  <a:pt x="3929" y="2402"/>
                </a:lnTo>
                <a:lnTo>
                  <a:pt x="3929" y="1749"/>
                </a:lnTo>
                <a:cubicBezTo>
                  <a:pt x="3945" y="1766"/>
                  <a:pt x="3961" y="1766"/>
                  <a:pt x="3993" y="1749"/>
                </a:cubicBezTo>
                <a:lnTo>
                  <a:pt x="4868" y="1240"/>
                </a:lnTo>
                <a:close/>
                <a:moveTo>
                  <a:pt x="2609" y="1638"/>
                </a:moveTo>
                <a:cubicBezTo>
                  <a:pt x="2354" y="1638"/>
                  <a:pt x="2148" y="1845"/>
                  <a:pt x="2148" y="2099"/>
                </a:cubicBezTo>
                <a:cubicBezTo>
                  <a:pt x="2148" y="2354"/>
                  <a:pt x="2354" y="2561"/>
                  <a:pt x="2609" y="2561"/>
                </a:cubicBezTo>
                <a:cubicBezTo>
                  <a:pt x="2863" y="2561"/>
                  <a:pt x="3070" y="2354"/>
                  <a:pt x="3070" y="2099"/>
                </a:cubicBezTo>
                <a:cubicBezTo>
                  <a:pt x="3070" y="1845"/>
                  <a:pt x="2863" y="1638"/>
                  <a:pt x="2609" y="1638"/>
                </a:cubicBezTo>
                <a:close/>
                <a:moveTo>
                  <a:pt x="2609" y="2402"/>
                </a:moveTo>
                <a:cubicBezTo>
                  <a:pt x="2450" y="2402"/>
                  <a:pt x="2307" y="2275"/>
                  <a:pt x="2307" y="2099"/>
                </a:cubicBezTo>
                <a:cubicBezTo>
                  <a:pt x="2307" y="1940"/>
                  <a:pt x="2450" y="1797"/>
                  <a:pt x="2609" y="1797"/>
                </a:cubicBezTo>
                <a:cubicBezTo>
                  <a:pt x="2784" y="1797"/>
                  <a:pt x="2911" y="1940"/>
                  <a:pt x="2911" y="2099"/>
                </a:cubicBezTo>
                <a:cubicBezTo>
                  <a:pt x="2911" y="2275"/>
                  <a:pt x="2784" y="2402"/>
                  <a:pt x="2609" y="2402"/>
                </a:cubicBezTo>
                <a:close/>
                <a:moveTo>
                  <a:pt x="1241" y="1638"/>
                </a:moveTo>
                <a:cubicBezTo>
                  <a:pt x="987" y="1638"/>
                  <a:pt x="780" y="1845"/>
                  <a:pt x="780" y="2099"/>
                </a:cubicBezTo>
                <a:cubicBezTo>
                  <a:pt x="780" y="2354"/>
                  <a:pt x="987" y="2561"/>
                  <a:pt x="1241" y="2561"/>
                </a:cubicBezTo>
                <a:cubicBezTo>
                  <a:pt x="1496" y="2561"/>
                  <a:pt x="1702" y="2354"/>
                  <a:pt x="1702" y="2099"/>
                </a:cubicBezTo>
                <a:cubicBezTo>
                  <a:pt x="1702" y="1845"/>
                  <a:pt x="1496" y="1638"/>
                  <a:pt x="1241" y="1638"/>
                </a:cubicBezTo>
                <a:close/>
                <a:moveTo>
                  <a:pt x="1241" y="2402"/>
                </a:moveTo>
                <a:cubicBezTo>
                  <a:pt x="1066" y="2402"/>
                  <a:pt x="939" y="2275"/>
                  <a:pt x="939" y="2099"/>
                </a:cubicBezTo>
                <a:cubicBezTo>
                  <a:pt x="939" y="1940"/>
                  <a:pt x="1066" y="1797"/>
                  <a:pt x="1241" y="1797"/>
                </a:cubicBezTo>
                <a:cubicBezTo>
                  <a:pt x="1400" y="1797"/>
                  <a:pt x="1543" y="1940"/>
                  <a:pt x="1543" y="2099"/>
                </a:cubicBezTo>
                <a:cubicBezTo>
                  <a:pt x="1543" y="2275"/>
                  <a:pt x="1400" y="2402"/>
                  <a:pt x="1241" y="240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8" name="TextBox 47">
            <a:extLst>
              <a:ext uri="{FF2B5EF4-FFF2-40B4-BE49-F238E27FC236}">
                <a16:creationId xmlns:a16="http://schemas.microsoft.com/office/drawing/2014/main" id="{8E54DD0B-CB1E-5E42-BF17-6FE9EB650281}"/>
              </a:ext>
            </a:extLst>
          </p:cNvPr>
          <p:cNvSpPr txBox="1"/>
          <p:nvPr/>
        </p:nvSpPr>
        <p:spPr>
          <a:xfrm>
            <a:off x="20055633" y="11776103"/>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emote</a:t>
            </a:r>
          </a:p>
        </p:txBody>
      </p:sp>
      <p:sp>
        <p:nvSpPr>
          <p:cNvPr id="49" name="TextBox 48">
            <a:extLst>
              <a:ext uri="{FF2B5EF4-FFF2-40B4-BE49-F238E27FC236}">
                <a16:creationId xmlns:a16="http://schemas.microsoft.com/office/drawing/2014/main" id="{D74B9924-B249-5D40-B05F-17E57977E979}"/>
              </a:ext>
            </a:extLst>
          </p:cNvPr>
          <p:cNvSpPr txBox="1"/>
          <p:nvPr/>
        </p:nvSpPr>
        <p:spPr>
          <a:xfrm>
            <a:off x="16611126" y="11776103"/>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egaphone</a:t>
            </a:r>
          </a:p>
        </p:txBody>
      </p:sp>
      <p:sp>
        <p:nvSpPr>
          <p:cNvPr id="50" name="Freeform: Shape 14">
            <a:extLst>
              <a:ext uri="{FF2B5EF4-FFF2-40B4-BE49-F238E27FC236}">
                <a16:creationId xmlns:a16="http://schemas.microsoft.com/office/drawing/2014/main" id="{30A1979B-27C8-124F-8B5D-EBD97BE9E936}"/>
              </a:ext>
            </a:extLst>
          </p:cNvPr>
          <p:cNvSpPr/>
          <p:nvPr/>
        </p:nvSpPr>
        <p:spPr>
          <a:xfrm>
            <a:off x="21141508" y="9567363"/>
            <a:ext cx="847079" cy="1843559"/>
          </a:xfrm>
          <a:custGeom>
            <a:avLst/>
            <a:gdLst/>
            <a:ahLst/>
            <a:cxnLst>
              <a:cxn ang="3cd4">
                <a:pos x="hc" y="t"/>
              </a:cxn>
              <a:cxn ang="cd2">
                <a:pos x="l" y="vc"/>
              </a:cxn>
              <a:cxn ang="cd4">
                <a:pos x="hc" y="b"/>
              </a:cxn>
              <a:cxn ang="0">
                <a:pos x="r" y="vc"/>
              </a:cxn>
            </a:cxnLst>
            <a:rect l="l" t="t" r="r" b="b"/>
            <a:pathLst>
              <a:path w="2354" h="5122">
                <a:moveTo>
                  <a:pt x="1383" y="0"/>
                </a:moveTo>
                <a:lnTo>
                  <a:pt x="970" y="0"/>
                </a:lnTo>
                <a:cubicBezTo>
                  <a:pt x="413" y="0"/>
                  <a:pt x="0" y="334"/>
                  <a:pt x="0" y="795"/>
                </a:cubicBezTo>
                <a:lnTo>
                  <a:pt x="0" y="4151"/>
                </a:lnTo>
                <a:cubicBezTo>
                  <a:pt x="0" y="4692"/>
                  <a:pt x="429" y="5122"/>
                  <a:pt x="970" y="5122"/>
                </a:cubicBezTo>
                <a:lnTo>
                  <a:pt x="1383" y="5122"/>
                </a:lnTo>
                <a:cubicBezTo>
                  <a:pt x="1908" y="5122"/>
                  <a:pt x="2354" y="4692"/>
                  <a:pt x="2354" y="4151"/>
                </a:cubicBezTo>
                <a:lnTo>
                  <a:pt x="2354" y="954"/>
                </a:lnTo>
                <a:cubicBezTo>
                  <a:pt x="2354" y="429"/>
                  <a:pt x="1908" y="0"/>
                  <a:pt x="1383" y="0"/>
                </a:cubicBezTo>
                <a:close/>
                <a:moveTo>
                  <a:pt x="2194" y="4151"/>
                </a:moveTo>
                <a:cubicBezTo>
                  <a:pt x="2194" y="4596"/>
                  <a:pt x="1829" y="4962"/>
                  <a:pt x="1383" y="4962"/>
                </a:cubicBezTo>
                <a:lnTo>
                  <a:pt x="970" y="4962"/>
                </a:lnTo>
                <a:cubicBezTo>
                  <a:pt x="524" y="4962"/>
                  <a:pt x="158" y="4596"/>
                  <a:pt x="158" y="4151"/>
                </a:cubicBezTo>
                <a:lnTo>
                  <a:pt x="158" y="795"/>
                </a:lnTo>
                <a:cubicBezTo>
                  <a:pt x="158" y="429"/>
                  <a:pt x="493" y="159"/>
                  <a:pt x="970" y="159"/>
                </a:cubicBezTo>
                <a:lnTo>
                  <a:pt x="1383" y="159"/>
                </a:lnTo>
                <a:cubicBezTo>
                  <a:pt x="1829" y="159"/>
                  <a:pt x="2194" y="524"/>
                  <a:pt x="2194" y="954"/>
                </a:cubicBezTo>
                <a:close/>
                <a:moveTo>
                  <a:pt x="1415" y="1224"/>
                </a:moveTo>
                <a:lnTo>
                  <a:pt x="938" y="1224"/>
                </a:lnTo>
                <a:cubicBezTo>
                  <a:pt x="667" y="1224"/>
                  <a:pt x="461" y="1431"/>
                  <a:pt x="461" y="1686"/>
                </a:cubicBezTo>
                <a:lnTo>
                  <a:pt x="461" y="2083"/>
                </a:lnTo>
                <a:cubicBezTo>
                  <a:pt x="461" y="2338"/>
                  <a:pt x="667" y="2545"/>
                  <a:pt x="938" y="2560"/>
                </a:cubicBezTo>
                <a:lnTo>
                  <a:pt x="1097" y="2560"/>
                </a:lnTo>
                <a:lnTo>
                  <a:pt x="1415" y="2560"/>
                </a:lnTo>
                <a:cubicBezTo>
                  <a:pt x="1685" y="2545"/>
                  <a:pt x="1892" y="2338"/>
                  <a:pt x="1892" y="2083"/>
                </a:cubicBezTo>
                <a:lnTo>
                  <a:pt x="1892" y="1686"/>
                </a:lnTo>
                <a:cubicBezTo>
                  <a:pt x="1892" y="1431"/>
                  <a:pt x="1685" y="1224"/>
                  <a:pt x="1415" y="1224"/>
                </a:cubicBezTo>
                <a:close/>
                <a:moveTo>
                  <a:pt x="1733" y="2083"/>
                </a:moveTo>
                <a:cubicBezTo>
                  <a:pt x="1733" y="2259"/>
                  <a:pt x="1590" y="2386"/>
                  <a:pt x="1415" y="2402"/>
                </a:cubicBezTo>
                <a:lnTo>
                  <a:pt x="938" y="2402"/>
                </a:lnTo>
                <a:cubicBezTo>
                  <a:pt x="763" y="2386"/>
                  <a:pt x="620" y="2259"/>
                  <a:pt x="620" y="2083"/>
                </a:cubicBezTo>
                <a:lnTo>
                  <a:pt x="620" y="1686"/>
                </a:lnTo>
                <a:cubicBezTo>
                  <a:pt x="620" y="1511"/>
                  <a:pt x="763" y="1384"/>
                  <a:pt x="938" y="1384"/>
                </a:cubicBezTo>
                <a:lnTo>
                  <a:pt x="1415" y="1384"/>
                </a:lnTo>
                <a:cubicBezTo>
                  <a:pt x="1590" y="1384"/>
                  <a:pt x="1733" y="1511"/>
                  <a:pt x="1733" y="1686"/>
                </a:cubicBezTo>
                <a:close/>
                <a:moveTo>
                  <a:pt x="763" y="668"/>
                </a:moveTo>
                <a:lnTo>
                  <a:pt x="1033" y="668"/>
                </a:lnTo>
                <a:cubicBezTo>
                  <a:pt x="1081" y="668"/>
                  <a:pt x="1161" y="668"/>
                  <a:pt x="1193" y="620"/>
                </a:cubicBezTo>
                <a:cubicBezTo>
                  <a:pt x="1224" y="588"/>
                  <a:pt x="1224" y="509"/>
                  <a:pt x="1176" y="477"/>
                </a:cubicBezTo>
                <a:cubicBezTo>
                  <a:pt x="1145" y="445"/>
                  <a:pt x="1081" y="445"/>
                  <a:pt x="1033" y="445"/>
                </a:cubicBezTo>
                <a:lnTo>
                  <a:pt x="763" y="445"/>
                </a:lnTo>
                <a:cubicBezTo>
                  <a:pt x="715" y="445"/>
                  <a:pt x="636" y="461"/>
                  <a:pt x="604" y="509"/>
                </a:cubicBezTo>
                <a:cubicBezTo>
                  <a:pt x="604" y="541"/>
                  <a:pt x="588" y="588"/>
                  <a:pt x="620" y="620"/>
                </a:cubicBezTo>
                <a:cubicBezTo>
                  <a:pt x="636" y="668"/>
                  <a:pt x="715" y="668"/>
                  <a:pt x="763" y="668"/>
                </a:cubicBezTo>
                <a:close/>
                <a:moveTo>
                  <a:pt x="1288" y="1511"/>
                </a:moveTo>
                <a:lnTo>
                  <a:pt x="1049" y="1511"/>
                </a:lnTo>
                <a:cubicBezTo>
                  <a:pt x="906" y="1511"/>
                  <a:pt x="779" y="1638"/>
                  <a:pt x="779" y="1797"/>
                </a:cubicBezTo>
                <a:lnTo>
                  <a:pt x="779" y="1988"/>
                </a:lnTo>
                <a:cubicBezTo>
                  <a:pt x="779" y="2131"/>
                  <a:pt x="890" y="2259"/>
                  <a:pt x="1049" y="2259"/>
                </a:cubicBezTo>
                <a:lnTo>
                  <a:pt x="1193" y="2259"/>
                </a:lnTo>
                <a:lnTo>
                  <a:pt x="1304" y="2259"/>
                </a:lnTo>
                <a:cubicBezTo>
                  <a:pt x="1447" y="2259"/>
                  <a:pt x="1574" y="2131"/>
                  <a:pt x="1574" y="1988"/>
                </a:cubicBezTo>
                <a:lnTo>
                  <a:pt x="1574" y="1797"/>
                </a:lnTo>
                <a:cubicBezTo>
                  <a:pt x="1574" y="1638"/>
                  <a:pt x="1447" y="1511"/>
                  <a:pt x="1288" y="1511"/>
                </a:cubicBezTo>
                <a:close/>
                <a:moveTo>
                  <a:pt x="1415" y="1988"/>
                </a:moveTo>
                <a:cubicBezTo>
                  <a:pt x="1415" y="2051"/>
                  <a:pt x="1367" y="2099"/>
                  <a:pt x="1288" y="2099"/>
                </a:cubicBezTo>
                <a:lnTo>
                  <a:pt x="1065" y="2099"/>
                </a:lnTo>
                <a:cubicBezTo>
                  <a:pt x="985" y="2099"/>
                  <a:pt x="938" y="2051"/>
                  <a:pt x="938" y="1988"/>
                </a:cubicBezTo>
                <a:lnTo>
                  <a:pt x="938" y="1797"/>
                </a:lnTo>
                <a:cubicBezTo>
                  <a:pt x="938" y="1717"/>
                  <a:pt x="985" y="1670"/>
                  <a:pt x="1049" y="1670"/>
                </a:cubicBezTo>
                <a:lnTo>
                  <a:pt x="1288" y="1670"/>
                </a:lnTo>
                <a:cubicBezTo>
                  <a:pt x="1351" y="1670"/>
                  <a:pt x="1415" y="1717"/>
                  <a:pt x="1415" y="1797"/>
                </a:cubicBezTo>
                <a:close/>
                <a:moveTo>
                  <a:pt x="1670" y="3054"/>
                </a:moveTo>
                <a:cubicBezTo>
                  <a:pt x="1590" y="3054"/>
                  <a:pt x="1526" y="3117"/>
                  <a:pt x="1526" y="3197"/>
                </a:cubicBezTo>
                <a:cubicBezTo>
                  <a:pt x="1526" y="3277"/>
                  <a:pt x="1590" y="3340"/>
                  <a:pt x="1670" y="3340"/>
                </a:cubicBezTo>
                <a:cubicBezTo>
                  <a:pt x="1749" y="3340"/>
                  <a:pt x="1813" y="3277"/>
                  <a:pt x="1813" y="3197"/>
                </a:cubicBezTo>
                <a:cubicBezTo>
                  <a:pt x="1813" y="3117"/>
                  <a:pt x="1749" y="3054"/>
                  <a:pt x="1670" y="3054"/>
                </a:cubicBezTo>
                <a:close/>
                <a:moveTo>
                  <a:pt x="1670" y="3626"/>
                </a:moveTo>
                <a:cubicBezTo>
                  <a:pt x="1590" y="3626"/>
                  <a:pt x="1526" y="3690"/>
                  <a:pt x="1526" y="3769"/>
                </a:cubicBezTo>
                <a:cubicBezTo>
                  <a:pt x="1526" y="3849"/>
                  <a:pt x="1590" y="3896"/>
                  <a:pt x="1670" y="3896"/>
                </a:cubicBezTo>
                <a:cubicBezTo>
                  <a:pt x="1749" y="3896"/>
                  <a:pt x="1813" y="3849"/>
                  <a:pt x="1813" y="3769"/>
                </a:cubicBezTo>
                <a:cubicBezTo>
                  <a:pt x="1813" y="3690"/>
                  <a:pt x="1749" y="3626"/>
                  <a:pt x="1670" y="3626"/>
                </a:cubicBezTo>
                <a:close/>
                <a:moveTo>
                  <a:pt x="1670" y="4183"/>
                </a:moveTo>
                <a:cubicBezTo>
                  <a:pt x="1590" y="4183"/>
                  <a:pt x="1526" y="4247"/>
                  <a:pt x="1526" y="4326"/>
                </a:cubicBezTo>
                <a:cubicBezTo>
                  <a:pt x="1526" y="4405"/>
                  <a:pt x="1590" y="4469"/>
                  <a:pt x="1670" y="4469"/>
                </a:cubicBezTo>
                <a:cubicBezTo>
                  <a:pt x="1749" y="4469"/>
                  <a:pt x="1813" y="4405"/>
                  <a:pt x="1813" y="4326"/>
                </a:cubicBezTo>
                <a:cubicBezTo>
                  <a:pt x="1813" y="4247"/>
                  <a:pt x="1749" y="4183"/>
                  <a:pt x="1670" y="4183"/>
                </a:cubicBezTo>
                <a:close/>
                <a:moveTo>
                  <a:pt x="1161" y="3054"/>
                </a:moveTo>
                <a:cubicBezTo>
                  <a:pt x="1081" y="3054"/>
                  <a:pt x="1018" y="3117"/>
                  <a:pt x="1018" y="3197"/>
                </a:cubicBezTo>
                <a:cubicBezTo>
                  <a:pt x="1018" y="3277"/>
                  <a:pt x="1081" y="3340"/>
                  <a:pt x="1161" y="3340"/>
                </a:cubicBezTo>
                <a:cubicBezTo>
                  <a:pt x="1240" y="3340"/>
                  <a:pt x="1304" y="3277"/>
                  <a:pt x="1304" y="3197"/>
                </a:cubicBezTo>
                <a:cubicBezTo>
                  <a:pt x="1304" y="3117"/>
                  <a:pt x="1240" y="3054"/>
                  <a:pt x="1161" y="3054"/>
                </a:cubicBezTo>
                <a:close/>
                <a:moveTo>
                  <a:pt x="1161" y="3626"/>
                </a:moveTo>
                <a:cubicBezTo>
                  <a:pt x="1081" y="3626"/>
                  <a:pt x="1018" y="3690"/>
                  <a:pt x="1018" y="3769"/>
                </a:cubicBezTo>
                <a:cubicBezTo>
                  <a:pt x="1018" y="3849"/>
                  <a:pt x="1081" y="3896"/>
                  <a:pt x="1161" y="3896"/>
                </a:cubicBezTo>
                <a:cubicBezTo>
                  <a:pt x="1240" y="3896"/>
                  <a:pt x="1304" y="3849"/>
                  <a:pt x="1304" y="3769"/>
                </a:cubicBezTo>
                <a:cubicBezTo>
                  <a:pt x="1304" y="3690"/>
                  <a:pt x="1240" y="3626"/>
                  <a:pt x="1161" y="3626"/>
                </a:cubicBezTo>
                <a:close/>
                <a:moveTo>
                  <a:pt x="1161" y="4183"/>
                </a:moveTo>
                <a:cubicBezTo>
                  <a:pt x="1081" y="4183"/>
                  <a:pt x="1018" y="4247"/>
                  <a:pt x="1018" y="4326"/>
                </a:cubicBezTo>
                <a:cubicBezTo>
                  <a:pt x="1018" y="4405"/>
                  <a:pt x="1081" y="4469"/>
                  <a:pt x="1161" y="4469"/>
                </a:cubicBezTo>
                <a:cubicBezTo>
                  <a:pt x="1240" y="4469"/>
                  <a:pt x="1304" y="4405"/>
                  <a:pt x="1304" y="4326"/>
                </a:cubicBezTo>
                <a:cubicBezTo>
                  <a:pt x="1304" y="4247"/>
                  <a:pt x="1240" y="4183"/>
                  <a:pt x="1161" y="4183"/>
                </a:cubicBezTo>
                <a:close/>
                <a:moveTo>
                  <a:pt x="652" y="3054"/>
                </a:moveTo>
                <a:cubicBezTo>
                  <a:pt x="572" y="3054"/>
                  <a:pt x="509" y="3117"/>
                  <a:pt x="509" y="3197"/>
                </a:cubicBezTo>
                <a:cubicBezTo>
                  <a:pt x="509" y="3277"/>
                  <a:pt x="572" y="3340"/>
                  <a:pt x="652" y="3340"/>
                </a:cubicBezTo>
                <a:cubicBezTo>
                  <a:pt x="715" y="3340"/>
                  <a:pt x="779" y="3277"/>
                  <a:pt x="779" y="3197"/>
                </a:cubicBezTo>
                <a:cubicBezTo>
                  <a:pt x="779" y="3117"/>
                  <a:pt x="715" y="3054"/>
                  <a:pt x="652" y="3054"/>
                </a:cubicBezTo>
                <a:close/>
                <a:moveTo>
                  <a:pt x="652" y="3626"/>
                </a:moveTo>
                <a:cubicBezTo>
                  <a:pt x="572" y="3626"/>
                  <a:pt x="509" y="3690"/>
                  <a:pt x="509" y="3769"/>
                </a:cubicBezTo>
                <a:cubicBezTo>
                  <a:pt x="509" y="3849"/>
                  <a:pt x="572" y="3896"/>
                  <a:pt x="652" y="3896"/>
                </a:cubicBezTo>
                <a:cubicBezTo>
                  <a:pt x="715" y="3896"/>
                  <a:pt x="779" y="3849"/>
                  <a:pt x="779" y="3769"/>
                </a:cubicBezTo>
                <a:cubicBezTo>
                  <a:pt x="779" y="3690"/>
                  <a:pt x="715" y="3626"/>
                  <a:pt x="652" y="3626"/>
                </a:cubicBezTo>
                <a:close/>
                <a:moveTo>
                  <a:pt x="652" y="4183"/>
                </a:moveTo>
                <a:cubicBezTo>
                  <a:pt x="572" y="4183"/>
                  <a:pt x="509" y="4247"/>
                  <a:pt x="509" y="4326"/>
                </a:cubicBezTo>
                <a:cubicBezTo>
                  <a:pt x="509" y="4405"/>
                  <a:pt x="572" y="4469"/>
                  <a:pt x="652" y="4469"/>
                </a:cubicBezTo>
                <a:cubicBezTo>
                  <a:pt x="715" y="4469"/>
                  <a:pt x="779" y="4405"/>
                  <a:pt x="779" y="4326"/>
                </a:cubicBezTo>
                <a:cubicBezTo>
                  <a:pt x="779" y="4247"/>
                  <a:pt x="715" y="4183"/>
                  <a:pt x="652" y="418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1" name="Freeform: Shape 15">
            <a:extLst>
              <a:ext uri="{FF2B5EF4-FFF2-40B4-BE49-F238E27FC236}">
                <a16:creationId xmlns:a16="http://schemas.microsoft.com/office/drawing/2014/main" id="{0278F09A-A98C-F846-91F8-E0EAD23A63D0}"/>
              </a:ext>
            </a:extLst>
          </p:cNvPr>
          <p:cNvSpPr/>
          <p:nvPr/>
        </p:nvSpPr>
        <p:spPr>
          <a:xfrm>
            <a:off x="17333602" y="9708650"/>
            <a:ext cx="1551599" cy="1550160"/>
          </a:xfrm>
          <a:custGeom>
            <a:avLst/>
            <a:gdLst/>
            <a:ahLst/>
            <a:cxnLst>
              <a:cxn ang="3cd4">
                <a:pos x="hc" y="t"/>
              </a:cxn>
              <a:cxn ang="cd2">
                <a:pos x="l" y="vc"/>
              </a:cxn>
              <a:cxn ang="cd4">
                <a:pos x="hc" y="b"/>
              </a:cxn>
              <a:cxn ang="0">
                <a:pos x="r" y="vc"/>
              </a:cxn>
            </a:cxnLst>
            <a:rect l="l" t="t" r="r" b="b"/>
            <a:pathLst>
              <a:path w="4311" h="4307">
                <a:moveTo>
                  <a:pt x="3817" y="1301"/>
                </a:moveTo>
                <a:cubicBezTo>
                  <a:pt x="3817" y="283"/>
                  <a:pt x="3817" y="283"/>
                  <a:pt x="3817" y="283"/>
                </a:cubicBezTo>
                <a:cubicBezTo>
                  <a:pt x="3817" y="171"/>
                  <a:pt x="3754" y="76"/>
                  <a:pt x="3659" y="28"/>
                </a:cubicBezTo>
                <a:cubicBezTo>
                  <a:pt x="3563" y="-20"/>
                  <a:pt x="3436" y="-4"/>
                  <a:pt x="3356" y="60"/>
                </a:cubicBezTo>
                <a:cubicBezTo>
                  <a:pt x="1988" y="1141"/>
                  <a:pt x="1988" y="1141"/>
                  <a:pt x="1988" y="1141"/>
                </a:cubicBezTo>
                <a:cubicBezTo>
                  <a:pt x="350" y="1141"/>
                  <a:pt x="350" y="1141"/>
                  <a:pt x="350" y="1141"/>
                </a:cubicBezTo>
                <a:cubicBezTo>
                  <a:pt x="143" y="1141"/>
                  <a:pt x="0" y="1269"/>
                  <a:pt x="0" y="1476"/>
                </a:cubicBezTo>
                <a:cubicBezTo>
                  <a:pt x="0" y="2271"/>
                  <a:pt x="0" y="2271"/>
                  <a:pt x="0" y="2271"/>
                </a:cubicBezTo>
                <a:cubicBezTo>
                  <a:pt x="0" y="2477"/>
                  <a:pt x="143" y="2732"/>
                  <a:pt x="350" y="2732"/>
                </a:cubicBezTo>
                <a:cubicBezTo>
                  <a:pt x="796" y="2732"/>
                  <a:pt x="796" y="2732"/>
                  <a:pt x="796" y="2732"/>
                </a:cubicBezTo>
                <a:cubicBezTo>
                  <a:pt x="1177" y="4259"/>
                  <a:pt x="1177" y="4259"/>
                  <a:pt x="1177" y="4259"/>
                </a:cubicBezTo>
                <a:cubicBezTo>
                  <a:pt x="1177" y="4291"/>
                  <a:pt x="1209" y="4307"/>
                  <a:pt x="1257" y="4307"/>
                </a:cubicBezTo>
                <a:cubicBezTo>
                  <a:pt x="2036" y="4307"/>
                  <a:pt x="2036" y="4307"/>
                  <a:pt x="2036" y="4307"/>
                </a:cubicBezTo>
                <a:cubicBezTo>
                  <a:pt x="2068" y="4307"/>
                  <a:pt x="2084" y="4307"/>
                  <a:pt x="2100" y="4275"/>
                </a:cubicBezTo>
                <a:cubicBezTo>
                  <a:pt x="2115" y="4259"/>
                  <a:pt x="2132" y="4243"/>
                  <a:pt x="2115" y="4212"/>
                </a:cubicBezTo>
                <a:cubicBezTo>
                  <a:pt x="1750" y="2732"/>
                  <a:pt x="1750" y="2732"/>
                  <a:pt x="1750" y="2732"/>
                </a:cubicBezTo>
                <a:cubicBezTo>
                  <a:pt x="1988" y="2732"/>
                  <a:pt x="1988" y="2732"/>
                  <a:pt x="1988" y="2732"/>
                </a:cubicBezTo>
                <a:cubicBezTo>
                  <a:pt x="3356" y="3798"/>
                  <a:pt x="3356" y="3798"/>
                  <a:pt x="3356" y="3798"/>
                </a:cubicBezTo>
                <a:cubicBezTo>
                  <a:pt x="3404" y="3846"/>
                  <a:pt x="3468" y="3861"/>
                  <a:pt x="3531" y="3861"/>
                </a:cubicBezTo>
                <a:cubicBezTo>
                  <a:pt x="3579" y="3861"/>
                  <a:pt x="3611" y="3846"/>
                  <a:pt x="3659" y="3830"/>
                </a:cubicBezTo>
                <a:cubicBezTo>
                  <a:pt x="3754" y="3782"/>
                  <a:pt x="3817" y="3686"/>
                  <a:pt x="3817" y="3575"/>
                </a:cubicBezTo>
                <a:cubicBezTo>
                  <a:pt x="3817" y="2446"/>
                  <a:pt x="3817" y="2446"/>
                  <a:pt x="3817" y="2446"/>
                </a:cubicBezTo>
                <a:cubicBezTo>
                  <a:pt x="4088" y="2398"/>
                  <a:pt x="4311" y="2159"/>
                  <a:pt x="4311" y="1873"/>
                </a:cubicBezTo>
                <a:cubicBezTo>
                  <a:pt x="4311" y="1587"/>
                  <a:pt x="4088" y="1332"/>
                  <a:pt x="3817" y="1301"/>
                </a:cubicBezTo>
                <a:close/>
                <a:moveTo>
                  <a:pt x="1909" y="2557"/>
                </a:moveTo>
                <a:cubicBezTo>
                  <a:pt x="1638" y="2557"/>
                  <a:pt x="1638" y="2557"/>
                  <a:pt x="1638" y="2557"/>
                </a:cubicBezTo>
                <a:cubicBezTo>
                  <a:pt x="1606" y="2557"/>
                  <a:pt x="1559" y="2589"/>
                  <a:pt x="1559" y="2637"/>
                </a:cubicBezTo>
                <a:lnTo>
                  <a:pt x="1575" y="2637"/>
                </a:lnTo>
                <a:cubicBezTo>
                  <a:pt x="1575" y="2653"/>
                  <a:pt x="1575" y="2653"/>
                  <a:pt x="1575" y="2668"/>
                </a:cubicBezTo>
                <a:cubicBezTo>
                  <a:pt x="1941" y="4148"/>
                  <a:pt x="1941" y="4148"/>
                  <a:pt x="1941" y="4148"/>
                </a:cubicBezTo>
                <a:cubicBezTo>
                  <a:pt x="1305" y="4148"/>
                  <a:pt x="1305" y="4148"/>
                  <a:pt x="1305" y="4148"/>
                </a:cubicBezTo>
                <a:cubicBezTo>
                  <a:pt x="923" y="2621"/>
                  <a:pt x="923" y="2621"/>
                  <a:pt x="923" y="2621"/>
                </a:cubicBezTo>
                <a:cubicBezTo>
                  <a:pt x="923" y="2589"/>
                  <a:pt x="891" y="2573"/>
                  <a:pt x="859" y="2573"/>
                </a:cubicBezTo>
                <a:cubicBezTo>
                  <a:pt x="350" y="2573"/>
                  <a:pt x="350" y="2573"/>
                  <a:pt x="350" y="2573"/>
                </a:cubicBezTo>
                <a:cubicBezTo>
                  <a:pt x="255" y="2573"/>
                  <a:pt x="159" y="2398"/>
                  <a:pt x="159" y="2271"/>
                </a:cubicBezTo>
                <a:cubicBezTo>
                  <a:pt x="159" y="1476"/>
                  <a:pt x="159" y="1476"/>
                  <a:pt x="159" y="1476"/>
                </a:cubicBezTo>
                <a:cubicBezTo>
                  <a:pt x="159" y="1349"/>
                  <a:pt x="255" y="1301"/>
                  <a:pt x="318" y="1301"/>
                </a:cubicBezTo>
                <a:cubicBezTo>
                  <a:pt x="1909" y="1301"/>
                  <a:pt x="1909" y="1301"/>
                  <a:pt x="1909" y="1301"/>
                </a:cubicBezTo>
                <a:close/>
                <a:moveTo>
                  <a:pt x="3659" y="3575"/>
                </a:moveTo>
                <a:cubicBezTo>
                  <a:pt x="3659" y="3623"/>
                  <a:pt x="3627" y="3671"/>
                  <a:pt x="3579" y="3686"/>
                </a:cubicBezTo>
                <a:cubicBezTo>
                  <a:pt x="3547" y="3703"/>
                  <a:pt x="3499" y="3703"/>
                  <a:pt x="3451" y="3671"/>
                </a:cubicBezTo>
                <a:cubicBezTo>
                  <a:pt x="2068" y="2589"/>
                  <a:pt x="2068" y="2589"/>
                  <a:pt x="2068" y="2589"/>
                </a:cubicBezTo>
                <a:cubicBezTo>
                  <a:pt x="2068" y="1285"/>
                  <a:pt x="2068" y="1285"/>
                  <a:pt x="2068" y="1285"/>
                </a:cubicBezTo>
                <a:cubicBezTo>
                  <a:pt x="3451" y="187"/>
                  <a:pt x="3451" y="187"/>
                  <a:pt x="3451" y="187"/>
                </a:cubicBezTo>
                <a:cubicBezTo>
                  <a:pt x="3499" y="155"/>
                  <a:pt x="3547" y="155"/>
                  <a:pt x="3579" y="171"/>
                </a:cubicBezTo>
                <a:cubicBezTo>
                  <a:pt x="3627" y="187"/>
                  <a:pt x="3659" y="235"/>
                  <a:pt x="3659" y="283"/>
                </a:cubicBezTo>
                <a:close/>
                <a:moveTo>
                  <a:pt x="3817" y="2287"/>
                </a:moveTo>
                <a:cubicBezTo>
                  <a:pt x="3817" y="1460"/>
                  <a:pt x="3817" y="1460"/>
                  <a:pt x="3817" y="1460"/>
                </a:cubicBezTo>
                <a:cubicBezTo>
                  <a:pt x="4008" y="1507"/>
                  <a:pt x="4151" y="1667"/>
                  <a:pt x="4151" y="1873"/>
                </a:cubicBezTo>
                <a:cubicBezTo>
                  <a:pt x="4151" y="2080"/>
                  <a:pt x="4008" y="2239"/>
                  <a:pt x="3817" y="228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2" name="TextBox 51">
            <a:extLst>
              <a:ext uri="{FF2B5EF4-FFF2-40B4-BE49-F238E27FC236}">
                <a16:creationId xmlns:a16="http://schemas.microsoft.com/office/drawing/2014/main" id="{C9B1FC13-6918-AE48-B1B1-723B6DE95BAB}"/>
              </a:ext>
            </a:extLst>
          </p:cNvPr>
          <p:cNvSpPr txBox="1"/>
          <p:nvPr/>
        </p:nvSpPr>
        <p:spPr>
          <a:xfrm>
            <a:off x="20002918" y="5145166"/>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ireless Drive</a:t>
            </a:r>
          </a:p>
        </p:txBody>
      </p:sp>
      <p:sp>
        <p:nvSpPr>
          <p:cNvPr id="53" name="Freeform: Shape 12">
            <a:extLst>
              <a:ext uri="{FF2B5EF4-FFF2-40B4-BE49-F238E27FC236}">
                <a16:creationId xmlns:a16="http://schemas.microsoft.com/office/drawing/2014/main" id="{80BA93DE-EC95-A144-8067-F2E282D8BBC4}"/>
              </a:ext>
            </a:extLst>
          </p:cNvPr>
          <p:cNvSpPr/>
          <p:nvPr/>
        </p:nvSpPr>
        <p:spPr>
          <a:xfrm>
            <a:off x="21252002" y="2996354"/>
            <a:ext cx="663480" cy="1717200"/>
          </a:xfrm>
          <a:custGeom>
            <a:avLst/>
            <a:gdLst/>
            <a:ahLst/>
            <a:cxnLst>
              <a:cxn ang="3cd4">
                <a:pos x="hc" y="t"/>
              </a:cxn>
              <a:cxn ang="cd2">
                <a:pos x="l" y="vc"/>
              </a:cxn>
              <a:cxn ang="cd4">
                <a:pos x="hc" y="b"/>
              </a:cxn>
              <a:cxn ang="0">
                <a:pos x="r" y="vc"/>
              </a:cxn>
            </a:cxnLst>
            <a:rect l="l" t="t" r="r" b="b"/>
            <a:pathLst>
              <a:path w="1844" h="4771">
                <a:moveTo>
                  <a:pt x="580" y="938"/>
                </a:moveTo>
                <a:cubicBezTo>
                  <a:pt x="548" y="970"/>
                  <a:pt x="548" y="1018"/>
                  <a:pt x="580" y="1049"/>
                </a:cubicBezTo>
                <a:cubicBezTo>
                  <a:pt x="612" y="1081"/>
                  <a:pt x="660" y="1081"/>
                  <a:pt x="691" y="1049"/>
                </a:cubicBezTo>
                <a:cubicBezTo>
                  <a:pt x="819" y="922"/>
                  <a:pt x="1025" y="922"/>
                  <a:pt x="1137" y="1049"/>
                </a:cubicBezTo>
                <a:cubicBezTo>
                  <a:pt x="1153" y="1066"/>
                  <a:pt x="1185" y="1066"/>
                  <a:pt x="1200" y="1066"/>
                </a:cubicBezTo>
                <a:cubicBezTo>
                  <a:pt x="1216" y="1066"/>
                  <a:pt x="1233" y="1066"/>
                  <a:pt x="1248" y="1049"/>
                </a:cubicBezTo>
                <a:cubicBezTo>
                  <a:pt x="1280" y="1018"/>
                  <a:pt x="1280" y="970"/>
                  <a:pt x="1248" y="938"/>
                </a:cubicBezTo>
                <a:cubicBezTo>
                  <a:pt x="1073" y="747"/>
                  <a:pt x="755" y="747"/>
                  <a:pt x="580" y="938"/>
                </a:cubicBezTo>
                <a:close/>
                <a:moveTo>
                  <a:pt x="1487" y="795"/>
                </a:moveTo>
                <a:cubicBezTo>
                  <a:pt x="1503" y="795"/>
                  <a:pt x="1519" y="779"/>
                  <a:pt x="1534" y="763"/>
                </a:cubicBezTo>
                <a:cubicBezTo>
                  <a:pt x="1566" y="731"/>
                  <a:pt x="1566" y="684"/>
                  <a:pt x="1534" y="652"/>
                </a:cubicBezTo>
                <a:cubicBezTo>
                  <a:pt x="1376" y="493"/>
                  <a:pt x="1153" y="397"/>
                  <a:pt x="914" y="397"/>
                </a:cubicBezTo>
                <a:cubicBezTo>
                  <a:pt x="691" y="397"/>
                  <a:pt x="469" y="493"/>
                  <a:pt x="294" y="652"/>
                </a:cubicBezTo>
                <a:cubicBezTo>
                  <a:pt x="262" y="684"/>
                  <a:pt x="262" y="731"/>
                  <a:pt x="294" y="763"/>
                </a:cubicBezTo>
                <a:cubicBezTo>
                  <a:pt x="326" y="795"/>
                  <a:pt x="389" y="795"/>
                  <a:pt x="405" y="763"/>
                </a:cubicBezTo>
                <a:cubicBezTo>
                  <a:pt x="676" y="493"/>
                  <a:pt x="1153" y="493"/>
                  <a:pt x="1423" y="763"/>
                </a:cubicBezTo>
                <a:cubicBezTo>
                  <a:pt x="1439" y="779"/>
                  <a:pt x="1455" y="795"/>
                  <a:pt x="1487" y="795"/>
                </a:cubicBezTo>
                <a:close/>
                <a:moveTo>
                  <a:pt x="914" y="0"/>
                </a:moveTo>
                <a:cubicBezTo>
                  <a:pt x="580" y="0"/>
                  <a:pt x="262" y="127"/>
                  <a:pt x="24" y="366"/>
                </a:cubicBezTo>
                <a:cubicBezTo>
                  <a:pt x="-8" y="397"/>
                  <a:pt x="-8" y="461"/>
                  <a:pt x="24" y="477"/>
                </a:cubicBezTo>
                <a:cubicBezTo>
                  <a:pt x="39" y="493"/>
                  <a:pt x="55" y="509"/>
                  <a:pt x="71" y="509"/>
                </a:cubicBezTo>
                <a:cubicBezTo>
                  <a:pt x="103" y="509"/>
                  <a:pt x="119" y="493"/>
                  <a:pt x="135" y="477"/>
                </a:cubicBezTo>
                <a:cubicBezTo>
                  <a:pt x="342" y="270"/>
                  <a:pt x="628" y="159"/>
                  <a:pt x="914" y="159"/>
                </a:cubicBezTo>
                <a:cubicBezTo>
                  <a:pt x="1216" y="159"/>
                  <a:pt x="1487" y="270"/>
                  <a:pt x="1709" y="477"/>
                </a:cubicBezTo>
                <a:cubicBezTo>
                  <a:pt x="1742" y="509"/>
                  <a:pt x="1789" y="509"/>
                  <a:pt x="1821" y="477"/>
                </a:cubicBezTo>
                <a:cubicBezTo>
                  <a:pt x="1852" y="461"/>
                  <a:pt x="1852" y="397"/>
                  <a:pt x="1821" y="366"/>
                </a:cubicBezTo>
                <a:cubicBezTo>
                  <a:pt x="1582" y="127"/>
                  <a:pt x="1264" y="0"/>
                  <a:pt x="914" y="0"/>
                </a:cubicBezTo>
                <a:close/>
                <a:moveTo>
                  <a:pt x="1391" y="1272"/>
                </a:moveTo>
                <a:lnTo>
                  <a:pt x="437" y="1272"/>
                </a:lnTo>
                <a:cubicBezTo>
                  <a:pt x="182" y="1272"/>
                  <a:pt x="24" y="1399"/>
                  <a:pt x="24" y="1590"/>
                </a:cubicBezTo>
                <a:lnTo>
                  <a:pt x="24" y="3865"/>
                </a:lnTo>
                <a:cubicBezTo>
                  <a:pt x="24" y="4342"/>
                  <a:pt x="437" y="4771"/>
                  <a:pt x="898" y="4771"/>
                </a:cubicBezTo>
                <a:lnTo>
                  <a:pt x="930" y="4771"/>
                </a:lnTo>
                <a:cubicBezTo>
                  <a:pt x="1391" y="4771"/>
                  <a:pt x="1773" y="4358"/>
                  <a:pt x="1773" y="3865"/>
                </a:cubicBezTo>
                <a:lnTo>
                  <a:pt x="1773" y="1590"/>
                </a:lnTo>
                <a:cubicBezTo>
                  <a:pt x="1773" y="1463"/>
                  <a:pt x="1725" y="1272"/>
                  <a:pt x="1391" y="1272"/>
                </a:cubicBezTo>
                <a:close/>
                <a:moveTo>
                  <a:pt x="1614" y="3865"/>
                </a:moveTo>
                <a:cubicBezTo>
                  <a:pt x="1614" y="4262"/>
                  <a:pt x="1296" y="4612"/>
                  <a:pt x="930" y="4612"/>
                </a:cubicBezTo>
                <a:lnTo>
                  <a:pt x="898" y="4612"/>
                </a:lnTo>
                <a:cubicBezTo>
                  <a:pt x="516" y="4612"/>
                  <a:pt x="182" y="4262"/>
                  <a:pt x="182" y="3865"/>
                </a:cubicBezTo>
                <a:lnTo>
                  <a:pt x="182" y="1590"/>
                </a:lnTo>
                <a:cubicBezTo>
                  <a:pt x="182" y="1463"/>
                  <a:pt x="326" y="1431"/>
                  <a:pt x="437" y="1431"/>
                </a:cubicBezTo>
                <a:lnTo>
                  <a:pt x="1391" y="1431"/>
                </a:lnTo>
                <a:cubicBezTo>
                  <a:pt x="1614" y="1431"/>
                  <a:pt x="1614" y="1542"/>
                  <a:pt x="1614" y="1590"/>
                </a:cubicBezTo>
                <a:close/>
                <a:moveTo>
                  <a:pt x="914" y="1781"/>
                </a:moveTo>
                <a:cubicBezTo>
                  <a:pt x="771" y="1781"/>
                  <a:pt x="644" y="1908"/>
                  <a:pt x="644" y="2067"/>
                </a:cubicBezTo>
                <a:cubicBezTo>
                  <a:pt x="644" y="2211"/>
                  <a:pt x="771" y="2338"/>
                  <a:pt x="914" y="2338"/>
                </a:cubicBezTo>
                <a:cubicBezTo>
                  <a:pt x="1073" y="2338"/>
                  <a:pt x="1200" y="2211"/>
                  <a:pt x="1200" y="2067"/>
                </a:cubicBezTo>
                <a:cubicBezTo>
                  <a:pt x="1200" y="1908"/>
                  <a:pt x="1073" y="1781"/>
                  <a:pt x="914" y="1781"/>
                </a:cubicBezTo>
                <a:close/>
                <a:moveTo>
                  <a:pt x="914" y="2179"/>
                </a:moveTo>
                <a:cubicBezTo>
                  <a:pt x="851" y="2179"/>
                  <a:pt x="803" y="2131"/>
                  <a:pt x="803" y="2067"/>
                </a:cubicBezTo>
                <a:cubicBezTo>
                  <a:pt x="803" y="2004"/>
                  <a:pt x="851" y="1940"/>
                  <a:pt x="914" y="1940"/>
                </a:cubicBezTo>
                <a:cubicBezTo>
                  <a:pt x="978" y="1940"/>
                  <a:pt x="1042" y="2004"/>
                  <a:pt x="1042" y="2067"/>
                </a:cubicBezTo>
                <a:cubicBezTo>
                  <a:pt x="1042" y="2131"/>
                  <a:pt x="978" y="2179"/>
                  <a:pt x="914" y="217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21017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DBA387B9-31B5-2647-AE72-87D6728B4176}"/>
              </a:ext>
            </a:extLst>
          </p:cNvPr>
          <p:cNvSpPr>
            <a:spLocks noGrp="1"/>
          </p:cNvSpPr>
          <p:nvPr>
            <p:ph type="title"/>
          </p:nvPr>
        </p:nvSpPr>
        <p:spPr/>
        <p:txBody>
          <a:bodyPr/>
          <a:lstStyle/>
          <a:p>
            <a:r>
              <a:rPr lang="en-CA" dirty="0"/>
              <a:t>Are other colors permitted?</a:t>
            </a:r>
            <a:endParaRPr lang="en-US" dirty="0"/>
          </a:p>
        </p:txBody>
      </p:sp>
      <p:sp>
        <p:nvSpPr>
          <p:cNvPr id="6" name="TextBox 5">
            <a:extLst>
              <a:ext uri="{FF2B5EF4-FFF2-40B4-BE49-F238E27FC236}">
                <a16:creationId xmlns:a16="http://schemas.microsoft.com/office/drawing/2014/main" id="{B7C6891D-F1BD-9E40-8523-95904FAAF7AD}"/>
              </a:ext>
            </a:extLst>
          </p:cNvPr>
          <p:cNvSpPr txBox="1"/>
          <p:nvPr/>
        </p:nvSpPr>
        <p:spPr>
          <a:xfrm>
            <a:off x="1135024" y="2747511"/>
            <a:ext cx="11435765" cy="707886"/>
          </a:xfrm>
          <a:prstGeom prst="rect">
            <a:avLst/>
          </a:prstGeom>
          <a:noFill/>
        </p:spPr>
        <p:txBody>
          <a:bodyPr wrap="square" rtlCol="0">
            <a:spAutoFit/>
          </a:bodyPr>
          <a:lstStyle/>
          <a:p>
            <a:r>
              <a:rPr lang="en-US" sz="4000" dirty="0"/>
              <a:t>Yes! However, try to ensure that additional colors:</a:t>
            </a:r>
          </a:p>
        </p:txBody>
      </p:sp>
      <p:grpSp>
        <p:nvGrpSpPr>
          <p:cNvPr id="7" name="Group 6">
            <a:extLst>
              <a:ext uri="{FF2B5EF4-FFF2-40B4-BE49-F238E27FC236}">
                <a16:creationId xmlns:a16="http://schemas.microsoft.com/office/drawing/2014/main" id="{B9193DC2-852D-D24C-9826-491FEB9A86C1}"/>
              </a:ext>
            </a:extLst>
          </p:cNvPr>
          <p:cNvGrpSpPr/>
          <p:nvPr/>
        </p:nvGrpSpPr>
        <p:grpSpPr>
          <a:xfrm>
            <a:off x="6968131" y="4700342"/>
            <a:ext cx="4235576" cy="4233113"/>
            <a:chOff x="6208295" y="4331368"/>
            <a:chExt cx="4165349" cy="4162927"/>
          </a:xfrm>
        </p:grpSpPr>
        <p:sp>
          <p:nvSpPr>
            <p:cNvPr id="8" name="Pie 7">
              <a:extLst>
                <a:ext uri="{FF2B5EF4-FFF2-40B4-BE49-F238E27FC236}">
                  <a16:creationId xmlns:a16="http://schemas.microsoft.com/office/drawing/2014/main" id="{81E671A0-44A4-8548-B10C-B3E5D11F62E0}"/>
                </a:ext>
              </a:extLst>
            </p:cNvPr>
            <p:cNvSpPr/>
            <p:nvPr/>
          </p:nvSpPr>
          <p:spPr>
            <a:xfrm rot="5400000">
              <a:off x="6208295" y="4331368"/>
              <a:ext cx="4162927" cy="4162927"/>
            </a:xfrm>
            <a:prstGeom prst="pie">
              <a:avLst>
                <a:gd name="adj1" fmla="val 0"/>
                <a:gd name="adj2" fmla="val 1078228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Pie 8">
              <a:extLst>
                <a:ext uri="{FF2B5EF4-FFF2-40B4-BE49-F238E27FC236}">
                  <a16:creationId xmlns:a16="http://schemas.microsoft.com/office/drawing/2014/main" id="{7535CD59-0233-2444-93EB-D62B5FF68E8C}"/>
                </a:ext>
              </a:extLst>
            </p:cNvPr>
            <p:cNvSpPr/>
            <p:nvPr/>
          </p:nvSpPr>
          <p:spPr>
            <a:xfrm rot="16200000">
              <a:off x="6210717" y="4331368"/>
              <a:ext cx="4162927" cy="4162927"/>
            </a:xfrm>
            <a:prstGeom prst="pie">
              <a:avLst>
                <a:gd name="adj1" fmla="val 0"/>
                <a:gd name="adj2" fmla="val 10782280"/>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0" name="TextBox 9">
            <a:extLst>
              <a:ext uri="{FF2B5EF4-FFF2-40B4-BE49-F238E27FC236}">
                <a16:creationId xmlns:a16="http://schemas.microsoft.com/office/drawing/2014/main" id="{71BF882A-D98E-0346-8B59-EF872565A144}"/>
              </a:ext>
            </a:extLst>
          </p:cNvPr>
          <p:cNvSpPr txBox="1"/>
          <p:nvPr/>
        </p:nvSpPr>
        <p:spPr>
          <a:xfrm>
            <a:off x="6911500" y="9556337"/>
            <a:ext cx="4332217" cy="1323439"/>
          </a:xfrm>
          <a:prstGeom prst="rect">
            <a:avLst/>
          </a:prstGeom>
          <a:noFill/>
        </p:spPr>
        <p:txBody>
          <a:bodyPr wrap="square" rtlCol="0">
            <a:spAutoFit/>
          </a:bodyPr>
          <a:lstStyle/>
          <a:p>
            <a:pPr algn="ctr"/>
            <a:r>
              <a:rPr lang="is-IS" sz="4000" b="1" dirty="0"/>
              <a:t>…p</a:t>
            </a:r>
            <a:r>
              <a:rPr lang="en-US" sz="4000" b="1" dirty="0" err="1"/>
              <a:t>rovide</a:t>
            </a:r>
            <a:endParaRPr lang="en-US" sz="4000" b="1" dirty="0"/>
          </a:p>
          <a:p>
            <a:pPr algn="ctr"/>
            <a:r>
              <a:rPr lang="en-US" sz="4000" b="1" dirty="0"/>
              <a:t>contrast</a:t>
            </a:r>
          </a:p>
        </p:txBody>
      </p:sp>
      <p:pic>
        <p:nvPicPr>
          <p:cNvPr id="11" name="Picture 10">
            <a:extLst>
              <a:ext uri="{FF2B5EF4-FFF2-40B4-BE49-F238E27FC236}">
                <a16:creationId xmlns:a16="http://schemas.microsoft.com/office/drawing/2014/main" id="{AB55C4D4-8B0F-E84A-BEB6-9C1733339EB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633327" y="4659048"/>
            <a:ext cx="4284386" cy="4292955"/>
          </a:xfrm>
          <a:prstGeom prst="rect">
            <a:avLst/>
          </a:prstGeom>
        </p:spPr>
      </p:pic>
      <p:sp>
        <p:nvSpPr>
          <p:cNvPr id="12" name="TextBox 11">
            <a:extLst>
              <a:ext uri="{FF2B5EF4-FFF2-40B4-BE49-F238E27FC236}">
                <a16:creationId xmlns:a16="http://schemas.microsoft.com/office/drawing/2014/main" id="{92BD7516-6AD4-854F-9ECB-B8B437182935}"/>
              </a:ext>
            </a:extLst>
          </p:cNvPr>
          <p:cNvSpPr txBox="1"/>
          <p:nvPr/>
        </p:nvSpPr>
        <p:spPr>
          <a:xfrm>
            <a:off x="12642125" y="9556337"/>
            <a:ext cx="4332218" cy="1323439"/>
          </a:xfrm>
          <a:prstGeom prst="rect">
            <a:avLst/>
          </a:prstGeom>
          <a:noFill/>
        </p:spPr>
        <p:txBody>
          <a:bodyPr wrap="square" rtlCol="0">
            <a:spAutoFit/>
          </a:bodyPr>
          <a:lstStyle/>
          <a:p>
            <a:pPr algn="ctr"/>
            <a:r>
              <a:rPr lang="en-US" sz="4000" b="1" dirty="0"/>
              <a:t>..convey</a:t>
            </a:r>
            <a:br>
              <a:rPr lang="en-US" sz="4000" b="1" dirty="0"/>
            </a:br>
            <a:r>
              <a:rPr lang="en-US" sz="4000" b="1" dirty="0"/>
              <a:t>meaning</a:t>
            </a:r>
          </a:p>
        </p:txBody>
      </p:sp>
      <p:sp>
        <p:nvSpPr>
          <p:cNvPr id="13" name="Oval 12">
            <a:extLst>
              <a:ext uri="{FF2B5EF4-FFF2-40B4-BE49-F238E27FC236}">
                <a16:creationId xmlns:a16="http://schemas.microsoft.com/office/drawing/2014/main" id="{A15BDBE4-818B-1044-B653-D560C463CBEC}"/>
              </a:ext>
            </a:extLst>
          </p:cNvPr>
          <p:cNvSpPr/>
          <p:nvPr/>
        </p:nvSpPr>
        <p:spPr>
          <a:xfrm>
            <a:off x="18782188" y="4721578"/>
            <a:ext cx="4247271" cy="4247272"/>
          </a:xfrm>
          <a:prstGeom prst="ellipse">
            <a:avLst/>
          </a:prstGeom>
          <a:noFill/>
          <a:ln w="38100">
            <a:solidFill>
              <a:srgbClr val="8DC6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48EC8251-BFCF-2842-91DA-0FB4CDA32A90}"/>
              </a:ext>
            </a:extLst>
          </p:cNvPr>
          <p:cNvSpPr txBox="1"/>
          <p:nvPr/>
        </p:nvSpPr>
        <p:spPr>
          <a:xfrm>
            <a:off x="18758125" y="6144413"/>
            <a:ext cx="4264504" cy="1631216"/>
          </a:xfrm>
          <a:prstGeom prst="rect">
            <a:avLst/>
          </a:prstGeom>
          <a:noFill/>
          <a:ln>
            <a:noFill/>
          </a:ln>
        </p:spPr>
        <p:txBody>
          <a:bodyPr wrap="square" rtlCol="0">
            <a:spAutoFit/>
          </a:bodyPr>
          <a:lstStyle/>
          <a:p>
            <a:pPr algn="ctr"/>
            <a:r>
              <a:rPr lang="en-US" sz="5000" b="1" dirty="0">
                <a:solidFill>
                  <a:srgbClr val="8DC63F"/>
                </a:solidFill>
              </a:rPr>
              <a:t>Product</a:t>
            </a:r>
          </a:p>
          <a:p>
            <a:pPr algn="ctr"/>
            <a:r>
              <a:rPr lang="en-US" sz="5000" b="1" dirty="0">
                <a:solidFill>
                  <a:srgbClr val="8DC63F"/>
                </a:solidFill>
              </a:rPr>
              <a:t>Suite</a:t>
            </a:r>
          </a:p>
        </p:txBody>
      </p:sp>
      <p:sp>
        <p:nvSpPr>
          <p:cNvPr id="15" name="TextBox 14">
            <a:extLst>
              <a:ext uri="{FF2B5EF4-FFF2-40B4-BE49-F238E27FC236}">
                <a16:creationId xmlns:a16="http://schemas.microsoft.com/office/drawing/2014/main" id="{521277A6-FA31-5A40-904E-E529C7C88A57}"/>
              </a:ext>
            </a:extLst>
          </p:cNvPr>
          <p:cNvSpPr txBox="1"/>
          <p:nvPr/>
        </p:nvSpPr>
        <p:spPr>
          <a:xfrm>
            <a:off x="18272514" y="9556338"/>
            <a:ext cx="4955151" cy="1938992"/>
          </a:xfrm>
          <a:prstGeom prst="rect">
            <a:avLst/>
          </a:prstGeom>
          <a:noFill/>
        </p:spPr>
        <p:txBody>
          <a:bodyPr wrap="square" rtlCol="0">
            <a:spAutoFit/>
          </a:bodyPr>
          <a:lstStyle/>
          <a:p>
            <a:pPr algn="ctr"/>
            <a:r>
              <a:rPr lang="is-IS" sz="4000" b="1" dirty="0"/>
              <a:t>…a</a:t>
            </a:r>
            <a:r>
              <a:rPr lang="en-US" sz="4000" b="1" dirty="0"/>
              <a:t>re not used </a:t>
            </a:r>
            <a:br>
              <a:rPr lang="en-US" sz="4000" b="1" dirty="0"/>
            </a:br>
            <a:r>
              <a:rPr lang="en-US" sz="4000" b="1" dirty="0"/>
              <a:t>to identify </a:t>
            </a:r>
            <a:br>
              <a:rPr lang="en-US" sz="4000" b="1" dirty="0"/>
            </a:br>
            <a:r>
              <a:rPr lang="en-US" sz="4000" b="1" dirty="0"/>
              <a:t>product lines </a:t>
            </a:r>
          </a:p>
        </p:txBody>
      </p:sp>
      <p:sp>
        <p:nvSpPr>
          <p:cNvPr id="16" name="TextBox 15">
            <a:extLst>
              <a:ext uri="{FF2B5EF4-FFF2-40B4-BE49-F238E27FC236}">
                <a16:creationId xmlns:a16="http://schemas.microsoft.com/office/drawing/2014/main" id="{5ABCFB86-7330-7245-B816-AD2361494B98}"/>
              </a:ext>
            </a:extLst>
          </p:cNvPr>
          <p:cNvSpPr txBox="1"/>
          <p:nvPr/>
        </p:nvSpPr>
        <p:spPr>
          <a:xfrm>
            <a:off x="1262825" y="9556337"/>
            <a:ext cx="4332217" cy="1323439"/>
          </a:xfrm>
          <a:prstGeom prst="rect">
            <a:avLst/>
          </a:prstGeom>
          <a:noFill/>
        </p:spPr>
        <p:txBody>
          <a:bodyPr wrap="square" rtlCol="0">
            <a:spAutoFit/>
          </a:bodyPr>
          <a:lstStyle/>
          <a:p>
            <a:pPr algn="ctr"/>
            <a:r>
              <a:rPr lang="is-IS" sz="4000" b="1" dirty="0"/>
              <a:t>…a</a:t>
            </a:r>
            <a:r>
              <a:rPr lang="en-US" sz="4000" b="1" dirty="0"/>
              <a:t>re used</a:t>
            </a:r>
          </a:p>
          <a:p>
            <a:pPr algn="ctr"/>
            <a:r>
              <a:rPr lang="en-US" sz="4000" b="1" dirty="0"/>
              <a:t>sparingly</a:t>
            </a:r>
          </a:p>
        </p:txBody>
      </p:sp>
      <p:grpSp>
        <p:nvGrpSpPr>
          <p:cNvPr id="17" name="Group 16">
            <a:extLst>
              <a:ext uri="{FF2B5EF4-FFF2-40B4-BE49-F238E27FC236}">
                <a16:creationId xmlns:a16="http://schemas.microsoft.com/office/drawing/2014/main" id="{8267960A-1BCF-EA4C-ADAD-2B996DDC3ED6}"/>
              </a:ext>
            </a:extLst>
          </p:cNvPr>
          <p:cNvGrpSpPr/>
          <p:nvPr/>
        </p:nvGrpSpPr>
        <p:grpSpPr>
          <a:xfrm>
            <a:off x="1262826" y="4693263"/>
            <a:ext cx="4332216" cy="3709283"/>
            <a:chOff x="1780674" y="5438274"/>
            <a:chExt cx="3681663" cy="3152274"/>
          </a:xfrm>
        </p:grpSpPr>
        <p:sp>
          <p:nvSpPr>
            <p:cNvPr id="18" name="Rectangle 17">
              <a:extLst>
                <a:ext uri="{FF2B5EF4-FFF2-40B4-BE49-F238E27FC236}">
                  <a16:creationId xmlns:a16="http://schemas.microsoft.com/office/drawing/2014/main" id="{09267D0B-03E8-9E4B-B6DC-A353212E0492}"/>
                </a:ext>
              </a:extLst>
            </p:cNvPr>
            <p:cNvSpPr/>
            <p:nvPr/>
          </p:nvSpPr>
          <p:spPr>
            <a:xfrm>
              <a:off x="1780674" y="5438274"/>
              <a:ext cx="1717523" cy="4331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9" name="Rectangle 18">
              <a:extLst>
                <a:ext uri="{FF2B5EF4-FFF2-40B4-BE49-F238E27FC236}">
                  <a16:creationId xmlns:a16="http://schemas.microsoft.com/office/drawing/2014/main" id="{ED81AC54-66C3-6242-B553-362F0F6AF4A3}"/>
                </a:ext>
              </a:extLst>
            </p:cNvPr>
            <p:cNvSpPr/>
            <p:nvPr/>
          </p:nvSpPr>
          <p:spPr>
            <a:xfrm>
              <a:off x="1780674" y="6136106"/>
              <a:ext cx="2766087" cy="4331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A0F333EC-C4CF-6E4D-A6FB-DC766D866600}"/>
                </a:ext>
              </a:extLst>
            </p:cNvPr>
            <p:cNvSpPr/>
            <p:nvPr/>
          </p:nvSpPr>
          <p:spPr>
            <a:xfrm>
              <a:off x="1780674" y="6809874"/>
              <a:ext cx="1889275" cy="4331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BAA79D7-4A8F-DC46-B56E-912272A2CB0A}"/>
                </a:ext>
              </a:extLst>
            </p:cNvPr>
            <p:cNvSpPr/>
            <p:nvPr/>
          </p:nvSpPr>
          <p:spPr>
            <a:xfrm>
              <a:off x="1780674" y="7531769"/>
              <a:ext cx="2766087" cy="4331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D02D433-B833-5744-BB2B-9987193BB5BD}"/>
                </a:ext>
              </a:extLst>
            </p:cNvPr>
            <p:cNvSpPr/>
            <p:nvPr/>
          </p:nvSpPr>
          <p:spPr>
            <a:xfrm>
              <a:off x="1780674" y="8157411"/>
              <a:ext cx="3681663" cy="433137"/>
            </a:xfrm>
            <a:prstGeom prst="rect">
              <a:avLst/>
            </a:prstGeom>
            <a:solidFill>
              <a:srgbClr val="EEB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46311187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Cloud - 1</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41" name="TextBox 40">
            <a:extLst>
              <a:ext uri="{FF2B5EF4-FFF2-40B4-BE49-F238E27FC236}">
                <a16:creationId xmlns:a16="http://schemas.microsoft.com/office/drawing/2014/main" id="{0341CCA1-317C-6742-AC94-AF3DBF834F4F}"/>
              </a:ext>
            </a:extLst>
          </p:cNvPr>
          <p:cNvSpPr txBox="1"/>
          <p:nvPr/>
        </p:nvSpPr>
        <p:spPr>
          <a:xfrm>
            <a:off x="1245460" y="5164929"/>
            <a:ext cx="276774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a:t>
            </a:r>
          </a:p>
        </p:txBody>
      </p:sp>
      <p:sp>
        <p:nvSpPr>
          <p:cNvPr id="42" name="TextBox 41">
            <a:extLst>
              <a:ext uri="{FF2B5EF4-FFF2-40B4-BE49-F238E27FC236}">
                <a16:creationId xmlns:a16="http://schemas.microsoft.com/office/drawing/2014/main" id="{0DDCD514-3918-D54F-9D3B-F8E9836974CE}"/>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Download</a:t>
            </a:r>
          </a:p>
        </p:txBody>
      </p:sp>
      <p:sp>
        <p:nvSpPr>
          <p:cNvPr id="44" name="TextBox 43">
            <a:extLst>
              <a:ext uri="{FF2B5EF4-FFF2-40B4-BE49-F238E27FC236}">
                <a16:creationId xmlns:a16="http://schemas.microsoft.com/office/drawing/2014/main" id="{772984E1-8BA0-C945-AF88-66DDC4A86324}"/>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a:t>
            </a:r>
          </a:p>
        </p:txBody>
      </p:sp>
      <p:sp>
        <p:nvSpPr>
          <p:cNvPr id="45" name="TextBox 44">
            <a:extLst>
              <a:ext uri="{FF2B5EF4-FFF2-40B4-BE49-F238E27FC236}">
                <a16:creationId xmlns:a16="http://schemas.microsoft.com/office/drawing/2014/main" id="{FB81BD16-1C15-DD4A-8D98-FE857B5A3715}"/>
              </a:ext>
            </a:extLst>
          </p:cNvPr>
          <p:cNvSpPr txBox="1"/>
          <p:nvPr/>
        </p:nvSpPr>
        <p:spPr>
          <a:xfrm>
            <a:off x="4864563" y="5164929"/>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Upload</a:t>
            </a:r>
          </a:p>
        </p:txBody>
      </p:sp>
      <p:sp>
        <p:nvSpPr>
          <p:cNvPr id="46" name="TextBox 45">
            <a:extLst>
              <a:ext uri="{FF2B5EF4-FFF2-40B4-BE49-F238E27FC236}">
                <a16:creationId xmlns:a16="http://schemas.microsoft.com/office/drawing/2014/main" id="{46BBF1FD-5C47-0E4B-84E8-1F1E1D6B3F8B}"/>
              </a:ext>
            </a:extLst>
          </p:cNvPr>
          <p:cNvSpPr txBox="1"/>
          <p:nvPr/>
        </p:nvSpPr>
        <p:spPr>
          <a:xfrm>
            <a:off x="16559645" y="11751511"/>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Sound</a:t>
            </a:r>
          </a:p>
        </p:txBody>
      </p:sp>
      <p:sp>
        <p:nvSpPr>
          <p:cNvPr id="54" name="TextBox 53">
            <a:extLst>
              <a:ext uri="{FF2B5EF4-FFF2-40B4-BE49-F238E27FC236}">
                <a16:creationId xmlns:a16="http://schemas.microsoft.com/office/drawing/2014/main" id="{6C2A0357-761F-424B-B911-C9F42161347B}"/>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a:t>
            </a:r>
          </a:p>
        </p:txBody>
      </p:sp>
      <p:sp>
        <p:nvSpPr>
          <p:cNvPr id="55" name="TextBox 54">
            <a:extLst>
              <a:ext uri="{FF2B5EF4-FFF2-40B4-BE49-F238E27FC236}">
                <a16:creationId xmlns:a16="http://schemas.microsoft.com/office/drawing/2014/main" id="{EB118C08-E39E-294B-9A53-C5D56029AF40}"/>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People</a:t>
            </a:r>
          </a:p>
        </p:txBody>
      </p:sp>
      <p:sp>
        <p:nvSpPr>
          <p:cNvPr id="56" name="TextBox 55">
            <a:extLst>
              <a:ext uri="{FF2B5EF4-FFF2-40B4-BE49-F238E27FC236}">
                <a16:creationId xmlns:a16="http://schemas.microsoft.com/office/drawing/2014/main" id="{F8AC1B9D-79A9-D847-9D00-B0FED1FA9984}"/>
              </a:ext>
            </a:extLst>
          </p:cNvPr>
          <p:cNvSpPr txBox="1"/>
          <p:nvPr/>
        </p:nvSpPr>
        <p:spPr>
          <a:xfrm>
            <a:off x="16543629" y="5161469"/>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Check</a:t>
            </a:r>
          </a:p>
        </p:txBody>
      </p:sp>
      <p:sp>
        <p:nvSpPr>
          <p:cNvPr id="57" name="Freeform: Shape 26">
            <a:extLst>
              <a:ext uri="{FF2B5EF4-FFF2-40B4-BE49-F238E27FC236}">
                <a16:creationId xmlns:a16="http://schemas.microsoft.com/office/drawing/2014/main" id="{8431F534-C2CE-EF49-AA99-026F21B330C0}"/>
              </a:ext>
            </a:extLst>
          </p:cNvPr>
          <p:cNvSpPr/>
          <p:nvPr/>
        </p:nvSpPr>
        <p:spPr>
          <a:xfrm>
            <a:off x="10866869" y="3724027"/>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8" name="TextBox 57">
            <a:extLst>
              <a:ext uri="{FF2B5EF4-FFF2-40B4-BE49-F238E27FC236}">
                <a16:creationId xmlns:a16="http://schemas.microsoft.com/office/drawing/2014/main" id="{36747110-489B-0140-96D4-C7B7CA67BC58}"/>
              </a:ext>
            </a:extLst>
          </p:cNvPr>
          <p:cNvSpPr txBox="1"/>
          <p:nvPr/>
        </p:nvSpPr>
        <p:spPr>
          <a:xfrm>
            <a:off x="13008466" y="5161252"/>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Delete</a:t>
            </a:r>
          </a:p>
        </p:txBody>
      </p:sp>
      <p:sp>
        <p:nvSpPr>
          <p:cNvPr id="59" name="Freeform: Shape 1">
            <a:extLst>
              <a:ext uri="{FF2B5EF4-FFF2-40B4-BE49-F238E27FC236}">
                <a16:creationId xmlns:a16="http://schemas.microsoft.com/office/drawing/2014/main" id="{ED33761D-F7D1-E743-BEE7-619C980D175F}"/>
              </a:ext>
            </a:extLst>
          </p:cNvPr>
          <p:cNvSpPr/>
          <p:nvPr/>
        </p:nvSpPr>
        <p:spPr>
          <a:xfrm>
            <a:off x="13479533" y="2911508"/>
            <a:ext cx="2370960" cy="1625039"/>
          </a:xfrm>
          <a:custGeom>
            <a:avLst/>
            <a:gdLst/>
            <a:ahLst/>
            <a:cxnLst>
              <a:cxn ang="3cd4">
                <a:pos x="hc" y="t"/>
              </a:cxn>
              <a:cxn ang="cd2">
                <a:pos x="l" y="vc"/>
              </a:cxn>
              <a:cxn ang="cd4">
                <a:pos x="hc" y="b"/>
              </a:cxn>
              <a:cxn ang="0">
                <a:pos x="r" y="vc"/>
              </a:cxn>
            </a:cxnLst>
            <a:rect l="l" t="t" r="r" b="b"/>
            <a:pathLst>
              <a:path w="6587" h="4515">
                <a:moveTo>
                  <a:pt x="653" y="2001"/>
                </a:moveTo>
                <a:cubicBezTo>
                  <a:pt x="462" y="2145"/>
                  <a:pt x="271" y="2304"/>
                  <a:pt x="159" y="2527"/>
                </a:cubicBezTo>
                <a:cubicBezTo>
                  <a:pt x="-159" y="3099"/>
                  <a:pt x="16" y="3863"/>
                  <a:pt x="541" y="4245"/>
                </a:cubicBezTo>
                <a:cubicBezTo>
                  <a:pt x="780" y="4404"/>
                  <a:pt x="1098" y="4515"/>
                  <a:pt x="1368" y="4515"/>
                </a:cubicBezTo>
                <a:lnTo>
                  <a:pt x="5219" y="4515"/>
                </a:lnTo>
                <a:cubicBezTo>
                  <a:pt x="6078" y="4467"/>
                  <a:pt x="6587" y="3942"/>
                  <a:pt x="6587" y="3115"/>
                </a:cubicBezTo>
                <a:cubicBezTo>
                  <a:pt x="6603" y="2336"/>
                  <a:pt x="6014" y="2033"/>
                  <a:pt x="5823" y="1938"/>
                </a:cubicBezTo>
                <a:cubicBezTo>
                  <a:pt x="5808" y="1938"/>
                  <a:pt x="5792" y="1922"/>
                  <a:pt x="5775" y="1922"/>
                </a:cubicBezTo>
                <a:cubicBezTo>
                  <a:pt x="5728" y="1890"/>
                  <a:pt x="5744" y="1779"/>
                  <a:pt x="5760" y="1731"/>
                </a:cubicBezTo>
                <a:lnTo>
                  <a:pt x="5760" y="1699"/>
                </a:lnTo>
                <a:cubicBezTo>
                  <a:pt x="5808" y="1110"/>
                  <a:pt x="5489" y="506"/>
                  <a:pt x="4964" y="219"/>
                </a:cubicBezTo>
                <a:cubicBezTo>
                  <a:pt x="4328" y="-115"/>
                  <a:pt x="3484" y="-67"/>
                  <a:pt x="2992" y="363"/>
                </a:cubicBezTo>
                <a:cubicBezTo>
                  <a:pt x="2928" y="426"/>
                  <a:pt x="2880" y="506"/>
                  <a:pt x="2816" y="585"/>
                </a:cubicBezTo>
                <a:lnTo>
                  <a:pt x="2801" y="601"/>
                </a:lnTo>
                <a:cubicBezTo>
                  <a:pt x="2769" y="633"/>
                  <a:pt x="2737" y="681"/>
                  <a:pt x="2721" y="697"/>
                </a:cubicBezTo>
                <a:cubicBezTo>
                  <a:pt x="2610" y="713"/>
                  <a:pt x="2562" y="697"/>
                  <a:pt x="2466" y="649"/>
                </a:cubicBezTo>
                <a:lnTo>
                  <a:pt x="2435" y="633"/>
                </a:lnTo>
                <a:cubicBezTo>
                  <a:pt x="2053" y="426"/>
                  <a:pt x="1591" y="474"/>
                  <a:pt x="1241" y="728"/>
                </a:cubicBezTo>
                <a:cubicBezTo>
                  <a:pt x="875" y="983"/>
                  <a:pt x="716" y="1397"/>
                  <a:pt x="780" y="1810"/>
                </a:cubicBezTo>
                <a:cubicBezTo>
                  <a:pt x="796" y="1890"/>
                  <a:pt x="764" y="1922"/>
                  <a:pt x="653" y="2001"/>
                </a:cubicBezTo>
                <a:close/>
                <a:moveTo>
                  <a:pt x="939" y="1794"/>
                </a:moveTo>
                <a:cubicBezTo>
                  <a:pt x="875" y="1428"/>
                  <a:pt x="1019" y="1079"/>
                  <a:pt x="1321" y="856"/>
                </a:cubicBezTo>
                <a:cubicBezTo>
                  <a:pt x="1512" y="728"/>
                  <a:pt x="1702" y="665"/>
                  <a:pt x="1910" y="665"/>
                </a:cubicBezTo>
                <a:cubicBezTo>
                  <a:pt x="2069" y="665"/>
                  <a:pt x="2212" y="697"/>
                  <a:pt x="2355" y="776"/>
                </a:cubicBezTo>
                <a:lnTo>
                  <a:pt x="2387" y="792"/>
                </a:lnTo>
                <a:cubicBezTo>
                  <a:pt x="2498" y="840"/>
                  <a:pt x="2578" y="888"/>
                  <a:pt x="2753" y="840"/>
                </a:cubicBezTo>
                <a:cubicBezTo>
                  <a:pt x="2832" y="824"/>
                  <a:pt x="2896" y="745"/>
                  <a:pt x="2928" y="697"/>
                </a:cubicBezTo>
                <a:lnTo>
                  <a:pt x="2944" y="665"/>
                </a:lnTo>
                <a:cubicBezTo>
                  <a:pt x="2992" y="601"/>
                  <a:pt x="3039" y="537"/>
                  <a:pt x="3103" y="490"/>
                </a:cubicBezTo>
                <a:cubicBezTo>
                  <a:pt x="3596" y="45"/>
                  <a:pt x="4392" y="92"/>
                  <a:pt x="4884" y="363"/>
                </a:cubicBezTo>
                <a:cubicBezTo>
                  <a:pt x="5362" y="617"/>
                  <a:pt x="5648" y="1158"/>
                  <a:pt x="5601" y="1683"/>
                </a:cubicBezTo>
                <a:lnTo>
                  <a:pt x="5601" y="1699"/>
                </a:lnTo>
                <a:cubicBezTo>
                  <a:pt x="5585" y="1779"/>
                  <a:pt x="5569" y="1970"/>
                  <a:pt x="5696" y="2049"/>
                </a:cubicBezTo>
                <a:cubicBezTo>
                  <a:pt x="5712" y="2065"/>
                  <a:pt x="5728" y="2065"/>
                  <a:pt x="5760" y="2081"/>
                </a:cubicBezTo>
                <a:cubicBezTo>
                  <a:pt x="5935" y="2176"/>
                  <a:pt x="6444" y="2431"/>
                  <a:pt x="6428" y="3115"/>
                </a:cubicBezTo>
                <a:cubicBezTo>
                  <a:pt x="6428" y="3847"/>
                  <a:pt x="5983" y="4309"/>
                  <a:pt x="5219" y="4356"/>
                </a:cubicBezTo>
                <a:lnTo>
                  <a:pt x="1368" y="4356"/>
                </a:lnTo>
                <a:cubicBezTo>
                  <a:pt x="1130" y="4356"/>
                  <a:pt x="859" y="4261"/>
                  <a:pt x="637" y="4101"/>
                </a:cubicBezTo>
                <a:cubicBezTo>
                  <a:pt x="175" y="3767"/>
                  <a:pt x="16" y="3115"/>
                  <a:pt x="302" y="2606"/>
                </a:cubicBezTo>
                <a:cubicBezTo>
                  <a:pt x="398" y="2415"/>
                  <a:pt x="573" y="2256"/>
                  <a:pt x="748" y="2128"/>
                </a:cubicBezTo>
                <a:cubicBezTo>
                  <a:pt x="844" y="2065"/>
                  <a:pt x="971" y="1970"/>
                  <a:pt x="939" y="1794"/>
                </a:cubicBezTo>
                <a:close/>
                <a:moveTo>
                  <a:pt x="3293" y="3736"/>
                </a:moveTo>
                <a:cubicBezTo>
                  <a:pt x="3898" y="3736"/>
                  <a:pt x="4392" y="3227"/>
                  <a:pt x="4392" y="2622"/>
                </a:cubicBezTo>
                <a:cubicBezTo>
                  <a:pt x="4392" y="2001"/>
                  <a:pt x="3898" y="1508"/>
                  <a:pt x="3293" y="1508"/>
                </a:cubicBezTo>
                <a:cubicBezTo>
                  <a:pt x="2673" y="1508"/>
                  <a:pt x="2180" y="2001"/>
                  <a:pt x="2180" y="2622"/>
                </a:cubicBezTo>
                <a:cubicBezTo>
                  <a:pt x="2180" y="3227"/>
                  <a:pt x="2673" y="3736"/>
                  <a:pt x="3293" y="3736"/>
                </a:cubicBezTo>
                <a:close/>
                <a:moveTo>
                  <a:pt x="3293" y="1667"/>
                </a:moveTo>
                <a:cubicBezTo>
                  <a:pt x="3819" y="1667"/>
                  <a:pt x="4232" y="2097"/>
                  <a:pt x="4232" y="2622"/>
                </a:cubicBezTo>
                <a:cubicBezTo>
                  <a:pt x="4232" y="3147"/>
                  <a:pt x="3819" y="3576"/>
                  <a:pt x="3293" y="3576"/>
                </a:cubicBezTo>
                <a:cubicBezTo>
                  <a:pt x="2769" y="3576"/>
                  <a:pt x="2339" y="3147"/>
                  <a:pt x="2339" y="2622"/>
                </a:cubicBezTo>
                <a:cubicBezTo>
                  <a:pt x="2339" y="2097"/>
                  <a:pt x="2769" y="1667"/>
                  <a:pt x="3293" y="1667"/>
                </a:cubicBezTo>
                <a:close/>
                <a:moveTo>
                  <a:pt x="2912" y="3019"/>
                </a:moveTo>
                <a:cubicBezTo>
                  <a:pt x="2928" y="3036"/>
                  <a:pt x="2944" y="3052"/>
                  <a:pt x="2959" y="3052"/>
                </a:cubicBezTo>
                <a:cubicBezTo>
                  <a:pt x="2975" y="3052"/>
                  <a:pt x="3007" y="3036"/>
                  <a:pt x="3023" y="3019"/>
                </a:cubicBezTo>
                <a:lnTo>
                  <a:pt x="3293" y="2733"/>
                </a:lnTo>
                <a:lnTo>
                  <a:pt x="3580" y="3019"/>
                </a:lnTo>
                <a:cubicBezTo>
                  <a:pt x="3596" y="3036"/>
                  <a:pt x="3612" y="3052"/>
                  <a:pt x="3644" y="3052"/>
                </a:cubicBezTo>
                <a:cubicBezTo>
                  <a:pt x="3660" y="3052"/>
                  <a:pt x="3675" y="3036"/>
                  <a:pt x="3692" y="3019"/>
                </a:cubicBezTo>
                <a:cubicBezTo>
                  <a:pt x="3723" y="2988"/>
                  <a:pt x="3723" y="2940"/>
                  <a:pt x="3692" y="2908"/>
                </a:cubicBezTo>
                <a:lnTo>
                  <a:pt x="3405" y="2622"/>
                </a:lnTo>
                <a:lnTo>
                  <a:pt x="3692" y="2351"/>
                </a:lnTo>
                <a:cubicBezTo>
                  <a:pt x="3723" y="2319"/>
                  <a:pt x="3723" y="2256"/>
                  <a:pt x="3692" y="2224"/>
                </a:cubicBezTo>
                <a:cubicBezTo>
                  <a:pt x="3660" y="2208"/>
                  <a:pt x="3612" y="2208"/>
                  <a:pt x="3580" y="2224"/>
                </a:cubicBezTo>
                <a:lnTo>
                  <a:pt x="3293" y="2510"/>
                </a:lnTo>
                <a:lnTo>
                  <a:pt x="3023" y="2224"/>
                </a:lnTo>
                <a:cubicBezTo>
                  <a:pt x="2992" y="2208"/>
                  <a:pt x="2944" y="2208"/>
                  <a:pt x="2912" y="2224"/>
                </a:cubicBezTo>
                <a:cubicBezTo>
                  <a:pt x="2880" y="2256"/>
                  <a:pt x="2880" y="2319"/>
                  <a:pt x="2912" y="2351"/>
                </a:cubicBezTo>
                <a:lnTo>
                  <a:pt x="3182" y="2622"/>
                </a:lnTo>
                <a:lnTo>
                  <a:pt x="2912" y="2908"/>
                </a:lnTo>
                <a:cubicBezTo>
                  <a:pt x="2880" y="2940"/>
                  <a:pt x="2880" y="2988"/>
                  <a:pt x="2912" y="301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Freeform: Shape 3">
            <a:extLst>
              <a:ext uri="{FF2B5EF4-FFF2-40B4-BE49-F238E27FC236}">
                <a16:creationId xmlns:a16="http://schemas.microsoft.com/office/drawing/2014/main" id="{967DF93B-6B01-D841-A597-BF40BB374A82}"/>
              </a:ext>
            </a:extLst>
          </p:cNvPr>
          <p:cNvSpPr/>
          <p:nvPr/>
        </p:nvSpPr>
        <p:spPr>
          <a:xfrm>
            <a:off x="9673247" y="6044145"/>
            <a:ext cx="2375640" cy="1623600"/>
          </a:xfrm>
          <a:custGeom>
            <a:avLst/>
            <a:gdLst/>
            <a:ahLst/>
            <a:cxnLst>
              <a:cxn ang="3cd4">
                <a:pos x="hc" y="t"/>
              </a:cxn>
              <a:cxn ang="cd2">
                <a:pos x="l" y="vc"/>
              </a:cxn>
              <a:cxn ang="cd4">
                <a:pos x="hc" y="b"/>
              </a:cxn>
              <a:cxn ang="0">
                <a:pos x="r" y="vc"/>
              </a:cxn>
            </a:cxnLst>
            <a:rect l="l" t="t" r="r" b="b"/>
            <a:pathLst>
              <a:path w="6600" h="4511">
                <a:moveTo>
                  <a:pt x="5757" y="1854"/>
                </a:moveTo>
                <a:lnTo>
                  <a:pt x="5757" y="1679"/>
                </a:lnTo>
                <a:cubicBezTo>
                  <a:pt x="5805" y="1090"/>
                  <a:pt x="5487" y="502"/>
                  <a:pt x="4946" y="215"/>
                </a:cubicBezTo>
                <a:cubicBezTo>
                  <a:pt x="4341" y="-119"/>
                  <a:pt x="3514" y="-55"/>
                  <a:pt x="2988" y="343"/>
                </a:cubicBezTo>
                <a:cubicBezTo>
                  <a:pt x="2845" y="454"/>
                  <a:pt x="2702" y="645"/>
                  <a:pt x="2639" y="741"/>
                </a:cubicBezTo>
                <a:cubicBezTo>
                  <a:pt x="2591" y="709"/>
                  <a:pt x="2527" y="661"/>
                  <a:pt x="2416" y="613"/>
                </a:cubicBezTo>
                <a:cubicBezTo>
                  <a:pt x="2034" y="422"/>
                  <a:pt x="1604" y="454"/>
                  <a:pt x="1254" y="693"/>
                </a:cubicBezTo>
                <a:cubicBezTo>
                  <a:pt x="905" y="932"/>
                  <a:pt x="714" y="1313"/>
                  <a:pt x="761" y="1711"/>
                </a:cubicBezTo>
                <a:lnTo>
                  <a:pt x="761" y="1870"/>
                </a:lnTo>
                <a:cubicBezTo>
                  <a:pt x="745" y="1870"/>
                  <a:pt x="730" y="1886"/>
                  <a:pt x="714" y="1886"/>
                </a:cubicBezTo>
                <a:cubicBezTo>
                  <a:pt x="602" y="1950"/>
                  <a:pt x="332" y="2109"/>
                  <a:pt x="141" y="2523"/>
                </a:cubicBezTo>
                <a:cubicBezTo>
                  <a:pt x="-146" y="3143"/>
                  <a:pt x="14" y="3859"/>
                  <a:pt x="539" y="4241"/>
                </a:cubicBezTo>
                <a:cubicBezTo>
                  <a:pt x="777" y="4400"/>
                  <a:pt x="1079" y="4511"/>
                  <a:pt x="1366" y="4511"/>
                </a:cubicBezTo>
                <a:lnTo>
                  <a:pt x="5216" y="4511"/>
                </a:lnTo>
                <a:cubicBezTo>
                  <a:pt x="6075" y="4463"/>
                  <a:pt x="6600" y="3938"/>
                  <a:pt x="6600" y="3095"/>
                </a:cubicBezTo>
                <a:cubicBezTo>
                  <a:pt x="6600" y="2284"/>
                  <a:pt x="5948" y="1934"/>
                  <a:pt x="5757" y="1854"/>
                </a:cubicBezTo>
                <a:close/>
                <a:moveTo>
                  <a:pt x="5200" y="4352"/>
                </a:moveTo>
                <a:lnTo>
                  <a:pt x="1366" y="4352"/>
                </a:lnTo>
                <a:cubicBezTo>
                  <a:pt x="1111" y="4352"/>
                  <a:pt x="841" y="4257"/>
                  <a:pt x="618" y="4097"/>
                </a:cubicBezTo>
                <a:cubicBezTo>
                  <a:pt x="173" y="3779"/>
                  <a:pt x="29" y="3127"/>
                  <a:pt x="284" y="2586"/>
                </a:cubicBezTo>
                <a:cubicBezTo>
                  <a:pt x="459" y="2220"/>
                  <a:pt x="682" y="2093"/>
                  <a:pt x="793" y="2029"/>
                </a:cubicBezTo>
                <a:cubicBezTo>
                  <a:pt x="857" y="1997"/>
                  <a:pt x="905" y="1966"/>
                  <a:pt x="920" y="1918"/>
                </a:cubicBezTo>
                <a:lnTo>
                  <a:pt x="920" y="1902"/>
                </a:lnTo>
                <a:lnTo>
                  <a:pt x="920" y="1695"/>
                </a:lnTo>
                <a:cubicBezTo>
                  <a:pt x="888" y="1361"/>
                  <a:pt x="1048" y="1027"/>
                  <a:pt x="1334" y="820"/>
                </a:cubicBezTo>
                <a:cubicBezTo>
                  <a:pt x="1509" y="709"/>
                  <a:pt x="1700" y="645"/>
                  <a:pt x="1907" y="645"/>
                </a:cubicBezTo>
                <a:cubicBezTo>
                  <a:pt x="2050" y="645"/>
                  <a:pt x="2209" y="693"/>
                  <a:pt x="2352" y="756"/>
                </a:cubicBezTo>
                <a:cubicBezTo>
                  <a:pt x="2527" y="852"/>
                  <a:pt x="2511" y="862"/>
                  <a:pt x="2591" y="915"/>
                </a:cubicBezTo>
                <a:cubicBezTo>
                  <a:pt x="2607" y="932"/>
                  <a:pt x="2623" y="947"/>
                  <a:pt x="2654" y="947"/>
                </a:cubicBezTo>
                <a:cubicBezTo>
                  <a:pt x="2687" y="947"/>
                  <a:pt x="2702" y="932"/>
                  <a:pt x="2718" y="915"/>
                </a:cubicBezTo>
                <a:cubicBezTo>
                  <a:pt x="2718" y="900"/>
                  <a:pt x="2909" y="613"/>
                  <a:pt x="3084" y="470"/>
                </a:cubicBezTo>
                <a:cubicBezTo>
                  <a:pt x="3578" y="104"/>
                  <a:pt x="4325" y="41"/>
                  <a:pt x="4882" y="343"/>
                </a:cubicBezTo>
                <a:cubicBezTo>
                  <a:pt x="5359" y="613"/>
                  <a:pt x="5646" y="1138"/>
                  <a:pt x="5598" y="1679"/>
                </a:cubicBezTo>
                <a:lnTo>
                  <a:pt x="5598" y="1918"/>
                </a:lnTo>
                <a:cubicBezTo>
                  <a:pt x="5598" y="1950"/>
                  <a:pt x="5630" y="1966"/>
                  <a:pt x="5661" y="1981"/>
                </a:cubicBezTo>
                <a:cubicBezTo>
                  <a:pt x="5693" y="1997"/>
                  <a:pt x="6441" y="2268"/>
                  <a:pt x="6441" y="3095"/>
                </a:cubicBezTo>
                <a:cubicBezTo>
                  <a:pt x="6441" y="3843"/>
                  <a:pt x="5980" y="4305"/>
                  <a:pt x="5200" y="4352"/>
                </a:cubicBezTo>
                <a:close/>
                <a:moveTo>
                  <a:pt x="3752" y="2204"/>
                </a:moveTo>
                <a:lnTo>
                  <a:pt x="3100" y="2857"/>
                </a:lnTo>
                <a:lnTo>
                  <a:pt x="2830" y="2586"/>
                </a:lnTo>
                <a:cubicBezTo>
                  <a:pt x="2798" y="2554"/>
                  <a:pt x="2750" y="2554"/>
                  <a:pt x="2718" y="2586"/>
                </a:cubicBezTo>
                <a:cubicBezTo>
                  <a:pt x="2687" y="2618"/>
                  <a:pt x="2687" y="2666"/>
                  <a:pt x="2718" y="2697"/>
                </a:cubicBezTo>
                <a:lnTo>
                  <a:pt x="3036" y="3015"/>
                </a:lnTo>
                <a:cubicBezTo>
                  <a:pt x="3052" y="3032"/>
                  <a:pt x="3084" y="3048"/>
                  <a:pt x="3100" y="3048"/>
                </a:cubicBezTo>
                <a:cubicBezTo>
                  <a:pt x="3116" y="3048"/>
                  <a:pt x="3132" y="3032"/>
                  <a:pt x="3148" y="3032"/>
                </a:cubicBezTo>
                <a:lnTo>
                  <a:pt x="3148" y="3015"/>
                </a:lnTo>
                <a:lnTo>
                  <a:pt x="3864" y="2315"/>
                </a:lnTo>
                <a:cubicBezTo>
                  <a:pt x="3896" y="2284"/>
                  <a:pt x="3896" y="2236"/>
                  <a:pt x="3864" y="2204"/>
                </a:cubicBezTo>
                <a:cubicBezTo>
                  <a:pt x="3832" y="2172"/>
                  <a:pt x="3784" y="2172"/>
                  <a:pt x="3752" y="2204"/>
                </a:cubicBezTo>
                <a:close/>
                <a:moveTo>
                  <a:pt x="3291" y="1504"/>
                </a:moveTo>
                <a:cubicBezTo>
                  <a:pt x="2670" y="1504"/>
                  <a:pt x="2177" y="1997"/>
                  <a:pt x="2177" y="2618"/>
                </a:cubicBezTo>
                <a:cubicBezTo>
                  <a:pt x="2177" y="3223"/>
                  <a:pt x="2670" y="3715"/>
                  <a:pt x="3291" y="3715"/>
                </a:cubicBezTo>
                <a:cubicBezTo>
                  <a:pt x="3896" y="3715"/>
                  <a:pt x="4405" y="3223"/>
                  <a:pt x="4405" y="2618"/>
                </a:cubicBezTo>
                <a:cubicBezTo>
                  <a:pt x="4405" y="1997"/>
                  <a:pt x="3896" y="1504"/>
                  <a:pt x="3291" y="1504"/>
                </a:cubicBezTo>
                <a:close/>
                <a:moveTo>
                  <a:pt x="3291" y="3557"/>
                </a:moveTo>
                <a:cubicBezTo>
                  <a:pt x="2766" y="3557"/>
                  <a:pt x="2336" y="3143"/>
                  <a:pt x="2336" y="2618"/>
                </a:cubicBezTo>
                <a:cubicBezTo>
                  <a:pt x="2336" y="2093"/>
                  <a:pt x="2766" y="1663"/>
                  <a:pt x="3291" y="1663"/>
                </a:cubicBezTo>
                <a:cubicBezTo>
                  <a:pt x="3816" y="1663"/>
                  <a:pt x="4246" y="2093"/>
                  <a:pt x="4246" y="2618"/>
                </a:cubicBezTo>
                <a:cubicBezTo>
                  <a:pt x="4246" y="3143"/>
                  <a:pt x="3816" y="3557"/>
                  <a:pt x="3291" y="355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Freeform: Shape 4">
            <a:extLst>
              <a:ext uri="{FF2B5EF4-FFF2-40B4-BE49-F238E27FC236}">
                <a16:creationId xmlns:a16="http://schemas.microsoft.com/office/drawing/2014/main" id="{930F085E-C4CE-7B42-AD7A-118AB353BC06}"/>
              </a:ext>
            </a:extLst>
          </p:cNvPr>
          <p:cNvSpPr/>
          <p:nvPr/>
        </p:nvSpPr>
        <p:spPr>
          <a:xfrm>
            <a:off x="1409157" y="2913667"/>
            <a:ext cx="2375640" cy="1620720"/>
          </a:xfrm>
          <a:custGeom>
            <a:avLst/>
            <a:gdLst/>
            <a:ahLst/>
            <a:cxnLst>
              <a:cxn ang="3cd4">
                <a:pos x="hc" y="t"/>
              </a:cxn>
              <a:cxn ang="cd2">
                <a:pos x="l" y="vc"/>
              </a:cxn>
              <a:cxn ang="cd4">
                <a:pos x="hc" y="b"/>
              </a:cxn>
              <a:cxn ang="0">
                <a:pos x="r" y="vc"/>
              </a:cxn>
            </a:cxnLst>
            <a:rect l="l" t="t" r="r" b="b"/>
            <a:pathLst>
              <a:path w="6600" h="4503">
                <a:moveTo>
                  <a:pt x="539" y="4233"/>
                </a:moveTo>
                <a:cubicBezTo>
                  <a:pt x="777" y="4408"/>
                  <a:pt x="1080" y="4503"/>
                  <a:pt x="1366" y="4503"/>
                </a:cubicBezTo>
                <a:cubicBezTo>
                  <a:pt x="5216" y="4503"/>
                  <a:pt x="5216" y="4503"/>
                  <a:pt x="5216" y="4503"/>
                </a:cubicBezTo>
                <a:cubicBezTo>
                  <a:pt x="6075" y="4455"/>
                  <a:pt x="6600" y="3930"/>
                  <a:pt x="6600" y="3103"/>
                </a:cubicBezTo>
                <a:cubicBezTo>
                  <a:pt x="6600" y="2291"/>
                  <a:pt x="5948" y="1942"/>
                  <a:pt x="5757" y="1862"/>
                </a:cubicBezTo>
                <a:cubicBezTo>
                  <a:pt x="5757" y="1799"/>
                  <a:pt x="5757" y="1703"/>
                  <a:pt x="5757" y="1687"/>
                </a:cubicBezTo>
                <a:cubicBezTo>
                  <a:pt x="5805" y="1099"/>
                  <a:pt x="5487" y="494"/>
                  <a:pt x="4962" y="208"/>
                </a:cubicBezTo>
                <a:cubicBezTo>
                  <a:pt x="4341" y="-111"/>
                  <a:pt x="3530" y="-63"/>
                  <a:pt x="2989" y="351"/>
                </a:cubicBezTo>
                <a:cubicBezTo>
                  <a:pt x="2845" y="462"/>
                  <a:pt x="2718" y="653"/>
                  <a:pt x="2639" y="748"/>
                </a:cubicBezTo>
                <a:cubicBezTo>
                  <a:pt x="2591" y="717"/>
                  <a:pt x="2527" y="669"/>
                  <a:pt x="2416" y="621"/>
                </a:cubicBezTo>
                <a:cubicBezTo>
                  <a:pt x="2050" y="430"/>
                  <a:pt x="1605" y="462"/>
                  <a:pt x="1254" y="700"/>
                </a:cubicBezTo>
                <a:cubicBezTo>
                  <a:pt x="905" y="939"/>
                  <a:pt x="730" y="1305"/>
                  <a:pt x="762" y="1719"/>
                </a:cubicBezTo>
                <a:cubicBezTo>
                  <a:pt x="762" y="1735"/>
                  <a:pt x="762" y="1814"/>
                  <a:pt x="762" y="1862"/>
                </a:cubicBezTo>
                <a:cubicBezTo>
                  <a:pt x="745" y="1878"/>
                  <a:pt x="730" y="1878"/>
                  <a:pt x="730" y="1894"/>
                </a:cubicBezTo>
                <a:cubicBezTo>
                  <a:pt x="602" y="1957"/>
                  <a:pt x="348" y="2101"/>
                  <a:pt x="141" y="2514"/>
                </a:cubicBezTo>
                <a:cubicBezTo>
                  <a:pt x="-146" y="3151"/>
                  <a:pt x="14" y="3867"/>
                  <a:pt x="539" y="4233"/>
                </a:cubicBezTo>
                <a:close/>
                <a:moveTo>
                  <a:pt x="284" y="2594"/>
                </a:moveTo>
                <a:cubicBezTo>
                  <a:pt x="459" y="2212"/>
                  <a:pt x="682" y="2101"/>
                  <a:pt x="793" y="2021"/>
                </a:cubicBezTo>
                <a:cubicBezTo>
                  <a:pt x="857" y="1990"/>
                  <a:pt x="905" y="1973"/>
                  <a:pt x="920" y="1926"/>
                </a:cubicBezTo>
                <a:cubicBezTo>
                  <a:pt x="920" y="1910"/>
                  <a:pt x="920" y="1910"/>
                  <a:pt x="920" y="1894"/>
                </a:cubicBezTo>
                <a:cubicBezTo>
                  <a:pt x="920" y="1894"/>
                  <a:pt x="920" y="1735"/>
                  <a:pt x="920" y="1703"/>
                </a:cubicBezTo>
                <a:cubicBezTo>
                  <a:pt x="889" y="1353"/>
                  <a:pt x="1048" y="1035"/>
                  <a:pt x="1350" y="828"/>
                </a:cubicBezTo>
                <a:cubicBezTo>
                  <a:pt x="1509" y="717"/>
                  <a:pt x="1716" y="653"/>
                  <a:pt x="1907" y="653"/>
                </a:cubicBezTo>
                <a:cubicBezTo>
                  <a:pt x="2050" y="653"/>
                  <a:pt x="2209" y="685"/>
                  <a:pt x="2353" y="764"/>
                </a:cubicBezTo>
                <a:cubicBezTo>
                  <a:pt x="2527" y="844"/>
                  <a:pt x="2591" y="923"/>
                  <a:pt x="2591" y="923"/>
                </a:cubicBezTo>
                <a:cubicBezTo>
                  <a:pt x="2607" y="939"/>
                  <a:pt x="2639" y="955"/>
                  <a:pt x="2655" y="955"/>
                </a:cubicBezTo>
                <a:cubicBezTo>
                  <a:pt x="2687" y="955"/>
                  <a:pt x="2702" y="939"/>
                  <a:pt x="2718" y="908"/>
                </a:cubicBezTo>
                <a:cubicBezTo>
                  <a:pt x="2718" y="908"/>
                  <a:pt x="2909" y="621"/>
                  <a:pt x="3084" y="478"/>
                </a:cubicBezTo>
                <a:cubicBezTo>
                  <a:pt x="3578" y="96"/>
                  <a:pt x="4325" y="48"/>
                  <a:pt x="4882" y="351"/>
                </a:cubicBezTo>
                <a:cubicBezTo>
                  <a:pt x="5359" y="605"/>
                  <a:pt x="5646" y="1146"/>
                  <a:pt x="5598" y="1671"/>
                </a:cubicBezTo>
                <a:cubicBezTo>
                  <a:pt x="5598" y="1687"/>
                  <a:pt x="5598" y="1767"/>
                  <a:pt x="5598" y="1910"/>
                </a:cubicBezTo>
                <a:cubicBezTo>
                  <a:pt x="5598" y="1942"/>
                  <a:pt x="5630" y="1973"/>
                  <a:pt x="5662" y="1990"/>
                </a:cubicBezTo>
                <a:cubicBezTo>
                  <a:pt x="5693" y="2005"/>
                  <a:pt x="6441" y="2260"/>
                  <a:pt x="6441" y="3103"/>
                </a:cubicBezTo>
                <a:cubicBezTo>
                  <a:pt x="6441" y="3851"/>
                  <a:pt x="5996" y="4312"/>
                  <a:pt x="5216" y="4344"/>
                </a:cubicBezTo>
                <a:cubicBezTo>
                  <a:pt x="1366" y="4344"/>
                  <a:pt x="1366" y="4344"/>
                  <a:pt x="1366" y="4344"/>
                </a:cubicBezTo>
                <a:cubicBezTo>
                  <a:pt x="1111" y="4344"/>
                  <a:pt x="841" y="4264"/>
                  <a:pt x="634" y="4105"/>
                </a:cubicBezTo>
                <a:cubicBezTo>
                  <a:pt x="173" y="3787"/>
                  <a:pt x="29" y="3135"/>
                  <a:pt x="284" y="259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5">
            <a:extLst>
              <a:ext uri="{FF2B5EF4-FFF2-40B4-BE49-F238E27FC236}">
                <a16:creationId xmlns:a16="http://schemas.microsoft.com/office/drawing/2014/main" id="{9592EA69-FA07-FA45-9E11-50941075AAE6}"/>
              </a:ext>
            </a:extLst>
          </p:cNvPr>
          <p:cNvSpPr/>
          <p:nvPr/>
        </p:nvSpPr>
        <p:spPr>
          <a:xfrm>
            <a:off x="16866862" y="9596777"/>
            <a:ext cx="2376000" cy="1623240"/>
          </a:xfrm>
          <a:custGeom>
            <a:avLst/>
            <a:gdLst/>
            <a:ahLst/>
            <a:cxnLst>
              <a:cxn ang="3cd4">
                <a:pos x="hc" y="t"/>
              </a:cxn>
              <a:cxn ang="cd2">
                <a:pos x="l" y="vc"/>
              </a:cxn>
              <a:cxn ang="cd4">
                <a:pos x="hc" y="b"/>
              </a:cxn>
              <a:cxn ang="0">
                <a:pos x="r" y="vc"/>
              </a:cxn>
            </a:cxnLst>
            <a:rect l="l" t="t" r="r" b="b"/>
            <a:pathLst>
              <a:path w="6601" h="4510">
                <a:moveTo>
                  <a:pt x="2289" y="3984"/>
                </a:moveTo>
                <a:cubicBezTo>
                  <a:pt x="2623" y="3984"/>
                  <a:pt x="2894" y="3794"/>
                  <a:pt x="2894" y="3539"/>
                </a:cubicBezTo>
                <a:lnTo>
                  <a:pt x="2894" y="3523"/>
                </a:lnTo>
                <a:lnTo>
                  <a:pt x="2894" y="2139"/>
                </a:lnTo>
                <a:lnTo>
                  <a:pt x="4453" y="1789"/>
                </a:lnTo>
                <a:lnTo>
                  <a:pt x="4453" y="2919"/>
                </a:lnTo>
                <a:cubicBezTo>
                  <a:pt x="4342" y="2839"/>
                  <a:pt x="4183" y="2792"/>
                  <a:pt x="4008" y="2792"/>
                </a:cubicBezTo>
                <a:cubicBezTo>
                  <a:pt x="3657" y="2792"/>
                  <a:pt x="3387" y="2983"/>
                  <a:pt x="3387" y="3221"/>
                </a:cubicBezTo>
                <a:cubicBezTo>
                  <a:pt x="3387" y="3460"/>
                  <a:pt x="3657" y="3666"/>
                  <a:pt x="4008" y="3666"/>
                </a:cubicBezTo>
                <a:cubicBezTo>
                  <a:pt x="4342" y="3666"/>
                  <a:pt x="4612" y="3460"/>
                  <a:pt x="4612" y="3221"/>
                </a:cubicBezTo>
                <a:lnTo>
                  <a:pt x="4612" y="3205"/>
                </a:lnTo>
                <a:lnTo>
                  <a:pt x="4612" y="1264"/>
                </a:lnTo>
                <a:cubicBezTo>
                  <a:pt x="4612" y="1248"/>
                  <a:pt x="4612" y="1216"/>
                  <a:pt x="4596" y="1201"/>
                </a:cubicBezTo>
                <a:cubicBezTo>
                  <a:pt x="4565" y="1184"/>
                  <a:pt x="4548" y="1184"/>
                  <a:pt x="4517" y="1184"/>
                </a:cubicBezTo>
                <a:lnTo>
                  <a:pt x="2799" y="1598"/>
                </a:lnTo>
                <a:lnTo>
                  <a:pt x="2799" y="1614"/>
                </a:lnTo>
                <a:lnTo>
                  <a:pt x="2783" y="1614"/>
                </a:lnTo>
                <a:cubicBezTo>
                  <a:pt x="2767" y="1614"/>
                  <a:pt x="2767" y="1614"/>
                  <a:pt x="2767" y="1630"/>
                </a:cubicBezTo>
                <a:lnTo>
                  <a:pt x="2751" y="1630"/>
                </a:lnTo>
                <a:lnTo>
                  <a:pt x="2751" y="1646"/>
                </a:lnTo>
                <a:lnTo>
                  <a:pt x="2751" y="1662"/>
                </a:lnTo>
                <a:lnTo>
                  <a:pt x="2735" y="1662"/>
                </a:lnTo>
                <a:lnTo>
                  <a:pt x="2735" y="1678"/>
                </a:lnTo>
                <a:lnTo>
                  <a:pt x="2735" y="3253"/>
                </a:lnTo>
                <a:cubicBezTo>
                  <a:pt x="2623" y="3157"/>
                  <a:pt x="2465" y="3110"/>
                  <a:pt x="2289" y="3110"/>
                </a:cubicBezTo>
                <a:cubicBezTo>
                  <a:pt x="1939" y="3110"/>
                  <a:pt x="1669" y="3301"/>
                  <a:pt x="1669" y="3539"/>
                </a:cubicBezTo>
                <a:cubicBezTo>
                  <a:pt x="1669" y="3794"/>
                  <a:pt x="1939" y="3984"/>
                  <a:pt x="2289" y="3984"/>
                </a:cubicBezTo>
                <a:close/>
                <a:moveTo>
                  <a:pt x="4008" y="3507"/>
                </a:moveTo>
                <a:cubicBezTo>
                  <a:pt x="3753" y="3507"/>
                  <a:pt x="3546" y="3380"/>
                  <a:pt x="3546" y="3221"/>
                </a:cubicBezTo>
                <a:cubicBezTo>
                  <a:pt x="3546" y="3078"/>
                  <a:pt x="3753" y="2950"/>
                  <a:pt x="4008" y="2950"/>
                </a:cubicBezTo>
                <a:cubicBezTo>
                  <a:pt x="4247" y="2950"/>
                  <a:pt x="4453" y="3078"/>
                  <a:pt x="4453" y="3221"/>
                </a:cubicBezTo>
                <a:cubicBezTo>
                  <a:pt x="4453" y="3380"/>
                  <a:pt x="4247" y="3507"/>
                  <a:pt x="4008" y="3507"/>
                </a:cubicBezTo>
                <a:close/>
                <a:moveTo>
                  <a:pt x="4453" y="1630"/>
                </a:moveTo>
                <a:lnTo>
                  <a:pt x="2894" y="1980"/>
                </a:lnTo>
                <a:lnTo>
                  <a:pt x="2894" y="1741"/>
                </a:lnTo>
                <a:lnTo>
                  <a:pt x="4453" y="1375"/>
                </a:lnTo>
                <a:close/>
                <a:moveTo>
                  <a:pt x="2289" y="3269"/>
                </a:moveTo>
                <a:cubicBezTo>
                  <a:pt x="2528" y="3269"/>
                  <a:pt x="2735" y="3396"/>
                  <a:pt x="2735" y="3539"/>
                </a:cubicBezTo>
                <a:cubicBezTo>
                  <a:pt x="2735" y="3698"/>
                  <a:pt x="2528" y="3826"/>
                  <a:pt x="2289" y="3826"/>
                </a:cubicBezTo>
                <a:cubicBezTo>
                  <a:pt x="2035" y="3826"/>
                  <a:pt x="1828" y="3698"/>
                  <a:pt x="1828" y="3539"/>
                </a:cubicBezTo>
                <a:cubicBezTo>
                  <a:pt x="1828" y="3396"/>
                  <a:pt x="2035" y="3269"/>
                  <a:pt x="2289" y="3269"/>
                </a:cubicBezTo>
                <a:close/>
                <a:moveTo>
                  <a:pt x="539" y="4239"/>
                </a:moveTo>
                <a:cubicBezTo>
                  <a:pt x="778" y="4414"/>
                  <a:pt x="1080" y="4510"/>
                  <a:pt x="1366" y="4510"/>
                </a:cubicBezTo>
                <a:lnTo>
                  <a:pt x="5217" y="4510"/>
                </a:lnTo>
                <a:cubicBezTo>
                  <a:pt x="6076" y="4462"/>
                  <a:pt x="6601" y="3937"/>
                  <a:pt x="6601" y="3110"/>
                </a:cubicBezTo>
                <a:cubicBezTo>
                  <a:pt x="6601" y="2298"/>
                  <a:pt x="5949" y="1948"/>
                  <a:pt x="5758" y="1869"/>
                </a:cubicBezTo>
                <a:lnTo>
                  <a:pt x="5758" y="1693"/>
                </a:lnTo>
                <a:cubicBezTo>
                  <a:pt x="5805" y="1105"/>
                  <a:pt x="5487" y="501"/>
                  <a:pt x="4962" y="214"/>
                </a:cubicBezTo>
                <a:cubicBezTo>
                  <a:pt x="4358" y="-120"/>
                  <a:pt x="3530" y="-56"/>
                  <a:pt x="2990" y="357"/>
                </a:cubicBezTo>
                <a:cubicBezTo>
                  <a:pt x="2846" y="468"/>
                  <a:pt x="2719" y="644"/>
                  <a:pt x="2639" y="755"/>
                </a:cubicBezTo>
                <a:cubicBezTo>
                  <a:pt x="2592" y="723"/>
                  <a:pt x="2528" y="675"/>
                  <a:pt x="2417" y="628"/>
                </a:cubicBezTo>
                <a:cubicBezTo>
                  <a:pt x="2051" y="437"/>
                  <a:pt x="1605" y="468"/>
                  <a:pt x="1255" y="707"/>
                </a:cubicBezTo>
                <a:cubicBezTo>
                  <a:pt x="905" y="930"/>
                  <a:pt x="730" y="1312"/>
                  <a:pt x="762" y="1726"/>
                </a:cubicBezTo>
                <a:lnTo>
                  <a:pt x="762" y="1869"/>
                </a:lnTo>
                <a:cubicBezTo>
                  <a:pt x="746" y="1884"/>
                  <a:pt x="730" y="1884"/>
                  <a:pt x="730" y="1901"/>
                </a:cubicBezTo>
                <a:cubicBezTo>
                  <a:pt x="603" y="1964"/>
                  <a:pt x="348" y="2107"/>
                  <a:pt x="141" y="2521"/>
                </a:cubicBezTo>
                <a:cubicBezTo>
                  <a:pt x="-145" y="3157"/>
                  <a:pt x="14" y="3873"/>
                  <a:pt x="539" y="4239"/>
                </a:cubicBezTo>
                <a:close/>
                <a:moveTo>
                  <a:pt x="285" y="2601"/>
                </a:moveTo>
                <a:cubicBezTo>
                  <a:pt x="460" y="2219"/>
                  <a:pt x="683" y="2092"/>
                  <a:pt x="794" y="2028"/>
                </a:cubicBezTo>
                <a:cubicBezTo>
                  <a:pt x="857" y="1996"/>
                  <a:pt x="905" y="1980"/>
                  <a:pt x="921" y="1932"/>
                </a:cubicBezTo>
                <a:lnTo>
                  <a:pt x="921" y="1901"/>
                </a:lnTo>
                <a:lnTo>
                  <a:pt x="921" y="1710"/>
                </a:lnTo>
                <a:cubicBezTo>
                  <a:pt x="889" y="1359"/>
                  <a:pt x="1048" y="1041"/>
                  <a:pt x="1351" y="835"/>
                </a:cubicBezTo>
                <a:cubicBezTo>
                  <a:pt x="1510" y="723"/>
                  <a:pt x="1717" y="659"/>
                  <a:pt x="1908" y="659"/>
                </a:cubicBezTo>
                <a:cubicBezTo>
                  <a:pt x="2066" y="659"/>
                  <a:pt x="2210" y="691"/>
                  <a:pt x="2353" y="771"/>
                </a:cubicBezTo>
                <a:cubicBezTo>
                  <a:pt x="2528" y="850"/>
                  <a:pt x="2512" y="877"/>
                  <a:pt x="2592" y="930"/>
                </a:cubicBezTo>
                <a:cubicBezTo>
                  <a:pt x="2608" y="946"/>
                  <a:pt x="2639" y="962"/>
                  <a:pt x="2656" y="962"/>
                </a:cubicBezTo>
                <a:cubicBezTo>
                  <a:pt x="2687" y="962"/>
                  <a:pt x="2703" y="946"/>
                  <a:pt x="2719" y="914"/>
                </a:cubicBezTo>
                <a:cubicBezTo>
                  <a:pt x="2841" y="771"/>
                  <a:pt x="2910" y="628"/>
                  <a:pt x="3085" y="484"/>
                </a:cubicBezTo>
                <a:cubicBezTo>
                  <a:pt x="3578" y="102"/>
                  <a:pt x="4326" y="55"/>
                  <a:pt x="4883" y="357"/>
                </a:cubicBezTo>
                <a:cubicBezTo>
                  <a:pt x="5360" y="612"/>
                  <a:pt x="5647" y="1153"/>
                  <a:pt x="5599" y="1678"/>
                </a:cubicBezTo>
                <a:lnTo>
                  <a:pt x="5599" y="1916"/>
                </a:lnTo>
                <a:cubicBezTo>
                  <a:pt x="5615" y="1948"/>
                  <a:pt x="5630" y="1980"/>
                  <a:pt x="5662" y="1996"/>
                </a:cubicBezTo>
                <a:cubicBezTo>
                  <a:pt x="5694" y="1996"/>
                  <a:pt x="6442" y="2266"/>
                  <a:pt x="6442" y="3110"/>
                </a:cubicBezTo>
                <a:cubicBezTo>
                  <a:pt x="6442" y="3857"/>
                  <a:pt x="5996" y="4319"/>
                  <a:pt x="5217" y="4351"/>
                </a:cubicBezTo>
                <a:lnTo>
                  <a:pt x="1366" y="4351"/>
                </a:lnTo>
                <a:cubicBezTo>
                  <a:pt x="1112" y="4351"/>
                  <a:pt x="842" y="4271"/>
                  <a:pt x="635" y="4112"/>
                </a:cubicBezTo>
                <a:cubicBezTo>
                  <a:pt x="174" y="3794"/>
                  <a:pt x="30" y="3141"/>
                  <a:pt x="285" y="260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3" name="Freeform: Shape 8">
            <a:extLst>
              <a:ext uri="{FF2B5EF4-FFF2-40B4-BE49-F238E27FC236}">
                <a16:creationId xmlns:a16="http://schemas.microsoft.com/office/drawing/2014/main" id="{819A96D2-586C-384B-AD09-D17CCABD2CFF}"/>
              </a:ext>
            </a:extLst>
          </p:cNvPr>
          <p:cNvSpPr/>
          <p:nvPr/>
        </p:nvSpPr>
        <p:spPr>
          <a:xfrm>
            <a:off x="9559691" y="2911508"/>
            <a:ext cx="2376360" cy="1625039"/>
          </a:xfrm>
          <a:custGeom>
            <a:avLst/>
            <a:gdLst/>
            <a:ahLst/>
            <a:cxnLst>
              <a:cxn ang="3cd4">
                <a:pos x="hc" y="t"/>
              </a:cxn>
              <a:cxn ang="cd2">
                <a:pos x="l" y="vc"/>
              </a:cxn>
              <a:cxn ang="cd4">
                <a:pos x="hc" y="b"/>
              </a:cxn>
              <a:cxn ang="0">
                <a:pos x="r" y="vc"/>
              </a:cxn>
            </a:cxnLst>
            <a:rect l="l" t="t" r="r" b="b"/>
            <a:pathLst>
              <a:path w="6602" h="4515">
                <a:moveTo>
                  <a:pt x="556" y="4244"/>
                </a:moveTo>
                <a:cubicBezTo>
                  <a:pt x="795" y="4403"/>
                  <a:pt x="1097" y="4515"/>
                  <a:pt x="1384" y="4515"/>
                </a:cubicBezTo>
                <a:lnTo>
                  <a:pt x="5218" y="4515"/>
                </a:lnTo>
                <a:cubicBezTo>
                  <a:pt x="6077" y="4467"/>
                  <a:pt x="6602" y="3942"/>
                  <a:pt x="6602" y="3115"/>
                </a:cubicBezTo>
                <a:cubicBezTo>
                  <a:pt x="6602" y="2335"/>
                  <a:pt x="6014" y="2033"/>
                  <a:pt x="5823" y="1937"/>
                </a:cubicBezTo>
                <a:cubicBezTo>
                  <a:pt x="5807" y="1937"/>
                  <a:pt x="5802" y="1926"/>
                  <a:pt x="5791" y="1921"/>
                </a:cubicBezTo>
                <a:cubicBezTo>
                  <a:pt x="5743" y="1889"/>
                  <a:pt x="5759" y="1778"/>
                  <a:pt x="5759" y="1730"/>
                </a:cubicBezTo>
                <a:lnTo>
                  <a:pt x="5759" y="1698"/>
                </a:lnTo>
                <a:cubicBezTo>
                  <a:pt x="5823" y="1110"/>
                  <a:pt x="5489" y="505"/>
                  <a:pt x="4963" y="219"/>
                </a:cubicBezTo>
                <a:cubicBezTo>
                  <a:pt x="4327" y="-115"/>
                  <a:pt x="3484" y="-67"/>
                  <a:pt x="3007" y="362"/>
                </a:cubicBezTo>
                <a:cubicBezTo>
                  <a:pt x="2927" y="426"/>
                  <a:pt x="2879" y="505"/>
                  <a:pt x="2816" y="585"/>
                </a:cubicBezTo>
                <a:lnTo>
                  <a:pt x="2799" y="601"/>
                </a:lnTo>
                <a:cubicBezTo>
                  <a:pt x="2784" y="633"/>
                  <a:pt x="2752" y="680"/>
                  <a:pt x="2720" y="696"/>
                </a:cubicBezTo>
                <a:cubicBezTo>
                  <a:pt x="2609" y="728"/>
                  <a:pt x="2561" y="696"/>
                  <a:pt x="2465" y="649"/>
                </a:cubicBezTo>
                <a:lnTo>
                  <a:pt x="2434" y="633"/>
                </a:lnTo>
                <a:cubicBezTo>
                  <a:pt x="2052" y="426"/>
                  <a:pt x="1590" y="473"/>
                  <a:pt x="1241" y="728"/>
                </a:cubicBezTo>
                <a:cubicBezTo>
                  <a:pt x="890" y="983"/>
                  <a:pt x="716" y="1396"/>
                  <a:pt x="779" y="1810"/>
                </a:cubicBezTo>
                <a:cubicBezTo>
                  <a:pt x="795" y="1889"/>
                  <a:pt x="763" y="1921"/>
                  <a:pt x="668" y="2001"/>
                </a:cubicBezTo>
                <a:cubicBezTo>
                  <a:pt x="477" y="2144"/>
                  <a:pt x="286" y="2303"/>
                  <a:pt x="159" y="2526"/>
                </a:cubicBezTo>
                <a:cubicBezTo>
                  <a:pt x="-160" y="3098"/>
                  <a:pt x="16" y="3862"/>
                  <a:pt x="556" y="4244"/>
                </a:cubicBezTo>
                <a:close/>
                <a:moveTo>
                  <a:pt x="302" y="2606"/>
                </a:moveTo>
                <a:cubicBezTo>
                  <a:pt x="413" y="2415"/>
                  <a:pt x="588" y="2255"/>
                  <a:pt x="763" y="2128"/>
                </a:cubicBezTo>
                <a:cubicBezTo>
                  <a:pt x="843" y="2064"/>
                  <a:pt x="970" y="1969"/>
                  <a:pt x="938" y="1794"/>
                </a:cubicBezTo>
                <a:cubicBezTo>
                  <a:pt x="874" y="1428"/>
                  <a:pt x="1034" y="1078"/>
                  <a:pt x="1336" y="855"/>
                </a:cubicBezTo>
                <a:cubicBezTo>
                  <a:pt x="1511" y="728"/>
                  <a:pt x="1718" y="664"/>
                  <a:pt x="1925" y="664"/>
                </a:cubicBezTo>
                <a:cubicBezTo>
                  <a:pt x="2068" y="664"/>
                  <a:pt x="2227" y="696"/>
                  <a:pt x="2370" y="776"/>
                </a:cubicBezTo>
                <a:lnTo>
                  <a:pt x="2402" y="792"/>
                </a:lnTo>
                <a:cubicBezTo>
                  <a:pt x="2498" y="839"/>
                  <a:pt x="2593" y="887"/>
                  <a:pt x="2752" y="839"/>
                </a:cubicBezTo>
                <a:cubicBezTo>
                  <a:pt x="2847" y="824"/>
                  <a:pt x="2895" y="744"/>
                  <a:pt x="2927" y="696"/>
                </a:cubicBezTo>
                <a:lnTo>
                  <a:pt x="2959" y="664"/>
                </a:lnTo>
                <a:cubicBezTo>
                  <a:pt x="3007" y="601"/>
                  <a:pt x="3054" y="537"/>
                  <a:pt x="3102" y="489"/>
                </a:cubicBezTo>
                <a:cubicBezTo>
                  <a:pt x="3611" y="44"/>
                  <a:pt x="4390" y="92"/>
                  <a:pt x="4884" y="362"/>
                </a:cubicBezTo>
                <a:cubicBezTo>
                  <a:pt x="5361" y="616"/>
                  <a:pt x="5647" y="1158"/>
                  <a:pt x="5600" y="1683"/>
                </a:cubicBezTo>
                <a:lnTo>
                  <a:pt x="5600" y="1698"/>
                </a:lnTo>
                <a:cubicBezTo>
                  <a:pt x="5584" y="1778"/>
                  <a:pt x="5568" y="1969"/>
                  <a:pt x="5695" y="2049"/>
                </a:cubicBezTo>
                <a:cubicBezTo>
                  <a:pt x="5711" y="2064"/>
                  <a:pt x="5727" y="2064"/>
                  <a:pt x="5759" y="2080"/>
                </a:cubicBezTo>
                <a:cubicBezTo>
                  <a:pt x="5950" y="2176"/>
                  <a:pt x="6443" y="2430"/>
                  <a:pt x="6443" y="3115"/>
                </a:cubicBezTo>
                <a:cubicBezTo>
                  <a:pt x="6443" y="3846"/>
                  <a:pt x="5998" y="4308"/>
                  <a:pt x="5218" y="4355"/>
                </a:cubicBezTo>
                <a:lnTo>
                  <a:pt x="1384" y="4355"/>
                </a:lnTo>
                <a:cubicBezTo>
                  <a:pt x="1129" y="4355"/>
                  <a:pt x="859" y="4260"/>
                  <a:pt x="652" y="4101"/>
                </a:cubicBezTo>
                <a:cubicBezTo>
                  <a:pt x="174" y="3767"/>
                  <a:pt x="31" y="3115"/>
                  <a:pt x="302" y="2606"/>
                </a:cubicBezTo>
                <a:close/>
                <a:moveTo>
                  <a:pt x="3309" y="3735"/>
                </a:moveTo>
                <a:cubicBezTo>
                  <a:pt x="3913" y="3735"/>
                  <a:pt x="4406" y="3226"/>
                  <a:pt x="4406" y="2621"/>
                </a:cubicBezTo>
                <a:cubicBezTo>
                  <a:pt x="4406" y="2001"/>
                  <a:pt x="3913" y="1507"/>
                  <a:pt x="3309" y="1507"/>
                </a:cubicBezTo>
                <a:cubicBezTo>
                  <a:pt x="2688" y="1507"/>
                  <a:pt x="2195" y="2001"/>
                  <a:pt x="2195" y="2621"/>
                </a:cubicBezTo>
                <a:cubicBezTo>
                  <a:pt x="2195" y="3226"/>
                  <a:pt x="2688" y="3735"/>
                  <a:pt x="3309" y="3735"/>
                </a:cubicBezTo>
                <a:close/>
                <a:moveTo>
                  <a:pt x="3309" y="1667"/>
                </a:moveTo>
                <a:cubicBezTo>
                  <a:pt x="3818" y="1667"/>
                  <a:pt x="4247" y="2096"/>
                  <a:pt x="4247" y="2621"/>
                </a:cubicBezTo>
                <a:cubicBezTo>
                  <a:pt x="4247" y="3146"/>
                  <a:pt x="3818" y="3576"/>
                  <a:pt x="3309" y="3576"/>
                </a:cubicBezTo>
                <a:cubicBezTo>
                  <a:pt x="2784" y="3576"/>
                  <a:pt x="2354" y="3146"/>
                  <a:pt x="2354" y="2621"/>
                </a:cubicBezTo>
                <a:cubicBezTo>
                  <a:pt x="2354" y="2096"/>
                  <a:pt x="2784" y="1667"/>
                  <a:pt x="3309" y="1667"/>
                </a:cubicBezTo>
                <a:close/>
                <a:moveTo>
                  <a:pt x="2847" y="2844"/>
                </a:moveTo>
                <a:lnTo>
                  <a:pt x="3261" y="3162"/>
                </a:lnTo>
                <a:cubicBezTo>
                  <a:pt x="3277" y="3178"/>
                  <a:pt x="3293" y="3178"/>
                  <a:pt x="3309" y="3178"/>
                </a:cubicBezTo>
                <a:cubicBezTo>
                  <a:pt x="3325" y="3178"/>
                  <a:pt x="3341" y="3178"/>
                  <a:pt x="3356" y="3162"/>
                </a:cubicBezTo>
                <a:lnTo>
                  <a:pt x="3754" y="2844"/>
                </a:lnTo>
                <a:cubicBezTo>
                  <a:pt x="3802" y="2828"/>
                  <a:pt x="3802" y="2764"/>
                  <a:pt x="3770" y="2733"/>
                </a:cubicBezTo>
                <a:cubicBezTo>
                  <a:pt x="3754" y="2701"/>
                  <a:pt x="3690" y="2701"/>
                  <a:pt x="3659" y="2717"/>
                </a:cubicBezTo>
                <a:lnTo>
                  <a:pt x="3388" y="2940"/>
                </a:lnTo>
                <a:lnTo>
                  <a:pt x="3388" y="2064"/>
                </a:lnTo>
                <a:cubicBezTo>
                  <a:pt x="3388" y="2017"/>
                  <a:pt x="3341" y="1985"/>
                  <a:pt x="3309" y="1985"/>
                </a:cubicBezTo>
                <a:cubicBezTo>
                  <a:pt x="3261" y="1985"/>
                  <a:pt x="3229" y="2017"/>
                  <a:pt x="3229" y="2064"/>
                </a:cubicBezTo>
                <a:lnTo>
                  <a:pt x="3229" y="2940"/>
                </a:lnTo>
                <a:lnTo>
                  <a:pt x="2943" y="2717"/>
                </a:lnTo>
                <a:cubicBezTo>
                  <a:pt x="2911" y="2701"/>
                  <a:pt x="2863" y="2701"/>
                  <a:pt x="2832" y="2733"/>
                </a:cubicBezTo>
                <a:cubicBezTo>
                  <a:pt x="2799" y="2764"/>
                  <a:pt x="2816" y="2828"/>
                  <a:pt x="2847" y="284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4" name="Freeform: Shape 11">
            <a:extLst>
              <a:ext uri="{FF2B5EF4-FFF2-40B4-BE49-F238E27FC236}">
                <a16:creationId xmlns:a16="http://schemas.microsoft.com/office/drawing/2014/main" id="{5A2AD9A0-94F4-4543-868C-A14722EC5959}"/>
              </a:ext>
            </a:extLst>
          </p:cNvPr>
          <p:cNvSpPr/>
          <p:nvPr/>
        </p:nvSpPr>
        <p:spPr>
          <a:xfrm>
            <a:off x="5559779" y="2912587"/>
            <a:ext cx="2376360" cy="1622880"/>
          </a:xfrm>
          <a:custGeom>
            <a:avLst/>
            <a:gdLst/>
            <a:ahLst/>
            <a:cxnLst>
              <a:cxn ang="3cd4">
                <a:pos x="hc" y="t"/>
              </a:cxn>
              <a:cxn ang="cd2">
                <a:pos x="l" y="vc"/>
              </a:cxn>
              <a:cxn ang="cd4">
                <a:pos x="hc" y="b"/>
              </a:cxn>
              <a:cxn ang="0">
                <a:pos x="r" y="vc"/>
              </a:cxn>
            </a:cxnLst>
            <a:rect l="l" t="t" r="r" b="b"/>
            <a:pathLst>
              <a:path w="6602" h="4509">
                <a:moveTo>
                  <a:pt x="556" y="4239"/>
                </a:moveTo>
                <a:cubicBezTo>
                  <a:pt x="795" y="4398"/>
                  <a:pt x="1097" y="4509"/>
                  <a:pt x="1384" y="4509"/>
                </a:cubicBezTo>
                <a:lnTo>
                  <a:pt x="5218" y="4509"/>
                </a:lnTo>
                <a:cubicBezTo>
                  <a:pt x="6077" y="4462"/>
                  <a:pt x="6602" y="3937"/>
                  <a:pt x="6602" y="3109"/>
                </a:cubicBezTo>
                <a:cubicBezTo>
                  <a:pt x="6602" y="2330"/>
                  <a:pt x="6014" y="2027"/>
                  <a:pt x="5823" y="1932"/>
                </a:cubicBezTo>
                <a:cubicBezTo>
                  <a:pt x="5807" y="1932"/>
                  <a:pt x="5791" y="1916"/>
                  <a:pt x="5775" y="1916"/>
                </a:cubicBezTo>
                <a:cubicBezTo>
                  <a:pt x="5743" y="1884"/>
                  <a:pt x="5743" y="1773"/>
                  <a:pt x="5759" y="1726"/>
                </a:cubicBezTo>
                <a:lnTo>
                  <a:pt x="5759" y="1693"/>
                </a:lnTo>
                <a:cubicBezTo>
                  <a:pt x="5807" y="1105"/>
                  <a:pt x="5489" y="500"/>
                  <a:pt x="4964" y="214"/>
                </a:cubicBezTo>
                <a:cubicBezTo>
                  <a:pt x="4327" y="-120"/>
                  <a:pt x="3484" y="-56"/>
                  <a:pt x="3007" y="357"/>
                </a:cubicBezTo>
                <a:cubicBezTo>
                  <a:pt x="2927" y="421"/>
                  <a:pt x="2879" y="500"/>
                  <a:pt x="2816" y="580"/>
                </a:cubicBezTo>
                <a:lnTo>
                  <a:pt x="2800" y="596"/>
                </a:lnTo>
                <a:cubicBezTo>
                  <a:pt x="2784" y="627"/>
                  <a:pt x="2752" y="675"/>
                  <a:pt x="2720" y="691"/>
                </a:cubicBezTo>
                <a:cubicBezTo>
                  <a:pt x="2609" y="723"/>
                  <a:pt x="2561" y="691"/>
                  <a:pt x="2465" y="644"/>
                </a:cubicBezTo>
                <a:lnTo>
                  <a:pt x="2434" y="627"/>
                </a:lnTo>
                <a:cubicBezTo>
                  <a:pt x="2052" y="421"/>
                  <a:pt x="1591" y="468"/>
                  <a:pt x="1241" y="723"/>
                </a:cubicBezTo>
                <a:cubicBezTo>
                  <a:pt x="874" y="978"/>
                  <a:pt x="716" y="1391"/>
                  <a:pt x="779" y="1821"/>
                </a:cubicBezTo>
                <a:cubicBezTo>
                  <a:pt x="795" y="1884"/>
                  <a:pt x="763" y="1916"/>
                  <a:pt x="668" y="1996"/>
                </a:cubicBezTo>
                <a:cubicBezTo>
                  <a:pt x="477" y="2139"/>
                  <a:pt x="286" y="2298"/>
                  <a:pt x="159" y="2521"/>
                </a:cubicBezTo>
                <a:cubicBezTo>
                  <a:pt x="-160" y="3094"/>
                  <a:pt x="16" y="3857"/>
                  <a:pt x="556" y="4239"/>
                </a:cubicBezTo>
                <a:close/>
                <a:moveTo>
                  <a:pt x="302" y="2600"/>
                </a:moveTo>
                <a:cubicBezTo>
                  <a:pt x="413" y="2409"/>
                  <a:pt x="588" y="2250"/>
                  <a:pt x="747" y="2123"/>
                </a:cubicBezTo>
                <a:cubicBezTo>
                  <a:pt x="843" y="2059"/>
                  <a:pt x="970" y="1964"/>
                  <a:pt x="938" y="1789"/>
                </a:cubicBezTo>
                <a:cubicBezTo>
                  <a:pt x="874" y="1423"/>
                  <a:pt x="1018" y="1073"/>
                  <a:pt x="1336" y="850"/>
                </a:cubicBezTo>
                <a:cubicBezTo>
                  <a:pt x="1511" y="723"/>
                  <a:pt x="1718" y="659"/>
                  <a:pt x="1925" y="659"/>
                </a:cubicBezTo>
                <a:cubicBezTo>
                  <a:pt x="2068" y="659"/>
                  <a:pt x="2227" y="691"/>
                  <a:pt x="2354" y="771"/>
                </a:cubicBezTo>
                <a:lnTo>
                  <a:pt x="2402" y="787"/>
                </a:lnTo>
                <a:cubicBezTo>
                  <a:pt x="2498" y="835"/>
                  <a:pt x="2593" y="882"/>
                  <a:pt x="2752" y="835"/>
                </a:cubicBezTo>
                <a:cubicBezTo>
                  <a:pt x="2847" y="818"/>
                  <a:pt x="2895" y="739"/>
                  <a:pt x="2927" y="691"/>
                </a:cubicBezTo>
                <a:lnTo>
                  <a:pt x="2959" y="659"/>
                </a:lnTo>
                <a:cubicBezTo>
                  <a:pt x="3007" y="596"/>
                  <a:pt x="3055" y="532"/>
                  <a:pt x="3102" y="484"/>
                </a:cubicBezTo>
                <a:cubicBezTo>
                  <a:pt x="3595" y="39"/>
                  <a:pt x="4391" y="87"/>
                  <a:pt x="4884" y="357"/>
                </a:cubicBezTo>
                <a:cubicBezTo>
                  <a:pt x="5361" y="612"/>
                  <a:pt x="5647" y="1153"/>
                  <a:pt x="5600" y="1678"/>
                </a:cubicBezTo>
                <a:lnTo>
                  <a:pt x="5600" y="1709"/>
                </a:lnTo>
                <a:cubicBezTo>
                  <a:pt x="5584" y="1773"/>
                  <a:pt x="5568" y="1964"/>
                  <a:pt x="5695" y="2044"/>
                </a:cubicBezTo>
                <a:cubicBezTo>
                  <a:pt x="5711" y="2059"/>
                  <a:pt x="5727" y="2059"/>
                  <a:pt x="5759" y="2075"/>
                </a:cubicBezTo>
                <a:cubicBezTo>
                  <a:pt x="5950" y="2171"/>
                  <a:pt x="6443" y="2426"/>
                  <a:pt x="6443" y="3109"/>
                </a:cubicBezTo>
                <a:cubicBezTo>
                  <a:pt x="6443" y="3857"/>
                  <a:pt x="5998" y="4303"/>
                  <a:pt x="5218" y="4351"/>
                </a:cubicBezTo>
                <a:lnTo>
                  <a:pt x="1384" y="4351"/>
                </a:lnTo>
                <a:cubicBezTo>
                  <a:pt x="1129" y="4351"/>
                  <a:pt x="859" y="4255"/>
                  <a:pt x="636" y="4112"/>
                </a:cubicBezTo>
                <a:cubicBezTo>
                  <a:pt x="174" y="3778"/>
                  <a:pt x="16" y="3109"/>
                  <a:pt x="302" y="2600"/>
                </a:cubicBezTo>
                <a:close/>
                <a:moveTo>
                  <a:pt x="3293" y="3730"/>
                </a:moveTo>
                <a:cubicBezTo>
                  <a:pt x="3913" y="3730"/>
                  <a:pt x="4407" y="3221"/>
                  <a:pt x="4407" y="2616"/>
                </a:cubicBezTo>
                <a:cubicBezTo>
                  <a:pt x="4407" y="2012"/>
                  <a:pt x="3913" y="1503"/>
                  <a:pt x="3293" y="1503"/>
                </a:cubicBezTo>
                <a:cubicBezTo>
                  <a:pt x="2688" y="1503"/>
                  <a:pt x="2195" y="2012"/>
                  <a:pt x="2195" y="2616"/>
                </a:cubicBezTo>
                <a:cubicBezTo>
                  <a:pt x="2195" y="3221"/>
                  <a:pt x="2688" y="3730"/>
                  <a:pt x="3293" y="3730"/>
                </a:cubicBezTo>
                <a:close/>
                <a:moveTo>
                  <a:pt x="3293" y="1662"/>
                </a:moveTo>
                <a:cubicBezTo>
                  <a:pt x="3818" y="1662"/>
                  <a:pt x="4247" y="2091"/>
                  <a:pt x="4247" y="2616"/>
                </a:cubicBezTo>
                <a:cubicBezTo>
                  <a:pt x="4247" y="3141"/>
                  <a:pt x="3818" y="3571"/>
                  <a:pt x="3293" y="3571"/>
                </a:cubicBezTo>
                <a:cubicBezTo>
                  <a:pt x="2784" y="3571"/>
                  <a:pt x="2354" y="3141"/>
                  <a:pt x="2354" y="2616"/>
                </a:cubicBezTo>
                <a:cubicBezTo>
                  <a:pt x="2354" y="2091"/>
                  <a:pt x="2784" y="1662"/>
                  <a:pt x="3293" y="1662"/>
                </a:cubicBezTo>
                <a:close/>
                <a:moveTo>
                  <a:pt x="2894" y="2537"/>
                </a:moveTo>
                <a:cubicBezTo>
                  <a:pt x="2910" y="2537"/>
                  <a:pt x="2926" y="2521"/>
                  <a:pt x="2942" y="2505"/>
                </a:cubicBezTo>
                <a:lnTo>
                  <a:pt x="3212" y="2282"/>
                </a:lnTo>
                <a:lnTo>
                  <a:pt x="3212" y="3173"/>
                </a:lnTo>
                <a:cubicBezTo>
                  <a:pt x="3212" y="3205"/>
                  <a:pt x="3260" y="3253"/>
                  <a:pt x="3292" y="3253"/>
                </a:cubicBezTo>
                <a:cubicBezTo>
                  <a:pt x="3340" y="3253"/>
                  <a:pt x="3372" y="3205"/>
                  <a:pt x="3372" y="3173"/>
                </a:cubicBezTo>
                <a:lnTo>
                  <a:pt x="3372" y="2298"/>
                </a:lnTo>
                <a:lnTo>
                  <a:pt x="3658" y="2521"/>
                </a:lnTo>
                <a:cubicBezTo>
                  <a:pt x="3690" y="2537"/>
                  <a:pt x="3754" y="2537"/>
                  <a:pt x="3769" y="2505"/>
                </a:cubicBezTo>
                <a:cubicBezTo>
                  <a:pt x="3801" y="2457"/>
                  <a:pt x="3785" y="2409"/>
                  <a:pt x="3754" y="2393"/>
                </a:cubicBezTo>
                <a:lnTo>
                  <a:pt x="3340" y="2075"/>
                </a:lnTo>
                <a:cubicBezTo>
                  <a:pt x="3308" y="2044"/>
                  <a:pt x="3276" y="2044"/>
                  <a:pt x="3244" y="2075"/>
                </a:cubicBezTo>
                <a:lnTo>
                  <a:pt x="2846" y="2393"/>
                </a:lnTo>
                <a:cubicBezTo>
                  <a:pt x="2799" y="2409"/>
                  <a:pt x="2799" y="2473"/>
                  <a:pt x="2831" y="2505"/>
                </a:cubicBezTo>
                <a:cubicBezTo>
                  <a:pt x="2846" y="2521"/>
                  <a:pt x="2863" y="2537"/>
                  <a:pt x="2894" y="253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5" name="Freeform: Shape 12">
            <a:extLst>
              <a:ext uri="{FF2B5EF4-FFF2-40B4-BE49-F238E27FC236}">
                <a16:creationId xmlns:a16="http://schemas.microsoft.com/office/drawing/2014/main" id="{B100527D-5EEC-F842-A1DB-A8DF514A8122}"/>
              </a:ext>
            </a:extLst>
          </p:cNvPr>
          <p:cNvSpPr/>
          <p:nvPr/>
        </p:nvSpPr>
        <p:spPr>
          <a:xfrm>
            <a:off x="13423685" y="9500617"/>
            <a:ext cx="2372760" cy="1622880"/>
          </a:xfrm>
          <a:custGeom>
            <a:avLst/>
            <a:gdLst/>
            <a:ahLst/>
            <a:cxnLst>
              <a:cxn ang="3cd4">
                <a:pos x="hc" y="t"/>
              </a:cxn>
              <a:cxn ang="cd2">
                <a:pos x="l" y="vc"/>
              </a:cxn>
              <a:cxn ang="cd4">
                <a:pos x="hc" y="b"/>
              </a:cxn>
              <a:cxn ang="0">
                <a:pos x="r" y="vc"/>
              </a:cxn>
            </a:cxnLst>
            <a:rect l="l" t="t" r="r" b="b"/>
            <a:pathLst>
              <a:path w="6592" h="4509">
                <a:moveTo>
                  <a:pt x="1119" y="3173"/>
                </a:moveTo>
                <a:lnTo>
                  <a:pt x="1214" y="3189"/>
                </a:lnTo>
                <a:cubicBezTo>
                  <a:pt x="1214" y="3253"/>
                  <a:pt x="1230" y="3300"/>
                  <a:pt x="1230" y="3364"/>
                </a:cubicBezTo>
                <a:lnTo>
                  <a:pt x="1151" y="3411"/>
                </a:lnTo>
                <a:cubicBezTo>
                  <a:pt x="1140" y="3416"/>
                  <a:pt x="1135" y="3427"/>
                  <a:pt x="1119" y="3427"/>
                </a:cubicBezTo>
                <a:cubicBezTo>
                  <a:pt x="1087" y="3475"/>
                  <a:pt x="1071" y="3539"/>
                  <a:pt x="1103" y="3587"/>
                </a:cubicBezTo>
                <a:lnTo>
                  <a:pt x="1183" y="3730"/>
                </a:lnTo>
                <a:cubicBezTo>
                  <a:pt x="1198" y="3762"/>
                  <a:pt x="1230" y="3793"/>
                  <a:pt x="1262" y="3793"/>
                </a:cubicBezTo>
                <a:cubicBezTo>
                  <a:pt x="1310" y="3809"/>
                  <a:pt x="1341" y="3809"/>
                  <a:pt x="1374" y="3777"/>
                </a:cubicBezTo>
                <a:lnTo>
                  <a:pt x="1453" y="3730"/>
                </a:lnTo>
                <a:cubicBezTo>
                  <a:pt x="1485" y="3777"/>
                  <a:pt x="1532" y="3809"/>
                  <a:pt x="1580" y="3841"/>
                </a:cubicBezTo>
                <a:lnTo>
                  <a:pt x="1549" y="3921"/>
                </a:lnTo>
                <a:cubicBezTo>
                  <a:pt x="1532" y="4000"/>
                  <a:pt x="1580" y="4080"/>
                  <a:pt x="1644" y="4096"/>
                </a:cubicBezTo>
                <a:lnTo>
                  <a:pt x="1803" y="4144"/>
                </a:lnTo>
                <a:lnTo>
                  <a:pt x="1851" y="4144"/>
                </a:lnTo>
                <a:cubicBezTo>
                  <a:pt x="1883" y="4144"/>
                  <a:pt x="1914" y="4127"/>
                  <a:pt x="1946" y="4096"/>
                </a:cubicBezTo>
                <a:cubicBezTo>
                  <a:pt x="1962" y="4080"/>
                  <a:pt x="1978" y="4064"/>
                  <a:pt x="1978" y="4048"/>
                </a:cubicBezTo>
                <a:lnTo>
                  <a:pt x="1994" y="3953"/>
                </a:lnTo>
                <a:cubicBezTo>
                  <a:pt x="2058" y="3953"/>
                  <a:pt x="2105" y="3936"/>
                  <a:pt x="2169" y="3936"/>
                </a:cubicBezTo>
                <a:lnTo>
                  <a:pt x="2217" y="4016"/>
                </a:lnTo>
                <a:cubicBezTo>
                  <a:pt x="2232" y="4048"/>
                  <a:pt x="2249" y="4064"/>
                  <a:pt x="2296" y="4080"/>
                </a:cubicBezTo>
                <a:cubicBezTo>
                  <a:pt x="2328" y="4080"/>
                  <a:pt x="2360" y="4080"/>
                  <a:pt x="2392" y="4064"/>
                </a:cubicBezTo>
                <a:lnTo>
                  <a:pt x="2535" y="3984"/>
                </a:lnTo>
                <a:cubicBezTo>
                  <a:pt x="2551" y="3984"/>
                  <a:pt x="2567" y="3968"/>
                  <a:pt x="2567" y="3953"/>
                </a:cubicBezTo>
                <a:cubicBezTo>
                  <a:pt x="2614" y="3921"/>
                  <a:pt x="2614" y="3841"/>
                  <a:pt x="2583" y="3793"/>
                </a:cubicBezTo>
                <a:lnTo>
                  <a:pt x="2535" y="3714"/>
                </a:lnTo>
                <a:cubicBezTo>
                  <a:pt x="2583" y="3682"/>
                  <a:pt x="2614" y="3634"/>
                  <a:pt x="2646" y="3587"/>
                </a:cubicBezTo>
                <a:lnTo>
                  <a:pt x="2726" y="3618"/>
                </a:lnTo>
                <a:cubicBezTo>
                  <a:pt x="2774" y="3618"/>
                  <a:pt x="2821" y="3602"/>
                  <a:pt x="2869" y="3571"/>
                </a:cubicBezTo>
                <a:cubicBezTo>
                  <a:pt x="2885" y="3554"/>
                  <a:pt x="2885" y="3539"/>
                  <a:pt x="2901" y="3523"/>
                </a:cubicBezTo>
                <a:lnTo>
                  <a:pt x="2949" y="3348"/>
                </a:lnTo>
                <a:cubicBezTo>
                  <a:pt x="2949" y="3316"/>
                  <a:pt x="2949" y="3284"/>
                  <a:pt x="2932" y="3253"/>
                </a:cubicBezTo>
                <a:cubicBezTo>
                  <a:pt x="2917" y="3221"/>
                  <a:pt x="2885" y="3205"/>
                  <a:pt x="2853" y="3189"/>
                </a:cubicBezTo>
                <a:lnTo>
                  <a:pt x="2758" y="3173"/>
                </a:lnTo>
                <a:cubicBezTo>
                  <a:pt x="2758" y="3109"/>
                  <a:pt x="2742" y="3062"/>
                  <a:pt x="2742" y="2998"/>
                </a:cubicBezTo>
                <a:lnTo>
                  <a:pt x="2821" y="2950"/>
                </a:lnTo>
                <a:cubicBezTo>
                  <a:pt x="2832" y="2945"/>
                  <a:pt x="2837" y="2934"/>
                  <a:pt x="2853" y="2934"/>
                </a:cubicBezTo>
                <a:cubicBezTo>
                  <a:pt x="2885" y="2887"/>
                  <a:pt x="2901" y="2823"/>
                  <a:pt x="2869" y="2775"/>
                </a:cubicBezTo>
                <a:lnTo>
                  <a:pt x="2789" y="2632"/>
                </a:lnTo>
                <a:cubicBezTo>
                  <a:pt x="2774" y="2600"/>
                  <a:pt x="2742" y="2568"/>
                  <a:pt x="2710" y="2568"/>
                </a:cubicBezTo>
                <a:cubicBezTo>
                  <a:pt x="2662" y="2553"/>
                  <a:pt x="2631" y="2568"/>
                  <a:pt x="2598" y="2584"/>
                </a:cubicBezTo>
                <a:lnTo>
                  <a:pt x="2519" y="2632"/>
                </a:lnTo>
                <a:cubicBezTo>
                  <a:pt x="2487" y="2584"/>
                  <a:pt x="2440" y="2553"/>
                  <a:pt x="2392" y="2520"/>
                </a:cubicBezTo>
                <a:lnTo>
                  <a:pt x="2423" y="2441"/>
                </a:lnTo>
                <a:cubicBezTo>
                  <a:pt x="2440" y="2362"/>
                  <a:pt x="2392" y="2282"/>
                  <a:pt x="2328" y="2266"/>
                </a:cubicBezTo>
                <a:lnTo>
                  <a:pt x="2153" y="2218"/>
                </a:lnTo>
                <a:cubicBezTo>
                  <a:pt x="2121" y="2218"/>
                  <a:pt x="2058" y="2218"/>
                  <a:pt x="2026" y="2266"/>
                </a:cubicBezTo>
                <a:cubicBezTo>
                  <a:pt x="2010" y="2282"/>
                  <a:pt x="1994" y="2298"/>
                  <a:pt x="1994" y="2314"/>
                </a:cubicBezTo>
                <a:lnTo>
                  <a:pt x="1978" y="2409"/>
                </a:lnTo>
                <a:cubicBezTo>
                  <a:pt x="1914" y="2409"/>
                  <a:pt x="1867" y="2425"/>
                  <a:pt x="1803" y="2425"/>
                </a:cubicBezTo>
                <a:lnTo>
                  <a:pt x="1755" y="2345"/>
                </a:lnTo>
                <a:cubicBezTo>
                  <a:pt x="1740" y="2314"/>
                  <a:pt x="1708" y="2298"/>
                  <a:pt x="1676" y="2282"/>
                </a:cubicBezTo>
                <a:cubicBezTo>
                  <a:pt x="1644" y="2282"/>
                  <a:pt x="1612" y="2282"/>
                  <a:pt x="1580" y="2298"/>
                </a:cubicBezTo>
                <a:lnTo>
                  <a:pt x="1437" y="2377"/>
                </a:lnTo>
                <a:cubicBezTo>
                  <a:pt x="1421" y="2377"/>
                  <a:pt x="1405" y="2393"/>
                  <a:pt x="1405" y="2409"/>
                </a:cubicBezTo>
                <a:cubicBezTo>
                  <a:pt x="1358" y="2441"/>
                  <a:pt x="1358" y="2520"/>
                  <a:pt x="1389" y="2568"/>
                </a:cubicBezTo>
                <a:lnTo>
                  <a:pt x="1437" y="2648"/>
                </a:lnTo>
                <a:cubicBezTo>
                  <a:pt x="1389" y="2680"/>
                  <a:pt x="1358" y="2727"/>
                  <a:pt x="1326" y="2775"/>
                </a:cubicBezTo>
                <a:lnTo>
                  <a:pt x="1246" y="2743"/>
                </a:lnTo>
                <a:cubicBezTo>
                  <a:pt x="1198" y="2743"/>
                  <a:pt x="1135" y="2759"/>
                  <a:pt x="1103" y="2791"/>
                </a:cubicBezTo>
                <a:cubicBezTo>
                  <a:pt x="1087" y="2807"/>
                  <a:pt x="1087" y="2823"/>
                  <a:pt x="1071" y="2839"/>
                </a:cubicBezTo>
                <a:lnTo>
                  <a:pt x="1023" y="3014"/>
                </a:lnTo>
                <a:cubicBezTo>
                  <a:pt x="1007" y="3077"/>
                  <a:pt x="1055" y="3157"/>
                  <a:pt x="1119" y="3173"/>
                </a:cubicBezTo>
                <a:close/>
                <a:moveTo>
                  <a:pt x="1214" y="2902"/>
                </a:moveTo>
                <a:lnTo>
                  <a:pt x="1341" y="2950"/>
                </a:lnTo>
                <a:cubicBezTo>
                  <a:pt x="1389" y="2950"/>
                  <a:pt x="1421" y="2934"/>
                  <a:pt x="1437" y="2902"/>
                </a:cubicBezTo>
                <a:cubicBezTo>
                  <a:pt x="1469" y="2839"/>
                  <a:pt x="1501" y="2791"/>
                  <a:pt x="1549" y="2743"/>
                </a:cubicBezTo>
                <a:cubicBezTo>
                  <a:pt x="1564" y="2743"/>
                  <a:pt x="1564" y="2727"/>
                  <a:pt x="1580" y="2727"/>
                </a:cubicBezTo>
                <a:cubicBezTo>
                  <a:pt x="1612" y="2696"/>
                  <a:pt x="1612" y="2648"/>
                  <a:pt x="1596" y="2616"/>
                </a:cubicBezTo>
                <a:lnTo>
                  <a:pt x="1532" y="2505"/>
                </a:lnTo>
                <a:lnTo>
                  <a:pt x="1644" y="2441"/>
                </a:lnTo>
                <a:lnTo>
                  <a:pt x="1708" y="2568"/>
                </a:lnTo>
                <a:cubicBezTo>
                  <a:pt x="1723" y="2600"/>
                  <a:pt x="1755" y="2616"/>
                  <a:pt x="1803" y="2600"/>
                </a:cubicBezTo>
                <a:cubicBezTo>
                  <a:pt x="1867" y="2568"/>
                  <a:pt x="1946" y="2568"/>
                  <a:pt x="2026" y="2568"/>
                </a:cubicBezTo>
                <a:cubicBezTo>
                  <a:pt x="2058" y="2568"/>
                  <a:pt x="2089" y="2553"/>
                  <a:pt x="2105" y="2505"/>
                </a:cubicBezTo>
                <a:lnTo>
                  <a:pt x="2137" y="2377"/>
                </a:lnTo>
                <a:lnTo>
                  <a:pt x="2264" y="2409"/>
                </a:lnTo>
                <a:lnTo>
                  <a:pt x="2217" y="2536"/>
                </a:lnTo>
                <a:cubicBezTo>
                  <a:pt x="2217" y="2584"/>
                  <a:pt x="2232" y="2616"/>
                  <a:pt x="2264" y="2632"/>
                </a:cubicBezTo>
                <a:cubicBezTo>
                  <a:pt x="2328" y="2664"/>
                  <a:pt x="2392" y="2711"/>
                  <a:pt x="2440" y="2775"/>
                </a:cubicBezTo>
                <a:cubicBezTo>
                  <a:pt x="2471" y="2807"/>
                  <a:pt x="2519" y="2807"/>
                  <a:pt x="2551" y="2791"/>
                </a:cubicBezTo>
                <a:lnTo>
                  <a:pt x="2662" y="2727"/>
                </a:lnTo>
                <a:lnTo>
                  <a:pt x="2726" y="2839"/>
                </a:lnTo>
                <a:lnTo>
                  <a:pt x="2598" y="2902"/>
                </a:lnTo>
                <a:cubicBezTo>
                  <a:pt x="2567" y="2918"/>
                  <a:pt x="2551" y="2950"/>
                  <a:pt x="2567" y="2998"/>
                </a:cubicBezTo>
                <a:cubicBezTo>
                  <a:pt x="2598" y="3062"/>
                  <a:pt x="2598" y="3141"/>
                  <a:pt x="2598" y="3221"/>
                </a:cubicBezTo>
                <a:cubicBezTo>
                  <a:pt x="2598" y="3253"/>
                  <a:pt x="2614" y="3284"/>
                  <a:pt x="2662" y="3300"/>
                </a:cubicBezTo>
                <a:lnTo>
                  <a:pt x="2789" y="3332"/>
                </a:lnTo>
                <a:lnTo>
                  <a:pt x="2758" y="3459"/>
                </a:lnTo>
                <a:lnTo>
                  <a:pt x="2631" y="3411"/>
                </a:lnTo>
                <a:cubicBezTo>
                  <a:pt x="2583" y="3411"/>
                  <a:pt x="2551" y="3427"/>
                  <a:pt x="2535" y="3459"/>
                </a:cubicBezTo>
                <a:cubicBezTo>
                  <a:pt x="2503" y="3523"/>
                  <a:pt x="2471" y="3571"/>
                  <a:pt x="2423" y="3618"/>
                </a:cubicBezTo>
                <a:cubicBezTo>
                  <a:pt x="2408" y="3618"/>
                  <a:pt x="2408" y="3634"/>
                  <a:pt x="2392" y="3634"/>
                </a:cubicBezTo>
                <a:cubicBezTo>
                  <a:pt x="2360" y="3666"/>
                  <a:pt x="2360" y="3714"/>
                  <a:pt x="2376" y="3745"/>
                </a:cubicBezTo>
                <a:lnTo>
                  <a:pt x="2440" y="3857"/>
                </a:lnTo>
                <a:lnTo>
                  <a:pt x="2328" y="3921"/>
                </a:lnTo>
                <a:lnTo>
                  <a:pt x="2264" y="3793"/>
                </a:lnTo>
                <a:cubicBezTo>
                  <a:pt x="2249" y="3762"/>
                  <a:pt x="2217" y="3745"/>
                  <a:pt x="2169" y="3762"/>
                </a:cubicBezTo>
                <a:cubicBezTo>
                  <a:pt x="2105" y="3793"/>
                  <a:pt x="2026" y="3793"/>
                  <a:pt x="1946" y="3793"/>
                </a:cubicBezTo>
                <a:cubicBezTo>
                  <a:pt x="1914" y="3793"/>
                  <a:pt x="1867" y="3809"/>
                  <a:pt x="1867" y="3857"/>
                </a:cubicBezTo>
                <a:lnTo>
                  <a:pt x="1835" y="3984"/>
                </a:lnTo>
                <a:lnTo>
                  <a:pt x="1708" y="3953"/>
                </a:lnTo>
                <a:lnTo>
                  <a:pt x="1755" y="3825"/>
                </a:lnTo>
                <a:cubicBezTo>
                  <a:pt x="1755" y="3777"/>
                  <a:pt x="1740" y="3745"/>
                  <a:pt x="1708" y="3730"/>
                </a:cubicBezTo>
                <a:cubicBezTo>
                  <a:pt x="1644" y="3698"/>
                  <a:pt x="1580" y="3650"/>
                  <a:pt x="1532" y="3587"/>
                </a:cubicBezTo>
                <a:cubicBezTo>
                  <a:pt x="1501" y="3554"/>
                  <a:pt x="1453" y="3554"/>
                  <a:pt x="1421" y="3571"/>
                </a:cubicBezTo>
                <a:lnTo>
                  <a:pt x="1310" y="3634"/>
                </a:lnTo>
                <a:lnTo>
                  <a:pt x="1246" y="3523"/>
                </a:lnTo>
                <a:lnTo>
                  <a:pt x="1374" y="3459"/>
                </a:lnTo>
                <a:cubicBezTo>
                  <a:pt x="1405" y="3444"/>
                  <a:pt x="1421" y="3411"/>
                  <a:pt x="1405" y="3364"/>
                </a:cubicBezTo>
                <a:cubicBezTo>
                  <a:pt x="1374" y="3300"/>
                  <a:pt x="1374" y="3221"/>
                  <a:pt x="1374" y="3141"/>
                </a:cubicBezTo>
                <a:cubicBezTo>
                  <a:pt x="1374" y="3109"/>
                  <a:pt x="1358" y="3077"/>
                  <a:pt x="1310" y="3062"/>
                </a:cubicBezTo>
                <a:lnTo>
                  <a:pt x="1183" y="3030"/>
                </a:lnTo>
                <a:close/>
                <a:moveTo>
                  <a:pt x="2646" y="2345"/>
                </a:moveTo>
                <a:cubicBezTo>
                  <a:pt x="2646" y="2377"/>
                  <a:pt x="2678" y="2409"/>
                  <a:pt x="2710" y="2441"/>
                </a:cubicBezTo>
                <a:cubicBezTo>
                  <a:pt x="2742" y="2457"/>
                  <a:pt x="2789" y="2473"/>
                  <a:pt x="2837" y="2457"/>
                </a:cubicBezTo>
                <a:lnTo>
                  <a:pt x="2980" y="2425"/>
                </a:lnTo>
                <a:cubicBezTo>
                  <a:pt x="3028" y="2505"/>
                  <a:pt x="3076" y="2584"/>
                  <a:pt x="3140" y="2648"/>
                </a:cubicBezTo>
                <a:lnTo>
                  <a:pt x="3060" y="2775"/>
                </a:lnTo>
                <a:cubicBezTo>
                  <a:pt x="3028" y="2807"/>
                  <a:pt x="3028" y="2854"/>
                  <a:pt x="3028" y="2902"/>
                </a:cubicBezTo>
                <a:cubicBezTo>
                  <a:pt x="3044" y="2934"/>
                  <a:pt x="3076" y="2966"/>
                  <a:pt x="3108" y="2998"/>
                </a:cubicBezTo>
                <a:lnTo>
                  <a:pt x="3299" y="3125"/>
                </a:lnTo>
                <a:cubicBezTo>
                  <a:pt x="3331" y="3141"/>
                  <a:pt x="3378" y="3157"/>
                  <a:pt x="3426" y="3141"/>
                </a:cubicBezTo>
                <a:cubicBezTo>
                  <a:pt x="3458" y="3125"/>
                  <a:pt x="3489" y="3109"/>
                  <a:pt x="3522" y="3077"/>
                </a:cubicBezTo>
                <a:lnTo>
                  <a:pt x="3601" y="2934"/>
                </a:lnTo>
                <a:cubicBezTo>
                  <a:pt x="3696" y="2966"/>
                  <a:pt x="3776" y="2982"/>
                  <a:pt x="3871" y="2982"/>
                </a:cubicBezTo>
                <a:lnTo>
                  <a:pt x="3903" y="3141"/>
                </a:lnTo>
                <a:cubicBezTo>
                  <a:pt x="3919" y="3189"/>
                  <a:pt x="3935" y="3221"/>
                  <a:pt x="3967" y="3236"/>
                </a:cubicBezTo>
                <a:cubicBezTo>
                  <a:pt x="3999" y="3253"/>
                  <a:pt x="4031" y="3268"/>
                  <a:pt x="4062" y="3268"/>
                </a:cubicBezTo>
                <a:cubicBezTo>
                  <a:pt x="4073" y="3263"/>
                  <a:pt x="4078" y="3268"/>
                  <a:pt x="4094" y="3253"/>
                </a:cubicBezTo>
                <a:lnTo>
                  <a:pt x="4317" y="3205"/>
                </a:lnTo>
                <a:cubicBezTo>
                  <a:pt x="4396" y="3189"/>
                  <a:pt x="4460" y="3109"/>
                  <a:pt x="4444" y="3014"/>
                </a:cubicBezTo>
                <a:lnTo>
                  <a:pt x="4412" y="2871"/>
                </a:lnTo>
                <a:cubicBezTo>
                  <a:pt x="4492" y="2823"/>
                  <a:pt x="4556" y="2775"/>
                  <a:pt x="4619" y="2711"/>
                </a:cubicBezTo>
                <a:lnTo>
                  <a:pt x="4762" y="2791"/>
                </a:lnTo>
                <a:cubicBezTo>
                  <a:pt x="4794" y="2823"/>
                  <a:pt x="4842" y="2823"/>
                  <a:pt x="4874" y="2823"/>
                </a:cubicBezTo>
                <a:cubicBezTo>
                  <a:pt x="4922" y="2807"/>
                  <a:pt x="4953" y="2791"/>
                  <a:pt x="4969" y="2743"/>
                </a:cubicBezTo>
                <a:lnTo>
                  <a:pt x="5096" y="2553"/>
                </a:lnTo>
                <a:cubicBezTo>
                  <a:pt x="5144" y="2473"/>
                  <a:pt x="5128" y="2377"/>
                  <a:pt x="5049" y="2330"/>
                </a:cubicBezTo>
                <a:lnTo>
                  <a:pt x="4922" y="2250"/>
                </a:lnTo>
                <a:cubicBezTo>
                  <a:pt x="4953" y="2171"/>
                  <a:pt x="4969" y="2075"/>
                  <a:pt x="4969" y="1980"/>
                </a:cubicBezTo>
                <a:lnTo>
                  <a:pt x="5128" y="1948"/>
                </a:lnTo>
                <a:cubicBezTo>
                  <a:pt x="5160" y="1948"/>
                  <a:pt x="5192" y="1916"/>
                  <a:pt x="5224" y="1884"/>
                </a:cubicBezTo>
                <a:cubicBezTo>
                  <a:pt x="5240" y="1853"/>
                  <a:pt x="5256" y="1805"/>
                  <a:pt x="5240" y="1757"/>
                </a:cubicBezTo>
                <a:lnTo>
                  <a:pt x="5192" y="1534"/>
                </a:lnTo>
                <a:cubicBezTo>
                  <a:pt x="5176" y="1486"/>
                  <a:pt x="5160" y="1454"/>
                  <a:pt x="5113" y="1439"/>
                </a:cubicBezTo>
                <a:cubicBezTo>
                  <a:pt x="5080" y="1407"/>
                  <a:pt x="5049" y="1407"/>
                  <a:pt x="5001" y="1407"/>
                </a:cubicBezTo>
                <a:lnTo>
                  <a:pt x="4842" y="1454"/>
                </a:lnTo>
                <a:cubicBezTo>
                  <a:pt x="4810" y="1375"/>
                  <a:pt x="4762" y="1296"/>
                  <a:pt x="4699" y="1232"/>
                </a:cubicBezTo>
                <a:lnTo>
                  <a:pt x="4778" y="1089"/>
                </a:lnTo>
                <a:cubicBezTo>
                  <a:pt x="4826" y="1025"/>
                  <a:pt x="4810" y="929"/>
                  <a:pt x="4731" y="882"/>
                </a:cubicBezTo>
                <a:lnTo>
                  <a:pt x="4523" y="754"/>
                </a:lnTo>
                <a:cubicBezTo>
                  <a:pt x="4460" y="707"/>
                  <a:pt x="4365" y="723"/>
                  <a:pt x="4317" y="802"/>
                </a:cubicBezTo>
                <a:lnTo>
                  <a:pt x="4237" y="929"/>
                </a:lnTo>
                <a:cubicBezTo>
                  <a:pt x="4142" y="898"/>
                  <a:pt x="4062" y="882"/>
                  <a:pt x="3967" y="882"/>
                </a:cubicBezTo>
                <a:lnTo>
                  <a:pt x="3935" y="739"/>
                </a:lnTo>
                <a:cubicBezTo>
                  <a:pt x="3919" y="691"/>
                  <a:pt x="3903" y="659"/>
                  <a:pt x="3856" y="627"/>
                </a:cubicBezTo>
                <a:cubicBezTo>
                  <a:pt x="3823" y="611"/>
                  <a:pt x="3776" y="611"/>
                  <a:pt x="3744" y="611"/>
                </a:cubicBezTo>
                <a:lnTo>
                  <a:pt x="3522" y="659"/>
                </a:lnTo>
                <a:cubicBezTo>
                  <a:pt x="3426" y="675"/>
                  <a:pt x="3378" y="771"/>
                  <a:pt x="3394" y="850"/>
                </a:cubicBezTo>
                <a:lnTo>
                  <a:pt x="3426" y="1009"/>
                </a:lnTo>
                <a:cubicBezTo>
                  <a:pt x="3346" y="1041"/>
                  <a:pt x="3267" y="1105"/>
                  <a:pt x="3203" y="1152"/>
                </a:cubicBezTo>
                <a:lnTo>
                  <a:pt x="3076" y="1073"/>
                </a:lnTo>
                <a:cubicBezTo>
                  <a:pt x="3044" y="1057"/>
                  <a:pt x="2996" y="1041"/>
                  <a:pt x="2949" y="1057"/>
                </a:cubicBezTo>
                <a:cubicBezTo>
                  <a:pt x="2917" y="1057"/>
                  <a:pt x="2885" y="1089"/>
                  <a:pt x="2853" y="1120"/>
                </a:cubicBezTo>
                <a:lnTo>
                  <a:pt x="2726" y="1327"/>
                </a:lnTo>
                <a:cubicBezTo>
                  <a:pt x="2678" y="1391"/>
                  <a:pt x="2710" y="1486"/>
                  <a:pt x="2774" y="1534"/>
                </a:cubicBezTo>
                <a:lnTo>
                  <a:pt x="2917" y="1630"/>
                </a:lnTo>
                <a:cubicBezTo>
                  <a:pt x="2885" y="1709"/>
                  <a:pt x="2869" y="1805"/>
                  <a:pt x="2869" y="1884"/>
                </a:cubicBezTo>
                <a:lnTo>
                  <a:pt x="2710" y="1916"/>
                </a:lnTo>
                <a:cubicBezTo>
                  <a:pt x="2678" y="1932"/>
                  <a:pt x="2631" y="1963"/>
                  <a:pt x="2614" y="1996"/>
                </a:cubicBezTo>
                <a:cubicBezTo>
                  <a:pt x="2598" y="2027"/>
                  <a:pt x="2583" y="2075"/>
                  <a:pt x="2598" y="2107"/>
                </a:cubicBezTo>
                <a:close/>
                <a:moveTo>
                  <a:pt x="2965" y="2027"/>
                </a:moveTo>
                <a:cubicBezTo>
                  <a:pt x="2996" y="2027"/>
                  <a:pt x="3028" y="1996"/>
                  <a:pt x="3028" y="1948"/>
                </a:cubicBezTo>
                <a:cubicBezTo>
                  <a:pt x="3028" y="1836"/>
                  <a:pt x="3044" y="1725"/>
                  <a:pt x="3076" y="1614"/>
                </a:cubicBezTo>
                <a:cubicBezTo>
                  <a:pt x="3092" y="1582"/>
                  <a:pt x="3076" y="1550"/>
                  <a:pt x="3044" y="1518"/>
                </a:cubicBezTo>
                <a:lnTo>
                  <a:pt x="2869" y="1407"/>
                </a:lnTo>
                <a:lnTo>
                  <a:pt x="2996" y="1216"/>
                </a:lnTo>
                <a:lnTo>
                  <a:pt x="3171" y="1327"/>
                </a:lnTo>
                <a:cubicBezTo>
                  <a:pt x="3203" y="1343"/>
                  <a:pt x="3251" y="1343"/>
                  <a:pt x="3267" y="1311"/>
                </a:cubicBezTo>
                <a:cubicBezTo>
                  <a:pt x="3346" y="1232"/>
                  <a:pt x="3442" y="1168"/>
                  <a:pt x="3553" y="1120"/>
                </a:cubicBezTo>
                <a:cubicBezTo>
                  <a:pt x="3585" y="1105"/>
                  <a:pt x="3601" y="1073"/>
                  <a:pt x="3601" y="1025"/>
                </a:cubicBezTo>
                <a:lnTo>
                  <a:pt x="3553" y="818"/>
                </a:lnTo>
                <a:lnTo>
                  <a:pt x="3776" y="771"/>
                </a:lnTo>
                <a:lnTo>
                  <a:pt x="3823" y="977"/>
                </a:lnTo>
                <a:cubicBezTo>
                  <a:pt x="3823" y="1025"/>
                  <a:pt x="3871" y="1041"/>
                  <a:pt x="3903" y="1041"/>
                </a:cubicBezTo>
                <a:cubicBezTo>
                  <a:pt x="4014" y="1041"/>
                  <a:pt x="4126" y="1057"/>
                  <a:pt x="4237" y="1105"/>
                </a:cubicBezTo>
                <a:cubicBezTo>
                  <a:pt x="4269" y="1120"/>
                  <a:pt x="4317" y="1105"/>
                  <a:pt x="4333" y="1073"/>
                </a:cubicBezTo>
                <a:lnTo>
                  <a:pt x="4444" y="882"/>
                </a:lnTo>
                <a:lnTo>
                  <a:pt x="4651" y="1009"/>
                </a:lnTo>
                <a:lnTo>
                  <a:pt x="4523" y="1200"/>
                </a:lnTo>
                <a:cubicBezTo>
                  <a:pt x="4508" y="1232"/>
                  <a:pt x="4508" y="1263"/>
                  <a:pt x="4540" y="1296"/>
                </a:cubicBezTo>
                <a:cubicBezTo>
                  <a:pt x="4619" y="1375"/>
                  <a:pt x="4683" y="1471"/>
                  <a:pt x="4731" y="1566"/>
                </a:cubicBezTo>
                <a:cubicBezTo>
                  <a:pt x="4746" y="1598"/>
                  <a:pt x="4778" y="1630"/>
                  <a:pt x="4826" y="1614"/>
                </a:cubicBezTo>
                <a:lnTo>
                  <a:pt x="5033" y="1566"/>
                </a:lnTo>
                <a:lnTo>
                  <a:pt x="5080" y="1789"/>
                </a:lnTo>
                <a:lnTo>
                  <a:pt x="4874" y="1836"/>
                </a:lnTo>
                <a:cubicBezTo>
                  <a:pt x="4842" y="1853"/>
                  <a:pt x="4810" y="1884"/>
                  <a:pt x="4810" y="1916"/>
                </a:cubicBezTo>
                <a:cubicBezTo>
                  <a:pt x="4810" y="2043"/>
                  <a:pt x="4794" y="2154"/>
                  <a:pt x="4746" y="2250"/>
                </a:cubicBezTo>
                <a:cubicBezTo>
                  <a:pt x="4731" y="2282"/>
                  <a:pt x="4746" y="2330"/>
                  <a:pt x="4778" y="2345"/>
                </a:cubicBezTo>
                <a:lnTo>
                  <a:pt x="4969" y="2473"/>
                </a:lnTo>
                <a:lnTo>
                  <a:pt x="4842" y="2664"/>
                </a:lnTo>
                <a:lnTo>
                  <a:pt x="4651" y="2553"/>
                </a:lnTo>
                <a:cubicBezTo>
                  <a:pt x="4619" y="2520"/>
                  <a:pt x="4587" y="2536"/>
                  <a:pt x="4556" y="2553"/>
                </a:cubicBezTo>
                <a:cubicBezTo>
                  <a:pt x="4476" y="2632"/>
                  <a:pt x="4380" y="2711"/>
                  <a:pt x="4285" y="2759"/>
                </a:cubicBezTo>
                <a:cubicBezTo>
                  <a:pt x="4253" y="2759"/>
                  <a:pt x="4222" y="2807"/>
                  <a:pt x="4237" y="2839"/>
                </a:cubicBezTo>
                <a:lnTo>
                  <a:pt x="4285" y="3062"/>
                </a:lnTo>
                <a:lnTo>
                  <a:pt x="4062" y="3109"/>
                </a:lnTo>
                <a:lnTo>
                  <a:pt x="4014" y="2887"/>
                </a:lnTo>
                <a:cubicBezTo>
                  <a:pt x="3999" y="2854"/>
                  <a:pt x="3967" y="2823"/>
                  <a:pt x="3935" y="2823"/>
                </a:cubicBezTo>
                <a:cubicBezTo>
                  <a:pt x="3808" y="2839"/>
                  <a:pt x="3712" y="2807"/>
                  <a:pt x="3601" y="2775"/>
                </a:cubicBezTo>
                <a:cubicBezTo>
                  <a:pt x="3569" y="2759"/>
                  <a:pt x="3522" y="2775"/>
                  <a:pt x="3505" y="2807"/>
                </a:cubicBezTo>
                <a:lnTo>
                  <a:pt x="3394" y="2982"/>
                </a:lnTo>
                <a:lnTo>
                  <a:pt x="3187" y="2871"/>
                </a:lnTo>
                <a:lnTo>
                  <a:pt x="3314" y="2680"/>
                </a:lnTo>
                <a:cubicBezTo>
                  <a:pt x="3331" y="2648"/>
                  <a:pt x="3331" y="2600"/>
                  <a:pt x="3299" y="2584"/>
                </a:cubicBezTo>
                <a:cubicBezTo>
                  <a:pt x="3219" y="2505"/>
                  <a:pt x="3155" y="2409"/>
                  <a:pt x="3108" y="2298"/>
                </a:cubicBezTo>
                <a:cubicBezTo>
                  <a:pt x="3092" y="2266"/>
                  <a:pt x="3044" y="2250"/>
                  <a:pt x="3012" y="2250"/>
                </a:cubicBezTo>
                <a:lnTo>
                  <a:pt x="2805" y="2298"/>
                </a:lnTo>
                <a:lnTo>
                  <a:pt x="2742" y="2075"/>
                </a:lnTo>
                <a:close/>
                <a:moveTo>
                  <a:pt x="530" y="4239"/>
                </a:moveTo>
                <a:cubicBezTo>
                  <a:pt x="785" y="4414"/>
                  <a:pt x="1087" y="4509"/>
                  <a:pt x="1358" y="4509"/>
                </a:cubicBezTo>
                <a:lnTo>
                  <a:pt x="5208" y="4509"/>
                </a:lnTo>
                <a:lnTo>
                  <a:pt x="5224" y="4509"/>
                </a:lnTo>
                <a:cubicBezTo>
                  <a:pt x="6083" y="4462"/>
                  <a:pt x="6592" y="3936"/>
                  <a:pt x="6592" y="3109"/>
                </a:cubicBezTo>
                <a:cubicBezTo>
                  <a:pt x="6592" y="2298"/>
                  <a:pt x="5956" y="1948"/>
                  <a:pt x="5765" y="1868"/>
                </a:cubicBezTo>
                <a:lnTo>
                  <a:pt x="5765" y="1693"/>
                </a:lnTo>
                <a:cubicBezTo>
                  <a:pt x="5813" y="1105"/>
                  <a:pt x="5494" y="500"/>
                  <a:pt x="4953" y="214"/>
                </a:cubicBezTo>
                <a:cubicBezTo>
                  <a:pt x="4349" y="-120"/>
                  <a:pt x="3522" y="-57"/>
                  <a:pt x="2996" y="357"/>
                </a:cubicBezTo>
                <a:cubicBezTo>
                  <a:pt x="2853" y="468"/>
                  <a:pt x="2710" y="643"/>
                  <a:pt x="2646" y="754"/>
                </a:cubicBezTo>
                <a:cubicBezTo>
                  <a:pt x="2598" y="723"/>
                  <a:pt x="2519" y="675"/>
                  <a:pt x="2423" y="627"/>
                </a:cubicBezTo>
                <a:cubicBezTo>
                  <a:pt x="2042" y="436"/>
                  <a:pt x="1612" y="468"/>
                  <a:pt x="1262" y="707"/>
                </a:cubicBezTo>
                <a:cubicBezTo>
                  <a:pt x="912" y="929"/>
                  <a:pt x="721" y="1311"/>
                  <a:pt x="753" y="1725"/>
                </a:cubicBezTo>
                <a:cubicBezTo>
                  <a:pt x="769" y="1741"/>
                  <a:pt x="769" y="1820"/>
                  <a:pt x="769" y="1868"/>
                </a:cubicBezTo>
                <a:cubicBezTo>
                  <a:pt x="753" y="1884"/>
                  <a:pt x="737" y="1884"/>
                  <a:pt x="721" y="1900"/>
                </a:cubicBezTo>
                <a:cubicBezTo>
                  <a:pt x="594" y="1963"/>
                  <a:pt x="340" y="2107"/>
                  <a:pt x="149" y="2520"/>
                </a:cubicBezTo>
                <a:cubicBezTo>
                  <a:pt x="-154" y="3157"/>
                  <a:pt x="21" y="3873"/>
                  <a:pt x="530" y="4239"/>
                </a:cubicBezTo>
                <a:close/>
                <a:moveTo>
                  <a:pt x="292" y="2600"/>
                </a:moveTo>
                <a:cubicBezTo>
                  <a:pt x="467" y="2218"/>
                  <a:pt x="689" y="2091"/>
                  <a:pt x="801" y="2027"/>
                </a:cubicBezTo>
                <a:cubicBezTo>
                  <a:pt x="864" y="1996"/>
                  <a:pt x="896" y="1980"/>
                  <a:pt x="912" y="1932"/>
                </a:cubicBezTo>
                <a:cubicBezTo>
                  <a:pt x="928" y="1916"/>
                  <a:pt x="928" y="1916"/>
                  <a:pt x="928" y="1900"/>
                </a:cubicBezTo>
                <a:cubicBezTo>
                  <a:pt x="923" y="1837"/>
                  <a:pt x="928" y="1741"/>
                  <a:pt x="912" y="1709"/>
                </a:cubicBezTo>
                <a:cubicBezTo>
                  <a:pt x="896" y="1359"/>
                  <a:pt x="1055" y="1041"/>
                  <a:pt x="1341" y="834"/>
                </a:cubicBezTo>
                <a:cubicBezTo>
                  <a:pt x="1517" y="723"/>
                  <a:pt x="1708" y="659"/>
                  <a:pt x="1914" y="659"/>
                </a:cubicBezTo>
                <a:cubicBezTo>
                  <a:pt x="2058" y="659"/>
                  <a:pt x="2217" y="691"/>
                  <a:pt x="2360" y="771"/>
                </a:cubicBezTo>
                <a:cubicBezTo>
                  <a:pt x="2535" y="850"/>
                  <a:pt x="2519" y="877"/>
                  <a:pt x="2598" y="929"/>
                </a:cubicBezTo>
                <a:cubicBezTo>
                  <a:pt x="2614" y="945"/>
                  <a:pt x="2631" y="945"/>
                  <a:pt x="2662" y="962"/>
                </a:cubicBezTo>
                <a:cubicBezTo>
                  <a:pt x="2678" y="945"/>
                  <a:pt x="2710" y="945"/>
                  <a:pt x="2726" y="914"/>
                </a:cubicBezTo>
                <a:cubicBezTo>
                  <a:pt x="2848" y="771"/>
                  <a:pt x="2917" y="627"/>
                  <a:pt x="3092" y="484"/>
                </a:cubicBezTo>
                <a:cubicBezTo>
                  <a:pt x="3569" y="102"/>
                  <a:pt x="4333" y="54"/>
                  <a:pt x="4874" y="357"/>
                </a:cubicBezTo>
                <a:cubicBezTo>
                  <a:pt x="5367" y="611"/>
                  <a:pt x="5653" y="1152"/>
                  <a:pt x="5605" y="1677"/>
                </a:cubicBezTo>
                <a:lnTo>
                  <a:pt x="5605" y="1916"/>
                </a:lnTo>
                <a:cubicBezTo>
                  <a:pt x="5605" y="1948"/>
                  <a:pt x="5622" y="1980"/>
                  <a:pt x="5653" y="1996"/>
                </a:cubicBezTo>
                <a:cubicBezTo>
                  <a:pt x="5685" y="1996"/>
                  <a:pt x="6433" y="2266"/>
                  <a:pt x="6433" y="3109"/>
                </a:cubicBezTo>
                <a:cubicBezTo>
                  <a:pt x="6433" y="3857"/>
                  <a:pt x="5987" y="4302"/>
                  <a:pt x="5208" y="4350"/>
                </a:cubicBezTo>
                <a:lnTo>
                  <a:pt x="1358" y="4350"/>
                </a:lnTo>
                <a:cubicBezTo>
                  <a:pt x="1119" y="4350"/>
                  <a:pt x="849" y="4271"/>
                  <a:pt x="626" y="4111"/>
                </a:cubicBezTo>
                <a:cubicBezTo>
                  <a:pt x="180" y="3793"/>
                  <a:pt x="37" y="3141"/>
                  <a:pt x="292" y="260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6" name="Freeform: Shape 14">
            <a:extLst>
              <a:ext uri="{FF2B5EF4-FFF2-40B4-BE49-F238E27FC236}">
                <a16:creationId xmlns:a16="http://schemas.microsoft.com/office/drawing/2014/main" id="{A11FAEF4-AAA1-844C-B6A0-14D9D3F8BAC9}"/>
              </a:ext>
            </a:extLst>
          </p:cNvPr>
          <p:cNvSpPr/>
          <p:nvPr/>
        </p:nvSpPr>
        <p:spPr>
          <a:xfrm>
            <a:off x="5642297" y="9500617"/>
            <a:ext cx="2375640" cy="1620720"/>
          </a:xfrm>
          <a:custGeom>
            <a:avLst/>
            <a:gdLst/>
            <a:ahLst/>
            <a:cxnLst>
              <a:cxn ang="3cd4">
                <a:pos x="hc" y="t"/>
              </a:cxn>
              <a:cxn ang="cd2">
                <a:pos x="l" y="vc"/>
              </a:cxn>
              <a:cxn ang="cd4">
                <a:pos x="hc" y="b"/>
              </a:cxn>
              <a:cxn ang="0">
                <a:pos x="r" y="vc"/>
              </a:cxn>
            </a:cxnLst>
            <a:rect l="l" t="t" r="r" b="b"/>
            <a:pathLst>
              <a:path w="6600" h="4503">
                <a:moveTo>
                  <a:pt x="1525" y="3962"/>
                </a:moveTo>
                <a:cubicBezTo>
                  <a:pt x="1557" y="3962"/>
                  <a:pt x="1605" y="3930"/>
                  <a:pt x="1605" y="3883"/>
                </a:cubicBezTo>
                <a:lnTo>
                  <a:pt x="1605" y="3628"/>
                </a:lnTo>
                <a:cubicBezTo>
                  <a:pt x="1605" y="3310"/>
                  <a:pt x="1812" y="3103"/>
                  <a:pt x="2114" y="3103"/>
                </a:cubicBezTo>
                <a:lnTo>
                  <a:pt x="2257" y="3103"/>
                </a:lnTo>
                <a:cubicBezTo>
                  <a:pt x="2400" y="3214"/>
                  <a:pt x="2575" y="3294"/>
                  <a:pt x="2750" y="3294"/>
                </a:cubicBezTo>
                <a:cubicBezTo>
                  <a:pt x="2925" y="3294"/>
                  <a:pt x="3100" y="3214"/>
                  <a:pt x="3243" y="3103"/>
                </a:cubicBezTo>
                <a:cubicBezTo>
                  <a:pt x="3546" y="3103"/>
                  <a:pt x="3752" y="3326"/>
                  <a:pt x="3752" y="3628"/>
                </a:cubicBezTo>
                <a:lnTo>
                  <a:pt x="3752" y="3883"/>
                </a:lnTo>
                <a:cubicBezTo>
                  <a:pt x="3752" y="3930"/>
                  <a:pt x="3784" y="3962"/>
                  <a:pt x="3832" y="3962"/>
                </a:cubicBezTo>
                <a:cubicBezTo>
                  <a:pt x="3864" y="3962"/>
                  <a:pt x="3896" y="3930"/>
                  <a:pt x="3896" y="3883"/>
                </a:cubicBezTo>
                <a:lnTo>
                  <a:pt x="3896" y="3628"/>
                </a:lnTo>
                <a:cubicBezTo>
                  <a:pt x="3896" y="3405"/>
                  <a:pt x="3816" y="3214"/>
                  <a:pt x="3673" y="3087"/>
                </a:cubicBezTo>
                <a:cubicBezTo>
                  <a:pt x="3737" y="3103"/>
                  <a:pt x="3800" y="3119"/>
                  <a:pt x="3848" y="3119"/>
                </a:cubicBezTo>
                <a:lnTo>
                  <a:pt x="3864" y="3119"/>
                </a:lnTo>
                <a:lnTo>
                  <a:pt x="4437" y="3119"/>
                </a:lnTo>
                <a:cubicBezTo>
                  <a:pt x="4771" y="3119"/>
                  <a:pt x="5025" y="3342"/>
                  <a:pt x="5025" y="3644"/>
                </a:cubicBezTo>
                <a:lnTo>
                  <a:pt x="5025" y="3883"/>
                </a:lnTo>
                <a:cubicBezTo>
                  <a:pt x="5025" y="3930"/>
                  <a:pt x="5057" y="3962"/>
                  <a:pt x="5105" y="3962"/>
                </a:cubicBezTo>
                <a:cubicBezTo>
                  <a:pt x="5137" y="3962"/>
                  <a:pt x="5185" y="3930"/>
                  <a:pt x="5185" y="3883"/>
                </a:cubicBezTo>
                <a:lnTo>
                  <a:pt x="5185" y="3644"/>
                </a:lnTo>
                <a:cubicBezTo>
                  <a:pt x="5185" y="3262"/>
                  <a:pt x="4882" y="2992"/>
                  <a:pt x="4500" y="2960"/>
                </a:cubicBezTo>
                <a:cubicBezTo>
                  <a:pt x="4755" y="2817"/>
                  <a:pt x="4930" y="2594"/>
                  <a:pt x="5009" y="2451"/>
                </a:cubicBezTo>
                <a:cubicBezTo>
                  <a:pt x="5025" y="2419"/>
                  <a:pt x="5025" y="2387"/>
                  <a:pt x="5009" y="2371"/>
                </a:cubicBezTo>
                <a:cubicBezTo>
                  <a:pt x="4946" y="2260"/>
                  <a:pt x="4787" y="1974"/>
                  <a:pt x="4755" y="1878"/>
                </a:cubicBezTo>
                <a:cubicBezTo>
                  <a:pt x="4628" y="1337"/>
                  <a:pt x="4325" y="1035"/>
                  <a:pt x="3896" y="1035"/>
                </a:cubicBezTo>
                <a:cubicBezTo>
                  <a:pt x="3891" y="1040"/>
                  <a:pt x="3880" y="1035"/>
                  <a:pt x="3880" y="1051"/>
                </a:cubicBezTo>
                <a:cubicBezTo>
                  <a:pt x="3673" y="1051"/>
                  <a:pt x="3482" y="1130"/>
                  <a:pt x="3339" y="1274"/>
                </a:cubicBezTo>
                <a:cubicBezTo>
                  <a:pt x="3323" y="1274"/>
                  <a:pt x="3307" y="1257"/>
                  <a:pt x="3291" y="1257"/>
                </a:cubicBezTo>
                <a:cubicBezTo>
                  <a:pt x="3005" y="1051"/>
                  <a:pt x="2480" y="1210"/>
                  <a:pt x="2384" y="1242"/>
                </a:cubicBezTo>
                <a:cubicBezTo>
                  <a:pt x="2161" y="1257"/>
                  <a:pt x="2018" y="1432"/>
                  <a:pt x="2018" y="1719"/>
                </a:cubicBezTo>
                <a:lnTo>
                  <a:pt x="2018" y="1926"/>
                </a:lnTo>
                <a:cubicBezTo>
                  <a:pt x="1923" y="1957"/>
                  <a:pt x="1827" y="2021"/>
                  <a:pt x="1827" y="2117"/>
                </a:cubicBezTo>
                <a:lnTo>
                  <a:pt x="1827" y="2371"/>
                </a:lnTo>
                <a:cubicBezTo>
                  <a:pt x="1827" y="2466"/>
                  <a:pt x="1907" y="2546"/>
                  <a:pt x="2003" y="2578"/>
                </a:cubicBezTo>
                <a:cubicBezTo>
                  <a:pt x="2018" y="2705"/>
                  <a:pt x="2066" y="2833"/>
                  <a:pt x="2130" y="2944"/>
                </a:cubicBezTo>
                <a:lnTo>
                  <a:pt x="2114" y="2944"/>
                </a:lnTo>
                <a:cubicBezTo>
                  <a:pt x="1716" y="2944"/>
                  <a:pt x="1446" y="3230"/>
                  <a:pt x="1446" y="3628"/>
                </a:cubicBezTo>
                <a:lnTo>
                  <a:pt x="1446" y="3883"/>
                </a:lnTo>
                <a:cubicBezTo>
                  <a:pt x="1446" y="3930"/>
                  <a:pt x="1478" y="3962"/>
                  <a:pt x="1525" y="3962"/>
                </a:cubicBezTo>
                <a:close/>
                <a:moveTo>
                  <a:pt x="3880" y="1210"/>
                </a:moveTo>
                <a:lnTo>
                  <a:pt x="3896" y="1194"/>
                </a:lnTo>
                <a:cubicBezTo>
                  <a:pt x="4389" y="1194"/>
                  <a:pt x="4548" y="1703"/>
                  <a:pt x="4596" y="1910"/>
                </a:cubicBezTo>
                <a:cubicBezTo>
                  <a:pt x="4628" y="2037"/>
                  <a:pt x="4787" y="2308"/>
                  <a:pt x="4851" y="2403"/>
                </a:cubicBezTo>
                <a:cubicBezTo>
                  <a:pt x="4723" y="2626"/>
                  <a:pt x="4405" y="2944"/>
                  <a:pt x="3912" y="2960"/>
                </a:cubicBezTo>
                <a:cubicBezTo>
                  <a:pt x="3737" y="2960"/>
                  <a:pt x="3578" y="2912"/>
                  <a:pt x="3434" y="2848"/>
                </a:cubicBezTo>
                <a:cubicBezTo>
                  <a:pt x="3482" y="2769"/>
                  <a:pt x="3514" y="2674"/>
                  <a:pt x="3530" y="2578"/>
                </a:cubicBezTo>
                <a:cubicBezTo>
                  <a:pt x="3609" y="2546"/>
                  <a:pt x="3705" y="2466"/>
                  <a:pt x="3705" y="2371"/>
                </a:cubicBezTo>
                <a:lnTo>
                  <a:pt x="3705" y="2101"/>
                </a:lnTo>
                <a:cubicBezTo>
                  <a:pt x="3705" y="2069"/>
                  <a:pt x="3705" y="2005"/>
                  <a:pt x="3657" y="1957"/>
                </a:cubicBezTo>
                <a:cubicBezTo>
                  <a:pt x="3625" y="1926"/>
                  <a:pt x="3578" y="1910"/>
                  <a:pt x="3514" y="1910"/>
                </a:cubicBezTo>
                <a:lnTo>
                  <a:pt x="3514" y="1719"/>
                </a:lnTo>
                <a:cubicBezTo>
                  <a:pt x="3514" y="1592"/>
                  <a:pt x="3482" y="1480"/>
                  <a:pt x="3434" y="1401"/>
                </a:cubicBezTo>
                <a:cubicBezTo>
                  <a:pt x="3561" y="1274"/>
                  <a:pt x="3705" y="1210"/>
                  <a:pt x="3880" y="1210"/>
                </a:cubicBezTo>
                <a:close/>
                <a:moveTo>
                  <a:pt x="1987" y="2371"/>
                </a:moveTo>
                <a:lnTo>
                  <a:pt x="1970" y="2132"/>
                </a:lnTo>
                <a:cubicBezTo>
                  <a:pt x="1987" y="2117"/>
                  <a:pt x="2050" y="2069"/>
                  <a:pt x="2114" y="2053"/>
                </a:cubicBezTo>
                <a:cubicBezTo>
                  <a:pt x="2146" y="2053"/>
                  <a:pt x="2178" y="2021"/>
                  <a:pt x="2178" y="1989"/>
                </a:cubicBezTo>
                <a:lnTo>
                  <a:pt x="2178" y="1719"/>
                </a:lnTo>
                <a:cubicBezTo>
                  <a:pt x="2178" y="1608"/>
                  <a:pt x="2209" y="1401"/>
                  <a:pt x="2400" y="1401"/>
                </a:cubicBezTo>
                <a:lnTo>
                  <a:pt x="2432" y="1401"/>
                </a:lnTo>
                <a:cubicBezTo>
                  <a:pt x="2527" y="1369"/>
                  <a:pt x="2734" y="1305"/>
                  <a:pt x="2909" y="1305"/>
                </a:cubicBezTo>
                <a:cubicBezTo>
                  <a:pt x="3021" y="1305"/>
                  <a:pt x="3132" y="1321"/>
                  <a:pt x="3212" y="1385"/>
                </a:cubicBezTo>
                <a:cubicBezTo>
                  <a:pt x="3228" y="1401"/>
                  <a:pt x="3243" y="1417"/>
                  <a:pt x="3260" y="1432"/>
                </a:cubicBezTo>
                <a:cubicBezTo>
                  <a:pt x="3265" y="1443"/>
                  <a:pt x="3275" y="1448"/>
                  <a:pt x="3275" y="1465"/>
                </a:cubicBezTo>
                <a:lnTo>
                  <a:pt x="3291" y="1465"/>
                </a:lnTo>
                <a:cubicBezTo>
                  <a:pt x="3323" y="1528"/>
                  <a:pt x="3355" y="1608"/>
                  <a:pt x="3355" y="1719"/>
                </a:cubicBezTo>
                <a:lnTo>
                  <a:pt x="3355" y="1989"/>
                </a:lnTo>
                <a:cubicBezTo>
                  <a:pt x="3355" y="2021"/>
                  <a:pt x="3387" y="2069"/>
                  <a:pt x="3434" y="2069"/>
                </a:cubicBezTo>
                <a:lnTo>
                  <a:pt x="3546" y="2069"/>
                </a:lnTo>
                <a:lnTo>
                  <a:pt x="3546" y="2117"/>
                </a:lnTo>
                <a:lnTo>
                  <a:pt x="3546" y="2371"/>
                </a:lnTo>
                <a:cubicBezTo>
                  <a:pt x="3546" y="2387"/>
                  <a:pt x="3498" y="2419"/>
                  <a:pt x="3451" y="2419"/>
                </a:cubicBezTo>
                <a:cubicBezTo>
                  <a:pt x="3403" y="2419"/>
                  <a:pt x="3371" y="2466"/>
                  <a:pt x="3371" y="2499"/>
                </a:cubicBezTo>
                <a:cubicBezTo>
                  <a:pt x="3371" y="2610"/>
                  <a:pt x="3339" y="2721"/>
                  <a:pt x="3275" y="2817"/>
                </a:cubicBezTo>
                <a:cubicBezTo>
                  <a:pt x="3260" y="2817"/>
                  <a:pt x="3260" y="2833"/>
                  <a:pt x="3260" y="2848"/>
                </a:cubicBezTo>
                <a:cubicBezTo>
                  <a:pt x="3243" y="2848"/>
                  <a:pt x="3243" y="2848"/>
                  <a:pt x="3243" y="2865"/>
                </a:cubicBezTo>
                <a:cubicBezTo>
                  <a:pt x="3132" y="3023"/>
                  <a:pt x="2941" y="3135"/>
                  <a:pt x="2750" y="3135"/>
                </a:cubicBezTo>
                <a:cubicBezTo>
                  <a:pt x="2448" y="3135"/>
                  <a:pt x="2161" y="2833"/>
                  <a:pt x="2161" y="2499"/>
                </a:cubicBezTo>
                <a:cubicBezTo>
                  <a:pt x="2161" y="2466"/>
                  <a:pt x="2114" y="2419"/>
                  <a:pt x="2082" y="2419"/>
                </a:cubicBezTo>
                <a:cubicBezTo>
                  <a:pt x="2034" y="2419"/>
                  <a:pt x="1987" y="2387"/>
                  <a:pt x="1987" y="2371"/>
                </a:cubicBezTo>
                <a:close/>
                <a:moveTo>
                  <a:pt x="539" y="4233"/>
                </a:moveTo>
                <a:cubicBezTo>
                  <a:pt x="778" y="4408"/>
                  <a:pt x="1080" y="4503"/>
                  <a:pt x="1366" y="4503"/>
                </a:cubicBezTo>
                <a:lnTo>
                  <a:pt x="5216" y="4503"/>
                </a:lnTo>
                <a:cubicBezTo>
                  <a:pt x="6076" y="4456"/>
                  <a:pt x="6600" y="3930"/>
                  <a:pt x="6600" y="3103"/>
                </a:cubicBezTo>
                <a:cubicBezTo>
                  <a:pt x="6600" y="2292"/>
                  <a:pt x="5948" y="1942"/>
                  <a:pt x="5757" y="1862"/>
                </a:cubicBezTo>
                <a:lnTo>
                  <a:pt x="5757" y="1687"/>
                </a:lnTo>
                <a:cubicBezTo>
                  <a:pt x="5805" y="1098"/>
                  <a:pt x="5487" y="510"/>
                  <a:pt x="4962" y="208"/>
                </a:cubicBezTo>
                <a:cubicBezTo>
                  <a:pt x="4341" y="-111"/>
                  <a:pt x="3530" y="-63"/>
                  <a:pt x="2989" y="351"/>
                </a:cubicBezTo>
                <a:cubicBezTo>
                  <a:pt x="2846" y="462"/>
                  <a:pt x="2718" y="653"/>
                  <a:pt x="2639" y="748"/>
                </a:cubicBezTo>
                <a:cubicBezTo>
                  <a:pt x="2591" y="717"/>
                  <a:pt x="2527" y="669"/>
                  <a:pt x="2416" y="621"/>
                </a:cubicBezTo>
                <a:cubicBezTo>
                  <a:pt x="2050" y="430"/>
                  <a:pt x="1605" y="462"/>
                  <a:pt x="1255" y="701"/>
                </a:cubicBezTo>
                <a:cubicBezTo>
                  <a:pt x="904" y="939"/>
                  <a:pt x="730" y="1321"/>
                  <a:pt x="761" y="1719"/>
                </a:cubicBezTo>
                <a:lnTo>
                  <a:pt x="761" y="1862"/>
                </a:lnTo>
                <a:cubicBezTo>
                  <a:pt x="746" y="1878"/>
                  <a:pt x="730" y="1878"/>
                  <a:pt x="714" y="1894"/>
                </a:cubicBezTo>
                <a:cubicBezTo>
                  <a:pt x="602" y="1957"/>
                  <a:pt x="348" y="2101"/>
                  <a:pt x="141" y="2530"/>
                </a:cubicBezTo>
                <a:cubicBezTo>
                  <a:pt x="-145" y="3151"/>
                  <a:pt x="14" y="3867"/>
                  <a:pt x="539" y="4233"/>
                </a:cubicBezTo>
                <a:close/>
                <a:moveTo>
                  <a:pt x="284" y="2594"/>
                </a:moveTo>
                <a:cubicBezTo>
                  <a:pt x="459" y="2212"/>
                  <a:pt x="682" y="2101"/>
                  <a:pt x="793" y="2037"/>
                </a:cubicBezTo>
                <a:cubicBezTo>
                  <a:pt x="857" y="1989"/>
                  <a:pt x="904" y="1974"/>
                  <a:pt x="921" y="1926"/>
                </a:cubicBezTo>
                <a:lnTo>
                  <a:pt x="921" y="1894"/>
                </a:lnTo>
                <a:lnTo>
                  <a:pt x="921" y="1703"/>
                </a:lnTo>
                <a:cubicBezTo>
                  <a:pt x="889" y="1353"/>
                  <a:pt x="1048" y="1035"/>
                  <a:pt x="1350" y="828"/>
                </a:cubicBezTo>
                <a:cubicBezTo>
                  <a:pt x="1509" y="717"/>
                  <a:pt x="1716" y="653"/>
                  <a:pt x="1907" y="653"/>
                </a:cubicBezTo>
                <a:cubicBezTo>
                  <a:pt x="2050" y="653"/>
                  <a:pt x="2209" y="685"/>
                  <a:pt x="2352" y="764"/>
                </a:cubicBezTo>
                <a:cubicBezTo>
                  <a:pt x="2527" y="860"/>
                  <a:pt x="2511" y="870"/>
                  <a:pt x="2591" y="923"/>
                </a:cubicBezTo>
                <a:cubicBezTo>
                  <a:pt x="2607" y="939"/>
                  <a:pt x="2639" y="955"/>
                  <a:pt x="2655" y="955"/>
                </a:cubicBezTo>
                <a:cubicBezTo>
                  <a:pt x="2687" y="955"/>
                  <a:pt x="2703" y="939"/>
                  <a:pt x="2718" y="908"/>
                </a:cubicBezTo>
                <a:cubicBezTo>
                  <a:pt x="2840" y="765"/>
                  <a:pt x="2909" y="621"/>
                  <a:pt x="3084" y="478"/>
                </a:cubicBezTo>
                <a:cubicBezTo>
                  <a:pt x="3578" y="112"/>
                  <a:pt x="4325" y="48"/>
                  <a:pt x="4882" y="351"/>
                </a:cubicBezTo>
                <a:cubicBezTo>
                  <a:pt x="5360" y="605"/>
                  <a:pt x="5646" y="1146"/>
                  <a:pt x="5598" y="1671"/>
                </a:cubicBezTo>
                <a:lnTo>
                  <a:pt x="5598" y="1910"/>
                </a:lnTo>
                <a:cubicBezTo>
                  <a:pt x="5598" y="1942"/>
                  <a:pt x="5630" y="1974"/>
                  <a:pt x="5662" y="1989"/>
                </a:cubicBezTo>
                <a:cubicBezTo>
                  <a:pt x="5694" y="2005"/>
                  <a:pt x="6442" y="2260"/>
                  <a:pt x="6442" y="3103"/>
                </a:cubicBezTo>
                <a:cubicBezTo>
                  <a:pt x="6442" y="3851"/>
                  <a:pt x="5996" y="4312"/>
                  <a:pt x="5216" y="4344"/>
                </a:cubicBezTo>
                <a:lnTo>
                  <a:pt x="1366" y="4344"/>
                </a:lnTo>
                <a:cubicBezTo>
                  <a:pt x="1112" y="4344"/>
                  <a:pt x="841" y="4265"/>
                  <a:pt x="634" y="4105"/>
                </a:cubicBezTo>
                <a:cubicBezTo>
                  <a:pt x="173" y="3787"/>
                  <a:pt x="30" y="3135"/>
                  <a:pt x="284" y="259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7" name="Freeform: Shape 18">
            <a:extLst>
              <a:ext uri="{FF2B5EF4-FFF2-40B4-BE49-F238E27FC236}">
                <a16:creationId xmlns:a16="http://schemas.microsoft.com/office/drawing/2014/main" id="{F17EAA4C-4D49-A84F-8E16-AEBC832DF5D4}"/>
              </a:ext>
            </a:extLst>
          </p:cNvPr>
          <p:cNvSpPr/>
          <p:nvPr/>
        </p:nvSpPr>
        <p:spPr>
          <a:xfrm>
            <a:off x="1415236" y="9578017"/>
            <a:ext cx="2372760" cy="1623600"/>
          </a:xfrm>
          <a:custGeom>
            <a:avLst/>
            <a:gdLst/>
            <a:ahLst/>
            <a:cxnLst>
              <a:cxn ang="3cd4">
                <a:pos x="hc" y="t"/>
              </a:cxn>
              <a:cxn ang="cd2">
                <a:pos x="l" y="vc"/>
              </a:cxn>
              <a:cxn ang="cd4">
                <a:pos x="hc" y="b"/>
              </a:cxn>
              <a:cxn ang="0">
                <a:pos x="r" y="vc"/>
              </a:cxn>
            </a:cxnLst>
            <a:rect l="l" t="t" r="r" b="b"/>
            <a:pathLst>
              <a:path w="6592" h="4511">
                <a:moveTo>
                  <a:pt x="148" y="2522"/>
                </a:moveTo>
                <a:cubicBezTo>
                  <a:pt x="-154" y="3142"/>
                  <a:pt x="21" y="3859"/>
                  <a:pt x="530" y="4241"/>
                </a:cubicBezTo>
                <a:cubicBezTo>
                  <a:pt x="769" y="4399"/>
                  <a:pt x="1087" y="4511"/>
                  <a:pt x="1358" y="4511"/>
                </a:cubicBezTo>
                <a:lnTo>
                  <a:pt x="5208" y="4511"/>
                </a:lnTo>
                <a:lnTo>
                  <a:pt x="5224" y="4511"/>
                </a:lnTo>
                <a:cubicBezTo>
                  <a:pt x="6083" y="4463"/>
                  <a:pt x="6592" y="3938"/>
                  <a:pt x="6592" y="3111"/>
                </a:cubicBezTo>
                <a:cubicBezTo>
                  <a:pt x="6592" y="2284"/>
                  <a:pt x="5956" y="1933"/>
                  <a:pt x="5765" y="1854"/>
                </a:cubicBezTo>
                <a:lnTo>
                  <a:pt x="5765" y="1695"/>
                </a:lnTo>
                <a:cubicBezTo>
                  <a:pt x="5812" y="1090"/>
                  <a:pt x="5494" y="502"/>
                  <a:pt x="4953" y="215"/>
                </a:cubicBezTo>
                <a:cubicBezTo>
                  <a:pt x="4349" y="-119"/>
                  <a:pt x="3521" y="-55"/>
                  <a:pt x="2996" y="342"/>
                </a:cubicBezTo>
                <a:cubicBezTo>
                  <a:pt x="2853" y="454"/>
                  <a:pt x="2710" y="645"/>
                  <a:pt x="2647" y="756"/>
                </a:cubicBezTo>
                <a:cubicBezTo>
                  <a:pt x="2599" y="708"/>
                  <a:pt x="2519" y="660"/>
                  <a:pt x="2424" y="613"/>
                </a:cubicBezTo>
                <a:cubicBezTo>
                  <a:pt x="2042" y="422"/>
                  <a:pt x="1612" y="454"/>
                  <a:pt x="1262" y="693"/>
                </a:cubicBezTo>
                <a:cubicBezTo>
                  <a:pt x="912" y="931"/>
                  <a:pt x="721" y="1313"/>
                  <a:pt x="753" y="1711"/>
                </a:cubicBezTo>
                <a:cubicBezTo>
                  <a:pt x="769" y="1727"/>
                  <a:pt x="769" y="1822"/>
                  <a:pt x="769" y="1870"/>
                </a:cubicBezTo>
                <a:cubicBezTo>
                  <a:pt x="753" y="1870"/>
                  <a:pt x="737" y="1886"/>
                  <a:pt x="721" y="1886"/>
                </a:cubicBezTo>
                <a:cubicBezTo>
                  <a:pt x="594" y="1950"/>
                  <a:pt x="339" y="2108"/>
                  <a:pt x="148" y="2522"/>
                </a:cubicBezTo>
                <a:close/>
                <a:moveTo>
                  <a:pt x="801" y="2029"/>
                </a:moveTo>
                <a:cubicBezTo>
                  <a:pt x="865" y="1997"/>
                  <a:pt x="896" y="1965"/>
                  <a:pt x="912" y="1917"/>
                </a:cubicBezTo>
                <a:cubicBezTo>
                  <a:pt x="928" y="1917"/>
                  <a:pt x="923" y="1907"/>
                  <a:pt x="928" y="1902"/>
                </a:cubicBezTo>
                <a:cubicBezTo>
                  <a:pt x="923" y="1833"/>
                  <a:pt x="928" y="1727"/>
                  <a:pt x="912" y="1695"/>
                </a:cubicBezTo>
                <a:cubicBezTo>
                  <a:pt x="896" y="1361"/>
                  <a:pt x="1056" y="1027"/>
                  <a:pt x="1342" y="820"/>
                </a:cubicBezTo>
                <a:cubicBezTo>
                  <a:pt x="1517" y="708"/>
                  <a:pt x="1708" y="645"/>
                  <a:pt x="1915" y="645"/>
                </a:cubicBezTo>
                <a:cubicBezTo>
                  <a:pt x="2058" y="645"/>
                  <a:pt x="2217" y="693"/>
                  <a:pt x="2344" y="756"/>
                </a:cubicBezTo>
                <a:cubicBezTo>
                  <a:pt x="2535" y="851"/>
                  <a:pt x="2514" y="862"/>
                  <a:pt x="2599" y="915"/>
                </a:cubicBezTo>
                <a:cubicBezTo>
                  <a:pt x="2615" y="931"/>
                  <a:pt x="2630" y="947"/>
                  <a:pt x="2662" y="947"/>
                </a:cubicBezTo>
                <a:cubicBezTo>
                  <a:pt x="2678" y="947"/>
                  <a:pt x="2710" y="931"/>
                  <a:pt x="2726" y="915"/>
                </a:cubicBezTo>
                <a:cubicBezTo>
                  <a:pt x="2848" y="767"/>
                  <a:pt x="2917" y="613"/>
                  <a:pt x="3092" y="470"/>
                </a:cubicBezTo>
                <a:cubicBezTo>
                  <a:pt x="3569" y="104"/>
                  <a:pt x="4333" y="40"/>
                  <a:pt x="4874" y="342"/>
                </a:cubicBezTo>
                <a:cubicBezTo>
                  <a:pt x="5367" y="613"/>
                  <a:pt x="5654" y="1138"/>
                  <a:pt x="5606" y="1679"/>
                </a:cubicBezTo>
                <a:lnTo>
                  <a:pt x="5606" y="1917"/>
                </a:lnTo>
                <a:cubicBezTo>
                  <a:pt x="5606" y="1950"/>
                  <a:pt x="5621" y="1981"/>
                  <a:pt x="5654" y="1981"/>
                </a:cubicBezTo>
                <a:cubicBezTo>
                  <a:pt x="5685" y="1997"/>
                  <a:pt x="6433" y="2268"/>
                  <a:pt x="6433" y="3111"/>
                </a:cubicBezTo>
                <a:cubicBezTo>
                  <a:pt x="6433" y="3842"/>
                  <a:pt x="5987" y="4304"/>
                  <a:pt x="5208" y="4352"/>
                </a:cubicBezTo>
                <a:lnTo>
                  <a:pt x="1358" y="4352"/>
                </a:lnTo>
                <a:cubicBezTo>
                  <a:pt x="1119" y="4352"/>
                  <a:pt x="848" y="4256"/>
                  <a:pt x="626" y="4097"/>
                </a:cubicBezTo>
                <a:cubicBezTo>
                  <a:pt x="180" y="3779"/>
                  <a:pt x="37" y="3127"/>
                  <a:pt x="292" y="2586"/>
                </a:cubicBezTo>
                <a:cubicBezTo>
                  <a:pt x="467" y="2220"/>
                  <a:pt x="690" y="2093"/>
                  <a:pt x="801" y="2029"/>
                </a:cubicBezTo>
                <a:close/>
                <a:moveTo>
                  <a:pt x="3696" y="2920"/>
                </a:moveTo>
                <a:cubicBezTo>
                  <a:pt x="3712" y="2952"/>
                  <a:pt x="3712" y="2968"/>
                  <a:pt x="3712" y="2999"/>
                </a:cubicBezTo>
                <a:cubicBezTo>
                  <a:pt x="3712" y="2968"/>
                  <a:pt x="3696" y="2920"/>
                  <a:pt x="3696" y="2888"/>
                </a:cubicBezTo>
                <a:cubicBezTo>
                  <a:pt x="3696" y="2841"/>
                  <a:pt x="3712" y="2777"/>
                  <a:pt x="3729" y="2713"/>
                </a:cubicBezTo>
                <a:cubicBezTo>
                  <a:pt x="3712" y="2777"/>
                  <a:pt x="3681" y="2824"/>
                  <a:pt x="3649" y="2888"/>
                </a:cubicBezTo>
                <a:lnTo>
                  <a:pt x="3665" y="2888"/>
                </a:lnTo>
                <a:cubicBezTo>
                  <a:pt x="3681" y="2888"/>
                  <a:pt x="3696" y="2904"/>
                  <a:pt x="3696" y="2920"/>
                </a:cubicBezTo>
                <a:close/>
                <a:moveTo>
                  <a:pt x="3156" y="3206"/>
                </a:moveTo>
                <a:cubicBezTo>
                  <a:pt x="2885" y="3206"/>
                  <a:pt x="2710" y="3015"/>
                  <a:pt x="2710" y="2745"/>
                </a:cubicBezTo>
                <a:cubicBezTo>
                  <a:pt x="2710" y="2570"/>
                  <a:pt x="2758" y="2411"/>
                  <a:pt x="2853" y="2299"/>
                </a:cubicBezTo>
                <a:cubicBezTo>
                  <a:pt x="2758" y="2411"/>
                  <a:pt x="2694" y="2570"/>
                  <a:pt x="2694" y="2745"/>
                </a:cubicBezTo>
                <a:cubicBezTo>
                  <a:pt x="2694" y="3015"/>
                  <a:pt x="2885" y="3206"/>
                  <a:pt x="3139" y="3206"/>
                </a:cubicBezTo>
                <a:cubicBezTo>
                  <a:pt x="3187" y="3206"/>
                  <a:pt x="3235" y="3206"/>
                  <a:pt x="3267" y="3190"/>
                </a:cubicBezTo>
                <a:cubicBezTo>
                  <a:pt x="3235" y="3206"/>
                  <a:pt x="3187" y="3206"/>
                  <a:pt x="3156" y="3206"/>
                </a:cubicBezTo>
                <a:close/>
                <a:moveTo>
                  <a:pt x="3156" y="2108"/>
                </a:moveTo>
                <a:cubicBezTo>
                  <a:pt x="3203" y="2093"/>
                  <a:pt x="3251" y="2093"/>
                  <a:pt x="3283" y="2093"/>
                </a:cubicBezTo>
                <a:cubicBezTo>
                  <a:pt x="3410" y="2093"/>
                  <a:pt x="3521" y="2140"/>
                  <a:pt x="3601" y="2220"/>
                </a:cubicBezTo>
                <a:cubicBezTo>
                  <a:pt x="3506" y="2108"/>
                  <a:pt x="3330" y="2061"/>
                  <a:pt x="3156" y="2108"/>
                </a:cubicBezTo>
                <a:close/>
                <a:moveTo>
                  <a:pt x="3744" y="2554"/>
                </a:moveTo>
                <a:cubicBezTo>
                  <a:pt x="3744" y="2586"/>
                  <a:pt x="3744" y="2618"/>
                  <a:pt x="3729" y="2633"/>
                </a:cubicBezTo>
                <a:lnTo>
                  <a:pt x="3824" y="2156"/>
                </a:lnTo>
                <a:lnTo>
                  <a:pt x="3776" y="2379"/>
                </a:lnTo>
                <a:cubicBezTo>
                  <a:pt x="3776" y="2395"/>
                  <a:pt x="3760" y="2411"/>
                  <a:pt x="3729" y="2411"/>
                </a:cubicBezTo>
                <a:lnTo>
                  <a:pt x="3712" y="2411"/>
                </a:lnTo>
                <a:cubicBezTo>
                  <a:pt x="3729" y="2459"/>
                  <a:pt x="3744" y="2506"/>
                  <a:pt x="3744" y="2554"/>
                </a:cubicBezTo>
                <a:close/>
                <a:moveTo>
                  <a:pt x="3315" y="4002"/>
                </a:moveTo>
                <a:cubicBezTo>
                  <a:pt x="3601" y="4002"/>
                  <a:pt x="3840" y="3938"/>
                  <a:pt x="4078" y="3779"/>
                </a:cubicBezTo>
                <a:cubicBezTo>
                  <a:pt x="4094" y="3779"/>
                  <a:pt x="4094" y="3747"/>
                  <a:pt x="4094" y="3731"/>
                </a:cubicBezTo>
                <a:lnTo>
                  <a:pt x="4046" y="3668"/>
                </a:lnTo>
                <a:cubicBezTo>
                  <a:pt x="4030" y="3652"/>
                  <a:pt x="4015" y="3636"/>
                  <a:pt x="3983" y="3652"/>
                </a:cubicBezTo>
                <a:cubicBezTo>
                  <a:pt x="3776" y="3779"/>
                  <a:pt x="3569" y="3842"/>
                  <a:pt x="3315" y="3842"/>
                </a:cubicBezTo>
                <a:cubicBezTo>
                  <a:pt x="2630" y="3842"/>
                  <a:pt x="2153" y="3365"/>
                  <a:pt x="2153" y="2697"/>
                </a:cubicBezTo>
                <a:cubicBezTo>
                  <a:pt x="2153" y="2029"/>
                  <a:pt x="2647" y="1504"/>
                  <a:pt x="3283" y="1504"/>
                </a:cubicBezTo>
                <a:cubicBezTo>
                  <a:pt x="3887" y="1504"/>
                  <a:pt x="4396" y="1965"/>
                  <a:pt x="4396" y="2538"/>
                </a:cubicBezTo>
                <a:cubicBezTo>
                  <a:pt x="4396" y="2952"/>
                  <a:pt x="4190" y="3127"/>
                  <a:pt x="4015" y="3127"/>
                </a:cubicBezTo>
                <a:cubicBezTo>
                  <a:pt x="3872" y="3127"/>
                  <a:pt x="3792" y="3047"/>
                  <a:pt x="3792" y="2888"/>
                </a:cubicBezTo>
                <a:cubicBezTo>
                  <a:pt x="3792" y="2841"/>
                  <a:pt x="3808" y="2777"/>
                  <a:pt x="3808" y="2713"/>
                </a:cubicBezTo>
                <a:lnTo>
                  <a:pt x="3919" y="2124"/>
                </a:lnTo>
                <a:lnTo>
                  <a:pt x="3919" y="2093"/>
                </a:lnTo>
                <a:cubicBezTo>
                  <a:pt x="3903" y="2077"/>
                  <a:pt x="3898" y="2082"/>
                  <a:pt x="3887" y="2077"/>
                </a:cubicBezTo>
                <a:lnTo>
                  <a:pt x="3792" y="2061"/>
                </a:lnTo>
                <a:cubicBezTo>
                  <a:pt x="3760" y="2045"/>
                  <a:pt x="3744" y="2061"/>
                  <a:pt x="3744" y="2093"/>
                </a:cubicBezTo>
                <a:lnTo>
                  <a:pt x="3712" y="2220"/>
                </a:lnTo>
                <a:cubicBezTo>
                  <a:pt x="3633" y="2077"/>
                  <a:pt x="3474" y="1997"/>
                  <a:pt x="3283" y="1997"/>
                </a:cubicBezTo>
                <a:cubicBezTo>
                  <a:pt x="2965" y="1997"/>
                  <a:pt x="2599" y="2299"/>
                  <a:pt x="2599" y="2745"/>
                </a:cubicBezTo>
                <a:cubicBezTo>
                  <a:pt x="2599" y="3063"/>
                  <a:pt x="2821" y="3302"/>
                  <a:pt x="3139" y="3302"/>
                </a:cubicBezTo>
                <a:cubicBezTo>
                  <a:pt x="3330" y="3302"/>
                  <a:pt x="3506" y="3206"/>
                  <a:pt x="3633" y="3031"/>
                </a:cubicBezTo>
                <a:cubicBezTo>
                  <a:pt x="3681" y="3175"/>
                  <a:pt x="3792" y="3302"/>
                  <a:pt x="3999" y="3302"/>
                </a:cubicBezTo>
                <a:cubicBezTo>
                  <a:pt x="4221" y="3302"/>
                  <a:pt x="4556" y="3095"/>
                  <a:pt x="4556" y="2538"/>
                </a:cubicBezTo>
                <a:cubicBezTo>
                  <a:pt x="4556" y="1870"/>
                  <a:pt x="3983" y="1345"/>
                  <a:pt x="3283" y="1345"/>
                </a:cubicBezTo>
                <a:cubicBezTo>
                  <a:pt x="2567" y="1345"/>
                  <a:pt x="1994" y="1950"/>
                  <a:pt x="1994" y="2697"/>
                </a:cubicBezTo>
                <a:cubicBezTo>
                  <a:pt x="1994" y="3445"/>
                  <a:pt x="2551" y="4002"/>
                  <a:pt x="3315" y="4002"/>
                </a:cubicBezTo>
                <a:close/>
                <a:moveTo>
                  <a:pt x="3649" y="2888"/>
                </a:moveTo>
                <a:cubicBezTo>
                  <a:pt x="3681" y="2824"/>
                  <a:pt x="3712" y="2777"/>
                  <a:pt x="3729" y="2713"/>
                </a:cubicBezTo>
                <a:cubicBezTo>
                  <a:pt x="3712" y="2777"/>
                  <a:pt x="3696" y="2841"/>
                  <a:pt x="3696" y="2888"/>
                </a:cubicBezTo>
                <a:cubicBezTo>
                  <a:pt x="3696" y="2920"/>
                  <a:pt x="3712" y="2968"/>
                  <a:pt x="3712" y="2999"/>
                </a:cubicBezTo>
                <a:cubicBezTo>
                  <a:pt x="3712" y="2968"/>
                  <a:pt x="3712" y="2952"/>
                  <a:pt x="3696" y="2920"/>
                </a:cubicBezTo>
                <a:cubicBezTo>
                  <a:pt x="3696" y="2904"/>
                  <a:pt x="3681" y="2888"/>
                  <a:pt x="3665" y="2888"/>
                </a:cubicBezTo>
                <a:close/>
                <a:moveTo>
                  <a:pt x="2694" y="2745"/>
                </a:moveTo>
                <a:cubicBezTo>
                  <a:pt x="2694" y="2570"/>
                  <a:pt x="2758" y="2411"/>
                  <a:pt x="2853" y="2299"/>
                </a:cubicBezTo>
                <a:cubicBezTo>
                  <a:pt x="2758" y="2411"/>
                  <a:pt x="2710" y="2570"/>
                  <a:pt x="2710" y="2745"/>
                </a:cubicBezTo>
                <a:cubicBezTo>
                  <a:pt x="2710" y="3015"/>
                  <a:pt x="2885" y="3206"/>
                  <a:pt x="3156" y="3206"/>
                </a:cubicBezTo>
                <a:cubicBezTo>
                  <a:pt x="3187" y="3206"/>
                  <a:pt x="3235" y="3206"/>
                  <a:pt x="3267" y="3190"/>
                </a:cubicBezTo>
                <a:cubicBezTo>
                  <a:pt x="3235" y="3206"/>
                  <a:pt x="3187" y="3206"/>
                  <a:pt x="3139" y="3206"/>
                </a:cubicBezTo>
                <a:cubicBezTo>
                  <a:pt x="2885" y="3206"/>
                  <a:pt x="2694" y="3015"/>
                  <a:pt x="2694" y="2745"/>
                </a:cubicBezTo>
                <a:close/>
                <a:moveTo>
                  <a:pt x="3156" y="3111"/>
                </a:moveTo>
                <a:cubicBezTo>
                  <a:pt x="2933" y="3111"/>
                  <a:pt x="2790" y="2968"/>
                  <a:pt x="2790" y="2745"/>
                </a:cubicBezTo>
                <a:cubicBezTo>
                  <a:pt x="2790" y="2442"/>
                  <a:pt x="3012" y="2172"/>
                  <a:pt x="3283" y="2172"/>
                </a:cubicBezTo>
                <a:cubicBezTo>
                  <a:pt x="3490" y="2172"/>
                  <a:pt x="3649" y="2347"/>
                  <a:pt x="3649" y="2554"/>
                </a:cubicBezTo>
                <a:cubicBezTo>
                  <a:pt x="3649" y="2856"/>
                  <a:pt x="3410" y="3111"/>
                  <a:pt x="3156" y="3111"/>
                </a:cubicBezTo>
                <a:close/>
                <a:moveTo>
                  <a:pt x="3283" y="2093"/>
                </a:moveTo>
                <a:cubicBezTo>
                  <a:pt x="3251" y="2093"/>
                  <a:pt x="3203" y="2093"/>
                  <a:pt x="3156" y="2108"/>
                </a:cubicBezTo>
                <a:cubicBezTo>
                  <a:pt x="3330" y="2061"/>
                  <a:pt x="3506" y="2108"/>
                  <a:pt x="3601" y="2220"/>
                </a:cubicBezTo>
                <a:cubicBezTo>
                  <a:pt x="3521" y="2140"/>
                  <a:pt x="3410" y="2093"/>
                  <a:pt x="3283" y="2093"/>
                </a:cubicBezTo>
                <a:close/>
                <a:moveTo>
                  <a:pt x="3776" y="2379"/>
                </a:moveTo>
                <a:lnTo>
                  <a:pt x="3824" y="2156"/>
                </a:lnTo>
                <a:lnTo>
                  <a:pt x="3729" y="2633"/>
                </a:lnTo>
                <a:cubicBezTo>
                  <a:pt x="3744" y="2618"/>
                  <a:pt x="3744" y="2586"/>
                  <a:pt x="3744" y="2554"/>
                </a:cubicBezTo>
                <a:cubicBezTo>
                  <a:pt x="3744" y="2506"/>
                  <a:pt x="3729" y="2459"/>
                  <a:pt x="3712" y="2411"/>
                </a:cubicBezTo>
                <a:lnTo>
                  <a:pt x="3729" y="2411"/>
                </a:lnTo>
                <a:cubicBezTo>
                  <a:pt x="3760" y="2411"/>
                  <a:pt x="3776" y="2395"/>
                  <a:pt x="3776" y="237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8" name="TextBox 67">
            <a:extLst>
              <a:ext uri="{FF2B5EF4-FFF2-40B4-BE49-F238E27FC236}">
                <a16:creationId xmlns:a16="http://schemas.microsoft.com/office/drawing/2014/main" id="{A4D15708-F558-9043-A505-E90B23BD21DA}"/>
              </a:ext>
            </a:extLst>
          </p:cNvPr>
          <p:cNvSpPr txBox="1"/>
          <p:nvPr/>
        </p:nvSpPr>
        <p:spPr>
          <a:xfrm>
            <a:off x="12762036" y="1175295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rocess</a:t>
            </a:r>
          </a:p>
        </p:txBody>
      </p:sp>
      <p:sp>
        <p:nvSpPr>
          <p:cNvPr id="69" name="TextBox 68">
            <a:extLst>
              <a:ext uri="{FF2B5EF4-FFF2-40B4-BE49-F238E27FC236}">
                <a16:creationId xmlns:a16="http://schemas.microsoft.com/office/drawing/2014/main" id="{9229948B-0C5B-BB44-A053-341409A9F830}"/>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X</a:t>
            </a:r>
          </a:p>
        </p:txBody>
      </p:sp>
      <p:sp>
        <p:nvSpPr>
          <p:cNvPr id="70" name="TextBox 69">
            <a:extLst>
              <a:ext uri="{FF2B5EF4-FFF2-40B4-BE49-F238E27FC236}">
                <a16:creationId xmlns:a16="http://schemas.microsoft.com/office/drawing/2014/main" id="{44DC833E-4AF1-9748-BA8A-9604BB0C4252}"/>
              </a:ext>
            </a:extLst>
          </p:cNvPr>
          <p:cNvSpPr txBox="1"/>
          <p:nvPr/>
        </p:nvSpPr>
        <p:spPr>
          <a:xfrm>
            <a:off x="9239904" y="8296847"/>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a:t>
            </a:r>
          </a:p>
        </p:txBody>
      </p:sp>
      <p:sp>
        <p:nvSpPr>
          <p:cNvPr id="71" name="Freeform: Shape 5">
            <a:extLst>
              <a:ext uri="{FF2B5EF4-FFF2-40B4-BE49-F238E27FC236}">
                <a16:creationId xmlns:a16="http://schemas.microsoft.com/office/drawing/2014/main" id="{817FFC37-3528-FB4F-B532-64FFDD85411A}"/>
              </a:ext>
            </a:extLst>
          </p:cNvPr>
          <p:cNvSpPr/>
          <p:nvPr/>
        </p:nvSpPr>
        <p:spPr>
          <a:xfrm>
            <a:off x="17007103" y="3046562"/>
            <a:ext cx="2372760" cy="1620720"/>
          </a:xfrm>
          <a:custGeom>
            <a:avLst/>
            <a:gdLst/>
            <a:ahLst/>
            <a:cxnLst>
              <a:cxn ang="3cd4">
                <a:pos x="hc" y="t"/>
              </a:cxn>
              <a:cxn ang="cd2">
                <a:pos x="l" y="vc"/>
              </a:cxn>
              <a:cxn ang="cd4">
                <a:pos x="hc" y="b"/>
              </a:cxn>
              <a:cxn ang="0">
                <a:pos x="r" y="vc"/>
              </a:cxn>
            </a:cxnLst>
            <a:rect l="l" t="t" r="r" b="b"/>
            <a:pathLst>
              <a:path w="6592" h="4503">
                <a:moveTo>
                  <a:pt x="3982" y="2435"/>
                </a:moveTo>
                <a:lnTo>
                  <a:pt x="3394" y="2435"/>
                </a:lnTo>
                <a:lnTo>
                  <a:pt x="3394" y="1846"/>
                </a:lnTo>
                <a:cubicBezTo>
                  <a:pt x="3394" y="1814"/>
                  <a:pt x="3362" y="1767"/>
                  <a:pt x="3314" y="1767"/>
                </a:cubicBezTo>
                <a:cubicBezTo>
                  <a:pt x="3266" y="1767"/>
                  <a:pt x="3235" y="1814"/>
                  <a:pt x="3235" y="1846"/>
                </a:cubicBezTo>
                <a:lnTo>
                  <a:pt x="3235" y="2435"/>
                </a:lnTo>
                <a:lnTo>
                  <a:pt x="2646" y="2435"/>
                </a:lnTo>
                <a:cubicBezTo>
                  <a:pt x="2598" y="2435"/>
                  <a:pt x="2566" y="2483"/>
                  <a:pt x="2566" y="2514"/>
                </a:cubicBezTo>
                <a:cubicBezTo>
                  <a:pt x="2566" y="2562"/>
                  <a:pt x="2598" y="2594"/>
                  <a:pt x="2646" y="2594"/>
                </a:cubicBezTo>
                <a:lnTo>
                  <a:pt x="3235" y="2594"/>
                </a:lnTo>
                <a:lnTo>
                  <a:pt x="3235" y="3183"/>
                </a:lnTo>
                <a:cubicBezTo>
                  <a:pt x="3235" y="3230"/>
                  <a:pt x="3266" y="3262"/>
                  <a:pt x="3314" y="3262"/>
                </a:cubicBezTo>
                <a:cubicBezTo>
                  <a:pt x="3362" y="3262"/>
                  <a:pt x="3394" y="3230"/>
                  <a:pt x="3394" y="3183"/>
                </a:cubicBezTo>
                <a:lnTo>
                  <a:pt x="3394" y="2594"/>
                </a:lnTo>
                <a:lnTo>
                  <a:pt x="3982" y="2594"/>
                </a:lnTo>
                <a:cubicBezTo>
                  <a:pt x="4030" y="2594"/>
                  <a:pt x="4062" y="2562"/>
                  <a:pt x="4062" y="2514"/>
                </a:cubicBezTo>
                <a:cubicBezTo>
                  <a:pt x="4062" y="2483"/>
                  <a:pt x="4030" y="2435"/>
                  <a:pt x="3982" y="2435"/>
                </a:cubicBezTo>
                <a:close/>
                <a:moveTo>
                  <a:pt x="5765" y="1862"/>
                </a:moveTo>
                <a:lnTo>
                  <a:pt x="5765" y="1687"/>
                </a:lnTo>
                <a:cubicBezTo>
                  <a:pt x="5812" y="1099"/>
                  <a:pt x="5494" y="494"/>
                  <a:pt x="4953" y="208"/>
                </a:cubicBezTo>
                <a:cubicBezTo>
                  <a:pt x="4348" y="-111"/>
                  <a:pt x="3521" y="-63"/>
                  <a:pt x="2996" y="351"/>
                </a:cubicBezTo>
                <a:cubicBezTo>
                  <a:pt x="2853" y="462"/>
                  <a:pt x="2710" y="653"/>
                  <a:pt x="2646" y="748"/>
                </a:cubicBezTo>
                <a:cubicBezTo>
                  <a:pt x="2598" y="717"/>
                  <a:pt x="2519" y="669"/>
                  <a:pt x="2423" y="621"/>
                </a:cubicBezTo>
                <a:cubicBezTo>
                  <a:pt x="2041" y="430"/>
                  <a:pt x="1612" y="462"/>
                  <a:pt x="1262" y="701"/>
                </a:cubicBezTo>
                <a:cubicBezTo>
                  <a:pt x="912" y="923"/>
                  <a:pt x="721" y="1305"/>
                  <a:pt x="769" y="1719"/>
                </a:cubicBezTo>
                <a:lnTo>
                  <a:pt x="769" y="1862"/>
                </a:lnTo>
                <a:cubicBezTo>
                  <a:pt x="753" y="1878"/>
                  <a:pt x="737" y="1878"/>
                  <a:pt x="721" y="1894"/>
                </a:cubicBezTo>
                <a:cubicBezTo>
                  <a:pt x="594" y="1957"/>
                  <a:pt x="339" y="2101"/>
                  <a:pt x="148" y="2514"/>
                </a:cubicBezTo>
                <a:cubicBezTo>
                  <a:pt x="-154" y="3151"/>
                  <a:pt x="21" y="3867"/>
                  <a:pt x="530" y="4233"/>
                </a:cubicBezTo>
                <a:cubicBezTo>
                  <a:pt x="784" y="4408"/>
                  <a:pt x="1087" y="4503"/>
                  <a:pt x="1373" y="4503"/>
                </a:cubicBezTo>
                <a:lnTo>
                  <a:pt x="5208" y="4503"/>
                </a:lnTo>
                <a:lnTo>
                  <a:pt x="5223" y="4503"/>
                </a:lnTo>
                <a:cubicBezTo>
                  <a:pt x="6082" y="4456"/>
                  <a:pt x="6592" y="3930"/>
                  <a:pt x="6592" y="3103"/>
                </a:cubicBezTo>
                <a:cubicBezTo>
                  <a:pt x="6592" y="2292"/>
                  <a:pt x="5956" y="1942"/>
                  <a:pt x="5765" y="1862"/>
                </a:cubicBezTo>
                <a:close/>
                <a:moveTo>
                  <a:pt x="5208" y="4344"/>
                </a:moveTo>
                <a:lnTo>
                  <a:pt x="1373" y="4344"/>
                </a:lnTo>
                <a:cubicBezTo>
                  <a:pt x="1119" y="4344"/>
                  <a:pt x="848" y="4265"/>
                  <a:pt x="626" y="4105"/>
                </a:cubicBezTo>
                <a:cubicBezTo>
                  <a:pt x="180" y="3787"/>
                  <a:pt x="37" y="3135"/>
                  <a:pt x="292" y="2594"/>
                </a:cubicBezTo>
                <a:cubicBezTo>
                  <a:pt x="466" y="2212"/>
                  <a:pt x="689" y="2101"/>
                  <a:pt x="801" y="2021"/>
                </a:cubicBezTo>
                <a:cubicBezTo>
                  <a:pt x="864" y="1990"/>
                  <a:pt x="896" y="1974"/>
                  <a:pt x="912" y="1926"/>
                </a:cubicBezTo>
                <a:cubicBezTo>
                  <a:pt x="928" y="1910"/>
                  <a:pt x="928" y="1910"/>
                  <a:pt x="928" y="1894"/>
                </a:cubicBezTo>
                <a:cubicBezTo>
                  <a:pt x="923" y="1830"/>
                  <a:pt x="928" y="1735"/>
                  <a:pt x="912" y="1703"/>
                </a:cubicBezTo>
                <a:cubicBezTo>
                  <a:pt x="896" y="1353"/>
                  <a:pt x="1055" y="1035"/>
                  <a:pt x="1341" y="828"/>
                </a:cubicBezTo>
                <a:cubicBezTo>
                  <a:pt x="1517" y="717"/>
                  <a:pt x="1707" y="653"/>
                  <a:pt x="1914" y="653"/>
                </a:cubicBezTo>
                <a:cubicBezTo>
                  <a:pt x="2057" y="653"/>
                  <a:pt x="2217" y="685"/>
                  <a:pt x="2360" y="765"/>
                </a:cubicBezTo>
                <a:cubicBezTo>
                  <a:pt x="2535" y="844"/>
                  <a:pt x="2519" y="870"/>
                  <a:pt x="2598" y="923"/>
                </a:cubicBezTo>
                <a:cubicBezTo>
                  <a:pt x="2614" y="939"/>
                  <a:pt x="2630" y="956"/>
                  <a:pt x="2662" y="956"/>
                </a:cubicBezTo>
                <a:cubicBezTo>
                  <a:pt x="2678" y="956"/>
                  <a:pt x="2710" y="939"/>
                  <a:pt x="2726" y="908"/>
                </a:cubicBezTo>
                <a:cubicBezTo>
                  <a:pt x="2848" y="765"/>
                  <a:pt x="2917" y="621"/>
                  <a:pt x="3092" y="478"/>
                </a:cubicBezTo>
                <a:cubicBezTo>
                  <a:pt x="3569" y="96"/>
                  <a:pt x="4332" y="48"/>
                  <a:pt x="4874" y="351"/>
                </a:cubicBezTo>
                <a:cubicBezTo>
                  <a:pt x="5367" y="605"/>
                  <a:pt x="5653" y="1146"/>
                  <a:pt x="5605" y="1671"/>
                </a:cubicBezTo>
                <a:lnTo>
                  <a:pt x="5605" y="1910"/>
                </a:lnTo>
                <a:cubicBezTo>
                  <a:pt x="5605" y="1942"/>
                  <a:pt x="5621" y="1974"/>
                  <a:pt x="5653" y="1990"/>
                </a:cubicBezTo>
                <a:cubicBezTo>
                  <a:pt x="5685" y="2005"/>
                  <a:pt x="6433" y="2260"/>
                  <a:pt x="6433" y="3103"/>
                </a:cubicBezTo>
                <a:cubicBezTo>
                  <a:pt x="6433" y="3851"/>
                  <a:pt x="5987" y="4312"/>
                  <a:pt x="5208" y="434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2" name="Freeform: Shape 7">
            <a:extLst>
              <a:ext uri="{FF2B5EF4-FFF2-40B4-BE49-F238E27FC236}">
                <a16:creationId xmlns:a16="http://schemas.microsoft.com/office/drawing/2014/main" id="{CCE46489-0276-8F4C-80C2-1F58C2C230EA}"/>
              </a:ext>
            </a:extLst>
          </p:cNvPr>
          <p:cNvSpPr/>
          <p:nvPr/>
        </p:nvSpPr>
        <p:spPr>
          <a:xfrm>
            <a:off x="20879883" y="3046562"/>
            <a:ext cx="2375640" cy="1620720"/>
          </a:xfrm>
          <a:custGeom>
            <a:avLst/>
            <a:gdLst/>
            <a:ahLst/>
            <a:cxnLst>
              <a:cxn ang="3cd4">
                <a:pos x="hc" y="t"/>
              </a:cxn>
              <a:cxn ang="cd2">
                <a:pos x="l" y="vc"/>
              </a:cxn>
              <a:cxn ang="cd4">
                <a:pos x="hc" y="b"/>
              </a:cxn>
              <a:cxn ang="0">
                <a:pos x="r" y="vc"/>
              </a:cxn>
            </a:cxnLst>
            <a:rect l="l" t="t" r="r" b="b"/>
            <a:pathLst>
              <a:path w="6600" h="4503">
                <a:moveTo>
                  <a:pt x="3991" y="2435"/>
                </a:moveTo>
                <a:lnTo>
                  <a:pt x="2655" y="2435"/>
                </a:lnTo>
                <a:cubicBezTo>
                  <a:pt x="2607" y="2435"/>
                  <a:pt x="2575" y="2483"/>
                  <a:pt x="2575" y="2514"/>
                </a:cubicBezTo>
                <a:cubicBezTo>
                  <a:pt x="2575" y="2562"/>
                  <a:pt x="2607" y="2594"/>
                  <a:pt x="2655" y="2594"/>
                </a:cubicBezTo>
                <a:lnTo>
                  <a:pt x="3991" y="2594"/>
                </a:lnTo>
                <a:cubicBezTo>
                  <a:pt x="4023" y="2594"/>
                  <a:pt x="4071" y="2562"/>
                  <a:pt x="4071" y="2514"/>
                </a:cubicBezTo>
                <a:cubicBezTo>
                  <a:pt x="4071" y="2483"/>
                  <a:pt x="4023" y="2435"/>
                  <a:pt x="3991" y="2435"/>
                </a:cubicBezTo>
                <a:close/>
                <a:moveTo>
                  <a:pt x="5757" y="1862"/>
                </a:moveTo>
                <a:lnTo>
                  <a:pt x="5757" y="1687"/>
                </a:lnTo>
                <a:cubicBezTo>
                  <a:pt x="5820" y="1099"/>
                  <a:pt x="5486" y="494"/>
                  <a:pt x="4962" y="208"/>
                </a:cubicBezTo>
                <a:cubicBezTo>
                  <a:pt x="4357" y="-111"/>
                  <a:pt x="3529" y="-63"/>
                  <a:pt x="3005" y="351"/>
                </a:cubicBezTo>
                <a:cubicBezTo>
                  <a:pt x="2861" y="462"/>
                  <a:pt x="2718" y="653"/>
                  <a:pt x="2638" y="748"/>
                </a:cubicBezTo>
                <a:cubicBezTo>
                  <a:pt x="2591" y="717"/>
                  <a:pt x="2527" y="669"/>
                  <a:pt x="2432" y="621"/>
                </a:cubicBezTo>
                <a:cubicBezTo>
                  <a:pt x="2050" y="430"/>
                  <a:pt x="1604" y="462"/>
                  <a:pt x="1255" y="701"/>
                </a:cubicBezTo>
                <a:cubicBezTo>
                  <a:pt x="920" y="923"/>
                  <a:pt x="729" y="1305"/>
                  <a:pt x="761" y="1719"/>
                </a:cubicBezTo>
                <a:lnTo>
                  <a:pt x="761" y="1862"/>
                </a:lnTo>
                <a:cubicBezTo>
                  <a:pt x="761" y="1878"/>
                  <a:pt x="746" y="1878"/>
                  <a:pt x="729" y="1894"/>
                </a:cubicBezTo>
                <a:cubicBezTo>
                  <a:pt x="602" y="1957"/>
                  <a:pt x="347" y="2101"/>
                  <a:pt x="141" y="2514"/>
                </a:cubicBezTo>
                <a:cubicBezTo>
                  <a:pt x="-145" y="3151"/>
                  <a:pt x="13" y="3867"/>
                  <a:pt x="538" y="4233"/>
                </a:cubicBezTo>
                <a:cubicBezTo>
                  <a:pt x="777" y="4408"/>
                  <a:pt x="1095" y="4503"/>
                  <a:pt x="1366" y="4503"/>
                </a:cubicBezTo>
                <a:lnTo>
                  <a:pt x="5216" y="4503"/>
                </a:lnTo>
                <a:cubicBezTo>
                  <a:pt x="6091" y="4456"/>
                  <a:pt x="6600" y="3930"/>
                  <a:pt x="6600" y="3103"/>
                </a:cubicBezTo>
                <a:cubicBezTo>
                  <a:pt x="6600" y="2292"/>
                  <a:pt x="5948" y="1942"/>
                  <a:pt x="5757" y="1862"/>
                </a:cubicBezTo>
                <a:close/>
                <a:moveTo>
                  <a:pt x="5216" y="4344"/>
                </a:moveTo>
                <a:lnTo>
                  <a:pt x="1366" y="4344"/>
                </a:lnTo>
                <a:cubicBezTo>
                  <a:pt x="1127" y="4344"/>
                  <a:pt x="841" y="4265"/>
                  <a:pt x="634" y="4105"/>
                </a:cubicBezTo>
                <a:cubicBezTo>
                  <a:pt x="189" y="3787"/>
                  <a:pt x="29" y="3135"/>
                  <a:pt x="284" y="2594"/>
                </a:cubicBezTo>
                <a:cubicBezTo>
                  <a:pt x="459" y="2212"/>
                  <a:pt x="681" y="2101"/>
                  <a:pt x="809" y="2021"/>
                </a:cubicBezTo>
                <a:cubicBezTo>
                  <a:pt x="857" y="1990"/>
                  <a:pt x="904" y="1974"/>
                  <a:pt x="920" y="1926"/>
                </a:cubicBezTo>
                <a:lnTo>
                  <a:pt x="920" y="1894"/>
                </a:lnTo>
                <a:lnTo>
                  <a:pt x="920" y="1703"/>
                </a:lnTo>
                <a:cubicBezTo>
                  <a:pt x="889" y="1353"/>
                  <a:pt x="1047" y="1035"/>
                  <a:pt x="1350" y="828"/>
                </a:cubicBezTo>
                <a:cubicBezTo>
                  <a:pt x="1525" y="717"/>
                  <a:pt x="1716" y="653"/>
                  <a:pt x="1907" y="653"/>
                </a:cubicBezTo>
                <a:cubicBezTo>
                  <a:pt x="2066" y="653"/>
                  <a:pt x="2209" y="685"/>
                  <a:pt x="2352" y="765"/>
                </a:cubicBezTo>
                <a:cubicBezTo>
                  <a:pt x="2543" y="844"/>
                  <a:pt x="2511" y="870"/>
                  <a:pt x="2591" y="923"/>
                </a:cubicBezTo>
                <a:cubicBezTo>
                  <a:pt x="2607" y="939"/>
                  <a:pt x="2638" y="956"/>
                  <a:pt x="2655" y="956"/>
                </a:cubicBezTo>
                <a:cubicBezTo>
                  <a:pt x="2686" y="956"/>
                  <a:pt x="2718" y="939"/>
                  <a:pt x="2718" y="908"/>
                </a:cubicBezTo>
                <a:cubicBezTo>
                  <a:pt x="2734" y="908"/>
                  <a:pt x="2909" y="621"/>
                  <a:pt x="3100" y="478"/>
                </a:cubicBezTo>
                <a:cubicBezTo>
                  <a:pt x="3577" y="96"/>
                  <a:pt x="4325" y="48"/>
                  <a:pt x="4882" y="351"/>
                </a:cubicBezTo>
                <a:cubicBezTo>
                  <a:pt x="5359" y="605"/>
                  <a:pt x="5646" y="1146"/>
                  <a:pt x="5598" y="1671"/>
                </a:cubicBezTo>
                <a:cubicBezTo>
                  <a:pt x="5598" y="1687"/>
                  <a:pt x="5598" y="1767"/>
                  <a:pt x="5614" y="1910"/>
                </a:cubicBezTo>
                <a:cubicBezTo>
                  <a:pt x="5614" y="1942"/>
                  <a:pt x="5630" y="1974"/>
                  <a:pt x="5662" y="1990"/>
                </a:cubicBezTo>
                <a:cubicBezTo>
                  <a:pt x="5693" y="2005"/>
                  <a:pt x="6441" y="2260"/>
                  <a:pt x="6441" y="3103"/>
                </a:cubicBezTo>
                <a:cubicBezTo>
                  <a:pt x="6441" y="3851"/>
                  <a:pt x="5996" y="4312"/>
                  <a:pt x="5216" y="434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3" name="Freeform: Shape 8">
            <a:extLst>
              <a:ext uri="{FF2B5EF4-FFF2-40B4-BE49-F238E27FC236}">
                <a16:creationId xmlns:a16="http://schemas.microsoft.com/office/drawing/2014/main" id="{0D9AA737-7942-5C45-8622-22DDE0215262}"/>
              </a:ext>
            </a:extLst>
          </p:cNvPr>
          <p:cNvSpPr/>
          <p:nvPr/>
        </p:nvSpPr>
        <p:spPr>
          <a:xfrm>
            <a:off x="1380209" y="6063299"/>
            <a:ext cx="2372760" cy="1620720"/>
          </a:xfrm>
          <a:custGeom>
            <a:avLst/>
            <a:gdLst/>
            <a:ahLst/>
            <a:cxnLst>
              <a:cxn ang="3cd4">
                <a:pos x="hc" y="t"/>
              </a:cxn>
              <a:cxn ang="cd2">
                <a:pos x="l" y="vc"/>
              </a:cxn>
              <a:cxn ang="cd4">
                <a:pos x="hc" y="b"/>
              </a:cxn>
              <a:cxn ang="0">
                <a:pos x="r" y="vc"/>
              </a:cxn>
            </a:cxnLst>
            <a:rect l="l" t="t" r="r" b="b"/>
            <a:pathLst>
              <a:path w="6592" h="4503">
                <a:moveTo>
                  <a:pt x="3839" y="1990"/>
                </a:moveTo>
                <a:cubicBezTo>
                  <a:pt x="3807" y="1957"/>
                  <a:pt x="3759" y="1957"/>
                  <a:pt x="3728" y="1990"/>
                </a:cubicBezTo>
                <a:lnTo>
                  <a:pt x="3314" y="2403"/>
                </a:lnTo>
                <a:lnTo>
                  <a:pt x="2900" y="1990"/>
                </a:lnTo>
                <a:cubicBezTo>
                  <a:pt x="2868" y="1957"/>
                  <a:pt x="2821" y="1957"/>
                  <a:pt x="2789" y="1990"/>
                </a:cubicBezTo>
                <a:cubicBezTo>
                  <a:pt x="2757" y="2021"/>
                  <a:pt x="2757" y="2069"/>
                  <a:pt x="2789" y="2101"/>
                </a:cubicBezTo>
                <a:lnTo>
                  <a:pt x="3202" y="2514"/>
                </a:lnTo>
                <a:lnTo>
                  <a:pt x="2789" y="2944"/>
                </a:lnTo>
                <a:cubicBezTo>
                  <a:pt x="2757" y="2976"/>
                  <a:pt x="2757" y="3024"/>
                  <a:pt x="2789" y="3056"/>
                </a:cubicBezTo>
                <a:cubicBezTo>
                  <a:pt x="2805" y="3071"/>
                  <a:pt x="2821" y="3071"/>
                  <a:pt x="2837" y="3071"/>
                </a:cubicBezTo>
                <a:cubicBezTo>
                  <a:pt x="2868" y="3071"/>
                  <a:pt x="2884" y="3071"/>
                  <a:pt x="2900" y="3056"/>
                </a:cubicBezTo>
                <a:lnTo>
                  <a:pt x="3314" y="2626"/>
                </a:lnTo>
                <a:lnTo>
                  <a:pt x="3728" y="3056"/>
                </a:lnTo>
                <a:cubicBezTo>
                  <a:pt x="3744" y="3071"/>
                  <a:pt x="3775" y="3071"/>
                  <a:pt x="3791" y="3071"/>
                </a:cubicBezTo>
                <a:cubicBezTo>
                  <a:pt x="3807" y="3071"/>
                  <a:pt x="3823" y="3071"/>
                  <a:pt x="3839" y="3056"/>
                </a:cubicBezTo>
                <a:cubicBezTo>
                  <a:pt x="3871" y="3024"/>
                  <a:pt x="3871" y="2976"/>
                  <a:pt x="3839" y="2944"/>
                </a:cubicBezTo>
                <a:lnTo>
                  <a:pt x="3425" y="2514"/>
                </a:lnTo>
                <a:lnTo>
                  <a:pt x="3839" y="2101"/>
                </a:lnTo>
                <a:cubicBezTo>
                  <a:pt x="3871" y="2069"/>
                  <a:pt x="3871" y="2021"/>
                  <a:pt x="3839" y="1990"/>
                </a:cubicBezTo>
                <a:close/>
                <a:moveTo>
                  <a:pt x="5764" y="1862"/>
                </a:moveTo>
                <a:lnTo>
                  <a:pt x="5764" y="1687"/>
                </a:lnTo>
                <a:cubicBezTo>
                  <a:pt x="5812" y="1099"/>
                  <a:pt x="5493" y="494"/>
                  <a:pt x="4953" y="208"/>
                </a:cubicBezTo>
                <a:cubicBezTo>
                  <a:pt x="4348" y="-111"/>
                  <a:pt x="3521" y="-63"/>
                  <a:pt x="2996" y="351"/>
                </a:cubicBezTo>
                <a:cubicBezTo>
                  <a:pt x="2853" y="462"/>
                  <a:pt x="2710" y="653"/>
                  <a:pt x="2646" y="748"/>
                </a:cubicBezTo>
                <a:cubicBezTo>
                  <a:pt x="2598" y="717"/>
                  <a:pt x="2534" y="669"/>
                  <a:pt x="2423" y="621"/>
                </a:cubicBezTo>
                <a:cubicBezTo>
                  <a:pt x="2041" y="430"/>
                  <a:pt x="1611" y="462"/>
                  <a:pt x="1262" y="701"/>
                </a:cubicBezTo>
                <a:cubicBezTo>
                  <a:pt x="911" y="923"/>
                  <a:pt x="720" y="1305"/>
                  <a:pt x="768" y="1719"/>
                </a:cubicBezTo>
                <a:lnTo>
                  <a:pt x="768" y="1862"/>
                </a:lnTo>
                <a:cubicBezTo>
                  <a:pt x="753" y="1878"/>
                  <a:pt x="737" y="1878"/>
                  <a:pt x="720" y="1894"/>
                </a:cubicBezTo>
                <a:cubicBezTo>
                  <a:pt x="593" y="1957"/>
                  <a:pt x="339" y="2101"/>
                  <a:pt x="148" y="2514"/>
                </a:cubicBezTo>
                <a:cubicBezTo>
                  <a:pt x="-154" y="3151"/>
                  <a:pt x="20" y="3867"/>
                  <a:pt x="546" y="4233"/>
                </a:cubicBezTo>
                <a:cubicBezTo>
                  <a:pt x="784" y="4408"/>
                  <a:pt x="1086" y="4503"/>
                  <a:pt x="1373" y="4503"/>
                </a:cubicBezTo>
                <a:lnTo>
                  <a:pt x="5223" y="4503"/>
                </a:lnTo>
                <a:cubicBezTo>
                  <a:pt x="6082" y="4456"/>
                  <a:pt x="6592" y="3930"/>
                  <a:pt x="6592" y="3103"/>
                </a:cubicBezTo>
                <a:cubicBezTo>
                  <a:pt x="6592" y="2292"/>
                  <a:pt x="5955" y="1942"/>
                  <a:pt x="5764" y="1862"/>
                </a:cubicBezTo>
                <a:close/>
                <a:moveTo>
                  <a:pt x="5207" y="4344"/>
                </a:moveTo>
                <a:lnTo>
                  <a:pt x="1373" y="4344"/>
                </a:lnTo>
                <a:cubicBezTo>
                  <a:pt x="1119" y="4344"/>
                  <a:pt x="848" y="4265"/>
                  <a:pt x="625" y="4105"/>
                </a:cubicBezTo>
                <a:cubicBezTo>
                  <a:pt x="180" y="3787"/>
                  <a:pt x="37" y="3135"/>
                  <a:pt x="291" y="2594"/>
                </a:cubicBezTo>
                <a:cubicBezTo>
                  <a:pt x="466" y="2212"/>
                  <a:pt x="689" y="2101"/>
                  <a:pt x="800" y="2021"/>
                </a:cubicBezTo>
                <a:cubicBezTo>
                  <a:pt x="864" y="1990"/>
                  <a:pt x="911" y="1974"/>
                  <a:pt x="928" y="1926"/>
                </a:cubicBezTo>
                <a:lnTo>
                  <a:pt x="928" y="1894"/>
                </a:lnTo>
                <a:lnTo>
                  <a:pt x="928" y="1703"/>
                </a:lnTo>
                <a:cubicBezTo>
                  <a:pt x="896" y="1353"/>
                  <a:pt x="1055" y="1035"/>
                  <a:pt x="1341" y="828"/>
                </a:cubicBezTo>
                <a:cubicBezTo>
                  <a:pt x="1516" y="717"/>
                  <a:pt x="1707" y="653"/>
                  <a:pt x="1914" y="653"/>
                </a:cubicBezTo>
                <a:cubicBezTo>
                  <a:pt x="2057" y="653"/>
                  <a:pt x="2216" y="685"/>
                  <a:pt x="2359" y="765"/>
                </a:cubicBezTo>
                <a:cubicBezTo>
                  <a:pt x="2534" y="844"/>
                  <a:pt x="2518" y="870"/>
                  <a:pt x="2598" y="923"/>
                </a:cubicBezTo>
                <a:cubicBezTo>
                  <a:pt x="2614" y="939"/>
                  <a:pt x="2630" y="956"/>
                  <a:pt x="2662" y="956"/>
                </a:cubicBezTo>
                <a:cubicBezTo>
                  <a:pt x="2693" y="956"/>
                  <a:pt x="2710" y="939"/>
                  <a:pt x="2725" y="908"/>
                </a:cubicBezTo>
                <a:cubicBezTo>
                  <a:pt x="2847" y="765"/>
                  <a:pt x="2916" y="621"/>
                  <a:pt x="3091" y="478"/>
                </a:cubicBezTo>
                <a:cubicBezTo>
                  <a:pt x="3568" y="96"/>
                  <a:pt x="4332" y="48"/>
                  <a:pt x="4889" y="351"/>
                </a:cubicBezTo>
                <a:cubicBezTo>
                  <a:pt x="5366" y="605"/>
                  <a:pt x="5653" y="1146"/>
                  <a:pt x="5605" y="1671"/>
                </a:cubicBezTo>
                <a:lnTo>
                  <a:pt x="5605" y="1910"/>
                </a:lnTo>
                <a:cubicBezTo>
                  <a:pt x="5605" y="1942"/>
                  <a:pt x="5637" y="1974"/>
                  <a:pt x="5669" y="1990"/>
                </a:cubicBezTo>
                <a:cubicBezTo>
                  <a:pt x="5701" y="2005"/>
                  <a:pt x="6448" y="2260"/>
                  <a:pt x="6448" y="3103"/>
                </a:cubicBezTo>
                <a:cubicBezTo>
                  <a:pt x="6448" y="3851"/>
                  <a:pt x="5987" y="4312"/>
                  <a:pt x="5207" y="434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4" name="TextBox 73">
            <a:extLst>
              <a:ext uri="{FF2B5EF4-FFF2-40B4-BE49-F238E27FC236}">
                <a16:creationId xmlns:a16="http://schemas.microsoft.com/office/drawing/2014/main" id="{F8FFC5E0-1066-ED4F-AE85-7C0546BBF973}"/>
              </a:ext>
            </a:extLst>
          </p:cNvPr>
          <p:cNvSpPr txBox="1"/>
          <p:nvPr/>
        </p:nvSpPr>
        <p:spPr>
          <a:xfrm>
            <a:off x="5114164" y="8262767"/>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Minus</a:t>
            </a:r>
          </a:p>
        </p:txBody>
      </p:sp>
      <p:sp>
        <p:nvSpPr>
          <p:cNvPr id="75" name="Freeform: Shape 1">
            <a:extLst>
              <a:ext uri="{FF2B5EF4-FFF2-40B4-BE49-F238E27FC236}">
                <a16:creationId xmlns:a16="http://schemas.microsoft.com/office/drawing/2014/main" id="{89CA13B2-F5BA-2E4D-8DE7-AF72C5651E8A}"/>
              </a:ext>
            </a:extLst>
          </p:cNvPr>
          <p:cNvSpPr/>
          <p:nvPr/>
        </p:nvSpPr>
        <p:spPr>
          <a:xfrm>
            <a:off x="5674404" y="6220281"/>
            <a:ext cx="2372760" cy="1623240"/>
          </a:xfrm>
          <a:custGeom>
            <a:avLst/>
            <a:gdLst/>
            <a:ahLst/>
            <a:cxnLst>
              <a:cxn ang="3cd4">
                <a:pos x="hc" y="t"/>
              </a:cxn>
              <a:cxn ang="cd2">
                <a:pos x="l" y="vc"/>
              </a:cxn>
              <a:cxn ang="cd4">
                <a:pos x="hc" y="b"/>
              </a:cxn>
              <a:cxn ang="0">
                <a:pos x="r" y="vc"/>
              </a:cxn>
            </a:cxnLst>
            <a:rect l="l" t="t" r="r" b="b"/>
            <a:pathLst>
              <a:path w="6592" h="4510">
                <a:moveTo>
                  <a:pt x="3298" y="1503"/>
                </a:moveTo>
                <a:cubicBezTo>
                  <a:pt x="2694" y="1503"/>
                  <a:pt x="2217" y="1996"/>
                  <a:pt x="2217" y="2600"/>
                </a:cubicBezTo>
                <a:cubicBezTo>
                  <a:pt x="2217" y="3205"/>
                  <a:pt x="2694" y="3699"/>
                  <a:pt x="3298" y="3699"/>
                </a:cubicBezTo>
                <a:cubicBezTo>
                  <a:pt x="3903" y="3699"/>
                  <a:pt x="4396" y="3205"/>
                  <a:pt x="4396" y="2600"/>
                </a:cubicBezTo>
                <a:cubicBezTo>
                  <a:pt x="4396" y="1996"/>
                  <a:pt x="3903" y="1503"/>
                  <a:pt x="3298" y="1503"/>
                </a:cubicBezTo>
                <a:close/>
                <a:moveTo>
                  <a:pt x="3298" y="3539"/>
                </a:moveTo>
                <a:cubicBezTo>
                  <a:pt x="2789" y="3539"/>
                  <a:pt x="2375" y="3110"/>
                  <a:pt x="2375" y="2600"/>
                </a:cubicBezTo>
                <a:cubicBezTo>
                  <a:pt x="2375" y="2091"/>
                  <a:pt x="2789" y="1662"/>
                  <a:pt x="3298" y="1662"/>
                </a:cubicBezTo>
                <a:cubicBezTo>
                  <a:pt x="3823" y="1662"/>
                  <a:pt x="4237" y="2091"/>
                  <a:pt x="4237" y="2600"/>
                </a:cubicBezTo>
                <a:cubicBezTo>
                  <a:pt x="4237" y="3110"/>
                  <a:pt x="3823" y="3539"/>
                  <a:pt x="3298" y="3539"/>
                </a:cubicBezTo>
                <a:close/>
                <a:moveTo>
                  <a:pt x="3585" y="2521"/>
                </a:moveTo>
                <a:lnTo>
                  <a:pt x="3012" y="2521"/>
                </a:lnTo>
                <a:cubicBezTo>
                  <a:pt x="2964" y="2521"/>
                  <a:pt x="2932" y="2553"/>
                  <a:pt x="2932" y="2600"/>
                </a:cubicBezTo>
                <a:cubicBezTo>
                  <a:pt x="2932" y="2648"/>
                  <a:pt x="2964" y="2680"/>
                  <a:pt x="3012" y="2680"/>
                </a:cubicBezTo>
                <a:lnTo>
                  <a:pt x="3585" y="2680"/>
                </a:lnTo>
                <a:cubicBezTo>
                  <a:pt x="3632" y="2680"/>
                  <a:pt x="3664" y="2648"/>
                  <a:pt x="3664" y="2600"/>
                </a:cubicBezTo>
                <a:cubicBezTo>
                  <a:pt x="3664" y="2553"/>
                  <a:pt x="3632" y="2521"/>
                  <a:pt x="3585" y="2521"/>
                </a:cubicBezTo>
                <a:close/>
                <a:moveTo>
                  <a:pt x="5765" y="1869"/>
                </a:moveTo>
                <a:lnTo>
                  <a:pt x="5765" y="1694"/>
                </a:lnTo>
                <a:cubicBezTo>
                  <a:pt x="5812" y="1105"/>
                  <a:pt x="5494" y="500"/>
                  <a:pt x="4953" y="214"/>
                </a:cubicBezTo>
                <a:cubicBezTo>
                  <a:pt x="4348" y="-120"/>
                  <a:pt x="3521" y="-56"/>
                  <a:pt x="2996" y="357"/>
                </a:cubicBezTo>
                <a:cubicBezTo>
                  <a:pt x="2853" y="469"/>
                  <a:pt x="2710" y="660"/>
                  <a:pt x="2646" y="755"/>
                </a:cubicBezTo>
                <a:cubicBezTo>
                  <a:pt x="2598" y="723"/>
                  <a:pt x="2519" y="675"/>
                  <a:pt x="2423" y="628"/>
                </a:cubicBezTo>
                <a:cubicBezTo>
                  <a:pt x="2041" y="437"/>
                  <a:pt x="1612" y="469"/>
                  <a:pt x="1262" y="708"/>
                </a:cubicBezTo>
                <a:cubicBezTo>
                  <a:pt x="912" y="930"/>
                  <a:pt x="721" y="1312"/>
                  <a:pt x="769" y="1726"/>
                </a:cubicBezTo>
                <a:lnTo>
                  <a:pt x="769" y="1869"/>
                </a:lnTo>
                <a:cubicBezTo>
                  <a:pt x="753" y="1885"/>
                  <a:pt x="737" y="1885"/>
                  <a:pt x="721" y="1900"/>
                </a:cubicBezTo>
                <a:cubicBezTo>
                  <a:pt x="593" y="1964"/>
                  <a:pt x="339" y="2108"/>
                  <a:pt x="148" y="2521"/>
                </a:cubicBezTo>
                <a:cubicBezTo>
                  <a:pt x="-154" y="3157"/>
                  <a:pt x="21" y="3873"/>
                  <a:pt x="546" y="4239"/>
                </a:cubicBezTo>
                <a:cubicBezTo>
                  <a:pt x="784" y="4414"/>
                  <a:pt x="1087" y="4510"/>
                  <a:pt x="1373" y="4510"/>
                </a:cubicBezTo>
                <a:lnTo>
                  <a:pt x="5223" y="4510"/>
                </a:lnTo>
                <a:cubicBezTo>
                  <a:pt x="6083" y="4462"/>
                  <a:pt x="6592" y="3937"/>
                  <a:pt x="6592" y="3110"/>
                </a:cubicBezTo>
                <a:cubicBezTo>
                  <a:pt x="6592" y="2299"/>
                  <a:pt x="5956" y="1948"/>
                  <a:pt x="5765" y="1869"/>
                </a:cubicBezTo>
                <a:close/>
                <a:moveTo>
                  <a:pt x="5208" y="4351"/>
                </a:moveTo>
                <a:lnTo>
                  <a:pt x="1373" y="4351"/>
                </a:lnTo>
                <a:cubicBezTo>
                  <a:pt x="1119" y="4351"/>
                  <a:pt x="848" y="4271"/>
                  <a:pt x="626" y="4112"/>
                </a:cubicBezTo>
                <a:cubicBezTo>
                  <a:pt x="180" y="3794"/>
                  <a:pt x="37" y="3142"/>
                  <a:pt x="292" y="2600"/>
                </a:cubicBezTo>
                <a:cubicBezTo>
                  <a:pt x="466" y="2219"/>
                  <a:pt x="689" y="2108"/>
                  <a:pt x="801" y="2028"/>
                </a:cubicBezTo>
                <a:cubicBezTo>
                  <a:pt x="864" y="1996"/>
                  <a:pt x="896" y="1980"/>
                  <a:pt x="912" y="1932"/>
                </a:cubicBezTo>
                <a:cubicBezTo>
                  <a:pt x="928" y="1917"/>
                  <a:pt x="928" y="1917"/>
                  <a:pt x="928" y="1900"/>
                </a:cubicBezTo>
                <a:cubicBezTo>
                  <a:pt x="922" y="1836"/>
                  <a:pt x="928" y="1742"/>
                  <a:pt x="912" y="1709"/>
                </a:cubicBezTo>
                <a:cubicBezTo>
                  <a:pt x="896" y="1360"/>
                  <a:pt x="1055" y="1041"/>
                  <a:pt x="1341" y="835"/>
                </a:cubicBezTo>
                <a:cubicBezTo>
                  <a:pt x="1516" y="723"/>
                  <a:pt x="1707" y="660"/>
                  <a:pt x="1914" y="660"/>
                </a:cubicBezTo>
                <a:cubicBezTo>
                  <a:pt x="2057" y="660"/>
                  <a:pt x="2217" y="691"/>
                  <a:pt x="2360" y="771"/>
                </a:cubicBezTo>
                <a:cubicBezTo>
                  <a:pt x="2535" y="851"/>
                  <a:pt x="2518" y="877"/>
                  <a:pt x="2598" y="930"/>
                </a:cubicBezTo>
                <a:cubicBezTo>
                  <a:pt x="2614" y="946"/>
                  <a:pt x="2630" y="962"/>
                  <a:pt x="2662" y="962"/>
                </a:cubicBezTo>
                <a:cubicBezTo>
                  <a:pt x="2694" y="962"/>
                  <a:pt x="2710" y="946"/>
                  <a:pt x="2726" y="914"/>
                </a:cubicBezTo>
                <a:cubicBezTo>
                  <a:pt x="2848" y="771"/>
                  <a:pt x="2917" y="628"/>
                  <a:pt x="3092" y="485"/>
                </a:cubicBezTo>
                <a:cubicBezTo>
                  <a:pt x="3569" y="103"/>
                  <a:pt x="4332" y="55"/>
                  <a:pt x="4889" y="357"/>
                </a:cubicBezTo>
                <a:cubicBezTo>
                  <a:pt x="5366" y="612"/>
                  <a:pt x="5653" y="1153"/>
                  <a:pt x="5605" y="1678"/>
                </a:cubicBezTo>
                <a:lnTo>
                  <a:pt x="5605" y="1917"/>
                </a:lnTo>
                <a:cubicBezTo>
                  <a:pt x="5605" y="1948"/>
                  <a:pt x="5637" y="1980"/>
                  <a:pt x="5653" y="1996"/>
                </a:cubicBezTo>
                <a:cubicBezTo>
                  <a:pt x="5685" y="2012"/>
                  <a:pt x="6433" y="2266"/>
                  <a:pt x="6433" y="3110"/>
                </a:cubicBezTo>
                <a:cubicBezTo>
                  <a:pt x="6433" y="3857"/>
                  <a:pt x="5987" y="4319"/>
                  <a:pt x="5208" y="435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6" name="TextBox 75">
            <a:extLst>
              <a:ext uri="{FF2B5EF4-FFF2-40B4-BE49-F238E27FC236}">
                <a16:creationId xmlns:a16="http://schemas.microsoft.com/office/drawing/2014/main" id="{92806937-DBE9-DD4B-B60B-6364A79399B8}"/>
              </a:ext>
            </a:extLst>
          </p:cNvPr>
          <p:cNvSpPr txBox="1"/>
          <p:nvPr/>
        </p:nvSpPr>
        <p:spPr>
          <a:xfrm>
            <a:off x="9029320" y="11751001"/>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Gear</a:t>
            </a:r>
          </a:p>
        </p:txBody>
      </p:sp>
      <p:sp>
        <p:nvSpPr>
          <p:cNvPr id="77" name="TextBox 76">
            <a:extLst>
              <a:ext uri="{FF2B5EF4-FFF2-40B4-BE49-F238E27FC236}">
                <a16:creationId xmlns:a16="http://schemas.microsoft.com/office/drawing/2014/main" id="{0FF173D7-CC47-C54F-82A9-1370D9C92BFC}"/>
              </a:ext>
            </a:extLst>
          </p:cNvPr>
          <p:cNvSpPr txBox="1"/>
          <p:nvPr/>
        </p:nvSpPr>
        <p:spPr>
          <a:xfrm>
            <a:off x="13178946" y="8292956"/>
            <a:ext cx="311233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In</a:t>
            </a:r>
          </a:p>
        </p:txBody>
      </p:sp>
      <p:sp>
        <p:nvSpPr>
          <p:cNvPr id="78" name="TextBox 77">
            <a:extLst>
              <a:ext uri="{FF2B5EF4-FFF2-40B4-BE49-F238E27FC236}">
                <a16:creationId xmlns:a16="http://schemas.microsoft.com/office/drawing/2014/main" id="{D7D43FE2-B6E8-5940-AFDA-CF1A603EFFA7}"/>
              </a:ext>
            </a:extLst>
          </p:cNvPr>
          <p:cNvSpPr txBox="1"/>
          <p:nvPr/>
        </p:nvSpPr>
        <p:spPr>
          <a:xfrm>
            <a:off x="20524880"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Right</a:t>
            </a:r>
          </a:p>
        </p:txBody>
      </p:sp>
      <p:sp>
        <p:nvSpPr>
          <p:cNvPr id="79" name="TextBox 78">
            <a:extLst>
              <a:ext uri="{FF2B5EF4-FFF2-40B4-BE49-F238E27FC236}">
                <a16:creationId xmlns:a16="http://schemas.microsoft.com/office/drawing/2014/main" id="{B767F28F-11B1-E849-8E75-8BEBCA710A09}"/>
              </a:ext>
            </a:extLst>
          </p:cNvPr>
          <p:cNvSpPr txBox="1"/>
          <p:nvPr/>
        </p:nvSpPr>
        <p:spPr>
          <a:xfrm>
            <a:off x="16525147" y="8292956"/>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Out</a:t>
            </a:r>
          </a:p>
        </p:txBody>
      </p:sp>
      <p:sp>
        <p:nvSpPr>
          <p:cNvPr id="80" name="Freeform: Shape 12">
            <a:extLst>
              <a:ext uri="{FF2B5EF4-FFF2-40B4-BE49-F238E27FC236}">
                <a16:creationId xmlns:a16="http://schemas.microsoft.com/office/drawing/2014/main" id="{C4E452F7-1BAD-A94A-8214-B40E9F7BEE66}"/>
              </a:ext>
            </a:extLst>
          </p:cNvPr>
          <p:cNvSpPr/>
          <p:nvPr/>
        </p:nvSpPr>
        <p:spPr>
          <a:xfrm>
            <a:off x="13289100" y="6063630"/>
            <a:ext cx="2375640" cy="1884600"/>
          </a:xfrm>
          <a:custGeom>
            <a:avLst/>
            <a:gdLst/>
            <a:ahLst/>
            <a:cxnLst>
              <a:cxn ang="3cd4">
                <a:pos x="hc" y="t"/>
              </a:cxn>
              <a:cxn ang="cd2">
                <a:pos x="l" y="vc"/>
              </a:cxn>
              <a:cxn ang="cd4">
                <a:pos x="hc" y="b"/>
              </a:cxn>
              <a:cxn ang="0">
                <a:pos x="r" y="vc"/>
              </a:cxn>
            </a:cxnLst>
            <a:rect l="l" t="t" r="r" b="b"/>
            <a:pathLst>
              <a:path w="6600" h="5236">
                <a:moveTo>
                  <a:pt x="3291" y="5236"/>
                </a:moveTo>
                <a:cubicBezTo>
                  <a:pt x="3338" y="5236"/>
                  <a:pt x="3371" y="5188"/>
                  <a:pt x="3371" y="5156"/>
                </a:cubicBezTo>
                <a:lnTo>
                  <a:pt x="3371" y="2881"/>
                </a:lnTo>
                <a:lnTo>
                  <a:pt x="3832" y="3231"/>
                </a:lnTo>
                <a:cubicBezTo>
                  <a:pt x="3848" y="3247"/>
                  <a:pt x="3864" y="3247"/>
                  <a:pt x="3880" y="3247"/>
                </a:cubicBezTo>
                <a:cubicBezTo>
                  <a:pt x="3911" y="3247"/>
                  <a:pt x="3927" y="3231"/>
                  <a:pt x="3943" y="3215"/>
                </a:cubicBezTo>
                <a:cubicBezTo>
                  <a:pt x="3975" y="3183"/>
                  <a:pt x="3959" y="3136"/>
                  <a:pt x="3927" y="3104"/>
                </a:cubicBezTo>
                <a:lnTo>
                  <a:pt x="3338" y="2642"/>
                </a:lnTo>
                <a:cubicBezTo>
                  <a:pt x="3307" y="2627"/>
                  <a:pt x="3259" y="2627"/>
                  <a:pt x="3243" y="2642"/>
                </a:cubicBezTo>
                <a:lnTo>
                  <a:pt x="2655" y="3104"/>
                </a:lnTo>
                <a:cubicBezTo>
                  <a:pt x="2623" y="3136"/>
                  <a:pt x="2623" y="3183"/>
                  <a:pt x="2638" y="3215"/>
                </a:cubicBezTo>
                <a:cubicBezTo>
                  <a:pt x="2670" y="3247"/>
                  <a:pt x="2718" y="3263"/>
                  <a:pt x="2750" y="3231"/>
                </a:cubicBezTo>
                <a:lnTo>
                  <a:pt x="3211" y="2865"/>
                </a:lnTo>
                <a:lnTo>
                  <a:pt x="3211" y="5156"/>
                </a:lnTo>
                <a:cubicBezTo>
                  <a:pt x="3211" y="5188"/>
                  <a:pt x="3259" y="5236"/>
                  <a:pt x="3291" y="5236"/>
                </a:cubicBezTo>
                <a:close/>
                <a:moveTo>
                  <a:pt x="5757" y="1863"/>
                </a:moveTo>
                <a:lnTo>
                  <a:pt x="5757" y="1688"/>
                </a:lnTo>
                <a:cubicBezTo>
                  <a:pt x="5805" y="1099"/>
                  <a:pt x="5486" y="510"/>
                  <a:pt x="4946" y="208"/>
                </a:cubicBezTo>
                <a:cubicBezTo>
                  <a:pt x="4341" y="-110"/>
                  <a:pt x="3514" y="-63"/>
                  <a:pt x="2989" y="351"/>
                </a:cubicBezTo>
                <a:cubicBezTo>
                  <a:pt x="2846" y="463"/>
                  <a:pt x="2702" y="654"/>
                  <a:pt x="2638" y="749"/>
                </a:cubicBezTo>
                <a:cubicBezTo>
                  <a:pt x="2591" y="717"/>
                  <a:pt x="2527" y="670"/>
                  <a:pt x="2416" y="622"/>
                </a:cubicBezTo>
                <a:cubicBezTo>
                  <a:pt x="2034" y="431"/>
                  <a:pt x="1604" y="463"/>
                  <a:pt x="1255" y="701"/>
                </a:cubicBezTo>
                <a:cubicBezTo>
                  <a:pt x="904" y="940"/>
                  <a:pt x="713" y="1322"/>
                  <a:pt x="761" y="1719"/>
                </a:cubicBezTo>
                <a:lnTo>
                  <a:pt x="761" y="1863"/>
                </a:lnTo>
                <a:cubicBezTo>
                  <a:pt x="745" y="1879"/>
                  <a:pt x="729" y="1879"/>
                  <a:pt x="713" y="1894"/>
                </a:cubicBezTo>
                <a:cubicBezTo>
                  <a:pt x="602" y="1958"/>
                  <a:pt x="332" y="2101"/>
                  <a:pt x="141" y="2531"/>
                </a:cubicBezTo>
                <a:cubicBezTo>
                  <a:pt x="-145" y="3151"/>
                  <a:pt x="13" y="3867"/>
                  <a:pt x="538" y="4233"/>
                </a:cubicBezTo>
                <a:cubicBezTo>
                  <a:pt x="777" y="4409"/>
                  <a:pt x="1079" y="4504"/>
                  <a:pt x="1366" y="4504"/>
                </a:cubicBezTo>
                <a:lnTo>
                  <a:pt x="2352" y="4504"/>
                </a:lnTo>
                <a:cubicBezTo>
                  <a:pt x="2384" y="4504"/>
                  <a:pt x="2432" y="4472"/>
                  <a:pt x="2432" y="4424"/>
                </a:cubicBezTo>
                <a:cubicBezTo>
                  <a:pt x="2432" y="4392"/>
                  <a:pt x="2384" y="4345"/>
                  <a:pt x="2352" y="4345"/>
                </a:cubicBezTo>
                <a:lnTo>
                  <a:pt x="1366" y="4345"/>
                </a:lnTo>
                <a:cubicBezTo>
                  <a:pt x="1111" y="4345"/>
                  <a:pt x="841" y="4265"/>
                  <a:pt x="618" y="4106"/>
                </a:cubicBezTo>
                <a:cubicBezTo>
                  <a:pt x="173" y="3788"/>
                  <a:pt x="29" y="3136"/>
                  <a:pt x="284" y="2595"/>
                </a:cubicBezTo>
                <a:cubicBezTo>
                  <a:pt x="459" y="2213"/>
                  <a:pt x="682" y="2101"/>
                  <a:pt x="793" y="2038"/>
                </a:cubicBezTo>
                <a:cubicBezTo>
                  <a:pt x="856" y="1990"/>
                  <a:pt x="904" y="1974"/>
                  <a:pt x="920" y="1927"/>
                </a:cubicBezTo>
                <a:lnTo>
                  <a:pt x="920" y="1894"/>
                </a:lnTo>
                <a:lnTo>
                  <a:pt x="920" y="1704"/>
                </a:lnTo>
                <a:cubicBezTo>
                  <a:pt x="889" y="1354"/>
                  <a:pt x="1047" y="1036"/>
                  <a:pt x="1334" y="828"/>
                </a:cubicBezTo>
                <a:cubicBezTo>
                  <a:pt x="1652" y="622"/>
                  <a:pt x="2018" y="606"/>
                  <a:pt x="2352" y="765"/>
                </a:cubicBezTo>
                <a:cubicBezTo>
                  <a:pt x="2527" y="860"/>
                  <a:pt x="2511" y="871"/>
                  <a:pt x="2591" y="924"/>
                </a:cubicBezTo>
                <a:cubicBezTo>
                  <a:pt x="2607" y="940"/>
                  <a:pt x="2623" y="956"/>
                  <a:pt x="2655" y="956"/>
                </a:cubicBezTo>
                <a:cubicBezTo>
                  <a:pt x="2686" y="956"/>
                  <a:pt x="2702" y="940"/>
                  <a:pt x="2718" y="908"/>
                </a:cubicBezTo>
                <a:cubicBezTo>
                  <a:pt x="2840" y="765"/>
                  <a:pt x="2909" y="622"/>
                  <a:pt x="3084" y="479"/>
                </a:cubicBezTo>
                <a:cubicBezTo>
                  <a:pt x="3561" y="113"/>
                  <a:pt x="4325" y="49"/>
                  <a:pt x="4882" y="351"/>
                </a:cubicBezTo>
                <a:cubicBezTo>
                  <a:pt x="5359" y="606"/>
                  <a:pt x="5646" y="1147"/>
                  <a:pt x="5598" y="1672"/>
                </a:cubicBezTo>
                <a:lnTo>
                  <a:pt x="5598" y="1910"/>
                </a:lnTo>
                <a:cubicBezTo>
                  <a:pt x="5598" y="1942"/>
                  <a:pt x="5629" y="1974"/>
                  <a:pt x="5662" y="1990"/>
                </a:cubicBezTo>
                <a:cubicBezTo>
                  <a:pt x="5693" y="2006"/>
                  <a:pt x="6441" y="2261"/>
                  <a:pt x="6441" y="3104"/>
                </a:cubicBezTo>
                <a:cubicBezTo>
                  <a:pt x="6441" y="3852"/>
                  <a:pt x="5980" y="4313"/>
                  <a:pt x="5216" y="4345"/>
                </a:cubicBezTo>
                <a:lnTo>
                  <a:pt x="4246" y="4345"/>
                </a:lnTo>
                <a:cubicBezTo>
                  <a:pt x="4198" y="4345"/>
                  <a:pt x="4166" y="4392"/>
                  <a:pt x="4166" y="4424"/>
                </a:cubicBezTo>
                <a:cubicBezTo>
                  <a:pt x="4166" y="4472"/>
                  <a:pt x="4198" y="4504"/>
                  <a:pt x="4246" y="4504"/>
                </a:cubicBezTo>
                <a:lnTo>
                  <a:pt x="5216" y="4504"/>
                </a:lnTo>
                <a:cubicBezTo>
                  <a:pt x="6075" y="4456"/>
                  <a:pt x="6600" y="3931"/>
                  <a:pt x="6600" y="3104"/>
                </a:cubicBezTo>
                <a:cubicBezTo>
                  <a:pt x="6600" y="2292"/>
                  <a:pt x="5948" y="1942"/>
                  <a:pt x="5757" y="18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1" name="Freeform: Shape 13">
            <a:extLst>
              <a:ext uri="{FF2B5EF4-FFF2-40B4-BE49-F238E27FC236}">
                <a16:creationId xmlns:a16="http://schemas.microsoft.com/office/drawing/2014/main" id="{CF42FDD6-B665-8F45-9213-F8E640291CCA}"/>
              </a:ext>
            </a:extLst>
          </p:cNvPr>
          <p:cNvSpPr/>
          <p:nvPr/>
        </p:nvSpPr>
        <p:spPr>
          <a:xfrm>
            <a:off x="16959497" y="6063630"/>
            <a:ext cx="2372760" cy="1884600"/>
          </a:xfrm>
          <a:custGeom>
            <a:avLst/>
            <a:gdLst/>
            <a:ahLst/>
            <a:cxnLst>
              <a:cxn ang="3cd4">
                <a:pos x="hc" y="t"/>
              </a:cxn>
              <a:cxn ang="cd2">
                <a:pos x="l" y="vc"/>
              </a:cxn>
              <a:cxn ang="cd4">
                <a:pos x="hc" y="b"/>
              </a:cxn>
              <a:cxn ang="0">
                <a:pos x="r" y="vc"/>
              </a:cxn>
            </a:cxnLst>
            <a:rect l="l" t="t" r="r" b="b"/>
            <a:pathLst>
              <a:path w="6592" h="5236">
                <a:moveTo>
                  <a:pt x="3299" y="2627"/>
                </a:moveTo>
                <a:cubicBezTo>
                  <a:pt x="3252" y="2627"/>
                  <a:pt x="3220" y="2658"/>
                  <a:pt x="3220" y="2706"/>
                </a:cubicBezTo>
                <a:lnTo>
                  <a:pt x="3220" y="4981"/>
                </a:lnTo>
                <a:lnTo>
                  <a:pt x="2759" y="4631"/>
                </a:lnTo>
                <a:cubicBezTo>
                  <a:pt x="2726" y="4599"/>
                  <a:pt x="2679" y="4615"/>
                  <a:pt x="2647" y="4647"/>
                </a:cubicBezTo>
                <a:cubicBezTo>
                  <a:pt x="2616" y="4679"/>
                  <a:pt x="2631" y="4727"/>
                  <a:pt x="2663" y="4758"/>
                </a:cubicBezTo>
                <a:lnTo>
                  <a:pt x="3268" y="5220"/>
                </a:lnTo>
                <a:cubicBezTo>
                  <a:pt x="3284" y="5225"/>
                  <a:pt x="3299" y="5236"/>
                  <a:pt x="3316" y="5236"/>
                </a:cubicBezTo>
                <a:cubicBezTo>
                  <a:pt x="3331" y="5236"/>
                  <a:pt x="3347" y="5220"/>
                  <a:pt x="3363" y="5220"/>
                </a:cubicBezTo>
                <a:lnTo>
                  <a:pt x="3936" y="4758"/>
                </a:lnTo>
                <a:cubicBezTo>
                  <a:pt x="3968" y="4727"/>
                  <a:pt x="3984" y="4679"/>
                  <a:pt x="3952" y="4647"/>
                </a:cubicBezTo>
                <a:cubicBezTo>
                  <a:pt x="3920" y="4615"/>
                  <a:pt x="3872" y="4599"/>
                  <a:pt x="3840" y="4631"/>
                </a:cubicBezTo>
                <a:lnTo>
                  <a:pt x="3379" y="4997"/>
                </a:lnTo>
                <a:lnTo>
                  <a:pt x="3379" y="2706"/>
                </a:lnTo>
                <a:cubicBezTo>
                  <a:pt x="3379" y="2658"/>
                  <a:pt x="3347" y="2627"/>
                  <a:pt x="3299" y="2627"/>
                </a:cubicBezTo>
                <a:close/>
                <a:moveTo>
                  <a:pt x="5764" y="1863"/>
                </a:moveTo>
                <a:cubicBezTo>
                  <a:pt x="5764" y="1799"/>
                  <a:pt x="5749" y="1704"/>
                  <a:pt x="5749" y="1688"/>
                </a:cubicBezTo>
                <a:cubicBezTo>
                  <a:pt x="5812" y="1099"/>
                  <a:pt x="5494" y="510"/>
                  <a:pt x="4953" y="208"/>
                </a:cubicBezTo>
                <a:cubicBezTo>
                  <a:pt x="4349" y="-110"/>
                  <a:pt x="3521" y="-63"/>
                  <a:pt x="2996" y="351"/>
                </a:cubicBezTo>
                <a:cubicBezTo>
                  <a:pt x="2853" y="463"/>
                  <a:pt x="2710" y="654"/>
                  <a:pt x="2630" y="749"/>
                </a:cubicBezTo>
                <a:cubicBezTo>
                  <a:pt x="2598" y="717"/>
                  <a:pt x="2519" y="670"/>
                  <a:pt x="2424" y="622"/>
                </a:cubicBezTo>
                <a:cubicBezTo>
                  <a:pt x="2042" y="431"/>
                  <a:pt x="1612" y="463"/>
                  <a:pt x="1246" y="701"/>
                </a:cubicBezTo>
                <a:cubicBezTo>
                  <a:pt x="912" y="940"/>
                  <a:pt x="721" y="1322"/>
                  <a:pt x="753" y="1719"/>
                </a:cubicBezTo>
                <a:cubicBezTo>
                  <a:pt x="753" y="1736"/>
                  <a:pt x="769" y="1815"/>
                  <a:pt x="769" y="1863"/>
                </a:cubicBezTo>
                <a:cubicBezTo>
                  <a:pt x="753" y="1879"/>
                  <a:pt x="737" y="1879"/>
                  <a:pt x="721" y="1894"/>
                </a:cubicBezTo>
                <a:cubicBezTo>
                  <a:pt x="594" y="1958"/>
                  <a:pt x="339" y="2101"/>
                  <a:pt x="148" y="2531"/>
                </a:cubicBezTo>
                <a:cubicBezTo>
                  <a:pt x="-154" y="3151"/>
                  <a:pt x="21" y="3867"/>
                  <a:pt x="530" y="4233"/>
                </a:cubicBezTo>
                <a:cubicBezTo>
                  <a:pt x="769" y="4409"/>
                  <a:pt x="1087" y="4504"/>
                  <a:pt x="1357" y="4504"/>
                </a:cubicBezTo>
                <a:lnTo>
                  <a:pt x="2344" y="4504"/>
                </a:lnTo>
                <a:cubicBezTo>
                  <a:pt x="2392" y="4504"/>
                  <a:pt x="2424" y="4472"/>
                  <a:pt x="2424" y="4424"/>
                </a:cubicBezTo>
                <a:cubicBezTo>
                  <a:pt x="2424" y="4392"/>
                  <a:pt x="2392" y="4345"/>
                  <a:pt x="2344" y="4345"/>
                </a:cubicBezTo>
                <a:lnTo>
                  <a:pt x="1357" y="4345"/>
                </a:lnTo>
                <a:cubicBezTo>
                  <a:pt x="1119" y="4345"/>
                  <a:pt x="848" y="4265"/>
                  <a:pt x="625" y="4106"/>
                </a:cubicBezTo>
                <a:cubicBezTo>
                  <a:pt x="180" y="3788"/>
                  <a:pt x="37" y="3136"/>
                  <a:pt x="291" y="2595"/>
                </a:cubicBezTo>
                <a:cubicBezTo>
                  <a:pt x="467" y="2213"/>
                  <a:pt x="689" y="2101"/>
                  <a:pt x="801" y="2038"/>
                </a:cubicBezTo>
                <a:cubicBezTo>
                  <a:pt x="864" y="1990"/>
                  <a:pt x="896" y="1974"/>
                  <a:pt x="912" y="1927"/>
                </a:cubicBezTo>
                <a:cubicBezTo>
                  <a:pt x="918" y="1916"/>
                  <a:pt x="928" y="1910"/>
                  <a:pt x="928" y="1894"/>
                </a:cubicBezTo>
                <a:cubicBezTo>
                  <a:pt x="923" y="1830"/>
                  <a:pt x="912" y="1736"/>
                  <a:pt x="912" y="1704"/>
                </a:cubicBezTo>
                <a:cubicBezTo>
                  <a:pt x="880" y="1354"/>
                  <a:pt x="1039" y="1036"/>
                  <a:pt x="1342" y="828"/>
                </a:cubicBezTo>
                <a:cubicBezTo>
                  <a:pt x="1644" y="622"/>
                  <a:pt x="2025" y="606"/>
                  <a:pt x="2344" y="765"/>
                </a:cubicBezTo>
                <a:cubicBezTo>
                  <a:pt x="2535" y="860"/>
                  <a:pt x="2514" y="871"/>
                  <a:pt x="2598" y="924"/>
                </a:cubicBezTo>
                <a:cubicBezTo>
                  <a:pt x="2598" y="940"/>
                  <a:pt x="2630" y="956"/>
                  <a:pt x="2662" y="956"/>
                </a:cubicBezTo>
                <a:cubicBezTo>
                  <a:pt x="2678" y="956"/>
                  <a:pt x="2710" y="940"/>
                  <a:pt x="2725" y="908"/>
                </a:cubicBezTo>
                <a:cubicBezTo>
                  <a:pt x="2848" y="765"/>
                  <a:pt x="2901" y="622"/>
                  <a:pt x="3092" y="479"/>
                </a:cubicBezTo>
                <a:cubicBezTo>
                  <a:pt x="3569" y="113"/>
                  <a:pt x="4317" y="49"/>
                  <a:pt x="4873" y="351"/>
                </a:cubicBezTo>
                <a:cubicBezTo>
                  <a:pt x="5351" y="606"/>
                  <a:pt x="5653" y="1147"/>
                  <a:pt x="5606" y="1672"/>
                </a:cubicBezTo>
                <a:cubicBezTo>
                  <a:pt x="5589" y="1688"/>
                  <a:pt x="5606" y="1767"/>
                  <a:pt x="5606" y="1910"/>
                </a:cubicBezTo>
                <a:cubicBezTo>
                  <a:pt x="5606" y="1942"/>
                  <a:pt x="5621" y="1974"/>
                  <a:pt x="5653" y="1990"/>
                </a:cubicBezTo>
                <a:cubicBezTo>
                  <a:pt x="5669" y="1990"/>
                  <a:pt x="6433" y="2261"/>
                  <a:pt x="6433" y="3104"/>
                </a:cubicBezTo>
                <a:cubicBezTo>
                  <a:pt x="6433" y="3852"/>
                  <a:pt x="5987" y="4313"/>
                  <a:pt x="5207" y="4345"/>
                </a:cubicBezTo>
                <a:lnTo>
                  <a:pt x="4253" y="4345"/>
                </a:lnTo>
                <a:cubicBezTo>
                  <a:pt x="4206" y="4345"/>
                  <a:pt x="4173" y="4392"/>
                  <a:pt x="4173" y="4424"/>
                </a:cubicBezTo>
                <a:cubicBezTo>
                  <a:pt x="4173" y="4472"/>
                  <a:pt x="4206" y="4504"/>
                  <a:pt x="4253" y="4504"/>
                </a:cubicBezTo>
                <a:lnTo>
                  <a:pt x="5224" y="4504"/>
                </a:lnTo>
                <a:cubicBezTo>
                  <a:pt x="6083" y="4456"/>
                  <a:pt x="6592" y="3931"/>
                  <a:pt x="6592" y="3104"/>
                </a:cubicBezTo>
                <a:cubicBezTo>
                  <a:pt x="6592" y="2292"/>
                  <a:pt x="5955" y="1942"/>
                  <a:pt x="5764" y="18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2" name="Freeform: Shape 15">
            <a:extLst>
              <a:ext uri="{FF2B5EF4-FFF2-40B4-BE49-F238E27FC236}">
                <a16:creationId xmlns:a16="http://schemas.microsoft.com/office/drawing/2014/main" id="{FFB7F036-4BF3-634E-B786-5CEAF3A1213E}"/>
              </a:ext>
            </a:extLst>
          </p:cNvPr>
          <p:cNvSpPr/>
          <p:nvPr/>
        </p:nvSpPr>
        <p:spPr>
          <a:xfrm>
            <a:off x="20833190" y="6063630"/>
            <a:ext cx="2375640" cy="1884600"/>
          </a:xfrm>
          <a:custGeom>
            <a:avLst/>
            <a:gdLst/>
            <a:ahLst/>
            <a:cxnLst>
              <a:cxn ang="3cd4">
                <a:pos x="hc" y="t"/>
              </a:cxn>
              <a:cxn ang="cd2">
                <a:pos x="l" y="vc"/>
              </a:cxn>
              <a:cxn ang="cd4">
                <a:pos x="hc" y="b"/>
              </a:cxn>
              <a:cxn ang="0">
                <a:pos x="r" y="vc"/>
              </a:cxn>
            </a:cxnLst>
            <a:rect l="l" t="t" r="r" b="b"/>
            <a:pathLst>
              <a:path w="6600" h="5236">
                <a:moveTo>
                  <a:pt x="3228" y="3661"/>
                </a:moveTo>
                <a:lnTo>
                  <a:pt x="3228" y="5156"/>
                </a:lnTo>
                <a:cubicBezTo>
                  <a:pt x="3228" y="5188"/>
                  <a:pt x="3259" y="5236"/>
                  <a:pt x="3307" y="5236"/>
                </a:cubicBezTo>
                <a:cubicBezTo>
                  <a:pt x="3339" y="5236"/>
                  <a:pt x="3386" y="5188"/>
                  <a:pt x="3386" y="5156"/>
                </a:cubicBezTo>
                <a:lnTo>
                  <a:pt x="3386" y="3661"/>
                </a:lnTo>
                <a:cubicBezTo>
                  <a:pt x="3386" y="3358"/>
                  <a:pt x="3705" y="3024"/>
                  <a:pt x="3991" y="3024"/>
                </a:cubicBezTo>
                <a:lnTo>
                  <a:pt x="4516" y="3024"/>
                </a:lnTo>
                <a:lnTo>
                  <a:pt x="4150" y="3501"/>
                </a:lnTo>
                <a:cubicBezTo>
                  <a:pt x="4118" y="3533"/>
                  <a:pt x="4118" y="3581"/>
                  <a:pt x="4166" y="3613"/>
                </a:cubicBezTo>
                <a:cubicBezTo>
                  <a:pt x="4166" y="3629"/>
                  <a:pt x="4198" y="3629"/>
                  <a:pt x="4214" y="3629"/>
                </a:cubicBezTo>
                <a:cubicBezTo>
                  <a:pt x="4230" y="3629"/>
                  <a:pt x="4262" y="3629"/>
                  <a:pt x="4277" y="3597"/>
                </a:cubicBezTo>
                <a:lnTo>
                  <a:pt x="4739" y="3008"/>
                </a:lnTo>
                <a:cubicBezTo>
                  <a:pt x="4755" y="2976"/>
                  <a:pt x="4755" y="2929"/>
                  <a:pt x="4739" y="2913"/>
                </a:cubicBezTo>
                <a:lnTo>
                  <a:pt x="4277" y="2292"/>
                </a:lnTo>
                <a:cubicBezTo>
                  <a:pt x="4246" y="2261"/>
                  <a:pt x="4198" y="2261"/>
                  <a:pt x="4166" y="2292"/>
                </a:cubicBezTo>
                <a:cubicBezTo>
                  <a:pt x="4118" y="2308"/>
                  <a:pt x="4118" y="2356"/>
                  <a:pt x="4150" y="2404"/>
                </a:cubicBezTo>
                <a:lnTo>
                  <a:pt x="4516" y="2865"/>
                </a:lnTo>
                <a:lnTo>
                  <a:pt x="3991" y="2865"/>
                </a:lnTo>
                <a:cubicBezTo>
                  <a:pt x="3609" y="2865"/>
                  <a:pt x="3228" y="3263"/>
                  <a:pt x="3228" y="3661"/>
                </a:cubicBezTo>
                <a:close/>
                <a:moveTo>
                  <a:pt x="5757" y="1863"/>
                </a:moveTo>
                <a:lnTo>
                  <a:pt x="5757" y="1688"/>
                </a:lnTo>
                <a:cubicBezTo>
                  <a:pt x="5821" y="1099"/>
                  <a:pt x="5486" y="510"/>
                  <a:pt x="4962" y="208"/>
                </a:cubicBezTo>
                <a:cubicBezTo>
                  <a:pt x="4357" y="-110"/>
                  <a:pt x="3530" y="-63"/>
                  <a:pt x="2989" y="351"/>
                </a:cubicBezTo>
                <a:cubicBezTo>
                  <a:pt x="2846" y="463"/>
                  <a:pt x="2718" y="654"/>
                  <a:pt x="2639" y="749"/>
                </a:cubicBezTo>
                <a:cubicBezTo>
                  <a:pt x="2591" y="717"/>
                  <a:pt x="2527" y="670"/>
                  <a:pt x="2432" y="622"/>
                </a:cubicBezTo>
                <a:cubicBezTo>
                  <a:pt x="2050" y="431"/>
                  <a:pt x="1604" y="463"/>
                  <a:pt x="1255" y="701"/>
                </a:cubicBezTo>
                <a:cubicBezTo>
                  <a:pt x="904" y="940"/>
                  <a:pt x="730" y="1322"/>
                  <a:pt x="761" y="1719"/>
                </a:cubicBezTo>
                <a:lnTo>
                  <a:pt x="761" y="1863"/>
                </a:lnTo>
                <a:cubicBezTo>
                  <a:pt x="761" y="1879"/>
                  <a:pt x="746" y="1879"/>
                  <a:pt x="730" y="1894"/>
                </a:cubicBezTo>
                <a:cubicBezTo>
                  <a:pt x="602" y="1958"/>
                  <a:pt x="348" y="2101"/>
                  <a:pt x="141" y="2531"/>
                </a:cubicBezTo>
                <a:cubicBezTo>
                  <a:pt x="-145" y="3151"/>
                  <a:pt x="13" y="3867"/>
                  <a:pt x="539" y="4233"/>
                </a:cubicBezTo>
                <a:cubicBezTo>
                  <a:pt x="777" y="4409"/>
                  <a:pt x="1095" y="4504"/>
                  <a:pt x="1366" y="4504"/>
                </a:cubicBezTo>
                <a:lnTo>
                  <a:pt x="2352" y="4504"/>
                </a:lnTo>
                <a:cubicBezTo>
                  <a:pt x="2400" y="4504"/>
                  <a:pt x="2432" y="4472"/>
                  <a:pt x="2432" y="4424"/>
                </a:cubicBezTo>
                <a:cubicBezTo>
                  <a:pt x="2432" y="4392"/>
                  <a:pt x="2400" y="4345"/>
                  <a:pt x="2352" y="4345"/>
                </a:cubicBezTo>
                <a:lnTo>
                  <a:pt x="1366" y="4345"/>
                </a:lnTo>
                <a:cubicBezTo>
                  <a:pt x="1127" y="4345"/>
                  <a:pt x="841" y="4265"/>
                  <a:pt x="634" y="4106"/>
                </a:cubicBezTo>
                <a:cubicBezTo>
                  <a:pt x="173" y="3788"/>
                  <a:pt x="30" y="3136"/>
                  <a:pt x="284" y="2595"/>
                </a:cubicBezTo>
                <a:cubicBezTo>
                  <a:pt x="459" y="2213"/>
                  <a:pt x="682" y="2101"/>
                  <a:pt x="809" y="2038"/>
                </a:cubicBezTo>
                <a:cubicBezTo>
                  <a:pt x="857" y="1990"/>
                  <a:pt x="904" y="1974"/>
                  <a:pt x="921" y="1927"/>
                </a:cubicBezTo>
                <a:lnTo>
                  <a:pt x="921" y="1894"/>
                </a:lnTo>
                <a:lnTo>
                  <a:pt x="921" y="1704"/>
                </a:lnTo>
                <a:cubicBezTo>
                  <a:pt x="889" y="1354"/>
                  <a:pt x="1048" y="1036"/>
                  <a:pt x="1350" y="828"/>
                </a:cubicBezTo>
                <a:cubicBezTo>
                  <a:pt x="1652" y="622"/>
                  <a:pt x="2034" y="606"/>
                  <a:pt x="2352" y="765"/>
                </a:cubicBezTo>
                <a:cubicBezTo>
                  <a:pt x="2527" y="860"/>
                  <a:pt x="2511" y="871"/>
                  <a:pt x="2591" y="924"/>
                </a:cubicBezTo>
                <a:cubicBezTo>
                  <a:pt x="2607" y="940"/>
                  <a:pt x="2639" y="956"/>
                  <a:pt x="2655" y="956"/>
                </a:cubicBezTo>
                <a:cubicBezTo>
                  <a:pt x="2686" y="956"/>
                  <a:pt x="2703" y="940"/>
                  <a:pt x="2718" y="908"/>
                </a:cubicBezTo>
                <a:cubicBezTo>
                  <a:pt x="2845" y="765"/>
                  <a:pt x="2909" y="622"/>
                  <a:pt x="3100" y="479"/>
                </a:cubicBezTo>
                <a:cubicBezTo>
                  <a:pt x="3577" y="113"/>
                  <a:pt x="4325" y="49"/>
                  <a:pt x="4882" y="351"/>
                </a:cubicBezTo>
                <a:cubicBezTo>
                  <a:pt x="5359" y="606"/>
                  <a:pt x="5646" y="1147"/>
                  <a:pt x="5598" y="1672"/>
                </a:cubicBezTo>
                <a:cubicBezTo>
                  <a:pt x="5598" y="1688"/>
                  <a:pt x="5598" y="1767"/>
                  <a:pt x="5614" y="1910"/>
                </a:cubicBezTo>
                <a:cubicBezTo>
                  <a:pt x="5614" y="1942"/>
                  <a:pt x="5630" y="1974"/>
                  <a:pt x="5662" y="1990"/>
                </a:cubicBezTo>
                <a:cubicBezTo>
                  <a:pt x="5694" y="2006"/>
                  <a:pt x="6441" y="2261"/>
                  <a:pt x="6441" y="3104"/>
                </a:cubicBezTo>
                <a:cubicBezTo>
                  <a:pt x="6441" y="3852"/>
                  <a:pt x="5996" y="4313"/>
                  <a:pt x="5216" y="4345"/>
                </a:cubicBezTo>
                <a:lnTo>
                  <a:pt x="4246" y="4345"/>
                </a:lnTo>
                <a:cubicBezTo>
                  <a:pt x="4214" y="4345"/>
                  <a:pt x="4166" y="4392"/>
                  <a:pt x="4166" y="4424"/>
                </a:cubicBezTo>
                <a:cubicBezTo>
                  <a:pt x="4166" y="4472"/>
                  <a:pt x="4214" y="4504"/>
                  <a:pt x="4246" y="4504"/>
                </a:cubicBezTo>
                <a:lnTo>
                  <a:pt x="5216" y="4504"/>
                </a:lnTo>
                <a:cubicBezTo>
                  <a:pt x="6091" y="4456"/>
                  <a:pt x="6600" y="3931"/>
                  <a:pt x="6600" y="3104"/>
                </a:cubicBezTo>
                <a:cubicBezTo>
                  <a:pt x="6600" y="2292"/>
                  <a:pt x="5948" y="1942"/>
                  <a:pt x="5757" y="18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3" name="Freeform: Shape 16">
            <a:extLst>
              <a:ext uri="{FF2B5EF4-FFF2-40B4-BE49-F238E27FC236}">
                <a16:creationId xmlns:a16="http://schemas.microsoft.com/office/drawing/2014/main" id="{B6768A6F-6AD8-DC40-B1CA-E32BAAEA3657}"/>
              </a:ext>
            </a:extLst>
          </p:cNvPr>
          <p:cNvSpPr/>
          <p:nvPr/>
        </p:nvSpPr>
        <p:spPr>
          <a:xfrm>
            <a:off x="9669391" y="9559475"/>
            <a:ext cx="2373840" cy="1623240"/>
          </a:xfrm>
          <a:custGeom>
            <a:avLst/>
            <a:gdLst/>
            <a:ahLst/>
            <a:cxnLst>
              <a:cxn ang="3cd4">
                <a:pos x="hc" y="t"/>
              </a:cxn>
              <a:cxn ang="cd2">
                <a:pos x="l" y="vc"/>
              </a:cxn>
              <a:cxn ang="cd4">
                <a:pos x="hc" y="b"/>
              </a:cxn>
              <a:cxn ang="0">
                <a:pos x="r" y="vc"/>
              </a:cxn>
            </a:cxnLst>
            <a:rect l="l" t="t" r="r" b="b"/>
            <a:pathLst>
              <a:path w="6595" h="4510">
                <a:moveTo>
                  <a:pt x="4575" y="2203"/>
                </a:moveTo>
                <a:cubicBezTo>
                  <a:pt x="4560" y="2156"/>
                  <a:pt x="4544" y="2123"/>
                  <a:pt x="4496" y="2108"/>
                </a:cubicBezTo>
                <a:cubicBezTo>
                  <a:pt x="4464" y="2076"/>
                  <a:pt x="4432" y="2076"/>
                  <a:pt x="4384" y="2092"/>
                </a:cubicBezTo>
                <a:lnTo>
                  <a:pt x="4226" y="2123"/>
                </a:lnTo>
                <a:cubicBezTo>
                  <a:pt x="4193" y="2044"/>
                  <a:pt x="4146" y="1965"/>
                  <a:pt x="4082" y="1901"/>
                </a:cubicBezTo>
                <a:lnTo>
                  <a:pt x="4162" y="1774"/>
                </a:lnTo>
                <a:cubicBezTo>
                  <a:pt x="4178" y="1726"/>
                  <a:pt x="4193" y="1694"/>
                  <a:pt x="4178" y="1646"/>
                </a:cubicBezTo>
                <a:cubicBezTo>
                  <a:pt x="4178" y="1599"/>
                  <a:pt x="4146" y="1567"/>
                  <a:pt x="4114" y="1551"/>
                </a:cubicBezTo>
                <a:lnTo>
                  <a:pt x="3923" y="1423"/>
                </a:lnTo>
                <a:cubicBezTo>
                  <a:pt x="3844" y="1376"/>
                  <a:pt x="3748" y="1392"/>
                  <a:pt x="3701" y="1471"/>
                </a:cubicBezTo>
                <a:lnTo>
                  <a:pt x="3621" y="1599"/>
                </a:lnTo>
                <a:cubicBezTo>
                  <a:pt x="3526" y="1583"/>
                  <a:pt x="3446" y="1567"/>
                  <a:pt x="3350" y="1551"/>
                </a:cubicBezTo>
                <a:lnTo>
                  <a:pt x="3319" y="1408"/>
                </a:lnTo>
                <a:cubicBezTo>
                  <a:pt x="3303" y="1360"/>
                  <a:pt x="3287" y="1328"/>
                  <a:pt x="3239" y="1312"/>
                </a:cubicBezTo>
                <a:cubicBezTo>
                  <a:pt x="3207" y="1280"/>
                  <a:pt x="3175" y="1280"/>
                  <a:pt x="3128" y="1280"/>
                </a:cubicBezTo>
                <a:lnTo>
                  <a:pt x="2905" y="1328"/>
                </a:lnTo>
                <a:cubicBezTo>
                  <a:pt x="2857" y="1344"/>
                  <a:pt x="2825" y="1376"/>
                  <a:pt x="2793" y="1408"/>
                </a:cubicBezTo>
                <a:cubicBezTo>
                  <a:pt x="2778" y="1440"/>
                  <a:pt x="2762" y="1487"/>
                  <a:pt x="2778" y="1519"/>
                </a:cubicBezTo>
                <a:lnTo>
                  <a:pt x="2810" y="1678"/>
                </a:lnTo>
                <a:cubicBezTo>
                  <a:pt x="2730" y="1710"/>
                  <a:pt x="2650" y="1774"/>
                  <a:pt x="2587" y="1837"/>
                </a:cubicBezTo>
                <a:lnTo>
                  <a:pt x="2459" y="1742"/>
                </a:lnTo>
                <a:cubicBezTo>
                  <a:pt x="2380" y="1694"/>
                  <a:pt x="2284" y="1726"/>
                  <a:pt x="2237" y="1789"/>
                </a:cubicBezTo>
                <a:lnTo>
                  <a:pt x="2110" y="1996"/>
                </a:lnTo>
                <a:cubicBezTo>
                  <a:pt x="2093" y="2028"/>
                  <a:pt x="2093" y="2076"/>
                  <a:pt x="2093" y="2108"/>
                </a:cubicBezTo>
                <a:cubicBezTo>
                  <a:pt x="2110" y="2156"/>
                  <a:pt x="2125" y="2187"/>
                  <a:pt x="2157" y="2203"/>
                </a:cubicBezTo>
                <a:lnTo>
                  <a:pt x="2301" y="2299"/>
                </a:lnTo>
                <a:cubicBezTo>
                  <a:pt x="2268" y="2378"/>
                  <a:pt x="2253" y="2474"/>
                  <a:pt x="2253" y="2553"/>
                </a:cubicBezTo>
                <a:lnTo>
                  <a:pt x="2093" y="2601"/>
                </a:lnTo>
                <a:cubicBezTo>
                  <a:pt x="2062" y="2601"/>
                  <a:pt x="2014" y="2633"/>
                  <a:pt x="1998" y="2665"/>
                </a:cubicBezTo>
                <a:cubicBezTo>
                  <a:pt x="1982" y="2696"/>
                  <a:pt x="1966" y="2744"/>
                  <a:pt x="1982" y="2776"/>
                </a:cubicBezTo>
                <a:lnTo>
                  <a:pt x="2030" y="3014"/>
                </a:lnTo>
                <a:cubicBezTo>
                  <a:pt x="2030" y="3046"/>
                  <a:pt x="2062" y="3094"/>
                  <a:pt x="2093" y="3110"/>
                </a:cubicBezTo>
                <a:cubicBezTo>
                  <a:pt x="2141" y="3126"/>
                  <a:pt x="2173" y="3142"/>
                  <a:pt x="2221" y="3126"/>
                </a:cubicBezTo>
                <a:lnTo>
                  <a:pt x="2364" y="3094"/>
                </a:lnTo>
                <a:cubicBezTo>
                  <a:pt x="2412" y="3174"/>
                  <a:pt x="2459" y="3253"/>
                  <a:pt x="2523" y="3317"/>
                </a:cubicBezTo>
                <a:lnTo>
                  <a:pt x="2444" y="3444"/>
                </a:lnTo>
                <a:cubicBezTo>
                  <a:pt x="2412" y="3492"/>
                  <a:pt x="2412" y="3524"/>
                  <a:pt x="2412" y="3571"/>
                </a:cubicBezTo>
                <a:cubicBezTo>
                  <a:pt x="2428" y="3603"/>
                  <a:pt x="2459" y="3651"/>
                  <a:pt x="2491" y="3667"/>
                </a:cubicBezTo>
                <a:lnTo>
                  <a:pt x="2682" y="3794"/>
                </a:lnTo>
                <a:cubicBezTo>
                  <a:pt x="2714" y="3810"/>
                  <a:pt x="2762" y="3826"/>
                  <a:pt x="2810" y="3810"/>
                </a:cubicBezTo>
                <a:cubicBezTo>
                  <a:pt x="2841" y="3810"/>
                  <a:pt x="2889" y="3778"/>
                  <a:pt x="2905" y="3747"/>
                </a:cubicBezTo>
                <a:lnTo>
                  <a:pt x="2984" y="3619"/>
                </a:lnTo>
                <a:cubicBezTo>
                  <a:pt x="3080" y="3635"/>
                  <a:pt x="3159" y="3651"/>
                  <a:pt x="3255" y="3651"/>
                </a:cubicBezTo>
                <a:lnTo>
                  <a:pt x="3287" y="3810"/>
                </a:lnTo>
                <a:cubicBezTo>
                  <a:pt x="3303" y="3858"/>
                  <a:pt x="3319" y="3890"/>
                  <a:pt x="3350" y="3905"/>
                </a:cubicBezTo>
                <a:cubicBezTo>
                  <a:pt x="3382" y="3922"/>
                  <a:pt x="3414" y="3937"/>
                  <a:pt x="3446" y="3937"/>
                </a:cubicBezTo>
                <a:lnTo>
                  <a:pt x="3478" y="3937"/>
                </a:lnTo>
                <a:lnTo>
                  <a:pt x="3701" y="3874"/>
                </a:lnTo>
                <a:cubicBezTo>
                  <a:pt x="3748" y="3874"/>
                  <a:pt x="3780" y="3842"/>
                  <a:pt x="3796" y="3810"/>
                </a:cubicBezTo>
                <a:cubicBezTo>
                  <a:pt x="3828" y="3778"/>
                  <a:pt x="3828" y="3731"/>
                  <a:pt x="3828" y="3699"/>
                </a:cubicBezTo>
                <a:lnTo>
                  <a:pt x="3796" y="3540"/>
                </a:lnTo>
                <a:cubicBezTo>
                  <a:pt x="3875" y="3492"/>
                  <a:pt x="3939" y="3444"/>
                  <a:pt x="4003" y="3380"/>
                </a:cubicBezTo>
                <a:lnTo>
                  <a:pt x="4146" y="3476"/>
                </a:lnTo>
                <a:cubicBezTo>
                  <a:pt x="4210" y="3508"/>
                  <a:pt x="4321" y="3492"/>
                  <a:pt x="4353" y="3413"/>
                </a:cubicBezTo>
                <a:lnTo>
                  <a:pt x="4480" y="3222"/>
                </a:lnTo>
                <a:cubicBezTo>
                  <a:pt x="4512" y="3190"/>
                  <a:pt x="4512" y="3142"/>
                  <a:pt x="4512" y="3110"/>
                </a:cubicBezTo>
                <a:cubicBezTo>
                  <a:pt x="4496" y="3062"/>
                  <a:pt x="4480" y="3031"/>
                  <a:pt x="4432" y="2999"/>
                </a:cubicBezTo>
                <a:lnTo>
                  <a:pt x="4305" y="2919"/>
                </a:lnTo>
                <a:cubicBezTo>
                  <a:pt x="4337" y="2840"/>
                  <a:pt x="4353" y="2744"/>
                  <a:pt x="4353" y="2649"/>
                </a:cubicBezTo>
                <a:lnTo>
                  <a:pt x="4512" y="2617"/>
                </a:lnTo>
                <a:cubicBezTo>
                  <a:pt x="4592" y="2601"/>
                  <a:pt x="4639" y="2522"/>
                  <a:pt x="4623" y="2426"/>
                </a:cubicBezTo>
                <a:close/>
                <a:moveTo>
                  <a:pt x="4257" y="2522"/>
                </a:moveTo>
                <a:cubicBezTo>
                  <a:pt x="4226" y="2522"/>
                  <a:pt x="4193" y="2553"/>
                  <a:pt x="4193" y="2585"/>
                </a:cubicBezTo>
                <a:cubicBezTo>
                  <a:pt x="4193" y="2713"/>
                  <a:pt x="4178" y="2824"/>
                  <a:pt x="4130" y="2919"/>
                </a:cubicBezTo>
                <a:cubicBezTo>
                  <a:pt x="4130" y="2967"/>
                  <a:pt x="4130" y="2999"/>
                  <a:pt x="4162" y="3014"/>
                </a:cubicBezTo>
                <a:lnTo>
                  <a:pt x="4353" y="3142"/>
                </a:lnTo>
                <a:lnTo>
                  <a:pt x="4226" y="3333"/>
                </a:lnTo>
                <a:lnTo>
                  <a:pt x="4050" y="3222"/>
                </a:lnTo>
                <a:cubicBezTo>
                  <a:pt x="4019" y="3190"/>
                  <a:pt x="3971" y="3205"/>
                  <a:pt x="3939" y="3222"/>
                </a:cubicBezTo>
                <a:cubicBezTo>
                  <a:pt x="3859" y="3317"/>
                  <a:pt x="3764" y="3380"/>
                  <a:pt x="3669" y="3428"/>
                </a:cubicBezTo>
                <a:cubicBezTo>
                  <a:pt x="3637" y="3444"/>
                  <a:pt x="3605" y="3476"/>
                  <a:pt x="3621" y="3508"/>
                </a:cubicBezTo>
                <a:lnTo>
                  <a:pt x="3669" y="3731"/>
                </a:lnTo>
                <a:lnTo>
                  <a:pt x="3446" y="3778"/>
                </a:lnTo>
                <a:lnTo>
                  <a:pt x="3398" y="3556"/>
                </a:lnTo>
                <a:cubicBezTo>
                  <a:pt x="3382" y="3524"/>
                  <a:pt x="3350" y="3508"/>
                  <a:pt x="3319" y="3508"/>
                </a:cubicBezTo>
                <a:cubicBezTo>
                  <a:pt x="3192" y="3508"/>
                  <a:pt x="3096" y="3476"/>
                  <a:pt x="2984" y="3444"/>
                </a:cubicBezTo>
                <a:cubicBezTo>
                  <a:pt x="2953" y="3428"/>
                  <a:pt x="2905" y="3444"/>
                  <a:pt x="2889" y="3476"/>
                </a:cubicBezTo>
                <a:lnTo>
                  <a:pt x="2778" y="3651"/>
                </a:lnTo>
                <a:lnTo>
                  <a:pt x="2571" y="3540"/>
                </a:lnTo>
                <a:lnTo>
                  <a:pt x="2698" y="3349"/>
                </a:lnTo>
                <a:cubicBezTo>
                  <a:pt x="2714" y="3317"/>
                  <a:pt x="2714" y="3269"/>
                  <a:pt x="2682" y="3253"/>
                </a:cubicBezTo>
                <a:cubicBezTo>
                  <a:pt x="2602" y="3174"/>
                  <a:pt x="2539" y="3078"/>
                  <a:pt x="2491" y="2967"/>
                </a:cubicBezTo>
                <a:cubicBezTo>
                  <a:pt x="2475" y="2935"/>
                  <a:pt x="2428" y="2919"/>
                  <a:pt x="2396" y="2935"/>
                </a:cubicBezTo>
                <a:lnTo>
                  <a:pt x="2189" y="2983"/>
                </a:lnTo>
                <a:lnTo>
                  <a:pt x="2125" y="2744"/>
                </a:lnTo>
                <a:lnTo>
                  <a:pt x="2348" y="2696"/>
                </a:lnTo>
                <a:cubicBezTo>
                  <a:pt x="2380" y="2696"/>
                  <a:pt x="2412" y="2665"/>
                  <a:pt x="2412" y="2617"/>
                </a:cubicBezTo>
                <a:cubicBezTo>
                  <a:pt x="2412" y="2505"/>
                  <a:pt x="2428" y="2394"/>
                  <a:pt x="2459" y="2283"/>
                </a:cubicBezTo>
                <a:cubicBezTo>
                  <a:pt x="2475" y="2251"/>
                  <a:pt x="2459" y="2219"/>
                  <a:pt x="2428" y="2187"/>
                </a:cubicBezTo>
                <a:lnTo>
                  <a:pt x="2253" y="2076"/>
                </a:lnTo>
                <a:lnTo>
                  <a:pt x="2380" y="1885"/>
                </a:lnTo>
                <a:lnTo>
                  <a:pt x="2555" y="1996"/>
                </a:lnTo>
                <a:cubicBezTo>
                  <a:pt x="2587" y="2012"/>
                  <a:pt x="2635" y="2012"/>
                  <a:pt x="2666" y="1980"/>
                </a:cubicBezTo>
                <a:cubicBezTo>
                  <a:pt x="2730" y="1901"/>
                  <a:pt x="2825" y="1837"/>
                  <a:pt x="2937" y="1789"/>
                </a:cubicBezTo>
                <a:cubicBezTo>
                  <a:pt x="2969" y="1774"/>
                  <a:pt x="2984" y="1742"/>
                  <a:pt x="2984" y="1710"/>
                </a:cubicBezTo>
                <a:lnTo>
                  <a:pt x="2937" y="1487"/>
                </a:lnTo>
                <a:lnTo>
                  <a:pt x="3159" y="1440"/>
                </a:lnTo>
                <a:lnTo>
                  <a:pt x="3207" y="1646"/>
                </a:lnTo>
                <a:cubicBezTo>
                  <a:pt x="3223" y="1694"/>
                  <a:pt x="3239" y="1710"/>
                  <a:pt x="3287" y="1710"/>
                </a:cubicBezTo>
                <a:cubicBezTo>
                  <a:pt x="3398" y="1710"/>
                  <a:pt x="3510" y="1726"/>
                  <a:pt x="3621" y="1774"/>
                </a:cubicBezTo>
                <a:cubicBezTo>
                  <a:pt x="3653" y="1789"/>
                  <a:pt x="3701" y="1774"/>
                  <a:pt x="3716" y="1742"/>
                </a:cubicBezTo>
                <a:lnTo>
                  <a:pt x="3828" y="1551"/>
                </a:lnTo>
                <a:lnTo>
                  <a:pt x="4035" y="1678"/>
                </a:lnTo>
                <a:lnTo>
                  <a:pt x="3907" y="1869"/>
                </a:lnTo>
                <a:cubicBezTo>
                  <a:pt x="3892" y="1901"/>
                  <a:pt x="3892" y="1933"/>
                  <a:pt x="3923" y="1965"/>
                </a:cubicBezTo>
                <a:cubicBezTo>
                  <a:pt x="4003" y="2044"/>
                  <a:pt x="4066" y="2140"/>
                  <a:pt x="4114" y="2235"/>
                </a:cubicBezTo>
                <a:cubicBezTo>
                  <a:pt x="4130" y="2283"/>
                  <a:pt x="4162" y="2299"/>
                  <a:pt x="4210" y="2283"/>
                </a:cubicBezTo>
                <a:lnTo>
                  <a:pt x="4416" y="2235"/>
                </a:lnTo>
                <a:lnTo>
                  <a:pt x="4464" y="2474"/>
                </a:lnTo>
                <a:close/>
                <a:moveTo>
                  <a:pt x="5768" y="1869"/>
                </a:moveTo>
                <a:cubicBezTo>
                  <a:pt x="5768" y="1805"/>
                  <a:pt x="5752" y="1710"/>
                  <a:pt x="5752" y="1694"/>
                </a:cubicBezTo>
                <a:cubicBezTo>
                  <a:pt x="5816" y="1105"/>
                  <a:pt x="5497" y="501"/>
                  <a:pt x="4956" y="214"/>
                </a:cubicBezTo>
                <a:cubicBezTo>
                  <a:pt x="4352" y="-120"/>
                  <a:pt x="3525" y="-56"/>
                  <a:pt x="3000" y="358"/>
                </a:cubicBezTo>
                <a:cubicBezTo>
                  <a:pt x="2856" y="469"/>
                  <a:pt x="2713" y="644"/>
                  <a:pt x="2634" y="755"/>
                </a:cubicBezTo>
                <a:cubicBezTo>
                  <a:pt x="2601" y="723"/>
                  <a:pt x="2522" y="676"/>
                  <a:pt x="2427" y="628"/>
                </a:cubicBezTo>
                <a:cubicBezTo>
                  <a:pt x="2045" y="437"/>
                  <a:pt x="1615" y="469"/>
                  <a:pt x="1249" y="708"/>
                </a:cubicBezTo>
                <a:cubicBezTo>
                  <a:pt x="915" y="931"/>
                  <a:pt x="724" y="1312"/>
                  <a:pt x="756" y="1726"/>
                </a:cubicBezTo>
                <a:lnTo>
                  <a:pt x="756" y="1869"/>
                </a:lnTo>
                <a:cubicBezTo>
                  <a:pt x="756" y="1885"/>
                  <a:pt x="740" y="1885"/>
                  <a:pt x="724" y="1901"/>
                </a:cubicBezTo>
                <a:cubicBezTo>
                  <a:pt x="597" y="1965"/>
                  <a:pt x="342" y="2108"/>
                  <a:pt x="152" y="2522"/>
                </a:cubicBezTo>
                <a:cubicBezTo>
                  <a:pt x="-151" y="3158"/>
                  <a:pt x="9" y="3874"/>
                  <a:pt x="533" y="4240"/>
                </a:cubicBezTo>
                <a:cubicBezTo>
                  <a:pt x="772" y="4414"/>
                  <a:pt x="1090" y="4510"/>
                  <a:pt x="1361" y="4510"/>
                </a:cubicBezTo>
                <a:cubicBezTo>
                  <a:pt x="5211" y="4510"/>
                  <a:pt x="3928" y="4510"/>
                  <a:pt x="5211" y="4510"/>
                </a:cubicBezTo>
                <a:lnTo>
                  <a:pt x="5227" y="4510"/>
                </a:lnTo>
                <a:cubicBezTo>
                  <a:pt x="6086" y="4462"/>
                  <a:pt x="6595" y="3937"/>
                  <a:pt x="6595" y="3110"/>
                </a:cubicBezTo>
                <a:cubicBezTo>
                  <a:pt x="6595" y="2299"/>
                  <a:pt x="5959" y="1949"/>
                  <a:pt x="5768" y="1869"/>
                </a:cubicBezTo>
                <a:close/>
                <a:moveTo>
                  <a:pt x="5211" y="4351"/>
                </a:moveTo>
                <a:cubicBezTo>
                  <a:pt x="1361" y="4351"/>
                  <a:pt x="2645" y="4351"/>
                  <a:pt x="1361" y="4351"/>
                </a:cubicBezTo>
                <a:cubicBezTo>
                  <a:pt x="1122" y="4351"/>
                  <a:pt x="836" y="4271"/>
                  <a:pt x="629" y="4113"/>
                </a:cubicBezTo>
                <a:cubicBezTo>
                  <a:pt x="183" y="3794"/>
                  <a:pt x="24" y="3142"/>
                  <a:pt x="295" y="2601"/>
                </a:cubicBezTo>
                <a:cubicBezTo>
                  <a:pt x="470" y="2219"/>
                  <a:pt x="676" y="2092"/>
                  <a:pt x="804" y="2028"/>
                </a:cubicBezTo>
                <a:cubicBezTo>
                  <a:pt x="867" y="1996"/>
                  <a:pt x="899" y="1980"/>
                  <a:pt x="915" y="1933"/>
                </a:cubicBezTo>
                <a:lnTo>
                  <a:pt x="915" y="1901"/>
                </a:lnTo>
                <a:lnTo>
                  <a:pt x="915" y="1710"/>
                </a:lnTo>
                <a:cubicBezTo>
                  <a:pt x="883" y="1360"/>
                  <a:pt x="1043" y="1042"/>
                  <a:pt x="1345" y="835"/>
                </a:cubicBezTo>
                <a:cubicBezTo>
                  <a:pt x="1520" y="723"/>
                  <a:pt x="1711" y="660"/>
                  <a:pt x="1901" y="660"/>
                </a:cubicBezTo>
                <a:cubicBezTo>
                  <a:pt x="2061" y="660"/>
                  <a:pt x="2204" y="692"/>
                  <a:pt x="2347" y="771"/>
                </a:cubicBezTo>
                <a:cubicBezTo>
                  <a:pt x="2538" y="851"/>
                  <a:pt x="2507" y="878"/>
                  <a:pt x="2586" y="931"/>
                </a:cubicBezTo>
                <a:cubicBezTo>
                  <a:pt x="2601" y="946"/>
                  <a:pt x="2634" y="962"/>
                  <a:pt x="2665" y="962"/>
                </a:cubicBezTo>
                <a:cubicBezTo>
                  <a:pt x="2681" y="962"/>
                  <a:pt x="2713" y="946"/>
                  <a:pt x="2729" y="914"/>
                </a:cubicBezTo>
                <a:cubicBezTo>
                  <a:pt x="2851" y="771"/>
                  <a:pt x="2904" y="628"/>
                  <a:pt x="3095" y="485"/>
                </a:cubicBezTo>
                <a:cubicBezTo>
                  <a:pt x="3572" y="103"/>
                  <a:pt x="4320" y="55"/>
                  <a:pt x="4877" y="358"/>
                </a:cubicBezTo>
                <a:cubicBezTo>
                  <a:pt x="5354" y="612"/>
                  <a:pt x="5640" y="1153"/>
                  <a:pt x="5593" y="1678"/>
                </a:cubicBezTo>
                <a:cubicBezTo>
                  <a:pt x="5593" y="1694"/>
                  <a:pt x="5593" y="1774"/>
                  <a:pt x="5609" y="1917"/>
                </a:cubicBezTo>
                <a:cubicBezTo>
                  <a:pt x="5609" y="1949"/>
                  <a:pt x="5625" y="1980"/>
                  <a:pt x="5656" y="1996"/>
                </a:cubicBezTo>
                <a:cubicBezTo>
                  <a:pt x="5688" y="1996"/>
                  <a:pt x="6436" y="2267"/>
                  <a:pt x="6436" y="3110"/>
                </a:cubicBezTo>
                <a:cubicBezTo>
                  <a:pt x="6436" y="3858"/>
                  <a:pt x="5991" y="4304"/>
                  <a:pt x="5211" y="435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4" name="TextBox 83">
            <a:extLst>
              <a:ext uri="{FF2B5EF4-FFF2-40B4-BE49-F238E27FC236}">
                <a16:creationId xmlns:a16="http://schemas.microsoft.com/office/drawing/2014/main" id="{0B75AAC4-57D5-4549-A310-5323AC794D40}"/>
              </a:ext>
            </a:extLst>
          </p:cNvPr>
          <p:cNvSpPr txBox="1"/>
          <p:nvPr/>
        </p:nvSpPr>
        <p:spPr>
          <a:xfrm>
            <a:off x="20055133" y="11751001"/>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Sync</a:t>
            </a:r>
          </a:p>
        </p:txBody>
      </p:sp>
      <p:sp>
        <p:nvSpPr>
          <p:cNvPr id="85" name="Freeform: Shape 4">
            <a:extLst>
              <a:ext uri="{FF2B5EF4-FFF2-40B4-BE49-F238E27FC236}">
                <a16:creationId xmlns:a16="http://schemas.microsoft.com/office/drawing/2014/main" id="{52E2DBB8-B8D0-DF46-94CE-BCDA4F3F376E}"/>
              </a:ext>
            </a:extLst>
          </p:cNvPr>
          <p:cNvSpPr/>
          <p:nvPr/>
        </p:nvSpPr>
        <p:spPr>
          <a:xfrm>
            <a:off x="20624065" y="9529133"/>
            <a:ext cx="2375640" cy="1623240"/>
          </a:xfrm>
          <a:custGeom>
            <a:avLst/>
            <a:gdLst/>
            <a:ahLst/>
            <a:cxnLst>
              <a:cxn ang="3cd4">
                <a:pos x="hc" y="t"/>
              </a:cxn>
              <a:cxn ang="cd2">
                <a:pos x="l" y="vc"/>
              </a:cxn>
              <a:cxn ang="cd4">
                <a:pos x="hc" y="b"/>
              </a:cxn>
              <a:cxn ang="0">
                <a:pos x="r" y="vc"/>
              </a:cxn>
            </a:cxnLst>
            <a:rect l="l" t="t" r="r" b="b"/>
            <a:pathLst>
              <a:path w="6600" h="4510">
                <a:moveTo>
                  <a:pt x="2957" y="2187"/>
                </a:moveTo>
                <a:lnTo>
                  <a:pt x="4071" y="2187"/>
                </a:lnTo>
                <a:lnTo>
                  <a:pt x="3880" y="2410"/>
                </a:lnTo>
                <a:cubicBezTo>
                  <a:pt x="3848" y="2442"/>
                  <a:pt x="3848" y="2490"/>
                  <a:pt x="3880" y="2522"/>
                </a:cubicBezTo>
                <a:cubicBezTo>
                  <a:pt x="3895" y="2538"/>
                  <a:pt x="3911" y="2538"/>
                  <a:pt x="3927" y="2538"/>
                </a:cubicBezTo>
                <a:cubicBezTo>
                  <a:pt x="3959" y="2538"/>
                  <a:pt x="3975" y="2522"/>
                  <a:pt x="3991" y="2506"/>
                </a:cubicBezTo>
                <a:lnTo>
                  <a:pt x="4309" y="2172"/>
                </a:lnTo>
                <a:cubicBezTo>
                  <a:pt x="4341" y="2140"/>
                  <a:pt x="4341" y="2092"/>
                  <a:pt x="4309" y="2060"/>
                </a:cubicBezTo>
                <a:lnTo>
                  <a:pt x="3991" y="1710"/>
                </a:lnTo>
                <a:cubicBezTo>
                  <a:pt x="3959" y="1678"/>
                  <a:pt x="3911" y="1678"/>
                  <a:pt x="3880" y="1710"/>
                </a:cubicBezTo>
                <a:cubicBezTo>
                  <a:pt x="3848" y="1742"/>
                  <a:pt x="3848" y="1790"/>
                  <a:pt x="3880" y="1822"/>
                </a:cubicBezTo>
                <a:lnTo>
                  <a:pt x="4071" y="2029"/>
                </a:lnTo>
                <a:lnTo>
                  <a:pt x="2957" y="2029"/>
                </a:lnTo>
                <a:cubicBezTo>
                  <a:pt x="2447" y="2029"/>
                  <a:pt x="2050" y="2442"/>
                  <a:pt x="2050" y="2951"/>
                </a:cubicBezTo>
                <a:cubicBezTo>
                  <a:pt x="2050" y="2999"/>
                  <a:pt x="2082" y="3031"/>
                  <a:pt x="2129" y="3031"/>
                </a:cubicBezTo>
                <a:cubicBezTo>
                  <a:pt x="2161" y="3031"/>
                  <a:pt x="2209" y="2999"/>
                  <a:pt x="2209" y="2951"/>
                </a:cubicBezTo>
                <a:cubicBezTo>
                  <a:pt x="2209" y="2538"/>
                  <a:pt x="2543" y="2187"/>
                  <a:pt x="2957" y="2187"/>
                </a:cubicBezTo>
                <a:close/>
                <a:moveTo>
                  <a:pt x="4484" y="2347"/>
                </a:moveTo>
                <a:cubicBezTo>
                  <a:pt x="4437" y="2347"/>
                  <a:pt x="4404" y="2378"/>
                  <a:pt x="4404" y="2426"/>
                </a:cubicBezTo>
                <a:cubicBezTo>
                  <a:pt x="4404" y="2856"/>
                  <a:pt x="4071" y="3174"/>
                  <a:pt x="3657" y="3174"/>
                </a:cubicBezTo>
                <a:lnTo>
                  <a:pt x="2543" y="3174"/>
                </a:lnTo>
                <a:lnTo>
                  <a:pt x="2734" y="2967"/>
                </a:lnTo>
                <a:cubicBezTo>
                  <a:pt x="2766" y="2935"/>
                  <a:pt x="2766" y="2887"/>
                  <a:pt x="2734" y="2856"/>
                </a:cubicBezTo>
                <a:cubicBezTo>
                  <a:pt x="2702" y="2824"/>
                  <a:pt x="2655" y="2824"/>
                  <a:pt x="2623" y="2856"/>
                </a:cubicBezTo>
                <a:lnTo>
                  <a:pt x="2304" y="3206"/>
                </a:lnTo>
                <a:cubicBezTo>
                  <a:pt x="2273" y="3238"/>
                  <a:pt x="2273" y="3286"/>
                  <a:pt x="2304" y="3317"/>
                </a:cubicBezTo>
                <a:lnTo>
                  <a:pt x="2623" y="3651"/>
                </a:lnTo>
                <a:cubicBezTo>
                  <a:pt x="2638" y="3667"/>
                  <a:pt x="2655" y="3683"/>
                  <a:pt x="2686" y="3683"/>
                </a:cubicBezTo>
                <a:cubicBezTo>
                  <a:pt x="2702" y="3683"/>
                  <a:pt x="2718" y="3683"/>
                  <a:pt x="2734" y="3667"/>
                </a:cubicBezTo>
                <a:cubicBezTo>
                  <a:pt x="2766" y="3635"/>
                  <a:pt x="2766" y="3588"/>
                  <a:pt x="2734" y="3556"/>
                </a:cubicBezTo>
                <a:lnTo>
                  <a:pt x="2543" y="3333"/>
                </a:lnTo>
                <a:lnTo>
                  <a:pt x="3657" y="3333"/>
                </a:lnTo>
                <a:cubicBezTo>
                  <a:pt x="4166" y="3333"/>
                  <a:pt x="4564" y="2935"/>
                  <a:pt x="4564" y="2426"/>
                </a:cubicBezTo>
                <a:cubicBezTo>
                  <a:pt x="4564" y="2378"/>
                  <a:pt x="4516" y="2347"/>
                  <a:pt x="4484" y="2347"/>
                </a:cubicBezTo>
                <a:close/>
                <a:moveTo>
                  <a:pt x="5757" y="1868"/>
                </a:moveTo>
                <a:lnTo>
                  <a:pt x="5757" y="1694"/>
                </a:lnTo>
                <a:cubicBezTo>
                  <a:pt x="5820" y="1105"/>
                  <a:pt x="5486" y="500"/>
                  <a:pt x="4961" y="214"/>
                </a:cubicBezTo>
                <a:cubicBezTo>
                  <a:pt x="4357" y="-120"/>
                  <a:pt x="3529" y="-57"/>
                  <a:pt x="2989" y="357"/>
                </a:cubicBezTo>
                <a:cubicBezTo>
                  <a:pt x="2846" y="468"/>
                  <a:pt x="2718" y="643"/>
                  <a:pt x="2638" y="755"/>
                </a:cubicBezTo>
                <a:cubicBezTo>
                  <a:pt x="2591" y="723"/>
                  <a:pt x="2527" y="675"/>
                  <a:pt x="2432" y="628"/>
                </a:cubicBezTo>
                <a:cubicBezTo>
                  <a:pt x="2050" y="437"/>
                  <a:pt x="1604" y="468"/>
                  <a:pt x="1255" y="707"/>
                </a:cubicBezTo>
                <a:cubicBezTo>
                  <a:pt x="904" y="930"/>
                  <a:pt x="729" y="1312"/>
                  <a:pt x="761" y="1725"/>
                </a:cubicBezTo>
                <a:lnTo>
                  <a:pt x="761" y="1868"/>
                </a:lnTo>
                <a:cubicBezTo>
                  <a:pt x="751" y="1879"/>
                  <a:pt x="745" y="1885"/>
                  <a:pt x="729" y="1900"/>
                </a:cubicBezTo>
                <a:cubicBezTo>
                  <a:pt x="602" y="1964"/>
                  <a:pt x="347" y="2107"/>
                  <a:pt x="141" y="2521"/>
                </a:cubicBezTo>
                <a:cubicBezTo>
                  <a:pt x="-146" y="3141"/>
                  <a:pt x="13" y="3873"/>
                  <a:pt x="538" y="4239"/>
                </a:cubicBezTo>
                <a:cubicBezTo>
                  <a:pt x="777" y="4414"/>
                  <a:pt x="1095" y="4510"/>
                  <a:pt x="1366" y="4510"/>
                </a:cubicBezTo>
                <a:lnTo>
                  <a:pt x="5216" y="4510"/>
                </a:lnTo>
                <a:cubicBezTo>
                  <a:pt x="6091" y="4462"/>
                  <a:pt x="6600" y="3937"/>
                  <a:pt x="6600" y="3109"/>
                </a:cubicBezTo>
                <a:cubicBezTo>
                  <a:pt x="6600" y="2282"/>
                  <a:pt x="5948" y="1948"/>
                  <a:pt x="5757" y="1868"/>
                </a:cubicBezTo>
                <a:close/>
                <a:moveTo>
                  <a:pt x="5216" y="4350"/>
                </a:moveTo>
                <a:lnTo>
                  <a:pt x="1366" y="4350"/>
                </a:lnTo>
                <a:cubicBezTo>
                  <a:pt x="1127" y="4350"/>
                  <a:pt x="841" y="4255"/>
                  <a:pt x="634" y="4112"/>
                </a:cubicBezTo>
                <a:cubicBezTo>
                  <a:pt x="173" y="3794"/>
                  <a:pt x="29" y="3141"/>
                  <a:pt x="284" y="2600"/>
                </a:cubicBezTo>
                <a:cubicBezTo>
                  <a:pt x="459" y="2219"/>
                  <a:pt x="682" y="2091"/>
                  <a:pt x="809" y="2028"/>
                </a:cubicBezTo>
                <a:cubicBezTo>
                  <a:pt x="856" y="1996"/>
                  <a:pt x="904" y="1980"/>
                  <a:pt x="920" y="1932"/>
                </a:cubicBezTo>
                <a:lnTo>
                  <a:pt x="920" y="1900"/>
                </a:lnTo>
                <a:lnTo>
                  <a:pt x="920" y="1709"/>
                </a:lnTo>
                <a:cubicBezTo>
                  <a:pt x="889" y="1359"/>
                  <a:pt x="1047" y="1041"/>
                  <a:pt x="1350" y="834"/>
                </a:cubicBezTo>
                <a:cubicBezTo>
                  <a:pt x="1525" y="723"/>
                  <a:pt x="1716" y="659"/>
                  <a:pt x="1907" y="659"/>
                </a:cubicBezTo>
                <a:cubicBezTo>
                  <a:pt x="2066" y="659"/>
                  <a:pt x="2209" y="691"/>
                  <a:pt x="2352" y="771"/>
                </a:cubicBezTo>
                <a:cubicBezTo>
                  <a:pt x="2527" y="850"/>
                  <a:pt x="2512" y="877"/>
                  <a:pt x="2591" y="930"/>
                </a:cubicBezTo>
                <a:cubicBezTo>
                  <a:pt x="2607" y="946"/>
                  <a:pt x="2638" y="946"/>
                  <a:pt x="2655" y="946"/>
                </a:cubicBezTo>
                <a:cubicBezTo>
                  <a:pt x="2686" y="946"/>
                  <a:pt x="2702" y="946"/>
                  <a:pt x="2718" y="914"/>
                </a:cubicBezTo>
                <a:cubicBezTo>
                  <a:pt x="2846" y="771"/>
                  <a:pt x="2909" y="628"/>
                  <a:pt x="3100" y="484"/>
                </a:cubicBezTo>
                <a:cubicBezTo>
                  <a:pt x="3577" y="103"/>
                  <a:pt x="4325" y="55"/>
                  <a:pt x="4882" y="357"/>
                </a:cubicBezTo>
                <a:cubicBezTo>
                  <a:pt x="5359" y="612"/>
                  <a:pt x="5646" y="1152"/>
                  <a:pt x="5598" y="1677"/>
                </a:cubicBezTo>
                <a:cubicBezTo>
                  <a:pt x="5598" y="1694"/>
                  <a:pt x="5598" y="1773"/>
                  <a:pt x="5614" y="1916"/>
                </a:cubicBezTo>
                <a:cubicBezTo>
                  <a:pt x="5614" y="1948"/>
                  <a:pt x="5629" y="1980"/>
                  <a:pt x="5662" y="1996"/>
                </a:cubicBezTo>
                <a:cubicBezTo>
                  <a:pt x="5693" y="1996"/>
                  <a:pt x="6441" y="2266"/>
                  <a:pt x="6441" y="3109"/>
                </a:cubicBezTo>
                <a:cubicBezTo>
                  <a:pt x="6441" y="3857"/>
                  <a:pt x="5995" y="4303"/>
                  <a:pt x="5216" y="435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16704535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Cloud - 2</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47" name="TextBox 46">
            <a:extLst>
              <a:ext uri="{FF2B5EF4-FFF2-40B4-BE49-F238E27FC236}">
                <a16:creationId xmlns:a16="http://schemas.microsoft.com/office/drawing/2014/main" id="{8188788B-E17E-B444-8FAD-A1A556EE8016}"/>
              </a:ext>
            </a:extLst>
          </p:cNvPr>
          <p:cNvSpPr txBox="1"/>
          <p:nvPr/>
        </p:nvSpPr>
        <p:spPr>
          <a:xfrm>
            <a:off x="1245460" y="5164929"/>
            <a:ext cx="276774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Pad</a:t>
            </a:r>
          </a:p>
        </p:txBody>
      </p:sp>
      <p:sp>
        <p:nvSpPr>
          <p:cNvPr id="48" name="TextBox 47">
            <a:extLst>
              <a:ext uri="{FF2B5EF4-FFF2-40B4-BE49-F238E27FC236}">
                <a16:creationId xmlns:a16="http://schemas.microsoft.com/office/drawing/2014/main" id="{95871E6D-A7FC-BD4B-8AAF-4B187A4DEB6A}"/>
              </a:ext>
            </a:extLst>
          </p:cNvPr>
          <p:cNvSpPr txBox="1"/>
          <p:nvPr/>
        </p:nvSpPr>
        <p:spPr>
          <a:xfrm>
            <a:off x="5306606" y="5164929"/>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Search</a:t>
            </a:r>
          </a:p>
        </p:txBody>
      </p:sp>
      <p:sp>
        <p:nvSpPr>
          <p:cNvPr id="49" name="TextBox 48">
            <a:extLst>
              <a:ext uri="{FF2B5EF4-FFF2-40B4-BE49-F238E27FC236}">
                <a16:creationId xmlns:a16="http://schemas.microsoft.com/office/drawing/2014/main" id="{A24CBF7C-CE61-8A48-92E7-9FF07E4307B0}"/>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Film</a:t>
            </a:r>
          </a:p>
        </p:txBody>
      </p:sp>
      <p:sp>
        <p:nvSpPr>
          <p:cNvPr id="50" name="TextBox 49">
            <a:extLst>
              <a:ext uri="{FF2B5EF4-FFF2-40B4-BE49-F238E27FC236}">
                <a16:creationId xmlns:a16="http://schemas.microsoft.com/office/drawing/2014/main" id="{E4CFB1F6-A0F4-C940-8ED5-5A303BA35DA5}"/>
              </a:ext>
            </a:extLst>
          </p:cNvPr>
          <p:cNvSpPr txBox="1"/>
          <p:nvPr/>
        </p:nvSpPr>
        <p:spPr>
          <a:xfrm>
            <a:off x="20443855" y="8292956"/>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Dupe</a:t>
            </a:r>
          </a:p>
        </p:txBody>
      </p:sp>
      <p:sp>
        <p:nvSpPr>
          <p:cNvPr id="51" name="Freeform: Shape 26">
            <a:extLst>
              <a:ext uri="{FF2B5EF4-FFF2-40B4-BE49-F238E27FC236}">
                <a16:creationId xmlns:a16="http://schemas.microsoft.com/office/drawing/2014/main" id="{AEC60E69-342D-FB49-8CC8-7875AC3C95E9}"/>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2" name="TextBox 51">
            <a:extLst>
              <a:ext uri="{FF2B5EF4-FFF2-40B4-BE49-F238E27FC236}">
                <a16:creationId xmlns:a16="http://schemas.microsoft.com/office/drawing/2014/main" id="{75BEFF46-5546-9241-B811-5D8CD5C965A5}"/>
              </a:ext>
            </a:extLst>
          </p:cNvPr>
          <p:cNvSpPr txBox="1"/>
          <p:nvPr/>
        </p:nvSpPr>
        <p:spPr>
          <a:xfrm>
            <a:off x="16312668" y="11723009"/>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Lightning</a:t>
            </a:r>
            <a:endParaRPr lang="en-US" sz="2800" dirty="0"/>
          </a:p>
        </p:txBody>
      </p:sp>
      <p:sp>
        <p:nvSpPr>
          <p:cNvPr id="53" name="Freeform: Shape 6">
            <a:extLst>
              <a:ext uri="{FF2B5EF4-FFF2-40B4-BE49-F238E27FC236}">
                <a16:creationId xmlns:a16="http://schemas.microsoft.com/office/drawing/2014/main" id="{1B4EAD66-7915-0846-9EF2-7F4678A6137C}"/>
              </a:ext>
            </a:extLst>
          </p:cNvPr>
          <p:cNvSpPr/>
          <p:nvPr/>
        </p:nvSpPr>
        <p:spPr>
          <a:xfrm>
            <a:off x="21098273" y="6221030"/>
            <a:ext cx="2307600" cy="1723320"/>
          </a:xfrm>
          <a:custGeom>
            <a:avLst/>
            <a:gdLst/>
            <a:ahLst/>
            <a:cxnLst>
              <a:cxn ang="3cd4">
                <a:pos x="hc" y="t"/>
              </a:cxn>
              <a:cxn ang="cd2">
                <a:pos x="l" y="vc"/>
              </a:cxn>
              <a:cxn ang="cd4">
                <a:pos x="hc" y="b"/>
              </a:cxn>
              <a:cxn ang="0">
                <a:pos x="r" y="vc"/>
              </a:cxn>
            </a:cxnLst>
            <a:rect l="l" t="t" r="r" b="b"/>
            <a:pathLst>
              <a:path w="6411" h="4788">
                <a:moveTo>
                  <a:pt x="126" y="2115"/>
                </a:moveTo>
                <a:cubicBezTo>
                  <a:pt x="-129" y="2640"/>
                  <a:pt x="15" y="3245"/>
                  <a:pt x="460" y="3547"/>
                </a:cubicBezTo>
                <a:cubicBezTo>
                  <a:pt x="588" y="3642"/>
                  <a:pt x="731" y="3706"/>
                  <a:pt x="890" y="3754"/>
                </a:cubicBezTo>
                <a:cubicBezTo>
                  <a:pt x="922" y="4072"/>
                  <a:pt x="1081" y="4374"/>
                  <a:pt x="1335" y="4549"/>
                </a:cubicBezTo>
                <a:cubicBezTo>
                  <a:pt x="1542" y="4692"/>
                  <a:pt x="1797" y="4788"/>
                  <a:pt x="2035" y="4788"/>
                </a:cubicBezTo>
                <a:cubicBezTo>
                  <a:pt x="5249" y="4788"/>
                  <a:pt x="5249" y="4788"/>
                  <a:pt x="5249" y="4788"/>
                </a:cubicBezTo>
                <a:cubicBezTo>
                  <a:pt x="5981" y="4740"/>
                  <a:pt x="6411" y="4310"/>
                  <a:pt x="6411" y="3610"/>
                </a:cubicBezTo>
                <a:cubicBezTo>
                  <a:pt x="6411" y="2927"/>
                  <a:pt x="5886" y="2624"/>
                  <a:pt x="5710" y="2561"/>
                </a:cubicBezTo>
                <a:cubicBezTo>
                  <a:pt x="5710" y="2513"/>
                  <a:pt x="5710" y="2433"/>
                  <a:pt x="5710" y="2433"/>
                </a:cubicBezTo>
                <a:cubicBezTo>
                  <a:pt x="5758" y="1924"/>
                  <a:pt x="5488" y="1431"/>
                  <a:pt x="5043" y="1176"/>
                </a:cubicBezTo>
                <a:cubicBezTo>
                  <a:pt x="4963" y="1145"/>
                  <a:pt x="4883" y="1113"/>
                  <a:pt x="4804" y="1081"/>
                </a:cubicBezTo>
                <a:cubicBezTo>
                  <a:pt x="4740" y="699"/>
                  <a:pt x="4486" y="365"/>
                  <a:pt x="4152" y="174"/>
                </a:cubicBezTo>
                <a:cubicBezTo>
                  <a:pt x="3642" y="-97"/>
                  <a:pt x="2942" y="-49"/>
                  <a:pt x="2497" y="301"/>
                </a:cubicBezTo>
                <a:cubicBezTo>
                  <a:pt x="2385" y="381"/>
                  <a:pt x="2274" y="524"/>
                  <a:pt x="2210" y="619"/>
                </a:cubicBezTo>
                <a:cubicBezTo>
                  <a:pt x="2162" y="588"/>
                  <a:pt x="2115" y="556"/>
                  <a:pt x="2035" y="508"/>
                </a:cubicBezTo>
                <a:cubicBezTo>
                  <a:pt x="1717" y="349"/>
                  <a:pt x="1351" y="381"/>
                  <a:pt x="1049" y="588"/>
                </a:cubicBezTo>
                <a:cubicBezTo>
                  <a:pt x="762" y="779"/>
                  <a:pt x="603" y="1097"/>
                  <a:pt x="635" y="1447"/>
                </a:cubicBezTo>
                <a:cubicBezTo>
                  <a:pt x="635" y="1463"/>
                  <a:pt x="635" y="1527"/>
                  <a:pt x="635" y="1558"/>
                </a:cubicBezTo>
                <a:cubicBezTo>
                  <a:pt x="635" y="1558"/>
                  <a:pt x="619" y="1574"/>
                  <a:pt x="603" y="1574"/>
                </a:cubicBezTo>
                <a:cubicBezTo>
                  <a:pt x="508" y="1638"/>
                  <a:pt x="285" y="1749"/>
                  <a:pt x="126" y="2115"/>
                </a:cubicBezTo>
                <a:close/>
                <a:moveTo>
                  <a:pt x="5552" y="2418"/>
                </a:moveTo>
                <a:cubicBezTo>
                  <a:pt x="5552" y="2433"/>
                  <a:pt x="5552" y="2608"/>
                  <a:pt x="5552" y="2608"/>
                </a:cubicBezTo>
                <a:cubicBezTo>
                  <a:pt x="5552" y="2640"/>
                  <a:pt x="5583" y="2672"/>
                  <a:pt x="5615" y="2688"/>
                </a:cubicBezTo>
                <a:cubicBezTo>
                  <a:pt x="5631" y="2688"/>
                  <a:pt x="6252" y="2910"/>
                  <a:pt x="6252" y="3610"/>
                </a:cubicBezTo>
                <a:cubicBezTo>
                  <a:pt x="6252" y="4215"/>
                  <a:pt x="5886" y="4597"/>
                  <a:pt x="5249" y="4629"/>
                </a:cubicBezTo>
                <a:cubicBezTo>
                  <a:pt x="2035" y="4629"/>
                  <a:pt x="2035" y="4629"/>
                  <a:pt x="2035" y="4629"/>
                </a:cubicBezTo>
                <a:cubicBezTo>
                  <a:pt x="1828" y="4629"/>
                  <a:pt x="1606" y="4549"/>
                  <a:pt x="1431" y="4422"/>
                </a:cubicBezTo>
                <a:cubicBezTo>
                  <a:pt x="1208" y="4263"/>
                  <a:pt x="1065" y="3992"/>
                  <a:pt x="1049" y="3722"/>
                </a:cubicBezTo>
                <a:cubicBezTo>
                  <a:pt x="1049" y="3706"/>
                  <a:pt x="1049" y="3706"/>
                  <a:pt x="1049" y="3706"/>
                </a:cubicBezTo>
                <a:cubicBezTo>
                  <a:pt x="1065" y="3690"/>
                  <a:pt x="1049" y="3674"/>
                  <a:pt x="1049" y="3658"/>
                </a:cubicBezTo>
                <a:cubicBezTo>
                  <a:pt x="1049" y="3499"/>
                  <a:pt x="1081" y="3324"/>
                  <a:pt x="1160" y="3181"/>
                </a:cubicBezTo>
                <a:cubicBezTo>
                  <a:pt x="1304" y="2879"/>
                  <a:pt x="1479" y="2767"/>
                  <a:pt x="1574" y="2719"/>
                </a:cubicBezTo>
                <a:cubicBezTo>
                  <a:pt x="1622" y="2688"/>
                  <a:pt x="1670" y="2672"/>
                  <a:pt x="1685" y="2624"/>
                </a:cubicBezTo>
                <a:cubicBezTo>
                  <a:pt x="1685" y="2608"/>
                  <a:pt x="1685" y="2608"/>
                  <a:pt x="1685" y="2592"/>
                </a:cubicBezTo>
                <a:cubicBezTo>
                  <a:pt x="1685" y="2592"/>
                  <a:pt x="1685" y="2465"/>
                  <a:pt x="1685" y="2433"/>
                </a:cubicBezTo>
                <a:cubicBezTo>
                  <a:pt x="1653" y="2147"/>
                  <a:pt x="1781" y="1876"/>
                  <a:pt x="2035" y="1717"/>
                </a:cubicBezTo>
                <a:cubicBezTo>
                  <a:pt x="2162" y="1622"/>
                  <a:pt x="2322" y="1574"/>
                  <a:pt x="2497" y="1574"/>
                </a:cubicBezTo>
                <a:cubicBezTo>
                  <a:pt x="2608" y="1574"/>
                  <a:pt x="2735" y="1606"/>
                  <a:pt x="2847" y="1654"/>
                </a:cubicBezTo>
                <a:cubicBezTo>
                  <a:pt x="3006" y="1733"/>
                  <a:pt x="3053" y="1797"/>
                  <a:pt x="3053" y="1797"/>
                </a:cubicBezTo>
                <a:cubicBezTo>
                  <a:pt x="3069" y="1813"/>
                  <a:pt x="3085" y="1828"/>
                  <a:pt x="3117" y="1828"/>
                </a:cubicBezTo>
                <a:cubicBezTo>
                  <a:pt x="3149" y="1813"/>
                  <a:pt x="3165" y="1813"/>
                  <a:pt x="3181" y="1781"/>
                </a:cubicBezTo>
                <a:cubicBezTo>
                  <a:pt x="3181" y="1781"/>
                  <a:pt x="3340" y="1542"/>
                  <a:pt x="3483" y="1431"/>
                </a:cubicBezTo>
                <a:cubicBezTo>
                  <a:pt x="3801" y="1176"/>
                  <a:pt x="4263" y="1097"/>
                  <a:pt x="4676" y="1208"/>
                </a:cubicBezTo>
                <a:cubicBezTo>
                  <a:pt x="4772" y="1240"/>
                  <a:pt x="4867" y="1272"/>
                  <a:pt x="4963" y="1319"/>
                </a:cubicBezTo>
                <a:cubicBezTo>
                  <a:pt x="5361" y="1527"/>
                  <a:pt x="5599" y="1972"/>
                  <a:pt x="5552" y="2418"/>
                </a:cubicBezTo>
                <a:close/>
                <a:moveTo>
                  <a:pt x="683" y="1717"/>
                </a:moveTo>
                <a:cubicBezTo>
                  <a:pt x="731" y="1685"/>
                  <a:pt x="779" y="1670"/>
                  <a:pt x="794" y="1622"/>
                </a:cubicBezTo>
                <a:cubicBezTo>
                  <a:pt x="794" y="1606"/>
                  <a:pt x="794" y="1606"/>
                  <a:pt x="794" y="1590"/>
                </a:cubicBezTo>
                <a:cubicBezTo>
                  <a:pt x="794" y="1590"/>
                  <a:pt x="794" y="1447"/>
                  <a:pt x="794" y="1431"/>
                </a:cubicBezTo>
                <a:cubicBezTo>
                  <a:pt x="762" y="1145"/>
                  <a:pt x="890" y="874"/>
                  <a:pt x="1144" y="715"/>
                </a:cubicBezTo>
                <a:cubicBezTo>
                  <a:pt x="1383" y="540"/>
                  <a:pt x="1701" y="524"/>
                  <a:pt x="1971" y="651"/>
                </a:cubicBezTo>
                <a:cubicBezTo>
                  <a:pt x="2115" y="731"/>
                  <a:pt x="2162" y="794"/>
                  <a:pt x="2162" y="794"/>
                </a:cubicBezTo>
                <a:cubicBezTo>
                  <a:pt x="2179" y="810"/>
                  <a:pt x="2210" y="810"/>
                  <a:pt x="2226" y="810"/>
                </a:cubicBezTo>
                <a:cubicBezTo>
                  <a:pt x="2258" y="810"/>
                  <a:pt x="2274" y="794"/>
                  <a:pt x="2290" y="779"/>
                </a:cubicBezTo>
                <a:cubicBezTo>
                  <a:pt x="2290" y="779"/>
                  <a:pt x="2449" y="540"/>
                  <a:pt x="2592" y="413"/>
                </a:cubicBezTo>
                <a:cubicBezTo>
                  <a:pt x="2990" y="110"/>
                  <a:pt x="3610" y="63"/>
                  <a:pt x="4072" y="317"/>
                </a:cubicBezTo>
                <a:cubicBezTo>
                  <a:pt x="4358" y="460"/>
                  <a:pt x="4549" y="731"/>
                  <a:pt x="4629" y="1033"/>
                </a:cubicBezTo>
                <a:cubicBezTo>
                  <a:pt x="4183" y="938"/>
                  <a:pt x="3722" y="1033"/>
                  <a:pt x="3388" y="1304"/>
                </a:cubicBezTo>
                <a:cubicBezTo>
                  <a:pt x="3276" y="1383"/>
                  <a:pt x="3165" y="1527"/>
                  <a:pt x="3101" y="1622"/>
                </a:cubicBezTo>
                <a:cubicBezTo>
                  <a:pt x="3053" y="1590"/>
                  <a:pt x="3006" y="1558"/>
                  <a:pt x="2926" y="1527"/>
                </a:cubicBezTo>
                <a:cubicBezTo>
                  <a:pt x="2608" y="1351"/>
                  <a:pt x="2242" y="1383"/>
                  <a:pt x="1940" y="1590"/>
                </a:cubicBezTo>
                <a:cubicBezTo>
                  <a:pt x="1653" y="1781"/>
                  <a:pt x="1494" y="2099"/>
                  <a:pt x="1526" y="2449"/>
                </a:cubicBezTo>
                <a:cubicBezTo>
                  <a:pt x="1526" y="2465"/>
                  <a:pt x="1526" y="2529"/>
                  <a:pt x="1526" y="2561"/>
                </a:cubicBezTo>
                <a:cubicBezTo>
                  <a:pt x="1510" y="2561"/>
                  <a:pt x="1510" y="2576"/>
                  <a:pt x="1494" y="2576"/>
                </a:cubicBezTo>
                <a:cubicBezTo>
                  <a:pt x="1399" y="2640"/>
                  <a:pt x="1176" y="2767"/>
                  <a:pt x="1017" y="3118"/>
                </a:cubicBezTo>
                <a:cubicBezTo>
                  <a:pt x="937" y="3261"/>
                  <a:pt x="905" y="3419"/>
                  <a:pt x="890" y="3579"/>
                </a:cubicBezTo>
                <a:cubicBezTo>
                  <a:pt x="762" y="3547"/>
                  <a:pt x="651" y="3499"/>
                  <a:pt x="540" y="3419"/>
                </a:cubicBezTo>
                <a:cubicBezTo>
                  <a:pt x="174" y="3165"/>
                  <a:pt x="46" y="2624"/>
                  <a:pt x="269" y="2179"/>
                </a:cubicBezTo>
                <a:cubicBezTo>
                  <a:pt x="413" y="1876"/>
                  <a:pt x="588" y="1765"/>
                  <a:pt x="683" y="171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6" name="Freeform: Shape 9">
            <a:extLst>
              <a:ext uri="{FF2B5EF4-FFF2-40B4-BE49-F238E27FC236}">
                <a16:creationId xmlns:a16="http://schemas.microsoft.com/office/drawing/2014/main" id="{42DFE590-D8AC-A74C-9236-08CD415459A0}"/>
              </a:ext>
            </a:extLst>
          </p:cNvPr>
          <p:cNvSpPr/>
          <p:nvPr/>
        </p:nvSpPr>
        <p:spPr>
          <a:xfrm>
            <a:off x="9551826" y="2949003"/>
            <a:ext cx="2374200" cy="2033280"/>
          </a:xfrm>
          <a:custGeom>
            <a:avLst/>
            <a:gdLst/>
            <a:ahLst/>
            <a:cxnLst>
              <a:cxn ang="3cd4">
                <a:pos x="hc" y="t"/>
              </a:cxn>
              <a:cxn ang="cd2">
                <a:pos x="l" y="vc"/>
              </a:cxn>
              <a:cxn ang="cd4">
                <a:pos x="hc" y="b"/>
              </a:cxn>
              <a:cxn ang="0">
                <a:pos x="r" y="vc"/>
              </a:cxn>
            </a:cxnLst>
            <a:rect l="l" t="t" r="r" b="b"/>
            <a:pathLst>
              <a:path w="6596" h="5649">
                <a:moveTo>
                  <a:pt x="4734" y="5649"/>
                </a:moveTo>
                <a:cubicBezTo>
                  <a:pt x="4782" y="5649"/>
                  <a:pt x="4814" y="5601"/>
                  <a:pt x="4814" y="5570"/>
                </a:cubicBezTo>
                <a:lnTo>
                  <a:pt x="4814" y="2499"/>
                </a:lnTo>
                <a:cubicBezTo>
                  <a:pt x="4814" y="2467"/>
                  <a:pt x="4782" y="2436"/>
                  <a:pt x="4734" y="2436"/>
                </a:cubicBezTo>
                <a:lnTo>
                  <a:pt x="1870" y="2436"/>
                </a:lnTo>
                <a:cubicBezTo>
                  <a:pt x="1823" y="2436"/>
                  <a:pt x="1791" y="2467"/>
                  <a:pt x="1791" y="2499"/>
                </a:cubicBezTo>
                <a:lnTo>
                  <a:pt x="1791" y="5570"/>
                </a:lnTo>
                <a:cubicBezTo>
                  <a:pt x="1791" y="5601"/>
                  <a:pt x="1823" y="5649"/>
                  <a:pt x="1870" y="5649"/>
                </a:cubicBezTo>
                <a:close/>
                <a:moveTo>
                  <a:pt x="1950" y="2579"/>
                </a:moveTo>
                <a:lnTo>
                  <a:pt x="4654" y="2579"/>
                </a:lnTo>
                <a:lnTo>
                  <a:pt x="4654" y="5490"/>
                </a:lnTo>
                <a:lnTo>
                  <a:pt x="1950" y="5490"/>
                </a:lnTo>
                <a:close/>
                <a:moveTo>
                  <a:pt x="2252" y="2722"/>
                </a:moveTo>
                <a:cubicBezTo>
                  <a:pt x="2205" y="2722"/>
                  <a:pt x="2172" y="2754"/>
                  <a:pt x="2172" y="2801"/>
                </a:cubicBezTo>
                <a:lnTo>
                  <a:pt x="2172" y="2992"/>
                </a:lnTo>
                <a:cubicBezTo>
                  <a:pt x="2172" y="3024"/>
                  <a:pt x="2205" y="3072"/>
                  <a:pt x="2252" y="3072"/>
                </a:cubicBezTo>
                <a:cubicBezTo>
                  <a:pt x="2300" y="3072"/>
                  <a:pt x="2332" y="3024"/>
                  <a:pt x="2332" y="2992"/>
                </a:cubicBezTo>
                <a:lnTo>
                  <a:pt x="2332" y="2801"/>
                </a:lnTo>
                <a:cubicBezTo>
                  <a:pt x="2332" y="2754"/>
                  <a:pt x="2300" y="2722"/>
                  <a:pt x="2252" y="2722"/>
                </a:cubicBezTo>
                <a:close/>
                <a:moveTo>
                  <a:pt x="2252" y="3485"/>
                </a:moveTo>
                <a:cubicBezTo>
                  <a:pt x="2205" y="3485"/>
                  <a:pt x="2172" y="3518"/>
                  <a:pt x="2172" y="3565"/>
                </a:cubicBezTo>
                <a:lnTo>
                  <a:pt x="2172" y="3756"/>
                </a:lnTo>
                <a:cubicBezTo>
                  <a:pt x="2172" y="3788"/>
                  <a:pt x="2205" y="3836"/>
                  <a:pt x="2252" y="3836"/>
                </a:cubicBezTo>
                <a:cubicBezTo>
                  <a:pt x="2300" y="3836"/>
                  <a:pt x="2332" y="3788"/>
                  <a:pt x="2332" y="3756"/>
                </a:cubicBezTo>
                <a:lnTo>
                  <a:pt x="2332" y="3565"/>
                </a:lnTo>
                <a:cubicBezTo>
                  <a:pt x="2332" y="3518"/>
                  <a:pt x="2300" y="3485"/>
                  <a:pt x="2252" y="3485"/>
                </a:cubicBezTo>
                <a:close/>
                <a:moveTo>
                  <a:pt x="4352" y="2722"/>
                </a:moveTo>
                <a:cubicBezTo>
                  <a:pt x="4305" y="2722"/>
                  <a:pt x="4273" y="2754"/>
                  <a:pt x="4273" y="2801"/>
                </a:cubicBezTo>
                <a:lnTo>
                  <a:pt x="4273" y="2992"/>
                </a:lnTo>
                <a:cubicBezTo>
                  <a:pt x="4273" y="3024"/>
                  <a:pt x="4305" y="3072"/>
                  <a:pt x="4352" y="3072"/>
                </a:cubicBezTo>
                <a:cubicBezTo>
                  <a:pt x="4400" y="3072"/>
                  <a:pt x="4432" y="3024"/>
                  <a:pt x="4432" y="2992"/>
                </a:cubicBezTo>
                <a:lnTo>
                  <a:pt x="4432" y="2801"/>
                </a:lnTo>
                <a:cubicBezTo>
                  <a:pt x="4432" y="2754"/>
                  <a:pt x="4400" y="2722"/>
                  <a:pt x="4352" y="2722"/>
                </a:cubicBezTo>
                <a:close/>
                <a:moveTo>
                  <a:pt x="4352" y="3485"/>
                </a:moveTo>
                <a:cubicBezTo>
                  <a:pt x="4305" y="3485"/>
                  <a:pt x="4273" y="3518"/>
                  <a:pt x="4273" y="3565"/>
                </a:cubicBezTo>
                <a:lnTo>
                  <a:pt x="4273" y="3756"/>
                </a:lnTo>
                <a:cubicBezTo>
                  <a:pt x="4273" y="3788"/>
                  <a:pt x="4305" y="3836"/>
                  <a:pt x="4352" y="3836"/>
                </a:cubicBezTo>
                <a:cubicBezTo>
                  <a:pt x="4400" y="3836"/>
                  <a:pt x="4432" y="3788"/>
                  <a:pt x="4432" y="3756"/>
                </a:cubicBezTo>
                <a:lnTo>
                  <a:pt x="4432" y="3565"/>
                </a:lnTo>
                <a:cubicBezTo>
                  <a:pt x="4432" y="3518"/>
                  <a:pt x="4400" y="3485"/>
                  <a:pt x="4352" y="3485"/>
                </a:cubicBezTo>
                <a:close/>
                <a:moveTo>
                  <a:pt x="4066" y="3390"/>
                </a:moveTo>
                <a:lnTo>
                  <a:pt x="2538" y="3390"/>
                </a:lnTo>
                <a:cubicBezTo>
                  <a:pt x="2491" y="3390"/>
                  <a:pt x="2459" y="3422"/>
                  <a:pt x="2459" y="3470"/>
                </a:cubicBezTo>
                <a:cubicBezTo>
                  <a:pt x="2459" y="3501"/>
                  <a:pt x="2491" y="3549"/>
                  <a:pt x="2538" y="3549"/>
                </a:cubicBezTo>
                <a:lnTo>
                  <a:pt x="4066" y="3549"/>
                </a:lnTo>
                <a:cubicBezTo>
                  <a:pt x="4114" y="3549"/>
                  <a:pt x="4145" y="3501"/>
                  <a:pt x="4145" y="3470"/>
                </a:cubicBezTo>
                <a:cubicBezTo>
                  <a:pt x="4145" y="3422"/>
                  <a:pt x="4114" y="3390"/>
                  <a:pt x="4066" y="3390"/>
                </a:cubicBezTo>
                <a:close/>
                <a:moveTo>
                  <a:pt x="2618" y="3199"/>
                </a:moveTo>
                <a:lnTo>
                  <a:pt x="3175" y="3199"/>
                </a:lnTo>
                <a:cubicBezTo>
                  <a:pt x="3175" y="3247"/>
                  <a:pt x="3206" y="3279"/>
                  <a:pt x="3254" y="3279"/>
                </a:cubicBezTo>
                <a:cubicBezTo>
                  <a:pt x="3302" y="3279"/>
                  <a:pt x="3334" y="3247"/>
                  <a:pt x="3334" y="3199"/>
                </a:cubicBezTo>
                <a:lnTo>
                  <a:pt x="3891" y="3199"/>
                </a:lnTo>
                <a:cubicBezTo>
                  <a:pt x="3939" y="3199"/>
                  <a:pt x="3970" y="3167"/>
                  <a:pt x="3970" y="3119"/>
                </a:cubicBezTo>
                <a:cubicBezTo>
                  <a:pt x="3970" y="3072"/>
                  <a:pt x="3939" y="3040"/>
                  <a:pt x="3891" y="3040"/>
                </a:cubicBezTo>
                <a:lnTo>
                  <a:pt x="3334" y="3040"/>
                </a:lnTo>
                <a:cubicBezTo>
                  <a:pt x="3334" y="2992"/>
                  <a:pt x="3302" y="2961"/>
                  <a:pt x="3254" y="2961"/>
                </a:cubicBezTo>
                <a:cubicBezTo>
                  <a:pt x="3206" y="2961"/>
                  <a:pt x="3175" y="2992"/>
                  <a:pt x="3175" y="3040"/>
                </a:cubicBezTo>
                <a:lnTo>
                  <a:pt x="2618" y="3040"/>
                </a:lnTo>
                <a:cubicBezTo>
                  <a:pt x="2570" y="3040"/>
                  <a:pt x="2538" y="3072"/>
                  <a:pt x="2538" y="3119"/>
                </a:cubicBezTo>
                <a:cubicBezTo>
                  <a:pt x="2538" y="3167"/>
                  <a:pt x="2570" y="3199"/>
                  <a:pt x="2618" y="3199"/>
                </a:cubicBezTo>
                <a:close/>
                <a:moveTo>
                  <a:pt x="5768" y="1863"/>
                </a:moveTo>
                <a:cubicBezTo>
                  <a:pt x="5768" y="1799"/>
                  <a:pt x="5752" y="1704"/>
                  <a:pt x="5752" y="1688"/>
                </a:cubicBezTo>
                <a:cubicBezTo>
                  <a:pt x="5816" y="1099"/>
                  <a:pt x="5498" y="510"/>
                  <a:pt x="4957" y="208"/>
                </a:cubicBezTo>
                <a:cubicBezTo>
                  <a:pt x="4352" y="-110"/>
                  <a:pt x="3525" y="-63"/>
                  <a:pt x="3000" y="351"/>
                </a:cubicBezTo>
                <a:cubicBezTo>
                  <a:pt x="2857" y="463"/>
                  <a:pt x="2714" y="654"/>
                  <a:pt x="2634" y="749"/>
                </a:cubicBezTo>
                <a:cubicBezTo>
                  <a:pt x="2602" y="717"/>
                  <a:pt x="2523" y="670"/>
                  <a:pt x="2427" y="622"/>
                </a:cubicBezTo>
                <a:cubicBezTo>
                  <a:pt x="2045" y="431"/>
                  <a:pt x="1615" y="463"/>
                  <a:pt x="1250" y="701"/>
                </a:cubicBezTo>
                <a:cubicBezTo>
                  <a:pt x="915" y="940"/>
                  <a:pt x="724" y="1322"/>
                  <a:pt x="757" y="1719"/>
                </a:cubicBezTo>
                <a:lnTo>
                  <a:pt x="757" y="1863"/>
                </a:lnTo>
                <a:cubicBezTo>
                  <a:pt x="757" y="1879"/>
                  <a:pt x="741" y="1879"/>
                  <a:pt x="724" y="1894"/>
                </a:cubicBezTo>
                <a:cubicBezTo>
                  <a:pt x="597" y="1958"/>
                  <a:pt x="343" y="2101"/>
                  <a:pt x="152" y="2531"/>
                </a:cubicBezTo>
                <a:cubicBezTo>
                  <a:pt x="-150" y="3151"/>
                  <a:pt x="9" y="3867"/>
                  <a:pt x="534" y="4233"/>
                </a:cubicBezTo>
                <a:cubicBezTo>
                  <a:pt x="772" y="4409"/>
                  <a:pt x="1091" y="4504"/>
                  <a:pt x="1361" y="4504"/>
                </a:cubicBezTo>
                <a:lnTo>
                  <a:pt x="1377" y="4504"/>
                </a:lnTo>
                <a:cubicBezTo>
                  <a:pt x="1425" y="4504"/>
                  <a:pt x="1457" y="4472"/>
                  <a:pt x="1457" y="4424"/>
                </a:cubicBezTo>
                <a:cubicBezTo>
                  <a:pt x="1457" y="4392"/>
                  <a:pt x="1409" y="4345"/>
                  <a:pt x="1361" y="4345"/>
                </a:cubicBezTo>
                <a:cubicBezTo>
                  <a:pt x="1123" y="4345"/>
                  <a:pt x="836" y="4265"/>
                  <a:pt x="629" y="4106"/>
                </a:cubicBezTo>
                <a:cubicBezTo>
                  <a:pt x="184" y="3788"/>
                  <a:pt x="24" y="3136"/>
                  <a:pt x="295" y="2595"/>
                </a:cubicBezTo>
                <a:cubicBezTo>
                  <a:pt x="470" y="2213"/>
                  <a:pt x="677" y="2101"/>
                  <a:pt x="804" y="2038"/>
                </a:cubicBezTo>
                <a:cubicBezTo>
                  <a:pt x="868" y="1990"/>
                  <a:pt x="900" y="1974"/>
                  <a:pt x="915" y="1927"/>
                </a:cubicBezTo>
                <a:lnTo>
                  <a:pt x="915" y="1894"/>
                </a:lnTo>
                <a:lnTo>
                  <a:pt x="915" y="1704"/>
                </a:lnTo>
                <a:cubicBezTo>
                  <a:pt x="884" y="1354"/>
                  <a:pt x="1043" y="1036"/>
                  <a:pt x="1345" y="828"/>
                </a:cubicBezTo>
                <a:cubicBezTo>
                  <a:pt x="1648" y="622"/>
                  <a:pt x="2029" y="606"/>
                  <a:pt x="2348" y="765"/>
                </a:cubicBezTo>
                <a:cubicBezTo>
                  <a:pt x="2538" y="860"/>
                  <a:pt x="2507" y="871"/>
                  <a:pt x="2586" y="924"/>
                </a:cubicBezTo>
                <a:cubicBezTo>
                  <a:pt x="2602" y="940"/>
                  <a:pt x="2634" y="956"/>
                  <a:pt x="2666" y="956"/>
                </a:cubicBezTo>
                <a:cubicBezTo>
                  <a:pt x="2682" y="956"/>
                  <a:pt x="2714" y="940"/>
                  <a:pt x="2729" y="908"/>
                </a:cubicBezTo>
                <a:cubicBezTo>
                  <a:pt x="2851" y="765"/>
                  <a:pt x="2905" y="622"/>
                  <a:pt x="3095" y="479"/>
                </a:cubicBezTo>
                <a:cubicBezTo>
                  <a:pt x="3573" y="113"/>
                  <a:pt x="4320" y="49"/>
                  <a:pt x="4877" y="351"/>
                </a:cubicBezTo>
                <a:cubicBezTo>
                  <a:pt x="5354" y="606"/>
                  <a:pt x="5657" y="1147"/>
                  <a:pt x="5593" y="1672"/>
                </a:cubicBezTo>
                <a:cubicBezTo>
                  <a:pt x="5593" y="1688"/>
                  <a:pt x="5593" y="1767"/>
                  <a:pt x="5609" y="1910"/>
                </a:cubicBezTo>
                <a:cubicBezTo>
                  <a:pt x="5609" y="1942"/>
                  <a:pt x="5625" y="1974"/>
                  <a:pt x="5657" y="1990"/>
                </a:cubicBezTo>
                <a:cubicBezTo>
                  <a:pt x="5688" y="2006"/>
                  <a:pt x="6436" y="2261"/>
                  <a:pt x="6436" y="3104"/>
                </a:cubicBezTo>
                <a:cubicBezTo>
                  <a:pt x="6436" y="3852"/>
                  <a:pt x="5991" y="4313"/>
                  <a:pt x="5211" y="4345"/>
                </a:cubicBezTo>
                <a:cubicBezTo>
                  <a:pt x="5164" y="4361"/>
                  <a:pt x="5132" y="4392"/>
                  <a:pt x="5132" y="4440"/>
                </a:cubicBezTo>
                <a:cubicBezTo>
                  <a:pt x="5132" y="4472"/>
                  <a:pt x="5179" y="4504"/>
                  <a:pt x="5211" y="4504"/>
                </a:cubicBezTo>
                <a:lnTo>
                  <a:pt x="5227" y="4504"/>
                </a:lnTo>
                <a:cubicBezTo>
                  <a:pt x="6087" y="4456"/>
                  <a:pt x="6596" y="3931"/>
                  <a:pt x="6596" y="3104"/>
                </a:cubicBezTo>
                <a:cubicBezTo>
                  <a:pt x="6596" y="2292"/>
                  <a:pt x="5959" y="1942"/>
                  <a:pt x="5768" y="18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7" name="Freeform: Shape 14">
            <a:extLst>
              <a:ext uri="{FF2B5EF4-FFF2-40B4-BE49-F238E27FC236}">
                <a16:creationId xmlns:a16="http://schemas.microsoft.com/office/drawing/2014/main" id="{73C2A165-D7C5-3C4E-915C-E1C3F59EABC0}"/>
              </a:ext>
            </a:extLst>
          </p:cNvPr>
          <p:cNvSpPr/>
          <p:nvPr/>
        </p:nvSpPr>
        <p:spPr>
          <a:xfrm>
            <a:off x="5595523" y="2876945"/>
            <a:ext cx="2375640" cy="2184840"/>
          </a:xfrm>
          <a:custGeom>
            <a:avLst/>
            <a:gdLst/>
            <a:ahLst/>
            <a:cxnLst>
              <a:cxn ang="3cd4">
                <a:pos x="hc" y="t"/>
              </a:cxn>
              <a:cxn ang="cd2">
                <a:pos x="l" y="vc"/>
              </a:cxn>
              <a:cxn ang="cd4">
                <a:pos x="hc" y="b"/>
              </a:cxn>
              <a:cxn ang="0">
                <a:pos x="r" y="vc"/>
              </a:cxn>
            </a:cxnLst>
            <a:rect l="l" t="t" r="r" b="b"/>
            <a:pathLst>
              <a:path w="6600" h="6070">
                <a:moveTo>
                  <a:pt x="3912" y="4510"/>
                </a:moveTo>
                <a:cubicBezTo>
                  <a:pt x="3880" y="4606"/>
                  <a:pt x="3880" y="4701"/>
                  <a:pt x="3928" y="4797"/>
                </a:cubicBezTo>
                <a:lnTo>
                  <a:pt x="4405" y="5863"/>
                </a:lnTo>
                <a:cubicBezTo>
                  <a:pt x="4437" y="5942"/>
                  <a:pt x="4500" y="6006"/>
                  <a:pt x="4580" y="6038"/>
                </a:cubicBezTo>
                <a:cubicBezTo>
                  <a:pt x="4628" y="6053"/>
                  <a:pt x="4675" y="6070"/>
                  <a:pt x="4723" y="6070"/>
                </a:cubicBezTo>
                <a:cubicBezTo>
                  <a:pt x="4771" y="6070"/>
                  <a:pt x="4819" y="6053"/>
                  <a:pt x="4866" y="6038"/>
                </a:cubicBezTo>
                <a:cubicBezTo>
                  <a:pt x="4946" y="6006"/>
                  <a:pt x="5025" y="5926"/>
                  <a:pt x="5057" y="5847"/>
                </a:cubicBezTo>
                <a:cubicBezTo>
                  <a:pt x="5089" y="5752"/>
                  <a:pt x="5089" y="5656"/>
                  <a:pt x="5057" y="5576"/>
                </a:cubicBezTo>
                <a:lnTo>
                  <a:pt x="4564" y="4510"/>
                </a:lnTo>
                <a:cubicBezTo>
                  <a:pt x="4500" y="4351"/>
                  <a:pt x="4325" y="4272"/>
                  <a:pt x="4166" y="4304"/>
                </a:cubicBezTo>
                <a:lnTo>
                  <a:pt x="4023" y="3970"/>
                </a:lnTo>
                <a:cubicBezTo>
                  <a:pt x="4325" y="3842"/>
                  <a:pt x="4564" y="3604"/>
                  <a:pt x="4707" y="3301"/>
                </a:cubicBezTo>
                <a:cubicBezTo>
                  <a:pt x="5009" y="2617"/>
                  <a:pt x="4707" y="1806"/>
                  <a:pt x="4023" y="1488"/>
                </a:cubicBezTo>
                <a:cubicBezTo>
                  <a:pt x="3705" y="1344"/>
                  <a:pt x="3323" y="1328"/>
                  <a:pt x="2989" y="1456"/>
                </a:cubicBezTo>
                <a:cubicBezTo>
                  <a:pt x="2639" y="1583"/>
                  <a:pt x="2368" y="1837"/>
                  <a:pt x="2209" y="2156"/>
                </a:cubicBezTo>
                <a:cubicBezTo>
                  <a:pt x="1907" y="2840"/>
                  <a:pt x="2209" y="3667"/>
                  <a:pt x="2894" y="3970"/>
                </a:cubicBezTo>
                <a:cubicBezTo>
                  <a:pt x="3068" y="4065"/>
                  <a:pt x="3259" y="4096"/>
                  <a:pt x="3466" y="4096"/>
                </a:cubicBezTo>
                <a:cubicBezTo>
                  <a:pt x="3594" y="4096"/>
                  <a:pt x="3737" y="4081"/>
                  <a:pt x="3880" y="4033"/>
                </a:cubicBezTo>
                <a:lnTo>
                  <a:pt x="4023" y="4367"/>
                </a:lnTo>
                <a:cubicBezTo>
                  <a:pt x="3975" y="4415"/>
                  <a:pt x="3943" y="4462"/>
                  <a:pt x="3912" y="4510"/>
                </a:cubicBezTo>
                <a:close/>
                <a:moveTo>
                  <a:pt x="4246" y="4462"/>
                </a:moveTo>
                <a:cubicBezTo>
                  <a:pt x="4325" y="4462"/>
                  <a:pt x="4389" y="4495"/>
                  <a:pt x="4421" y="4574"/>
                </a:cubicBezTo>
                <a:lnTo>
                  <a:pt x="4898" y="5640"/>
                </a:lnTo>
                <a:cubicBezTo>
                  <a:pt x="4930" y="5688"/>
                  <a:pt x="4930" y="5735"/>
                  <a:pt x="4914" y="5783"/>
                </a:cubicBezTo>
                <a:cubicBezTo>
                  <a:pt x="4882" y="5831"/>
                  <a:pt x="4850" y="5879"/>
                  <a:pt x="4803" y="5895"/>
                </a:cubicBezTo>
                <a:cubicBezTo>
                  <a:pt x="4755" y="5910"/>
                  <a:pt x="4691" y="5910"/>
                  <a:pt x="4643" y="5895"/>
                </a:cubicBezTo>
                <a:cubicBezTo>
                  <a:pt x="4596" y="5879"/>
                  <a:pt x="4564" y="5831"/>
                  <a:pt x="4548" y="5783"/>
                </a:cubicBezTo>
                <a:lnTo>
                  <a:pt x="4071" y="4717"/>
                </a:lnTo>
                <a:cubicBezTo>
                  <a:pt x="4055" y="4670"/>
                  <a:pt x="4039" y="4622"/>
                  <a:pt x="4071" y="4574"/>
                </a:cubicBezTo>
                <a:cubicBezTo>
                  <a:pt x="4071" y="4558"/>
                  <a:pt x="4086" y="4526"/>
                  <a:pt x="4118" y="4510"/>
                </a:cubicBezTo>
                <a:lnTo>
                  <a:pt x="4134" y="4510"/>
                </a:lnTo>
                <a:lnTo>
                  <a:pt x="4166" y="4510"/>
                </a:lnTo>
                <a:cubicBezTo>
                  <a:pt x="4198" y="4495"/>
                  <a:pt x="4214" y="4479"/>
                  <a:pt x="4214" y="4462"/>
                </a:cubicBezTo>
                <a:close/>
                <a:moveTo>
                  <a:pt x="2957" y="3826"/>
                </a:moveTo>
                <a:cubicBezTo>
                  <a:pt x="2655" y="3699"/>
                  <a:pt x="2432" y="3461"/>
                  <a:pt x="2321" y="3158"/>
                </a:cubicBezTo>
                <a:cubicBezTo>
                  <a:pt x="2209" y="2856"/>
                  <a:pt x="2225" y="2522"/>
                  <a:pt x="2368" y="2235"/>
                </a:cubicBezTo>
                <a:cubicBezTo>
                  <a:pt x="2559" y="1790"/>
                  <a:pt x="3005" y="1519"/>
                  <a:pt x="3466" y="1519"/>
                </a:cubicBezTo>
                <a:cubicBezTo>
                  <a:pt x="3625" y="1519"/>
                  <a:pt x="3800" y="1551"/>
                  <a:pt x="3959" y="1631"/>
                </a:cubicBezTo>
                <a:cubicBezTo>
                  <a:pt x="4564" y="1917"/>
                  <a:pt x="4834" y="2633"/>
                  <a:pt x="4564" y="3238"/>
                </a:cubicBezTo>
                <a:cubicBezTo>
                  <a:pt x="4421" y="3524"/>
                  <a:pt x="4182" y="3747"/>
                  <a:pt x="3880" y="3858"/>
                </a:cubicBezTo>
                <a:cubicBezTo>
                  <a:pt x="3577" y="3970"/>
                  <a:pt x="3243" y="3970"/>
                  <a:pt x="2957" y="3826"/>
                </a:cubicBezTo>
                <a:close/>
                <a:moveTo>
                  <a:pt x="5757" y="1853"/>
                </a:moveTo>
                <a:lnTo>
                  <a:pt x="5757" y="1694"/>
                </a:lnTo>
                <a:cubicBezTo>
                  <a:pt x="5821" y="1090"/>
                  <a:pt x="5486" y="501"/>
                  <a:pt x="4962" y="215"/>
                </a:cubicBezTo>
                <a:cubicBezTo>
                  <a:pt x="4357" y="-120"/>
                  <a:pt x="3530" y="-56"/>
                  <a:pt x="2989" y="358"/>
                </a:cubicBezTo>
                <a:cubicBezTo>
                  <a:pt x="2846" y="453"/>
                  <a:pt x="2718" y="644"/>
                  <a:pt x="2639" y="756"/>
                </a:cubicBezTo>
                <a:cubicBezTo>
                  <a:pt x="2591" y="708"/>
                  <a:pt x="2527" y="676"/>
                  <a:pt x="2432" y="613"/>
                </a:cubicBezTo>
                <a:cubicBezTo>
                  <a:pt x="2050" y="422"/>
                  <a:pt x="1604" y="453"/>
                  <a:pt x="1255" y="692"/>
                </a:cubicBezTo>
                <a:cubicBezTo>
                  <a:pt x="921" y="931"/>
                  <a:pt x="730" y="1313"/>
                  <a:pt x="761" y="1710"/>
                </a:cubicBezTo>
                <a:lnTo>
                  <a:pt x="761" y="1870"/>
                </a:lnTo>
                <a:cubicBezTo>
                  <a:pt x="750" y="1875"/>
                  <a:pt x="746" y="1885"/>
                  <a:pt x="730" y="1885"/>
                </a:cubicBezTo>
                <a:cubicBezTo>
                  <a:pt x="602" y="1965"/>
                  <a:pt x="348" y="2108"/>
                  <a:pt x="141" y="2522"/>
                </a:cubicBezTo>
                <a:cubicBezTo>
                  <a:pt x="-145" y="3142"/>
                  <a:pt x="13" y="3858"/>
                  <a:pt x="539" y="4240"/>
                </a:cubicBezTo>
                <a:cubicBezTo>
                  <a:pt x="777" y="4399"/>
                  <a:pt x="1095" y="4510"/>
                  <a:pt x="1366" y="4510"/>
                </a:cubicBezTo>
                <a:lnTo>
                  <a:pt x="3466" y="4510"/>
                </a:lnTo>
                <a:cubicBezTo>
                  <a:pt x="3498" y="4510"/>
                  <a:pt x="3546" y="4479"/>
                  <a:pt x="3546" y="4431"/>
                </a:cubicBezTo>
                <a:cubicBezTo>
                  <a:pt x="3546" y="4383"/>
                  <a:pt x="3498" y="4351"/>
                  <a:pt x="3466" y="4351"/>
                </a:cubicBezTo>
                <a:lnTo>
                  <a:pt x="1366" y="4351"/>
                </a:lnTo>
                <a:cubicBezTo>
                  <a:pt x="1127" y="4351"/>
                  <a:pt x="841" y="4256"/>
                  <a:pt x="634" y="4113"/>
                </a:cubicBezTo>
                <a:cubicBezTo>
                  <a:pt x="173" y="3779"/>
                  <a:pt x="30" y="3126"/>
                  <a:pt x="284" y="2585"/>
                </a:cubicBezTo>
                <a:cubicBezTo>
                  <a:pt x="459" y="2219"/>
                  <a:pt x="682" y="2092"/>
                  <a:pt x="809" y="2028"/>
                </a:cubicBezTo>
                <a:cubicBezTo>
                  <a:pt x="857" y="1997"/>
                  <a:pt x="904" y="1965"/>
                  <a:pt x="921" y="1917"/>
                </a:cubicBezTo>
                <a:lnTo>
                  <a:pt x="921" y="1901"/>
                </a:lnTo>
                <a:lnTo>
                  <a:pt x="921" y="1694"/>
                </a:lnTo>
                <a:cubicBezTo>
                  <a:pt x="889" y="1360"/>
                  <a:pt x="1048" y="1026"/>
                  <a:pt x="1350" y="835"/>
                </a:cubicBezTo>
                <a:cubicBezTo>
                  <a:pt x="1652" y="628"/>
                  <a:pt x="2034" y="597"/>
                  <a:pt x="2352" y="756"/>
                </a:cubicBezTo>
                <a:cubicBezTo>
                  <a:pt x="2543" y="851"/>
                  <a:pt x="2511" y="862"/>
                  <a:pt x="2591" y="915"/>
                </a:cubicBezTo>
                <a:cubicBezTo>
                  <a:pt x="2607" y="946"/>
                  <a:pt x="2639" y="946"/>
                  <a:pt x="2655" y="946"/>
                </a:cubicBezTo>
                <a:cubicBezTo>
                  <a:pt x="2686" y="946"/>
                  <a:pt x="2703" y="931"/>
                  <a:pt x="2718" y="915"/>
                </a:cubicBezTo>
                <a:cubicBezTo>
                  <a:pt x="2845" y="766"/>
                  <a:pt x="2909" y="613"/>
                  <a:pt x="3100" y="469"/>
                </a:cubicBezTo>
                <a:cubicBezTo>
                  <a:pt x="3577" y="103"/>
                  <a:pt x="4325" y="56"/>
                  <a:pt x="4882" y="342"/>
                </a:cubicBezTo>
                <a:cubicBezTo>
                  <a:pt x="5359" y="613"/>
                  <a:pt x="5646" y="1137"/>
                  <a:pt x="5598" y="1679"/>
                </a:cubicBezTo>
                <a:cubicBezTo>
                  <a:pt x="5598" y="1694"/>
                  <a:pt x="5598" y="1774"/>
                  <a:pt x="5614" y="1917"/>
                </a:cubicBezTo>
                <a:cubicBezTo>
                  <a:pt x="5614" y="1949"/>
                  <a:pt x="5630" y="1981"/>
                  <a:pt x="5662" y="1981"/>
                </a:cubicBezTo>
                <a:cubicBezTo>
                  <a:pt x="5694" y="1997"/>
                  <a:pt x="6441" y="2267"/>
                  <a:pt x="6441" y="3110"/>
                </a:cubicBezTo>
                <a:cubicBezTo>
                  <a:pt x="6441" y="3858"/>
                  <a:pt x="5996" y="4304"/>
                  <a:pt x="5216" y="4351"/>
                </a:cubicBezTo>
                <a:lnTo>
                  <a:pt x="5041" y="4351"/>
                </a:lnTo>
                <a:cubicBezTo>
                  <a:pt x="4994" y="4351"/>
                  <a:pt x="4962" y="4383"/>
                  <a:pt x="4962" y="4431"/>
                </a:cubicBezTo>
                <a:cubicBezTo>
                  <a:pt x="4962" y="4479"/>
                  <a:pt x="4994" y="4510"/>
                  <a:pt x="5041" y="4510"/>
                </a:cubicBezTo>
                <a:lnTo>
                  <a:pt x="5232" y="4510"/>
                </a:lnTo>
                <a:cubicBezTo>
                  <a:pt x="6091" y="4447"/>
                  <a:pt x="6600" y="3938"/>
                  <a:pt x="6600" y="3110"/>
                </a:cubicBezTo>
                <a:cubicBezTo>
                  <a:pt x="6600" y="2283"/>
                  <a:pt x="5948" y="1949"/>
                  <a:pt x="5757" y="185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8" name="Freeform: Shape 17">
            <a:extLst>
              <a:ext uri="{FF2B5EF4-FFF2-40B4-BE49-F238E27FC236}">
                <a16:creationId xmlns:a16="http://schemas.microsoft.com/office/drawing/2014/main" id="{05A7B8B0-42D9-8244-9802-8EDD1C509A2A}"/>
              </a:ext>
            </a:extLst>
          </p:cNvPr>
          <p:cNvSpPr/>
          <p:nvPr/>
        </p:nvSpPr>
        <p:spPr>
          <a:xfrm>
            <a:off x="1409157" y="2899625"/>
            <a:ext cx="2375640" cy="2018879"/>
          </a:xfrm>
          <a:custGeom>
            <a:avLst/>
            <a:gdLst/>
            <a:ahLst/>
            <a:cxnLst>
              <a:cxn ang="3cd4">
                <a:pos x="hc" y="t"/>
              </a:cxn>
              <a:cxn ang="cd2">
                <a:pos x="l" y="vc"/>
              </a:cxn>
              <a:cxn ang="cd4">
                <a:pos x="hc" y="b"/>
              </a:cxn>
              <a:cxn ang="0">
                <a:pos x="r" y="vc"/>
              </a:cxn>
            </a:cxnLst>
            <a:rect l="l" t="t" r="r" b="b"/>
            <a:pathLst>
              <a:path w="6600" h="5609">
                <a:moveTo>
                  <a:pt x="5296" y="5609"/>
                </a:moveTo>
                <a:cubicBezTo>
                  <a:pt x="5487" y="5609"/>
                  <a:pt x="5693" y="5450"/>
                  <a:pt x="5693" y="5227"/>
                </a:cubicBezTo>
                <a:lnTo>
                  <a:pt x="5693" y="2634"/>
                </a:lnTo>
                <a:cubicBezTo>
                  <a:pt x="5693" y="2411"/>
                  <a:pt x="5487" y="2299"/>
                  <a:pt x="5296" y="2299"/>
                </a:cubicBezTo>
                <a:lnTo>
                  <a:pt x="1572" y="2299"/>
                </a:lnTo>
                <a:cubicBezTo>
                  <a:pt x="1366" y="2299"/>
                  <a:pt x="1223" y="2443"/>
                  <a:pt x="1223" y="2634"/>
                </a:cubicBezTo>
                <a:lnTo>
                  <a:pt x="1223" y="5227"/>
                </a:lnTo>
                <a:cubicBezTo>
                  <a:pt x="1223" y="5450"/>
                  <a:pt x="1366" y="5609"/>
                  <a:pt x="1572" y="5609"/>
                </a:cubicBezTo>
                <a:close/>
                <a:moveTo>
                  <a:pt x="1382" y="5227"/>
                </a:moveTo>
                <a:lnTo>
                  <a:pt x="1382" y="2634"/>
                </a:lnTo>
                <a:cubicBezTo>
                  <a:pt x="1382" y="2490"/>
                  <a:pt x="1477" y="2459"/>
                  <a:pt x="1572" y="2459"/>
                </a:cubicBezTo>
                <a:lnTo>
                  <a:pt x="5296" y="2459"/>
                </a:lnTo>
                <a:cubicBezTo>
                  <a:pt x="5327" y="2459"/>
                  <a:pt x="5534" y="2474"/>
                  <a:pt x="5534" y="2634"/>
                </a:cubicBezTo>
                <a:lnTo>
                  <a:pt x="5534" y="3843"/>
                </a:lnTo>
                <a:cubicBezTo>
                  <a:pt x="5487" y="3716"/>
                  <a:pt x="5375" y="3636"/>
                  <a:pt x="5248" y="3636"/>
                </a:cubicBezTo>
                <a:cubicBezTo>
                  <a:pt x="5105" y="3636"/>
                  <a:pt x="4993" y="3732"/>
                  <a:pt x="4945" y="3843"/>
                </a:cubicBezTo>
                <a:lnTo>
                  <a:pt x="4945" y="2761"/>
                </a:lnTo>
                <a:cubicBezTo>
                  <a:pt x="4945" y="2713"/>
                  <a:pt x="4914" y="2681"/>
                  <a:pt x="4866" y="2681"/>
                </a:cubicBezTo>
                <a:lnTo>
                  <a:pt x="1748" y="2681"/>
                </a:lnTo>
                <a:cubicBezTo>
                  <a:pt x="1700" y="2681"/>
                  <a:pt x="1668" y="2713"/>
                  <a:pt x="1668" y="2761"/>
                </a:cubicBezTo>
                <a:lnTo>
                  <a:pt x="1668" y="5163"/>
                </a:lnTo>
                <a:cubicBezTo>
                  <a:pt x="1668" y="5195"/>
                  <a:pt x="1700" y="5243"/>
                  <a:pt x="1748" y="5243"/>
                </a:cubicBezTo>
                <a:lnTo>
                  <a:pt x="4866" y="5243"/>
                </a:lnTo>
                <a:cubicBezTo>
                  <a:pt x="4914" y="5243"/>
                  <a:pt x="4945" y="5195"/>
                  <a:pt x="4945" y="5163"/>
                </a:cubicBezTo>
                <a:lnTo>
                  <a:pt x="4945" y="4065"/>
                </a:lnTo>
                <a:cubicBezTo>
                  <a:pt x="4993" y="4193"/>
                  <a:pt x="5105" y="4272"/>
                  <a:pt x="5248" y="4272"/>
                </a:cubicBezTo>
                <a:cubicBezTo>
                  <a:pt x="5375" y="4272"/>
                  <a:pt x="5487" y="4193"/>
                  <a:pt x="5534" y="4081"/>
                </a:cubicBezTo>
                <a:lnTo>
                  <a:pt x="5534" y="5227"/>
                </a:lnTo>
                <a:cubicBezTo>
                  <a:pt x="5534" y="5354"/>
                  <a:pt x="5423" y="5450"/>
                  <a:pt x="5296" y="5450"/>
                </a:cubicBezTo>
                <a:lnTo>
                  <a:pt x="1572" y="5450"/>
                </a:lnTo>
                <a:cubicBezTo>
                  <a:pt x="1461" y="5450"/>
                  <a:pt x="1382" y="5354"/>
                  <a:pt x="1382" y="5227"/>
                </a:cubicBezTo>
                <a:close/>
                <a:moveTo>
                  <a:pt x="5407" y="3954"/>
                </a:moveTo>
                <a:cubicBezTo>
                  <a:pt x="5407" y="4050"/>
                  <a:pt x="5327" y="4113"/>
                  <a:pt x="5248" y="4113"/>
                </a:cubicBezTo>
                <a:cubicBezTo>
                  <a:pt x="5152" y="4113"/>
                  <a:pt x="5088" y="4050"/>
                  <a:pt x="5088" y="3954"/>
                </a:cubicBezTo>
                <a:cubicBezTo>
                  <a:pt x="5088" y="3875"/>
                  <a:pt x="5152" y="3795"/>
                  <a:pt x="5248" y="3795"/>
                </a:cubicBezTo>
                <a:cubicBezTo>
                  <a:pt x="5327" y="3795"/>
                  <a:pt x="5407" y="3875"/>
                  <a:pt x="5407" y="3954"/>
                </a:cubicBezTo>
                <a:close/>
                <a:moveTo>
                  <a:pt x="4787" y="2841"/>
                </a:moveTo>
                <a:lnTo>
                  <a:pt x="4787" y="5084"/>
                </a:lnTo>
                <a:lnTo>
                  <a:pt x="1827" y="5084"/>
                </a:lnTo>
                <a:lnTo>
                  <a:pt x="1827" y="2841"/>
                </a:lnTo>
                <a:close/>
                <a:moveTo>
                  <a:pt x="5757" y="1854"/>
                </a:moveTo>
                <a:lnTo>
                  <a:pt x="5757" y="1695"/>
                </a:lnTo>
                <a:cubicBezTo>
                  <a:pt x="5805" y="1090"/>
                  <a:pt x="5487" y="502"/>
                  <a:pt x="4945" y="216"/>
                </a:cubicBezTo>
                <a:cubicBezTo>
                  <a:pt x="4341" y="-119"/>
                  <a:pt x="3514" y="-55"/>
                  <a:pt x="2988" y="343"/>
                </a:cubicBezTo>
                <a:cubicBezTo>
                  <a:pt x="2845" y="454"/>
                  <a:pt x="2702" y="645"/>
                  <a:pt x="2639" y="740"/>
                </a:cubicBezTo>
                <a:cubicBezTo>
                  <a:pt x="2591" y="708"/>
                  <a:pt x="2527" y="661"/>
                  <a:pt x="2416" y="613"/>
                </a:cubicBezTo>
                <a:cubicBezTo>
                  <a:pt x="2034" y="422"/>
                  <a:pt x="1605" y="454"/>
                  <a:pt x="1254" y="693"/>
                </a:cubicBezTo>
                <a:cubicBezTo>
                  <a:pt x="905" y="931"/>
                  <a:pt x="714" y="1313"/>
                  <a:pt x="761" y="1711"/>
                </a:cubicBezTo>
                <a:lnTo>
                  <a:pt x="761" y="1870"/>
                </a:lnTo>
                <a:cubicBezTo>
                  <a:pt x="745" y="1870"/>
                  <a:pt x="729" y="1886"/>
                  <a:pt x="714" y="1886"/>
                </a:cubicBezTo>
                <a:cubicBezTo>
                  <a:pt x="602" y="1950"/>
                  <a:pt x="332" y="2108"/>
                  <a:pt x="141" y="2522"/>
                </a:cubicBezTo>
                <a:cubicBezTo>
                  <a:pt x="-146" y="3143"/>
                  <a:pt x="14" y="3859"/>
                  <a:pt x="538" y="4241"/>
                </a:cubicBezTo>
                <a:cubicBezTo>
                  <a:pt x="634" y="4304"/>
                  <a:pt x="761" y="4368"/>
                  <a:pt x="888" y="4416"/>
                </a:cubicBezTo>
                <a:cubicBezTo>
                  <a:pt x="905" y="4416"/>
                  <a:pt x="905" y="4432"/>
                  <a:pt x="920" y="4432"/>
                </a:cubicBezTo>
                <a:cubicBezTo>
                  <a:pt x="952" y="4432"/>
                  <a:pt x="984" y="4399"/>
                  <a:pt x="1000" y="4368"/>
                </a:cubicBezTo>
                <a:cubicBezTo>
                  <a:pt x="1015" y="4336"/>
                  <a:pt x="984" y="4288"/>
                  <a:pt x="952" y="4272"/>
                </a:cubicBezTo>
                <a:cubicBezTo>
                  <a:pt x="825" y="4225"/>
                  <a:pt x="714" y="4177"/>
                  <a:pt x="618" y="4098"/>
                </a:cubicBezTo>
                <a:cubicBezTo>
                  <a:pt x="172" y="3779"/>
                  <a:pt x="29" y="3127"/>
                  <a:pt x="284" y="2586"/>
                </a:cubicBezTo>
                <a:cubicBezTo>
                  <a:pt x="459" y="2220"/>
                  <a:pt x="682" y="2093"/>
                  <a:pt x="793" y="2029"/>
                </a:cubicBezTo>
                <a:cubicBezTo>
                  <a:pt x="857" y="1997"/>
                  <a:pt x="905" y="1965"/>
                  <a:pt x="920" y="1918"/>
                </a:cubicBezTo>
                <a:lnTo>
                  <a:pt x="920" y="1902"/>
                </a:lnTo>
                <a:lnTo>
                  <a:pt x="920" y="1695"/>
                </a:lnTo>
                <a:cubicBezTo>
                  <a:pt x="888" y="1361"/>
                  <a:pt x="1048" y="1027"/>
                  <a:pt x="1334" y="820"/>
                </a:cubicBezTo>
                <a:cubicBezTo>
                  <a:pt x="1652" y="613"/>
                  <a:pt x="2018" y="597"/>
                  <a:pt x="2352" y="756"/>
                </a:cubicBezTo>
                <a:cubicBezTo>
                  <a:pt x="2527" y="852"/>
                  <a:pt x="2511" y="863"/>
                  <a:pt x="2591" y="916"/>
                </a:cubicBezTo>
                <a:cubicBezTo>
                  <a:pt x="2606" y="931"/>
                  <a:pt x="2623" y="947"/>
                  <a:pt x="2654" y="947"/>
                </a:cubicBezTo>
                <a:cubicBezTo>
                  <a:pt x="2686" y="947"/>
                  <a:pt x="2702" y="931"/>
                  <a:pt x="2718" y="916"/>
                </a:cubicBezTo>
                <a:cubicBezTo>
                  <a:pt x="2718" y="899"/>
                  <a:pt x="2909" y="613"/>
                  <a:pt x="3084" y="470"/>
                </a:cubicBezTo>
                <a:cubicBezTo>
                  <a:pt x="3577" y="104"/>
                  <a:pt x="4325" y="40"/>
                  <a:pt x="4882" y="343"/>
                </a:cubicBezTo>
                <a:cubicBezTo>
                  <a:pt x="5359" y="613"/>
                  <a:pt x="5645" y="1138"/>
                  <a:pt x="5598" y="1679"/>
                </a:cubicBezTo>
                <a:lnTo>
                  <a:pt x="5598" y="1918"/>
                </a:lnTo>
                <a:cubicBezTo>
                  <a:pt x="5598" y="1950"/>
                  <a:pt x="5630" y="1965"/>
                  <a:pt x="5661" y="1981"/>
                </a:cubicBezTo>
                <a:cubicBezTo>
                  <a:pt x="5693" y="1997"/>
                  <a:pt x="6441" y="2268"/>
                  <a:pt x="6441" y="3111"/>
                </a:cubicBezTo>
                <a:cubicBezTo>
                  <a:pt x="6441" y="3556"/>
                  <a:pt x="6266" y="3907"/>
                  <a:pt x="5948" y="4129"/>
                </a:cubicBezTo>
                <a:cubicBezTo>
                  <a:pt x="5916" y="4145"/>
                  <a:pt x="5900" y="4193"/>
                  <a:pt x="5932" y="4241"/>
                </a:cubicBezTo>
                <a:cubicBezTo>
                  <a:pt x="5948" y="4272"/>
                  <a:pt x="5996" y="4272"/>
                  <a:pt x="6043" y="4256"/>
                </a:cubicBezTo>
                <a:cubicBezTo>
                  <a:pt x="6393" y="4018"/>
                  <a:pt x="6600" y="3604"/>
                  <a:pt x="6600" y="3111"/>
                </a:cubicBezTo>
                <a:cubicBezTo>
                  <a:pt x="6600" y="2284"/>
                  <a:pt x="5948" y="1934"/>
                  <a:pt x="5757" y="185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9" name="TextBox 88">
            <a:extLst>
              <a:ext uri="{FF2B5EF4-FFF2-40B4-BE49-F238E27FC236}">
                <a16:creationId xmlns:a16="http://schemas.microsoft.com/office/drawing/2014/main" id="{49D540C5-CA6C-B444-82E4-8B9308818FAB}"/>
              </a:ext>
            </a:extLst>
          </p:cNvPr>
          <p:cNvSpPr txBox="1"/>
          <p:nvPr/>
        </p:nvSpPr>
        <p:spPr>
          <a:xfrm>
            <a:off x="974759" y="11692317"/>
            <a:ext cx="2953474"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ccounting Value Balance</a:t>
            </a:r>
          </a:p>
        </p:txBody>
      </p:sp>
      <p:sp>
        <p:nvSpPr>
          <p:cNvPr id="90" name="TextBox 89">
            <a:extLst>
              <a:ext uri="{FF2B5EF4-FFF2-40B4-BE49-F238E27FC236}">
                <a16:creationId xmlns:a16="http://schemas.microsoft.com/office/drawing/2014/main" id="{9A66BC71-FE2F-B645-836E-D871CDA75E0C}"/>
              </a:ext>
            </a:extLst>
          </p:cNvPr>
          <p:cNvSpPr txBox="1"/>
          <p:nvPr/>
        </p:nvSpPr>
        <p:spPr>
          <a:xfrm>
            <a:off x="5063245" y="11657695"/>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a:t>
            </a:r>
            <a:r>
              <a:rPr lang="en-US" sz="2800" dirty="0" err="1"/>
              <a:t>eCommerce</a:t>
            </a:r>
            <a:r>
              <a:rPr lang="en-US" sz="2800" dirty="0"/>
              <a:t> </a:t>
            </a:r>
          </a:p>
        </p:txBody>
      </p:sp>
      <p:sp>
        <p:nvSpPr>
          <p:cNvPr id="91" name="TextBox 90">
            <a:extLst>
              <a:ext uri="{FF2B5EF4-FFF2-40B4-BE49-F238E27FC236}">
                <a16:creationId xmlns:a16="http://schemas.microsoft.com/office/drawing/2014/main" id="{4227B5FE-A898-F840-AEA1-23E52DBE3C66}"/>
              </a:ext>
            </a:extLst>
          </p:cNvPr>
          <p:cNvSpPr txBox="1"/>
          <p:nvPr/>
        </p:nvSpPr>
        <p:spPr>
          <a:xfrm>
            <a:off x="8969723" y="11692317"/>
            <a:ext cx="3502114"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ccounting Value Balance 2</a:t>
            </a:r>
          </a:p>
        </p:txBody>
      </p:sp>
      <p:sp>
        <p:nvSpPr>
          <p:cNvPr id="92" name="TextBox 91">
            <a:extLst>
              <a:ext uri="{FF2B5EF4-FFF2-40B4-BE49-F238E27FC236}">
                <a16:creationId xmlns:a16="http://schemas.microsoft.com/office/drawing/2014/main" id="{B7C85CD2-C4B1-4943-B2E2-D679E408A295}"/>
              </a:ext>
            </a:extLst>
          </p:cNvPr>
          <p:cNvSpPr txBox="1"/>
          <p:nvPr/>
        </p:nvSpPr>
        <p:spPr>
          <a:xfrm>
            <a:off x="13021975" y="11692317"/>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a:t>
            </a:r>
            <a:r>
              <a:rPr lang="en-US" sz="2800" dirty="0" err="1"/>
              <a:t>eCommerce</a:t>
            </a:r>
            <a:r>
              <a:rPr lang="en-US" sz="2800" dirty="0"/>
              <a:t> 2</a:t>
            </a:r>
          </a:p>
        </p:txBody>
      </p:sp>
      <p:sp>
        <p:nvSpPr>
          <p:cNvPr id="93" name="TextBox 92">
            <a:extLst>
              <a:ext uri="{FF2B5EF4-FFF2-40B4-BE49-F238E27FC236}">
                <a16:creationId xmlns:a16="http://schemas.microsoft.com/office/drawing/2014/main" id="{578B73D9-D187-0540-A4D2-2D7A38C0EBFE}"/>
              </a:ext>
            </a:extLst>
          </p:cNvPr>
          <p:cNvSpPr txBox="1"/>
          <p:nvPr/>
        </p:nvSpPr>
        <p:spPr>
          <a:xfrm>
            <a:off x="20326286" y="11757987"/>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Integration</a:t>
            </a:r>
          </a:p>
        </p:txBody>
      </p:sp>
      <p:sp>
        <p:nvSpPr>
          <p:cNvPr id="94" name="Freeform: Shape 2">
            <a:extLst>
              <a:ext uri="{FF2B5EF4-FFF2-40B4-BE49-F238E27FC236}">
                <a16:creationId xmlns:a16="http://schemas.microsoft.com/office/drawing/2014/main" id="{5145567E-C861-2A4B-9E41-B980F315F67B}"/>
              </a:ext>
            </a:extLst>
          </p:cNvPr>
          <p:cNvSpPr/>
          <p:nvPr/>
        </p:nvSpPr>
        <p:spPr>
          <a:xfrm>
            <a:off x="17687383" y="9814070"/>
            <a:ext cx="978840" cy="1500119"/>
          </a:xfrm>
          <a:custGeom>
            <a:avLst/>
            <a:gdLst/>
            <a:ahLst/>
            <a:cxnLst>
              <a:cxn ang="3cd4">
                <a:pos x="hc" y="t"/>
              </a:cxn>
              <a:cxn ang="cd2">
                <a:pos x="l" y="vc"/>
              </a:cxn>
              <a:cxn ang="cd4">
                <a:pos x="hc" y="b"/>
              </a:cxn>
              <a:cxn ang="0">
                <a:pos x="r" y="vc"/>
              </a:cxn>
            </a:cxnLst>
            <a:rect l="l" t="t" r="r" b="b"/>
            <a:pathLst>
              <a:path w="2720" h="4168">
                <a:moveTo>
                  <a:pt x="160" y="2465"/>
                </a:moveTo>
                <a:cubicBezTo>
                  <a:pt x="717" y="2465"/>
                  <a:pt x="717" y="2465"/>
                  <a:pt x="717" y="2465"/>
                </a:cubicBezTo>
                <a:cubicBezTo>
                  <a:pt x="224" y="3961"/>
                  <a:pt x="224" y="3961"/>
                  <a:pt x="224" y="3961"/>
                </a:cubicBezTo>
                <a:cubicBezTo>
                  <a:pt x="208" y="4025"/>
                  <a:pt x="240" y="4104"/>
                  <a:pt x="303" y="4136"/>
                </a:cubicBezTo>
                <a:cubicBezTo>
                  <a:pt x="319" y="4152"/>
                  <a:pt x="351" y="4168"/>
                  <a:pt x="383" y="4168"/>
                </a:cubicBezTo>
                <a:cubicBezTo>
                  <a:pt x="415" y="4168"/>
                  <a:pt x="462" y="4136"/>
                  <a:pt x="494" y="4104"/>
                </a:cubicBezTo>
                <a:cubicBezTo>
                  <a:pt x="2467" y="1797"/>
                  <a:pt x="2467" y="1797"/>
                  <a:pt x="2467" y="1797"/>
                </a:cubicBezTo>
                <a:cubicBezTo>
                  <a:pt x="2515" y="1734"/>
                  <a:pt x="2531" y="1654"/>
                  <a:pt x="2499" y="1591"/>
                </a:cubicBezTo>
                <a:cubicBezTo>
                  <a:pt x="2467" y="1511"/>
                  <a:pt x="2388" y="1479"/>
                  <a:pt x="2308" y="1479"/>
                </a:cubicBezTo>
                <a:cubicBezTo>
                  <a:pt x="1894" y="1479"/>
                  <a:pt x="1894" y="1479"/>
                  <a:pt x="1894" y="1479"/>
                </a:cubicBezTo>
                <a:cubicBezTo>
                  <a:pt x="2690" y="318"/>
                  <a:pt x="2690" y="318"/>
                  <a:pt x="2690" y="318"/>
                </a:cubicBezTo>
                <a:cubicBezTo>
                  <a:pt x="2722" y="254"/>
                  <a:pt x="2737" y="174"/>
                  <a:pt x="2690" y="111"/>
                </a:cubicBezTo>
                <a:cubicBezTo>
                  <a:pt x="2658" y="31"/>
                  <a:pt x="2594" y="0"/>
                  <a:pt x="2499" y="0"/>
                </a:cubicBezTo>
                <a:cubicBezTo>
                  <a:pt x="2085" y="0"/>
                  <a:pt x="1289" y="0"/>
                  <a:pt x="1003" y="0"/>
                </a:cubicBezTo>
                <a:cubicBezTo>
                  <a:pt x="908" y="0"/>
                  <a:pt x="812" y="63"/>
                  <a:pt x="780" y="143"/>
                </a:cubicBezTo>
                <a:cubicBezTo>
                  <a:pt x="17" y="2243"/>
                  <a:pt x="17" y="2243"/>
                  <a:pt x="17" y="2243"/>
                </a:cubicBezTo>
                <a:cubicBezTo>
                  <a:pt x="-15" y="2291"/>
                  <a:pt x="1" y="2354"/>
                  <a:pt x="33" y="2402"/>
                </a:cubicBezTo>
                <a:cubicBezTo>
                  <a:pt x="65" y="2449"/>
                  <a:pt x="112" y="2465"/>
                  <a:pt x="160" y="2465"/>
                </a:cubicBezTo>
                <a:close/>
                <a:moveTo>
                  <a:pt x="940" y="206"/>
                </a:moveTo>
                <a:cubicBezTo>
                  <a:pt x="940" y="174"/>
                  <a:pt x="971" y="158"/>
                  <a:pt x="1003" y="158"/>
                </a:cubicBezTo>
                <a:cubicBezTo>
                  <a:pt x="1289" y="158"/>
                  <a:pt x="2085" y="158"/>
                  <a:pt x="2515" y="158"/>
                </a:cubicBezTo>
                <a:cubicBezTo>
                  <a:pt x="2546" y="158"/>
                  <a:pt x="2546" y="174"/>
                  <a:pt x="2562" y="174"/>
                </a:cubicBezTo>
                <a:cubicBezTo>
                  <a:pt x="2562" y="190"/>
                  <a:pt x="2562" y="206"/>
                  <a:pt x="2546" y="222"/>
                </a:cubicBezTo>
                <a:cubicBezTo>
                  <a:pt x="1671" y="1511"/>
                  <a:pt x="1671" y="1511"/>
                  <a:pt x="1671" y="1511"/>
                </a:cubicBezTo>
                <a:cubicBezTo>
                  <a:pt x="1656" y="1527"/>
                  <a:pt x="1656" y="1558"/>
                  <a:pt x="1671" y="1591"/>
                </a:cubicBezTo>
                <a:cubicBezTo>
                  <a:pt x="1688" y="1622"/>
                  <a:pt x="1719" y="1638"/>
                  <a:pt x="1735" y="1638"/>
                </a:cubicBezTo>
                <a:cubicBezTo>
                  <a:pt x="2308" y="1638"/>
                  <a:pt x="2308" y="1638"/>
                  <a:pt x="2308" y="1638"/>
                </a:cubicBezTo>
                <a:cubicBezTo>
                  <a:pt x="2340" y="1638"/>
                  <a:pt x="2340" y="1638"/>
                  <a:pt x="2340" y="1654"/>
                </a:cubicBezTo>
                <a:cubicBezTo>
                  <a:pt x="2356" y="1654"/>
                  <a:pt x="2356" y="1670"/>
                  <a:pt x="2340" y="1686"/>
                </a:cubicBezTo>
                <a:cubicBezTo>
                  <a:pt x="383" y="4009"/>
                  <a:pt x="383" y="4009"/>
                  <a:pt x="383" y="4009"/>
                </a:cubicBezTo>
                <a:cubicBezTo>
                  <a:pt x="908" y="2418"/>
                  <a:pt x="908" y="2418"/>
                  <a:pt x="908" y="2418"/>
                </a:cubicBezTo>
                <a:cubicBezTo>
                  <a:pt x="924" y="2386"/>
                  <a:pt x="908" y="2370"/>
                  <a:pt x="892" y="2338"/>
                </a:cubicBezTo>
                <a:cubicBezTo>
                  <a:pt x="876" y="2322"/>
                  <a:pt x="860" y="2306"/>
                  <a:pt x="828" y="2306"/>
                </a:cubicBezTo>
                <a:cubicBezTo>
                  <a:pt x="160" y="2306"/>
                  <a:pt x="160" y="2306"/>
                  <a:pt x="160" y="230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5" name="Freeform: Shape 6">
            <a:extLst>
              <a:ext uri="{FF2B5EF4-FFF2-40B4-BE49-F238E27FC236}">
                <a16:creationId xmlns:a16="http://schemas.microsoft.com/office/drawing/2014/main" id="{4F23A1E4-1141-2B4B-A964-9E3EC10F6F26}"/>
              </a:ext>
            </a:extLst>
          </p:cNvPr>
          <p:cNvSpPr/>
          <p:nvPr/>
        </p:nvSpPr>
        <p:spPr>
          <a:xfrm>
            <a:off x="1768008" y="9154133"/>
            <a:ext cx="1780920" cy="2277360"/>
          </a:xfrm>
          <a:custGeom>
            <a:avLst/>
            <a:gdLst/>
            <a:ahLst/>
            <a:cxnLst>
              <a:cxn ang="3cd4">
                <a:pos x="hc" y="t"/>
              </a:cxn>
              <a:cxn ang="cd2">
                <a:pos x="l" y="vc"/>
              </a:cxn>
              <a:cxn ang="cd4">
                <a:pos x="hc" y="b"/>
              </a:cxn>
              <a:cxn ang="0">
                <a:pos x="r" y="vc"/>
              </a:cxn>
            </a:cxnLst>
            <a:rect l="l" t="t" r="r" b="b"/>
            <a:pathLst>
              <a:path w="4948" h="6327">
                <a:moveTo>
                  <a:pt x="286" y="5691"/>
                </a:moveTo>
                <a:lnTo>
                  <a:pt x="1432" y="5691"/>
                </a:lnTo>
                <a:lnTo>
                  <a:pt x="1320" y="6231"/>
                </a:lnTo>
                <a:cubicBezTo>
                  <a:pt x="1320" y="6248"/>
                  <a:pt x="1320" y="6279"/>
                  <a:pt x="1336" y="6295"/>
                </a:cubicBezTo>
                <a:cubicBezTo>
                  <a:pt x="1352" y="6311"/>
                  <a:pt x="1368" y="6327"/>
                  <a:pt x="1400" y="6327"/>
                </a:cubicBezTo>
                <a:lnTo>
                  <a:pt x="2339" y="6327"/>
                </a:lnTo>
                <a:cubicBezTo>
                  <a:pt x="2370" y="6327"/>
                  <a:pt x="2387" y="6311"/>
                  <a:pt x="2402" y="6295"/>
                </a:cubicBezTo>
                <a:cubicBezTo>
                  <a:pt x="2418" y="6279"/>
                  <a:pt x="2418" y="6248"/>
                  <a:pt x="2418" y="6231"/>
                </a:cubicBezTo>
                <a:lnTo>
                  <a:pt x="2307" y="5691"/>
                </a:lnTo>
                <a:lnTo>
                  <a:pt x="3548" y="5691"/>
                </a:lnTo>
                <a:cubicBezTo>
                  <a:pt x="3707" y="5691"/>
                  <a:pt x="3834" y="5563"/>
                  <a:pt x="3834" y="5404"/>
                </a:cubicBezTo>
                <a:lnTo>
                  <a:pt x="3834" y="3288"/>
                </a:lnTo>
                <a:cubicBezTo>
                  <a:pt x="3834" y="3129"/>
                  <a:pt x="3707" y="3002"/>
                  <a:pt x="3548" y="3002"/>
                </a:cubicBezTo>
                <a:lnTo>
                  <a:pt x="286" y="3002"/>
                </a:lnTo>
                <a:cubicBezTo>
                  <a:pt x="127" y="3002"/>
                  <a:pt x="0" y="3129"/>
                  <a:pt x="0" y="3288"/>
                </a:cubicBezTo>
                <a:lnTo>
                  <a:pt x="0" y="5404"/>
                </a:lnTo>
                <a:cubicBezTo>
                  <a:pt x="0" y="5563"/>
                  <a:pt x="127" y="5691"/>
                  <a:pt x="286" y="5691"/>
                </a:cubicBezTo>
                <a:close/>
                <a:moveTo>
                  <a:pt x="2243" y="6168"/>
                </a:moveTo>
                <a:lnTo>
                  <a:pt x="1496" y="6168"/>
                </a:lnTo>
                <a:lnTo>
                  <a:pt x="1591" y="5691"/>
                </a:lnTo>
                <a:lnTo>
                  <a:pt x="2148" y="5691"/>
                </a:lnTo>
                <a:close/>
                <a:moveTo>
                  <a:pt x="3548" y="5531"/>
                </a:moveTo>
                <a:lnTo>
                  <a:pt x="2211" y="5531"/>
                </a:lnTo>
                <a:lnTo>
                  <a:pt x="1527" y="5531"/>
                </a:lnTo>
                <a:lnTo>
                  <a:pt x="286" y="5531"/>
                </a:lnTo>
                <a:cubicBezTo>
                  <a:pt x="223" y="5531"/>
                  <a:pt x="159" y="5484"/>
                  <a:pt x="159" y="5404"/>
                </a:cubicBezTo>
                <a:lnTo>
                  <a:pt x="159" y="5182"/>
                </a:lnTo>
                <a:lnTo>
                  <a:pt x="3675" y="5182"/>
                </a:lnTo>
                <a:lnTo>
                  <a:pt x="3675" y="5404"/>
                </a:lnTo>
                <a:cubicBezTo>
                  <a:pt x="3675" y="5484"/>
                  <a:pt x="3612" y="5531"/>
                  <a:pt x="3548" y="5531"/>
                </a:cubicBezTo>
                <a:close/>
                <a:moveTo>
                  <a:pt x="286" y="3161"/>
                </a:moveTo>
                <a:lnTo>
                  <a:pt x="3548" y="3161"/>
                </a:lnTo>
                <a:cubicBezTo>
                  <a:pt x="3612" y="3161"/>
                  <a:pt x="3675" y="3225"/>
                  <a:pt x="3675" y="3288"/>
                </a:cubicBezTo>
                <a:lnTo>
                  <a:pt x="3675" y="5022"/>
                </a:lnTo>
                <a:lnTo>
                  <a:pt x="159" y="5022"/>
                </a:lnTo>
                <a:lnTo>
                  <a:pt x="159" y="3288"/>
                </a:lnTo>
                <a:cubicBezTo>
                  <a:pt x="159" y="3225"/>
                  <a:pt x="223" y="3161"/>
                  <a:pt x="286" y="3161"/>
                </a:cubicBezTo>
                <a:close/>
                <a:moveTo>
                  <a:pt x="1225" y="1458"/>
                </a:moveTo>
                <a:lnTo>
                  <a:pt x="1750" y="1458"/>
                </a:lnTo>
                <a:cubicBezTo>
                  <a:pt x="1798" y="1458"/>
                  <a:pt x="1830" y="1427"/>
                  <a:pt x="1830" y="1379"/>
                </a:cubicBezTo>
                <a:cubicBezTo>
                  <a:pt x="1830" y="1331"/>
                  <a:pt x="1798" y="1300"/>
                  <a:pt x="1750" y="1300"/>
                </a:cubicBezTo>
                <a:lnTo>
                  <a:pt x="1225" y="1300"/>
                </a:lnTo>
                <a:cubicBezTo>
                  <a:pt x="1177" y="1300"/>
                  <a:pt x="1145" y="1331"/>
                  <a:pt x="1145" y="1379"/>
                </a:cubicBezTo>
                <a:cubicBezTo>
                  <a:pt x="1145" y="1427"/>
                  <a:pt x="1177" y="1458"/>
                  <a:pt x="1225" y="1458"/>
                </a:cubicBezTo>
                <a:close/>
                <a:moveTo>
                  <a:pt x="477" y="1745"/>
                </a:moveTo>
                <a:cubicBezTo>
                  <a:pt x="509" y="1745"/>
                  <a:pt x="557" y="1697"/>
                  <a:pt x="557" y="1666"/>
                </a:cubicBezTo>
                <a:lnTo>
                  <a:pt x="557" y="1458"/>
                </a:lnTo>
                <a:lnTo>
                  <a:pt x="716" y="1458"/>
                </a:lnTo>
                <a:cubicBezTo>
                  <a:pt x="748" y="1458"/>
                  <a:pt x="796" y="1427"/>
                  <a:pt x="796" y="1379"/>
                </a:cubicBezTo>
                <a:cubicBezTo>
                  <a:pt x="796" y="1331"/>
                  <a:pt x="748" y="1300"/>
                  <a:pt x="716" y="1300"/>
                </a:cubicBezTo>
                <a:lnTo>
                  <a:pt x="477" y="1300"/>
                </a:lnTo>
                <a:cubicBezTo>
                  <a:pt x="430" y="1300"/>
                  <a:pt x="397" y="1331"/>
                  <a:pt x="397" y="1379"/>
                </a:cubicBezTo>
                <a:lnTo>
                  <a:pt x="397" y="1666"/>
                </a:lnTo>
                <a:cubicBezTo>
                  <a:pt x="397" y="1697"/>
                  <a:pt x="430" y="1745"/>
                  <a:pt x="477" y="1745"/>
                </a:cubicBezTo>
                <a:close/>
                <a:moveTo>
                  <a:pt x="477" y="2779"/>
                </a:moveTo>
                <a:cubicBezTo>
                  <a:pt x="509" y="2779"/>
                  <a:pt x="557" y="2748"/>
                  <a:pt x="557" y="2700"/>
                </a:cubicBezTo>
                <a:lnTo>
                  <a:pt x="557" y="2175"/>
                </a:lnTo>
                <a:cubicBezTo>
                  <a:pt x="557" y="2143"/>
                  <a:pt x="509" y="2095"/>
                  <a:pt x="477" y="2095"/>
                </a:cubicBezTo>
                <a:cubicBezTo>
                  <a:pt x="430" y="2095"/>
                  <a:pt x="397" y="2143"/>
                  <a:pt x="397" y="2175"/>
                </a:cubicBezTo>
                <a:lnTo>
                  <a:pt x="397" y="2700"/>
                </a:lnTo>
                <a:cubicBezTo>
                  <a:pt x="397" y="2748"/>
                  <a:pt x="430" y="2779"/>
                  <a:pt x="477" y="2779"/>
                </a:cubicBezTo>
                <a:close/>
                <a:moveTo>
                  <a:pt x="2339" y="1857"/>
                </a:moveTo>
                <a:cubicBezTo>
                  <a:pt x="2450" y="1936"/>
                  <a:pt x="2593" y="1968"/>
                  <a:pt x="2705" y="1968"/>
                </a:cubicBezTo>
                <a:lnTo>
                  <a:pt x="4312" y="1968"/>
                </a:lnTo>
                <a:lnTo>
                  <a:pt x="4327" y="1968"/>
                </a:lnTo>
                <a:cubicBezTo>
                  <a:pt x="4709" y="1952"/>
                  <a:pt x="4948" y="1713"/>
                  <a:pt x="4948" y="1347"/>
                </a:cubicBezTo>
                <a:cubicBezTo>
                  <a:pt x="4948" y="1045"/>
                  <a:pt x="4741" y="854"/>
                  <a:pt x="4598" y="790"/>
                </a:cubicBezTo>
                <a:lnTo>
                  <a:pt x="4598" y="758"/>
                </a:lnTo>
                <a:cubicBezTo>
                  <a:pt x="4614" y="488"/>
                  <a:pt x="4470" y="218"/>
                  <a:pt x="4232" y="90"/>
                </a:cubicBezTo>
                <a:cubicBezTo>
                  <a:pt x="3961" y="-53"/>
                  <a:pt x="3596" y="-21"/>
                  <a:pt x="3357" y="154"/>
                </a:cubicBezTo>
                <a:cubicBezTo>
                  <a:pt x="3309" y="202"/>
                  <a:pt x="3261" y="249"/>
                  <a:pt x="3230" y="297"/>
                </a:cubicBezTo>
                <a:cubicBezTo>
                  <a:pt x="3214" y="281"/>
                  <a:pt x="3198" y="281"/>
                  <a:pt x="3182" y="266"/>
                </a:cubicBezTo>
                <a:cubicBezTo>
                  <a:pt x="3007" y="170"/>
                  <a:pt x="2800" y="186"/>
                  <a:pt x="2641" y="297"/>
                </a:cubicBezTo>
                <a:cubicBezTo>
                  <a:pt x="2482" y="409"/>
                  <a:pt x="2402" y="584"/>
                  <a:pt x="2418" y="758"/>
                </a:cubicBezTo>
                <a:lnTo>
                  <a:pt x="2418" y="806"/>
                </a:lnTo>
                <a:cubicBezTo>
                  <a:pt x="2355" y="838"/>
                  <a:pt x="2243" y="902"/>
                  <a:pt x="2164" y="1077"/>
                </a:cubicBezTo>
                <a:cubicBezTo>
                  <a:pt x="2036" y="1363"/>
                  <a:pt x="2100" y="1681"/>
                  <a:pt x="2339" y="1857"/>
                </a:cubicBezTo>
                <a:close/>
                <a:moveTo>
                  <a:pt x="2307" y="1140"/>
                </a:moveTo>
                <a:cubicBezTo>
                  <a:pt x="2370" y="997"/>
                  <a:pt x="2450" y="966"/>
                  <a:pt x="2498" y="934"/>
                </a:cubicBezTo>
                <a:cubicBezTo>
                  <a:pt x="2530" y="918"/>
                  <a:pt x="2561" y="902"/>
                  <a:pt x="2577" y="870"/>
                </a:cubicBezTo>
                <a:lnTo>
                  <a:pt x="2577" y="838"/>
                </a:lnTo>
                <a:lnTo>
                  <a:pt x="2577" y="758"/>
                </a:lnTo>
                <a:cubicBezTo>
                  <a:pt x="2561" y="631"/>
                  <a:pt x="2625" y="504"/>
                  <a:pt x="2736" y="424"/>
                </a:cubicBezTo>
                <a:cubicBezTo>
                  <a:pt x="2800" y="393"/>
                  <a:pt x="2864" y="361"/>
                  <a:pt x="2943" y="361"/>
                </a:cubicBezTo>
                <a:cubicBezTo>
                  <a:pt x="2991" y="361"/>
                  <a:pt x="3055" y="377"/>
                  <a:pt x="3102" y="409"/>
                </a:cubicBezTo>
                <a:cubicBezTo>
                  <a:pt x="3166" y="440"/>
                  <a:pt x="3155" y="441"/>
                  <a:pt x="3182" y="457"/>
                </a:cubicBezTo>
                <a:cubicBezTo>
                  <a:pt x="3198" y="472"/>
                  <a:pt x="3230" y="488"/>
                  <a:pt x="3261" y="488"/>
                </a:cubicBezTo>
                <a:cubicBezTo>
                  <a:pt x="3278" y="488"/>
                  <a:pt x="3309" y="472"/>
                  <a:pt x="3325" y="457"/>
                </a:cubicBezTo>
                <a:cubicBezTo>
                  <a:pt x="3341" y="424"/>
                  <a:pt x="3405" y="329"/>
                  <a:pt x="3468" y="281"/>
                </a:cubicBezTo>
                <a:cubicBezTo>
                  <a:pt x="3643" y="138"/>
                  <a:pt x="3946" y="122"/>
                  <a:pt x="4152" y="234"/>
                </a:cubicBezTo>
                <a:cubicBezTo>
                  <a:pt x="4343" y="329"/>
                  <a:pt x="4455" y="536"/>
                  <a:pt x="4439" y="743"/>
                </a:cubicBezTo>
                <a:lnTo>
                  <a:pt x="4439" y="854"/>
                </a:lnTo>
                <a:cubicBezTo>
                  <a:pt x="4439" y="886"/>
                  <a:pt x="4455" y="902"/>
                  <a:pt x="4487" y="918"/>
                </a:cubicBezTo>
                <a:cubicBezTo>
                  <a:pt x="4502" y="918"/>
                  <a:pt x="4789" y="1029"/>
                  <a:pt x="4789" y="1347"/>
                </a:cubicBezTo>
                <a:cubicBezTo>
                  <a:pt x="4789" y="1506"/>
                  <a:pt x="4725" y="1793"/>
                  <a:pt x="4312" y="1809"/>
                </a:cubicBezTo>
                <a:lnTo>
                  <a:pt x="2705" y="1809"/>
                </a:lnTo>
                <a:cubicBezTo>
                  <a:pt x="2625" y="1809"/>
                  <a:pt x="2514" y="1777"/>
                  <a:pt x="2434" y="1729"/>
                </a:cubicBezTo>
                <a:cubicBezTo>
                  <a:pt x="2259" y="1602"/>
                  <a:pt x="2211" y="1347"/>
                  <a:pt x="2307" y="11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6" name="Freeform: Shape 7">
            <a:extLst>
              <a:ext uri="{FF2B5EF4-FFF2-40B4-BE49-F238E27FC236}">
                <a16:creationId xmlns:a16="http://schemas.microsoft.com/office/drawing/2014/main" id="{269C7D94-8B80-BC4C-B874-DDDBC47B6A82}"/>
              </a:ext>
            </a:extLst>
          </p:cNvPr>
          <p:cNvSpPr/>
          <p:nvPr/>
        </p:nvSpPr>
        <p:spPr>
          <a:xfrm>
            <a:off x="10106774" y="9956990"/>
            <a:ext cx="1379880" cy="1190880"/>
          </a:xfrm>
          <a:custGeom>
            <a:avLst/>
            <a:gdLst/>
            <a:ahLst/>
            <a:cxnLst>
              <a:cxn ang="3cd4">
                <a:pos x="hc" y="t"/>
              </a:cxn>
              <a:cxn ang="cd2">
                <a:pos x="l" y="vc"/>
              </a:cxn>
              <a:cxn ang="cd4">
                <a:pos x="hc" y="b"/>
              </a:cxn>
              <a:cxn ang="0">
                <a:pos x="r" y="vc"/>
              </a:cxn>
            </a:cxnLst>
            <a:rect l="l" t="t" r="r" b="b"/>
            <a:pathLst>
              <a:path w="3834" h="3309">
                <a:moveTo>
                  <a:pt x="286" y="2689"/>
                </a:moveTo>
                <a:lnTo>
                  <a:pt x="1448" y="2689"/>
                </a:lnTo>
                <a:lnTo>
                  <a:pt x="1320" y="3214"/>
                </a:lnTo>
                <a:cubicBezTo>
                  <a:pt x="1320" y="3246"/>
                  <a:pt x="1320" y="3262"/>
                  <a:pt x="1336" y="3294"/>
                </a:cubicBezTo>
                <a:cubicBezTo>
                  <a:pt x="1352" y="3309"/>
                  <a:pt x="1384" y="3309"/>
                  <a:pt x="1400" y="3309"/>
                </a:cubicBezTo>
                <a:lnTo>
                  <a:pt x="2339" y="3309"/>
                </a:lnTo>
                <a:cubicBezTo>
                  <a:pt x="2370" y="3309"/>
                  <a:pt x="2386" y="3309"/>
                  <a:pt x="2402" y="3294"/>
                </a:cubicBezTo>
                <a:cubicBezTo>
                  <a:pt x="2418" y="3262"/>
                  <a:pt x="2434" y="3246"/>
                  <a:pt x="2418" y="3214"/>
                </a:cubicBezTo>
                <a:lnTo>
                  <a:pt x="2306" y="2689"/>
                </a:lnTo>
                <a:lnTo>
                  <a:pt x="3548" y="2689"/>
                </a:lnTo>
                <a:cubicBezTo>
                  <a:pt x="3707" y="2689"/>
                  <a:pt x="3834" y="2562"/>
                  <a:pt x="3834" y="2403"/>
                </a:cubicBezTo>
                <a:lnTo>
                  <a:pt x="3834" y="286"/>
                </a:lnTo>
                <a:cubicBezTo>
                  <a:pt x="3834" y="127"/>
                  <a:pt x="3707" y="0"/>
                  <a:pt x="3548" y="0"/>
                </a:cubicBezTo>
                <a:lnTo>
                  <a:pt x="286" y="0"/>
                </a:lnTo>
                <a:cubicBezTo>
                  <a:pt x="127" y="0"/>
                  <a:pt x="0" y="127"/>
                  <a:pt x="0" y="286"/>
                </a:cubicBezTo>
                <a:lnTo>
                  <a:pt x="0" y="2403"/>
                </a:lnTo>
                <a:cubicBezTo>
                  <a:pt x="0" y="2562"/>
                  <a:pt x="127" y="2689"/>
                  <a:pt x="286" y="2689"/>
                </a:cubicBezTo>
                <a:close/>
                <a:moveTo>
                  <a:pt x="2243" y="3150"/>
                </a:moveTo>
                <a:lnTo>
                  <a:pt x="1495" y="3150"/>
                </a:lnTo>
                <a:lnTo>
                  <a:pt x="1606" y="2689"/>
                </a:lnTo>
                <a:lnTo>
                  <a:pt x="2148" y="2689"/>
                </a:lnTo>
                <a:close/>
                <a:moveTo>
                  <a:pt x="3548" y="2530"/>
                </a:moveTo>
                <a:lnTo>
                  <a:pt x="2211" y="2530"/>
                </a:lnTo>
                <a:lnTo>
                  <a:pt x="1543" y="2530"/>
                </a:lnTo>
                <a:lnTo>
                  <a:pt x="286" y="2530"/>
                </a:lnTo>
                <a:cubicBezTo>
                  <a:pt x="223" y="2530"/>
                  <a:pt x="159" y="2466"/>
                  <a:pt x="159" y="2403"/>
                </a:cubicBezTo>
                <a:lnTo>
                  <a:pt x="159" y="2180"/>
                </a:lnTo>
                <a:lnTo>
                  <a:pt x="3675" y="2180"/>
                </a:lnTo>
                <a:lnTo>
                  <a:pt x="3675" y="2403"/>
                </a:lnTo>
                <a:cubicBezTo>
                  <a:pt x="3675" y="2466"/>
                  <a:pt x="3611" y="2530"/>
                  <a:pt x="3548" y="2530"/>
                </a:cubicBezTo>
                <a:close/>
                <a:moveTo>
                  <a:pt x="286" y="159"/>
                </a:moveTo>
                <a:lnTo>
                  <a:pt x="3548" y="159"/>
                </a:lnTo>
                <a:cubicBezTo>
                  <a:pt x="3611" y="159"/>
                  <a:pt x="3675" y="207"/>
                  <a:pt x="3675" y="286"/>
                </a:cubicBezTo>
                <a:lnTo>
                  <a:pt x="3675" y="2021"/>
                </a:lnTo>
                <a:lnTo>
                  <a:pt x="159" y="2021"/>
                </a:lnTo>
                <a:lnTo>
                  <a:pt x="159" y="286"/>
                </a:lnTo>
                <a:cubicBezTo>
                  <a:pt x="159" y="207"/>
                  <a:pt x="223" y="159"/>
                  <a:pt x="286" y="159"/>
                </a:cubicBezTo>
                <a:close/>
                <a:moveTo>
                  <a:pt x="1257" y="1528"/>
                </a:moveTo>
                <a:cubicBezTo>
                  <a:pt x="1320" y="1559"/>
                  <a:pt x="1384" y="1591"/>
                  <a:pt x="1463" y="1591"/>
                </a:cubicBezTo>
                <a:lnTo>
                  <a:pt x="2275" y="1591"/>
                </a:lnTo>
                <a:lnTo>
                  <a:pt x="2291" y="1591"/>
                </a:lnTo>
                <a:cubicBezTo>
                  <a:pt x="2497" y="1575"/>
                  <a:pt x="2641" y="1448"/>
                  <a:pt x="2641" y="1225"/>
                </a:cubicBezTo>
                <a:cubicBezTo>
                  <a:pt x="2641" y="1050"/>
                  <a:pt x="2529" y="971"/>
                  <a:pt x="2466" y="923"/>
                </a:cubicBezTo>
                <a:cubicBezTo>
                  <a:pt x="2466" y="780"/>
                  <a:pt x="2386" y="637"/>
                  <a:pt x="2259" y="557"/>
                </a:cubicBezTo>
                <a:cubicBezTo>
                  <a:pt x="2100" y="477"/>
                  <a:pt x="1909" y="494"/>
                  <a:pt x="1766" y="604"/>
                </a:cubicBezTo>
                <a:cubicBezTo>
                  <a:pt x="1750" y="604"/>
                  <a:pt x="1734" y="637"/>
                  <a:pt x="1718" y="652"/>
                </a:cubicBezTo>
                <a:cubicBezTo>
                  <a:pt x="1623" y="604"/>
                  <a:pt x="1495" y="604"/>
                  <a:pt x="1400" y="668"/>
                </a:cubicBezTo>
                <a:cubicBezTo>
                  <a:pt x="1320" y="732"/>
                  <a:pt x="1272" y="827"/>
                  <a:pt x="1272" y="939"/>
                </a:cubicBezTo>
                <a:cubicBezTo>
                  <a:pt x="1241" y="955"/>
                  <a:pt x="1193" y="1003"/>
                  <a:pt x="1145" y="1082"/>
                </a:cubicBezTo>
                <a:cubicBezTo>
                  <a:pt x="1066" y="1241"/>
                  <a:pt x="1114" y="1432"/>
                  <a:pt x="1257" y="1528"/>
                </a:cubicBezTo>
                <a:close/>
                <a:moveTo>
                  <a:pt x="1288" y="1146"/>
                </a:moveTo>
                <a:cubicBezTo>
                  <a:pt x="1320" y="1082"/>
                  <a:pt x="1352" y="1066"/>
                  <a:pt x="1368" y="1050"/>
                </a:cubicBezTo>
                <a:cubicBezTo>
                  <a:pt x="1384" y="1050"/>
                  <a:pt x="1415" y="1034"/>
                  <a:pt x="1432" y="1003"/>
                </a:cubicBezTo>
                <a:lnTo>
                  <a:pt x="1432" y="971"/>
                </a:lnTo>
                <a:lnTo>
                  <a:pt x="1432" y="923"/>
                </a:lnTo>
                <a:cubicBezTo>
                  <a:pt x="1432" y="875"/>
                  <a:pt x="1448" y="827"/>
                  <a:pt x="1495" y="795"/>
                </a:cubicBezTo>
                <a:cubicBezTo>
                  <a:pt x="1527" y="780"/>
                  <a:pt x="1543" y="780"/>
                  <a:pt x="1575" y="780"/>
                </a:cubicBezTo>
                <a:cubicBezTo>
                  <a:pt x="1606" y="780"/>
                  <a:pt x="1623" y="780"/>
                  <a:pt x="1638" y="795"/>
                </a:cubicBezTo>
                <a:cubicBezTo>
                  <a:pt x="1670" y="795"/>
                  <a:pt x="1659" y="806"/>
                  <a:pt x="1670" y="812"/>
                </a:cubicBezTo>
                <a:cubicBezTo>
                  <a:pt x="1686" y="827"/>
                  <a:pt x="1718" y="843"/>
                  <a:pt x="1734" y="843"/>
                </a:cubicBezTo>
                <a:cubicBezTo>
                  <a:pt x="1766" y="827"/>
                  <a:pt x="1797" y="827"/>
                  <a:pt x="1797" y="795"/>
                </a:cubicBezTo>
                <a:cubicBezTo>
                  <a:pt x="1814" y="780"/>
                  <a:pt x="1845" y="732"/>
                  <a:pt x="1861" y="716"/>
                </a:cubicBezTo>
                <a:cubicBezTo>
                  <a:pt x="1957" y="652"/>
                  <a:pt x="2084" y="652"/>
                  <a:pt x="2179" y="700"/>
                </a:cubicBezTo>
                <a:cubicBezTo>
                  <a:pt x="2259" y="748"/>
                  <a:pt x="2306" y="827"/>
                  <a:pt x="2306" y="923"/>
                </a:cubicBezTo>
                <a:lnTo>
                  <a:pt x="2306" y="986"/>
                </a:lnTo>
                <a:cubicBezTo>
                  <a:pt x="2306" y="1018"/>
                  <a:pt x="2323" y="1034"/>
                  <a:pt x="2354" y="1050"/>
                </a:cubicBezTo>
                <a:cubicBezTo>
                  <a:pt x="2397" y="1108"/>
                  <a:pt x="2482" y="1098"/>
                  <a:pt x="2482" y="1225"/>
                </a:cubicBezTo>
                <a:cubicBezTo>
                  <a:pt x="2482" y="1321"/>
                  <a:pt x="2450" y="1416"/>
                  <a:pt x="2275" y="1432"/>
                </a:cubicBezTo>
                <a:lnTo>
                  <a:pt x="1463" y="1432"/>
                </a:lnTo>
                <a:cubicBezTo>
                  <a:pt x="1432" y="1432"/>
                  <a:pt x="1384" y="1416"/>
                  <a:pt x="1336" y="1384"/>
                </a:cubicBezTo>
                <a:cubicBezTo>
                  <a:pt x="1272" y="1337"/>
                  <a:pt x="1257" y="1241"/>
                  <a:pt x="1288" y="114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7" name="Freeform: Shape 9">
            <a:extLst>
              <a:ext uri="{FF2B5EF4-FFF2-40B4-BE49-F238E27FC236}">
                <a16:creationId xmlns:a16="http://schemas.microsoft.com/office/drawing/2014/main" id="{AEBB4C77-EF55-8748-BF65-B4FBA95ABD79}"/>
              </a:ext>
            </a:extLst>
          </p:cNvPr>
          <p:cNvSpPr/>
          <p:nvPr/>
        </p:nvSpPr>
        <p:spPr>
          <a:xfrm>
            <a:off x="5869008" y="9119511"/>
            <a:ext cx="1803600" cy="2260080"/>
          </a:xfrm>
          <a:custGeom>
            <a:avLst/>
            <a:gdLst/>
            <a:ahLst/>
            <a:cxnLst>
              <a:cxn ang="3cd4">
                <a:pos x="hc" y="t"/>
              </a:cxn>
              <a:cxn ang="cd2">
                <a:pos x="l" y="vc"/>
              </a:cxn>
              <a:cxn ang="cd4">
                <a:pos x="hc" y="b"/>
              </a:cxn>
              <a:cxn ang="0">
                <a:pos x="r" y="vc"/>
              </a:cxn>
            </a:cxnLst>
            <a:rect l="l" t="t" r="r" b="b"/>
            <a:pathLst>
              <a:path w="5011" h="6279">
                <a:moveTo>
                  <a:pt x="429" y="2827"/>
                </a:moveTo>
                <a:cubicBezTo>
                  <a:pt x="477" y="2827"/>
                  <a:pt x="509" y="2795"/>
                  <a:pt x="509" y="2748"/>
                </a:cubicBezTo>
                <a:lnTo>
                  <a:pt x="509" y="2238"/>
                </a:lnTo>
                <a:cubicBezTo>
                  <a:pt x="509" y="2191"/>
                  <a:pt x="477" y="2158"/>
                  <a:pt x="429" y="2158"/>
                </a:cubicBezTo>
                <a:cubicBezTo>
                  <a:pt x="382" y="2158"/>
                  <a:pt x="350" y="2191"/>
                  <a:pt x="350" y="2238"/>
                </a:cubicBezTo>
                <a:lnTo>
                  <a:pt x="350" y="2748"/>
                </a:lnTo>
                <a:cubicBezTo>
                  <a:pt x="350" y="2795"/>
                  <a:pt x="382" y="2827"/>
                  <a:pt x="429" y="2827"/>
                </a:cubicBezTo>
                <a:close/>
                <a:moveTo>
                  <a:pt x="429" y="1793"/>
                </a:moveTo>
                <a:cubicBezTo>
                  <a:pt x="477" y="1793"/>
                  <a:pt x="509" y="1761"/>
                  <a:pt x="509" y="1713"/>
                </a:cubicBezTo>
                <a:lnTo>
                  <a:pt x="509" y="1427"/>
                </a:lnTo>
                <a:lnTo>
                  <a:pt x="588" y="1427"/>
                </a:lnTo>
                <a:cubicBezTo>
                  <a:pt x="620" y="1427"/>
                  <a:pt x="668" y="1395"/>
                  <a:pt x="668" y="1347"/>
                </a:cubicBezTo>
                <a:cubicBezTo>
                  <a:pt x="668" y="1315"/>
                  <a:pt x="620" y="1268"/>
                  <a:pt x="588" y="1268"/>
                </a:cubicBezTo>
                <a:lnTo>
                  <a:pt x="429" y="1268"/>
                </a:lnTo>
                <a:cubicBezTo>
                  <a:pt x="382" y="1268"/>
                  <a:pt x="350" y="1315"/>
                  <a:pt x="350" y="1347"/>
                </a:cubicBezTo>
                <a:lnTo>
                  <a:pt x="350" y="1713"/>
                </a:lnTo>
                <a:cubicBezTo>
                  <a:pt x="350" y="1761"/>
                  <a:pt x="382" y="1793"/>
                  <a:pt x="429" y="1793"/>
                </a:cubicBezTo>
                <a:close/>
                <a:moveTo>
                  <a:pt x="1097" y="1427"/>
                </a:moveTo>
                <a:lnTo>
                  <a:pt x="1622" y="1427"/>
                </a:lnTo>
                <a:cubicBezTo>
                  <a:pt x="1670" y="1427"/>
                  <a:pt x="1702" y="1395"/>
                  <a:pt x="1702" y="1347"/>
                </a:cubicBezTo>
                <a:cubicBezTo>
                  <a:pt x="1702" y="1315"/>
                  <a:pt x="1670" y="1268"/>
                  <a:pt x="1622" y="1268"/>
                </a:cubicBezTo>
                <a:lnTo>
                  <a:pt x="1097" y="1268"/>
                </a:lnTo>
                <a:cubicBezTo>
                  <a:pt x="1065" y="1268"/>
                  <a:pt x="1018" y="1315"/>
                  <a:pt x="1018" y="1347"/>
                </a:cubicBezTo>
                <a:cubicBezTo>
                  <a:pt x="1018" y="1395"/>
                  <a:pt x="1065" y="1427"/>
                  <a:pt x="1097" y="1427"/>
                </a:cubicBezTo>
                <a:close/>
                <a:moveTo>
                  <a:pt x="79" y="3479"/>
                </a:moveTo>
                <a:cubicBezTo>
                  <a:pt x="127" y="3479"/>
                  <a:pt x="159" y="3448"/>
                  <a:pt x="159" y="3400"/>
                </a:cubicBezTo>
                <a:lnTo>
                  <a:pt x="159" y="3240"/>
                </a:lnTo>
                <a:lnTo>
                  <a:pt x="668" y="3240"/>
                </a:lnTo>
                <a:lnTo>
                  <a:pt x="1479" y="5357"/>
                </a:lnTo>
                <a:cubicBezTo>
                  <a:pt x="1495" y="5388"/>
                  <a:pt x="1527" y="5404"/>
                  <a:pt x="1559" y="5404"/>
                </a:cubicBezTo>
                <a:lnTo>
                  <a:pt x="3675" y="5404"/>
                </a:lnTo>
                <a:cubicBezTo>
                  <a:pt x="3723" y="5404"/>
                  <a:pt x="3738" y="5388"/>
                  <a:pt x="3755" y="5357"/>
                </a:cubicBezTo>
                <a:lnTo>
                  <a:pt x="4264" y="3972"/>
                </a:lnTo>
                <a:cubicBezTo>
                  <a:pt x="4279" y="3940"/>
                  <a:pt x="4279" y="3925"/>
                  <a:pt x="4264" y="3893"/>
                </a:cubicBezTo>
                <a:cubicBezTo>
                  <a:pt x="4247" y="3877"/>
                  <a:pt x="4232" y="3861"/>
                  <a:pt x="4216" y="3861"/>
                </a:cubicBezTo>
                <a:lnTo>
                  <a:pt x="1384" y="3448"/>
                </a:lnTo>
                <a:cubicBezTo>
                  <a:pt x="1336" y="3448"/>
                  <a:pt x="1288" y="3463"/>
                  <a:pt x="1288" y="3511"/>
                </a:cubicBezTo>
                <a:cubicBezTo>
                  <a:pt x="1288" y="3559"/>
                  <a:pt x="1304" y="3591"/>
                  <a:pt x="1352" y="3606"/>
                </a:cubicBezTo>
                <a:lnTo>
                  <a:pt x="4089" y="4004"/>
                </a:lnTo>
                <a:lnTo>
                  <a:pt x="3627" y="5245"/>
                </a:lnTo>
                <a:lnTo>
                  <a:pt x="1607" y="5245"/>
                </a:lnTo>
                <a:lnTo>
                  <a:pt x="811" y="3145"/>
                </a:lnTo>
                <a:cubicBezTo>
                  <a:pt x="795" y="3113"/>
                  <a:pt x="764" y="3082"/>
                  <a:pt x="731" y="3082"/>
                </a:cubicBezTo>
                <a:lnTo>
                  <a:pt x="79" y="3082"/>
                </a:lnTo>
                <a:cubicBezTo>
                  <a:pt x="31" y="3082"/>
                  <a:pt x="0" y="3129"/>
                  <a:pt x="0" y="3161"/>
                </a:cubicBezTo>
                <a:lnTo>
                  <a:pt x="0" y="3400"/>
                </a:lnTo>
                <a:cubicBezTo>
                  <a:pt x="0" y="3448"/>
                  <a:pt x="31" y="3479"/>
                  <a:pt x="79" y="3479"/>
                </a:cubicBezTo>
                <a:close/>
                <a:moveTo>
                  <a:pt x="1670" y="5882"/>
                </a:moveTo>
                <a:cubicBezTo>
                  <a:pt x="1670" y="6104"/>
                  <a:pt x="1845" y="6279"/>
                  <a:pt x="2068" y="6279"/>
                </a:cubicBezTo>
                <a:cubicBezTo>
                  <a:pt x="2275" y="6279"/>
                  <a:pt x="2450" y="6104"/>
                  <a:pt x="2450" y="5882"/>
                </a:cubicBezTo>
                <a:cubicBezTo>
                  <a:pt x="2450" y="5675"/>
                  <a:pt x="2275" y="5484"/>
                  <a:pt x="2068" y="5484"/>
                </a:cubicBezTo>
                <a:cubicBezTo>
                  <a:pt x="1845" y="5484"/>
                  <a:pt x="1670" y="5675"/>
                  <a:pt x="1670" y="5882"/>
                </a:cubicBezTo>
                <a:close/>
                <a:moveTo>
                  <a:pt x="2291" y="5882"/>
                </a:moveTo>
                <a:cubicBezTo>
                  <a:pt x="2291" y="6025"/>
                  <a:pt x="2195" y="6120"/>
                  <a:pt x="2068" y="6120"/>
                </a:cubicBezTo>
                <a:cubicBezTo>
                  <a:pt x="1925" y="6120"/>
                  <a:pt x="1829" y="6025"/>
                  <a:pt x="1829" y="5882"/>
                </a:cubicBezTo>
                <a:cubicBezTo>
                  <a:pt x="1829" y="5754"/>
                  <a:pt x="1925" y="5643"/>
                  <a:pt x="2068" y="5643"/>
                </a:cubicBezTo>
                <a:cubicBezTo>
                  <a:pt x="2195" y="5643"/>
                  <a:pt x="2291" y="5754"/>
                  <a:pt x="2291" y="5882"/>
                </a:cubicBezTo>
                <a:close/>
                <a:moveTo>
                  <a:pt x="2784" y="5882"/>
                </a:moveTo>
                <a:cubicBezTo>
                  <a:pt x="2784" y="6104"/>
                  <a:pt x="2959" y="6279"/>
                  <a:pt x="3182" y="6279"/>
                </a:cubicBezTo>
                <a:cubicBezTo>
                  <a:pt x="3389" y="6279"/>
                  <a:pt x="3579" y="6104"/>
                  <a:pt x="3579" y="5882"/>
                </a:cubicBezTo>
                <a:cubicBezTo>
                  <a:pt x="3579" y="5675"/>
                  <a:pt x="3389" y="5484"/>
                  <a:pt x="3182" y="5484"/>
                </a:cubicBezTo>
                <a:cubicBezTo>
                  <a:pt x="2959" y="5484"/>
                  <a:pt x="2784" y="5675"/>
                  <a:pt x="2784" y="5882"/>
                </a:cubicBezTo>
                <a:close/>
                <a:moveTo>
                  <a:pt x="3420" y="5882"/>
                </a:moveTo>
                <a:cubicBezTo>
                  <a:pt x="3420" y="6025"/>
                  <a:pt x="3309" y="6120"/>
                  <a:pt x="3182" y="6120"/>
                </a:cubicBezTo>
                <a:cubicBezTo>
                  <a:pt x="3055" y="6120"/>
                  <a:pt x="2943" y="6025"/>
                  <a:pt x="2943" y="5882"/>
                </a:cubicBezTo>
                <a:cubicBezTo>
                  <a:pt x="2943" y="5754"/>
                  <a:pt x="3055" y="5643"/>
                  <a:pt x="3182" y="5643"/>
                </a:cubicBezTo>
                <a:cubicBezTo>
                  <a:pt x="3309" y="5643"/>
                  <a:pt x="3420" y="5754"/>
                  <a:pt x="3420" y="5882"/>
                </a:cubicBezTo>
                <a:close/>
                <a:moveTo>
                  <a:pt x="2402" y="1857"/>
                </a:moveTo>
                <a:cubicBezTo>
                  <a:pt x="2513" y="1920"/>
                  <a:pt x="2641" y="1968"/>
                  <a:pt x="2768" y="1968"/>
                </a:cubicBezTo>
                <a:lnTo>
                  <a:pt x="4375" y="1968"/>
                </a:lnTo>
                <a:lnTo>
                  <a:pt x="4391" y="1968"/>
                </a:lnTo>
                <a:cubicBezTo>
                  <a:pt x="4773" y="1952"/>
                  <a:pt x="5011" y="1713"/>
                  <a:pt x="5011" y="1347"/>
                </a:cubicBezTo>
                <a:cubicBezTo>
                  <a:pt x="5011" y="1029"/>
                  <a:pt x="4804" y="854"/>
                  <a:pt x="4661" y="790"/>
                </a:cubicBezTo>
                <a:lnTo>
                  <a:pt x="4661" y="758"/>
                </a:lnTo>
                <a:cubicBezTo>
                  <a:pt x="4677" y="488"/>
                  <a:pt x="4534" y="218"/>
                  <a:pt x="4295" y="90"/>
                </a:cubicBezTo>
                <a:cubicBezTo>
                  <a:pt x="4025" y="-53"/>
                  <a:pt x="3659" y="-21"/>
                  <a:pt x="3420" y="154"/>
                </a:cubicBezTo>
                <a:cubicBezTo>
                  <a:pt x="3373" y="186"/>
                  <a:pt x="3325" y="249"/>
                  <a:pt x="3293" y="297"/>
                </a:cubicBezTo>
                <a:cubicBezTo>
                  <a:pt x="3277" y="281"/>
                  <a:pt x="3261" y="266"/>
                  <a:pt x="3245" y="266"/>
                </a:cubicBezTo>
                <a:cubicBezTo>
                  <a:pt x="3070" y="170"/>
                  <a:pt x="2864" y="186"/>
                  <a:pt x="2704" y="297"/>
                </a:cubicBezTo>
                <a:cubicBezTo>
                  <a:pt x="2545" y="409"/>
                  <a:pt x="2465" y="584"/>
                  <a:pt x="2482" y="758"/>
                </a:cubicBezTo>
                <a:lnTo>
                  <a:pt x="2482" y="790"/>
                </a:lnTo>
                <a:cubicBezTo>
                  <a:pt x="2418" y="822"/>
                  <a:pt x="2307" y="902"/>
                  <a:pt x="2227" y="1077"/>
                </a:cubicBezTo>
                <a:cubicBezTo>
                  <a:pt x="2100" y="1363"/>
                  <a:pt x="2164" y="1681"/>
                  <a:pt x="2402" y="1857"/>
                </a:cubicBezTo>
                <a:close/>
                <a:moveTo>
                  <a:pt x="2370" y="1140"/>
                </a:moveTo>
                <a:cubicBezTo>
                  <a:pt x="2434" y="997"/>
                  <a:pt x="2513" y="966"/>
                  <a:pt x="2561" y="934"/>
                </a:cubicBezTo>
                <a:cubicBezTo>
                  <a:pt x="2593" y="918"/>
                  <a:pt x="2625" y="902"/>
                  <a:pt x="2625" y="870"/>
                </a:cubicBezTo>
                <a:cubicBezTo>
                  <a:pt x="2641" y="854"/>
                  <a:pt x="2636" y="849"/>
                  <a:pt x="2641" y="838"/>
                </a:cubicBezTo>
                <a:lnTo>
                  <a:pt x="2641" y="758"/>
                </a:lnTo>
                <a:cubicBezTo>
                  <a:pt x="2625" y="631"/>
                  <a:pt x="2688" y="504"/>
                  <a:pt x="2800" y="424"/>
                </a:cubicBezTo>
                <a:cubicBezTo>
                  <a:pt x="2864" y="393"/>
                  <a:pt x="2927" y="361"/>
                  <a:pt x="3007" y="361"/>
                </a:cubicBezTo>
                <a:cubicBezTo>
                  <a:pt x="3055" y="361"/>
                  <a:pt x="3118" y="377"/>
                  <a:pt x="3166" y="409"/>
                </a:cubicBezTo>
                <a:cubicBezTo>
                  <a:pt x="3229" y="440"/>
                  <a:pt x="3219" y="441"/>
                  <a:pt x="3245" y="457"/>
                </a:cubicBezTo>
                <a:cubicBezTo>
                  <a:pt x="3261" y="472"/>
                  <a:pt x="3293" y="488"/>
                  <a:pt x="3325" y="488"/>
                </a:cubicBezTo>
                <a:cubicBezTo>
                  <a:pt x="3341" y="488"/>
                  <a:pt x="3373" y="472"/>
                  <a:pt x="3373" y="457"/>
                </a:cubicBezTo>
                <a:cubicBezTo>
                  <a:pt x="3404" y="424"/>
                  <a:pt x="3468" y="329"/>
                  <a:pt x="3532" y="281"/>
                </a:cubicBezTo>
                <a:cubicBezTo>
                  <a:pt x="3707" y="138"/>
                  <a:pt x="4009" y="122"/>
                  <a:pt x="4216" y="234"/>
                </a:cubicBezTo>
                <a:cubicBezTo>
                  <a:pt x="4407" y="329"/>
                  <a:pt x="4518" y="536"/>
                  <a:pt x="4502" y="743"/>
                </a:cubicBezTo>
                <a:lnTo>
                  <a:pt x="4502" y="838"/>
                </a:lnTo>
                <a:cubicBezTo>
                  <a:pt x="4502" y="886"/>
                  <a:pt x="4518" y="902"/>
                  <a:pt x="4550" y="918"/>
                </a:cubicBezTo>
                <a:cubicBezTo>
                  <a:pt x="4651" y="1061"/>
                  <a:pt x="4852" y="1029"/>
                  <a:pt x="4852" y="1347"/>
                </a:cubicBezTo>
                <a:cubicBezTo>
                  <a:pt x="4852" y="1506"/>
                  <a:pt x="4789" y="1793"/>
                  <a:pt x="4375" y="1809"/>
                </a:cubicBezTo>
                <a:lnTo>
                  <a:pt x="2768" y="1809"/>
                </a:lnTo>
                <a:cubicBezTo>
                  <a:pt x="2688" y="1809"/>
                  <a:pt x="2577" y="1777"/>
                  <a:pt x="2498" y="1713"/>
                </a:cubicBezTo>
                <a:cubicBezTo>
                  <a:pt x="2322" y="1602"/>
                  <a:pt x="2275" y="1347"/>
                  <a:pt x="2370" y="11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8" name="Freeform: Shape 10">
            <a:extLst>
              <a:ext uri="{FF2B5EF4-FFF2-40B4-BE49-F238E27FC236}">
                <a16:creationId xmlns:a16="http://schemas.microsoft.com/office/drawing/2014/main" id="{2A6B3FBC-1733-2244-A806-7ECA7B92F8E9}"/>
              </a:ext>
            </a:extLst>
          </p:cNvPr>
          <p:cNvSpPr/>
          <p:nvPr/>
        </p:nvSpPr>
        <p:spPr>
          <a:xfrm>
            <a:off x="13824010" y="10094510"/>
            <a:ext cx="1534680" cy="1150920"/>
          </a:xfrm>
          <a:custGeom>
            <a:avLst/>
            <a:gdLst/>
            <a:ahLst/>
            <a:cxnLst>
              <a:cxn ang="3cd4">
                <a:pos x="hc" y="t"/>
              </a:cxn>
              <a:cxn ang="cd2">
                <a:pos x="l" y="vc"/>
              </a:cxn>
              <a:cxn ang="cd4">
                <a:pos x="hc" y="b"/>
              </a:cxn>
              <a:cxn ang="0">
                <a:pos x="r" y="vc"/>
              </a:cxn>
            </a:cxnLst>
            <a:rect l="l" t="t" r="r" b="b"/>
            <a:pathLst>
              <a:path w="4264" h="3198">
                <a:moveTo>
                  <a:pt x="80" y="382"/>
                </a:moveTo>
                <a:cubicBezTo>
                  <a:pt x="111" y="382"/>
                  <a:pt x="159" y="350"/>
                  <a:pt x="159" y="302"/>
                </a:cubicBezTo>
                <a:lnTo>
                  <a:pt x="159" y="159"/>
                </a:lnTo>
                <a:lnTo>
                  <a:pt x="668" y="159"/>
                </a:lnTo>
                <a:lnTo>
                  <a:pt x="1480" y="2275"/>
                </a:lnTo>
                <a:cubicBezTo>
                  <a:pt x="1480" y="2307"/>
                  <a:pt x="1511" y="2323"/>
                  <a:pt x="1544" y="2323"/>
                </a:cubicBezTo>
                <a:lnTo>
                  <a:pt x="3675" y="2323"/>
                </a:lnTo>
                <a:cubicBezTo>
                  <a:pt x="3707" y="2323"/>
                  <a:pt x="3739" y="2307"/>
                  <a:pt x="3755" y="2275"/>
                </a:cubicBezTo>
                <a:lnTo>
                  <a:pt x="4264" y="875"/>
                </a:lnTo>
                <a:cubicBezTo>
                  <a:pt x="4264" y="859"/>
                  <a:pt x="4264" y="827"/>
                  <a:pt x="4248" y="812"/>
                </a:cubicBezTo>
                <a:cubicBezTo>
                  <a:pt x="4248" y="795"/>
                  <a:pt x="4216" y="779"/>
                  <a:pt x="4201" y="764"/>
                </a:cubicBezTo>
                <a:lnTo>
                  <a:pt x="1368" y="350"/>
                </a:lnTo>
                <a:cubicBezTo>
                  <a:pt x="1321" y="350"/>
                  <a:pt x="1289" y="382"/>
                  <a:pt x="1273" y="430"/>
                </a:cubicBezTo>
                <a:cubicBezTo>
                  <a:pt x="1273" y="461"/>
                  <a:pt x="1305" y="509"/>
                  <a:pt x="1353" y="509"/>
                </a:cubicBezTo>
                <a:lnTo>
                  <a:pt x="4073" y="907"/>
                </a:lnTo>
                <a:lnTo>
                  <a:pt x="3612" y="2164"/>
                </a:lnTo>
                <a:lnTo>
                  <a:pt x="1607" y="2164"/>
                </a:lnTo>
                <a:lnTo>
                  <a:pt x="796" y="48"/>
                </a:lnTo>
                <a:cubicBezTo>
                  <a:pt x="780" y="16"/>
                  <a:pt x="748" y="0"/>
                  <a:pt x="716" y="0"/>
                </a:cubicBezTo>
                <a:lnTo>
                  <a:pt x="80" y="0"/>
                </a:lnTo>
                <a:cubicBezTo>
                  <a:pt x="32" y="0"/>
                  <a:pt x="0" y="32"/>
                  <a:pt x="0" y="79"/>
                </a:cubicBezTo>
                <a:lnTo>
                  <a:pt x="0" y="302"/>
                </a:lnTo>
                <a:cubicBezTo>
                  <a:pt x="0" y="350"/>
                  <a:pt x="32" y="382"/>
                  <a:pt x="80" y="382"/>
                </a:cubicBezTo>
                <a:close/>
                <a:moveTo>
                  <a:pt x="1655" y="2800"/>
                </a:moveTo>
                <a:cubicBezTo>
                  <a:pt x="1655" y="3007"/>
                  <a:pt x="1830" y="3198"/>
                  <a:pt x="2053" y="3198"/>
                </a:cubicBezTo>
                <a:cubicBezTo>
                  <a:pt x="2275" y="3198"/>
                  <a:pt x="2450" y="3007"/>
                  <a:pt x="2450" y="2800"/>
                </a:cubicBezTo>
                <a:cubicBezTo>
                  <a:pt x="2450" y="2577"/>
                  <a:pt x="2275" y="2403"/>
                  <a:pt x="2053" y="2403"/>
                </a:cubicBezTo>
                <a:cubicBezTo>
                  <a:pt x="1830" y="2403"/>
                  <a:pt x="1655" y="2577"/>
                  <a:pt x="1655" y="2800"/>
                </a:cubicBezTo>
                <a:close/>
                <a:moveTo>
                  <a:pt x="2291" y="2800"/>
                </a:moveTo>
                <a:cubicBezTo>
                  <a:pt x="2291" y="2927"/>
                  <a:pt x="2180" y="3039"/>
                  <a:pt x="2053" y="3039"/>
                </a:cubicBezTo>
                <a:cubicBezTo>
                  <a:pt x="1925" y="3039"/>
                  <a:pt x="1814" y="2927"/>
                  <a:pt x="1814" y="2800"/>
                </a:cubicBezTo>
                <a:cubicBezTo>
                  <a:pt x="1814" y="2673"/>
                  <a:pt x="1925" y="2561"/>
                  <a:pt x="2053" y="2561"/>
                </a:cubicBezTo>
                <a:cubicBezTo>
                  <a:pt x="2180" y="2561"/>
                  <a:pt x="2291" y="2673"/>
                  <a:pt x="2291" y="2800"/>
                </a:cubicBezTo>
                <a:close/>
                <a:moveTo>
                  <a:pt x="2768" y="2800"/>
                </a:moveTo>
                <a:cubicBezTo>
                  <a:pt x="2768" y="3007"/>
                  <a:pt x="2944" y="3198"/>
                  <a:pt x="3166" y="3198"/>
                </a:cubicBezTo>
                <a:cubicBezTo>
                  <a:pt x="3389" y="3198"/>
                  <a:pt x="3564" y="3007"/>
                  <a:pt x="3564" y="2800"/>
                </a:cubicBezTo>
                <a:cubicBezTo>
                  <a:pt x="3564" y="2577"/>
                  <a:pt x="3389" y="2403"/>
                  <a:pt x="3166" y="2403"/>
                </a:cubicBezTo>
                <a:cubicBezTo>
                  <a:pt x="2944" y="2403"/>
                  <a:pt x="2768" y="2577"/>
                  <a:pt x="2768" y="2800"/>
                </a:cubicBezTo>
                <a:close/>
                <a:moveTo>
                  <a:pt x="3405" y="2800"/>
                </a:moveTo>
                <a:cubicBezTo>
                  <a:pt x="3405" y="2927"/>
                  <a:pt x="3293" y="3039"/>
                  <a:pt x="3166" y="3039"/>
                </a:cubicBezTo>
                <a:cubicBezTo>
                  <a:pt x="3039" y="3039"/>
                  <a:pt x="2928" y="2927"/>
                  <a:pt x="2928" y="2800"/>
                </a:cubicBezTo>
                <a:cubicBezTo>
                  <a:pt x="2928" y="2673"/>
                  <a:pt x="3039" y="2561"/>
                  <a:pt x="3166" y="2561"/>
                </a:cubicBezTo>
                <a:cubicBezTo>
                  <a:pt x="3293" y="2561"/>
                  <a:pt x="3405" y="2673"/>
                  <a:pt x="3405" y="2800"/>
                </a:cubicBezTo>
                <a:close/>
                <a:moveTo>
                  <a:pt x="1813" y="1448"/>
                </a:moveTo>
                <a:cubicBezTo>
                  <a:pt x="1733" y="1607"/>
                  <a:pt x="1781" y="1782"/>
                  <a:pt x="1909" y="1877"/>
                </a:cubicBezTo>
                <a:cubicBezTo>
                  <a:pt x="1972" y="1925"/>
                  <a:pt x="2052" y="1957"/>
                  <a:pt x="2115" y="1957"/>
                </a:cubicBezTo>
                <a:lnTo>
                  <a:pt x="2943" y="1957"/>
                </a:lnTo>
                <a:cubicBezTo>
                  <a:pt x="3165" y="1941"/>
                  <a:pt x="3292" y="1798"/>
                  <a:pt x="3292" y="1591"/>
                </a:cubicBezTo>
                <a:cubicBezTo>
                  <a:pt x="3292" y="1416"/>
                  <a:pt x="3181" y="1321"/>
                  <a:pt x="3118" y="1289"/>
                </a:cubicBezTo>
                <a:cubicBezTo>
                  <a:pt x="3134" y="1146"/>
                  <a:pt x="3054" y="1002"/>
                  <a:pt x="2911" y="923"/>
                </a:cubicBezTo>
                <a:cubicBezTo>
                  <a:pt x="2767" y="843"/>
                  <a:pt x="2561" y="859"/>
                  <a:pt x="2433" y="955"/>
                </a:cubicBezTo>
                <a:cubicBezTo>
                  <a:pt x="2418" y="970"/>
                  <a:pt x="2386" y="986"/>
                  <a:pt x="2370" y="1002"/>
                </a:cubicBezTo>
                <a:cubicBezTo>
                  <a:pt x="2274" y="955"/>
                  <a:pt x="2163" y="970"/>
                  <a:pt x="2067" y="1034"/>
                </a:cubicBezTo>
                <a:cubicBezTo>
                  <a:pt x="1972" y="1098"/>
                  <a:pt x="1924" y="1193"/>
                  <a:pt x="1924" y="1289"/>
                </a:cubicBezTo>
                <a:cubicBezTo>
                  <a:pt x="1892" y="1321"/>
                  <a:pt x="1845" y="1352"/>
                  <a:pt x="1813" y="1448"/>
                </a:cubicBezTo>
                <a:close/>
                <a:moveTo>
                  <a:pt x="1956" y="1512"/>
                </a:moveTo>
                <a:cubicBezTo>
                  <a:pt x="1972" y="1448"/>
                  <a:pt x="2004" y="1432"/>
                  <a:pt x="2036" y="1416"/>
                </a:cubicBezTo>
                <a:cubicBezTo>
                  <a:pt x="2052" y="1416"/>
                  <a:pt x="2067" y="1400"/>
                  <a:pt x="2083" y="1368"/>
                </a:cubicBezTo>
                <a:lnTo>
                  <a:pt x="2083" y="1336"/>
                </a:lnTo>
                <a:lnTo>
                  <a:pt x="2083" y="1289"/>
                </a:lnTo>
                <a:cubicBezTo>
                  <a:pt x="2083" y="1241"/>
                  <a:pt x="2115" y="1193"/>
                  <a:pt x="2147" y="1161"/>
                </a:cubicBezTo>
                <a:cubicBezTo>
                  <a:pt x="2179" y="1146"/>
                  <a:pt x="2210" y="1130"/>
                  <a:pt x="2243" y="1130"/>
                </a:cubicBezTo>
                <a:cubicBezTo>
                  <a:pt x="2258" y="1130"/>
                  <a:pt x="2290" y="1146"/>
                  <a:pt x="2306" y="1146"/>
                </a:cubicBezTo>
                <a:cubicBezTo>
                  <a:pt x="2322" y="1161"/>
                  <a:pt x="2338" y="1177"/>
                  <a:pt x="2338" y="1161"/>
                </a:cubicBezTo>
                <a:cubicBezTo>
                  <a:pt x="2354" y="1193"/>
                  <a:pt x="2370" y="1193"/>
                  <a:pt x="2401" y="1193"/>
                </a:cubicBezTo>
                <a:cubicBezTo>
                  <a:pt x="2433" y="1193"/>
                  <a:pt x="2449" y="1177"/>
                  <a:pt x="2465" y="1161"/>
                </a:cubicBezTo>
                <a:cubicBezTo>
                  <a:pt x="2481" y="1146"/>
                  <a:pt x="2497" y="1098"/>
                  <a:pt x="2529" y="1082"/>
                </a:cubicBezTo>
                <a:cubicBezTo>
                  <a:pt x="2609" y="1018"/>
                  <a:pt x="2736" y="1018"/>
                  <a:pt x="2831" y="1066"/>
                </a:cubicBezTo>
                <a:cubicBezTo>
                  <a:pt x="2911" y="1113"/>
                  <a:pt x="2958" y="1193"/>
                  <a:pt x="2958" y="1289"/>
                </a:cubicBezTo>
                <a:lnTo>
                  <a:pt x="2958" y="1336"/>
                </a:lnTo>
                <a:cubicBezTo>
                  <a:pt x="2958" y="1368"/>
                  <a:pt x="2974" y="1400"/>
                  <a:pt x="3006" y="1416"/>
                </a:cubicBezTo>
                <a:cubicBezTo>
                  <a:pt x="3022" y="1416"/>
                  <a:pt x="3134" y="1464"/>
                  <a:pt x="3134" y="1591"/>
                </a:cubicBezTo>
                <a:cubicBezTo>
                  <a:pt x="3134" y="1686"/>
                  <a:pt x="3101" y="1782"/>
                  <a:pt x="2943" y="1798"/>
                </a:cubicBezTo>
                <a:lnTo>
                  <a:pt x="2115" y="1798"/>
                </a:lnTo>
                <a:cubicBezTo>
                  <a:pt x="2083" y="1798"/>
                  <a:pt x="2036" y="1782"/>
                  <a:pt x="2004" y="1750"/>
                </a:cubicBezTo>
                <a:cubicBezTo>
                  <a:pt x="1924" y="1703"/>
                  <a:pt x="1909" y="1591"/>
                  <a:pt x="1956" y="151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9" name="Freeform: Shape 13">
            <a:extLst>
              <a:ext uri="{FF2B5EF4-FFF2-40B4-BE49-F238E27FC236}">
                <a16:creationId xmlns:a16="http://schemas.microsoft.com/office/drawing/2014/main" id="{52B8DDF3-44A4-EB46-A195-489053534186}"/>
              </a:ext>
            </a:extLst>
          </p:cNvPr>
          <p:cNvSpPr/>
          <p:nvPr/>
        </p:nvSpPr>
        <p:spPr>
          <a:xfrm>
            <a:off x="20814764" y="9633442"/>
            <a:ext cx="2086560" cy="1319760"/>
          </a:xfrm>
          <a:custGeom>
            <a:avLst/>
            <a:gdLst/>
            <a:ahLst/>
            <a:cxnLst>
              <a:cxn ang="3cd4">
                <a:pos x="hc" y="t"/>
              </a:cxn>
              <a:cxn ang="cd2">
                <a:pos x="l" y="vc"/>
              </a:cxn>
              <a:cxn ang="cd4">
                <a:pos x="hc" y="b"/>
              </a:cxn>
              <a:cxn ang="0">
                <a:pos x="r" y="vc"/>
              </a:cxn>
            </a:cxnLst>
            <a:rect l="l" t="t" r="r" b="b"/>
            <a:pathLst>
              <a:path w="5797" h="3667">
                <a:moveTo>
                  <a:pt x="348" y="2712"/>
                </a:moveTo>
                <a:cubicBezTo>
                  <a:pt x="507" y="2823"/>
                  <a:pt x="698" y="2887"/>
                  <a:pt x="889" y="2887"/>
                </a:cubicBezTo>
                <a:lnTo>
                  <a:pt x="3291" y="2887"/>
                </a:lnTo>
                <a:lnTo>
                  <a:pt x="3307" y="2887"/>
                </a:lnTo>
                <a:cubicBezTo>
                  <a:pt x="3864" y="2855"/>
                  <a:pt x="4198" y="2521"/>
                  <a:pt x="4198" y="1980"/>
                </a:cubicBezTo>
                <a:cubicBezTo>
                  <a:pt x="4198" y="1471"/>
                  <a:pt x="3816" y="1248"/>
                  <a:pt x="3673" y="1185"/>
                </a:cubicBezTo>
                <a:lnTo>
                  <a:pt x="3673" y="1089"/>
                </a:lnTo>
                <a:cubicBezTo>
                  <a:pt x="3705" y="708"/>
                  <a:pt x="3498" y="326"/>
                  <a:pt x="3148" y="135"/>
                </a:cubicBezTo>
                <a:cubicBezTo>
                  <a:pt x="2766" y="-72"/>
                  <a:pt x="2225" y="-40"/>
                  <a:pt x="1891" y="230"/>
                </a:cubicBezTo>
                <a:cubicBezTo>
                  <a:pt x="1811" y="294"/>
                  <a:pt x="1732" y="389"/>
                  <a:pt x="1684" y="469"/>
                </a:cubicBezTo>
                <a:cubicBezTo>
                  <a:pt x="1653" y="437"/>
                  <a:pt x="1605" y="421"/>
                  <a:pt x="1557" y="389"/>
                </a:cubicBezTo>
                <a:cubicBezTo>
                  <a:pt x="1318" y="278"/>
                  <a:pt x="1032" y="294"/>
                  <a:pt x="793" y="453"/>
                </a:cubicBezTo>
                <a:cubicBezTo>
                  <a:pt x="571" y="596"/>
                  <a:pt x="459" y="851"/>
                  <a:pt x="475" y="1105"/>
                </a:cubicBezTo>
                <a:lnTo>
                  <a:pt x="475" y="1185"/>
                </a:lnTo>
                <a:lnTo>
                  <a:pt x="475" y="1200"/>
                </a:lnTo>
                <a:cubicBezTo>
                  <a:pt x="380" y="1232"/>
                  <a:pt x="220" y="1328"/>
                  <a:pt x="93" y="1599"/>
                </a:cubicBezTo>
                <a:cubicBezTo>
                  <a:pt x="-98" y="2012"/>
                  <a:pt x="14" y="2473"/>
                  <a:pt x="348" y="2712"/>
                </a:cubicBezTo>
                <a:close/>
                <a:moveTo>
                  <a:pt x="236" y="1678"/>
                </a:moveTo>
                <a:cubicBezTo>
                  <a:pt x="348" y="1439"/>
                  <a:pt x="475" y="1376"/>
                  <a:pt x="539" y="1328"/>
                </a:cubicBezTo>
                <a:cubicBezTo>
                  <a:pt x="587" y="1312"/>
                  <a:pt x="618" y="1296"/>
                  <a:pt x="634" y="1248"/>
                </a:cubicBezTo>
                <a:lnTo>
                  <a:pt x="634" y="1217"/>
                </a:lnTo>
                <a:lnTo>
                  <a:pt x="634" y="1105"/>
                </a:lnTo>
                <a:cubicBezTo>
                  <a:pt x="618" y="899"/>
                  <a:pt x="714" y="691"/>
                  <a:pt x="889" y="580"/>
                </a:cubicBezTo>
                <a:cubicBezTo>
                  <a:pt x="984" y="517"/>
                  <a:pt x="1111" y="469"/>
                  <a:pt x="1223" y="469"/>
                </a:cubicBezTo>
                <a:cubicBezTo>
                  <a:pt x="1318" y="469"/>
                  <a:pt x="1398" y="500"/>
                  <a:pt x="1493" y="532"/>
                </a:cubicBezTo>
                <a:cubicBezTo>
                  <a:pt x="1588" y="596"/>
                  <a:pt x="1588" y="596"/>
                  <a:pt x="1636" y="628"/>
                </a:cubicBezTo>
                <a:cubicBezTo>
                  <a:pt x="1653" y="644"/>
                  <a:pt x="1668" y="660"/>
                  <a:pt x="1700" y="660"/>
                </a:cubicBezTo>
                <a:cubicBezTo>
                  <a:pt x="1716" y="660"/>
                  <a:pt x="1748" y="644"/>
                  <a:pt x="1764" y="628"/>
                </a:cubicBezTo>
                <a:cubicBezTo>
                  <a:pt x="1796" y="580"/>
                  <a:pt x="1891" y="421"/>
                  <a:pt x="1987" y="357"/>
                </a:cubicBezTo>
                <a:cubicBezTo>
                  <a:pt x="2273" y="135"/>
                  <a:pt x="2734" y="103"/>
                  <a:pt x="3068" y="278"/>
                </a:cubicBezTo>
                <a:cubicBezTo>
                  <a:pt x="3371" y="437"/>
                  <a:pt x="3546" y="755"/>
                  <a:pt x="3514" y="1089"/>
                </a:cubicBezTo>
                <a:lnTo>
                  <a:pt x="3514" y="1232"/>
                </a:lnTo>
                <a:cubicBezTo>
                  <a:pt x="3514" y="1264"/>
                  <a:pt x="3530" y="1296"/>
                  <a:pt x="3562" y="1312"/>
                </a:cubicBezTo>
                <a:cubicBezTo>
                  <a:pt x="3578" y="1312"/>
                  <a:pt x="4039" y="1471"/>
                  <a:pt x="4039" y="1980"/>
                </a:cubicBezTo>
                <a:cubicBezTo>
                  <a:pt x="4039" y="2426"/>
                  <a:pt x="3769" y="2712"/>
                  <a:pt x="3291" y="2728"/>
                </a:cubicBezTo>
                <a:lnTo>
                  <a:pt x="889" y="2728"/>
                </a:lnTo>
                <a:cubicBezTo>
                  <a:pt x="730" y="2728"/>
                  <a:pt x="571" y="2680"/>
                  <a:pt x="443" y="2585"/>
                </a:cubicBezTo>
                <a:cubicBezTo>
                  <a:pt x="173" y="2394"/>
                  <a:pt x="77" y="1996"/>
                  <a:pt x="236" y="1678"/>
                </a:cubicBezTo>
                <a:close/>
                <a:moveTo>
                  <a:pt x="4150" y="2887"/>
                </a:moveTo>
                <a:cubicBezTo>
                  <a:pt x="4166" y="3030"/>
                  <a:pt x="4230" y="3157"/>
                  <a:pt x="4325" y="3269"/>
                </a:cubicBezTo>
                <a:lnTo>
                  <a:pt x="4373" y="3317"/>
                </a:lnTo>
                <a:cubicBezTo>
                  <a:pt x="4118" y="3539"/>
                  <a:pt x="3896" y="3460"/>
                  <a:pt x="3641" y="3364"/>
                </a:cubicBezTo>
                <a:cubicBezTo>
                  <a:pt x="3339" y="3269"/>
                  <a:pt x="2989" y="3142"/>
                  <a:pt x="2591" y="3539"/>
                </a:cubicBezTo>
                <a:cubicBezTo>
                  <a:pt x="2559" y="3571"/>
                  <a:pt x="2559" y="3619"/>
                  <a:pt x="2591" y="3651"/>
                </a:cubicBezTo>
                <a:cubicBezTo>
                  <a:pt x="2607" y="3667"/>
                  <a:pt x="2623" y="3667"/>
                  <a:pt x="2655" y="3667"/>
                </a:cubicBezTo>
                <a:cubicBezTo>
                  <a:pt x="2671" y="3667"/>
                  <a:pt x="2687" y="3667"/>
                  <a:pt x="2702" y="3651"/>
                </a:cubicBezTo>
                <a:cubicBezTo>
                  <a:pt x="3021" y="3333"/>
                  <a:pt x="3291" y="3412"/>
                  <a:pt x="3593" y="3524"/>
                </a:cubicBezTo>
                <a:cubicBezTo>
                  <a:pt x="3864" y="3603"/>
                  <a:pt x="4166" y="3714"/>
                  <a:pt x="4484" y="3428"/>
                </a:cubicBezTo>
                <a:lnTo>
                  <a:pt x="4548" y="3476"/>
                </a:lnTo>
                <a:cubicBezTo>
                  <a:pt x="4627" y="3571"/>
                  <a:pt x="4739" y="3619"/>
                  <a:pt x="4850" y="3619"/>
                </a:cubicBezTo>
                <a:lnTo>
                  <a:pt x="4882" y="3619"/>
                </a:lnTo>
                <a:cubicBezTo>
                  <a:pt x="5009" y="3603"/>
                  <a:pt x="5121" y="3555"/>
                  <a:pt x="5216" y="3460"/>
                </a:cubicBezTo>
                <a:lnTo>
                  <a:pt x="5503" y="3157"/>
                </a:lnTo>
                <a:cubicBezTo>
                  <a:pt x="5518" y="3142"/>
                  <a:pt x="5535" y="3126"/>
                  <a:pt x="5535" y="3110"/>
                </a:cubicBezTo>
                <a:cubicBezTo>
                  <a:pt x="5535" y="3094"/>
                  <a:pt x="5518" y="3062"/>
                  <a:pt x="5503" y="3046"/>
                </a:cubicBezTo>
                <a:lnTo>
                  <a:pt x="5327" y="2871"/>
                </a:lnTo>
                <a:lnTo>
                  <a:pt x="5773" y="2410"/>
                </a:lnTo>
                <a:cubicBezTo>
                  <a:pt x="5805" y="2378"/>
                  <a:pt x="5805" y="2330"/>
                  <a:pt x="5773" y="2299"/>
                </a:cubicBezTo>
                <a:cubicBezTo>
                  <a:pt x="5741" y="2267"/>
                  <a:pt x="5694" y="2267"/>
                  <a:pt x="5662" y="2299"/>
                </a:cubicBezTo>
                <a:lnTo>
                  <a:pt x="5216" y="2760"/>
                </a:lnTo>
                <a:lnTo>
                  <a:pt x="4962" y="2505"/>
                </a:lnTo>
                <a:lnTo>
                  <a:pt x="5423" y="2060"/>
                </a:lnTo>
                <a:cubicBezTo>
                  <a:pt x="5455" y="2028"/>
                  <a:pt x="5455" y="1980"/>
                  <a:pt x="5423" y="1948"/>
                </a:cubicBezTo>
                <a:cubicBezTo>
                  <a:pt x="5391" y="1917"/>
                  <a:pt x="5344" y="1917"/>
                  <a:pt x="5312" y="1948"/>
                </a:cubicBezTo>
                <a:lnTo>
                  <a:pt x="4850" y="2394"/>
                </a:lnTo>
                <a:lnTo>
                  <a:pt x="4675" y="2219"/>
                </a:lnTo>
                <a:cubicBezTo>
                  <a:pt x="4644" y="2187"/>
                  <a:pt x="4596" y="2187"/>
                  <a:pt x="4564" y="2219"/>
                </a:cubicBezTo>
                <a:lnTo>
                  <a:pt x="4278" y="2505"/>
                </a:lnTo>
                <a:cubicBezTo>
                  <a:pt x="4166" y="2600"/>
                  <a:pt x="4135" y="2744"/>
                  <a:pt x="4150" y="2887"/>
                </a:cubicBezTo>
                <a:close/>
                <a:moveTo>
                  <a:pt x="4389" y="2617"/>
                </a:moveTo>
                <a:lnTo>
                  <a:pt x="4612" y="2378"/>
                </a:lnTo>
                <a:lnTo>
                  <a:pt x="5344" y="3110"/>
                </a:lnTo>
                <a:lnTo>
                  <a:pt x="5105" y="3348"/>
                </a:lnTo>
                <a:cubicBezTo>
                  <a:pt x="5026" y="3412"/>
                  <a:pt x="4946" y="3460"/>
                  <a:pt x="4882" y="3460"/>
                </a:cubicBezTo>
                <a:cubicBezTo>
                  <a:pt x="4787" y="3460"/>
                  <a:pt x="4723" y="3444"/>
                  <a:pt x="4659" y="3364"/>
                </a:cubicBezTo>
                <a:lnTo>
                  <a:pt x="4436" y="3142"/>
                </a:lnTo>
                <a:cubicBezTo>
                  <a:pt x="4357" y="3078"/>
                  <a:pt x="4309" y="2982"/>
                  <a:pt x="4309" y="2871"/>
                </a:cubicBezTo>
                <a:cubicBezTo>
                  <a:pt x="4293" y="2776"/>
                  <a:pt x="4325" y="2680"/>
                  <a:pt x="4389" y="261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0" name="TextBox 99">
            <a:extLst>
              <a:ext uri="{FF2B5EF4-FFF2-40B4-BE49-F238E27FC236}">
                <a16:creationId xmlns:a16="http://schemas.microsoft.com/office/drawing/2014/main" id="{AA2F3151-5295-FB41-A16B-B536A4CEDCC7}"/>
              </a:ext>
            </a:extLst>
          </p:cNvPr>
          <p:cNvSpPr txBox="1"/>
          <p:nvPr/>
        </p:nvSpPr>
        <p:spPr>
          <a:xfrm>
            <a:off x="13453818" y="5166209"/>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Phone</a:t>
            </a:r>
          </a:p>
        </p:txBody>
      </p:sp>
      <p:sp>
        <p:nvSpPr>
          <p:cNvPr id="101" name="TextBox 100">
            <a:extLst>
              <a:ext uri="{FF2B5EF4-FFF2-40B4-BE49-F238E27FC236}">
                <a16:creationId xmlns:a16="http://schemas.microsoft.com/office/drawing/2014/main" id="{2CD08A4C-2ED6-2645-844C-9D168EB305E8}"/>
              </a:ext>
            </a:extLst>
          </p:cNvPr>
          <p:cNvSpPr txBox="1"/>
          <p:nvPr/>
        </p:nvSpPr>
        <p:spPr>
          <a:xfrm>
            <a:off x="20164664" y="5166209"/>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Laptop</a:t>
            </a:r>
          </a:p>
        </p:txBody>
      </p:sp>
      <p:sp>
        <p:nvSpPr>
          <p:cNvPr id="102" name="TextBox 101">
            <a:extLst>
              <a:ext uri="{FF2B5EF4-FFF2-40B4-BE49-F238E27FC236}">
                <a16:creationId xmlns:a16="http://schemas.microsoft.com/office/drawing/2014/main" id="{EBEDC49B-D287-A14E-A4D7-263F32BF9D83}"/>
              </a:ext>
            </a:extLst>
          </p:cNvPr>
          <p:cNvSpPr txBox="1"/>
          <p:nvPr/>
        </p:nvSpPr>
        <p:spPr>
          <a:xfrm>
            <a:off x="16435524" y="5166209"/>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Monitor</a:t>
            </a:r>
          </a:p>
        </p:txBody>
      </p:sp>
      <p:sp>
        <p:nvSpPr>
          <p:cNvPr id="103" name="Freeform: Shape 15">
            <a:extLst>
              <a:ext uri="{FF2B5EF4-FFF2-40B4-BE49-F238E27FC236}">
                <a16:creationId xmlns:a16="http://schemas.microsoft.com/office/drawing/2014/main" id="{04A61B6F-05EB-6149-949B-B8D0523F6C00}"/>
              </a:ext>
            </a:extLst>
          </p:cNvPr>
          <p:cNvSpPr/>
          <p:nvPr/>
        </p:nvSpPr>
        <p:spPr>
          <a:xfrm>
            <a:off x="13436000" y="2886011"/>
            <a:ext cx="2375640" cy="2156040"/>
          </a:xfrm>
          <a:custGeom>
            <a:avLst/>
            <a:gdLst/>
            <a:ahLst/>
            <a:cxnLst>
              <a:cxn ang="3cd4">
                <a:pos x="hc" y="t"/>
              </a:cxn>
              <a:cxn ang="cd2">
                <a:pos x="l" y="vc"/>
              </a:cxn>
              <a:cxn ang="cd4">
                <a:pos x="hc" y="b"/>
              </a:cxn>
              <a:cxn ang="0">
                <a:pos x="r" y="vc"/>
              </a:cxn>
            </a:cxnLst>
            <a:rect l="l" t="t" r="r" b="b"/>
            <a:pathLst>
              <a:path w="6600" h="5990">
                <a:moveTo>
                  <a:pt x="2384" y="1472"/>
                </a:moveTo>
                <a:cubicBezTo>
                  <a:pt x="2177" y="1472"/>
                  <a:pt x="2018" y="1631"/>
                  <a:pt x="2018" y="1838"/>
                </a:cubicBezTo>
                <a:lnTo>
                  <a:pt x="2018" y="5625"/>
                </a:lnTo>
                <a:cubicBezTo>
                  <a:pt x="2018" y="5816"/>
                  <a:pt x="2177" y="5990"/>
                  <a:pt x="2384" y="5990"/>
                </a:cubicBezTo>
                <a:lnTo>
                  <a:pt x="4214" y="5990"/>
                </a:lnTo>
                <a:cubicBezTo>
                  <a:pt x="4421" y="5990"/>
                  <a:pt x="4580" y="5816"/>
                  <a:pt x="4580" y="5625"/>
                </a:cubicBezTo>
                <a:lnTo>
                  <a:pt x="4580" y="1838"/>
                </a:lnTo>
                <a:cubicBezTo>
                  <a:pt x="4580" y="1631"/>
                  <a:pt x="4421" y="1472"/>
                  <a:pt x="4214" y="1472"/>
                </a:cubicBezTo>
                <a:close/>
                <a:moveTo>
                  <a:pt x="4421" y="5068"/>
                </a:moveTo>
                <a:lnTo>
                  <a:pt x="2177" y="5068"/>
                </a:lnTo>
                <a:lnTo>
                  <a:pt x="2177" y="2379"/>
                </a:lnTo>
                <a:lnTo>
                  <a:pt x="4421" y="2379"/>
                </a:lnTo>
                <a:close/>
                <a:moveTo>
                  <a:pt x="4214" y="5832"/>
                </a:moveTo>
                <a:lnTo>
                  <a:pt x="2384" y="5832"/>
                </a:lnTo>
                <a:cubicBezTo>
                  <a:pt x="2273" y="5832"/>
                  <a:pt x="2177" y="5736"/>
                  <a:pt x="2177" y="5625"/>
                </a:cubicBezTo>
                <a:lnTo>
                  <a:pt x="2177" y="5227"/>
                </a:lnTo>
                <a:lnTo>
                  <a:pt x="4421" y="5227"/>
                </a:lnTo>
                <a:lnTo>
                  <a:pt x="4421" y="5625"/>
                </a:lnTo>
                <a:cubicBezTo>
                  <a:pt x="4421" y="5736"/>
                  <a:pt x="4325" y="5832"/>
                  <a:pt x="4214" y="5832"/>
                </a:cubicBezTo>
                <a:close/>
                <a:moveTo>
                  <a:pt x="4421" y="1838"/>
                </a:moveTo>
                <a:lnTo>
                  <a:pt x="4421" y="2220"/>
                </a:lnTo>
                <a:lnTo>
                  <a:pt x="2177" y="2220"/>
                </a:lnTo>
                <a:lnTo>
                  <a:pt x="2177" y="1838"/>
                </a:lnTo>
                <a:cubicBezTo>
                  <a:pt x="2177" y="1727"/>
                  <a:pt x="2273" y="1631"/>
                  <a:pt x="2384" y="1631"/>
                </a:cubicBezTo>
                <a:lnTo>
                  <a:pt x="4214" y="1631"/>
                </a:lnTo>
                <a:cubicBezTo>
                  <a:pt x="4325" y="1631"/>
                  <a:pt x="4421" y="1727"/>
                  <a:pt x="4421" y="1838"/>
                </a:cubicBezTo>
                <a:close/>
                <a:moveTo>
                  <a:pt x="539" y="4241"/>
                </a:moveTo>
                <a:cubicBezTo>
                  <a:pt x="777" y="4399"/>
                  <a:pt x="1080" y="4511"/>
                  <a:pt x="1366" y="4511"/>
                </a:cubicBezTo>
                <a:lnTo>
                  <a:pt x="1620" y="4511"/>
                </a:lnTo>
                <a:cubicBezTo>
                  <a:pt x="1653" y="4511"/>
                  <a:pt x="1700" y="4463"/>
                  <a:pt x="1700" y="4432"/>
                </a:cubicBezTo>
                <a:cubicBezTo>
                  <a:pt x="1700" y="4384"/>
                  <a:pt x="1653" y="4352"/>
                  <a:pt x="1620" y="4352"/>
                </a:cubicBezTo>
                <a:lnTo>
                  <a:pt x="1366" y="4352"/>
                </a:lnTo>
                <a:cubicBezTo>
                  <a:pt x="1111" y="4352"/>
                  <a:pt x="841" y="4256"/>
                  <a:pt x="634" y="4098"/>
                </a:cubicBezTo>
                <a:cubicBezTo>
                  <a:pt x="173" y="3779"/>
                  <a:pt x="29" y="3127"/>
                  <a:pt x="284" y="2586"/>
                </a:cubicBezTo>
                <a:cubicBezTo>
                  <a:pt x="459" y="2220"/>
                  <a:pt x="682" y="2093"/>
                  <a:pt x="809" y="2029"/>
                </a:cubicBezTo>
                <a:cubicBezTo>
                  <a:pt x="857" y="1997"/>
                  <a:pt x="905" y="1965"/>
                  <a:pt x="920" y="1918"/>
                </a:cubicBezTo>
                <a:lnTo>
                  <a:pt x="920" y="1902"/>
                </a:lnTo>
                <a:lnTo>
                  <a:pt x="920" y="1695"/>
                </a:lnTo>
                <a:cubicBezTo>
                  <a:pt x="889" y="1361"/>
                  <a:pt x="1048" y="1027"/>
                  <a:pt x="1350" y="820"/>
                </a:cubicBezTo>
                <a:cubicBezTo>
                  <a:pt x="1653" y="613"/>
                  <a:pt x="2034" y="597"/>
                  <a:pt x="2353" y="756"/>
                </a:cubicBezTo>
                <a:cubicBezTo>
                  <a:pt x="2527" y="852"/>
                  <a:pt x="2512" y="863"/>
                  <a:pt x="2591" y="916"/>
                </a:cubicBezTo>
                <a:cubicBezTo>
                  <a:pt x="2607" y="931"/>
                  <a:pt x="2639" y="947"/>
                  <a:pt x="2654" y="947"/>
                </a:cubicBezTo>
                <a:cubicBezTo>
                  <a:pt x="2687" y="947"/>
                  <a:pt x="2702" y="931"/>
                  <a:pt x="2718" y="916"/>
                </a:cubicBezTo>
                <a:cubicBezTo>
                  <a:pt x="2718" y="899"/>
                  <a:pt x="2909" y="613"/>
                  <a:pt x="3100" y="470"/>
                </a:cubicBezTo>
                <a:cubicBezTo>
                  <a:pt x="3578" y="104"/>
                  <a:pt x="4325" y="40"/>
                  <a:pt x="4882" y="343"/>
                </a:cubicBezTo>
                <a:cubicBezTo>
                  <a:pt x="5359" y="613"/>
                  <a:pt x="5646" y="1138"/>
                  <a:pt x="5598" y="1679"/>
                </a:cubicBezTo>
                <a:cubicBezTo>
                  <a:pt x="5598" y="1695"/>
                  <a:pt x="5598" y="1774"/>
                  <a:pt x="5614" y="1918"/>
                </a:cubicBezTo>
                <a:cubicBezTo>
                  <a:pt x="5614" y="1950"/>
                  <a:pt x="5630" y="1965"/>
                  <a:pt x="5662" y="1981"/>
                </a:cubicBezTo>
                <a:cubicBezTo>
                  <a:pt x="5693" y="1997"/>
                  <a:pt x="6441" y="2268"/>
                  <a:pt x="6441" y="3111"/>
                </a:cubicBezTo>
                <a:cubicBezTo>
                  <a:pt x="6441" y="3843"/>
                  <a:pt x="5996" y="4304"/>
                  <a:pt x="5216" y="4352"/>
                </a:cubicBezTo>
                <a:lnTo>
                  <a:pt x="4993" y="4352"/>
                </a:lnTo>
                <a:cubicBezTo>
                  <a:pt x="4946" y="4352"/>
                  <a:pt x="4914" y="4384"/>
                  <a:pt x="4914" y="4432"/>
                </a:cubicBezTo>
                <a:cubicBezTo>
                  <a:pt x="4914" y="4463"/>
                  <a:pt x="4946" y="4511"/>
                  <a:pt x="4993" y="4511"/>
                </a:cubicBezTo>
                <a:lnTo>
                  <a:pt x="5216" y="4511"/>
                </a:lnTo>
                <a:cubicBezTo>
                  <a:pt x="6075" y="4463"/>
                  <a:pt x="6600" y="3938"/>
                  <a:pt x="6600" y="3111"/>
                </a:cubicBezTo>
                <a:cubicBezTo>
                  <a:pt x="6600" y="2284"/>
                  <a:pt x="5948" y="1934"/>
                  <a:pt x="5757" y="1854"/>
                </a:cubicBezTo>
                <a:lnTo>
                  <a:pt x="5757" y="1695"/>
                </a:lnTo>
                <a:cubicBezTo>
                  <a:pt x="5821" y="1090"/>
                  <a:pt x="5487" y="502"/>
                  <a:pt x="4962" y="216"/>
                </a:cubicBezTo>
                <a:cubicBezTo>
                  <a:pt x="4357" y="-119"/>
                  <a:pt x="3530" y="-55"/>
                  <a:pt x="2989" y="343"/>
                </a:cubicBezTo>
                <a:cubicBezTo>
                  <a:pt x="2845" y="454"/>
                  <a:pt x="2718" y="645"/>
                  <a:pt x="2639" y="740"/>
                </a:cubicBezTo>
                <a:cubicBezTo>
                  <a:pt x="2591" y="708"/>
                  <a:pt x="2527" y="661"/>
                  <a:pt x="2432" y="613"/>
                </a:cubicBezTo>
                <a:cubicBezTo>
                  <a:pt x="2050" y="422"/>
                  <a:pt x="1605" y="454"/>
                  <a:pt x="1254" y="693"/>
                </a:cubicBezTo>
                <a:cubicBezTo>
                  <a:pt x="905" y="931"/>
                  <a:pt x="729" y="1313"/>
                  <a:pt x="762" y="1711"/>
                </a:cubicBezTo>
                <a:lnTo>
                  <a:pt x="762" y="1870"/>
                </a:lnTo>
                <a:cubicBezTo>
                  <a:pt x="745" y="1870"/>
                  <a:pt x="745" y="1886"/>
                  <a:pt x="729" y="1886"/>
                </a:cubicBezTo>
                <a:cubicBezTo>
                  <a:pt x="602" y="1950"/>
                  <a:pt x="348" y="2108"/>
                  <a:pt x="141" y="2522"/>
                </a:cubicBezTo>
                <a:cubicBezTo>
                  <a:pt x="-146" y="3143"/>
                  <a:pt x="14" y="3859"/>
                  <a:pt x="539" y="424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4" name="Freeform: Shape 16">
            <a:extLst>
              <a:ext uri="{FF2B5EF4-FFF2-40B4-BE49-F238E27FC236}">
                <a16:creationId xmlns:a16="http://schemas.microsoft.com/office/drawing/2014/main" id="{6635F8E5-22EA-BE4B-9F65-1D40DBBE7983}"/>
              </a:ext>
            </a:extLst>
          </p:cNvPr>
          <p:cNvSpPr/>
          <p:nvPr/>
        </p:nvSpPr>
        <p:spPr>
          <a:xfrm>
            <a:off x="17024742" y="2886011"/>
            <a:ext cx="2372760" cy="2001599"/>
          </a:xfrm>
          <a:custGeom>
            <a:avLst/>
            <a:gdLst/>
            <a:ahLst/>
            <a:cxnLst>
              <a:cxn ang="3cd4">
                <a:pos x="hc" y="t"/>
              </a:cxn>
              <a:cxn ang="cd2">
                <a:pos x="l" y="vc"/>
              </a:cxn>
              <a:cxn ang="cd4">
                <a:pos x="hc" y="b"/>
              </a:cxn>
              <a:cxn ang="0">
                <a:pos x="r" y="vc"/>
              </a:cxn>
            </a:cxnLst>
            <a:rect l="l" t="t" r="r" b="b"/>
            <a:pathLst>
              <a:path w="6592" h="5561">
                <a:moveTo>
                  <a:pt x="5765" y="1854"/>
                </a:moveTo>
                <a:cubicBezTo>
                  <a:pt x="5765" y="1790"/>
                  <a:pt x="5749" y="1711"/>
                  <a:pt x="5765" y="1695"/>
                </a:cubicBezTo>
                <a:cubicBezTo>
                  <a:pt x="5813" y="1090"/>
                  <a:pt x="5495" y="502"/>
                  <a:pt x="4954" y="216"/>
                </a:cubicBezTo>
                <a:cubicBezTo>
                  <a:pt x="4349" y="-119"/>
                  <a:pt x="3522" y="-55"/>
                  <a:pt x="2997" y="343"/>
                </a:cubicBezTo>
                <a:cubicBezTo>
                  <a:pt x="2854" y="454"/>
                  <a:pt x="2710" y="645"/>
                  <a:pt x="2647" y="740"/>
                </a:cubicBezTo>
                <a:cubicBezTo>
                  <a:pt x="2599" y="708"/>
                  <a:pt x="2519" y="661"/>
                  <a:pt x="2424" y="613"/>
                </a:cubicBezTo>
                <a:cubicBezTo>
                  <a:pt x="2042" y="422"/>
                  <a:pt x="1613" y="454"/>
                  <a:pt x="1246" y="693"/>
                </a:cubicBezTo>
                <a:cubicBezTo>
                  <a:pt x="913" y="931"/>
                  <a:pt x="722" y="1313"/>
                  <a:pt x="754" y="1711"/>
                </a:cubicBezTo>
                <a:cubicBezTo>
                  <a:pt x="754" y="1727"/>
                  <a:pt x="769" y="1822"/>
                  <a:pt x="769" y="1870"/>
                </a:cubicBezTo>
                <a:cubicBezTo>
                  <a:pt x="754" y="1870"/>
                  <a:pt x="737" y="1886"/>
                  <a:pt x="722" y="1886"/>
                </a:cubicBezTo>
                <a:cubicBezTo>
                  <a:pt x="594" y="1950"/>
                  <a:pt x="340" y="2108"/>
                  <a:pt x="149" y="2522"/>
                </a:cubicBezTo>
                <a:cubicBezTo>
                  <a:pt x="-154" y="3143"/>
                  <a:pt x="22" y="3859"/>
                  <a:pt x="531" y="4241"/>
                </a:cubicBezTo>
                <a:cubicBezTo>
                  <a:pt x="674" y="4320"/>
                  <a:pt x="817" y="4399"/>
                  <a:pt x="992" y="4447"/>
                </a:cubicBezTo>
                <a:cubicBezTo>
                  <a:pt x="1024" y="4463"/>
                  <a:pt x="1072" y="4432"/>
                  <a:pt x="1088" y="4399"/>
                </a:cubicBezTo>
                <a:cubicBezTo>
                  <a:pt x="1103" y="4352"/>
                  <a:pt x="1072" y="4304"/>
                  <a:pt x="1024" y="4304"/>
                </a:cubicBezTo>
                <a:cubicBezTo>
                  <a:pt x="881" y="4256"/>
                  <a:pt x="754" y="4193"/>
                  <a:pt x="626" y="4098"/>
                </a:cubicBezTo>
                <a:cubicBezTo>
                  <a:pt x="181" y="3779"/>
                  <a:pt x="37" y="3127"/>
                  <a:pt x="292" y="2586"/>
                </a:cubicBezTo>
                <a:cubicBezTo>
                  <a:pt x="467" y="2220"/>
                  <a:pt x="690" y="2093"/>
                  <a:pt x="801" y="2029"/>
                </a:cubicBezTo>
                <a:cubicBezTo>
                  <a:pt x="865" y="1997"/>
                  <a:pt x="897" y="1965"/>
                  <a:pt x="913" y="1918"/>
                </a:cubicBezTo>
                <a:cubicBezTo>
                  <a:pt x="928" y="1918"/>
                  <a:pt x="923" y="1907"/>
                  <a:pt x="928" y="1902"/>
                </a:cubicBezTo>
                <a:cubicBezTo>
                  <a:pt x="923" y="1833"/>
                  <a:pt x="913" y="1727"/>
                  <a:pt x="913" y="1695"/>
                </a:cubicBezTo>
                <a:cubicBezTo>
                  <a:pt x="881" y="1361"/>
                  <a:pt x="1040" y="1027"/>
                  <a:pt x="1342" y="820"/>
                </a:cubicBezTo>
                <a:cubicBezTo>
                  <a:pt x="1645" y="613"/>
                  <a:pt x="2026" y="597"/>
                  <a:pt x="2345" y="756"/>
                </a:cubicBezTo>
                <a:cubicBezTo>
                  <a:pt x="2536" y="852"/>
                  <a:pt x="2514" y="863"/>
                  <a:pt x="2599" y="916"/>
                </a:cubicBezTo>
                <a:cubicBezTo>
                  <a:pt x="2615" y="931"/>
                  <a:pt x="2631" y="947"/>
                  <a:pt x="2663" y="947"/>
                </a:cubicBezTo>
                <a:cubicBezTo>
                  <a:pt x="2679" y="947"/>
                  <a:pt x="2710" y="931"/>
                  <a:pt x="2727" y="916"/>
                </a:cubicBezTo>
                <a:cubicBezTo>
                  <a:pt x="2727" y="899"/>
                  <a:pt x="2917" y="613"/>
                  <a:pt x="3092" y="470"/>
                </a:cubicBezTo>
                <a:cubicBezTo>
                  <a:pt x="3570" y="104"/>
                  <a:pt x="4333" y="40"/>
                  <a:pt x="4874" y="343"/>
                </a:cubicBezTo>
                <a:cubicBezTo>
                  <a:pt x="5352" y="613"/>
                  <a:pt x="5654" y="1138"/>
                  <a:pt x="5606" y="1679"/>
                </a:cubicBezTo>
                <a:cubicBezTo>
                  <a:pt x="5590" y="1695"/>
                  <a:pt x="5606" y="1774"/>
                  <a:pt x="5606" y="1918"/>
                </a:cubicBezTo>
                <a:cubicBezTo>
                  <a:pt x="5606" y="1950"/>
                  <a:pt x="5622" y="1965"/>
                  <a:pt x="5654" y="1981"/>
                </a:cubicBezTo>
                <a:cubicBezTo>
                  <a:pt x="5686" y="1997"/>
                  <a:pt x="6433" y="2268"/>
                  <a:pt x="6433" y="3111"/>
                </a:cubicBezTo>
                <a:cubicBezTo>
                  <a:pt x="6433" y="3763"/>
                  <a:pt x="6099" y="4193"/>
                  <a:pt x="5479" y="4304"/>
                </a:cubicBezTo>
                <a:cubicBezTo>
                  <a:pt x="5447" y="4320"/>
                  <a:pt x="5415" y="4368"/>
                  <a:pt x="5431" y="4399"/>
                </a:cubicBezTo>
                <a:cubicBezTo>
                  <a:pt x="5431" y="4447"/>
                  <a:pt x="5463" y="4463"/>
                  <a:pt x="5495" y="4463"/>
                </a:cubicBezTo>
                <a:lnTo>
                  <a:pt x="5510" y="4463"/>
                </a:lnTo>
                <a:cubicBezTo>
                  <a:pt x="6210" y="4320"/>
                  <a:pt x="6592" y="3827"/>
                  <a:pt x="6592" y="3111"/>
                </a:cubicBezTo>
                <a:cubicBezTo>
                  <a:pt x="6592" y="2284"/>
                  <a:pt x="5956" y="1934"/>
                  <a:pt x="5765" y="1854"/>
                </a:cubicBezTo>
                <a:close/>
                <a:moveTo>
                  <a:pt x="5208" y="4654"/>
                </a:moveTo>
                <a:lnTo>
                  <a:pt x="5208" y="2522"/>
                </a:lnTo>
                <a:cubicBezTo>
                  <a:pt x="5208" y="2363"/>
                  <a:pt x="5097" y="2236"/>
                  <a:pt x="4938" y="2236"/>
                </a:cubicBezTo>
                <a:lnTo>
                  <a:pt x="1660" y="2236"/>
                </a:lnTo>
                <a:cubicBezTo>
                  <a:pt x="1517" y="2236"/>
                  <a:pt x="1390" y="2363"/>
                  <a:pt x="1390" y="2522"/>
                </a:cubicBezTo>
                <a:lnTo>
                  <a:pt x="1390" y="4654"/>
                </a:lnTo>
                <a:cubicBezTo>
                  <a:pt x="1390" y="4813"/>
                  <a:pt x="1517" y="4941"/>
                  <a:pt x="1660" y="4941"/>
                </a:cubicBezTo>
                <a:lnTo>
                  <a:pt x="2822" y="4941"/>
                </a:lnTo>
                <a:lnTo>
                  <a:pt x="2710" y="5466"/>
                </a:lnTo>
                <a:cubicBezTo>
                  <a:pt x="2694" y="5498"/>
                  <a:pt x="2710" y="5513"/>
                  <a:pt x="2727" y="5529"/>
                </a:cubicBezTo>
                <a:cubicBezTo>
                  <a:pt x="2742" y="5561"/>
                  <a:pt x="2758" y="5561"/>
                  <a:pt x="2790" y="5561"/>
                </a:cubicBezTo>
                <a:lnTo>
                  <a:pt x="3728" y="5561"/>
                </a:lnTo>
                <a:cubicBezTo>
                  <a:pt x="3745" y="5561"/>
                  <a:pt x="3776" y="5561"/>
                  <a:pt x="3792" y="5529"/>
                </a:cubicBezTo>
                <a:cubicBezTo>
                  <a:pt x="3808" y="5513"/>
                  <a:pt x="3808" y="5498"/>
                  <a:pt x="3808" y="5466"/>
                </a:cubicBezTo>
                <a:lnTo>
                  <a:pt x="3697" y="4941"/>
                </a:lnTo>
                <a:lnTo>
                  <a:pt x="4938" y="4941"/>
                </a:lnTo>
                <a:cubicBezTo>
                  <a:pt x="5097" y="4941"/>
                  <a:pt x="5208" y="4813"/>
                  <a:pt x="5208" y="4654"/>
                </a:cubicBezTo>
                <a:close/>
                <a:moveTo>
                  <a:pt x="1660" y="2395"/>
                </a:moveTo>
                <a:lnTo>
                  <a:pt x="4938" y="2395"/>
                </a:lnTo>
                <a:cubicBezTo>
                  <a:pt x="5001" y="2395"/>
                  <a:pt x="5049" y="2459"/>
                  <a:pt x="5049" y="2522"/>
                </a:cubicBezTo>
                <a:lnTo>
                  <a:pt x="5049" y="4272"/>
                </a:lnTo>
                <a:lnTo>
                  <a:pt x="1549" y="4272"/>
                </a:lnTo>
                <a:lnTo>
                  <a:pt x="1549" y="2522"/>
                </a:lnTo>
                <a:cubicBezTo>
                  <a:pt x="1549" y="2459"/>
                  <a:pt x="1597" y="2395"/>
                  <a:pt x="1660" y="2395"/>
                </a:cubicBezTo>
                <a:close/>
                <a:moveTo>
                  <a:pt x="1549" y="4654"/>
                </a:moveTo>
                <a:lnTo>
                  <a:pt x="1549" y="4432"/>
                </a:lnTo>
                <a:lnTo>
                  <a:pt x="5049" y="4432"/>
                </a:lnTo>
                <a:lnTo>
                  <a:pt x="5049" y="4654"/>
                </a:lnTo>
                <a:cubicBezTo>
                  <a:pt x="5049" y="4718"/>
                  <a:pt x="5001" y="4781"/>
                  <a:pt x="4938" y="4781"/>
                </a:cubicBezTo>
                <a:lnTo>
                  <a:pt x="3585" y="4781"/>
                </a:lnTo>
                <a:lnTo>
                  <a:pt x="2917" y="4781"/>
                </a:lnTo>
                <a:lnTo>
                  <a:pt x="1660" y="4781"/>
                </a:lnTo>
                <a:cubicBezTo>
                  <a:pt x="1597" y="4781"/>
                  <a:pt x="1549" y="4718"/>
                  <a:pt x="1549" y="4654"/>
                </a:cubicBezTo>
                <a:close/>
                <a:moveTo>
                  <a:pt x="3633" y="5402"/>
                </a:moveTo>
                <a:lnTo>
                  <a:pt x="2885" y="5402"/>
                </a:lnTo>
                <a:lnTo>
                  <a:pt x="2981" y="4941"/>
                </a:lnTo>
                <a:lnTo>
                  <a:pt x="3522" y="4941"/>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5" name="Freeform: Shape 17">
            <a:extLst>
              <a:ext uri="{FF2B5EF4-FFF2-40B4-BE49-F238E27FC236}">
                <a16:creationId xmlns:a16="http://schemas.microsoft.com/office/drawing/2014/main" id="{20A4D348-6E10-324B-932E-780998985968}"/>
              </a:ext>
            </a:extLst>
          </p:cNvPr>
          <p:cNvSpPr/>
          <p:nvPr/>
        </p:nvSpPr>
        <p:spPr>
          <a:xfrm>
            <a:off x="20861705" y="2886011"/>
            <a:ext cx="2375640" cy="1995839"/>
          </a:xfrm>
          <a:custGeom>
            <a:avLst/>
            <a:gdLst/>
            <a:ahLst/>
            <a:cxnLst>
              <a:cxn ang="3cd4">
                <a:pos x="hc" y="t"/>
              </a:cxn>
              <a:cxn ang="cd2">
                <a:pos x="l" y="vc"/>
              </a:cxn>
              <a:cxn ang="cd4">
                <a:pos x="hc" y="b"/>
              </a:cxn>
              <a:cxn ang="0">
                <a:pos x="r" y="vc"/>
              </a:cxn>
            </a:cxnLst>
            <a:rect l="l" t="t" r="r" b="b"/>
            <a:pathLst>
              <a:path w="6600" h="5545">
                <a:moveTo>
                  <a:pt x="538" y="4241"/>
                </a:moveTo>
                <a:cubicBezTo>
                  <a:pt x="650" y="4304"/>
                  <a:pt x="777" y="4384"/>
                  <a:pt x="905" y="4432"/>
                </a:cubicBezTo>
                <a:lnTo>
                  <a:pt x="936" y="4432"/>
                </a:lnTo>
                <a:cubicBezTo>
                  <a:pt x="968" y="4432"/>
                  <a:pt x="1000" y="4416"/>
                  <a:pt x="1016" y="4368"/>
                </a:cubicBezTo>
                <a:cubicBezTo>
                  <a:pt x="1032" y="4336"/>
                  <a:pt x="1000" y="4288"/>
                  <a:pt x="968" y="4272"/>
                </a:cubicBezTo>
                <a:cubicBezTo>
                  <a:pt x="841" y="4225"/>
                  <a:pt x="729" y="4177"/>
                  <a:pt x="634" y="4098"/>
                </a:cubicBezTo>
                <a:cubicBezTo>
                  <a:pt x="172" y="3779"/>
                  <a:pt x="29" y="3127"/>
                  <a:pt x="284" y="2586"/>
                </a:cubicBezTo>
                <a:cubicBezTo>
                  <a:pt x="459" y="2220"/>
                  <a:pt x="682" y="2093"/>
                  <a:pt x="809" y="2029"/>
                </a:cubicBezTo>
                <a:cubicBezTo>
                  <a:pt x="857" y="1997"/>
                  <a:pt x="905" y="1965"/>
                  <a:pt x="920" y="1918"/>
                </a:cubicBezTo>
                <a:lnTo>
                  <a:pt x="920" y="1902"/>
                </a:lnTo>
                <a:lnTo>
                  <a:pt x="920" y="1695"/>
                </a:lnTo>
                <a:cubicBezTo>
                  <a:pt x="889" y="1361"/>
                  <a:pt x="1048" y="1027"/>
                  <a:pt x="1350" y="820"/>
                </a:cubicBezTo>
                <a:cubicBezTo>
                  <a:pt x="1652" y="613"/>
                  <a:pt x="2034" y="597"/>
                  <a:pt x="2352" y="756"/>
                </a:cubicBezTo>
                <a:cubicBezTo>
                  <a:pt x="2527" y="852"/>
                  <a:pt x="2511" y="863"/>
                  <a:pt x="2591" y="916"/>
                </a:cubicBezTo>
                <a:cubicBezTo>
                  <a:pt x="2607" y="931"/>
                  <a:pt x="2639" y="947"/>
                  <a:pt x="2654" y="947"/>
                </a:cubicBezTo>
                <a:cubicBezTo>
                  <a:pt x="2686" y="947"/>
                  <a:pt x="2702" y="931"/>
                  <a:pt x="2718" y="916"/>
                </a:cubicBezTo>
                <a:cubicBezTo>
                  <a:pt x="2718" y="899"/>
                  <a:pt x="2909" y="613"/>
                  <a:pt x="3100" y="470"/>
                </a:cubicBezTo>
                <a:cubicBezTo>
                  <a:pt x="3577" y="104"/>
                  <a:pt x="4325" y="40"/>
                  <a:pt x="4882" y="343"/>
                </a:cubicBezTo>
                <a:cubicBezTo>
                  <a:pt x="5359" y="613"/>
                  <a:pt x="5645" y="1138"/>
                  <a:pt x="5598" y="1679"/>
                </a:cubicBezTo>
                <a:cubicBezTo>
                  <a:pt x="5598" y="1695"/>
                  <a:pt x="5598" y="1774"/>
                  <a:pt x="5614" y="1918"/>
                </a:cubicBezTo>
                <a:cubicBezTo>
                  <a:pt x="5614" y="1950"/>
                  <a:pt x="5630" y="1965"/>
                  <a:pt x="5662" y="1981"/>
                </a:cubicBezTo>
                <a:cubicBezTo>
                  <a:pt x="5693" y="1997"/>
                  <a:pt x="6441" y="2268"/>
                  <a:pt x="6441" y="3111"/>
                </a:cubicBezTo>
                <a:cubicBezTo>
                  <a:pt x="6441" y="3699"/>
                  <a:pt x="6155" y="4113"/>
                  <a:pt x="5645" y="4272"/>
                </a:cubicBezTo>
                <a:cubicBezTo>
                  <a:pt x="5598" y="4288"/>
                  <a:pt x="5582" y="4336"/>
                  <a:pt x="5582" y="4368"/>
                </a:cubicBezTo>
                <a:cubicBezTo>
                  <a:pt x="5598" y="4416"/>
                  <a:pt x="5645" y="4432"/>
                  <a:pt x="5693" y="4432"/>
                </a:cubicBezTo>
                <a:cubicBezTo>
                  <a:pt x="6266" y="4241"/>
                  <a:pt x="6600" y="3763"/>
                  <a:pt x="6600" y="3111"/>
                </a:cubicBezTo>
                <a:cubicBezTo>
                  <a:pt x="6600" y="2284"/>
                  <a:pt x="5948" y="1934"/>
                  <a:pt x="5757" y="1854"/>
                </a:cubicBezTo>
                <a:lnTo>
                  <a:pt x="5757" y="1695"/>
                </a:lnTo>
                <a:cubicBezTo>
                  <a:pt x="5821" y="1090"/>
                  <a:pt x="5487" y="502"/>
                  <a:pt x="4962" y="216"/>
                </a:cubicBezTo>
                <a:cubicBezTo>
                  <a:pt x="4357" y="-119"/>
                  <a:pt x="3530" y="-55"/>
                  <a:pt x="2989" y="343"/>
                </a:cubicBezTo>
                <a:cubicBezTo>
                  <a:pt x="2845" y="454"/>
                  <a:pt x="2718" y="645"/>
                  <a:pt x="2639" y="740"/>
                </a:cubicBezTo>
                <a:cubicBezTo>
                  <a:pt x="2591" y="708"/>
                  <a:pt x="2527" y="661"/>
                  <a:pt x="2432" y="613"/>
                </a:cubicBezTo>
                <a:cubicBezTo>
                  <a:pt x="2050" y="422"/>
                  <a:pt x="1605" y="454"/>
                  <a:pt x="1254" y="693"/>
                </a:cubicBezTo>
                <a:cubicBezTo>
                  <a:pt x="905" y="931"/>
                  <a:pt x="729" y="1313"/>
                  <a:pt x="761" y="1711"/>
                </a:cubicBezTo>
                <a:lnTo>
                  <a:pt x="761" y="1870"/>
                </a:lnTo>
                <a:cubicBezTo>
                  <a:pt x="750" y="1875"/>
                  <a:pt x="745" y="1886"/>
                  <a:pt x="729" y="1886"/>
                </a:cubicBezTo>
                <a:cubicBezTo>
                  <a:pt x="602" y="1950"/>
                  <a:pt x="348" y="2108"/>
                  <a:pt x="141" y="2522"/>
                </a:cubicBezTo>
                <a:cubicBezTo>
                  <a:pt x="-146" y="3143"/>
                  <a:pt x="14" y="3859"/>
                  <a:pt x="538" y="4241"/>
                </a:cubicBezTo>
                <a:close/>
                <a:moveTo>
                  <a:pt x="4993" y="2220"/>
                </a:moveTo>
                <a:lnTo>
                  <a:pt x="1573" y="2220"/>
                </a:lnTo>
                <a:cubicBezTo>
                  <a:pt x="1366" y="2220"/>
                  <a:pt x="1239" y="2347"/>
                  <a:pt x="1239" y="2554"/>
                </a:cubicBezTo>
                <a:lnTo>
                  <a:pt x="1239" y="4909"/>
                </a:lnTo>
                <a:lnTo>
                  <a:pt x="1000" y="4909"/>
                </a:lnTo>
                <a:cubicBezTo>
                  <a:pt x="968" y="4909"/>
                  <a:pt x="920" y="4941"/>
                  <a:pt x="920" y="4989"/>
                </a:cubicBezTo>
                <a:lnTo>
                  <a:pt x="920" y="5132"/>
                </a:lnTo>
                <a:cubicBezTo>
                  <a:pt x="920" y="5323"/>
                  <a:pt x="1063" y="5545"/>
                  <a:pt x="1286" y="5545"/>
                </a:cubicBezTo>
                <a:lnTo>
                  <a:pt x="5232" y="5545"/>
                </a:lnTo>
                <a:cubicBezTo>
                  <a:pt x="5455" y="5545"/>
                  <a:pt x="5678" y="5323"/>
                  <a:pt x="5678" y="5132"/>
                </a:cubicBezTo>
                <a:lnTo>
                  <a:pt x="5678" y="4989"/>
                </a:lnTo>
                <a:cubicBezTo>
                  <a:pt x="5678" y="4941"/>
                  <a:pt x="5645" y="4909"/>
                  <a:pt x="5598" y="4909"/>
                </a:cubicBezTo>
                <a:lnTo>
                  <a:pt x="5359" y="4909"/>
                </a:lnTo>
                <a:lnTo>
                  <a:pt x="5359" y="2554"/>
                </a:lnTo>
                <a:cubicBezTo>
                  <a:pt x="5359" y="2347"/>
                  <a:pt x="5216" y="2220"/>
                  <a:pt x="4993" y="2220"/>
                </a:cubicBezTo>
                <a:close/>
                <a:moveTo>
                  <a:pt x="1398" y="2554"/>
                </a:moveTo>
                <a:cubicBezTo>
                  <a:pt x="1398" y="2427"/>
                  <a:pt x="1462" y="2379"/>
                  <a:pt x="1573" y="2379"/>
                </a:cubicBezTo>
                <a:lnTo>
                  <a:pt x="4993" y="2379"/>
                </a:lnTo>
                <a:cubicBezTo>
                  <a:pt x="5057" y="2379"/>
                  <a:pt x="5200" y="2395"/>
                  <a:pt x="5200" y="2554"/>
                </a:cubicBezTo>
                <a:lnTo>
                  <a:pt x="5200" y="4909"/>
                </a:lnTo>
                <a:lnTo>
                  <a:pt x="1398" y="4909"/>
                </a:lnTo>
                <a:close/>
                <a:moveTo>
                  <a:pt x="5518" y="5132"/>
                </a:moveTo>
                <a:cubicBezTo>
                  <a:pt x="5518" y="5243"/>
                  <a:pt x="5359" y="5386"/>
                  <a:pt x="5232" y="5386"/>
                </a:cubicBezTo>
                <a:lnTo>
                  <a:pt x="1286" y="5386"/>
                </a:lnTo>
                <a:cubicBezTo>
                  <a:pt x="1159" y="5386"/>
                  <a:pt x="1080" y="5243"/>
                  <a:pt x="1080" y="5132"/>
                </a:cubicBezTo>
                <a:lnTo>
                  <a:pt x="1080" y="5068"/>
                </a:lnTo>
                <a:lnTo>
                  <a:pt x="1318" y="5068"/>
                </a:lnTo>
                <a:lnTo>
                  <a:pt x="5280" y="5068"/>
                </a:lnTo>
                <a:lnTo>
                  <a:pt x="5518" y="5068"/>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6" name="TextBox 105">
            <a:extLst>
              <a:ext uri="{FF2B5EF4-FFF2-40B4-BE49-F238E27FC236}">
                <a16:creationId xmlns:a16="http://schemas.microsoft.com/office/drawing/2014/main" id="{E5F0A573-BD6A-CD43-875E-0C28DE4BF388}"/>
              </a:ext>
            </a:extLst>
          </p:cNvPr>
          <p:cNvSpPr txBox="1"/>
          <p:nvPr/>
        </p:nvSpPr>
        <p:spPr>
          <a:xfrm>
            <a:off x="1052420" y="8367243"/>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Secure</a:t>
            </a:r>
          </a:p>
        </p:txBody>
      </p:sp>
      <p:sp>
        <p:nvSpPr>
          <p:cNvPr id="107" name="TextBox 106">
            <a:extLst>
              <a:ext uri="{FF2B5EF4-FFF2-40B4-BE49-F238E27FC236}">
                <a16:creationId xmlns:a16="http://schemas.microsoft.com/office/drawing/2014/main" id="{BFA9D586-6769-D149-95D6-26CFC5E467E3}"/>
              </a:ext>
            </a:extLst>
          </p:cNvPr>
          <p:cNvSpPr txBox="1"/>
          <p:nvPr/>
        </p:nvSpPr>
        <p:spPr>
          <a:xfrm>
            <a:off x="5306606" y="8367243"/>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Lock</a:t>
            </a:r>
          </a:p>
        </p:txBody>
      </p:sp>
      <p:sp>
        <p:nvSpPr>
          <p:cNvPr id="108" name="TextBox 107">
            <a:extLst>
              <a:ext uri="{FF2B5EF4-FFF2-40B4-BE49-F238E27FC236}">
                <a16:creationId xmlns:a16="http://schemas.microsoft.com/office/drawing/2014/main" id="{D4E08494-A238-2A4E-BCE9-6F23FF1BBA74}"/>
              </a:ext>
            </a:extLst>
          </p:cNvPr>
          <p:cNvSpPr txBox="1"/>
          <p:nvPr/>
        </p:nvSpPr>
        <p:spPr>
          <a:xfrm>
            <a:off x="9013116" y="8367243"/>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Sync</a:t>
            </a:r>
          </a:p>
        </p:txBody>
      </p:sp>
      <p:sp>
        <p:nvSpPr>
          <p:cNvPr id="109" name="TextBox 108">
            <a:extLst>
              <a:ext uri="{FF2B5EF4-FFF2-40B4-BE49-F238E27FC236}">
                <a16:creationId xmlns:a16="http://schemas.microsoft.com/office/drawing/2014/main" id="{D0B7B2C3-DB39-B646-B6DE-8528D4DA5B60}"/>
              </a:ext>
            </a:extLst>
          </p:cNvPr>
          <p:cNvSpPr txBox="1"/>
          <p:nvPr/>
        </p:nvSpPr>
        <p:spPr>
          <a:xfrm>
            <a:off x="13471996" y="8367243"/>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Pict</a:t>
            </a:r>
          </a:p>
        </p:txBody>
      </p:sp>
      <p:sp>
        <p:nvSpPr>
          <p:cNvPr id="110" name="TextBox 109">
            <a:extLst>
              <a:ext uri="{FF2B5EF4-FFF2-40B4-BE49-F238E27FC236}">
                <a16:creationId xmlns:a16="http://schemas.microsoft.com/office/drawing/2014/main" id="{EEC64CE1-D587-1E40-909D-2C1C8A79E640}"/>
              </a:ext>
            </a:extLst>
          </p:cNvPr>
          <p:cNvSpPr txBox="1"/>
          <p:nvPr/>
        </p:nvSpPr>
        <p:spPr>
          <a:xfrm>
            <a:off x="16453702" y="8367243"/>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Photo</a:t>
            </a:r>
          </a:p>
        </p:txBody>
      </p:sp>
      <p:sp>
        <p:nvSpPr>
          <p:cNvPr id="111" name="Freeform: Shape 2">
            <a:extLst>
              <a:ext uri="{FF2B5EF4-FFF2-40B4-BE49-F238E27FC236}">
                <a16:creationId xmlns:a16="http://schemas.microsoft.com/office/drawing/2014/main" id="{ECA2214C-7387-8D47-B018-71B685888283}"/>
              </a:ext>
            </a:extLst>
          </p:cNvPr>
          <p:cNvSpPr/>
          <p:nvPr/>
        </p:nvSpPr>
        <p:spPr>
          <a:xfrm>
            <a:off x="1409157" y="6245244"/>
            <a:ext cx="2375640" cy="1623240"/>
          </a:xfrm>
          <a:custGeom>
            <a:avLst/>
            <a:gdLst/>
            <a:ahLst/>
            <a:cxnLst>
              <a:cxn ang="3cd4">
                <a:pos x="hc" y="t"/>
              </a:cxn>
              <a:cxn ang="cd2">
                <a:pos x="l" y="vc"/>
              </a:cxn>
              <a:cxn ang="cd4">
                <a:pos x="hc" y="b"/>
              </a:cxn>
              <a:cxn ang="0">
                <a:pos x="r" y="vc"/>
              </a:cxn>
            </a:cxnLst>
            <a:rect l="l" t="t" r="r" b="b"/>
            <a:pathLst>
              <a:path w="6600" h="4510">
                <a:moveTo>
                  <a:pt x="4071" y="2363"/>
                </a:moveTo>
                <a:lnTo>
                  <a:pt x="3959" y="2363"/>
                </a:lnTo>
                <a:lnTo>
                  <a:pt x="3959" y="2347"/>
                </a:lnTo>
                <a:lnTo>
                  <a:pt x="3959" y="2060"/>
                </a:lnTo>
                <a:cubicBezTo>
                  <a:pt x="3959" y="1758"/>
                  <a:pt x="3609" y="1519"/>
                  <a:pt x="3307" y="1519"/>
                </a:cubicBezTo>
                <a:cubicBezTo>
                  <a:pt x="2989" y="1519"/>
                  <a:pt x="2655" y="1742"/>
                  <a:pt x="2655" y="2060"/>
                </a:cubicBezTo>
                <a:lnTo>
                  <a:pt x="2655" y="2347"/>
                </a:lnTo>
                <a:lnTo>
                  <a:pt x="2655" y="2363"/>
                </a:lnTo>
                <a:lnTo>
                  <a:pt x="2543" y="2363"/>
                </a:lnTo>
                <a:cubicBezTo>
                  <a:pt x="2495" y="2363"/>
                  <a:pt x="2464" y="2410"/>
                  <a:pt x="2464" y="2442"/>
                </a:cubicBezTo>
                <a:lnTo>
                  <a:pt x="2464" y="3588"/>
                </a:lnTo>
                <a:cubicBezTo>
                  <a:pt x="2464" y="3635"/>
                  <a:pt x="2495" y="3667"/>
                  <a:pt x="2543" y="3667"/>
                </a:cubicBezTo>
                <a:lnTo>
                  <a:pt x="4071" y="3667"/>
                </a:lnTo>
                <a:cubicBezTo>
                  <a:pt x="4102" y="3667"/>
                  <a:pt x="4150" y="3635"/>
                  <a:pt x="4150" y="3588"/>
                </a:cubicBezTo>
                <a:lnTo>
                  <a:pt x="4150" y="2442"/>
                </a:lnTo>
                <a:cubicBezTo>
                  <a:pt x="4150" y="2410"/>
                  <a:pt x="4102" y="2363"/>
                  <a:pt x="4071" y="2363"/>
                </a:cubicBezTo>
                <a:close/>
                <a:moveTo>
                  <a:pt x="2814" y="2347"/>
                </a:moveTo>
                <a:lnTo>
                  <a:pt x="2814" y="2060"/>
                </a:lnTo>
                <a:cubicBezTo>
                  <a:pt x="2814" y="1822"/>
                  <a:pt x="3100" y="1678"/>
                  <a:pt x="3307" y="1678"/>
                </a:cubicBezTo>
                <a:cubicBezTo>
                  <a:pt x="3514" y="1678"/>
                  <a:pt x="3800" y="1853"/>
                  <a:pt x="3800" y="2060"/>
                </a:cubicBezTo>
                <a:lnTo>
                  <a:pt x="3800" y="2347"/>
                </a:lnTo>
                <a:lnTo>
                  <a:pt x="3800" y="2363"/>
                </a:lnTo>
                <a:lnTo>
                  <a:pt x="2798" y="2363"/>
                </a:lnTo>
                <a:cubicBezTo>
                  <a:pt x="2814" y="2363"/>
                  <a:pt x="2814" y="2363"/>
                  <a:pt x="2814" y="2347"/>
                </a:cubicBezTo>
                <a:close/>
                <a:moveTo>
                  <a:pt x="3991" y="3524"/>
                </a:moveTo>
                <a:lnTo>
                  <a:pt x="2623" y="3524"/>
                </a:lnTo>
                <a:lnTo>
                  <a:pt x="2623" y="2522"/>
                </a:lnTo>
                <a:lnTo>
                  <a:pt x="3991" y="2522"/>
                </a:lnTo>
                <a:close/>
                <a:moveTo>
                  <a:pt x="3148" y="3317"/>
                </a:moveTo>
                <a:cubicBezTo>
                  <a:pt x="3164" y="3333"/>
                  <a:pt x="3180" y="3333"/>
                  <a:pt x="3195" y="3333"/>
                </a:cubicBezTo>
                <a:cubicBezTo>
                  <a:pt x="3227" y="3333"/>
                  <a:pt x="3243" y="3333"/>
                  <a:pt x="3259" y="3317"/>
                </a:cubicBezTo>
                <a:lnTo>
                  <a:pt x="3752" y="2840"/>
                </a:lnTo>
                <a:cubicBezTo>
                  <a:pt x="3784" y="2824"/>
                  <a:pt x="3784" y="2760"/>
                  <a:pt x="3768" y="2729"/>
                </a:cubicBezTo>
                <a:cubicBezTo>
                  <a:pt x="3737" y="2697"/>
                  <a:pt x="3673" y="2697"/>
                  <a:pt x="3641" y="2729"/>
                </a:cubicBezTo>
                <a:lnTo>
                  <a:pt x="3195" y="3142"/>
                </a:lnTo>
                <a:lnTo>
                  <a:pt x="3020" y="2967"/>
                </a:lnTo>
                <a:cubicBezTo>
                  <a:pt x="2989" y="2935"/>
                  <a:pt x="2941" y="2935"/>
                  <a:pt x="2909" y="2967"/>
                </a:cubicBezTo>
                <a:cubicBezTo>
                  <a:pt x="2877" y="2999"/>
                  <a:pt x="2877" y="3047"/>
                  <a:pt x="2909" y="3078"/>
                </a:cubicBezTo>
                <a:close/>
                <a:moveTo>
                  <a:pt x="5757" y="1868"/>
                </a:moveTo>
                <a:lnTo>
                  <a:pt x="5757" y="1694"/>
                </a:lnTo>
                <a:cubicBezTo>
                  <a:pt x="5820" y="1105"/>
                  <a:pt x="5486" y="500"/>
                  <a:pt x="4962" y="214"/>
                </a:cubicBezTo>
                <a:cubicBezTo>
                  <a:pt x="4357" y="-120"/>
                  <a:pt x="3529" y="-57"/>
                  <a:pt x="2989" y="357"/>
                </a:cubicBezTo>
                <a:cubicBezTo>
                  <a:pt x="2846" y="468"/>
                  <a:pt x="2718" y="643"/>
                  <a:pt x="2638" y="755"/>
                </a:cubicBezTo>
                <a:cubicBezTo>
                  <a:pt x="2591" y="723"/>
                  <a:pt x="2527" y="675"/>
                  <a:pt x="2432" y="628"/>
                </a:cubicBezTo>
                <a:cubicBezTo>
                  <a:pt x="2050" y="437"/>
                  <a:pt x="1604" y="468"/>
                  <a:pt x="1255" y="707"/>
                </a:cubicBezTo>
                <a:cubicBezTo>
                  <a:pt x="904" y="930"/>
                  <a:pt x="729" y="1312"/>
                  <a:pt x="761" y="1725"/>
                </a:cubicBezTo>
                <a:lnTo>
                  <a:pt x="761" y="1868"/>
                </a:lnTo>
                <a:cubicBezTo>
                  <a:pt x="746" y="1868"/>
                  <a:pt x="729" y="1885"/>
                  <a:pt x="729" y="1900"/>
                </a:cubicBezTo>
                <a:cubicBezTo>
                  <a:pt x="602" y="1964"/>
                  <a:pt x="347" y="2107"/>
                  <a:pt x="141" y="2521"/>
                </a:cubicBezTo>
                <a:cubicBezTo>
                  <a:pt x="-145" y="3141"/>
                  <a:pt x="13" y="3873"/>
                  <a:pt x="538" y="4239"/>
                </a:cubicBezTo>
                <a:cubicBezTo>
                  <a:pt x="777" y="4414"/>
                  <a:pt x="1079" y="4510"/>
                  <a:pt x="1366" y="4510"/>
                </a:cubicBezTo>
                <a:lnTo>
                  <a:pt x="5216" y="4510"/>
                </a:lnTo>
                <a:cubicBezTo>
                  <a:pt x="6075" y="4462"/>
                  <a:pt x="6600" y="3937"/>
                  <a:pt x="6600" y="3109"/>
                </a:cubicBezTo>
                <a:cubicBezTo>
                  <a:pt x="6600" y="2282"/>
                  <a:pt x="5948" y="1948"/>
                  <a:pt x="5757" y="1868"/>
                </a:cubicBezTo>
                <a:close/>
                <a:moveTo>
                  <a:pt x="5216" y="4350"/>
                </a:moveTo>
                <a:lnTo>
                  <a:pt x="1366" y="4350"/>
                </a:lnTo>
                <a:cubicBezTo>
                  <a:pt x="1111" y="4350"/>
                  <a:pt x="841" y="4255"/>
                  <a:pt x="634" y="4112"/>
                </a:cubicBezTo>
                <a:cubicBezTo>
                  <a:pt x="173" y="3794"/>
                  <a:pt x="29" y="3141"/>
                  <a:pt x="284" y="2600"/>
                </a:cubicBezTo>
                <a:cubicBezTo>
                  <a:pt x="459" y="2219"/>
                  <a:pt x="682" y="2091"/>
                  <a:pt x="809" y="2028"/>
                </a:cubicBezTo>
                <a:cubicBezTo>
                  <a:pt x="856" y="1996"/>
                  <a:pt x="904" y="1980"/>
                  <a:pt x="920" y="1932"/>
                </a:cubicBezTo>
                <a:lnTo>
                  <a:pt x="920" y="1900"/>
                </a:lnTo>
                <a:lnTo>
                  <a:pt x="920" y="1709"/>
                </a:lnTo>
                <a:cubicBezTo>
                  <a:pt x="889" y="1359"/>
                  <a:pt x="1047" y="1041"/>
                  <a:pt x="1350" y="834"/>
                </a:cubicBezTo>
                <a:cubicBezTo>
                  <a:pt x="1509" y="723"/>
                  <a:pt x="1716" y="659"/>
                  <a:pt x="1907" y="659"/>
                </a:cubicBezTo>
                <a:cubicBezTo>
                  <a:pt x="2066" y="659"/>
                  <a:pt x="2209" y="691"/>
                  <a:pt x="2352" y="771"/>
                </a:cubicBezTo>
                <a:cubicBezTo>
                  <a:pt x="2527" y="850"/>
                  <a:pt x="2511" y="877"/>
                  <a:pt x="2591" y="930"/>
                </a:cubicBezTo>
                <a:cubicBezTo>
                  <a:pt x="2607" y="946"/>
                  <a:pt x="2638" y="946"/>
                  <a:pt x="2655" y="946"/>
                </a:cubicBezTo>
                <a:cubicBezTo>
                  <a:pt x="2686" y="946"/>
                  <a:pt x="2702" y="946"/>
                  <a:pt x="2718" y="914"/>
                </a:cubicBezTo>
                <a:cubicBezTo>
                  <a:pt x="2840" y="771"/>
                  <a:pt x="2909" y="628"/>
                  <a:pt x="3084" y="484"/>
                </a:cubicBezTo>
                <a:cubicBezTo>
                  <a:pt x="3577" y="103"/>
                  <a:pt x="4325" y="55"/>
                  <a:pt x="4882" y="357"/>
                </a:cubicBezTo>
                <a:cubicBezTo>
                  <a:pt x="5359" y="612"/>
                  <a:pt x="5646" y="1152"/>
                  <a:pt x="5598" y="1677"/>
                </a:cubicBezTo>
                <a:lnTo>
                  <a:pt x="5598" y="1916"/>
                </a:lnTo>
                <a:cubicBezTo>
                  <a:pt x="5614" y="1948"/>
                  <a:pt x="5630" y="1980"/>
                  <a:pt x="5662" y="1996"/>
                </a:cubicBezTo>
                <a:cubicBezTo>
                  <a:pt x="5693" y="1996"/>
                  <a:pt x="6441" y="2266"/>
                  <a:pt x="6441" y="3109"/>
                </a:cubicBezTo>
                <a:cubicBezTo>
                  <a:pt x="6441" y="3857"/>
                  <a:pt x="5996" y="4303"/>
                  <a:pt x="5216" y="435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2" name="Freeform: Shape 3">
            <a:extLst>
              <a:ext uri="{FF2B5EF4-FFF2-40B4-BE49-F238E27FC236}">
                <a16:creationId xmlns:a16="http://schemas.microsoft.com/office/drawing/2014/main" id="{98CB3B1C-831A-2043-A85C-6BFAB4178AB4}"/>
              </a:ext>
            </a:extLst>
          </p:cNvPr>
          <p:cNvSpPr/>
          <p:nvPr/>
        </p:nvSpPr>
        <p:spPr>
          <a:xfrm>
            <a:off x="5703378" y="6245244"/>
            <a:ext cx="2372760" cy="1623240"/>
          </a:xfrm>
          <a:custGeom>
            <a:avLst/>
            <a:gdLst/>
            <a:ahLst/>
            <a:cxnLst>
              <a:cxn ang="3cd4">
                <a:pos x="hc" y="t"/>
              </a:cxn>
              <a:cxn ang="cd2">
                <a:pos x="l" y="vc"/>
              </a:cxn>
              <a:cxn ang="cd4">
                <a:pos x="hc" y="b"/>
              </a:cxn>
              <a:cxn ang="0">
                <a:pos x="r" y="vc"/>
              </a:cxn>
            </a:cxnLst>
            <a:rect l="l" t="t" r="r" b="b"/>
            <a:pathLst>
              <a:path w="6592" h="4510">
                <a:moveTo>
                  <a:pt x="4062" y="2363"/>
                </a:moveTo>
                <a:lnTo>
                  <a:pt x="3950" y="2363"/>
                </a:lnTo>
                <a:lnTo>
                  <a:pt x="3950" y="2347"/>
                </a:lnTo>
                <a:lnTo>
                  <a:pt x="3950" y="2060"/>
                </a:lnTo>
                <a:cubicBezTo>
                  <a:pt x="3950" y="1758"/>
                  <a:pt x="3601" y="1519"/>
                  <a:pt x="3298" y="1519"/>
                </a:cubicBezTo>
                <a:cubicBezTo>
                  <a:pt x="2996" y="1519"/>
                  <a:pt x="2646" y="1742"/>
                  <a:pt x="2646" y="2060"/>
                </a:cubicBezTo>
                <a:lnTo>
                  <a:pt x="2646" y="2347"/>
                </a:lnTo>
                <a:lnTo>
                  <a:pt x="2646" y="2363"/>
                </a:lnTo>
                <a:lnTo>
                  <a:pt x="2534" y="2363"/>
                </a:lnTo>
                <a:cubicBezTo>
                  <a:pt x="2487" y="2363"/>
                  <a:pt x="2455" y="2410"/>
                  <a:pt x="2455" y="2442"/>
                </a:cubicBezTo>
                <a:lnTo>
                  <a:pt x="2455" y="3588"/>
                </a:lnTo>
                <a:cubicBezTo>
                  <a:pt x="2455" y="3635"/>
                  <a:pt x="2487" y="3667"/>
                  <a:pt x="2534" y="3667"/>
                </a:cubicBezTo>
                <a:lnTo>
                  <a:pt x="4062" y="3667"/>
                </a:lnTo>
                <a:cubicBezTo>
                  <a:pt x="4110" y="3667"/>
                  <a:pt x="4141" y="3635"/>
                  <a:pt x="4141" y="3588"/>
                </a:cubicBezTo>
                <a:lnTo>
                  <a:pt x="4141" y="2442"/>
                </a:lnTo>
                <a:cubicBezTo>
                  <a:pt x="4141" y="2410"/>
                  <a:pt x="4110" y="2363"/>
                  <a:pt x="4062" y="2363"/>
                </a:cubicBezTo>
                <a:close/>
                <a:moveTo>
                  <a:pt x="2805" y="2347"/>
                </a:moveTo>
                <a:lnTo>
                  <a:pt x="2805" y="2060"/>
                </a:lnTo>
                <a:cubicBezTo>
                  <a:pt x="2805" y="1822"/>
                  <a:pt x="3091" y="1678"/>
                  <a:pt x="3298" y="1678"/>
                </a:cubicBezTo>
                <a:cubicBezTo>
                  <a:pt x="3521" y="1678"/>
                  <a:pt x="3791" y="1853"/>
                  <a:pt x="3791" y="2060"/>
                </a:cubicBezTo>
                <a:lnTo>
                  <a:pt x="3791" y="2347"/>
                </a:lnTo>
                <a:lnTo>
                  <a:pt x="3791" y="2363"/>
                </a:lnTo>
                <a:lnTo>
                  <a:pt x="2805" y="2363"/>
                </a:lnTo>
                <a:close/>
                <a:moveTo>
                  <a:pt x="3982" y="3524"/>
                </a:moveTo>
                <a:lnTo>
                  <a:pt x="2614" y="3524"/>
                </a:lnTo>
                <a:lnTo>
                  <a:pt x="2614" y="2522"/>
                </a:lnTo>
                <a:lnTo>
                  <a:pt x="3982" y="2522"/>
                </a:lnTo>
                <a:close/>
                <a:moveTo>
                  <a:pt x="5764" y="1868"/>
                </a:moveTo>
                <a:lnTo>
                  <a:pt x="5764" y="1694"/>
                </a:lnTo>
                <a:cubicBezTo>
                  <a:pt x="5812" y="1105"/>
                  <a:pt x="5494" y="500"/>
                  <a:pt x="4953" y="214"/>
                </a:cubicBezTo>
                <a:cubicBezTo>
                  <a:pt x="4348" y="-120"/>
                  <a:pt x="3521" y="-57"/>
                  <a:pt x="2996" y="357"/>
                </a:cubicBezTo>
                <a:cubicBezTo>
                  <a:pt x="2853" y="468"/>
                  <a:pt x="2710" y="643"/>
                  <a:pt x="2646" y="755"/>
                </a:cubicBezTo>
                <a:cubicBezTo>
                  <a:pt x="2598" y="723"/>
                  <a:pt x="2519" y="675"/>
                  <a:pt x="2423" y="628"/>
                </a:cubicBezTo>
                <a:cubicBezTo>
                  <a:pt x="2041" y="437"/>
                  <a:pt x="1612" y="468"/>
                  <a:pt x="1262" y="707"/>
                </a:cubicBezTo>
                <a:cubicBezTo>
                  <a:pt x="911" y="930"/>
                  <a:pt x="721" y="1312"/>
                  <a:pt x="768" y="1725"/>
                </a:cubicBezTo>
                <a:lnTo>
                  <a:pt x="768" y="1868"/>
                </a:lnTo>
                <a:cubicBezTo>
                  <a:pt x="753" y="1868"/>
                  <a:pt x="737" y="1885"/>
                  <a:pt x="721" y="1900"/>
                </a:cubicBezTo>
                <a:cubicBezTo>
                  <a:pt x="594" y="1964"/>
                  <a:pt x="339" y="2107"/>
                  <a:pt x="148" y="2521"/>
                </a:cubicBezTo>
                <a:cubicBezTo>
                  <a:pt x="-154" y="3141"/>
                  <a:pt x="21" y="3873"/>
                  <a:pt x="546" y="4239"/>
                </a:cubicBezTo>
                <a:cubicBezTo>
                  <a:pt x="785" y="4414"/>
                  <a:pt x="1087" y="4510"/>
                  <a:pt x="1373" y="4510"/>
                </a:cubicBezTo>
                <a:lnTo>
                  <a:pt x="5223" y="4510"/>
                </a:lnTo>
                <a:cubicBezTo>
                  <a:pt x="6083" y="4462"/>
                  <a:pt x="6592" y="3937"/>
                  <a:pt x="6592" y="3109"/>
                </a:cubicBezTo>
                <a:cubicBezTo>
                  <a:pt x="6592" y="2282"/>
                  <a:pt x="5955" y="1948"/>
                  <a:pt x="5764" y="1868"/>
                </a:cubicBezTo>
                <a:close/>
                <a:moveTo>
                  <a:pt x="5207" y="4350"/>
                </a:moveTo>
                <a:lnTo>
                  <a:pt x="1373" y="4350"/>
                </a:lnTo>
                <a:cubicBezTo>
                  <a:pt x="1119" y="4350"/>
                  <a:pt x="848" y="4255"/>
                  <a:pt x="625" y="4112"/>
                </a:cubicBezTo>
                <a:cubicBezTo>
                  <a:pt x="180" y="3794"/>
                  <a:pt x="37" y="3141"/>
                  <a:pt x="291" y="2600"/>
                </a:cubicBezTo>
                <a:cubicBezTo>
                  <a:pt x="466" y="2219"/>
                  <a:pt x="689" y="2091"/>
                  <a:pt x="800" y="2028"/>
                </a:cubicBezTo>
                <a:cubicBezTo>
                  <a:pt x="864" y="1996"/>
                  <a:pt x="896" y="1980"/>
                  <a:pt x="911" y="1932"/>
                </a:cubicBezTo>
                <a:cubicBezTo>
                  <a:pt x="928" y="1916"/>
                  <a:pt x="928" y="1916"/>
                  <a:pt x="928" y="1900"/>
                </a:cubicBezTo>
                <a:cubicBezTo>
                  <a:pt x="922" y="1837"/>
                  <a:pt x="928" y="1741"/>
                  <a:pt x="911" y="1709"/>
                </a:cubicBezTo>
                <a:cubicBezTo>
                  <a:pt x="896" y="1359"/>
                  <a:pt x="1055" y="1041"/>
                  <a:pt x="1341" y="834"/>
                </a:cubicBezTo>
                <a:cubicBezTo>
                  <a:pt x="1516" y="723"/>
                  <a:pt x="1707" y="659"/>
                  <a:pt x="1914" y="659"/>
                </a:cubicBezTo>
                <a:cubicBezTo>
                  <a:pt x="2057" y="659"/>
                  <a:pt x="2216" y="691"/>
                  <a:pt x="2359" y="771"/>
                </a:cubicBezTo>
                <a:cubicBezTo>
                  <a:pt x="2534" y="850"/>
                  <a:pt x="2518" y="877"/>
                  <a:pt x="2598" y="930"/>
                </a:cubicBezTo>
                <a:cubicBezTo>
                  <a:pt x="2614" y="946"/>
                  <a:pt x="2630" y="946"/>
                  <a:pt x="2662" y="946"/>
                </a:cubicBezTo>
                <a:cubicBezTo>
                  <a:pt x="2694" y="946"/>
                  <a:pt x="2710" y="946"/>
                  <a:pt x="2725" y="914"/>
                </a:cubicBezTo>
                <a:cubicBezTo>
                  <a:pt x="2847" y="771"/>
                  <a:pt x="2916" y="628"/>
                  <a:pt x="3091" y="484"/>
                </a:cubicBezTo>
                <a:cubicBezTo>
                  <a:pt x="3568" y="103"/>
                  <a:pt x="4332" y="55"/>
                  <a:pt x="4889" y="357"/>
                </a:cubicBezTo>
                <a:cubicBezTo>
                  <a:pt x="5367" y="612"/>
                  <a:pt x="5653" y="1152"/>
                  <a:pt x="5605" y="1677"/>
                </a:cubicBezTo>
                <a:lnTo>
                  <a:pt x="5605" y="1916"/>
                </a:lnTo>
                <a:cubicBezTo>
                  <a:pt x="5605" y="1948"/>
                  <a:pt x="5637" y="1980"/>
                  <a:pt x="5653" y="1996"/>
                </a:cubicBezTo>
                <a:cubicBezTo>
                  <a:pt x="5685" y="1996"/>
                  <a:pt x="6432" y="2266"/>
                  <a:pt x="6432" y="3109"/>
                </a:cubicBezTo>
                <a:cubicBezTo>
                  <a:pt x="6432" y="3857"/>
                  <a:pt x="5987" y="4303"/>
                  <a:pt x="5207" y="435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3" name="Freeform: Shape 4">
            <a:extLst>
              <a:ext uri="{FF2B5EF4-FFF2-40B4-BE49-F238E27FC236}">
                <a16:creationId xmlns:a16="http://schemas.microsoft.com/office/drawing/2014/main" id="{FCA3F7E1-E611-864B-87CD-B64F27B10C98}"/>
              </a:ext>
            </a:extLst>
          </p:cNvPr>
          <p:cNvSpPr/>
          <p:nvPr/>
        </p:nvSpPr>
        <p:spPr>
          <a:xfrm>
            <a:off x="9582048" y="6245244"/>
            <a:ext cx="2375640" cy="1623240"/>
          </a:xfrm>
          <a:custGeom>
            <a:avLst/>
            <a:gdLst/>
            <a:ahLst/>
            <a:cxnLst>
              <a:cxn ang="3cd4">
                <a:pos x="hc" y="t"/>
              </a:cxn>
              <a:cxn ang="cd2">
                <a:pos x="l" y="vc"/>
              </a:cxn>
              <a:cxn ang="cd4">
                <a:pos x="hc" y="b"/>
              </a:cxn>
              <a:cxn ang="0">
                <a:pos x="r" y="vc"/>
              </a:cxn>
            </a:cxnLst>
            <a:rect l="l" t="t" r="r" b="b"/>
            <a:pathLst>
              <a:path w="6600" h="4510">
                <a:moveTo>
                  <a:pt x="2957" y="2187"/>
                </a:moveTo>
                <a:lnTo>
                  <a:pt x="4071" y="2187"/>
                </a:lnTo>
                <a:lnTo>
                  <a:pt x="3880" y="2410"/>
                </a:lnTo>
                <a:cubicBezTo>
                  <a:pt x="3848" y="2442"/>
                  <a:pt x="3848" y="2490"/>
                  <a:pt x="3880" y="2522"/>
                </a:cubicBezTo>
                <a:cubicBezTo>
                  <a:pt x="3895" y="2538"/>
                  <a:pt x="3911" y="2538"/>
                  <a:pt x="3927" y="2538"/>
                </a:cubicBezTo>
                <a:cubicBezTo>
                  <a:pt x="3959" y="2538"/>
                  <a:pt x="3975" y="2522"/>
                  <a:pt x="3991" y="2506"/>
                </a:cubicBezTo>
                <a:lnTo>
                  <a:pt x="4309" y="2172"/>
                </a:lnTo>
                <a:cubicBezTo>
                  <a:pt x="4341" y="2140"/>
                  <a:pt x="4341" y="2092"/>
                  <a:pt x="4309" y="2060"/>
                </a:cubicBezTo>
                <a:lnTo>
                  <a:pt x="3991" y="1710"/>
                </a:lnTo>
                <a:cubicBezTo>
                  <a:pt x="3959" y="1678"/>
                  <a:pt x="3911" y="1678"/>
                  <a:pt x="3880" y="1710"/>
                </a:cubicBezTo>
                <a:cubicBezTo>
                  <a:pt x="3848" y="1742"/>
                  <a:pt x="3848" y="1790"/>
                  <a:pt x="3880" y="1822"/>
                </a:cubicBezTo>
                <a:lnTo>
                  <a:pt x="4071" y="2029"/>
                </a:lnTo>
                <a:lnTo>
                  <a:pt x="2957" y="2029"/>
                </a:lnTo>
                <a:cubicBezTo>
                  <a:pt x="2447" y="2029"/>
                  <a:pt x="2050" y="2442"/>
                  <a:pt x="2050" y="2951"/>
                </a:cubicBezTo>
                <a:cubicBezTo>
                  <a:pt x="2050" y="2999"/>
                  <a:pt x="2082" y="3031"/>
                  <a:pt x="2129" y="3031"/>
                </a:cubicBezTo>
                <a:cubicBezTo>
                  <a:pt x="2161" y="3031"/>
                  <a:pt x="2209" y="2999"/>
                  <a:pt x="2209" y="2951"/>
                </a:cubicBezTo>
                <a:cubicBezTo>
                  <a:pt x="2209" y="2538"/>
                  <a:pt x="2543" y="2187"/>
                  <a:pt x="2957" y="2187"/>
                </a:cubicBezTo>
                <a:close/>
                <a:moveTo>
                  <a:pt x="4484" y="2347"/>
                </a:moveTo>
                <a:cubicBezTo>
                  <a:pt x="4437" y="2347"/>
                  <a:pt x="4404" y="2378"/>
                  <a:pt x="4404" y="2426"/>
                </a:cubicBezTo>
                <a:cubicBezTo>
                  <a:pt x="4404" y="2856"/>
                  <a:pt x="4071" y="3174"/>
                  <a:pt x="3657" y="3174"/>
                </a:cubicBezTo>
                <a:lnTo>
                  <a:pt x="2543" y="3174"/>
                </a:lnTo>
                <a:lnTo>
                  <a:pt x="2734" y="2967"/>
                </a:lnTo>
                <a:cubicBezTo>
                  <a:pt x="2766" y="2935"/>
                  <a:pt x="2766" y="2887"/>
                  <a:pt x="2734" y="2856"/>
                </a:cubicBezTo>
                <a:cubicBezTo>
                  <a:pt x="2702" y="2824"/>
                  <a:pt x="2655" y="2824"/>
                  <a:pt x="2623" y="2856"/>
                </a:cubicBezTo>
                <a:lnTo>
                  <a:pt x="2304" y="3206"/>
                </a:lnTo>
                <a:cubicBezTo>
                  <a:pt x="2273" y="3238"/>
                  <a:pt x="2273" y="3286"/>
                  <a:pt x="2304" y="3317"/>
                </a:cubicBezTo>
                <a:lnTo>
                  <a:pt x="2623" y="3651"/>
                </a:lnTo>
                <a:cubicBezTo>
                  <a:pt x="2638" y="3667"/>
                  <a:pt x="2655" y="3683"/>
                  <a:pt x="2686" y="3683"/>
                </a:cubicBezTo>
                <a:cubicBezTo>
                  <a:pt x="2702" y="3683"/>
                  <a:pt x="2718" y="3683"/>
                  <a:pt x="2734" y="3667"/>
                </a:cubicBezTo>
                <a:cubicBezTo>
                  <a:pt x="2766" y="3635"/>
                  <a:pt x="2766" y="3588"/>
                  <a:pt x="2734" y="3556"/>
                </a:cubicBezTo>
                <a:lnTo>
                  <a:pt x="2543" y="3333"/>
                </a:lnTo>
                <a:lnTo>
                  <a:pt x="3657" y="3333"/>
                </a:lnTo>
                <a:cubicBezTo>
                  <a:pt x="4166" y="3333"/>
                  <a:pt x="4564" y="2935"/>
                  <a:pt x="4564" y="2426"/>
                </a:cubicBezTo>
                <a:cubicBezTo>
                  <a:pt x="4564" y="2378"/>
                  <a:pt x="4516" y="2347"/>
                  <a:pt x="4484" y="2347"/>
                </a:cubicBezTo>
                <a:close/>
                <a:moveTo>
                  <a:pt x="5757" y="1868"/>
                </a:moveTo>
                <a:lnTo>
                  <a:pt x="5757" y="1694"/>
                </a:lnTo>
                <a:cubicBezTo>
                  <a:pt x="5820" y="1105"/>
                  <a:pt x="5486" y="500"/>
                  <a:pt x="4961" y="214"/>
                </a:cubicBezTo>
                <a:cubicBezTo>
                  <a:pt x="4357" y="-120"/>
                  <a:pt x="3529" y="-57"/>
                  <a:pt x="2989" y="357"/>
                </a:cubicBezTo>
                <a:cubicBezTo>
                  <a:pt x="2846" y="468"/>
                  <a:pt x="2718" y="643"/>
                  <a:pt x="2638" y="755"/>
                </a:cubicBezTo>
                <a:cubicBezTo>
                  <a:pt x="2591" y="723"/>
                  <a:pt x="2527" y="675"/>
                  <a:pt x="2432" y="628"/>
                </a:cubicBezTo>
                <a:cubicBezTo>
                  <a:pt x="2050" y="437"/>
                  <a:pt x="1604" y="468"/>
                  <a:pt x="1255" y="707"/>
                </a:cubicBezTo>
                <a:cubicBezTo>
                  <a:pt x="904" y="930"/>
                  <a:pt x="729" y="1312"/>
                  <a:pt x="761" y="1725"/>
                </a:cubicBezTo>
                <a:lnTo>
                  <a:pt x="761" y="1868"/>
                </a:lnTo>
                <a:cubicBezTo>
                  <a:pt x="751" y="1879"/>
                  <a:pt x="745" y="1885"/>
                  <a:pt x="729" y="1900"/>
                </a:cubicBezTo>
                <a:cubicBezTo>
                  <a:pt x="602" y="1964"/>
                  <a:pt x="347" y="2107"/>
                  <a:pt x="141" y="2521"/>
                </a:cubicBezTo>
                <a:cubicBezTo>
                  <a:pt x="-146" y="3141"/>
                  <a:pt x="13" y="3873"/>
                  <a:pt x="538" y="4239"/>
                </a:cubicBezTo>
                <a:cubicBezTo>
                  <a:pt x="777" y="4414"/>
                  <a:pt x="1095" y="4510"/>
                  <a:pt x="1366" y="4510"/>
                </a:cubicBezTo>
                <a:lnTo>
                  <a:pt x="5216" y="4510"/>
                </a:lnTo>
                <a:cubicBezTo>
                  <a:pt x="6091" y="4462"/>
                  <a:pt x="6600" y="3937"/>
                  <a:pt x="6600" y="3109"/>
                </a:cubicBezTo>
                <a:cubicBezTo>
                  <a:pt x="6600" y="2282"/>
                  <a:pt x="5948" y="1948"/>
                  <a:pt x="5757" y="1868"/>
                </a:cubicBezTo>
                <a:close/>
                <a:moveTo>
                  <a:pt x="5216" y="4350"/>
                </a:moveTo>
                <a:lnTo>
                  <a:pt x="1366" y="4350"/>
                </a:lnTo>
                <a:cubicBezTo>
                  <a:pt x="1127" y="4350"/>
                  <a:pt x="841" y="4255"/>
                  <a:pt x="634" y="4112"/>
                </a:cubicBezTo>
                <a:cubicBezTo>
                  <a:pt x="173" y="3794"/>
                  <a:pt x="29" y="3141"/>
                  <a:pt x="284" y="2600"/>
                </a:cubicBezTo>
                <a:cubicBezTo>
                  <a:pt x="459" y="2219"/>
                  <a:pt x="682" y="2091"/>
                  <a:pt x="809" y="2028"/>
                </a:cubicBezTo>
                <a:cubicBezTo>
                  <a:pt x="856" y="1996"/>
                  <a:pt x="904" y="1980"/>
                  <a:pt x="920" y="1932"/>
                </a:cubicBezTo>
                <a:lnTo>
                  <a:pt x="920" y="1900"/>
                </a:lnTo>
                <a:lnTo>
                  <a:pt x="920" y="1709"/>
                </a:lnTo>
                <a:cubicBezTo>
                  <a:pt x="889" y="1359"/>
                  <a:pt x="1047" y="1041"/>
                  <a:pt x="1350" y="834"/>
                </a:cubicBezTo>
                <a:cubicBezTo>
                  <a:pt x="1525" y="723"/>
                  <a:pt x="1716" y="659"/>
                  <a:pt x="1907" y="659"/>
                </a:cubicBezTo>
                <a:cubicBezTo>
                  <a:pt x="2066" y="659"/>
                  <a:pt x="2209" y="691"/>
                  <a:pt x="2352" y="771"/>
                </a:cubicBezTo>
                <a:cubicBezTo>
                  <a:pt x="2527" y="850"/>
                  <a:pt x="2512" y="877"/>
                  <a:pt x="2591" y="930"/>
                </a:cubicBezTo>
                <a:cubicBezTo>
                  <a:pt x="2607" y="946"/>
                  <a:pt x="2638" y="946"/>
                  <a:pt x="2655" y="946"/>
                </a:cubicBezTo>
                <a:cubicBezTo>
                  <a:pt x="2686" y="946"/>
                  <a:pt x="2702" y="946"/>
                  <a:pt x="2718" y="914"/>
                </a:cubicBezTo>
                <a:cubicBezTo>
                  <a:pt x="2846" y="771"/>
                  <a:pt x="2909" y="628"/>
                  <a:pt x="3100" y="484"/>
                </a:cubicBezTo>
                <a:cubicBezTo>
                  <a:pt x="3577" y="103"/>
                  <a:pt x="4325" y="55"/>
                  <a:pt x="4882" y="357"/>
                </a:cubicBezTo>
                <a:cubicBezTo>
                  <a:pt x="5359" y="612"/>
                  <a:pt x="5646" y="1152"/>
                  <a:pt x="5598" y="1677"/>
                </a:cubicBezTo>
                <a:cubicBezTo>
                  <a:pt x="5598" y="1694"/>
                  <a:pt x="5598" y="1773"/>
                  <a:pt x="5614" y="1916"/>
                </a:cubicBezTo>
                <a:cubicBezTo>
                  <a:pt x="5614" y="1948"/>
                  <a:pt x="5629" y="1980"/>
                  <a:pt x="5662" y="1996"/>
                </a:cubicBezTo>
                <a:cubicBezTo>
                  <a:pt x="5693" y="1996"/>
                  <a:pt x="6441" y="2266"/>
                  <a:pt x="6441" y="3109"/>
                </a:cubicBezTo>
                <a:cubicBezTo>
                  <a:pt x="6441" y="3857"/>
                  <a:pt x="5995" y="4303"/>
                  <a:pt x="5216" y="435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4" name="Freeform: Shape 10">
            <a:extLst>
              <a:ext uri="{FF2B5EF4-FFF2-40B4-BE49-F238E27FC236}">
                <a16:creationId xmlns:a16="http://schemas.microsoft.com/office/drawing/2014/main" id="{765FD655-68B4-044C-845A-CC0087EEF410}"/>
              </a:ext>
            </a:extLst>
          </p:cNvPr>
          <p:cNvSpPr/>
          <p:nvPr/>
        </p:nvSpPr>
        <p:spPr>
          <a:xfrm>
            <a:off x="17042920" y="6058763"/>
            <a:ext cx="2372760" cy="1787039"/>
          </a:xfrm>
          <a:custGeom>
            <a:avLst/>
            <a:gdLst/>
            <a:ahLst/>
            <a:cxnLst>
              <a:cxn ang="3cd4">
                <a:pos x="hc" y="t"/>
              </a:cxn>
              <a:cxn ang="cd2">
                <a:pos x="l" y="vc"/>
              </a:cxn>
              <a:cxn ang="cd4">
                <a:pos x="hc" y="b"/>
              </a:cxn>
              <a:cxn ang="0">
                <a:pos x="r" y="vc"/>
              </a:cxn>
            </a:cxnLst>
            <a:rect l="l" t="t" r="r" b="b"/>
            <a:pathLst>
              <a:path w="6592" h="4965">
                <a:moveTo>
                  <a:pt x="1611" y="2785"/>
                </a:moveTo>
                <a:lnTo>
                  <a:pt x="1611" y="4885"/>
                </a:lnTo>
                <a:cubicBezTo>
                  <a:pt x="1611" y="4933"/>
                  <a:pt x="1643" y="4965"/>
                  <a:pt x="1691" y="4965"/>
                </a:cubicBezTo>
                <a:lnTo>
                  <a:pt x="4937" y="4965"/>
                </a:lnTo>
                <a:cubicBezTo>
                  <a:pt x="4984" y="4965"/>
                  <a:pt x="5016" y="4933"/>
                  <a:pt x="5016" y="4885"/>
                </a:cubicBezTo>
                <a:lnTo>
                  <a:pt x="5016" y="2785"/>
                </a:lnTo>
                <a:cubicBezTo>
                  <a:pt x="5016" y="2738"/>
                  <a:pt x="4984" y="2705"/>
                  <a:pt x="4937" y="2705"/>
                </a:cubicBezTo>
                <a:lnTo>
                  <a:pt x="4635" y="2705"/>
                </a:lnTo>
                <a:lnTo>
                  <a:pt x="4348" y="2531"/>
                </a:lnTo>
                <a:cubicBezTo>
                  <a:pt x="4332" y="2515"/>
                  <a:pt x="4332" y="2515"/>
                  <a:pt x="4316" y="2515"/>
                </a:cubicBezTo>
                <a:lnTo>
                  <a:pt x="3648" y="2515"/>
                </a:lnTo>
                <a:cubicBezTo>
                  <a:pt x="3632" y="2515"/>
                  <a:pt x="3616" y="2515"/>
                  <a:pt x="3616" y="2531"/>
                </a:cubicBezTo>
                <a:lnTo>
                  <a:pt x="3314" y="2705"/>
                </a:lnTo>
                <a:lnTo>
                  <a:pt x="2598" y="2705"/>
                </a:lnTo>
                <a:cubicBezTo>
                  <a:pt x="2614" y="2690"/>
                  <a:pt x="2614" y="2674"/>
                  <a:pt x="2614" y="2658"/>
                </a:cubicBezTo>
                <a:cubicBezTo>
                  <a:pt x="2614" y="2626"/>
                  <a:pt x="2582" y="2578"/>
                  <a:pt x="2534" y="2578"/>
                </a:cubicBezTo>
                <a:lnTo>
                  <a:pt x="2153" y="2578"/>
                </a:lnTo>
                <a:cubicBezTo>
                  <a:pt x="2105" y="2578"/>
                  <a:pt x="2073" y="2626"/>
                  <a:pt x="2073" y="2658"/>
                </a:cubicBezTo>
                <a:cubicBezTo>
                  <a:pt x="2073" y="2674"/>
                  <a:pt x="2073" y="2690"/>
                  <a:pt x="2089" y="2705"/>
                </a:cubicBezTo>
                <a:lnTo>
                  <a:pt x="1691" y="2705"/>
                </a:lnTo>
                <a:cubicBezTo>
                  <a:pt x="1643" y="2705"/>
                  <a:pt x="1611" y="2738"/>
                  <a:pt x="1611" y="2785"/>
                </a:cubicBezTo>
                <a:close/>
                <a:moveTo>
                  <a:pt x="1771" y="2865"/>
                </a:moveTo>
                <a:lnTo>
                  <a:pt x="3346" y="2865"/>
                </a:lnTo>
                <a:cubicBezTo>
                  <a:pt x="3362" y="2865"/>
                  <a:pt x="3362" y="2865"/>
                  <a:pt x="3378" y="2849"/>
                </a:cubicBezTo>
                <a:lnTo>
                  <a:pt x="3680" y="2674"/>
                </a:lnTo>
                <a:lnTo>
                  <a:pt x="4284" y="2674"/>
                </a:lnTo>
                <a:lnTo>
                  <a:pt x="4571" y="2849"/>
                </a:lnTo>
                <a:cubicBezTo>
                  <a:pt x="4587" y="2865"/>
                  <a:pt x="4587" y="2865"/>
                  <a:pt x="4602" y="2865"/>
                </a:cubicBezTo>
                <a:lnTo>
                  <a:pt x="4857" y="2865"/>
                </a:lnTo>
                <a:lnTo>
                  <a:pt x="4857" y="4806"/>
                </a:lnTo>
                <a:lnTo>
                  <a:pt x="1771" y="4806"/>
                </a:lnTo>
                <a:close/>
                <a:moveTo>
                  <a:pt x="3505" y="3151"/>
                </a:moveTo>
                <a:cubicBezTo>
                  <a:pt x="3107" y="3151"/>
                  <a:pt x="2789" y="3469"/>
                  <a:pt x="2789" y="3867"/>
                </a:cubicBezTo>
                <a:cubicBezTo>
                  <a:pt x="2789" y="4265"/>
                  <a:pt x="3107" y="4599"/>
                  <a:pt x="3505" y="4599"/>
                </a:cubicBezTo>
                <a:cubicBezTo>
                  <a:pt x="3902" y="4599"/>
                  <a:pt x="4221" y="4265"/>
                  <a:pt x="4221" y="3867"/>
                </a:cubicBezTo>
                <a:cubicBezTo>
                  <a:pt x="4221" y="3469"/>
                  <a:pt x="3902" y="3151"/>
                  <a:pt x="3505" y="3151"/>
                </a:cubicBezTo>
                <a:close/>
                <a:moveTo>
                  <a:pt x="3505" y="4440"/>
                </a:moveTo>
                <a:cubicBezTo>
                  <a:pt x="3187" y="4440"/>
                  <a:pt x="2948" y="4185"/>
                  <a:pt x="2948" y="3867"/>
                </a:cubicBezTo>
                <a:cubicBezTo>
                  <a:pt x="2948" y="3565"/>
                  <a:pt x="3187" y="3310"/>
                  <a:pt x="3505" y="3310"/>
                </a:cubicBezTo>
                <a:cubicBezTo>
                  <a:pt x="3807" y="3310"/>
                  <a:pt x="4062" y="3565"/>
                  <a:pt x="4062" y="3867"/>
                </a:cubicBezTo>
                <a:cubicBezTo>
                  <a:pt x="4062" y="4185"/>
                  <a:pt x="3807" y="4440"/>
                  <a:pt x="3505" y="4440"/>
                </a:cubicBezTo>
                <a:close/>
                <a:moveTo>
                  <a:pt x="5764" y="1862"/>
                </a:moveTo>
                <a:lnTo>
                  <a:pt x="5764" y="1687"/>
                </a:lnTo>
                <a:cubicBezTo>
                  <a:pt x="5812" y="1099"/>
                  <a:pt x="5493" y="510"/>
                  <a:pt x="4953" y="208"/>
                </a:cubicBezTo>
                <a:cubicBezTo>
                  <a:pt x="4348" y="-110"/>
                  <a:pt x="3521" y="-63"/>
                  <a:pt x="2996" y="351"/>
                </a:cubicBezTo>
                <a:cubicBezTo>
                  <a:pt x="2853" y="462"/>
                  <a:pt x="2710" y="653"/>
                  <a:pt x="2646" y="749"/>
                </a:cubicBezTo>
                <a:cubicBezTo>
                  <a:pt x="2598" y="717"/>
                  <a:pt x="2534" y="669"/>
                  <a:pt x="2423" y="622"/>
                </a:cubicBezTo>
                <a:cubicBezTo>
                  <a:pt x="2041" y="431"/>
                  <a:pt x="1611" y="462"/>
                  <a:pt x="1262" y="701"/>
                </a:cubicBezTo>
                <a:cubicBezTo>
                  <a:pt x="911" y="940"/>
                  <a:pt x="720" y="1322"/>
                  <a:pt x="768" y="1719"/>
                </a:cubicBezTo>
                <a:lnTo>
                  <a:pt x="768" y="1862"/>
                </a:lnTo>
                <a:cubicBezTo>
                  <a:pt x="753" y="1878"/>
                  <a:pt x="737" y="1878"/>
                  <a:pt x="720" y="1894"/>
                </a:cubicBezTo>
                <a:cubicBezTo>
                  <a:pt x="609" y="1958"/>
                  <a:pt x="339" y="2101"/>
                  <a:pt x="148" y="2531"/>
                </a:cubicBezTo>
                <a:cubicBezTo>
                  <a:pt x="-154" y="3151"/>
                  <a:pt x="20" y="3867"/>
                  <a:pt x="546" y="4233"/>
                </a:cubicBezTo>
                <a:cubicBezTo>
                  <a:pt x="784" y="4408"/>
                  <a:pt x="1086" y="4519"/>
                  <a:pt x="1373" y="4519"/>
                </a:cubicBezTo>
                <a:cubicBezTo>
                  <a:pt x="1405" y="4519"/>
                  <a:pt x="1453" y="4472"/>
                  <a:pt x="1453" y="4440"/>
                </a:cubicBezTo>
                <a:cubicBezTo>
                  <a:pt x="1453" y="4392"/>
                  <a:pt x="1405" y="4360"/>
                  <a:pt x="1373" y="4360"/>
                </a:cubicBezTo>
                <a:cubicBezTo>
                  <a:pt x="1119" y="4360"/>
                  <a:pt x="848" y="4265"/>
                  <a:pt x="625" y="4106"/>
                </a:cubicBezTo>
                <a:cubicBezTo>
                  <a:pt x="180" y="3787"/>
                  <a:pt x="37" y="3135"/>
                  <a:pt x="291" y="2594"/>
                </a:cubicBezTo>
                <a:cubicBezTo>
                  <a:pt x="466" y="2228"/>
                  <a:pt x="689" y="2101"/>
                  <a:pt x="800" y="2037"/>
                </a:cubicBezTo>
                <a:cubicBezTo>
                  <a:pt x="864" y="2005"/>
                  <a:pt x="911" y="1974"/>
                  <a:pt x="928" y="1926"/>
                </a:cubicBezTo>
                <a:lnTo>
                  <a:pt x="928" y="1894"/>
                </a:lnTo>
                <a:lnTo>
                  <a:pt x="928" y="1704"/>
                </a:lnTo>
                <a:cubicBezTo>
                  <a:pt x="896" y="1353"/>
                  <a:pt x="1055" y="1035"/>
                  <a:pt x="1341" y="828"/>
                </a:cubicBezTo>
                <a:cubicBezTo>
                  <a:pt x="1659" y="622"/>
                  <a:pt x="2025" y="605"/>
                  <a:pt x="2359" y="765"/>
                </a:cubicBezTo>
                <a:cubicBezTo>
                  <a:pt x="2534" y="860"/>
                  <a:pt x="2518" y="871"/>
                  <a:pt x="2598" y="924"/>
                </a:cubicBezTo>
                <a:cubicBezTo>
                  <a:pt x="2614" y="940"/>
                  <a:pt x="2630" y="956"/>
                  <a:pt x="2662" y="956"/>
                </a:cubicBezTo>
                <a:cubicBezTo>
                  <a:pt x="2693" y="956"/>
                  <a:pt x="2710" y="940"/>
                  <a:pt x="2725" y="924"/>
                </a:cubicBezTo>
                <a:cubicBezTo>
                  <a:pt x="2725" y="908"/>
                  <a:pt x="2916" y="622"/>
                  <a:pt x="3091" y="478"/>
                </a:cubicBezTo>
                <a:cubicBezTo>
                  <a:pt x="3568" y="112"/>
                  <a:pt x="4332" y="49"/>
                  <a:pt x="4889" y="351"/>
                </a:cubicBezTo>
                <a:cubicBezTo>
                  <a:pt x="5366" y="605"/>
                  <a:pt x="5653" y="1147"/>
                  <a:pt x="5605" y="1671"/>
                </a:cubicBezTo>
                <a:lnTo>
                  <a:pt x="5605" y="1910"/>
                </a:lnTo>
                <a:cubicBezTo>
                  <a:pt x="5605" y="1958"/>
                  <a:pt x="5637" y="1974"/>
                  <a:pt x="5669" y="1990"/>
                </a:cubicBezTo>
                <a:cubicBezTo>
                  <a:pt x="5701" y="2005"/>
                  <a:pt x="6448" y="2276"/>
                  <a:pt x="6448" y="3104"/>
                </a:cubicBezTo>
                <a:cubicBezTo>
                  <a:pt x="6448" y="3851"/>
                  <a:pt x="5987" y="4313"/>
                  <a:pt x="5207" y="4360"/>
                </a:cubicBezTo>
                <a:cubicBezTo>
                  <a:pt x="5175" y="4360"/>
                  <a:pt x="5128" y="4392"/>
                  <a:pt x="5144" y="4440"/>
                </a:cubicBezTo>
                <a:cubicBezTo>
                  <a:pt x="5144" y="4472"/>
                  <a:pt x="5175" y="4519"/>
                  <a:pt x="5223" y="4519"/>
                </a:cubicBezTo>
                <a:cubicBezTo>
                  <a:pt x="6082" y="4472"/>
                  <a:pt x="6592" y="3947"/>
                  <a:pt x="6592" y="3104"/>
                </a:cubicBezTo>
                <a:cubicBezTo>
                  <a:pt x="6592" y="2292"/>
                  <a:pt x="5955" y="1942"/>
                  <a:pt x="5764" y="186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5" name="Freeform: Shape 11">
            <a:extLst>
              <a:ext uri="{FF2B5EF4-FFF2-40B4-BE49-F238E27FC236}">
                <a16:creationId xmlns:a16="http://schemas.microsoft.com/office/drawing/2014/main" id="{BB0E8A34-ECD3-7940-8F30-6CBCB4AF60D0}"/>
              </a:ext>
            </a:extLst>
          </p:cNvPr>
          <p:cNvSpPr/>
          <p:nvPr/>
        </p:nvSpPr>
        <p:spPr>
          <a:xfrm>
            <a:off x="13453818" y="6058763"/>
            <a:ext cx="2376000" cy="1832760"/>
          </a:xfrm>
          <a:custGeom>
            <a:avLst/>
            <a:gdLst/>
            <a:ahLst/>
            <a:cxnLst>
              <a:cxn ang="3cd4">
                <a:pos x="hc" y="t"/>
              </a:cxn>
              <a:cxn ang="cd2">
                <a:pos x="l" y="vc"/>
              </a:cxn>
              <a:cxn ang="cd4">
                <a:pos x="hc" y="b"/>
              </a:cxn>
              <a:cxn ang="0">
                <a:pos x="r" y="vc"/>
              </a:cxn>
            </a:cxnLst>
            <a:rect l="l" t="t" r="r" b="b"/>
            <a:pathLst>
              <a:path w="6601" h="5092">
                <a:moveTo>
                  <a:pt x="1971" y="2642"/>
                </a:moveTo>
                <a:cubicBezTo>
                  <a:pt x="1923" y="2642"/>
                  <a:pt x="1891" y="2674"/>
                  <a:pt x="1891" y="2722"/>
                </a:cubicBezTo>
                <a:lnTo>
                  <a:pt x="1891" y="5013"/>
                </a:lnTo>
                <a:cubicBezTo>
                  <a:pt x="1891" y="5060"/>
                  <a:pt x="1923" y="5092"/>
                  <a:pt x="1971" y="5092"/>
                </a:cubicBezTo>
                <a:lnTo>
                  <a:pt x="4643" y="5092"/>
                </a:lnTo>
                <a:cubicBezTo>
                  <a:pt x="4691" y="5092"/>
                  <a:pt x="4723" y="5060"/>
                  <a:pt x="4723" y="5013"/>
                </a:cubicBezTo>
                <a:lnTo>
                  <a:pt x="4723" y="2722"/>
                </a:lnTo>
                <a:cubicBezTo>
                  <a:pt x="4723" y="2674"/>
                  <a:pt x="4691" y="2642"/>
                  <a:pt x="4643" y="2642"/>
                </a:cubicBezTo>
                <a:close/>
                <a:moveTo>
                  <a:pt x="4564" y="4933"/>
                </a:moveTo>
                <a:lnTo>
                  <a:pt x="2050" y="4933"/>
                </a:lnTo>
                <a:lnTo>
                  <a:pt x="2050" y="2801"/>
                </a:lnTo>
                <a:lnTo>
                  <a:pt x="4564" y="2801"/>
                </a:lnTo>
                <a:close/>
                <a:moveTo>
                  <a:pt x="2655" y="3644"/>
                </a:moveTo>
                <a:cubicBezTo>
                  <a:pt x="2829" y="3644"/>
                  <a:pt x="2973" y="3501"/>
                  <a:pt x="2973" y="3326"/>
                </a:cubicBezTo>
                <a:cubicBezTo>
                  <a:pt x="2973" y="3151"/>
                  <a:pt x="2829" y="3008"/>
                  <a:pt x="2655" y="3008"/>
                </a:cubicBezTo>
                <a:cubicBezTo>
                  <a:pt x="2480" y="3008"/>
                  <a:pt x="2337" y="3151"/>
                  <a:pt x="2337" y="3326"/>
                </a:cubicBezTo>
                <a:cubicBezTo>
                  <a:pt x="2337" y="3501"/>
                  <a:pt x="2480" y="3644"/>
                  <a:pt x="2655" y="3644"/>
                </a:cubicBezTo>
                <a:close/>
                <a:moveTo>
                  <a:pt x="2655" y="3167"/>
                </a:moveTo>
                <a:cubicBezTo>
                  <a:pt x="2750" y="3167"/>
                  <a:pt x="2814" y="3247"/>
                  <a:pt x="2814" y="3326"/>
                </a:cubicBezTo>
                <a:cubicBezTo>
                  <a:pt x="2814" y="3422"/>
                  <a:pt x="2750" y="3485"/>
                  <a:pt x="2655" y="3485"/>
                </a:cubicBezTo>
                <a:cubicBezTo>
                  <a:pt x="2575" y="3485"/>
                  <a:pt x="2495" y="3422"/>
                  <a:pt x="2495" y="3326"/>
                </a:cubicBezTo>
                <a:cubicBezTo>
                  <a:pt x="2495" y="3247"/>
                  <a:pt x="2575" y="3167"/>
                  <a:pt x="2655" y="3167"/>
                </a:cubicBezTo>
                <a:close/>
                <a:moveTo>
                  <a:pt x="2400" y="4710"/>
                </a:moveTo>
                <a:lnTo>
                  <a:pt x="4198" y="4710"/>
                </a:lnTo>
                <a:cubicBezTo>
                  <a:pt x="4214" y="4710"/>
                  <a:pt x="4246" y="4710"/>
                  <a:pt x="4262" y="4695"/>
                </a:cubicBezTo>
                <a:cubicBezTo>
                  <a:pt x="4277" y="4663"/>
                  <a:pt x="4277" y="4647"/>
                  <a:pt x="4277" y="4615"/>
                </a:cubicBezTo>
                <a:lnTo>
                  <a:pt x="4039" y="3501"/>
                </a:lnTo>
                <a:cubicBezTo>
                  <a:pt x="4023" y="3469"/>
                  <a:pt x="4007" y="3438"/>
                  <a:pt x="3975" y="3438"/>
                </a:cubicBezTo>
                <a:cubicBezTo>
                  <a:pt x="3943" y="3438"/>
                  <a:pt x="3911" y="3438"/>
                  <a:pt x="3896" y="3469"/>
                </a:cubicBezTo>
                <a:lnTo>
                  <a:pt x="3339" y="4122"/>
                </a:lnTo>
                <a:lnTo>
                  <a:pt x="2734" y="3899"/>
                </a:lnTo>
                <a:cubicBezTo>
                  <a:pt x="2686" y="3883"/>
                  <a:pt x="2639" y="3899"/>
                  <a:pt x="2623" y="3931"/>
                </a:cubicBezTo>
                <a:lnTo>
                  <a:pt x="2337" y="4599"/>
                </a:lnTo>
                <a:cubicBezTo>
                  <a:pt x="2320" y="4631"/>
                  <a:pt x="2320" y="4663"/>
                  <a:pt x="2337" y="4678"/>
                </a:cubicBezTo>
                <a:cubicBezTo>
                  <a:pt x="2352" y="4695"/>
                  <a:pt x="2368" y="4710"/>
                  <a:pt x="2400" y="4710"/>
                </a:cubicBezTo>
                <a:close/>
                <a:moveTo>
                  <a:pt x="2750" y="4074"/>
                </a:moveTo>
                <a:lnTo>
                  <a:pt x="3323" y="4281"/>
                </a:lnTo>
                <a:cubicBezTo>
                  <a:pt x="3355" y="4296"/>
                  <a:pt x="3402" y="4296"/>
                  <a:pt x="3419" y="4265"/>
                </a:cubicBezTo>
                <a:lnTo>
                  <a:pt x="3911" y="3692"/>
                </a:lnTo>
                <a:lnTo>
                  <a:pt x="4102" y="4551"/>
                </a:lnTo>
                <a:lnTo>
                  <a:pt x="2528" y="4551"/>
                </a:lnTo>
                <a:close/>
                <a:moveTo>
                  <a:pt x="1446" y="4440"/>
                </a:moveTo>
                <a:cubicBezTo>
                  <a:pt x="1446" y="4392"/>
                  <a:pt x="1414" y="4360"/>
                  <a:pt x="1366" y="4360"/>
                </a:cubicBezTo>
                <a:cubicBezTo>
                  <a:pt x="1111" y="4360"/>
                  <a:pt x="841" y="4265"/>
                  <a:pt x="634" y="4106"/>
                </a:cubicBezTo>
                <a:cubicBezTo>
                  <a:pt x="173" y="3787"/>
                  <a:pt x="29" y="3135"/>
                  <a:pt x="284" y="2594"/>
                </a:cubicBezTo>
                <a:cubicBezTo>
                  <a:pt x="459" y="2228"/>
                  <a:pt x="682" y="2101"/>
                  <a:pt x="793" y="2037"/>
                </a:cubicBezTo>
                <a:cubicBezTo>
                  <a:pt x="857" y="2005"/>
                  <a:pt x="904" y="1974"/>
                  <a:pt x="920" y="1926"/>
                </a:cubicBezTo>
                <a:lnTo>
                  <a:pt x="920" y="1894"/>
                </a:lnTo>
                <a:lnTo>
                  <a:pt x="920" y="1704"/>
                </a:lnTo>
                <a:cubicBezTo>
                  <a:pt x="889" y="1353"/>
                  <a:pt x="1048" y="1035"/>
                  <a:pt x="1334" y="828"/>
                </a:cubicBezTo>
                <a:cubicBezTo>
                  <a:pt x="1652" y="622"/>
                  <a:pt x="2018" y="605"/>
                  <a:pt x="2352" y="765"/>
                </a:cubicBezTo>
                <a:cubicBezTo>
                  <a:pt x="2528" y="860"/>
                  <a:pt x="2511" y="871"/>
                  <a:pt x="2591" y="924"/>
                </a:cubicBezTo>
                <a:cubicBezTo>
                  <a:pt x="2607" y="940"/>
                  <a:pt x="2639" y="956"/>
                  <a:pt x="2655" y="956"/>
                </a:cubicBezTo>
                <a:cubicBezTo>
                  <a:pt x="2686" y="956"/>
                  <a:pt x="2702" y="940"/>
                  <a:pt x="2718" y="924"/>
                </a:cubicBezTo>
                <a:cubicBezTo>
                  <a:pt x="2718" y="908"/>
                  <a:pt x="2909" y="622"/>
                  <a:pt x="3084" y="478"/>
                </a:cubicBezTo>
                <a:cubicBezTo>
                  <a:pt x="3577" y="112"/>
                  <a:pt x="4325" y="49"/>
                  <a:pt x="4882" y="351"/>
                </a:cubicBezTo>
                <a:cubicBezTo>
                  <a:pt x="5359" y="605"/>
                  <a:pt x="5646" y="1147"/>
                  <a:pt x="5598" y="1671"/>
                </a:cubicBezTo>
                <a:lnTo>
                  <a:pt x="5598" y="1910"/>
                </a:lnTo>
                <a:cubicBezTo>
                  <a:pt x="5598" y="1958"/>
                  <a:pt x="5630" y="1974"/>
                  <a:pt x="5662" y="1990"/>
                </a:cubicBezTo>
                <a:cubicBezTo>
                  <a:pt x="5693" y="2005"/>
                  <a:pt x="6441" y="2276"/>
                  <a:pt x="6441" y="3104"/>
                </a:cubicBezTo>
                <a:cubicBezTo>
                  <a:pt x="6441" y="3851"/>
                  <a:pt x="5996" y="4313"/>
                  <a:pt x="5200" y="4360"/>
                </a:cubicBezTo>
                <a:cubicBezTo>
                  <a:pt x="5168" y="4360"/>
                  <a:pt x="5136" y="4392"/>
                  <a:pt x="5136" y="4440"/>
                </a:cubicBezTo>
                <a:cubicBezTo>
                  <a:pt x="5136" y="4472"/>
                  <a:pt x="5168" y="4519"/>
                  <a:pt x="5216" y="4519"/>
                </a:cubicBezTo>
                <a:cubicBezTo>
                  <a:pt x="6075" y="4472"/>
                  <a:pt x="6601" y="3947"/>
                  <a:pt x="6601" y="3104"/>
                </a:cubicBezTo>
                <a:cubicBezTo>
                  <a:pt x="6601" y="2292"/>
                  <a:pt x="5948" y="1942"/>
                  <a:pt x="5757" y="1862"/>
                </a:cubicBezTo>
                <a:lnTo>
                  <a:pt x="5757" y="1687"/>
                </a:lnTo>
                <a:cubicBezTo>
                  <a:pt x="5805" y="1099"/>
                  <a:pt x="5487" y="510"/>
                  <a:pt x="4962" y="208"/>
                </a:cubicBezTo>
                <a:cubicBezTo>
                  <a:pt x="4341" y="-110"/>
                  <a:pt x="3529" y="-63"/>
                  <a:pt x="2989" y="351"/>
                </a:cubicBezTo>
                <a:cubicBezTo>
                  <a:pt x="2846" y="462"/>
                  <a:pt x="2702" y="653"/>
                  <a:pt x="2639" y="749"/>
                </a:cubicBezTo>
                <a:cubicBezTo>
                  <a:pt x="2591" y="717"/>
                  <a:pt x="2528" y="669"/>
                  <a:pt x="2416" y="622"/>
                </a:cubicBezTo>
                <a:cubicBezTo>
                  <a:pt x="2050" y="431"/>
                  <a:pt x="1605" y="462"/>
                  <a:pt x="1255" y="701"/>
                </a:cubicBezTo>
                <a:cubicBezTo>
                  <a:pt x="904" y="940"/>
                  <a:pt x="729" y="1322"/>
                  <a:pt x="761" y="1719"/>
                </a:cubicBezTo>
                <a:lnTo>
                  <a:pt x="761" y="1862"/>
                </a:lnTo>
                <a:cubicBezTo>
                  <a:pt x="746" y="1878"/>
                  <a:pt x="729" y="1878"/>
                  <a:pt x="714" y="1894"/>
                </a:cubicBezTo>
                <a:cubicBezTo>
                  <a:pt x="602" y="1958"/>
                  <a:pt x="332" y="2101"/>
                  <a:pt x="141" y="2531"/>
                </a:cubicBezTo>
                <a:cubicBezTo>
                  <a:pt x="-145" y="3151"/>
                  <a:pt x="14" y="3867"/>
                  <a:pt x="538" y="4233"/>
                </a:cubicBezTo>
                <a:cubicBezTo>
                  <a:pt x="777" y="4408"/>
                  <a:pt x="1080" y="4519"/>
                  <a:pt x="1366" y="4519"/>
                </a:cubicBezTo>
                <a:cubicBezTo>
                  <a:pt x="1414" y="4519"/>
                  <a:pt x="1446" y="4472"/>
                  <a:pt x="1446" y="44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220432880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Things - 1</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41" name="TextBox 40">
            <a:extLst>
              <a:ext uri="{FF2B5EF4-FFF2-40B4-BE49-F238E27FC236}">
                <a16:creationId xmlns:a16="http://schemas.microsoft.com/office/drawing/2014/main" id="{940699E6-EA88-014F-A7B8-DD7C4D28D8DA}"/>
              </a:ext>
            </a:extLst>
          </p:cNvPr>
          <p:cNvSpPr txBox="1"/>
          <p:nvPr/>
        </p:nvSpPr>
        <p:spPr>
          <a:xfrm>
            <a:off x="1245460" y="5164929"/>
            <a:ext cx="276774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ullseye</a:t>
            </a:r>
          </a:p>
        </p:txBody>
      </p:sp>
      <p:sp>
        <p:nvSpPr>
          <p:cNvPr id="42" name="TextBox 41">
            <a:extLst>
              <a:ext uri="{FF2B5EF4-FFF2-40B4-BE49-F238E27FC236}">
                <a16:creationId xmlns:a16="http://schemas.microsoft.com/office/drawing/2014/main" id="{DC7B3947-3A59-124B-B201-5FBD9385691E}"/>
              </a:ext>
            </a:extLst>
          </p:cNvPr>
          <p:cNvSpPr txBox="1"/>
          <p:nvPr/>
        </p:nvSpPr>
        <p:spPr>
          <a:xfrm>
            <a:off x="5306606" y="5164929"/>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ompass</a:t>
            </a:r>
          </a:p>
        </p:txBody>
      </p:sp>
      <p:sp>
        <p:nvSpPr>
          <p:cNvPr id="44" name="TextBox 43">
            <a:extLst>
              <a:ext uri="{FF2B5EF4-FFF2-40B4-BE49-F238E27FC236}">
                <a16:creationId xmlns:a16="http://schemas.microsoft.com/office/drawing/2014/main" id="{7DC07E6B-2A05-FF41-98D1-1BF0D2428525}"/>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PS</a:t>
            </a:r>
          </a:p>
        </p:txBody>
      </p:sp>
      <p:sp>
        <p:nvSpPr>
          <p:cNvPr id="45" name="TextBox 44">
            <a:extLst>
              <a:ext uri="{FF2B5EF4-FFF2-40B4-BE49-F238E27FC236}">
                <a16:creationId xmlns:a16="http://schemas.microsoft.com/office/drawing/2014/main" id="{D0D95CD7-9563-384B-BE98-40FCF7548A66}"/>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ands Shaking</a:t>
            </a:r>
          </a:p>
        </p:txBody>
      </p:sp>
      <p:sp>
        <p:nvSpPr>
          <p:cNvPr id="46" name="TextBox 45">
            <a:extLst>
              <a:ext uri="{FF2B5EF4-FFF2-40B4-BE49-F238E27FC236}">
                <a16:creationId xmlns:a16="http://schemas.microsoft.com/office/drawing/2014/main" id="{7796AB8A-34E9-2C4E-8062-A626BC05ED35}"/>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atch</a:t>
            </a:r>
          </a:p>
        </p:txBody>
      </p:sp>
      <p:sp>
        <p:nvSpPr>
          <p:cNvPr id="54" name="TextBox 53">
            <a:extLst>
              <a:ext uri="{FF2B5EF4-FFF2-40B4-BE49-F238E27FC236}">
                <a16:creationId xmlns:a16="http://schemas.microsoft.com/office/drawing/2014/main" id="{1E35AF99-7A30-CD46-912D-DF1B237C144A}"/>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ike</a:t>
            </a:r>
          </a:p>
        </p:txBody>
      </p:sp>
      <p:sp>
        <p:nvSpPr>
          <p:cNvPr id="55" name="TextBox 54">
            <a:extLst>
              <a:ext uri="{FF2B5EF4-FFF2-40B4-BE49-F238E27FC236}">
                <a16:creationId xmlns:a16="http://schemas.microsoft.com/office/drawing/2014/main" id="{27D5841F-9ACE-7E49-B0A6-97A3CB87A6A5}"/>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edia Play</a:t>
            </a:r>
          </a:p>
        </p:txBody>
      </p:sp>
      <p:sp>
        <p:nvSpPr>
          <p:cNvPr id="56" name="TextBox 55">
            <a:extLst>
              <a:ext uri="{FF2B5EF4-FFF2-40B4-BE49-F238E27FC236}">
                <a16:creationId xmlns:a16="http://schemas.microsoft.com/office/drawing/2014/main" id="{52B42798-C106-7347-B03A-58C6D373C9E3}"/>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edia</a:t>
            </a:r>
          </a:p>
        </p:txBody>
      </p:sp>
      <p:sp>
        <p:nvSpPr>
          <p:cNvPr id="57" name="TextBox 56">
            <a:extLst>
              <a:ext uri="{FF2B5EF4-FFF2-40B4-BE49-F238E27FC236}">
                <a16:creationId xmlns:a16="http://schemas.microsoft.com/office/drawing/2014/main" id="{CEE47A76-8EBC-3E44-BC8B-5D2457F4864C}"/>
              </a:ext>
            </a:extLst>
          </p:cNvPr>
          <p:cNvSpPr txBox="1"/>
          <p:nvPr/>
        </p:nvSpPr>
        <p:spPr>
          <a:xfrm>
            <a:off x="13226552" y="8292956"/>
            <a:ext cx="311233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onitor</a:t>
            </a:r>
          </a:p>
        </p:txBody>
      </p:sp>
      <p:sp>
        <p:nvSpPr>
          <p:cNvPr id="58" name="TextBox 57">
            <a:extLst>
              <a:ext uri="{FF2B5EF4-FFF2-40B4-BE49-F238E27FC236}">
                <a16:creationId xmlns:a16="http://schemas.microsoft.com/office/drawing/2014/main" id="{55C1B79E-51DB-494E-94B2-08CA7AEE1C66}"/>
              </a:ext>
            </a:extLst>
          </p:cNvPr>
          <p:cNvSpPr txBox="1"/>
          <p:nvPr/>
        </p:nvSpPr>
        <p:spPr>
          <a:xfrm>
            <a:off x="20572486" y="8292956"/>
            <a:ext cx="2965940"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rocess Order re-order</a:t>
            </a:r>
          </a:p>
        </p:txBody>
      </p:sp>
      <p:sp>
        <p:nvSpPr>
          <p:cNvPr id="59" name="TextBox 58">
            <a:extLst>
              <a:ext uri="{FF2B5EF4-FFF2-40B4-BE49-F238E27FC236}">
                <a16:creationId xmlns:a16="http://schemas.microsoft.com/office/drawing/2014/main" id="{6F6984F2-4AC4-2C4C-9BE1-3C606D249696}"/>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rocess</a:t>
            </a:r>
          </a:p>
        </p:txBody>
      </p:sp>
      <p:sp>
        <p:nvSpPr>
          <p:cNvPr id="60" name="TextBox 59">
            <a:extLst>
              <a:ext uri="{FF2B5EF4-FFF2-40B4-BE49-F238E27FC236}">
                <a16:creationId xmlns:a16="http://schemas.microsoft.com/office/drawing/2014/main" id="{73B6CA48-0414-0E47-ACBC-E0AD5FD7DD1F}"/>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roduct</a:t>
            </a:r>
          </a:p>
        </p:txBody>
      </p:sp>
      <p:sp>
        <p:nvSpPr>
          <p:cNvPr id="61" name="TextBox 60">
            <a:extLst>
              <a:ext uri="{FF2B5EF4-FFF2-40B4-BE49-F238E27FC236}">
                <a16:creationId xmlns:a16="http://schemas.microsoft.com/office/drawing/2014/main" id="{5B30B081-5C3F-E04D-8345-5392391C8879}"/>
              </a:ext>
            </a:extLst>
          </p:cNvPr>
          <p:cNvSpPr txBox="1"/>
          <p:nvPr/>
        </p:nvSpPr>
        <p:spPr>
          <a:xfrm>
            <a:off x="9013116"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roduct 2</a:t>
            </a:r>
          </a:p>
        </p:txBody>
      </p:sp>
      <p:sp>
        <p:nvSpPr>
          <p:cNvPr id="62" name="TextBox 61">
            <a:extLst>
              <a:ext uri="{FF2B5EF4-FFF2-40B4-BE49-F238E27FC236}">
                <a16:creationId xmlns:a16="http://schemas.microsoft.com/office/drawing/2014/main" id="{9A06B8CD-9E61-104A-9A06-58984C33E2A7}"/>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uzzle Join</a:t>
            </a:r>
          </a:p>
        </p:txBody>
      </p:sp>
      <p:sp>
        <p:nvSpPr>
          <p:cNvPr id="63" name="TextBox 62">
            <a:extLst>
              <a:ext uri="{FF2B5EF4-FFF2-40B4-BE49-F238E27FC236}">
                <a16:creationId xmlns:a16="http://schemas.microsoft.com/office/drawing/2014/main" id="{6F09988F-2D12-6449-A03B-72EF8D333E90}"/>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estaurant</a:t>
            </a:r>
          </a:p>
        </p:txBody>
      </p:sp>
      <p:sp>
        <p:nvSpPr>
          <p:cNvPr id="64" name="Freeform: Shape 26">
            <a:extLst>
              <a:ext uri="{FF2B5EF4-FFF2-40B4-BE49-F238E27FC236}">
                <a16:creationId xmlns:a16="http://schemas.microsoft.com/office/drawing/2014/main" id="{54A953D0-4D23-A74E-84D9-23C37E74798E}"/>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5" name="TextBox 64">
            <a:extLst>
              <a:ext uri="{FF2B5EF4-FFF2-40B4-BE49-F238E27FC236}">
                <a16:creationId xmlns:a16="http://schemas.microsoft.com/office/drawing/2014/main" id="{DA85B77A-3EAB-9F42-A13D-B2004DD8AEC4}"/>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dea</a:t>
            </a:r>
          </a:p>
        </p:txBody>
      </p:sp>
      <p:sp>
        <p:nvSpPr>
          <p:cNvPr id="66" name="TextBox 65">
            <a:extLst>
              <a:ext uri="{FF2B5EF4-FFF2-40B4-BE49-F238E27FC236}">
                <a16:creationId xmlns:a16="http://schemas.microsoft.com/office/drawing/2014/main" id="{56FC7740-7249-9B4B-8ED5-BFC4AC8E2B77}"/>
              </a:ext>
            </a:extLst>
          </p:cNvPr>
          <p:cNvSpPr txBox="1"/>
          <p:nvPr/>
        </p:nvSpPr>
        <p:spPr>
          <a:xfrm>
            <a:off x="16572753" y="8292956"/>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ulti Media</a:t>
            </a:r>
          </a:p>
        </p:txBody>
      </p:sp>
      <p:sp>
        <p:nvSpPr>
          <p:cNvPr id="67" name="TextBox 66">
            <a:extLst>
              <a:ext uri="{FF2B5EF4-FFF2-40B4-BE49-F238E27FC236}">
                <a16:creationId xmlns:a16="http://schemas.microsoft.com/office/drawing/2014/main" id="{6D17FA17-E4E3-7E4C-93B2-03EF60E68767}"/>
              </a:ext>
            </a:extLst>
          </p:cNvPr>
          <p:cNvSpPr txBox="1"/>
          <p:nvPr/>
        </p:nvSpPr>
        <p:spPr>
          <a:xfrm>
            <a:off x="16453702" y="11657695"/>
            <a:ext cx="3729140"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epair Working Utilities Utility </a:t>
            </a:r>
          </a:p>
        </p:txBody>
      </p:sp>
      <p:sp>
        <p:nvSpPr>
          <p:cNvPr id="68" name="Freeform: Shape 1">
            <a:extLst>
              <a:ext uri="{FF2B5EF4-FFF2-40B4-BE49-F238E27FC236}">
                <a16:creationId xmlns:a16="http://schemas.microsoft.com/office/drawing/2014/main" id="{D09983DE-60CC-8647-A923-858DD1CA4260}"/>
              </a:ext>
            </a:extLst>
          </p:cNvPr>
          <p:cNvSpPr/>
          <p:nvPr/>
        </p:nvSpPr>
        <p:spPr>
          <a:xfrm>
            <a:off x="1848084" y="3222121"/>
            <a:ext cx="1620360" cy="1620360"/>
          </a:xfrm>
          <a:custGeom>
            <a:avLst/>
            <a:gdLst/>
            <a:ahLst/>
            <a:cxnLst>
              <a:cxn ang="3cd4">
                <a:pos x="hc" y="t"/>
              </a:cxn>
              <a:cxn ang="cd2">
                <a:pos x="l" y="vc"/>
              </a:cxn>
              <a:cxn ang="cd4">
                <a:pos x="hc" y="b"/>
              </a:cxn>
              <a:cxn ang="0">
                <a:pos x="r" y="vc"/>
              </a:cxn>
            </a:cxnLst>
            <a:rect l="l" t="t" r="r" b="b"/>
            <a:pathLst>
              <a:path w="4502" h="4502">
                <a:moveTo>
                  <a:pt x="2259" y="0"/>
                </a:moveTo>
                <a:cubicBezTo>
                  <a:pt x="2211" y="0"/>
                  <a:pt x="2179" y="48"/>
                  <a:pt x="2179" y="80"/>
                </a:cubicBezTo>
                <a:cubicBezTo>
                  <a:pt x="2179" y="286"/>
                  <a:pt x="2179" y="286"/>
                  <a:pt x="2179" y="286"/>
                </a:cubicBezTo>
                <a:cubicBezTo>
                  <a:pt x="1145" y="334"/>
                  <a:pt x="334" y="1162"/>
                  <a:pt x="286" y="2180"/>
                </a:cubicBezTo>
                <a:cubicBezTo>
                  <a:pt x="79" y="2180"/>
                  <a:pt x="79" y="2180"/>
                  <a:pt x="79" y="2180"/>
                </a:cubicBezTo>
                <a:cubicBezTo>
                  <a:pt x="32" y="2180"/>
                  <a:pt x="0" y="2211"/>
                  <a:pt x="0" y="2259"/>
                </a:cubicBezTo>
                <a:cubicBezTo>
                  <a:pt x="0" y="2307"/>
                  <a:pt x="32" y="2339"/>
                  <a:pt x="79" y="2339"/>
                </a:cubicBezTo>
                <a:cubicBezTo>
                  <a:pt x="286" y="2339"/>
                  <a:pt x="286" y="2339"/>
                  <a:pt x="286" y="2339"/>
                </a:cubicBezTo>
                <a:cubicBezTo>
                  <a:pt x="334" y="3357"/>
                  <a:pt x="1145" y="4184"/>
                  <a:pt x="2179" y="4216"/>
                </a:cubicBezTo>
                <a:cubicBezTo>
                  <a:pt x="2179" y="4423"/>
                  <a:pt x="2179" y="4423"/>
                  <a:pt x="2179" y="4423"/>
                </a:cubicBezTo>
                <a:cubicBezTo>
                  <a:pt x="2179" y="4471"/>
                  <a:pt x="2211" y="4502"/>
                  <a:pt x="2259" y="4502"/>
                </a:cubicBezTo>
                <a:cubicBezTo>
                  <a:pt x="2291" y="4502"/>
                  <a:pt x="2339" y="4471"/>
                  <a:pt x="2339" y="4423"/>
                </a:cubicBezTo>
                <a:cubicBezTo>
                  <a:pt x="2339" y="4216"/>
                  <a:pt x="2339" y="4216"/>
                  <a:pt x="2339" y="4216"/>
                </a:cubicBezTo>
                <a:cubicBezTo>
                  <a:pt x="3357" y="4184"/>
                  <a:pt x="4184" y="3357"/>
                  <a:pt x="4216" y="2339"/>
                </a:cubicBezTo>
                <a:cubicBezTo>
                  <a:pt x="4423" y="2339"/>
                  <a:pt x="4423" y="2339"/>
                  <a:pt x="4423" y="2339"/>
                </a:cubicBezTo>
                <a:cubicBezTo>
                  <a:pt x="4470" y="2339"/>
                  <a:pt x="4502" y="2307"/>
                  <a:pt x="4502" y="2259"/>
                </a:cubicBezTo>
                <a:cubicBezTo>
                  <a:pt x="4502" y="2211"/>
                  <a:pt x="4470" y="2180"/>
                  <a:pt x="4423" y="2180"/>
                </a:cubicBezTo>
                <a:cubicBezTo>
                  <a:pt x="4216" y="2180"/>
                  <a:pt x="4216" y="2180"/>
                  <a:pt x="4216" y="2180"/>
                </a:cubicBezTo>
                <a:cubicBezTo>
                  <a:pt x="4184" y="1162"/>
                  <a:pt x="3357" y="334"/>
                  <a:pt x="2339" y="286"/>
                </a:cubicBezTo>
                <a:cubicBezTo>
                  <a:pt x="2339" y="80"/>
                  <a:pt x="2339" y="80"/>
                  <a:pt x="2339" y="80"/>
                </a:cubicBezTo>
                <a:cubicBezTo>
                  <a:pt x="2339" y="48"/>
                  <a:pt x="2291" y="0"/>
                  <a:pt x="2259" y="0"/>
                </a:cubicBezTo>
                <a:close/>
                <a:moveTo>
                  <a:pt x="2179" y="445"/>
                </a:moveTo>
                <a:cubicBezTo>
                  <a:pt x="2179" y="2180"/>
                  <a:pt x="2179" y="2180"/>
                  <a:pt x="2179" y="2180"/>
                </a:cubicBezTo>
                <a:cubicBezTo>
                  <a:pt x="445" y="2180"/>
                  <a:pt x="445" y="2180"/>
                  <a:pt x="445" y="2180"/>
                </a:cubicBezTo>
                <a:cubicBezTo>
                  <a:pt x="493" y="1241"/>
                  <a:pt x="1241" y="493"/>
                  <a:pt x="2179" y="445"/>
                </a:cubicBezTo>
                <a:close/>
                <a:moveTo>
                  <a:pt x="445" y="2339"/>
                </a:moveTo>
                <a:cubicBezTo>
                  <a:pt x="2179" y="2339"/>
                  <a:pt x="2179" y="2339"/>
                  <a:pt x="2179" y="2339"/>
                </a:cubicBezTo>
                <a:cubicBezTo>
                  <a:pt x="2179" y="4057"/>
                  <a:pt x="2179" y="4057"/>
                  <a:pt x="2179" y="4057"/>
                </a:cubicBezTo>
                <a:cubicBezTo>
                  <a:pt x="1241" y="4025"/>
                  <a:pt x="493" y="3277"/>
                  <a:pt x="445" y="2339"/>
                </a:cubicBezTo>
                <a:close/>
                <a:moveTo>
                  <a:pt x="2339" y="4057"/>
                </a:moveTo>
                <a:cubicBezTo>
                  <a:pt x="2339" y="2339"/>
                  <a:pt x="2339" y="2339"/>
                  <a:pt x="2339" y="2339"/>
                </a:cubicBezTo>
                <a:cubicBezTo>
                  <a:pt x="4057" y="2339"/>
                  <a:pt x="4057" y="2339"/>
                  <a:pt x="4057" y="2339"/>
                </a:cubicBezTo>
                <a:cubicBezTo>
                  <a:pt x="4025" y="3277"/>
                  <a:pt x="3261" y="4025"/>
                  <a:pt x="2339" y="4057"/>
                </a:cubicBezTo>
                <a:close/>
                <a:moveTo>
                  <a:pt x="4057" y="2180"/>
                </a:moveTo>
                <a:cubicBezTo>
                  <a:pt x="2339" y="2180"/>
                  <a:pt x="2339" y="2180"/>
                  <a:pt x="2339" y="2180"/>
                </a:cubicBezTo>
                <a:cubicBezTo>
                  <a:pt x="2339" y="445"/>
                  <a:pt x="2339" y="445"/>
                  <a:pt x="2339" y="445"/>
                </a:cubicBezTo>
                <a:cubicBezTo>
                  <a:pt x="3261" y="493"/>
                  <a:pt x="4025" y="1241"/>
                  <a:pt x="4057" y="218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9" name="Freeform: Shape 2">
            <a:extLst>
              <a:ext uri="{FF2B5EF4-FFF2-40B4-BE49-F238E27FC236}">
                <a16:creationId xmlns:a16="http://schemas.microsoft.com/office/drawing/2014/main" id="{87A543A1-60BA-0B41-93AA-474050F3EA53}"/>
              </a:ext>
            </a:extLst>
          </p:cNvPr>
          <p:cNvSpPr/>
          <p:nvPr/>
        </p:nvSpPr>
        <p:spPr>
          <a:xfrm>
            <a:off x="6048557" y="3250921"/>
            <a:ext cx="1563119" cy="1563119"/>
          </a:xfrm>
          <a:custGeom>
            <a:avLst/>
            <a:gdLst/>
            <a:ahLst/>
            <a:cxnLst>
              <a:cxn ang="3cd4">
                <a:pos x="hc" y="t"/>
              </a:cxn>
              <a:cxn ang="cd2">
                <a:pos x="l" y="vc"/>
              </a:cxn>
              <a:cxn ang="cd4">
                <a:pos x="hc" y="b"/>
              </a:cxn>
              <a:cxn ang="0">
                <a:pos x="r" y="vc"/>
              </a:cxn>
            </a:cxnLst>
            <a:rect l="l" t="t" r="r" b="b"/>
            <a:pathLst>
              <a:path w="4343" h="4343">
                <a:moveTo>
                  <a:pt x="2164" y="0"/>
                </a:moveTo>
                <a:cubicBezTo>
                  <a:pt x="970" y="0"/>
                  <a:pt x="0" y="970"/>
                  <a:pt x="0" y="2179"/>
                </a:cubicBezTo>
                <a:cubicBezTo>
                  <a:pt x="0" y="3373"/>
                  <a:pt x="970" y="4343"/>
                  <a:pt x="2164" y="4343"/>
                </a:cubicBezTo>
                <a:cubicBezTo>
                  <a:pt x="3373" y="4343"/>
                  <a:pt x="4343" y="3373"/>
                  <a:pt x="4343" y="2179"/>
                </a:cubicBezTo>
                <a:cubicBezTo>
                  <a:pt x="4343" y="970"/>
                  <a:pt x="3373" y="0"/>
                  <a:pt x="2164" y="0"/>
                </a:cubicBezTo>
                <a:close/>
                <a:moveTo>
                  <a:pt x="2164" y="4184"/>
                </a:moveTo>
                <a:cubicBezTo>
                  <a:pt x="1050" y="4184"/>
                  <a:pt x="159" y="3293"/>
                  <a:pt x="159" y="2179"/>
                </a:cubicBezTo>
                <a:cubicBezTo>
                  <a:pt x="159" y="1065"/>
                  <a:pt x="1050" y="158"/>
                  <a:pt x="2164" y="158"/>
                </a:cubicBezTo>
                <a:cubicBezTo>
                  <a:pt x="3277" y="158"/>
                  <a:pt x="4184" y="1065"/>
                  <a:pt x="4184" y="2179"/>
                </a:cubicBezTo>
                <a:cubicBezTo>
                  <a:pt x="4184" y="3293"/>
                  <a:pt x="3277" y="4184"/>
                  <a:pt x="2164" y="4184"/>
                </a:cubicBezTo>
                <a:close/>
                <a:moveTo>
                  <a:pt x="3118" y="843"/>
                </a:moveTo>
                <a:cubicBezTo>
                  <a:pt x="3103" y="827"/>
                  <a:pt x="3070" y="827"/>
                  <a:pt x="3039" y="843"/>
                </a:cubicBezTo>
                <a:cubicBezTo>
                  <a:pt x="1813" y="1368"/>
                  <a:pt x="1352" y="2020"/>
                  <a:pt x="1177" y="3436"/>
                </a:cubicBezTo>
                <a:cubicBezTo>
                  <a:pt x="1177" y="3468"/>
                  <a:pt x="1193" y="3484"/>
                  <a:pt x="1209" y="3516"/>
                </a:cubicBezTo>
                <a:lnTo>
                  <a:pt x="1257" y="3516"/>
                </a:lnTo>
                <a:lnTo>
                  <a:pt x="1289" y="3516"/>
                </a:lnTo>
                <a:cubicBezTo>
                  <a:pt x="2577" y="2911"/>
                  <a:pt x="3086" y="2211"/>
                  <a:pt x="3150" y="906"/>
                </a:cubicBezTo>
                <a:cubicBezTo>
                  <a:pt x="3150" y="891"/>
                  <a:pt x="3134" y="859"/>
                  <a:pt x="3118" y="843"/>
                </a:cubicBezTo>
                <a:close/>
                <a:moveTo>
                  <a:pt x="1352" y="3309"/>
                </a:moveTo>
                <a:cubicBezTo>
                  <a:pt x="1527" y="2100"/>
                  <a:pt x="1941" y="1511"/>
                  <a:pt x="2991" y="1034"/>
                </a:cubicBezTo>
                <a:cubicBezTo>
                  <a:pt x="2895" y="2147"/>
                  <a:pt x="2450" y="2768"/>
                  <a:pt x="1352" y="3309"/>
                </a:cubicBezTo>
                <a:close/>
                <a:moveTo>
                  <a:pt x="1909" y="2179"/>
                </a:moveTo>
                <a:cubicBezTo>
                  <a:pt x="1909" y="2322"/>
                  <a:pt x="2020" y="2434"/>
                  <a:pt x="2164" y="2434"/>
                </a:cubicBezTo>
                <a:cubicBezTo>
                  <a:pt x="2307" y="2434"/>
                  <a:pt x="2434" y="2322"/>
                  <a:pt x="2434" y="2179"/>
                </a:cubicBezTo>
                <a:cubicBezTo>
                  <a:pt x="2434" y="2036"/>
                  <a:pt x="2307" y="1909"/>
                  <a:pt x="2164" y="1909"/>
                </a:cubicBezTo>
                <a:cubicBezTo>
                  <a:pt x="2020" y="1909"/>
                  <a:pt x="1909" y="2036"/>
                  <a:pt x="1909" y="2179"/>
                </a:cubicBezTo>
                <a:close/>
                <a:moveTo>
                  <a:pt x="2164" y="2068"/>
                </a:moveTo>
                <a:cubicBezTo>
                  <a:pt x="2227" y="2068"/>
                  <a:pt x="2275" y="2116"/>
                  <a:pt x="2275" y="2179"/>
                </a:cubicBezTo>
                <a:cubicBezTo>
                  <a:pt x="2275" y="2227"/>
                  <a:pt x="2227" y="2274"/>
                  <a:pt x="2164" y="2274"/>
                </a:cubicBezTo>
                <a:cubicBezTo>
                  <a:pt x="2116" y="2274"/>
                  <a:pt x="2068" y="2227"/>
                  <a:pt x="2068" y="2179"/>
                </a:cubicBezTo>
                <a:cubicBezTo>
                  <a:pt x="2068" y="2116"/>
                  <a:pt x="2116" y="2068"/>
                  <a:pt x="2164" y="206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0" name="Freeform: Shape 3">
            <a:extLst>
              <a:ext uri="{FF2B5EF4-FFF2-40B4-BE49-F238E27FC236}">
                <a16:creationId xmlns:a16="http://schemas.microsoft.com/office/drawing/2014/main" id="{72B30F0E-1DD3-114D-960B-A37040565A9A}"/>
              </a:ext>
            </a:extLst>
          </p:cNvPr>
          <p:cNvSpPr/>
          <p:nvPr/>
        </p:nvSpPr>
        <p:spPr>
          <a:xfrm>
            <a:off x="9731594" y="3313561"/>
            <a:ext cx="2130120" cy="1442880"/>
          </a:xfrm>
          <a:custGeom>
            <a:avLst/>
            <a:gdLst/>
            <a:ahLst/>
            <a:cxnLst>
              <a:cxn ang="3cd4">
                <a:pos x="hc" y="t"/>
              </a:cxn>
              <a:cxn ang="cd2">
                <a:pos x="l" y="vc"/>
              </a:cxn>
              <a:cxn ang="cd4">
                <a:pos x="hc" y="b"/>
              </a:cxn>
              <a:cxn ang="0">
                <a:pos x="r" y="vc"/>
              </a:cxn>
            </a:cxnLst>
            <a:rect l="l" t="t" r="r" b="b"/>
            <a:pathLst>
              <a:path w="5918" h="4009">
                <a:moveTo>
                  <a:pt x="5918" y="2943"/>
                </a:moveTo>
                <a:cubicBezTo>
                  <a:pt x="5918" y="2402"/>
                  <a:pt x="4868" y="2068"/>
                  <a:pt x="3961" y="1941"/>
                </a:cubicBezTo>
                <a:cubicBezTo>
                  <a:pt x="3914" y="1925"/>
                  <a:pt x="3882" y="1956"/>
                  <a:pt x="3866" y="2004"/>
                </a:cubicBezTo>
                <a:cubicBezTo>
                  <a:pt x="3866" y="2052"/>
                  <a:pt x="3898" y="2084"/>
                  <a:pt x="3945" y="2099"/>
                </a:cubicBezTo>
                <a:cubicBezTo>
                  <a:pt x="4996" y="2243"/>
                  <a:pt x="5759" y="2593"/>
                  <a:pt x="5759" y="2943"/>
                </a:cubicBezTo>
                <a:cubicBezTo>
                  <a:pt x="5759" y="3388"/>
                  <a:pt x="4630" y="3850"/>
                  <a:pt x="2959" y="3850"/>
                </a:cubicBezTo>
                <a:cubicBezTo>
                  <a:pt x="1289" y="3850"/>
                  <a:pt x="159" y="3388"/>
                  <a:pt x="159" y="2943"/>
                </a:cubicBezTo>
                <a:cubicBezTo>
                  <a:pt x="159" y="2577"/>
                  <a:pt x="907" y="2227"/>
                  <a:pt x="1973" y="2099"/>
                </a:cubicBezTo>
                <a:cubicBezTo>
                  <a:pt x="2020" y="2084"/>
                  <a:pt x="2053" y="2052"/>
                  <a:pt x="2053" y="2004"/>
                </a:cubicBezTo>
                <a:cubicBezTo>
                  <a:pt x="2036" y="1956"/>
                  <a:pt x="2005" y="1925"/>
                  <a:pt x="1957" y="1941"/>
                </a:cubicBezTo>
                <a:cubicBezTo>
                  <a:pt x="763" y="2084"/>
                  <a:pt x="0" y="2481"/>
                  <a:pt x="0" y="2943"/>
                </a:cubicBezTo>
                <a:cubicBezTo>
                  <a:pt x="0" y="3547"/>
                  <a:pt x="1305" y="4009"/>
                  <a:pt x="2959" y="4009"/>
                </a:cubicBezTo>
                <a:cubicBezTo>
                  <a:pt x="4614" y="4009"/>
                  <a:pt x="5918" y="3547"/>
                  <a:pt x="5918" y="2943"/>
                </a:cubicBezTo>
                <a:close/>
                <a:moveTo>
                  <a:pt x="2339" y="2721"/>
                </a:moveTo>
                <a:cubicBezTo>
                  <a:pt x="2387" y="2721"/>
                  <a:pt x="2418" y="2689"/>
                  <a:pt x="2418" y="2642"/>
                </a:cubicBezTo>
                <a:cubicBezTo>
                  <a:pt x="2418" y="2594"/>
                  <a:pt x="2387" y="2562"/>
                  <a:pt x="2339" y="2562"/>
                </a:cubicBezTo>
                <a:cubicBezTo>
                  <a:pt x="1909" y="2594"/>
                  <a:pt x="1463" y="2721"/>
                  <a:pt x="1463" y="2928"/>
                </a:cubicBezTo>
                <a:cubicBezTo>
                  <a:pt x="1463" y="3246"/>
                  <a:pt x="2402" y="3326"/>
                  <a:pt x="2959" y="3326"/>
                </a:cubicBezTo>
                <a:cubicBezTo>
                  <a:pt x="3516" y="3326"/>
                  <a:pt x="4455" y="3246"/>
                  <a:pt x="4455" y="2928"/>
                </a:cubicBezTo>
                <a:cubicBezTo>
                  <a:pt x="4455" y="2705"/>
                  <a:pt x="3993" y="2610"/>
                  <a:pt x="3611" y="2562"/>
                </a:cubicBezTo>
                <a:cubicBezTo>
                  <a:pt x="3564" y="2562"/>
                  <a:pt x="3532" y="2594"/>
                  <a:pt x="3532" y="2626"/>
                </a:cubicBezTo>
                <a:cubicBezTo>
                  <a:pt x="3516" y="2673"/>
                  <a:pt x="3548" y="2721"/>
                  <a:pt x="3596" y="2721"/>
                </a:cubicBezTo>
                <a:cubicBezTo>
                  <a:pt x="4089" y="2785"/>
                  <a:pt x="4280" y="2880"/>
                  <a:pt x="4296" y="2928"/>
                </a:cubicBezTo>
                <a:cubicBezTo>
                  <a:pt x="4264" y="3008"/>
                  <a:pt x="3787" y="3166"/>
                  <a:pt x="2959" y="3166"/>
                </a:cubicBezTo>
                <a:cubicBezTo>
                  <a:pt x="2132" y="3166"/>
                  <a:pt x="1639" y="3008"/>
                  <a:pt x="1623" y="2928"/>
                </a:cubicBezTo>
                <a:cubicBezTo>
                  <a:pt x="1639" y="2880"/>
                  <a:pt x="1877" y="2753"/>
                  <a:pt x="2339" y="2721"/>
                </a:cubicBezTo>
                <a:close/>
                <a:moveTo>
                  <a:pt x="2959" y="0"/>
                </a:moveTo>
                <a:cubicBezTo>
                  <a:pt x="2387" y="0"/>
                  <a:pt x="1909" y="462"/>
                  <a:pt x="1909" y="1035"/>
                </a:cubicBezTo>
                <a:cubicBezTo>
                  <a:pt x="1909" y="1591"/>
                  <a:pt x="2848" y="2832"/>
                  <a:pt x="2896" y="2880"/>
                </a:cubicBezTo>
                <a:cubicBezTo>
                  <a:pt x="2911" y="2912"/>
                  <a:pt x="2927" y="2912"/>
                  <a:pt x="2959" y="2912"/>
                </a:cubicBezTo>
                <a:cubicBezTo>
                  <a:pt x="2975" y="2912"/>
                  <a:pt x="3007" y="2912"/>
                  <a:pt x="3023" y="2880"/>
                </a:cubicBezTo>
                <a:cubicBezTo>
                  <a:pt x="3054" y="2832"/>
                  <a:pt x="3993" y="1591"/>
                  <a:pt x="3993" y="1035"/>
                </a:cubicBezTo>
                <a:cubicBezTo>
                  <a:pt x="3993" y="462"/>
                  <a:pt x="3532" y="0"/>
                  <a:pt x="2959" y="0"/>
                </a:cubicBezTo>
                <a:close/>
                <a:moveTo>
                  <a:pt x="2959" y="2705"/>
                </a:moveTo>
                <a:cubicBezTo>
                  <a:pt x="2657" y="2308"/>
                  <a:pt x="2068" y="1417"/>
                  <a:pt x="2068" y="1035"/>
                </a:cubicBezTo>
                <a:cubicBezTo>
                  <a:pt x="2068" y="541"/>
                  <a:pt x="2466" y="144"/>
                  <a:pt x="2959" y="144"/>
                </a:cubicBezTo>
                <a:cubicBezTo>
                  <a:pt x="3436" y="144"/>
                  <a:pt x="3834" y="541"/>
                  <a:pt x="3834" y="1035"/>
                </a:cubicBezTo>
                <a:cubicBezTo>
                  <a:pt x="3834" y="1464"/>
                  <a:pt x="3166" y="2419"/>
                  <a:pt x="2959" y="2705"/>
                </a:cubicBezTo>
                <a:close/>
                <a:moveTo>
                  <a:pt x="2975" y="621"/>
                </a:moveTo>
                <a:cubicBezTo>
                  <a:pt x="2720" y="621"/>
                  <a:pt x="2514" y="828"/>
                  <a:pt x="2514" y="1082"/>
                </a:cubicBezTo>
                <a:cubicBezTo>
                  <a:pt x="2514" y="1353"/>
                  <a:pt x="2720" y="1560"/>
                  <a:pt x="2975" y="1560"/>
                </a:cubicBezTo>
                <a:cubicBezTo>
                  <a:pt x="3245" y="1560"/>
                  <a:pt x="3453" y="1353"/>
                  <a:pt x="3453" y="1082"/>
                </a:cubicBezTo>
                <a:cubicBezTo>
                  <a:pt x="3453" y="828"/>
                  <a:pt x="3245" y="621"/>
                  <a:pt x="2975" y="621"/>
                </a:cubicBezTo>
                <a:close/>
                <a:moveTo>
                  <a:pt x="2975" y="1400"/>
                </a:moveTo>
                <a:cubicBezTo>
                  <a:pt x="2800" y="1400"/>
                  <a:pt x="2673" y="1257"/>
                  <a:pt x="2673" y="1082"/>
                </a:cubicBezTo>
                <a:cubicBezTo>
                  <a:pt x="2673" y="923"/>
                  <a:pt x="2800" y="780"/>
                  <a:pt x="2975" y="780"/>
                </a:cubicBezTo>
                <a:cubicBezTo>
                  <a:pt x="3150" y="780"/>
                  <a:pt x="3293" y="923"/>
                  <a:pt x="3293" y="1082"/>
                </a:cubicBezTo>
                <a:cubicBezTo>
                  <a:pt x="3293" y="1257"/>
                  <a:pt x="3150" y="1400"/>
                  <a:pt x="2975" y="140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1" name="Freeform: Shape 4">
            <a:extLst>
              <a:ext uri="{FF2B5EF4-FFF2-40B4-BE49-F238E27FC236}">
                <a16:creationId xmlns:a16="http://schemas.microsoft.com/office/drawing/2014/main" id="{ECF1BDAD-E20F-9A44-BAF2-9E6792836D3C}"/>
              </a:ext>
            </a:extLst>
          </p:cNvPr>
          <p:cNvSpPr/>
          <p:nvPr/>
        </p:nvSpPr>
        <p:spPr>
          <a:xfrm>
            <a:off x="13728497" y="3371161"/>
            <a:ext cx="2181600" cy="1253880"/>
          </a:xfrm>
          <a:custGeom>
            <a:avLst/>
            <a:gdLst/>
            <a:ahLst/>
            <a:cxnLst>
              <a:cxn ang="3cd4">
                <a:pos x="hc" y="t"/>
              </a:cxn>
              <a:cxn ang="cd2">
                <a:pos x="l" y="vc"/>
              </a:cxn>
              <a:cxn ang="cd4">
                <a:pos x="hc" y="b"/>
              </a:cxn>
              <a:cxn ang="0">
                <a:pos x="r" y="vc"/>
              </a:cxn>
            </a:cxnLst>
            <a:rect l="l" t="t" r="r" b="b"/>
            <a:pathLst>
              <a:path w="6061" h="3484">
                <a:moveTo>
                  <a:pt x="938" y="2466"/>
                </a:moveTo>
                <a:cubicBezTo>
                  <a:pt x="970" y="2466"/>
                  <a:pt x="1002" y="2450"/>
                  <a:pt x="1002" y="2418"/>
                </a:cubicBezTo>
                <a:cubicBezTo>
                  <a:pt x="1018" y="2402"/>
                  <a:pt x="1050" y="2291"/>
                  <a:pt x="1097" y="2116"/>
                </a:cubicBezTo>
                <a:cubicBezTo>
                  <a:pt x="1384" y="2354"/>
                  <a:pt x="1384" y="2354"/>
                  <a:pt x="1384" y="2354"/>
                </a:cubicBezTo>
                <a:cubicBezTo>
                  <a:pt x="1781" y="2688"/>
                  <a:pt x="2529" y="3309"/>
                  <a:pt x="2641" y="3388"/>
                </a:cubicBezTo>
                <a:cubicBezTo>
                  <a:pt x="2736" y="3436"/>
                  <a:pt x="2863" y="3484"/>
                  <a:pt x="2991" y="3484"/>
                </a:cubicBezTo>
                <a:cubicBezTo>
                  <a:pt x="3006" y="3484"/>
                  <a:pt x="3023" y="3484"/>
                  <a:pt x="3038" y="3484"/>
                </a:cubicBezTo>
                <a:cubicBezTo>
                  <a:pt x="3150" y="3468"/>
                  <a:pt x="3229" y="3436"/>
                  <a:pt x="3277" y="3357"/>
                </a:cubicBezTo>
                <a:cubicBezTo>
                  <a:pt x="3388" y="3420"/>
                  <a:pt x="3548" y="3436"/>
                  <a:pt x="3691" y="3388"/>
                </a:cubicBezTo>
                <a:cubicBezTo>
                  <a:pt x="3770" y="3357"/>
                  <a:pt x="3834" y="3293"/>
                  <a:pt x="3882" y="3213"/>
                </a:cubicBezTo>
                <a:cubicBezTo>
                  <a:pt x="3977" y="3245"/>
                  <a:pt x="4105" y="3245"/>
                  <a:pt x="4200" y="3182"/>
                </a:cubicBezTo>
                <a:cubicBezTo>
                  <a:pt x="4311" y="3134"/>
                  <a:pt x="4375" y="3054"/>
                  <a:pt x="4406" y="2959"/>
                </a:cubicBezTo>
                <a:cubicBezTo>
                  <a:pt x="4486" y="2975"/>
                  <a:pt x="4582" y="2943"/>
                  <a:pt x="4661" y="2879"/>
                </a:cubicBezTo>
                <a:cubicBezTo>
                  <a:pt x="4757" y="2800"/>
                  <a:pt x="4836" y="2640"/>
                  <a:pt x="4757" y="2450"/>
                </a:cubicBezTo>
                <a:cubicBezTo>
                  <a:pt x="4963" y="2291"/>
                  <a:pt x="4963" y="2291"/>
                  <a:pt x="4963" y="2291"/>
                </a:cubicBezTo>
                <a:cubicBezTo>
                  <a:pt x="4963" y="2306"/>
                  <a:pt x="4963" y="2306"/>
                  <a:pt x="4963" y="2322"/>
                </a:cubicBezTo>
                <a:cubicBezTo>
                  <a:pt x="4979" y="2339"/>
                  <a:pt x="4996" y="2354"/>
                  <a:pt x="5011" y="2370"/>
                </a:cubicBezTo>
                <a:cubicBezTo>
                  <a:pt x="5139" y="2418"/>
                  <a:pt x="5361" y="2434"/>
                  <a:pt x="5568" y="2434"/>
                </a:cubicBezTo>
                <a:cubicBezTo>
                  <a:pt x="5775" y="2434"/>
                  <a:pt x="5950" y="2418"/>
                  <a:pt x="5982" y="2418"/>
                </a:cubicBezTo>
                <a:cubicBezTo>
                  <a:pt x="6014" y="2418"/>
                  <a:pt x="6030" y="2402"/>
                  <a:pt x="6045" y="2386"/>
                </a:cubicBezTo>
                <a:cubicBezTo>
                  <a:pt x="6061" y="2370"/>
                  <a:pt x="6061" y="2354"/>
                  <a:pt x="6061" y="2322"/>
                </a:cubicBezTo>
                <a:cubicBezTo>
                  <a:pt x="6045" y="2275"/>
                  <a:pt x="5918" y="843"/>
                  <a:pt x="5616" y="413"/>
                </a:cubicBezTo>
                <a:cubicBezTo>
                  <a:pt x="5600" y="397"/>
                  <a:pt x="5584" y="397"/>
                  <a:pt x="5568" y="381"/>
                </a:cubicBezTo>
                <a:cubicBezTo>
                  <a:pt x="5075" y="286"/>
                  <a:pt x="4518" y="509"/>
                  <a:pt x="4406" y="557"/>
                </a:cubicBezTo>
                <a:cubicBezTo>
                  <a:pt x="4391" y="557"/>
                  <a:pt x="4391" y="540"/>
                  <a:pt x="4391" y="540"/>
                </a:cubicBezTo>
                <a:cubicBezTo>
                  <a:pt x="4391" y="540"/>
                  <a:pt x="4073" y="445"/>
                  <a:pt x="3563" y="222"/>
                </a:cubicBezTo>
                <a:cubicBezTo>
                  <a:pt x="3197" y="63"/>
                  <a:pt x="2832" y="127"/>
                  <a:pt x="2561" y="286"/>
                </a:cubicBezTo>
                <a:cubicBezTo>
                  <a:pt x="2275" y="254"/>
                  <a:pt x="1686" y="238"/>
                  <a:pt x="1479" y="238"/>
                </a:cubicBezTo>
                <a:cubicBezTo>
                  <a:pt x="1145" y="127"/>
                  <a:pt x="381" y="15"/>
                  <a:pt x="350" y="0"/>
                </a:cubicBezTo>
                <a:cubicBezTo>
                  <a:pt x="302" y="0"/>
                  <a:pt x="254" y="31"/>
                  <a:pt x="254" y="63"/>
                </a:cubicBezTo>
                <a:cubicBezTo>
                  <a:pt x="254" y="79"/>
                  <a:pt x="0" y="1463"/>
                  <a:pt x="0" y="2386"/>
                </a:cubicBezTo>
                <a:cubicBezTo>
                  <a:pt x="0" y="2434"/>
                  <a:pt x="15" y="2466"/>
                  <a:pt x="47" y="2466"/>
                </a:cubicBezTo>
                <a:cubicBezTo>
                  <a:pt x="143" y="2497"/>
                  <a:pt x="270" y="2497"/>
                  <a:pt x="413" y="2497"/>
                </a:cubicBezTo>
                <a:cubicBezTo>
                  <a:pt x="652" y="2497"/>
                  <a:pt x="923" y="2466"/>
                  <a:pt x="938" y="2466"/>
                </a:cubicBezTo>
                <a:close/>
                <a:moveTo>
                  <a:pt x="5505" y="540"/>
                </a:moveTo>
                <a:cubicBezTo>
                  <a:pt x="5727" y="906"/>
                  <a:pt x="5854" y="1957"/>
                  <a:pt x="5887" y="2259"/>
                </a:cubicBezTo>
                <a:cubicBezTo>
                  <a:pt x="5679" y="2275"/>
                  <a:pt x="5282" y="2275"/>
                  <a:pt x="5107" y="2243"/>
                </a:cubicBezTo>
                <a:cubicBezTo>
                  <a:pt x="5011" y="1893"/>
                  <a:pt x="4709" y="1034"/>
                  <a:pt x="4534" y="668"/>
                </a:cubicBezTo>
                <a:cubicBezTo>
                  <a:pt x="4709" y="604"/>
                  <a:pt x="5123" y="477"/>
                  <a:pt x="5505" y="540"/>
                </a:cubicBezTo>
                <a:close/>
                <a:moveTo>
                  <a:pt x="3500" y="366"/>
                </a:moveTo>
                <a:cubicBezTo>
                  <a:pt x="4009" y="604"/>
                  <a:pt x="4327" y="700"/>
                  <a:pt x="4343" y="700"/>
                </a:cubicBezTo>
                <a:lnTo>
                  <a:pt x="4359" y="700"/>
                </a:lnTo>
                <a:cubicBezTo>
                  <a:pt x="4502" y="954"/>
                  <a:pt x="4788" y="1718"/>
                  <a:pt x="4916" y="2131"/>
                </a:cubicBezTo>
                <a:cubicBezTo>
                  <a:pt x="4693" y="2306"/>
                  <a:pt x="4693" y="2306"/>
                  <a:pt x="4693" y="2306"/>
                </a:cubicBezTo>
                <a:cubicBezTo>
                  <a:pt x="4422" y="1893"/>
                  <a:pt x="3643" y="1193"/>
                  <a:pt x="3214" y="906"/>
                </a:cubicBezTo>
                <a:cubicBezTo>
                  <a:pt x="3197" y="891"/>
                  <a:pt x="3166" y="891"/>
                  <a:pt x="3134" y="906"/>
                </a:cubicBezTo>
                <a:cubicBezTo>
                  <a:pt x="3070" y="922"/>
                  <a:pt x="3070" y="922"/>
                  <a:pt x="3070" y="922"/>
                </a:cubicBezTo>
                <a:cubicBezTo>
                  <a:pt x="2959" y="970"/>
                  <a:pt x="2959" y="970"/>
                  <a:pt x="2863" y="970"/>
                </a:cubicBezTo>
                <a:cubicBezTo>
                  <a:pt x="2815" y="986"/>
                  <a:pt x="2815" y="986"/>
                  <a:pt x="2815" y="986"/>
                </a:cubicBezTo>
                <a:cubicBezTo>
                  <a:pt x="2784" y="986"/>
                  <a:pt x="2768" y="1002"/>
                  <a:pt x="2752" y="1018"/>
                </a:cubicBezTo>
                <a:cubicBezTo>
                  <a:pt x="2609" y="1225"/>
                  <a:pt x="2450" y="1448"/>
                  <a:pt x="2195" y="1368"/>
                </a:cubicBezTo>
                <a:cubicBezTo>
                  <a:pt x="2148" y="1352"/>
                  <a:pt x="2115" y="1304"/>
                  <a:pt x="2100" y="1257"/>
                </a:cubicBezTo>
                <a:cubicBezTo>
                  <a:pt x="2068" y="1081"/>
                  <a:pt x="2211" y="763"/>
                  <a:pt x="2370" y="620"/>
                </a:cubicBezTo>
                <a:cubicBezTo>
                  <a:pt x="2434" y="540"/>
                  <a:pt x="2514" y="477"/>
                  <a:pt x="2609" y="429"/>
                </a:cubicBezTo>
                <a:cubicBezTo>
                  <a:pt x="2863" y="286"/>
                  <a:pt x="3182" y="222"/>
                  <a:pt x="3500" y="366"/>
                </a:cubicBezTo>
                <a:close/>
                <a:moveTo>
                  <a:pt x="2338" y="429"/>
                </a:moveTo>
                <a:cubicBezTo>
                  <a:pt x="2306" y="445"/>
                  <a:pt x="2291" y="477"/>
                  <a:pt x="2259" y="509"/>
                </a:cubicBezTo>
                <a:cubicBezTo>
                  <a:pt x="2100" y="668"/>
                  <a:pt x="1893" y="1034"/>
                  <a:pt x="1957" y="1288"/>
                </a:cubicBezTo>
                <a:cubicBezTo>
                  <a:pt x="1972" y="1400"/>
                  <a:pt x="2052" y="1479"/>
                  <a:pt x="2148" y="1511"/>
                </a:cubicBezTo>
                <a:cubicBezTo>
                  <a:pt x="2514" y="1638"/>
                  <a:pt x="2736" y="1320"/>
                  <a:pt x="2863" y="1129"/>
                </a:cubicBezTo>
                <a:cubicBezTo>
                  <a:pt x="2879" y="1129"/>
                  <a:pt x="2879" y="1129"/>
                  <a:pt x="2879" y="1129"/>
                </a:cubicBezTo>
                <a:cubicBezTo>
                  <a:pt x="2991" y="1129"/>
                  <a:pt x="2991" y="1129"/>
                  <a:pt x="3134" y="1066"/>
                </a:cubicBezTo>
                <a:cubicBezTo>
                  <a:pt x="3150" y="1066"/>
                  <a:pt x="3150" y="1066"/>
                  <a:pt x="3150" y="1066"/>
                </a:cubicBezTo>
                <a:cubicBezTo>
                  <a:pt x="3643" y="1400"/>
                  <a:pt x="4454" y="2163"/>
                  <a:pt x="4597" y="2482"/>
                </a:cubicBezTo>
                <a:cubicBezTo>
                  <a:pt x="4661" y="2609"/>
                  <a:pt x="4614" y="2704"/>
                  <a:pt x="4550" y="2752"/>
                </a:cubicBezTo>
                <a:cubicBezTo>
                  <a:pt x="4518" y="2800"/>
                  <a:pt x="4439" y="2816"/>
                  <a:pt x="4375" y="2784"/>
                </a:cubicBezTo>
                <a:cubicBezTo>
                  <a:pt x="4248" y="2672"/>
                  <a:pt x="3532" y="2004"/>
                  <a:pt x="3532" y="2004"/>
                </a:cubicBezTo>
                <a:cubicBezTo>
                  <a:pt x="3500" y="1972"/>
                  <a:pt x="3452" y="1972"/>
                  <a:pt x="3420" y="2004"/>
                </a:cubicBezTo>
                <a:cubicBezTo>
                  <a:pt x="3388" y="2036"/>
                  <a:pt x="3388" y="2084"/>
                  <a:pt x="3420" y="2116"/>
                </a:cubicBezTo>
                <a:cubicBezTo>
                  <a:pt x="3452" y="2148"/>
                  <a:pt x="4073" y="2720"/>
                  <a:pt x="4263" y="2879"/>
                </a:cubicBezTo>
                <a:cubicBezTo>
                  <a:pt x="4248" y="2975"/>
                  <a:pt x="4168" y="3022"/>
                  <a:pt x="4136" y="3054"/>
                </a:cubicBezTo>
                <a:cubicBezTo>
                  <a:pt x="4041" y="3086"/>
                  <a:pt x="3929" y="3086"/>
                  <a:pt x="3882" y="3039"/>
                </a:cubicBezTo>
                <a:cubicBezTo>
                  <a:pt x="3723" y="2911"/>
                  <a:pt x="3229" y="2466"/>
                  <a:pt x="3166" y="2402"/>
                </a:cubicBezTo>
                <a:cubicBezTo>
                  <a:pt x="3134" y="2370"/>
                  <a:pt x="3086" y="2370"/>
                  <a:pt x="3054" y="2386"/>
                </a:cubicBezTo>
                <a:cubicBezTo>
                  <a:pt x="3023" y="2418"/>
                  <a:pt x="3023" y="2466"/>
                  <a:pt x="3054" y="2497"/>
                </a:cubicBezTo>
                <a:cubicBezTo>
                  <a:pt x="3118" y="2577"/>
                  <a:pt x="3548" y="2975"/>
                  <a:pt x="3739" y="3134"/>
                </a:cubicBezTo>
                <a:cubicBezTo>
                  <a:pt x="3723" y="3197"/>
                  <a:pt x="3659" y="3229"/>
                  <a:pt x="3627" y="3245"/>
                </a:cubicBezTo>
                <a:cubicBezTo>
                  <a:pt x="3516" y="3277"/>
                  <a:pt x="3388" y="3261"/>
                  <a:pt x="3309" y="3182"/>
                </a:cubicBezTo>
                <a:cubicBezTo>
                  <a:pt x="3293" y="3182"/>
                  <a:pt x="3293" y="3182"/>
                  <a:pt x="3293" y="3182"/>
                </a:cubicBezTo>
                <a:cubicBezTo>
                  <a:pt x="3134" y="3054"/>
                  <a:pt x="2911" y="2831"/>
                  <a:pt x="2768" y="2657"/>
                </a:cubicBezTo>
                <a:cubicBezTo>
                  <a:pt x="2736" y="2625"/>
                  <a:pt x="2688" y="2625"/>
                  <a:pt x="2657" y="2657"/>
                </a:cubicBezTo>
                <a:cubicBezTo>
                  <a:pt x="2625" y="2688"/>
                  <a:pt x="2625" y="2736"/>
                  <a:pt x="2657" y="2768"/>
                </a:cubicBezTo>
                <a:cubicBezTo>
                  <a:pt x="2784" y="2927"/>
                  <a:pt x="2991" y="3118"/>
                  <a:pt x="3150" y="3261"/>
                </a:cubicBezTo>
                <a:cubicBezTo>
                  <a:pt x="3118" y="3293"/>
                  <a:pt x="3086" y="3325"/>
                  <a:pt x="3023" y="3325"/>
                </a:cubicBezTo>
                <a:cubicBezTo>
                  <a:pt x="2927" y="3340"/>
                  <a:pt x="2800" y="3293"/>
                  <a:pt x="2736" y="3245"/>
                </a:cubicBezTo>
                <a:cubicBezTo>
                  <a:pt x="2641" y="3197"/>
                  <a:pt x="2036" y="2704"/>
                  <a:pt x="1495" y="2243"/>
                </a:cubicBezTo>
                <a:cubicBezTo>
                  <a:pt x="1161" y="1957"/>
                  <a:pt x="1161" y="1957"/>
                  <a:pt x="1161" y="1957"/>
                </a:cubicBezTo>
                <a:cubicBezTo>
                  <a:pt x="1288" y="1511"/>
                  <a:pt x="1479" y="827"/>
                  <a:pt x="1527" y="397"/>
                </a:cubicBezTo>
                <a:cubicBezTo>
                  <a:pt x="1718" y="397"/>
                  <a:pt x="2084" y="413"/>
                  <a:pt x="2338" y="429"/>
                </a:cubicBezTo>
                <a:close/>
                <a:moveTo>
                  <a:pt x="397" y="175"/>
                </a:moveTo>
                <a:cubicBezTo>
                  <a:pt x="588" y="206"/>
                  <a:pt x="1097" y="286"/>
                  <a:pt x="1368" y="381"/>
                </a:cubicBezTo>
                <a:cubicBezTo>
                  <a:pt x="1304" y="970"/>
                  <a:pt x="954" y="2068"/>
                  <a:pt x="875" y="2322"/>
                </a:cubicBezTo>
                <a:cubicBezTo>
                  <a:pt x="732" y="2322"/>
                  <a:pt x="366" y="2354"/>
                  <a:pt x="158" y="2322"/>
                </a:cubicBezTo>
                <a:cubicBezTo>
                  <a:pt x="175" y="1543"/>
                  <a:pt x="350" y="461"/>
                  <a:pt x="397" y="17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2" name="Freeform: Shape 5">
            <a:extLst>
              <a:ext uri="{FF2B5EF4-FFF2-40B4-BE49-F238E27FC236}">
                <a16:creationId xmlns:a16="http://schemas.microsoft.com/office/drawing/2014/main" id="{3F9D7598-B4FF-7B4E-82DC-CF43DBC8EC8A}"/>
              </a:ext>
            </a:extLst>
          </p:cNvPr>
          <p:cNvSpPr/>
          <p:nvPr/>
        </p:nvSpPr>
        <p:spPr>
          <a:xfrm>
            <a:off x="17672172" y="3216360"/>
            <a:ext cx="1139400" cy="1620720"/>
          </a:xfrm>
          <a:custGeom>
            <a:avLst/>
            <a:gdLst/>
            <a:ahLst/>
            <a:cxnLst>
              <a:cxn ang="3cd4">
                <a:pos x="hc" y="t"/>
              </a:cxn>
              <a:cxn ang="cd2">
                <a:pos x="l" y="vc"/>
              </a:cxn>
              <a:cxn ang="cd4">
                <a:pos x="hc" y="b"/>
              </a:cxn>
              <a:cxn ang="0">
                <a:pos x="r" y="vc"/>
              </a:cxn>
            </a:cxnLst>
            <a:rect l="l" t="t" r="r" b="b"/>
            <a:pathLst>
              <a:path w="3166" h="4503">
                <a:moveTo>
                  <a:pt x="891" y="3023"/>
                </a:moveTo>
                <a:lnTo>
                  <a:pt x="891" y="4184"/>
                </a:lnTo>
                <a:cubicBezTo>
                  <a:pt x="891" y="4200"/>
                  <a:pt x="907" y="4216"/>
                  <a:pt x="923" y="4232"/>
                </a:cubicBezTo>
                <a:cubicBezTo>
                  <a:pt x="1098" y="4423"/>
                  <a:pt x="1337" y="4503"/>
                  <a:pt x="1575" y="4503"/>
                </a:cubicBezTo>
                <a:cubicBezTo>
                  <a:pt x="1814" y="4503"/>
                  <a:pt x="2053" y="4423"/>
                  <a:pt x="2244" y="4232"/>
                </a:cubicBezTo>
                <a:cubicBezTo>
                  <a:pt x="2260" y="4216"/>
                  <a:pt x="2260" y="4200"/>
                  <a:pt x="2260" y="4184"/>
                </a:cubicBezTo>
                <a:lnTo>
                  <a:pt x="2260" y="3023"/>
                </a:lnTo>
                <a:cubicBezTo>
                  <a:pt x="2817" y="2752"/>
                  <a:pt x="3166" y="2196"/>
                  <a:pt x="3166" y="1591"/>
                </a:cubicBezTo>
                <a:cubicBezTo>
                  <a:pt x="3166" y="716"/>
                  <a:pt x="2451" y="0"/>
                  <a:pt x="1575" y="0"/>
                </a:cubicBezTo>
                <a:cubicBezTo>
                  <a:pt x="700" y="0"/>
                  <a:pt x="0" y="716"/>
                  <a:pt x="0" y="1591"/>
                </a:cubicBezTo>
                <a:cubicBezTo>
                  <a:pt x="0" y="2196"/>
                  <a:pt x="350" y="2752"/>
                  <a:pt x="891" y="3023"/>
                </a:cubicBezTo>
                <a:close/>
                <a:moveTo>
                  <a:pt x="1050" y="4152"/>
                </a:moveTo>
                <a:lnTo>
                  <a:pt x="1050" y="3770"/>
                </a:lnTo>
                <a:cubicBezTo>
                  <a:pt x="1162" y="3803"/>
                  <a:pt x="1337" y="3850"/>
                  <a:pt x="1544" y="3850"/>
                </a:cubicBezTo>
                <a:cubicBezTo>
                  <a:pt x="1718" y="3850"/>
                  <a:pt x="1894" y="3818"/>
                  <a:pt x="2100" y="3755"/>
                </a:cubicBezTo>
                <a:lnTo>
                  <a:pt x="2100" y="4152"/>
                </a:lnTo>
                <a:cubicBezTo>
                  <a:pt x="1814" y="4423"/>
                  <a:pt x="1353" y="4423"/>
                  <a:pt x="1050" y="4152"/>
                </a:cubicBezTo>
                <a:close/>
                <a:moveTo>
                  <a:pt x="1575" y="159"/>
                </a:moveTo>
                <a:cubicBezTo>
                  <a:pt x="2371" y="159"/>
                  <a:pt x="3007" y="811"/>
                  <a:pt x="3007" y="1591"/>
                </a:cubicBezTo>
                <a:cubicBezTo>
                  <a:pt x="3007" y="2164"/>
                  <a:pt x="2673" y="2673"/>
                  <a:pt x="2148" y="2896"/>
                </a:cubicBezTo>
                <a:cubicBezTo>
                  <a:pt x="2117" y="2912"/>
                  <a:pt x="2100" y="2943"/>
                  <a:pt x="2100" y="2975"/>
                </a:cubicBezTo>
                <a:lnTo>
                  <a:pt x="2100" y="3596"/>
                </a:lnTo>
                <a:cubicBezTo>
                  <a:pt x="1575" y="3770"/>
                  <a:pt x="1178" y="3643"/>
                  <a:pt x="1050" y="3596"/>
                </a:cubicBezTo>
                <a:lnTo>
                  <a:pt x="1050" y="2975"/>
                </a:lnTo>
                <a:cubicBezTo>
                  <a:pt x="1050" y="2943"/>
                  <a:pt x="1035" y="2912"/>
                  <a:pt x="1003" y="2896"/>
                </a:cubicBezTo>
                <a:cubicBezTo>
                  <a:pt x="493" y="2673"/>
                  <a:pt x="159" y="2164"/>
                  <a:pt x="159" y="1591"/>
                </a:cubicBezTo>
                <a:cubicBezTo>
                  <a:pt x="159" y="811"/>
                  <a:pt x="796" y="159"/>
                  <a:pt x="1575" y="159"/>
                </a:cubicBezTo>
                <a:close/>
                <a:moveTo>
                  <a:pt x="1560" y="621"/>
                </a:moveTo>
                <a:cubicBezTo>
                  <a:pt x="2117" y="621"/>
                  <a:pt x="2578" y="1066"/>
                  <a:pt x="2578" y="1639"/>
                </a:cubicBezTo>
                <a:cubicBezTo>
                  <a:pt x="2578" y="1670"/>
                  <a:pt x="2609" y="1718"/>
                  <a:pt x="2657" y="1718"/>
                </a:cubicBezTo>
                <a:cubicBezTo>
                  <a:pt x="2705" y="1718"/>
                  <a:pt x="2737" y="1670"/>
                  <a:pt x="2737" y="1639"/>
                </a:cubicBezTo>
                <a:cubicBezTo>
                  <a:pt x="2737" y="987"/>
                  <a:pt x="2212" y="461"/>
                  <a:pt x="1560" y="461"/>
                </a:cubicBezTo>
                <a:cubicBezTo>
                  <a:pt x="1512" y="461"/>
                  <a:pt x="1480" y="493"/>
                  <a:pt x="1480" y="541"/>
                </a:cubicBezTo>
                <a:cubicBezTo>
                  <a:pt x="1480" y="588"/>
                  <a:pt x="1512" y="621"/>
                  <a:pt x="1560" y="62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3" name="Freeform: Shape 6">
            <a:extLst>
              <a:ext uri="{FF2B5EF4-FFF2-40B4-BE49-F238E27FC236}">
                <a16:creationId xmlns:a16="http://schemas.microsoft.com/office/drawing/2014/main" id="{7A1B52CE-9D48-AF4C-A74A-DE6A38917936}"/>
              </a:ext>
            </a:extLst>
          </p:cNvPr>
          <p:cNvSpPr/>
          <p:nvPr/>
        </p:nvSpPr>
        <p:spPr>
          <a:xfrm>
            <a:off x="1721357" y="6160873"/>
            <a:ext cx="1769760" cy="1624680"/>
          </a:xfrm>
          <a:custGeom>
            <a:avLst/>
            <a:gdLst/>
            <a:ahLst/>
            <a:cxnLst>
              <a:cxn ang="3cd4">
                <a:pos x="hc" y="t"/>
              </a:cxn>
              <a:cxn ang="cd2">
                <a:pos x="l" y="vc"/>
              </a:cxn>
              <a:cxn ang="cd4">
                <a:pos x="hc" y="b"/>
              </a:cxn>
              <a:cxn ang="0">
                <a:pos x="r" y="vc"/>
              </a:cxn>
            </a:cxnLst>
            <a:rect l="l" t="t" r="r" b="b"/>
            <a:pathLst>
              <a:path w="4917" h="4514">
                <a:moveTo>
                  <a:pt x="4837" y="2828"/>
                </a:moveTo>
                <a:cubicBezTo>
                  <a:pt x="4853" y="2828"/>
                  <a:pt x="4853" y="2812"/>
                  <a:pt x="4853" y="2812"/>
                </a:cubicBezTo>
                <a:cubicBezTo>
                  <a:pt x="4869" y="2796"/>
                  <a:pt x="4869" y="2796"/>
                  <a:pt x="4869" y="2796"/>
                </a:cubicBezTo>
                <a:lnTo>
                  <a:pt x="4869" y="2780"/>
                </a:lnTo>
                <a:cubicBezTo>
                  <a:pt x="4885" y="2764"/>
                  <a:pt x="4885" y="2764"/>
                  <a:pt x="4885" y="2764"/>
                </a:cubicBezTo>
                <a:cubicBezTo>
                  <a:pt x="4885" y="2748"/>
                  <a:pt x="4885" y="2748"/>
                  <a:pt x="4901" y="2732"/>
                </a:cubicBezTo>
                <a:cubicBezTo>
                  <a:pt x="4901" y="2716"/>
                  <a:pt x="4901" y="2716"/>
                  <a:pt x="4901" y="2700"/>
                </a:cubicBezTo>
                <a:lnTo>
                  <a:pt x="4901" y="2685"/>
                </a:lnTo>
                <a:cubicBezTo>
                  <a:pt x="4901" y="2685"/>
                  <a:pt x="4901" y="2669"/>
                  <a:pt x="4917" y="2669"/>
                </a:cubicBezTo>
                <a:lnTo>
                  <a:pt x="4917" y="2652"/>
                </a:lnTo>
                <a:cubicBezTo>
                  <a:pt x="4917" y="2637"/>
                  <a:pt x="4917" y="2637"/>
                  <a:pt x="4917" y="2621"/>
                </a:cubicBezTo>
                <a:cubicBezTo>
                  <a:pt x="4917" y="2605"/>
                  <a:pt x="4917" y="2605"/>
                  <a:pt x="4917" y="2589"/>
                </a:cubicBezTo>
                <a:lnTo>
                  <a:pt x="4917" y="2573"/>
                </a:lnTo>
                <a:cubicBezTo>
                  <a:pt x="4901" y="2573"/>
                  <a:pt x="4901" y="2557"/>
                  <a:pt x="4901" y="2541"/>
                </a:cubicBezTo>
                <a:cubicBezTo>
                  <a:pt x="4901" y="2525"/>
                  <a:pt x="4901" y="2525"/>
                  <a:pt x="4901" y="2509"/>
                </a:cubicBezTo>
                <a:lnTo>
                  <a:pt x="4885" y="2509"/>
                </a:lnTo>
                <a:cubicBezTo>
                  <a:pt x="4885" y="2494"/>
                  <a:pt x="4885" y="2478"/>
                  <a:pt x="4885" y="2478"/>
                </a:cubicBezTo>
                <a:cubicBezTo>
                  <a:pt x="4869" y="2462"/>
                  <a:pt x="4869" y="2446"/>
                  <a:pt x="4869" y="2446"/>
                </a:cubicBezTo>
                <a:lnTo>
                  <a:pt x="4853" y="2430"/>
                </a:lnTo>
                <a:cubicBezTo>
                  <a:pt x="4853" y="2430"/>
                  <a:pt x="4853" y="2414"/>
                  <a:pt x="4837" y="2414"/>
                </a:cubicBezTo>
                <a:lnTo>
                  <a:pt x="4837" y="2398"/>
                </a:lnTo>
                <a:cubicBezTo>
                  <a:pt x="4837" y="2398"/>
                  <a:pt x="4821" y="2398"/>
                  <a:pt x="4821" y="2382"/>
                </a:cubicBezTo>
                <a:cubicBezTo>
                  <a:pt x="4805" y="2366"/>
                  <a:pt x="4805" y="2366"/>
                  <a:pt x="4790" y="2351"/>
                </a:cubicBezTo>
                <a:cubicBezTo>
                  <a:pt x="4773" y="2351"/>
                  <a:pt x="4773" y="2334"/>
                  <a:pt x="4758" y="2334"/>
                </a:cubicBezTo>
                <a:lnTo>
                  <a:pt x="4758" y="2318"/>
                </a:lnTo>
                <a:cubicBezTo>
                  <a:pt x="4742" y="2318"/>
                  <a:pt x="4742" y="2318"/>
                  <a:pt x="4726" y="2303"/>
                </a:cubicBezTo>
                <a:cubicBezTo>
                  <a:pt x="4726" y="2303"/>
                  <a:pt x="4710" y="2303"/>
                  <a:pt x="4710" y="2287"/>
                </a:cubicBezTo>
                <a:cubicBezTo>
                  <a:pt x="4710" y="2287"/>
                  <a:pt x="4726" y="2287"/>
                  <a:pt x="4726" y="2271"/>
                </a:cubicBezTo>
                <a:lnTo>
                  <a:pt x="4742" y="2271"/>
                </a:lnTo>
                <a:cubicBezTo>
                  <a:pt x="4742" y="2255"/>
                  <a:pt x="4742" y="2255"/>
                  <a:pt x="4758" y="2255"/>
                </a:cubicBezTo>
                <a:cubicBezTo>
                  <a:pt x="4758" y="2239"/>
                  <a:pt x="4758" y="2239"/>
                  <a:pt x="4758" y="2239"/>
                </a:cubicBezTo>
                <a:cubicBezTo>
                  <a:pt x="4773" y="2223"/>
                  <a:pt x="4773" y="2223"/>
                  <a:pt x="4773" y="2223"/>
                </a:cubicBezTo>
                <a:cubicBezTo>
                  <a:pt x="4773" y="2207"/>
                  <a:pt x="4790" y="2207"/>
                  <a:pt x="4790" y="2207"/>
                </a:cubicBezTo>
                <a:cubicBezTo>
                  <a:pt x="4790" y="2191"/>
                  <a:pt x="4790" y="2191"/>
                  <a:pt x="4790" y="2191"/>
                </a:cubicBezTo>
                <a:cubicBezTo>
                  <a:pt x="4790" y="2175"/>
                  <a:pt x="4805" y="2175"/>
                  <a:pt x="4805" y="2175"/>
                </a:cubicBezTo>
                <a:cubicBezTo>
                  <a:pt x="4805" y="2160"/>
                  <a:pt x="4805" y="2160"/>
                  <a:pt x="4805" y="2143"/>
                </a:cubicBezTo>
                <a:cubicBezTo>
                  <a:pt x="4805" y="2143"/>
                  <a:pt x="4821" y="2143"/>
                  <a:pt x="4821" y="2128"/>
                </a:cubicBezTo>
                <a:lnTo>
                  <a:pt x="4821" y="2112"/>
                </a:lnTo>
                <a:lnTo>
                  <a:pt x="4821" y="2096"/>
                </a:lnTo>
                <a:cubicBezTo>
                  <a:pt x="4837" y="2096"/>
                  <a:pt x="4837" y="2080"/>
                  <a:pt x="4837" y="2080"/>
                </a:cubicBezTo>
                <a:cubicBezTo>
                  <a:pt x="4837" y="2064"/>
                  <a:pt x="4837" y="2064"/>
                  <a:pt x="4837" y="2064"/>
                </a:cubicBezTo>
                <a:cubicBezTo>
                  <a:pt x="4837" y="2048"/>
                  <a:pt x="4837" y="2032"/>
                  <a:pt x="4837" y="2016"/>
                </a:cubicBezTo>
                <a:cubicBezTo>
                  <a:pt x="4837" y="1809"/>
                  <a:pt x="4646" y="1634"/>
                  <a:pt x="4424" y="1634"/>
                </a:cubicBezTo>
                <a:cubicBezTo>
                  <a:pt x="3612" y="1634"/>
                  <a:pt x="3612" y="1634"/>
                  <a:pt x="3612" y="1634"/>
                </a:cubicBezTo>
                <a:cubicBezTo>
                  <a:pt x="3596" y="1634"/>
                  <a:pt x="3580" y="1634"/>
                  <a:pt x="3564" y="1634"/>
                </a:cubicBezTo>
                <a:cubicBezTo>
                  <a:pt x="3548" y="1651"/>
                  <a:pt x="3533" y="1651"/>
                  <a:pt x="3533" y="1651"/>
                </a:cubicBezTo>
                <a:cubicBezTo>
                  <a:pt x="3517" y="1651"/>
                  <a:pt x="3517" y="1651"/>
                  <a:pt x="3517" y="1651"/>
                </a:cubicBezTo>
                <a:cubicBezTo>
                  <a:pt x="3500" y="1651"/>
                  <a:pt x="3500" y="1651"/>
                  <a:pt x="3500" y="1651"/>
                </a:cubicBezTo>
                <a:cubicBezTo>
                  <a:pt x="3230" y="1651"/>
                  <a:pt x="3230" y="1651"/>
                  <a:pt x="3230" y="1651"/>
                </a:cubicBezTo>
                <a:cubicBezTo>
                  <a:pt x="3214" y="1651"/>
                  <a:pt x="3199" y="1651"/>
                  <a:pt x="3199" y="1634"/>
                </a:cubicBezTo>
                <a:cubicBezTo>
                  <a:pt x="3182" y="1618"/>
                  <a:pt x="3182" y="1603"/>
                  <a:pt x="3182" y="1587"/>
                </a:cubicBezTo>
                <a:cubicBezTo>
                  <a:pt x="3262" y="1284"/>
                  <a:pt x="3373" y="600"/>
                  <a:pt x="3214" y="314"/>
                </a:cubicBezTo>
                <a:cubicBezTo>
                  <a:pt x="3151" y="187"/>
                  <a:pt x="3055" y="91"/>
                  <a:pt x="2912" y="27"/>
                </a:cubicBezTo>
                <a:cubicBezTo>
                  <a:pt x="2800" y="-20"/>
                  <a:pt x="2673" y="-4"/>
                  <a:pt x="2578" y="60"/>
                </a:cubicBezTo>
                <a:cubicBezTo>
                  <a:pt x="2466" y="139"/>
                  <a:pt x="2403" y="266"/>
                  <a:pt x="2419" y="393"/>
                </a:cubicBezTo>
                <a:cubicBezTo>
                  <a:pt x="2451" y="982"/>
                  <a:pt x="2005" y="1618"/>
                  <a:pt x="1926" y="1730"/>
                </a:cubicBezTo>
                <a:cubicBezTo>
                  <a:pt x="1862" y="1746"/>
                  <a:pt x="1862" y="1746"/>
                  <a:pt x="1862" y="1746"/>
                </a:cubicBezTo>
                <a:cubicBezTo>
                  <a:pt x="1830" y="1682"/>
                  <a:pt x="1766" y="1634"/>
                  <a:pt x="1687" y="1634"/>
                </a:cubicBezTo>
                <a:cubicBezTo>
                  <a:pt x="207" y="1634"/>
                  <a:pt x="207" y="1634"/>
                  <a:pt x="207" y="1634"/>
                </a:cubicBezTo>
                <a:cubicBezTo>
                  <a:pt x="96" y="1634"/>
                  <a:pt x="0" y="1730"/>
                  <a:pt x="0" y="1857"/>
                </a:cubicBezTo>
                <a:cubicBezTo>
                  <a:pt x="0" y="4291"/>
                  <a:pt x="0" y="4291"/>
                  <a:pt x="0" y="4291"/>
                </a:cubicBezTo>
                <a:cubicBezTo>
                  <a:pt x="0" y="4419"/>
                  <a:pt x="96" y="4514"/>
                  <a:pt x="207" y="4514"/>
                </a:cubicBezTo>
                <a:cubicBezTo>
                  <a:pt x="1687" y="4514"/>
                  <a:pt x="1687" y="4514"/>
                  <a:pt x="1687" y="4514"/>
                </a:cubicBezTo>
                <a:cubicBezTo>
                  <a:pt x="1799" y="4514"/>
                  <a:pt x="1894" y="4419"/>
                  <a:pt x="1894" y="4291"/>
                </a:cubicBezTo>
                <a:cubicBezTo>
                  <a:pt x="1894" y="4196"/>
                  <a:pt x="1894" y="4196"/>
                  <a:pt x="1894" y="4196"/>
                </a:cubicBezTo>
                <a:cubicBezTo>
                  <a:pt x="1909" y="4196"/>
                  <a:pt x="1926" y="4196"/>
                  <a:pt x="1942" y="4196"/>
                </a:cubicBezTo>
                <a:cubicBezTo>
                  <a:pt x="3373" y="4196"/>
                  <a:pt x="3373" y="4196"/>
                  <a:pt x="3373" y="4196"/>
                </a:cubicBezTo>
                <a:cubicBezTo>
                  <a:pt x="4185" y="4196"/>
                  <a:pt x="4185" y="4196"/>
                  <a:pt x="4185" y="4196"/>
                </a:cubicBezTo>
                <a:cubicBezTo>
                  <a:pt x="4424" y="4196"/>
                  <a:pt x="4614" y="4037"/>
                  <a:pt x="4614" y="3830"/>
                </a:cubicBezTo>
                <a:cubicBezTo>
                  <a:pt x="4614" y="3814"/>
                  <a:pt x="4614" y="3798"/>
                  <a:pt x="4599" y="3782"/>
                </a:cubicBezTo>
                <a:lnTo>
                  <a:pt x="4599" y="3766"/>
                </a:lnTo>
                <a:lnTo>
                  <a:pt x="4599" y="3751"/>
                </a:lnTo>
                <a:lnTo>
                  <a:pt x="4599" y="3734"/>
                </a:lnTo>
                <a:cubicBezTo>
                  <a:pt x="4599" y="3734"/>
                  <a:pt x="4599" y="3719"/>
                  <a:pt x="4582" y="3719"/>
                </a:cubicBezTo>
                <a:cubicBezTo>
                  <a:pt x="4582" y="3703"/>
                  <a:pt x="4582" y="3703"/>
                  <a:pt x="4582" y="3703"/>
                </a:cubicBezTo>
                <a:cubicBezTo>
                  <a:pt x="4582" y="3687"/>
                  <a:pt x="4582" y="3687"/>
                  <a:pt x="4582" y="3687"/>
                </a:cubicBezTo>
                <a:cubicBezTo>
                  <a:pt x="4567" y="3671"/>
                  <a:pt x="4567" y="3671"/>
                  <a:pt x="4567" y="3671"/>
                </a:cubicBezTo>
                <a:cubicBezTo>
                  <a:pt x="4567" y="3655"/>
                  <a:pt x="4567" y="3655"/>
                  <a:pt x="4567" y="3655"/>
                </a:cubicBezTo>
                <a:cubicBezTo>
                  <a:pt x="4551" y="3639"/>
                  <a:pt x="4551" y="3639"/>
                  <a:pt x="4551" y="3639"/>
                </a:cubicBezTo>
                <a:cubicBezTo>
                  <a:pt x="4551" y="3623"/>
                  <a:pt x="4551" y="3623"/>
                  <a:pt x="4535" y="3623"/>
                </a:cubicBezTo>
                <a:cubicBezTo>
                  <a:pt x="4535" y="3607"/>
                  <a:pt x="4535" y="3607"/>
                  <a:pt x="4535" y="3607"/>
                </a:cubicBezTo>
                <a:lnTo>
                  <a:pt x="4519" y="3591"/>
                </a:lnTo>
                <a:cubicBezTo>
                  <a:pt x="4519" y="3591"/>
                  <a:pt x="4519" y="3575"/>
                  <a:pt x="4503" y="3575"/>
                </a:cubicBezTo>
                <a:cubicBezTo>
                  <a:pt x="4519" y="3560"/>
                  <a:pt x="4535" y="3560"/>
                  <a:pt x="4535" y="3560"/>
                </a:cubicBezTo>
                <a:lnTo>
                  <a:pt x="4551" y="3560"/>
                </a:lnTo>
                <a:cubicBezTo>
                  <a:pt x="4551" y="3543"/>
                  <a:pt x="4567" y="3543"/>
                  <a:pt x="4567" y="3543"/>
                </a:cubicBezTo>
                <a:cubicBezTo>
                  <a:pt x="4567" y="3543"/>
                  <a:pt x="4582" y="3543"/>
                  <a:pt x="4582" y="3528"/>
                </a:cubicBezTo>
                <a:cubicBezTo>
                  <a:pt x="4582" y="3528"/>
                  <a:pt x="4599" y="3528"/>
                  <a:pt x="4614" y="3512"/>
                </a:cubicBezTo>
                <a:lnTo>
                  <a:pt x="4630" y="3496"/>
                </a:lnTo>
                <a:cubicBezTo>
                  <a:pt x="4630" y="3496"/>
                  <a:pt x="4646" y="3496"/>
                  <a:pt x="4646" y="3480"/>
                </a:cubicBezTo>
                <a:cubicBezTo>
                  <a:pt x="4646" y="3480"/>
                  <a:pt x="4662" y="3480"/>
                  <a:pt x="4662" y="3464"/>
                </a:cubicBezTo>
                <a:cubicBezTo>
                  <a:pt x="4678" y="3448"/>
                  <a:pt x="4678" y="3448"/>
                  <a:pt x="4694" y="3432"/>
                </a:cubicBezTo>
                <a:cubicBezTo>
                  <a:pt x="4694" y="3416"/>
                  <a:pt x="4710" y="3416"/>
                  <a:pt x="4710" y="3400"/>
                </a:cubicBezTo>
                <a:cubicBezTo>
                  <a:pt x="4710" y="3385"/>
                  <a:pt x="4726" y="3385"/>
                  <a:pt x="4726" y="3369"/>
                </a:cubicBezTo>
                <a:cubicBezTo>
                  <a:pt x="4726" y="3353"/>
                  <a:pt x="4742" y="3353"/>
                  <a:pt x="4742" y="3337"/>
                </a:cubicBezTo>
                <a:cubicBezTo>
                  <a:pt x="4742" y="3321"/>
                  <a:pt x="4742" y="3321"/>
                  <a:pt x="4758" y="3305"/>
                </a:cubicBezTo>
                <a:lnTo>
                  <a:pt x="4758" y="3289"/>
                </a:lnTo>
                <a:lnTo>
                  <a:pt x="4758" y="3273"/>
                </a:lnTo>
                <a:cubicBezTo>
                  <a:pt x="4758" y="3257"/>
                  <a:pt x="4758" y="3257"/>
                  <a:pt x="4758" y="3257"/>
                </a:cubicBezTo>
                <a:cubicBezTo>
                  <a:pt x="4758" y="3242"/>
                  <a:pt x="4758" y="3242"/>
                  <a:pt x="4758" y="3225"/>
                </a:cubicBezTo>
                <a:cubicBezTo>
                  <a:pt x="4758" y="3209"/>
                  <a:pt x="4758" y="3194"/>
                  <a:pt x="4758" y="3178"/>
                </a:cubicBezTo>
                <a:cubicBezTo>
                  <a:pt x="4758" y="3162"/>
                  <a:pt x="4758" y="3162"/>
                  <a:pt x="4758" y="3146"/>
                </a:cubicBezTo>
                <a:lnTo>
                  <a:pt x="4742" y="3130"/>
                </a:lnTo>
                <a:lnTo>
                  <a:pt x="4742" y="3114"/>
                </a:lnTo>
                <a:lnTo>
                  <a:pt x="4742" y="3098"/>
                </a:lnTo>
                <a:lnTo>
                  <a:pt x="4726" y="3082"/>
                </a:lnTo>
                <a:lnTo>
                  <a:pt x="4726" y="3066"/>
                </a:lnTo>
                <a:lnTo>
                  <a:pt x="4710" y="3051"/>
                </a:lnTo>
                <a:lnTo>
                  <a:pt x="4710" y="3034"/>
                </a:lnTo>
                <a:cubicBezTo>
                  <a:pt x="4694" y="3034"/>
                  <a:pt x="4694" y="3019"/>
                  <a:pt x="4694" y="3019"/>
                </a:cubicBezTo>
                <a:cubicBezTo>
                  <a:pt x="4694" y="3019"/>
                  <a:pt x="4694" y="3003"/>
                  <a:pt x="4678" y="3003"/>
                </a:cubicBezTo>
                <a:lnTo>
                  <a:pt x="4678" y="2987"/>
                </a:lnTo>
                <a:cubicBezTo>
                  <a:pt x="4662" y="2987"/>
                  <a:pt x="4662" y="2987"/>
                  <a:pt x="4662" y="2971"/>
                </a:cubicBezTo>
                <a:cubicBezTo>
                  <a:pt x="4678" y="2971"/>
                  <a:pt x="4678" y="2955"/>
                  <a:pt x="4694" y="2955"/>
                </a:cubicBezTo>
                <a:cubicBezTo>
                  <a:pt x="4710" y="2955"/>
                  <a:pt x="4710" y="2939"/>
                  <a:pt x="4726" y="2939"/>
                </a:cubicBezTo>
                <a:cubicBezTo>
                  <a:pt x="4742" y="2923"/>
                  <a:pt x="4758" y="2923"/>
                  <a:pt x="4758" y="2907"/>
                </a:cubicBezTo>
                <a:cubicBezTo>
                  <a:pt x="4773" y="2907"/>
                  <a:pt x="4773" y="2891"/>
                  <a:pt x="4790" y="2891"/>
                </a:cubicBezTo>
                <a:cubicBezTo>
                  <a:pt x="4805" y="2875"/>
                  <a:pt x="4805" y="2875"/>
                  <a:pt x="4805" y="2860"/>
                </a:cubicBezTo>
                <a:cubicBezTo>
                  <a:pt x="4821" y="2860"/>
                  <a:pt x="4821" y="2860"/>
                  <a:pt x="4821" y="2860"/>
                </a:cubicBezTo>
                <a:cubicBezTo>
                  <a:pt x="4821" y="2843"/>
                  <a:pt x="4837" y="2843"/>
                  <a:pt x="4837" y="2828"/>
                </a:cubicBezTo>
                <a:close/>
                <a:moveTo>
                  <a:pt x="4344" y="3448"/>
                </a:moveTo>
                <a:cubicBezTo>
                  <a:pt x="4185" y="3448"/>
                  <a:pt x="4185" y="3448"/>
                  <a:pt x="4185" y="3448"/>
                </a:cubicBezTo>
                <a:cubicBezTo>
                  <a:pt x="3533" y="3448"/>
                  <a:pt x="3533" y="3448"/>
                  <a:pt x="3533" y="3448"/>
                </a:cubicBezTo>
                <a:cubicBezTo>
                  <a:pt x="3390" y="3448"/>
                  <a:pt x="3278" y="3337"/>
                  <a:pt x="3278" y="3225"/>
                </a:cubicBezTo>
                <a:cubicBezTo>
                  <a:pt x="3278" y="3098"/>
                  <a:pt x="3390" y="3003"/>
                  <a:pt x="3533" y="3003"/>
                </a:cubicBezTo>
                <a:cubicBezTo>
                  <a:pt x="3676" y="3003"/>
                  <a:pt x="3676" y="3003"/>
                  <a:pt x="3676" y="3003"/>
                </a:cubicBezTo>
                <a:cubicBezTo>
                  <a:pt x="4344" y="3003"/>
                  <a:pt x="4344" y="3003"/>
                  <a:pt x="4344" y="3003"/>
                </a:cubicBezTo>
                <a:cubicBezTo>
                  <a:pt x="4487" y="3003"/>
                  <a:pt x="4599" y="3098"/>
                  <a:pt x="4599" y="3225"/>
                </a:cubicBezTo>
                <a:cubicBezTo>
                  <a:pt x="4599" y="3337"/>
                  <a:pt x="4487" y="3448"/>
                  <a:pt x="4344" y="3448"/>
                </a:cubicBezTo>
                <a:close/>
                <a:moveTo>
                  <a:pt x="4503" y="2843"/>
                </a:moveTo>
                <a:cubicBezTo>
                  <a:pt x="4344" y="2843"/>
                  <a:pt x="4344" y="2843"/>
                  <a:pt x="4344" y="2843"/>
                </a:cubicBezTo>
                <a:cubicBezTo>
                  <a:pt x="3676" y="2843"/>
                  <a:pt x="3676" y="2843"/>
                  <a:pt x="3676" y="2843"/>
                </a:cubicBezTo>
                <a:cubicBezTo>
                  <a:pt x="3533" y="2843"/>
                  <a:pt x="3421" y="2748"/>
                  <a:pt x="3421" y="2621"/>
                </a:cubicBezTo>
                <a:cubicBezTo>
                  <a:pt x="3421" y="2494"/>
                  <a:pt x="3533" y="2398"/>
                  <a:pt x="3676" y="2398"/>
                </a:cubicBezTo>
                <a:cubicBezTo>
                  <a:pt x="4424" y="2398"/>
                  <a:pt x="4424" y="2398"/>
                  <a:pt x="4424" y="2398"/>
                </a:cubicBezTo>
                <a:cubicBezTo>
                  <a:pt x="4503" y="2398"/>
                  <a:pt x="4503" y="2398"/>
                  <a:pt x="4503" y="2398"/>
                </a:cubicBezTo>
                <a:cubicBezTo>
                  <a:pt x="4630" y="2398"/>
                  <a:pt x="4758" y="2494"/>
                  <a:pt x="4758" y="2621"/>
                </a:cubicBezTo>
                <a:cubicBezTo>
                  <a:pt x="4758" y="2748"/>
                  <a:pt x="4630" y="2843"/>
                  <a:pt x="4503" y="2843"/>
                </a:cubicBezTo>
                <a:close/>
                <a:moveTo>
                  <a:pt x="4424" y="1794"/>
                </a:moveTo>
                <a:cubicBezTo>
                  <a:pt x="4567" y="1794"/>
                  <a:pt x="4678" y="1905"/>
                  <a:pt x="4678" y="2016"/>
                </a:cubicBezTo>
                <a:cubicBezTo>
                  <a:pt x="4678" y="2143"/>
                  <a:pt x="4567" y="2239"/>
                  <a:pt x="4424" y="2239"/>
                </a:cubicBezTo>
                <a:cubicBezTo>
                  <a:pt x="3676" y="2239"/>
                  <a:pt x="3676" y="2239"/>
                  <a:pt x="3676" y="2239"/>
                </a:cubicBezTo>
                <a:cubicBezTo>
                  <a:pt x="3612" y="2239"/>
                  <a:pt x="3612" y="2239"/>
                  <a:pt x="3612" y="2239"/>
                </a:cubicBezTo>
                <a:cubicBezTo>
                  <a:pt x="3469" y="2239"/>
                  <a:pt x="3342" y="2143"/>
                  <a:pt x="3342" y="2016"/>
                </a:cubicBezTo>
                <a:cubicBezTo>
                  <a:pt x="3342" y="1921"/>
                  <a:pt x="3421" y="1841"/>
                  <a:pt x="3533" y="1809"/>
                </a:cubicBezTo>
                <a:lnTo>
                  <a:pt x="3548" y="1809"/>
                </a:lnTo>
                <a:lnTo>
                  <a:pt x="3564" y="1794"/>
                </a:lnTo>
                <a:lnTo>
                  <a:pt x="3580" y="1794"/>
                </a:lnTo>
                <a:cubicBezTo>
                  <a:pt x="3596" y="1794"/>
                  <a:pt x="3596" y="1794"/>
                  <a:pt x="3612" y="1794"/>
                </a:cubicBezTo>
                <a:close/>
                <a:moveTo>
                  <a:pt x="1735" y="4291"/>
                </a:moveTo>
                <a:cubicBezTo>
                  <a:pt x="1735" y="4323"/>
                  <a:pt x="1719" y="4355"/>
                  <a:pt x="1687" y="4355"/>
                </a:cubicBezTo>
                <a:cubicBezTo>
                  <a:pt x="207" y="4355"/>
                  <a:pt x="207" y="4355"/>
                  <a:pt x="207" y="4355"/>
                </a:cubicBezTo>
                <a:cubicBezTo>
                  <a:pt x="175" y="4355"/>
                  <a:pt x="160" y="4323"/>
                  <a:pt x="160" y="4291"/>
                </a:cubicBezTo>
                <a:cubicBezTo>
                  <a:pt x="160" y="1857"/>
                  <a:pt x="160" y="1857"/>
                  <a:pt x="160" y="1857"/>
                </a:cubicBezTo>
                <a:cubicBezTo>
                  <a:pt x="160" y="1825"/>
                  <a:pt x="175" y="1794"/>
                  <a:pt x="207" y="1794"/>
                </a:cubicBezTo>
                <a:cubicBezTo>
                  <a:pt x="1687" y="1794"/>
                  <a:pt x="1687" y="1794"/>
                  <a:pt x="1687" y="1794"/>
                </a:cubicBezTo>
                <a:cubicBezTo>
                  <a:pt x="1719" y="1794"/>
                  <a:pt x="1735" y="1825"/>
                  <a:pt x="1735" y="1857"/>
                </a:cubicBezTo>
                <a:cubicBezTo>
                  <a:pt x="1735" y="3989"/>
                  <a:pt x="1735" y="3989"/>
                  <a:pt x="1735" y="3989"/>
                </a:cubicBezTo>
                <a:close/>
                <a:moveTo>
                  <a:pt x="1894" y="3989"/>
                </a:moveTo>
                <a:cubicBezTo>
                  <a:pt x="1894" y="1905"/>
                  <a:pt x="1894" y="1905"/>
                  <a:pt x="1894" y="1905"/>
                </a:cubicBezTo>
                <a:cubicBezTo>
                  <a:pt x="1989" y="1873"/>
                  <a:pt x="1989" y="1873"/>
                  <a:pt x="1989" y="1873"/>
                </a:cubicBezTo>
                <a:cubicBezTo>
                  <a:pt x="2005" y="1857"/>
                  <a:pt x="2021" y="1857"/>
                  <a:pt x="2037" y="1841"/>
                </a:cubicBezTo>
                <a:cubicBezTo>
                  <a:pt x="2053" y="1809"/>
                  <a:pt x="2610" y="1094"/>
                  <a:pt x="2578" y="393"/>
                </a:cubicBezTo>
                <a:cubicBezTo>
                  <a:pt x="2562" y="314"/>
                  <a:pt x="2610" y="234"/>
                  <a:pt x="2657" y="203"/>
                </a:cubicBezTo>
                <a:cubicBezTo>
                  <a:pt x="2721" y="155"/>
                  <a:pt x="2785" y="155"/>
                  <a:pt x="2848" y="171"/>
                </a:cubicBezTo>
                <a:cubicBezTo>
                  <a:pt x="2960" y="218"/>
                  <a:pt x="3039" y="282"/>
                  <a:pt x="3087" y="378"/>
                </a:cubicBezTo>
                <a:cubicBezTo>
                  <a:pt x="3199" y="600"/>
                  <a:pt x="3119" y="1205"/>
                  <a:pt x="3023" y="1539"/>
                </a:cubicBezTo>
                <a:cubicBezTo>
                  <a:pt x="3008" y="1603"/>
                  <a:pt x="3023" y="1682"/>
                  <a:pt x="3071" y="1730"/>
                </a:cubicBezTo>
                <a:cubicBezTo>
                  <a:pt x="3103" y="1778"/>
                  <a:pt x="3167" y="1809"/>
                  <a:pt x="3230" y="1809"/>
                </a:cubicBezTo>
                <a:cubicBezTo>
                  <a:pt x="3262" y="1809"/>
                  <a:pt x="3262" y="1809"/>
                  <a:pt x="3262" y="1809"/>
                </a:cubicBezTo>
                <a:cubicBezTo>
                  <a:pt x="3214" y="1873"/>
                  <a:pt x="3182" y="1937"/>
                  <a:pt x="3182" y="2016"/>
                </a:cubicBezTo>
                <a:cubicBezTo>
                  <a:pt x="3182" y="2160"/>
                  <a:pt x="3278" y="2287"/>
                  <a:pt x="3390" y="2351"/>
                </a:cubicBezTo>
                <a:cubicBezTo>
                  <a:pt x="3310" y="2414"/>
                  <a:pt x="3262" y="2509"/>
                  <a:pt x="3262" y="2621"/>
                </a:cubicBezTo>
                <a:cubicBezTo>
                  <a:pt x="3262" y="2716"/>
                  <a:pt x="3310" y="2812"/>
                  <a:pt x="3373" y="2875"/>
                </a:cubicBezTo>
                <a:cubicBezTo>
                  <a:pt x="3214" y="2923"/>
                  <a:pt x="3119" y="3066"/>
                  <a:pt x="3119" y="3225"/>
                </a:cubicBezTo>
                <a:cubicBezTo>
                  <a:pt x="3119" y="3321"/>
                  <a:pt x="3151" y="3400"/>
                  <a:pt x="3214" y="3480"/>
                </a:cubicBezTo>
                <a:cubicBezTo>
                  <a:pt x="3071" y="3528"/>
                  <a:pt x="2960" y="3671"/>
                  <a:pt x="2960" y="3830"/>
                </a:cubicBezTo>
                <a:cubicBezTo>
                  <a:pt x="2960" y="3909"/>
                  <a:pt x="2991" y="3989"/>
                  <a:pt x="3039" y="4037"/>
                </a:cubicBezTo>
                <a:cubicBezTo>
                  <a:pt x="1942" y="4037"/>
                  <a:pt x="1942" y="4037"/>
                  <a:pt x="1942" y="4037"/>
                </a:cubicBezTo>
                <a:cubicBezTo>
                  <a:pt x="1926" y="4037"/>
                  <a:pt x="1894" y="4021"/>
                  <a:pt x="1894" y="3989"/>
                </a:cubicBezTo>
                <a:close/>
                <a:moveTo>
                  <a:pt x="4185" y="4037"/>
                </a:moveTo>
                <a:cubicBezTo>
                  <a:pt x="3373" y="4037"/>
                  <a:pt x="3373" y="4037"/>
                  <a:pt x="3373" y="4037"/>
                </a:cubicBezTo>
                <a:cubicBezTo>
                  <a:pt x="3230" y="4037"/>
                  <a:pt x="3119" y="3942"/>
                  <a:pt x="3119" y="3830"/>
                </a:cubicBezTo>
                <a:cubicBezTo>
                  <a:pt x="3119" y="3703"/>
                  <a:pt x="3230" y="3607"/>
                  <a:pt x="3373" y="3607"/>
                </a:cubicBezTo>
                <a:cubicBezTo>
                  <a:pt x="3533" y="3607"/>
                  <a:pt x="3533" y="3607"/>
                  <a:pt x="3533" y="3607"/>
                </a:cubicBezTo>
                <a:cubicBezTo>
                  <a:pt x="4185" y="3607"/>
                  <a:pt x="4185" y="3607"/>
                  <a:pt x="4185" y="3607"/>
                </a:cubicBezTo>
                <a:cubicBezTo>
                  <a:pt x="4328" y="3607"/>
                  <a:pt x="4455" y="3703"/>
                  <a:pt x="4455" y="3830"/>
                </a:cubicBezTo>
                <a:cubicBezTo>
                  <a:pt x="4455" y="3942"/>
                  <a:pt x="4328" y="4037"/>
                  <a:pt x="4185" y="403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4" name="Freeform: Shape 7">
            <a:extLst>
              <a:ext uri="{FF2B5EF4-FFF2-40B4-BE49-F238E27FC236}">
                <a16:creationId xmlns:a16="http://schemas.microsoft.com/office/drawing/2014/main" id="{D2378865-F3C0-E943-AFED-81252D1A3301}"/>
              </a:ext>
            </a:extLst>
          </p:cNvPr>
          <p:cNvSpPr/>
          <p:nvPr/>
        </p:nvSpPr>
        <p:spPr>
          <a:xfrm>
            <a:off x="6041292" y="6319633"/>
            <a:ext cx="1620360" cy="1620720"/>
          </a:xfrm>
          <a:custGeom>
            <a:avLst/>
            <a:gdLst/>
            <a:ahLst/>
            <a:cxnLst>
              <a:cxn ang="3cd4">
                <a:pos x="hc" y="t"/>
              </a:cxn>
              <a:cxn ang="cd2">
                <a:pos x="l" y="vc"/>
              </a:cxn>
              <a:cxn ang="cd4">
                <a:pos x="hc" y="b"/>
              </a:cxn>
              <a:cxn ang="0">
                <a:pos x="r" y="vc"/>
              </a:cxn>
            </a:cxnLst>
            <a:rect l="l" t="t" r="r" b="b"/>
            <a:pathLst>
              <a:path w="4502" h="4503">
                <a:moveTo>
                  <a:pt x="605" y="3755"/>
                </a:moveTo>
                <a:lnTo>
                  <a:pt x="907" y="3755"/>
                </a:lnTo>
                <a:cubicBezTo>
                  <a:pt x="939" y="3914"/>
                  <a:pt x="1082" y="4025"/>
                  <a:pt x="1257" y="4025"/>
                </a:cubicBezTo>
                <a:cubicBezTo>
                  <a:pt x="1432" y="4025"/>
                  <a:pt x="1575" y="3914"/>
                  <a:pt x="1607" y="3755"/>
                </a:cubicBezTo>
                <a:lnTo>
                  <a:pt x="3898" y="3755"/>
                </a:lnTo>
                <a:cubicBezTo>
                  <a:pt x="3946" y="3755"/>
                  <a:pt x="3978" y="3707"/>
                  <a:pt x="3978" y="3675"/>
                </a:cubicBezTo>
                <a:cubicBezTo>
                  <a:pt x="3978" y="3628"/>
                  <a:pt x="3946" y="3596"/>
                  <a:pt x="3898" y="3596"/>
                </a:cubicBezTo>
                <a:lnTo>
                  <a:pt x="1607" y="3596"/>
                </a:lnTo>
                <a:cubicBezTo>
                  <a:pt x="1575" y="3437"/>
                  <a:pt x="1432" y="3310"/>
                  <a:pt x="1257" y="3310"/>
                </a:cubicBezTo>
                <a:cubicBezTo>
                  <a:pt x="1082" y="3310"/>
                  <a:pt x="939" y="3437"/>
                  <a:pt x="907" y="3596"/>
                </a:cubicBezTo>
                <a:lnTo>
                  <a:pt x="605" y="3596"/>
                </a:lnTo>
                <a:cubicBezTo>
                  <a:pt x="557" y="3596"/>
                  <a:pt x="525" y="3628"/>
                  <a:pt x="525" y="3675"/>
                </a:cubicBezTo>
                <a:cubicBezTo>
                  <a:pt x="525" y="3707"/>
                  <a:pt x="557" y="3755"/>
                  <a:pt x="605" y="3755"/>
                </a:cubicBezTo>
                <a:close/>
                <a:moveTo>
                  <a:pt x="1257" y="3468"/>
                </a:moveTo>
                <a:cubicBezTo>
                  <a:pt x="1368" y="3468"/>
                  <a:pt x="1448" y="3564"/>
                  <a:pt x="1448" y="3675"/>
                </a:cubicBezTo>
                <a:cubicBezTo>
                  <a:pt x="1448" y="3787"/>
                  <a:pt x="1368" y="3866"/>
                  <a:pt x="1257" y="3866"/>
                </a:cubicBezTo>
                <a:cubicBezTo>
                  <a:pt x="1145" y="3866"/>
                  <a:pt x="1050" y="3787"/>
                  <a:pt x="1050" y="3675"/>
                </a:cubicBezTo>
                <a:cubicBezTo>
                  <a:pt x="1050" y="3564"/>
                  <a:pt x="1145" y="3468"/>
                  <a:pt x="1257" y="3468"/>
                </a:cubicBezTo>
                <a:close/>
                <a:moveTo>
                  <a:pt x="1527" y="2593"/>
                </a:moveTo>
                <a:cubicBezTo>
                  <a:pt x="1543" y="2610"/>
                  <a:pt x="1559" y="2610"/>
                  <a:pt x="1575" y="2610"/>
                </a:cubicBezTo>
                <a:cubicBezTo>
                  <a:pt x="1591" y="2610"/>
                  <a:pt x="1607" y="2610"/>
                  <a:pt x="1607" y="2593"/>
                </a:cubicBezTo>
                <a:lnTo>
                  <a:pt x="3118" y="1734"/>
                </a:lnTo>
                <a:cubicBezTo>
                  <a:pt x="3134" y="1719"/>
                  <a:pt x="3150" y="1687"/>
                  <a:pt x="3150" y="1671"/>
                </a:cubicBezTo>
                <a:cubicBezTo>
                  <a:pt x="3150" y="1639"/>
                  <a:pt x="3134" y="1607"/>
                  <a:pt x="3118" y="1591"/>
                </a:cubicBezTo>
                <a:lnTo>
                  <a:pt x="1607" y="732"/>
                </a:lnTo>
                <a:cubicBezTo>
                  <a:pt x="1591" y="716"/>
                  <a:pt x="1559" y="716"/>
                  <a:pt x="1527" y="732"/>
                </a:cubicBezTo>
                <a:cubicBezTo>
                  <a:pt x="1511" y="748"/>
                  <a:pt x="1496" y="780"/>
                  <a:pt x="1496" y="796"/>
                </a:cubicBezTo>
                <a:lnTo>
                  <a:pt x="1496" y="2530"/>
                </a:lnTo>
                <a:cubicBezTo>
                  <a:pt x="1496" y="2562"/>
                  <a:pt x="1511" y="2578"/>
                  <a:pt x="1527" y="2593"/>
                </a:cubicBezTo>
                <a:close/>
                <a:moveTo>
                  <a:pt x="1654" y="939"/>
                </a:moveTo>
                <a:lnTo>
                  <a:pt x="2911" y="1671"/>
                </a:lnTo>
                <a:lnTo>
                  <a:pt x="1654" y="2387"/>
                </a:lnTo>
                <a:close/>
                <a:moveTo>
                  <a:pt x="0" y="366"/>
                </a:moveTo>
                <a:lnTo>
                  <a:pt x="0" y="4137"/>
                </a:lnTo>
                <a:cubicBezTo>
                  <a:pt x="0" y="4328"/>
                  <a:pt x="159" y="4503"/>
                  <a:pt x="366" y="4503"/>
                </a:cubicBezTo>
                <a:lnTo>
                  <a:pt x="4136" y="4503"/>
                </a:lnTo>
                <a:cubicBezTo>
                  <a:pt x="4344" y="4503"/>
                  <a:pt x="4502" y="4328"/>
                  <a:pt x="4502" y="4137"/>
                </a:cubicBezTo>
                <a:lnTo>
                  <a:pt x="4502" y="366"/>
                </a:lnTo>
                <a:cubicBezTo>
                  <a:pt x="4502" y="159"/>
                  <a:pt x="4344" y="0"/>
                  <a:pt x="4136" y="0"/>
                </a:cubicBezTo>
                <a:lnTo>
                  <a:pt x="366" y="0"/>
                </a:lnTo>
                <a:cubicBezTo>
                  <a:pt x="159" y="0"/>
                  <a:pt x="0" y="159"/>
                  <a:pt x="0" y="366"/>
                </a:cubicBezTo>
                <a:close/>
                <a:moveTo>
                  <a:pt x="4344" y="366"/>
                </a:moveTo>
                <a:lnTo>
                  <a:pt x="4344" y="4137"/>
                </a:lnTo>
                <a:cubicBezTo>
                  <a:pt x="4344" y="4248"/>
                  <a:pt x="4248" y="4344"/>
                  <a:pt x="4136" y="4344"/>
                </a:cubicBezTo>
                <a:lnTo>
                  <a:pt x="366" y="4344"/>
                </a:lnTo>
                <a:cubicBezTo>
                  <a:pt x="254" y="4344"/>
                  <a:pt x="159" y="4248"/>
                  <a:pt x="159" y="4137"/>
                </a:cubicBezTo>
                <a:lnTo>
                  <a:pt x="159" y="366"/>
                </a:lnTo>
                <a:cubicBezTo>
                  <a:pt x="159" y="239"/>
                  <a:pt x="254" y="159"/>
                  <a:pt x="366" y="159"/>
                </a:cubicBezTo>
                <a:lnTo>
                  <a:pt x="4136" y="159"/>
                </a:lnTo>
                <a:cubicBezTo>
                  <a:pt x="4248" y="159"/>
                  <a:pt x="4344" y="239"/>
                  <a:pt x="4344" y="36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5" name="Freeform: Shape 8">
            <a:extLst>
              <a:ext uri="{FF2B5EF4-FFF2-40B4-BE49-F238E27FC236}">
                <a16:creationId xmlns:a16="http://schemas.microsoft.com/office/drawing/2014/main" id="{CED8EB7C-29F7-6948-B85F-5ED5FAAC3504}"/>
              </a:ext>
            </a:extLst>
          </p:cNvPr>
          <p:cNvSpPr/>
          <p:nvPr/>
        </p:nvSpPr>
        <p:spPr>
          <a:xfrm>
            <a:off x="9934279" y="6371113"/>
            <a:ext cx="1511640" cy="1620720"/>
          </a:xfrm>
          <a:custGeom>
            <a:avLst/>
            <a:gdLst/>
            <a:ahLst/>
            <a:cxnLst>
              <a:cxn ang="3cd4">
                <a:pos x="hc" y="t"/>
              </a:cxn>
              <a:cxn ang="cd2">
                <a:pos x="l" y="vc"/>
              </a:cxn>
              <a:cxn ang="cd4">
                <a:pos x="hc" y="b"/>
              </a:cxn>
              <a:cxn ang="0">
                <a:pos x="r" y="vc"/>
              </a:cxn>
            </a:cxnLst>
            <a:rect l="l" t="t" r="r" b="b"/>
            <a:pathLst>
              <a:path w="4200" h="4503">
                <a:moveTo>
                  <a:pt x="620" y="414"/>
                </a:moveTo>
                <a:cubicBezTo>
                  <a:pt x="589" y="414"/>
                  <a:pt x="541" y="462"/>
                  <a:pt x="541" y="494"/>
                </a:cubicBezTo>
                <a:lnTo>
                  <a:pt x="541" y="780"/>
                </a:lnTo>
                <a:cubicBezTo>
                  <a:pt x="541" y="812"/>
                  <a:pt x="589" y="859"/>
                  <a:pt x="620" y="859"/>
                </a:cubicBezTo>
                <a:cubicBezTo>
                  <a:pt x="668" y="859"/>
                  <a:pt x="700" y="812"/>
                  <a:pt x="700" y="780"/>
                </a:cubicBezTo>
                <a:lnTo>
                  <a:pt x="700" y="494"/>
                </a:lnTo>
                <a:cubicBezTo>
                  <a:pt x="700" y="462"/>
                  <a:pt x="668" y="414"/>
                  <a:pt x="620" y="414"/>
                </a:cubicBezTo>
                <a:close/>
                <a:moveTo>
                  <a:pt x="620" y="1225"/>
                </a:moveTo>
                <a:cubicBezTo>
                  <a:pt x="589" y="1225"/>
                  <a:pt x="541" y="1257"/>
                  <a:pt x="541" y="1305"/>
                </a:cubicBezTo>
                <a:lnTo>
                  <a:pt x="541" y="1576"/>
                </a:lnTo>
                <a:cubicBezTo>
                  <a:pt x="541" y="1623"/>
                  <a:pt x="589" y="1655"/>
                  <a:pt x="620" y="1655"/>
                </a:cubicBezTo>
                <a:cubicBezTo>
                  <a:pt x="668" y="1655"/>
                  <a:pt x="700" y="1623"/>
                  <a:pt x="700" y="1576"/>
                </a:cubicBezTo>
                <a:lnTo>
                  <a:pt x="700" y="1305"/>
                </a:lnTo>
                <a:cubicBezTo>
                  <a:pt x="700" y="1257"/>
                  <a:pt x="668" y="1225"/>
                  <a:pt x="620" y="1225"/>
                </a:cubicBezTo>
                <a:close/>
                <a:moveTo>
                  <a:pt x="620" y="2832"/>
                </a:moveTo>
                <a:cubicBezTo>
                  <a:pt x="589" y="2832"/>
                  <a:pt x="541" y="2864"/>
                  <a:pt x="541" y="2912"/>
                </a:cubicBezTo>
                <a:lnTo>
                  <a:pt x="541" y="3182"/>
                </a:lnTo>
                <a:cubicBezTo>
                  <a:pt x="541" y="3230"/>
                  <a:pt x="589" y="3262"/>
                  <a:pt x="620" y="3262"/>
                </a:cubicBezTo>
                <a:cubicBezTo>
                  <a:pt x="668" y="3262"/>
                  <a:pt x="700" y="3230"/>
                  <a:pt x="700" y="3182"/>
                </a:cubicBezTo>
                <a:lnTo>
                  <a:pt x="700" y="2912"/>
                </a:lnTo>
                <a:cubicBezTo>
                  <a:pt x="700" y="2864"/>
                  <a:pt x="668" y="2832"/>
                  <a:pt x="620" y="2832"/>
                </a:cubicBezTo>
                <a:close/>
                <a:moveTo>
                  <a:pt x="620" y="3644"/>
                </a:moveTo>
                <a:cubicBezTo>
                  <a:pt x="589" y="3644"/>
                  <a:pt x="541" y="3676"/>
                  <a:pt x="541" y="3723"/>
                </a:cubicBezTo>
                <a:lnTo>
                  <a:pt x="541" y="3994"/>
                </a:lnTo>
                <a:cubicBezTo>
                  <a:pt x="541" y="4041"/>
                  <a:pt x="589" y="4073"/>
                  <a:pt x="620" y="4073"/>
                </a:cubicBezTo>
                <a:cubicBezTo>
                  <a:pt x="668" y="4073"/>
                  <a:pt x="700" y="4041"/>
                  <a:pt x="700" y="3994"/>
                </a:cubicBezTo>
                <a:lnTo>
                  <a:pt x="700" y="3723"/>
                </a:lnTo>
                <a:cubicBezTo>
                  <a:pt x="700" y="3676"/>
                  <a:pt x="668" y="3644"/>
                  <a:pt x="620" y="3644"/>
                </a:cubicBezTo>
                <a:close/>
                <a:moveTo>
                  <a:pt x="620" y="2037"/>
                </a:moveTo>
                <a:cubicBezTo>
                  <a:pt x="589" y="2037"/>
                  <a:pt x="541" y="2068"/>
                  <a:pt x="541" y="2116"/>
                </a:cubicBezTo>
                <a:lnTo>
                  <a:pt x="541" y="2387"/>
                </a:lnTo>
                <a:cubicBezTo>
                  <a:pt x="541" y="2419"/>
                  <a:pt x="589" y="2467"/>
                  <a:pt x="620" y="2467"/>
                </a:cubicBezTo>
                <a:cubicBezTo>
                  <a:pt x="668" y="2467"/>
                  <a:pt x="700" y="2419"/>
                  <a:pt x="700" y="2387"/>
                </a:cubicBezTo>
                <a:lnTo>
                  <a:pt x="700" y="2116"/>
                </a:lnTo>
                <a:cubicBezTo>
                  <a:pt x="700" y="2068"/>
                  <a:pt x="668" y="2037"/>
                  <a:pt x="620" y="2037"/>
                </a:cubicBezTo>
                <a:close/>
                <a:moveTo>
                  <a:pt x="3659" y="859"/>
                </a:moveTo>
                <a:cubicBezTo>
                  <a:pt x="3707" y="859"/>
                  <a:pt x="3739" y="812"/>
                  <a:pt x="3739" y="780"/>
                </a:cubicBezTo>
                <a:lnTo>
                  <a:pt x="3739" y="494"/>
                </a:lnTo>
                <a:cubicBezTo>
                  <a:pt x="3739" y="462"/>
                  <a:pt x="3707" y="414"/>
                  <a:pt x="3659" y="414"/>
                </a:cubicBezTo>
                <a:cubicBezTo>
                  <a:pt x="3611" y="414"/>
                  <a:pt x="3580" y="462"/>
                  <a:pt x="3580" y="494"/>
                </a:cubicBezTo>
                <a:lnTo>
                  <a:pt x="3580" y="780"/>
                </a:lnTo>
                <a:cubicBezTo>
                  <a:pt x="3580" y="812"/>
                  <a:pt x="3611" y="859"/>
                  <a:pt x="3659" y="859"/>
                </a:cubicBezTo>
                <a:close/>
                <a:moveTo>
                  <a:pt x="3659" y="1655"/>
                </a:moveTo>
                <a:cubicBezTo>
                  <a:pt x="3707" y="1655"/>
                  <a:pt x="3739" y="1623"/>
                  <a:pt x="3739" y="1576"/>
                </a:cubicBezTo>
                <a:lnTo>
                  <a:pt x="3739" y="1305"/>
                </a:lnTo>
                <a:cubicBezTo>
                  <a:pt x="3739" y="1257"/>
                  <a:pt x="3707" y="1225"/>
                  <a:pt x="3659" y="1225"/>
                </a:cubicBezTo>
                <a:cubicBezTo>
                  <a:pt x="3611" y="1225"/>
                  <a:pt x="3580" y="1257"/>
                  <a:pt x="3580" y="1305"/>
                </a:cubicBezTo>
                <a:lnTo>
                  <a:pt x="3580" y="1576"/>
                </a:lnTo>
                <a:cubicBezTo>
                  <a:pt x="3580" y="1623"/>
                  <a:pt x="3611" y="1655"/>
                  <a:pt x="3659" y="1655"/>
                </a:cubicBezTo>
                <a:close/>
                <a:moveTo>
                  <a:pt x="3659" y="2467"/>
                </a:moveTo>
                <a:cubicBezTo>
                  <a:pt x="3707" y="2467"/>
                  <a:pt x="3739" y="2419"/>
                  <a:pt x="3739" y="2387"/>
                </a:cubicBezTo>
                <a:lnTo>
                  <a:pt x="3739" y="2116"/>
                </a:lnTo>
                <a:cubicBezTo>
                  <a:pt x="3739" y="2068"/>
                  <a:pt x="3707" y="2037"/>
                  <a:pt x="3659" y="2037"/>
                </a:cubicBezTo>
                <a:cubicBezTo>
                  <a:pt x="3611" y="2037"/>
                  <a:pt x="3580" y="2068"/>
                  <a:pt x="3580" y="2116"/>
                </a:cubicBezTo>
                <a:lnTo>
                  <a:pt x="3580" y="2387"/>
                </a:lnTo>
                <a:cubicBezTo>
                  <a:pt x="3580" y="2419"/>
                  <a:pt x="3611" y="2467"/>
                  <a:pt x="3659" y="2467"/>
                </a:cubicBezTo>
                <a:close/>
                <a:moveTo>
                  <a:pt x="3659" y="3262"/>
                </a:moveTo>
                <a:cubicBezTo>
                  <a:pt x="3707" y="3262"/>
                  <a:pt x="3739" y="3230"/>
                  <a:pt x="3739" y="3182"/>
                </a:cubicBezTo>
                <a:lnTo>
                  <a:pt x="3739" y="2912"/>
                </a:lnTo>
                <a:cubicBezTo>
                  <a:pt x="3739" y="2864"/>
                  <a:pt x="3707" y="2832"/>
                  <a:pt x="3659" y="2832"/>
                </a:cubicBezTo>
                <a:cubicBezTo>
                  <a:pt x="3611" y="2832"/>
                  <a:pt x="3580" y="2864"/>
                  <a:pt x="3580" y="2912"/>
                </a:cubicBezTo>
                <a:lnTo>
                  <a:pt x="3580" y="3182"/>
                </a:lnTo>
                <a:cubicBezTo>
                  <a:pt x="3580" y="3230"/>
                  <a:pt x="3611" y="3262"/>
                  <a:pt x="3659" y="3262"/>
                </a:cubicBezTo>
                <a:close/>
                <a:moveTo>
                  <a:pt x="3659" y="4073"/>
                </a:moveTo>
                <a:cubicBezTo>
                  <a:pt x="3707" y="4073"/>
                  <a:pt x="3739" y="4041"/>
                  <a:pt x="3739" y="3994"/>
                </a:cubicBezTo>
                <a:lnTo>
                  <a:pt x="3739" y="3723"/>
                </a:lnTo>
                <a:cubicBezTo>
                  <a:pt x="3739" y="3676"/>
                  <a:pt x="3707" y="3644"/>
                  <a:pt x="3659" y="3644"/>
                </a:cubicBezTo>
                <a:cubicBezTo>
                  <a:pt x="3611" y="3644"/>
                  <a:pt x="3580" y="3676"/>
                  <a:pt x="3580" y="3723"/>
                </a:cubicBezTo>
                <a:lnTo>
                  <a:pt x="3580" y="3994"/>
                </a:lnTo>
                <a:cubicBezTo>
                  <a:pt x="3580" y="4041"/>
                  <a:pt x="3611" y="4073"/>
                  <a:pt x="3659" y="4073"/>
                </a:cubicBezTo>
                <a:close/>
                <a:moveTo>
                  <a:pt x="350" y="0"/>
                </a:moveTo>
                <a:cubicBezTo>
                  <a:pt x="159" y="0"/>
                  <a:pt x="0" y="159"/>
                  <a:pt x="0" y="366"/>
                </a:cubicBezTo>
                <a:lnTo>
                  <a:pt x="0" y="4137"/>
                </a:lnTo>
                <a:cubicBezTo>
                  <a:pt x="0" y="4328"/>
                  <a:pt x="159" y="4503"/>
                  <a:pt x="350" y="4503"/>
                </a:cubicBezTo>
                <a:lnTo>
                  <a:pt x="3866" y="4503"/>
                </a:lnTo>
                <a:cubicBezTo>
                  <a:pt x="4057" y="4503"/>
                  <a:pt x="4200" y="4328"/>
                  <a:pt x="4200" y="4137"/>
                </a:cubicBezTo>
                <a:lnTo>
                  <a:pt x="4200" y="366"/>
                </a:lnTo>
                <a:cubicBezTo>
                  <a:pt x="4200" y="159"/>
                  <a:pt x="4057" y="0"/>
                  <a:pt x="3866" y="0"/>
                </a:cubicBezTo>
                <a:close/>
                <a:moveTo>
                  <a:pt x="1145" y="2323"/>
                </a:moveTo>
                <a:lnTo>
                  <a:pt x="3134" y="2323"/>
                </a:lnTo>
                <a:lnTo>
                  <a:pt x="3134" y="4344"/>
                </a:lnTo>
                <a:lnTo>
                  <a:pt x="1145" y="4344"/>
                </a:lnTo>
                <a:close/>
                <a:moveTo>
                  <a:pt x="3134" y="2164"/>
                </a:moveTo>
                <a:lnTo>
                  <a:pt x="1145" y="2164"/>
                </a:lnTo>
                <a:lnTo>
                  <a:pt x="1145" y="159"/>
                </a:lnTo>
                <a:lnTo>
                  <a:pt x="3134" y="159"/>
                </a:lnTo>
                <a:close/>
                <a:moveTo>
                  <a:pt x="159" y="4137"/>
                </a:moveTo>
                <a:lnTo>
                  <a:pt x="159" y="366"/>
                </a:lnTo>
                <a:cubicBezTo>
                  <a:pt x="159" y="239"/>
                  <a:pt x="238" y="159"/>
                  <a:pt x="350" y="159"/>
                </a:cubicBezTo>
                <a:lnTo>
                  <a:pt x="986" y="159"/>
                </a:lnTo>
                <a:lnTo>
                  <a:pt x="986" y="4344"/>
                </a:lnTo>
                <a:lnTo>
                  <a:pt x="350" y="4344"/>
                </a:lnTo>
                <a:cubicBezTo>
                  <a:pt x="238" y="4344"/>
                  <a:pt x="159" y="4249"/>
                  <a:pt x="159" y="4137"/>
                </a:cubicBezTo>
                <a:close/>
                <a:moveTo>
                  <a:pt x="4041" y="366"/>
                </a:moveTo>
                <a:lnTo>
                  <a:pt x="4041" y="4137"/>
                </a:lnTo>
                <a:cubicBezTo>
                  <a:pt x="4041" y="4249"/>
                  <a:pt x="3962" y="4344"/>
                  <a:pt x="3866" y="4344"/>
                </a:cubicBezTo>
                <a:lnTo>
                  <a:pt x="3293" y="4344"/>
                </a:lnTo>
                <a:lnTo>
                  <a:pt x="3293" y="159"/>
                </a:lnTo>
                <a:lnTo>
                  <a:pt x="3866" y="159"/>
                </a:lnTo>
                <a:cubicBezTo>
                  <a:pt x="3962" y="159"/>
                  <a:pt x="4041" y="239"/>
                  <a:pt x="4041" y="36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6" name="Freeform: Shape 9">
            <a:extLst>
              <a:ext uri="{FF2B5EF4-FFF2-40B4-BE49-F238E27FC236}">
                <a16:creationId xmlns:a16="http://schemas.microsoft.com/office/drawing/2014/main" id="{A1E61DF2-D951-0E43-B37F-8C9E0B2A3A12}"/>
              </a:ext>
            </a:extLst>
          </p:cNvPr>
          <p:cNvSpPr/>
          <p:nvPr/>
        </p:nvSpPr>
        <p:spPr>
          <a:xfrm>
            <a:off x="13545644" y="6680353"/>
            <a:ext cx="2067120" cy="1134000"/>
          </a:xfrm>
          <a:custGeom>
            <a:avLst/>
            <a:gdLst/>
            <a:ahLst/>
            <a:cxnLst>
              <a:cxn ang="3cd4">
                <a:pos x="hc" y="t"/>
              </a:cxn>
              <a:cxn ang="cd2">
                <a:pos x="l" y="vc"/>
              </a:cxn>
              <a:cxn ang="cd4">
                <a:pos x="hc" y="b"/>
              </a:cxn>
              <a:cxn ang="0">
                <a:pos x="r" y="vc"/>
              </a:cxn>
            </a:cxnLst>
            <a:rect l="l" t="t" r="r" b="b"/>
            <a:pathLst>
              <a:path w="5743" h="3151">
                <a:moveTo>
                  <a:pt x="5536" y="0"/>
                </a:moveTo>
                <a:cubicBezTo>
                  <a:pt x="206" y="0"/>
                  <a:pt x="206" y="0"/>
                  <a:pt x="206" y="0"/>
                </a:cubicBezTo>
                <a:cubicBezTo>
                  <a:pt x="95" y="0"/>
                  <a:pt x="0" y="96"/>
                  <a:pt x="0" y="208"/>
                </a:cubicBezTo>
                <a:cubicBezTo>
                  <a:pt x="0" y="1305"/>
                  <a:pt x="0" y="1305"/>
                  <a:pt x="0" y="1305"/>
                </a:cubicBezTo>
                <a:cubicBezTo>
                  <a:pt x="0" y="2944"/>
                  <a:pt x="0" y="2944"/>
                  <a:pt x="0" y="2944"/>
                </a:cubicBezTo>
                <a:cubicBezTo>
                  <a:pt x="0" y="3055"/>
                  <a:pt x="95" y="3151"/>
                  <a:pt x="206" y="3151"/>
                </a:cubicBezTo>
                <a:cubicBezTo>
                  <a:pt x="5536" y="3151"/>
                  <a:pt x="5536" y="3151"/>
                  <a:pt x="5536" y="3151"/>
                </a:cubicBezTo>
                <a:cubicBezTo>
                  <a:pt x="5647" y="3151"/>
                  <a:pt x="5743" y="3055"/>
                  <a:pt x="5743" y="2944"/>
                </a:cubicBezTo>
                <a:cubicBezTo>
                  <a:pt x="5743" y="1305"/>
                  <a:pt x="5743" y="1305"/>
                  <a:pt x="5743" y="1305"/>
                </a:cubicBezTo>
                <a:cubicBezTo>
                  <a:pt x="5743" y="208"/>
                  <a:pt x="5743" y="208"/>
                  <a:pt x="5743" y="208"/>
                </a:cubicBezTo>
                <a:cubicBezTo>
                  <a:pt x="5743" y="96"/>
                  <a:pt x="5647" y="0"/>
                  <a:pt x="5536" y="0"/>
                </a:cubicBezTo>
                <a:close/>
                <a:moveTo>
                  <a:pt x="206" y="160"/>
                </a:moveTo>
                <a:cubicBezTo>
                  <a:pt x="5536" y="160"/>
                  <a:pt x="5536" y="160"/>
                  <a:pt x="5536" y="160"/>
                </a:cubicBezTo>
                <a:cubicBezTo>
                  <a:pt x="5568" y="160"/>
                  <a:pt x="5584" y="175"/>
                  <a:pt x="5584" y="208"/>
                </a:cubicBezTo>
                <a:cubicBezTo>
                  <a:pt x="5584" y="1226"/>
                  <a:pt x="5584" y="1226"/>
                  <a:pt x="5584" y="1226"/>
                </a:cubicBezTo>
                <a:cubicBezTo>
                  <a:pt x="3929" y="1226"/>
                  <a:pt x="3929" y="1226"/>
                  <a:pt x="3929" y="1226"/>
                </a:cubicBezTo>
                <a:cubicBezTo>
                  <a:pt x="3913" y="1226"/>
                  <a:pt x="3882" y="1242"/>
                  <a:pt x="3865" y="1273"/>
                </a:cubicBezTo>
                <a:cubicBezTo>
                  <a:pt x="3595" y="1799"/>
                  <a:pt x="3595" y="1799"/>
                  <a:pt x="3595" y="1799"/>
                </a:cubicBezTo>
                <a:lnTo>
                  <a:pt x="3563" y="1799"/>
                </a:lnTo>
                <a:cubicBezTo>
                  <a:pt x="3452" y="955"/>
                  <a:pt x="3452" y="955"/>
                  <a:pt x="3452" y="955"/>
                </a:cubicBezTo>
                <a:cubicBezTo>
                  <a:pt x="3452" y="923"/>
                  <a:pt x="3420" y="891"/>
                  <a:pt x="3388" y="891"/>
                </a:cubicBezTo>
                <a:cubicBezTo>
                  <a:pt x="3341" y="875"/>
                  <a:pt x="3309" y="908"/>
                  <a:pt x="3293" y="939"/>
                </a:cubicBezTo>
                <a:cubicBezTo>
                  <a:pt x="2768" y="2610"/>
                  <a:pt x="2768" y="2610"/>
                  <a:pt x="2768" y="2610"/>
                </a:cubicBezTo>
                <a:lnTo>
                  <a:pt x="2736" y="2610"/>
                </a:lnTo>
                <a:cubicBezTo>
                  <a:pt x="2640" y="446"/>
                  <a:pt x="2640" y="446"/>
                  <a:pt x="2640" y="446"/>
                </a:cubicBezTo>
                <a:cubicBezTo>
                  <a:pt x="2640" y="414"/>
                  <a:pt x="2609" y="382"/>
                  <a:pt x="2577" y="382"/>
                </a:cubicBezTo>
                <a:cubicBezTo>
                  <a:pt x="2529" y="382"/>
                  <a:pt x="2497" y="398"/>
                  <a:pt x="2482" y="430"/>
                </a:cubicBezTo>
                <a:cubicBezTo>
                  <a:pt x="2291" y="1226"/>
                  <a:pt x="2291" y="1226"/>
                  <a:pt x="2291" y="1226"/>
                </a:cubicBezTo>
                <a:cubicBezTo>
                  <a:pt x="2370" y="1242"/>
                  <a:pt x="2370" y="1242"/>
                  <a:pt x="2370" y="1242"/>
                </a:cubicBezTo>
                <a:cubicBezTo>
                  <a:pt x="2259" y="1226"/>
                  <a:pt x="2259" y="1226"/>
                  <a:pt x="2259" y="1226"/>
                </a:cubicBezTo>
                <a:cubicBezTo>
                  <a:pt x="2100" y="955"/>
                  <a:pt x="2100" y="955"/>
                  <a:pt x="2100" y="955"/>
                </a:cubicBezTo>
                <a:cubicBezTo>
                  <a:pt x="2083" y="923"/>
                  <a:pt x="2068" y="908"/>
                  <a:pt x="2036" y="908"/>
                </a:cubicBezTo>
                <a:cubicBezTo>
                  <a:pt x="2004" y="908"/>
                  <a:pt x="1972" y="939"/>
                  <a:pt x="1956" y="955"/>
                </a:cubicBezTo>
                <a:cubicBezTo>
                  <a:pt x="1845" y="1226"/>
                  <a:pt x="1845" y="1226"/>
                  <a:pt x="1845" y="1226"/>
                </a:cubicBezTo>
                <a:cubicBezTo>
                  <a:pt x="158" y="1226"/>
                  <a:pt x="158" y="1226"/>
                  <a:pt x="158" y="1226"/>
                </a:cubicBezTo>
                <a:cubicBezTo>
                  <a:pt x="158" y="208"/>
                  <a:pt x="158" y="208"/>
                  <a:pt x="158" y="208"/>
                </a:cubicBezTo>
                <a:cubicBezTo>
                  <a:pt x="158" y="175"/>
                  <a:pt x="191" y="160"/>
                  <a:pt x="206" y="160"/>
                </a:cubicBezTo>
                <a:close/>
                <a:moveTo>
                  <a:pt x="5584" y="2944"/>
                </a:moveTo>
                <a:cubicBezTo>
                  <a:pt x="5584" y="2960"/>
                  <a:pt x="5568" y="2991"/>
                  <a:pt x="5536" y="2991"/>
                </a:cubicBezTo>
                <a:cubicBezTo>
                  <a:pt x="206" y="2991"/>
                  <a:pt x="206" y="2991"/>
                  <a:pt x="206" y="2991"/>
                </a:cubicBezTo>
                <a:cubicBezTo>
                  <a:pt x="191" y="2991"/>
                  <a:pt x="158" y="2960"/>
                  <a:pt x="158" y="2944"/>
                </a:cubicBezTo>
                <a:cubicBezTo>
                  <a:pt x="158" y="1385"/>
                  <a:pt x="158" y="1385"/>
                  <a:pt x="158" y="1385"/>
                </a:cubicBezTo>
                <a:cubicBezTo>
                  <a:pt x="1845" y="1385"/>
                  <a:pt x="1845" y="1385"/>
                  <a:pt x="1845" y="1385"/>
                </a:cubicBezTo>
                <a:cubicBezTo>
                  <a:pt x="1909" y="1385"/>
                  <a:pt x="1972" y="1353"/>
                  <a:pt x="2004" y="1289"/>
                </a:cubicBezTo>
                <a:cubicBezTo>
                  <a:pt x="2052" y="1178"/>
                  <a:pt x="2052" y="1178"/>
                  <a:pt x="2052" y="1178"/>
                </a:cubicBezTo>
                <a:cubicBezTo>
                  <a:pt x="2131" y="1305"/>
                  <a:pt x="2131" y="1305"/>
                  <a:pt x="2131" y="1305"/>
                </a:cubicBezTo>
                <a:cubicBezTo>
                  <a:pt x="2163" y="1369"/>
                  <a:pt x="2227" y="1400"/>
                  <a:pt x="2306" y="1385"/>
                </a:cubicBezTo>
                <a:cubicBezTo>
                  <a:pt x="2370" y="1385"/>
                  <a:pt x="2418" y="1337"/>
                  <a:pt x="2434" y="1257"/>
                </a:cubicBezTo>
                <a:cubicBezTo>
                  <a:pt x="2513" y="1003"/>
                  <a:pt x="2513" y="1003"/>
                  <a:pt x="2513" y="1003"/>
                </a:cubicBezTo>
                <a:cubicBezTo>
                  <a:pt x="2577" y="2626"/>
                  <a:pt x="2577" y="2626"/>
                  <a:pt x="2577" y="2626"/>
                </a:cubicBezTo>
                <a:cubicBezTo>
                  <a:pt x="2593" y="2705"/>
                  <a:pt x="2656" y="2769"/>
                  <a:pt x="2736" y="2785"/>
                </a:cubicBezTo>
                <a:lnTo>
                  <a:pt x="2752" y="2785"/>
                </a:lnTo>
                <a:cubicBezTo>
                  <a:pt x="2831" y="2785"/>
                  <a:pt x="2895" y="2737"/>
                  <a:pt x="2911" y="2657"/>
                </a:cubicBezTo>
                <a:cubicBezTo>
                  <a:pt x="3341" y="1321"/>
                  <a:pt x="3341" y="1321"/>
                  <a:pt x="3341" y="1321"/>
                </a:cubicBezTo>
                <a:cubicBezTo>
                  <a:pt x="3404" y="1814"/>
                  <a:pt x="3404" y="1814"/>
                  <a:pt x="3404" y="1814"/>
                </a:cubicBezTo>
                <a:cubicBezTo>
                  <a:pt x="3420" y="1894"/>
                  <a:pt x="3484" y="1942"/>
                  <a:pt x="3547" y="1957"/>
                </a:cubicBezTo>
                <a:cubicBezTo>
                  <a:pt x="3627" y="1973"/>
                  <a:pt x="3691" y="1942"/>
                  <a:pt x="3722" y="1862"/>
                </a:cubicBezTo>
                <a:cubicBezTo>
                  <a:pt x="3977" y="1385"/>
                  <a:pt x="3977" y="1385"/>
                  <a:pt x="3977" y="1385"/>
                </a:cubicBezTo>
                <a:cubicBezTo>
                  <a:pt x="5584" y="1385"/>
                  <a:pt x="5584" y="1385"/>
                  <a:pt x="5584" y="138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7" name="Freeform: Shape 10">
            <a:extLst>
              <a:ext uri="{FF2B5EF4-FFF2-40B4-BE49-F238E27FC236}">
                <a16:creationId xmlns:a16="http://schemas.microsoft.com/office/drawing/2014/main" id="{E452A71A-BBF7-D540-BF63-96F44D4A3897}"/>
              </a:ext>
            </a:extLst>
          </p:cNvPr>
          <p:cNvSpPr/>
          <p:nvPr/>
        </p:nvSpPr>
        <p:spPr>
          <a:xfrm>
            <a:off x="21199383" y="6295826"/>
            <a:ext cx="1736639" cy="1619280"/>
          </a:xfrm>
          <a:custGeom>
            <a:avLst/>
            <a:gdLst/>
            <a:ahLst/>
            <a:cxnLst>
              <a:cxn ang="3cd4">
                <a:pos x="hc" y="t"/>
              </a:cxn>
              <a:cxn ang="cd2">
                <a:pos x="l" y="vc"/>
              </a:cxn>
              <a:cxn ang="cd4">
                <a:pos x="hc" y="b"/>
              </a:cxn>
              <a:cxn ang="0">
                <a:pos x="r" y="vc"/>
              </a:cxn>
            </a:cxnLst>
            <a:rect l="l" t="t" r="r" b="b"/>
            <a:pathLst>
              <a:path w="4825" h="4499">
                <a:moveTo>
                  <a:pt x="1309" y="2829"/>
                </a:moveTo>
                <a:cubicBezTo>
                  <a:pt x="1309" y="2861"/>
                  <a:pt x="1325" y="2892"/>
                  <a:pt x="1357" y="2908"/>
                </a:cubicBezTo>
                <a:lnTo>
                  <a:pt x="2359" y="3481"/>
                </a:lnTo>
                <a:lnTo>
                  <a:pt x="2375" y="3481"/>
                </a:lnTo>
                <a:lnTo>
                  <a:pt x="2375" y="3497"/>
                </a:lnTo>
                <a:lnTo>
                  <a:pt x="2391" y="3497"/>
                </a:lnTo>
                <a:lnTo>
                  <a:pt x="2407" y="3497"/>
                </a:lnTo>
                <a:lnTo>
                  <a:pt x="2422" y="3497"/>
                </a:lnTo>
                <a:lnTo>
                  <a:pt x="2422" y="3481"/>
                </a:lnTo>
                <a:lnTo>
                  <a:pt x="2438" y="3481"/>
                </a:lnTo>
                <a:lnTo>
                  <a:pt x="3473" y="2892"/>
                </a:lnTo>
                <a:cubicBezTo>
                  <a:pt x="3488" y="2876"/>
                  <a:pt x="3504" y="2861"/>
                  <a:pt x="3504" y="2829"/>
                </a:cubicBezTo>
                <a:lnTo>
                  <a:pt x="3504" y="1667"/>
                </a:lnTo>
                <a:lnTo>
                  <a:pt x="3504" y="1651"/>
                </a:lnTo>
                <a:lnTo>
                  <a:pt x="3504" y="1635"/>
                </a:lnTo>
                <a:cubicBezTo>
                  <a:pt x="3499" y="1630"/>
                  <a:pt x="3504" y="1619"/>
                  <a:pt x="3488" y="1619"/>
                </a:cubicBezTo>
                <a:lnTo>
                  <a:pt x="3488" y="1604"/>
                </a:lnTo>
                <a:lnTo>
                  <a:pt x="3473" y="1604"/>
                </a:lnTo>
                <a:lnTo>
                  <a:pt x="2438" y="1015"/>
                </a:lnTo>
                <a:cubicBezTo>
                  <a:pt x="2422" y="999"/>
                  <a:pt x="2391" y="999"/>
                  <a:pt x="2359" y="1015"/>
                </a:cubicBezTo>
                <a:lnTo>
                  <a:pt x="1357" y="1604"/>
                </a:lnTo>
                <a:lnTo>
                  <a:pt x="1340" y="1604"/>
                </a:lnTo>
                <a:lnTo>
                  <a:pt x="1325" y="1619"/>
                </a:lnTo>
                <a:lnTo>
                  <a:pt x="1325" y="1635"/>
                </a:lnTo>
                <a:lnTo>
                  <a:pt x="1309" y="1635"/>
                </a:lnTo>
                <a:lnTo>
                  <a:pt x="1309" y="1667"/>
                </a:lnTo>
                <a:close/>
                <a:moveTo>
                  <a:pt x="1468" y="1810"/>
                </a:moveTo>
                <a:lnTo>
                  <a:pt x="2327" y="2304"/>
                </a:lnTo>
                <a:lnTo>
                  <a:pt x="2327" y="3274"/>
                </a:lnTo>
                <a:lnTo>
                  <a:pt x="1468" y="2797"/>
                </a:lnTo>
                <a:close/>
                <a:moveTo>
                  <a:pt x="3345" y="2781"/>
                </a:moveTo>
                <a:lnTo>
                  <a:pt x="2486" y="3274"/>
                </a:lnTo>
                <a:lnTo>
                  <a:pt x="2486" y="2304"/>
                </a:lnTo>
                <a:lnTo>
                  <a:pt x="3345" y="1810"/>
                </a:lnTo>
                <a:close/>
                <a:moveTo>
                  <a:pt x="2407" y="1174"/>
                </a:moveTo>
                <a:lnTo>
                  <a:pt x="3266" y="1667"/>
                </a:lnTo>
                <a:lnTo>
                  <a:pt x="2407" y="2161"/>
                </a:lnTo>
                <a:lnTo>
                  <a:pt x="1548" y="1667"/>
                </a:lnTo>
                <a:close/>
                <a:moveTo>
                  <a:pt x="831" y="3718"/>
                </a:moveTo>
                <a:lnTo>
                  <a:pt x="848" y="3718"/>
                </a:lnTo>
                <a:cubicBezTo>
                  <a:pt x="895" y="3718"/>
                  <a:pt x="927" y="3703"/>
                  <a:pt x="927" y="3655"/>
                </a:cubicBezTo>
                <a:lnTo>
                  <a:pt x="1070" y="2875"/>
                </a:lnTo>
                <a:cubicBezTo>
                  <a:pt x="1086" y="2843"/>
                  <a:pt x="1054" y="2796"/>
                  <a:pt x="1007" y="2796"/>
                </a:cubicBezTo>
                <a:cubicBezTo>
                  <a:pt x="959" y="2780"/>
                  <a:pt x="927" y="2812"/>
                  <a:pt x="911" y="2860"/>
                </a:cubicBezTo>
                <a:lnTo>
                  <a:pt x="800" y="3480"/>
                </a:lnTo>
                <a:cubicBezTo>
                  <a:pt x="116" y="2684"/>
                  <a:pt x="163" y="1491"/>
                  <a:pt x="911" y="743"/>
                </a:cubicBezTo>
                <a:cubicBezTo>
                  <a:pt x="1691" y="-36"/>
                  <a:pt x="2964" y="-36"/>
                  <a:pt x="3759" y="743"/>
                </a:cubicBezTo>
                <a:cubicBezTo>
                  <a:pt x="3775" y="775"/>
                  <a:pt x="3839" y="775"/>
                  <a:pt x="3870" y="743"/>
                </a:cubicBezTo>
                <a:cubicBezTo>
                  <a:pt x="3902" y="712"/>
                  <a:pt x="3902" y="664"/>
                  <a:pt x="3870" y="632"/>
                </a:cubicBezTo>
                <a:cubicBezTo>
                  <a:pt x="3011" y="-211"/>
                  <a:pt x="1643" y="-211"/>
                  <a:pt x="800" y="632"/>
                </a:cubicBezTo>
                <a:cubicBezTo>
                  <a:pt x="4" y="1427"/>
                  <a:pt x="-43" y="2669"/>
                  <a:pt x="640" y="3528"/>
                </a:cubicBezTo>
                <a:lnTo>
                  <a:pt x="84" y="3432"/>
                </a:lnTo>
                <a:cubicBezTo>
                  <a:pt x="52" y="3416"/>
                  <a:pt x="4" y="3448"/>
                  <a:pt x="4" y="3496"/>
                </a:cubicBezTo>
                <a:cubicBezTo>
                  <a:pt x="-12" y="3543"/>
                  <a:pt x="20" y="3575"/>
                  <a:pt x="68" y="3591"/>
                </a:cubicBezTo>
                <a:close/>
                <a:moveTo>
                  <a:pt x="4825" y="983"/>
                </a:moveTo>
                <a:cubicBezTo>
                  <a:pt x="4825" y="951"/>
                  <a:pt x="4793" y="904"/>
                  <a:pt x="4761" y="904"/>
                </a:cubicBezTo>
                <a:lnTo>
                  <a:pt x="3982" y="760"/>
                </a:lnTo>
                <a:cubicBezTo>
                  <a:pt x="3950" y="760"/>
                  <a:pt x="3934" y="760"/>
                  <a:pt x="3918" y="776"/>
                </a:cubicBezTo>
                <a:cubicBezTo>
                  <a:pt x="3902" y="776"/>
                  <a:pt x="3886" y="808"/>
                  <a:pt x="3886" y="824"/>
                </a:cubicBezTo>
                <a:lnTo>
                  <a:pt x="3743" y="1604"/>
                </a:lnTo>
                <a:cubicBezTo>
                  <a:pt x="3743" y="1651"/>
                  <a:pt x="3759" y="1683"/>
                  <a:pt x="3807" y="1699"/>
                </a:cubicBezTo>
                <a:lnTo>
                  <a:pt x="3822" y="1699"/>
                </a:lnTo>
                <a:cubicBezTo>
                  <a:pt x="3855" y="1699"/>
                  <a:pt x="3886" y="1667"/>
                  <a:pt x="3902" y="1635"/>
                </a:cubicBezTo>
                <a:lnTo>
                  <a:pt x="4013" y="1015"/>
                </a:lnTo>
                <a:cubicBezTo>
                  <a:pt x="4332" y="1381"/>
                  <a:pt x="4507" y="1842"/>
                  <a:pt x="4507" y="2335"/>
                </a:cubicBezTo>
                <a:cubicBezTo>
                  <a:pt x="4507" y="2861"/>
                  <a:pt x="4300" y="3370"/>
                  <a:pt x="3918" y="3752"/>
                </a:cubicBezTo>
                <a:cubicBezTo>
                  <a:pt x="3122" y="4531"/>
                  <a:pt x="1850" y="4531"/>
                  <a:pt x="1070" y="3752"/>
                </a:cubicBezTo>
                <a:cubicBezTo>
                  <a:pt x="1039" y="3719"/>
                  <a:pt x="991" y="3719"/>
                  <a:pt x="959" y="3752"/>
                </a:cubicBezTo>
                <a:cubicBezTo>
                  <a:pt x="927" y="3783"/>
                  <a:pt x="927" y="3831"/>
                  <a:pt x="959" y="3863"/>
                </a:cubicBezTo>
                <a:cubicBezTo>
                  <a:pt x="1373" y="4292"/>
                  <a:pt x="1930" y="4499"/>
                  <a:pt x="2486" y="4499"/>
                </a:cubicBezTo>
                <a:cubicBezTo>
                  <a:pt x="3043" y="4499"/>
                  <a:pt x="3600" y="4292"/>
                  <a:pt x="4030" y="3863"/>
                </a:cubicBezTo>
                <a:cubicBezTo>
                  <a:pt x="4443" y="3449"/>
                  <a:pt x="4666" y="2908"/>
                  <a:pt x="4666" y="2335"/>
                </a:cubicBezTo>
                <a:cubicBezTo>
                  <a:pt x="4666" y="1826"/>
                  <a:pt x="4491" y="1349"/>
                  <a:pt x="4173" y="951"/>
                </a:cubicBezTo>
                <a:lnTo>
                  <a:pt x="4730" y="1047"/>
                </a:lnTo>
                <a:cubicBezTo>
                  <a:pt x="4777" y="1062"/>
                  <a:pt x="4809" y="1031"/>
                  <a:pt x="4825" y="98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8" name="Freeform: Shape 11">
            <a:extLst>
              <a:ext uri="{FF2B5EF4-FFF2-40B4-BE49-F238E27FC236}">
                <a16:creationId xmlns:a16="http://schemas.microsoft.com/office/drawing/2014/main" id="{A89BBF4D-5ABF-6648-85AC-F3C8FE67CD72}"/>
              </a:ext>
            </a:extLst>
          </p:cNvPr>
          <p:cNvSpPr/>
          <p:nvPr/>
        </p:nvSpPr>
        <p:spPr>
          <a:xfrm>
            <a:off x="1721357" y="9821737"/>
            <a:ext cx="1649160" cy="1379880"/>
          </a:xfrm>
          <a:custGeom>
            <a:avLst/>
            <a:gdLst/>
            <a:ahLst/>
            <a:cxnLst>
              <a:cxn ang="3cd4">
                <a:pos x="hc" y="t"/>
              </a:cxn>
              <a:cxn ang="cd2">
                <a:pos x="l" y="vc"/>
              </a:cxn>
              <a:cxn ang="cd4">
                <a:pos x="hc" y="b"/>
              </a:cxn>
              <a:cxn ang="0">
                <a:pos x="r" y="vc"/>
              </a:cxn>
            </a:cxnLst>
            <a:rect l="l" t="t" r="r" b="b"/>
            <a:pathLst>
              <a:path w="4582" h="3834">
                <a:moveTo>
                  <a:pt x="223" y="2338"/>
                </a:moveTo>
                <a:cubicBezTo>
                  <a:pt x="175" y="2323"/>
                  <a:pt x="127" y="2338"/>
                  <a:pt x="95" y="2370"/>
                </a:cubicBezTo>
                <a:cubicBezTo>
                  <a:pt x="80" y="2386"/>
                  <a:pt x="63" y="2418"/>
                  <a:pt x="47" y="2434"/>
                </a:cubicBezTo>
                <a:lnTo>
                  <a:pt x="0" y="2609"/>
                </a:lnTo>
                <a:cubicBezTo>
                  <a:pt x="0" y="2641"/>
                  <a:pt x="0" y="2689"/>
                  <a:pt x="16" y="2720"/>
                </a:cubicBezTo>
                <a:cubicBezTo>
                  <a:pt x="32" y="2752"/>
                  <a:pt x="63" y="2768"/>
                  <a:pt x="111" y="2784"/>
                </a:cubicBezTo>
                <a:lnTo>
                  <a:pt x="207" y="2816"/>
                </a:lnTo>
                <a:cubicBezTo>
                  <a:pt x="207" y="2880"/>
                  <a:pt x="223" y="2927"/>
                  <a:pt x="238" y="2990"/>
                </a:cubicBezTo>
                <a:lnTo>
                  <a:pt x="143" y="3054"/>
                </a:lnTo>
                <a:cubicBezTo>
                  <a:pt x="127" y="3054"/>
                  <a:pt x="122" y="3065"/>
                  <a:pt x="111" y="3070"/>
                </a:cubicBezTo>
                <a:cubicBezTo>
                  <a:pt x="63" y="3118"/>
                  <a:pt x="47" y="3181"/>
                  <a:pt x="80" y="3245"/>
                </a:cubicBezTo>
                <a:lnTo>
                  <a:pt x="175" y="3389"/>
                </a:lnTo>
                <a:cubicBezTo>
                  <a:pt x="191" y="3436"/>
                  <a:pt x="223" y="3452"/>
                  <a:pt x="254" y="3468"/>
                </a:cubicBezTo>
                <a:cubicBezTo>
                  <a:pt x="302" y="3468"/>
                  <a:pt x="334" y="3468"/>
                  <a:pt x="366" y="3452"/>
                </a:cubicBezTo>
                <a:lnTo>
                  <a:pt x="461" y="3389"/>
                </a:lnTo>
                <a:cubicBezTo>
                  <a:pt x="509" y="3436"/>
                  <a:pt x="557" y="3484"/>
                  <a:pt x="604" y="3516"/>
                </a:cubicBezTo>
                <a:lnTo>
                  <a:pt x="572" y="3611"/>
                </a:lnTo>
                <a:cubicBezTo>
                  <a:pt x="557" y="3691"/>
                  <a:pt x="604" y="3770"/>
                  <a:pt x="684" y="3786"/>
                </a:cubicBezTo>
                <a:lnTo>
                  <a:pt x="859" y="3834"/>
                </a:lnTo>
                <a:lnTo>
                  <a:pt x="891" y="3834"/>
                </a:lnTo>
                <a:cubicBezTo>
                  <a:pt x="923" y="3834"/>
                  <a:pt x="954" y="3818"/>
                  <a:pt x="986" y="3802"/>
                </a:cubicBezTo>
                <a:cubicBezTo>
                  <a:pt x="1002" y="3786"/>
                  <a:pt x="1018" y="3754"/>
                  <a:pt x="1018" y="3738"/>
                </a:cubicBezTo>
                <a:lnTo>
                  <a:pt x="1050" y="3627"/>
                </a:lnTo>
                <a:cubicBezTo>
                  <a:pt x="1114" y="3627"/>
                  <a:pt x="1177" y="3627"/>
                  <a:pt x="1241" y="3611"/>
                </a:cubicBezTo>
                <a:lnTo>
                  <a:pt x="1289" y="3707"/>
                </a:lnTo>
                <a:cubicBezTo>
                  <a:pt x="1304" y="3738"/>
                  <a:pt x="1336" y="3754"/>
                  <a:pt x="1368" y="3770"/>
                </a:cubicBezTo>
                <a:cubicBezTo>
                  <a:pt x="1415" y="3770"/>
                  <a:pt x="1448" y="3770"/>
                  <a:pt x="1479" y="3754"/>
                </a:cubicBezTo>
                <a:lnTo>
                  <a:pt x="1638" y="3659"/>
                </a:lnTo>
                <a:cubicBezTo>
                  <a:pt x="1649" y="3654"/>
                  <a:pt x="1654" y="3643"/>
                  <a:pt x="1671" y="3643"/>
                </a:cubicBezTo>
                <a:cubicBezTo>
                  <a:pt x="1718" y="3595"/>
                  <a:pt x="1718" y="3532"/>
                  <a:pt x="1686" y="3468"/>
                </a:cubicBezTo>
                <a:lnTo>
                  <a:pt x="1638" y="3372"/>
                </a:lnTo>
                <a:cubicBezTo>
                  <a:pt x="1686" y="3341"/>
                  <a:pt x="1718" y="3277"/>
                  <a:pt x="1750" y="3229"/>
                </a:cubicBezTo>
                <a:lnTo>
                  <a:pt x="1861" y="3261"/>
                </a:lnTo>
                <a:cubicBezTo>
                  <a:pt x="1909" y="3277"/>
                  <a:pt x="1957" y="3261"/>
                  <a:pt x="1989" y="3229"/>
                </a:cubicBezTo>
                <a:cubicBezTo>
                  <a:pt x="2005" y="3213"/>
                  <a:pt x="2020" y="3181"/>
                  <a:pt x="2020" y="3166"/>
                </a:cubicBezTo>
                <a:lnTo>
                  <a:pt x="2068" y="2990"/>
                </a:lnTo>
                <a:cubicBezTo>
                  <a:pt x="2100" y="2911"/>
                  <a:pt x="2052" y="2832"/>
                  <a:pt x="1972" y="2816"/>
                </a:cubicBezTo>
                <a:lnTo>
                  <a:pt x="1877" y="2784"/>
                </a:lnTo>
                <a:cubicBezTo>
                  <a:pt x="1877" y="2720"/>
                  <a:pt x="1861" y="2657"/>
                  <a:pt x="1845" y="2609"/>
                </a:cubicBezTo>
                <a:lnTo>
                  <a:pt x="1941" y="2545"/>
                </a:lnTo>
                <a:cubicBezTo>
                  <a:pt x="1957" y="2545"/>
                  <a:pt x="1962" y="2535"/>
                  <a:pt x="1972" y="2529"/>
                </a:cubicBezTo>
                <a:cubicBezTo>
                  <a:pt x="2020" y="2481"/>
                  <a:pt x="2020" y="2418"/>
                  <a:pt x="1989" y="2354"/>
                </a:cubicBezTo>
                <a:lnTo>
                  <a:pt x="1909" y="2195"/>
                </a:lnTo>
                <a:cubicBezTo>
                  <a:pt x="1861" y="2132"/>
                  <a:pt x="1782" y="2116"/>
                  <a:pt x="1718" y="2147"/>
                </a:cubicBezTo>
                <a:lnTo>
                  <a:pt x="1623" y="2195"/>
                </a:lnTo>
                <a:cubicBezTo>
                  <a:pt x="1575" y="2163"/>
                  <a:pt x="1527" y="2116"/>
                  <a:pt x="1479" y="2084"/>
                </a:cubicBezTo>
                <a:lnTo>
                  <a:pt x="1495" y="1989"/>
                </a:lnTo>
                <a:cubicBezTo>
                  <a:pt x="1527" y="1909"/>
                  <a:pt x="1479" y="1829"/>
                  <a:pt x="1400" y="1813"/>
                </a:cubicBezTo>
                <a:lnTo>
                  <a:pt x="1225" y="1766"/>
                </a:lnTo>
                <a:cubicBezTo>
                  <a:pt x="1177" y="1750"/>
                  <a:pt x="1129" y="1766"/>
                  <a:pt x="1098" y="1798"/>
                </a:cubicBezTo>
                <a:cubicBezTo>
                  <a:pt x="1081" y="1813"/>
                  <a:pt x="1066" y="1845"/>
                  <a:pt x="1050" y="1861"/>
                </a:cubicBezTo>
                <a:lnTo>
                  <a:pt x="1034" y="1956"/>
                </a:lnTo>
                <a:cubicBezTo>
                  <a:pt x="970" y="1972"/>
                  <a:pt x="907" y="1972"/>
                  <a:pt x="843" y="1989"/>
                </a:cubicBezTo>
                <a:lnTo>
                  <a:pt x="795" y="1893"/>
                </a:lnTo>
                <a:cubicBezTo>
                  <a:pt x="747" y="1829"/>
                  <a:pt x="668" y="1798"/>
                  <a:pt x="604" y="1845"/>
                </a:cubicBezTo>
                <a:lnTo>
                  <a:pt x="445" y="1925"/>
                </a:lnTo>
                <a:lnTo>
                  <a:pt x="414" y="1956"/>
                </a:lnTo>
                <a:cubicBezTo>
                  <a:pt x="366" y="2004"/>
                  <a:pt x="366" y="2068"/>
                  <a:pt x="398" y="2116"/>
                </a:cubicBezTo>
                <a:lnTo>
                  <a:pt x="445" y="2211"/>
                </a:lnTo>
                <a:cubicBezTo>
                  <a:pt x="398" y="2259"/>
                  <a:pt x="366" y="2307"/>
                  <a:pt x="334" y="2370"/>
                </a:cubicBezTo>
                <a:close/>
                <a:moveTo>
                  <a:pt x="445" y="2498"/>
                </a:moveTo>
                <a:cubicBezTo>
                  <a:pt x="477" y="2434"/>
                  <a:pt x="509" y="2370"/>
                  <a:pt x="557" y="2323"/>
                </a:cubicBezTo>
                <a:cubicBezTo>
                  <a:pt x="572" y="2307"/>
                  <a:pt x="589" y="2307"/>
                  <a:pt x="589" y="2290"/>
                </a:cubicBezTo>
                <a:cubicBezTo>
                  <a:pt x="620" y="2275"/>
                  <a:pt x="636" y="2227"/>
                  <a:pt x="620" y="2195"/>
                </a:cubicBezTo>
                <a:lnTo>
                  <a:pt x="541" y="2068"/>
                </a:lnTo>
                <a:lnTo>
                  <a:pt x="668" y="1989"/>
                </a:lnTo>
                <a:lnTo>
                  <a:pt x="732" y="2116"/>
                </a:lnTo>
                <a:cubicBezTo>
                  <a:pt x="763" y="2147"/>
                  <a:pt x="795" y="2163"/>
                  <a:pt x="827" y="2163"/>
                </a:cubicBezTo>
                <a:cubicBezTo>
                  <a:pt x="907" y="2132"/>
                  <a:pt x="1002" y="2116"/>
                  <a:pt x="1081" y="2132"/>
                </a:cubicBezTo>
                <a:cubicBezTo>
                  <a:pt x="1129" y="2132"/>
                  <a:pt x="1161" y="2100"/>
                  <a:pt x="1161" y="2068"/>
                </a:cubicBezTo>
                <a:lnTo>
                  <a:pt x="1209" y="1925"/>
                </a:lnTo>
                <a:lnTo>
                  <a:pt x="1352" y="1956"/>
                </a:lnTo>
                <a:lnTo>
                  <a:pt x="1304" y="2100"/>
                </a:lnTo>
                <a:cubicBezTo>
                  <a:pt x="1289" y="2147"/>
                  <a:pt x="1304" y="2179"/>
                  <a:pt x="1352" y="2195"/>
                </a:cubicBezTo>
                <a:cubicBezTo>
                  <a:pt x="1415" y="2227"/>
                  <a:pt x="1495" y="2290"/>
                  <a:pt x="1543" y="2354"/>
                </a:cubicBezTo>
                <a:cubicBezTo>
                  <a:pt x="1575" y="2386"/>
                  <a:pt x="1607" y="2386"/>
                  <a:pt x="1638" y="2370"/>
                </a:cubicBezTo>
                <a:lnTo>
                  <a:pt x="1782" y="2290"/>
                </a:lnTo>
                <a:lnTo>
                  <a:pt x="1845" y="2418"/>
                </a:lnTo>
                <a:lnTo>
                  <a:pt x="1718" y="2498"/>
                </a:lnTo>
                <a:cubicBezTo>
                  <a:pt x="1686" y="2513"/>
                  <a:pt x="1671" y="2545"/>
                  <a:pt x="1686" y="2593"/>
                </a:cubicBezTo>
                <a:cubicBezTo>
                  <a:pt x="1702" y="2672"/>
                  <a:pt x="1718" y="2752"/>
                  <a:pt x="1718" y="2847"/>
                </a:cubicBezTo>
                <a:cubicBezTo>
                  <a:pt x="1718" y="2880"/>
                  <a:pt x="1734" y="2911"/>
                  <a:pt x="1766" y="2927"/>
                </a:cubicBezTo>
                <a:lnTo>
                  <a:pt x="1925" y="2959"/>
                </a:lnTo>
                <a:lnTo>
                  <a:pt x="1877" y="3102"/>
                </a:lnTo>
                <a:lnTo>
                  <a:pt x="1734" y="3054"/>
                </a:lnTo>
                <a:cubicBezTo>
                  <a:pt x="1702" y="3054"/>
                  <a:pt x="1654" y="3070"/>
                  <a:pt x="1638" y="3102"/>
                </a:cubicBezTo>
                <a:cubicBezTo>
                  <a:pt x="1607" y="3166"/>
                  <a:pt x="1575" y="3229"/>
                  <a:pt x="1511" y="3277"/>
                </a:cubicBezTo>
                <a:lnTo>
                  <a:pt x="1479" y="3309"/>
                </a:lnTo>
                <a:cubicBezTo>
                  <a:pt x="1463" y="3325"/>
                  <a:pt x="1448" y="3372"/>
                  <a:pt x="1463" y="3404"/>
                </a:cubicBezTo>
                <a:lnTo>
                  <a:pt x="1543" y="3532"/>
                </a:lnTo>
                <a:lnTo>
                  <a:pt x="1415" y="3611"/>
                </a:lnTo>
                <a:lnTo>
                  <a:pt x="1352" y="3468"/>
                </a:lnTo>
                <a:cubicBezTo>
                  <a:pt x="1320" y="3436"/>
                  <a:pt x="1289" y="3420"/>
                  <a:pt x="1257" y="3436"/>
                </a:cubicBezTo>
                <a:cubicBezTo>
                  <a:pt x="1161" y="3468"/>
                  <a:pt x="1081" y="3468"/>
                  <a:pt x="1002" y="3468"/>
                </a:cubicBezTo>
                <a:cubicBezTo>
                  <a:pt x="954" y="3468"/>
                  <a:pt x="923" y="3500"/>
                  <a:pt x="923" y="3532"/>
                </a:cubicBezTo>
                <a:lnTo>
                  <a:pt x="875" y="3675"/>
                </a:lnTo>
                <a:lnTo>
                  <a:pt x="732" y="3643"/>
                </a:lnTo>
                <a:lnTo>
                  <a:pt x="780" y="3484"/>
                </a:lnTo>
                <a:cubicBezTo>
                  <a:pt x="780" y="3452"/>
                  <a:pt x="763" y="3420"/>
                  <a:pt x="732" y="3404"/>
                </a:cubicBezTo>
                <a:cubicBezTo>
                  <a:pt x="652" y="3357"/>
                  <a:pt x="589" y="3309"/>
                  <a:pt x="541" y="3245"/>
                </a:cubicBezTo>
                <a:cubicBezTo>
                  <a:pt x="509" y="3213"/>
                  <a:pt x="461" y="3213"/>
                  <a:pt x="429" y="3229"/>
                </a:cubicBezTo>
                <a:lnTo>
                  <a:pt x="302" y="3309"/>
                </a:lnTo>
                <a:lnTo>
                  <a:pt x="238" y="3181"/>
                </a:lnTo>
                <a:lnTo>
                  <a:pt x="366" y="3102"/>
                </a:lnTo>
                <a:cubicBezTo>
                  <a:pt x="398" y="3086"/>
                  <a:pt x="414" y="3038"/>
                  <a:pt x="398" y="3007"/>
                </a:cubicBezTo>
                <a:cubicBezTo>
                  <a:pt x="366" y="2927"/>
                  <a:pt x="366" y="2847"/>
                  <a:pt x="366" y="2752"/>
                </a:cubicBezTo>
                <a:cubicBezTo>
                  <a:pt x="366" y="2720"/>
                  <a:pt x="350" y="2689"/>
                  <a:pt x="302" y="2672"/>
                </a:cubicBezTo>
                <a:lnTo>
                  <a:pt x="159" y="2641"/>
                </a:lnTo>
                <a:lnTo>
                  <a:pt x="207" y="2498"/>
                </a:lnTo>
                <a:lnTo>
                  <a:pt x="350" y="2529"/>
                </a:lnTo>
                <a:cubicBezTo>
                  <a:pt x="381" y="2545"/>
                  <a:pt x="429" y="2529"/>
                  <a:pt x="445" y="2498"/>
                </a:cubicBezTo>
                <a:close/>
                <a:moveTo>
                  <a:pt x="1829" y="1433"/>
                </a:moveTo>
                <a:cubicBezTo>
                  <a:pt x="1798" y="1448"/>
                  <a:pt x="1750" y="1464"/>
                  <a:pt x="1734" y="1512"/>
                </a:cubicBezTo>
                <a:cubicBezTo>
                  <a:pt x="1702" y="1544"/>
                  <a:pt x="1702" y="1591"/>
                  <a:pt x="1702" y="1623"/>
                </a:cubicBezTo>
                <a:lnTo>
                  <a:pt x="1766" y="1878"/>
                </a:lnTo>
                <a:cubicBezTo>
                  <a:pt x="1782" y="1926"/>
                  <a:pt x="1798" y="1957"/>
                  <a:pt x="1845" y="1990"/>
                </a:cubicBezTo>
                <a:cubicBezTo>
                  <a:pt x="1877" y="2005"/>
                  <a:pt x="1925" y="2021"/>
                  <a:pt x="1957" y="2005"/>
                </a:cubicBezTo>
                <a:lnTo>
                  <a:pt x="2132" y="1973"/>
                </a:lnTo>
                <a:cubicBezTo>
                  <a:pt x="2180" y="2053"/>
                  <a:pt x="2243" y="2133"/>
                  <a:pt x="2307" y="2212"/>
                </a:cubicBezTo>
                <a:lnTo>
                  <a:pt x="2211" y="2371"/>
                </a:lnTo>
                <a:cubicBezTo>
                  <a:pt x="2163" y="2435"/>
                  <a:pt x="2180" y="2546"/>
                  <a:pt x="2259" y="2594"/>
                </a:cubicBezTo>
                <a:lnTo>
                  <a:pt x="2482" y="2721"/>
                </a:lnTo>
                <a:cubicBezTo>
                  <a:pt x="2514" y="2753"/>
                  <a:pt x="2561" y="2753"/>
                  <a:pt x="2609" y="2753"/>
                </a:cubicBezTo>
                <a:cubicBezTo>
                  <a:pt x="2641" y="2737"/>
                  <a:pt x="2689" y="2721"/>
                  <a:pt x="2705" y="2673"/>
                </a:cubicBezTo>
                <a:lnTo>
                  <a:pt x="2800" y="2530"/>
                </a:lnTo>
                <a:cubicBezTo>
                  <a:pt x="2895" y="2562"/>
                  <a:pt x="2991" y="2578"/>
                  <a:pt x="3102" y="2578"/>
                </a:cubicBezTo>
                <a:lnTo>
                  <a:pt x="3134" y="2753"/>
                </a:lnTo>
                <a:cubicBezTo>
                  <a:pt x="3150" y="2801"/>
                  <a:pt x="3166" y="2833"/>
                  <a:pt x="3214" y="2848"/>
                </a:cubicBezTo>
                <a:cubicBezTo>
                  <a:pt x="3229" y="2881"/>
                  <a:pt x="3262" y="2881"/>
                  <a:pt x="3293" y="2881"/>
                </a:cubicBezTo>
                <a:lnTo>
                  <a:pt x="3341" y="2881"/>
                </a:lnTo>
                <a:lnTo>
                  <a:pt x="3579" y="2817"/>
                </a:lnTo>
                <a:cubicBezTo>
                  <a:pt x="3675" y="2801"/>
                  <a:pt x="3723" y="2721"/>
                  <a:pt x="3707" y="2626"/>
                </a:cubicBezTo>
                <a:lnTo>
                  <a:pt x="3675" y="2451"/>
                </a:lnTo>
                <a:cubicBezTo>
                  <a:pt x="3754" y="2403"/>
                  <a:pt x="3850" y="2355"/>
                  <a:pt x="3914" y="2276"/>
                </a:cubicBezTo>
                <a:lnTo>
                  <a:pt x="4073" y="2371"/>
                </a:lnTo>
                <a:cubicBezTo>
                  <a:pt x="4105" y="2403"/>
                  <a:pt x="4152" y="2403"/>
                  <a:pt x="4184" y="2403"/>
                </a:cubicBezTo>
                <a:cubicBezTo>
                  <a:pt x="4232" y="2387"/>
                  <a:pt x="4263" y="2355"/>
                  <a:pt x="4296" y="2324"/>
                </a:cubicBezTo>
                <a:lnTo>
                  <a:pt x="4423" y="2101"/>
                </a:lnTo>
                <a:cubicBezTo>
                  <a:pt x="4454" y="2069"/>
                  <a:pt x="4454" y="2021"/>
                  <a:pt x="4454" y="1990"/>
                </a:cubicBezTo>
                <a:cubicBezTo>
                  <a:pt x="4439" y="1942"/>
                  <a:pt x="4423" y="1910"/>
                  <a:pt x="4375" y="1878"/>
                </a:cubicBezTo>
                <a:lnTo>
                  <a:pt x="4232" y="1782"/>
                </a:lnTo>
                <a:cubicBezTo>
                  <a:pt x="4263" y="1687"/>
                  <a:pt x="4280" y="1591"/>
                  <a:pt x="4280" y="1496"/>
                </a:cubicBezTo>
                <a:lnTo>
                  <a:pt x="4454" y="1448"/>
                </a:lnTo>
                <a:cubicBezTo>
                  <a:pt x="4502" y="1448"/>
                  <a:pt x="4534" y="1417"/>
                  <a:pt x="4566" y="1385"/>
                </a:cubicBezTo>
                <a:cubicBezTo>
                  <a:pt x="4582" y="1337"/>
                  <a:pt x="4582" y="1290"/>
                  <a:pt x="4582" y="1257"/>
                </a:cubicBezTo>
                <a:lnTo>
                  <a:pt x="4518" y="1003"/>
                </a:lnTo>
                <a:cubicBezTo>
                  <a:pt x="4518" y="955"/>
                  <a:pt x="4486" y="923"/>
                  <a:pt x="4454" y="908"/>
                </a:cubicBezTo>
                <a:cubicBezTo>
                  <a:pt x="4423" y="876"/>
                  <a:pt x="4375" y="876"/>
                  <a:pt x="4327" y="876"/>
                </a:cubicBezTo>
                <a:lnTo>
                  <a:pt x="4152" y="923"/>
                </a:lnTo>
                <a:cubicBezTo>
                  <a:pt x="4105" y="828"/>
                  <a:pt x="4057" y="748"/>
                  <a:pt x="3977" y="669"/>
                </a:cubicBezTo>
                <a:lnTo>
                  <a:pt x="4073" y="526"/>
                </a:lnTo>
                <a:cubicBezTo>
                  <a:pt x="4120" y="446"/>
                  <a:pt x="4105" y="351"/>
                  <a:pt x="4025" y="287"/>
                </a:cubicBezTo>
                <a:lnTo>
                  <a:pt x="3818" y="160"/>
                </a:lnTo>
                <a:cubicBezTo>
                  <a:pt x="3771" y="128"/>
                  <a:pt x="3723" y="128"/>
                  <a:pt x="3691" y="144"/>
                </a:cubicBezTo>
                <a:cubicBezTo>
                  <a:pt x="3643" y="144"/>
                  <a:pt x="3611" y="176"/>
                  <a:pt x="3579" y="208"/>
                </a:cubicBezTo>
                <a:lnTo>
                  <a:pt x="3484" y="351"/>
                </a:lnTo>
                <a:cubicBezTo>
                  <a:pt x="3389" y="319"/>
                  <a:pt x="3293" y="303"/>
                  <a:pt x="3198" y="303"/>
                </a:cubicBezTo>
                <a:lnTo>
                  <a:pt x="3150" y="128"/>
                </a:lnTo>
                <a:cubicBezTo>
                  <a:pt x="3150" y="96"/>
                  <a:pt x="3118" y="48"/>
                  <a:pt x="3086" y="32"/>
                </a:cubicBezTo>
                <a:cubicBezTo>
                  <a:pt x="3039" y="0"/>
                  <a:pt x="3007" y="0"/>
                  <a:pt x="2959" y="0"/>
                </a:cubicBezTo>
                <a:lnTo>
                  <a:pt x="2705" y="64"/>
                </a:lnTo>
                <a:cubicBezTo>
                  <a:pt x="2625" y="80"/>
                  <a:pt x="2561" y="176"/>
                  <a:pt x="2577" y="255"/>
                </a:cubicBezTo>
                <a:lnTo>
                  <a:pt x="2625" y="430"/>
                </a:lnTo>
                <a:cubicBezTo>
                  <a:pt x="2529" y="478"/>
                  <a:pt x="2450" y="542"/>
                  <a:pt x="2371" y="605"/>
                </a:cubicBezTo>
                <a:lnTo>
                  <a:pt x="2227" y="510"/>
                </a:lnTo>
                <a:cubicBezTo>
                  <a:pt x="2180" y="494"/>
                  <a:pt x="2148" y="478"/>
                  <a:pt x="2100" y="494"/>
                </a:cubicBezTo>
                <a:cubicBezTo>
                  <a:pt x="2052" y="494"/>
                  <a:pt x="2020" y="526"/>
                  <a:pt x="2005" y="557"/>
                </a:cubicBezTo>
                <a:lnTo>
                  <a:pt x="1861" y="780"/>
                </a:lnTo>
                <a:cubicBezTo>
                  <a:pt x="1829" y="812"/>
                  <a:pt x="1829" y="860"/>
                  <a:pt x="1845" y="908"/>
                </a:cubicBezTo>
                <a:cubicBezTo>
                  <a:pt x="1845" y="939"/>
                  <a:pt x="1877" y="987"/>
                  <a:pt x="1909" y="1003"/>
                </a:cubicBezTo>
                <a:lnTo>
                  <a:pt x="2052" y="1099"/>
                </a:lnTo>
                <a:cubicBezTo>
                  <a:pt x="2020" y="1194"/>
                  <a:pt x="2005" y="1290"/>
                  <a:pt x="2005" y="1400"/>
                </a:cubicBezTo>
                <a:close/>
                <a:moveTo>
                  <a:pt x="2195" y="1003"/>
                </a:moveTo>
                <a:lnTo>
                  <a:pt x="1989" y="876"/>
                </a:lnTo>
                <a:lnTo>
                  <a:pt x="1989" y="860"/>
                </a:lnTo>
                <a:lnTo>
                  <a:pt x="2132" y="637"/>
                </a:lnTo>
                <a:lnTo>
                  <a:pt x="2338" y="780"/>
                </a:lnTo>
                <a:cubicBezTo>
                  <a:pt x="2371" y="796"/>
                  <a:pt x="2418" y="780"/>
                  <a:pt x="2434" y="764"/>
                </a:cubicBezTo>
                <a:cubicBezTo>
                  <a:pt x="2529" y="669"/>
                  <a:pt x="2625" y="605"/>
                  <a:pt x="2736" y="542"/>
                </a:cubicBezTo>
                <a:cubicBezTo>
                  <a:pt x="2784" y="526"/>
                  <a:pt x="2800" y="494"/>
                  <a:pt x="2784" y="462"/>
                </a:cubicBezTo>
                <a:lnTo>
                  <a:pt x="2736" y="223"/>
                </a:lnTo>
                <a:lnTo>
                  <a:pt x="2991" y="160"/>
                </a:lnTo>
                <a:lnTo>
                  <a:pt x="3054" y="399"/>
                </a:lnTo>
                <a:cubicBezTo>
                  <a:pt x="3054" y="430"/>
                  <a:pt x="3102" y="462"/>
                  <a:pt x="3134" y="462"/>
                </a:cubicBezTo>
                <a:cubicBezTo>
                  <a:pt x="3245" y="462"/>
                  <a:pt x="3373" y="478"/>
                  <a:pt x="3500" y="526"/>
                </a:cubicBezTo>
                <a:cubicBezTo>
                  <a:pt x="3532" y="542"/>
                  <a:pt x="3563" y="526"/>
                  <a:pt x="3596" y="494"/>
                </a:cubicBezTo>
                <a:lnTo>
                  <a:pt x="3723" y="287"/>
                </a:lnTo>
                <a:lnTo>
                  <a:pt x="3945" y="430"/>
                </a:lnTo>
                <a:lnTo>
                  <a:pt x="3818" y="637"/>
                </a:lnTo>
                <a:cubicBezTo>
                  <a:pt x="3802" y="669"/>
                  <a:pt x="3802" y="717"/>
                  <a:pt x="3834" y="733"/>
                </a:cubicBezTo>
                <a:cubicBezTo>
                  <a:pt x="3914" y="828"/>
                  <a:pt x="3993" y="923"/>
                  <a:pt x="4041" y="1035"/>
                </a:cubicBezTo>
                <a:cubicBezTo>
                  <a:pt x="4057" y="1082"/>
                  <a:pt x="4089" y="1099"/>
                  <a:pt x="4136" y="1082"/>
                </a:cubicBezTo>
                <a:lnTo>
                  <a:pt x="4375" y="1035"/>
                </a:lnTo>
                <a:lnTo>
                  <a:pt x="4423" y="1290"/>
                </a:lnTo>
                <a:lnTo>
                  <a:pt x="4184" y="1353"/>
                </a:lnTo>
                <a:cubicBezTo>
                  <a:pt x="4152" y="1353"/>
                  <a:pt x="4120" y="1385"/>
                  <a:pt x="4120" y="1433"/>
                </a:cubicBezTo>
                <a:cubicBezTo>
                  <a:pt x="4120" y="1560"/>
                  <a:pt x="4105" y="1671"/>
                  <a:pt x="4057" y="1799"/>
                </a:cubicBezTo>
                <a:cubicBezTo>
                  <a:pt x="4041" y="1830"/>
                  <a:pt x="4057" y="1862"/>
                  <a:pt x="4089" y="1894"/>
                </a:cubicBezTo>
                <a:lnTo>
                  <a:pt x="4296" y="2021"/>
                </a:lnTo>
                <a:lnTo>
                  <a:pt x="4152" y="2244"/>
                </a:lnTo>
                <a:lnTo>
                  <a:pt x="3945" y="2117"/>
                </a:lnTo>
                <a:cubicBezTo>
                  <a:pt x="3914" y="2085"/>
                  <a:pt x="3882" y="2101"/>
                  <a:pt x="3850" y="2117"/>
                </a:cubicBezTo>
                <a:cubicBezTo>
                  <a:pt x="3771" y="2212"/>
                  <a:pt x="3659" y="2291"/>
                  <a:pt x="3548" y="2339"/>
                </a:cubicBezTo>
                <a:cubicBezTo>
                  <a:pt x="3516" y="2355"/>
                  <a:pt x="3500" y="2387"/>
                  <a:pt x="3500" y="2435"/>
                </a:cubicBezTo>
                <a:lnTo>
                  <a:pt x="3548" y="2673"/>
                </a:lnTo>
                <a:lnTo>
                  <a:pt x="3293" y="2721"/>
                </a:lnTo>
                <a:lnTo>
                  <a:pt x="3245" y="2482"/>
                </a:lnTo>
                <a:cubicBezTo>
                  <a:pt x="3229" y="2451"/>
                  <a:pt x="3198" y="2419"/>
                  <a:pt x="3166" y="2419"/>
                </a:cubicBezTo>
                <a:cubicBezTo>
                  <a:pt x="3039" y="2419"/>
                  <a:pt x="2911" y="2403"/>
                  <a:pt x="2800" y="2355"/>
                </a:cubicBezTo>
                <a:cubicBezTo>
                  <a:pt x="2768" y="2339"/>
                  <a:pt x="2720" y="2355"/>
                  <a:pt x="2705" y="2387"/>
                </a:cubicBezTo>
                <a:lnTo>
                  <a:pt x="2561" y="2594"/>
                </a:lnTo>
                <a:lnTo>
                  <a:pt x="2354" y="2451"/>
                </a:lnTo>
                <a:lnTo>
                  <a:pt x="2482" y="2244"/>
                </a:lnTo>
                <a:cubicBezTo>
                  <a:pt x="2498" y="2212"/>
                  <a:pt x="2498" y="2180"/>
                  <a:pt x="2466" y="2148"/>
                </a:cubicBezTo>
                <a:cubicBezTo>
                  <a:pt x="2371" y="2053"/>
                  <a:pt x="2307" y="1957"/>
                  <a:pt x="2243" y="1846"/>
                </a:cubicBezTo>
                <a:cubicBezTo>
                  <a:pt x="2227" y="1814"/>
                  <a:pt x="2195" y="1782"/>
                  <a:pt x="2163" y="1799"/>
                </a:cubicBezTo>
                <a:lnTo>
                  <a:pt x="1925" y="1846"/>
                </a:lnTo>
                <a:lnTo>
                  <a:pt x="1861" y="1591"/>
                </a:lnTo>
                <a:lnTo>
                  <a:pt x="2100" y="1544"/>
                </a:lnTo>
                <a:cubicBezTo>
                  <a:pt x="2132" y="1528"/>
                  <a:pt x="2163" y="1496"/>
                  <a:pt x="2163" y="1464"/>
                </a:cubicBezTo>
                <a:cubicBezTo>
                  <a:pt x="2163" y="1337"/>
                  <a:pt x="2180" y="1210"/>
                  <a:pt x="2227" y="1099"/>
                </a:cubicBezTo>
                <a:cubicBezTo>
                  <a:pt x="2243" y="1051"/>
                  <a:pt x="2227" y="1019"/>
                  <a:pt x="2195" y="100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9" name="Freeform: Shape 12">
            <a:extLst>
              <a:ext uri="{FF2B5EF4-FFF2-40B4-BE49-F238E27FC236}">
                <a16:creationId xmlns:a16="http://schemas.microsoft.com/office/drawing/2014/main" id="{FEEFC121-23A8-4E44-B247-57A3B3DFCE72}"/>
              </a:ext>
            </a:extLst>
          </p:cNvPr>
          <p:cNvSpPr/>
          <p:nvPr/>
        </p:nvSpPr>
        <p:spPr>
          <a:xfrm>
            <a:off x="10173498" y="9650018"/>
            <a:ext cx="1855079" cy="1620720"/>
          </a:xfrm>
          <a:custGeom>
            <a:avLst/>
            <a:gdLst/>
            <a:ahLst/>
            <a:cxnLst>
              <a:cxn ang="3cd4">
                <a:pos x="hc" y="t"/>
              </a:cxn>
              <a:cxn ang="cd2">
                <a:pos x="l" y="vc"/>
              </a:cxn>
              <a:cxn ang="cd4">
                <a:pos x="hc" y="b"/>
              </a:cxn>
              <a:cxn ang="0">
                <a:pos x="r" y="vc"/>
              </a:cxn>
            </a:cxnLst>
            <a:rect l="l" t="t" r="r" b="b"/>
            <a:pathLst>
              <a:path w="5154" h="4503">
                <a:moveTo>
                  <a:pt x="55" y="764"/>
                </a:moveTo>
                <a:lnTo>
                  <a:pt x="39" y="764"/>
                </a:lnTo>
                <a:cubicBezTo>
                  <a:pt x="39" y="780"/>
                  <a:pt x="28" y="775"/>
                  <a:pt x="23" y="780"/>
                </a:cubicBezTo>
                <a:lnTo>
                  <a:pt x="7" y="796"/>
                </a:lnTo>
                <a:lnTo>
                  <a:pt x="7" y="812"/>
                </a:lnTo>
                <a:lnTo>
                  <a:pt x="7" y="828"/>
                </a:lnTo>
                <a:cubicBezTo>
                  <a:pt x="7" y="833"/>
                  <a:pt x="-8" y="843"/>
                  <a:pt x="7" y="843"/>
                </a:cubicBezTo>
                <a:lnTo>
                  <a:pt x="7" y="859"/>
                </a:lnTo>
                <a:lnTo>
                  <a:pt x="7" y="876"/>
                </a:lnTo>
                <a:lnTo>
                  <a:pt x="7" y="3485"/>
                </a:lnTo>
                <a:cubicBezTo>
                  <a:pt x="7" y="3516"/>
                  <a:pt x="23" y="3548"/>
                  <a:pt x="39" y="3564"/>
                </a:cubicBezTo>
                <a:lnTo>
                  <a:pt x="1916" y="4471"/>
                </a:lnTo>
                <a:lnTo>
                  <a:pt x="1932" y="4487"/>
                </a:lnTo>
                <a:lnTo>
                  <a:pt x="1949" y="4487"/>
                </a:lnTo>
                <a:lnTo>
                  <a:pt x="1964" y="4487"/>
                </a:lnTo>
                <a:lnTo>
                  <a:pt x="1980" y="4487"/>
                </a:lnTo>
                <a:lnTo>
                  <a:pt x="2792" y="4201"/>
                </a:lnTo>
                <a:cubicBezTo>
                  <a:pt x="2823" y="4185"/>
                  <a:pt x="2855" y="4137"/>
                  <a:pt x="2840" y="4089"/>
                </a:cubicBezTo>
                <a:cubicBezTo>
                  <a:pt x="2823" y="4058"/>
                  <a:pt x="2776" y="4025"/>
                  <a:pt x="2728" y="4041"/>
                </a:cubicBezTo>
                <a:lnTo>
                  <a:pt x="2044" y="4296"/>
                </a:lnTo>
                <a:lnTo>
                  <a:pt x="2044" y="1655"/>
                </a:lnTo>
                <a:lnTo>
                  <a:pt x="2744" y="1416"/>
                </a:lnTo>
                <a:lnTo>
                  <a:pt x="2744" y="1877"/>
                </a:lnTo>
                <a:cubicBezTo>
                  <a:pt x="2744" y="1894"/>
                  <a:pt x="2760" y="1925"/>
                  <a:pt x="2776" y="1941"/>
                </a:cubicBezTo>
                <a:cubicBezTo>
                  <a:pt x="2792" y="1941"/>
                  <a:pt x="2807" y="1957"/>
                  <a:pt x="2823" y="1957"/>
                </a:cubicBezTo>
                <a:cubicBezTo>
                  <a:pt x="2833" y="1952"/>
                  <a:pt x="2840" y="1957"/>
                  <a:pt x="2855" y="1941"/>
                </a:cubicBezTo>
                <a:lnTo>
                  <a:pt x="3269" y="1798"/>
                </a:lnTo>
                <a:cubicBezTo>
                  <a:pt x="3301" y="1782"/>
                  <a:pt x="3332" y="1750"/>
                  <a:pt x="3332" y="1719"/>
                </a:cubicBezTo>
                <a:lnTo>
                  <a:pt x="3332" y="1225"/>
                </a:lnTo>
                <a:lnTo>
                  <a:pt x="4032" y="987"/>
                </a:lnTo>
                <a:lnTo>
                  <a:pt x="4032" y="2371"/>
                </a:lnTo>
                <a:cubicBezTo>
                  <a:pt x="4032" y="2403"/>
                  <a:pt x="4064" y="2450"/>
                  <a:pt x="4112" y="2450"/>
                </a:cubicBezTo>
                <a:cubicBezTo>
                  <a:pt x="4160" y="2450"/>
                  <a:pt x="4192" y="2403"/>
                  <a:pt x="4192" y="2371"/>
                </a:cubicBezTo>
                <a:lnTo>
                  <a:pt x="4192" y="876"/>
                </a:lnTo>
                <a:lnTo>
                  <a:pt x="4192" y="859"/>
                </a:lnTo>
                <a:lnTo>
                  <a:pt x="4192" y="843"/>
                </a:lnTo>
                <a:lnTo>
                  <a:pt x="4176" y="843"/>
                </a:lnTo>
                <a:lnTo>
                  <a:pt x="4176" y="828"/>
                </a:lnTo>
                <a:cubicBezTo>
                  <a:pt x="4176" y="812"/>
                  <a:pt x="4176" y="812"/>
                  <a:pt x="4160" y="812"/>
                </a:cubicBezTo>
                <a:lnTo>
                  <a:pt x="4160" y="796"/>
                </a:lnTo>
                <a:lnTo>
                  <a:pt x="4144" y="796"/>
                </a:lnTo>
                <a:lnTo>
                  <a:pt x="3635" y="605"/>
                </a:lnTo>
                <a:lnTo>
                  <a:pt x="4128" y="430"/>
                </a:lnTo>
                <a:cubicBezTo>
                  <a:pt x="4160" y="414"/>
                  <a:pt x="4192" y="382"/>
                  <a:pt x="4192" y="350"/>
                </a:cubicBezTo>
                <a:cubicBezTo>
                  <a:pt x="4176" y="319"/>
                  <a:pt x="4160" y="286"/>
                  <a:pt x="4112" y="286"/>
                </a:cubicBezTo>
                <a:lnTo>
                  <a:pt x="2107" y="0"/>
                </a:lnTo>
                <a:lnTo>
                  <a:pt x="2092" y="0"/>
                </a:lnTo>
                <a:lnTo>
                  <a:pt x="2076" y="0"/>
                </a:lnTo>
                <a:lnTo>
                  <a:pt x="2060" y="0"/>
                </a:lnTo>
                <a:close/>
                <a:moveTo>
                  <a:pt x="3174" y="1671"/>
                </a:moveTo>
                <a:lnTo>
                  <a:pt x="2903" y="1767"/>
                </a:lnTo>
                <a:lnTo>
                  <a:pt x="2903" y="1368"/>
                </a:lnTo>
                <a:lnTo>
                  <a:pt x="3174" y="1289"/>
                </a:lnTo>
                <a:close/>
                <a:moveTo>
                  <a:pt x="167" y="1003"/>
                </a:moveTo>
                <a:lnTo>
                  <a:pt x="755" y="1225"/>
                </a:lnTo>
                <a:lnTo>
                  <a:pt x="755" y="1687"/>
                </a:lnTo>
                <a:cubicBezTo>
                  <a:pt x="755" y="1719"/>
                  <a:pt x="771" y="1750"/>
                  <a:pt x="803" y="1767"/>
                </a:cubicBezTo>
                <a:lnTo>
                  <a:pt x="1169" y="1941"/>
                </a:lnTo>
                <a:cubicBezTo>
                  <a:pt x="1185" y="1957"/>
                  <a:pt x="1190" y="1952"/>
                  <a:pt x="1201" y="1957"/>
                </a:cubicBezTo>
                <a:cubicBezTo>
                  <a:pt x="1216" y="1957"/>
                  <a:pt x="1232" y="1957"/>
                  <a:pt x="1249" y="1941"/>
                </a:cubicBezTo>
                <a:cubicBezTo>
                  <a:pt x="1264" y="1925"/>
                  <a:pt x="1280" y="1894"/>
                  <a:pt x="1280" y="1877"/>
                </a:cubicBezTo>
                <a:lnTo>
                  <a:pt x="1280" y="1432"/>
                </a:lnTo>
                <a:lnTo>
                  <a:pt x="1885" y="1655"/>
                </a:lnTo>
                <a:lnTo>
                  <a:pt x="1885" y="4280"/>
                </a:lnTo>
                <a:lnTo>
                  <a:pt x="1280" y="3994"/>
                </a:lnTo>
                <a:lnTo>
                  <a:pt x="1280" y="3485"/>
                </a:lnTo>
                <a:cubicBezTo>
                  <a:pt x="1280" y="3453"/>
                  <a:pt x="1264" y="3421"/>
                  <a:pt x="1232" y="3405"/>
                </a:cubicBezTo>
                <a:lnTo>
                  <a:pt x="866" y="3262"/>
                </a:lnTo>
                <a:cubicBezTo>
                  <a:pt x="835" y="3246"/>
                  <a:pt x="803" y="3246"/>
                  <a:pt x="787" y="3262"/>
                </a:cubicBezTo>
                <a:cubicBezTo>
                  <a:pt x="771" y="3278"/>
                  <a:pt x="755" y="3310"/>
                  <a:pt x="755" y="3341"/>
                </a:cubicBezTo>
                <a:lnTo>
                  <a:pt x="755" y="3723"/>
                </a:lnTo>
                <a:lnTo>
                  <a:pt x="167" y="3437"/>
                </a:lnTo>
                <a:close/>
                <a:moveTo>
                  <a:pt x="1121" y="1368"/>
                </a:moveTo>
                <a:lnTo>
                  <a:pt x="1121" y="1750"/>
                </a:lnTo>
                <a:lnTo>
                  <a:pt x="914" y="1639"/>
                </a:lnTo>
                <a:lnTo>
                  <a:pt x="914" y="1289"/>
                </a:lnTo>
                <a:close/>
                <a:moveTo>
                  <a:pt x="914" y="3803"/>
                </a:moveTo>
                <a:lnTo>
                  <a:pt x="914" y="3453"/>
                </a:lnTo>
                <a:lnTo>
                  <a:pt x="1121" y="3532"/>
                </a:lnTo>
                <a:lnTo>
                  <a:pt x="1121" y="3914"/>
                </a:lnTo>
                <a:close/>
                <a:moveTo>
                  <a:pt x="3874" y="859"/>
                </a:moveTo>
                <a:lnTo>
                  <a:pt x="1964" y="1512"/>
                </a:lnTo>
                <a:lnTo>
                  <a:pt x="580" y="987"/>
                </a:lnTo>
                <a:lnTo>
                  <a:pt x="1949" y="1177"/>
                </a:lnTo>
                <a:cubicBezTo>
                  <a:pt x="1964" y="1177"/>
                  <a:pt x="1969" y="1167"/>
                  <a:pt x="1980" y="1162"/>
                </a:cubicBezTo>
                <a:lnTo>
                  <a:pt x="3396" y="685"/>
                </a:lnTo>
                <a:close/>
                <a:moveTo>
                  <a:pt x="1949" y="1003"/>
                </a:moveTo>
                <a:lnTo>
                  <a:pt x="405" y="796"/>
                </a:lnTo>
                <a:lnTo>
                  <a:pt x="2107" y="159"/>
                </a:lnTo>
                <a:lnTo>
                  <a:pt x="3762" y="382"/>
                </a:lnTo>
                <a:close/>
                <a:moveTo>
                  <a:pt x="5019" y="2689"/>
                </a:moveTo>
                <a:lnTo>
                  <a:pt x="4621" y="3071"/>
                </a:lnTo>
                <a:cubicBezTo>
                  <a:pt x="4462" y="2832"/>
                  <a:pt x="4176" y="2673"/>
                  <a:pt x="3874" y="2673"/>
                </a:cubicBezTo>
                <a:cubicBezTo>
                  <a:pt x="3364" y="2673"/>
                  <a:pt x="2951" y="3087"/>
                  <a:pt x="2951" y="3580"/>
                </a:cubicBezTo>
                <a:cubicBezTo>
                  <a:pt x="2951" y="4089"/>
                  <a:pt x="3364" y="4503"/>
                  <a:pt x="3874" y="4503"/>
                </a:cubicBezTo>
                <a:cubicBezTo>
                  <a:pt x="4367" y="4503"/>
                  <a:pt x="4780" y="4089"/>
                  <a:pt x="4780" y="3580"/>
                </a:cubicBezTo>
                <a:cubicBezTo>
                  <a:pt x="4780" y="3453"/>
                  <a:pt x="4749" y="3325"/>
                  <a:pt x="4701" y="3214"/>
                </a:cubicBezTo>
                <a:lnTo>
                  <a:pt x="5131" y="2801"/>
                </a:lnTo>
                <a:cubicBezTo>
                  <a:pt x="5162" y="2768"/>
                  <a:pt x="5162" y="2721"/>
                  <a:pt x="5131" y="2689"/>
                </a:cubicBezTo>
                <a:cubicBezTo>
                  <a:pt x="5099" y="2657"/>
                  <a:pt x="5051" y="2657"/>
                  <a:pt x="5019" y="2689"/>
                </a:cubicBezTo>
                <a:close/>
                <a:moveTo>
                  <a:pt x="4621" y="3580"/>
                </a:moveTo>
                <a:cubicBezTo>
                  <a:pt x="4621" y="3994"/>
                  <a:pt x="4287" y="4344"/>
                  <a:pt x="3874" y="4344"/>
                </a:cubicBezTo>
                <a:cubicBezTo>
                  <a:pt x="3460" y="4344"/>
                  <a:pt x="3110" y="3994"/>
                  <a:pt x="3110" y="3580"/>
                </a:cubicBezTo>
                <a:cubicBezTo>
                  <a:pt x="3110" y="3167"/>
                  <a:pt x="3460" y="2832"/>
                  <a:pt x="3874" y="2832"/>
                </a:cubicBezTo>
                <a:cubicBezTo>
                  <a:pt x="4144" y="2832"/>
                  <a:pt x="4383" y="2976"/>
                  <a:pt x="4510" y="3182"/>
                </a:cubicBezTo>
                <a:lnTo>
                  <a:pt x="3953" y="3723"/>
                </a:lnTo>
                <a:lnTo>
                  <a:pt x="3730" y="3532"/>
                </a:lnTo>
                <a:cubicBezTo>
                  <a:pt x="3698" y="3501"/>
                  <a:pt x="3651" y="3501"/>
                  <a:pt x="3619" y="3532"/>
                </a:cubicBezTo>
                <a:cubicBezTo>
                  <a:pt x="3587" y="3564"/>
                  <a:pt x="3587" y="3612"/>
                  <a:pt x="3619" y="3644"/>
                </a:cubicBezTo>
                <a:lnTo>
                  <a:pt x="3905" y="3898"/>
                </a:lnTo>
                <a:cubicBezTo>
                  <a:pt x="3921" y="3914"/>
                  <a:pt x="3937" y="3914"/>
                  <a:pt x="3953" y="3914"/>
                </a:cubicBezTo>
                <a:cubicBezTo>
                  <a:pt x="3969" y="3914"/>
                  <a:pt x="4001" y="3914"/>
                  <a:pt x="4017" y="3898"/>
                </a:cubicBezTo>
                <a:lnTo>
                  <a:pt x="4589" y="3341"/>
                </a:lnTo>
                <a:cubicBezTo>
                  <a:pt x="4605" y="3421"/>
                  <a:pt x="4621" y="3501"/>
                  <a:pt x="4621" y="358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0" name="Freeform: Shape 13">
            <a:extLst>
              <a:ext uri="{FF2B5EF4-FFF2-40B4-BE49-F238E27FC236}">
                <a16:creationId xmlns:a16="http://schemas.microsoft.com/office/drawing/2014/main" id="{639611A2-08EB-0746-BF9A-B3A8DED7CF59}"/>
              </a:ext>
            </a:extLst>
          </p:cNvPr>
          <p:cNvSpPr/>
          <p:nvPr/>
        </p:nvSpPr>
        <p:spPr>
          <a:xfrm>
            <a:off x="14012260" y="9627337"/>
            <a:ext cx="1569240" cy="1620360"/>
          </a:xfrm>
          <a:custGeom>
            <a:avLst/>
            <a:gdLst/>
            <a:ahLst/>
            <a:cxnLst>
              <a:cxn ang="3cd4">
                <a:pos x="hc" y="t"/>
              </a:cxn>
              <a:cxn ang="cd2">
                <a:pos x="l" y="vc"/>
              </a:cxn>
              <a:cxn ang="cd4">
                <a:pos x="hc" y="b"/>
              </a:cxn>
              <a:cxn ang="0">
                <a:pos x="r" y="vc"/>
              </a:cxn>
            </a:cxnLst>
            <a:rect l="l" t="t" r="r" b="b"/>
            <a:pathLst>
              <a:path w="4360" h="4502">
                <a:moveTo>
                  <a:pt x="3596" y="1463"/>
                </a:moveTo>
                <a:cubicBezTo>
                  <a:pt x="3675" y="1511"/>
                  <a:pt x="3755" y="1543"/>
                  <a:pt x="3850" y="1543"/>
                </a:cubicBezTo>
                <a:cubicBezTo>
                  <a:pt x="4137" y="1543"/>
                  <a:pt x="4360" y="1304"/>
                  <a:pt x="4360" y="1018"/>
                </a:cubicBezTo>
                <a:cubicBezTo>
                  <a:pt x="4360" y="748"/>
                  <a:pt x="4137" y="509"/>
                  <a:pt x="3850" y="509"/>
                </a:cubicBezTo>
                <a:cubicBezTo>
                  <a:pt x="3755" y="509"/>
                  <a:pt x="3675" y="540"/>
                  <a:pt x="3596" y="588"/>
                </a:cubicBezTo>
                <a:cubicBezTo>
                  <a:pt x="3596" y="79"/>
                  <a:pt x="3596" y="79"/>
                  <a:pt x="3596" y="79"/>
                </a:cubicBezTo>
                <a:cubicBezTo>
                  <a:pt x="3596" y="31"/>
                  <a:pt x="3548" y="0"/>
                  <a:pt x="3516" y="0"/>
                </a:cubicBezTo>
                <a:cubicBezTo>
                  <a:pt x="1814" y="0"/>
                  <a:pt x="1814" y="0"/>
                  <a:pt x="1814" y="0"/>
                </a:cubicBezTo>
                <a:cubicBezTo>
                  <a:pt x="1782" y="0"/>
                  <a:pt x="1782" y="0"/>
                  <a:pt x="1782" y="0"/>
                </a:cubicBezTo>
                <a:cubicBezTo>
                  <a:pt x="80" y="0"/>
                  <a:pt x="80" y="0"/>
                  <a:pt x="80" y="0"/>
                </a:cubicBezTo>
                <a:cubicBezTo>
                  <a:pt x="48" y="0"/>
                  <a:pt x="0" y="31"/>
                  <a:pt x="0" y="79"/>
                </a:cubicBezTo>
                <a:cubicBezTo>
                  <a:pt x="0" y="2243"/>
                  <a:pt x="0" y="2243"/>
                  <a:pt x="0" y="2243"/>
                </a:cubicBezTo>
                <a:cubicBezTo>
                  <a:pt x="0" y="2831"/>
                  <a:pt x="0" y="2831"/>
                  <a:pt x="0" y="2831"/>
                </a:cubicBezTo>
                <a:cubicBezTo>
                  <a:pt x="0" y="2848"/>
                  <a:pt x="16" y="2879"/>
                  <a:pt x="48" y="2895"/>
                </a:cubicBezTo>
                <a:cubicBezTo>
                  <a:pt x="64" y="2911"/>
                  <a:pt x="96" y="2911"/>
                  <a:pt x="127" y="2895"/>
                </a:cubicBezTo>
                <a:cubicBezTo>
                  <a:pt x="175" y="2864"/>
                  <a:pt x="239" y="2848"/>
                  <a:pt x="302" y="2848"/>
                </a:cubicBezTo>
                <a:cubicBezTo>
                  <a:pt x="509" y="2848"/>
                  <a:pt x="668" y="3007"/>
                  <a:pt x="668" y="3198"/>
                </a:cubicBezTo>
                <a:cubicBezTo>
                  <a:pt x="668" y="3388"/>
                  <a:pt x="509" y="3548"/>
                  <a:pt x="302" y="3548"/>
                </a:cubicBezTo>
                <a:cubicBezTo>
                  <a:pt x="239" y="3548"/>
                  <a:pt x="175" y="3531"/>
                  <a:pt x="127" y="3500"/>
                </a:cubicBezTo>
                <a:cubicBezTo>
                  <a:pt x="96" y="3484"/>
                  <a:pt x="64" y="3484"/>
                  <a:pt x="48" y="3500"/>
                </a:cubicBezTo>
                <a:cubicBezTo>
                  <a:pt x="16" y="3516"/>
                  <a:pt x="0" y="3548"/>
                  <a:pt x="0" y="3564"/>
                </a:cubicBezTo>
                <a:cubicBezTo>
                  <a:pt x="0" y="4422"/>
                  <a:pt x="0" y="4422"/>
                  <a:pt x="0" y="4422"/>
                </a:cubicBezTo>
                <a:cubicBezTo>
                  <a:pt x="0" y="4455"/>
                  <a:pt x="48" y="4502"/>
                  <a:pt x="80" y="4502"/>
                </a:cubicBezTo>
                <a:cubicBezTo>
                  <a:pt x="1782" y="4502"/>
                  <a:pt x="1782" y="4502"/>
                  <a:pt x="1782" y="4502"/>
                </a:cubicBezTo>
                <a:cubicBezTo>
                  <a:pt x="1814" y="4502"/>
                  <a:pt x="1814" y="4502"/>
                  <a:pt x="1814" y="4502"/>
                </a:cubicBezTo>
                <a:cubicBezTo>
                  <a:pt x="3516" y="4502"/>
                  <a:pt x="3516" y="4502"/>
                  <a:pt x="3516" y="4502"/>
                </a:cubicBezTo>
                <a:cubicBezTo>
                  <a:pt x="3548" y="4502"/>
                  <a:pt x="3596" y="4455"/>
                  <a:pt x="3596" y="4422"/>
                </a:cubicBezTo>
                <a:cubicBezTo>
                  <a:pt x="3596" y="4104"/>
                  <a:pt x="3596" y="4104"/>
                  <a:pt x="3596" y="4104"/>
                </a:cubicBezTo>
                <a:cubicBezTo>
                  <a:pt x="3675" y="4152"/>
                  <a:pt x="3755" y="4184"/>
                  <a:pt x="3850" y="4184"/>
                </a:cubicBezTo>
                <a:cubicBezTo>
                  <a:pt x="4137" y="4184"/>
                  <a:pt x="4360" y="3945"/>
                  <a:pt x="4360" y="3659"/>
                </a:cubicBezTo>
                <a:cubicBezTo>
                  <a:pt x="4360" y="3388"/>
                  <a:pt x="4137" y="3150"/>
                  <a:pt x="3850" y="3150"/>
                </a:cubicBezTo>
                <a:cubicBezTo>
                  <a:pt x="3755" y="3150"/>
                  <a:pt x="3675" y="3182"/>
                  <a:pt x="3596" y="3213"/>
                </a:cubicBezTo>
                <a:cubicBezTo>
                  <a:pt x="3596" y="2243"/>
                  <a:pt x="3596" y="2243"/>
                  <a:pt x="3596" y="2243"/>
                </a:cubicBezTo>
                <a:close/>
                <a:moveTo>
                  <a:pt x="3484" y="827"/>
                </a:moveTo>
                <a:cubicBezTo>
                  <a:pt x="3516" y="843"/>
                  <a:pt x="3548" y="827"/>
                  <a:pt x="3580" y="795"/>
                </a:cubicBezTo>
                <a:cubicBezTo>
                  <a:pt x="3644" y="716"/>
                  <a:pt x="3739" y="668"/>
                  <a:pt x="3850" y="668"/>
                </a:cubicBezTo>
                <a:cubicBezTo>
                  <a:pt x="4041" y="668"/>
                  <a:pt x="4200" y="827"/>
                  <a:pt x="4200" y="1018"/>
                </a:cubicBezTo>
                <a:cubicBezTo>
                  <a:pt x="4200" y="1225"/>
                  <a:pt x="4041" y="1384"/>
                  <a:pt x="3850" y="1384"/>
                </a:cubicBezTo>
                <a:cubicBezTo>
                  <a:pt x="3739" y="1384"/>
                  <a:pt x="3644" y="1336"/>
                  <a:pt x="3580" y="1240"/>
                </a:cubicBezTo>
                <a:cubicBezTo>
                  <a:pt x="3548" y="1225"/>
                  <a:pt x="3516" y="1209"/>
                  <a:pt x="3484" y="1225"/>
                </a:cubicBezTo>
                <a:cubicBezTo>
                  <a:pt x="3453" y="1240"/>
                  <a:pt x="3437" y="1257"/>
                  <a:pt x="3437" y="1304"/>
                </a:cubicBezTo>
                <a:cubicBezTo>
                  <a:pt x="3437" y="2163"/>
                  <a:pt x="3437" y="2163"/>
                  <a:pt x="3437" y="2163"/>
                </a:cubicBezTo>
                <a:cubicBezTo>
                  <a:pt x="2912" y="2163"/>
                  <a:pt x="2912" y="2163"/>
                  <a:pt x="2912" y="2163"/>
                </a:cubicBezTo>
                <a:cubicBezTo>
                  <a:pt x="2880" y="2163"/>
                  <a:pt x="2848" y="2179"/>
                  <a:pt x="2848" y="2211"/>
                </a:cubicBezTo>
                <a:cubicBezTo>
                  <a:pt x="2832" y="2243"/>
                  <a:pt x="2848" y="2291"/>
                  <a:pt x="2864" y="2307"/>
                </a:cubicBezTo>
                <a:cubicBezTo>
                  <a:pt x="2944" y="2370"/>
                  <a:pt x="2991" y="2466"/>
                  <a:pt x="2991" y="2577"/>
                </a:cubicBezTo>
                <a:cubicBezTo>
                  <a:pt x="2991" y="2768"/>
                  <a:pt x="2832" y="2927"/>
                  <a:pt x="2625" y="2927"/>
                </a:cubicBezTo>
                <a:cubicBezTo>
                  <a:pt x="2435" y="2927"/>
                  <a:pt x="2275" y="2768"/>
                  <a:pt x="2275" y="2577"/>
                </a:cubicBezTo>
                <a:cubicBezTo>
                  <a:pt x="2275" y="2466"/>
                  <a:pt x="2323" y="2370"/>
                  <a:pt x="2402" y="2307"/>
                </a:cubicBezTo>
                <a:cubicBezTo>
                  <a:pt x="2418" y="2291"/>
                  <a:pt x="2435" y="2243"/>
                  <a:pt x="2418" y="2211"/>
                </a:cubicBezTo>
                <a:cubicBezTo>
                  <a:pt x="2402" y="2179"/>
                  <a:pt x="2371" y="2163"/>
                  <a:pt x="2339" y="2163"/>
                </a:cubicBezTo>
                <a:cubicBezTo>
                  <a:pt x="1893" y="2163"/>
                  <a:pt x="1893" y="2163"/>
                  <a:pt x="1893" y="2163"/>
                </a:cubicBezTo>
                <a:cubicBezTo>
                  <a:pt x="1893" y="1511"/>
                  <a:pt x="1893" y="1511"/>
                  <a:pt x="1893" y="1511"/>
                </a:cubicBezTo>
                <a:cubicBezTo>
                  <a:pt x="1909" y="1511"/>
                  <a:pt x="1909" y="1527"/>
                  <a:pt x="1925" y="1527"/>
                </a:cubicBezTo>
                <a:cubicBezTo>
                  <a:pt x="1941" y="1527"/>
                  <a:pt x="1957" y="1527"/>
                  <a:pt x="1973" y="1543"/>
                </a:cubicBezTo>
                <a:cubicBezTo>
                  <a:pt x="1989" y="1543"/>
                  <a:pt x="2005" y="1543"/>
                  <a:pt x="2021" y="1543"/>
                </a:cubicBezTo>
                <a:cubicBezTo>
                  <a:pt x="2036" y="1543"/>
                  <a:pt x="2053" y="1543"/>
                  <a:pt x="2069" y="1543"/>
                </a:cubicBezTo>
                <a:cubicBezTo>
                  <a:pt x="2355" y="1543"/>
                  <a:pt x="2593" y="1320"/>
                  <a:pt x="2593" y="1034"/>
                </a:cubicBezTo>
                <a:cubicBezTo>
                  <a:pt x="2593" y="748"/>
                  <a:pt x="2355" y="509"/>
                  <a:pt x="2069" y="509"/>
                </a:cubicBezTo>
                <a:cubicBezTo>
                  <a:pt x="2053" y="509"/>
                  <a:pt x="2036" y="509"/>
                  <a:pt x="2021" y="509"/>
                </a:cubicBezTo>
                <a:cubicBezTo>
                  <a:pt x="2005" y="509"/>
                  <a:pt x="1989" y="509"/>
                  <a:pt x="1973" y="525"/>
                </a:cubicBezTo>
                <a:cubicBezTo>
                  <a:pt x="1957" y="525"/>
                  <a:pt x="1941" y="525"/>
                  <a:pt x="1925" y="525"/>
                </a:cubicBezTo>
                <a:cubicBezTo>
                  <a:pt x="1909" y="540"/>
                  <a:pt x="1909" y="540"/>
                  <a:pt x="1893" y="540"/>
                </a:cubicBezTo>
                <a:cubicBezTo>
                  <a:pt x="1893" y="159"/>
                  <a:pt x="1893" y="159"/>
                  <a:pt x="1893" y="159"/>
                </a:cubicBezTo>
                <a:cubicBezTo>
                  <a:pt x="3437" y="159"/>
                  <a:pt x="3437" y="159"/>
                  <a:pt x="3437" y="159"/>
                </a:cubicBezTo>
                <a:cubicBezTo>
                  <a:pt x="3437" y="748"/>
                  <a:pt x="3437" y="748"/>
                  <a:pt x="3437" y="748"/>
                </a:cubicBezTo>
                <a:cubicBezTo>
                  <a:pt x="3437" y="779"/>
                  <a:pt x="3453" y="811"/>
                  <a:pt x="3484" y="827"/>
                </a:cubicBezTo>
                <a:close/>
                <a:moveTo>
                  <a:pt x="159" y="159"/>
                </a:moveTo>
                <a:cubicBezTo>
                  <a:pt x="1702" y="159"/>
                  <a:pt x="1702" y="159"/>
                  <a:pt x="1702" y="159"/>
                </a:cubicBezTo>
                <a:cubicBezTo>
                  <a:pt x="1702" y="700"/>
                  <a:pt x="1702" y="700"/>
                  <a:pt x="1702" y="700"/>
                </a:cubicBezTo>
                <a:cubicBezTo>
                  <a:pt x="1702" y="731"/>
                  <a:pt x="1735" y="748"/>
                  <a:pt x="1750" y="763"/>
                </a:cubicBezTo>
                <a:cubicBezTo>
                  <a:pt x="1782" y="779"/>
                  <a:pt x="1814" y="779"/>
                  <a:pt x="1846" y="748"/>
                </a:cubicBezTo>
                <a:cubicBezTo>
                  <a:pt x="1846" y="748"/>
                  <a:pt x="1862" y="748"/>
                  <a:pt x="1862" y="731"/>
                </a:cubicBezTo>
                <a:lnTo>
                  <a:pt x="1878" y="731"/>
                </a:lnTo>
                <a:lnTo>
                  <a:pt x="1893" y="716"/>
                </a:lnTo>
                <a:cubicBezTo>
                  <a:pt x="1909" y="716"/>
                  <a:pt x="1909" y="716"/>
                  <a:pt x="1909" y="700"/>
                </a:cubicBezTo>
                <a:cubicBezTo>
                  <a:pt x="1925" y="700"/>
                  <a:pt x="1925" y="700"/>
                  <a:pt x="1925" y="700"/>
                </a:cubicBezTo>
                <a:lnTo>
                  <a:pt x="1941" y="700"/>
                </a:lnTo>
                <a:lnTo>
                  <a:pt x="1957" y="684"/>
                </a:lnTo>
                <a:lnTo>
                  <a:pt x="1973" y="684"/>
                </a:lnTo>
                <a:lnTo>
                  <a:pt x="1989" y="684"/>
                </a:lnTo>
                <a:cubicBezTo>
                  <a:pt x="2005" y="684"/>
                  <a:pt x="2005" y="668"/>
                  <a:pt x="2005" y="668"/>
                </a:cubicBezTo>
                <a:cubicBezTo>
                  <a:pt x="2021" y="668"/>
                  <a:pt x="2021" y="668"/>
                  <a:pt x="2021" y="668"/>
                </a:cubicBezTo>
                <a:cubicBezTo>
                  <a:pt x="2036" y="668"/>
                  <a:pt x="2036" y="668"/>
                  <a:pt x="2036" y="668"/>
                </a:cubicBezTo>
                <a:cubicBezTo>
                  <a:pt x="2053" y="668"/>
                  <a:pt x="2069" y="668"/>
                  <a:pt x="2069" y="668"/>
                </a:cubicBezTo>
                <a:cubicBezTo>
                  <a:pt x="2275" y="668"/>
                  <a:pt x="2435" y="827"/>
                  <a:pt x="2435" y="1034"/>
                </a:cubicBezTo>
                <a:cubicBezTo>
                  <a:pt x="2435" y="1225"/>
                  <a:pt x="2275" y="1384"/>
                  <a:pt x="2069" y="1384"/>
                </a:cubicBezTo>
                <a:cubicBezTo>
                  <a:pt x="2069" y="1384"/>
                  <a:pt x="2053" y="1384"/>
                  <a:pt x="2036" y="1384"/>
                </a:cubicBezTo>
                <a:cubicBezTo>
                  <a:pt x="2021" y="1384"/>
                  <a:pt x="2021" y="1384"/>
                  <a:pt x="2005" y="1384"/>
                </a:cubicBezTo>
                <a:cubicBezTo>
                  <a:pt x="1989" y="1384"/>
                  <a:pt x="1989" y="1384"/>
                  <a:pt x="1989" y="1368"/>
                </a:cubicBezTo>
                <a:cubicBezTo>
                  <a:pt x="1973" y="1368"/>
                  <a:pt x="1973" y="1368"/>
                  <a:pt x="1973" y="1368"/>
                </a:cubicBezTo>
                <a:cubicBezTo>
                  <a:pt x="1957" y="1368"/>
                  <a:pt x="1957" y="1368"/>
                  <a:pt x="1957" y="1368"/>
                </a:cubicBezTo>
                <a:lnTo>
                  <a:pt x="1941" y="1368"/>
                </a:lnTo>
                <a:cubicBezTo>
                  <a:pt x="1941" y="1352"/>
                  <a:pt x="1925" y="1352"/>
                  <a:pt x="1925" y="1352"/>
                </a:cubicBezTo>
                <a:lnTo>
                  <a:pt x="1909" y="1352"/>
                </a:lnTo>
                <a:cubicBezTo>
                  <a:pt x="1909" y="1352"/>
                  <a:pt x="1909" y="1336"/>
                  <a:pt x="1893" y="1336"/>
                </a:cubicBezTo>
                <a:cubicBezTo>
                  <a:pt x="1878" y="1336"/>
                  <a:pt x="1878" y="1320"/>
                  <a:pt x="1862" y="1320"/>
                </a:cubicBezTo>
                <a:lnTo>
                  <a:pt x="1846" y="1304"/>
                </a:lnTo>
                <a:cubicBezTo>
                  <a:pt x="1814" y="1288"/>
                  <a:pt x="1782" y="1273"/>
                  <a:pt x="1750" y="1288"/>
                </a:cubicBezTo>
                <a:cubicBezTo>
                  <a:pt x="1735" y="1304"/>
                  <a:pt x="1702" y="1336"/>
                  <a:pt x="1702" y="1368"/>
                </a:cubicBezTo>
                <a:cubicBezTo>
                  <a:pt x="1702" y="2163"/>
                  <a:pt x="1702" y="2163"/>
                  <a:pt x="1702" y="2163"/>
                </a:cubicBezTo>
                <a:cubicBezTo>
                  <a:pt x="1464" y="2163"/>
                  <a:pt x="1464" y="2163"/>
                  <a:pt x="1464" y="2163"/>
                </a:cubicBezTo>
                <a:cubicBezTo>
                  <a:pt x="1480" y="2100"/>
                  <a:pt x="1496" y="2036"/>
                  <a:pt x="1496" y="1973"/>
                </a:cubicBezTo>
                <a:cubicBezTo>
                  <a:pt x="1496" y="1686"/>
                  <a:pt x="1273" y="1448"/>
                  <a:pt x="987" y="1448"/>
                </a:cubicBezTo>
                <a:cubicBezTo>
                  <a:pt x="700" y="1448"/>
                  <a:pt x="462" y="1686"/>
                  <a:pt x="462" y="1973"/>
                </a:cubicBezTo>
                <a:cubicBezTo>
                  <a:pt x="462" y="2036"/>
                  <a:pt x="477" y="2100"/>
                  <a:pt x="509" y="2163"/>
                </a:cubicBezTo>
                <a:cubicBezTo>
                  <a:pt x="159" y="2163"/>
                  <a:pt x="159" y="2163"/>
                  <a:pt x="159" y="2163"/>
                </a:cubicBezTo>
                <a:close/>
                <a:moveTo>
                  <a:pt x="159" y="3691"/>
                </a:moveTo>
                <a:cubicBezTo>
                  <a:pt x="207" y="3707"/>
                  <a:pt x="255" y="3707"/>
                  <a:pt x="302" y="3707"/>
                </a:cubicBezTo>
                <a:cubicBezTo>
                  <a:pt x="589" y="3707"/>
                  <a:pt x="827" y="3484"/>
                  <a:pt x="827" y="3198"/>
                </a:cubicBezTo>
                <a:cubicBezTo>
                  <a:pt x="827" y="2911"/>
                  <a:pt x="589" y="2688"/>
                  <a:pt x="302" y="2688"/>
                </a:cubicBezTo>
                <a:cubicBezTo>
                  <a:pt x="255" y="2688"/>
                  <a:pt x="207" y="2688"/>
                  <a:pt x="159" y="2704"/>
                </a:cubicBezTo>
                <a:cubicBezTo>
                  <a:pt x="159" y="2322"/>
                  <a:pt x="159" y="2322"/>
                  <a:pt x="159" y="2322"/>
                </a:cubicBezTo>
                <a:cubicBezTo>
                  <a:pt x="636" y="2322"/>
                  <a:pt x="636" y="2322"/>
                  <a:pt x="636" y="2322"/>
                </a:cubicBezTo>
                <a:cubicBezTo>
                  <a:pt x="668" y="2322"/>
                  <a:pt x="700" y="2307"/>
                  <a:pt x="716" y="2275"/>
                </a:cubicBezTo>
                <a:cubicBezTo>
                  <a:pt x="732" y="2259"/>
                  <a:pt x="716" y="2211"/>
                  <a:pt x="700" y="2195"/>
                </a:cubicBezTo>
                <a:cubicBezTo>
                  <a:pt x="653" y="2131"/>
                  <a:pt x="621" y="2052"/>
                  <a:pt x="621" y="1973"/>
                </a:cubicBezTo>
                <a:cubicBezTo>
                  <a:pt x="621" y="1766"/>
                  <a:pt x="780" y="1607"/>
                  <a:pt x="987" y="1607"/>
                </a:cubicBezTo>
                <a:cubicBezTo>
                  <a:pt x="1178" y="1607"/>
                  <a:pt x="1336" y="1766"/>
                  <a:pt x="1336" y="1973"/>
                </a:cubicBezTo>
                <a:cubicBezTo>
                  <a:pt x="1336" y="2052"/>
                  <a:pt x="1305" y="2131"/>
                  <a:pt x="1257" y="2195"/>
                </a:cubicBezTo>
                <a:cubicBezTo>
                  <a:pt x="1241" y="2211"/>
                  <a:pt x="1241" y="2259"/>
                  <a:pt x="1257" y="2275"/>
                </a:cubicBezTo>
                <a:cubicBezTo>
                  <a:pt x="1257" y="2307"/>
                  <a:pt x="1289" y="2322"/>
                  <a:pt x="1321" y="2322"/>
                </a:cubicBezTo>
                <a:cubicBezTo>
                  <a:pt x="1702" y="2322"/>
                  <a:pt x="1702" y="2322"/>
                  <a:pt x="1702" y="2322"/>
                </a:cubicBezTo>
                <a:cubicBezTo>
                  <a:pt x="1702" y="3261"/>
                  <a:pt x="1702" y="3261"/>
                  <a:pt x="1702" y="3261"/>
                </a:cubicBezTo>
                <a:cubicBezTo>
                  <a:pt x="1702" y="3293"/>
                  <a:pt x="1718" y="3325"/>
                  <a:pt x="1750" y="3325"/>
                </a:cubicBezTo>
                <a:cubicBezTo>
                  <a:pt x="1766" y="3341"/>
                  <a:pt x="1798" y="3341"/>
                  <a:pt x="1814" y="3341"/>
                </a:cubicBezTo>
                <a:cubicBezTo>
                  <a:pt x="1830" y="3341"/>
                  <a:pt x="1830" y="3341"/>
                  <a:pt x="1846" y="3325"/>
                </a:cubicBezTo>
                <a:cubicBezTo>
                  <a:pt x="1878" y="3309"/>
                  <a:pt x="1909" y="3293"/>
                  <a:pt x="1925" y="3293"/>
                </a:cubicBezTo>
                <a:cubicBezTo>
                  <a:pt x="1957" y="3277"/>
                  <a:pt x="1989" y="3277"/>
                  <a:pt x="2005" y="3277"/>
                </a:cubicBezTo>
                <a:cubicBezTo>
                  <a:pt x="2212" y="3277"/>
                  <a:pt x="2371" y="3436"/>
                  <a:pt x="2371" y="3643"/>
                </a:cubicBezTo>
                <a:cubicBezTo>
                  <a:pt x="2371" y="3834"/>
                  <a:pt x="2212" y="3993"/>
                  <a:pt x="2005" y="3993"/>
                </a:cubicBezTo>
                <a:cubicBezTo>
                  <a:pt x="2005" y="3993"/>
                  <a:pt x="1989" y="3993"/>
                  <a:pt x="1973" y="3993"/>
                </a:cubicBezTo>
                <a:cubicBezTo>
                  <a:pt x="1941" y="3977"/>
                  <a:pt x="1893" y="3961"/>
                  <a:pt x="1846" y="3945"/>
                </a:cubicBezTo>
                <a:cubicBezTo>
                  <a:pt x="1830" y="3930"/>
                  <a:pt x="1814" y="3930"/>
                  <a:pt x="1798" y="3930"/>
                </a:cubicBezTo>
                <a:cubicBezTo>
                  <a:pt x="1782" y="3930"/>
                  <a:pt x="1766" y="3930"/>
                  <a:pt x="1750" y="3945"/>
                </a:cubicBezTo>
                <a:cubicBezTo>
                  <a:pt x="1718" y="3961"/>
                  <a:pt x="1702" y="3977"/>
                  <a:pt x="1702" y="4009"/>
                </a:cubicBezTo>
                <a:cubicBezTo>
                  <a:pt x="1702" y="4343"/>
                  <a:pt x="1702" y="4343"/>
                  <a:pt x="1702" y="4343"/>
                </a:cubicBezTo>
                <a:cubicBezTo>
                  <a:pt x="159" y="4343"/>
                  <a:pt x="159" y="4343"/>
                  <a:pt x="159" y="4343"/>
                </a:cubicBezTo>
                <a:close/>
                <a:moveTo>
                  <a:pt x="3850" y="3309"/>
                </a:moveTo>
                <a:cubicBezTo>
                  <a:pt x="4041" y="3309"/>
                  <a:pt x="4200" y="3468"/>
                  <a:pt x="4200" y="3659"/>
                </a:cubicBezTo>
                <a:cubicBezTo>
                  <a:pt x="4200" y="3866"/>
                  <a:pt x="4041" y="4025"/>
                  <a:pt x="3850" y="4025"/>
                </a:cubicBezTo>
                <a:cubicBezTo>
                  <a:pt x="3739" y="4025"/>
                  <a:pt x="3644" y="3977"/>
                  <a:pt x="3580" y="3882"/>
                </a:cubicBezTo>
                <a:cubicBezTo>
                  <a:pt x="3548" y="3866"/>
                  <a:pt x="3516" y="3850"/>
                  <a:pt x="3484" y="3866"/>
                </a:cubicBezTo>
                <a:cubicBezTo>
                  <a:pt x="3453" y="3866"/>
                  <a:pt x="3437" y="3898"/>
                  <a:pt x="3437" y="3930"/>
                </a:cubicBezTo>
                <a:cubicBezTo>
                  <a:pt x="3437" y="4343"/>
                  <a:pt x="3437" y="4343"/>
                  <a:pt x="3437" y="4343"/>
                </a:cubicBezTo>
                <a:cubicBezTo>
                  <a:pt x="1893" y="4343"/>
                  <a:pt x="1893" y="4343"/>
                  <a:pt x="1893" y="4343"/>
                </a:cubicBezTo>
                <a:cubicBezTo>
                  <a:pt x="1893" y="4136"/>
                  <a:pt x="1893" y="4136"/>
                  <a:pt x="1893" y="4136"/>
                </a:cubicBezTo>
                <a:cubicBezTo>
                  <a:pt x="1909" y="4136"/>
                  <a:pt x="1941" y="4136"/>
                  <a:pt x="1957" y="4152"/>
                </a:cubicBezTo>
                <a:cubicBezTo>
                  <a:pt x="1989" y="4152"/>
                  <a:pt x="2005" y="4152"/>
                  <a:pt x="2036" y="4152"/>
                </a:cubicBezTo>
                <a:cubicBezTo>
                  <a:pt x="2323" y="4152"/>
                  <a:pt x="2546" y="3913"/>
                  <a:pt x="2546" y="3627"/>
                </a:cubicBezTo>
                <a:cubicBezTo>
                  <a:pt x="2546" y="3341"/>
                  <a:pt x="2323" y="3118"/>
                  <a:pt x="2036" y="3118"/>
                </a:cubicBezTo>
                <a:cubicBezTo>
                  <a:pt x="1989" y="3118"/>
                  <a:pt x="1941" y="3118"/>
                  <a:pt x="1893" y="3134"/>
                </a:cubicBezTo>
                <a:cubicBezTo>
                  <a:pt x="1893" y="2322"/>
                  <a:pt x="1893" y="2322"/>
                  <a:pt x="1893" y="2322"/>
                </a:cubicBezTo>
                <a:cubicBezTo>
                  <a:pt x="2180" y="2322"/>
                  <a:pt x="2180" y="2322"/>
                  <a:pt x="2180" y="2322"/>
                </a:cubicBezTo>
                <a:cubicBezTo>
                  <a:pt x="2132" y="2402"/>
                  <a:pt x="2116" y="2482"/>
                  <a:pt x="2116" y="2577"/>
                </a:cubicBezTo>
                <a:cubicBezTo>
                  <a:pt x="2116" y="2864"/>
                  <a:pt x="2339" y="3086"/>
                  <a:pt x="2625" y="3086"/>
                </a:cubicBezTo>
                <a:cubicBezTo>
                  <a:pt x="2912" y="3086"/>
                  <a:pt x="3150" y="2864"/>
                  <a:pt x="3150" y="2577"/>
                </a:cubicBezTo>
                <a:cubicBezTo>
                  <a:pt x="3150" y="2482"/>
                  <a:pt x="3118" y="2402"/>
                  <a:pt x="3087" y="2322"/>
                </a:cubicBezTo>
                <a:cubicBezTo>
                  <a:pt x="3437" y="2322"/>
                  <a:pt x="3437" y="2322"/>
                  <a:pt x="3437" y="2322"/>
                </a:cubicBezTo>
                <a:cubicBezTo>
                  <a:pt x="3437" y="3388"/>
                  <a:pt x="3437" y="3388"/>
                  <a:pt x="3437" y="3388"/>
                </a:cubicBezTo>
                <a:cubicBezTo>
                  <a:pt x="3437" y="3421"/>
                  <a:pt x="3453" y="3452"/>
                  <a:pt x="3484" y="3468"/>
                </a:cubicBezTo>
                <a:cubicBezTo>
                  <a:pt x="3516" y="3484"/>
                  <a:pt x="3548" y="3468"/>
                  <a:pt x="3580" y="3436"/>
                </a:cubicBezTo>
                <a:cubicBezTo>
                  <a:pt x="3644" y="3357"/>
                  <a:pt x="3739" y="3309"/>
                  <a:pt x="3850" y="33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1" name="Freeform: Shape 14">
            <a:extLst>
              <a:ext uri="{FF2B5EF4-FFF2-40B4-BE49-F238E27FC236}">
                <a16:creationId xmlns:a16="http://schemas.microsoft.com/office/drawing/2014/main" id="{1805C7F3-A0C5-A34A-95FE-07B5FA017564}"/>
              </a:ext>
            </a:extLst>
          </p:cNvPr>
          <p:cNvSpPr/>
          <p:nvPr/>
        </p:nvSpPr>
        <p:spPr>
          <a:xfrm>
            <a:off x="21054060" y="9802658"/>
            <a:ext cx="1965960" cy="1508040"/>
          </a:xfrm>
          <a:custGeom>
            <a:avLst/>
            <a:gdLst/>
            <a:ahLst/>
            <a:cxnLst>
              <a:cxn ang="3cd4">
                <a:pos x="hc" y="t"/>
              </a:cxn>
              <a:cxn ang="cd2">
                <a:pos x="l" y="vc"/>
              </a:cxn>
              <a:cxn ang="cd4">
                <a:pos x="hc" y="b"/>
              </a:cxn>
              <a:cxn ang="0">
                <a:pos x="r" y="vc"/>
              </a:cxn>
            </a:cxnLst>
            <a:rect l="l" t="t" r="r" b="b"/>
            <a:pathLst>
              <a:path w="5462" h="4190">
                <a:moveTo>
                  <a:pt x="5414" y="2392"/>
                </a:moveTo>
                <a:cubicBezTo>
                  <a:pt x="5414" y="2265"/>
                  <a:pt x="5383" y="2170"/>
                  <a:pt x="5319" y="2106"/>
                </a:cubicBezTo>
                <a:lnTo>
                  <a:pt x="5303" y="1995"/>
                </a:lnTo>
                <a:cubicBezTo>
                  <a:pt x="5430" y="1947"/>
                  <a:pt x="5446" y="1708"/>
                  <a:pt x="5430" y="1629"/>
                </a:cubicBezTo>
                <a:lnTo>
                  <a:pt x="5430" y="197"/>
                </a:lnTo>
                <a:cubicBezTo>
                  <a:pt x="5414" y="85"/>
                  <a:pt x="5383" y="22"/>
                  <a:pt x="5319" y="6"/>
                </a:cubicBezTo>
                <a:cubicBezTo>
                  <a:pt x="5207" y="-26"/>
                  <a:pt x="5112" y="85"/>
                  <a:pt x="5080" y="133"/>
                </a:cubicBezTo>
                <a:cubicBezTo>
                  <a:pt x="4762" y="658"/>
                  <a:pt x="4810" y="1549"/>
                  <a:pt x="4810" y="1581"/>
                </a:cubicBezTo>
                <a:cubicBezTo>
                  <a:pt x="4810" y="1852"/>
                  <a:pt x="4953" y="1963"/>
                  <a:pt x="5032" y="2010"/>
                </a:cubicBezTo>
                <a:lnTo>
                  <a:pt x="5016" y="2106"/>
                </a:lnTo>
                <a:cubicBezTo>
                  <a:pt x="4953" y="2154"/>
                  <a:pt x="4905" y="2249"/>
                  <a:pt x="4905" y="2392"/>
                </a:cubicBezTo>
                <a:lnTo>
                  <a:pt x="4858" y="3856"/>
                </a:lnTo>
                <a:cubicBezTo>
                  <a:pt x="4858" y="4047"/>
                  <a:pt x="4985" y="4190"/>
                  <a:pt x="5144" y="4190"/>
                </a:cubicBezTo>
                <a:lnTo>
                  <a:pt x="5176" y="4190"/>
                </a:lnTo>
                <a:cubicBezTo>
                  <a:pt x="5287" y="4190"/>
                  <a:pt x="5383" y="4126"/>
                  <a:pt x="5414" y="4031"/>
                </a:cubicBezTo>
                <a:cubicBezTo>
                  <a:pt x="5430" y="4015"/>
                  <a:pt x="5430" y="4015"/>
                  <a:pt x="5430" y="3999"/>
                </a:cubicBezTo>
                <a:cubicBezTo>
                  <a:pt x="5446" y="3952"/>
                  <a:pt x="5462" y="3904"/>
                  <a:pt x="5462" y="3856"/>
                </a:cubicBezTo>
                <a:close/>
                <a:moveTo>
                  <a:pt x="4969" y="1581"/>
                </a:moveTo>
                <a:cubicBezTo>
                  <a:pt x="4969" y="1565"/>
                  <a:pt x="4921" y="706"/>
                  <a:pt x="5207" y="229"/>
                </a:cubicBezTo>
                <a:cubicBezTo>
                  <a:pt x="5223" y="213"/>
                  <a:pt x="5239" y="181"/>
                  <a:pt x="5271" y="165"/>
                </a:cubicBezTo>
                <a:lnTo>
                  <a:pt x="5271" y="197"/>
                </a:lnTo>
                <a:lnTo>
                  <a:pt x="5271" y="1629"/>
                </a:lnTo>
                <a:cubicBezTo>
                  <a:pt x="5287" y="1724"/>
                  <a:pt x="5255" y="1835"/>
                  <a:pt x="5239" y="1852"/>
                </a:cubicBezTo>
                <a:cubicBezTo>
                  <a:pt x="5223" y="1852"/>
                  <a:pt x="5192" y="1867"/>
                  <a:pt x="5160" y="1899"/>
                </a:cubicBezTo>
                <a:lnTo>
                  <a:pt x="5160" y="1915"/>
                </a:lnTo>
                <a:lnTo>
                  <a:pt x="5144" y="1899"/>
                </a:lnTo>
                <a:lnTo>
                  <a:pt x="5128" y="1883"/>
                </a:lnTo>
                <a:cubicBezTo>
                  <a:pt x="5112" y="1883"/>
                  <a:pt x="4969" y="1804"/>
                  <a:pt x="4969" y="1581"/>
                </a:cubicBezTo>
                <a:close/>
                <a:moveTo>
                  <a:pt x="5287" y="3952"/>
                </a:moveTo>
                <a:cubicBezTo>
                  <a:pt x="5255" y="3999"/>
                  <a:pt x="5223" y="4031"/>
                  <a:pt x="5176" y="4031"/>
                </a:cubicBezTo>
                <a:lnTo>
                  <a:pt x="5144" y="4031"/>
                </a:lnTo>
                <a:cubicBezTo>
                  <a:pt x="5080" y="4031"/>
                  <a:pt x="5016" y="3952"/>
                  <a:pt x="5016" y="3856"/>
                </a:cubicBezTo>
                <a:lnTo>
                  <a:pt x="5064" y="2392"/>
                </a:lnTo>
                <a:cubicBezTo>
                  <a:pt x="5064" y="2297"/>
                  <a:pt x="5096" y="2233"/>
                  <a:pt x="5128" y="2233"/>
                </a:cubicBezTo>
                <a:lnTo>
                  <a:pt x="5160" y="2201"/>
                </a:lnTo>
                <a:cubicBezTo>
                  <a:pt x="5176" y="2201"/>
                  <a:pt x="5192" y="2217"/>
                  <a:pt x="5207" y="2233"/>
                </a:cubicBezTo>
                <a:cubicBezTo>
                  <a:pt x="5239" y="2249"/>
                  <a:pt x="5255" y="2313"/>
                  <a:pt x="5255" y="2392"/>
                </a:cubicBezTo>
                <a:lnTo>
                  <a:pt x="5303" y="3856"/>
                </a:lnTo>
                <a:cubicBezTo>
                  <a:pt x="5303" y="3888"/>
                  <a:pt x="5303" y="3920"/>
                  <a:pt x="5287" y="3952"/>
                </a:cubicBezTo>
                <a:close/>
                <a:moveTo>
                  <a:pt x="339" y="4190"/>
                </a:moveTo>
                <a:cubicBezTo>
                  <a:pt x="498" y="4190"/>
                  <a:pt x="625" y="4047"/>
                  <a:pt x="625" y="3856"/>
                </a:cubicBezTo>
                <a:lnTo>
                  <a:pt x="577" y="2392"/>
                </a:lnTo>
                <a:cubicBezTo>
                  <a:pt x="577" y="2265"/>
                  <a:pt x="546" y="2186"/>
                  <a:pt x="482" y="2122"/>
                </a:cubicBezTo>
                <a:lnTo>
                  <a:pt x="466" y="1820"/>
                </a:lnTo>
                <a:lnTo>
                  <a:pt x="466" y="1804"/>
                </a:lnTo>
                <a:lnTo>
                  <a:pt x="466" y="1788"/>
                </a:lnTo>
                <a:cubicBezTo>
                  <a:pt x="482" y="1772"/>
                  <a:pt x="514" y="1692"/>
                  <a:pt x="594" y="1661"/>
                </a:cubicBezTo>
                <a:cubicBezTo>
                  <a:pt x="657" y="1629"/>
                  <a:pt x="689" y="1613"/>
                  <a:pt x="625" y="197"/>
                </a:cubicBezTo>
                <a:cubicBezTo>
                  <a:pt x="625" y="165"/>
                  <a:pt x="610" y="149"/>
                  <a:pt x="577" y="133"/>
                </a:cubicBezTo>
                <a:cubicBezTo>
                  <a:pt x="546" y="117"/>
                  <a:pt x="514" y="133"/>
                  <a:pt x="498" y="149"/>
                </a:cubicBezTo>
                <a:lnTo>
                  <a:pt x="466" y="181"/>
                </a:lnTo>
                <a:lnTo>
                  <a:pt x="419" y="133"/>
                </a:lnTo>
                <a:cubicBezTo>
                  <a:pt x="387" y="101"/>
                  <a:pt x="339" y="101"/>
                  <a:pt x="307" y="133"/>
                </a:cubicBezTo>
                <a:lnTo>
                  <a:pt x="259" y="181"/>
                </a:lnTo>
                <a:lnTo>
                  <a:pt x="212" y="149"/>
                </a:lnTo>
                <a:cubicBezTo>
                  <a:pt x="180" y="117"/>
                  <a:pt x="148" y="117"/>
                  <a:pt x="116" y="133"/>
                </a:cubicBezTo>
                <a:cubicBezTo>
                  <a:pt x="100" y="133"/>
                  <a:pt x="68" y="165"/>
                  <a:pt x="68" y="197"/>
                </a:cubicBezTo>
                <a:cubicBezTo>
                  <a:pt x="-43" y="1613"/>
                  <a:pt x="5" y="1629"/>
                  <a:pt x="53" y="1661"/>
                </a:cubicBezTo>
                <a:cubicBezTo>
                  <a:pt x="100" y="1676"/>
                  <a:pt x="148" y="1708"/>
                  <a:pt x="180" y="1756"/>
                </a:cubicBezTo>
                <a:lnTo>
                  <a:pt x="180" y="1772"/>
                </a:lnTo>
                <a:lnTo>
                  <a:pt x="180" y="1788"/>
                </a:lnTo>
                <a:lnTo>
                  <a:pt x="180" y="1804"/>
                </a:lnTo>
                <a:lnTo>
                  <a:pt x="180" y="2106"/>
                </a:lnTo>
                <a:cubicBezTo>
                  <a:pt x="100" y="2154"/>
                  <a:pt x="68" y="2265"/>
                  <a:pt x="68" y="2392"/>
                </a:cubicBezTo>
                <a:lnTo>
                  <a:pt x="21" y="3856"/>
                </a:lnTo>
                <a:cubicBezTo>
                  <a:pt x="21" y="4047"/>
                  <a:pt x="148" y="4190"/>
                  <a:pt x="307" y="4190"/>
                </a:cubicBezTo>
                <a:close/>
                <a:moveTo>
                  <a:pt x="164" y="1533"/>
                </a:moveTo>
                <a:cubicBezTo>
                  <a:pt x="148" y="1390"/>
                  <a:pt x="180" y="817"/>
                  <a:pt x="228" y="372"/>
                </a:cubicBezTo>
                <a:cubicBezTo>
                  <a:pt x="243" y="372"/>
                  <a:pt x="276" y="372"/>
                  <a:pt x="307" y="356"/>
                </a:cubicBezTo>
                <a:lnTo>
                  <a:pt x="355" y="308"/>
                </a:lnTo>
                <a:lnTo>
                  <a:pt x="403" y="356"/>
                </a:lnTo>
                <a:cubicBezTo>
                  <a:pt x="419" y="372"/>
                  <a:pt x="450" y="372"/>
                  <a:pt x="482" y="372"/>
                </a:cubicBezTo>
                <a:cubicBezTo>
                  <a:pt x="498" y="881"/>
                  <a:pt x="514" y="1406"/>
                  <a:pt x="498" y="1533"/>
                </a:cubicBezTo>
                <a:cubicBezTo>
                  <a:pt x="403" y="1581"/>
                  <a:pt x="355" y="1661"/>
                  <a:pt x="339" y="1708"/>
                </a:cubicBezTo>
                <a:cubicBezTo>
                  <a:pt x="291" y="1629"/>
                  <a:pt x="212" y="1565"/>
                  <a:pt x="164" y="1533"/>
                </a:cubicBezTo>
                <a:close/>
                <a:moveTo>
                  <a:pt x="180" y="3856"/>
                </a:moveTo>
                <a:lnTo>
                  <a:pt x="228" y="2392"/>
                </a:lnTo>
                <a:cubicBezTo>
                  <a:pt x="228" y="2313"/>
                  <a:pt x="243" y="2233"/>
                  <a:pt x="276" y="2233"/>
                </a:cubicBezTo>
                <a:cubicBezTo>
                  <a:pt x="307" y="2217"/>
                  <a:pt x="323" y="2201"/>
                  <a:pt x="323" y="2170"/>
                </a:cubicBezTo>
                <a:cubicBezTo>
                  <a:pt x="339" y="2201"/>
                  <a:pt x="339" y="2217"/>
                  <a:pt x="371" y="2233"/>
                </a:cubicBezTo>
                <a:cubicBezTo>
                  <a:pt x="387" y="2249"/>
                  <a:pt x="419" y="2297"/>
                  <a:pt x="419" y="2392"/>
                </a:cubicBezTo>
                <a:lnTo>
                  <a:pt x="466" y="3856"/>
                </a:lnTo>
                <a:cubicBezTo>
                  <a:pt x="466" y="3952"/>
                  <a:pt x="403" y="4031"/>
                  <a:pt x="339" y="4031"/>
                </a:cubicBezTo>
                <a:lnTo>
                  <a:pt x="307" y="4031"/>
                </a:lnTo>
                <a:cubicBezTo>
                  <a:pt x="228" y="4031"/>
                  <a:pt x="180" y="3952"/>
                  <a:pt x="180" y="3856"/>
                </a:cubicBezTo>
                <a:close/>
                <a:moveTo>
                  <a:pt x="2758" y="3649"/>
                </a:moveTo>
                <a:cubicBezTo>
                  <a:pt x="3569" y="3649"/>
                  <a:pt x="4221" y="2997"/>
                  <a:pt x="4221" y="2186"/>
                </a:cubicBezTo>
                <a:cubicBezTo>
                  <a:pt x="4221" y="1390"/>
                  <a:pt x="3569" y="738"/>
                  <a:pt x="2758" y="738"/>
                </a:cubicBezTo>
                <a:cubicBezTo>
                  <a:pt x="1962" y="738"/>
                  <a:pt x="1310" y="1390"/>
                  <a:pt x="1310" y="2186"/>
                </a:cubicBezTo>
                <a:cubicBezTo>
                  <a:pt x="1310" y="2997"/>
                  <a:pt x="1962" y="3649"/>
                  <a:pt x="2758" y="3649"/>
                </a:cubicBezTo>
                <a:close/>
                <a:moveTo>
                  <a:pt x="2758" y="897"/>
                </a:moveTo>
                <a:cubicBezTo>
                  <a:pt x="3473" y="897"/>
                  <a:pt x="4062" y="1470"/>
                  <a:pt x="4062" y="2186"/>
                </a:cubicBezTo>
                <a:cubicBezTo>
                  <a:pt x="4062" y="2901"/>
                  <a:pt x="3473" y="3490"/>
                  <a:pt x="2758" y="3490"/>
                </a:cubicBezTo>
                <a:cubicBezTo>
                  <a:pt x="2041" y="3490"/>
                  <a:pt x="1468" y="2901"/>
                  <a:pt x="1468" y="2186"/>
                </a:cubicBezTo>
                <a:cubicBezTo>
                  <a:pt x="1468" y="1470"/>
                  <a:pt x="2041" y="897"/>
                  <a:pt x="2758" y="897"/>
                </a:cubicBezTo>
                <a:close/>
                <a:moveTo>
                  <a:pt x="2758" y="4190"/>
                </a:moveTo>
                <a:cubicBezTo>
                  <a:pt x="3871" y="4190"/>
                  <a:pt x="4762" y="3299"/>
                  <a:pt x="4762" y="2186"/>
                </a:cubicBezTo>
                <a:cubicBezTo>
                  <a:pt x="4762" y="1088"/>
                  <a:pt x="3871" y="181"/>
                  <a:pt x="2758" y="181"/>
                </a:cubicBezTo>
                <a:cubicBezTo>
                  <a:pt x="1659" y="181"/>
                  <a:pt x="753" y="1088"/>
                  <a:pt x="753" y="2186"/>
                </a:cubicBezTo>
                <a:cubicBezTo>
                  <a:pt x="753" y="3299"/>
                  <a:pt x="1659" y="4190"/>
                  <a:pt x="2758" y="4190"/>
                </a:cubicBezTo>
                <a:close/>
                <a:moveTo>
                  <a:pt x="2758" y="340"/>
                </a:moveTo>
                <a:cubicBezTo>
                  <a:pt x="3776" y="340"/>
                  <a:pt x="4603" y="1167"/>
                  <a:pt x="4603" y="2186"/>
                </a:cubicBezTo>
                <a:cubicBezTo>
                  <a:pt x="4603" y="3204"/>
                  <a:pt x="3776" y="4031"/>
                  <a:pt x="2758" y="4031"/>
                </a:cubicBezTo>
                <a:cubicBezTo>
                  <a:pt x="1739" y="4031"/>
                  <a:pt x="912" y="3204"/>
                  <a:pt x="912" y="2186"/>
                </a:cubicBezTo>
                <a:cubicBezTo>
                  <a:pt x="912" y="1167"/>
                  <a:pt x="1739" y="340"/>
                  <a:pt x="2758" y="3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2" name="Freeform: Shape 15">
            <a:extLst>
              <a:ext uri="{FF2B5EF4-FFF2-40B4-BE49-F238E27FC236}">
                <a16:creationId xmlns:a16="http://schemas.microsoft.com/office/drawing/2014/main" id="{EA010547-EC35-5F49-A8E2-ABF9041C1BBD}"/>
              </a:ext>
            </a:extLst>
          </p:cNvPr>
          <p:cNvSpPr/>
          <p:nvPr/>
        </p:nvSpPr>
        <p:spPr>
          <a:xfrm>
            <a:off x="21207836" y="3668881"/>
            <a:ext cx="1695240" cy="1093680"/>
          </a:xfrm>
          <a:custGeom>
            <a:avLst/>
            <a:gdLst/>
            <a:ahLst/>
            <a:cxnLst>
              <a:cxn ang="3cd4">
                <a:pos x="hc" y="t"/>
              </a:cxn>
              <a:cxn ang="cd2">
                <a:pos x="l" y="vc"/>
              </a:cxn>
              <a:cxn ang="cd4">
                <a:pos x="hc" y="b"/>
              </a:cxn>
              <a:cxn ang="0">
                <a:pos x="r" y="vc"/>
              </a:cxn>
            </a:cxnLst>
            <a:rect l="l" t="t" r="r" b="b"/>
            <a:pathLst>
              <a:path w="4710" h="3039">
                <a:moveTo>
                  <a:pt x="4296" y="939"/>
                </a:moveTo>
                <a:cubicBezTo>
                  <a:pt x="4216" y="795"/>
                  <a:pt x="4121" y="621"/>
                  <a:pt x="4121" y="573"/>
                </a:cubicBezTo>
                <a:cubicBezTo>
                  <a:pt x="4121" y="254"/>
                  <a:pt x="3850" y="0"/>
                  <a:pt x="3532" y="0"/>
                </a:cubicBezTo>
                <a:cubicBezTo>
                  <a:pt x="3230" y="0"/>
                  <a:pt x="2992" y="222"/>
                  <a:pt x="2944" y="509"/>
                </a:cubicBezTo>
                <a:lnTo>
                  <a:pt x="1750" y="509"/>
                </a:lnTo>
                <a:cubicBezTo>
                  <a:pt x="1719" y="222"/>
                  <a:pt x="1480" y="0"/>
                  <a:pt x="1178" y="0"/>
                </a:cubicBezTo>
                <a:cubicBezTo>
                  <a:pt x="859" y="0"/>
                  <a:pt x="589" y="254"/>
                  <a:pt x="589" y="573"/>
                </a:cubicBezTo>
                <a:cubicBezTo>
                  <a:pt x="589" y="621"/>
                  <a:pt x="494" y="795"/>
                  <a:pt x="414" y="939"/>
                </a:cubicBezTo>
                <a:cubicBezTo>
                  <a:pt x="223" y="1257"/>
                  <a:pt x="0" y="1655"/>
                  <a:pt x="0" y="1973"/>
                </a:cubicBezTo>
                <a:cubicBezTo>
                  <a:pt x="0" y="2561"/>
                  <a:pt x="478" y="3039"/>
                  <a:pt x="1082" y="3039"/>
                </a:cubicBezTo>
                <a:cubicBezTo>
                  <a:pt x="1639" y="3039"/>
                  <a:pt x="2101" y="2641"/>
                  <a:pt x="2164" y="2100"/>
                </a:cubicBezTo>
                <a:lnTo>
                  <a:pt x="2530" y="2100"/>
                </a:lnTo>
                <a:cubicBezTo>
                  <a:pt x="2594" y="2641"/>
                  <a:pt x="3055" y="3039"/>
                  <a:pt x="3612" y="3039"/>
                </a:cubicBezTo>
                <a:cubicBezTo>
                  <a:pt x="4216" y="3039"/>
                  <a:pt x="4710" y="2561"/>
                  <a:pt x="4710" y="1973"/>
                </a:cubicBezTo>
                <a:cubicBezTo>
                  <a:pt x="4710" y="1655"/>
                  <a:pt x="4487" y="1257"/>
                  <a:pt x="4296" y="939"/>
                </a:cubicBezTo>
                <a:close/>
                <a:moveTo>
                  <a:pt x="3612" y="2895"/>
                </a:moveTo>
                <a:cubicBezTo>
                  <a:pt x="3119" y="2895"/>
                  <a:pt x="2705" y="2513"/>
                  <a:pt x="2689" y="2021"/>
                </a:cubicBezTo>
                <a:cubicBezTo>
                  <a:pt x="2689" y="1989"/>
                  <a:pt x="2658" y="1941"/>
                  <a:pt x="2610" y="1941"/>
                </a:cubicBezTo>
                <a:lnTo>
                  <a:pt x="2101" y="1941"/>
                </a:lnTo>
                <a:cubicBezTo>
                  <a:pt x="2053" y="1941"/>
                  <a:pt x="2021" y="1989"/>
                  <a:pt x="2021" y="2021"/>
                </a:cubicBezTo>
                <a:cubicBezTo>
                  <a:pt x="1989" y="2513"/>
                  <a:pt x="1591" y="2895"/>
                  <a:pt x="1082" y="2895"/>
                </a:cubicBezTo>
                <a:cubicBezTo>
                  <a:pt x="573" y="2895"/>
                  <a:pt x="159" y="2482"/>
                  <a:pt x="159" y="1973"/>
                </a:cubicBezTo>
                <a:cubicBezTo>
                  <a:pt x="159" y="1702"/>
                  <a:pt x="382" y="1304"/>
                  <a:pt x="541" y="1018"/>
                </a:cubicBezTo>
                <a:cubicBezTo>
                  <a:pt x="685" y="779"/>
                  <a:pt x="748" y="668"/>
                  <a:pt x="748" y="573"/>
                </a:cubicBezTo>
                <a:cubicBezTo>
                  <a:pt x="748" y="350"/>
                  <a:pt x="939" y="159"/>
                  <a:pt x="1178" y="159"/>
                </a:cubicBezTo>
                <a:cubicBezTo>
                  <a:pt x="1416" y="159"/>
                  <a:pt x="1607" y="350"/>
                  <a:pt x="1607" y="573"/>
                </a:cubicBezTo>
                <a:cubicBezTo>
                  <a:pt x="1607" y="604"/>
                  <a:pt x="1607" y="621"/>
                  <a:pt x="1623" y="636"/>
                </a:cubicBezTo>
                <a:cubicBezTo>
                  <a:pt x="1639" y="652"/>
                  <a:pt x="1655" y="668"/>
                  <a:pt x="1687" y="668"/>
                </a:cubicBezTo>
                <a:lnTo>
                  <a:pt x="3023" y="668"/>
                </a:lnTo>
                <a:cubicBezTo>
                  <a:pt x="3071" y="668"/>
                  <a:pt x="3103" y="621"/>
                  <a:pt x="3103" y="573"/>
                </a:cubicBezTo>
                <a:cubicBezTo>
                  <a:pt x="3103" y="350"/>
                  <a:pt x="3294" y="159"/>
                  <a:pt x="3532" y="159"/>
                </a:cubicBezTo>
                <a:cubicBezTo>
                  <a:pt x="3771" y="159"/>
                  <a:pt x="3962" y="350"/>
                  <a:pt x="3962" y="573"/>
                </a:cubicBezTo>
                <a:cubicBezTo>
                  <a:pt x="3962" y="668"/>
                  <a:pt x="4026" y="779"/>
                  <a:pt x="4153" y="1018"/>
                </a:cubicBezTo>
                <a:cubicBezTo>
                  <a:pt x="4328" y="1304"/>
                  <a:pt x="4550" y="1702"/>
                  <a:pt x="4550" y="1973"/>
                </a:cubicBezTo>
                <a:cubicBezTo>
                  <a:pt x="4550" y="2482"/>
                  <a:pt x="4137" y="2895"/>
                  <a:pt x="3612" y="2895"/>
                </a:cubicBezTo>
                <a:close/>
                <a:moveTo>
                  <a:pt x="1082" y="1321"/>
                </a:moveTo>
                <a:cubicBezTo>
                  <a:pt x="716" y="1321"/>
                  <a:pt x="414" y="1623"/>
                  <a:pt x="414" y="1973"/>
                </a:cubicBezTo>
                <a:cubicBezTo>
                  <a:pt x="414" y="2339"/>
                  <a:pt x="716" y="2641"/>
                  <a:pt x="1082" y="2641"/>
                </a:cubicBezTo>
                <a:cubicBezTo>
                  <a:pt x="1448" y="2641"/>
                  <a:pt x="1750" y="2339"/>
                  <a:pt x="1750" y="1973"/>
                </a:cubicBezTo>
                <a:cubicBezTo>
                  <a:pt x="1750" y="1623"/>
                  <a:pt x="1448" y="1321"/>
                  <a:pt x="1082" y="1321"/>
                </a:cubicBezTo>
                <a:close/>
                <a:moveTo>
                  <a:pt x="1082" y="2482"/>
                </a:moveTo>
                <a:cubicBezTo>
                  <a:pt x="796" y="2482"/>
                  <a:pt x="573" y="2259"/>
                  <a:pt x="573" y="1973"/>
                </a:cubicBezTo>
                <a:cubicBezTo>
                  <a:pt x="573" y="1702"/>
                  <a:pt x="796" y="1479"/>
                  <a:pt x="1082" y="1479"/>
                </a:cubicBezTo>
                <a:cubicBezTo>
                  <a:pt x="1353" y="1479"/>
                  <a:pt x="1591" y="1702"/>
                  <a:pt x="1591" y="1973"/>
                </a:cubicBezTo>
                <a:cubicBezTo>
                  <a:pt x="1591" y="2259"/>
                  <a:pt x="1353" y="2482"/>
                  <a:pt x="1082" y="2482"/>
                </a:cubicBezTo>
                <a:close/>
                <a:moveTo>
                  <a:pt x="3612" y="1321"/>
                </a:moveTo>
                <a:cubicBezTo>
                  <a:pt x="3246" y="1321"/>
                  <a:pt x="2944" y="1623"/>
                  <a:pt x="2944" y="1973"/>
                </a:cubicBezTo>
                <a:cubicBezTo>
                  <a:pt x="2944" y="2339"/>
                  <a:pt x="3246" y="2641"/>
                  <a:pt x="3612" y="2641"/>
                </a:cubicBezTo>
                <a:cubicBezTo>
                  <a:pt x="3978" y="2641"/>
                  <a:pt x="4280" y="2339"/>
                  <a:pt x="4280" y="1973"/>
                </a:cubicBezTo>
                <a:cubicBezTo>
                  <a:pt x="4280" y="1623"/>
                  <a:pt x="3978" y="1321"/>
                  <a:pt x="3612" y="1321"/>
                </a:cubicBezTo>
                <a:close/>
                <a:moveTo>
                  <a:pt x="3612" y="2482"/>
                </a:moveTo>
                <a:cubicBezTo>
                  <a:pt x="3326" y="2482"/>
                  <a:pt x="3103" y="2259"/>
                  <a:pt x="3103" y="1973"/>
                </a:cubicBezTo>
                <a:cubicBezTo>
                  <a:pt x="3103" y="1702"/>
                  <a:pt x="3326" y="1479"/>
                  <a:pt x="3612" y="1479"/>
                </a:cubicBezTo>
                <a:cubicBezTo>
                  <a:pt x="3898" y="1479"/>
                  <a:pt x="4121" y="1702"/>
                  <a:pt x="4121" y="1973"/>
                </a:cubicBezTo>
                <a:cubicBezTo>
                  <a:pt x="4121" y="2259"/>
                  <a:pt x="3898" y="2482"/>
                  <a:pt x="3612" y="248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3" name="Freeform: Shape 16">
            <a:extLst>
              <a:ext uri="{FF2B5EF4-FFF2-40B4-BE49-F238E27FC236}">
                <a16:creationId xmlns:a16="http://schemas.microsoft.com/office/drawing/2014/main" id="{CB5A10D7-4784-734F-B109-2DFDB1F581C4}"/>
              </a:ext>
            </a:extLst>
          </p:cNvPr>
          <p:cNvSpPr/>
          <p:nvPr/>
        </p:nvSpPr>
        <p:spPr>
          <a:xfrm>
            <a:off x="17232820" y="6345134"/>
            <a:ext cx="1992960" cy="1551599"/>
          </a:xfrm>
          <a:custGeom>
            <a:avLst/>
            <a:gdLst/>
            <a:ahLst/>
            <a:cxnLst>
              <a:cxn ang="3cd4">
                <a:pos x="hc" y="t"/>
              </a:cxn>
              <a:cxn ang="cd2">
                <a:pos x="l" y="vc"/>
              </a:cxn>
              <a:cxn ang="cd4">
                <a:pos x="hc" y="b"/>
              </a:cxn>
              <a:cxn ang="0">
                <a:pos x="r" y="vc"/>
              </a:cxn>
            </a:cxnLst>
            <a:rect l="l" t="t" r="r" b="b"/>
            <a:pathLst>
              <a:path w="5537" h="4311">
                <a:moveTo>
                  <a:pt x="637" y="3818"/>
                </a:moveTo>
                <a:cubicBezTo>
                  <a:pt x="637" y="3643"/>
                  <a:pt x="493" y="3516"/>
                  <a:pt x="318" y="3516"/>
                </a:cubicBezTo>
                <a:cubicBezTo>
                  <a:pt x="159" y="3516"/>
                  <a:pt x="16" y="3643"/>
                  <a:pt x="16" y="3818"/>
                </a:cubicBezTo>
                <a:cubicBezTo>
                  <a:pt x="16" y="3993"/>
                  <a:pt x="159" y="4120"/>
                  <a:pt x="318" y="4120"/>
                </a:cubicBezTo>
                <a:cubicBezTo>
                  <a:pt x="493" y="4120"/>
                  <a:pt x="637" y="3993"/>
                  <a:pt x="637" y="3818"/>
                </a:cubicBezTo>
                <a:close/>
                <a:moveTo>
                  <a:pt x="175" y="3818"/>
                </a:moveTo>
                <a:cubicBezTo>
                  <a:pt x="175" y="3739"/>
                  <a:pt x="238" y="3675"/>
                  <a:pt x="318" y="3675"/>
                </a:cubicBezTo>
                <a:cubicBezTo>
                  <a:pt x="398" y="3675"/>
                  <a:pt x="477" y="3739"/>
                  <a:pt x="477" y="3818"/>
                </a:cubicBezTo>
                <a:cubicBezTo>
                  <a:pt x="477" y="3897"/>
                  <a:pt x="398" y="3961"/>
                  <a:pt x="318" y="3961"/>
                </a:cubicBezTo>
                <a:cubicBezTo>
                  <a:pt x="238" y="3961"/>
                  <a:pt x="175" y="3897"/>
                  <a:pt x="175" y="3818"/>
                </a:cubicBezTo>
                <a:close/>
                <a:moveTo>
                  <a:pt x="0" y="2482"/>
                </a:moveTo>
                <a:cubicBezTo>
                  <a:pt x="0" y="2609"/>
                  <a:pt x="95" y="2704"/>
                  <a:pt x="223" y="2704"/>
                </a:cubicBezTo>
                <a:cubicBezTo>
                  <a:pt x="637" y="2704"/>
                  <a:pt x="1432" y="3134"/>
                  <a:pt x="1432" y="3945"/>
                </a:cubicBezTo>
                <a:cubicBezTo>
                  <a:pt x="1432" y="4057"/>
                  <a:pt x="1543" y="4168"/>
                  <a:pt x="1671" y="4168"/>
                </a:cubicBezTo>
                <a:cubicBezTo>
                  <a:pt x="1782" y="4168"/>
                  <a:pt x="1893" y="4057"/>
                  <a:pt x="1893" y="3945"/>
                </a:cubicBezTo>
                <a:cubicBezTo>
                  <a:pt x="1893" y="3516"/>
                  <a:pt x="1719" y="3166"/>
                  <a:pt x="1480" y="2879"/>
                </a:cubicBezTo>
                <a:lnTo>
                  <a:pt x="3087" y="2879"/>
                </a:lnTo>
                <a:cubicBezTo>
                  <a:pt x="3230" y="2879"/>
                  <a:pt x="3341" y="2768"/>
                  <a:pt x="3341" y="2625"/>
                </a:cubicBezTo>
                <a:lnTo>
                  <a:pt x="3341" y="270"/>
                </a:lnTo>
                <a:cubicBezTo>
                  <a:pt x="3341" y="127"/>
                  <a:pt x="3230" y="0"/>
                  <a:pt x="3087" y="0"/>
                </a:cubicBezTo>
                <a:lnTo>
                  <a:pt x="891" y="0"/>
                </a:lnTo>
                <a:cubicBezTo>
                  <a:pt x="764" y="0"/>
                  <a:pt x="652" y="127"/>
                  <a:pt x="652" y="270"/>
                </a:cubicBezTo>
                <a:lnTo>
                  <a:pt x="652" y="2322"/>
                </a:lnTo>
                <a:cubicBezTo>
                  <a:pt x="493" y="2275"/>
                  <a:pt x="350" y="2259"/>
                  <a:pt x="223" y="2259"/>
                </a:cubicBezTo>
                <a:cubicBezTo>
                  <a:pt x="95" y="2259"/>
                  <a:pt x="0" y="2354"/>
                  <a:pt x="0" y="2482"/>
                </a:cubicBezTo>
                <a:close/>
                <a:moveTo>
                  <a:pt x="1671" y="4009"/>
                </a:moveTo>
                <a:cubicBezTo>
                  <a:pt x="1623" y="4009"/>
                  <a:pt x="1591" y="3977"/>
                  <a:pt x="1591" y="3945"/>
                </a:cubicBezTo>
                <a:cubicBezTo>
                  <a:pt x="1591" y="3039"/>
                  <a:pt x="684" y="2545"/>
                  <a:pt x="223" y="2545"/>
                </a:cubicBezTo>
                <a:cubicBezTo>
                  <a:pt x="191" y="2545"/>
                  <a:pt x="159" y="2513"/>
                  <a:pt x="159" y="2482"/>
                </a:cubicBezTo>
                <a:cubicBezTo>
                  <a:pt x="159" y="2449"/>
                  <a:pt x="191" y="2418"/>
                  <a:pt x="223" y="2418"/>
                </a:cubicBezTo>
                <a:cubicBezTo>
                  <a:pt x="366" y="2418"/>
                  <a:pt x="525" y="2449"/>
                  <a:pt x="684" y="2513"/>
                </a:cubicBezTo>
                <a:lnTo>
                  <a:pt x="716" y="2513"/>
                </a:lnTo>
                <a:cubicBezTo>
                  <a:pt x="891" y="2593"/>
                  <a:pt x="1066" y="2704"/>
                  <a:pt x="1225" y="2848"/>
                </a:cubicBezTo>
                <a:cubicBezTo>
                  <a:pt x="1241" y="2863"/>
                  <a:pt x="1241" y="2863"/>
                  <a:pt x="1257" y="2879"/>
                </a:cubicBezTo>
                <a:cubicBezTo>
                  <a:pt x="1528" y="3134"/>
                  <a:pt x="1734" y="3500"/>
                  <a:pt x="1734" y="3945"/>
                </a:cubicBezTo>
                <a:cubicBezTo>
                  <a:pt x="1734" y="3977"/>
                  <a:pt x="1702" y="4009"/>
                  <a:pt x="1671" y="4009"/>
                </a:cubicBezTo>
                <a:close/>
                <a:moveTo>
                  <a:pt x="1416" y="1527"/>
                </a:moveTo>
                <a:lnTo>
                  <a:pt x="2609" y="1527"/>
                </a:lnTo>
                <a:lnTo>
                  <a:pt x="2609" y="2720"/>
                </a:lnTo>
                <a:lnTo>
                  <a:pt x="1416" y="2720"/>
                </a:lnTo>
                <a:close/>
                <a:moveTo>
                  <a:pt x="2609" y="1368"/>
                </a:moveTo>
                <a:lnTo>
                  <a:pt x="1416" y="1368"/>
                </a:lnTo>
                <a:lnTo>
                  <a:pt x="1416" y="158"/>
                </a:lnTo>
                <a:lnTo>
                  <a:pt x="2609" y="158"/>
                </a:lnTo>
                <a:close/>
                <a:moveTo>
                  <a:pt x="3182" y="270"/>
                </a:moveTo>
                <a:lnTo>
                  <a:pt x="3182" y="2625"/>
                </a:lnTo>
                <a:cubicBezTo>
                  <a:pt x="3182" y="2688"/>
                  <a:pt x="3134" y="2720"/>
                  <a:pt x="3087" y="2720"/>
                </a:cubicBezTo>
                <a:lnTo>
                  <a:pt x="2768" y="2720"/>
                </a:lnTo>
                <a:lnTo>
                  <a:pt x="2768" y="158"/>
                </a:lnTo>
                <a:lnTo>
                  <a:pt x="3087" y="158"/>
                </a:lnTo>
                <a:cubicBezTo>
                  <a:pt x="3134" y="158"/>
                  <a:pt x="3182" y="206"/>
                  <a:pt x="3182" y="270"/>
                </a:cubicBezTo>
                <a:close/>
                <a:moveTo>
                  <a:pt x="811" y="270"/>
                </a:moveTo>
                <a:cubicBezTo>
                  <a:pt x="811" y="206"/>
                  <a:pt x="843" y="158"/>
                  <a:pt x="891" y="158"/>
                </a:cubicBezTo>
                <a:lnTo>
                  <a:pt x="1273" y="158"/>
                </a:lnTo>
                <a:lnTo>
                  <a:pt x="1273" y="2672"/>
                </a:lnTo>
                <a:cubicBezTo>
                  <a:pt x="1225" y="2640"/>
                  <a:pt x="1177" y="2609"/>
                  <a:pt x="1129" y="2577"/>
                </a:cubicBezTo>
                <a:cubicBezTo>
                  <a:pt x="1146" y="2561"/>
                  <a:pt x="1140" y="2556"/>
                  <a:pt x="1146" y="2545"/>
                </a:cubicBezTo>
                <a:lnTo>
                  <a:pt x="1146" y="2370"/>
                </a:lnTo>
                <a:cubicBezTo>
                  <a:pt x="1146" y="2322"/>
                  <a:pt x="1114" y="2291"/>
                  <a:pt x="1066" y="2291"/>
                </a:cubicBezTo>
                <a:cubicBezTo>
                  <a:pt x="1018" y="2291"/>
                  <a:pt x="986" y="2322"/>
                  <a:pt x="986" y="2370"/>
                </a:cubicBezTo>
                <a:lnTo>
                  <a:pt x="986" y="2482"/>
                </a:lnTo>
                <a:cubicBezTo>
                  <a:pt x="923" y="2449"/>
                  <a:pt x="859" y="2418"/>
                  <a:pt x="811" y="2386"/>
                </a:cubicBezTo>
                <a:close/>
                <a:moveTo>
                  <a:pt x="223" y="3277"/>
                </a:moveTo>
                <a:cubicBezTo>
                  <a:pt x="429" y="3277"/>
                  <a:pt x="843" y="3531"/>
                  <a:pt x="843" y="3945"/>
                </a:cubicBezTo>
                <a:cubicBezTo>
                  <a:pt x="843" y="4057"/>
                  <a:pt x="939" y="4168"/>
                  <a:pt x="1066" y="4168"/>
                </a:cubicBezTo>
                <a:cubicBezTo>
                  <a:pt x="1193" y="4168"/>
                  <a:pt x="1289" y="4057"/>
                  <a:pt x="1289" y="3945"/>
                </a:cubicBezTo>
                <a:cubicBezTo>
                  <a:pt x="1289" y="3643"/>
                  <a:pt x="1162" y="3357"/>
                  <a:pt x="923" y="3134"/>
                </a:cubicBezTo>
                <a:cubicBezTo>
                  <a:pt x="716" y="2959"/>
                  <a:pt x="446" y="2831"/>
                  <a:pt x="223" y="2831"/>
                </a:cubicBezTo>
                <a:cubicBezTo>
                  <a:pt x="95" y="2831"/>
                  <a:pt x="0" y="2943"/>
                  <a:pt x="0" y="3054"/>
                </a:cubicBezTo>
                <a:cubicBezTo>
                  <a:pt x="0" y="3182"/>
                  <a:pt x="95" y="3277"/>
                  <a:pt x="223" y="3277"/>
                </a:cubicBezTo>
                <a:close/>
                <a:moveTo>
                  <a:pt x="223" y="2991"/>
                </a:moveTo>
                <a:cubicBezTo>
                  <a:pt x="414" y="2991"/>
                  <a:pt x="637" y="3102"/>
                  <a:pt x="811" y="3261"/>
                </a:cubicBezTo>
                <a:cubicBezTo>
                  <a:pt x="1018" y="3436"/>
                  <a:pt x="1129" y="3691"/>
                  <a:pt x="1129" y="3945"/>
                </a:cubicBezTo>
                <a:cubicBezTo>
                  <a:pt x="1129" y="3977"/>
                  <a:pt x="1098" y="4009"/>
                  <a:pt x="1066" y="4009"/>
                </a:cubicBezTo>
                <a:cubicBezTo>
                  <a:pt x="1034" y="4009"/>
                  <a:pt x="1002" y="3977"/>
                  <a:pt x="1002" y="3945"/>
                </a:cubicBezTo>
                <a:cubicBezTo>
                  <a:pt x="1002" y="3452"/>
                  <a:pt x="525" y="3118"/>
                  <a:pt x="223" y="3118"/>
                </a:cubicBezTo>
                <a:cubicBezTo>
                  <a:pt x="191" y="3118"/>
                  <a:pt x="159" y="3102"/>
                  <a:pt x="159" y="3054"/>
                </a:cubicBezTo>
                <a:cubicBezTo>
                  <a:pt x="159" y="3022"/>
                  <a:pt x="191" y="2991"/>
                  <a:pt x="223" y="2991"/>
                </a:cubicBezTo>
                <a:close/>
                <a:moveTo>
                  <a:pt x="5489" y="891"/>
                </a:moveTo>
                <a:cubicBezTo>
                  <a:pt x="5473" y="891"/>
                  <a:pt x="5441" y="891"/>
                  <a:pt x="5410" y="906"/>
                </a:cubicBezTo>
                <a:lnTo>
                  <a:pt x="3787" y="1940"/>
                </a:lnTo>
                <a:cubicBezTo>
                  <a:pt x="3771" y="1957"/>
                  <a:pt x="3755" y="1972"/>
                  <a:pt x="3755" y="2004"/>
                </a:cubicBezTo>
                <a:lnTo>
                  <a:pt x="3755" y="3468"/>
                </a:lnTo>
                <a:cubicBezTo>
                  <a:pt x="3628" y="3357"/>
                  <a:pt x="3453" y="3293"/>
                  <a:pt x="3262" y="3293"/>
                </a:cubicBezTo>
                <a:cubicBezTo>
                  <a:pt x="2896" y="3293"/>
                  <a:pt x="2593" y="3531"/>
                  <a:pt x="2593" y="3802"/>
                </a:cubicBezTo>
                <a:cubicBezTo>
                  <a:pt x="2593" y="4088"/>
                  <a:pt x="2896" y="4311"/>
                  <a:pt x="3262" y="4311"/>
                </a:cubicBezTo>
                <a:cubicBezTo>
                  <a:pt x="3611" y="4311"/>
                  <a:pt x="3914" y="4088"/>
                  <a:pt x="3914" y="3802"/>
                </a:cubicBezTo>
                <a:lnTo>
                  <a:pt x="3914" y="2640"/>
                </a:lnTo>
                <a:lnTo>
                  <a:pt x="5378" y="1734"/>
                </a:lnTo>
                <a:lnTo>
                  <a:pt x="5378" y="3245"/>
                </a:lnTo>
                <a:cubicBezTo>
                  <a:pt x="5250" y="3134"/>
                  <a:pt x="5075" y="3070"/>
                  <a:pt x="4884" y="3070"/>
                </a:cubicBezTo>
                <a:cubicBezTo>
                  <a:pt x="4519" y="3070"/>
                  <a:pt x="4232" y="3293"/>
                  <a:pt x="4232" y="3579"/>
                </a:cubicBezTo>
                <a:cubicBezTo>
                  <a:pt x="4232" y="3850"/>
                  <a:pt x="4519" y="4088"/>
                  <a:pt x="4884" y="4088"/>
                </a:cubicBezTo>
                <a:cubicBezTo>
                  <a:pt x="5250" y="4088"/>
                  <a:pt x="5537" y="3850"/>
                  <a:pt x="5537" y="3579"/>
                </a:cubicBezTo>
                <a:lnTo>
                  <a:pt x="5537" y="970"/>
                </a:lnTo>
                <a:cubicBezTo>
                  <a:pt x="5537" y="938"/>
                  <a:pt x="5521" y="906"/>
                  <a:pt x="5489" y="891"/>
                </a:cubicBezTo>
                <a:close/>
                <a:moveTo>
                  <a:pt x="3262" y="4152"/>
                </a:moveTo>
                <a:cubicBezTo>
                  <a:pt x="2975" y="4152"/>
                  <a:pt x="2753" y="3993"/>
                  <a:pt x="2753" y="3802"/>
                </a:cubicBezTo>
                <a:cubicBezTo>
                  <a:pt x="2753" y="3611"/>
                  <a:pt x="2975" y="3452"/>
                  <a:pt x="3262" y="3452"/>
                </a:cubicBezTo>
                <a:cubicBezTo>
                  <a:pt x="3532" y="3452"/>
                  <a:pt x="3755" y="3611"/>
                  <a:pt x="3755" y="3802"/>
                </a:cubicBezTo>
                <a:cubicBezTo>
                  <a:pt x="3755" y="3993"/>
                  <a:pt x="3532" y="4152"/>
                  <a:pt x="3262" y="4152"/>
                </a:cubicBezTo>
                <a:close/>
                <a:moveTo>
                  <a:pt x="3914" y="2449"/>
                </a:moveTo>
                <a:lnTo>
                  <a:pt x="3914" y="2052"/>
                </a:lnTo>
                <a:lnTo>
                  <a:pt x="5378" y="1113"/>
                </a:lnTo>
                <a:lnTo>
                  <a:pt x="5378" y="1558"/>
                </a:lnTo>
                <a:close/>
                <a:moveTo>
                  <a:pt x="4884" y="3929"/>
                </a:moveTo>
                <a:cubicBezTo>
                  <a:pt x="4614" y="3929"/>
                  <a:pt x="4391" y="3770"/>
                  <a:pt x="4391" y="3579"/>
                </a:cubicBezTo>
                <a:cubicBezTo>
                  <a:pt x="4391" y="3372"/>
                  <a:pt x="4614" y="3229"/>
                  <a:pt x="4884" y="3229"/>
                </a:cubicBezTo>
                <a:cubicBezTo>
                  <a:pt x="5155" y="3229"/>
                  <a:pt x="5378" y="3372"/>
                  <a:pt x="5378" y="3579"/>
                </a:cubicBezTo>
                <a:cubicBezTo>
                  <a:pt x="5378" y="3770"/>
                  <a:pt x="5155" y="3929"/>
                  <a:pt x="4884" y="3929"/>
                </a:cubicBezTo>
                <a:close/>
                <a:moveTo>
                  <a:pt x="1066" y="604"/>
                </a:moveTo>
                <a:cubicBezTo>
                  <a:pt x="1114" y="604"/>
                  <a:pt x="1146" y="572"/>
                  <a:pt x="1146" y="524"/>
                </a:cubicBezTo>
                <a:lnTo>
                  <a:pt x="1146" y="349"/>
                </a:lnTo>
                <a:cubicBezTo>
                  <a:pt x="1146" y="302"/>
                  <a:pt x="1114" y="270"/>
                  <a:pt x="1066" y="270"/>
                </a:cubicBezTo>
                <a:cubicBezTo>
                  <a:pt x="1018" y="270"/>
                  <a:pt x="986" y="302"/>
                  <a:pt x="986" y="349"/>
                </a:cubicBezTo>
                <a:lnTo>
                  <a:pt x="986" y="524"/>
                </a:lnTo>
                <a:cubicBezTo>
                  <a:pt x="986" y="572"/>
                  <a:pt x="1018" y="604"/>
                  <a:pt x="1066" y="604"/>
                </a:cubicBezTo>
                <a:close/>
                <a:moveTo>
                  <a:pt x="1066" y="1097"/>
                </a:moveTo>
                <a:cubicBezTo>
                  <a:pt x="1114" y="1097"/>
                  <a:pt x="1146" y="1066"/>
                  <a:pt x="1146" y="1018"/>
                </a:cubicBezTo>
                <a:lnTo>
                  <a:pt x="1146" y="858"/>
                </a:lnTo>
                <a:cubicBezTo>
                  <a:pt x="1146" y="811"/>
                  <a:pt x="1114" y="779"/>
                  <a:pt x="1066" y="779"/>
                </a:cubicBezTo>
                <a:cubicBezTo>
                  <a:pt x="1018" y="779"/>
                  <a:pt x="986" y="811"/>
                  <a:pt x="986" y="858"/>
                </a:cubicBezTo>
                <a:lnTo>
                  <a:pt x="986" y="1018"/>
                </a:lnTo>
                <a:cubicBezTo>
                  <a:pt x="986" y="1066"/>
                  <a:pt x="1018" y="1097"/>
                  <a:pt x="1066" y="1097"/>
                </a:cubicBezTo>
                <a:close/>
                <a:moveTo>
                  <a:pt x="1066" y="2115"/>
                </a:moveTo>
                <a:cubicBezTo>
                  <a:pt x="1114" y="2115"/>
                  <a:pt x="1146" y="2084"/>
                  <a:pt x="1146" y="2036"/>
                </a:cubicBezTo>
                <a:lnTo>
                  <a:pt x="1146" y="1861"/>
                </a:lnTo>
                <a:cubicBezTo>
                  <a:pt x="1146" y="1813"/>
                  <a:pt x="1114" y="1781"/>
                  <a:pt x="1066" y="1781"/>
                </a:cubicBezTo>
                <a:cubicBezTo>
                  <a:pt x="1018" y="1781"/>
                  <a:pt x="986" y="1813"/>
                  <a:pt x="986" y="1861"/>
                </a:cubicBezTo>
                <a:lnTo>
                  <a:pt x="986" y="2036"/>
                </a:lnTo>
                <a:cubicBezTo>
                  <a:pt x="986" y="2084"/>
                  <a:pt x="1018" y="2115"/>
                  <a:pt x="1066" y="2115"/>
                </a:cubicBezTo>
                <a:close/>
                <a:moveTo>
                  <a:pt x="1066" y="1606"/>
                </a:moveTo>
                <a:cubicBezTo>
                  <a:pt x="1114" y="1606"/>
                  <a:pt x="1146" y="1575"/>
                  <a:pt x="1146" y="1527"/>
                </a:cubicBezTo>
                <a:lnTo>
                  <a:pt x="1146" y="1352"/>
                </a:lnTo>
                <a:cubicBezTo>
                  <a:pt x="1146" y="1320"/>
                  <a:pt x="1114" y="1272"/>
                  <a:pt x="1066" y="1272"/>
                </a:cubicBezTo>
                <a:cubicBezTo>
                  <a:pt x="1018" y="1272"/>
                  <a:pt x="986" y="1320"/>
                  <a:pt x="986" y="1352"/>
                </a:cubicBezTo>
                <a:lnTo>
                  <a:pt x="986" y="1527"/>
                </a:lnTo>
                <a:cubicBezTo>
                  <a:pt x="986" y="1575"/>
                  <a:pt x="1018" y="1606"/>
                  <a:pt x="1066" y="1606"/>
                </a:cubicBezTo>
                <a:close/>
                <a:moveTo>
                  <a:pt x="2959" y="604"/>
                </a:moveTo>
                <a:cubicBezTo>
                  <a:pt x="3007" y="604"/>
                  <a:pt x="3039" y="572"/>
                  <a:pt x="3039" y="524"/>
                </a:cubicBezTo>
                <a:lnTo>
                  <a:pt x="3039" y="349"/>
                </a:lnTo>
                <a:cubicBezTo>
                  <a:pt x="3039" y="302"/>
                  <a:pt x="3007" y="270"/>
                  <a:pt x="2959" y="270"/>
                </a:cubicBezTo>
                <a:cubicBezTo>
                  <a:pt x="2928" y="270"/>
                  <a:pt x="2880" y="302"/>
                  <a:pt x="2880" y="349"/>
                </a:cubicBezTo>
                <a:lnTo>
                  <a:pt x="2880" y="524"/>
                </a:lnTo>
                <a:cubicBezTo>
                  <a:pt x="2880" y="572"/>
                  <a:pt x="2928" y="604"/>
                  <a:pt x="2959" y="604"/>
                </a:cubicBezTo>
                <a:close/>
                <a:moveTo>
                  <a:pt x="2959" y="1097"/>
                </a:moveTo>
                <a:cubicBezTo>
                  <a:pt x="3007" y="1097"/>
                  <a:pt x="3039" y="1066"/>
                  <a:pt x="3039" y="1018"/>
                </a:cubicBezTo>
                <a:lnTo>
                  <a:pt x="3039" y="858"/>
                </a:lnTo>
                <a:cubicBezTo>
                  <a:pt x="3039" y="811"/>
                  <a:pt x="3007" y="779"/>
                  <a:pt x="2959" y="779"/>
                </a:cubicBezTo>
                <a:cubicBezTo>
                  <a:pt x="2928" y="779"/>
                  <a:pt x="2880" y="811"/>
                  <a:pt x="2880" y="858"/>
                </a:cubicBezTo>
                <a:lnTo>
                  <a:pt x="2880" y="1018"/>
                </a:lnTo>
                <a:cubicBezTo>
                  <a:pt x="2880" y="1066"/>
                  <a:pt x="2928" y="1097"/>
                  <a:pt x="2959" y="1097"/>
                </a:cubicBezTo>
                <a:close/>
                <a:moveTo>
                  <a:pt x="2959" y="1606"/>
                </a:moveTo>
                <a:cubicBezTo>
                  <a:pt x="3007" y="1606"/>
                  <a:pt x="3039" y="1575"/>
                  <a:pt x="3039" y="1527"/>
                </a:cubicBezTo>
                <a:lnTo>
                  <a:pt x="3039" y="1352"/>
                </a:lnTo>
                <a:cubicBezTo>
                  <a:pt x="3039" y="1320"/>
                  <a:pt x="3007" y="1272"/>
                  <a:pt x="2959" y="1272"/>
                </a:cubicBezTo>
                <a:cubicBezTo>
                  <a:pt x="2928" y="1272"/>
                  <a:pt x="2880" y="1320"/>
                  <a:pt x="2880" y="1352"/>
                </a:cubicBezTo>
                <a:lnTo>
                  <a:pt x="2880" y="1527"/>
                </a:lnTo>
                <a:cubicBezTo>
                  <a:pt x="2880" y="1575"/>
                  <a:pt x="2928" y="1606"/>
                  <a:pt x="2959" y="1606"/>
                </a:cubicBezTo>
                <a:close/>
                <a:moveTo>
                  <a:pt x="2959" y="2115"/>
                </a:moveTo>
                <a:cubicBezTo>
                  <a:pt x="3007" y="2115"/>
                  <a:pt x="3039" y="2084"/>
                  <a:pt x="3039" y="2036"/>
                </a:cubicBezTo>
                <a:lnTo>
                  <a:pt x="3039" y="1861"/>
                </a:lnTo>
                <a:cubicBezTo>
                  <a:pt x="3039" y="1813"/>
                  <a:pt x="3007" y="1781"/>
                  <a:pt x="2959" y="1781"/>
                </a:cubicBezTo>
                <a:cubicBezTo>
                  <a:pt x="2928" y="1781"/>
                  <a:pt x="2880" y="1813"/>
                  <a:pt x="2880" y="1861"/>
                </a:cubicBezTo>
                <a:lnTo>
                  <a:pt x="2880" y="2036"/>
                </a:lnTo>
                <a:cubicBezTo>
                  <a:pt x="2880" y="2084"/>
                  <a:pt x="2928" y="2115"/>
                  <a:pt x="2959" y="2115"/>
                </a:cubicBezTo>
                <a:close/>
                <a:moveTo>
                  <a:pt x="2959" y="2625"/>
                </a:moveTo>
                <a:cubicBezTo>
                  <a:pt x="3007" y="2625"/>
                  <a:pt x="3039" y="2577"/>
                  <a:pt x="3039" y="2545"/>
                </a:cubicBezTo>
                <a:lnTo>
                  <a:pt x="3039" y="2370"/>
                </a:lnTo>
                <a:cubicBezTo>
                  <a:pt x="3039" y="2322"/>
                  <a:pt x="3007" y="2291"/>
                  <a:pt x="2959" y="2291"/>
                </a:cubicBezTo>
                <a:cubicBezTo>
                  <a:pt x="2928" y="2291"/>
                  <a:pt x="2880" y="2322"/>
                  <a:pt x="2880" y="2370"/>
                </a:cubicBezTo>
                <a:lnTo>
                  <a:pt x="2880" y="2545"/>
                </a:lnTo>
                <a:cubicBezTo>
                  <a:pt x="2880" y="2577"/>
                  <a:pt x="2928" y="2625"/>
                  <a:pt x="2959" y="262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4" name="Freeform: Shape 17">
            <a:extLst>
              <a:ext uri="{FF2B5EF4-FFF2-40B4-BE49-F238E27FC236}">
                <a16:creationId xmlns:a16="http://schemas.microsoft.com/office/drawing/2014/main" id="{366645B0-8F3F-C748-9043-774F9603E409}"/>
              </a:ext>
            </a:extLst>
          </p:cNvPr>
          <p:cNvSpPr/>
          <p:nvPr/>
        </p:nvSpPr>
        <p:spPr>
          <a:xfrm>
            <a:off x="5890752" y="9907778"/>
            <a:ext cx="2069280" cy="1534680"/>
          </a:xfrm>
          <a:custGeom>
            <a:avLst/>
            <a:gdLst/>
            <a:ahLst/>
            <a:cxnLst>
              <a:cxn ang="3cd4">
                <a:pos x="hc" y="t"/>
              </a:cxn>
              <a:cxn ang="cd2">
                <a:pos x="l" y="vc"/>
              </a:cxn>
              <a:cxn ang="cd4">
                <a:pos x="hc" y="b"/>
              </a:cxn>
              <a:cxn ang="0">
                <a:pos x="r" y="vc"/>
              </a:cxn>
            </a:cxnLst>
            <a:rect l="l" t="t" r="r" b="b"/>
            <a:pathLst>
              <a:path w="5749" h="4264">
                <a:moveTo>
                  <a:pt x="5712" y="1337"/>
                </a:moveTo>
                <a:cubicBezTo>
                  <a:pt x="5696" y="1321"/>
                  <a:pt x="5696" y="1321"/>
                  <a:pt x="5680" y="1321"/>
                </a:cubicBezTo>
                <a:lnTo>
                  <a:pt x="5664" y="1321"/>
                </a:lnTo>
                <a:cubicBezTo>
                  <a:pt x="5282" y="1321"/>
                  <a:pt x="5282" y="1321"/>
                  <a:pt x="5282" y="1321"/>
                </a:cubicBezTo>
                <a:cubicBezTo>
                  <a:pt x="5282" y="80"/>
                  <a:pt x="5282" y="80"/>
                  <a:pt x="5282" y="80"/>
                </a:cubicBezTo>
                <a:cubicBezTo>
                  <a:pt x="5282" y="32"/>
                  <a:pt x="5234" y="0"/>
                  <a:pt x="5202" y="0"/>
                </a:cubicBezTo>
                <a:cubicBezTo>
                  <a:pt x="5187" y="0"/>
                  <a:pt x="5187" y="0"/>
                  <a:pt x="5187" y="0"/>
                </a:cubicBezTo>
                <a:cubicBezTo>
                  <a:pt x="4916" y="0"/>
                  <a:pt x="4916" y="0"/>
                  <a:pt x="4916" y="0"/>
                </a:cubicBezTo>
                <a:cubicBezTo>
                  <a:pt x="3023" y="0"/>
                  <a:pt x="3023" y="0"/>
                  <a:pt x="3023" y="0"/>
                </a:cubicBezTo>
                <a:cubicBezTo>
                  <a:pt x="2991" y="0"/>
                  <a:pt x="2975" y="0"/>
                  <a:pt x="2959" y="32"/>
                </a:cubicBezTo>
                <a:cubicBezTo>
                  <a:pt x="2370" y="828"/>
                  <a:pt x="2370" y="828"/>
                  <a:pt x="2370" y="828"/>
                </a:cubicBezTo>
                <a:lnTo>
                  <a:pt x="2370" y="843"/>
                </a:lnTo>
                <a:lnTo>
                  <a:pt x="2354" y="843"/>
                </a:lnTo>
                <a:cubicBezTo>
                  <a:pt x="2354" y="860"/>
                  <a:pt x="2354" y="860"/>
                  <a:pt x="2354" y="860"/>
                </a:cubicBezTo>
                <a:lnTo>
                  <a:pt x="2354" y="875"/>
                </a:lnTo>
                <a:cubicBezTo>
                  <a:pt x="2354" y="1130"/>
                  <a:pt x="2354" y="1130"/>
                  <a:pt x="2354" y="1130"/>
                </a:cubicBezTo>
                <a:cubicBezTo>
                  <a:pt x="716" y="1130"/>
                  <a:pt x="716" y="1130"/>
                  <a:pt x="716" y="1130"/>
                </a:cubicBezTo>
                <a:cubicBezTo>
                  <a:pt x="700" y="1130"/>
                  <a:pt x="668" y="1146"/>
                  <a:pt x="652" y="1161"/>
                </a:cubicBezTo>
                <a:cubicBezTo>
                  <a:pt x="63" y="1973"/>
                  <a:pt x="63" y="1973"/>
                  <a:pt x="63" y="1973"/>
                </a:cubicBezTo>
                <a:lnTo>
                  <a:pt x="63" y="1989"/>
                </a:lnTo>
                <a:cubicBezTo>
                  <a:pt x="63" y="2005"/>
                  <a:pt x="48" y="2005"/>
                  <a:pt x="48" y="2005"/>
                </a:cubicBezTo>
                <a:cubicBezTo>
                  <a:pt x="48" y="2021"/>
                  <a:pt x="48" y="2021"/>
                  <a:pt x="48" y="2021"/>
                </a:cubicBezTo>
                <a:cubicBezTo>
                  <a:pt x="48" y="3866"/>
                  <a:pt x="48" y="3866"/>
                  <a:pt x="48" y="3866"/>
                </a:cubicBezTo>
                <a:cubicBezTo>
                  <a:pt x="48" y="3914"/>
                  <a:pt x="79" y="3946"/>
                  <a:pt x="127" y="3946"/>
                </a:cubicBezTo>
                <a:cubicBezTo>
                  <a:pt x="16" y="4153"/>
                  <a:pt x="16" y="4153"/>
                  <a:pt x="16" y="4153"/>
                </a:cubicBezTo>
                <a:cubicBezTo>
                  <a:pt x="16" y="4169"/>
                  <a:pt x="16" y="4169"/>
                  <a:pt x="0" y="4169"/>
                </a:cubicBezTo>
                <a:cubicBezTo>
                  <a:pt x="0" y="4185"/>
                  <a:pt x="0" y="4185"/>
                  <a:pt x="0" y="4185"/>
                </a:cubicBezTo>
                <a:cubicBezTo>
                  <a:pt x="0" y="4200"/>
                  <a:pt x="0" y="4200"/>
                  <a:pt x="0" y="4200"/>
                </a:cubicBezTo>
                <a:cubicBezTo>
                  <a:pt x="0" y="4216"/>
                  <a:pt x="16" y="4216"/>
                  <a:pt x="16" y="4216"/>
                </a:cubicBezTo>
                <a:lnTo>
                  <a:pt x="16" y="4232"/>
                </a:lnTo>
                <a:lnTo>
                  <a:pt x="32" y="4232"/>
                </a:lnTo>
                <a:cubicBezTo>
                  <a:pt x="32" y="4248"/>
                  <a:pt x="32" y="4248"/>
                  <a:pt x="32" y="4248"/>
                </a:cubicBezTo>
                <a:lnTo>
                  <a:pt x="48" y="4248"/>
                </a:lnTo>
                <a:lnTo>
                  <a:pt x="48" y="4264"/>
                </a:lnTo>
                <a:cubicBezTo>
                  <a:pt x="63" y="4264"/>
                  <a:pt x="63" y="4264"/>
                  <a:pt x="63" y="4264"/>
                </a:cubicBezTo>
                <a:cubicBezTo>
                  <a:pt x="79" y="4264"/>
                  <a:pt x="79" y="4264"/>
                  <a:pt x="79" y="4264"/>
                </a:cubicBezTo>
                <a:cubicBezTo>
                  <a:pt x="811" y="4264"/>
                  <a:pt x="811" y="4264"/>
                  <a:pt x="811" y="4264"/>
                </a:cubicBezTo>
                <a:cubicBezTo>
                  <a:pt x="1273" y="4264"/>
                  <a:pt x="1273" y="4264"/>
                  <a:pt x="1273" y="4264"/>
                </a:cubicBezTo>
                <a:cubicBezTo>
                  <a:pt x="2005" y="4264"/>
                  <a:pt x="2005" y="4264"/>
                  <a:pt x="2005" y="4264"/>
                </a:cubicBezTo>
                <a:cubicBezTo>
                  <a:pt x="2323" y="4264"/>
                  <a:pt x="2323" y="4264"/>
                  <a:pt x="2323" y="4264"/>
                </a:cubicBezTo>
                <a:cubicBezTo>
                  <a:pt x="3054" y="4264"/>
                  <a:pt x="3054" y="4264"/>
                  <a:pt x="3054" y="4264"/>
                </a:cubicBezTo>
                <a:cubicBezTo>
                  <a:pt x="3373" y="4264"/>
                  <a:pt x="3373" y="4264"/>
                  <a:pt x="3373" y="4264"/>
                </a:cubicBezTo>
                <a:cubicBezTo>
                  <a:pt x="4121" y="4264"/>
                  <a:pt x="4121" y="4264"/>
                  <a:pt x="4121" y="4264"/>
                </a:cubicBezTo>
                <a:cubicBezTo>
                  <a:pt x="4136" y="4264"/>
                  <a:pt x="4168" y="4248"/>
                  <a:pt x="4184" y="4232"/>
                </a:cubicBezTo>
                <a:cubicBezTo>
                  <a:pt x="5743" y="1432"/>
                  <a:pt x="5743" y="1432"/>
                  <a:pt x="5743" y="1432"/>
                </a:cubicBezTo>
                <a:cubicBezTo>
                  <a:pt x="5759" y="1400"/>
                  <a:pt x="5743" y="1352"/>
                  <a:pt x="5712" y="1337"/>
                </a:cubicBezTo>
                <a:close/>
                <a:moveTo>
                  <a:pt x="4709" y="907"/>
                </a:moveTo>
                <a:cubicBezTo>
                  <a:pt x="5123" y="303"/>
                  <a:pt x="5123" y="303"/>
                  <a:pt x="5123" y="303"/>
                </a:cubicBezTo>
                <a:cubicBezTo>
                  <a:pt x="5123" y="1671"/>
                  <a:pt x="5123" y="1671"/>
                  <a:pt x="5123" y="1671"/>
                </a:cubicBezTo>
                <a:cubicBezTo>
                  <a:pt x="4709" y="2419"/>
                  <a:pt x="4709" y="2419"/>
                  <a:pt x="4709" y="2419"/>
                </a:cubicBezTo>
                <a:close/>
                <a:moveTo>
                  <a:pt x="5027" y="160"/>
                </a:moveTo>
                <a:cubicBezTo>
                  <a:pt x="4582" y="796"/>
                  <a:pt x="4582" y="796"/>
                  <a:pt x="4582" y="796"/>
                </a:cubicBezTo>
                <a:cubicBezTo>
                  <a:pt x="3611" y="796"/>
                  <a:pt x="3611" y="796"/>
                  <a:pt x="3611" y="796"/>
                </a:cubicBezTo>
                <a:cubicBezTo>
                  <a:pt x="4088" y="160"/>
                  <a:pt x="4088" y="160"/>
                  <a:pt x="4088" y="160"/>
                </a:cubicBezTo>
                <a:cubicBezTo>
                  <a:pt x="4916" y="160"/>
                  <a:pt x="4916" y="160"/>
                  <a:pt x="4916" y="160"/>
                </a:cubicBezTo>
                <a:close/>
                <a:moveTo>
                  <a:pt x="3070" y="160"/>
                </a:moveTo>
                <a:cubicBezTo>
                  <a:pt x="3898" y="160"/>
                  <a:pt x="3898" y="160"/>
                  <a:pt x="3898" y="160"/>
                </a:cubicBezTo>
                <a:cubicBezTo>
                  <a:pt x="3405" y="796"/>
                  <a:pt x="3405" y="796"/>
                  <a:pt x="3405" y="796"/>
                </a:cubicBezTo>
                <a:cubicBezTo>
                  <a:pt x="2593" y="796"/>
                  <a:pt x="2593" y="796"/>
                  <a:pt x="2593" y="796"/>
                </a:cubicBezTo>
                <a:close/>
                <a:moveTo>
                  <a:pt x="2514" y="955"/>
                </a:moveTo>
                <a:cubicBezTo>
                  <a:pt x="4550" y="955"/>
                  <a:pt x="4550" y="955"/>
                  <a:pt x="4550" y="955"/>
                </a:cubicBezTo>
                <a:cubicBezTo>
                  <a:pt x="4550" y="2642"/>
                  <a:pt x="4550" y="2642"/>
                  <a:pt x="4550" y="2642"/>
                </a:cubicBezTo>
                <a:cubicBezTo>
                  <a:pt x="2975" y="2642"/>
                  <a:pt x="2975" y="2642"/>
                  <a:pt x="2975" y="2642"/>
                </a:cubicBezTo>
                <a:cubicBezTo>
                  <a:pt x="2975" y="1209"/>
                  <a:pt x="2975" y="1209"/>
                  <a:pt x="2975" y="1209"/>
                </a:cubicBezTo>
                <a:cubicBezTo>
                  <a:pt x="2975" y="1178"/>
                  <a:pt x="2943" y="1130"/>
                  <a:pt x="2896" y="1130"/>
                </a:cubicBezTo>
                <a:cubicBezTo>
                  <a:pt x="2879" y="1130"/>
                  <a:pt x="2879" y="1130"/>
                  <a:pt x="2879" y="1130"/>
                </a:cubicBezTo>
                <a:cubicBezTo>
                  <a:pt x="2609" y="1130"/>
                  <a:pt x="2609" y="1130"/>
                  <a:pt x="2609" y="1130"/>
                </a:cubicBezTo>
                <a:cubicBezTo>
                  <a:pt x="2514" y="1130"/>
                  <a:pt x="2514" y="1130"/>
                  <a:pt x="2514" y="1130"/>
                </a:cubicBezTo>
                <a:close/>
                <a:moveTo>
                  <a:pt x="206" y="3787"/>
                </a:moveTo>
                <a:cubicBezTo>
                  <a:pt x="206" y="2100"/>
                  <a:pt x="206" y="2100"/>
                  <a:pt x="206" y="2100"/>
                </a:cubicBezTo>
                <a:cubicBezTo>
                  <a:pt x="2243" y="2100"/>
                  <a:pt x="2243" y="2100"/>
                  <a:pt x="2243" y="2100"/>
                </a:cubicBezTo>
                <a:cubicBezTo>
                  <a:pt x="2243" y="3787"/>
                  <a:pt x="2243" y="3787"/>
                  <a:pt x="2243" y="3787"/>
                </a:cubicBezTo>
                <a:close/>
                <a:moveTo>
                  <a:pt x="1305" y="1941"/>
                </a:moveTo>
                <a:cubicBezTo>
                  <a:pt x="1782" y="1289"/>
                  <a:pt x="1782" y="1289"/>
                  <a:pt x="1782" y="1289"/>
                </a:cubicBezTo>
                <a:cubicBezTo>
                  <a:pt x="2609" y="1289"/>
                  <a:pt x="2609" y="1289"/>
                  <a:pt x="2609" y="1289"/>
                </a:cubicBezTo>
                <a:cubicBezTo>
                  <a:pt x="2720" y="1289"/>
                  <a:pt x="2720" y="1289"/>
                  <a:pt x="2720" y="1289"/>
                </a:cubicBezTo>
                <a:cubicBezTo>
                  <a:pt x="2275" y="1941"/>
                  <a:pt x="2275" y="1941"/>
                  <a:pt x="2275" y="1941"/>
                </a:cubicBezTo>
                <a:close/>
                <a:moveTo>
                  <a:pt x="2402" y="2052"/>
                </a:moveTo>
                <a:cubicBezTo>
                  <a:pt x="2816" y="1448"/>
                  <a:pt x="2816" y="1448"/>
                  <a:pt x="2816" y="1448"/>
                </a:cubicBezTo>
                <a:cubicBezTo>
                  <a:pt x="2816" y="2800"/>
                  <a:pt x="2816" y="2800"/>
                  <a:pt x="2816" y="2800"/>
                </a:cubicBezTo>
                <a:cubicBezTo>
                  <a:pt x="2402" y="3564"/>
                  <a:pt x="2402" y="3564"/>
                  <a:pt x="2402" y="3564"/>
                </a:cubicBezTo>
                <a:close/>
                <a:moveTo>
                  <a:pt x="763" y="1289"/>
                </a:moveTo>
                <a:cubicBezTo>
                  <a:pt x="1591" y="1289"/>
                  <a:pt x="1591" y="1289"/>
                  <a:pt x="1591" y="1289"/>
                </a:cubicBezTo>
                <a:cubicBezTo>
                  <a:pt x="1097" y="1941"/>
                  <a:pt x="1097" y="1941"/>
                  <a:pt x="1097" y="1941"/>
                </a:cubicBezTo>
                <a:cubicBezTo>
                  <a:pt x="286" y="1941"/>
                  <a:pt x="286" y="1941"/>
                  <a:pt x="286" y="1941"/>
                </a:cubicBezTo>
                <a:close/>
                <a:moveTo>
                  <a:pt x="4073" y="4105"/>
                </a:moveTo>
                <a:cubicBezTo>
                  <a:pt x="3373" y="4105"/>
                  <a:pt x="3373" y="4105"/>
                  <a:pt x="3373" y="4105"/>
                </a:cubicBezTo>
                <a:cubicBezTo>
                  <a:pt x="3054" y="4105"/>
                  <a:pt x="3054" y="4105"/>
                  <a:pt x="3054" y="4105"/>
                </a:cubicBezTo>
                <a:cubicBezTo>
                  <a:pt x="2323" y="4105"/>
                  <a:pt x="2323" y="4105"/>
                  <a:pt x="2323" y="4105"/>
                </a:cubicBezTo>
                <a:cubicBezTo>
                  <a:pt x="2005" y="4105"/>
                  <a:pt x="2005" y="4105"/>
                  <a:pt x="2005" y="4105"/>
                </a:cubicBezTo>
                <a:cubicBezTo>
                  <a:pt x="1273" y="4105"/>
                  <a:pt x="1273" y="4105"/>
                  <a:pt x="1273" y="4105"/>
                </a:cubicBezTo>
                <a:cubicBezTo>
                  <a:pt x="811" y="4105"/>
                  <a:pt x="811" y="4105"/>
                  <a:pt x="811" y="4105"/>
                </a:cubicBezTo>
                <a:cubicBezTo>
                  <a:pt x="223" y="4105"/>
                  <a:pt x="223" y="4105"/>
                  <a:pt x="223" y="4105"/>
                </a:cubicBezTo>
                <a:cubicBezTo>
                  <a:pt x="318" y="3946"/>
                  <a:pt x="318" y="3946"/>
                  <a:pt x="318" y="3946"/>
                </a:cubicBezTo>
                <a:cubicBezTo>
                  <a:pt x="2323" y="3946"/>
                  <a:pt x="2323" y="3946"/>
                  <a:pt x="2323" y="3946"/>
                </a:cubicBezTo>
                <a:lnTo>
                  <a:pt x="2339" y="3946"/>
                </a:lnTo>
                <a:lnTo>
                  <a:pt x="2354" y="3930"/>
                </a:lnTo>
                <a:cubicBezTo>
                  <a:pt x="2370" y="3930"/>
                  <a:pt x="2370" y="3930"/>
                  <a:pt x="2370" y="3930"/>
                </a:cubicBezTo>
                <a:lnTo>
                  <a:pt x="2370" y="3914"/>
                </a:lnTo>
                <a:cubicBezTo>
                  <a:pt x="2387" y="3914"/>
                  <a:pt x="2387" y="3914"/>
                  <a:pt x="2387" y="3914"/>
                </a:cubicBezTo>
                <a:lnTo>
                  <a:pt x="2387" y="3898"/>
                </a:lnTo>
                <a:cubicBezTo>
                  <a:pt x="2959" y="2864"/>
                  <a:pt x="2959" y="2864"/>
                  <a:pt x="2959" y="2864"/>
                </a:cubicBezTo>
                <a:cubicBezTo>
                  <a:pt x="2975" y="2848"/>
                  <a:pt x="2975" y="2848"/>
                  <a:pt x="2975" y="2832"/>
                </a:cubicBezTo>
                <a:cubicBezTo>
                  <a:pt x="2975" y="2800"/>
                  <a:pt x="2975" y="2800"/>
                  <a:pt x="2975" y="2800"/>
                </a:cubicBezTo>
                <a:cubicBezTo>
                  <a:pt x="4630" y="2800"/>
                  <a:pt x="4630" y="2800"/>
                  <a:pt x="4630" y="2800"/>
                </a:cubicBezTo>
                <a:lnTo>
                  <a:pt x="4645" y="2800"/>
                </a:lnTo>
                <a:lnTo>
                  <a:pt x="4661" y="2800"/>
                </a:lnTo>
                <a:lnTo>
                  <a:pt x="4661" y="2785"/>
                </a:lnTo>
                <a:cubicBezTo>
                  <a:pt x="4678" y="2785"/>
                  <a:pt x="4678" y="2785"/>
                  <a:pt x="4693" y="2769"/>
                </a:cubicBezTo>
                <a:cubicBezTo>
                  <a:pt x="5266" y="1718"/>
                  <a:pt x="5266" y="1718"/>
                  <a:pt x="5266" y="1718"/>
                </a:cubicBezTo>
                <a:cubicBezTo>
                  <a:pt x="5266" y="1718"/>
                  <a:pt x="5282" y="1703"/>
                  <a:pt x="5282" y="1687"/>
                </a:cubicBezTo>
                <a:cubicBezTo>
                  <a:pt x="5282" y="1480"/>
                  <a:pt x="5282" y="1480"/>
                  <a:pt x="5282" y="1480"/>
                </a:cubicBezTo>
                <a:cubicBezTo>
                  <a:pt x="5536" y="1480"/>
                  <a:pt x="5536" y="1480"/>
                  <a:pt x="5536" y="148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Freeform: Shape 18">
            <a:extLst>
              <a:ext uri="{FF2B5EF4-FFF2-40B4-BE49-F238E27FC236}">
                <a16:creationId xmlns:a16="http://schemas.microsoft.com/office/drawing/2014/main" id="{568DB219-A087-6C41-824D-D67B1FC696C9}"/>
              </a:ext>
            </a:extLst>
          </p:cNvPr>
          <p:cNvSpPr/>
          <p:nvPr/>
        </p:nvSpPr>
        <p:spPr>
          <a:xfrm>
            <a:off x="17549360" y="9708338"/>
            <a:ext cx="1536840" cy="1562400"/>
          </a:xfrm>
          <a:custGeom>
            <a:avLst/>
            <a:gdLst/>
            <a:ahLst/>
            <a:cxnLst>
              <a:cxn ang="3cd4">
                <a:pos x="hc" y="t"/>
              </a:cxn>
              <a:cxn ang="cd2">
                <a:pos x="l" y="vc"/>
              </a:cxn>
              <a:cxn ang="cd4">
                <a:pos x="hc" y="b"/>
              </a:cxn>
              <a:cxn ang="0">
                <a:pos x="r" y="vc"/>
              </a:cxn>
            </a:cxnLst>
            <a:rect l="l" t="t" r="r" b="b"/>
            <a:pathLst>
              <a:path w="4270" h="4341">
                <a:moveTo>
                  <a:pt x="3034" y="3881"/>
                </a:moveTo>
                <a:cubicBezTo>
                  <a:pt x="3049" y="3896"/>
                  <a:pt x="3080" y="3911"/>
                  <a:pt x="3110" y="3911"/>
                </a:cubicBezTo>
                <a:lnTo>
                  <a:pt x="3340" y="3911"/>
                </a:lnTo>
                <a:cubicBezTo>
                  <a:pt x="3371" y="3911"/>
                  <a:pt x="3386" y="3896"/>
                  <a:pt x="3402" y="3881"/>
                </a:cubicBezTo>
                <a:lnTo>
                  <a:pt x="3524" y="3681"/>
                </a:lnTo>
                <a:cubicBezTo>
                  <a:pt x="3540" y="3651"/>
                  <a:pt x="3540" y="3620"/>
                  <a:pt x="3524" y="3605"/>
                </a:cubicBezTo>
                <a:lnTo>
                  <a:pt x="3417" y="3390"/>
                </a:lnTo>
                <a:cubicBezTo>
                  <a:pt x="3402" y="3375"/>
                  <a:pt x="3371" y="3360"/>
                  <a:pt x="3340" y="3360"/>
                </a:cubicBezTo>
                <a:lnTo>
                  <a:pt x="3110" y="3360"/>
                </a:lnTo>
                <a:cubicBezTo>
                  <a:pt x="3080" y="3360"/>
                  <a:pt x="3064" y="3375"/>
                  <a:pt x="3049" y="3390"/>
                </a:cubicBezTo>
                <a:lnTo>
                  <a:pt x="2927" y="3589"/>
                </a:lnTo>
                <a:cubicBezTo>
                  <a:pt x="2911" y="3620"/>
                  <a:pt x="2911" y="3651"/>
                  <a:pt x="2927" y="3666"/>
                </a:cubicBezTo>
                <a:close/>
                <a:moveTo>
                  <a:pt x="3157" y="3513"/>
                </a:moveTo>
                <a:lnTo>
                  <a:pt x="3294" y="3513"/>
                </a:lnTo>
                <a:cubicBezTo>
                  <a:pt x="3371" y="3635"/>
                  <a:pt x="3345" y="3594"/>
                  <a:pt x="3371" y="3635"/>
                </a:cubicBezTo>
                <a:lnTo>
                  <a:pt x="3294" y="3758"/>
                </a:lnTo>
                <a:lnTo>
                  <a:pt x="3157" y="3758"/>
                </a:lnTo>
                <a:lnTo>
                  <a:pt x="3080" y="3635"/>
                </a:lnTo>
                <a:close/>
                <a:moveTo>
                  <a:pt x="3815" y="1306"/>
                </a:moveTo>
                <a:cubicBezTo>
                  <a:pt x="3831" y="1306"/>
                  <a:pt x="3861" y="1291"/>
                  <a:pt x="3861" y="1260"/>
                </a:cubicBezTo>
                <a:cubicBezTo>
                  <a:pt x="4260" y="448"/>
                  <a:pt x="4127" y="718"/>
                  <a:pt x="4260" y="448"/>
                </a:cubicBezTo>
                <a:cubicBezTo>
                  <a:pt x="4275" y="417"/>
                  <a:pt x="4275" y="371"/>
                  <a:pt x="4244" y="356"/>
                </a:cubicBezTo>
                <a:lnTo>
                  <a:pt x="3969" y="80"/>
                </a:lnTo>
                <a:cubicBezTo>
                  <a:pt x="3953" y="50"/>
                  <a:pt x="3922" y="50"/>
                  <a:pt x="3892" y="65"/>
                </a:cubicBezTo>
                <a:lnTo>
                  <a:pt x="3064" y="463"/>
                </a:lnTo>
                <a:cubicBezTo>
                  <a:pt x="3049" y="479"/>
                  <a:pt x="3034" y="494"/>
                  <a:pt x="3034" y="509"/>
                </a:cubicBezTo>
                <a:lnTo>
                  <a:pt x="2881" y="1046"/>
                </a:lnTo>
                <a:lnTo>
                  <a:pt x="2191" y="1750"/>
                </a:lnTo>
                <a:cubicBezTo>
                  <a:pt x="2130" y="1674"/>
                  <a:pt x="2084" y="1628"/>
                  <a:pt x="2053" y="1582"/>
                </a:cubicBezTo>
                <a:cubicBezTo>
                  <a:pt x="1793" y="1291"/>
                  <a:pt x="1762" y="1030"/>
                  <a:pt x="1777" y="785"/>
                </a:cubicBezTo>
                <a:cubicBezTo>
                  <a:pt x="1777" y="540"/>
                  <a:pt x="1716" y="371"/>
                  <a:pt x="1609" y="249"/>
                </a:cubicBezTo>
                <a:cubicBezTo>
                  <a:pt x="1348" y="-12"/>
                  <a:pt x="889" y="-58"/>
                  <a:pt x="689" y="65"/>
                </a:cubicBezTo>
                <a:cubicBezTo>
                  <a:pt x="659" y="80"/>
                  <a:pt x="644" y="95"/>
                  <a:pt x="644" y="126"/>
                </a:cubicBezTo>
                <a:cubicBezTo>
                  <a:pt x="644" y="156"/>
                  <a:pt x="659" y="172"/>
                  <a:pt x="674" y="187"/>
                </a:cubicBezTo>
                <a:lnTo>
                  <a:pt x="1088" y="570"/>
                </a:lnTo>
                <a:lnTo>
                  <a:pt x="1088" y="586"/>
                </a:lnTo>
                <a:lnTo>
                  <a:pt x="1011" y="892"/>
                </a:lnTo>
                <a:lnTo>
                  <a:pt x="720" y="1015"/>
                </a:lnTo>
                <a:lnTo>
                  <a:pt x="276" y="616"/>
                </a:lnTo>
                <a:cubicBezTo>
                  <a:pt x="260" y="601"/>
                  <a:pt x="230" y="601"/>
                  <a:pt x="215" y="601"/>
                </a:cubicBezTo>
                <a:cubicBezTo>
                  <a:pt x="184" y="616"/>
                  <a:pt x="169" y="632"/>
                  <a:pt x="153" y="663"/>
                </a:cubicBezTo>
                <a:cubicBezTo>
                  <a:pt x="153" y="678"/>
                  <a:pt x="31" y="1183"/>
                  <a:pt x="353" y="1490"/>
                </a:cubicBezTo>
                <a:cubicBezTo>
                  <a:pt x="460" y="1597"/>
                  <a:pt x="598" y="1659"/>
                  <a:pt x="751" y="1674"/>
                </a:cubicBezTo>
                <a:cubicBezTo>
                  <a:pt x="1149" y="1705"/>
                  <a:pt x="1257" y="1766"/>
                  <a:pt x="1456" y="2011"/>
                </a:cubicBezTo>
                <a:cubicBezTo>
                  <a:pt x="1502" y="2042"/>
                  <a:pt x="1547" y="2103"/>
                  <a:pt x="1624" y="2195"/>
                </a:cubicBezTo>
                <a:cubicBezTo>
                  <a:pt x="1532" y="2210"/>
                  <a:pt x="1441" y="2225"/>
                  <a:pt x="1379" y="2241"/>
                </a:cubicBezTo>
                <a:cubicBezTo>
                  <a:pt x="1333" y="2256"/>
                  <a:pt x="1257" y="2333"/>
                  <a:pt x="1241" y="2363"/>
                </a:cubicBezTo>
                <a:lnTo>
                  <a:pt x="31" y="3559"/>
                </a:lnTo>
                <a:cubicBezTo>
                  <a:pt x="15" y="3574"/>
                  <a:pt x="0" y="3589"/>
                  <a:pt x="0" y="3620"/>
                </a:cubicBezTo>
                <a:cubicBezTo>
                  <a:pt x="0" y="3804"/>
                  <a:pt x="92" y="4003"/>
                  <a:pt x="245" y="4157"/>
                </a:cubicBezTo>
                <a:cubicBezTo>
                  <a:pt x="383" y="4279"/>
                  <a:pt x="536" y="4341"/>
                  <a:pt x="674" y="4341"/>
                </a:cubicBezTo>
                <a:lnTo>
                  <a:pt x="720" y="4341"/>
                </a:lnTo>
                <a:cubicBezTo>
                  <a:pt x="751" y="4341"/>
                  <a:pt x="766" y="4325"/>
                  <a:pt x="766" y="4310"/>
                </a:cubicBezTo>
                <a:lnTo>
                  <a:pt x="1976" y="3099"/>
                </a:lnTo>
                <a:cubicBezTo>
                  <a:pt x="2007" y="3084"/>
                  <a:pt x="2069" y="3007"/>
                  <a:pt x="2084" y="2961"/>
                </a:cubicBezTo>
                <a:cubicBezTo>
                  <a:pt x="2099" y="2931"/>
                  <a:pt x="2115" y="2900"/>
                  <a:pt x="2115" y="2854"/>
                </a:cubicBezTo>
                <a:cubicBezTo>
                  <a:pt x="2252" y="3022"/>
                  <a:pt x="2390" y="3221"/>
                  <a:pt x="2559" y="3436"/>
                </a:cubicBezTo>
                <a:cubicBezTo>
                  <a:pt x="2544" y="3498"/>
                  <a:pt x="2544" y="3559"/>
                  <a:pt x="2544" y="3620"/>
                </a:cubicBezTo>
                <a:cubicBezTo>
                  <a:pt x="2528" y="3988"/>
                  <a:pt x="2834" y="4294"/>
                  <a:pt x="3218" y="4310"/>
                </a:cubicBezTo>
                <a:cubicBezTo>
                  <a:pt x="3586" y="4310"/>
                  <a:pt x="3892" y="4003"/>
                  <a:pt x="3907" y="3635"/>
                </a:cubicBezTo>
                <a:cubicBezTo>
                  <a:pt x="3907" y="3252"/>
                  <a:pt x="3601" y="2946"/>
                  <a:pt x="3233" y="2946"/>
                </a:cubicBezTo>
                <a:cubicBezTo>
                  <a:pt x="3034" y="2685"/>
                  <a:pt x="2789" y="2425"/>
                  <a:pt x="2559" y="2164"/>
                </a:cubicBezTo>
                <a:lnTo>
                  <a:pt x="3279" y="1459"/>
                </a:lnTo>
                <a:close/>
                <a:moveTo>
                  <a:pt x="766" y="1521"/>
                </a:moveTo>
                <a:cubicBezTo>
                  <a:pt x="644" y="1505"/>
                  <a:pt x="552" y="1459"/>
                  <a:pt x="460" y="1367"/>
                </a:cubicBezTo>
                <a:cubicBezTo>
                  <a:pt x="291" y="1214"/>
                  <a:pt x="276" y="984"/>
                  <a:pt x="291" y="831"/>
                </a:cubicBezTo>
                <a:lnTo>
                  <a:pt x="659" y="1168"/>
                </a:lnTo>
                <a:cubicBezTo>
                  <a:pt x="674" y="1183"/>
                  <a:pt x="705" y="1199"/>
                  <a:pt x="735" y="1183"/>
                </a:cubicBezTo>
                <a:lnTo>
                  <a:pt x="1103" y="1015"/>
                </a:lnTo>
                <a:cubicBezTo>
                  <a:pt x="1134" y="1015"/>
                  <a:pt x="1149" y="999"/>
                  <a:pt x="1149" y="969"/>
                </a:cubicBezTo>
                <a:cubicBezTo>
                  <a:pt x="1195" y="816"/>
                  <a:pt x="1241" y="570"/>
                  <a:pt x="1241" y="555"/>
                </a:cubicBezTo>
                <a:cubicBezTo>
                  <a:pt x="1257" y="524"/>
                  <a:pt x="1241" y="494"/>
                  <a:pt x="1226" y="479"/>
                </a:cubicBezTo>
                <a:lnTo>
                  <a:pt x="858" y="156"/>
                </a:lnTo>
                <a:cubicBezTo>
                  <a:pt x="1073" y="111"/>
                  <a:pt x="1379" y="233"/>
                  <a:pt x="1486" y="356"/>
                </a:cubicBezTo>
                <a:cubicBezTo>
                  <a:pt x="1578" y="448"/>
                  <a:pt x="1624" y="586"/>
                  <a:pt x="1624" y="785"/>
                </a:cubicBezTo>
                <a:cubicBezTo>
                  <a:pt x="1609" y="1046"/>
                  <a:pt x="1655" y="1352"/>
                  <a:pt x="1931" y="1689"/>
                </a:cubicBezTo>
                <a:cubicBezTo>
                  <a:pt x="1976" y="1735"/>
                  <a:pt x="2023" y="1781"/>
                  <a:pt x="2084" y="1858"/>
                </a:cubicBezTo>
                <a:lnTo>
                  <a:pt x="1777" y="2164"/>
                </a:lnTo>
                <a:cubicBezTo>
                  <a:pt x="1686" y="2026"/>
                  <a:pt x="1624" y="1950"/>
                  <a:pt x="1578" y="1904"/>
                </a:cubicBezTo>
                <a:cubicBezTo>
                  <a:pt x="1333" y="1628"/>
                  <a:pt x="1211" y="1551"/>
                  <a:pt x="766" y="1521"/>
                </a:cubicBezTo>
                <a:close/>
                <a:moveTo>
                  <a:pt x="3141" y="3068"/>
                </a:moveTo>
                <a:cubicBezTo>
                  <a:pt x="3157" y="3084"/>
                  <a:pt x="3187" y="3099"/>
                  <a:pt x="3202" y="3099"/>
                </a:cubicBezTo>
                <a:lnTo>
                  <a:pt x="3218" y="3099"/>
                </a:lnTo>
                <a:cubicBezTo>
                  <a:pt x="3509" y="3099"/>
                  <a:pt x="3754" y="3329"/>
                  <a:pt x="3754" y="3620"/>
                </a:cubicBezTo>
                <a:cubicBezTo>
                  <a:pt x="3739" y="3911"/>
                  <a:pt x="3509" y="4157"/>
                  <a:pt x="3218" y="4157"/>
                </a:cubicBezTo>
                <a:cubicBezTo>
                  <a:pt x="2927" y="4141"/>
                  <a:pt x="2681" y="3911"/>
                  <a:pt x="2697" y="3620"/>
                </a:cubicBezTo>
                <a:cubicBezTo>
                  <a:pt x="2697" y="3559"/>
                  <a:pt x="2697" y="3498"/>
                  <a:pt x="2728" y="3436"/>
                </a:cubicBezTo>
                <a:cubicBezTo>
                  <a:pt x="2728" y="3421"/>
                  <a:pt x="2728" y="3390"/>
                  <a:pt x="2712" y="3375"/>
                </a:cubicBezTo>
                <a:cubicBezTo>
                  <a:pt x="2482" y="3084"/>
                  <a:pt x="2299" y="2838"/>
                  <a:pt x="2130" y="2624"/>
                </a:cubicBezTo>
                <a:lnTo>
                  <a:pt x="2130" y="2593"/>
                </a:lnTo>
                <a:lnTo>
                  <a:pt x="2452" y="2272"/>
                </a:lnTo>
                <a:cubicBezTo>
                  <a:pt x="2697" y="2532"/>
                  <a:pt x="2927" y="2808"/>
                  <a:pt x="3141" y="3068"/>
                </a:cubicBezTo>
                <a:close/>
                <a:moveTo>
                  <a:pt x="3187" y="1337"/>
                </a:moveTo>
                <a:lnTo>
                  <a:pt x="2007" y="2517"/>
                </a:lnTo>
                <a:cubicBezTo>
                  <a:pt x="1992" y="2532"/>
                  <a:pt x="1992" y="2547"/>
                  <a:pt x="1976" y="2563"/>
                </a:cubicBezTo>
                <a:cubicBezTo>
                  <a:pt x="1976" y="2670"/>
                  <a:pt x="1976" y="2854"/>
                  <a:pt x="1946" y="2900"/>
                </a:cubicBezTo>
                <a:cubicBezTo>
                  <a:pt x="1946" y="2915"/>
                  <a:pt x="1900" y="2961"/>
                  <a:pt x="1870" y="2992"/>
                </a:cubicBezTo>
                <a:lnTo>
                  <a:pt x="689" y="4187"/>
                </a:lnTo>
                <a:cubicBezTo>
                  <a:pt x="582" y="4187"/>
                  <a:pt x="460" y="4141"/>
                  <a:pt x="353" y="4034"/>
                </a:cubicBezTo>
                <a:cubicBezTo>
                  <a:pt x="230" y="3927"/>
                  <a:pt x="169" y="3789"/>
                  <a:pt x="153" y="3651"/>
                </a:cubicBezTo>
                <a:lnTo>
                  <a:pt x="1348" y="2471"/>
                </a:lnTo>
                <a:cubicBezTo>
                  <a:pt x="1379" y="2425"/>
                  <a:pt x="1425" y="2394"/>
                  <a:pt x="1441" y="2379"/>
                </a:cubicBezTo>
                <a:cubicBezTo>
                  <a:pt x="1502" y="2363"/>
                  <a:pt x="1670" y="2348"/>
                  <a:pt x="1777" y="2348"/>
                </a:cubicBezTo>
                <a:cubicBezTo>
                  <a:pt x="1793" y="2348"/>
                  <a:pt x="1823" y="2333"/>
                  <a:pt x="1839" y="2318"/>
                </a:cubicBezTo>
                <a:cubicBezTo>
                  <a:pt x="3003" y="1137"/>
                  <a:pt x="2615" y="1531"/>
                  <a:pt x="3003" y="1137"/>
                </a:cubicBezTo>
                <a:cubicBezTo>
                  <a:pt x="3018" y="1137"/>
                  <a:pt x="3018" y="1122"/>
                  <a:pt x="3018" y="1107"/>
                </a:cubicBezTo>
                <a:lnTo>
                  <a:pt x="3172" y="586"/>
                </a:lnTo>
                <a:lnTo>
                  <a:pt x="3907" y="233"/>
                </a:lnTo>
                <a:lnTo>
                  <a:pt x="4106" y="417"/>
                </a:lnTo>
                <a:lnTo>
                  <a:pt x="3739" y="1168"/>
                </a:lnTo>
                <a:lnTo>
                  <a:pt x="3218" y="1306"/>
                </a:lnTo>
                <a:cubicBezTo>
                  <a:pt x="3202" y="1306"/>
                  <a:pt x="3187" y="1321"/>
                  <a:pt x="3187" y="133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35950491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Things - 2</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116" name="TextBox 115">
            <a:extLst>
              <a:ext uri="{FF2B5EF4-FFF2-40B4-BE49-F238E27FC236}">
                <a16:creationId xmlns:a16="http://schemas.microsoft.com/office/drawing/2014/main" id="{4E0DCAE4-2630-BE4A-913B-95D3890851F7}"/>
              </a:ext>
            </a:extLst>
          </p:cNvPr>
          <p:cNvSpPr txBox="1"/>
          <p:nvPr/>
        </p:nvSpPr>
        <p:spPr>
          <a:xfrm>
            <a:off x="1245460" y="5164929"/>
            <a:ext cx="276774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SS</a:t>
            </a:r>
          </a:p>
        </p:txBody>
      </p:sp>
      <p:sp>
        <p:nvSpPr>
          <p:cNvPr id="117" name="TextBox 116">
            <a:extLst>
              <a:ext uri="{FF2B5EF4-FFF2-40B4-BE49-F238E27FC236}">
                <a16:creationId xmlns:a16="http://schemas.microsoft.com/office/drawing/2014/main" id="{C4FA50B1-2C8E-FC40-9564-9D7451D2DA3C}"/>
              </a:ext>
            </a:extLst>
          </p:cNvPr>
          <p:cNvSpPr txBox="1"/>
          <p:nvPr/>
        </p:nvSpPr>
        <p:spPr>
          <a:xfrm>
            <a:off x="5306606" y="5164929"/>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peech Bubble</a:t>
            </a:r>
          </a:p>
        </p:txBody>
      </p:sp>
      <p:sp>
        <p:nvSpPr>
          <p:cNvPr id="118" name="TextBox 117">
            <a:extLst>
              <a:ext uri="{FF2B5EF4-FFF2-40B4-BE49-F238E27FC236}">
                <a16:creationId xmlns:a16="http://schemas.microsoft.com/office/drawing/2014/main" id="{484DF67B-7329-5740-A54F-D2F53D6EA7EA}"/>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tegrated 2</a:t>
            </a:r>
          </a:p>
        </p:txBody>
      </p:sp>
      <p:sp>
        <p:nvSpPr>
          <p:cNvPr id="119" name="TextBox 118">
            <a:extLst>
              <a:ext uri="{FF2B5EF4-FFF2-40B4-BE49-F238E27FC236}">
                <a16:creationId xmlns:a16="http://schemas.microsoft.com/office/drawing/2014/main" id="{8E5E4094-47F0-A547-AC05-6538B9E79819}"/>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peech Bubble 3</a:t>
            </a:r>
          </a:p>
        </p:txBody>
      </p:sp>
      <p:sp>
        <p:nvSpPr>
          <p:cNvPr id="120" name="TextBox 119">
            <a:extLst>
              <a:ext uri="{FF2B5EF4-FFF2-40B4-BE49-F238E27FC236}">
                <a16:creationId xmlns:a16="http://schemas.microsoft.com/office/drawing/2014/main" id="{44EB1066-B437-1545-98CE-5EEA6F4CD3AA}"/>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peech Bubble 5</a:t>
            </a:r>
          </a:p>
        </p:txBody>
      </p:sp>
      <p:sp>
        <p:nvSpPr>
          <p:cNvPr id="121" name="TextBox 120">
            <a:extLst>
              <a:ext uri="{FF2B5EF4-FFF2-40B4-BE49-F238E27FC236}">
                <a16:creationId xmlns:a16="http://schemas.microsoft.com/office/drawing/2014/main" id="{6FAB8BD7-A297-EE42-A635-094F8F71A6BA}"/>
              </a:ext>
            </a:extLst>
          </p:cNvPr>
          <p:cNvSpPr txBox="1"/>
          <p:nvPr/>
        </p:nvSpPr>
        <p:spPr>
          <a:xfrm>
            <a:off x="717140" y="8292956"/>
            <a:ext cx="3824380"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ime Speed Wait Clock </a:t>
            </a:r>
          </a:p>
        </p:txBody>
      </p:sp>
      <p:sp>
        <p:nvSpPr>
          <p:cNvPr id="122" name="TextBox 121">
            <a:extLst>
              <a:ext uri="{FF2B5EF4-FFF2-40B4-BE49-F238E27FC236}">
                <a16:creationId xmlns:a16="http://schemas.microsoft.com/office/drawing/2014/main" id="{AE051E1A-15B1-0C4A-BB1B-0849B410D977}"/>
              </a:ext>
            </a:extLst>
          </p:cNvPr>
          <p:cNvSpPr txBox="1"/>
          <p:nvPr/>
        </p:nvSpPr>
        <p:spPr>
          <a:xfrm>
            <a:off x="5032286" y="8292956"/>
            <a:ext cx="3502114"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ime Speed Wait Clock 2 </a:t>
            </a:r>
          </a:p>
        </p:txBody>
      </p:sp>
      <p:sp>
        <p:nvSpPr>
          <p:cNvPr id="123" name="TextBox 122">
            <a:extLst>
              <a:ext uri="{FF2B5EF4-FFF2-40B4-BE49-F238E27FC236}">
                <a16:creationId xmlns:a16="http://schemas.microsoft.com/office/drawing/2014/main" id="{F74881FC-D7B1-0A43-8A4E-ADB1F9F3F1E8}"/>
              </a:ext>
            </a:extLst>
          </p:cNvPr>
          <p:cNvSpPr txBox="1"/>
          <p:nvPr/>
        </p:nvSpPr>
        <p:spPr>
          <a:xfrm>
            <a:off x="9084538" y="8292956"/>
            <a:ext cx="3564662"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ime Speed Wait Clock 3 </a:t>
            </a:r>
          </a:p>
        </p:txBody>
      </p:sp>
      <p:sp>
        <p:nvSpPr>
          <p:cNvPr id="124" name="TextBox 123">
            <a:extLst>
              <a:ext uri="{FF2B5EF4-FFF2-40B4-BE49-F238E27FC236}">
                <a16:creationId xmlns:a16="http://schemas.microsoft.com/office/drawing/2014/main" id="{31B16278-5AFC-4E40-811E-34B4E684F6D5}"/>
              </a:ext>
            </a:extLst>
          </p:cNvPr>
          <p:cNvSpPr txBox="1"/>
          <p:nvPr/>
        </p:nvSpPr>
        <p:spPr>
          <a:xfrm>
            <a:off x="13226552" y="8292956"/>
            <a:ext cx="311233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hopping Cart</a:t>
            </a:r>
          </a:p>
        </p:txBody>
      </p:sp>
      <p:sp>
        <p:nvSpPr>
          <p:cNvPr id="125" name="TextBox 124">
            <a:extLst>
              <a:ext uri="{FF2B5EF4-FFF2-40B4-BE49-F238E27FC236}">
                <a16:creationId xmlns:a16="http://schemas.microsoft.com/office/drawing/2014/main" id="{DB97F520-F9F8-B34D-BC21-1DEBDF5EBDA7}"/>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riefcase</a:t>
            </a:r>
          </a:p>
        </p:txBody>
      </p:sp>
      <p:sp>
        <p:nvSpPr>
          <p:cNvPr id="126" name="Freeform: Shape 26">
            <a:extLst>
              <a:ext uri="{FF2B5EF4-FFF2-40B4-BE49-F238E27FC236}">
                <a16:creationId xmlns:a16="http://schemas.microsoft.com/office/drawing/2014/main" id="{E0640817-7B43-2B45-AC92-8A86912B98DB}"/>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7" name="TextBox 126">
            <a:extLst>
              <a:ext uri="{FF2B5EF4-FFF2-40B4-BE49-F238E27FC236}">
                <a16:creationId xmlns:a16="http://schemas.microsoft.com/office/drawing/2014/main" id="{81C26724-3578-AD40-947C-08431576262B}"/>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peech Bubble 4</a:t>
            </a:r>
          </a:p>
        </p:txBody>
      </p:sp>
      <p:sp>
        <p:nvSpPr>
          <p:cNvPr id="128" name="TextBox 127">
            <a:extLst>
              <a:ext uri="{FF2B5EF4-FFF2-40B4-BE49-F238E27FC236}">
                <a16:creationId xmlns:a16="http://schemas.microsoft.com/office/drawing/2014/main" id="{E7BA0211-A939-6D4B-8DF4-01B1DD2E29C7}"/>
              </a:ext>
            </a:extLst>
          </p:cNvPr>
          <p:cNvSpPr txBox="1"/>
          <p:nvPr/>
        </p:nvSpPr>
        <p:spPr>
          <a:xfrm>
            <a:off x="16572753" y="8292956"/>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rash</a:t>
            </a:r>
          </a:p>
        </p:txBody>
      </p:sp>
      <p:sp>
        <p:nvSpPr>
          <p:cNvPr id="129" name="TextBox 128">
            <a:extLst>
              <a:ext uri="{FF2B5EF4-FFF2-40B4-BE49-F238E27FC236}">
                <a16:creationId xmlns:a16="http://schemas.microsoft.com/office/drawing/2014/main" id="{9C90785B-CD33-DB48-9A59-FAB7D0D07F2F}"/>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130" name="Freeform: Shape 3">
            <a:extLst>
              <a:ext uri="{FF2B5EF4-FFF2-40B4-BE49-F238E27FC236}">
                <a16:creationId xmlns:a16="http://schemas.microsoft.com/office/drawing/2014/main" id="{E9F23E3D-99D8-EB4D-AD11-8A153D4A56A2}"/>
              </a:ext>
            </a:extLst>
          </p:cNvPr>
          <p:cNvSpPr/>
          <p:nvPr/>
        </p:nvSpPr>
        <p:spPr>
          <a:xfrm>
            <a:off x="1584240" y="3211670"/>
            <a:ext cx="2119320" cy="1623600"/>
          </a:xfrm>
          <a:custGeom>
            <a:avLst/>
            <a:gdLst/>
            <a:ahLst/>
            <a:cxnLst>
              <a:cxn ang="3cd4">
                <a:pos x="hc" y="t"/>
              </a:cxn>
              <a:cxn ang="cd2">
                <a:pos x="l" y="vc"/>
              </a:cxn>
              <a:cxn ang="cd4">
                <a:pos x="hc" y="b"/>
              </a:cxn>
              <a:cxn ang="0">
                <a:pos x="r" y="vc"/>
              </a:cxn>
            </a:cxnLst>
            <a:rect l="l" t="t" r="r" b="b"/>
            <a:pathLst>
              <a:path w="5888" h="4511">
                <a:moveTo>
                  <a:pt x="1408" y="4400"/>
                </a:moveTo>
                <a:cubicBezTo>
                  <a:pt x="1471" y="4336"/>
                  <a:pt x="1519" y="4240"/>
                  <a:pt x="1519" y="4145"/>
                </a:cubicBezTo>
                <a:cubicBezTo>
                  <a:pt x="1519" y="4034"/>
                  <a:pt x="1471" y="3938"/>
                  <a:pt x="1408" y="3875"/>
                </a:cubicBezTo>
                <a:cubicBezTo>
                  <a:pt x="517" y="2984"/>
                  <a:pt x="517" y="1536"/>
                  <a:pt x="1408" y="629"/>
                </a:cubicBezTo>
                <a:cubicBezTo>
                  <a:pt x="1551" y="486"/>
                  <a:pt x="1551" y="263"/>
                  <a:pt x="1408" y="120"/>
                </a:cubicBezTo>
                <a:cubicBezTo>
                  <a:pt x="1265" y="-24"/>
                  <a:pt x="1026" y="-24"/>
                  <a:pt x="883" y="120"/>
                </a:cubicBezTo>
                <a:cubicBezTo>
                  <a:pt x="-294" y="1297"/>
                  <a:pt x="-294" y="3222"/>
                  <a:pt x="883" y="4400"/>
                </a:cubicBezTo>
                <a:cubicBezTo>
                  <a:pt x="947" y="4479"/>
                  <a:pt x="1042" y="4511"/>
                  <a:pt x="1137" y="4511"/>
                </a:cubicBezTo>
                <a:cubicBezTo>
                  <a:pt x="1233" y="4511"/>
                  <a:pt x="1328" y="4479"/>
                  <a:pt x="1408" y="4400"/>
                </a:cubicBezTo>
                <a:close/>
                <a:moveTo>
                  <a:pt x="994" y="231"/>
                </a:moveTo>
                <a:cubicBezTo>
                  <a:pt x="1026" y="184"/>
                  <a:pt x="1090" y="167"/>
                  <a:pt x="1137" y="167"/>
                </a:cubicBezTo>
                <a:cubicBezTo>
                  <a:pt x="1201" y="167"/>
                  <a:pt x="1248" y="184"/>
                  <a:pt x="1296" y="231"/>
                </a:cubicBezTo>
                <a:cubicBezTo>
                  <a:pt x="1376" y="311"/>
                  <a:pt x="1376" y="438"/>
                  <a:pt x="1296" y="518"/>
                </a:cubicBezTo>
                <a:cubicBezTo>
                  <a:pt x="342" y="1472"/>
                  <a:pt x="342" y="3031"/>
                  <a:pt x="1296" y="3986"/>
                </a:cubicBezTo>
                <a:cubicBezTo>
                  <a:pt x="1328" y="4034"/>
                  <a:pt x="1360" y="4082"/>
                  <a:pt x="1360" y="4145"/>
                </a:cubicBezTo>
                <a:cubicBezTo>
                  <a:pt x="1360" y="4193"/>
                  <a:pt x="1328" y="4240"/>
                  <a:pt x="1296" y="4288"/>
                </a:cubicBezTo>
                <a:cubicBezTo>
                  <a:pt x="1201" y="4368"/>
                  <a:pt x="1074" y="4368"/>
                  <a:pt x="994" y="4288"/>
                </a:cubicBezTo>
                <a:cubicBezTo>
                  <a:pt x="-134" y="3175"/>
                  <a:pt x="-134" y="1345"/>
                  <a:pt x="994" y="231"/>
                </a:cubicBezTo>
                <a:close/>
                <a:moveTo>
                  <a:pt x="2348" y="1169"/>
                </a:moveTo>
                <a:cubicBezTo>
                  <a:pt x="2348" y="1074"/>
                  <a:pt x="2300" y="978"/>
                  <a:pt x="2236" y="914"/>
                </a:cubicBezTo>
                <a:cubicBezTo>
                  <a:pt x="2093" y="771"/>
                  <a:pt x="1854" y="771"/>
                  <a:pt x="1711" y="914"/>
                </a:cubicBezTo>
                <a:cubicBezTo>
                  <a:pt x="963" y="1646"/>
                  <a:pt x="963" y="2856"/>
                  <a:pt x="1711" y="3587"/>
                </a:cubicBezTo>
                <a:cubicBezTo>
                  <a:pt x="1775" y="3651"/>
                  <a:pt x="1870" y="3699"/>
                  <a:pt x="1966" y="3699"/>
                </a:cubicBezTo>
                <a:cubicBezTo>
                  <a:pt x="2061" y="3699"/>
                  <a:pt x="2157" y="3651"/>
                  <a:pt x="2236" y="3587"/>
                </a:cubicBezTo>
                <a:cubicBezTo>
                  <a:pt x="2300" y="3524"/>
                  <a:pt x="2348" y="3428"/>
                  <a:pt x="2348" y="3317"/>
                </a:cubicBezTo>
                <a:cubicBezTo>
                  <a:pt x="2348" y="3221"/>
                  <a:pt x="2300" y="3126"/>
                  <a:pt x="2236" y="3062"/>
                </a:cubicBezTo>
                <a:cubicBezTo>
                  <a:pt x="1791" y="2617"/>
                  <a:pt x="1791" y="1885"/>
                  <a:pt x="2236" y="1439"/>
                </a:cubicBezTo>
                <a:cubicBezTo>
                  <a:pt x="2300" y="1376"/>
                  <a:pt x="2348" y="1280"/>
                  <a:pt x="2348" y="1169"/>
                </a:cubicBezTo>
                <a:close/>
                <a:moveTo>
                  <a:pt x="2125" y="1328"/>
                </a:moveTo>
                <a:cubicBezTo>
                  <a:pt x="1615" y="1837"/>
                  <a:pt x="1615" y="2665"/>
                  <a:pt x="2125" y="3174"/>
                </a:cubicBezTo>
                <a:cubicBezTo>
                  <a:pt x="2204" y="3253"/>
                  <a:pt x="2204" y="3396"/>
                  <a:pt x="2125" y="3476"/>
                </a:cubicBezTo>
                <a:cubicBezTo>
                  <a:pt x="2045" y="3556"/>
                  <a:pt x="1902" y="3556"/>
                  <a:pt x="1822" y="3476"/>
                </a:cubicBezTo>
                <a:cubicBezTo>
                  <a:pt x="1138" y="2792"/>
                  <a:pt x="1138" y="1694"/>
                  <a:pt x="1822" y="1026"/>
                </a:cubicBezTo>
                <a:cubicBezTo>
                  <a:pt x="1854" y="978"/>
                  <a:pt x="1918" y="962"/>
                  <a:pt x="1966" y="962"/>
                </a:cubicBezTo>
                <a:cubicBezTo>
                  <a:pt x="2029" y="962"/>
                  <a:pt x="2077" y="978"/>
                  <a:pt x="2125" y="1026"/>
                </a:cubicBezTo>
                <a:cubicBezTo>
                  <a:pt x="2157" y="1074"/>
                  <a:pt x="2188" y="1121"/>
                  <a:pt x="2188" y="1169"/>
                </a:cubicBezTo>
                <a:cubicBezTo>
                  <a:pt x="2188" y="1233"/>
                  <a:pt x="2157" y="1280"/>
                  <a:pt x="2125" y="1328"/>
                </a:cubicBezTo>
                <a:close/>
                <a:moveTo>
                  <a:pt x="3493" y="2252"/>
                </a:moveTo>
                <a:cubicBezTo>
                  <a:pt x="3493" y="1949"/>
                  <a:pt x="3254" y="1711"/>
                  <a:pt x="2936" y="1711"/>
                </a:cubicBezTo>
                <a:cubicBezTo>
                  <a:pt x="2634" y="1711"/>
                  <a:pt x="2395" y="1949"/>
                  <a:pt x="2395" y="2252"/>
                </a:cubicBezTo>
                <a:cubicBezTo>
                  <a:pt x="2395" y="2554"/>
                  <a:pt x="2634" y="2809"/>
                  <a:pt x="2936" y="2809"/>
                </a:cubicBezTo>
                <a:cubicBezTo>
                  <a:pt x="3254" y="2809"/>
                  <a:pt x="3493" y="2554"/>
                  <a:pt x="3493" y="2252"/>
                </a:cubicBezTo>
                <a:close/>
                <a:moveTo>
                  <a:pt x="2554" y="2252"/>
                </a:moveTo>
                <a:cubicBezTo>
                  <a:pt x="2554" y="2045"/>
                  <a:pt x="2729" y="1870"/>
                  <a:pt x="2936" y="1870"/>
                </a:cubicBezTo>
                <a:cubicBezTo>
                  <a:pt x="3159" y="1870"/>
                  <a:pt x="3334" y="2045"/>
                  <a:pt x="3334" y="2252"/>
                </a:cubicBezTo>
                <a:cubicBezTo>
                  <a:pt x="3334" y="2475"/>
                  <a:pt x="3159" y="2649"/>
                  <a:pt x="2936" y="2649"/>
                </a:cubicBezTo>
                <a:cubicBezTo>
                  <a:pt x="2729" y="2649"/>
                  <a:pt x="2554" y="2475"/>
                  <a:pt x="2554" y="2252"/>
                </a:cubicBezTo>
                <a:close/>
                <a:moveTo>
                  <a:pt x="4479" y="119"/>
                </a:moveTo>
                <a:cubicBezTo>
                  <a:pt x="4336" y="262"/>
                  <a:pt x="4336" y="485"/>
                  <a:pt x="4479" y="628"/>
                </a:cubicBezTo>
                <a:cubicBezTo>
                  <a:pt x="5370" y="1535"/>
                  <a:pt x="5370" y="2983"/>
                  <a:pt x="4479" y="3874"/>
                </a:cubicBezTo>
                <a:cubicBezTo>
                  <a:pt x="4416" y="3937"/>
                  <a:pt x="4368" y="4033"/>
                  <a:pt x="4368" y="4144"/>
                </a:cubicBezTo>
                <a:cubicBezTo>
                  <a:pt x="4368" y="4239"/>
                  <a:pt x="4416" y="4335"/>
                  <a:pt x="4479" y="4399"/>
                </a:cubicBezTo>
                <a:cubicBezTo>
                  <a:pt x="4559" y="4462"/>
                  <a:pt x="4639" y="4510"/>
                  <a:pt x="4750" y="4510"/>
                </a:cubicBezTo>
                <a:cubicBezTo>
                  <a:pt x="4845" y="4510"/>
                  <a:pt x="4941" y="4462"/>
                  <a:pt x="5004" y="4399"/>
                </a:cubicBezTo>
                <a:cubicBezTo>
                  <a:pt x="6182" y="3221"/>
                  <a:pt x="6182" y="1296"/>
                  <a:pt x="5004" y="119"/>
                </a:cubicBezTo>
                <a:cubicBezTo>
                  <a:pt x="4861" y="-40"/>
                  <a:pt x="4622" y="-40"/>
                  <a:pt x="4479" y="119"/>
                </a:cubicBezTo>
                <a:close/>
                <a:moveTo>
                  <a:pt x="4893" y="4287"/>
                </a:moveTo>
                <a:cubicBezTo>
                  <a:pt x="4813" y="4367"/>
                  <a:pt x="4670" y="4367"/>
                  <a:pt x="4591" y="4287"/>
                </a:cubicBezTo>
                <a:cubicBezTo>
                  <a:pt x="4559" y="4239"/>
                  <a:pt x="4527" y="4192"/>
                  <a:pt x="4527" y="4144"/>
                </a:cubicBezTo>
                <a:cubicBezTo>
                  <a:pt x="4527" y="4081"/>
                  <a:pt x="4559" y="4033"/>
                  <a:pt x="4591" y="3985"/>
                </a:cubicBezTo>
                <a:cubicBezTo>
                  <a:pt x="5545" y="3030"/>
                  <a:pt x="5545" y="1471"/>
                  <a:pt x="4591" y="517"/>
                </a:cubicBezTo>
                <a:cubicBezTo>
                  <a:pt x="4511" y="437"/>
                  <a:pt x="4511" y="310"/>
                  <a:pt x="4591" y="230"/>
                </a:cubicBezTo>
                <a:cubicBezTo>
                  <a:pt x="4639" y="183"/>
                  <a:pt x="4686" y="166"/>
                  <a:pt x="4750" y="166"/>
                </a:cubicBezTo>
                <a:cubicBezTo>
                  <a:pt x="4797" y="166"/>
                  <a:pt x="4845" y="183"/>
                  <a:pt x="4893" y="230"/>
                </a:cubicBezTo>
                <a:cubicBezTo>
                  <a:pt x="6007" y="1344"/>
                  <a:pt x="6007" y="3174"/>
                  <a:pt x="4893" y="4287"/>
                </a:cubicBezTo>
                <a:close/>
                <a:moveTo>
                  <a:pt x="4176" y="930"/>
                </a:moveTo>
                <a:cubicBezTo>
                  <a:pt x="4033" y="771"/>
                  <a:pt x="3794" y="771"/>
                  <a:pt x="3651" y="930"/>
                </a:cubicBezTo>
                <a:cubicBezTo>
                  <a:pt x="3508" y="1074"/>
                  <a:pt x="3508" y="1296"/>
                  <a:pt x="3651" y="1456"/>
                </a:cubicBezTo>
                <a:cubicBezTo>
                  <a:pt x="3874" y="1662"/>
                  <a:pt x="3985" y="1948"/>
                  <a:pt x="3985" y="2267"/>
                </a:cubicBezTo>
                <a:cubicBezTo>
                  <a:pt x="3985" y="2569"/>
                  <a:pt x="3874" y="2856"/>
                  <a:pt x="3651" y="3078"/>
                </a:cubicBezTo>
                <a:cubicBezTo>
                  <a:pt x="3508" y="3221"/>
                  <a:pt x="3508" y="3444"/>
                  <a:pt x="3651" y="3603"/>
                </a:cubicBezTo>
                <a:cubicBezTo>
                  <a:pt x="3715" y="3667"/>
                  <a:pt x="3810" y="3699"/>
                  <a:pt x="3921" y="3699"/>
                </a:cubicBezTo>
                <a:cubicBezTo>
                  <a:pt x="4017" y="3699"/>
                  <a:pt x="4112" y="3667"/>
                  <a:pt x="4176" y="3603"/>
                </a:cubicBezTo>
                <a:cubicBezTo>
                  <a:pt x="4908" y="2856"/>
                  <a:pt x="4908" y="1662"/>
                  <a:pt x="4176" y="930"/>
                </a:cubicBezTo>
                <a:close/>
                <a:moveTo>
                  <a:pt x="4065" y="3492"/>
                </a:moveTo>
                <a:cubicBezTo>
                  <a:pt x="3985" y="3571"/>
                  <a:pt x="3842" y="3571"/>
                  <a:pt x="3762" y="3492"/>
                </a:cubicBezTo>
                <a:cubicBezTo>
                  <a:pt x="3683" y="3396"/>
                  <a:pt x="3683" y="3269"/>
                  <a:pt x="3762" y="3190"/>
                </a:cubicBezTo>
                <a:cubicBezTo>
                  <a:pt x="4017" y="2935"/>
                  <a:pt x="4144" y="2617"/>
                  <a:pt x="4144" y="2267"/>
                </a:cubicBezTo>
                <a:cubicBezTo>
                  <a:pt x="4144" y="1917"/>
                  <a:pt x="4017" y="1583"/>
                  <a:pt x="3762" y="1328"/>
                </a:cubicBezTo>
                <a:cubicBezTo>
                  <a:pt x="3683" y="1248"/>
                  <a:pt x="3683" y="1121"/>
                  <a:pt x="3762" y="1042"/>
                </a:cubicBezTo>
                <a:cubicBezTo>
                  <a:pt x="3810" y="994"/>
                  <a:pt x="3858" y="978"/>
                  <a:pt x="3921" y="978"/>
                </a:cubicBezTo>
                <a:cubicBezTo>
                  <a:pt x="3969" y="978"/>
                  <a:pt x="4017" y="994"/>
                  <a:pt x="4065" y="1042"/>
                </a:cubicBezTo>
                <a:cubicBezTo>
                  <a:pt x="4733" y="1710"/>
                  <a:pt x="4733" y="2808"/>
                  <a:pt x="4065" y="349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1" name="Freeform: Shape 4">
            <a:extLst>
              <a:ext uri="{FF2B5EF4-FFF2-40B4-BE49-F238E27FC236}">
                <a16:creationId xmlns:a16="http://schemas.microsoft.com/office/drawing/2014/main" id="{6F570716-C9AF-2946-8EB7-1133291B8EC2}"/>
              </a:ext>
            </a:extLst>
          </p:cNvPr>
          <p:cNvSpPr/>
          <p:nvPr/>
        </p:nvSpPr>
        <p:spPr>
          <a:xfrm>
            <a:off x="5996242" y="3222121"/>
            <a:ext cx="1620360" cy="1620360"/>
          </a:xfrm>
          <a:custGeom>
            <a:avLst/>
            <a:gdLst/>
            <a:ahLst/>
            <a:cxnLst>
              <a:cxn ang="3cd4">
                <a:pos x="hc" y="t"/>
              </a:cxn>
              <a:cxn ang="cd2">
                <a:pos x="l" y="vc"/>
              </a:cxn>
              <a:cxn ang="cd4">
                <a:pos x="hc" y="b"/>
              </a:cxn>
              <a:cxn ang="0">
                <a:pos x="r" y="vc"/>
              </a:cxn>
            </a:cxnLst>
            <a:rect l="l" t="t" r="r" b="b"/>
            <a:pathLst>
              <a:path w="4502" h="4502">
                <a:moveTo>
                  <a:pt x="95" y="4438"/>
                </a:moveTo>
                <a:cubicBezTo>
                  <a:pt x="127" y="4454"/>
                  <a:pt x="159" y="4454"/>
                  <a:pt x="175" y="4454"/>
                </a:cubicBezTo>
                <a:lnTo>
                  <a:pt x="1050" y="4168"/>
                </a:lnTo>
                <a:cubicBezTo>
                  <a:pt x="1416" y="4391"/>
                  <a:pt x="1830" y="4502"/>
                  <a:pt x="2243" y="4502"/>
                </a:cubicBezTo>
                <a:cubicBezTo>
                  <a:pt x="3484" y="4502"/>
                  <a:pt x="4502" y="3500"/>
                  <a:pt x="4502" y="2259"/>
                </a:cubicBezTo>
                <a:cubicBezTo>
                  <a:pt x="4502" y="1018"/>
                  <a:pt x="3484" y="0"/>
                  <a:pt x="2243" y="0"/>
                </a:cubicBezTo>
                <a:cubicBezTo>
                  <a:pt x="1002" y="0"/>
                  <a:pt x="0" y="1018"/>
                  <a:pt x="0" y="2259"/>
                </a:cubicBezTo>
                <a:cubicBezTo>
                  <a:pt x="0" y="2704"/>
                  <a:pt x="127" y="3118"/>
                  <a:pt x="366" y="3483"/>
                </a:cubicBezTo>
                <a:lnTo>
                  <a:pt x="80" y="4343"/>
                </a:lnTo>
                <a:cubicBezTo>
                  <a:pt x="80" y="4374"/>
                  <a:pt x="80" y="4407"/>
                  <a:pt x="95" y="4438"/>
                </a:cubicBezTo>
                <a:close/>
                <a:moveTo>
                  <a:pt x="525" y="3500"/>
                </a:moveTo>
                <a:cubicBezTo>
                  <a:pt x="525" y="3483"/>
                  <a:pt x="525" y="3452"/>
                  <a:pt x="509" y="3436"/>
                </a:cubicBezTo>
                <a:cubicBezTo>
                  <a:pt x="271" y="3086"/>
                  <a:pt x="159" y="2672"/>
                  <a:pt x="159" y="2259"/>
                </a:cubicBezTo>
                <a:cubicBezTo>
                  <a:pt x="159" y="1097"/>
                  <a:pt x="1098" y="158"/>
                  <a:pt x="2243" y="158"/>
                </a:cubicBezTo>
                <a:cubicBezTo>
                  <a:pt x="3405" y="158"/>
                  <a:pt x="4344" y="1097"/>
                  <a:pt x="4344" y="2259"/>
                </a:cubicBezTo>
                <a:cubicBezTo>
                  <a:pt x="4344" y="3404"/>
                  <a:pt x="3405" y="4343"/>
                  <a:pt x="2243" y="4343"/>
                </a:cubicBezTo>
                <a:cubicBezTo>
                  <a:pt x="1845" y="4343"/>
                  <a:pt x="1448" y="4231"/>
                  <a:pt x="1098" y="4009"/>
                </a:cubicBezTo>
                <a:cubicBezTo>
                  <a:pt x="1087" y="4004"/>
                  <a:pt x="1082" y="3993"/>
                  <a:pt x="1066" y="3993"/>
                </a:cubicBezTo>
                <a:cubicBezTo>
                  <a:pt x="1050" y="3993"/>
                  <a:pt x="1034" y="4009"/>
                  <a:pt x="1018" y="4009"/>
                </a:cubicBezTo>
                <a:lnTo>
                  <a:pt x="286" y="4247"/>
                </a:lnTo>
                <a:close/>
                <a:moveTo>
                  <a:pt x="1273" y="2561"/>
                </a:moveTo>
                <a:cubicBezTo>
                  <a:pt x="1448" y="2561"/>
                  <a:pt x="1575" y="2418"/>
                  <a:pt x="1575" y="2259"/>
                </a:cubicBezTo>
                <a:cubicBezTo>
                  <a:pt x="1575" y="2100"/>
                  <a:pt x="1448" y="1956"/>
                  <a:pt x="1273" y="1956"/>
                </a:cubicBezTo>
                <a:cubicBezTo>
                  <a:pt x="1114" y="1956"/>
                  <a:pt x="971" y="2100"/>
                  <a:pt x="971" y="2259"/>
                </a:cubicBezTo>
                <a:cubicBezTo>
                  <a:pt x="971" y="2418"/>
                  <a:pt x="1114" y="2561"/>
                  <a:pt x="1273" y="2561"/>
                </a:cubicBezTo>
                <a:close/>
                <a:moveTo>
                  <a:pt x="1273" y="2115"/>
                </a:moveTo>
                <a:cubicBezTo>
                  <a:pt x="1352" y="2115"/>
                  <a:pt x="1416" y="2179"/>
                  <a:pt x="1416" y="2259"/>
                </a:cubicBezTo>
                <a:cubicBezTo>
                  <a:pt x="1416" y="2338"/>
                  <a:pt x="1352" y="2402"/>
                  <a:pt x="1273" y="2402"/>
                </a:cubicBezTo>
                <a:cubicBezTo>
                  <a:pt x="1193" y="2402"/>
                  <a:pt x="1130" y="2338"/>
                  <a:pt x="1130" y="2259"/>
                </a:cubicBezTo>
                <a:cubicBezTo>
                  <a:pt x="1130" y="2179"/>
                  <a:pt x="1193" y="2115"/>
                  <a:pt x="1273" y="2115"/>
                </a:cubicBezTo>
                <a:close/>
                <a:moveTo>
                  <a:pt x="2211" y="2561"/>
                </a:moveTo>
                <a:cubicBezTo>
                  <a:pt x="2371" y="2561"/>
                  <a:pt x="2498" y="2418"/>
                  <a:pt x="2498" y="2259"/>
                </a:cubicBezTo>
                <a:cubicBezTo>
                  <a:pt x="2498" y="2100"/>
                  <a:pt x="2371" y="1956"/>
                  <a:pt x="2211" y="1956"/>
                </a:cubicBezTo>
                <a:cubicBezTo>
                  <a:pt x="2036" y="1956"/>
                  <a:pt x="1909" y="2100"/>
                  <a:pt x="1909" y="2259"/>
                </a:cubicBezTo>
                <a:cubicBezTo>
                  <a:pt x="1909" y="2418"/>
                  <a:pt x="2036" y="2561"/>
                  <a:pt x="2211" y="2561"/>
                </a:cubicBezTo>
                <a:close/>
                <a:moveTo>
                  <a:pt x="2211" y="2115"/>
                </a:moveTo>
                <a:cubicBezTo>
                  <a:pt x="2275" y="2115"/>
                  <a:pt x="2339" y="2179"/>
                  <a:pt x="2339" y="2259"/>
                </a:cubicBezTo>
                <a:cubicBezTo>
                  <a:pt x="2339" y="2338"/>
                  <a:pt x="2275" y="2402"/>
                  <a:pt x="2211" y="2402"/>
                </a:cubicBezTo>
                <a:cubicBezTo>
                  <a:pt x="2132" y="2402"/>
                  <a:pt x="2068" y="2338"/>
                  <a:pt x="2068" y="2259"/>
                </a:cubicBezTo>
                <a:cubicBezTo>
                  <a:pt x="2068" y="2179"/>
                  <a:pt x="2132" y="2115"/>
                  <a:pt x="2211" y="2115"/>
                </a:cubicBezTo>
                <a:close/>
                <a:moveTo>
                  <a:pt x="3134" y="2561"/>
                </a:moveTo>
                <a:cubicBezTo>
                  <a:pt x="3293" y="2561"/>
                  <a:pt x="3436" y="2418"/>
                  <a:pt x="3436" y="2259"/>
                </a:cubicBezTo>
                <a:cubicBezTo>
                  <a:pt x="3436" y="2100"/>
                  <a:pt x="3293" y="1956"/>
                  <a:pt x="3134" y="1956"/>
                </a:cubicBezTo>
                <a:cubicBezTo>
                  <a:pt x="2959" y="1956"/>
                  <a:pt x="2832" y="2100"/>
                  <a:pt x="2832" y="2259"/>
                </a:cubicBezTo>
                <a:cubicBezTo>
                  <a:pt x="2832" y="2418"/>
                  <a:pt x="2959" y="2561"/>
                  <a:pt x="3134" y="2561"/>
                </a:cubicBezTo>
                <a:close/>
                <a:moveTo>
                  <a:pt x="3134" y="2115"/>
                </a:moveTo>
                <a:cubicBezTo>
                  <a:pt x="3214" y="2115"/>
                  <a:pt x="3277" y="2179"/>
                  <a:pt x="3277" y="2259"/>
                </a:cubicBezTo>
                <a:cubicBezTo>
                  <a:pt x="3277" y="2338"/>
                  <a:pt x="3214" y="2402"/>
                  <a:pt x="3134" y="2402"/>
                </a:cubicBezTo>
                <a:cubicBezTo>
                  <a:pt x="3054" y="2402"/>
                  <a:pt x="2991" y="2338"/>
                  <a:pt x="2991" y="2259"/>
                </a:cubicBezTo>
                <a:cubicBezTo>
                  <a:pt x="2991" y="2179"/>
                  <a:pt x="3054" y="2115"/>
                  <a:pt x="3134" y="211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2" name="Freeform: Shape 5">
            <a:extLst>
              <a:ext uri="{FF2B5EF4-FFF2-40B4-BE49-F238E27FC236}">
                <a16:creationId xmlns:a16="http://schemas.microsoft.com/office/drawing/2014/main" id="{BCE71ED2-A7F8-8643-8EE4-1EBF00DC5221}"/>
              </a:ext>
            </a:extLst>
          </p:cNvPr>
          <p:cNvSpPr/>
          <p:nvPr/>
        </p:nvSpPr>
        <p:spPr>
          <a:xfrm>
            <a:off x="14012260" y="3227664"/>
            <a:ext cx="1620720" cy="1620360"/>
          </a:xfrm>
          <a:custGeom>
            <a:avLst/>
            <a:gdLst/>
            <a:ahLst/>
            <a:cxnLst>
              <a:cxn ang="3cd4">
                <a:pos x="hc" y="t"/>
              </a:cxn>
              <a:cxn ang="cd2">
                <a:pos x="l" y="vc"/>
              </a:cxn>
              <a:cxn ang="cd4">
                <a:pos x="hc" y="b"/>
              </a:cxn>
              <a:cxn ang="0">
                <a:pos x="r" y="vc"/>
              </a:cxn>
            </a:cxnLst>
            <a:rect l="l" t="t" r="r" b="b"/>
            <a:pathLst>
              <a:path w="4503" h="4502">
                <a:moveTo>
                  <a:pt x="2260" y="0"/>
                </a:moveTo>
                <a:cubicBezTo>
                  <a:pt x="1018" y="0"/>
                  <a:pt x="0" y="1018"/>
                  <a:pt x="0" y="2259"/>
                </a:cubicBezTo>
                <a:cubicBezTo>
                  <a:pt x="0" y="2688"/>
                  <a:pt x="127" y="3118"/>
                  <a:pt x="366" y="3484"/>
                </a:cubicBezTo>
                <a:cubicBezTo>
                  <a:pt x="96" y="4343"/>
                  <a:pt x="96" y="4343"/>
                  <a:pt x="96" y="4343"/>
                </a:cubicBezTo>
                <a:cubicBezTo>
                  <a:pt x="80" y="4375"/>
                  <a:pt x="96" y="4407"/>
                  <a:pt x="112" y="4423"/>
                </a:cubicBezTo>
                <a:cubicBezTo>
                  <a:pt x="127" y="4454"/>
                  <a:pt x="160" y="4454"/>
                  <a:pt x="191" y="4454"/>
                </a:cubicBezTo>
                <a:cubicBezTo>
                  <a:pt x="1066" y="4168"/>
                  <a:pt x="1066" y="4168"/>
                  <a:pt x="1066" y="4168"/>
                </a:cubicBezTo>
                <a:cubicBezTo>
                  <a:pt x="1417" y="4391"/>
                  <a:pt x="1830" y="4502"/>
                  <a:pt x="2260" y="4502"/>
                </a:cubicBezTo>
                <a:cubicBezTo>
                  <a:pt x="3500" y="4502"/>
                  <a:pt x="4503" y="3500"/>
                  <a:pt x="4503" y="2259"/>
                </a:cubicBezTo>
                <a:cubicBezTo>
                  <a:pt x="4503" y="1018"/>
                  <a:pt x="3500" y="0"/>
                  <a:pt x="2260" y="0"/>
                </a:cubicBezTo>
                <a:close/>
                <a:moveTo>
                  <a:pt x="2260" y="4343"/>
                </a:moveTo>
                <a:cubicBezTo>
                  <a:pt x="1846" y="4343"/>
                  <a:pt x="1448" y="4232"/>
                  <a:pt x="1114" y="4009"/>
                </a:cubicBezTo>
                <a:cubicBezTo>
                  <a:pt x="1098" y="3993"/>
                  <a:pt x="1082" y="3993"/>
                  <a:pt x="1066" y="3993"/>
                </a:cubicBezTo>
                <a:cubicBezTo>
                  <a:pt x="1066" y="3993"/>
                  <a:pt x="1050" y="3993"/>
                  <a:pt x="1035" y="4009"/>
                </a:cubicBezTo>
                <a:cubicBezTo>
                  <a:pt x="287" y="4248"/>
                  <a:pt x="287" y="4248"/>
                  <a:pt x="287" y="4248"/>
                </a:cubicBezTo>
                <a:cubicBezTo>
                  <a:pt x="526" y="3500"/>
                  <a:pt x="526" y="3500"/>
                  <a:pt x="526" y="3500"/>
                </a:cubicBezTo>
                <a:cubicBezTo>
                  <a:pt x="541" y="3468"/>
                  <a:pt x="541" y="3452"/>
                  <a:pt x="526" y="3436"/>
                </a:cubicBezTo>
                <a:cubicBezTo>
                  <a:pt x="287" y="3086"/>
                  <a:pt x="160" y="2673"/>
                  <a:pt x="160" y="2259"/>
                </a:cubicBezTo>
                <a:cubicBezTo>
                  <a:pt x="160" y="1097"/>
                  <a:pt x="1098" y="159"/>
                  <a:pt x="2260" y="159"/>
                </a:cubicBezTo>
                <a:cubicBezTo>
                  <a:pt x="3405" y="159"/>
                  <a:pt x="4344" y="1097"/>
                  <a:pt x="4344" y="2259"/>
                </a:cubicBezTo>
                <a:cubicBezTo>
                  <a:pt x="4344" y="3405"/>
                  <a:pt x="3405" y="4343"/>
                  <a:pt x="2260" y="434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3" name="Freeform: Shape 6">
            <a:extLst>
              <a:ext uri="{FF2B5EF4-FFF2-40B4-BE49-F238E27FC236}">
                <a16:creationId xmlns:a16="http://schemas.microsoft.com/office/drawing/2014/main" id="{7FDCF1B3-7EC3-EF4B-B197-9FAC424D583A}"/>
              </a:ext>
            </a:extLst>
          </p:cNvPr>
          <p:cNvSpPr/>
          <p:nvPr/>
        </p:nvSpPr>
        <p:spPr>
          <a:xfrm>
            <a:off x="17452970" y="3307801"/>
            <a:ext cx="1706400" cy="1534680"/>
          </a:xfrm>
          <a:custGeom>
            <a:avLst/>
            <a:gdLst/>
            <a:ahLst/>
            <a:cxnLst>
              <a:cxn ang="3cd4">
                <a:pos x="hc" y="t"/>
              </a:cxn>
              <a:cxn ang="cd2">
                <a:pos x="l" y="vc"/>
              </a:cxn>
              <a:cxn ang="cd4">
                <a:pos x="hc" y="b"/>
              </a:cxn>
              <a:cxn ang="0">
                <a:pos x="r" y="vc"/>
              </a:cxn>
            </a:cxnLst>
            <a:rect l="l" t="t" r="r" b="b"/>
            <a:pathLst>
              <a:path w="4741" h="4264">
                <a:moveTo>
                  <a:pt x="3166" y="891"/>
                </a:moveTo>
                <a:cubicBezTo>
                  <a:pt x="2880" y="350"/>
                  <a:pt x="2307" y="0"/>
                  <a:pt x="1686" y="0"/>
                </a:cubicBezTo>
                <a:cubicBezTo>
                  <a:pt x="763" y="0"/>
                  <a:pt x="0" y="763"/>
                  <a:pt x="0" y="1686"/>
                </a:cubicBezTo>
                <a:cubicBezTo>
                  <a:pt x="0" y="2004"/>
                  <a:pt x="95" y="2322"/>
                  <a:pt x="270" y="2593"/>
                </a:cubicBezTo>
                <a:cubicBezTo>
                  <a:pt x="63" y="3229"/>
                  <a:pt x="63" y="3229"/>
                  <a:pt x="63" y="3229"/>
                </a:cubicBezTo>
                <a:cubicBezTo>
                  <a:pt x="63" y="3245"/>
                  <a:pt x="63" y="3277"/>
                  <a:pt x="80" y="3309"/>
                </a:cubicBezTo>
                <a:cubicBezTo>
                  <a:pt x="111" y="3325"/>
                  <a:pt x="143" y="3341"/>
                  <a:pt x="159" y="3325"/>
                </a:cubicBezTo>
                <a:cubicBezTo>
                  <a:pt x="795" y="3118"/>
                  <a:pt x="795" y="3118"/>
                  <a:pt x="795" y="3118"/>
                </a:cubicBezTo>
                <a:cubicBezTo>
                  <a:pt x="1034" y="3261"/>
                  <a:pt x="1289" y="3341"/>
                  <a:pt x="1559" y="3356"/>
                </a:cubicBezTo>
                <a:cubicBezTo>
                  <a:pt x="1845" y="3898"/>
                  <a:pt x="2402" y="4264"/>
                  <a:pt x="3054" y="4264"/>
                </a:cubicBezTo>
                <a:cubicBezTo>
                  <a:pt x="3357" y="4264"/>
                  <a:pt x="3659" y="4168"/>
                  <a:pt x="3929" y="4009"/>
                </a:cubicBezTo>
                <a:cubicBezTo>
                  <a:pt x="4566" y="4216"/>
                  <a:pt x="4566" y="4216"/>
                  <a:pt x="4566" y="4216"/>
                </a:cubicBezTo>
                <a:cubicBezTo>
                  <a:pt x="4598" y="4216"/>
                  <a:pt x="4630" y="4216"/>
                  <a:pt x="4645" y="4200"/>
                </a:cubicBezTo>
                <a:cubicBezTo>
                  <a:pt x="4677" y="4168"/>
                  <a:pt x="4677" y="4136"/>
                  <a:pt x="4662" y="4120"/>
                </a:cubicBezTo>
                <a:cubicBezTo>
                  <a:pt x="4471" y="3484"/>
                  <a:pt x="4471" y="3484"/>
                  <a:pt x="4471" y="3484"/>
                </a:cubicBezTo>
                <a:cubicBezTo>
                  <a:pt x="4645" y="3213"/>
                  <a:pt x="4741" y="2895"/>
                  <a:pt x="4741" y="2577"/>
                </a:cubicBezTo>
                <a:cubicBezTo>
                  <a:pt x="4741" y="1686"/>
                  <a:pt x="4041" y="954"/>
                  <a:pt x="3166" y="891"/>
                </a:cubicBezTo>
                <a:close/>
                <a:moveTo>
                  <a:pt x="859" y="2959"/>
                </a:moveTo>
                <a:cubicBezTo>
                  <a:pt x="827" y="2943"/>
                  <a:pt x="795" y="2943"/>
                  <a:pt x="780" y="2959"/>
                </a:cubicBezTo>
                <a:cubicBezTo>
                  <a:pt x="270" y="3118"/>
                  <a:pt x="270" y="3118"/>
                  <a:pt x="270" y="3118"/>
                </a:cubicBezTo>
                <a:cubicBezTo>
                  <a:pt x="429" y="2609"/>
                  <a:pt x="429" y="2609"/>
                  <a:pt x="429" y="2609"/>
                </a:cubicBezTo>
                <a:cubicBezTo>
                  <a:pt x="445" y="2593"/>
                  <a:pt x="429" y="2561"/>
                  <a:pt x="429" y="2545"/>
                </a:cubicBezTo>
                <a:cubicBezTo>
                  <a:pt x="254" y="2291"/>
                  <a:pt x="159" y="1988"/>
                  <a:pt x="159" y="1686"/>
                </a:cubicBezTo>
                <a:cubicBezTo>
                  <a:pt x="159" y="843"/>
                  <a:pt x="843" y="159"/>
                  <a:pt x="1686" y="159"/>
                </a:cubicBezTo>
                <a:cubicBezTo>
                  <a:pt x="2227" y="159"/>
                  <a:pt x="2705" y="429"/>
                  <a:pt x="2991" y="891"/>
                </a:cubicBezTo>
                <a:cubicBezTo>
                  <a:pt x="2084" y="922"/>
                  <a:pt x="1368" y="1670"/>
                  <a:pt x="1368" y="2577"/>
                </a:cubicBezTo>
                <a:cubicBezTo>
                  <a:pt x="1368" y="2800"/>
                  <a:pt x="1415" y="3007"/>
                  <a:pt x="1479" y="3198"/>
                </a:cubicBezTo>
                <a:cubicBezTo>
                  <a:pt x="1257" y="3165"/>
                  <a:pt x="1050" y="3086"/>
                  <a:pt x="859" y="2959"/>
                </a:cubicBezTo>
                <a:close/>
                <a:moveTo>
                  <a:pt x="4296" y="3500"/>
                </a:moveTo>
                <a:cubicBezTo>
                  <a:pt x="4471" y="4009"/>
                  <a:pt x="4471" y="4009"/>
                  <a:pt x="4471" y="4009"/>
                </a:cubicBezTo>
                <a:cubicBezTo>
                  <a:pt x="3962" y="3850"/>
                  <a:pt x="3962" y="3850"/>
                  <a:pt x="3962" y="3850"/>
                </a:cubicBezTo>
                <a:cubicBezTo>
                  <a:pt x="3945" y="3834"/>
                  <a:pt x="3914" y="3834"/>
                  <a:pt x="3882" y="3850"/>
                </a:cubicBezTo>
                <a:cubicBezTo>
                  <a:pt x="3627" y="4009"/>
                  <a:pt x="3341" y="4104"/>
                  <a:pt x="3054" y="4104"/>
                </a:cubicBezTo>
                <a:cubicBezTo>
                  <a:pt x="2211" y="4104"/>
                  <a:pt x="1527" y="3420"/>
                  <a:pt x="1527" y="2577"/>
                </a:cubicBezTo>
                <a:cubicBezTo>
                  <a:pt x="1527" y="1734"/>
                  <a:pt x="2211" y="1050"/>
                  <a:pt x="3054" y="1050"/>
                </a:cubicBezTo>
                <a:cubicBezTo>
                  <a:pt x="3898" y="1050"/>
                  <a:pt x="4582" y="1734"/>
                  <a:pt x="4582" y="2577"/>
                </a:cubicBezTo>
                <a:cubicBezTo>
                  <a:pt x="4582" y="2879"/>
                  <a:pt x="4486" y="3182"/>
                  <a:pt x="4311" y="3436"/>
                </a:cubicBezTo>
                <a:cubicBezTo>
                  <a:pt x="4296" y="3452"/>
                  <a:pt x="4296" y="3484"/>
                  <a:pt x="4296" y="350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4" name="Freeform: Shape 7">
            <a:extLst>
              <a:ext uri="{FF2B5EF4-FFF2-40B4-BE49-F238E27FC236}">
                <a16:creationId xmlns:a16="http://schemas.microsoft.com/office/drawing/2014/main" id="{722AE722-2A10-4C4A-A0BB-80622B5609E4}"/>
              </a:ext>
            </a:extLst>
          </p:cNvPr>
          <p:cNvSpPr/>
          <p:nvPr/>
        </p:nvSpPr>
        <p:spPr>
          <a:xfrm>
            <a:off x="21315662" y="3267624"/>
            <a:ext cx="1620360" cy="1620720"/>
          </a:xfrm>
          <a:custGeom>
            <a:avLst/>
            <a:gdLst/>
            <a:ahLst/>
            <a:cxnLst>
              <a:cxn ang="3cd4">
                <a:pos x="hc" y="t"/>
              </a:cxn>
              <a:cxn ang="cd2">
                <a:pos x="l" y="vc"/>
              </a:cxn>
              <a:cxn ang="cd4">
                <a:pos x="hc" y="b"/>
              </a:cxn>
              <a:cxn ang="0">
                <a:pos x="r" y="vc"/>
              </a:cxn>
            </a:cxnLst>
            <a:rect l="l" t="t" r="r" b="b"/>
            <a:pathLst>
              <a:path w="4502" h="4503">
                <a:moveTo>
                  <a:pt x="111" y="4423"/>
                </a:moveTo>
                <a:cubicBezTo>
                  <a:pt x="127" y="4455"/>
                  <a:pt x="159" y="4455"/>
                  <a:pt x="190" y="4455"/>
                </a:cubicBezTo>
                <a:lnTo>
                  <a:pt x="1066" y="4168"/>
                </a:lnTo>
                <a:cubicBezTo>
                  <a:pt x="1416" y="4391"/>
                  <a:pt x="1829" y="4503"/>
                  <a:pt x="2259" y="4503"/>
                </a:cubicBezTo>
                <a:cubicBezTo>
                  <a:pt x="3500" y="4503"/>
                  <a:pt x="4502" y="3500"/>
                  <a:pt x="4502" y="2259"/>
                </a:cubicBezTo>
                <a:cubicBezTo>
                  <a:pt x="4502" y="1018"/>
                  <a:pt x="3500" y="0"/>
                  <a:pt x="2259" y="0"/>
                </a:cubicBezTo>
                <a:cubicBezTo>
                  <a:pt x="1018" y="0"/>
                  <a:pt x="0" y="1018"/>
                  <a:pt x="0" y="2259"/>
                </a:cubicBezTo>
                <a:cubicBezTo>
                  <a:pt x="0" y="2689"/>
                  <a:pt x="127" y="3119"/>
                  <a:pt x="366" y="3485"/>
                </a:cubicBezTo>
                <a:lnTo>
                  <a:pt x="95" y="4343"/>
                </a:lnTo>
                <a:cubicBezTo>
                  <a:pt x="80" y="4376"/>
                  <a:pt x="95" y="4407"/>
                  <a:pt x="111" y="4423"/>
                </a:cubicBezTo>
                <a:close/>
                <a:moveTo>
                  <a:pt x="525" y="3500"/>
                </a:moveTo>
                <a:cubicBezTo>
                  <a:pt x="541" y="3468"/>
                  <a:pt x="541" y="3452"/>
                  <a:pt x="525" y="3437"/>
                </a:cubicBezTo>
                <a:cubicBezTo>
                  <a:pt x="286" y="3086"/>
                  <a:pt x="159" y="2673"/>
                  <a:pt x="159" y="2259"/>
                </a:cubicBezTo>
                <a:cubicBezTo>
                  <a:pt x="159" y="1098"/>
                  <a:pt x="1098" y="159"/>
                  <a:pt x="2259" y="159"/>
                </a:cubicBezTo>
                <a:cubicBezTo>
                  <a:pt x="3405" y="159"/>
                  <a:pt x="4343" y="1098"/>
                  <a:pt x="4343" y="2259"/>
                </a:cubicBezTo>
                <a:cubicBezTo>
                  <a:pt x="4343" y="3405"/>
                  <a:pt x="3405" y="4343"/>
                  <a:pt x="2259" y="4343"/>
                </a:cubicBezTo>
                <a:cubicBezTo>
                  <a:pt x="1845" y="4343"/>
                  <a:pt x="1448" y="4232"/>
                  <a:pt x="1114" y="4009"/>
                </a:cubicBezTo>
                <a:cubicBezTo>
                  <a:pt x="1098" y="4009"/>
                  <a:pt x="1081" y="3994"/>
                  <a:pt x="1066" y="3994"/>
                </a:cubicBezTo>
                <a:cubicBezTo>
                  <a:pt x="1050" y="3994"/>
                  <a:pt x="1050" y="4009"/>
                  <a:pt x="1034" y="4009"/>
                </a:cubicBezTo>
                <a:lnTo>
                  <a:pt x="286" y="4248"/>
                </a:lnTo>
                <a:close/>
                <a:moveTo>
                  <a:pt x="3898" y="2259"/>
                </a:moveTo>
                <a:cubicBezTo>
                  <a:pt x="3898" y="2212"/>
                  <a:pt x="3866" y="2180"/>
                  <a:pt x="3818" y="2180"/>
                </a:cubicBezTo>
                <a:lnTo>
                  <a:pt x="636" y="2180"/>
                </a:lnTo>
                <a:cubicBezTo>
                  <a:pt x="589" y="2180"/>
                  <a:pt x="557" y="2212"/>
                  <a:pt x="557" y="2259"/>
                </a:cubicBezTo>
                <a:cubicBezTo>
                  <a:pt x="557" y="2307"/>
                  <a:pt x="589" y="2339"/>
                  <a:pt x="636" y="2339"/>
                </a:cubicBezTo>
                <a:lnTo>
                  <a:pt x="3818" y="2339"/>
                </a:lnTo>
                <a:cubicBezTo>
                  <a:pt x="3866" y="2339"/>
                  <a:pt x="3898" y="2307"/>
                  <a:pt x="3898" y="2259"/>
                </a:cubicBezTo>
                <a:close/>
                <a:moveTo>
                  <a:pt x="3754" y="2943"/>
                </a:moveTo>
                <a:cubicBezTo>
                  <a:pt x="3754" y="2896"/>
                  <a:pt x="3723" y="2864"/>
                  <a:pt x="3675" y="2864"/>
                </a:cubicBezTo>
                <a:lnTo>
                  <a:pt x="763" y="2864"/>
                </a:lnTo>
                <a:cubicBezTo>
                  <a:pt x="732" y="2864"/>
                  <a:pt x="684" y="2896"/>
                  <a:pt x="684" y="2943"/>
                </a:cubicBezTo>
                <a:cubicBezTo>
                  <a:pt x="684" y="2991"/>
                  <a:pt x="732" y="3023"/>
                  <a:pt x="763" y="3023"/>
                </a:cubicBezTo>
                <a:lnTo>
                  <a:pt x="3675" y="3023"/>
                </a:lnTo>
                <a:cubicBezTo>
                  <a:pt x="3723" y="3023"/>
                  <a:pt x="3754" y="2991"/>
                  <a:pt x="3754" y="2943"/>
                </a:cubicBezTo>
                <a:close/>
                <a:moveTo>
                  <a:pt x="763" y="1671"/>
                </a:moveTo>
                <a:lnTo>
                  <a:pt x="3675" y="1671"/>
                </a:lnTo>
                <a:cubicBezTo>
                  <a:pt x="3723" y="1671"/>
                  <a:pt x="3754" y="1623"/>
                  <a:pt x="3754" y="1591"/>
                </a:cubicBezTo>
                <a:cubicBezTo>
                  <a:pt x="3754" y="1543"/>
                  <a:pt x="3723" y="1512"/>
                  <a:pt x="3675" y="1512"/>
                </a:cubicBezTo>
                <a:lnTo>
                  <a:pt x="763" y="1512"/>
                </a:lnTo>
                <a:cubicBezTo>
                  <a:pt x="732" y="1512"/>
                  <a:pt x="684" y="1543"/>
                  <a:pt x="684" y="1591"/>
                </a:cubicBezTo>
                <a:cubicBezTo>
                  <a:pt x="684" y="1623"/>
                  <a:pt x="732" y="1671"/>
                  <a:pt x="763" y="167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5" name="Freeform: Shape 8">
            <a:extLst>
              <a:ext uri="{FF2B5EF4-FFF2-40B4-BE49-F238E27FC236}">
                <a16:creationId xmlns:a16="http://schemas.microsoft.com/office/drawing/2014/main" id="{5DE7F0FB-EF31-0F4D-A7C4-77B578A9EE3A}"/>
              </a:ext>
            </a:extLst>
          </p:cNvPr>
          <p:cNvSpPr/>
          <p:nvPr/>
        </p:nvSpPr>
        <p:spPr>
          <a:xfrm>
            <a:off x="1870397" y="6193993"/>
            <a:ext cx="1620720" cy="1620360"/>
          </a:xfrm>
          <a:custGeom>
            <a:avLst/>
            <a:gdLst/>
            <a:ahLst/>
            <a:cxnLst>
              <a:cxn ang="3cd4">
                <a:pos x="hc" y="t"/>
              </a:cxn>
              <a:cxn ang="cd2">
                <a:pos x="l" y="vc"/>
              </a:cxn>
              <a:cxn ang="cd4">
                <a:pos x="hc" y="b"/>
              </a:cxn>
              <a:cxn ang="0">
                <a:pos x="r" y="vc"/>
              </a:cxn>
            </a:cxnLst>
            <a:rect l="l" t="t" r="r" b="b"/>
            <a:pathLst>
              <a:path w="4503" h="4502">
                <a:moveTo>
                  <a:pt x="0" y="2259"/>
                </a:moveTo>
                <a:cubicBezTo>
                  <a:pt x="0" y="3500"/>
                  <a:pt x="1003" y="4502"/>
                  <a:pt x="2243" y="4502"/>
                </a:cubicBezTo>
                <a:cubicBezTo>
                  <a:pt x="3485" y="4502"/>
                  <a:pt x="4503" y="3500"/>
                  <a:pt x="4503" y="2259"/>
                </a:cubicBezTo>
                <a:cubicBezTo>
                  <a:pt x="4503" y="1018"/>
                  <a:pt x="3485" y="0"/>
                  <a:pt x="2243" y="0"/>
                </a:cubicBezTo>
                <a:cubicBezTo>
                  <a:pt x="1003" y="0"/>
                  <a:pt x="0" y="1018"/>
                  <a:pt x="0" y="2259"/>
                </a:cubicBezTo>
                <a:close/>
                <a:moveTo>
                  <a:pt x="4343" y="2259"/>
                </a:moveTo>
                <a:cubicBezTo>
                  <a:pt x="4343" y="3405"/>
                  <a:pt x="3405" y="4343"/>
                  <a:pt x="2243" y="4343"/>
                </a:cubicBezTo>
                <a:cubicBezTo>
                  <a:pt x="1098" y="4343"/>
                  <a:pt x="159" y="3405"/>
                  <a:pt x="159" y="2259"/>
                </a:cubicBezTo>
                <a:cubicBezTo>
                  <a:pt x="159" y="1097"/>
                  <a:pt x="1098" y="159"/>
                  <a:pt x="2243" y="159"/>
                </a:cubicBezTo>
                <a:cubicBezTo>
                  <a:pt x="3405" y="159"/>
                  <a:pt x="4343" y="1097"/>
                  <a:pt x="4343" y="2259"/>
                </a:cubicBezTo>
                <a:close/>
                <a:moveTo>
                  <a:pt x="1464" y="1368"/>
                </a:moveTo>
                <a:cubicBezTo>
                  <a:pt x="1448" y="1336"/>
                  <a:pt x="1384" y="1336"/>
                  <a:pt x="1352" y="1368"/>
                </a:cubicBezTo>
                <a:cubicBezTo>
                  <a:pt x="1321" y="1400"/>
                  <a:pt x="1321" y="1448"/>
                  <a:pt x="1352" y="1479"/>
                </a:cubicBezTo>
                <a:lnTo>
                  <a:pt x="2195" y="2323"/>
                </a:lnTo>
                <a:lnTo>
                  <a:pt x="2212" y="2323"/>
                </a:lnTo>
                <a:cubicBezTo>
                  <a:pt x="2218" y="2328"/>
                  <a:pt x="2212" y="2339"/>
                  <a:pt x="2228" y="2339"/>
                </a:cubicBezTo>
                <a:lnTo>
                  <a:pt x="2243" y="2339"/>
                </a:lnTo>
                <a:lnTo>
                  <a:pt x="2259" y="2339"/>
                </a:lnTo>
                <a:lnTo>
                  <a:pt x="2275" y="2339"/>
                </a:lnTo>
                <a:cubicBezTo>
                  <a:pt x="2291" y="2339"/>
                  <a:pt x="2286" y="2328"/>
                  <a:pt x="2291" y="2323"/>
                </a:cubicBezTo>
                <a:lnTo>
                  <a:pt x="3850" y="1448"/>
                </a:lnTo>
                <a:cubicBezTo>
                  <a:pt x="3882" y="1432"/>
                  <a:pt x="3898" y="1384"/>
                  <a:pt x="3882" y="1336"/>
                </a:cubicBezTo>
                <a:cubicBezTo>
                  <a:pt x="3850" y="1305"/>
                  <a:pt x="3803" y="1288"/>
                  <a:pt x="3771" y="1305"/>
                </a:cubicBezTo>
                <a:lnTo>
                  <a:pt x="2259" y="2163"/>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6" name="Freeform: Shape 9">
            <a:extLst>
              <a:ext uri="{FF2B5EF4-FFF2-40B4-BE49-F238E27FC236}">
                <a16:creationId xmlns:a16="http://schemas.microsoft.com/office/drawing/2014/main" id="{F916D99C-7543-BA4F-995B-0931B77B5897}"/>
              </a:ext>
            </a:extLst>
          </p:cNvPr>
          <p:cNvSpPr/>
          <p:nvPr/>
        </p:nvSpPr>
        <p:spPr>
          <a:xfrm>
            <a:off x="5953960" y="6195433"/>
            <a:ext cx="1596960" cy="1618920"/>
          </a:xfrm>
          <a:custGeom>
            <a:avLst/>
            <a:gdLst/>
            <a:ahLst/>
            <a:cxnLst>
              <a:cxn ang="3cd4">
                <a:pos x="hc" y="t"/>
              </a:cxn>
              <a:cxn ang="cd2">
                <a:pos x="l" y="vc"/>
              </a:cxn>
              <a:cxn ang="cd4">
                <a:pos x="hc" y="b"/>
              </a:cxn>
              <a:cxn ang="0">
                <a:pos x="r" y="vc"/>
              </a:cxn>
            </a:cxnLst>
            <a:rect l="l" t="t" r="r" b="b"/>
            <a:pathLst>
              <a:path w="4437" h="4498">
                <a:moveTo>
                  <a:pt x="2192" y="2701"/>
                </a:moveTo>
                <a:lnTo>
                  <a:pt x="2208" y="2701"/>
                </a:lnTo>
                <a:lnTo>
                  <a:pt x="2208" y="2716"/>
                </a:lnTo>
                <a:lnTo>
                  <a:pt x="2224" y="2716"/>
                </a:lnTo>
                <a:lnTo>
                  <a:pt x="2240" y="2716"/>
                </a:lnTo>
                <a:lnTo>
                  <a:pt x="2256" y="2716"/>
                </a:lnTo>
                <a:lnTo>
                  <a:pt x="2272" y="2716"/>
                </a:lnTo>
                <a:lnTo>
                  <a:pt x="2287" y="2716"/>
                </a:lnTo>
                <a:lnTo>
                  <a:pt x="3449" y="2112"/>
                </a:lnTo>
                <a:cubicBezTo>
                  <a:pt x="3481" y="2080"/>
                  <a:pt x="3497" y="2032"/>
                  <a:pt x="3481" y="2001"/>
                </a:cubicBezTo>
                <a:cubicBezTo>
                  <a:pt x="3465" y="1953"/>
                  <a:pt x="3417" y="1937"/>
                  <a:pt x="3369" y="1968"/>
                </a:cubicBezTo>
                <a:lnTo>
                  <a:pt x="2272" y="2541"/>
                </a:lnTo>
                <a:lnTo>
                  <a:pt x="1747" y="2016"/>
                </a:lnTo>
                <a:cubicBezTo>
                  <a:pt x="1715" y="2001"/>
                  <a:pt x="1667" y="2001"/>
                  <a:pt x="1635" y="2016"/>
                </a:cubicBezTo>
                <a:cubicBezTo>
                  <a:pt x="1603" y="2048"/>
                  <a:pt x="1603" y="2112"/>
                  <a:pt x="1635" y="2144"/>
                </a:cubicBezTo>
                <a:close/>
                <a:moveTo>
                  <a:pt x="27" y="791"/>
                </a:moveTo>
                <a:cubicBezTo>
                  <a:pt x="-36" y="1046"/>
                  <a:pt x="11" y="1301"/>
                  <a:pt x="155" y="1523"/>
                </a:cubicBezTo>
                <a:cubicBezTo>
                  <a:pt x="171" y="1539"/>
                  <a:pt x="186" y="1555"/>
                  <a:pt x="218" y="1555"/>
                </a:cubicBezTo>
                <a:cubicBezTo>
                  <a:pt x="218" y="1571"/>
                  <a:pt x="218" y="1571"/>
                  <a:pt x="234" y="1571"/>
                </a:cubicBezTo>
                <a:cubicBezTo>
                  <a:pt x="250" y="1571"/>
                  <a:pt x="266" y="1555"/>
                  <a:pt x="282" y="1555"/>
                </a:cubicBezTo>
                <a:cubicBezTo>
                  <a:pt x="282" y="1539"/>
                  <a:pt x="584" y="1316"/>
                  <a:pt x="966" y="1062"/>
                </a:cubicBezTo>
                <a:lnTo>
                  <a:pt x="1125" y="1284"/>
                </a:lnTo>
                <a:cubicBezTo>
                  <a:pt x="743" y="1602"/>
                  <a:pt x="489" y="2096"/>
                  <a:pt x="489" y="2637"/>
                </a:cubicBezTo>
                <a:cubicBezTo>
                  <a:pt x="489" y="3050"/>
                  <a:pt x="632" y="3432"/>
                  <a:pt x="871" y="3735"/>
                </a:cubicBezTo>
                <a:lnTo>
                  <a:pt x="409" y="4387"/>
                </a:lnTo>
                <a:cubicBezTo>
                  <a:pt x="377" y="4419"/>
                  <a:pt x="393" y="4466"/>
                  <a:pt x="425" y="4483"/>
                </a:cubicBezTo>
                <a:cubicBezTo>
                  <a:pt x="441" y="4498"/>
                  <a:pt x="457" y="4498"/>
                  <a:pt x="473" y="4498"/>
                </a:cubicBezTo>
                <a:cubicBezTo>
                  <a:pt x="505" y="4498"/>
                  <a:pt x="520" y="4498"/>
                  <a:pt x="537" y="4466"/>
                </a:cubicBezTo>
                <a:lnTo>
                  <a:pt x="982" y="3862"/>
                </a:lnTo>
                <a:cubicBezTo>
                  <a:pt x="1300" y="4196"/>
                  <a:pt x="1762" y="4419"/>
                  <a:pt x="2255" y="4419"/>
                </a:cubicBezTo>
                <a:cubicBezTo>
                  <a:pt x="2764" y="4419"/>
                  <a:pt x="3209" y="4196"/>
                  <a:pt x="3528" y="3862"/>
                </a:cubicBezTo>
                <a:lnTo>
                  <a:pt x="3973" y="4466"/>
                </a:lnTo>
                <a:cubicBezTo>
                  <a:pt x="3989" y="4498"/>
                  <a:pt x="4021" y="4498"/>
                  <a:pt x="4037" y="4498"/>
                </a:cubicBezTo>
                <a:cubicBezTo>
                  <a:pt x="4053" y="4498"/>
                  <a:pt x="4068" y="4498"/>
                  <a:pt x="4084" y="4483"/>
                </a:cubicBezTo>
                <a:cubicBezTo>
                  <a:pt x="4116" y="4466"/>
                  <a:pt x="4132" y="4419"/>
                  <a:pt x="4100" y="4387"/>
                </a:cubicBezTo>
                <a:lnTo>
                  <a:pt x="3639" y="3735"/>
                </a:lnTo>
                <a:cubicBezTo>
                  <a:pt x="3877" y="3432"/>
                  <a:pt x="4021" y="3050"/>
                  <a:pt x="4021" y="2637"/>
                </a:cubicBezTo>
                <a:cubicBezTo>
                  <a:pt x="4021" y="2096"/>
                  <a:pt x="3766" y="1602"/>
                  <a:pt x="3384" y="1284"/>
                </a:cubicBezTo>
                <a:lnTo>
                  <a:pt x="3511" y="1093"/>
                </a:lnTo>
                <a:cubicBezTo>
                  <a:pt x="3877" y="1332"/>
                  <a:pt x="4164" y="1539"/>
                  <a:pt x="4164" y="1555"/>
                </a:cubicBezTo>
                <a:cubicBezTo>
                  <a:pt x="4180" y="1555"/>
                  <a:pt x="4196" y="1571"/>
                  <a:pt x="4211" y="1571"/>
                </a:cubicBezTo>
                <a:cubicBezTo>
                  <a:pt x="4217" y="1566"/>
                  <a:pt x="4228" y="1571"/>
                  <a:pt x="4228" y="1555"/>
                </a:cubicBezTo>
                <a:cubicBezTo>
                  <a:pt x="4244" y="1555"/>
                  <a:pt x="4259" y="1539"/>
                  <a:pt x="4275" y="1523"/>
                </a:cubicBezTo>
                <a:cubicBezTo>
                  <a:pt x="4419" y="1301"/>
                  <a:pt x="4466" y="1046"/>
                  <a:pt x="4419" y="791"/>
                </a:cubicBezTo>
                <a:cubicBezTo>
                  <a:pt x="4355" y="521"/>
                  <a:pt x="4211" y="298"/>
                  <a:pt x="3989" y="155"/>
                </a:cubicBezTo>
                <a:cubicBezTo>
                  <a:pt x="3766" y="11"/>
                  <a:pt x="3496" y="-36"/>
                  <a:pt x="3241" y="28"/>
                </a:cubicBezTo>
                <a:cubicBezTo>
                  <a:pt x="2986" y="75"/>
                  <a:pt x="2764" y="234"/>
                  <a:pt x="2620" y="457"/>
                </a:cubicBezTo>
                <a:cubicBezTo>
                  <a:pt x="2605" y="473"/>
                  <a:pt x="2605" y="489"/>
                  <a:pt x="2605" y="521"/>
                </a:cubicBezTo>
                <a:cubicBezTo>
                  <a:pt x="2620" y="537"/>
                  <a:pt x="2637" y="553"/>
                  <a:pt x="2653" y="568"/>
                </a:cubicBezTo>
                <a:cubicBezTo>
                  <a:pt x="2897" y="717"/>
                  <a:pt x="2986" y="744"/>
                  <a:pt x="3384" y="1014"/>
                </a:cubicBezTo>
                <a:lnTo>
                  <a:pt x="3257" y="1189"/>
                </a:lnTo>
                <a:cubicBezTo>
                  <a:pt x="2971" y="982"/>
                  <a:pt x="2620" y="871"/>
                  <a:pt x="2255" y="871"/>
                </a:cubicBezTo>
                <a:cubicBezTo>
                  <a:pt x="1889" y="871"/>
                  <a:pt x="1539" y="982"/>
                  <a:pt x="1252" y="1189"/>
                </a:cubicBezTo>
                <a:lnTo>
                  <a:pt x="1109" y="982"/>
                </a:lnTo>
                <a:cubicBezTo>
                  <a:pt x="1475" y="728"/>
                  <a:pt x="1565" y="706"/>
                  <a:pt x="1793" y="568"/>
                </a:cubicBezTo>
                <a:cubicBezTo>
                  <a:pt x="1809" y="553"/>
                  <a:pt x="1825" y="537"/>
                  <a:pt x="1825" y="521"/>
                </a:cubicBezTo>
                <a:cubicBezTo>
                  <a:pt x="1841" y="489"/>
                  <a:pt x="1825" y="473"/>
                  <a:pt x="1825" y="457"/>
                </a:cubicBezTo>
                <a:cubicBezTo>
                  <a:pt x="1682" y="234"/>
                  <a:pt x="1459" y="75"/>
                  <a:pt x="1189" y="28"/>
                </a:cubicBezTo>
                <a:cubicBezTo>
                  <a:pt x="934" y="-36"/>
                  <a:pt x="680" y="11"/>
                  <a:pt x="457" y="155"/>
                </a:cubicBezTo>
                <a:cubicBezTo>
                  <a:pt x="234" y="298"/>
                  <a:pt x="75" y="521"/>
                  <a:pt x="27" y="791"/>
                </a:cubicBezTo>
                <a:close/>
                <a:moveTo>
                  <a:pt x="3273" y="171"/>
                </a:moveTo>
                <a:cubicBezTo>
                  <a:pt x="3496" y="139"/>
                  <a:pt x="3719" y="171"/>
                  <a:pt x="3893" y="298"/>
                </a:cubicBezTo>
                <a:cubicBezTo>
                  <a:pt x="4084" y="410"/>
                  <a:pt x="4211" y="600"/>
                  <a:pt x="4259" y="823"/>
                </a:cubicBezTo>
                <a:cubicBezTo>
                  <a:pt x="4307" y="998"/>
                  <a:pt x="4275" y="1205"/>
                  <a:pt x="4180" y="1364"/>
                </a:cubicBezTo>
                <a:cubicBezTo>
                  <a:pt x="4084" y="1284"/>
                  <a:pt x="3862" y="1125"/>
                  <a:pt x="3607" y="966"/>
                </a:cubicBezTo>
                <a:cubicBezTo>
                  <a:pt x="3607" y="934"/>
                  <a:pt x="3591" y="902"/>
                  <a:pt x="3575" y="887"/>
                </a:cubicBezTo>
                <a:cubicBezTo>
                  <a:pt x="3543" y="871"/>
                  <a:pt x="3511" y="871"/>
                  <a:pt x="3480" y="887"/>
                </a:cubicBezTo>
                <a:cubicBezTo>
                  <a:pt x="3193" y="696"/>
                  <a:pt x="2923" y="537"/>
                  <a:pt x="2811" y="473"/>
                </a:cubicBezTo>
                <a:cubicBezTo>
                  <a:pt x="2923" y="314"/>
                  <a:pt x="3082" y="219"/>
                  <a:pt x="3273" y="171"/>
                </a:cubicBezTo>
                <a:close/>
                <a:moveTo>
                  <a:pt x="3162" y="1316"/>
                </a:moveTo>
                <a:cubicBezTo>
                  <a:pt x="3162" y="1348"/>
                  <a:pt x="3162" y="1380"/>
                  <a:pt x="3193" y="1396"/>
                </a:cubicBezTo>
                <a:cubicBezTo>
                  <a:pt x="3209" y="1396"/>
                  <a:pt x="3225" y="1412"/>
                  <a:pt x="3241" y="1412"/>
                </a:cubicBezTo>
                <a:cubicBezTo>
                  <a:pt x="3257" y="1412"/>
                  <a:pt x="3273" y="1412"/>
                  <a:pt x="3273" y="1396"/>
                </a:cubicBezTo>
                <a:cubicBezTo>
                  <a:pt x="3639" y="1698"/>
                  <a:pt x="3862" y="2144"/>
                  <a:pt x="3862" y="2637"/>
                </a:cubicBezTo>
                <a:cubicBezTo>
                  <a:pt x="3862" y="3528"/>
                  <a:pt x="3146" y="4260"/>
                  <a:pt x="2255" y="4260"/>
                </a:cubicBezTo>
                <a:cubicBezTo>
                  <a:pt x="1364" y="4260"/>
                  <a:pt x="648" y="3528"/>
                  <a:pt x="648" y="2637"/>
                </a:cubicBezTo>
                <a:cubicBezTo>
                  <a:pt x="648" y="2144"/>
                  <a:pt x="871" y="1698"/>
                  <a:pt x="1237" y="1396"/>
                </a:cubicBezTo>
                <a:cubicBezTo>
                  <a:pt x="1252" y="1412"/>
                  <a:pt x="1252" y="1412"/>
                  <a:pt x="1268" y="1412"/>
                </a:cubicBezTo>
                <a:cubicBezTo>
                  <a:pt x="1284" y="1412"/>
                  <a:pt x="1300" y="1396"/>
                  <a:pt x="1316" y="1396"/>
                </a:cubicBezTo>
                <a:cubicBezTo>
                  <a:pt x="1348" y="1380"/>
                  <a:pt x="1348" y="1348"/>
                  <a:pt x="1348" y="1316"/>
                </a:cubicBezTo>
                <a:cubicBezTo>
                  <a:pt x="1602" y="1141"/>
                  <a:pt x="1920" y="1030"/>
                  <a:pt x="2255" y="1030"/>
                </a:cubicBezTo>
                <a:cubicBezTo>
                  <a:pt x="2589" y="1030"/>
                  <a:pt x="2907" y="1141"/>
                  <a:pt x="3162" y="1316"/>
                </a:cubicBezTo>
                <a:close/>
                <a:moveTo>
                  <a:pt x="537" y="298"/>
                </a:moveTo>
                <a:cubicBezTo>
                  <a:pt x="680" y="202"/>
                  <a:pt x="823" y="155"/>
                  <a:pt x="982" y="155"/>
                </a:cubicBezTo>
                <a:cubicBezTo>
                  <a:pt x="1046" y="155"/>
                  <a:pt x="1109" y="171"/>
                  <a:pt x="1157" y="171"/>
                </a:cubicBezTo>
                <a:cubicBezTo>
                  <a:pt x="1348" y="219"/>
                  <a:pt x="1523" y="314"/>
                  <a:pt x="1634" y="473"/>
                </a:cubicBezTo>
                <a:cubicBezTo>
                  <a:pt x="1507" y="537"/>
                  <a:pt x="1252" y="696"/>
                  <a:pt x="950" y="887"/>
                </a:cubicBezTo>
                <a:lnTo>
                  <a:pt x="934" y="887"/>
                </a:lnTo>
                <a:lnTo>
                  <a:pt x="934" y="902"/>
                </a:lnTo>
                <a:cubicBezTo>
                  <a:pt x="632" y="1093"/>
                  <a:pt x="377" y="1284"/>
                  <a:pt x="250" y="1364"/>
                </a:cubicBezTo>
                <a:cubicBezTo>
                  <a:pt x="171" y="1205"/>
                  <a:pt x="138" y="998"/>
                  <a:pt x="171" y="823"/>
                </a:cubicBezTo>
                <a:cubicBezTo>
                  <a:pt x="218" y="600"/>
                  <a:pt x="346" y="410"/>
                  <a:pt x="537" y="29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7" name="Freeform: Shape 10">
            <a:extLst>
              <a:ext uri="{FF2B5EF4-FFF2-40B4-BE49-F238E27FC236}">
                <a16:creationId xmlns:a16="http://schemas.microsoft.com/office/drawing/2014/main" id="{5835A67F-115C-1544-A88F-F57D99F926B5}"/>
              </a:ext>
            </a:extLst>
          </p:cNvPr>
          <p:cNvSpPr/>
          <p:nvPr/>
        </p:nvSpPr>
        <p:spPr>
          <a:xfrm>
            <a:off x="9922049" y="6193993"/>
            <a:ext cx="1889640" cy="1483559"/>
          </a:xfrm>
          <a:custGeom>
            <a:avLst/>
            <a:gdLst/>
            <a:ahLst/>
            <a:cxnLst>
              <a:cxn ang="3cd4">
                <a:pos x="hc" y="t"/>
              </a:cxn>
              <a:cxn ang="cd2">
                <a:pos x="l" y="vc"/>
              </a:cxn>
              <a:cxn ang="cd4">
                <a:pos x="hc" y="b"/>
              </a:cxn>
              <a:cxn ang="0">
                <a:pos x="r" y="vc"/>
              </a:cxn>
            </a:cxnLst>
            <a:rect l="l" t="t" r="r" b="b"/>
            <a:pathLst>
              <a:path w="5250" h="4122">
                <a:moveTo>
                  <a:pt x="4359" y="1590"/>
                </a:moveTo>
                <a:cubicBezTo>
                  <a:pt x="4344" y="1558"/>
                  <a:pt x="4296" y="1542"/>
                  <a:pt x="4249" y="1574"/>
                </a:cubicBezTo>
                <a:lnTo>
                  <a:pt x="3007" y="2305"/>
                </a:lnTo>
                <a:cubicBezTo>
                  <a:pt x="2912" y="2194"/>
                  <a:pt x="2785" y="2115"/>
                  <a:pt x="2625" y="2115"/>
                </a:cubicBezTo>
                <a:cubicBezTo>
                  <a:pt x="2355" y="2115"/>
                  <a:pt x="2116" y="2353"/>
                  <a:pt x="2116" y="2624"/>
                </a:cubicBezTo>
                <a:cubicBezTo>
                  <a:pt x="2116" y="2895"/>
                  <a:pt x="2355" y="3133"/>
                  <a:pt x="2625" y="3133"/>
                </a:cubicBezTo>
                <a:cubicBezTo>
                  <a:pt x="2896" y="3133"/>
                  <a:pt x="3135" y="2895"/>
                  <a:pt x="3135" y="2624"/>
                </a:cubicBezTo>
                <a:cubicBezTo>
                  <a:pt x="3135" y="2560"/>
                  <a:pt x="3119" y="2496"/>
                  <a:pt x="3087" y="2433"/>
                </a:cubicBezTo>
                <a:lnTo>
                  <a:pt x="4328" y="1701"/>
                </a:lnTo>
                <a:cubicBezTo>
                  <a:pt x="4376" y="1685"/>
                  <a:pt x="4376" y="1638"/>
                  <a:pt x="4359" y="1590"/>
                </a:cubicBezTo>
                <a:close/>
                <a:moveTo>
                  <a:pt x="2625" y="2974"/>
                </a:moveTo>
                <a:cubicBezTo>
                  <a:pt x="2435" y="2974"/>
                  <a:pt x="2276" y="2815"/>
                  <a:pt x="2276" y="2624"/>
                </a:cubicBezTo>
                <a:cubicBezTo>
                  <a:pt x="2276" y="2433"/>
                  <a:pt x="2435" y="2274"/>
                  <a:pt x="2625" y="2274"/>
                </a:cubicBezTo>
                <a:cubicBezTo>
                  <a:pt x="2816" y="2274"/>
                  <a:pt x="2976" y="2433"/>
                  <a:pt x="2976" y="2624"/>
                </a:cubicBezTo>
                <a:cubicBezTo>
                  <a:pt x="2976" y="2815"/>
                  <a:pt x="2816" y="2974"/>
                  <a:pt x="2625" y="2974"/>
                </a:cubicBezTo>
                <a:close/>
                <a:moveTo>
                  <a:pt x="4901" y="1320"/>
                </a:moveTo>
                <a:cubicBezTo>
                  <a:pt x="4901" y="1305"/>
                  <a:pt x="4901" y="1305"/>
                  <a:pt x="4885" y="1305"/>
                </a:cubicBezTo>
                <a:cubicBezTo>
                  <a:pt x="4662" y="923"/>
                  <a:pt x="4328" y="588"/>
                  <a:pt x="3946" y="366"/>
                </a:cubicBezTo>
                <a:cubicBezTo>
                  <a:pt x="3946" y="350"/>
                  <a:pt x="3946" y="350"/>
                  <a:pt x="3930" y="350"/>
                </a:cubicBezTo>
                <a:cubicBezTo>
                  <a:pt x="3548" y="127"/>
                  <a:pt x="3103" y="0"/>
                  <a:pt x="2625" y="0"/>
                </a:cubicBezTo>
                <a:cubicBezTo>
                  <a:pt x="2148" y="0"/>
                  <a:pt x="1703" y="127"/>
                  <a:pt x="1321" y="350"/>
                </a:cubicBezTo>
                <a:lnTo>
                  <a:pt x="1305" y="350"/>
                </a:lnTo>
                <a:cubicBezTo>
                  <a:pt x="923" y="588"/>
                  <a:pt x="589" y="923"/>
                  <a:pt x="350" y="1305"/>
                </a:cubicBezTo>
                <a:lnTo>
                  <a:pt x="350" y="1320"/>
                </a:lnTo>
                <a:cubicBezTo>
                  <a:pt x="128" y="1702"/>
                  <a:pt x="0" y="2148"/>
                  <a:pt x="0" y="2625"/>
                </a:cubicBezTo>
                <a:cubicBezTo>
                  <a:pt x="0" y="3150"/>
                  <a:pt x="159" y="3643"/>
                  <a:pt x="446" y="4088"/>
                </a:cubicBezTo>
                <a:cubicBezTo>
                  <a:pt x="462" y="4120"/>
                  <a:pt x="510" y="4136"/>
                  <a:pt x="557" y="4105"/>
                </a:cubicBezTo>
                <a:cubicBezTo>
                  <a:pt x="589" y="4073"/>
                  <a:pt x="605" y="4025"/>
                  <a:pt x="573" y="3993"/>
                </a:cubicBezTo>
                <a:cubicBezTo>
                  <a:pt x="557" y="3977"/>
                  <a:pt x="541" y="3945"/>
                  <a:pt x="525" y="3930"/>
                </a:cubicBezTo>
                <a:lnTo>
                  <a:pt x="732" y="3802"/>
                </a:lnTo>
                <a:cubicBezTo>
                  <a:pt x="780" y="3786"/>
                  <a:pt x="796" y="3739"/>
                  <a:pt x="764" y="3691"/>
                </a:cubicBezTo>
                <a:cubicBezTo>
                  <a:pt x="748" y="3659"/>
                  <a:pt x="700" y="3643"/>
                  <a:pt x="653" y="3675"/>
                </a:cubicBezTo>
                <a:lnTo>
                  <a:pt x="446" y="3786"/>
                </a:lnTo>
                <a:cubicBezTo>
                  <a:pt x="271" y="3452"/>
                  <a:pt x="176" y="3086"/>
                  <a:pt x="159" y="2705"/>
                </a:cubicBezTo>
                <a:lnTo>
                  <a:pt x="398" y="2705"/>
                </a:lnTo>
                <a:cubicBezTo>
                  <a:pt x="446" y="2705"/>
                  <a:pt x="477" y="2673"/>
                  <a:pt x="477" y="2625"/>
                </a:cubicBezTo>
                <a:cubicBezTo>
                  <a:pt x="477" y="2577"/>
                  <a:pt x="446" y="2545"/>
                  <a:pt x="398" y="2545"/>
                </a:cubicBezTo>
                <a:lnTo>
                  <a:pt x="159" y="2545"/>
                </a:lnTo>
                <a:cubicBezTo>
                  <a:pt x="176" y="2148"/>
                  <a:pt x="271" y="1782"/>
                  <a:pt x="446" y="1463"/>
                </a:cubicBezTo>
                <a:lnTo>
                  <a:pt x="653" y="1575"/>
                </a:lnTo>
                <a:cubicBezTo>
                  <a:pt x="668" y="1591"/>
                  <a:pt x="685" y="1591"/>
                  <a:pt x="700" y="1591"/>
                </a:cubicBezTo>
                <a:cubicBezTo>
                  <a:pt x="732" y="1591"/>
                  <a:pt x="748" y="1575"/>
                  <a:pt x="764" y="1559"/>
                </a:cubicBezTo>
                <a:cubicBezTo>
                  <a:pt x="796" y="1511"/>
                  <a:pt x="780" y="1463"/>
                  <a:pt x="732" y="1448"/>
                </a:cubicBezTo>
                <a:lnTo>
                  <a:pt x="525" y="1320"/>
                </a:lnTo>
                <a:cubicBezTo>
                  <a:pt x="732" y="1002"/>
                  <a:pt x="1003" y="732"/>
                  <a:pt x="1321" y="525"/>
                </a:cubicBezTo>
                <a:lnTo>
                  <a:pt x="1448" y="732"/>
                </a:lnTo>
                <a:cubicBezTo>
                  <a:pt x="1464" y="763"/>
                  <a:pt x="1480" y="779"/>
                  <a:pt x="1512" y="779"/>
                </a:cubicBezTo>
                <a:cubicBezTo>
                  <a:pt x="1528" y="779"/>
                  <a:pt x="1544" y="779"/>
                  <a:pt x="1559" y="763"/>
                </a:cubicBezTo>
                <a:cubicBezTo>
                  <a:pt x="1591" y="748"/>
                  <a:pt x="1607" y="700"/>
                  <a:pt x="1576" y="652"/>
                </a:cubicBezTo>
                <a:lnTo>
                  <a:pt x="1464" y="445"/>
                </a:lnTo>
                <a:cubicBezTo>
                  <a:pt x="1782" y="286"/>
                  <a:pt x="2148" y="175"/>
                  <a:pt x="2546" y="159"/>
                </a:cubicBezTo>
                <a:lnTo>
                  <a:pt x="2546" y="397"/>
                </a:lnTo>
                <a:cubicBezTo>
                  <a:pt x="2546" y="445"/>
                  <a:pt x="2578" y="477"/>
                  <a:pt x="2625" y="477"/>
                </a:cubicBezTo>
                <a:cubicBezTo>
                  <a:pt x="2673" y="477"/>
                  <a:pt x="2705" y="445"/>
                  <a:pt x="2705" y="397"/>
                </a:cubicBezTo>
                <a:lnTo>
                  <a:pt x="2705" y="159"/>
                </a:lnTo>
                <a:cubicBezTo>
                  <a:pt x="3103" y="175"/>
                  <a:pt x="3469" y="286"/>
                  <a:pt x="3787" y="445"/>
                </a:cubicBezTo>
                <a:lnTo>
                  <a:pt x="3676" y="652"/>
                </a:lnTo>
                <a:cubicBezTo>
                  <a:pt x="3644" y="700"/>
                  <a:pt x="3659" y="748"/>
                  <a:pt x="3692" y="763"/>
                </a:cubicBezTo>
                <a:cubicBezTo>
                  <a:pt x="3707" y="779"/>
                  <a:pt x="3723" y="779"/>
                  <a:pt x="3739" y="779"/>
                </a:cubicBezTo>
                <a:cubicBezTo>
                  <a:pt x="3771" y="779"/>
                  <a:pt x="3787" y="763"/>
                  <a:pt x="3803" y="732"/>
                </a:cubicBezTo>
                <a:lnTo>
                  <a:pt x="3930" y="541"/>
                </a:lnTo>
                <a:cubicBezTo>
                  <a:pt x="4249" y="732"/>
                  <a:pt x="4519" y="1002"/>
                  <a:pt x="4710" y="1320"/>
                </a:cubicBezTo>
                <a:lnTo>
                  <a:pt x="4519" y="1448"/>
                </a:lnTo>
                <a:cubicBezTo>
                  <a:pt x="4471" y="1463"/>
                  <a:pt x="4455" y="1511"/>
                  <a:pt x="4487" y="1559"/>
                </a:cubicBezTo>
                <a:cubicBezTo>
                  <a:pt x="4503" y="1575"/>
                  <a:pt x="4519" y="1591"/>
                  <a:pt x="4550" y="1591"/>
                </a:cubicBezTo>
                <a:cubicBezTo>
                  <a:pt x="4567" y="1591"/>
                  <a:pt x="4582" y="1591"/>
                  <a:pt x="4598" y="1575"/>
                </a:cubicBezTo>
                <a:lnTo>
                  <a:pt x="4789" y="1463"/>
                </a:lnTo>
                <a:cubicBezTo>
                  <a:pt x="4964" y="1782"/>
                  <a:pt x="5076" y="2148"/>
                  <a:pt x="5092" y="2545"/>
                </a:cubicBezTo>
                <a:lnTo>
                  <a:pt x="4853" y="2545"/>
                </a:lnTo>
                <a:cubicBezTo>
                  <a:pt x="4805" y="2545"/>
                  <a:pt x="4773" y="2577"/>
                  <a:pt x="4773" y="2625"/>
                </a:cubicBezTo>
                <a:cubicBezTo>
                  <a:pt x="4773" y="2673"/>
                  <a:pt x="4805" y="2705"/>
                  <a:pt x="4853" y="2705"/>
                </a:cubicBezTo>
                <a:lnTo>
                  <a:pt x="5092" y="2705"/>
                </a:lnTo>
                <a:cubicBezTo>
                  <a:pt x="5076" y="3086"/>
                  <a:pt x="4980" y="3452"/>
                  <a:pt x="4805" y="3786"/>
                </a:cubicBezTo>
                <a:lnTo>
                  <a:pt x="4598" y="3675"/>
                </a:lnTo>
                <a:cubicBezTo>
                  <a:pt x="4550" y="3643"/>
                  <a:pt x="4503" y="3659"/>
                  <a:pt x="4487" y="3691"/>
                </a:cubicBezTo>
                <a:cubicBezTo>
                  <a:pt x="4455" y="3739"/>
                  <a:pt x="4471" y="3786"/>
                  <a:pt x="4519" y="3802"/>
                </a:cubicBezTo>
                <a:lnTo>
                  <a:pt x="4726" y="3930"/>
                </a:lnTo>
                <a:cubicBezTo>
                  <a:pt x="4710" y="3945"/>
                  <a:pt x="4694" y="3977"/>
                  <a:pt x="4678" y="3993"/>
                </a:cubicBezTo>
                <a:cubicBezTo>
                  <a:pt x="4646" y="4025"/>
                  <a:pt x="4662" y="4073"/>
                  <a:pt x="4694" y="4105"/>
                </a:cubicBezTo>
                <a:cubicBezTo>
                  <a:pt x="4710" y="4120"/>
                  <a:pt x="4726" y="4120"/>
                  <a:pt x="4741" y="4120"/>
                </a:cubicBezTo>
                <a:cubicBezTo>
                  <a:pt x="4773" y="4120"/>
                  <a:pt x="4789" y="4105"/>
                  <a:pt x="4805" y="4088"/>
                </a:cubicBezTo>
                <a:cubicBezTo>
                  <a:pt x="5092" y="3659"/>
                  <a:pt x="5250" y="3150"/>
                  <a:pt x="5250" y="2625"/>
                </a:cubicBezTo>
                <a:cubicBezTo>
                  <a:pt x="5250" y="2148"/>
                  <a:pt x="5123" y="1702"/>
                  <a:pt x="4901" y="132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8" name="Freeform: Shape 11">
            <a:extLst>
              <a:ext uri="{FF2B5EF4-FFF2-40B4-BE49-F238E27FC236}">
                <a16:creationId xmlns:a16="http://schemas.microsoft.com/office/drawing/2014/main" id="{64E6EEED-7EEC-D940-8052-61A2E4391519}"/>
              </a:ext>
            </a:extLst>
          </p:cNvPr>
          <p:cNvSpPr/>
          <p:nvPr/>
        </p:nvSpPr>
        <p:spPr>
          <a:xfrm>
            <a:off x="21186540" y="6405673"/>
            <a:ext cx="1700999" cy="1569240"/>
          </a:xfrm>
          <a:custGeom>
            <a:avLst/>
            <a:gdLst/>
            <a:ahLst/>
            <a:cxnLst>
              <a:cxn ang="3cd4">
                <a:pos x="hc" y="t"/>
              </a:cxn>
              <a:cxn ang="cd2">
                <a:pos x="l" y="vc"/>
              </a:cxn>
              <a:cxn ang="cd4">
                <a:pos x="hc" y="b"/>
              </a:cxn>
              <a:cxn ang="0">
                <a:pos x="r" y="vc"/>
              </a:cxn>
            </a:cxnLst>
            <a:rect l="l" t="t" r="r" b="b"/>
            <a:pathLst>
              <a:path w="4726" h="4360">
                <a:moveTo>
                  <a:pt x="4249" y="526"/>
                </a:moveTo>
                <a:cubicBezTo>
                  <a:pt x="3278" y="526"/>
                  <a:pt x="3278" y="526"/>
                  <a:pt x="3278" y="526"/>
                </a:cubicBezTo>
                <a:cubicBezTo>
                  <a:pt x="3278" y="239"/>
                  <a:pt x="3278" y="239"/>
                  <a:pt x="3278" y="239"/>
                </a:cubicBezTo>
                <a:cubicBezTo>
                  <a:pt x="3278" y="112"/>
                  <a:pt x="3167" y="0"/>
                  <a:pt x="3039" y="0"/>
                </a:cubicBezTo>
                <a:cubicBezTo>
                  <a:pt x="1703" y="0"/>
                  <a:pt x="1703" y="0"/>
                  <a:pt x="1703" y="0"/>
                </a:cubicBezTo>
                <a:cubicBezTo>
                  <a:pt x="1576" y="0"/>
                  <a:pt x="1464" y="112"/>
                  <a:pt x="1464" y="239"/>
                </a:cubicBezTo>
                <a:cubicBezTo>
                  <a:pt x="1464" y="526"/>
                  <a:pt x="1464" y="526"/>
                  <a:pt x="1464" y="526"/>
                </a:cubicBezTo>
                <a:cubicBezTo>
                  <a:pt x="478" y="526"/>
                  <a:pt x="478" y="526"/>
                  <a:pt x="478" y="526"/>
                </a:cubicBezTo>
                <a:cubicBezTo>
                  <a:pt x="208" y="526"/>
                  <a:pt x="0" y="732"/>
                  <a:pt x="0" y="1003"/>
                </a:cubicBezTo>
                <a:cubicBezTo>
                  <a:pt x="0" y="3882"/>
                  <a:pt x="0" y="3882"/>
                  <a:pt x="0" y="3882"/>
                </a:cubicBezTo>
                <a:cubicBezTo>
                  <a:pt x="0" y="4153"/>
                  <a:pt x="208" y="4360"/>
                  <a:pt x="478" y="4360"/>
                </a:cubicBezTo>
                <a:cubicBezTo>
                  <a:pt x="4249" y="4360"/>
                  <a:pt x="4249" y="4360"/>
                  <a:pt x="4249" y="4360"/>
                </a:cubicBezTo>
                <a:cubicBezTo>
                  <a:pt x="4519" y="4360"/>
                  <a:pt x="4726" y="4153"/>
                  <a:pt x="4726" y="3882"/>
                </a:cubicBezTo>
                <a:cubicBezTo>
                  <a:pt x="4726" y="1003"/>
                  <a:pt x="4726" y="1003"/>
                  <a:pt x="4726" y="1003"/>
                </a:cubicBezTo>
                <a:cubicBezTo>
                  <a:pt x="4726" y="732"/>
                  <a:pt x="4519" y="526"/>
                  <a:pt x="4249" y="526"/>
                </a:cubicBezTo>
                <a:close/>
                <a:moveTo>
                  <a:pt x="1623" y="239"/>
                </a:moveTo>
                <a:cubicBezTo>
                  <a:pt x="1623" y="191"/>
                  <a:pt x="1655" y="160"/>
                  <a:pt x="1703" y="160"/>
                </a:cubicBezTo>
                <a:cubicBezTo>
                  <a:pt x="3039" y="160"/>
                  <a:pt x="3039" y="160"/>
                  <a:pt x="3039" y="160"/>
                </a:cubicBezTo>
                <a:cubicBezTo>
                  <a:pt x="3071" y="160"/>
                  <a:pt x="3119" y="191"/>
                  <a:pt x="3119" y="239"/>
                </a:cubicBezTo>
                <a:cubicBezTo>
                  <a:pt x="3119" y="526"/>
                  <a:pt x="3119" y="526"/>
                  <a:pt x="3119" y="526"/>
                </a:cubicBezTo>
                <a:cubicBezTo>
                  <a:pt x="1623" y="526"/>
                  <a:pt x="1623" y="526"/>
                  <a:pt x="1623" y="526"/>
                </a:cubicBezTo>
                <a:close/>
                <a:moveTo>
                  <a:pt x="478" y="684"/>
                </a:moveTo>
                <a:cubicBezTo>
                  <a:pt x="4249" y="684"/>
                  <a:pt x="4249" y="684"/>
                  <a:pt x="4249" y="684"/>
                </a:cubicBezTo>
                <a:cubicBezTo>
                  <a:pt x="4424" y="684"/>
                  <a:pt x="4567" y="828"/>
                  <a:pt x="4567" y="1003"/>
                </a:cubicBezTo>
                <a:cubicBezTo>
                  <a:pt x="4567" y="2021"/>
                  <a:pt x="4567" y="2021"/>
                  <a:pt x="4567" y="2021"/>
                </a:cubicBezTo>
                <a:cubicBezTo>
                  <a:pt x="2594" y="2021"/>
                  <a:pt x="2594" y="2021"/>
                  <a:pt x="2594" y="2021"/>
                </a:cubicBezTo>
                <a:cubicBezTo>
                  <a:pt x="2546" y="2021"/>
                  <a:pt x="2514" y="2053"/>
                  <a:pt x="2514" y="2100"/>
                </a:cubicBezTo>
                <a:cubicBezTo>
                  <a:pt x="2514" y="2339"/>
                  <a:pt x="2514" y="2339"/>
                  <a:pt x="2514" y="2339"/>
                </a:cubicBezTo>
                <a:cubicBezTo>
                  <a:pt x="2514" y="2339"/>
                  <a:pt x="2499" y="2371"/>
                  <a:pt x="2482" y="2371"/>
                </a:cubicBezTo>
                <a:cubicBezTo>
                  <a:pt x="2260" y="2371"/>
                  <a:pt x="2260" y="2371"/>
                  <a:pt x="2260" y="2371"/>
                </a:cubicBezTo>
                <a:cubicBezTo>
                  <a:pt x="2244" y="2371"/>
                  <a:pt x="2228" y="2339"/>
                  <a:pt x="2228" y="2339"/>
                </a:cubicBezTo>
                <a:cubicBezTo>
                  <a:pt x="2228" y="2100"/>
                  <a:pt x="2228" y="2100"/>
                  <a:pt x="2228" y="2100"/>
                </a:cubicBezTo>
                <a:cubicBezTo>
                  <a:pt x="2228" y="2053"/>
                  <a:pt x="2196" y="2021"/>
                  <a:pt x="2148" y="2021"/>
                </a:cubicBezTo>
                <a:cubicBezTo>
                  <a:pt x="160" y="2021"/>
                  <a:pt x="160" y="2021"/>
                  <a:pt x="160" y="2021"/>
                </a:cubicBezTo>
                <a:cubicBezTo>
                  <a:pt x="160" y="1003"/>
                  <a:pt x="160" y="1003"/>
                  <a:pt x="160" y="1003"/>
                </a:cubicBezTo>
                <a:cubicBezTo>
                  <a:pt x="160" y="828"/>
                  <a:pt x="303" y="684"/>
                  <a:pt x="478" y="684"/>
                </a:cubicBezTo>
                <a:close/>
                <a:moveTo>
                  <a:pt x="4249" y="4200"/>
                </a:moveTo>
                <a:cubicBezTo>
                  <a:pt x="478" y="4200"/>
                  <a:pt x="478" y="4200"/>
                  <a:pt x="478" y="4200"/>
                </a:cubicBezTo>
                <a:cubicBezTo>
                  <a:pt x="303" y="4200"/>
                  <a:pt x="160" y="4057"/>
                  <a:pt x="160" y="3882"/>
                </a:cubicBezTo>
                <a:cubicBezTo>
                  <a:pt x="160" y="2164"/>
                  <a:pt x="160" y="2164"/>
                  <a:pt x="160" y="2164"/>
                </a:cubicBezTo>
                <a:cubicBezTo>
                  <a:pt x="2069" y="2164"/>
                  <a:pt x="2069" y="2164"/>
                  <a:pt x="2069" y="2164"/>
                </a:cubicBezTo>
                <a:cubicBezTo>
                  <a:pt x="2069" y="2339"/>
                  <a:pt x="2069" y="2339"/>
                  <a:pt x="2069" y="2339"/>
                </a:cubicBezTo>
                <a:cubicBezTo>
                  <a:pt x="2069" y="2435"/>
                  <a:pt x="2164" y="2530"/>
                  <a:pt x="2260" y="2530"/>
                </a:cubicBezTo>
                <a:cubicBezTo>
                  <a:pt x="2482" y="2530"/>
                  <a:pt x="2482" y="2530"/>
                  <a:pt x="2482" y="2530"/>
                </a:cubicBezTo>
                <a:cubicBezTo>
                  <a:pt x="2578" y="2530"/>
                  <a:pt x="2673" y="2435"/>
                  <a:pt x="2673" y="2339"/>
                </a:cubicBezTo>
                <a:cubicBezTo>
                  <a:pt x="2673" y="2164"/>
                  <a:pt x="2673" y="2164"/>
                  <a:pt x="2673" y="2164"/>
                </a:cubicBezTo>
                <a:cubicBezTo>
                  <a:pt x="4567" y="2164"/>
                  <a:pt x="4567" y="2164"/>
                  <a:pt x="4567" y="2164"/>
                </a:cubicBezTo>
                <a:cubicBezTo>
                  <a:pt x="4567" y="3882"/>
                  <a:pt x="4567" y="3882"/>
                  <a:pt x="4567" y="3882"/>
                </a:cubicBezTo>
                <a:cubicBezTo>
                  <a:pt x="4567" y="4057"/>
                  <a:pt x="4424" y="4200"/>
                  <a:pt x="4249" y="420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9" name="Freeform: Shape 12">
            <a:extLst>
              <a:ext uri="{FF2B5EF4-FFF2-40B4-BE49-F238E27FC236}">
                <a16:creationId xmlns:a16="http://schemas.microsoft.com/office/drawing/2014/main" id="{F895D56B-C2A7-E144-8129-B70FA62D7F65}"/>
              </a:ext>
            </a:extLst>
          </p:cNvPr>
          <p:cNvSpPr/>
          <p:nvPr/>
        </p:nvSpPr>
        <p:spPr>
          <a:xfrm>
            <a:off x="17512541" y="6354193"/>
            <a:ext cx="1460160" cy="1666439"/>
          </a:xfrm>
          <a:custGeom>
            <a:avLst/>
            <a:gdLst/>
            <a:ahLst/>
            <a:cxnLst>
              <a:cxn ang="3cd4">
                <a:pos x="hc" y="t"/>
              </a:cxn>
              <a:cxn ang="cd2">
                <a:pos x="l" y="vc"/>
              </a:cxn>
              <a:cxn ang="cd4">
                <a:pos x="hc" y="b"/>
              </a:cxn>
              <a:cxn ang="0">
                <a:pos x="r" y="vc"/>
              </a:cxn>
            </a:cxnLst>
            <a:rect l="l" t="t" r="r" b="b"/>
            <a:pathLst>
              <a:path w="4057" h="4630">
                <a:moveTo>
                  <a:pt x="1129" y="3994"/>
                </a:moveTo>
                <a:cubicBezTo>
                  <a:pt x="1177" y="3994"/>
                  <a:pt x="1209" y="3946"/>
                  <a:pt x="1193" y="3914"/>
                </a:cubicBezTo>
                <a:lnTo>
                  <a:pt x="986" y="1352"/>
                </a:lnTo>
                <a:cubicBezTo>
                  <a:pt x="986" y="1305"/>
                  <a:pt x="938" y="1273"/>
                  <a:pt x="891" y="1273"/>
                </a:cubicBezTo>
                <a:cubicBezTo>
                  <a:pt x="859" y="1273"/>
                  <a:pt x="827" y="1321"/>
                  <a:pt x="827" y="1369"/>
                </a:cubicBezTo>
                <a:lnTo>
                  <a:pt x="1049" y="3930"/>
                </a:lnTo>
                <a:cubicBezTo>
                  <a:pt x="1049" y="3962"/>
                  <a:pt x="1082" y="3994"/>
                  <a:pt x="1129" y="3994"/>
                </a:cubicBezTo>
                <a:close/>
                <a:moveTo>
                  <a:pt x="3850" y="860"/>
                </a:moveTo>
                <a:cubicBezTo>
                  <a:pt x="3834" y="843"/>
                  <a:pt x="3818" y="843"/>
                  <a:pt x="3802" y="843"/>
                </a:cubicBezTo>
                <a:lnTo>
                  <a:pt x="270" y="843"/>
                </a:lnTo>
                <a:cubicBezTo>
                  <a:pt x="238" y="843"/>
                  <a:pt x="222" y="843"/>
                  <a:pt x="206" y="860"/>
                </a:cubicBezTo>
                <a:cubicBezTo>
                  <a:pt x="191" y="891"/>
                  <a:pt x="191" y="907"/>
                  <a:pt x="191" y="923"/>
                </a:cubicBezTo>
                <a:lnTo>
                  <a:pt x="557" y="4121"/>
                </a:lnTo>
                <a:cubicBezTo>
                  <a:pt x="588" y="4407"/>
                  <a:pt x="859" y="4630"/>
                  <a:pt x="1145" y="4630"/>
                </a:cubicBezTo>
                <a:lnTo>
                  <a:pt x="2927" y="4630"/>
                </a:lnTo>
                <a:cubicBezTo>
                  <a:pt x="3213" y="4630"/>
                  <a:pt x="3468" y="4407"/>
                  <a:pt x="3500" y="4121"/>
                </a:cubicBezTo>
                <a:lnTo>
                  <a:pt x="3882" y="923"/>
                </a:lnTo>
                <a:cubicBezTo>
                  <a:pt x="3882" y="907"/>
                  <a:pt x="3866" y="891"/>
                  <a:pt x="3850" y="860"/>
                </a:cubicBezTo>
                <a:close/>
                <a:moveTo>
                  <a:pt x="3341" y="4105"/>
                </a:moveTo>
                <a:cubicBezTo>
                  <a:pt x="3325" y="4296"/>
                  <a:pt x="3134" y="4471"/>
                  <a:pt x="2927" y="4471"/>
                </a:cubicBezTo>
                <a:lnTo>
                  <a:pt x="1145" y="4471"/>
                </a:lnTo>
                <a:cubicBezTo>
                  <a:pt x="938" y="4471"/>
                  <a:pt x="748" y="4296"/>
                  <a:pt x="715" y="4105"/>
                </a:cubicBezTo>
                <a:lnTo>
                  <a:pt x="366" y="1003"/>
                </a:lnTo>
                <a:lnTo>
                  <a:pt x="3707" y="1003"/>
                </a:lnTo>
                <a:close/>
                <a:moveTo>
                  <a:pt x="4041" y="669"/>
                </a:moveTo>
                <a:cubicBezTo>
                  <a:pt x="4057" y="652"/>
                  <a:pt x="4057" y="621"/>
                  <a:pt x="4057" y="605"/>
                </a:cubicBezTo>
                <a:lnTo>
                  <a:pt x="4057" y="414"/>
                </a:lnTo>
                <a:cubicBezTo>
                  <a:pt x="4057" y="175"/>
                  <a:pt x="3866" y="16"/>
                  <a:pt x="3611" y="0"/>
                </a:cubicBezTo>
                <a:lnTo>
                  <a:pt x="461" y="0"/>
                </a:lnTo>
                <a:cubicBezTo>
                  <a:pt x="191" y="16"/>
                  <a:pt x="0" y="175"/>
                  <a:pt x="0" y="414"/>
                </a:cubicBezTo>
                <a:lnTo>
                  <a:pt x="0" y="605"/>
                </a:lnTo>
                <a:cubicBezTo>
                  <a:pt x="0" y="652"/>
                  <a:pt x="48" y="684"/>
                  <a:pt x="79" y="684"/>
                </a:cubicBezTo>
                <a:lnTo>
                  <a:pt x="3977" y="684"/>
                </a:lnTo>
                <a:cubicBezTo>
                  <a:pt x="3993" y="684"/>
                  <a:pt x="4025" y="669"/>
                  <a:pt x="4041" y="669"/>
                </a:cubicBezTo>
                <a:close/>
                <a:moveTo>
                  <a:pt x="3897" y="525"/>
                </a:moveTo>
                <a:lnTo>
                  <a:pt x="158" y="525"/>
                </a:lnTo>
                <a:lnTo>
                  <a:pt x="158" y="414"/>
                </a:lnTo>
                <a:cubicBezTo>
                  <a:pt x="158" y="270"/>
                  <a:pt x="286" y="175"/>
                  <a:pt x="461" y="159"/>
                </a:cubicBezTo>
                <a:lnTo>
                  <a:pt x="3611" y="159"/>
                </a:lnTo>
                <a:cubicBezTo>
                  <a:pt x="3786" y="175"/>
                  <a:pt x="3897" y="270"/>
                  <a:pt x="3897" y="414"/>
                </a:cubicBezTo>
                <a:close/>
                <a:moveTo>
                  <a:pt x="2943" y="3994"/>
                </a:moveTo>
                <a:cubicBezTo>
                  <a:pt x="2991" y="3994"/>
                  <a:pt x="3022" y="3962"/>
                  <a:pt x="3022" y="3930"/>
                </a:cubicBezTo>
                <a:lnTo>
                  <a:pt x="3245" y="1369"/>
                </a:lnTo>
                <a:cubicBezTo>
                  <a:pt x="3245" y="1321"/>
                  <a:pt x="3213" y="1273"/>
                  <a:pt x="3166" y="1273"/>
                </a:cubicBezTo>
                <a:cubicBezTo>
                  <a:pt x="3118" y="1273"/>
                  <a:pt x="3086" y="1305"/>
                  <a:pt x="3086" y="1352"/>
                </a:cubicBezTo>
                <a:lnTo>
                  <a:pt x="2863" y="3914"/>
                </a:lnTo>
                <a:cubicBezTo>
                  <a:pt x="2863" y="3946"/>
                  <a:pt x="2895" y="3994"/>
                  <a:pt x="2943" y="3994"/>
                </a:cubicBezTo>
                <a:close/>
                <a:moveTo>
                  <a:pt x="2036" y="3978"/>
                </a:moveTo>
                <a:cubicBezTo>
                  <a:pt x="2084" y="3978"/>
                  <a:pt x="2116" y="3946"/>
                  <a:pt x="2116" y="3898"/>
                </a:cubicBezTo>
                <a:lnTo>
                  <a:pt x="2116" y="1337"/>
                </a:lnTo>
                <a:cubicBezTo>
                  <a:pt x="2116" y="1305"/>
                  <a:pt x="2084" y="1257"/>
                  <a:pt x="2036" y="1257"/>
                </a:cubicBezTo>
                <a:cubicBezTo>
                  <a:pt x="1988" y="1257"/>
                  <a:pt x="1957" y="1305"/>
                  <a:pt x="1957" y="1337"/>
                </a:cubicBezTo>
                <a:lnTo>
                  <a:pt x="1957" y="3898"/>
                </a:lnTo>
                <a:cubicBezTo>
                  <a:pt x="1957" y="3946"/>
                  <a:pt x="1988" y="3978"/>
                  <a:pt x="2036" y="397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0" name="Freeform: Shape 17">
            <a:extLst>
              <a:ext uri="{FF2B5EF4-FFF2-40B4-BE49-F238E27FC236}">
                <a16:creationId xmlns:a16="http://schemas.microsoft.com/office/drawing/2014/main" id="{EA00ECBD-3EA3-3B4F-B49A-3EF052CF0EA1}"/>
              </a:ext>
            </a:extLst>
          </p:cNvPr>
          <p:cNvSpPr/>
          <p:nvPr/>
        </p:nvSpPr>
        <p:spPr>
          <a:xfrm>
            <a:off x="13825746" y="6806713"/>
            <a:ext cx="1538640" cy="1150920"/>
          </a:xfrm>
          <a:custGeom>
            <a:avLst/>
            <a:gdLst/>
            <a:ahLst/>
            <a:cxnLst>
              <a:cxn ang="3cd4">
                <a:pos x="hc" y="t"/>
              </a:cxn>
              <a:cxn ang="cd2">
                <a:pos x="l" y="vc"/>
              </a:cxn>
              <a:cxn ang="cd4">
                <a:pos x="hc" y="b"/>
              </a:cxn>
              <a:cxn ang="0">
                <a:pos x="r" y="vc"/>
              </a:cxn>
            </a:cxnLst>
            <a:rect l="l" t="t" r="r" b="b"/>
            <a:pathLst>
              <a:path w="4275" h="3198">
                <a:moveTo>
                  <a:pt x="3755" y="2275"/>
                </a:moveTo>
                <a:lnTo>
                  <a:pt x="4264" y="875"/>
                </a:lnTo>
                <a:cubicBezTo>
                  <a:pt x="4279" y="859"/>
                  <a:pt x="4279" y="827"/>
                  <a:pt x="4264" y="812"/>
                </a:cubicBezTo>
                <a:cubicBezTo>
                  <a:pt x="4247" y="795"/>
                  <a:pt x="4232" y="780"/>
                  <a:pt x="4200" y="780"/>
                </a:cubicBezTo>
                <a:lnTo>
                  <a:pt x="1368" y="366"/>
                </a:lnTo>
                <a:cubicBezTo>
                  <a:pt x="1336" y="350"/>
                  <a:pt x="1288" y="382"/>
                  <a:pt x="1288" y="430"/>
                </a:cubicBezTo>
                <a:cubicBezTo>
                  <a:pt x="1273" y="477"/>
                  <a:pt x="1304" y="509"/>
                  <a:pt x="1352" y="509"/>
                </a:cubicBezTo>
                <a:lnTo>
                  <a:pt x="4089" y="923"/>
                </a:lnTo>
                <a:lnTo>
                  <a:pt x="3627" y="2164"/>
                </a:lnTo>
                <a:lnTo>
                  <a:pt x="1607" y="2164"/>
                </a:lnTo>
                <a:lnTo>
                  <a:pt x="795" y="48"/>
                </a:lnTo>
                <a:cubicBezTo>
                  <a:pt x="779" y="16"/>
                  <a:pt x="763" y="0"/>
                  <a:pt x="731" y="0"/>
                </a:cubicBezTo>
                <a:lnTo>
                  <a:pt x="79" y="0"/>
                </a:lnTo>
                <a:cubicBezTo>
                  <a:pt x="31" y="0"/>
                  <a:pt x="0" y="32"/>
                  <a:pt x="0" y="80"/>
                </a:cubicBezTo>
                <a:lnTo>
                  <a:pt x="0" y="318"/>
                </a:lnTo>
                <a:cubicBezTo>
                  <a:pt x="0" y="350"/>
                  <a:pt x="31" y="398"/>
                  <a:pt x="79" y="398"/>
                </a:cubicBezTo>
                <a:cubicBezTo>
                  <a:pt x="127" y="398"/>
                  <a:pt x="159" y="350"/>
                  <a:pt x="159" y="318"/>
                </a:cubicBezTo>
                <a:lnTo>
                  <a:pt x="159" y="159"/>
                </a:lnTo>
                <a:lnTo>
                  <a:pt x="668" y="159"/>
                </a:lnTo>
                <a:lnTo>
                  <a:pt x="1479" y="2275"/>
                </a:lnTo>
                <a:cubicBezTo>
                  <a:pt x="1495" y="2307"/>
                  <a:pt x="1511" y="2323"/>
                  <a:pt x="1559" y="2323"/>
                </a:cubicBezTo>
                <a:lnTo>
                  <a:pt x="3675" y="2323"/>
                </a:lnTo>
                <a:cubicBezTo>
                  <a:pt x="3707" y="2323"/>
                  <a:pt x="3738" y="2307"/>
                  <a:pt x="3755" y="2275"/>
                </a:cubicBezTo>
                <a:close/>
                <a:moveTo>
                  <a:pt x="2450" y="2800"/>
                </a:moveTo>
                <a:cubicBezTo>
                  <a:pt x="2450" y="2577"/>
                  <a:pt x="2275" y="2403"/>
                  <a:pt x="2052" y="2403"/>
                </a:cubicBezTo>
                <a:cubicBezTo>
                  <a:pt x="1845" y="2403"/>
                  <a:pt x="1654" y="2577"/>
                  <a:pt x="1654" y="2800"/>
                </a:cubicBezTo>
                <a:cubicBezTo>
                  <a:pt x="1654" y="3023"/>
                  <a:pt x="1845" y="3198"/>
                  <a:pt x="2052" y="3198"/>
                </a:cubicBezTo>
                <a:cubicBezTo>
                  <a:pt x="2275" y="3198"/>
                  <a:pt x="2450" y="3023"/>
                  <a:pt x="2450" y="2800"/>
                </a:cubicBezTo>
                <a:close/>
                <a:moveTo>
                  <a:pt x="1813" y="2800"/>
                </a:moveTo>
                <a:cubicBezTo>
                  <a:pt x="1813" y="2673"/>
                  <a:pt x="1925" y="2562"/>
                  <a:pt x="2052" y="2562"/>
                </a:cubicBezTo>
                <a:cubicBezTo>
                  <a:pt x="2179" y="2562"/>
                  <a:pt x="2291" y="2673"/>
                  <a:pt x="2291" y="2800"/>
                </a:cubicBezTo>
                <a:cubicBezTo>
                  <a:pt x="2291" y="2928"/>
                  <a:pt x="2179" y="3039"/>
                  <a:pt x="2052" y="3039"/>
                </a:cubicBezTo>
                <a:cubicBezTo>
                  <a:pt x="1925" y="3039"/>
                  <a:pt x="1813" y="2928"/>
                  <a:pt x="1813" y="2800"/>
                </a:cubicBezTo>
                <a:close/>
                <a:moveTo>
                  <a:pt x="3165" y="2403"/>
                </a:moveTo>
                <a:cubicBezTo>
                  <a:pt x="2959" y="2403"/>
                  <a:pt x="2784" y="2577"/>
                  <a:pt x="2784" y="2800"/>
                </a:cubicBezTo>
                <a:cubicBezTo>
                  <a:pt x="2784" y="3023"/>
                  <a:pt x="2959" y="3198"/>
                  <a:pt x="3165" y="3198"/>
                </a:cubicBezTo>
                <a:cubicBezTo>
                  <a:pt x="3388" y="3198"/>
                  <a:pt x="3564" y="3023"/>
                  <a:pt x="3564" y="2800"/>
                </a:cubicBezTo>
                <a:cubicBezTo>
                  <a:pt x="3564" y="2577"/>
                  <a:pt x="3388" y="2403"/>
                  <a:pt x="3165" y="2403"/>
                </a:cubicBezTo>
                <a:close/>
                <a:moveTo>
                  <a:pt x="3165" y="3039"/>
                </a:moveTo>
                <a:cubicBezTo>
                  <a:pt x="3038" y="3039"/>
                  <a:pt x="2943" y="2928"/>
                  <a:pt x="2943" y="2800"/>
                </a:cubicBezTo>
                <a:cubicBezTo>
                  <a:pt x="2943" y="2673"/>
                  <a:pt x="3038" y="2562"/>
                  <a:pt x="3165" y="2562"/>
                </a:cubicBezTo>
                <a:cubicBezTo>
                  <a:pt x="3309" y="2562"/>
                  <a:pt x="3404" y="2673"/>
                  <a:pt x="3404" y="2800"/>
                </a:cubicBezTo>
                <a:cubicBezTo>
                  <a:pt x="3404" y="2928"/>
                  <a:pt x="3309" y="3039"/>
                  <a:pt x="3165" y="303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1" name="Freeform: Shape 37">
            <a:extLst>
              <a:ext uri="{FF2B5EF4-FFF2-40B4-BE49-F238E27FC236}">
                <a16:creationId xmlns:a16="http://schemas.microsoft.com/office/drawing/2014/main" id="{3D9A51D5-590F-5247-8358-7287F83F3869}"/>
              </a:ext>
            </a:extLst>
          </p:cNvPr>
          <p:cNvSpPr/>
          <p:nvPr/>
        </p:nvSpPr>
        <p:spPr>
          <a:xfrm>
            <a:off x="9967769" y="3214550"/>
            <a:ext cx="1798200" cy="1620720"/>
          </a:xfrm>
          <a:custGeom>
            <a:avLst/>
            <a:gdLst/>
            <a:ahLst/>
            <a:cxnLst>
              <a:cxn ang="3cd4">
                <a:pos x="hc" y="t"/>
              </a:cxn>
              <a:cxn ang="cd2">
                <a:pos x="l" y="vc"/>
              </a:cxn>
              <a:cxn ang="cd4">
                <a:pos x="hc" y="b"/>
              </a:cxn>
              <a:cxn ang="0">
                <a:pos x="r" y="vc"/>
              </a:cxn>
            </a:cxnLst>
            <a:rect l="l" t="t" r="r" b="b"/>
            <a:pathLst>
              <a:path w="4996" h="4503">
                <a:moveTo>
                  <a:pt x="2227" y="27"/>
                </a:moveTo>
                <a:cubicBezTo>
                  <a:pt x="2229" y="28"/>
                  <a:pt x="2231" y="29"/>
                  <a:pt x="2233" y="31"/>
                </a:cubicBezTo>
                <a:cubicBezTo>
                  <a:pt x="2322" y="94"/>
                  <a:pt x="2403" y="167"/>
                  <a:pt x="2475" y="248"/>
                </a:cubicBezTo>
                <a:cubicBezTo>
                  <a:pt x="2547" y="329"/>
                  <a:pt x="2610" y="420"/>
                  <a:pt x="2661" y="518"/>
                </a:cubicBezTo>
                <a:cubicBezTo>
                  <a:pt x="2713" y="616"/>
                  <a:pt x="2754" y="722"/>
                  <a:pt x="2781" y="835"/>
                </a:cubicBezTo>
                <a:cubicBezTo>
                  <a:pt x="2809" y="947"/>
                  <a:pt x="2824" y="1067"/>
                  <a:pt x="2824" y="1193"/>
                </a:cubicBezTo>
                <a:cubicBezTo>
                  <a:pt x="2824" y="1319"/>
                  <a:pt x="2809" y="1438"/>
                  <a:pt x="2781" y="1551"/>
                </a:cubicBezTo>
                <a:cubicBezTo>
                  <a:pt x="2754" y="1664"/>
                  <a:pt x="2713" y="1770"/>
                  <a:pt x="2661" y="1869"/>
                </a:cubicBezTo>
                <a:cubicBezTo>
                  <a:pt x="2610" y="1967"/>
                  <a:pt x="2547" y="2057"/>
                  <a:pt x="2475" y="2138"/>
                </a:cubicBezTo>
                <a:cubicBezTo>
                  <a:pt x="2403" y="2220"/>
                  <a:pt x="2322" y="2292"/>
                  <a:pt x="2233" y="2355"/>
                </a:cubicBezTo>
                <a:cubicBezTo>
                  <a:pt x="2231" y="2357"/>
                  <a:pt x="2229" y="2358"/>
                  <a:pt x="2227" y="2359"/>
                </a:cubicBezTo>
                <a:cubicBezTo>
                  <a:pt x="2220" y="2363"/>
                  <a:pt x="2214" y="2366"/>
                  <a:pt x="2207" y="2368"/>
                </a:cubicBezTo>
                <a:cubicBezTo>
                  <a:pt x="2204" y="2370"/>
                  <a:pt x="2200" y="2373"/>
                  <a:pt x="2196" y="2375"/>
                </a:cubicBezTo>
                <a:cubicBezTo>
                  <a:pt x="2183" y="2383"/>
                  <a:pt x="2171" y="2386"/>
                  <a:pt x="2156" y="2386"/>
                </a:cubicBezTo>
                <a:lnTo>
                  <a:pt x="867" y="2386"/>
                </a:lnTo>
                <a:cubicBezTo>
                  <a:pt x="852" y="2386"/>
                  <a:pt x="840" y="2383"/>
                  <a:pt x="827" y="2375"/>
                </a:cubicBezTo>
                <a:cubicBezTo>
                  <a:pt x="817" y="2370"/>
                  <a:pt x="810" y="2363"/>
                  <a:pt x="803" y="2354"/>
                </a:cubicBezTo>
                <a:cubicBezTo>
                  <a:pt x="715" y="2291"/>
                  <a:pt x="635" y="2219"/>
                  <a:pt x="564" y="2138"/>
                </a:cubicBezTo>
                <a:cubicBezTo>
                  <a:pt x="491" y="2057"/>
                  <a:pt x="429" y="1967"/>
                  <a:pt x="377" y="1869"/>
                </a:cubicBezTo>
                <a:cubicBezTo>
                  <a:pt x="325" y="1770"/>
                  <a:pt x="285" y="1664"/>
                  <a:pt x="257" y="1551"/>
                </a:cubicBezTo>
                <a:cubicBezTo>
                  <a:pt x="229" y="1438"/>
                  <a:pt x="215" y="1319"/>
                  <a:pt x="215" y="1193"/>
                </a:cubicBezTo>
                <a:cubicBezTo>
                  <a:pt x="215" y="1067"/>
                  <a:pt x="229" y="947"/>
                  <a:pt x="257" y="835"/>
                </a:cubicBezTo>
                <a:cubicBezTo>
                  <a:pt x="285" y="722"/>
                  <a:pt x="325" y="616"/>
                  <a:pt x="377" y="518"/>
                </a:cubicBezTo>
                <a:cubicBezTo>
                  <a:pt x="429" y="420"/>
                  <a:pt x="491" y="329"/>
                  <a:pt x="563" y="248"/>
                </a:cubicBezTo>
                <a:cubicBezTo>
                  <a:pt x="634" y="168"/>
                  <a:pt x="713" y="97"/>
                  <a:pt x="799" y="35"/>
                </a:cubicBezTo>
                <a:lnTo>
                  <a:pt x="811" y="23"/>
                </a:lnTo>
                <a:cubicBezTo>
                  <a:pt x="816" y="18"/>
                  <a:pt x="821" y="14"/>
                  <a:pt x="827" y="11"/>
                </a:cubicBezTo>
                <a:cubicBezTo>
                  <a:pt x="840" y="3"/>
                  <a:pt x="852" y="0"/>
                  <a:pt x="867" y="0"/>
                </a:cubicBezTo>
                <a:lnTo>
                  <a:pt x="2156" y="0"/>
                </a:lnTo>
                <a:cubicBezTo>
                  <a:pt x="2171" y="0"/>
                  <a:pt x="2183" y="3"/>
                  <a:pt x="2196" y="11"/>
                </a:cubicBezTo>
                <a:cubicBezTo>
                  <a:pt x="2200" y="13"/>
                  <a:pt x="2204" y="16"/>
                  <a:pt x="2207" y="18"/>
                </a:cubicBezTo>
                <a:cubicBezTo>
                  <a:pt x="2214" y="20"/>
                  <a:pt x="2220" y="23"/>
                  <a:pt x="2227" y="27"/>
                </a:cubicBezTo>
                <a:close/>
                <a:moveTo>
                  <a:pt x="2521" y="1794"/>
                </a:moveTo>
                <a:cubicBezTo>
                  <a:pt x="2567" y="1708"/>
                  <a:pt x="2602" y="1614"/>
                  <a:pt x="2627" y="1513"/>
                </a:cubicBezTo>
                <a:cubicBezTo>
                  <a:pt x="2651" y="1413"/>
                  <a:pt x="2665" y="1305"/>
                  <a:pt x="2665" y="1193"/>
                </a:cubicBezTo>
                <a:cubicBezTo>
                  <a:pt x="2665" y="1080"/>
                  <a:pt x="2651" y="973"/>
                  <a:pt x="2627" y="872"/>
                </a:cubicBezTo>
                <a:cubicBezTo>
                  <a:pt x="2602" y="772"/>
                  <a:pt x="2567" y="679"/>
                  <a:pt x="2521" y="592"/>
                </a:cubicBezTo>
                <a:cubicBezTo>
                  <a:pt x="2475" y="505"/>
                  <a:pt x="2420" y="425"/>
                  <a:pt x="2356" y="353"/>
                </a:cubicBezTo>
                <a:cubicBezTo>
                  <a:pt x="2297" y="287"/>
                  <a:pt x="2232" y="227"/>
                  <a:pt x="2160" y="174"/>
                </a:cubicBezTo>
                <a:cubicBezTo>
                  <a:pt x="2150" y="173"/>
                  <a:pt x="2141" y="170"/>
                  <a:pt x="2131" y="164"/>
                </a:cubicBezTo>
                <a:cubicBezTo>
                  <a:pt x="2128" y="163"/>
                  <a:pt x="2126" y="161"/>
                  <a:pt x="2123" y="159"/>
                </a:cubicBezTo>
                <a:lnTo>
                  <a:pt x="899" y="159"/>
                </a:lnTo>
                <a:cubicBezTo>
                  <a:pt x="898" y="159"/>
                  <a:pt x="898" y="160"/>
                  <a:pt x="897" y="160"/>
                </a:cubicBezTo>
                <a:cubicBezTo>
                  <a:pt x="819" y="216"/>
                  <a:pt x="747" y="281"/>
                  <a:pt x="683" y="353"/>
                </a:cubicBezTo>
                <a:cubicBezTo>
                  <a:pt x="619" y="425"/>
                  <a:pt x="563" y="505"/>
                  <a:pt x="518" y="592"/>
                </a:cubicBezTo>
                <a:cubicBezTo>
                  <a:pt x="472" y="679"/>
                  <a:pt x="436" y="772"/>
                  <a:pt x="411" y="872"/>
                </a:cubicBezTo>
                <a:cubicBezTo>
                  <a:pt x="387" y="973"/>
                  <a:pt x="374" y="1080"/>
                  <a:pt x="374" y="1193"/>
                </a:cubicBezTo>
                <a:cubicBezTo>
                  <a:pt x="374" y="1305"/>
                  <a:pt x="387" y="1413"/>
                  <a:pt x="411" y="1513"/>
                </a:cubicBezTo>
                <a:cubicBezTo>
                  <a:pt x="436" y="1614"/>
                  <a:pt x="472" y="1708"/>
                  <a:pt x="518" y="1794"/>
                </a:cubicBezTo>
                <a:cubicBezTo>
                  <a:pt x="563" y="1881"/>
                  <a:pt x="619" y="1961"/>
                  <a:pt x="683" y="2033"/>
                </a:cubicBezTo>
                <a:cubicBezTo>
                  <a:pt x="741" y="2099"/>
                  <a:pt x="807" y="2159"/>
                  <a:pt x="878" y="2212"/>
                </a:cubicBezTo>
                <a:cubicBezTo>
                  <a:pt x="888" y="2213"/>
                  <a:pt x="897" y="2216"/>
                  <a:pt x="907" y="2222"/>
                </a:cubicBezTo>
                <a:cubicBezTo>
                  <a:pt x="910" y="2223"/>
                  <a:pt x="912" y="2225"/>
                  <a:pt x="915" y="2227"/>
                </a:cubicBezTo>
                <a:lnTo>
                  <a:pt x="2123" y="2227"/>
                </a:lnTo>
                <a:cubicBezTo>
                  <a:pt x="2126" y="2225"/>
                  <a:pt x="2128" y="2223"/>
                  <a:pt x="2131" y="2222"/>
                </a:cubicBezTo>
                <a:cubicBezTo>
                  <a:pt x="2141" y="2216"/>
                  <a:pt x="2150" y="2213"/>
                  <a:pt x="2160" y="2212"/>
                </a:cubicBezTo>
                <a:cubicBezTo>
                  <a:pt x="2232" y="2159"/>
                  <a:pt x="2297" y="2099"/>
                  <a:pt x="2356" y="2033"/>
                </a:cubicBezTo>
                <a:cubicBezTo>
                  <a:pt x="2420" y="1961"/>
                  <a:pt x="2475" y="1881"/>
                  <a:pt x="2521" y="1794"/>
                </a:cubicBezTo>
                <a:close/>
                <a:moveTo>
                  <a:pt x="1217" y="1766"/>
                </a:moveTo>
                <a:cubicBezTo>
                  <a:pt x="1217" y="1607"/>
                  <a:pt x="1344" y="1480"/>
                  <a:pt x="1503" y="1480"/>
                </a:cubicBezTo>
                <a:cubicBezTo>
                  <a:pt x="1662" y="1480"/>
                  <a:pt x="1790" y="1607"/>
                  <a:pt x="1790" y="1766"/>
                </a:cubicBezTo>
                <a:cubicBezTo>
                  <a:pt x="1790" y="1814"/>
                  <a:pt x="1790" y="1846"/>
                  <a:pt x="1758" y="1894"/>
                </a:cubicBezTo>
                <a:cubicBezTo>
                  <a:pt x="1742" y="1926"/>
                  <a:pt x="1742" y="1941"/>
                  <a:pt x="1583" y="1941"/>
                </a:cubicBezTo>
                <a:lnTo>
                  <a:pt x="1376" y="1941"/>
                </a:lnTo>
                <a:cubicBezTo>
                  <a:pt x="1296" y="1941"/>
                  <a:pt x="1265" y="1941"/>
                  <a:pt x="1249" y="1894"/>
                </a:cubicBezTo>
                <a:cubicBezTo>
                  <a:pt x="1233" y="1846"/>
                  <a:pt x="1217" y="1798"/>
                  <a:pt x="1217" y="1766"/>
                </a:cubicBezTo>
                <a:close/>
                <a:moveTo>
                  <a:pt x="1631" y="1766"/>
                </a:moveTo>
                <a:cubicBezTo>
                  <a:pt x="1631" y="1687"/>
                  <a:pt x="1583" y="1639"/>
                  <a:pt x="1503" y="1639"/>
                </a:cubicBezTo>
                <a:cubicBezTo>
                  <a:pt x="1440" y="1639"/>
                  <a:pt x="1376" y="1687"/>
                  <a:pt x="1376" y="1766"/>
                </a:cubicBezTo>
                <a:lnTo>
                  <a:pt x="1376" y="1782"/>
                </a:lnTo>
                <a:lnTo>
                  <a:pt x="1631" y="1782"/>
                </a:lnTo>
                <a:close/>
                <a:moveTo>
                  <a:pt x="1805" y="748"/>
                </a:moveTo>
                <a:cubicBezTo>
                  <a:pt x="1805" y="700"/>
                  <a:pt x="1853" y="669"/>
                  <a:pt x="1885" y="669"/>
                </a:cubicBezTo>
                <a:cubicBezTo>
                  <a:pt x="1933" y="669"/>
                  <a:pt x="1965" y="700"/>
                  <a:pt x="1965" y="748"/>
                </a:cubicBezTo>
                <a:lnTo>
                  <a:pt x="1965" y="1226"/>
                </a:lnTo>
                <a:cubicBezTo>
                  <a:pt x="1965" y="1273"/>
                  <a:pt x="1933" y="1305"/>
                  <a:pt x="1885" y="1305"/>
                </a:cubicBezTo>
                <a:cubicBezTo>
                  <a:pt x="1853" y="1305"/>
                  <a:pt x="1805" y="1273"/>
                  <a:pt x="1805" y="1226"/>
                </a:cubicBezTo>
                <a:close/>
                <a:moveTo>
                  <a:pt x="1058" y="748"/>
                </a:moveTo>
                <a:cubicBezTo>
                  <a:pt x="1058" y="700"/>
                  <a:pt x="1090" y="669"/>
                  <a:pt x="1137" y="669"/>
                </a:cubicBezTo>
                <a:cubicBezTo>
                  <a:pt x="1185" y="669"/>
                  <a:pt x="1217" y="700"/>
                  <a:pt x="1217" y="748"/>
                </a:cubicBezTo>
                <a:lnTo>
                  <a:pt x="1217" y="1226"/>
                </a:lnTo>
                <a:cubicBezTo>
                  <a:pt x="1217" y="1273"/>
                  <a:pt x="1185" y="1305"/>
                  <a:pt x="1137" y="1305"/>
                </a:cubicBezTo>
                <a:cubicBezTo>
                  <a:pt x="1090" y="1305"/>
                  <a:pt x="1058" y="1273"/>
                  <a:pt x="1058" y="1226"/>
                </a:cubicBezTo>
                <a:close/>
                <a:moveTo>
                  <a:pt x="4860" y="2418"/>
                </a:moveTo>
                <a:cubicBezTo>
                  <a:pt x="4892" y="2403"/>
                  <a:pt x="4940" y="2403"/>
                  <a:pt x="4972" y="2418"/>
                </a:cubicBezTo>
                <a:cubicBezTo>
                  <a:pt x="5004" y="2451"/>
                  <a:pt x="5004" y="2514"/>
                  <a:pt x="4972" y="2546"/>
                </a:cubicBezTo>
                <a:lnTo>
                  <a:pt x="4224" y="3278"/>
                </a:lnTo>
                <a:lnTo>
                  <a:pt x="4542" y="3612"/>
                </a:lnTo>
                <a:cubicBezTo>
                  <a:pt x="4574" y="3628"/>
                  <a:pt x="4574" y="3691"/>
                  <a:pt x="4542" y="3723"/>
                </a:cubicBezTo>
                <a:lnTo>
                  <a:pt x="4096" y="4169"/>
                </a:lnTo>
                <a:cubicBezTo>
                  <a:pt x="3922" y="4344"/>
                  <a:pt x="3731" y="4423"/>
                  <a:pt x="3556" y="4423"/>
                </a:cubicBezTo>
                <a:cubicBezTo>
                  <a:pt x="3396" y="4423"/>
                  <a:pt x="3237" y="4360"/>
                  <a:pt x="3094" y="4217"/>
                </a:cubicBezTo>
                <a:lnTo>
                  <a:pt x="2983" y="4105"/>
                </a:lnTo>
                <a:cubicBezTo>
                  <a:pt x="2474" y="4566"/>
                  <a:pt x="2013" y="4423"/>
                  <a:pt x="1567" y="4264"/>
                </a:cubicBezTo>
                <a:cubicBezTo>
                  <a:pt x="1105" y="4105"/>
                  <a:pt x="660" y="3946"/>
                  <a:pt x="135" y="4487"/>
                </a:cubicBezTo>
                <a:cubicBezTo>
                  <a:pt x="119" y="4503"/>
                  <a:pt x="87" y="4503"/>
                  <a:pt x="71" y="4503"/>
                </a:cubicBezTo>
                <a:cubicBezTo>
                  <a:pt x="55" y="4503"/>
                  <a:pt x="40" y="4503"/>
                  <a:pt x="23" y="4487"/>
                </a:cubicBezTo>
                <a:cubicBezTo>
                  <a:pt x="-8" y="4455"/>
                  <a:pt x="-8" y="4408"/>
                  <a:pt x="23" y="4375"/>
                </a:cubicBezTo>
                <a:cubicBezTo>
                  <a:pt x="612" y="3771"/>
                  <a:pt x="1153" y="3946"/>
                  <a:pt x="1614" y="4105"/>
                </a:cubicBezTo>
                <a:cubicBezTo>
                  <a:pt x="2060" y="4264"/>
                  <a:pt x="2426" y="4391"/>
                  <a:pt x="2871" y="3994"/>
                </a:cubicBezTo>
                <a:lnTo>
                  <a:pt x="2744" y="3866"/>
                </a:lnTo>
                <a:cubicBezTo>
                  <a:pt x="2601" y="3723"/>
                  <a:pt x="2505" y="3517"/>
                  <a:pt x="2474" y="3309"/>
                </a:cubicBezTo>
                <a:cubicBezTo>
                  <a:pt x="2458" y="3087"/>
                  <a:pt x="2522" y="2880"/>
                  <a:pt x="2665" y="2737"/>
                </a:cubicBezTo>
                <a:lnTo>
                  <a:pt x="3126" y="2291"/>
                </a:lnTo>
                <a:cubicBezTo>
                  <a:pt x="3142" y="2260"/>
                  <a:pt x="3205" y="2260"/>
                  <a:pt x="3237" y="2291"/>
                </a:cubicBezTo>
                <a:lnTo>
                  <a:pt x="3556" y="2609"/>
                </a:lnTo>
                <a:lnTo>
                  <a:pt x="4304" y="1862"/>
                </a:lnTo>
                <a:cubicBezTo>
                  <a:pt x="4335" y="1830"/>
                  <a:pt x="4383" y="1830"/>
                  <a:pt x="4415" y="1862"/>
                </a:cubicBezTo>
                <a:cubicBezTo>
                  <a:pt x="4447" y="1894"/>
                  <a:pt x="4447" y="1941"/>
                  <a:pt x="4415" y="1973"/>
                </a:cubicBezTo>
                <a:lnTo>
                  <a:pt x="3667" y="2721"/>
                </a:lnTo>
                <a:lnTo>
                  <a:pt x="4113" y="3166"/>
                </a:lnTo>
                <a:close/>
                <a:moveTo>
                  <a:pt x="3985" y="4057"/>
                </a:moveTo>
                <a:lnTo>
                  <a:pt x="4383" y="3660"/>
                </a:lnTo>
                <a:lnTo>
                  <a:pt x="3174" y="2451"/>
                </a:lnTo>
                <a:lnTo>
                  <a:pt x="2776" y="2864"/>
                </a:lnTo>
                <a:cubicBezTo>
                  <a:pt x="2665" y="2960"/>
                  <a:pt x="2617" y="3118"/>
                  <a:pt x="2633" y="3294"/>
                </a:cubicBezTo>
                <a:cubicBezTo>
                  <a:pt x="2665" y="3469"/>
                  <a:pt x="2744" y="3644"/>
                  <a:pt x="2856" y="3755"/>
                </a:cubicBezTo>
                <a:lnTo>
                  <a:pt x="3205" y="4105"/>
                </a:lnTo>
                <a:cubicBezTo>
                  <a:pt x="3476" y="4375"/>
                  <a:pt x="3778" y="4264"/>
                  <a:pt x="3985" y="4057"/>
                </a:cubicBezTo>
                <a:close/>
              </a:path>
            </a:pathLst>
          </a:custGeom>
          <a:solidFill>
            <a:schemeClr val="accent2"/>
          </a:solidFill>
          <a:ln cap="flat">
            <a:noFill/>
            <a:prstDash val="solid"/>
          </a:ln>
        </p:spPr>
        <p:txBody>
          <a:bodyPr vert="horz" wrap="none" lIns="28440" tIns="28440" rIns="28440" bIns="2844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200965357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People - 1</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129" name="TextBox 128">
            <a:extLst>
              <a:ext uri="{FF2B5EF4-FFF2-40B4-BE49-F238E27FC236}">
                <a16:creationId xmlns:a16="http://schemas.microsoft.com/office/drawing/2014/main" id="{9C90785B-CD33-DB48-9A59-FAB7D0D07F2F}"/>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30" name="TextBox 29">
            <a:extLst>
              <a:ext uri="{FF2B5EF4-FFF2-40B4-BE49-F238E27FC236}">
                <a16:creationId xmlns:a16="http://schemas.microsoft.com/office/drawing/2014/main" id="{B69244FC-B906-C94A-A751-3C4EFE47E910}"/>
              </a:ext>
            </a:extLst>
          </p:cNvPr>
          <p:cNvSpPr txBox="1"/>
          <p:nvPr/>
        </p:nvSpPr>
        <p:spPr>
          <a:xfrm>
            <a:off x="1052420" y="5164929"/>
            <a:ext cx="3153820" cy="89383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a:t>Consumer Person Man Male</a:t>
            </a:r>
            <a:endParaRPr lang="en-US" sz="2800" dirty="0"/>
          </a:p>
        </p:txBody>
      </p:sp>
      <p:sp>
        <p:nvSpPr>
          <p:cNvPr id="31" name="TextBox 30">
            <a:extLst>
              <a:ext uri="{FF2B5EF4-FFF2-40B4-BE49-F238E27FC236}">
                <a16:creationId xmlns:a16="http://schemas.microsoft.com/office/drawing/2014/main" id="{6D9636A4-BD98-044C-B7F8-9E7D8D983323}"/>
              </a:ext>
            </a:extLst>
          </p:cNvPr>
          <p:cNvSpPr txBox="1"/>
          <p:nvPr/>
        </p:nvSpPr>
        <p:spPr>
          <a:xfrm>
            <a:off x="5032286" y="5164929"/>
            <a:ext cx="3502114"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Consumer Person Woman Female</a:t>
            </a:r>
            <a:endParaRPr lang="en-US" sz="2800" dirty="0"/>
          </a:p>
        </p:txBody>
      </p:sp>
      <p:sp>
        <p:nvSpPr>
          <p:cNvPr id="32" name="TextBox 31">
            <a:extLst>
              <a:ext uri="{FF2B5EF4-FFF2-40B4-BE49-F238E27FC236}">
                <a16:creationId xmlns:a16="http://schemas.microsoft.com/office/drawing/2014/main" id="{B4E67193-2099-2947-93D3-296485E74F90}"/>
              </a:ext>
            </a:extLst>
          </p:cNvPr>
          <p:cNvSpPr txBox="1"/>
          <p:nvPr/>
        </p:nvSpPr>
        <p:spPr>
          <a:xfrm>
            <a:off x="9084538" y="5164929"/>
            <a:ext cx="3564662"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onsumers People Team</a:t>
            </a:r>
          </a:p>
        </p:txBody>
      </p:sp>
      <p:sp>
        <p:nvSpPr>
          <p:cNvPr id="33" name="TextBox 32">
            <a:extLst>
              <a:ext uri="{FF2B5EF4-FFF2-40B4-BE49-F238E27FC236}">
                <a16:creationId xmlns:a16="http://schemas.microsoft.com/office/drawing/2014/main" id="{6AD32953-2A9A-CE46-B6C9-F438F70997D5}"/>
              </a:ext>
            </a:extLst>
          </p:cNvPr>
          <p:cNvSpPr txBox="1"/>
          <p:nvPr/>
        </p:nvSpPr>
        <p:spPr>
          <a:xfrm>
            <a:off x="13111734" y="5164929"/>
            <a:ext cx="3341968"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rtner Team Delegation Process</a:t>
            </a:r>
          </a:p>
        </p:txBody>
      </p:sp>
      <p:sp>
        <p:nvSpPr>
          <p:cNvPr id="34" name="TextBox 33">
            <a:extLst>
              <a:ext uri="{FF2B5EF4-FFF2-40B4-BE49-F238E27FC236}">
                <a16:creationId xmlns:a16="http://schemas.microsoft.com/office/drawing/2014/main" id="{DC568C17-8894-E34A-8349-DA54B74EAB6C}"/>
              </a:ext>
            </a:extLst>
          </p:cNvPr>
          <p:cNvSpPr txBox="1"/>
          <p:nvPr/>
        </p:nvSpPr>
        <p:spPr>
          <a:xfrm>
            <a:off x="20219674" y="5164929"/>
            <a:ext cx="3671564"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eople Organize Process</a:t>
            </a:r>
          </a:p>
        </p:txBody>
      </p:sp>
      <p:sp>
        <p:nvSpPr>
          <p:cNvPr id="35" name="TextBox 34">
            <a:extLst>
              <a:ext uri="{FF2B5EF4-FFF2-40B4-BE49-F238E27FC236}">
                <a16:creationId xmlns:a16="http://schemas.microsoft.com/office/drawing/2014/main" id="{B94B1FB7-8520-784E-A4C6-0CE13FA89D3C}"/>
              </a:ext>
            </a:extLst>
          </p:cNvPr>
          <p:cNvSpPr txBox="1"/>
          <p:nvPr/>
        </p:nvSpPr>
        <p:spPr>
          <a:xfrm>
            <a:off x="717140" y="8292956"/>
            <a:ext cx="3824380"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eople Team Leader Consumers</a:t>
            </a:r>
          </a:p>
        </p:txBody>
      </p:sp>
      <p:sp>
        <p:nvSpPr>
          <p:cNvPr id="36" name="TextBox 35">
            <a:extLst>
              <a:ext uri="{FF2B5EF4-FFF2-40B4-BE49-F238E27FC236}">
                <a16:creationId xmlns:a16="http://schemas.microsoft.com/office/drawing/2014/main" id="{53A853FA-6F5C-7341-934C-8042177C7081}"/>
              </a:ext>
            </a:extLst>
          </p:cNvPr>
          <p:cNvSpPr txBox="1"/>
          <p:nvPr/>
        </p:nvSpPr>
        <p:spPr>
          <a:xfrm>
            <a:off x="9033007" y="8292956"/>
            <a:ext cx="3502114"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eople Team Leader Consumers-2</a:t>
            </a:r>
          </a:p>
        </p:txBody>
      </p:sp>
      <p:sp>
        <p:nvSpPr>
          <p:cNvPr id="37" name="TextBox 36">
            <a:extLst>
              <a:ext uri="{FF2B5EF4-FFF2-40B4-BE49-F238E27FC236}">
                <a16:creationId xmlns:a16="http://schemas.microsoft.com/office/drawing/2014/main" id="{7571CD6C-FB2B-CF45-A634-EF9410E6855D}"/>
              </a:ext>
            </a:extLst>
          </p:cNvPr>
          <p:cNvSpPr txBox="1"/>
          <p:nvPr/>
        </p:nvSpPr>
        <p:spPr>
          <a:xfrm>
            <a:off x="13085259" y="8292956"/>
            <a:ext cx="3564662"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eople Team Leader Delegation</a:t>
            </a:r>
          </a:p>
        </p:txBody>
      </p:sp>
      <p:sp>
        <p:nvSpPr>
          <p:cNvPr id="38" name="TextBox 37">
            <a:extLst>
              <a:ext uri="{FF2B5EF4-FFF2-40B4-BE49-F238E27FC236}">
                <a16:creationId xmlns:a16="http://schemas.microsoft.com/office/drawing/2014/main" id="{782A03FA-76DB-C44F-870D-1915F048F884}"/>
              </a:ext>
            </a:extLst>
          </p:cNvPr>
          <p:cNvSpPr txBox="1"/>
          <p:nvPr/>
        </p:nvSpPr>
        <p:spPr>
          <a:xfrm>
            <a:off x="13582018" y="11279907"/>
            <a:ext cx="2621444" cy="1294585"/>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rocess Communicate Org Chart</a:t>
            </a:r>
          </a:p>
        </p:txBody>
      </p:sp>
      <p:sp>
        <p:nvSpPr>
          <p:cNvPr id="39" name="TextBox 38">
            <a:extLst>
              <a:ext uri="{FF2B5EF4-FFF2-40B4-BE49-F238E27FC236}">
                <a16:creationId xmlns:a16="http://schemas.microsoft.com/office/drawing/2014/main" id="{602203A4-8B28-A342-92DE-FB1E4DACCABE}"/>
              </a:ext>
            </a:extLst>
          </p:cNvPr>
          <p:cNvSpPr txBox="1"/>
          <p:nvPr/>
        </p:nvSpPr>
        <p:spPr>
          <a:xfrm>
            <a:off x="20572486" y="8672080"/>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eam</a:t>
            </a:r>
          </a:p>
        </p:txBody>
      </p:sp>
      <p:sp>
        <p:nvSpPr>
          <p:cNvPr id="40" name="TextBox 39">
            <a:extLst>
              <a:ext uri="{FF2B5EF4-FFF2-40B4-BE49-F238E27FC236}">
                <a16:creationId xmlns:a16="http://schemas.microsoft.com/office/drawing/2014/main" id="{F4C91E26-92FA-4F43-9813-BE2A2ED2FB69}"/>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eam 2</a:t>
            </a:r>
          </a:p>
        </p:txBody>
      </p:sp>
      <p:sp>
        <p:nvSpPr>
          <p:cNvPr id="41" name="TextBox 40">
            <a:extLst>
              <a:ext uri="{FF2B5EF4-FFF2-40B4-BE49-F238E27FC236}">
                <a16:creationId xmlns:a16="http://schemas.microsoft.com/office/drawing/2014/main" id="{AE08BA21-985C-BD40-9EDA-B554CEDB12A9}"/>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arehouse</a:t>
            </a:r>
          </a:p>
        </p:txBody>
      </p:sp>
      <p:sp>
        <p:nvSpPr>
          <p:cNvPr id="42" name="TextBox 41">
            <a:extLst>
              <a:ext uri="{FF2B5EF4-FFF2-40B4-BE49-F238E27FC236}">
                <a16:creationId xmlns:a16="http://schemas.microsoft.com/office/drawing/2014/main" id="{F4C23B64-1573-5947-827A-5503791EDE57}"/>
              </a:ext>
            </a:extLst>
          </p:cNvPr>
          <p:cNvSpPr txBox="1"/>
          <p:nvPr/>
        </p:nvSpPr>
        <p:spPr>
          <a:xfrm>
            <a:off x="9013116"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vatar </a:t>
            </a:r>
          </a:p>
        </p:txBody>
      </p:sp>
      <p:sp>
        <p:nvSpPr>
          <p:cNvPr id="44" name="TextBox 43">
            <a:extLst>
              <a:ext uri="{FF2B5EF4-FFF2-40B4-BE49-F238E27FC236}">
                <a16:creationId xmlns:a16="http://schemas.microsoft.com/office/drawing/2014/main" id="{60AA5ADB-A666-4B43-8300-95DFC3DD2A13}"/>
              </a:ext>
            </a:extLst>
          </p:cNvPr>
          <p:cNvSpPr txBox="1"/>
          <p:nvPr/>
        </p:nvSpPr>
        <p:spPr>
          <a:xfrm>
            <a:off x="4915838" y="8471705"/>
            <a:ext cx="3708396"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eople Team Leader Consumers  Female</a:t>
            </a:r>
          </a:p>
        </p:txBody>
      </p:sp>
      <p:sp>
        <p:nvSpPr>
          <p:cNvPr id="45" name="Freeform: Shape 26">
            <a:extLst>
              <a:ext uri="{FF2B5EF4-FFF2-40B4-BE49-F238E27FC236}">
                <a16:creationId xmlns:a16="http://schemas.microsoft.com/office/drawing/2014/main" id="{DB2897B6-2766-EB4F-9836-782CE69FAA90}"/>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6" name="TextBox 45">
            <a:extLst>
              <a:ext uri="{FF2B5EF4-FFF2-40B4-BE49-F238E27FC236}">
                <a16:creationId xmlns:a16="http://schemas.microsoft.com/office/drawing/2014/main" id="{EADDB510-053B-CE4B-BAE4-58AAEDDC3AA8}"/>
              </a:ext>
            </a:extLst>
          </p:cNvPr>
          <p:cNvSpPr txBox="1"/>
          <p:nvPr/>
        </p:nvSpPr>
        <p:spPr>
          <a:xfrm>
            <a:off x="16697542" y="5164929"/>
            <a:ext cx="3241460"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rtner Team Leader</a:t>
            </a:r>
          </a:p>
        </p:txBody>
      </p:sp>
      <p:sp>
        <p:nvSpPr>
          <p:cNvPr id="47" name="TextBox 46">
            <a:extLst>
              <a:ext uri="{FF2B5EF4-FFF2-40B4-BE49-F238E27FC236}">
                <a16:creationId xmlns:a16="http://schemas.microsoft.com/office/drawing/2014/main" id="{BF3CADB5-B857-4948-AB78-6783E69762CE}"/>
              </a:ext>
            </a:extLst>
          </p:cNvPr>
          <p:cNvSpPr txBox="1"/>
          <p:nvPr/>
        </p:nvSpPr>
        <p:spPr>
          <a:xfrm>
            <a:off x="16447964" y="8292956"/>
            <a:ext cx="3491038" cy="1294585"/>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rocess Human Resources Organize Org Chart</a:t>
            </a:r>
          </a:p>
        </p:txBody>
      </p:sp>
      <p:sp>
        <p:nvSpPr>
          <p:cNvPr id="48" name="Freeform: Shape 4">
            <a:extLst>
              <a:ext uri="{FF2B5EF4-FFF2-40B4-BE49-F238E27FC236}">
                <a16:creationId xmlns:a16="http://schemas.microsoft.com/office/drawing/2014/main" id="{A47B97E0-2E2F-364C-B8FB-BAD07156693E}"/>
              </a:ext>
            </a:extLst>
          </p:cNvPr>
          <p:cNvSpPr/>
          <p:nvPr/>
        </p:nvSpPr>
        <p:spPr>
          <a:xfrm>
            <a:off x="1936004" y="3221748"/>
            <a:ext cx="1448999" cy="1625760"/>
          </a:xfrm>
          <a:custGeom>
            <a:avLst/>
            <a:gdLst/>
            <a:ahLst/>
            <a:cxnLst>
              <a:cxn ang="3cd4">
                <a:pos x="hc" y="t"/>
              </a:cxn>
              <a:cxn ang="cd2">
                <a:pos x="l" y="vc"/>
              </a:cxn>
              <a:cxn ang="cd4">
                <a:pos x="hc" y="b"/>
              </a:cxn>
              <a:cxn ang="0">
                <a:pos x="r" y="vc"/>
              </a:cxn>
            </a:cxnLst>
            <a:rect l="l" t="t" r="r" b="b"/>
            <a:pathLst>
              <a:path w="4026" h="4517">
                <a:moveTo>
                  <a:pt x="955" y="3387"/>
                </a:moveTo>
                <a:cubicBezTo>
                  <a:pt x="350" y="3387"/>
                  <a:pt x="0" y="3706"/>
                  <a:pt x="0" y="4231"/>
                </a:cubicBezTo>
                <a:cubicBezTo>
                  <a:pt x="0" y="4438"/>
                  <a:pt x="0" y="4438"/>
                  <a:pt x="0" y="4438"/>
                </a:cubicBezTo>
                <a:cubicBezTo>
                  <a:pt x="0" y="4486"/>
                  <a:pt x="32" y="4517"/>
                  <a:pt x="80" y="4517"/>
                </a:cubicBezTo>
                <a:cubicBezTo>
                  <a:pt x="128" y="4517"/>
                  <a:pt x="159" y="4486"/>
                  <a:pt x="159" y="4438"/>
                </a:cubicBezTo>
                <a:cubicBezTo>
                  <a:pt x="159" y="4231"/>
                  <a:pt x="159" y="4231"/>
                  <a:pt x="159" y="4231"/>
                </a:cubicBezTo>
                <a:cubicBezTo>
                  <a:pt x="159" y="3642"/>
                  <a:pt x="653" y="3547"/>
                  <a:pt x="955" y="3547"/>
                </a:cubicBezTo>
                <a:cubicBezTo>
                  <a:pt x="1225" y="3547"/>
                  <a:pt x="1225" y="3547"/>
                  <a:pt x="1225" y="3547"/>
                </a:cubicBezTo>
                <a:cubicBezTo>
                  <a:pt x="1258" y="3547"/>
                  <a:pt x="1273" y="3531"/>
                  <a:pt x="1289" y="3515"/>
                </a:cubicBezTo>
                <a:cubicBezTo>
                  <a:pt x="1591" y="3101"/>
                  <a:pt x="1591" y="3101"/>
                  <a:pt x="1591" y="3101"/>
                </a:cubicBezTo>
                <a:cubicBezTo>
                  <a:pt x="1703" y="3165"/>
                  <a:pt x="1830" y="3196"/>
                  <a:pt x="1958" y="3196"/>
                </a:cubicBezTo>
                <a:cubicBezTo>
                  <a:pt x="2116" y="3196"/>
                  <a:pt x="2259" y="3149"/>
                  <a:pt x="2387" y="3069"/>
                </a:cubicBezTo>
                <a:cubicBezTo>
                  <a:pt x="2673" y="3515"/>
                  <a:pt x="2673" y="3515"/>
                  <a:pt x="2673" y="3515"/>
                </a:cubicBezTo>
                <a:cubicBezTo>
                  <a:pt x="2673" y="3531"/>
                  <a:pt x="2705" y="3547"/>
                  <a:pt x="2737" y="3547"/>
                </a:cubicBezTo>
                <a:cubicBezTo>
                  <a:pt x="3007" y="3547"/>
                  <a:pt x="3007" y="3547"/>
                  <a:pt x="3007" y="3547"/>
                </a:cubicBezTo>
                <a:cubicBezTo>
                  <a:pt x="3421" y="3547"/>
                  <a:pt x="3867" y="3722"/>
                  <a:pt x="3867" y="4231"/>
                </a:cubicBezTo>
                <a:cubicBezTo>
                  <a:pt x="3867" y="4438"/>
                  <a:pt x="3867" y="4438"/>
                  <a:pt x="3867" y="4438"/>
                </a:cubicBezTo>
                <a:cubicBezTo>
                  <a:pt x="3867" y="4486"/>
                  <a:pt x="3898" y="4517"/>
                  <a:pt x="3946" y="4517"/>
                </a:cubicBezTo>
                <a:cubicBezTo>
                  <a:pt x="3994" y="4517"/>
                  <a:pt x="4026" y="4486"/>
                  <a:pt x="4026" y="4438"/>
                </a:cubicBezTo>
                <a:cubicBezTo>
                  <a:pt x="4026" y="4231"/>
                  <a:pt x="4026" y="4231"/>
                  <a:pt x="4026" y="4231"/>
                </a:cubicBezTo>
                <a:cubicBezTo>
                  <a:pt x="4026" y="3722"/>
                  <a:pt x="3628" y="3387"/>
                  <a:pt x="3007" y="3387"/>
                </a:cubicBezTo>
                <a:cubicBezTo>
                  <a:pt x="2785" y="3387"/>
                  <a:pt x="2785" y="3387"/>
                  <a:pt x="2785" y="3387"/>
                </a:cubicBezTo>
                <a:cubicBezTo>
                  <a:pt x="2514" y="2974"/>
                  <a:pt x="2514" y="2974"/>
                  <a:pt x="2514" y="2974"/>
                </a:cubicBezTo>
                <a:cubicBezTo>
                  <a:pt x="2769" y="2751"/>
                  <a:pt x="2944" y="2401"/>
                  <a:pt x="2960" y="2067"/>
                </a:cubicBezTo>
                <a:cubicBezTo>
                  <a:pt x="3055" y="2035"/>
                  <a:pt x="3135" y="1940"/>
                  <a:pt x="3135" y="1813"/>
                </a:cubicBezTo>
                <a:cubicBezTo>
                  <a:pt x="3135" y="1431"/>
                  <a:pt x="3135" y="1431"/>
                  <a:pt x="3135" y="1431"/>
                </a:cubicBezTo>
                <a:cubicBezTo>
                  <a:pt x="3135" y="1367"/>
                  <a:pt x="3135" y="1287"/>
                  <a:pt x="3087" y="1240"/>
                </a:cubicBezTo>
                <a:cubicBezTo>
                  <a:pt x="3055" y="1208"/>
                  <a:pt x="3023" y="1192"/>
                  <a:pt x="2992" y="1192"/>
                </a:cubicBezTo>
                <a:cubicBezTo>
                  <a:pt x="2992" y="890"/>
                  <a:pt x="2992" y="890"/>
                  <a:pt x="2992" y="890"/>
                </a:cubicBezTo>
                <a:cubicBezTo>
                  <a:pt x="2976" y="301"/>
                  <a:pt x="2626" y="110"/>
                  <a:pt x="2435" y="47"/>
                </a:cubicBezTo>
                <a:cubicBezTo>
                  <a:pt x="2085" y="-65"/>
                  <a:pt x="1655" y="31"/>
                  <a:pt x="1512" y="253"/>
                </a:cubicBezTo>
                <a:lnTo>
                  <a:pt x="1496" y="253"/>
                </a:lnTo>
                <a:cubicBezTo>
                  <a:pt x="1146" y="253"/>
                  <a:pt x="891" y="524"/>
                  <a:pt x="891" y="890"/>
                </a:cubicBezTo>
                <a:cubicBezTo>
                  <a:pt x="891" y="1176"/>
                  <a:pt x="891" y="1176"/>
                  <a:pt x="891" y="1176"/>
                </a:cubicBezTo>
                <a:cubicBezTo>
                  <a:pt x="859" y="1192"/>
                  <a:pt x="844" y="1208"/>
                  <a:pt x="812" y="1224"/>
                </a:cubicBezTo>
                <a:cubicBezTo>
                  <a:pt x="764" y="1272"/>
                  <a:pt x="732" y="1351"/>
                  <a:pt x="748" y="1447"/>
                </a:cubicBezTo>
                <a:cubicBezTo>
                  <a:pt x="748" y="1813"/>
                  <a:pt x="748" y="1813"/>
                  <a:pt x="748" y="1813"/>
                </a:cubicBezTo>
                <a:cubicBezTo>
                  <a:pt x="748" y="1924"/>
                  <a:pt x="828" y="2035"/>
                  <a:pt x="955" y="2067"/>
                </a:cubicBezTo>
                <a:cubicBezTo>
                  <a:pt x="971" y="2417"/>
                  <a:pt x="1162" y="2783"/>
                  <a:pt x="1448" y="3006"/>
                </a:cubicBezTo>
                <a:cubicBezTo>
                  <a:pt x="1194" y="3387"/>
                  <a:pt x="1194" y="3387"/>
                  <a:pt x="1194" y="3387"/>
                </a:cubicBezTo>
                <a:close/>
                <a:moveTo>
                  <a:pt x="1098" y="2004"/>
                </a:moveTo>
                <a:cubicBezTo>
                  <a:pt x="1098" y="1956"/>
                  <a:pt x="1067" y="1924"/>
                  <a:pt x="1019" y="1924"/>
                </a:cubicBezTo>
                <a:cubicBezTo>
                  <a:pt x="955" y="1924"/>
                  <a:pt x="907" y="1876"/>
                  <a:pt x="907" y="1813"/>
                </a:cubicBezTo>
                <a:cubicBezTo>
                  <a:pt x="907" y="1431"/>
                  <a:pt x="907" y="1431"/>
                  <a:pt x="907" y="1431"/>
                </a:cubicBezTo>
                <a:cubicBezTo>
                  <a:pt x="891" y="1383"/>
                  <a:pt x="907" y="1351"/>
                  <a:pt x="923" y="1335"/>
                </a:cubicBezTo>
                <a:cubicBezTo>
                  <a:pt x="923" y="1335"/>
                  <a:pt x="939" y="1335"/>
                  <a:pt x="955" y="1335"/>
                </a:cubicBezTo>
                <a:cubicBezTo>
                  <a:pt x="987" y="1335"/>
                  <a:pt x="1003" y="1335"/>
                  <a:pt x="1019" y="1319"/>
                </a:cubicBezTo>
                <a:cubicBezTo>
                  <a:pt x="1035" y="1304"/>
                  <a:pt x="1050" y="1272"/>
                  <a:pt x="1050" y="1256"/>
                </a:cubicBezTo>
                <a:cubicBezTo>
                  <a:pt x="1050" y="890"/>
                  <a:pt x="1050" y="890"/>
                  <a:pt x="1050" y="890"/>
                </a:cubicBezTo>
                <a:cubicBezTo>
                  <a:pt x="1050" y="604"/>
                  <a:pt x="1225" y="413"/>
                  <a:pt x="1480" y="413"/>
                </a:cubicBezTo>
                <a:cubicBezTo>
                  <a:pt x="1528" y="413"/>
                  <a:pt x="1591" y="396"/>
                  <a:pt x="1623" y="349"/>
                </a:cubicBezTo>
                <a:cubicBezTo>
                  <a:pt x="1735" y="205"/>
                  <a:pt x="2085" y="110"/>
                  <a:pt x="2387" y="205"/>
                </a:cubicBezTo>
                <a:cubicBezTo>
                  <a:pt x="2578" y="269"/>
                  <a:pt x="2816" y="428"/>
                  <a:pt x="2832" y="890"/>
                </a:cubicBezTo>
                <a:cubicBezTo>
                  <a:pt x="2832" y="1256"/>
                  <a:pt x="2832" y="1256"/>
                  <a:pt x="2832" y="1256"/>
                </a:cubicBezTo>
                <a:cubicBezTo>
                  <a:pt x="2832" y="1304"/>
                  <a:pt x="2864" y="1335"/>
                  <a:pt x="2912" y="1335"/>
                </a:cubicBezTo>
                <a:cubicBezTo>
                  <a:pt x="2960" y="1335"/>
                  <a:pt x="2960" y="1351"/>
                  <a:pt x="2960" y="1351"/>
                </a:cubicBezTo>
                <a:cubicBezTo>
                  <a:pt x="2976" y="1351"/>
                  <a:pt x="2976" y="1399"/>
                  <a:pt x="2976" y="1447"/>
                </a:cubicBezTo>
                <a:cubicBezTo>
                  <a:pt x="2976" y="1813"/>
                  <a:pt x="2976" y="1813"/>
                  <a:pt x="2976" y="1813"/>
                </a:cubicBezTo>
                <a:cubicBezTo>
                  <a:pt x="2976" y="1860"/>
                  <a:pt x="2944" y="1924"/>
                  <a:pt x="2880" y="1924"/>
                </a:cubicBezTo>
                <a:cubicBezTo>
                  <a:pt x="2832" y="1924"/>
                  <a:pt x="2801" y="1956"/>
                  <a:pt x="2801" y="2004"/>
                </a:cubicBezTo>
                <a:cubicBezTo>
                  <a:pt x="2801" y="2465"/>
                  <a:pt x="2435" y="3038"/>
                  <a:pt x="1958" y="3038"/>
                </a:cubicBezTo>
                <a:cubicBezTo>
                  <a:pt x="1496" y="3038"/>
                  <a:pt x="1098" y="2465"/>
                  <a:pt x="1098" y="200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9" name="Freeform: Shape 5">
            <a:extLst>
              <a:ext uri="{FF2B5EF4-FFF2-40B4-BE49-F238E27FC236}">
                <a16:creationId xmlns:a16="http://schemas.microsoft.com/office/drawing/2014/main" id="{32332B01-1B9F-A54F-8A61-838C9E006FE3}"/>
              </a:ext>
            </a:extLst>
          </p:cNvPr>
          <p:cNvSpPr/>
          <p:nvPr/>
        </p:nvSpPr>
        <p:spPr>
          <a:xfrm>
            <a:off x="6127152" y="3124921"/>
            <a:ext cx="1448639" cy="1746360"/>
          </a:xfrm>
          <a:custGeom>
            <a:avLst/>
            <a:gdLst/>
            <a:ahLst/>
            <a:cxnLst>
              <a:cxn ang="3cd4">
                <a:pos x="hc" y="t"/>
              </a:cxn>
              <a:cxn ang="cd2">
                <a:pos x="l" y="vc"/>
              </a:cxn>
              <a:cxn ang="cd4">
                <a:pos x="hc" y="b"/>
              </a:cxn>
              <a:cxn ang="0">
                <a:pos x="r" y="vc"/>
              </a:cxn>
            </a:cxnLst>
            <a:rect l="l" t="t" r="r" b="b"/>
            <a:pathLst>
              <a:path w="4025" h="4852">
                <a:moveTo>
                  <a:pt x="0" y="4741"/>
                </a:moveTo>
                <a:cubicBezTo>
                  <a:pt x="0" y="4788"/>
                  <a:pt x="31" y="4820"/>
                  <a:pt x="79" y="4820"/>
                </a:cubicBezTo>
                <a:cubicBezTo>
                  <a:pt x="127" y="4820"/>
                  <a:pt x="159" y="4788"/>
                  <a:pt x="159" y="4741"/>
                </a:cubicBezTo>
                <a:cubicBezTo>
                  <a:pt x="159" y="4374"/>
                  <a:pt x="302" y="4104"/>
                  <a:pt x="573" y="3993"/>
                </a:cubicBezTo>
                <a:cubicBezTo>
                  <a:pt x="588" y="3993"/>
                  <a:pt x="588" y="3977"/>
                  <a:pt x="588" y="3977"/>
                </a:cubicBezTo>
                <a:cubicBezTo>
                  <a:pt x="700" y="3945"/>
                  <a:pt x="827" y="3913"/>
                  <a:pt x="970" y="3913"/>
                </a:cubicBezTo>
                <a:cubicBezTo>
                  <a:pt x="1543" y="3913"/>
                  <a:pt x="1543" y="3913"/>
                  <a:pt x="1543" y="3913"/>
                </a:cubicBezTo>
                <a:cubicBezTo>
                  <a:pt x="1591" y="3913"/>
                  <a:pt x="1623" y="3882"/>
                  <a:pt x="1623" y="3834"/>
                </a:cubicBezTo>
                <a:cubicBezTo>
                  <a:pt x="1623" y="3420"/>
                  <a:pt x="1623" y="3420"/>
                  <a:pt x="1623" y="3420"/>
                </a:cubicBezTo>
                <a:cubicBezTo>
                  <a:pt x="1734" y="3483"/>
                  <a:pt x="1845" y="3531"/>
                  <a:pt x="1957" y="3531"/>
                </a:cubicBezTo>
                <a:cubicBezTo>
                  <a:pt x="2132" y="3531"/>
                  <a:pt x="2291" y="3468"/>
                  <a:pt x="2450" y="3373"/>
                </a:cubicBezTo>
                <a:cubicBezTo>
                  <a:pt x="2450" y="3834"/>
                  <a:pt x="2450" y="3834"/>
                  <a:pt x="2450" y="3834"/>
                </a:cubicBezTo>
                <a:cubicBezTo>
                  <a:pt x="2450" y="3882"/>
                  <a:pt x="2482" y="3913"/>
                  <a:pt x="2530" y="3913"/>
                </a:cubicBezTo>
                <a:cubicBezTo>
                  <a:pt x="3007" y="3913"/>
                  <a:pt x="3007" y="3913"/>
                  <a:pt x="3007" y="3913"/>
                </a:cubicBezTo>
                <a:cubicBezTo>
                  <a:pt x="3532" y="3913"/>
                  <a:pt x="3866" y="4247"/>
                  <a:pt x="3866" y="4773"/>
                </a:cubicBezTo>
                <a:cubicBezTo>
                  <a:pt x="3866" y="4820"/>
                  <a:pt x="3898" y="4852"/>
                  <a:pt x="3946" y="4852"/>
                </a:cubicBezTo>
                <a:cubicBezTo>
                  <a:pt x="3993" y="4852"/>
                  <a:pt x="4025" y="4820"/>
                  <a:pt x="4025" y="4773"/>
                </a:cubicBezTo>
                <a:cubicBezTo>
                  <a:pt x="4025" y="4486"/>
                  <a:pt x="3930" y="4247"/>
                  <a:pt x="3787" y="4073"/>
                </a:cubicBezTo>
                <a:cubicBezTo>
                  <a:pt x="3787" y="4056"/>
                  <a:pt x="3787" y="4025"/>
                  <a:pt x="3770" y="4009"/>
                </a:cubicBezTo>
                <a:cubicBezTo>
                  <a:pt x="3612" y="3706"/>
                  <a:pt x="3627" y="3182"/>
                  <a:pt x="3643" y="2625"/>
                </a:cubicBezTo>
                <a:cubicBezTo>
                  <a:pt x="3659" y="1829"/>
                  <a:pt x="3691" y="938"/>
                  <a:pt x="3182" y="429"/>
                </a:cubicBezTo>
                <a:cubicBezTo>
                  <a:pt x="2911" y="143"/>
                  <a:pt x="2514" y="0"/>
                  <a:pt x="1957" y="0"/>
                </a:cubicBezTo>
                <a:cubicBezTo>
                  <a:pt x="1527" y="0"/>
                  <a:pt x="1193" y="127"/>
                  <a:pt x="954" y="381"/>
                </a:cubicBezTo>
                <a:cubicBezTo>
                  <a:pt x="414" y="970"/>
                  <a:pt x="493" y="2115"/>
                  <a:pt x="541" y="2959"/>
                </a:cubicBezTo>
                <a:cubicBezTo>
                  <a:pt x="573" y="3309"/>
                  <a:pt x="605" y="3754"/>
                  <a:pt x="525" y="3834"/>
                </a:cubicBezTo>
                <a:cubicBezTo>
                  <a:pt x="191" y="3977"/>
                  <a:pt x="0" y="4295"/>
                  <a:pt x="0" y="4741"/>
                </a:cubicBezTo>
                <a:close/>
                <a:moveTo>
                  <a:pt x="1623" y="3245"/>
                </a:moveTo>
                <a:cubicBezTo>
                  <a:pt x="1607" y="3213"/>
                  <a:pt x="1575" y="3182"/>
                  <a:pt x="1543" y="3182"/>
                </a:cubicBezTo>
                <a:cubicBezTo>
                  <a:pt x="1273" y="2943"/>
                  <a:pt x="1050" y="2529"/>
                  <a:pt x="1050" y="2211"/>
                </a:cubicBezTo>
                <a:lnTo>
                  <a:pt x="1050" y="2195"/>
                </a:lnTo>
                <a:cubicBezTo>
                  <a:pt x="1002" y="1192"/>
                  <a:pt x="1527" y="1113"/>
                  <a:pt x="2005" y="1049"/>
                </a:cubicBezTo>
                <a:cubicBezTo>
                  <a:pt x="2179" y="1018"/>
                  <a:pt x="2355" y="1002"/>
                  <a:pt x="2482" y="922"/>
                </a:cubicBezTo>
                <a:cubicBezTo>
                  <a:pt x="2609" y="1161"/>
                  <a:pt x="2879" y="1622"/>
                  <a:pt x="2927" y="2227"/>
                </a:cubicBezTo>
                <a:cubicBezTo>
                  <a:pt x="2927" y="2736"/>
                  <a:pt x="2482" y="3373"/>
                  <a:pt x="1957" y="3373"/>
                </a:cubicBezTo>
                <a:cubicBezTo>
                  <a:pt x="1845" y="3373"/>
                  <a:pt x="1734" y="3325"/>
                  <a:pt x="1623" y="3245"/>
                </a:cubicBezTo>
                <a:close/>
                <a:moveTo>
                  <a:pt x="700" y="2943"/>
                </a:moveTo>
                <a:cubicBezTo>
                  <a:pt x="652" y="2131"/>
                  <a:pt x="573" y="1034"/>
                  <a:pt x="1082" y="492"/>
                </a:cubicBezTo>
                <a:cubicBezTo>
                  <a:pt x="1288" y="270"/>
                  <a:pt x="1575" y="158"/>
                  <a:pt x="1957" y="158"/>
                </a:cubicBezTo>
                <a:cubicBezTo>
                  <a:pt x="2466" y="158"/>
                  <a:pt x="2832" y="286"/>
                  <a:pt x="3070" y="540"/>
                </a:cubicBezTo>
                <a:cubicBezTo>
                  <a:pt x="3532" y="1002"/>
                  <a:pt x="3500" y="1861"/>
                  <a:pt x="3484" y="2625"/>
                </a:cubicBezTo>
                <a:cubicBezTo>
                  <a:pt x="3468" y="3102"/>
                  <a:pt x="3452" y="3547"/>
                  <a:pt x="3548" y="3897"/>
                </a:cubicBezTo>
                <a:cubicBezTo>
                  <a:pt x="3405" y="3802"/>
                  <a:pt x="3214" y="3754"/>
                  <a:pt x="3007" y="3754"/>
                </a:cubicBezTo>
                <a:cubicBezTo>
                  <a:pt x="2609" y="3754"/>
                  <a:pt x="2609" y="3754"/>
                  <a:pt x="2609" y="3754"/>
                </a:cubicBezTo>
                <a:cubicBezTo>
                  <a:pt x="2609" y="3261"/>
                  <a:pt x="2609" y="3261"/>
                  <a:pt x="2609" y="3261"/>
                </a:cubicBezTo>
                <a:cubicBezTo>
                  <a:pt x="2896" y="2991"/>
                  <a:pt x="3087" y="2577"/>
                  <a:pt x="3087" y="2211"/>
                </a:cubicBezTo>
                <a:cubicBezTo>
                  <a:pt x="3039" y="1574"/>
                  <a:pt x="2752" y="1081"/>
                  <a:pt x="2625" y="843"/>
                </a:cubicBezTo>
                <a:cubicBezTo>
                  <a:pt x="2593" y="811"/>
                  <a:pt x="2577" y="779"/>
                  <a:pt x="2577" y="763"/>
                </a:cubicBezTo>
                <a:cubicBezTo>
                  <a:pt x="2561" y="731"/>
                  <a:pt x="2530" y="715"/>
                  <a:pt x="2514" y="715"/>
                </a:cubicBezTo>
                <a:cubicBezTo>
                  <a:pt x="2482" y="715"/>
                  <a:pt x="2466" y="715"/>
                  <a:pt x="2434" y="747"/>
                </a:cubicBezTo>
                <a:cubicBezTo>
                  <a:pt x="2355" y="827"/>
                  <a:pt x="2179" y="858"/>
                  <a:pt x="1973" y="891"/>
                </a:cubicBezTo>
                <a:cubicBezTo>
                  <a:pt x="1496" y="970"/>
                  <a:pt x="827" y="1065"/>
                  <a:pt x="891" y="2259"/>
                </a:cubicBezTo>
                <a:cubicBezTo>
                  <a:pt x="907" y="2625"/>
                  <a:pt x="1145" y="3054"/>
                  <a:pt x="1464" y="3309"/>
                </a:cubicBezTo>
                <a:cubicBezTo>
                  <a:pt x="1464" y="3754"/>
                  <a:pt x="1464" y="3754"/>
                  <a:pt x="1464" y="3754"/>
                </a:cubicBezTo>
                <a:cubicBezTo>
                  <a:pt x="970" y="3754"/>
                  <a:pt x="970" y="3754"/>
                  <a:pt x="970" y="3754"/>
                </a:cubicBezTo>
                <a:cubicBezTo>
                  <a:pt x="875" y="3754"/>
                  <a:pt x="796" y="3770"/>
                  <a:pt x="716" y="3786"/>
                </a:cubicBezTo>
                <a:cubicBezTo>
                  <a:pt x="748" y="3611"/>
                  <a:pt x="732" y="3340"/>
                  <a:pt x="700" y="294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0" name="Freeform: Shape 6">
            <a:extLst>
              <a:ext uri="{FF2B5EF4-FFF2-40B4-BE49-F238E27FC236}">
                <a16:creationId xmlns:a16="http://schemas.microsoft.com/office/drawing/2014/main" id="{BE98E762-BC88-AF47-B2B6-DC121C32DB55}"/>
              </a:ext>
            </a:extLst>
          </p:cNvPr>
          <p:cNvSpPr/>
          <p:nvPr/>
        </p:nvSpPr>
        <p:spPr>
          <a:xfrm>
            <a:off x="10076669" y="3113947"/>
            <a:ext cx="1580400" cy="1713240"/>
          </a:xfrm>
          <a:custGeom>
            <a:avLst/>
            <a:gdLst/>
            <a:ahLst/>
            <a:cxnLst>
              <a:cxn ang="3cd4">
                <a:pos x="hc" y="t"/>
              </a:cxn>
              <a:cxn ang="cd2">
                <a:pos x="l" y="vc"/>
              </a:cxn>
              <a:cxn ang="cd4">
                <a:pos x="hc" y="b"/>
              </a:cxn>
              <a:cxn ang="0">
                <a:pos x="r" y="vc"/>
              </a:cxn>
            </a:cxnLst>
            <a:rect l="l" t="t" r="r" b="b"/>
            <a:pathLst>
              <a:path w="4391" h="4760">
                <a:moveTo>
                  <a:pt x="4311" y="4727"/>
                </a:moveTo>
                <a:cubicBezTo>
                  <a:pt x="4359" y="4727"/>
                  <a:pt x="4391" y="4695"/>
                  <a:pt x="4391" y="4647"/>
                </a:cubicBezTo>
                <a:lnTo>
                  <a:pt x="4391" y="4552"/>
                </a:lnTo>
                <a:cubicBezTo>
                  <a:pt x="4391" y="4281"/>
                  <a:pt x="4184" y="4106"/>
                  <a:pt x="3866" y="4106"/>
                </a:cubicBezTo>
                <a:lnTo>
                  <a:pt x="3786" y="4106"/>
                </a:lnTo>
                <a:lnTo>
                  <a:pt x="3691" y="3963"/>
                </a:lnTo>
                <a:cubicBezTo>
                  <a:pt x="3802" y="3852"/>
                  <a:pt x="3866" y="3709"/>
                  <a:pt x="3882" y="3565"/>
                </a:cubicBezTo>
                <a:cubicBezTo>
                  <a:pt x="3929" y="3534"/>
                  <a:pt x="3962" y="3470"/>
                  <a:pt x="3962" y="3406"/>
                </a:cubicBezTo>
                <a:lnTo>
                  <a:pt x="3962" y="3231"/>
                </a:lnTo>
                <a:cubicBezTo>
                  <a:pt x="3962" y="3200"/>
                  <a:pt x="3962" y="3152"/>
                  <a:pt x="3929" y="3104"/>
                </a:cubicBezTo>
                <a:cubicBezTo>
                  <a:pt x="3914" y="3104"/>
                  <a:pt x="3914" y="3088"/>
                  <a:pt x="3898" y="3088"/>
                </a:cubicBezTo>
                <a:lnTo>
                  <a:pt x="3898" y="2977"/>
                </a:lnTo>
                <a:cubicBezTo>
                  <a:pt x="3898" y="2754"/>
                  <a:pt x="3786" y="2595"/>
                  <a:pt x="3611" y="2547"/>
                </a:cubicBezTo>
                <a:cubicBezTo>
                  <a:pt x="3437" y="2483"/>
                  <a:pt x="3229" y="2531"/>
                  <a:pt x="3134" y="2627"/>
                </a:cubicBezTo>
                <a:cubicBezTo>
                  <a:pt x="2959" y="2643"/>
                  <a:pt x="2832" y="2786"/>
                  <a:pt x="2832" y="2977"/>
                </a:cubicBezTo>
                <a:lnTo>
                  <a:pt x="2832" y="3088"/>
                </a:lnTo>
                <a:cubicBezTo>
                  <a:pt x="2816" y="3088"/>
                  <a:pt x="2821" y="3099"/>
                  <a:pt x="2816" y="3104"/>
                </a:cubicBezTo>
                <a:cubicBezTo>
                  <a:pt x="2784" y="3120"/>
                  <a:pt x="2752" y="3168"/>
                  <a:pt x="2768" y="3231"/>
                </a:cubicBezTo>
                <a:lnTo>
                  <a:pt x="2768" y="3406"/>
                </a:lnTo>
                <a:cubicBezTo>
                  <a:pt x="2768" y="3470"/>
                  <a:pt x="2800" y="3534"/>
                  <a:pt x="2864" y="3565"/>
                </a:cubicBezTo>
                <a:cubicBezTo>
                  <a:pt x="2880" y="3724"/>
                  <a:pt x="2959" y="3883"/>
                  <a:pt x="3086" y="3979"/>
                </a:cubicBezTo>
                <a:lnTo>
                  <a:pt x="2991" y="4106"/>
                </a:lnTo>
                <a:lnTo>
                  <a:pt x="2895" y="4106"/>
                </a:lnTo>
                <a:cubicBezTo>
                  <a:pt x="2593" y="4106"/>
                  <a:pt x="2418" y="4281"/>
                  <a:pt x="2418" y="4552"/>
                </a:cubicBezTo>
                <a:lnTo>
                  <a:pt x="2418" y="4647"/>
                </a:lnTo>
                <a:cubicBezTo>
                  <a:pt x="2418" y="4695"/>
                  <a:pt x="2450" y="4727"/>
                  <a:pt x="2498" y="4727"/>
                </a:cubicBezTo>
                <a:cubicBezTo>
                  <a:pt x="2529" y="4727"/>
                  <a:pt x="2577" y="4695"/>
                  <a:pt x="2577" y="4647"/>
                </a:cubicBezTo>
                <a:lnTo>
                  <a:pt x="2577" y="4552"/>
                </a:lnTo>
                <a:cubicBezTo>
                  <a:pt x="2577" y="4313"/>
                  <a:pt x="2752" y="4265"/>
                  <a:pt x="2895" y="4265"/>
                </a:cubicBezTo>
                <a:lnTo>
                  <a:pt x="3039" y="4265"/>
                </a:lnTo>
                <a:cubicBezTo>
                  <a:pt x="3055" y="4265"/>
                  <a:pt x="3086" y="4249"/>
                  <a:pt x="3102" y="4234"/>
                </a:cubicBezTo>
                <a:lnTo>
                  <a:pt x="3214" y="4074"/>
                </a:lnTo>
                <a:cubicBezTo>
                  <a:pt x="3262" y="4091"/>
                  <a:pt x="3325" y="4106"/>
                  <a:pt x="3373" y="4106"/>
                </a:cubicBezTo>
                <a:cubicBezTo>
                  <a:pt x="3437" y="4106"/>
                  <a:pt x="3500" y="4091"/>
                  <a:pt x="3564" y="4058"/>
                </a:cubicBezTo>
                <a:lnTo>
                  <a:pt x="3675" y="4234"/>
                </a:lnTo>
                <a:cubicBezTo>
                  <a:pt x="3691" y="4249"/>
                  <a:pt x="3707" y="4265"/>
                  <a:pt x="3739" y="4265"/>
                </a:cubicBezTo>
                <a:lnTo>
                  <a:pt x="3866" y="4265"/>
                </a:lnTo>
                <a:cubicBezTo>
                  <a:pt x="3946" y="4265"/>
                  <a:pt x="4232" y="4297"/>
                  <a:pt x="4232" y="4552"/>
                </a:cubicBezTo>
                <a:lnTo>
                  <a:pt x="4232" y="4647"/>
                </a:lnTo>
                <a:cubicBezTo>
                  <a:pt x="4232" y="4695"/>
                  <a:pt x="4264" y="4727"/>
                  <a:pt x="4311" y="4727"/>
                </a:cubicBezTo>
                <a:close/>
                <a:moveTo>
                  <a:pt x="3023" y="3501"/>
                </a:moveTo>
                <a:cubicBezTo>
                  <a:pt x="3023" y="3454"/>
                  <a:pt x="2959" y="3406"/>
                  <a:pt x="2928" y="3406"/>
                </a:cubicBezTo>
                <a:lnTo>
                  <a:pt x="2928" y="3231"/>
                </a:lnTo>
                <a:cubicBezTo>
                  <a:pt x="2938" y="3226"/>
                  <a:pt x="2943" y="3215"/>
                  <a:pt x="2959" y="3215"/>
                </a:cubicBezTo>
                <a:cubicBezTo>
                  <a:pt x="2975" y="3200"/>
                  <a:pt x="2991" y="3168"/>
                  <a:pt x="2991" y="3152"/>
                </a:cubicBezTo>
                <a:lnTo>
                  <a:pt x="2991" y="2977"/>
                </a:lnTo>
                <a:cubicBezTo>
                  <a:pt x="2991" y="2881"/>
                  <a:pt x="3039" y="2801"/>
                  <a:pt x="3150" y="2786"/>
                </a:cubicBezTo>
                <a:cubicBezTo>
                  <a:pt x="3182" y="2801"/>
                  <a:pt x="3229" y="2786"/>
                  <a:pt x="3245" y="2754"/>
                </a:cubicBezTo>
                <a:cubicBezTo>
                  <a:pt x="3293" y="2706"/>
                  <a:pt x="3437" y="2658"/>
                  <a:pt x="3564" y="2690"/>
                </a:cubicBezTo>
                <a:cubicBezTo>
                  <a:pt x="3675" y="2738"/>
                  <a:pt x="3739" y="2834"/>
                  <a:pt x="3739" y="2977"/>
                </a:cubicBezTo>
                <a:lnTo>
                  <a:pt x="3739" y="3152"/>
                </a:lnTo>
                <a:cubicBezTo>
                  <a:pt x="3739" y="3183"/>
                  <a:pt x="3771" y="3215"/>
                  <a:pt x="3802" y="3231"/>
                </a:cubicBezTo>
                <a:lnTo>
                  <a:pt x="3802" y="3422"/>
                </a:lnTo>
                <a:cubicBezTo>
                  <a:pt x="3771" y="3422"/>
                  <a:pt x="3723" y="3454"/>
                  <a:pt x="3723" y="3501"/>
                </a:cubicBezTo>
                <a:cubicBezTo>
                  <a:pt x="3723" y="3709"/>
                  <a:pt x="3564" y="3947"/>
                  <a:pt x="3373" y="3947"/>
                </a:cubicBezTo>
                <a:cubicBezTo>
                  <a:pt x="3182" y="3947"/>
                  <a:pt x="3023" y="3692"/>
                  <a:pt x="3023" y="3501"/>
                </a:cubicBezTo>
                <a:close/>
                <a:moveTo>
                  <a:pt x="2052" y="1578"/>
                </a:moveTo>
                <a:cubicBezTo>
                  <a:pt x="2116" y="1578"/>
                  <a:pt x="2180" y="1562"/>
                  <a:pt x="2243" y="1530"/>
                </a:cubicBezTo>
                <a:lnTo>
                  <a:pt x="2355" y="1705"/>
                </a:lnTo>
                <a:cubicBezTo>
                  <a:pt x="2371" y="1737"/>
                  <a:pt x="2386" y="1753"/>
                  <a:pt x="2418" y="1753"/>
                </a:cubicBezTo>
                <a:lnTo>
                  <a:pt x="2546" y="1753"/>
                </a:lnTo>
                <a:cubicBezTo>
                  <a:pt x="2641" y="1753"/>
                  <a:pt x="2911" y="1768"/>
                  <a:pt x="2911" y="2023"/>
                </a:cubicBezTo>
                <a:lnTo>
                  <a:pt x="2911" y="2119"/>
                </a:lnTo>
                <a:cubicBezTo>
                  <a:pt x="2911" y="2166"/>
                  <a:pt x="2943" y="2198"/>
                  <a:pt x="2991" y="2198"/>
                </a:cubicBezTo>
                <a:cubicBezTo>
                  <a:pt x="3039" y="2198"/>
                  <a:pt x="3071" y="2166"/>
                  <a:pt x="3071" y="2119"/>
                </a:cubicBezTo>
                <a:lnTo>
                  <a:pt x="3071" y="2023"/>
                </a:lnTo>
                <a:cubicBezTo>
                  <a:pt x="3071" y="1768"/>
                  <a:pt x="2864" y="1593"/>
                  <a:pt x="2546" y="1593"/>
                </a:cubicBezTo>
                <a:lnTo>
                  <a:pt x="2466" y="1593"/>
                </a:lnTo>
                <a:lnTo>
                  <a:pt x="2371" y="1450"/>
                </a:lnTo>
                <a:cubicBezTo>
                  <a:pt x="2482" y="1339"/>
                  <a:pt x="2546" y="1196"/>
                  <a:pt x="2561" y="1037"/>
                </a:cubicBezTo>
                <a:cubicBezTo>
                  <a:pt x="2609" y="1005"/>
                  <a:pt x="2641" y="957"/>
                  <a:pt x="2641" y="893"/>
                </a:cubicBezTo>
                <a:lnTo>
                  <a:pt x="2641" y="719"/>
                </a:lnTo>
                <a:cubicBezTo>
                  <a:pt x="2641" y="671"/>
                  <a:pt x="2641" y="623"/>
                  <a:pt x="2609" y="591"/>
                </a:cubicBezTo>
                <a:cubicBezTo>
                  <a:pt x="2609" y="575"/>
                  <a:pt x="2593" y="575"/>
                  <a:pt x="2577" y="559"/>
                </a:cubicBezTo>
                <a:lnTo>
                  <a:pt x="2577" y="448"/>
                </a:lnTo>
                <a:cubicBezTo>
                  <a:pt x="2577" y="241"/>
                  <a:pt x="2466" y="82"/>
                  <a:pt x="2291" y="19"/>
                </a:cubicBezTo>
                <a:cubicBezTo>
                  <a:pt x="2116" y="-29"/>
                  <a:pt x="1909" y="19"/>
                  <a:pt x="1814" y="114"/>
                </a:cubicBezTo>
                <a:cubicBezTo>
                  <a:pt x="1638" y="114"/>
                  <a:pt x="1511" y="273"/>
                  <a:pt x="1511" y="448"/>
                </a:cubicBezTo>
                <a:lnTo>
                  <a:pt x="1511" y="559"/>
                </a:lnTo>
                <a:cubicBezTo>
                  <a:pt x="1511" y="575"/>
                  <a:pt x="1495" y="575"/>
                  <a:pt x="1495" y="591"/>
                </a:cubicBezTo>
                <a:cubicBezTo>
                  <a:pt x="1464" y="607"/>
                  <a:pt x="1432" y="655"/>
                  <a:pt x="1448" y="719"/>
                </a:cubicBezTo>
                <a:lnTo>
                  <a:pt x="1448" y="893"/>
                </a:lnTo>
                <a:cubicBezTo>
                  <a:pt x="1448" y="957"/>
                  <a:pt x="1480" y="1021"/>
                  <a:pt x="1543" y="1037"/>
                </a:cubicBezTo>
                <a:cubicBezTo>
                  <a:pt x="1559" y="1196"/>
                  <a:pt x="1638" y="1355"/>
                  <a:pt x="1766" y="1466"/>
                </a:cubicBezTo>
                <a:lnTo>
                  <a:pt x="1671" y="1593"/>
                </a:lnTo>
                <a:lnTo>
                  <a:pt x="1575" y="1593"/>
                </a:lnTo>
                <a:cubicBezTo>
                  <a:pt x="1273" y="1593"/>
                  <a:pt x="1098" y="1753"/>
                  <a:pt x="1098" y="2023"/>
                </a:cubicBezTo>
                <a:lnTo>
                  <a:pt x="1098" y="2119"/>
                </a:lnTo>
                <a:cubicBezTo>
                  <a:pt x="1098" y="2166"/>
                  <a:pt x="1129" y="2198"/>
                  <a:pt x="1177" y="2198"/>
                </a:cubicBezTo>
                <a:cubicBezTo>
                  <a:pt x="1209" y="2198"/>
                  <a:pt x="1257" y="2166"/>
                  <a:pt x="1257" y="2119"/>
                </a:cubicBezTo>
                <a:lnTo>
                  <a:pt x="1257" y="2023"/>
                </a:lnTo>
                <a:cubicBezTo>
                  <a:pt x="1257" y="1801"/>
                  <a:pt x="1432" y="1753"/>
                  <a:pt x="1575" y="1753"/>
                </a:cubicBezTo>
                <a:lnTo>
                  <a:pt x="1718" y="1753"/>
                </a:lnTo>
                <a:cubicBezTo>
                  <a:pt x="1734" y="1753"/>
                  <a:pt x="1766" y="1737"/>
                  <a:pt x="1782" y="1721"/>
                </a:cubicBezTo>
                <a:lnTo>
                  <a:pt x="1893" y="1546"/>
                </a:lnTo>
                <a:cubicBezTo>
                  <a:pt x="1941" y="1578"/>
                  <a:pt x="2004" y="1578"/>
                  <a:pt x="2052" y="1578"/>
                </a:cubicBezTo>
                <a:close/>
                <a:moveTo>
                  <a:pt x="1702" y="973"/>
                </a:moveTo>
                <a:cubicBezTo>
                  <a:pt x="1702" y="941"/>
                  <a:pt x="1638" y="893"/>
                  <a:pt x="1607" y="893"/>
                </a:cubicBezTo>
                <a:lnTo>
                  <a:pt x="1607" y="719"/>
                </a:lnTo>
                <a:lnTo>
                  <a:pt x="1607" y="702"/>
                </a:lnTo>
                <a:cubicBezTo>
                  <a:pt x="1623" y="702"/>
                  <a:pt x="1623" y="702"/>
                  <a:pt x="1638" y="687"/>
                </a:cubicBezTo>
                <a:cubicBezTo>
                  <a:pt x="1655" y="671"/>
                  <a:pt x="1671" y="655"/>
                  <a:pt x="1671" y="623"/>
                </a:cubicBezTo>
                <a:lnTo>
                  <a:pt x="1671" y="448"/>
                </a:lnTo>
                <a:cubicBezTo>
                  <a:pt x="1671" y="353"/>
                  <a:pt x="1734" y="273"/>
                  <a:pt x="1829" y="273"/>
                </a:cubicBezTo>
                <a:cubicBezTo>
                  <a:pt x="1861" y="273"/>
                  <a:pt x="1909" y="257"/>
                  <a:pt x="1941" y="225"/>
                </a:cubicBezTo>
                <a:cubicBezTo>
                  <a:pt x="1973" y="177"/>
                  <a:pt x="2116" y="130"/>
                  <a:pt x="2243" y="177"/>
                </a:cubicBezTo>
                <a:cubicBezTo>
                  <a:pt x="2355" y="210"/>
                  <a:pt x="2418" y="305"/>
                  <a:pt x="2418" y="448"/>
                </a:cubicBezTo>
                <a:lnTo>
                  <a:pt x="2418" y="623"/>
                </a:lnTo>
                <a:cubicBezTo>
                  <a:pt x="2418" y="671"/>
                  <a:pt x="2450" y="702"/>
                  <a:pt x="2482" y="702"/>
                </a:cubicBezTo>
                <a:lnTo>
                  <a:pt x="2482" y="719"/>
                </a:lnTo>
                <a:lnTo>
                  <a:pt x="2482" y="893"/>
                </a:lnTo>
                <a:cubicBezTo>
                  <a:pt x="2450" y="893"/>
                  <a:pt x="2402" y="941"/>
                  <a:pt x="2402" y="973"/>
                </a:cubicBezTo>
                <a:cubicBezTo>
                  <a:pt x="2402" y="1180"/>
                  <a:pt x="2259" y="1419"/>
                  <a:pt x="2052" y="1419"/>
                </a:cubicBezTo>
                <a:cubicBezTo>
                  <a:pt x="1861" y="1419"/>
                  <a:pt x="1702" y="1180"/>
                  <a:pt x="1702" y="973"/>
                </a:cubicBezTo>
                <a:close/>
                <a:moveTo>
                  <a:pt x="1114" y="4346"/>
                </a:moveTo>
                <a:lnTo>
                  <a:pt x="1320" y="4346"/>
                </a:lnTo>
                <a:cubicBezTo>
                  <a:pt x="1527" y="4346"/>
                  <a:pt x="1638" y="4473"/>
                  <a:pt x="1638" y="4680"/>
                </a:cubicBezTo>
                <a:cubicBezTo>
                  <a:pt x="1638" y="4712"/>
                  <a:pt x="1686" y="4760"/>
                  <a:pt x="1718" y="4760"/>
                </a:cubicBezTo>
                <a:cubicBezTo>
                  <a:pt x="1766" y="4760"/>
                  <a:pt x="1798" y="4712"/>
                  <a:pt x="1798" y="4680"/>
                </a:cubicBezTo>
                <a:cubicBezTo>
                  <a:pt x="1798" y="4584"/>
                  <a:pt x="1782" y="4489"/>
                  <a:pt x="1750" y="4426"/>
                </a:cubicBezTo>
                <a:cubicBezTo>
                  <a:pt x="1766" y="4393"/>
                  <a:pt x="1782" y="4362"/>
                  <a:pt x="1766" y="4330"/>
                </a:cubicBezTo>
                <a:cubicBezTo>
                  <a:pt x="1686" y="4187"/>
                  <a:pt x="1702" y="3948"/>
                  <a:pt x="1702" y="3693"/>
                </a:cubicBezTo>
                <a:cubicBezTo>
                  <a:pt x="1718" y="3312"/>
                  <a:pt x="1734" y="2882"/>
                  <a:pt x="1480" y="2628"/>
                </a:cubicBezTo>
                <a:cubicBezTo>
                  <a:pt x="1337" y="2484"/>
                  <a:pt x="1145" y="2405"/>
                  <a:pt x="875" y="2405"/>
                </a:cubicBezTo>
                <a:cubicBezTo>
                  <a:pt x="652" y="2405"/>
                  <a:pt x="493" y="2468"/>
                  <a:pt x="366" y="2612"/>
                </a:cubicBezTo>
                <a:cubicBezTo>
                  <a:pt x="95" y="2898"/>
                  <a:pt x="127" y="3439"/>
                  <a:pt x="159" y="3853"/>
                </a:cubicBezTo>
                <a:cubicBezTo>
                  <a:pt x="175" y="3996"/>
                  <a:pt x="175" y="4187"/>
                  <a:pt x="159" y="4235"/>
                </a:cubicBezTo>
                <a:cubicBezTo>
                  <a:pt x="143" y="4250"/>
                  <a:pt x="127" y="4282"/>
                  <a:pt x="127" y="4314"/>
                </a:cubicBezTo>
                <a:cubicBezTo>
                  <a:pt x="47" y="4393"/>
                  <a:pt x="0" y="4505"/>
                  <a:pt x="0" y="4664"/>
                </a:cubicBezTo>
                <a:cubicBezTo>
                  <a:pt x="0" y="4712"/>
                  <a:pt x="32" y="4744"/>
                  <a:pt x="80" y="4744"/>
                </a:cubicBezTo>
                <a:cubicBezTo>
                  <a:pt x="111" y="4744"/>
                  <a:pt x="159" y="4712"/>
                  <a:pt x="159" y="4664"/>
                </a:cubicBezTo>
                <a:cubicBezTo>
                  <a:pt x="159" y="4457"/>
                  <a:pt x="255" y="4346"/>
                  <a:pt x="461" y="4346"/>
                </a:cubicBezTo>
                <a:lnTo>
                  <a:pt x="700" y="4346"/>
                </a:lnTo>
                <a:cubicBezTo>
                  <a:pt x="747" y="4346"/>
                  <a:pt x="780" y="4314"/>
                  <a:pt x="780" y="4266"/>
                </a:cubicBezTo>
                <a:lnTo>
                  <a:pt x="780" y="4171"/>
                </a:lnTo>
                <a:cubicBezTo>
                  <a:pt x="811" y="4187"/>
                  <a:pt x="843" y="4187"/>
                  <a:pt x="875" y="4187"/>
                </a:cubicBezTo>
                <a:cubicBezTo>
                  <a:pt x="938" y="4187"/>
                  <a:pt x="986" y="4171"/>
                  <a:pt x="1034" y="4155"/>
                </a:cubicBezTo>
                <a:lnTo>
                  <a:pt x="1034" y="4266"/>
                </a:lnTo>
                <a:cubicBezTo>
                  <a:pt x="1034" y="4314"/>
                  <a:pt x="1081" y="4346"/>
                  <a:pt x="1114" y="4346"/>
                </a:cubicBezTo>
                <a:close/>
                <a:moveTo>
                  <a:pt x="620" y="4187"/>
                </a:moveTo>
                <a:lnTo>
                  <a:pt x="461" y="4187"/>
                </a:lnTo>
                <a:cubicBezTo>
                  <a:pt x="413" y="4187"/>
                  <a:pt x="366" y="4203"/>
                  <a:pt x="318" y="4203"/>
                </a:cubicBezTo>
                <a:cubicBezTo>
                  <a:pt x="334" y="4123"/>
                  <a:pt x="334" y="3996"/>
                  <a:pt x="318" y="3837"/>
                </a:cubicBezTo>
                <a:cubicBezTo>
                  <a:pt x="286" y="3471"/>
                  <a:pt x="255" y="2962"/>
                  <a:pt x="477" y="2707"/>
                </a:cubicBezTo>
                <a:cubicBezTo>
                  <a:pt x="573" y="2612"/>
                  <a:pt x="700" y="2564"/>
                  <a:pt x="875" y="2564"/>
                </a:cubicBezTo>
                <a:cubicBezTo>
                  <a:pt x="1098" y="2564"/>
                  <a:pt x="1257" y="2628"/>
                  <a:pt x="1368" y="2739"/>
                </a:cubicBezTo>
                <a:cubicBezTo>
                  <a:pt x="1575" y="2946"/>
                  <a:pt x="1559" y="3328"/>
                  <a:pt x="1543" y="3693"/>
                </a:cubicBezTo>
                <a:cubicBezTo>
                  <a:pt x="1543" y="3901"/>
                  <a:pt x="1527" y="4092"/>
                  <a:pt x="1575" y="4250"/>
                </a:cubicBezTo>
                <a:cubicBezTo>
                  <a:pt x="1495" y="4219"/>
                  <a:pt x="1416" y="4187"/>
                  <a:pt x="1320" y="4187"/>
                </a:cubicBezTo>
                <a:lnTo>
                  <a:pt x="1193" y="4187"/>
                </a:lnTo>
                <a:lnTo>
                  <a:pt x="1193" y="4044"/>
                </a:lnTo>
                <a:cubicBezTo>
                  <a:pt x="1320" y="3932"/>
                  <a:pt x="1400" y="3741"/>
                  <a:pt x="1400" y="3582"/>
                </a:cubicBezTo>
                <a:cubicBezTo>
                  <a:pt x="1384" y="3296"/>
                  <a:pt x="1257" y="3073"/>
                  <a:pt x="1193" y="2978"/>
                </a:cubicBezTo>
                <a:cubicBezTo>
                  <a:pt x="1193" y="2962"/>
                  <a:pt x="1182" y="2957"/>
                  <a:pt x="1177" y="2946"/>
                </a:cubicBezTo>
                <a:cubicBezTo>
                  <a:pt x="1161" y="2914"/>
                  <a:pt x="1145" y="2898"/>
                  <a:pt x="1114" y="2898"/>
                </a:cubicBezTo>
                <a:cubicBezTo>
                  <a:pt x="1098" y="2898"/>
                  <a:pt x="1066" y="2898"/>
                  <a:pt x="1050" y="2914"/>
                </a:cubicBezTo>
                <a:cubicBezTo>
                  <a:pt x="1018" y="2946"/>
                  <a:pt x="955" y="2962"/>
                  <a:pt x="875" y="2978"/>
                </a:cubicBezTo>
                <a:cubicBezTo>
                  <a:pt x="668" y="3010"/>
                  <a:pt x="350" y="3057"/>
                  <a:pt x="382" y="3598"/>
                </a:cubicBezTo>
                <a:cubicBezTo>
                  <a:pt x="382" y="3757"/>
                  <a:pt x="477" y="3948"/>
                  <a:pt x="620" y="4075"/>
                </a:cubicBezTo>
                <a:close/>
                <a:moveTo>
                  <a:pt x="764" y="3980"/>
                </a:moveTo>
                <a:cubicBezTo>
                  <a:pt x="764" y="3964"/>
                  <a:pt x="747" y="3964"/>
                  <a:pt x="716" y="3948"/>
                </a:cubicBezTo>
                <a:cubicBezTo>
                  <a:pt x="620" y="3853"/>
                  <a:pt x="541" y="3693"/>
                  <a:pt x="541" y="3582"/>
                </a:cubicBezTo>
                <a:lnTo>
                  <a:pt x="525" y="3582"/>
                </a:lnTo>
                <a:cubicBezTo>
                  <a:pt x="525" y="3184"/>
                  <a:pt x="700" y="3153"/>
                  <a:pt x="907" y="3121"/>
                </a:cubicBezTo>
                <a:cubicBezTo>
                  <a:pt x="970" y="3121"/>
                  <a:pt x="1034" y="3105"/>
                  <a:pt x="1081" y="3089"/>
                </a:cubicBezTo>
                <a:cubicBezTo>
                  <a:pt x="1145" y="3184"/>
                  <a:pt x="1225" y="3375"/>
                  <a:pt x="1241" y="3582"/>
                </a:cubicBezTo>
                <a:cubicBezTo>
                  <a:pt x="1241" y="3773"/>
                  <a:pt x="1066" y="4028"/>
                  <a:pt x="875" y="4028"/>
                </a:cubicBezTo>
                <a:cubicBezTo>
                  <a:pt x="843" y="4028"/>
                  <a:pt x="811" y="4012"/>
                  <a:pt x="764" y="398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1" name="Freeform: Shape 7">
            <a:extLst>
              <a:ext uri="{FF2B5EF4-FFF2-40B4-BE49-F238E27FC236}">
                <a16:creationId xmlns:a16="http://schemas.microsoft.com/office/drawing/2014/main" id="{B5067914-E650-4D44-9F82-EC2F30055578}"/>
              </a:ext>
            </a:extLst>
          </p:cNvPr>
          <p:cNvSpPr/>
          <p:nvPr/>
        </p:nvSpPr>
        <p:spPr>
          <a:xfrm>
            <a:off x="17301580" y="2695081"/>
            <a:ext cx="1855439" cy="2176200"/>
          </a:xfrm>
          <a:custGeom>
            <a:avLst/>
            <a:gdLst/>
            <a:ahLst/>
            <a:cxnLst>
              <a:cxn ang="3cd4">
                <a:pos x="hc" y="t"/>
              </a:cxn>
              <a:cxn ang="cd2">
                <a:pos x="l" y="vc"/>
              </a:cxn>
              <a:cxn ang="cd4">
                <a:pos x="hc" y="b"/>
              </a:cxn>
              <a:cxn ang="0">
                <a:pos x="r" y="vc"/>
              </a:cxn>
            </a:cxnLst>
            <a:rect l="l" t="t" r="r" b="b"/>
            <a:pathLst>
              <a:path w="5155" h="6046">
                <a:moveTo>
                  <a:pt x="1941" y="5075"/>
                </a:moveTo>
                <a:cubicBezTo>
                  <a:pt x="1941" y="4837"/>
                  <a:pt x="1845" y="4614"/>
                  <a:pt x="1702" y="4439"/>
                </a:cubicBezTo>
                <a:cubicBezTo>
                  <a:pt x="1813" y="4328"/>
                  <a:pt x="1813" y="4328"/>
                  <a:pt x="1813" y="4328"/>
                </a:cubicBezTo>
                <a:cubicBezTo>
                  <a:pt x="2020" y="4502"/>
                  <a:pt x="2291" y="4598"/>
                  <a:pt x="2577" y="4598"/>
                </a:cubicBezTo>
                <a:cubicBezTo>
                  <a:pt x="2864" y="4598"/>
                  <a:pt x="3134" y="4502"/>
                  <a:pt x="3341" y="4343"/>
                </a:cubicBezTo>
                <a:cubicBezTo>
                  <a:pt x="3452" y="4455"/>
                  <a:pt x="3452" y="4455"/>
                  <a:pt x="3452" y="4455"/>
                </a:cubicBezTo>
                <a:cubicBezTo>
                  <a:pt x="3309" y="4614"/>
                  <a:pt x="3229" y="4837"/>
                  <a:pt x="3229" y="5075"/>
                </a:cubicBezTo>
                <a:cubicBezTo>
                  <a:pt x="3229" y="5616"/>
                  <a:pt x="3659" y="6046"/>
                  <a:pt x="4200" y="6046"/>
                </a:cubicBezTo>
                <a:cubicBezTo>
                  <a:pt x="4725" y="6046"/>
                  <a:pt x="5155" y="5616"/>
                  <a:pt x="5155" y="5075"/>
                </a:cubicBezTo>
                <a:cubicBezTo>
                  <a:pt x="5155" y="4550"/>
                  <a:pt x="4725" y="4105"/>
                  <a:pt x="4200" y="4105"/>
                </a:cubicBezTo>
                <a:cubicBezTo>
                  <a:pt x="3961" y="4105"/>
                  <a:pt x="3738" y="4200"/>
                  <a:pt x="3579" y="4343"/>
                </a:cubicBezTo>
                <a:cubicBezTo>
                  <a:pt x="3468" y="4232"/>
                  <a:pt x="3468" y="4232"/>
                  <a:pt x="3468" y="4232"/>
                </a:cubicBezTo>
                <a:cubicBezTo>
                  <a:pt x="3691" y="4010"/>
                  <a:pt x="3850" y="3691"/>
                  <a:pt x="3850" y="3325"/>
                </a:cubicBezTo>
                <a:cubicBezTo>
                  <a:pt x="3850" y="2657"/>
                  <a:pt x="3309" y="2116"/>
                  <a:pt x="2656" y="2068"/>
                </a:cubicBezTo>
                <a:cubicBezTo>
                  <a:pt x="2656" y="1925"/>
                  <a:pt x="2656" y="1925"/>
                  <a:pt x="2656" y="1925"/>
                </a:cubicBezTo>
                <a:cubicBezTo>
                  <a:pt x="3150" y="1893"/>
                  <a:pt x="3547" y="1480"/>
                  <a:pt x="3547" y="971"/>
                </a:cubicBezTo>
                <a:cubicBezTo>
                  <a:pt x="3547" y="429"/>
                  <a:pt x="3118" y="0"/>
                  <a:pt x="2577" y="0"/>
                </a:cubicBezTo>
                <a:cubicBezTo>
                  <a:pt x="2052" y="0"/>
                  <a:pt x="1622" y="429"/>
                  <a:pt x="1622" y="971"/>
                </a:cubicBezTo>
                <a:cubicBezTo>
                  <a:pt x="1622" y="1464"/>
                  <a:pt x="2004" y="1877"/>
                  <a:pt x="2498" y="1925"/>
                </a:cubicBezTo>
                <a:cubicBezTo>
                  <a:pt x="2498" y="2068"/>
                  <a:pt x="2498" y="2068"/>
                  <a:pt x="2498" y="2068"/>
                </a:cubicBezTo>
                <a:cubicBezTo>
                  <a:pt x="1845" y="2116"/>
                  <a:pt x="1320" y="2673"/>
                  <a:pt x="1320" y="3325"/>
                </a:cubicBezTo>
                <a:cubicBezTo>
                  <a:pt x="1320" y="3675"/>
                  <a:pt x="1464" y="3993"/>
                  <a:pt x="1686" y="4232"/>
                </a:cubicBezTo>
                <a:cubicBezTo>
                  <a:pt x="1575" y="4328"/>
                  <a:pt x="1575" y="4328"/>
                  <a:pt x="1575" y="4328"/>
                </a:cubicBezTo>
                <a:cubicBezTo>
                  <a:pt x="1416" y="4200"/>
                  <a:pt x="1193" y="4105"/>
                  <a:pt x="970" y="4105"/>
                </a:cubicBezTo>
                <a:cubicBezTo>
                  <a:pt x="429" y="4105"/>
                  <a:pt x="0" y="4550"/>
                  <a:pt x="0" y="5075"/>
                </a:cubicBezTo>
                <a:cubicBezTo>
                  <a:pt x="0" y="5616"/>
                  <a:pt x="429" y="6046"/>
                  <a:pt x="970" y="6046"/>
                </a:cubicBezTo>
                <a:cubicBezTo>
                  <a:pt x="1495" y="6046"/>
                  <a:pt x="1941" y="5616"/>
                  <a:pt x="1941" y="5075"/>
                </a:cubicBezTo>
                <a:close/>
                <a:moveTo>
                  <a:pt x="3691" y="5711"/>
                </a:moveTo>
                <a:cubicBezTo>
                  <a:pt x="3723" y="5696"/>
                  <a:pt x="3723" y="5680"/>
                  <a:pt x="3723" y="5648"/>
                </a:cubicBezTo>
                <a:cubicBezTo>
                  <a:pt x="3723" y="5584"/>
                  <a:pt x="3723" y="5584"/>
                  <a:pt x="3723" y="5584"/>
                </a:cubicBezTo>
                <a:cubicBezTo>
                  <a:pt x="3723" y="5553"/>
                  <a:pt x="3723" y="5457"/>
                  <a:pt x="3898" y="5457"/>
                </a:cubicBezTo>
                <a:cubicBezTo>
                  <a:pt x="3977" y="5457"/>
                  <a:pt x="3977" y="5457"/>
                  <a:pt x="3977" y="5457"/>
                </a:cubicBezTo>
                <a:cubicBezTo>
                  <a:pt x="3993" y="5457"/>
                  <a:pt x="4025" y="5441"/>
                  <a:pt x="4041" y="5425"/>
                </a:cubicBezTo>
                <a:cubicBezTo>
                  <a:pt x="4089" y="5346"/>
                  <a:pt x="4089" y="5346"/>
                  <a:pt x="4089" y="5346"/>
                </a:cubicBezTo>
                <a:cubicBezTo>
                  <a:pt x="4120" y="5346"/>
                  <a:pt x="4152" y="5362"/>
                  <a:pt x="4184" y="5362"/>
                </a:cubicBezTo>
                <a:cubicBezTo>
                  <a:pt x="4216" y="5362"/>
                  <a:pt x="4247" y="5346"/>
                  <a:pt x="4279" y="5330"/>
                </a:cubicBezTo>
                <a:cubicBezTo>
                  <a:pt x="4327" y="5425"/>
                  <a:pt x="4327" y="5425"/>
                  <a:pt x="4327" y="5425"/>
                </a:cubicBezTo>
                <a:cubicBezTo>
                  <a:pt x="4343" y="5441"/>
                  <a:pt x="4375" y="5457"/>
                  <a:pt x="4391" y="5457"/>
                </a:cubicBezTo>
                <a:cubicBezTo>
                  <a:pt x="4470" y="5457"/>
                  <a:pt x="4470" y="5457"/>
                  <a:pt x="4470" y="5457"/>
                </a:cubicBezTo>
                <a:cubicBezTo>
                  <a:pt x="4534" y="5457"/>
                  <a:pt x="4661" y="5473"/>
                  <a:pt x="4661" y="5584"/>
                </a:cubicBezTo>
                <a:cubicBezTo>
                  <a:pt x="4661" y="5648"/>
                  <a:pt x="4661" y="5648"/>
                  <a:pt x="4661" y="5648"/>
                </a:cubicBezTo>
                <a:cubicBezTo>
                  <a:pt x="4661" y="5680"/>
                  <a:pt x="4677" y="5696"/>
                  <a:pt x="4693" y="5711"/>
                </a:cubicBezTo>
                <a:cubicBezTo>
                  <a:pt x="4550" y="5823"/>
                  <a:pt x="4375" y="5887"/>
                  <a:pt x="4200" y="5887"/>
                </a:cubicBezTo>
                <a:cubicBezTo>
                  <a:pt x="4009" y="5887"/>
                  <a:pt x="3834" y="5823"/>
                  <a:pt x="3691" y="5711"/>
                </a:cubicBezTo>
                <a:close/>
                <a:moveTo>
                  <a:pt x="3945" y="4884"/>
                </a:moveTo>
                <a:cubicBezTo>
                  <a:pt x="3945" y="4821"/>
                  <a:pt x="3945" y="4821"/>
                  <a:pt x="3945" y="4821"/>
                </a:cubicBezTo>
                <a:lnTo>
                  <a:pt x="3945" y="4805"/>
                </a:lnTo>
                <a:cubicBezTo>
                  <a:pt x="3961" y="4805"/>
                  <a:pt x="3977" y="4773"/>
                  <a:pt x="3977" y="4757"/>
                </a:cubicBezTo>
                <a:cubicBezTo>
                  <a:pt x="3977" y="4646"/>
                  <a:pt x="3977" y="4646"/>
                  <a:pt x="3977" y="4646"/>
                </a:cubicBezTo>
                <a:cubicBezTo>
                  <a:pt x="3977" y="4614"/>
                  <a:pt x="3993" y="4566"/>
                  <a:pt x="4041" y="4566"/>
                </a:cubicBezTo>
                <a:cubicBezTo>
                  <a:pt x="4073" y="4566"/>
                  <a:pt x="4104" y="4566"/>
                  <a:pt x="4136" y="4534"/>
                </a:cubicBezTo>
                <a:cubicBezTo>
                  <a:pt x="4152" y="4519"/>
                  <a:pt x="4216" y="4487"/>
                  <a:pt x="4279" y="4502"/>
                </a:cubicBezTo>
                <a:cubicBezTo>
                  <a:pt x="4343" y="4534"/>
                  <a:pt x="4359" y="4566"/>
                  <a:pt x="4375" y="4646"/>
                </a:cubicBezTo>
                <a:cubicBezTo>
                  <a:pt x="4375" y="4757"/>
                  <a:pt x="4375" y="4757"/>
                  <a:pt x="4375" y="4757"/>
                </a:cubicBezTo>
                <a:cubicBezTo>
                  <a:pt x="4375" y="4773"/>
                  <a:pt x="4391" y="4805"/>
                  <a:pt x="4407" y="4821"/>
                </a:cubicBezTo>
                <a:cubicBezTo>
                  <a:pt x="4407" y="4884"/>
                  <a:pt x="4407" y="4884"/>
                  <a:pt x="4407" y="4884"/>
                </a:cubicBezTo>
                <a:cubicBezTo>
                  <a:pt x="4375" y="4900"/>
                  <a:pt x="4359" y="4932"/>
                  <a:pt x="4359" y="4964"/>
                </a:cubicBezTo>
                <a:cubicBezTo>
                  <a:pt x="4359" y="5059"/>
                  <a:pt x="4279" y="5202"/>
                  <a:pt x="4184" y="5202"/>
                </a:cubicBezTo>
                <a:cubicBezTo>
                  <a:pt x="4089" y="5202"/>
                  <a:pt x="3993" y="5059"/>
                  <a:pt x="3993" y="4964"/>
                </a:cubicBezTo>
                <a:cubicBezTo>
                  <a:pt x="3993" y="4932"/>
                  <a:pt x="3977" y="4900"/>
                  <a:pt x="3945" y="4884"/>
                </a:cubicBezTo>
                <a:close/>
                <a:moveTo>
                  <a:pt x="4995" y="5075"/>
                </a:moveTo>
                <a:cubicBezTo>
                  <a:pt x="4995" y="5266"/>
                  <a:pt x="4932" y="5441"/>
                  <a:pt x="4820" y="5584"/>
                </a:cubicBezTo>
                <a:cubicBezTo>
                  <a:pt x="4820" y="5410"/>
                  <a:pt x="4677" y="5298"/>
                  <a:pt x="4470" y="5298"/>
                </a:cubicBezTo>
                <a:cubicBezTo>
                  <a:pt x="4438" y="5298"/>
                  <a:pt x="4438" y="5298"/>
                  <a:pt x="4438" y="5298"/>
                </a:cubicBezTo>
                <a:cubicBezTo>
                  <a:pt x="4407" y="5250"/>
                  <a:pt x="4407" y="5250"/>
                  <a:pt x="4407" y="5250"/>
                </a:cubicBezTo>
                <a:cubicBezTo>
                  <a:pt x="4470" y="5187"/>
                  <a:pt x="4502" y="5091"/>
                  <a:pt x="4518" y="5011"/>
                </a:cubicBezTo>
                <a:cubicBezTo>
                  <a:pt x="4550" y="4996"/>
                  <a:pt x="4566" y="4948"/>
                  <a:pt x="4566" y="4916"/>
                </a:cubicBezTo>
                <a:cubicBezTo>
                  <a:pt x="4566" y="4805"/>
                  <a:pt x="4566" y="4805"/>
                  <a:pt x="4566" y="4805"/>
                </a:cubicBezTo>
                <a:cubicBezTo>
                  <a:pt x="4566" y="4773"/>
                  <a:pt x="4566" y="4741"/>
                  <a:pt x="4534" y="4710"/>
                </a:cubicBezTo>
                <a:cubicBezTo>
                  <a:pt x="4534" y="4693"/>
                  <a:pt x="4534" y="4693"/>
                  <a:pt x="4518" y="4693"/>
                </a:cubicBezTo>
                <a:cubicBezTo>
                  <a:pt x="4518" y="4646"/>
                  <a:pt x="4518" y="4646"/>
                  <a:pt x="4518" y="4646"/>
                </a:cubicBezTo>
                <a:cubicBezTo>
                  <a:pt x="4518" y="4502"/>
                  <a:pt x="4455" y="4391"/>
                  <a:pt x="4327" y="4359"/>
                </a:cubicBezTo>
                <a:cubicBezTo>
                  <a:pt x="4216" y="4328"/>
                  <a:pt x="4089" y="4343"/>
                  <a:pt x="4025" y="4407"/>
                </a:cubicBezTo>
                <a:cubicBezTo>
                  <a:pt x="3913" y="4423"/>
                  <a:pt x="3818" y="4519"/>
                  <a:pt x="3818" y="4646"/>
                </a:cubicBezTo>
                <a:cubicBezTo>
                  <a:pt x="3818" y="4693"/>
                  <a:pt x="3818" y="4693"/>
                  <a:pt x="3818" y="4693"/>
                </a:cubicBezTo>
                <a:cubicBezTo>
                  <a:pt x="3802" y="4710"/>
                  <a:pt x="3770" y="4757"/>
                  <a:pt x="3786" y="4805"/>
                </a:cubicBezTo>
                <a:cubicBezTo>
                  <a:pt x="3786" y="4916"/>
                  <a:pt x="3786" y="4916"/>
                  <a:pt x="3786" y="4916"/>
                </a:cubicBezTo>
                <a:cubicBezTo>
                  <a:pt x="3786" y="4948"/>
                  <a:pt x="3802" y="4996"/>
                  <a:pt x="3834" y="5011"/>
                </a:cubicBezTo>
                <a:cubicBezTo>
                  <a:pt x="3850" y="5107"/>
                  <a:pt x="3898" y="5187"/>
                  <a:pt x="3961" y="5250"/>
                </a:cubicBezTo>
                <a:cubicBezTo>
                  <a:pt x="3929" y="5298"/>
                  <a:pt x="3929" y="5298"/>
                  <a:pt x="3929" y="5298"/>
                </a:cubicBezTo>
                <a:cubicBezTo>
                  <a:pt x="3898" y="5298"/>
                  <a:pt x="3898" y="5298"/>
                  <a:pt x="3898" y="5298"/>
                </a:cubicBezTo>
                <a:cubicBezTo>
                  <a:pt x="3691" y="5298"/>
                  <a:pt x="3564" y="5410"/>
                  <a:pt x="3564" y="5584"/>
                </a:cubicBezTo>
                <a:cubicBezTo>
                  <a:pt x="3452" y="5441"/>
                  <a:pt x="3389" y="5266"/>
                  <a:pt x="3389" y="5075"/>
                </a:cubicBezTo>
                <a:cubicBezTo>
                  <a:pt x="3389" y="4630"/>
                  <a:pt x="3755" y="4264"/>
                  <a:pt x="4200" y="4264"/>
                </a:cubicBezTo>
                <a:cubicBezTo>
                  <a:pt x="4646" y="4264"/>
                  <a:pt x="4995" y="4630"/>
                  <a:pt x="4995" y="5075"/>
                </a:cubicBezTo>
                <a:close/>
                <a:moveTo>
                  <a:pt x="1861" y="4168"/>
                </a:moveTo>
                <a:cubicBezTo>
                  <a:pt x="1909" y="4168"/>
                  <a:pt x="1925" y="4137"/>
                  <a:pt x="1925" y="4089"/>
                </a:cubicBezTo>
                <a:cubicBezTo>
                  <a:pt x="1925" y="4010"/>
                  <a:pt x="1925" y="4010"/>
                  <a:pt x="1925" y="4010"/>
                </a:cubicBezTo>
                <a:cubicBezTo>
                  <a:pt x="1925" y="3850"/>
                  <a:pt x="2068" y="3802"/>
                  <a:pt x="2179" y="3802"/>
                </a:cubicBezTo>
                <a:cubicBezTo>
                  <a:pt x="2291" y="3802"/>
                  <a:pt x="2291" y="3802"/>
                  <a:pt x="2291" y="3802"/>
                </a:cubicBezTo>
                <a:cubicBezTo>
                  <a:pt x="2307" y="3802"/>
                  <a:pt x="2338" y="3802"/>
                  <a:pt x="2354" y="3771"/>
                </a:cubicBezTo>
                <a:cubicBezTo>
                  <a:pt x="2434" y="3643"/>
                  <a:pt x="2434" y="3643"/>
                  <a:pt x="2434" y="3643"/>
                </a:cubicBezTo>
                <a:cubicBezTo>
                  <a:pt x="2482" y="3659"/>
                  <a:pt x="2513" y="3675"/>
                  <a:pt x="2561" y="3675"/>
                </a:cubicBezTo>
                <a:cubicBezTo>
                  <a:pt x="2609" y="3675"/>
                  <a:pt x="2656" y="3659"/>
                  <a:pt x="2704" y="3643"/>
                </a:cubicBezTo>
                <a:cubicBezTo>
                  <a:pt x="2784" y="3771"/>
                  <a:pt x="2784" y="3771"/>
                  <a:pt x="2784" y="3771"/>
                </a:cubicBezTo>
                <a:cubicBezTo>
                  <a:pt x="2800" y="3787"/>
                  <a:pt x="2832" y="3802"/>
                  <a:pt x="2847" y="3802"/>
                </a:cubicBezTo>
                <a:cubicBezTo>
                  <a:pt x="2959" y="3802"/>
                  <a:pt x="2959" y="3802"/>
                  <a:pt x="2959" y="3802"/>
                </a:cubicBezTo>
                <a:cubicBezTo>
                  <a:pt x="3022" y="3802"/>
                  <a:pt x="3229" y="3819"/>
                  <a:pt x="3229" y="4010"/>
                </a:cubicBezTo>
                <a:cubicBezTo>
                  <a:pt x="3229" y="4089"/>
                  <a:pt x="3229" y="4089"/>
                  <a:pt x="3229" y="4089"/>
                </a:cubicBezTo>
                <a:cubicBezTo>
                  <a:pt x="3229" y="4137"/>
                  <a:pt x="3261" y="4168"/>
                  <a:pt x="3293" y="4168"/>
                </a:cubicBezTo>
                <a:lnTo>
                  <a:pt x="3277" y="4184"/>
                </a:lnTo>
                <a:cubicBezTo>
                  <a:pt x="3086" y="4343"/>
                  <a:pt x="2847" y="4439"/>
                  <a:pt x="2577" y="4439"/>
                </a:cubicBezTo>
                <a:cubicBezTo>
                  <a:pt x="2307" y="4439"/>
                  <a:pt x="2052" y="4328"/>
                  <a:pt x="1861" y="4168"/>
                </a:cubicBezTo>
                <a:close/>
                <a:moveTo>
                  <a:pt x="2895" y="2975"/>
                </a:moveTo>
                <a:cubicBezTo>
                  <a:pt x="2911" y="3102"/>
                  <a:pt x="2911" y="3102"/>
                  <a:pt x="2911" y="3102"/>
                </a:cubicBezTo>
                <a:cubicBezTo>
                  <a:pt x="2864" y="3102"/>
                  <a:pt x="2832" y="3134"/>
                  <a:pt x="2832" y="3182"/>
                </a:cubicBezTo>
                <a:cubicBezTo>
                  <a:pt x="2832" y="3325"/>
                  <a:pt x="2704" y="3516"/>
                  <a:pt x="2561" y="3516"/>
                </a:cubicBezTo>
                <a:cubicBezTo>
                  <a:pt x="2418" y="3516"/>
                  <a:pt x="2291" y="3325"/>
                  <a:pt x="2291" y="3182"/>
                </a:cubicBezTo>
                <a:cubicBezTo>
                  <a:pt x="2291" y="3134"/>
                  <a:pt x="2259" y="3102"/>
                  <a:pt x="2211" y="3102"/>
                </a:cubicBezTo>
                <a:cubicBezTo>
                  <a:pt x="2211" y="2975"/>
                  <a:pt x="2211" y="2975"/>
                  <a:pt x="2211" y="2975"/>
                </a:cubicBezTo>
                <a:cubicBezTo>
                  <a:pt x="2227" y="2975"/>
                  <a:pt x="2227" y="2959"/>
                  <a:pt x="2243" y="2959"/>
                </a:cubicBezTo>
                <a:cubicBezTo>
                  <a:pt x="2259" y="2943"/>
                  <a:pt x="2275" y="2911"/>
                  <a:pt x="2275" y="2896"/>
                </a:cubicBezTo>
                <a:cubicBezTo>
                  <a:pt x="2275" y="2752"/>
                  <a:pt x="2275" y="2752"/>
                  <a:pt x="2275" y="2752"/>
                </a:cubicBezTo>
                <a:cubicBezTo>
                  <a:pt x="2275" y="2689"/>
                  <a:pt x="2307" y="2625"/>
                  <a:pt x="2386" y="2625"/>
                </a:cubicBezTo>
                <a:cubicBezTo>
                  <a:pt x="2418" y="2625"/>
                  <a:pt x="2450" y="2609"/>
                  <a:pt x="2482" y="2577"/>
                </a:cubicBezTo>
                <a:cubicBezTo>
                  <a:pt x="2498" y="2546"/>
                  <a:pt x="2609" y="2514"/>
                  <a:pt x="2704" y="2546"/>
                </a:cubicBezTo>
                <a:cubicBezTo>
                  <a:pt x="2784" y="2577"/>
                  <a:pt x="2832" y="2641"/>
                  <a:pt x="2832" y="2752"/>
                </a:cubicBezTo>
                <a:cubicBezTo>
                  <a:pt x="2832" y="2896"/>
                  <a:pt x="2832" y="2896"/>
                  <a:pt x="2832" y="2896"/>
                </a:cubicBezTo>
                <a:cubicBezTo>
                  <a:pt x="2832" y="2928"/>
                  <a:pt x="2864" y="2959"/>
                  <a:pt x="2895" y="2975"/>
                </a:cubicBezTo>
                <a:close/>
                <a:moveTo>
                  <a:pt x="2322" y="780"/>
                </a:moveTo>
                <a:cubicBezTo>
                  <a:pt x="2322" y="716"/>
                  <a:pt x="2322" y="716"/>
                  <a:pt x="2322" y="716"/>
                </a:cubicBezTo>
                <a:cubicBezTo>
                  <a:pt x="2322" y="700"/>
                  <a:pt x="2338" y="700"/>
                  <a:pt x="2338" y="700"/>
                </a:cubicBezTo>
                <a:cubicBezTo>
                  <a:pt x="2354" y="684"/>
                  <a:pt x="2370" y="668"/>
                  <a:pt x="2370" y="637"/>
                </a:cubicBezTo>
                <a:cubicBezTo>
                  <a:pt x="2370" y="541"/>
                  <a:pt x="2370" y="541"/>
                  <a:pt x="2370" y="541"/>
                </a:cubicBezTo>
                <a:cubicBezTo>
                  <a:pt x="2370" y="493"/>
                  <a:pt x="2386" y="461"/>
                  <a:pt x="2434" y="461"/>
                </a:cubicBezTo>
                <a:cubicBezTo>
                  <a:pt x="2465" y="461"/>
                  <a:pt x="2498" y="446"/>
                  <a:pt x="2513" y="414"/>
                </a:cubicBezTo>
                <a:cubicBezTo>
                  <a:pt x="2529" y="398"/>
                  <a:pt x="2609" y="382"/>
                  <a:pt x="2673" y="398"/>
                </a:cubicBezTo>
                <a:cubicBezTo>
                  <a:pt x="2720" y="414"/>
                  <a:pt x="2752" y="461"/>
                  <a:pt x="2752" y="541"/>
                </a:cubicBezTo>
                <a:cubicBezTo>
                  <a:pt x="2752" y="637"/>
                  <a:pt x="2752" y="637"/>
                  <a:pt x="2752" y="637"/>
                </a:cubicBezTo>
                <a:cubicBezTo>
                  <a:pt x="2752" y="668"/>
                  <a:pt x="2768" y="684"/>
                  <a:pt x="2800" y="700"/>
                </a:cubicBezTo>
                <a:cubicBezTo>
                  <a:pt x="2800" y="780"/>
                  <a:pt x="2800" y="780"/>
                  <a:pt x="2800" y="780"/>
                </a:cubicBezTo>
                <a:cubicBezTo>
                  <a:pt x="2768" y="795"/>
                  <a:pt x="2752" y="811"/>
                  <a:pt x="2752" y="843"/>
                </a:cubicBezTo>
                <a:cubicBezTo>
                  <a:pt x="2752" y="955"/>
                  <a:pt x="2656" y="1082"/>
                  <a:pt x="2561" y="1082"/>
                </a:cubicBezTo>
                <a:cubicBezTo>
                  <a:pt x="2465" y="1082"/>
                  <a:pt x="2386" y="955"/>
                  <a:pt x="2386" y="843"/>
                </a:cubicBezTo>
                <a:cubicBezTo>
                  <a:pt x="2386" y="811"/>
                  <a:pt x="2354" y="780"/>
                  <a:pt x="2322" y="780"/>
                </a:cubicBezTo>
                <a:close/>
                <a:moveTo>
                  <a:pt x="2418" y="1305"/>
                </a:moveTo>
                <a:cubicBezTo>
                  <a:pt x="2482" y="1225"/>
                  <a:pt x="2482" y="1225"/>
                  <a:pt x="2482" y="1225"/>
                </a:cubicBezTo>
                <a:cubicBezTo>
                  <a:pt x="2513" y="1241"/>
                  <a:pt x="2545" y="1241"/>
                  <a:pt x="2561" y="1241"/>
                </a:cubicBezTo>
                <a:cubicBezTo>
                  <a:pt x="2609" y="1241"/>
                  <a:pt x="2641" y="1241"/>
                  <a:pt x="2673" y="1225"/>
                </a:cubicBezTo>
                <a:cubicBezTo>
                  <a:pt x="2720" y="1305"/>
                  <a:pt x="2720" y="1305"/>
                  <a:pt x="2720" y="1305"/>
                </a:cubicBezTo>
                <a:cubicBezTo>
                  <a:pt x="2736" y="1337"/>
                  <a:pt x="2752" y="1337"/>
                  <a:pt x="2784" y="1337"/>
                </a:cubicBezTo>
                <a:cubicBezTo>
                  <a:pt x="2864" y="1337"/>
                  <a:pt x="2864" y="1337"/>
                  <a:pt x="2864" y="1337"/>
                </a:cubicBezTo>
                <a:cubicBezTo>
                  <a:pt x="2911" y="1337"/>
                  <a:pt x="3055" y="1352"/>
                  <a:pt x="3055" y="1480"/>
                </a:cubicBezTo>
                <a:cubicBezTo>
                  <a:pt x="3055" y="1543"/>
                  <a:pt x="3055" y="1543"/>
                  <a:pt x="3055" y="1543"/>
                </a:cubicBezTo>
                <a:cubicBezTo>
                  <a:pt x="3055" y="1559"/>
                  <a:pt x="3055" y="1591"/>
                  <a:pt x="3086" y="1607"/>
                </a:cubicBezTo>
                <a:cubicBezTo>
                  <a:pt x="2943" y="1702"/>
                  <a:pt x="2768" y="1782"/>
                  <a:pt x="2577" y="1782"/>
                </a:cubicBezTo>
                <a:cubicBezTo>
                  <a:pt x="2386" y="1782"/>
                  <a:pt x="2227" y="1702"/>
                  <a:pt x="2084" y="1607"/>
                </a:cubicBezTo>
                <a:cubicBezTo>
                  <a:pt x="2100" y="1591"/>
                  <a:pt x="2116" y="1559"/>
                  <a:pt x="2116" y="1543"/>
                </a:cubicBezTo>
                <a:cubicBezTo>
                  <a:pt x="2116" y="1480"/>
                  <a:pt x="2116" y="1480"/>
                  <a:pt x="2116" y="1480"/>
                </a:cubicBezTo>
                <a:cubicBezTo>
                  <a:pt x="2116" y="1448"/>
                  <a:pt x="2116" y="1337"/>
                  <a:pt x="2275" y="1337"/>
                </a:cubicBezTo>
                <a:cubicBezTo>
                  <a:pt x="2354" y="1337"/>
                  <a:pt x="2354" y="1337"/>
                  <a:pt x="2354" y="1337"/>
                </a:cubicBezTo>
                <a:cubicBezTo>
                  <a:pt x="2386" y="1337"/>
                  <a:pt x="2418" y="1337"/>
                  <a:pt x="2418" y="1305"/>
                </a:cubicBezTo>
                <a:close/>
                <a:moveTo>
                  <a:pt x="1765" y="971"/>
                </a:moveTo>
                <a:cubicBezTo>
                  <a:pt x="1765" y="525"/>
                  <a:pt x="2131" y="159"/>
                  <a:pt x="2577" y="159"/>
                </a:cubicBezTo>
                <a:cubicBezTo>
                  <a:pt x="3022" y="159"/>
                  <a:pt x="3389" y="525"/>
                  <a:pt x="3389" y="971"/>
                </a:cubicBezTo>
                <a:cubicBezTo>
                  <a:pt x="3389" y="1161"/>
                  <a:pt x="3325" y="1337"/>
                  <a:pt x="3213" y="1480"/>
                </a:cubicBezTo>
                <a:cubicBezTo>
                  <a:pt x="3198" y="1305"/>
                  <a:pt x="3070" y="1177"/>
                  <a:pt x="2864" y="1177"/>
                </a:cubicBezTo>
                <a:cubicBezTo>
                  <a:pt x="2832" y="1177"/>
                  <a:pt x="2832" y="1177"/>
                  <a:pt x="2832" y="1177"/>
                </a:cubicBezTo>
                <a:cubicBezTo>
                  <a:pt x="2800" y="1129"/>
                  <a:pt x="2800" y="1129"/>
                  <a:pt x="2800" y="1129"/>
                </a:cubicBezTo>
                <a:cubicBezTo>
                  <a:pt x="2847" y="1066"/>
                  <a:pt x="2895" y="986"/>
                  <a:pt x="2895" y="907"/>
                </a:cubicBezTo>
                <a:cubicBezTo>
                  <a:pt x="2927" y="875"/>
                  <a:pt x="2959" y="843"/>
                  <a:pt x="2959" y="795"/>
                </a:cubicBezTo>
                <a:cubicBezTo>
                  <a:pt x="2959" y="684"/>
                  <a:pt x="2959" y="684"/>
                  <a:pt x="2959" y="684"/>
                </a:cubicBezTo>
                <a:cubicBezTo>
                  <a:pt x="2959" y="668"/>
                  <a:pt x="2959" y="620"/>
                  <a:pt x="2927" y="589"/>
                </a:cubicBezTo>
                <a:lnTo>
                  <a:pt x="2911" y="589"/>
                </a:lnTo>
                <a:cubicBezTo>
                  <a:pt x="2911" y="541"/>
                  <a:pt x="2911" y="541"/>
                  <a:pt x="2911" y="541"/>
                </a:cubicBezTo>
                <a:cubicBezTo>
                  <a:pt x="2911" y="382"/>
                  <a:pt x="2832" y="286"/>
                  <a:pt x="2720" y="238"/>
                </a:cubicBezTo>
                <a:cubicBezTo>
                  <a:pt x="2609" y="207"/>
                  <a:pt x="2482" y="238"/>
                  <a:pt x="2418" y="302"/>
                </a:cubicBezTo>
                <a:cubicBezTo>
                  <a:pt x="2291" y="302"/>
                  <a:pt x="2211" y="414"/>
                  <a:pt x="2211" y="541"/>
                </a:cubicBezTo>
                <a:cubicBezTo>
                  <a:pt x="2211" y="589"/>
                  <a:pt x="2211" y="589"/>
                  <a:pt x="2211" y="589"/>
                </a:cubicBezTo>
                <a:cubicBezTo>
                  <a:pt x="2179" y="605"/>
                  <a:pt x="2164" y="637"/>
                  <a:pt x="2164" y="684"/>
                </a:cubicBezTo>
                <a:cubicBezTo>
                  <a:pt x="2164" y="795"/>
                  <a:pt x="2164" y="795"/>
                  <a:pt x="2164" y="795"/>
                </a:cubicBezTo>
                <a:cubicBezTo>
                  <a:pt x="2164" y="843"/>
                  <a:pt x="2195" y="875"/>
                  <a:pt x="2227" y="907"/>
                </a:cubicBezTo>
                <a:cubicBezTo>
                  <a:pt x="2243" y="986"/>
                  <a:pt x="2291" y="1082"/>
                  <a:pt x="2354" y="1146"/>
                </a:cubicBezTo>
                <a:cubicBezTo>
                  <a:pt x="2322" y="1177"/>
                  <a:pt x="2322" y="1177"/>
                  <a:pt x="2322" y="1177"/>
                </a:cubicBezTo>
                <a:cubicBezTo>
                  <a:pt x="2275" y="1177"/>
                  <a:pt x="2275" y="1177"/>
                  <a:pt x="2275" y="1177"/>
                </a:cubicBezTo>
                <a:cubicBezTo>
                  <a:pt x="2084" y="1177"/>
                  <a:pt x="1956" y="1305"/>
                  <a:pt x="1956" y="1480"/>
                </a:cubicBezTo>
                <a:cubicBezTo>
                  <a:pt x="1845" y="1337"/>
                  <a:pt x="1765" y="1161"/>
                  <a:pt x="1765" y="971"/>
                </a:cubicBezTo>
                <a:close/>
                <a:moveTo>
                  <a:pt x="1479" y="3325"/>
                </a:moveTo>
                <a:cubicBezTo>
                  <a:pt x="1479" y="2720"/>
                  <a:pt x="1973" y="2228"/>
                  <a:pt x="2577" y="2228"/>
                </a:cubicBezTo>
                <a:cubicBezTo>
                  <a:pt x="3182" y="2228"/>
                  <a:pt x="3691" y="2720"/>
                  <a:pt x="3691" y="3325"/>
                </a:cubicBezTo>
                <a:cubicBezTo>
                  <a:pt x="3691" y="3628"/>
                  <a:pt x="3579" y="3882"/>
                  <a:pt x="3389" y="4089"/>
                </a:cubicBezTo>
                <a:cubicBezTo>
                  <a:pt x="3389" y="4010"/>
                  <a:pt x="3389" y="4010"/>
                  <a:pt x="3389" y="4010"/>
                </a:cubicBezTo>
                <a:cubicBezTo>
                  <a:pt x="3389" y="3787"/>
                  <a:pt x="3213" y="3643"/>
                  <a:pt x="2959" y="3643"/>
                </a:cubicBezTo>
                <a:cubicBezTo>
                  <a:pt x="2895" y="3643"/>
                  <a:pt x="2895" y="3643"/>
                  <a:pt x="2895" y="3643"/>
                </a:cubicBezTo>
                <a:cubicBezTo>
                  <a:pt x="2832" y="3548"/>
                  <a:pt x="2832" y="3548"/>
                  <a:pt x="2832" y="3548"/>
                </a:cubicBezTo>
                <a:cubicBezTo>
                  <a:pt x="2911" y="3468"/>
                  <a:pt x="2975" y="3357"/>
                  <a:pt x="2991" y="3230"/>
                </a:cubicBezTo>
                <a:cubicBezTo>
                  <a:pt x="3022" y="3214"/>
                  <a:pt x="3055" y="3166"/>
                  <a:pt x="3055" y="3102"/>
                </a:cubicBezTo>
                <a:cubicBezTo>
                  <a:pt x="3055" y="2959"/>
                  <a:pt x="3055" y="2959"/>
                  <a:pt x="3055" y="2959"/>
                </a:cubicBezTo>
                <a:cubicBezTo>
                  <a:pt x="3055" y="2928"/>
                  <a:pt x="3055" y="2880"/>
                  <a:pt x="3022" y="2848"/>
                </a:cubicBezTo>
                <a:cubicBezTo>
                  <a:pt x="3007" y="2848"/>
                  <a:pt x="3007" y="2848"/>
                  <a:pt x="2991" y="2832"/>
                </a:cubicBezTo>
                <a:cubicBezTo>
                  <a:pt x="2991" y="2752"/>
                  <a:pt x="2991" y="2752"/>
                  <a:pt x="2991" y="2752"/>
                </a:cubicBezTo>
                <a:cubicBezTo>
                  <a:pt x="2991" y="2577"/>
                  <a:pt x="2911" y="2450"/>
                  <a:pt x="2752" y="2386"/>
                </a:cubicBezTo>
                <a:cubicBezTo>
                  <a:pt x="2609" y="2355"/>
                  <a:pt x="2450" y="2386"/>
                  <a:pt x="2370" y="2466"/>
                </a:cubicBezTo>
                <a:cubicBezTo>
                  <a:pt x="2211" y="2482"/>
                  <a:pt x="2116" y="2593"/>
                  <a:pt x="2116" y="2752"/>
                </a:cubicBezTo>
                <a:cubicBezTo>
                  <a:pt x="2116" y="2832"/>
                  <a:pt x="2116" y="2832"/>
                  <a:pt x="2116" y="2832"/>
                </a:cubicBezTo>
                <a:cubicBezTo>
                  <a:pt x="2100" y="2832"/>
                  <a:pt x="2100" y="2848"/>
                  <a:pt x="2100" y="2848"/>
                </a:cubicBezTo>
                <a:cubicBezTo>
                  <a:pt x="2068" y="2864"/>
                  <a:pt x="2052" y="2911"/>
                  <a:pt x="2052" y="2959"/>
                </a:cubicBezTo>
                <a:cubicBezTo>
                  <a:pt x="2052" y="3102"/>
                  <a:pt x="2052" y="3102"/>
                  <a:pt x="2052" y="3102"/>
                </a:cubicBezTo>
                <a:cubicBezTo>
                  <a:pt x="2052" y="3166"/>
                  <a:pt x="2084" y="3214"/>
                  <a:pt x="2131" y="3230"/>
                </a:cubicBezTo>
                <a:cubicBezTo>
                  <a:pt x="2147" y="3357"/>
                  <a:pt x="2211" y="3484"/>
                  <a:pt x="2307" y="3564"/>
                </a:cubicBezTo>
                <a:cubicBezTo>
                  <a:pt x="2243" y="3643"/>
                  <a:pt x="2243" y="3643"/>
                  <a:pt x="2243" y="3643"/>
                </a:cubicBezTo>
                <a:cubicBezTo>
                  <a:pt x="2179" y="3643"/>
                  <a:pt x="2179" y="3643"/>
                  <a:pt x="2179" y="3643"/>
                </a:cubicBezTo>
                <a:cubicBezTo>
                  <a:pt x="1925" y="3643"/>
                  <a:pt x="1765" y="3787"/>
                  <a:pt x="1765" y="4010"/>
                </a:cubicBezTo>
                <a:cubicBezTo>
                  <a:pt x="1765" y="4089"/>
                  <a:pt x="1765" y="4089"/>
                  <a:pt x="1765" y="4089"/>
                </a:cubicBezTo>
                <a:cubicBezTo>
                  <a:pt x="1591" y="3882"/>
                  <a:pt x="1479" y="3628"/>
                  <a:pt x="1479" y="3325"/>
                </a:cubicBezTo>
                <a:close/>
                <a:moveTo>
                  <a:pt x="461" y="5711"/>
                </a:moveTo>
                <a:cubicBezTo>
                  <a:pt x="493" y="5696"/>
                  <a:pt x="493" y="5680"/>
                  <a:pt x="493" y="5648"/>
                </a:cubicBezTo>
                <a:cubicBezTo>
                  <a:pt x="493" y="5584"/>
                  <a:pt x="493" y="5584"/>
                  <a:pt x="493" y="5584"/>
                </a:cubicBezTo>
                <a:cubicBezTo>
                  <a:pt x="493" y="5553"/>
                  <a:pt x="493" y="5457"/>
                  <a:pt x="668" y="5457"/>
                </a:cubicBezTo>
                <a:cubicBezTo>
                  <a:pt x="747" y="5457"/>
                  <a:pt x="747" y="5457"/>
                  <a:pt x="747" y="5457"/>
                </a:cubicBezTo>
                <a:cubicBezTo>
                  <a:pt x="779" y="5457"/>
                  <a:pt x="795" y="5441"/>
                  <a:pt x="811" y="5425"/>
                </a:cubicBezTo>
                <a:cubicBezTo>
                  <a:pt x="874" y="5346"/>
                  <a:pt x="874" y="5346"/>
                  <a:pt x="874" y="5346"/>
                </a:cubicBezTo>
                <a:cubicBezTo>
                  <a:pt x="891" y="5346"/>
                  <a:pt x="922" y="5362"/>
                  <a:pt x="954" y="5362"/>
                </a:cubicBezTo>
                <a:cubicBezTo>
                  <a:pt x="986" y="5362"/>
                  <a:pt x="1018" y="5346"/>
                  <a:pt x="1050" y="5330"/>
                </a:cubicBezTo>
                <a:cubicBezTo>
                  <a:pt x="1097" y="5425"/>
                  <a:pt x="1097" y="5425"/>
                  <a:pt x="1097" y="5425"/>
                </a:cubicBezTo>
                <a:cubicBezTo>
                  <a:pt x="1113" y="5441"/>
                  <a:pt x="1145" y="5457"/>
                  <a:pt x="1177" y="5457"/>
                </a:cubicBezTo>
                <a:cubicBezTo>
                  <a:pt x="1256" y="5457"/>
                  <a:pt x="1256" y="5457"/>
                  <a:pt x="1256" y="5457"/>
                </a:cubicBezTo>
                <a:cubicBezTo>
                  <a:pt x="1304" y="5457"/>
                  <a:pt x="1431" y="5473"/>
                  <a:pt x="1431" y="5584"/>
                </a:cubicBezTo>
                <a:cubicBezTo>
                  <a:pt x="1431" y="5648"/>
                  <a:pt x="1431" y="5648"/>
                  <a:pt x="1431" y="5648"/>
                </a:cubicBezTo>
                <a:cubicBezTo>
                  <a:pt x="1431" y="5680"/>
                  <a:pt x="1447" y="5696"/>
                  <a:pt x="1464" y="5711"/>
                </a:cubicBezTo>
                <a:cubicBezTo>
                  <a:pt x="1336" y="5823"/>
                  <a:pt x="1161" y="5887"/>
                  <a:pt x="970" y="5887"/>
                </a:cubicBezTo>
                <a:cubicBezTo>
                  <a:pt x="779" y="5887"/>
                  <a:pt x="604" y="5823"/>
                  <a:pt x="461" y="5711"/>
                </a:cubicBezTo>
                <a:close/>
                <a:moveTo>
                  <a:pt x="716" y="4884"/>
                </a:moveTo>
                <a:cubicBezTo>
                  <a:pt x="716" y="4821"/>
                  <a:pt x="716" y="4821"/>
                  <a:pt x="716" y="4821"/>
                </a:cubicBezTo>
                <a:lnTo>
                  <a:pt x="731" y="4805"/>
                </a:lnTo>
                <a:cubicBezTo>
                  <a:pt x="747" y="4805"/>
                  <a:pt x="747" y="4773"/>
                  <a:pt x="747" y="4757"/>
                </a:cubicBezTo>
                <a:cubicBezTo>
                  <a:pt x="747" y="4646"/>
                  <a:pt x="747" y="4646"/>
                  <a:pt x="747" y="4646"/>
                </a:cubicBezTo>
                <a:cubicBezTo>
                  <a:pt x="747" y="4614"/>
                  <a:pt x="779" y="4566"/>
                  <a:pt x="811" y="4566"/>
                </a:cubicBezTo>
                <a:cubicBezTo>
                  <a:pt x="843" y="4566"/>
                  <a:pt x="874" y="4566"/>
                  <a:pt x="907" y="4534"/>
                </a:cubicBezTo>
                <a:cubicBezTo>
                  <a:pt x="922" y="4519"/>
                  <a:pt x="986" y="4487"/>
                  <a:pt x="1050" y="4502"/>
                </a:cubicBezTo>
                <a:cubicBezTo>
                  <a:pt x="1113" y="4534"/>
                  <a:pt x="1145" y="4566"/>
                  <a:pt x="1145" y="4646"/>
                </a:cubicBezTo>
                <a:cubicBezTo>
                  <a:pt x="1145" y="4757"/>
                  <a:pt x="1145" y="4757"/>
                  <a:pt x="1145" y="4757"/>
                </a:cubicBezTo>
                <a:cubicBezTo>
                  <a:pt x="1145" y="4773"/>
                  <a:pt x="1161" y="4805"/>
                  <a:pt x="1177" y="4821"/>
                </a:cubicBezTo>
                <a:cubicBezTo>
                  <a:pt x="1177" y="4884"/>
                  <a:pt x="1177" y="4884"/>
                  <a:pt x="1177" y="4884"/>
                </a:cubicBezTo>
                <a:cubicBezTo>
                  <a:pt x="1161" y="4900"/>
                  <a:pt x="1129" y="4932"/>
                  <a:pt x="1129" y="4964"/>
                </a:cubicBezTo>
                <a:cubicBezTo>
                  <a:pt x="1129" y="5059"/>
                  <a:pt x="1050" y="5202"/>
                  <a:pt x="954" y="5202"/>
                </a:cubicBezTo>
                <a:cubicBezTo>
                  <a:pt x="859" y="5202"/>
                  <a:pt x="763" y="5059"/>
                  <a:pt x="763" y="4964"/>
                </a:cubicBezTo>
                <a:cubicBezTo>
                  <a:pt x="763" y="4932"/>
                  <a:pt x="747" y="4900"/>
                  <a:pt x="716" y="4884"/>
                </a:cubicBezTo>
                <a:close/>
                <a:moveTo>
                  <a:pt x="159" y="5075"/>
                </a:moveTo>
                <a:cubicBezTo>
                  <a:pt x="159" y="4630"/>
                  <a:pt x="525" y="4264"/>
                  <a:pt x="970" y="4264"/>
                </a:cubicBezTo>
                <a:cubicBezTo>
                  <a:pt x="1177" y="4264"/>
                  <a:pt x="1368" y="4343"/>
                  <a:pt x="1511" y="4471"/>
                </a:cubicBezTo>
                <a:cubicBezTo>
                  <a:pt x="1511" y="4487"/>
                  <a:pt x="1511" y="4502"/>
                  <a:pt x="1527" y="4502"/>
                </a:cubicBezTo>
                <a:cubicBezTo>
                  <a:pt x="1527" y="4519"/>
                  <a:pt x="1543" y="4519"/>
                  <a:pt x="1559" y="4519"/>
                </a:cubicBezTo>
                <a:cubicBezTo>
                  <a:pt x="1686" y="4662"/>
                  <a:pt x="1782" y="4868"/>
                  <a:pt x="1782" y="5075"/>
                </a:cubicBezTo>
                <a:cubicBezTo>
                  <a:pt x="1782" y="5266"/>
                  <a:pt x="1702" y="5441"/>
                  <a:pt x="1591" y="5584"/>
                </a:cubicBezTo>
                <a:cubicBezTo>
                  <a:pt x="1591" y="5410"/>
                  <a:pt x="1447" y="5298"/>
                  <a:pt x="1256" y="5298"/>
                </a:cubicBezTo>
                <a:cubicBezTo>
                  <a:pt x="1208" y="5298"/>
                  <a:pt x="1208" y="5298"/>
                  <a:pt x="1208" y="5298"/>
                </a:cubicBezTo>
                <a:cubicBezTo>
                  <a:pt x="1177" y="5250"/>
                  <a:pt x="1177" y="5250"/>
                  <a:pt x="1177" y="5250"/>
                </a:cubicBezTo>
                <a:cubicBezTo>
                  <a:pt x="1241" y="5187"/>
                  <a:pt x="1273" y="5091"/>
                  <a:pt x="1288" y="5011"/>
                </a:cubicBezTo>
                <a:cubicBezTo>
                  <a:pt x="1320" y="4996"/>
                  <a:pt x="1336" y="4948"/>
                  <a:pt x="1336" y="4916"/>
                </a:cubicBezTo>
                <a:cubicBezTo>
                  <a:pt x="1336" y="4805"/>
                  <a:pt x="1336" y="4805"/>
                  <a:pt x="1336" y="4805"/>
                </a:cubicBezTo>
                <a:cubicBezTo>
                  <a:pt x="1336" y="4773"/>
                  <a:pt x="1336" y="4741"/>
                  <a:pt x="1304" y="4710"/>
                </a:cubicBezTo>
                <a:cubicBezTo>
                  <a:pt x="1304" y="4693"/>
                  <a:pt x="1304" y="4693"/>
                  <a:pt x="1304" y="4693"/>
                </a:cubicBezTo>
                <a:cubicBezTo>
                  <a:pt x="1304" y="4646"/>
                  <a:pt x="1304" y="4646"/>
                  <a:pt x="1304" y="4646"/>
                </a:cubicBezTo>
                <a:cubicBezTo>
                  <a:pt x="1304" y="4502"/>
                  <a:pt x="1225" y="4391"/>
                  <a:pt x="1097" y="4359"/>
                </a:cubicBezTo>
                <a:cubicBezTo>
                  <a:pt x="1002" y="4328"/>
                  <a:pt x="859" y="4343"/>
                  <a:pt x="795" y="4407"/>
                </a:cubicBezTo>
                <a:cubicBezTo>
                  <a:pt x="684" y="4423"/>
                  <a:pt x="588" y="4519"/>
                  <a:pt x="588" y="4646"/>
                </a:cubicBezTo>
                <a:cubicBezTo>
                  <a:pt x="588" y="4693"/>
                  <a:pt x="588" y="4693"/>
                  <a:pt x="588" y="4693"/>
                </a:cubicBezTo>
                <a:cubicBezTo>
                  <a:pt x="573" y="4710"/>
                  <a:pt x="540" y="4757"/>
                  <a:pt x="556" y="4805"/>
                </a:cubicBezTo>
                <a:cubicBezTo>
                  <a:pt x="556" y="4916"/>
                  <a:pt x="556" y="4916"/>
                  <a:pt x="556" y="4916"/>
                </a:cubicBezTo>
                <a:cubicBezTo>
                  <a:pt x="556" y="4948"/>
                  <a:pt x="573" y="4996"/>
                  <a:pt x="620" y="5011"/>
                </a:cubicBezTo>
                <a:cubicBezTo>
                  <a:pt x="620" y="5107"/>
                  <a:pt x="668" y="5187"/>
                  <a:pt x="731" y="5250"/>
                </a:cubicBezTo>
                <a:cubicBezTo>
                  <a:pt x="700" y="5298"/>
                  <a:pt x="700" y="5298"/>
                  <a:pt x="700" y="5298"/>
                </a:cubicBezTo>
                <a:cubicBezTo>
                  <a:pt x="668" y="5298"/>
                  <a:pt x="668" y="5298"/>
                  <a:pt x="668" y="5298"/>
                </a:cubicBezTo>
                <a:cubicBezTo>
                  <a:pt x="461" y="5298"/>
                  <a:pt x="350" y="5410"/>
                  <a:pt x="350" y="5584"/>
                </a:cubicBezTo>
                <a:cubicBezTo>
                  <a:pt x="222" y="5441"/>
                  <a:pt x="159" y="5266"/>
                  <a:pt x="159" y="507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2" name="Freeform: Shape 16">
            <a:extLst>
              <a:ext uri="{FF2B5EF4-FFF2-40B4-BE49-F238E27FC236}">
                <a16:creationId xmlns:a16="http://schemas.microsoft.com/office/drawing/2014/main" id="{5BEC55D8-7E09-294E-8D3D-5CB731297462}"/>
              </a:ext>
            </a:extLst>
          </p:cNvPr>
          <p:cNvSpPr/>
          <p:nvPr/>
        </p:nvSpPr>
        <p:spPr>
          <a:xfrm>
            <a:off x="21054060" y="3271933"/>
            <a:ext cx="2107080" cy="1603440"/>
          </a:xfrm>
          <a:custGeom>
            <a:avLst/>
            <a:gdLst/>
            <a:ahLst/>
            <a:cxnLst>
              <a:cxn ang="3cd4">
                <a:pos x="hc" y="t"/>
              </a:cxn>
              <a:cxn ang="cd2">
                <a:pos x="l" y="vc"/>
              </a:cxn>
              <a:cxn ang="cd4">
                <a:pos x="hc" y="b"/>
              </a:cxn>
              <a:cxn ang="0">
                <a:pos x="r" y="vc"/>
              </a:cxn>
            </a:cxnLst>
            <a:rect l="l" t="t" r="r" b="b"/>
            <a:pathLst>
              <a:path w="5854" h="4455">
                <a:moveTo>
                  <a:pt x="32" y="79"/>
                </a:moveTo>
                <a:lnTo>
                  <a:pt x="32" y="811"/>
                </a:lnTo>
                <a:cubicBezTo>
                  <a:pt x="32" y="859"/>
                  <a:pt x="63" y="891"/>
                  <a:pt x="111" y="891"/>
                </a:cubicBezTo>
                <a:lnTo>
                  <a:pt x="859" y="891"/>
                </a:lnTo>
                <a:cubicBezTo>
                  <a:pt x="907" y="891"/>
                  <a:pt x="938" y="859"/>
                  <a:pt x="938" y="811"/>
                </a:cubicBezTo>
                <a:lnTo>
                  <a:pt x="938" y="79"/>
                </a:lnTo>
                <a:cubicBezTo>
                  <a:pt x="938" y="32"/>
                  <a:pt x="907" y="0"/>
                  <a:pt x="859" y="0"/>
                </a:cubicBezTo>
                <a:lnTo>
                  <a:pt x="111" y="0"/>
                </a:lnTo>
                <a:cubicBezTo>
                  <a:pt x="63" y="0"/>
                  <a:pt x="32" y="32"/>
                  <a:pt x="32" y="79"/>
                </a:cubicBezTo>
                <a:close/>
                <a:moveTo>
                  <a:pt x="190" y="159"/>
                </a:moveTo>
                <a:lnTo>
                  <a:pt x="779" y="159"/>
                </a:lnTo>
                <a:lnTo>
                  <a:pt x="779" y="732"/>
                </a:lnTo>
                <a:lnTo>
                  <a:pt x="190" y="732"/>
                </a:lnTo>
                <a:close/>
                <a:moveTo>
                  <a:pt x="1272" y="0"/>
                </a:moveTo>
                <a:cubicBezTo>
                  <a:pt x="1225" y="0"/>
                  <a:pt x="1193" y="32"/>
                  <a:pt x="1193" y="79"/>
                </a:cubicBezTo>
                <a:lnTo>
                  <a:pt x="1193" y="811"/>
                </a:lnTo>
                <a:cubicBezTo>
                  <a:pt x="1193" y="859"/>
                  <a:pt x="1225" y="891"/>
                  <a:pt x="1272" y="891"/>
                </a:cubicBezTo>
                <a:lnTo>
                  <a:pt x="2036" y="891"/>
                </a:lnTo>
                <a:cubicBezTo>
                  <a:pt x="2068" y="891"/>
                  <a:pt x="2116" y="859"/>
                  <a:pt x="2116" y="811"/>
                </a:cubicBezTo>
                <a:lnTo>
                  <a:pt x="2116" y="79"/>
                </a:lnTo>
                <a:cubicBezTo>
                  <a:pt x="2116" y="32"/>
                  <a:pt x="2068" y="0"/>
                  <a:pt x="2036" y="0"/>
                </a:cubicBezTo>
                <a:close/>
                <a:moveTo>
                  <a:pt x="1957" y="732"/>
                </a:moveTo>
                <a:lnTo>
                  <a:pt x="1352" y="732"/>
                </a:lnTo>
                <a:lnTo>
                  <a:pt x="1352" y="159"/>
                </a:lnTo>
                <a:lnTo>
                  <a:pt x="1957" y="159"/>
                </a:lnTo>
                <a:close/>
                <a:moveTo>
                  <a:pt x="2434" y="0"/>
                </a:moveTo>
                <a:cubicBezTo>
                  <a:pt x="2386" y="0"/>
                  <a:pt x="2354" y="32"/>
                  <a:pt x="2354" y="79"/>
                </a:cubicBezTo>
                <a:lnTo>
                  <a:pt x="2354" y="811"/>
                </a:lnTo>
                <a:cubicBezTo>
                  <a:pt x="2354" y="859"/>
                  <a:pt x="2386" y="891"/>
                  <a:pt x="2434" y="891"/>
                </a:cubicBezTo>
                <a:lnTo>
                  <a:pt x="3198" y="891"/>
                </a:lnTo>
                <a:cubicBezTo>
                  <a:pt x="3245" y="891"/>
                  <a:pt x="3277" y="859"/>
                  <a:pt x="3277" y="811"/>
                </a:cubicBezTo>
                <a:lnTo>
                  <a:pt x="3277" y="79"/>
                </a:lnTo>
                <a:cubicBezTo>
                  <a:pt x="3277" y="32"/>
                  <a:pt x="3245" y="0"/>
                  <a:pt x="3198" y="0"/>
                </a:cubicBezTo>
                <a:close/>
                <a:moveTo>
                  <a:pt x="3118" y="732"/>
                </a:moveTo>
                <a:lnTo>
                  <a:pt x="2514" y="732"/>
                </a:lnTo>
                <a:lnTo>
                  <a:pt x="2514" y="159"/>
                </a:lnTo>
                <a:lnTo>
                  <a:pt x="3118" y="159"/>
                </a:lnTo>
                <a:close/>
                <a:moveTo>
                  <a:pt x="3595" y="0"/>
                </a:moveTo>
                <a:cubicBezTo>
                  <a:pt x="3563" y="0"/>
                  <a:pt x="3516" y="32"/>
                  <a:pt x="3516" y="79"/>
                </a:cubicBezTo>
                <a:lnTo>
                  <a:pt x="3516" y="811"/>
                </a:lnTo>
                <a:cubicBezTo>
                  <a:pt x="3516" y="859"/>
                  <a:pt x="3563" y="891"/>
                  <a:pt x="3595" y="891"/>
                </a:cubicBezTo>
                <a:lnTo>
                  <a:pt x="4359" y="891"/>
                </a:lnTo>
                <a:cubicBezTo>
                  <a:pt x="4407" y="891"/>
                  <a:pt x="4439" y="859"/>
                  <a:pt x="4439" y="811"/>
                </a:cubicBezTo>
                <a:lnTo>
                  <a:pt x="4439" y="79"/>
                </a:lnTo>
                <a:cubicBezTo>
                  <a:pt x="4439" y="32"/>
                  <a:pt x="4407" y="0"/>
                  <a:pt x="4359" y="0"/>
                </a:cubicBezTo>
                <a:close/>
                <a:moveTo>
                  <a:pt x="4280" y="732"/>
                </a:moveTo>
                <a:lnTo>
                  <a:pt x="3675" y="732"/>
                </a:lnTo>
                <a:lnTo>
                  <a:pt x="3675" y="159"/>
                </a:lnTo>
                <a:lnTo>
                  <a:pt x="4280" y="159"/>
                </a:lnTo>
                <a:close/>
                <a:moveTo>
                  <a:pt x="2354" y="3087"/>
                </a:moveTo>
                <a:cubicBezTo>
                  <a:pt x="2370" y="3070"/>
                  <a:pt x="2370" y="3055"/>
                  <a:pt x="2370" y="3023"/>
                </a:cubicBezTo>
                <a:lnTo>
                  <a:pt x="2370" y="2848"/>
                </a:lnTo>
                <a:cubicBezTo>
                  <a:pt x="2370" y="2673"/>
                  <a:pt x="2386" y="2498"/>
                  <a:pt x="2450" y="2323"/>
                </a:cubicBezTo>
                <a:cubicBezTo>
                  <a:pt x="2466" y="2291"/>
                  <a:pt x="2450" y="2275"/>
                  <a:pt x="2434" y="2243"/>
                </a:cubicBezTo>
                <a:cubicBezTo>
                  <a:pt x="2418" y="2227"/>
                  <a:pt x="2402" y="2212"/>
                  <a:pt x="2370" y="2212"/>
                </a:cubicBezTo>
                <a:lnTo>
                  <a:pt x="79" y="2212"/>
                </a:lnTo>
                <a:cubicBezTo>
                  <a:pt x="32" y="2212"/>
                  <a:pt x="0" y="2243"/>
                  <a:pt x="0" y="2291"/>
                </a:cubicBezTo>
                <a:lnTo>
                  <a:pt x="0" y="3039"/>
                </a:lnTo>
                <a:cubicBezTo>
                  <a:pt x="0" y="3070"/>
                  <a:pt x="32" y="3118"/>
                  <a:pt x="79" y="3118"/>
                </a:cubicBezTo>
                <a:lnTo>
                  <a:pt x="2291" y="3118"/>
                </a:lnTo>
                <a:cubicBezTo>
                  <a:pt x="2323" y="3118"/>
                  <a:pt x="2338" y="3102"/>
                  <a:pt x="2354" y="3087"/>
                </a:cubicBezTo>
                <a:close/>
                <a:moveTo>
                  <a:pt x="2211" y="2959"/>
                </a:moveTo>
                <a:lnTo>
                  <a:pt x="159" y="2959"/>
                </a:lnTo>
                <a:lnTo>
                  <a:pt x="159" y="2370"/>
                </a:lnTo>
                <a:lnTo>
                  <a:pt x="2275" y="2370"/>
                </a:lnTo>
                <a:cubicBezTo>
                  <a:pt x="2227" y="2530"/>
                  <a:pt x="2211" y="2689"/>
                  <a:pt x="2211" y="2848"/>
                </a:cubicBezTo>
                <a:close/>
                <a:moveTo>
                  <a:pt x="0" y="1161"/>
                </a:moveTo>
                <a:lnTo>
                  <a:pt x="0" y="1893"/>
                </a:lnTo>
                <a:cubicBezTo>
                  <a:pt x="0" y="1941"/>
                  <a:pt x="32" y="1973"/>
                  <a:pt x="79" y="1973"/>
                </a:cubicBezTo>
                <a:lnTo>
                  <a:pt x="2561" y="1973"/>
                </a:lnTo>
                <a:cubicBezTo>
                  <a:pt x="2593" y="1973"/>
                  <a:pt x="2625" y="1973"/>
                  <a:pt x="2641" y="1941"/>
                </a:cubicBezTo>
                <a:cubicBezTo>
                  <a:pt x="2895" y="1543"/>
                  <a:pt x="3118" y="1321"/>
                  <a:pt x="3516" y="1241"/>
                </a:cubicBezTo>
                <a:cubicBezTo>
                  <a:pt x="3548" y="1225"/>
                  <a:pt x="3580" y="1193"/>
                  <a:pt x="3580" y="1145"/>
                </a:cubicBezTo>
                <a:cubicBezTo>
                  <a:pt x="3580" y="1114"/>
                  <a:pt x="3532" y="1082"/>
                  <a:pt x="3500" y="1082"/>
                </a:cubicBezTo>
                <a:lnTo>
                  <a:pt x="79" y="1082"/>
                </a:lnTo>
                <a:cubicBezTo>
                  <a:pt x="32" y="1082"/>
                  <a:pt x="0" y="1114"/>
                  <a:pt x="0" y="1161"/>
                </a:cubicBezTo>
                <a:close/>
                <a:moveTo>
                  <a:pt x="159" y="1241"/>
                </a:moveTo>
                <a:lnTo>
                  <a:pt x="3071" y="1241"/>
                </a:lnTo>
                <a:cubicBezTo>
                  <a:pt x="2848" y="1384"/>
                  <a:pt x="2689" y="1591"/>
                  <a:pt x="2529" y="1814"/>
                </a:cubicBezTo>
                <a:lnTo>
                  <a:pt x="159" y="1814"/>
                </a:lnTo>
                <a:close/>
                <a:moveTo>
                  <a:pt x="4248" y="1241"/>
                </a:moveTo>
                <a:cubicBezTo>
                  <a:pt x="3357" y="1241"/>
                  <a:pt x="2641" y="1957"/>
                  <a:pt x="2641" y="2848"/>
                </a:cubicBezTo>
                <a:cubicBezTo>
                  <a:pt x="2641" y="3739"/>
                  <a:pt x="3357" y="4455"/>
                  <a:pt x="4248" y="4455"/>
                </a:cubicBezTo>
                <a:cubicBezTo>
                  <a:pt x="5139" y="4455"/>
                  <a:pt x="5854" y="3739"/>
                  <a:pt x="5854" y="2848"/>
                </a:cubicBezTo>
                <a:cubicBezTo>
                  <a:pt x="5854" y="1957"/>
                  <a:pt x="5139" y="1241"/>
                  <a:pt x="4248" y="1241"/>
                </a:cubicBezTo>
                <a:close/>
                <a:moveTo>
                  <a:pt x="5298" y="3850"/>
                </a:moveTo>
                <a:lnTo>
                  <a:pt x="5298" y="3755"/>
                </a:lnTo>
                <a:cubicBezTo>
                  <a:pt x="5298" y="3484"/>
                  <a:pt x="5091" y="3309"/>
                  <a:pt x="4757" y="3309"/>
                </a:cubicBezTo>
                <a:lnTo>
                  <a:pt x="4662" y="3309"/>
                </a:lnTo>
                <a:lnTo>
                  <a:pt x="4566" y="3150"/>
                </a:lnTo>
                <a:cubicBezTo>
                  <a:pt x="4677" y="3039"/>
                  <a:pt x="4757" y="2879"/>
                  <a:pt x="4773" y="2736"/>
                </a:cubicBezTo>
                <a:cubicBezTo>
                  <a:pt x="4820" y="2705"/>
                  <a:pt x="4852" y="2641"/>
                  <a:pt x="4852" y="2578"/>
                </a:cubicBezTo>
                <a:lnTo>
                  <a:pt x="4852" y="2387"/>
                </a:lnTo>
                <a:cubicBezTo>
                  <a:pt x="4852" y="2355"/>
                  <a:pt x="4868" y="2307"/>
                  <a:pt x="4820" y="2259"/>
                </a:cubicBezTo>
                <a:cubicBezTo>
                  <a:pt x="4805" y="2259"/>
                  <a:pt x="4805" y="2243"/>
                  <a:pt x="4789" y="2243"/>
                </a:cubicBezTo>
                <a:lnTo>
                  <a:pt x="4789" y="2116"/>
                </a:lnTo>
                <a:cubicBezTo>
                  <a:pt x="4789" y="1893"/>
                  <a:pt x="4677" y="1734"/>
                  <a:pt x="4486" y="1687"/>
                </a:cubicBezTo>
                <a:cubicBezTo>
                  <a:pt x="4311" y="1623"/>
                  <a:pt x="4105" y="1670"/>
                  <a:pt x="4009" y="1766"/>
                </a:cubicBezTo>
                <a:cubicBezTo>
                  <a:pt x="3818" y="1782"/>
                  <a:pt x="3691" y="1925"/>
                  <a:pt x="3691" y="2132"/>
                </a:cubicBezTo>
                <a:lnTo>
                  <a:pt x="3691" y="2243"/>
                </a:lnTo>
                <a:cubicBezTo>
                  <a:pt x="3675" y="2243"/>
                  <a:pt x="3675" y="2259"/>
                  <a:pt x="3659" y="2259"/>
                </a:cubicBezTo>
                <a:cubicBezTo>
                  <a:pt x="3643" y="2275"/>
                  <a:pt x="3611" y="2323"/>
                  <a:pt x="3611" y="2402"/>
                </a:cubicBezTo>
                <a:lnTo>
                  <a:pt x="3611" y="2578"/>
                </a:lnTo>
                <a:cubicBezTo>
                  <a:pt x="3611" y="2641"/>
                  <a:pt x="3659" y="2705"/>
                  <a:pt x="3723" y="2736"/>
                </a:cubicBezTo>
                <a:cubicBezTo>
                  <a:pt x="3738" y="2896"/>
                  <a:pt x="3818" y="3055"/>
                  <a:pt x="3945" y="3166"/>
                </a:cubicBezTo>
                <a:lnTo>
                  <a:pt x="3850" y="3309"/>
                </a:lnTo>
                <a:lnTo>
                  <a:pt x="3754" y="3309"/>
                </a:lnTo>
                <a:cubicBezTo>
                  <a:pt x="3436" y="3309"/>
                  <a:pt x="3245" y="3484"/>
                  <a:pt x="3245" y="3755"/>
                </a:cubicBezTo>
                <a:lnTo>
                  <a:pt x="3245" y="3850"/>
                </a:lnTo>
                <a:cubicBezTo>
                  <a:pt x="3245" y="3898"/>
                  <a:pt x="3293" y="3930"/>
                  <a:pt x="3325" y="3930"/>
                </a:cubicBezTo>
                <a:cubicBezTo>
                  <a:pt x="3372" y="3930"/>
                  <a:pt x="3405" y="3898"/>
                  <a:pt x="3405" y="3850"/>
                </a:cubicBezTo>
                <a:lnTo>
                  <a:pt x="3405" y="3755"/>
                </a:lnTo>
                <a:cubicBezTo>
                  <a:pt x="3405" y="3516"/>
                  <a:pt x="3595" y="3469"/>
                  <a:pt x="3754" y="3469"/>
                </a:cubicBezTo>
                <a:lnTo>
                  <a:pt x="3898" y="3469"/>
                </a:lnTo>
                <a:cubicBezTo>
                  <a:pt x="3914" y="3469"/>
                  <a:pt x="3945" y="3452"/>
                  <a:pt x="3961" y="3436"/>
                </a:cubicBezTo>
                <a:lnTo>
                  <a:pt x="4072" y="3261"/>
                </a:lnTo>
                <a:cubicBezTo>
                  <a:pt x="4136" y="3278"/>
                  <a:pt x="4184" y="3293"/>
                  <a:pt x="4248" y="3293"/>
                </a:cubicBezTo>
                <a:cubicBezTo>
                  <a:pt x="4311" y="3293"/>
                  <a:pt x="4391" y="3278"/>
                  <a:pt x="4439" y="3246"/>
                </a:cubicBezTo>
                <a:lnTo>
                  <a:pt x="4550" y="3421"/>
                </a:lnTo>
                <a:cubicBezTo>
                  <a:pt x="4566" y="3452"/>
                  <a:pt x="4598" y="3469"/>
                  <a:pt x="4629" y="3469"/>
                </a:cubicBezTo>
                <a:lnTo>
                  <a:pt x="4757" y="3469"/>
                </a:lnTo>
                <a:cubicBezTo>
                  <a:pt x="4852" y="3469"/>
                  <a:pt x="5139" y="3484"/>
                  <a:pt x="5139" y="3755"/>
                </a:cubicBezTo>
                <a:lnTo>
                  <a:pt x="5139" y="3850"/>
                </a:lnTo>
                <a:cubicBezTo>
                  <a:pt x="5139" y="3898"/>
                  <a:pt x="5171" y="3930"/>
                  <a:pt x="5218" y="3930"/>
                </a:cubicBezTo>
                <a:cubicBezTo>
                  <a:pt x="4963" y="4169"/>
                  <a:pt x="4614" y="4296"/>
                  <a:pt x="4248" y="4296"/>
                </a:cubicBezTo>
                <a:cubicBezTo>
                  <a:pt x="3452" y="4296"/>
                  <a:pt x="2800" y="3643"/>
                  <a:pt x="2800" y="2848"/>
                </a:cubicBezTo>
                <a:cubicBezTo>
                  <a:pt x="2800" y="2052"/>
                  <a:pt x="3452" y="1400"/>
                  <a:pt x="4248" y="1400"/>
                </a:cubicBezTo>
                <a:cubicBezTo>
                  <a:pt x="5043" y="1400"/>
                  <a:pt x="5696" y="2052"/>
                  <a:pt x="5696" y="2848"/>
                </a:cubicBezTo>
                <a:cubicBezTo>
                  <a:pt x="5696" y="3246"/>
                  <a:pt x="5552" y="3596"/>
                  <a:pt x="5298" y="3850"/>
                </a:cubicBezTo>
                <a:close/>
                <a:moveTo>
                  <a:pt x="3866" y="2673"/>
                </a:moveTo>
                <a:cubicBezTo>
                  <a:pt x="3866" y="2625"/>
                  <a:pt x="3834" y="2593"/>
                  <a:pt x="3786" y="2593"/>
                </a:cubicBezTo>
                <a:lnTo>
                  <a:pt x="3771" y="2578"/>
                </a:lnTo>
                <a:lnTo>
                  <a:pt x="3771" y="2402"/>
                </a:lnTo>
                <a:lnTo>
                  <a:pt x="3771" y="2387"/>
                </a:lnTo>
                <a:cubicBezTo>
                  <a:pt x="3786" y="2387"/>
                  <a:pt x="3802" y="2370"/>
                  <a:pt x="3818" y="2370"/>
                </a:cubicBezTo>
                <a:cubicBezTo>
                  <a:pt x="3834" y="2355"/>
                  <a:pt x="3850" y="2323"/>
                  <a:pt x="3850" y="2307"/>
                </a:cubicBezTo>
                <a:lnTo>
                  <a:pt x="3850" y="2132"/>
                </a:lnTo>
                <a:cubicBezTo>
                  <a:pt x="3850" y="2021"/>
                  <a:pt x="3914" y="1941"/>
                  <a:pt x="4009" y="1925"/>
                </a:cubicBezTo>
                <a:cubicBezTo>
                  <a:pt x="4057" y="1941"/>
                  <a:pt x="4089" y="1925"/>
                  <a:pt x="4120" y="1893"/>
                </a:cubicBezTo>
                <a:cubicBezTo>
                  <a:pt x="4152" y="1830"/>
                  <a:pt x="4311" y="1782"/>
                  <a:pt x="4439" y="1830"/>
                </a:cubicBezTo>
                <a:cubicBezTo>
                  <a:pt x="4566" y="1878"/>
                  <a:pt x="4629" y="1973"/>
                  <a:pt x="4629" y="2132"/>
                </a:cubicBezTo>
                <a:lnTo>
                  <a:pt x="4629" y="2307"/>
                </a:lnTo>
                <a:cubicBezTo>
                  <a:pt x="4629" y="2339"/>
                  <a:pt x="4662" y="2370"/>
                  <a:pt x="4709" y="2387"/>
                </a:cubicBezTo>
                <a:lnTo>
                  <a:pt x="4709" y="2402"/>
                </a:lnTo>
                <a:lnTo>
                  <a:pt x="4693" y="2593"/>
                </a:lnTo>
                <a:cubicBezTo>
                  <a:pt x="4645" y="2593"/>
                  <a:pt x="4614" y="2625"/>
                  <a:pt x="4614" y="2673"/>
                </a:cubicBezTo>
                <a:cubicBezTo>
                  <a:pt x="4614" y="2879"/>
                  <a:pt x="4454" y="3134"/>
                  <a:pt x="4248" y="3134"/>
                </a:cubicBezTo>
                <a:cubicBezTo>
                  <a:pt x="4041" y="3134"/>
                  <a:pt x="3866" y="2879"/>
                  <a:pt x="3866" y="267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3" name="Freeform: Shape 36">
            <a:extLst>
              <a:ext uri="{FF2B5EF4-FFF2-40B4-BE49-F238E27FC236}">
                <a16:creationId xmlns:a16="http://schemas.microsoft.com/office/drawing/2014/main" id="{69ED5C6F-3DA6-C642-831F-9541E95FF6E4}"/>
              </a:ext>
            </a:extLst>
          </p:cNvPr>
          <p:cNvSpPr/>
          <p:nvPr/>
        </p:nvSpPr>
        <p:spPr>
          <a:xfrm>
            <a:off x="13911680" y="2938531"/>
            <a:ext cx="1505880" cy="2021399"/>
          </a:xfrm>
          <a:custGeom>
            <a:avLst/>
            <a:gdLst/>
            <a:ahLst/>
            <a:cxnLst>
              <a:cxn ang="3cd4">
                <a:pos x="hc" y="t"/>
              </a:cxn>
              <a:cxn ang="cd2">
                <a:pos x="l" y="vc"/>
              </a:cxn>
              <a:cxn ang="cd4">
                <a:pos x="hc" y="b"/>
              </a:cxn>
              <a:cxn ang="0">
                <a:pos x="r" y="vc"/>
              </a:cxn>
            </a:cxnLst>
            <a:rect l="l" t="t" r="r" b="b"/>
            <a:pathLst>
              <a:path w="4184" h="5616">
                <a:moveTo>
                  <a:pt x="3034" y="969"/>
                </a:moveTo>
                <a:cubicBezTo>
                  <a:pt x="3085" y="948"/>
                  <a:pt x="3131" y="917"/>
                  <a:pt x="3169" y="878"/>
                </a:cubicBezTo>
                <a:cubicBezTo>
                  <a:pt x="3208" y="840"/>
                  <a:pt x="3239" y="794"/>
                  <a:pt x="3260" y="743"/>
                </a:cubicBezTo>
                <a:cubicBezTo>
                  <a:pt x="3281" y="691"/>
                  <a:pt x="3293" y="633"/>
                  <a:pt x="3293" y="573"/>
                </a:cubicBezTo>
                <a:cubicBezTo>
                  <a:pt x="3293" y="516"/>
                  <a:pt x="3281" y="462"/>
                  <a:pt x="3260" y="413"/>
                </a:cubicBezTo>
                <a:cubicBezTo>
                  <a:pt x="3239" y="364"/>
                  <a:pt x="3208" y="319"/>
                  <a:pt x="3170" y="282"/>
                </a:cubicBezTo>
                <a:cubicBezTo>
                  <a:pt x="3132" y="244"/>
                  <a:pt x="3085" y="213"/>
                  <a:pt x="3034" y="192"/>
                </a:cubicBezTo>
                <a:cubicBezTo>
                  <a:pt x="2982" y="171"/>
                  <a:pt x="2924" y="159"/>
                  <a:pt x="2863" y="159"/>
                </a:cubicBezTo>
                <a:cubicBezTo>
                  <a:pt x="2807" y="159"/>
                  <a:pt x="2753" y="171"/>
                  <a:pt x="2704" y="192"/>
                </a:cubicBezTo>
                <a:cubicBezTo>
                  <a:pt x="2654" y="213"/>
                  <a:pt x="2610" y="243"/>
                  <a:pt x="2572" y="281"/>
                </a:cubicBezTo>
                <a:cubicBezTo>
                  <a:pt x="2534" y="319"/>
                  <a:pt x="2504" y="363"/>
                  <a:pt x="2483" y="413"/>
                </a:cubicBezTo>
                <a:cubicBezTo>
                  <a:pt x="2462" y="462"/>
                  <a:pt x="2450" y="516"/>
                  <a:pt x="2450" y="573"/>
                </a:cubicBezTo>
                <a:cubicBezTo>
                  <a:pt x="2450" y="633"/>
                  <a:pt x="2462" y="691"/>
                  <a:pt x="2483" y="743"/>
                </a:cubicBezTo>
                <a:cubicBezTo>
                  <a:pt x="2504" y="794"/>
                  <a:pt x="2535" y="841"/>
                  <a:pt x="2573" y="879"/>
                </a:cubicBezTo>
                <a:cubicBezTo>
                  <a:pt x="2610" y="917"/>
                  <a:pt x="2655" y="948"/>
                  <a:pt x="2704" y="969"/>
                </a:cubicBezTo>
                <a:cubicBezTo>
                  <a:pt x="2753" y="990"/>
                  <a:pt x="2807" y="1002"/>
                  <a:pt x="2863" y="1002"/>
                </a:cubicBezTo>
                <a:cubicBezTo>
                  <a:pt x="2924" y="1002"/>
                  <a:pt x="2982" y="990"/>
                  <a:pt x="3034" y="969"/>
                </a:cubicBezTo>
                <a:close/>
                <a:moveTo>
                  <a:pt x="2459" y="990"/>
                </a:moveTo>
                <a:cubicBezTo>
                  <a:pt x="2407" y="937"/>
                  <a:pt x="2365" y="874"/>
                  <a:pt x="2336" y="803"/>
                </a:cubicBezTo>
                <a:cubicBezTo>
                  <a:pt x="2307" y="733"/>
                  <a:pt x="2291" y="655"/>
                  <a:pt x="2291" y="573"/>
                </a:cubicBezTo>
                <a:cubicBezTo>
                  <a:pt x="2291" y="494"/>
                  <a:pt x="2307" y="419"/>
                  <a:pt x="2336" y="350"/>
                </a:cubicBezTo>
                <a:cubicBezTo>
                  <a:pt x="2366" y="282"/>
                  <a:pt x="2408" y="220"/>
                  <a:pt x="2460" y="169"/>
                </a:cubicBezTo>
                <a:cubicBezTo>
                  <a:pt x="2511" y="117"/>
                  <a:pt x="2573" y="75"/>
                  <a:pt x="2641" y="45"/>
                </a:cubicBezTo>
                <a:cubicBezTo>
                  <a:pt x="2710" y="16"/>
                  <a:pt x="2785" y="0"/>
                  <a:pt x="2863" y="0"/>
                </a:cubicBezTo>
                <a:cubicBezTo>
                  <a:pt x="2946" y="0"/>
                  <a:pt x="3024" y="16"/>
                  <a:pt x="3094" y="45"/>
                </a:cubicBezTo>
                <a:cubicBezTo>
                  <a:pt x="3165" y="74"/>
                  <a:pt x="3228" y="116"/>
                  <a:pt x="3281" y="168"/>
                </a:cubicBezTo>
                <a:cubicBezTo>
                  <a:pt x="3334" y="220"/>
                  <a:pt x="3377" y="282"/>
                  <a:pt x="3406" y="350"/>
                </a:cubicBezTo>
                <a:cubicBezTo>
                  <a:pt x="3436" y="419"/>
                  <a:pt x="3452" y="494"/>
                  <a:pt x="3452" y="573"/>
                </a:cubicBezTo>
                <a:cubicBezTo>
                  <a:pt x="3452" y="655"/>
                  <a:pt x="3436" y="733"/>
                  <a:pt x="3407" y="803"/>
                </a:cubicBezTo>
                <a:cubicBezTo>
                  <a:pt x="3377" y="874"/>
                  <a:pt x="3335" y="938"/>
                  <a:pt x="3282" y="991"/>
                </a:cubicBezTo>
                <a:cubicBezTo>
                  <a:pt x="3229" y="1044"/>
                  <a:pt x="3165" y="1086"/>
                  <a:pt x="3094" y="1116"/>
                </a:cubicBezTo>
                <a:cubicBezTo>
                  <a:pt x="3062" y="1129"/>
                  <a:pt x="3028" y="1140"/>
                  <a:pt x="2992" y="1147"/>
                </a:cubicBezTo>
                <a:cubicBezTo>
                  <a:pt x="3126" y="1151"/>
                  <a:pt x="3253" y="1161"/>
                  <a:pt x="3371" y="1178"/>
                </a:cubicBezTo>
                <a:cubicBezTo>
                  <a:pt x="3525" y="1201"/>
                  <a:pt x="3663" y="1235"/>
                  <a:pt x="3779" y="1283"/>
                </a:cubicBezTo>
                <a:cubicBezTo>
                  <a:pt x="3839" y="1308"/>
                  <a:pt x="3894" y="1337"/>
                  <a:pt x="3942" y="1369"/>
                </a:cubicBezTo>
                <a:cubicBezTo>
                  <a:pt x="3992" y="1403"/>
                  <a:pt x="4035" y="1441"/>
                  <a:pt x="4070" y="1483"/>
                </a:cubicBezTo>
                <a:cubicBezTo>
                  <a:pt x="4107" y="1526"/>
                  <a:pt x="4135" y="1574"/>
                  <a:pt x="4155" y="1627"/>
                </a:cubicBezTo>
                <a:cubicBezTo>
                  <a:pt x="4174" y="1679"/>
                  <a:pt x="4184" y="1736"/>
                  <a:pt x="4184" y="1798"/>
                </a:cubicBezTo>
                <a:lnTo>
                  <a:pt x="4184" y="2880"/>
                </a:lnTo>
                <a:lnTo>
                  <a:pt x="4184" y="3659"/>
                </a:lnTo>
                <a:lnTo>
                  <a:pt x="4184" y="3660"/>
                </a:lnTo>
                <a:cubicBezTo>
                  <a:pt x="4184" y="3746"/>
                  <a:pt x="4166" y="3829"/>
                  <a:pt x="4133" y="3903"/>
                </a:cubicBezTo>
                <a:cubicBezTo>
                  <a:pt x="4100" y="3978"/>
                  <a:pt x="4053" y="4045"/>
                  <a:pt x="3995" y="4101"/>
                </a:cubicBezTo>
                <a:cubicBezTo>
                  <a:pt x="3937" y="4156"/>
                  <a:pt x="3868" y="4201"/>
                  <a:pt x="3792" y="4232"/>
                </a:cubicBezTo>
                <a:cubicBezTo>
                  <a:pt x="3717" y="4263"/>
                  <a:pt x="3634" y="4280"/>
                  <a:pt x="3548" y="4280"/>
                </a:cubicBezTo>
                <a:cubicBezTo>
                  <a:pt x="3461" y="4280"/>
                  <a:pt x="3379" y="4263"/>
                  <a:pt x="3303" y="4232"/>
                </a:cubicBezTo>
                <a:cubicBezTo>
                  <a:pt x="3227" y="4201"/>
                  <a:pt x="3159" y="4156"/>
                  <a:pt x="3101" y="4101"/>
                </a:cubicBezTo>
                <a:cubicBezTo>
                  <a:pt x="3042" y="4045"/>
                  <a:pt x="2995" y="3978"/>
                  <a:pt x="2962" y="3904"/>
                </a:cubicBezTo>
                <a:cubicBezTo>
                  <a:pt x="2940" y="3852"/>
                  <a:pt x="2924" y="3797"/>
                  <a:pt x="2916" y="3739"/>
                </a:cubicBezTo>
                <a:lnTo>
                  <a:pt x="2381" y="3739"/>
                </a:lnTo>
                <a:cubicBezTo>
                  <a:pt x="2373" y="3797"/>
                  <a:pt x="2357" y="3852"/>
                  <a:pt x="2335" y="3904"/>
                </a:cubicBezTo>
                <a:cubicBezTo>
                  <a:pt x="2302" y="3978"/>
                  <a:pt x="2255" y="4045"/>
                  <a:pt x="2196" y="4101"/>
                </a:cubicBezTo>
                <a:cubicBezTo>
                  <a:pt x="2139" y="4156"/>
                  <a:pt x="2070" y="4201"/>
                  <a:pt x="1994" y="4232"/>
                </a:cubicBezTo>
                <a:cubicBezTo>
                  <a:pt x="1919" y="4263"/>
                  <a:pt x="1836" y="4280"/>
                  <a:pt x="1751" y="4280"/>
                </a:cubicBezTo>
                <a:cubicBezTo>
                  <a:pt x="1664" y="4280"/>
                  <a:pt x="1581" y="4263"/>
                  <a:pt x="1506" y="4232"/>
                </a:cubicBezTo>
                <a:cubicBezTo>
                  <a:pt x="1473" y="4219"/>
                  <a:pt x="1441" y="4202"/>
                  <a:pt x="1411" y="4184"/>
                </a:cubicBezTo>
                <a:lnTo>
                  <a:pt x="1103" y="4551"/>
                </a:lnTo>
                <a:cubicBezTo>
                  <a:pt x="1152" y="4605"/>
                  <a:pt x="1193" y="4666"/>
                  <a:pt x="1222" y="4734"/>
                </a:cubicBezTo>
                <a:cubicBezTo>
                  <a:pt x="1255" y="4810"/>
                  <a:pt x="1273" y="4893"/>
                  <a:pt x="1273" y="4980"/>
                </a:cubicBezTo>
                <a:cubicBezTo>
                  <a:pt x="1273" y="5070"/>
                  <a:pt x="1255" y="5155"/>
                  <a:pt x="1222" y="5232"/>
                </a:cubicBezTo>
                <a:cubicBezTo>
                  <a:pt x="1189" y="5309"/>
                  <a:pt x="1142" y="5377"/>
                  <a:pt x="1084" y="5434"/>
                </a:cubicBezTo>
                <a:cubicBezTo>
                  <a:pt x="1026" y="5491"/>
                  <a:pt x="957" y="5536"/>
                  <a:pt x="881" y="5568"/>
                </a:cubicBezTo>
                <a:cubicBezTo>
                  <a:pt x="805" y="5599"/>
                  <a:pt x="723" y="5616"/>
                  <a:pt x="637" y="5616"/>
                </a:cubicBezTo>
                <a:cubicBezTo>
                  <a:pt x="550" y="5616"/>
                  <a:pt x="467" y="5599"/>
                  <a:pt x="391" y="5568"/>
                </a:cubicBezTo>
                <a:cubicBezTo>
                  <a:pt x="315" y="5536"/>
                  <a:pt x="247" y="5491"/>
                  <a:pt x="189" y="5434"/>
                </a:cubicBezTo>
                <a:cubicBezTo>
                  <a:pt x="131" y="5377"/>
                  <a:pt x="83" y="5309"/>
                  <a:pt x="51" y="5232"/>
                </a:cubicBezTo>
                <a:cubicBezTo>
                  <a:pt x="18" y="5155"/>
                  <a:pt x="0" y="5070"/>
                  <a:pt x="0" y="4980"/>
                </a:cubicBezTo>
                <a:cubicBezTo>
                  <a:pt x="0" y="4893"/>
                  <a:pt x="18" y="4810"/>
                  <a:pt x="51" y="4734"/>
                </a:cubicBezTo>
                <a:cubicBezTo>
                  <a:pt x="83" y="4658"/>
                  <a:pt x="130" y="4590"/>
                  <a:pt x="188" y="4532"/>
                </a:cubicBezTo>
                <a:cubicBezTo>
                  <a:pt x="246" y="4474"/>
                  <a:pt x="315" y="4427"/>
                  <a:pt x="390" y="4395"/>
                </a:cubicBezTo>
                <a:cubicBezTo>
                  <a:pt x="466" y="4362"/>
                  <a:pt x="550" y="4344"/>
                  <a:pt x="637" y="4344"/>
                </a:cubicBezTo>
                <a:cubicBezTo>
                  <a:pt x="723" y="4344"/>
                  <a:pt x="806" y="4362"/>
                  <a:pt x="882" y="4395"/>
                </a:cubicBezTo>
                <a:cubicBezTo>
                  <a:pt x="917" y="4410"/>
                  <a:pt x="950" y="4428"/>
                  <a:pt x="982" y="4448"/>
                </a:cubicBezTo>
                <a:lnTo>
                  <a:pt x="1287" y="4084"/>
                </a:lnTo>
                <a:cubicBezTo>
                  <a:pt x="1236" y="4032"/>
                  <a:pt x="1195" y="3971"/>
                  <a:pt x="1165" y="3903"/>
                </a:cubicBezTo>
                <a:cubicBezTo>
                  <a:pt x="1132" y="3829"/>
                  <a:pt x="1114" y="3746"/>
                  <a:pt x="1114" y="3660"/>
                </a:cubicBezTo>
                <a:cubicBezTo>
                  <a:pt x="1114" y="3569"/>
                  <a:pt x="1132" y="3484"/>
                  <a:pt x="1165" y="3407"/>
                </a:cubicBezTo>
                <a:cubicBezTo>
                  <a:pt x="1197" y="3330"/>
                  <a:pt x="1245" y="3262"/>
                  <a:pt x="1303" y="3205"/>
                </a:cubicBezTo>
                <a:cubicBezTo>
                  <a:pt x="1320" y="3188"/>
                  <a:pt x="1338" y="3173"/>
                  <a:pt x="1356" y="3158"/>
                </a:cubicBezTo>
                <a:lnTo>
                  <a:pt x="961" y="2774"/>
                </a:lnTo>
                <a:cubicBezTo>
                  <a:pt x="922" y="2781"/>
                  <a:pt x="883" y="2785"/>
                  <a:pt x="843" y="2785"/>
                </a:cubicBezTo>
                <a:cubicBezTo>
                  <a:pt x="752" y="2785"/>
                  <a:pt x="668" y="2768"/>
                  <a:pt x="591" y="2737"/>
                </a:cubicBezTo>
                <a:cubicBezTo>
                  <a:pt x="514" y="2705"/>
                  <a:pt x="446" y="2660"/>
                  <a:pt x="389" y="2602"/>
                </a:cubicBezTo>
                <a:cubicBezTo>
                  <a:pt x="332" y="2545"/>
                  <a:pt x="286" y="2477"/>
                  <a:pt x="255" y="2400"/>
                </a:cubicBezTo>
                <a:cubicBezTo>
                  <a:pt x="224" y="2323"/>
                  <a:pt x="207" y="2239"/>
                  <a:pt x="207" y="2149"/>
                </a:cubicBezTo>
                <a:cubicBezTo>
                  <a:pt x="207" y="2062"/>
                  <a:pt x="224" y="1980"/>
                  <a:pt x="255" y="1905"/>
                </a:cubicBezTo>
                <a:cubicBezTo>
                  <a:pt x="287" y="1830"/>
                  <a:pt x="332" y="1763"/>
                  <a:pt x="390" y="1707"/>
                </a:cubicBezTo>
                <a:cubicBezTo>
                  <a:pt x="446" y="1651"/>
                  <a:pt x="515" y="1606"/>
                  <a:pt x="592" y="1575"/>
                </a:cubicBezTo>
                <a:cubicBezTo>
                  <a:pt x="668" y="1544"/>
                  <a:pt x="752" y="1527"/>
                  <a:pt x="843" y="1527"/>
                </a:cubicBezTo>
                <a:cubicBezTo>
                  <a:pt x="929" y="1527"/>
                  <a:pt x="1012" y="1544"/>
                  <a:pt x="1087" y="1575"/>
                </a:cubicBezTo>
                <a:cubicBezTo>
                  <a:pt x="1163" y="1606"/>
                  <a:pt x="1232" y="1651"/>
                  <a:pt x="1290" y="1707"/>
                </a:cubicBezTo>
                <a:cubicBezTo>
                  <a:pt x="1348" y="1763"/>
                  <a:pt x="1395" y="1829"/>
                  <a:pt x="1428" y="1904"/>
                </a:cubicBezTo>
                <a:cubicBezTo>
                  <a:pt x="1461" y="1979"/>
                  <a:pt x="1479" y="2061"/>
                  <a:pt x="1479" y="2149"/>
                </a:cubicBezTo>
                <a:cubicBezTo>
                  <a:pt x="1479" y="2239"/>
                  <a:pt x="1461" y="2324"/>
                  <a:pt x="1428" y="2401"/>
                </a:cubicBezTo>
                <a:cubicBezTo>
                  <a:pt x="1396" y="2478"/>
                  <a:pt x="1348" y="2546"/>
                  <a:pt x="1290" y="2603"/>
                </a:cubicBezTo>
                <a:cubicBezTo>
                  <a:pt x="1243" y="2649"/>
                  <a:pt x="1189" y="2688"/>
                  <a:pt x="1130" y="2717"/>
                </a:cubicBezTo>
                <a:lnTo>
                  <a:pt x="1498" y="3074"/>
                </a:lnTo>
                <a:cubicBezTo>
                  <a:pt x="1501" y="3073"/>
                  <a:pt x="1503" y="3072"/>
                  <a:pt x="1505" y="3071"/>
                </a:cubicBezTo>
                <a:cubicBezTo>
                  <a:pt x="1519" y="3066"/>
                  <a:pt x="1532" y="3061"/>
                  <a:pt x="1546" y="3056"/>
                </a:cubicBezTo>
                <a:lnTo>
                  <a:pt x="1559" y="2846"/>
                </a:lnTo>
                <a:lnTo>
                  <a:pt x="1559" y="1798"/>
                </a:lnTo>
                <a:cubicBezTo>
                  <a:pt x="1559" y="1736"/>
                  <a:pt x="1569" y="1679"/>
                  <a:pt x="1588" y="1627"/>
                </a:cubicBezTo>
                <a:cubicBezTo>
                  <a:pt x="1608" y="1574"/>
                  <a:pt x="1636" y="1526"/>
                  <a:pt x="1673" y="1483"/>
                </a:cubicBezTo>
                <a:cubicBezTo>
                  <a:pt x="1708" y="1441"/>
                  <a:pt x="1751" y="1403"/>
                  <a:pt x="1801" y="1369"/>
                </a:cubicBezTo>
                <a:cubicBezTo>
                  <a:pt x="1849" y="1337"/>
                  <a:pt x="1904" y="1308"/>
                  <a:pt x="1964" y="1283"/>
                </a:cubicBezTo>
                <a:cubicBezTo>
                  <a:pt x="2080" y="1235"/>
                  <a:pt x="2218" y="1201"/>
                  <a:pt x="2372" y="1178"/>
                </a:cubicBezTo>
                <a:cubicBezTo>
                  <a:pt x="2487" y="1161"/>
                  <a:pt x="2611" y="1151"/>
                  <a:pt x="2742" y="1148"/>
                </a:cubicBezTo>
                <a:cubicBezTo>
                  <a:pt x="2707" y="1140"/>
                  <a:pt x="2673" y="1129"/>
                  <a:pt x="2641" y="1115"/>
                </a:cubicBezTo>
                <a:cubicBezTo>
                  <a:pt x="2573" y="1086"/>
                  <a:pt x="2511" y="1043"/>
                  <a:pt x="2459" y="990"/>
                </a:cubicBezTo>
                <a:close/>
                <a:moveTo>
                  <a:pt x="2052" y="2927"/>
                </a:moveTo>
                <a:lnTo>
                  <a:pt x="2052" y="2179"/>
                </a:lnTo>
                <a:cubicBezTo>
                  <a:pt x="2052" y="2158"/>
                  <a:pt x="2055" y="2140"/>
                  <a:pt x="2059" y="2125"/>
                </a:cubicBezTo>
                <a:cubicBezTo>
                  <a:pt x="2065" y="2106"/>
                  <a:pt x="2073" y="2090"/>
                  <a:pt x="2083" y="2077"/>
                </a:cubicBezTo>
                <a:cubicBezTo>
                  <a:pt x="2089" y="2070"/>
                  <a:pt x="2095" y="2063"/>
                  <a:pt x="2102" y="2057"/>
                </a:cubicBezTo>
                <a:cubicBezTo>
                  <a:pt x="2109" y="2051"/>
                  <a:pt x="2117" y="2046"/>
                  <a:pt x="2125" y="2042"/>
                </a:cubicBezTo>
                <a:cubicBezTo>
                  <a:pt x="2133" y="2037"/>
                  <a:pt x="2142" y="2034"/>
                  <a:pt x="2151" y="2032"/>
                </a:cubicBezTo>
                <a:cubicBezTo>
                  <a:pt x="2161" y="2029"/>
                  <a:pt x="2170" y="2028"/>
                  <a:pt x="2180" y="2028"/>
                </a:cubicBezTo>
                <a:cubicBezTo>
                  <a:pt x="2189" y="2028"/>
                  <a:pt x="2198" y="2029"/>
                  <a:pt x="2208" y="2032"/>
                </a:cubicBezTo>
                <a:cubicBezTo>
                  <a:pt x="2217" y="2034"/>
                  <a:pt x="2226" y="2037"/>
                  <a:pt x="2234" y="2042"/>
                </a:cubicBezTo>
                <a:cubicBezTo>
                  <a:pt x="2242" y="2046"/>
                  <a:pt x="2250" y="2051"/>
                  <a:pt x="2257" y="2057"/>
                </a:cubicBezTo>
                <a:cubicBezTo>
                  <a:pt x="2264" y="2063"/>
                  <a:pt x="2270" y="2070"/>
                  <a:pt x="2276" y="2077"/>
                </a:cubicBezTo>
                <a:cubicBezTo>
                  <a:pt x="2286" y="2090"/>
                  <a:pt x="2294" y="2106"/>
                  <a:pt x="2300" y="2125"/>
                </a:cubicBezTo>
                <a:cubicBezTo>
                  <a:pt x="2304" y="2140"/>
                  <a:pt x="2307" y="2158"/>
                  <a:pt x="2307" y="2179"/>
                </a:cubicBezTo>
                <a:cubicBezTo>
                  <a:pt x="2307" y="2227"/>
                  <a:pt x="2291" y="2971"/>
                  <a:pt x="2291" y="3322"/>
                </a:cubicBezTo>
                <a:cubicBezTo>
                  <a:pt x="2308" y="3349"/>
                  <a:pt x="2322" y="3378"/>
                  <a:pt x="2335" y="3407"/>
                </a:cubicBezTo>
                <a:cubicBezTo>
                  <a:pt x="2358" y="3461"/>
                  <a:pt x="2374" y="3519"/>
                  <a:pt x="2381" y="3580"/>
                </a:cubicBezTo>
                <a:lnTo>
                  <a:pt x="2916" y="3580"/>
                </a:lnTo>
                <a:cubicBezTo>
                  <a:pt x="2923" y="3519"/>
                  <a:pt x="2939" y="3461"/>
                  <a:pt x="2962" y="3407"/>
                </a:cubicBezTo>
                <a:cubicBezTo>
                  <a:pt x="2995" y="3330"/>
                  <a:pt x="3042" y="3262"/>
                  <a:pt x="3100" y="3205"/>
                </a:cubicBezTo>
                <a:cubicBezTo>
                  <a:pt x="3158" y="3148"/>
                  <a:pt x="3227" y="3103"/>
                  <a:pt x="3303" y="3071"/>
                </a:cubicBezTo>
                <a:cubicBezTo>
                  <a:pt x="3350" y="3052"/>
                  <a:pt x="3401" y="3038"/>
                  <a:pt x="3453" y="3030"/>
                </a:cubicBezTo>
                <a:lnTo>
                  <a:pt x="3453" y="2179"/>
                </a:lnTo>
                <a:cubicBezTo>
                  <a:pt x="3453" y="2160"/>
                  <a:pt x="3455" y="2143"/>
                  <a:pt x="3459" y="2129"/>
                </a:cubicBezTo>
                <a:cubicBezTo>
                  <a:pt x="3463" y="2111"/>
                  <a:pt x="3470" y="2095"/>
                  <a:pt x="3477" y="2083"/>
                </a:cubicBezTo>
                <a:cubicBezTo>
                  <a:pt x="3482" y="2075"/>
                  <a:pt x="3488" y="2069"/>
                  <a:pt x="3493" y="2063"/>
                </a:cubicBezTo>
                <a:cubicBezTo>
                  <a:pt x="3500" y="2056"/>
                  <a:pt x="3507" y="2050"/>
                  <a:pt x="3515" y="2045"/>
                </a:cubicBezTo>
                <a:cubicBezTo>
                  <a:pt x="3523" y="2039"/>
                  <a:pt x="3532" y="2035"/>
                  <a:pt x="3541" y="2033"/>
                </a:cubicBezTo>
                <a:cubicBezTo>
                  <a:pt x="3551" y="2029"/>
                  <a:pt x="3562" y="2028"/>
                  <a:pt x="3572" y="2028"/>
                </a:cubicBezTo>
                <a:cubicBezTo>
                  <a:pt x="3582" y="2028"/>
                  <a:pt x="3593" y="2029"/>
                  <a:pt x="3603" y="2033"/>
                </a:cubicBezTo>
                <a:cubicBezTo>
                  <a:pt x="3612" y="2035"/>
                  <a:pt x="3621" y="2039"/>
                  <a:pt x="3629" y="2045"/>
                </a:cubicBezTo>
                <a:cubicBezTo>
                  <a:pt x="3637" y="2050"/>
                  <a:pt x="3644" y="2056"/>
                  <a:pt x="3651" y="2063"/>
                </a:cubicBezTo>
                <a:cubicBezTo>
                  <a:pt x="3656" y="2069"/>
                  <a:pt x="3662" y="2075"/>
                  <a:pt x="3667" y="2083"/>
                </a:cubicBezTo>
                <a:cubicBezTo>
                  <a:pt x="3674" y="2095"/>
                  <a:pt x="3681" y="2111"/>
                  <a:pt x="3685" y="2129"/>
                </a:cubicBezTo>
                <a:cubicBezTo>
                  <a:pt x="3689" y="2143"/>
                  <a:pt x="3691" y="2160"/>
                  <a:pt x="3691" y="2179"/>
                </a:cubicBezTo>
                <a:lnTo>
                  <a:pt x="3691" y="3039"/>
                </a:lnTo>
                <a:cubicBezTo>
                  <a:pt x="3726" y="3047"/>
                  <a:pt x="3760" y="3058"/>
                  <a:pt x="3793" y="3071"/>
                </a:cubicBezTo>
                <a:cubicBezTo>
                  <a:pt x="3869" y="3103"/>
                  <a:pt x="3937" y="3148"/>
                  <a:pt x="3995" y="3205"/>
                </a:cubicBezTo>
                <a:cubicBezTo>
                  <a:pt x="4006" y="3215"/>
                  <a:pt x="4015" y="3225"/>
                  <a:pt x="4025" y="3236"/>
                </a:cubicBezTo>
                <a:lnTo>
                  <a:pt x="4025" y="2880"/>
                </a:lnTo>
                <a:lnTo>
                  <a:pt x="4025" y="1798"/>
                </a:lnTo>
                <a:cubicBezTo>
                  <a:pt x="4025" y="1756"/>
                  <a:pt x="4018" y="1717"/>
                  <a:pt x="4005" y="1682"/>
                </a:cubicBezTo>
                <a:cubicBezTo>
                  <a:pt x="3992" y="1647"/>
                  <a:pt x="3973" y="1614"/>
                  <a:pt x="3948" y="1585"/>
                </a:cubicBezTo>
                <a:cubicBezTo>
                  <a:pt x="3922" y="1554"/>
                  <a:pt x="3890" y="1526"/>
                  <a:pt x="3853" y="1501"/>
                </a:cubicBezTo>
                <a:cubicBezTo>
                  <a:pt x="3813" y="1474"/>
                  <a:pt x="3768" y="1451"/>
                  <a:pt x="3718" y="1430"/>
                </a:cubicBezTo>
                <a:cubicBezTo>
                  <a:pt x="3613" y="1387"/>
                  <a:pt x="3488" y="1356"/>
                  <a:pt x="3348" y="1335"/>
                </a:cubicBezTo>
                <a:cubicBezTo>
                  <a:pt x="3205" y="1315"/>
                  <a:pt x="3046" y="1305"/>
                  <a:pt x="2880" y="1305"/>
                </a:cubicBezTo>
                <a:lnTo>
                  <a:pt x="2864" y="1305"/>
                </a:lnTo>
                <a:cubicBezTo>
                  <a:pt x="2697" y="1305"/>
                  <a:pt x="2538" y="1315"/>
                  <a:pt x="2395" y="1335"/>
                </a:cubicBezTo>
                <a:cubicBezTo>
                  <a:pt x="2255" y="1356"/>
                  <a:pt x="2130" y="1387"/>
                  <a:pt x="2025" y="1430"/>
                </a:cubicBezTo>
                <a:cubicBezTo>
                  <a:pt x="1975" y="1451"/>
                  <a:pt x="1930" y="1474"/>
                  <a:pt x="1890" y="1501"/>
                </a:cubicBezTo>
                <a:cubicBezTo>
                  <a:pt x="1853" y="1526"/>
                  <a:pt x="1821" y="1554"/>
                  <a:pt x="1795" y="1585"/>
                </a:cubicBezTo>
                <a:cubicBezTo>
                  <a:pt x="1770" y="1614"/>
                  <a:pt x="1751" y="1647"/>
                  <a:pt x="1738" y="1682"/>
                </a:cubicBezTo>
                <a:cubicBezTo>
                  <a:pt x="1725" y="1717"/>
                  <a:pt x="1718" y="1756"/>
                  <a:pt x="1718" y="1798"/>
                </a:cubicBezTo>
                <a:lnTo>
                  <a:pt x="1718" y="2849"/>
                </a:lnTo>
                <a:cubicBezTo>
                  <a:pt x="1718" y="2850"/>
                  <a:pt x="1718" y="2852"/>
                  <a:pt x="1718" y="2853"/>
                </a:cubicBezTo>
                <a:lnTo>
                  <a:pt x="1707" y="3024"/>
                </a:lnTo>
                <a:cubicBezTo>
                  <a:pt x="1721" y="3023"/>
                  <a:pt x="1736" y="3023"/>
                  <a:pt x="1751" y="3023"/>
                </a:cubicBezTo>
                <a:cubicBezTo>
                  <a:pt x="1836" y="3023"/>
                  <a:pt x="1919" y="3040"/>
                  <a:pt x="1995" y="3071"/>
                </a:cubicBezTo>
                <a:cubicBezTo>
                  <a:pt x="2014" y="3079"/>
                  <a:pt x="2033" y="3088"/>
                  <a:pt x="2052" y="3098"/>
                </a:cubicBezTo>
                <a:close/>
                <a:moveTo>
                  <a:pt x="972" y="4645"/>
                </a:moveTo>
                <a:cubicBezTo>
                  <a:pt x="928" y="4601"/>
                  <a:pt x="877" y="4565"/>
                  <a:pt x="820" y="4541"/>
                </a:cubicBezTo>
                <a:cubicBezTo>
                  <a:pt x="763" y="4517"/>
                  <a:pt x="701" y="4503"/>
                  <a:pt x="637" y="4503"/>
                </a:cubicBezTo>
                <a:cubicBezTo>
                  <a:pt x="572" y="4503"/>
                  <a:pt x="510" y="4517"/>
                  <a:pt x="453" y="4541"/>
                </a:cubicBezTo>
                <a:cubicBezTo>
                  <a:pt x="396" y="4565"/>
                  <a:pt x="344" y="4601"/>
                  <a:pt x="301" y="4644"/>
                </a:cubicBezTo>
                <a:cubicBezTo>
                  <a:pt x="257" y="4688"/>
                  <a:pt x="221" y="4740"/>
                  <a:pt x="197" y="4797"/>
                </a:cubicBezTo>
                <a:cubicBezTo>
                  <a:pt x="173" y="4853"/>
                  <a:pt x="159" y="4915"/>
                  <a:pt x="159" y="4980"/>
                </a:cubicBezTo>
                <a:cubicBezTo>
                  <a:pt x="159" y="5048"/>
                  <a:pt x="173" y="5112"/>
                  <a:pt x="197" y="5170"/>
                </a:cubicBezTo>
                <a:cubicBezTo>
                  <a:pt x="221" y="5227"/>
                  <a:pt x="257" y="5278"/>
                  <a:pt x="300" y="5321"/>
                </a:cubicBezTo>
                <a:cubicBezTo>
                  <a:pt x="343" y="5363"/>
                  <a:pt x="395" y="5397"/>
                  <a:pt x="452" y="5421"/>
                </a:cubicBezTo>
                <a:cubicBezTo>
                  <a:pt x="509" y="5444"/>
                  <a:pt x="571" y="5457"/>
                  <a:pt x="637" y="5457"/>
                </a:cubicBezTo>
                <a:cubicBezTo>
                  <a:pt x="701" y="5457"/>
                  <a:pt x="764" y="5444"/>
                  <a:pt x="821" y="5421"/>
                </a:cubicBezTo>
                <a:cubicBezTo>
                  <a:pt x="878" y="5397"/>
                  <a:pt x="929" y="5363"/>
                  <a:pt x="973" y="5320"/>
                </a:cubicBezTo>
                <a:cubicBezTo>
                  <a:pt x="1016" y="5278"/>
                  <a:pt x="1051" y="5227"/>
                  <a:pt x="1076" y="5170"/>
                </a:cubicBezTo>
                <a:cubicBezTo>
                  <a:pt x="1100" y="5112"/>
                  <a:pt x="1114" y="5048"/>
                  <a:pt x="1114" y="4980"/>
                </a:cubicBezTo>
                <a:cubicBezTo>
                  <a:pt x="1114" y="4915"/>
                  <a:pt x="1100" y="4853"/>
                  <a:pt x="1076" y="4797"/>
                </a:cubicBezTo>
                <a:cubicBezTo>
                  <a:pt x="1051" y="4740"/>
                  <a:pt x="1016" y="4688"/>
                  <a:pt x="972" y="4645"/>
                </a:cubicBezTo>
                <a:close/>
                <a:moveTo>
                  <a:pt x="2086" y="3318"/>
                </a:moveTo>
                <a:cubicBezTo>
                  <a:pt x="2042" y="3276"/>
                  <a:pt x="1991" y="3242"/>
                  <a:pt x="1934" y="3218"/>
                </a:cubicBezTo>
                <a:cubicBezTo>
                  <a:pt x="1877" y="3195"/>
                  <a:pt x="1815" y="3182"/>
                  <a:pt x="1751" y="3182"/>
                </a:cubicBezTo>
                <a:cubicBezTo>
                  <a:pt x="1685" y="3182"/>
                  <a:pt x="1623" y="3195"/>
                  <a:pt x="1566" y="3218"/>
                </a:cubicBezTo>
                <a:cubicBezTo>
                  <a:pt x="1509" y="3242"/>
                  <a:pt x="1457" y="3276"/>
                  <a:pt x="1414" y="3318"/>
                </a:cubicBezTo>
                <a:cubicBezTo>
                  <a:pt x="1371" y="3361"/>
                  <a:pt x="1335" y="3412"/>
                  <a:pt x="1311" y="3469"/>
                </a:cubicBezTo>
                <a:cubicBezTo>
                  <a:pt x="1287" y="3527"/>
                  <a:pt x="1273" y="3591"/>
                  <a:pt x="1273" y="3660"/>
                </a:cubicBezTo>
                <a:cubicBezTo>
                  <a:pt x="1273" y="3724"/>
                  <a:pt x="1286" y="3784"/>
                  <a:pt x="1311" y="3839"/>
                </a:cubicBezTo>
                <a:cubicBezTo>
                  <a:pt x="1335" y="3895"/>
                  <a:pt x="1370" y="3944"/>
                  <a:pt x="1413" y="3986"/>
                </a:cubicBezTo>
                <a:cubicBezTo>
                  <a:pt x="1457" y="4028"/>
                  <a:pt x="1509" y="4062"/>
                  <a:pt x="1566" y="4085"/>
                </a:cubicBezTo>
                <a:cubicBezTo>
                  <a:pt x="1623" y="4108"/>
                  <a:pt x="1685" y="4121"/>
                  <a:pt x="1751" y="4121"/>
                </a:cubicBezTo>
                <a:cubicBezTo>
                  <a:pt x="1815" y="4121"/>
                  <a:pt x="1877" y="4108"/>
                  <a:pt x="1934" y="4085"/>
                </a:cubicBezTo>
                <a:cubicBezTo>
                  <a:pt x="1991" y="4062"/>
                  <a:pt x="2043" y="4028"/>
                  <a:pt x="2086" y="3986"/>
                </a:cubicBezTo>
                <a:cubicBezTo>
                  <a:pt x="2130" y="3944"/>
                  <a:pt x="2165" y="3895"/>
                  <a:pt x="2189" y="3839"/>
                </a:cubicBezTo>
                <a:cubicBezTo>
                  <a:pt x="2213" y="3784"/>
                  <a:pt x="2227" y="3724"/>
                  <a:pt x="2227" y="3660"/>
                </a:cubicBezTo>
                <a:cubicBezTo>
                  <a:pt x="2227" y="3591"/>
                  <a:pt x="2213" y="3527"/>
                  <a:pt x="2189" y="3469"/>
                </a:cubicBezTo>
                <a:cubicBezTo>
                  <a:pt x="2164" y="3412"/>
                  <a:pt x="2129" y="3361"/>
                  <a:pt x="2086" y="3318"/>
                </a:cubicBezTo>
                <a:close/>
                <a:moveTo>
                  <a:pt x="1179" y="1821"/>
                </a:moveTo>
                <a:cubicBezTo>
                  <a:pt x="1136" y="1779"/>
                  <a:pt x="1084" y="1745"/>
                  <a:pt x="1027" y="1722"/>
                </a:cubicBezTo>
                <a:cubicBezTo>
                  <a:pt x="970" y="1699"/>
                  <a:pt x="908" y="1686"/>
                  <a:pt x="843" y="1686"/>
                </a:cubicBezTo>
                <a:cubicBezTo>
                  <a:pt x="774" y="1686"/>
                  <a:pt x="709" y="1699"/>
                  <a:pt x="651" y="1722"/>
                </a:cubicBezTo>
                <a:cubicBezTo>
                  <a:pt x="594" y="1745"/>
                  <a:pt x="543" y="1779"/>
                  <a:pt x="501" y="1821"/>
                </a:cubicBezTo>
                <a:cubicBezTo>
                  <a:pt x="459" y="1862"/>
                  <a:pt x="425" y="1912"/>
                  <a:pt x="402" y="1967"/>
                </a:cubicBezTo>
                <a:cubicBezTo>
                  <a:pt x="379" y="2022"/>
                  <a:pt x="366" y="2084"/>
                  <a:pt x="366" y="2149"/>
                </a:cubicBezTo>
                <a:cubicBezTo>
                  <a:pt x="366" y="2217"/>
                  <a:pt x="379" y="2282"/>
                  <a:pt x="402" y="2340"/>
                </a:cubicBezTo>
                <a:cubicBezTo>
                  <a:pt x="426" y="2397"/>
                  <a:pt x="459" y="2448"/>
                  <a:pt x="502" y="2490"/>
                </a:cubicBezTo>
                <a:cubicBezTo>
                  <a:pt x="544" y="2532"/>
                  <a:pt x="594" y="2566"/>
                  <a:pt x="652" y="2590"/>
                </a:cubicBezTo>
                <a:cubicBezTo>
                  <a:pt x="709" y="2613"/>
                  <a:pt x="774" y="2626"/>
                  <a:pt x="843" y="2626"/>
                </a:cubicBezTo>
                <a:cubicBezTo>
                  <a:pt x="908" y="2626"/>
                  <a:pt x="970" y="2613"/>
                  <a:pt x="1027" y="2590"/>
                </a:cubicBezTo>
                <a:cubicBezTo>
                  <a:pt x="1084" y="2566"/>
                  <a:pt x="1136" y="2532"/>
                  <a:pt x="1179" y="2490"/>
                </a:cubicBezTo>
                <a:cubicBezTo>
                  <a:pt x="1222" y="2447"/>
                  <a:pt x="1258" y="2396"/>
                  <a:pt x="1282" y="2339"/>
                </a:cubicBezTo>
                <a:cubicBezTo>
                  <a:pt x="1306" y="2281"/>
                  <a:pt x="1320" y="2217"/>
                  <a:pt x="1320" y="2149"/>
                </a:cubicBezTo>
                <a:cubicBezTo>
                  <a:pt x="1320" y="2084"/>
                  <a:pt x="1307" y="2023"/>
                  <a:pt x="1282" y="1968"/>
                </a:cubicBezTo>
                <a:cubicBezTo>
                  <a:pt x="1258" y="1912"/>
                  <a:pt x="1223" y="1863"/>
                  <a:pt x="1179" y="1821"/>
                </a:cubicBezTo>
                <a:close/>
                <a:moveTo>
                  <a:pt x="3884" y="3318"/>
                </a:moveTo>
                <a:cubicBezTo>
                  <a:pt x="3841" y="3276"/>
                  <a:pt x="3789" y="3242"/>
                  <a:pt x="3732" y="3218"/>
                </a:cubicBezTo>
                <a:cubicBezTo>
                  <a:pt x="3675" y="3195"/>
                  <a:pt x="3613" y="3182"/>
                  <a:pt x="3548" y="3182"/>
                </a:cubicBezTo>
                <a:cubicBezTo>
                  <a:pt x="3483" y="3182"/>
                  <a:pt x="3420" y="3195"/>
                  <a:pt x="3363" y="3218"/>
                </a:cubicBezTo>
                <a:cubicBezTo>
                  <a:pt x="3306" y="3242"/>
                  <a:pt x="3255" y="3276"/>
                  <a:pt x="3211" y="3319"/>
                </a:cubicBezTo>
                <a:cubicBezTo>
                  <a:pt x="3168" y="3361"/>
                  <a:pt x="3133" y="3412"/>
                  <a:pt x="3108" y="3469"/>
                </a:cubicBezTo>
                <a:cubicBezTo>
                  <a:pt x="3084" y="3527"/>
                  <a:pt x="3070" y="3591"/>
                  <a:pt x="3070" y="3660"/>
                </a:cubicBezTo>
                <a:cubicBezTo>
                  <a:pt x="3070" y="3724"/>
                  <a:pt x="3084" y="3784"/>
                  <a:pt x="3108" y="3839"/>
                </a:cubicBezTo>
                <a:cubicBezTo>
                  <a:pt x="3132" y="3895"/>
                  <a:pt x="3168" y="3944"/>
                  <a:pt x="3211" y="3986"/>
                </a:cubicBezTo>
                <a:cubicBezTo>
                  <a:pt x="3254" y="4028"/>
                  <a:pt x="3306" y="4062"/>
                  <a:pt x="3363" y="4085"/>
                </a:cubicBezTo>
                <a:cubicBezTo>
                  <a:pt x="3420" y="4108"/>
                  <a:pt x="3483" y="4121"/>
                  <a:pt x="3548" y="4121"/>
                </a:cubicBezTo>
                <a:cubicBezTo>
                  <a:pt x="3613" y="4121"/>
                  <a:pt x="3675" y="4108"/>
                  <a:pt x="3732" y="4085"/>
                </a:cubicBezTo>
                <a:cubicBezTo>
                  <a:pt x="3789" y="4062"/>
                  <a:pt x="3841" y="4028"/>
                  <a:pt x="3885" y="3986"/>
                </a:cubicBezTo>
                <a:cubicBezTo>
                  <a:pt x="3928" y="3944"/>
                  <a:pt x="3963" y="3895"/>
                  <a:pt x="3987" y="3839"/>
                </a:cubicBezTo>
                <a:cubicBezTo>
                  <a:pt x="4012" y="3784"/>
                  <a:pt x="4025" y="3724"/>
                  <a:pt x="4025" y="3660"/>
                </a:cubicBezTo>
                <a:lnTo>
                  <a:pt x="4025" y="3659"/>
                </a:lnTo>
                <a:cubicBezTo>
                  <a:pt x="4025" y="3591"/>
                  <a:pt x="4011" y="3527"/>
                  <a:pt x="3987" y="3469"/>
                </a:cubicBezTo>
                <a:cubicBezTo>
                  <a:pt x="3963" y="3412"/>
                  <a:pt x="3927" y="3361"/>
                  <a:pt x="3884" y="3318"/>
                </a:cubicBezTo>
                <a:close/>
              </a:path>
            </a:pathLst>
          </a:custGeom>
          <a:solidFill>
            <a:schemeClr val="accent2"/>
          </a:solidFill>
          <a:ln cap="flat">
            <a:noFill/>
            <a:prstDash val="solid"/>
          </a:ln>
        </p:spPr>
        <p:txBody>
          <a:bodyPr vert="horz" wrap="none" lIns="28440" tIns="28440" rIns="28440" bIns="2844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4" name="Freeform: Shape 3">
            <a:extLst>
              <a:ext uri="{FF2B5EF4-FFF2-40B4-BE49-F238E27FC236}">
                <a16:creationId xmlns:a16="http://schemas.microsoft.com/office/drawing/2014/main" id="{8440400B-ED1F-FE4A-BF2C-FDA1FF3D2A8A}"/>
              </a:ext>
            </a:extLst>
          </p:cNvPr>
          <p:cNvSpPr/>
          <p:nvPr/>
        </p:nvSpPr>
        <p:spPr>
          <a:xfrm>
            <a:off x="10110872" y="9790948"/>
            <a:ext cx="1379880" cy="1666439"/>
          </a:xfrm>
          <a:custGeom>
            <a:avLst/>
            <a:gdLst/>
            <a:ahLst/>
            <a:cxnLst>
              <a:cxn ang="3cd4">
                <a:pos x="hc" y="t"/>
              </a:cxn>
              <a:cxn ang="cd2">
                <a:pos x="l" y="vc"/>
              </a:cxn>
              <a:cxn ang="cd4">
                <a:pos x="hc" y="b"/>
              </a:cxn>
              <a:cxn ang="0">
                <a:pos x="r" y="vc"/>
              </a:cxn>
            </a:cxnLst>
            <a:rect l="l" t="t" r="r" b="b"/>
            <a:pathLst>
              <a:path w="3834" h="4630">
                <a:moveTo>
                  <a:pt x="2943" y="1018"/>
                </a:moveTo>
                <a:cubicBezTo>
                  <a:pt x="2943" y="461"/>
                  <a:pt x="2482" y="0"/>
                  <a:pt x="1909" y="0"/>
                </a:cubicBezTo>
                <a:cubicBezTo>
                  <a:pt x="1352" y="0"/>
                  <a:pt x="891" y="461"/>
                  <a:pt x="891" y="1018"/>
                </a:cubicBezTo>
                <a:cubicBezTo>
                  <a:pt x="891" y="1591"/>
                  <a:pt x="1352" y="2052"/>
                  <a:pt x="1909" y="2052"/>
                </a:cubicBezTo>
                <a:cubicBezTo>
                  <a:pt x="2482" y="2052"/>
                  <a:pt x="2943" y="1591"/>
                  <a:pt x="2943" y="1018"/>
                </a:cubicBezTo>
                <a:close/>
                <a:moveTo>
                  <a:pt x="1050" y="1018"/>
                </a:moveTo>
                <a:cubicBezTo>
                  <a:pt x="1050" y="541"/>
                  <a:pt x="1432" y="159"/>
                  <a:pt x="1909" y="159"/>
                </a:cubicBezTo>
                <a:cubicBezTo>
                  <a:pt x="2387" y="159"/>
                  <a:pt x="2785" y="541"/>
                  <a:pt x="2785" y="1018"/>
                </a:cubicBezTo>
                <a:cubicBezTo>
                  <a:pt x="2785" y="1496"/>
                  <a:pt x="2387" y="1894"/>
                  <a:pt x="1909" y="1894"/>
                </a:cubicBezTo>
                <a:cubicBezTo>
                  <a:pt x="1432" y="1894"/>
                  <a:pt x="1050" y="1496"/>
                  <a:pt x="1050" y="1018"/>
                </a:cubicBezTo>
                <a:close/>
                <a:moveTo>
                  <a:pt x="0" y="4009"/>
                </a:moveTo>
                <a:lnTo>
                  <a:pt x="0" y="4551"/>
                </a:lnTo>
                <a:cubicBezTo>
                  <a:pt x="0" y="4598"/>
                  <a:pt x="32" y="4630"/>
                  <a:pt x="80" y="4630"/>
                </a:cubicBezTo>
                <a:lnTo>
                  <a:pt x="3755" y="4630"/>
                </a:lnTo>
                <a:cubicBezTo>
                  <a:pt x="3787" y="4630"/>
                  <a:pt x="3834" y="4598"/>
                  <a:pt x="3834" y="4551"/>
                </a:cubicBezTo>
                <a:lnTo>
                  <a:pt x="3834" y="4009"/>
                </a:lnTo>
                <a:cubicBezTo>
                  <a:pt x="3834" y="3182"/>
                  <a:pt x="3151" y="2498"/>
                  <a:pt x="2323" y="2498"/>
                </a:cubicBezTo>
                <a:lnTo>
                  <a:pt x="1496" y="2498"/>
                </a:lnTo>
                <a:cubicBezTo>
                  <a:pt x="669" y="2498"/>
                  <a:pt x="0" y="3182"/>
                  <a:pt x="0" y="4009"/>
                </a:cubicBezTo>
                <a:close/>
                <a:moveTo>
                  <a:pt x="1496" y="2657"/>
                </a:moveTo>
                <a:lnTo>
                  <a:pt x="2323" y="2657"/>
                </a:lnTo>
                <a:cubicBezTo>
                  <a:pt x="3071" y="2657"/>
                  <a:pt x="3675" y="3262"/>
                  <a:pt x="3675" y="4009"/>
                </a:cubicBezTo>
                <a:lnTo>
                  <a:pt x="3675" y="4471"/>
                </a:lnTo>
                <a:lnTo>
                  <a:pt x="159" y="4471"/>
                </a:lnTo>
                <a:lnTo>
                  <a:pt x="159" y="4009"/>
                </a:lnTo>
                <a:cubicBezTo>
                  <a:pt x="159" y="3262"/>
                  <a:pt x="764" y="2657"/>
                  <a:pt x="1496" y="265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5" name="Freeform: Shape 9">
            <a:extLst>
              <a:ext uri="{FF2B5EF4-FFF2-40B4-BE49-F238E27FC236}">
                <a16:creationId xmlns:a16="http://schemas.microsoft.com/office/drawing/2014/main" id="{822D2DBA-180D-9F47-96DB-060CAEF446C4}"/>
              </a:ext>
            </a:extLst>
          </p:cNvPr>
          <p:cNvSpPr/>
          <p:nvPr/>
        </p:nvSpPr>
        <p:spPr>
          <a:xfrm>
            <a:off x="2209120" y="6128072"/>
            <a:ext cx="803826" cy="2095576"/>
          </a:xfrm>
          <a:custGeom>
            <a:avLst/>
            <a:gdLst/>
            <a:ahLst/>
            <a:cxnLst>
              <a:cxn ang="3cd4">
                <a:pos x="hc" y="t"/>
              </a:cxn>
              <a:cxn ang="cd2">
                <a:pos x="l" y="vc"/>
              </a:cxn>
              <a:cxn ang="cd4">
                <a:pos x="hc" y="b"/>
              </a:cxn>
              <a:cxn ang="0">
                <a:pos x="r" y="vc"/>
              </a:cxn>
            </a:cxnLst>
            <a:rect l="l" t="t" r="r" b="b"/>
            <a:pathLst>
              <a:path w="2515" h="6555">
                <a:moveTo>
                  <a:pt x="16" y="1718"/>
                </a:moveTo>
                <a:cubicBezTo>
                  <a:pt x="0" y="3595"/>
                  <a:pt x="0" y="3595"/>
                  <a:pt x="0" y="3595"/>
                </a:cubicBezTo>
                <a:cubicBezTo>
                  <a:pt x="0" y="3771"/>
                  <a:pt x="160" y="3866"/>
                  <a:pt x="319" y="3866"/>
                </a:cubicBezTo>
                <a:cubicBezTo>
                  <a:pt x="414" y="3866"/>
                  <a:pt x="510" y="3834"/>
                  <a:pt x="573" y="3771"/>
                </a:cubicBezTo>
                <a:cubicBezTo>
                  <a:pt x="573" y="4407"/>
                  <a:pt x="589" y="5218"/>
                  <a:pt x="605" y="6205"/>
                </a:cubicBezTo>
                <a:cubicBezTo>
                  <a:pt x="605" y="6380"/>
                  <a:pt x="764" y="6555"/>
                  <a:pt x="939" y="6555"/>
                </a:cubicBezTo>
                <a:cubicBezTo>
                  <a:pt x="1098" y="6555"/>
                  <a:pt x="1242" y="6428"/>
                  <a:pt x="1273" y="6285"/>
                </a:cubicBezTo>
                <a:cubicBezTo>
                  <a:pt x="1289" y="6428"/>
                  <a:pt x="1433" y="6555"/>
                  <a:pt x="1591" y="6555"/>
                </a:cubicBezTo>
                <a:cubicBezTo>
                  <a:pt x="1767" y="6555"/>
                  <a:pt x="1925" y="6380"/>
                  <a:pt x="1925" y="6205"/>
                </a:cubicBezTo>
                <a:cubicBezTo>
                  <a:pt x="1942" y="5218"/>
                  <a:pt x="1958" y="4407"/>
                  <a:pt x="1958" y="3771"/>
                </a:cubicBezTo>
                <a:cubicBezTo>
                  <a:pt x="2021" y="3834"/>
                  <a:pt x="2101" y="3866"/>
                  <a:pt x="2196" y="3866"/>
                </a:cubicBezTo>
                <a:cubicBezTo>
                  <a:pt x="2355" y="3866"/>
                  <a:pt x="2515" y="3771"/>
                  <a:pt x="2515" y="3595"/>
                </a:cubicBezTo>
                <a:cubicBezTo>
                  <a:pt x="2498" y="1718"/>
                  <a:pt x="2498" y="1718"/>
                  <a:pt x="2498" y="1718"/>
                </a:cubicBezTo>
                <a:cubicBezTo>
                  <a:pt x="2498" y="1448"/>
                  <a:pt x="2307" y="1113"/>
                  <a:pt x="1369" y="1098"/>
                </a:cubicBezTo>
                <a:cubicBezTo>
                  <a:pt x="1624" y="1050"/>
                  <a:pt x="1814" y="827"/>
                  <a:pt x="1814" y="557"/>
                </a:cubicBezTo>
                <a:cubicBezTo>
                  <a:pt x="1814" y="255"/>
                  <a:pt x="1560" y="0"/>
                  <a:pt x="1257" y="0"/>
                </a:cubicBezTo>
                <a:cubicBezTo>
                  <a:pt x="955" y="0"/>
                  <a:pt x="701" y="255"/>
                  <a:pt x="701" y="557"/>
                </a:cubicBezTo>
                <a:cubicBezTo>
                  <a:pt x="701" y="827"/>
                  <a:pt x="891" y="1050"/>
                  <a:pt x="1146" y="1098"/>
                </a:cubicBezTo>
                <a:cubicBezTo>
                  <a:pt x="414" y="1113"/>
                  <a:pt x="16" y="1336"/>
                  <a:pt x="16" y="1718"/>
                </a:cubicBezTo>
                <a:close/>
                <a:moveTo>
                  <a:pt x="860" y="557"/>
                </a:moveTo>
                <a:cubicBezTo>
                  <a:pt x="860" y="334"/>
                  <a:pt x="1034" y="159"/>
                  <a:pt x="1257" y="159"/>
                </a:cubicBezTo>
                <a:cubicBezTo>
                  <a:pt x="1480" y="159"/>
                  <a:pt x="1655" y="334"/>
                  <a:pt x="1655" y="557"/>
                </a:cubicBezTo>
                <a:cubicBezTo>
                  <a:pt x="1655" y="779"/>
                  <a:pt x="1480" y="955"/>
                  <a:pt x="1257" y="955"/>
                </a:cubicBezTo>
                <a:cubicBezTo>
                  <a:pt x="1034" y="955"/>
                  <a:pt x="860" y="779"/>
                  <a:pt x="860" y="557"/>
                </a:cubicBezTo>
                <a:close/>
                <a:moveTo>
                  <a:pt x="176" y="1718"/>
                </a:moveTo>
                <a:cubicBezTo>
                  <a:pt x="176" y="1321"/>
                  <a:pt x="844" y="1257"/>
                  <a:pt x="1257" y="1257"/>
                </a:cubicBezTo>
                <a:cubicBezTo>
                  <a:pt x="1273" y="1257"/>
                  <a:pt x="1273" y="1257"/>
                  <a:pt x="1273" y="1257"/>
                </a:cubicBezTo>
                <a:cubicBezTo>
                  <a:pt x="1671" y="1257"/>
                  <a:pt x="2339" y="1321"/>
                  <a:pt x="2339" y="1718"/>
                </a:cubicBezTo>
                <a:cubicBezTo>
                  <a:pt x="2355" y="3595"/>
                  <a:pt x="2355" y="3595"/>
                  <a:pt x="2355" y="3595"/>
                </a:cubicBezTo>
                <a:cubicBezTo>
                  <a:pt x="2355" y="3691"/>
                  <a:pt x="2260" y="3707"/>
                  <a:pt x="2196" y="3707"/>
                </a:cubicBezTo>
                <a:cubicBezTo>
                  <a:pt x="2148" y="3723"/>
                  <a:pt x="2053" y="3691"/>
                  <a:pt x="2053" y="3595"/>
                </a:cubicBezTo>
                <a:cubicBezTo>
                  <a:pt x="2053" y="3532"/>
                  <a:pt x="2053" y="3532"/>
                  <a:pt x="2053" y="3532"/>
                </a:cubicBezTo>
                <a:cubicBezTo>
                  <a:pt x="2053" y="3277"/>
                  <a:pt x="2037" y="2259"/>
                  <a:pt x="2037" y="2084"/>
                </a:cubicBezTo>
                <a:cubicBezTo>
                  <a:pt x="2037" y="1861"/>
                  <a:pt x="1798" y="1861"/>
                  <a:pt x="1798" y="2084"/>
                </a:cubicBezTo>
                <a:cubicBezTo>
                  <a:pt x="1814" y="2116"/>
                  <a:pt x="1814" y="2116"/>
                  <a:pt x="1814" y="2116"/>
                </a:cubicBezTo>
                <a:cubicBezTo>
                  <a:pt x="1814" y="2450"/>
                  <a:pt x="1798" y="3818"/>
                  <a:pt x="1767" y="6205"/>
                </a:cubicBezTo>
                <a:cubicBezTo>
                  <a:pt x="1767" y="6300"/>
                  <a:pt x="1671" y="6396"/>
                  <a:pt x="1591" y="6396"/>
                </a:cubicBezTo>
                <a:cubicBezTo>
                  <a:pt x="1496" y="6396"/>
                  <a:pt x="1416" y="6316"/>
                  <a:pt x="1416" y="6221"/>
                </a:cubicBezTo>
                <a:cubicBezTo>
                  <a:pt x="1416" y="6205"/>
                  <a:pt x="1385" y="3961"/>
                  <a:pt x="1385" y="3866"/>
                </a:cubicBezTo>
                <a:cubicBezTo>
                  <a:pt x="1385" y="3803"/>
                  <a:pt x="1337" y="3739"/>
                  <a:pt x="1273" y="3739"/>
                </a:cubicBezTo>
                <a:cubicBezTo>
                  <a:pt x="1257" y="3739"/>
                  <a:pt x="1257" y="3739"/>
                  <a:pt x="1257" y="3739"/>
                </a:cubicBezTo>
                <a:cubicBezTo>
                  <a:pt x="1194" y="3739"/>
                  <a:pt x="1146" y="3803"/>
                  <a:pt x="1146" y="3866"/>
                </a:cubicBezTo>
                <a:cubicBezTo>
                  <a:pt x="1146" y="3961"/>
                  <a:pt x="1114" y="6205"/>
                  <a:pt x="1114" y="6221"/>
                </a:cubicBezTo>
                <a:cubicBezTo>
                  <a:pt x="1114" y="6316"/>
                  <a:pt x="1034" y="6396"/>
                  <a:pt x="939" y="6396"/>
                </a:cubicBezTo>
                <a:cubicBezTo>
                  <a:pt x="860" y="6396"/>
                  <a:pt x="764" y="6300"/>
                  <a:pt x="764" y="6205"/>
                </a:cubicBezTo>
                <a:cubicBezTo>
                  <a:pt x="733" y="3818"/>
                  <a:pt x="716" y="2450"/>
                  <a:pt x="733" y="2116"/>
                </a:cubicBezTo>
                <a:cubicBezTo>
                  <a:pt x="733" y="2084"/>
                  <a:pt x="733" y="2084"/>
                  <a:pt x="733" y="2084"/>
                </a:cubicBezTo>
                <a:cubicBezTo>
                  <a:pt x="733" y="1861"/>
                  <a:pt x="494" y="1861"/>
                  <a:pt x="494" y="2084"/>
                </a:cubicBezTo>
                <a:cubicBezTo>
                  <a:pt x="494" y="2275"/>
                  <a:pt x="478" y="3580"/>
                  <a:pt x="478" y="3595"/>
                </a:cubicBezTo>
                <a:cubicBezTo>
                  <a:pt x="478" y="3691"/>
                  <a:pt x="382" y="3707"/>
                  <a:pt x="319" y="3707"/>
                </a:cubicBezTo>
                <a:cubicBezTo>
                  <a:pt x="271" y="3707"/>
                  <a:pt x="160" y="3691"/>
                  <a:pt x="160" y="359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6" name="Freeform: Shape 10">
            <a:extLst>
              <a:ext uri="{FF2B5EF4-FFF2-40B4-BE49-F238E27FC236}">
                <a16:creationId xmlns:a16="http://schemas.microsoft.com/office/drawing/2014/main" id="{5983BE53-C5CC-A746-BBEC-49AF78C58287}"/>
              </a:ext>
            </a:extLst>
          </p:cNvPr>
          <p:cNvSpPr/>
          <p:nvPr/>
        </p:nvSpPr>
        <p:spPr>
          <a:xfrm>
            <a:off x="10100978" y="6209266"/>
            <a:ext cx="1472144" cy="1933188"/>
          </a:xfrm>
          <a:custGeom>
            <a:avLst/>
            <a:gdLst/>
            <a:ahLst/>
            <a:cxnLst>
              <a:cxn ang="3cd4">
                <a:pos x="hc" y="t"/>
              </a:cxn>
              <a:cxn ang="cd2">
                <a:pos x="l" y="vc"/>
              </a:cxn>
              <a:cxn ang="cd4">
                <a:pos x="hc" y="b"/>
              </a:cxn>
              <a:cxn ang="0">
                <a:pos x="r" y="vc"/>
              </a:cxn>
            </a:cxnLst>
            <a:rect l="l" t="t" r="r" b="b"/>
            <a:pathLst>
              <a:path w="4979" h="6538">
                <a:moveTo>
                  <a:pt x="2800" y="2975"/>
                </a:moveTo>
                <a:cubicBezTo>
                  <a:pt x="2545" y="2895"/>
                  <a:pt x="2195" y="2958"/>
                  <a:pt x="2068" y="3133"/>
                </a:cubicBezTo>
                <a:cubicBezTo>
                  <a:pt x="1781" y="3133"/>
                  <a:pt x="1574" y="3356"/>
                  <a:pt x="1574" y="3658"/>
                </a:cubicBezTo>
                <a:lnTo>
                  <a:pt x="1574" y="3881"/>
                </a:lnTo>
                <a:cubicBezTo>
                  <a:pt x="1558" y="3881"/>
                  <a:pt x="1527" y="3897"/>
                  <a:pt x="1511" y="3913"/>
                </a:cubicBezTo>
                <a:cubicBezTo>
                  <a:pt x="1463" y="3945"/>
                  <a:pt x="1447" y="4009"/>
                  <a:pt x="1447" y="4088"/>
                </a:cubicBezTo>
                <a:lnTo>
                  <a:pt x="1447" y="4390"/>
                </a:lnTo>
                <a:cubicBezTo>
                  <a:pt x="1447" y="4486"/>
                  <a:pt x="1527" y="4566"/>
                  <a:pt x="1622" y="4597"/>
                </a:cubicBezTo>
                <a:cubicBezTo>
                  <a:pt x="1638" y="4884"/>
                  <a:pt x="1781" y="5170"/>
                  <a:pt x="2004" y="5345"/>
                </a:cubicBezTo>
                <a:lnTo>
                  <a:pt x="1813" y="5615"/>
                </a:lnTo>
                <a:lnTo>
                  <a:pt x="1638" y="5615"/>
                </a:lnTo>
                <a:cubicBezTo>
                  <a:pt x="1145" y="5615"/>
                  <a:pt x="858" y="5870"/>
                  <a:pt x="858" y="6300"/>
                </a:cubicBezTo>
                <a:lnTo>
                  <a:pt x="858" y="6459"/>
                </a:lnTo>
                <a:cubicBezTo>
                  <a:pt x="858" y="6506"/>
                  <a:pt x="906" y="6538"/>
                  <a:pt x="938" y="6538"/>
                </a:cubicBezTo>
                <a:cubicBezTo>
                  <a:pt x="986" y="6538"/>
                  <a:pt x="1018" y="6506"/>
                  <a:pt x="1018" y="6459"/>
                </a:cubicBezTo>
                <a:lnTo>
                  <a:pt x="1018" y="6300"/>
                </a:lnTo>
                <a:cubicBezTo>
                  <a:pt x="1018" y="5854"/>
                  <a:pt x="1400" y="5775"/>
                  <a:pt x="1638" y="5775"/>
                </a:cubicBezTo>
                <a:lnTo>
                  <a:pt x="1861" y="5775"/>
                </a:lnTo>
                <a:cubicBezTo>
                  <a:pt x="1877" y="5775"/>
                  <a:pt x="1909" y="5758"/>
                  <a:pt x="1925" y="5743"/>
                </a:cubicBezTo>
                <a:lnTo>
                  <a:pt x="2147" y="5425"/>
                </a:lnTo>
                <a:cubicBezTo>
                  <a:pt x="2227" y="5472"/>
                  <a:pt x="2338" y="5504"/>
                  <a:pt x="2434" y="5504"/>
                </a:cubicBezTo>
                <a:cubicBezTo>
                  <a:pt x="2561" y="5504"/>
                  <a:pt x="2672" y="5457"/>
                  <a:pt x="2768" y="5409"/>
                </a:cubicBezTo>
                <a:lnTo>
                  <a:pt x="2974" y="5743"/>
                </a:lnTo>
                <a:cubicBezTo>
                  <a:pt x="2991" y="5758"/>
                  <a:pt x="3022" y="5775"/>
                  <a:pt x="3038" y="5775"/>
                </a:cubicBezTo>
                <a:lnTo>
                  <a:pt x="3261" y="5775"/>
                </a:lnTo>
                <a:cubicBezTo>
                  <a:pt x="3579" y="5775"/>
                  <a:pt x="3929" y="5918"/>
                  <a:pt x="3929" y="6300"/>
                </a:cubicBezTo>
                <a:lnTo>
                  <a:pt x="3929" y="6459"/>
                </a:lnTo>
                <a:cubicBezTo>
                  <a:pt x="3929" y="6506"/>
                  <a:pt x="3961" y="6538"/>
                  <a:pt x="4009" y="6538"/>
                </a:cubicBezTo>
                <a:cubicBezTo>
                  <a:pt x="4040" y="6538"/>
                  <a:pt x="4088" y="6506"/>
                  <a:pt x="4088" y="6459"/>
                </a:cubicBezTo>
                <a:lnTo>
                  <a:pt x="4088" y="6300"/>
                </a:lnTo>
                <a:cubicBezTo>
                  <a:pt x="4088" y="5886"/>
                  <a:pt x="3754" y="5615"/>
                  <a:pt x="3261" y="5615"/>
                </a:cubicBezTo>
                <a:lnTo>
                  <a:pt x="3086" y="5615"/>
                </a:lnTo>
                <a:lnTo>
                  <a:pt x="2895" y="5313"/>
                </a:lnTo>
                <a:cubicBezTo>
                  <a:pt x="3086" y="5138"/>
                  <a:pt x="3213" y="4868"/>
                  <a:pt x="3245" y="4597"/>
                </a:cubicBezTo>
                <a:cubicBezTo>
                  <a:pt x="3325" y="4566"/>
                  <a:pt x="3372" y="4486"/>
                  <a:pt x="3372" y="4390"/>
                </a:cubicBezTo>
                <a:lnTo>
                  <a:pt x="3372" y="4088"/>
                </a:lnTo>
                <a:cubicBezTo>
                  <a:pt x="3372" y="4024"/>
                  <a:pt x="3372" y="3961"/>
                  <a:pt x="3325" y="3913"/>
                </a:cubicBezTo>
                <a:cubicBezTo>
                  <a:pt x="3309" y="3897"/>
                  <a:pt x="3293" y="3881"/>
                  <a:pt x="3261" y="3881"/>
                </a:cubicBezTo>
                <a:lnTo>
                  <a:pt x="3261" y="3658"/>
                </a:lnTo>
                <a:cubicBezTo>
                  <a:pt x="3245" y="3181"/>
                  <a:pt x="2974" y="3022"/>
                  <a:pt x="2800" y="2975"/>
                </a:cubicBezTo>
                <a:close/>
                <a:moveTo>
                  <a:pt x="3213" y="4088"/>
                </a:moveTo>
                <a:lnTo>
                  <a:pt x="3213" y="4390"/>
                </a:lnTo>
                <a:cubicBezTo>
                  <a:pt x="3213" y="4422"/>
                  <a:pt x="3197" y="4454"/>
                  <a:pt x="3165" y="4454"/>
                </a:cubicBezTo>
                <a:cubicBezTo>
                  <a:pt x="3118" y="4454"/>
                  <a:pt x="3086" y="4486"/>
                  <a:pt x="3086" y="4534"/>
                </a:cubicBezTo>
                <a:cubicBezTo>
                  <a:pt x="3086" y="4900"/>
                  <a:pt x="2800" y="5345"/>
                  <a:pt x="2434" y="5345"/>
                </a:cubicBezTo>
                <a:cubicBezTo>
                  <a:pt x="2083" y="5345"/>
                  <a:pt x="1765" y="4900"/>
                  <a:pt x="1765" y="4534"/>
                </a:cubicBezTo>
                <a:cubicBezTo>
                  <a:pt x="1765" y="4486"/>
                  <a:pt x="1734" y="4454"/>
                  <a:pt x="1686" y="4454"/>
                </a:cubicBezTo>
                <a:cubicBezTo>
                  <a:pt x="1654" y="4454"/>
                  <a:pt x="1606" y="4422"/>
                  <a:pt x="1606" y="4390"/>
                </a:cubicBezTo>
                <a:lnTo>
                  <a:pt x="1606" y="4088"/>
                </a:lnTo>
                <a:cubicBezTo>
                  <a:pt x="1606" y="4057"/>
                  <a:pt x="1622" y="4040"/>
                  <a:pt x="1638" y="4024"/>
                </a:cubicBezTo>
                <a:cubicBezTo>
                  <a:pt x="1654" y="4024"/>
                  <a:pt x="1686" y="4024"/>
                  <a:pt x="1702" y="4009"/>
                </a:cubicBezTo>
                <a:cubicBezTo>
                  <a:pt x="1718" y="3993"/>
                  <a:pt x="1734" y="3977"/>
                  <a:pt x="1734" y="3945"/>
                </a:cubicBezTo>
                <a:lnTo>
                  <a:pt x="1734" y="3658"/>
                </a:lnTo>
                <a:cubicBezTo>
                  <a:pt x="1734" y="3452"/>
                  <a:pt x="1861" y="3293"/>
                  <a:pt x="2052" y="3293"/>
                </a:cubicBezTo>
                <a:cubicBezTo>
                  <a:pt x="2100" y="3293"/>
                  <a:pt x="2147" y="3277"/>
                  <a:pt x="2179" y="3229"/>
                </a:cubicBezTo>
                <a:cubicBezTo>
                  <a:pt x="2259" y="3133"/>
                  <a:pt x="2529" y="3054"/>
                  <a:pt x="2752" y="3133"/>
                </a:cubicBezTo>
                <a:cubicBezTo>
                  <a:pt x="2911" y="3181"/>
                  <a:pt x="3102" y="3309"/>
                  <a:pt x="3102" y="3658"/>
                </a:cubicBezTo>
                <a:lnTo>
                  <a:pt x="3102" y="3945"/>
                </a:lnTo>
                <a:cubicBezTo>
                  <a:pt x="3102" y="3993"/>
                  <a:pt x="3134" y="4024"/>
                  <a:pt x="3182" y="4024"/>
                </a:cubicBezTo>
                <a:lnTo>
                  <a:pt x="3213" y="4024"/>
                </a:lnTo>
                <a:close/>
                <a:moveTo>
                  <a:pt x="461" y="2449"/>
                </a:moveTo>
                <a:lnTo>
                  <a:pt x="588" y="2449"/>
                </a:lnTo>
                <a:cubicBezTo>
                  <a:pt x="620" y="2449"/>
                  <a:pt x="636" y="2433"/>
                  <a:pt x="652" y="2418"/>
                </a:cubicBezTo>
                <a:lnTo>
                  <a:pt x="763" y="2258"/>
                </a:lnTo>
                <a:cubicBezTo>
                  <a:pt x="811" y="2275"/>
                  <a:pt x="858" y="2290"/>
                  <a:pt x="906" y="2290"/>
                </a:cubicBezTo>
                <a:cubicBezTo>
                  <a:pt x="970" y="2290"/>
                  <a:pt x="1034" y="2275"/>
                  <a:pt x="1081" y="2258"/>
                </a:cubicBezTo>
                <a:lnTo>
                  <a:pt x="1192" y="2418"/>
                </a:lnTo>
                <a:cubicBezTo>
                  <a:pt x="1209" y="2433"/>
                  <a:pt x="1225" y="2449"/>
                  <a:pt x="1256" y="2449"/>
                </a:cubicBezTo>
                <a:lnTo>
                  <a:pt x="1383" y="2449"/>
                </a:lnTo>
                <a:cubicBezTo>
                  <a:pt x="1463" y="2449"/>
                  <a:pt x="1718" y="2466"/>
                  <a:pt x="1718" y="2704"/>
                </a:cubicBezTo>
                <a:lnTo>
                  <a:pt x="1718" y="2799"/>
                </a:lnTo>
                <a:cubicBezTo>
                  <a:pt x="1718" y="2847"/>
                  <a:pt x="1749" y="2879"/>
                  <a:pt x="1797" y="2879"/>
                </a:cubicBezTo>
                <a:cubicBezTo>
                  <a:pt x="1845" y="2879"/>
                  <a:pt x="1877" y="2847"/>
                  <a:pt x="1877" y="2799"/>
                </a:cubicBezTo>
                <a:lnTo>
                  <a:pt x="1877" y="2704"/>
                </a:lnTo>
                <a:cubicBezTo>
                  <a:pt x="1877" y="2449"/>
                  <a:pt x="1686" y="2290"/>
                  <a:pt x="1383" y="2290"/>
                </a:cubicBezTo>
                <a:lnTo>
                  <a:pt x="1304" y="2290"/>
                </a:lnTo>
                <a:lnTo>
                  <a:pt x="1209" y="2163"/>
                </a:lnTo>
                <a:cubicBezTo>
                  <a:pt x="1320" y="2052"/>
                  <a:pt x="1383" y="1909"/>
                  <a:pt x="1400" y="1781"/>
                </a:cubicBezTo>
                <a:cubicBezTo>
                  <a:pt x="1447" y="1749"/>
                  <a:pt x="1479" y="1702"/>
                  <a:pt x="1479" y="1638"/>
                </a:cubicBezTo>
                <a:lnTo>
                  <a:pt x="1479" y="1463"/>
                </a:lnTo>
                <a:cubicBezTo>
                  <a:pt x="1479" y="1431"/>
                  <a:pt x="1479" y="1384"/>
                  <a:pt x="1447" y="1352"/>
                </a:cubicBezTo>
                <a:cubicBezTo>
                  <a:pt x="1431" y="1336"/>
                  <a:pt x="1415" y="1336"/>
                  <a:pt x="1415" y="1320"/>
                </a:cubicBezTo>
                <a:lnTo>
                  <a:pt x="1415" y="1224"/>
                </a:lnTo>
                <a:cubicBezTo>
                  <a:pt x="1415" y="1018"/>
                  <a:pt x="1304" y="858"/>
                  <a:pt x="1129" y="811"/>
                </a:cubicBezTo>
                <a:cubicBezTo>
                  <a:pt x="970" y="763"/>
                  <a:pt x="779" y="795"/>
                  <a:pt x="683" y="890"/>
                </a:cubicBezTo>
                <a:cubicBezTo>
                  <a:pt x="524" y="906"/>
                  <a:pt x="397" y="1033"/>
                  <a:pt x="397" y="1224"/>
                </a:cubicBezTo>
                <a:lnTo>
                  <a:pt x="397" y="1320"/>
                </a:lnTo>
                <a:cubicBezTo>
                  <a:pt x="381" y="1320"/>
                  <a:pt x="381" y="1336"/>
                  <a:pt x="365" y="1336"/>
                </a:cubicBezTo>
                <a:cubicBezTo>
                  <a:pt x="349" y="1367"/>
                  <a:pt x="318" y="1399"/>
                  <a:pt x="318" y="1463"/>
                </a:cubicBezTo>
                <a:lnTo>
                  <a:pt x="318" y="1638"/>
                </a:lnTo>
                <a:cubicBezTo>
                  <a:pt x="318" y="1702"/>
                  <a:pt x="365" y="1749"/>
                  <a:pt x="413" y="1781"/>
                </a:cubicBezTo>
                <a:cubicBezTo>
                  <a:pt x="445" y="1924"/>
                  <a:pt x="509" y="2067"/>
                  <a:pt x="620" y="2179"/>
                </a:cubicBezTo>
                <a:lnTo>
                  <a:pt x="540" y="2290"/>
                </a:lnTo>
                <a:lnTo>
                  <a:pt x="461" y="2290"/>
                </a:lnTo>
                <a:cubicBezTo>
                  <a:pt x="174" y="2290"/>
                  <a:pt x="0" y="2449"/>
                  <a:pt x="0" y="2704"/>
                </a:cubicBezTo>
                <a:lnTo>
                  <a:pt x="0" y="2799"/>
                </a:lnTo>
                <a:cubicBezTo>
                  <a:pt x="0" y="2847"/>
                  <a:pt x="31" y="2879"/>
                  <a:pt x="79" y="2879"/>
                </a:cubicBezTo>
                <a:cubicBezTo>
                  <a:pt x="111" y="2879"/>
                  <a:pt x="158" y="2847"/>
                  <a:pt x="158" y="2799"/>
                </a:cubicBezTo>
                <a:lnTo>
                  <a:pt x="158" y="2704"/>
                </a:lnTo>
                <a:cubicBezTo>
                  <a:pt x="158" y="2497"/>
                  <a:pt x="318" y="2449"/>
                  <a:pt x="461" y="2449"/>
                </a:cubicBezTo>
                <a:close/>
                <a:moveTo>
                  <a:pt x="572" y="1718"/>
                </a:moveTo>
                <a:cubicBezTo>
                  <a:pt x="572" y="1670"/>
                  <a:pt x="524" y="1638"/>
                  <a:pt x="477" y="1638"/>
                </a:cubicBezTo>
                <a:lnTo>
                  <a:pt x="477" y="1463"/>
                </a:lnTo>
                <a:cubicBezTo>
                  <a:pt x="492" y="1463"/>
                  <a:pt x="509" y="1463"/>
                  <a:pt x="524" y="1447"/>
                </a:cubicBezTo>
                <a:cubicBezTo>
                  <a:pt x="540" y="1431"/>
                  <a:pt x="556" y="1415"/>
                  <a:pt x="556" y="1384"/>
                </a:cubicBezTo>
                <a:lnTo>
                  <a:pt x="556" y="1224"/>
                </a:lnTo>
                <a:cubicBezTo>
                  <a:pt x="556" y="1145"/>
                  <a:pt x="604" y="1049"/>
                  <a:pt x="700" y="1049"/>
                </a:cubicBezTo>
                <a:cubicBezTo>
                  <a:pt x="731" y="1049"/>
                  <a:pt x="779" y="1049"/>
                  <a:pt x="795" y="1002"/>
                </a:cubicBezTo>
                <a:cubicBezTo>
                  <a:pt x="827" y="954"/>
                  <a:pt x="970" y="922"/>
                  <a:pt x="1081" y="954"/>
                </a:cubicBezTo>
                <a:cubicBezTo>
                  <a:pt x="1192" y="985"/>
                  <a:pt x="1256" y="1081"/>
                  <a:pt x="1256" y="1224"/>
                </a:cubicBezTo>
                <a:lnTo>
                  <a:pt x="1256" y="1384"/>
                </a:lnTo>
                <a:cubicBezTo>
                  <a:pt x="1256" y="1415"/>
                  <a:pt x="1288" y="1447"/>
                  <a:pt x="1320" y="1463"/>
                </a:cubicBezTo>
                <a:lnTo>
                  <a:pt x="1320" y="1638"/>
                </a:lnTo>
                <a:cubicBezTo>
                  <a:pt x="1272" y="1638"/>
                  <a:pt x="1240" y="1670"/>
                  <a:pt x="1240" y="1718"/>
                </a:cubicBezTo>
                <a:cubicBezTo>
                  <a:pt x="1240" y="1909"/>
                  <a:pt x="1097" y="2131"/>
                  <a:pt x="906" y="2131"/>
                </a:cubicBezTo>
                <a:cubicBezTo>
                  <a:pt x="731" y="2131"/>
                  <a:pt x="572" y="1909"/>
                  <a:pt x="572" y="1718"/>
                </a:cubicBezTo>
                <a:close/>
                <a:moveTo>
                  <a:pt x="4486" y="2290"/>
                </a:moveTo>
                <a:lnTo>
                  <a:pt x="4407" y="2290"/>
                </a:lnTo>
                <a:lnTo>
                  <a:pt x="4327" y="2163"/>
                </a:lnTo>
                <a:cubicBezTo>
                  <a:pt x="4422" y="2052"/>
                  <a:pt x="4486" y="1909"/>
                  <a:pt x="4502" y="1781"/>
                </a:cubicBezTo>
                <a:cubicBezTo>
                  <a:pt x="4550" y="1749"/>
                  <a:pt x="4582" y="1702"/>
                  <a:pt x="4582" y="1638"/>
                </a:cubicBezTo>
                <a:lnTo>
                  <a:pt x="4582" y="1463"/>
                </a:lnTo>
                <a:cubicBezTo>
                  <a:pt x="4582" y="1431"/>
                  <a:pt x="4582" y="1384"/>
                  <a:pt x="4550" y="1352"/>
                </a:cubicBezTo>
                <a:cubicBezTo>
                  <a:pt x="4550" y="1336"/>
                  <a:pt x="4534" y="1336"/>
                  <a:pt x="4518" y="1320"/>
                </a:cubicBezTo>
                <a:lnTo>
                  <a:pt x="4518" y="1224"/>
                </a:lnTo>
                <a:cubicBezTo>
                  <a:pt x="4518" y="1018"/>
                  <a:pt x="4422" y="858"/>
                  <a:pt x="4247" y="811"/>
                </a:cubicBezTo>
                <a:cubicBezTo>
                  <a:pt x="4088" y="763"/>
                  <a:pt x="3882" y="795"/>
                  <a:pt x="3802" y="890"/>
                </a:cubicBezTo>
                <a:cubicBezTo>
                  <a:pt x="3627" y="906"/>
                  <a:pt x="3500" y="1033"/>
                  <a:pt x="3500" y="1224"/>
                </a:cubicBezTo>
                <a:lnTo>
                  <a:pt x="3500" y="1320"/>
                </a:lnTo>
                <a:lnTo>
                  <a:pt x="3483" y="1336"/>
                </a:lnTo>
                <a:cubicBezTo>
                  <a:pt x="3452" y="1367"/>
                  <a:pt x="3436" y="1399"/>
                  <a:pt x="3436" y="1463"/>
                </a:cubicBezTo>
                <a:lnTo>
                  <a:pt x="3436" y="1638"/>
                </a:lnTo>
                <a:cubicBezTo>
                  <a:pt x="3436" y="1702"/>
                  <a:pt x="3468" y="1749"/>
                  <a:pt x="3531" y="1781"/>
                </a:cubicBezTo>
                <a:cubicBezTo>
                  <a:pt x="3547" y="1924"/>
                  <a:pt x="3627" y="2067"/>
                  <a:pt x="3738" y="2179"/>
                </a:cubicBezTo>
                <a:lnTo>
                  <a:pt x="3659" y="2290"/>
                </a:lnTo>
                <a:lnTo>
                  <a:pt x="3579" y="2290"/>
                </a:lnTo>
                <a:cubicBezTo>
                  <a:pt x="3277" y="2290"/>
                  <a:pt x="3102" y="2449"/>
                  <a:pt x="3102" y="2704"/>
                </a:cubicBezTo>
                <a:lnTo>
                  <a:pt x="3102" y="2799"/>
                </a:lnTo>
                <a:cubicBezTo>
                  <a:pt x="3102" y="2847"/>
                  <a:pt x="3134" y="2879"/>
                  <a:pt x="3182" y="2879"/>
                </a:cubicBezTo>
                <a:cubicBezTo>
                  <a:pt x="3229" y="2879"/>
                  <a:pt x="3261" y="2847"/>
                  <a:pt x="3261" y="2799"/>
                </a:cubicBezTo>
                <a:lnTo>
                  <a:pt x="3261" y="2704"/>
                </a:lnTo>
                <a:cubicBezTo>
                  <a:pt x="3261" y="2497"/>
                  <a:pt x="3436" y="2449"/>
                  <a:pt x="3579" y="2449"/>
                </a:cubicBezTo>
                <a:lnTo>
                  <a:pt x="3691" y="2449"/>
                </a:lnTo>
                <a:cubicBezTo>
                  <a:pt x="3722" y="2449"/>
                  <a:pt x="3754" y="2433"/>
                  <a:pt x="3754" y="2418"/>
                </a:cubicBezTo>
                <a:lnTo>
                  <a:pt x="3865" y="2258"/>
                </a:lnTo>
                <a:cubicBezTo>
                  <a:pt x="3913" y="2275"/>
                  <a:pt x="3977" y="2290"/>
                  <a:pt x="4025" y="2290"/>
                </a:cubicBezTo>
                <a:cubicBezTo>
                  <a:pt x="4088" y="2290"/>
                  <a:pt x="4152" y="2275"/>
                  <a:pt x="4200" y="2258"/>
                </a:cubicBezTo>
                <a:lnTo>
                  <a:pt x="4295" y="2418"/>
                </a:lnTo>
                <a:cubicBezTo>
                  <a:pt x="4311" y="2433"/>
                  <a:pt x="4343" y="2449"/>
                  <a:pt x="4359" y="2449"/>
                </a:cubicBezTo>
                <a:lnTo>
                  <a:pt x="4486" y="2449"/>
                </a:lnTo>
                <a:cubicBezTo>
                  <a:pt x="4565" y="2449"/>
                  <a:pt x="4820" y="2466"/>
                  <a:pt x="4820" y="2704"/>
                </a:cubicBezTo>
                <a:lnTo>
                  <a:pt x="4820" y="2799"/>
                </a:lnTo>
                <a:cubicBezTo>
                  <a:pt x="4820" y="2847"/>
                  <a:pt x="4868" y="2879"/>
                  <a:pt x="4900" y="2879"/>
                </a:cubicBezTo>
                <a:cubicBezTo>
                  <a:pt x="4947" y="2879"/>
                  <a:pt x="4979" y="2847"/>
                  <a:pt x="4979" y="2799"/>
                </a:cubicBezTo>
                <a:lnTo>
                  <a:pt x="4979" y="2704"/>
                </a:lnTo>
                <a:cubicBezTo>
                  <a:pt x="4979" y="2449"/>
                  <a:pt x="4788" y="2290"/>
                  <a:pt x="4486" y="2290"/>
                </a:cubicBezTo>
                <a:close/>
                <a:moveTo>
                  <a:pt x="3691" y="1718"/>
                </a:moveTo>
                <a:cubicBezTo>
                  <a:pt x="3691" y="1670"/>
                  <a:pt x="3643" y="1638"/>
                  <a:pt x="3595" y="1638"/>
                </a:cubicBezTo>
                <a:lnTo>
                  <a:pt x="3595" y="1463"/>
                </a:lnTo>
                <a:cubicBezTo>
                  <a:pt x="3611" y="1463"/>
                  <a:pt x="3627" y="1463"/>
                  <a:pt x="3627" y="1447"/>
                </a:cubicBezTo>
                <a:cubicBezTo>
                  <a:pt x="3643" y="1431"/>
                  <a:pt x="3659" y="1415"/>
                  <a:pt x="3659" y="1384"/>
                </a:cubicBezTo>
                <a:lnTo>
                  <a:pt x="3659" y="1224"/>
                </a:lnTo>
                <a:cubicBezTo>
                  <a:pt x="3659" y="1145"/>
                  <a:pt x="3706" y="1049"/>
                  <a:pt x="3802" y="1049"/>
                </a:cubicBezTo>
                <a:cubicBezTo>
                  <a:pt x="3834" y="1049"/>
                  <a:pt x="3882" y="1049"/>
                  <a:pt x="3913" y="1002"/>
                </a:cubicBezTo>
                <a:cubicBezTo>
                  <a:pt x="3945" y="954"/>
                  <a:pt x="4073" y="922"/>
                  <a:pt x="4200" y="954"/>
                </a:cubicBezTo>
                <a:cubicBezTo>
                  <a:pt x="4311" y="985"/>
                  <a:pt x="4359" y="1081"/>
                  <a:pt x="4359" y="1224"/>
                </a:cubicBezTo>
                <a:lnTo>
                  <a:pt x="4359" y="1384"/>
                </a:lnTo>
                <a:cubicBezTo>
                  <a:pt x="4359" y="1415"/>
                  <a:pt x="4391" y="1447"/>
                  <a:pt x="4422" y="1463"/>
                </a:cubicBezTo>
                <a:lnTo>
                  <a:pt x="4438" y="1638"/>
                </a:lnTo>
                <a:cubicBezTo>
                  <a:pt x="4391" y="1638"/>
                  <a:pt x="4359" y="1670"/>
                  <a:pt x="4359" y="1718"/>
                </a:cubicBezTo>
                <a:cubicBezTo>
                  <a:pt x="4359" y="1909"/>
                  <a:pt x="4200" y="2131"/>
                  <a:pt x="4025" y="2131"/>
                </a:cubicBezTo>
                <a:cubicBezTo>
                  <a:pt x="3850" y="2131"/>
                  <a:pt x="3691" y="1909"/>
                  <a:pt x="3691" y="1718"/>
                </a:cubicBezTo>
                <a:close/>
                <a:moveTo>
                  <a:pt x="3674" y="700"/>
                </a:moveTo>
                <a:cubicBezTo>
                  <a:pt x="3691" y="716"/>
                  <a:pt x="3706" y="732"/>
                  <a:pt x="3738" y="732"/>
                </a:cubicBezTo>
                <a:cubicBezTo>
                  <a:pt x="3754" y="732"/>
                  <a:pt x="3770" y="716"/>
                  <a:pt x="3786" y="716"/>
                </a:cubicBezTo>
                <a:cubicBezTo>
                  <a:pt x="3818" y="685"/>
                  <a:pt x="3834" y="637"/>
                  <a:pt x="3802" y="605"/>
                </a:cubicBezTo>
                <a:cubicBezTo>
                  <a:pt x="3500" y="207"/>
                  <a:pt x="3054" y="0"/>
                  <a:pt x="2513" y="0"/>
                </a:cubicBezTo>
                <a:cubicBezTo>
                  <a:pt x="2036" y="0"/>
                  <a:pt x="1574" y="207"/>
                  <a:pt x="1256" y="573"/>
                </a:cubicBezTo>
                <a:cubicBezTo>
                  <a:pt x="1240" y="605"/>
                  <a:pt x="1240" y="653"/>
                  <a:pt x="1272" y="685"/>
                </a:cubicBezTo>
                <a:cubicBezTo>
                  <a:pt x="1304" y="700"/>
                  <a:pt x="1352" y="700"/>
                  <a:pt x="1383" y="668"/>
                </a:cubicBezTo>
                <a:cubicBezTo>
                  <a:pt x="1670" y="350"/>
                  <a:pt x="2083" y="159"/>
                  <a:pt x="2513" y="159"/>
                </a:cubicBezTo>
                <a:cubicBezTo>
                  <a:pt x="3006" y="159"/>
                  <a:pt x="3404" y="350"/>
                  <a:pt x="3674" y="700"/>
                </a:cubicBezTo>
                <a:close/>
                <a:moveTo>
                  <a:pt x="4390" y="2943"/>
                </a:moveTo>
                <a:cubicBezTo>
                  <a:pt x="4358" y="2927"/>
                  <a:pt x="4310" y="2958"/>
                  <a:pt x="4294" y="3006"/>
                </a:cubicBezTo>
                <a:lnTo>
                  <a:pt x="3562" y="5504"/>
                </a:lnTo>
                <a:cubicBezTo>
                  <a:pt x="3546" y="5552"/>
                  <a:pt x="3578" y="5600"/>
                  <a:pt x="3610" y="5600"/>
                </a:cubicBezTo>
                <a:cubicBezTo>
                  <a:pt x="3626" y="5615"/>
                  <a:pt x="3626" y="5615"/>
                  <a:pt x="3642" y="5615"/>
                </a:cubicBezTo>
                <a:cubicBezTo>
                  <a:pt x="3673" y="5615"/>
                  <a:pt x="3705" y="5584"/>
                  <a:pt x="3705" y="5552"/>
                </a:cubicBezTo>
                <a:lnTo>
                  <a:pt x="4453" y="3038"/>
                </a:lnTo>
                <a:cubicBezTo>
                  <a:pt x="4453" y="3006"/>
                  <a:pt x="4437" y="2958"/>
                  <a:pt x="4390" y="2943"/>
                </a:cubicBezTo>
                <a:close/>
                <a:moveTo>
                  <a:pt x="1288" y="5615"/>
                </a:moveTo>
                <a:cubicBezTo>
                  <a:pt x="1304" y="5615"/>
                  <a:pt x="1304" y="5615"/>
                  <a:pt x="1320" y="5600"/>
                </a:cubicBezTo>
                <a:cubicBezTo>
                  <a:pt x="1352" y="5600"/>
                  <a:pt x="1383" y="5552"/>
                  <a:pt x="1368" y="5504"/>
                </a:cubicBezTo>
                <a:lnTo>
                  <a:pt x="636" y="3006"/>
                </a:lnTo>
                <a:cubicBezTo>
                  <a:pt x="620" y="2958"/>
                  <a:pt x="572" y="2927"/>
                  <a:pt x="540" y="2943"/>
                </a:cubicBezTo>
                <a:cubicBezTo>
                  <a:pt x="492" y="2958"/>
                  <a:pt x="477" y="3006"/>
                  <a:pt x="477" y="3038"/>
                </a:cubicBezTo>
                <a:lnTo>
                  <a:pt x="1225" y="5552"/>
                </a:lnTo>
                <a:cubicBezTo>
                  <a:pt x="1225" y="5584"/>
                  <a:pt x="1256" y="5615"/>
                  <a:pt x="1288" y="561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7" name="Freeform: Shape 11">
            <a:extLst>
              <a:ext uri="{FF2B5EF4-FFF2-40B4-BE49-F238E27FC236}">
                <a16:creationId xmlns:a16="http://schemas.microsoft.com/office/drawing/2014/main" id="{63EAAD6D-BE5D-A94E-9151-12487DE0CA21}"/>
              </a:ext>
            </a:extLst>
          </p:cNvPr>
          <p:cNvSpPr/>
          <p:nvPr/>
        </p:nvSpPr>
        <p:spPr>
          <a:xfrm>
            <a:off x="14154343" y="6316056"/>
            <a:ext cx="1684800" cy="1620360"/>
          </a:xfrm>
          <a:custGeom>
            <a:avLst/>
            <a:gdLst/>
            <a:ahLst/>
            <a:cxnLst>
              <a:cxn ang="3cd4">
                <a:pos x="hc" y="t"/>
              </a:cxn>
              <a:cxn ang="cd2">
                <a:pos x="l" y="vc"/>
              </a:cxn>
              <a:cxn ang="cd4">
                <a:pos x="hc" y="b"/>
              </a:cxn>
              <a:cxn ang="0">
                <a:pos x="r" y="vc"/>
              </a:cxn>
            </a:cxnLst>
            <a:rect l="l" t="t" r="r" b="b"/>
            <a:pathLst>
              <a:path w="4681" h="4502">
                <a:moveTo>
                  <a:pt x="4598" y="1607"/>
                </a:moveTo>
                <a:cubicBezTo>
                  <a:pt x="4534" y="1559"/>
                  <a:pt x="4454" y="1543"/>
                  <a:pt x="4375" y="1575"/>
                </a:cubicBezTo>
                <a:cubicBezTo>
                  <a:pt x="4295" y="1607"/>
                  <a:pt x="4264" y="1671"/>
                  <a:pt x="4248" y="1750"/>
                </a:cubicBezTo>
                <a:lnTo>
                  <a:pt x="4168" y="2434"/>
                </a:lnTo>
                <a:cubicBezTo>
                  <a:pt x="4120" y="2053"/>
                  <a:pt x="4009" y="1528"/>
                  <a:pt x="3866" y="1320"/>
                </a:cubicBezTo>
                <a:cubicBezTo>
                  <a:pt x="3802" y="1241"/>
                  <a:pt x="3722" y="1177"/>
                  <a:pt x="3627" y="1162"/>
                </a:cubicBezTo>
                <a:cubicBezTo>
                  <a:pt x="3754" y="1066"/>
                  <a:pt x="3850" y="923"/>
                  <a:pt x="3850" y="764"/>
                </a:cubicBezTo>
                <a:cubicBezTo>
                  <a:pt x="3850" y="493"/>
                  <a:pt x="3627" y="271"/>
                  <a:pt x="3357" y="271"/>
                </a:cubicBezTo>
                <a:cubicBezTo>
                  <a:pt x="3086" y="271"/>
                  <a:pt x="2863" y="493"/>
                  <a:pt x="2863" y="764"/>
                </a:cubicBezTo>
                <a:cubicBezTo>
                  <a:pt x="2863" y="987"/>
                  <a:pt x="3039" y="1193"/>
                  <a:pt x="3245" y="1241"/>
                </a:cubicBezTo>
                <a:cubicBezTo>
                  <a:pt x="3213" y="1273"/>
                  <a:pt x="3182" y="1305"/>
                  <a:pt x="3150" y="1353"/>
                </a:cubicBezTo>
                <a:lnTo>
                  <a:pt x="2816" y="1862"/>
                </a:lnTo>
                <a:lnTo>
                  <a:pt x="2497" y="1734"/>
                </a:lnTo>
                <a:cubicBezTo>
                  <a:pt x="2434" y="1702"/>
                  <a:pt x="2354" y="1702"/>
                  <a:pt x="2275" y="1734"/>
                </a:cubicBezTo>
                <a:cubicBezTo>
                  <a:pt x="2211" y="1750"/>
                  <a:pt x="2148" y="1814"/>
                  <a:pt x="2116" y="1877"/>
                </a:cubicBezTo>
                <a:cubicBezTo>
                  <a:pt x="2052" y="2037"/>
                  <a:pt x="2116" y="2196"/>
                  <a:pt x="2275" y="2259"/>
                </a:cubicBezTo>
                <a:lnTo>
                  <a:pt x="1368" y="2259"/>
                </a:lnTo>
                <a:cubicBezTo>
                  <a:pt x="1320" y="2259"/>
                  <a:pt x="1288" y="2291"/>
                  <a:pt x="1288" y="2339"/>
                </a:cubicBezTo>
                <a:lnTo>
                  <a:pt x="1288" y="4328"/>
                </a:lnTo>
                <a:cubicBezTo>
                  <a:pt x="1288" y="4375"/>
                  <a:pt x="1320" y="4407"/>
                  <a:pt x="1368" y="4407"/>
                </a:cubicBezTo>
                <a:lnTo>
                  <a:pt x="2291" y="4407"/>
                </a:lnTo>
                <a:cubicBezTo>
                  <a:pt x="2322" y="4407"/>
                  <a:pt x="2370" y="4375"/>
                  <a:pt x="2370" y="4328"/>
                </a:cubicBezTo>
                <a:lnTo>
                  <a:pt x="2370" y="2641"/>
                </a:lnTo>
                <a:lnTo>
                  <a:pt x="2609" y="2641"/>
                </a:lnTo>
                <a:cubicBezTo>
                  <a:pt x="2657" y="2641"/>
                  <a:pt x="2688" y="2610"/>
                  <a:pt x="2688" y="2562"/>
                </a:cubicBezTo>
                <a:lnTo>
                  <a:pt x="2688" y="2450"/>
                </a:lnTo>
                <a:lnTo>
                  <a:pt x="2800" y="2498"/>
                </a:lnTo>
                <a:cubicBezTo>
                  <a:pt x="2943" y="2546"/>
                  <a:pt x="3102" y="2498"/>
                  <a:pt x="3166" y="2387"/>
                </a:cubicBezTo>
                <a:lnTo>
                  <a:pt x="3261" y="2228"/>
                </a:lnTo>
                <a:cubicBezTo>
                  <a:pt x="3293" y="2355"/>
                  <a:pt x="3309" y="2482"/>
                  <a:pt x="3325" y="2610"/>
                </a:cubicBezTo>
                <a:lnTo>
                  <a:pt x="2704" y="2721"/>
                </a:lnTo>
                <a:cubicBezTo>
                  <a:pt x="2482" y="2768"/>
                  <a:pt x="2497" y="2896"/>
                  <a:pt x="2513" y="3023"/>
                </a:cubicBezTo>
                <a:lnTo>
                  <a:pt x="2625" y="4137"/>
                </a:lnTo>
                <a:cubicBezTo>
                  <a:pt x="2640" y="4296"/>
                  <a:pt x="2784" y="4423"/>
                  <a:pt x="2943" y="4423"/>
                </a:cubicBezTo>
                <a:lnTo>
                  <a:pt x="2975" y="4423"/>
                </a:lnTo>
                <a:cubicBezTo>
                  <a:pt x="3102" y="4407"/>
                  <a:pt x="3197" y="4328"/>
                  <a:pt x="3245" y="4232"/>
                </a:cubicBezTo>
                <a:cubicBezTo>
                  <a:pt x="3245" y="4280"/>
                  <a:pt x="3261" y="4312"/>
                  <a:pt x="3293" y="4359"/>
                </a:cubicBezTo>
                <a:cubicBezTo>
                  <a:pt x="3341" y="4392"/>
                  <a:pt x="3388" y="4407"/>
                  <a:pt x="3436" y="4407"/>
                </a:cubicBezTo>
                <a:cubicBezTo>
                  <a:pt x="3484" y="4407"/>
                  <a:pt x="3531" y="4392"/>
                  <a:pt x="3563" y="4344"/>
                </a:cubicBezTo>
                <a:lnTo>
                  <a:pt x="3643" y="4264"/>
                </a:lnTo>
                <a:lnTo>
                  <a:pt x="4009" y="4264"/>
                </a:lnTo>
                <a:lnTo>
                  <a:pt x="4104" y="4344"/>
                </a:lnTo>
                <a:cubicBezTo>
                  <a:pt x="4136" y="4392"/>
                  <a:pt x="4184" y="4407"/>
                  <a:pt x="4231" y="4407"/>
                </a:cubicBezTo>
                <a:cubicBezTo>
                  <a:pt x="4279" y="4407"/>
                  <a:pt x="4327" y="4392"/>
                  <a:pt x="4359" y="4359"/>
                </a:cubicBezTo>
                <a:cubicBezTo>
                  <a:pt x="4439" y="4280"/>
                  <a:pt x="4439" y="4169"/>
                  <a:pt x="4359" y="4089"/>
                </a:cubicBezTo>
                <a:lnTo>
                  <a:pt x="4200" y="3930"/>
                </a:lnTo>
                <a:cubicBezTo>
                  <a:pt x="4200" y="3914"/>
                  <a:pt x="4184" y="3914"/>
                  <a:pt x="4152" y="3898"/>
                </a:cubicBezTo>
                <a:lnTo>
                  <a:pt x="4073" y="3898"/>
                </a:lnTo>
                <a:lnTo>
                  <a:pt x="4073" y="3373"/>
                </a:lnTo>
                <a:lnTo>
                  <a:pt x="4168" y="3373"/>
                </a:lnTo>
                <a:cubicBezTo>
                  <a:pt x="4359" y="3357"/>
                  <a:pt x="4486" y="3230"/>
                  <a:pt x="4534" y="3039"/>
                </a:cubicBezTo>
                <a:lnTo>
                  <a:pt x="4677" y="1798"/>
                </a:lnTo>
                <a:cubicBezTo>
                  <a:pt x="4693" y="1719"/>
                  <a:pt x="4661" y="1655"/>
                  <a:pt x="4598" y="1607"/>
                </a:cubicBezTo>
                <a:close/>
                <a:moveTo>
                  <a:pt x="3022" y="764"/>
                </a:moveTo>
                <a:cubicBezTo>
                  <a:pt x="3022" y="573"/>
                  <a:pt x="3182" y="430"/>
                  <a:pt x="3357" y="430"/>
                </a:cubicBezTo>
                <a:cubicBezTo>
                  <a:pt x="3531" y="430"/>
                  <a:pt x="3691" y="573"/>
                  <a:pt x="3691" y="764"/>
                </a:cubicBezTo>
                <a:cubicBezTo>
                  <a:pt x="3691" y="939"/>
                  <a:pt x="3531" y="1082"/>
                  <a:pt x="3357" y="1082"/>
                </a:cubicBezTo>
                <a:cubicBezTo>
                  <a:pt x="3182" y="1082"/>
                  <a:pt x="3022" y="939"/>
                  <a:pt x="3022" y="764"/>
                </a:cubicBezTo>
                <a:close/>
                <a:moveTo>
                  <a:pt x="2529" y="2482"/>
                </a:moveTo>
                <a:lnTo>
                  <a:pt x="2291" y="2482"/>
                </a:lnTo>
                <a:cubicBezTo>
                  <a:pt x="2243" y="2482"/>
                  <a:pt x="2211" y="2514"/>
                  <a:pt x="2211" y="2562"/>
                </a:cubicBezTo>
                <a:lnTo>
                  <a:pt x="2211" y="4248"/>
                </a:lnTo>
                <a:lnTo>
                  <a:pt x="1448" y="4248"/>
                </a:lnTo>
                <a:lnTo>
                  <a:pt x="1448" y="2419"/>
                </a:lnTo>
                <a:lnTo>
                  <a:pt x="2529" y="2419"/>
                </a:lnTo>
                <a:close/>
                <a:moveTo>
                  <a:pt x="3293" y="4089"/>
                </a:moveTo>
                <a:cubicBezTo>
                  <a:pt x="3293" y="4105"/>
                  <a:pt x="3277" y="4121"/>
                  <a:pt x="3261" y="4137"/>
                </a:cubicBezTo>
                <a:cubicBezTo>
                  <a:pt x="3277" y="4105"/>
                  <a:pt x="3277" y="4089"/>
                  <a:pt x="3261" y="4073"/>
                </a:cubicBezTo>
                <a:lnTo>
                  <a:pt x="3197" y="3421"/>
                </a:lnTo>
                <a:lnTo>
                  <a:pt x="3245" y="3421"/>
                </a:lnTo>
                <a:lnTo>
                  <a:pt x="3627" y="3405"/>
                </a:lnTo>
                <a:lnTo>
                  <a:pt x="3627" y="3882"/>
                </a:lnTo>
                <a:lnTo>
                  <a:pt x="3500" y="3898"/>
                </a:lnTo>
                <a:cubicBezTo>
                  <a:pt x="3484" y="3914"/>
                  <a:pt x="3468" y="3914"/>
                  <a:pt x="3452" y="3930"/>
                </a:cubicBezTo>
                <a:close/>
                <a:moveTo>
                  <a:pt x="4518" y="1782"/>
                </a:moveTo>
                <a:lnTo>
                  <a:pt x="4375" y="3023"/>
                </a:lnTo>
                <a:cubicBezTo>
                  <a:pt x="4343" y="3134"/>
                  <a:pt x="4264" y="3198"/>
                  <a:pt x="4152" y="3214"/>
                </a:cubicBezTo>
                <a:lnTo>
                  <a:pt x="3977" y="3230"/>
                </a:lnTo>
                <a:cubicBezTo>
                  <a:pt x="3945" y="3230"/>
                  <a:pt x="3913" y="3262"/>
                  <a:pt x="3913" y="3310"/>
                </a:cubicBezTo>
                <a:lnTo>
                  <a:pt x="3913" y="3962"/>
                </a:lnTo>
                <a:cubicBezTo>
                  <a:pt x="3913" y="4010"/>
                  <a:pt x="3930" y="4041"/>
                  <a:pt x="3977" y="4041"/>
                </a:cubicBezTo>
                <a:lnTo>
                  <a:pt x="4104" y="4057"/>
                </a:lnTo>
                <a:lnTo>
                  <a:pt x="4248" y="4201"/>
                </a:lnTo>
                <a:cubicBezTo>
                  <a:pt x="4264" y="4216"/>
                  <a:pt x="4264" y="4232"/>
                  <a:pt x="4248" y="4232"/>
                </a:cubicBezTo>
                <a:lnTo>
                  <a:pt x="4311" y="4296"/>
                </a:lnTo>
                <a:lnTo>
                  <a:pt x="4216" y="4232"/>
                </a:lnTo>
                <a:lnTo>
                  <a:pt x="4104" y="4121"/>
                </a:lnTo>
                <a:cubicBezTo>
                  <a:pt x="4088" y="4105"/>
                  <a:pt x="4073" y="4105"/>
                  <a:pt x="4057" y="4105"/>
                </a:cubicBezTo>
                <a:lnTo>
                  <a:pt x="3611" y="4105"/>
                </a:lnTo>
                <a:cubicBezTo>
                  <a:pt x="3595" y="4105"/>
                  <a:pt x="3563" y="4105"/>
                  <a:pt x="3563" y="4121"/>
                </a:cubicBezTo>
                <a:lnTo>
                  <a:pt x="3452" y="4232"/>
                </a:lnTo>
                <a:lnTo>
                  <a:pt x="3500" y="4296"/>
                </a:lnTo>
                <a:lnTo>
                  <a:pt x="3404" y="4232"/>
                </a:lnTo>
                <a:lnTo>
                  <a:pt x="3404" y="4201"/>
                </a:lnTo>
                <a:lnTo>
                  <a:pt x="3548" y="4057"/>
                </a:lnTo>
                <a:lnTo>
                  <a:pt x="3722" y="4041"/>
                </a:lnTo>
                <a:cubicBezTo>
                  <a:pt x="3754" y="4025"/>
                  <a:pt x="3786" y="3993"/>
                  <a:pt x="3786" y="3962"/>
                </a:cubicBezTo>
                <a:lnTo>
                  <a:pt x="3786" y="3325"/>
                </a:lnTo>
                <a:cubicBezTo>
                  <a:pt x="3786" y="3293"/>
                  <a:pt x="3770" y="3278"/>
                  <a:pt x="3754" y="3262"/>
                </a:cubicBezTo>
                <a:cubicBezTo>
                  <a:pt x="3739" y="3246"/>
                  <a:pt x="3722" y="3246"/>
                  <a:pt x="3707" y="3246"/>
                </a:cubicBezTo>
                <a:lnTo>
                  <a:pt x="3245" y="3262"/>
                </a:lnTo>
                <a:cubicBezTo>
                  <a:pt x="3213" y="3278"/>
                  <a:pt x="3182" y="3246"/>
                  <a:pt x="3182" y="3214"/>
                </a:cubicBezTo>
                <a:cubicBezTo>
                  <a:pt x="3166" y="3182"/>
                  <a:pt x="3118" y="3150"/>
                  <a:pt x="3086" y="3166"/>
                </a:cubicBezTo>
                <a:cubicBezTo>
                  <a:pt x="3039" y="3166"/>
                  <a:pt x="3007" y="3214"/>
                  <a:pt x="3022" y="3246"/>
                </a:cubicBezTo>
                <a:lnTo>
                  <a:pt x="3102" y="4089"/>
                </a:lnTo>
                <a:cubicBezTo>
                  <a:pt x="3118" y="4169"/>
                  <a:pt x="3054" y="4264"/>
                  <a:pt x="2959" y="4264"/>
                </a:cubicBezTo>
                <a:cubicBezTo>
                  <a:pt x="2879" y="4280"/>
                  <a:pt x="2784" y="4216"/>
                  <a:pt x="2784" y="4121"/>
                </a:cubicBezTo>
                <a:lnTo>
                  <a:pt x="2673" y="2991"/>
                </a:lnTo>
                <a:cubicBezTo>
                  <a:pt x="2657" y="2896"/>
                  <a:pt x="2657" y="2896"/>
                  <a:pt x="2720" y="2880"/>
                </a:cubicBezTo>
                <a:lnTo>
                  <a:pt x="3420" y="2753"/>
                </a:lnTo>
                <a:cubicBezTo>
                  <a:pt x="3468" y="2753"/>
                  <a:pt x="3500" y="2721"/>
                  <a:pt x="3484" y="2673"/>
                </a:cubicBezTo>
                <a:cubicBezTo>
                  <a:pt x="3484" y="2514"/>
                  <a:pt x="3452" y="2339"/>
                  <a:pt x="3420" y="2180"/>
                </a:cubicBezTo>
                <a:cubicBezTo>
                  <a:pt x="3404" y="2116"/>
                  <a:pt x="3388" y="2068"/>
                  <a:pt x="3373" y="2005"/>
                </a:cubicBezTo>
                <a:cubicBezTo>
                  <a:pt x="3373" y="1973"/>
                  <a:pt x="3341" y="1957"/>
                  <a:pt x="3309" y="1957"/>
                </a:cubicBezTo>
                <a:cubicBezTo>
                  <a:pt x="3277" y="1941"/>
                  <a:pt x="3245" y="1957"/>
                  <a:pt x="3230" y="1989"/>
                </a:cubicBezTo>
                <a:lnTo>
                  <a:pt x="3039" y="2291"/>
                </a:lnTo>
                <a:cubicBezTo>
                  <a:pt x="3007" y="2355"/>
                  <a:pt x="2927" y="2371"/>
                  <a:pt x="2863" y="2355"/>
                </a:cubicBezTo>
                <a:lnTo>
                  <a:pt x="2339" y="2116"/>
                </a:lnTo>
                <a:cubicBezTo>
                  <a:pt x="2259" y="2084"/>
                  <a:pt x="2243" y="2005"/>
                  <a:pt x="2259" y="1941"/>
                </a:cubicBezTo>
                <a:cubicBezTo>
                  <a:pt x="2275" y="1910"/>
                  <a:pt x="2306" y="1893"/>
                  <a:pt x="2339" y="1877"/>
                </a:cubicBezTo>
                <a:cubicBezTo>
                  <a:pt x="2370" y="1862"/>
                  <a:pt x="2402" y="1862"/>
                  <a:pt x="2434" y="1877"/>
                </a:cubicBezTo>
                <a:lnTo>
                  <a:pt x="2816" y="2037"/>
                </a:lnTo>
                <a:cubicBezTo>
                  <a:pt x="2848" y="2053"/>
                  <a:pt x="2879" y="2037"/>
                  <a:pt x="2911" y="2005"/>
                </a:cubicBezTo>
                <a:lnTo>
                  <a:pt x="3277" y="1432"/>
                </a:lnTo>
                <a:cubicBezTo>
                  <a:pt x="3309" y="1384"/>
                  <a:pt x="3357" y="1353"/>
                  <a:pt x="3404" y="1320"/>
                </a:cubicBezTo>
                <a:cubicBezTo>
                  <a:pt x="3531" y="1273"/>
                  <a:pt x="3659" y="1305"/>
                  <a:pt x="3739" y="1416"/>
                </a:cubicBezTo>
                <a:cubicBezTo>
                  <a:pt x="3897" y="1623"/>
                  <a:pt x="4009" y="2402"/>
                  <a:pt x="4041" y="2753"/>
                </a:cubicBezTo>
                <a:cubicBezTo>
                  <a:pt x="4041" y="2848"/>
                  <a:pt x="4009" y="2928"/>
                  <a:pt x="3977" y="2959"/>
                </a:cubicBezTo>
                <a:cubicBezTo>
                  <a:pt x="3945" y="2991"/>
                  <a:pt x="3945" y="3023"/>
                  <a:pt x="3945" y="3055"/>
                </a:cubicBezTo>
                <a:cubicBezTo>
                  <a:pt x="3961" y="3087"/>
                  <a:pt x="3993" y="3102"/>
                  <a:pt x="4025" y="3102"/>
                </a:cubicBezTo>
                <a:lnTo>
                  <a:pt x="4136" y="3087"/>
                </a:lnTo>
                <a:cubicBezTo>
                  <a:pt x="4216" y="3087"/>
                  <a:pt x="4248" y="3039"/>
                  <a:pt x="4248" y="2991"/>
                </a:cubicBezTo>
                <a:lnTo>
                  <a:pt x="4407" y="1766"/>
                </a:lnTo>
                <a:cubicBezTo>
                  <a:pt x="4407" y="1750"/>
                  <a:pt x="4422" y="1734"/>
                  <a:pt x="4439" y="1719"/>
                </a:cubicBezTo>
                <a:cubicBezTo>
                  <a:pt x="4454" y="1719"/>
                  <a:pt x="4486" y="1719"/>
                  <a:pt x="4502" y="1734"/>
                </a:cubicBezTo>
                <a:cubicBezTo>
                  <a:pt x="4518" y="1750"/>
                  <a:pt x="4534" y="1766"/>
                  <a:pt x="4518" y="1782"/>
                </a:cubicBezTo>
                <a:close/>
                <a:moveTo>
                  <a:pt x="540" y="4502"/>
                </a:moveTo>
                <a:cubicBezTo>
                  <a:pt x="668" y="4502"/>
                  <a:pt x="779" y="4392"/>
                  <a:pt x="779" y="4264"/>
                </a:cubicBezTo>
                <a:lnTo>
                  <a:pt x="779" y="2928"/>
                </a:lnTo>
                <a:cubicBezTo>
                  <a:pt x="811" y="2864"/>
                  <a:pt x="843" y="2784"/>
                  <a:pt x="843" y="2721"/>
                </a:cubicBezTo>
                <a:lnTo>
                  <a:pt x="843" y="1893"/>
                </a:lnTo>
                <a:lnTo>
                  <a:pt x="875" y="1941"/>
                </a:lnTo>
                <a:cubicBezTo>
                  <a:pt x="922" y="1973"/>
                  <a:pt x="986" y="2005"/>
                  <a:pt x="1049" y="2005"/>
                </a:cubicBezTo>
                <a:lnTo>
                  <a:pt x="1670" y="2005"/>
                </a:lnTo>
                <a:cubicBezTo>
                  <a:pt x="1797" y="2005"/>
                  <a:pt x="1909" y="1893"/>
                  <a:pt x="1909" y="1766"/>
                </a:cubicBezTo>
                <a:cubicBezTo>
                  <a:pt x="1909" y="1623"/>
                  <a:pt x="1797" y="1511"/>
                  <a:pt x="1670" y="1511"/>
                </a:cubicBezTo>
                <a:lnTo>
                  <a:pt x="1161" y="1511"/>
                </a:lnTo>
                <a:lnTo>
                  <a:pt x="827" y="1177"/>
                </a:lnTo>
                <a:cubicBezTo>
                  <a:pt x="811" y="1082"/>
                  <a:pt x="748" y="987"/>
                  <a:pt x="668" y="923"/>
                </a:cubicBezTo>
                <a:cubicBezTo>
                  <a:pt x="859" y="859"/>
                  <a:pt x="1002" y="684"/>
                  <a:pt x="1002" y="477"/>
                </a:cubicBezTo>
                <a:cubicBezTo>
                  <a:pt x="1002" y="207"/>
                  <a:pt x="779" y="0"/>
                  <a:pt x="525" y="0"/>
                </a:cubicBezTo>
                <a:cubicBezTo>
                  <a:pt x="270" y="0"/>
                  <a:pt x="48" y="207"/>
                  <a:pt x="48" y="477"/>
                </a:cubicBezTo>
                <a:cubicBezTo>
                  <a:pt x="48" y="637"/>
                  <a:pt x="143" y="780"/>
                  <a:pt x="270" y="875"/>
                </a:cubicBezTo>
                <a:cubicBezTo>
                  <a:pt x="111" y="939"/>
                  <a:pt x="0" y="1082"/>
                  <a:pt x="0" y="1257"/>
                </a:cubicBezTo>
                <a:lnTo>
                  <a:pt x="0" y="2721"/>
                </a:lnTo>
                <a:cubicBezTo>
                  <a:pt x="0" y="2768"/>
                  <a:pt x="15" y="2816"/>
                  <a:pt x="31" y="2848"/>
                </a:cubicBezTo>
                <a:lnTo>
                  <a:pt x="286" y="4264"/>
                </a:lnTo>
                <a:cubicBezTo>
                  <a:pt x="286" y="4392"/>
                  <a:pt x="397" y="4502"/>
                  <a:pt x="540" y="4502"/>
                </a:cubicBezTo>
                <a:close/>
                <a:moveTo>
                  <a:pt x="525" y="159"/>
                </a:moveTo>
                <a:cubicBezTo>
                  <a:pt x="700" y="159"/>
                  <a:pt x="843" y="302"/>
                  <a:pt x="843" y="477"/>
                </a:cubicBezTo>
                <a:cubicBezTo>
                  <a:pt x="843" y="653"/>
                  <a:pt x="700" y="796"/>
                  <a:pt x="525" y="796"/>
                </a:cubicBezTo>
                <a:cubicBezTo>
                  <a:pt x="349" y="796"/>
                  <a:pt x="206" y="653"/>
                  <a:pt x="206" y="477"/>
                </a:cubicBezTo>
                <a:cubicBezTo>
                  <a:pt x="206" y="302"/>
                  <a:pt x="349" y="159"/>
                  <a:pt x="525" y="159"/>
                </a:cubicBezTo>
                <a:close/>
                <a:moveTo>
                  <a:pt x="158" y="2721"/>
                </a:moveTo>
                <a:lnTo>
                  <a:pt x="158" y="1257"/>
                </a:lnTo>
                <a:cubicBezTo>
                  <a:pt x="158" y="1114"/>
                  <a:pt x="286" y="1002"/>
                  <a:pt x="429" y="1002"/>
                </a:cubicBezTo>
                <a:cubicBezTo>
                  <a:pt x="557" y="1002"/>
                  <a:pt x="652" y="1098"/>
                  <a:pt x="668" y="1225"/>
                </a:cubicBezTo>
                <a:cubicBezTo>
                  <a:pt x="684" y="1241"/>
                  <a:pt x="684" y="1257"/>
                  <a:pt x="700" y="1273"/>
                </a:cubicBezTo>
                <a:lnTo>
                  <a:pt x="1066" y="1639"/>
                </a:lnTo>
                <a:cubicBezTo>
                  <a:pt x="1082" y="1655"/>
                  <a:pt x="1097" y="1671"/>
                  <a:pt x="1129" y="1671"/>
                </a:cubicBezTo>
                <a:lnTo>
                  <a:pt x="1670" y="1671"/>
                </a:lnTo>
                <a:cubicBezTo>
                  <a:pt x="1718" y="1671"/>
                  <a:pt x="1749" y="1702"/>
                  <a:pt x="1749" y="1766"/>
                </a:cubicBezTo>
                <a:cubicBezTo>
                  <a:pt x="1749" y="1814"/>
                  <a:pt x="1718" y="1846"/>
                  <a:pt x="1670" y="1846"/>
                </a:cubicBezTo>
                <a:lnTo>
                  <a:pt x="1049" y="1846"/>
                </a:lnTo>
                <a:cubicBezTo>
                  <a:pt x="1034" y="1846"/>
                  <a:pt x="1018" y="1846"/>
                  <a:pt x="986" y="1814"/>
                </a:cubicBezTo>
                <a:lnTo>
                  <a:pt x="811" y="1639"/>
                </a:lnTo>
                <a:cubicBezTo>
                  <a:pt x="795" y="1623"/>
                  <a:pt x="763" y="1607"/>
                  <a:pt x="731" y="1623"/>
                </a:cubicBezTo>
                <a:cubicBezTo>
                  <a:pt x="700" y="1639"/>
                  <a:pt x="684" y="1671"/>
                  <a:pt x="684" y="1702"/>
                </a:cubicBezTo>
                <a:lnTo>
                  <a:pt x="684" y="2721"/>
                </a:lnTo>
                <a:cubicBezTo>
                  <a:pt x="684" y="2768"/>
                  <a:pt x="668" y="2816"/>
                  <a:pt x="636" y="2864"/>
                </a:cubicBezTo>
                <a:cubicBezTo>
                  <a:pt x="620" y="2880"/>
                  <a:pt x="620" y="2896"/>
                  <a:pt x="620" y="2911"/>
                </a:cubicBezTo>
                <a:lnTo>
                  <a:pt x="620" y="4264"/>
                </a:lnTo>
                <a:cubicBezTo>
                  <a:pt x="620" y="4312"/>
                  <a:pt x="588" y="4344"/>
                  <a:pt x="540" y="4344"/>
                </a:cubicBezTo>
                <a:cubicBezTo>
                  <a:pt x="493" y="4344"/>
                  <a:pt x="445" y="4312"/>
                  <a:pt x="445" y="4248"/>
                </a:cubicBezTo>
                <a:lnTo>
                  <a:pt x="175" y="2801"/>
                </a:lnTo>
                <a:cubicBezTo>
                  <a:pt x="175" y="2768"/>
                  <a:pt x="158" y="2753"/>
                  <a:pt x="158" y="272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8" name="Freeform: Shape 12">
            <a:extLst>
              <a:ext uri="{FF2B5EF4-FFF2-40B4-BE49-F238E27FC236}">
                <a16:creationId xmlns:a16="http://schemas.microsoft.com/office/drawing/2014/main" id="{948DD018-8FA3-164E-A089-95761FDB26FF}"/>
              </a:ext>
            </a:extLst>
          </p:cNvPr>
          <p:cNvSpPr/>
          <p:nvPr/>
        </p:nvSpPr>
        <p:spPr>
          <a:xfrm>
            <a:off x="13863622" y="9824253"/>
            <a:ext cx="1912319" cy="1219680"/>
          </a:xfrm>
          <a:custGeom>
            <a:avLst/>
            <a:gdLst/>
            <a:ahLst/>
            <a:cxnLst>
              <a:cxn ang="3cd4">
                <a:pos x="hc" y="t"/>
              </a:cxn>
              <a:cxn ang="cd2">
                <a:pos x="l" y="vc"/>
              </a:cxn>
              <a:cxn ang="cd4">
                <a:pos x="hc" y="b"/>
              </a:cxn>
              <a:cxn ang="0">
                <a:pos x="r" y="vc"/>
              </a:cxn>
            </a:cxnLst>
            <a:rect l="l" t="t" r="r" b="b"/>
            <a:pathLst>
              <a:path w="5313" h="3389">
                <a:moveTo>
                  <a:pt x="5234" y="2259"/>
                </a:moveTo>
                <a:cubicBezTo>
                  <a:pt x="4598" y="2259"/>
                  <a:pt x="4598" y="2259"/>
                  <a:pt x="4598" y="2259"/>
                </a:cubicBezTo>
                <a:cubicBezTo>
                  <a:pt x="4598" y="1750"/>
                  <a:pt x="4598" y="1750"/>
                  <a:pt x="4598" y="1750"/>
                </a:cubicBezTo>
                <a:cubicBezTo>
                  <a:pt x="4598" y="1734"/>
                  <a:pt x="4598" y="1702"/>
                  <a:pt x="4582" y="1687"/>
                </a:cubicBezTo>
                <a:cubicBezTo>
                  <a:pt x="4566" y="1671"/>
                  <a:pt x="4550" y="1671"/>
                  <a:pt x="4518" y="1671"/>
                </a:cubicBezTo>
                <a:cubicBezTo>
                  <a:pt x="2752" y="1671"/>
                  <a:pt x="2752" y="1671"/>
                  <a:pt x="2752" y="1671"/>
                </a:cubicBezTo>
                <a:cubicBezTo>
                  <a:pt x="2752" y="1130"/>
                  <a:pt x="2752" y="1130"/>
                  <a:pt x="2752" y="1130"/>
                </a:cubicBezTo>
                <a:cubicBezTo>
                  <a:pt x="3755" y="1130"/>
                  <a:pt x="3755" y="1130"/>
                  <a:pt x="3755" y="1130"/>
                </a:cubicBezTo>
                <a:cubicBezTo>
                  <a:pt x="3802" y="1130"/>
                  <a:pt x="3834" y="1098"/>
                  <a:pt x="3834" y="1050"/>
                </a:cubicBezTo>
                <a:cubicBezTo>
                  <a:pt x="3834" y="80"/>
                  <a:pt x="3834" y="80"/>
                  <a:pt x="3834" y="80"/>
                </a:cubicBezTo>
                <a:cubicBezTo>
                  <a:pt x="3834" y="32"/>
                  <a:pt x="3802" y="0"/>
                  <a:pt x="3755" y="0"/>
                </a:cubicBezTo>
                <a:cubicBezTo>
                  <a:pt x="1639" y="0"/>
                  <a:pt x="1639" y="0"/>
                  <a:pt x="1639" y="0"/>
                </a:cubicBezTo>
                <a:cubicBezTo>
                  <a:pt x="1591" y="0"/>
                  <a:pt x="1559" y="32"/>
                  <a:pt x="1559" y="80"/>
                </a:cubicBezTo>
                <a:cubicBezTo>
                  <a:pt x="1559" y="1050"/>
                  <a:pt x="1559" y="1050"/>
                  <a:pt x="1559" y="1050"/>
                </a:cubicBezTo>
                <a:cubicBezTo>
                  <a:pt x="1559" y="1098"/>
                  <a:pt x="1591" y="1130"/>
                  <a:pt x="1639" y="1130"/>
                </a:cubicBezTo>
                <a:cubicBezTo>
                  <a:pt x="2593" y="1130"/>
                  <a:pt x="2593" y="1130"/>
                  <a:pt x="2593" y="1130"/>
                </a:cubicBezTo>
                <a:cubicBezTo>
                  <a:pt x="2593" y="1671"/>
                  <a:pt x="2593" y="1671"/>
                  <a:pt x="2593" y="1671"/>
                </a:cubicBezTo>
                <a:cubicBezTo>
                  <a:pt x="748" y="1671"/>
                  <a:pt x="748" y="1671"/>
                  <a:pt x="748" y="1671"/>
                </a:cubicBezTo>
                <a:cubicBezTo>
                  <a:pt x="716" y="1671"/>
                  <a:pt x="700" y="1671"/>
                  <a:pt x="684" y="1687"/>
                </a:cubicBezTo>
                <a:cubicBezTo>
                  <a:pt x="668" y="1702"/>
                  <a:pt x="668" y="1718"/>
                  <a:pt x="668" y="1750"/>
                </a:cubicBezTo>
                <a:cubicBezTo>
                  <a:pt x="668" y="2259"/>
                  <a:pt x="668" y="2259"/>
                  <a:pt x="668" y="2259"/>
                </a:cubicBezTo>
                <a:cubicBezTo>
                  <a:pt x="79" y="2259"/>
                  <a:pt x="79" y="2259"/>
                  <a:pt x="79" y="2259"/>
                </a:cubicBezTo>
                <a:cubicBezTo>
                  <a:pt x="31" y="2259"/>
                  <a:pt x="0" y="2291"/>
                  <a:pt x="0" y="2339"/>
                </a:cubicBezTo>
                <a:cubicBezTo>
                  <a:pt x="0" y="3309"/>
                  <a:pt x="0" y="3309"/>
                  <a:pt x="0" y="3309"/>
                </a:cubicBezTo>
                <a:cubicBezTo>
                  <a:pt x="0" y="3341"/>
                  <a:pt x="31" y="3389"/>
                  <a:pt x="79" y="3389"/>
                </a:cubicBezTo>
                <a:cubicBezTo>
                  <a:pt x="1431" y="3389"/>
                  <a:pt x="1431" y="3389"/>
                  <a:pt x="1431" y="3389"/>
                </a:cubicBezTo>
                <a:cubicBezTo>
                  <a:pt x="1479" y="3389"/>
                  <a:pt x="1511" y="3341"/>
                  <a:pt x="1511" y="3309"/>
                </a:cubicBezTo>
                <a:cubicBezTo>
                  <a:pt x="1511" y="2339"/>
                  <a:pt x="1511" y="2339"/>
                  <a:pt x="1511" y="2339"/>
                </a:cubicBezTo>
                <a:cubicBezTo>
                  <a:pt x="1511" y="2291"/>
                  <a:pt x="1479" y="2259"/>
                  <a:pt x="1431" y="2259"/>
                </a:cubicBezTo>
                <a:cubicBezTo>
                  <a:pt x="827" y="2259"/>
                  <a:pt x="827" y="2259"/>
                  <a:pt x="827" y="2259"/>
                </a:cubicBezTo>
                <a:cubicBezTo>
                  <a:pt x="827" y="1830"/>
                  <a:pt x="827" y="1830"/>
                  <a:pt x="827" y="1830"/>
                </a:cubicBezTo>
                <a:cubicBezTo>
                  <a:pt x="2593" y="1830"/>
                  <a:pt x="2593" y="1830"/>
                  <a:pt x="2593" y="1830"/>
                </a:cubicBezTo>
                <a:cubicBezTo>
                  <a:pt x="2593" y="2259"/>
                  <a:pt x="2593" y="2259"/>
                  <a:pt x="2593" y="2259"/>
                </a:cubicBezTo>
                <a:cubicBezTo>
                  <a:pt x="1973" y="2259"/>
                  <a:pt x="1973" y="2259"/>
                  <a:pt x="1973" y="2259"/>
                </a:cubicBezTo>
                <a:cubicBezTo>
                  <a:pt x="1925" y="2259"/>
                  <a:pt x="1893" y="2291"/>
                  <a:pt x="1893" y="2339"/>
                </a:cubicBezTo>
                <a:cubicBezTo>
                  <a:pt x="1893" y="3309"/>
                  <a:pt x="1893" y="3309"/>
                  <a:pt x="1893" y="3309"/>
                </a:cubicBezTo>
                <a:cubicBezTo>
                  <a:pt x="1893" y="3341"/>
                  <a:pt x="1925" y="3389"/>
                  <a:pt x="1973" y="3389"/>
                </a:cubicBezTo>
                <a:cubicBezTo>
                  <a:pt x="3325" y="3389"/>
                  <a:pt x="3325" y="3389"/>
                  <a:pt x="3325" y="3389"/>
                </a:cubicBezTo>
                <a:cubicBezTo>
                  <a:pt x="3373" y="3389"/>
                  <a:pt x="3404" y="3341"/>
                  <a:pt x="3404" y="3309"/>
                </a:cubicBezTo>
                <a:cubicBezTo>
                  <a:pt x="3404" y="2339"/>
                  <a:pt x="3404" y="2339"/>
                  <a:pt x="3404" y="2339"/>
                </a:cubicBezTo>
                <a:cubicBezTo>
                  <a:pt x="3404" y="2291"/>
                  <a:pt x="3373" y="2259"/>
                  <a:pt x="3325" y="2259"/>
                </a:cubicBezTo>
                <a:cubicBezTo>
                  <a:pt x="2736" y="2259"/>
                  <a:pt x="2736" y="2259"/>
                  <a:pt x="2736" y="2259"/>
                </a:cubicBezTo>
                <a:cubicBezTo>
                  <a:pt x="2752" y="1830"/>
                  <a:pt x="2752" y="1830"/>
                  <a:pt x="2752" y="1830"/>
                </a:cubicBezTo>
                <a:cubicBezTo>
                  <a:pt x="4439" y="1830"/>
                  <a:pt x="4439" y="1830"/>
                  <a:pt x="4439" y="1830"/>
                </a:cubicBezTo>
                <a:cubicBezTo>
                  <a:pt x="4439" y="2259"/>
                  <a:pt x="4439" y="2259"/>
                  <a:pt x="4439" y="2259"/>
                </a:cubicBezTo>
                <a:cubicBezTo>
                  <a:pt x="3866" y="2259"/>
                  <a:pt x="3866" y="2259"/>
                  <a:pt x="3866" y="2259"/>
                </a:cubicBezTo>
                <a:cubicBezTo>
                  <a:pt x="3818" y="2259"/>
                  <a:pt x="3786" y="2291"/>
                  <a:pt x="3786" y="2339"/>
                </a:cubicBezTo>
                <a:cubicBezTo>
                  <a:pt x="3786" y="3309"/>
                  <a:pt x="3786" y="3309"/>
                  <a:pt x="3786" y="3309"/>
                </a:cubicBezTo>
                <a:cubicBezTo>
                  <a:pt x="3786" y="3341"/>
                  <a:pt x="3818" y="3389"/>
                  <a:pt x="3866" y="3389"/>
                </a:cubicBezTo>
                <a:cubicBezTo>
                  <a:pt x="5234" y="3389"/>
                  <a:pt x="5234" y="3389"/>
                  <a:pt x="5234" y="3389"/>
                </a:cubicBezTo>
                <a:cubicBezTo>
                  <a:pt x="5266" y="3389"/>
                  <a:pt x="5313" y="3341"/>
                  <a:pt x="5313" y="3309"/>
                </a:cubicBezTo>
                <a:cubicBezTo>
                  <a:pt x="5313" y="2339"/>
                  <a:pt x="5313" y="2339"/>
                  <a:pt x="5313" y="2339"/>
                </a:cubicBezTo>
                <a:cubicBezTo>
                  <a:pt x="5313" y="2291"/>
                  <a:pt x="5266" y="2259"/>
                  <a:pt x="5234" y="2259"/>
                </a:cubicBezTo>
                <a:close/>
                <a:moveTo>
                  <a:pt x="1718" y="159"/>
                </a:moveTo>
                <a:cubicBezTo>
                  <a:pt x="3675" y="159"/>
                  <a:pt x="3675" y="159"/>
                  <a:pt x="3675" y="159"/>
                </a:cubicBezTo>
                <a:cubicBezTo>
                  <a:pt x="3675" y="971"/>
                  <a:pt x="3675" y="971"/>
                  <a:pt x="3675" y="971"/>
                </a:cubicBezTo>
                <a:cubicBezTo>
                  <a:pt x="1718" y="971"/>
                  <a:pt x="1718" y="971"/>
                  <a:pt x="1718" y="971"/>
                </a:cubicBezTo>
                <a:close/>
                <a:moveTo>
                  <a:pt x="1352" y="3230"/>
                </a:moveTo>
                <a:cubicBezTo>
                  <a:pt x="159" y="3230"/>
                  <a:pt x="159" y="3230"/>
                  <a:pt x="159" y="3230"/>
                </a:cubicBezTo>
                <a:cubicBezTo>
                  <a:pt x="159" y="2418"/>
                  <a:pt x="159" y="2418"/>
                  <a:pt x="159" y="2418"/>
                </a:cubicBezTo>
                <a:cubicBezTo>
                  <a:pt x="1352" y="2418"/>
                  <a:pt x="1352" y="2418"/>
                  <a:pt x="1352" y="2418"/>
                </a:cubicBezTo>
                <a:close/>
                <a:moveTo>
                  <a:pt x="3261" y="3230"/>
                </a:moveTo>
                <a:cubicBezTo>
                  <a:pt x="2052" y="3230"/>
                  <a:pt x="2052" y="3230"/>
                  <a:pt x="2052" y="3230"/>
                </a:cubicBezTo>
                <a:cubicBezTo>
                  <a:pt x="2052" y="2418"/>
                  <a:pt x="2052" y="2418"/>
                  <a:pt x="2052" y="2418"/>
                </a:cubicBezTo>
                <a:cubicBezTo>
                  <a:pt x="3261" y="2418"/>
                  <a:pt x="3261" y="2418"/>
                  <a:pt x="3261" y="2418"/>
                </a:cubicBezTo>
                <a:close/>
                <a:moveTo>
                  <a:pt x="5155" y="3230"/>
                </a:moveTo>
                <a:cubicBezTo>
                  <a:pt x="3945" y="3230"/>
                  <a:pt x="3945" y="3230"/>
                  <a:pt x="3945" y="3230"/>
                </a:cubicBezTo>
                <a:cubicBezTo>
                  <a:pt x="3945" y="2418"/>
                  <a:pt x="3945" y="2418"/>
                  <a:pt x="3945" y="2418"/>
                </a:cubicBezTo>
                <a:cubicBezTo>
                  <a:pt x="5155" y="2418"/>
                  <a:pt x="5155" y="2418"/>
                  <a:pt x="5155" y="241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9" name="Freeform: Shape 14">
            <a:extLst>
              <a:ext uri="{FF2B5EF4-FFF2-40B4-BE49-F238E27FC236}">
                <a16:creationId xmlns:a16="http://schemas.microsoft.com/office/drawing/2014/main" id="{93D8BE6E-35B6-1F45-B619-9A10B36669A5}"/>
              </a:ext>
            </a:extLst>
          </p:cNvPr>
          <p:cNvSpPr/>
          <p:nvPr/>
        </p:nvSpPr>
        <p:spPr>
          <a:xfrm>
            <a:off x="17564741" y="6128072"/>
            <a:ext cx="1661039" cy="2015640"/>
          </a:xfrm>
          <a:custGeom>
            <a:avLst/>
            <a:gdLst/>
            <a:ahLst/>
            <a:cxnLst>
              <a:cxn ang="3cd4">
                <a:pos x="hc" y="t"/>
              </a:cxn>
              <a:cxn ang="cd2">
                <a:pos x="l" y="vc"/>
              </a:cxn>
              <a:cxn ang="cd4">
                <a:pos x="hc" y="b"/>
              </a:cxn>
              <a:cxn ang="0">
                <a:pos x="r" y="vc"/>
              </a:cxn>
            </a:cxnLst>
            <a:rect l="l" t="t" r="r" b="b"/>
            <a:pathLst>
              <a:path w="4615" h="5600">
                <a:moveTo>
                  <a:pt x="3278" y="732"/>
                </a:moveTo>
                <a:cubicBezTo>
                  <a:pt x="3310" y="1066"/>
                  <a:pt x="3596" y="1336"/>
                  <a:pt x="3946" y="1336"/>
                </a:cubicBezTo>
                <a:cubicBezTo>
                  <a:pt x="4312" y="1336"/>
                  <a:pt x="4615" y="1034"/>
                  <a:pt x="4615" y="668"/>
                </a:cubicBezTo>
                <a:cubicBezTo>
                  <a:pt x="4615" y="302"/>
                  <a:pt x="4312" y="0"/>
                  <a:pt x="3946" y="0"/>
                </a:cubicBezTo>
                <a:cubicBezTo>
                  <a:pt x="3612" y="0"/>
                  <a:pt x="3325" y="254"/>
                  <a:pt x="3278" y="572"/>
                </a:cubicBezTo>
                <a:cubicBezTo>
                  <a:pt x="2785" y="572"/>
                  <a:pt x="2785" y="572"/>
                  <a:pt x="2785" y="572"/>
                </a:cubicBezTo>
                <a:cubicBezTo>
                  <a:pt x="2737" y="572"/>
                  <a:pt x="2705" y="604"/>
                  <a:pt x="2705" y="652"/>
                </a:cubicBezTo>
                <a:cubicBezTo>
                  <a:pt x="2705" y="2688"/>
                  <a:pt x="2705" y="2688"/>
                  <a:pt x="2705" y="2688"/>
                </a:cubicBezTo>
                <a:cubicBezTo>
                  <a:pt x="2148" y="2688"/>
                  <a:pt x="2148" y="2688"/>
                  <a:pt x="2148" y="2688"/>
                </a:cubicBezTo>
                <a:cubicBezTo>
                  <a:pt x="2148" y="1463"/>
                  <a:pt x="2148" y="1463"/>
                  <a:pt x="2148" y="1463"/>
                </a:cubicBezTo>
                <a:cubicBezTo>
                  <a:pt x="2148" y="1241"/>
                  <a:pt x="1989" y="970"/>
                  <a:pt x="1242" y="938"/>
                </a:cubicBezTo>
                <a:cubicBezTo>
                  <a:pt x="1433" y="859"/>
                  <a:pt x="1560" y="684"/>
                  <a:pt x="1560" y="477"/>
                </a:cubicBezTo>
                <a:cubicBezTo>
                  <a:pt x="1560" y="206"/>
                  <a:pt x="1337" y="0"/>
                  <a:pt x="1082" y="0"/>
                </a:cubicBezTo>
                <a:cubicBezTo>
                  <a:pt x="812" y="0"/>
                  <a:pt x="589" y="206"/>
                  <a:pt x="589" y="477"/>
                </a:cubicBezTo>
                <a:cubicBezTo>
                  <a:pt x="589" y="684"/>
                  <a:pt x="716" y="859"/>
                  <a:pt x="907" y="938"/>
                </a:cubicBezTo>
                <a:cubicBezTo>
                  <a:pt x="319" y="970"/>
                  <a:pt x="0" y="1145"/>
                  <a:pt x="0" y="1463"/>
                </a:cubicBezTo>
                <a:cubicBezTo>
                  <a:pt x="0" y="3070"/>
                  <a:pt x="0" y="3070"/>
                  <a:pt x="0" y="3070"/>
                </a:cubicBezTo>
                <a:cubicBezTo>
                  <a:pt x="0" y="3214"/>
                  <a:pt x="112" y="3309"/>
                  <a:pt x="271" y="3309"/>
                </a:cubicBezTo>
                <a:lnTo>
                  <a:pt x="287" y="3309"/>
                </a:lnTo>
                <a:cubicBezTo>
                  <a:pt x="351" y="3309"/>
                  <a:pt x="430" y="3293"/>
                  <a:pt x="478" y="3245"/>
                </a:cubicBezTo>
                <a:cubicBezTo>
                  <a:pt x="494" y="3786"/>
                  <a:pt x="494" y="4470"/>
                  <a:pt x="509" y="5282"/>
                </a:cubicBezTo>
                <a:cubicBezTo>
                  <a:pt x="509" y="5441"/>
                  <a:pt x="653" y="5600"/>
                  <a:pt x="812" y="5600"/>
                </a:cubicBezTo>
                <a:cubicBezTo>
                  <a:pt x="939" y="5600"/>
                  <a:pt x="1051" y="5505"/>
                  <a:pt x="1082" y="5393"/>
                </a:cubicBezTo>
                <a:cubicBezTo>
                  <a:pt x="1130" y="5505"/>
                  <a:pt x="1242" y="5600"/>
                  <a:pt x="1369" y="5600"/>
                </a:cubicBezTo>
                <a:cubicBezTo>
                  <a:pt x="1512" y="5600"/>
                  <a:pt x="1655" y="5441"/>
                  <a:pt x="1655" y="5282"/>
                </a:cubicBezTo>
                <a:cubicBezTo>
                  <a:pt x="1671" y="4470"/>
                  <a:pt x="1687" y="3786"/>
                  <a:pt x="1687" y="3245"/>
                </a:cubicBezTo>
                <a:cubicBezTo>
                  <a:pt x="1734" y="3293"/>
                  <a:pt x="1814" y="3309"/>
                  <a:pt x="1878" y="3309"/>
                </a:cubicBezTo>
                <a:cubicBezTo>
                  <a:pt x="2037" y="3309"/>
                  <a:pt x="2148" y="3214"/>
                  <a:pt x="2148" y="3070"/>
                </a:cubicBezTo>
                <a:cubicBezTo>
                  <a:pt x="2148" y="2848"/>
                  <a:pt x="2148" y="2848"/>
                  <a:pt x="2148" y="2848"/>
                </a:cubicBezTo>
                <a:cubicBezTo>
                  <a:pt x="2705" y="2848"/>
                  <a:pt x="2705" y="2848"/>
                  <a:pt x="2705" y="2848"/>
                </a:cubicBezTo>
                <a:cubicBezTo>
                  <a:pt x="2705" y="4900"/>
                  <a:pt x="2705" y="4900"/>
                  <a:pt x="2705" y="4900"/>
                </a:cubicBezTo>
                <a:cubicBezTo>
                  <a:pt x="2705" y="4948"/>
                  <a:pt x="2737" y="4979"/>
                  <a:pt x="2785" y="4979"/>
                </a:cubicBezTo>
                <a:cubicBezTo>
                  <a:pt x="3278" y="4979"/>
                  <a:pt x="3278" y="4979"/>
                  <a:pt x="3278" y="4979"/>
                </a:cubicBezTo>
                <a:cubicBezTo>
                  <a:pt x="3310" y="5330"/>
                  <a:pt x="3596" y="5600"/>
                  <a:pt x="3946" y="5600"/>
                </a:cubicBezTo>
                <a:cubicBezTo>
                  <a:pt x="4312" y="5600"/>
                  <a:pt x="4615" y="5298"/>
                  <a:pt x="4615" y="4916"/>
                </a:cubicBezTo>
                <a:cubicBezTo>
                  <a:pt x="4615" y="4550"/>
                  <a:pt x="4312" y="4248"/>
                  <a:pt x="3946" y="4248"/>
                </a:cubicBezTo>
                <a:cubicBezTo>
                  <a:pt x="3612" y="4248"/>
                  <a:pt x="3325" y="4502"/>
                  <a:pt x="3278" y="4821"/>
                </a:cubicBezTo>
                <a:cubicBezTo>
                  <a:pt x="2864" y="4821"/>
                  <a:pt x="2864" y="4821"/>
                  <a:pt x="2864" y="4821"/>
                </a:cubicBezTo>
                <a:cubicBezTo>
                  <a:pt x="2864" y="2848"/>
                  <a:pt x="2864" y="2848"/>
                  <a:pt x="2864" y="2848"/>
                </a:cubicBezTo>
                <a:cubicBezTo>
                  <a:pt x="3278" y="2848"/>
                  <a:pt x="3278" y="2848"/>
                  <a:pt x="3278" y="2848"/>
                </a:cubicBezTo>
                <a:cubicBezTo>
                  <a:pt x="3310" y="3197"/>
                  <a:pt x="3596" y="3468"/>
                  <a:pt x="3946" y="3468"/>
                </a:cubicBezTo>
                <a:cubicBezTo>
                  <a:pt x="4312" y="3468"/>
                  <a:pt x="4615" y="3166"/>
                  <a:pt x="4615" y="2800"/>
                </a:cubicBezTo>
                <a:cubicBezTo>
                  <a:pt x="4615" y="2418"/>
                  <a:pt x="4312" y="2116"/>
                  <a:pt x="3946" y="2116"/>
                </a:cubicBezTo>
                <a:cubicBezTo>
                  <a:pt x="3612" y="2116"/>
                  <a:pt x="3325" y="2370"/>
                  <a:pt x="3278" y="2688"/>
                </a:cubicBezTo>
                <a:cubicBezTo>
                  <a:pt x="2864" y="2688"/>
                  <a:pt x="2864" y="2688"/>
                  <a:pt x="2864" y="2688"/>
                </a:cubicBezTo>
                <a:cubicBezTo>
                  <a:pt x="2864" y="732"/>
                  <a:pt x="2864" y="732"/>
                  <a:pt x="2864" y="732"/>
                </a:cubicBezTo>
                <a:close/>
                <a:moveTo>
                  <a:pt x="3946" y="159"/>
                </a:moveTo>
                <a:cubicBezTo>
                  <a:pt x="4233" y="159"/>
                  <a:pt x="4455" y="381"/>
                  <a:pt x="4455" y="668"/>
                </a:cubicBezTo>
                <a:cubicBezTo>
                  <a:pt x="4455" y="954"/>
                  <a:pt x="4233" y="1177"/>
                  <a:pt x="3946" y="1177"/>
                </a:cubicBezTo>
                <a:cubicBezTo>
                  <a:pt x="3660" y="1177"/>
                  <a:pt x="3437" y="954"/>
                  <a:pt x="3437" y="668"/>
                </a:cubicBezTo>
                <a:cubicBezTo>
                  <a:pt x="3437" y="381"/>
                  <a:pt x="3660" y="159"/>
                  <a:pt x="3946" y="159"/>
                </a:cubicBezTo>
                <a:close/>
                <a:moveTo>
                  <a:pt x="748" y="477"/>
                </a:moveTo>
                <a:cubicBezTo>
                  <a:pt x="748" y="302"/>
                  <a:pt x="891" y="159"/>
                  <a:pt x="1082" y="159"/>
                </a:cubicBezTo>
                <a:cubicBezTo>
                  <a:pt x="1257" y="159"/>
                  <a:pt x="1400" y="302"/>
                  <a:pt x="1400" y="477"/>
                </a:cubicBezTo>
                <a:cubicBezTo>
                  <a:pt x="1400" y="668"/>
                  <a:pt x="1257" y="811"/>
                  <a:pt x="1082" y="811"/>
                </a:cubicBezTo>
                <a:cubicBezTo>
                  <a:pt x="891" y="811"/>
                  <a:pt x="748" y="668"/>
                  <a:pt x="748" y="477"/>
                </a:cubicBezTo>
                <a:close/>
                <a:moveTo>
                  <a:pt x="1878" y="3150"/>
                </a:moveTo>
                <a:cubicBezTo>
                  <a:pt x="1878" y="3150"/>
                  <a:pt x="1766" y="3150"/>
                  <a:pt x="1766" y="3070"/>
                </a:cubicBezTo>
                <a:cubicBezTo>
                  <a:pt x="1766" y="3023"/>
                  <a:pt x="1766" y="3023"/>
                  <a:pt x="1766" y="3023"/>
                </a:cubicBezTo>
                <a:cubicBezTo>
                  <a:pt x="1766" y="2784"/>
                  <a:pt x="1751" y="1925"/>
                  <a:pt x="1751" y="1782"/>
                </a:cubicBezTo>
                <a:cubicBezTo>
                  <a:pt x="1751" y="1575"/>
                  <a:pt x="1528" y="1575"/>
                  <a:pt x="1528" y="1782"/>
                </a:cubicBezTo>
                <a:cubicBezTo>
                  <a:pt x="1528" y="1814"/>
                  <a:pt x="1528" y="1814"/>
                  <a:pt x="1528" y="1814"/>
                </a:cubicBezTo>
                <a:cubicBezTo>
                  <a:pt x="1544" y="2100"/>
                  <a:pt x="1528" y="3261"/>
                  <a:pt x="1496" y="5282"/>
                </a:cubicBezTo>
                <a:cubicBezTo>
                  <a:pt x="1496" y="5361"/>
                  <a:pt x="1433" y="5441"/>
                  <a:pt x="1369" y="5441"/>
                </a:cubicBezTo>
                <a:cubicBezTo>
                  <a:pt x="1289" y="5441"/>
                  <a:pt x="1225" y="5377"/>
                  <a:pt x="1225" y="5314"/>
                </a:cubicBezTo>
                <a:cubicBezTo>
                  <a:pt x="1225" y="5314"/>
                  <a:pt x="1210" y="3373"/>
                  <a:pt x="1210" y="3293"/>
                </a:cubicBezTo>
                <a:cubicBezTo>
                  <a:pt x="1194" y="3230"/>
                  <a:pt x="1146" y="3182"/>
                  <a:pt x="1066" y="3182"/>
                </a:cubicBezTo>
                <a:cubicBezTo>
                  <a:pt x="1019" y="3182"/>
                  <a:pt x="971" y="3230"/>
                  <a:pt x="971" y="3293"/>
                </a:cubicBezTo>
                <a:cubicBezTo>
                  <a:pt x="971" y="3373"/>
                  <a:pt x="939" y="5314"/>
                  <a:pt x="939" y="5314"/>
                </a:cubicBezTo>
                <a:cubicBezTo>
                  <a:pt x="939" y="5377"/>
                  <a:pt x="876" y="5441"/>
                  <a:pt x="812" y="5441"/>
                </a:cubicBezTo>
                <a:cubicBezTo>
                  <a:pt x="732" y="5441"/>
                  <a:pt x="669" y="5361"/>
                  <a:pt x="669" y="5282"/>
                </a:cubicBezTo>
                <a:cubicBezTo>
                  <a:pt x="637" y="3261"/>
                  <a:pt x="621" y="2100"/>
                  <a:pt x="637" y="1814"/>
                </a:cubicBezTo>
                <a:cubicBezTo>
                  <a:pt x="637" y="1782"/>
                  <a:pt x="637" y="1782"/>
                  <a:pt x="637" y="1782"/>
                </a:cubicBezTo>
                <a:cubicBezTo>
                  <a:pt x="637" y="1575"/>
                  <a:pt x="414" y="1575"/>
                  <a:pt x="414" y="1782"/>
                </a:cubicBezTo>
                <a:cubicBezTo>
                  <a:pt x="414" y="1941"/>
                  <a:pt x="398" y="3054"/>
                  <a:pt x="398" y="3070"/>
                </a:cubicBezTo>
                <a:cubicBezTo>
                  <a:pt x="398" y="3134"/>
                  <a:pt x="319" y="3150"/>
                  <a:pt x="287" y="3150"/>
                </a:cubicBezTo>
                <a:cubicBezTo>
                  <a:pt x="271" y="3150"/>
                  <a:pt x="160" y="3166"/>
                  <a:pt x="160" y="3070"/>
                </a:cubicBezTo>
                <a:cubicBezTo>
                  <a:pt x="160" y="1463"/>
                  <a:pt x="160" y="1463"/>
                  <a:pt x="160" y="1463"/>
                </a:cubicBezTo>
                <a:cubicBezTo>
                  <a:pt x="160" y="1129"/>
                  <a:pt x="796" y="1082"/>
                  <a:pt x="1098" y="1082"/>
                </a:cubicBezTo>
                <a:cubicBezTo>
                  <a:pt x="1433" y="1082"/>
                  <a:pt x="1989" y="1145"/>
                  <a:pt x="1989" y="1463"/>
                </a:cubicBezTo>
                <a:cubicBezTo>
                  <a:pt x="1989" y="3070"/>
                  <a:pt x="1989" y="3070"/>
                  <a:pt x="1989" y="3070"/>
                </a:cubicBezTo>
                <a:cubicBezTo>
                  <a:pt x="1989" y="3150"/>
                  <a:pt x="1878" y="3150"/>
                  <a:pt x="1878" y="3150"/>
                </a:cubicBezTo>
                <a:close/>
                <a:moveTo>
                  <a:pt x="3946" y="4407"/>
                </a:moveTo>
                <a:cubicBezTo>
                  <a:pt x="4233" y="4407"/>
                  <a:pt x="4455" y="4645"/>
                  <a:pt x="4455" y="4916"/>
                </a:cubicBezTo>
                <a:cubicBezTo>
                  <a:pt x="4455" y="5202"/>
                  <a:pt x="4233" y="5441"/>
                  <a:pt x="3946" y="5441"/>
                </a:cubicBezTo>
                <a:cubicBezTo>
                  <a:pt x="3660" y="5441"/>
                  <a:pt x="3437" y="5202"/>
                  <a:pt x="3437" y="4916"/>
                </a:cubicBezTo>
                <a:cubicBezTo>
                  <a:pt x="3437" y="4645"/>
                  <a:pt x="3660" y="4407"/>
                  <a:pt x="3946" y="4407"/>
                </a:cubicBezTo>
                <a:close/>
                <a:moveTo>
                  <a:pt x="3946" y="2275"/>
                </a:moveTo>
                <a:cubicBezTo>
                  <a:pt x="4233" y="2275"/>
                  <a:pt x="4455" y="2514"/>
                  <a:pt x="4455" y="2800"/>
                </a:cubicBezTo>
                <a:cubicBezTo>
                  <a:pt x="4455" y="3086"/>
                  <a:pt x="4233" y="3309"/>
                  <a:pt x="3946" y="3309"/>
                </a:cubicBezTo>
                <a:cubicBezTo>
                  <a:pt x="3660" y="3309"/>
                  <a:pt x="3437" y="3086"/>
                  <a:pt x="3437" y="2800"/>
                </a:cubicBezTo>
                <a:cubicBezTo>
                  <a:pt x="3437" y="2514"/>
                  <a:pt x="3660" y="2275"/>
                  <a:pt x="3946" y="227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Freeform: Shape 15">
            <a:extLst>
              <a:ext uri="{FF2B5EF4-FFF2-40B4-BE49-F238E27FC236}">
                <a16:creationId xmlns:a16="http://schemas.microsoft.com/office/drawing/2014/main" id="{3640D698-4576-C94E-BE15-BF0FFDF61B92}"/>
              </a:ext>
            </a:extLst>
          </p:cNvPr>
          <p:cNvSpPr/>
          <p:nvPr/>
        </p:nvSpPr>
        <p:spPr>
          <a:xfrm>
            <a:off x="21277448" y="6472636"/>
            <a:ext cx="1551599" cy="1798200"/>
          </a:xfrm>
          <a:custGeom>
            <a:avLst/>
            <a:gdLst/>
            <a:ahLst/>
            <a:cxnLst>
              <a:cxn ang="3cd4">
                <a:pos x="hc" y="t"/>
              </a:cxn>
              <a:cxn ang="cd2">
                <a:pos x="l" y="vc"/>
              </a:cxn>
              <a:cxn ang="cd4">
                <a:pos x="hc" y="b"/>
              </a:cxn>
              <a:cxn ang="0">
                <a:pos x="r" y="vc"/>
              </a:cxn>
            </a:cxnLst>
            <a:rect l="l" t="t" r="r" b="b"/>
            <a:pathLst>
              <a:path w="4311" h="4996">
                <a:moveTo>
                  <a:pt x="2514" y="366"/>
                </a:moveTo>
                <a:cubicBezTo>
                  <a:pt x="2514" y="159"/>
                  <a:pt x="2354" y="0"/>
                  <a:pt x="2148" y="0"/>
                </a:cubicBezTo>
                <a:cubicBezTo>
                  <a:pt x="1957" y="0"/>
                  <a:pt x="1798" y="159"/>
                  <a:pt x="1798" y="366"/>
                </a:cubicBezTo>
                <a:cubicBezTo>
                  <a:pt x="1798" y="557"/>
                  <a:pt x="1957" y="716"/>
                  <a:pt x="2148" y="716"/>
                </a:cubicBezTo>
                <a:cubicBezTo>
                  <a:pt x="2354" y="716"/>
                  <a:pt x="2514" y="557"/>
                  <a:pt x="2514" y="366"/>
                </a:cubicBezTo>
                <a:close/>
                <a:moveTo>
                  <a:pt x="1957" y="366"/>
                </a:moveTo>
                <a:cubicBezTo>
                  <a:pt x="1957" y="239"/>
                  <a:pt x="2036" y="159"/>
                  <a:pt x="2148" y="159"/>
                </a:cubicBezTo>
                <a:cubicBezTo>
                  <a:pt x="2259" y="159"/>
                  <a:pt x="2354" y="239"/>
                  <a:pt x="2354" y="366"/>
                </a:cubicBezTo>
                <a:cubicBezTo>
                  <a:pt x="2354" y="477"/>
                  <a:pt x="2259" y="557"/>
                  <a:pt x="2148" y="557"/>
                </a:cubicBezTo>
                <a:cubicBezTo>
                  <a:pt x="2036" y="557"/>
                  <a:pt x="1957" y="477"/>
                  <a:pt x="1957" y="366"/>
                </a:cubicBezTo>
                <a:close/>
                <a:moveTo>
                  <a:pt x="1527" y="1257"/>
                </a:moveTo>
                <a:lnTo>
                  <a:pt x="1527" y="1416"/>
                </a:lnTo>
                <a:cubicBezTo>
                  <a:pt x="1527" y="1464"/>
                  <a:pt x="1559" y="1496"/>
                  <a:pt x="1607" y="1496"/>
                </a:cubicBezTo>
                <a:lnTo>
                  <a:pt x="2705" y="1496"/>
                </a:lnTo>
                <a:cubicBezTo>
                  <a:pt x="2752" y="1496"/>
                  <a:pt x="2784" y="1464"/>
                  <a:pt x="2784" y="1416"/>
                </a:cubicBezTo>
                <a:lnTo>
                  <a:pt x="2784" y="1257"/>
                </a:lnTo>
                <a:cubicBezTo>
                  <a:pt x="2784" y="971"/>
                  <a:pt x="2561" y="748"/>
                  <a:pt x="2275" y="748"/>
                </a:cubicBezTo>
                <a:lnTo>
                  <a:pt x="2036" y="748"/>
                </a:lnTo>
                <a:cubicBezTo>
                  <a:pt x="1750" y="748"/>
                  <a:pt x="1527" y="971"/>
                  <a:pt x="1527" y="1257"/>
                </a:cubicBezTo>
                <a:close/>
                <a:moveTo>
                  <a:pt x="1686" y="1257"/>
                </a:moveTo>
                <a:cubicBezTo>
                  <a:pt x="1686" y="1066"/>
                  <a:pt x="1845" y="907"/>
                  <a:pt x="2036" y="907"/>
                </a:cubicBezTo>
                <a:lnTo>
                  <a:pt x="2275" y="907"/>
                </a:lnTo>
                <a:cubicBezTo>
                  <a:pt x="2466" y="907"/>
                  <a:pt x="2625" y="1066"/>
                  <a:pt x="2625" y="1257"/>
                </a:cubicBezTo>
                <a:lnTo>
                  <a:pt x="2625" y="1337"/>
                </a:lnTo>
                <a:lnTo>
                  <a:pt x="1686" y="1337"/>
                </a:lnTo>
                <a:close/>
                <a:moveTo>
                  <a:pt x="2514" y="3850"/>
                </a:moveTo>
                <a:cubicBezTo>
                  <a:pt x="2514" y="3659"/>
                  <a:pt x="2354" y="3484"/>
                  <a:pt x="2148" y="3484"/>
                </a:cubicBezTo>
                <a:cubicBezTo>
                  <a:pt x="1957" y="3484"/>
                  <a:pt x="1782" y="3659"/>
                  <a:pt x="1782" y="3850"/>
                </a:cubicBezTo>
                <a:cubicBezTo>
                  <a:pt x="1782" y="4057"/>
                  <a:pt x="1957" y="4216"/>
                  <a:pt x="2148" y="4216"/>
                </a:cubicBezTo>
                <a:cubicBezTo>
                  <a:pt x="2354" y="4216"/>
                  <a:pt x="2514" y="4057"/>
                  <a:pt x="2514" y="3850"/>
                </a:cubicBezTo>
                <a:close/>
                <a:moveTo>
                  <a:pt x="1941" y="3850"/>
                </a:moveTo>
                <a:cubicBezTo>
                  <a:pt x="1941" y="3739"/>
                  <a:pt x="2036" y="3644"/>
                  <a:pt x="2148" y="3644"/>
                </a:cubicBezTo>
                <a:cubicBezTo>
                  <a:pt x="2259" y="3644"/>
                  <a:pt x="2354" y="3739"/>
                  <a:pt x="2354" y="3850"/>
                </a:cubicBezTo>
                <a:cubicBezTo>
                  <a:pt x="2354" y="3962"/>
                  <a:pt x="2259" y="4057"/>
                  <a:pt x="2148" y="4057"/>
                </a:cubicBezTo>
                <a:cubicBezTo>
                  <a:pt x="2036" y="4057"/>
                  <a:pt x="1941" y="3962"/>
                  <a:pt x="1941" y="3850"/>
                </a:cubicBezTo>
                <a:close/>
                <a:moveTo>
                  <a:pt x="1527" y="4741"/>
                </a:moveTo>
                <a:lnTo>
                  <a:pt x="1527" y="4917"/>
                </a:lnTo>
                <a:cubicBezTo>
                  <a:pt x="1527" y="4948"/>
                  <a:pt x="1559" y="4996"/>
                  <a:pt x="1607" y="4996"/>
                </a:cubicBezTo>
                <a:lnTo>
                  <a:pt x="2705" y="4996"/>
                </a:lnTo>
                <a:cubicBezTo>
                  <a:pt x="2752" y="4996"/>
                  <a:pt x="2784" y="4948"/>
                  <a:pt x="2784" y="4917"/>
                </a:cubicBezTo>
                <a:lnTo>
                  <a:pt x="2784" y="4741"/>
                </a:lnTo>
                <a:cubicBezTo>
                  <a:pt x="2784" y="4471"/>
                  <a:pt x="2545" y="4248"/>
                  <a:pt x="2275" y="4248"/>
                </a:cubicBezTo>
                <a:lnTo>
                  <a:pt x="2020" y="4248"/>
                </a:lnTo>
                <a:cubicBezTo>
                  <a:pt x="1750" y="4248"/>
                  <a:pt x="1527" y="4471"/>
                  <a:pt x="1527" y="4741"/>
                </a:cubicBezTo>
                <a:close/>
                <a:moveTo>
                  <a:pt x="1686" y="4741"/>
                </a:moveTo>
                <a:cubicBezTo>
                  <a:pt x="1686" y="4550"/>
                  <a:pt x="1829" y="4407"/>
                  <a:pt x="2020" y="4407"/>
                </a:cubicBezTo>
                <a:lnTo>
                  <a:pt x="2275" y="4407"/>
                </a:lnTo>
                <a:cubicBezTo>
                  <a:pt x="2466" y="4407"/>
                  <a:pt x="2625" y="4550"/>
                  <a:pt x="2625" y="4741"/>
                </a:cubicBezTo>
                <a:lnTo>
                  <a:pt x="2625" y="4837"/>
                </a:lnTo>
                <a:lnTo>
                  <a:pt x="1686" y="4837"/>
                </a:lnTo>
                <a:close/>
                <a:moveTo>
                  <a:pt x="254" y="3850"/>
                </a:moveTo>
                <a:cubicBezTo>
                  <a:pt x="254" y="4057"/>
                  <a:pt x="429" y="4216"/>
                  <a:pt x="620" y="4216"/>
                </a:cubicBezTo>
                <a:cubicBezTo>
                  <a:pt x="827" y="4216"/>
                  <a:pt x="986" y="4057"/>
                  <a:pt x="986" y="3850"/>
                </a:cubicBezTo>
                <a:cubicBezTo>
                  <a:pt x="986" y="3659"/>
                  <a:pt x="827" y="3484"/>
                  <a:pt x="620" y="3484"/>
                </a:cubicBezTo>
                <a:cubicBezTo>
                  <a:pt x="429" y="3484"/>
                  <a:pt x="254" y="3659"/>
                  <a:pt x="254" y="3850"/>
                </a:cubicBezTo>
                <a:close/>
                <a:moveTo>
                  <a:pt x="827" y="3850"/>
                </a:moveTo>
                <a:cubicBezTo>
                  <a:pt x="827" y="3962"/>
                  <a:pt x="732" y="4057"/>
                  <a:pt x="620" y="4057"/>
                </a:cubicBezTo>
                <a:cubicBezTo>
                  <a:pt x="509" y="4057"/>
                  <a:pt x="414" y="3962"/>
                  <a:pt x="414" y="3850"/>
                </a:cubicBezTo>
                <a:cubicBezTo>
                  <a:pt x="414" y="3739"/>
                  <a:pt x="509" y="3644"/>
                  <a:pt x="620" y="3644"/>
                </a:cubicBezTo>
                <a:cubicBezTo>
                  <a:pt x="732" y="3644"/>
                  <a:pt x="827" y="3739"/>
                  <a:pt x="827" y="3850"/>
                </a:cubicBezTo>
                <a:close/>
                <a:moveTo>
                  <a:pt x="0" y="4741"/>
                </a:moveTo>
                <a:lnTo>
                  <a:pt x="0" y="4917"/>
                </a:lnTo>
                <a:cubicBezTo>
                  <a:pt x="0" y="4948"/>
                  <a:pt x="32" y="4996"/>
                  <a:pt x="79" y="4996"/>
                </a:cubicBezTo>
                <a:lnTo>
                  <a:pt x="1177" y="4996"/>
                </a:lnTo>
                <a:cubicBezTo>
                  <a:pt x="1225" y="4996"/>
                  <a:pt x="1257" y="4948"/>
                  <a:pt x="1257" y="4917"/>
                </a:cubicBezTo>
                <a:lnTo>
                  <a:pt x="1257" y="4741"/>
                </a:lnTo>
                <a:cubicBezTo>
                  <a:pt x="1257" y="4471"/>
                  <a:pt x="1034" y="4248"/>
                  <a:pt x="748" y="4248"/>
                </a:cubicBezTo>
                <a:lnTo>
                  <a:pt x="509" y="4248"/>
                </a:lnTo>
                <a:cubicBezTo>
                  <a:pt x="223" y="4248"/>
                  <a:pt x="0" y="4471"/>
                  <a:pt x="0" y="4741"/>
                </a:cubicBezTo>
                <a:close/>
                <a:moveTo>
                  <a:pt x="159" y="4741"/>
                </a:moveTo>
                <a:cubicBezTo>
                  <a:pt x="159" y="4550"/>
                  <a:pt x="302" y="4407"/>
                  <a:pt x="509" y="4407"/>
                </a:cubicBezTo>
                <a:lnTo>
                  <a:pt x="748" y="4407"/>
                </a:lnTo>
                <a:cubicBezTo>
                  <a:pt x="938" y="4407"/>
                  <a:pt x="1098" y="4550"/>
                  <a:pt x="1098" y="4741"/>
                </a:cubicBezTo>
                <a:lnTo>
                  <a:pt x="1098" y="4837"/>
                </a:lnTo>
                <a:lnTo>
                  <a:pt x="159" y="4837"/>
                </a:lnTo>
                <a:close/>
                <a:moveTo>
                  <a:pt x="3675" y="3484"/>
                </a:moveTo>
                <a:cubicBezTo>
                  <a:pt x="3484" y="3484"/>
                  <a:pt x="3309" y="3659"/>
                  <a:pt x="3309" y="3850"/>
                </a:cubicBezTo>
                <a:cubicBezTo>
                  <a:pt x="3309" y="4057"/>
                  <a:pt x="3484" y="4216"/>
                  <a:pt x="3675" y="4216"/>
                </a:cubicBezTo>
                <a:cubicBezTo>
                  <a:pt x="3882" y="4216"/>
                  <a:pt x="4041" y="4057"/>
                  <a:pt x="4041" y="3850"/>
                </a:cubicBezTo>
                <a:cubicBezTo>
                  <a:pt x="4041" y="3659"/>
                  <a:pt x="3882" y="3484"/>
                  <a:pt x="3675" y="3484"/>
                </a:cubicBezTo>
                <a:close/>
                <a:moveTo>
                  <a:pt x="3675" y="4057"/>
                </a:moveTo>
                <a:cubicBezTo>
                  <a:pt x="3563" y="4057"/>
                  <a:pt x="3468" y="3962"/>
                  <a:pt x="3468" y="3850"/>
                </a:cubicBezTo>
                <a:cubicBezTo>
                  <a:pt x="3468" y="3739"/>
                  <a:pt x="3563" y="3644"/>
                  <a:pt x="3675" y="3644"/>
                </a:cubicBezTo>
                <a:cubicBezTo>
                  <a:pt x="3786" y="3644"/>
                  <a:pt x="3882" y="3739"/>
                  <a:pt x="3882" y="3850"/>
                </a:cubicBezTo>
                <a:cubicBezTo>
                  <a:pt x="3882" y="3962"/>
                  <a:pt x="3786" y="4057"/>
                  <a:pt x="3675" y="4057"/>
                </a:cubicBezTo>
                <a:close/>
                <a:moveTo>
                  <a:pt x="4311" y="4917"/>
                </a:moveTo>
                <a:lnTo>
                  <a:pt x="4311" y="4741"/>
                </a:lnTo>
                <a:cubicBezTo>
                  <a:pt x="4311" y="4471"/>
                  <a:pt x="4073" y="4248"/>
                  <a:pt x="3802" y="4248"/>
                </a:cubicBezTo>
                <a:lnTo>
                  <a:pt x="3548" y="4248"/>
                </a:lnTo>
                <a:cubicBezTo>
                  <a:pt x="3277" y="4248"/>
                  <a:pt x="3054" y="4471"/>
                  <a:pt x="3054" y="4741"/>
                </a:cubicBezTo>
                <a:lnTo>
                  <a:pt x="3054" y="4917"/>
                </a:lnTo>
                <a:cubicBezTo>
                  <a:pt x="3054" y="4948"/>
                  <a:pt x="3086" y="4996"/>
                  <a:pt x="3134" y="4996"/>
                </a:cubicBezTo>
                <a:lnTo>
                  <a:pt x="4232" y="4996"/>
                </a:lnTo>
                <a:cubicBezTo>
                  <a:pt x="4263" y="4996"/>
                  <a:pt x="4311" y="4948"/>
                  <a:pt x="4311" y="4917"/>
                </a:cubicBezTo>
                <a:close/>
                <a:moveTo>
                  <a:pt x="4153" y="4837"/>
                </a:moveTo>
                <a:lnTo>
                  <a:pt x="3214" y="4837"/>
                </a:lnTo>
                <a:lnTo>
                  <a:pt x="3214" y="4741"/>
                </a:lnTo>
                <a:cubicBezTo>
                  <a:pt x="3214" y="4550"/>
                  <a:pt x="3357" y="4407"/>
                  <a:pt x="3548" y="4407"/>
                </a:cubicBezTo>
                <a:lnTo>
                  <a:pt x="3802" y="4407"/>
                </a:lnTo>
                <a:cubicBezTo>
                  <a:pt x="3993" y="4407"/>
                  <a:pt x="4153" y="4550"/>
                  <a:pt x="4153" y="4741"/>
                </a:cubicBezTo>
                <a:close/>
                <a:moveTo>
                  <a:pt x="907" y="2101"/>
                </a:moveTo>
                <a:cubicBezTo>
                  <a:pt x="907" y="2291"/>
                  <a:pt x="1066" y="2466"/>
                  <a:pt x="1272" y="2466"/>
                </a:cubicBezTo>
                <a:cubicBezTo>
                  <a:pt x="1463" y="2466"/>
                  <a:pt x="1638" y="2291"/>
                  <a:pt x="1638" y="2101"/>
                </a:cubicBezTo>
                <a:cubicBezTo>
                  <a:pt x="1638" y="1893"/>
                  <a:pt x="1463" y="1735"/>
                  <a:pt x="1272" y="1735"/>
                </a:cubicBezTo>
                <a:cubicBezTo>
                  <a:pt x="1066" y="1735"/>
                  <a:pt x="907" y="1893"/>
                  <a:pt x="907" y="2101"/>
                </a:cubicBezTo>
                <a:close/>
                <a:moveTo>
                  <a:pt x="1480" y="2101"/>
                </a:moveTo>
                <a:cubicBezTo>
                  <a:pt x="1480" y="2212"/>
                  <a:pt x="1384" y="2307"/>
                  <a:pt x="1272" y="2307"/>
                </a:cubicBezTo>
                <a:cubicBezTo>
                  <a:pt x="1161" y="2307"/>
                  <a:pt x="1066" y="2212"/>
                  <a:pt x="1066" y="2101"/>
                </a:cubicBezTo>
                <a:cubicBezTo>
                  <a:pt x="1066" y="1989"/>
                  <a:pt x="1161" y="1893"/>
                  <a:pt x="1272" y="1893"/>
                </a:cubicBezTo>
                <a:cubicBezTo>
                  <a:pt x="1384" y="1893"/>
                  <a:pt x="1480" y="1989"/>
                  <a:pt x="1480" y="2101"/>
                </a:cubicBezTo>
                <a:close/>
                <a:moveTo>
                  <a:pt x="636" y="2992"/>
                </a:moveTo>
                <a:lnTo>
                  <a:pt x="636" y="3150"/>
                </a:lnTo>
                <a:cubicBezTo>
                  <a:pt x="636" y="3198"/>
                  <a:pt x="668" y="3230"/>
                  <a:pt x="716" y="3230"/>
                </a:cubicBezTo>
                <a:lnTo>
                  <a:pt x="1814" y="3230"/>
                </a:lnTo>
                <a:cubicBezTo>
                  <a:pt x="1861" y="3230"/>
                  <a:pt x="1893" y="3198"/>
                  <a:pt x="1893" y="3150"/>
                </a:cubicBezTo>
                <a:lnTo>
                  <a:pt x="1893" y="2992"/>
                </a:lnTo>
                <a:cubicBezTo>
                  <a:pt x="1893" y="2705"/>
                  <a:pt x="1671" y="2482"/>
                  <a:pt x="1384" y="2482"/>
                </a:cubicBezTo>
                <a:lnTo>
                  <a:pt x="1145" y="2482"/>
                </a:lnTo>
                <a:cubicBezTo>
                  <a:pt x="859" y="2482"/>
                  <a:pt x="636" y="2705"/>
                  <a:pt x="636" y="2992"/>
                </a:cubicBezTo>
                <a:close/>
                <a:moveTo>
                  <a:pt x="795" y="2992"/>
                </a:moveTo>
                <a:cubicBezTo>
                  <a:pt x="795" y="2801"/>
                  <a:pt x="954" y="2641"/>
                  <a:pt x="1145" y="2641"/>
                </a:cubicBezTo>
                <a:lnTo>
                  <a:pt x="1384" y="2641"/>
                </a:lnTo>
                <a:cubicBezTo>
                  <a:pt x="1591" y="2641"/>
                  <a:pt x="1734" y="2801"/>
                  <a:pt x="1734" y="2992"/>
                </a:cubicBezTo>
                <a:lnTo>
                  <a:pt x="1734" y="3071"/>
                </a:lnTo>
                <a:lnTo>
                  <a:pt x="795" y="3071"/>
                </a:lnTo>
                <a:close/>
                <a:moveTo>
                  <a:pt x="3039" y="1735"/>
                </a:moveTo>
                <a:cubicBezTo>
                  <a:pt x="2832" y="1735"/>
                  <a:pt x="2672" y="1893"/>
                  <a:pt x="2672" y="2101"/>
                </a:cubicBezTo>
                <a:cubicBezTo>
                  <a:pt x="2672" y="2291"/>
                  <a:pt x="2832" y="2466"/>
                  <a:pt x="3039" y="2466"/>
                </a:cubicBezTo>
                <a:cubicBezTo>
                  <a:pt x="3245" y="2466"/>
                  <a:pt x="3405" y="2291"/>
                  <a:pt x="3405" y="2101"/>
                </a:cubicBezTo>
                <a:cubicBezTo>
                  <a:pt x="3405" y="1893"/>
                  <a:pt x="3245" y="1735"/>
                  <a:pt x="3039" y="1735"/>
                </a:cubicBezTo>
                <a:close/>
                <a:moveTo>
                  <a:pt x="3039" y="2307"/>
                </a:moveTo>
                <a:cubicBezTo>
                  <a:pt x="2927" y="2307"/>
                  <a:pt x="2832" y="2212"/>
                  <a:pt x="2832" y="2101"/>
                </a:cubicBezTo>
                <a:cubicBezTo>
                  <a:pt x="2832" y="1989"/>
                  <a:pt x="2927" y="1893"/>
                  <a:pt x="3039" y="1893"/>
                </a:cubicBezTo>
                <a:cubicBezTo>
                  <a:pt x="3150" y="1893"/>
                  <a:pt x="3245" y="1989"/>
                  <a:pt x="3245" y="2101"/>
                </a:cubicBezTo>
                <a:cubicBezTo>
                  <a:pt x="3245" y="2212"/>
                  <a:pt x="3150" y="2307"/>
                  <a:pt x="3039" y="2307"/>
                </a:cubicBezTo>
                <a:close/>
                <a:moveTo>
                  <a:pt x="3659" y="3150"/>
                </a:moveTo>
                <a:lnTo>
                  <a:pt x="3659" y="2992"/>
                </a:lnTo>
                <a:cubicBezTo>
                  <a:pt x="3659" y="2705"/>
                  <a:pt x="3436" y="2482"/>
                  <a:pt x="3166" y="2482"/>
                </a:cubicBezTo>
                <a:lnTo>
                  <a:pt x="2911" y="2482"/>
                </a:lnTo>
                <a:cubicBezTo>
                  <a:pt x="2641" y="2482"/>
                  <a:pt x="2402" y="2705"/>
                  <a:pt x="2402" y="2992"/>
                </a:cubicBezTo>
                <a:lnTo>
                  <a:pt x="2402" y="3150"/>
                </a:lnTo>
                <a:cubicBezTo>
                  <a:pt x="2402" y="3198"/>
                  <a:pt x="2450" y="3230"/>
                  <a:pt x="2482" y="3230"/>
                </a:cubicBezTo>
                <a:lnTo>
                  <a:pt x="3580" y="3230"/>
                </a:lnTo>
                <a:cubicBezTo>
                  <a:pt x="3627" y="3230"/>
                  <a:pt x="3659" y="3198"/>
                  <a:pt x="3659" y="3150"/>
                </a:cubicBezTo>
                <a:close/>
                <a:moveTo>
                  <a:pt x="3500" y="3071"/>
                </a:moveTo>
                <a:lnTo>
                  <a:pt x="2561" y="3071"/>
                </a:lnTo>
                <a:lnTo>
                  <a:pt x="2561" y="2992"/>
                </a:lnTo>
                <a:cubicBezTo>
                  <a:pt x="2561" y="2801"/>
                  <a:pt x="2720" y="2641"/>
                  <a:pt x="2911" y="2641"/>
                </a:cubicBezTo>
                <a:lnTo>
                  <a:pt x="3166" y="2641"/>
                </a:lnTo>
                <a:cubicBezTo>
                  <a:pt x="3357" y="2641"/>
                  <a:pt x="3500" y="2801"/>
                  <a:pt x="3500" y="299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Freeform: Shape 16">
            <a:extLst>
              <a:ext uri="{FF2B5EF4-FFF2-40B4-BE49-F238E27FC236}">
                <a16:creationId xmlns:a16="http://schemas.microsoft.com/office/drawing/2014/main" id="{C0CA0D59-E71F-B942-83C3-6195377C87E2}"/>
              </a:ext>
            </a:extLst>
          </p:cNvPr>
          <p:cNvSpPr/>
          <p:nvPr/>
        </p:nvSpPr>
        <p:spPr>
          <a:xfrm>
            <a:off x="1597606" y="9832708"/>
            <a:ext cx="2147400" cy="1636560"/>
          </a:xfrm>
          <a:custGeom>
            <a:avLst/>
            <a:gdLst/>
            <a:ahLst/>
            <a:cxnLst>
              <a:cxn ang="3cd4">
                <a:pos x="hc" y="t"/>
              </a:cxn>
              <a:cxn ang="cd2">
                <a:pos x="l" y="vc"/>
              </a:cxn>
              <a:cxn ang="cd4">
                <a:pos x="hc" y="b"/>
              </a:cxn>
              <a:cxn ang="0">
                <a:pos x="r" y="vc"/>
              </a:cxn>
            </a:cxnLst>
            <a:rect l="l" t="t" r="r" b="b"/>
            <a:pathLst>
              <a:path w="5966" h="4547">
                <a:moveTo>
                  <a:pt x="5966" y="1699"/>
                </a:moveTo>
                <a:cubicBezTo>
                  <a:pt x="5966" y="1683"/>
                  <a:pt x="5966" y="1683"/>
                  <a:pt x="5966" y="1683"/>
                </a:cubicBezTo>
                <a:lnTo>
                  <a:pt x="5950" y="1683"/>
                </a:lnTo>
                <a:lnTo>
                  <a:pt x="5950" y="1667"/>
                </a:lnTo>
                <a:cubicBezTo>
                  <a:pt x="5934" y="1651"/>
                  <a:pt x="5903" y="1635"/>
                  <a:pt x="5870" y="1635"/>
                </a:cubicBezTo>
                <a:cubicBezTo>
                  <a:pt x="5330" y="1715"/>
                  <a:pt x="5330" y="1715"/>
                  <a:pt x="5330" y="1715"/>
                </a:cubicBezTo>
                <a:cubicBezTo>
                  <a:pt x="5282" y="1715"/>
                  <a:pt x="5266" y="1763"/>
                  <a:pt x="5266" y="1810"/>
                </a:cubicBezTo>
                <a:cubicBezTo>
                  <a:pt x="5266" y="1842"/>
                  <a:pt x="5314" y="1874"/>
                  <a:pt x="5361" y="1874"/>
                </a:cubicBezTo>
                <a:cubicBezTo>
                  <a:pt x="5664" y="1826"/>
                  <a:pt x="5664" y="1826"/>
                  <a:pt x="5664" y="1826"/>
                </a:cubicBezTo>
                <a:cubicBezTo>
                  <a:pt x="5425" y="2081"/>
                  <a:pt x="5425" y="2081"/>
                  <a:pt x="5425" y="2081"/>
                </a:cubicBezTo>
                <a:lnTo>
                  <a:pt x="5425" y="2065"/>
                </a:lnTo>
                <a:cubicBezTo>
                  <a:pt x="5425" y="2033"/>
                  <a:pt x="5393" y="1985"/>
                  <a:pt x="5346" y="1985"/>
                </a:cubicBezTo>
                <a:cubicBezTo>
                  <a:pt x="5091" y="1985"/>
                  <a:pt x="5091" y="1985"/>
                  <a:pt x="5091" y="1985"/>
                </a:cubicBezTo>
                <a:cubicBezTo>
                  <a:pt x="4964" y="1779"/>
                  <a:pt x="4964" y="1779"/>
                  <a:pt x="4964" y="1779"/>
                </a:cubicBezTo>
                <a:cubicBezTo>
                  <a:pt x="5091" y="1651"/>
                  <a:pt x="5187" y="1460"/>
                  <a:pt x="5203" y="1269"/>
                </a:cubicBezTo>
                <a:cubicBezTo>
                  <a:pt x="5266" y="1237"/>
                  <a:pt x="5314" y="1174"/>
                  <a:pt x="5314" y="1094"/>
                </a:cubicBezTo>
                <a:cubicBezTo>
                  <a:pt x="5314" y="872"/>
                  <a:pt x="5314" y="872"/>
                  <a:pt x="5314" y="872"/>
                </a:cubicBezTo>
                <a:cubicBezTo>
                  <a:pt x="5314" y="824"/>
                  <a:pt x="5314" y="776"/>
                  <a:pt x="5266" y="728"/>
                </a:cubicBezTo>
                <a:cubicBezTo>
                  <a:pt x="5250" y="712"/>
                  <a:pt x="5234" y="712"/>
                  <a:pt x="5218" y="697"/>
                </a:cubicBezTo>
                <a:cubicBezTo>
                  <a:pt x="5218" y="554"/>
                  <a:pt x="5218" y="554"/>
                  <a:pt x="5218" y="554"/>
                </a:cubicBezTo>
                <a:cubicBezTo>
                  <a:pt x="5218" y="188"/>
                  <a:pt x="4996" y="60"/>
                  <a:pt x="4869" y="28"/>
                </a:cubicBezTo>
                <a:cubicBezTo>
                  <a:pt x="4678" y="-35"/>
                  <a:pt x="4407" y="12"/>
                  <a:pt x="4296" y="140"/>
                </a:cubicBezTo>
                <a:cubicBezTo>
                  <a:pt x="4089" y="140"/>
                  <a:pt x="3930" y="315"/>
                  <a:pt x="3930" y="554"/>
                </a:cubicBezTo>
                <a:cubicBezTo>
                  <a:pt x="3930" y="697"/>
                  <a:pt x="3930" y="697"/>
                  <a:pt x="3930" y="697"/>
                </a:cubicBezTo>
                <a:cubicBezTo>
                  <a:pt x="3914" y="712"/>
                  <a:pt x="3898" y="712"/>
                  <a:pt x="3898" y="728"/>
                </a:cubicBezTo>
                <a:cubicBezTo>
                  <a:pt x="3866" y="745"/>
                  <a:pt x="3834" y="792"/>
                  <a:pt x="3834" y="872"/>
                </a:cubicBezTo>
                <a:cubicBezTo>
                  <a:pt x="3834" y="1094"/>
                  <a:pt x="3834" y="1094"/>
                  <a:pt x="3834" y="1094"/>
                </a:cubicBezTo>
                <a:cubicBezTo>
                  <a:pt x="3834" y="1174"/>
                  <a:pt x="3898" y="1237"/>
                  <a:pt x="3961" y="1269"/>
                </a:cubicBezTo>
                <a:cubicBezTo>
                  <a:pt x="3978" y="1476"/>
                  <a:pt x="4089" y="1683"/>
                  <a:pt x="4248" y="1810"/>
                </a:cubicBezTo>
                <a:cubicBezTo>
                  <a:pt x="4121" y="1985"/>
                  <a:pt x="4121" y="1985"/>
                  <a:pt x="4121" y="1985"/>
                </a:cubicBezTo>
                <a:cubicBezTo>
                  <a:pt x="3993" y="1985"/>
                  <a:pt x="3993" y="1985"/>
                  <a:pt x="3993" y="1985"/>
                </a:cubicBezTo>
                <a:cubicBezTo>
                  <a:pt x="3707" y="1985"/>
                  <a:pt x="3500" y="2113"/>
                  <a:pt x="3421" y="2336"/>
                </a:cubicBezTo>
                <a:cubicBezTo>
                  <a:pt x="3357" y="2192"/>
                  <a:pt x="3357" y="1954"/>
                  <a:pt x="3373" y="1683"/>
                </a:cubicBezTo>
                <a:cubicBezTo>
                  <a:pt x="3389" y="1285"/>
                  <a:pt x="3389" y="840"/>
                  <a:pt x="3134" y="569"/>
                </a:cubicBezTo>
                <a:cubicBezTo>
                  <a:pt x="2991" y="426"/>
                  <a:pt x="2784" y="363"/>
                  <a:pt x="2498" y="363"/>
                </a:cubicBezTo>
                <a:cubicBezTo>
                  <a:pt x="2291" y="363"/>
                  <a:pt x="2116" y="426"/>
                  <a:pt x="1988" y="554"/>
                </a:cubicBezTo>
                <a:cubicBezTo>
                  <a:pt x="1702" y="856"/>
                  <a:pt x="1734" y="1428"/>
                  <a:pt x="1766" y="1842"/>
                </a:cubicBezTo>
                <a:cubicBezTo>
                  <a:pt x="1782" y="2001"/>
                  <a:pt x="1798" y="2192"/>
                  <a:pt x="1766" y="2256"/>
                </a:cubicBezTo>
                <a:cubicBezTo>
                  <a:pt x="1702" y="2272"/>
                  <a:pt x="1654" y="2319"/>
                  <a:pt x="1607" y="2367"/>
                </a:cubicBezTo>
                <a:cubicBezTo>
                  <a:pt x="1543" y="2256"/>
                  <a:pt x="1400" y="2192"/>
                  <a:pt x="1225" y="2192"/>
                </a:cubicBezTo>
                <a:cubicBezTo>
                  <a:pt x="1161" y="2192"/>
                  <a:pt x="1161" y="2192"/>
                  <a:pt x="1161" y="2192"/>
                </a:cubicBezTo>
                <a:cubicBezTo>
                  <a:pt x="1082" y="2081"/>
                  <a:pt x="1082" y="2081"/>
                  <a:pt x="1082" y="2081"/>
                </a:cubicBezTo>
                <a:cubicBezTo>
                  <a:pt x="1177" y="2001"/>
                  <a:pt x="1225" y="1874"/>
                  <a:pt x="1241" y="1746"/>
                </a:cubicBezTo>
                <a:cubicBezTo>
                  <a:pt x="1288" y="1731"/>
                  <a:pt x="1320" y="1683"/>
                  <a:pt x="1320" y="1619"/>
                </a:cubicBezTo>
                <a:cubicBezTo>
                  <a:pt x="1320" y="1476"/>
                  <a:pt x="1320" y="1476"/>
                  <a:pt x="1320" y="1476"/>
                </a:cubicBezTo>
                <a:cubicBezTo>
                  <a:pt x="1320" y="1445"/>
                  <a:pt x="1320" y="1397"/>
                  <a:pt x="1273" y="1365"/>
                </a:cubicBezTo>
                <a:cubicBezTo>
                  <a:pt x="1273" y="1349"/>
                  <a:pt x="1273" y="1349"/>
                  <a:pt x="1257" y="1349"/>
                </a:cubicBezTo>
                <a:cubicBezTo>
                  <a:pt x="1257" y="1254"/>
                  <a:pt x="1257" y="1254"/>
                  <a:pt x="1257" y="1254"/>
                </a:cubicBezTo>
                <a:cubicBezTo>
                  <a:pt x="1257" y="1079"/>
                  <a:pt x="1161" y="935"/>
                  <a:pt x="1002" y="888"/>
                </a:cubicBezTo>
                <a:cubicBezTo>
                  <a:pt x="859" y="840"/>
                  <a:pt x="700" y="888"/>
                  <a:pt x="605" y="967"/>
                </a:cubicBezTo>
                <a:cubicBezTo>
                  <a:pt x="461" y="983"/>
                  <a:pt x="350" y="1094"/>
                  <a:pt x="350" y="1269"/>
                </a:cubicBezTo>
                <a:cubicBezTo>
                  <a:pt x="350" y="1349"/>
                  <a:pt x="350" y="1349"/>
                  <a:pt x="350" y="1349"/>
                </a:cubicBezTo>
                <a:cubicBezTo>
                  <a:pt x="350" y="1349"/>
                  <a:pt x="334" y="1349"/>
                  <a:pt x="334" y="1365"/>
                </a:cubicBezTo>
                <a:cubicBezTo>
                  <a:pt x="318" y="1381"/>
                  <a:pt x="286" y="1412"/>
                  <a:pt x="286" y="1476"/>
                </a:cubicBezTo>
                <a:cubicBezTo>
                  <a:pt x="286" y="1619"/>
                  <a:pt x="286" y="1619"/>
                  <a:pt x="286" y="1619"/>
                </a:cubicBezTo>
                <a:cubicBezTo>
                  <a:pt x="286" y="1683"/>
                  <a:pt x="318" y="1731"/>
                  <a:pt x="366" y="1763"/>
                </a:cubicBezTo>
                <a:cubicBezTo>
                  <a:pt x="382" y="1874"/>
                  <a:pt x="461" y="2001"/>
                  <a:pt x="557" y="2097"/>
                </a:cubicBezTo>
                <a:cubicBezTo>
                  <a:pt x="493" y="2192"/>
                  <a:pt x="493" y="2192"/>
                  <a:pt x="493" y="2192"/>
                </a:cubicBezTo>
                <a:cubicBezTo>
                  <a:pt x="414" y="2192"/>
                  <a:pt x="414" y="2192"/>
                  <a:pt x="414" y="2192"/>
                </a:cubicBezTo>
                <a:cubicBezTo>
                  <a:pt x="159" y="2192"/>
                  <a:pt x="0" y="2336"/>
                  <a:pt x="0" y="2558"/>
                </a:cubicBezTo>
                <a:cubicBezTo>
                  <a:pt x="0" y="4467"/>
                  <a:pt x="0" y="4467"/>
                  <a:pt x="0" y="4467"/>
                </a:cubicBezTo>
                <a:cubicBezTo>
                  <a:pt x="0" y="4483"/>
                  <a:pt x="0" y="4483"/>
                  <a:pt x="0" y="4483"/>
                </a:cubicBezTo>
                <a:lnTo>
                  <a:pt x="0" y="4499"/>
                </a:lnTo>
                <a:cubicBezTo>
                  <a:pt x="0" y="4499"/>
                  <a:pt x="16" y="4499"/>
                  <a:pt x="16" y="4515"/>
                </a:cubicBezTo>
                <a:cubicBezTo>
                  <a:pt x="16" y="4531"/>
                  <a:pt x="16" y="4531"/>
                  <a:pt x="16" y="4531"/>
                </a:cubicBezTo>
                <a:cubicBezTo>
                  <a:pt x="32" y="4531"/>
                  <a:pt x="32" y="4531"/>
                  <a:pt x="32" y="4531"/>
                </a:cubicBezTo>
                <a:lnTo>
                  <a:pt x="32" y="4547"/>
                </a:lnTo>
                <a:lnTo>
                  <a:pt x="48" y="4547"/>
                </a:lnTo>
                <a:lnTo>
                  <a:pt x="63" y="4547"/>
                </a:lnTo>
                <a:lnTo>
                  <a:pt x="79" y="4547"/>
                </a:lnTo>
                <a:lnTo>
                  <a:pt x="96" y="4547"/>
                </a:lnTo>
                <a:cubicBezTo>
                  <a:pt x="111" y="4547"/>
                  <a:pt x="111" y="4547"/>
                  <a:pt x="111" y="4547"/>
                </a:cubicBezTo>
                <a:lnTo>
                  <a:pt x="127" y="4547"/>
                </a:lnTo>
                <a:lnTo>
                  <a:pt x="127" y="4531"/>
                </a:lnTo>
                <a:cubicBezTo>
                  <a:pt x="2466" y="2574"/>
                  <a:pt x="2466" y="2574"/>
                  <a:pt x="2466" y="2574"/>
                </a:cubicBezTo>
                <a:cubicBezTo>
                  <a:pt x="3755" y="3863"/>
                  <a:pt x="3755" y="3863"/>
                  <a:pt x="3755" y="3863"/>
                </a:cubicBezTo>
                <a:cubicBezTo>
                  <a:pt x="3770" y="3879"/>
                  <a:pt x="3787" y="3894"/>
                  <a:pt x="3818" y="3894"/>
                </a:cubicBezTo>
                <a:cubicBezTo>
                  <a:pt x="3834" y="3894"/>
                  <a:pt x="3850" y="3879"/>
                  <a:pt x="3866" y="3863"/>
                </a:cubicBezTo>
                <a:cubicBezTo>
                  <a:pt x="5807" y="1906"/>
                  <a:pt x="5807" y="1906"/>
                  <a:pt x="5807" y="1906"/>
                </a:cubicBezTo>
                <a:cubicBezTo>
                  <a:pt x="5807" y="2256"/>
                  <a:pt x="5807" y="2256"/>
                  <a:pt x="5807" y="2256"/>
                </a:cubicBezTo>
                <a:cubicBezTo>
                  <a:pt x="5807" y="2303"/>
                  <a:pt x="5839" y="2336"/>
                  <a:pt x="5887" y="2336"/>
                </a:cubicBezTo>
                <a:cubicBezTo>
                  <a:pt x="5934" y="2336"/>
                  <a:pt x="5966" y="2303"/>
                  <a:pt x="5966" y="2256"/>
                </a:cubicBezTo>
                <a:cubicBezTo>
                  <a:pt x="5966" y="1715"/>
                  <a:pt x="5966" y="1715"/>
                  <a:pt x="5966" y="1715"/>
                </a:cubicBezTo>
                <a:close/>
                <a:moveTo>
                  <a:pt x="4121" y="1206"/>
                </a:moveTo>
                <a:cubicBezTo>
                  <a:pt x="4121" y="1158"/>
                  <a:pt x="4089" y="1126"/>
                  <a:pt x="4041" y="1126"/>
                </a:cubicBezTo>
                <a:cubicBezTo>
                  <a:pt x="4025" y="1126"/>
                  <a:pt x="3993" y="1110"/>
                  <a:pt x="3993" y="1094"/>
                </a:cubicBezTo>
                <a:cubicBezTo>
                  <a:pt x="3993" y="872"/>
                  <a:pt x="3993" y="872"/>
                  <a:pt x="3993" y="872"/>
                </a:cubicBezTo>
                <a:cubicBezTo>
                  <a:pt x="3993" y="856"/>
                  <a:pt x="3993" y="856"/>
                  <a:pt x="3993" y="840"/>
                </a:cubicBezTo>
                <a:cubicBezTo>
                  <a:pt x="4025" y="856"/>
                  <a:pt x="4041" y="840"/>
                  <a:pt x="4057" y="824"/>
                </a:cubicBezTo>
                <a:cubicBezTo>
                  <a:pt x="4073" y="808"/>
                  <a:pt x="4089" y="792"/>
                  <a:pt x="4089" y="776"/>
                </a:cubicBezTo>
                <a:cubicBezTo>
                  <a:pt x="4089" y="554"/>
                  <a:pt x="4089" y="554"/>
                  <a:pt x="4089" y="554"/>
                </a:cubicBezTo>
                <a:cubicBezTo>
                  <a:pt x="4089" y="410"/>
                  <a:pt x="4184" y="299"/>
                  <a:pt x="4312" y="299"/>
                </a:cubicBezTo>
                <a:cubicBezTo>
                  <a:pt x="4343" y="299"/>
                  <a:pt x="4391" y="299"/>
                  <a:pt x="4423" y="251"/>
                </a:cubicBezTo>
                <a:cubicBezTo>
                  <a:pt x="4470" y="188"/>
                  <a:pt x="4661" y="124"/>
                  <a:pt x="4821" y="172"/>
                </a:cubicBezTo>
                <a:cubicBezTo>
                  <a:pt x="4980" y="219"/>
                  <a:pt x="5059" y="363"/>
                  <a:pt x="5059" y="554"/>
                </a:cubicBezTo>
                <a:cubicBezTo>
                  <a:pt x="5059" y="776"/>
                  <a:pt x="5059" y="776"/>
                  <a:pt x="5059" y="776"/>
                </a:cubicBezTo>
                <a:cubicBezTo>
                  <a:pt x="5059" y="808"/>
                  <a:pt x="5107" y="856"/>
                  <a:pt x="5139" y="856"/>
                </a:cubicBezTo>
                <a:cubicBezTo>
                  <a:pt x="5155" y="856"/>
                  <a:pt x="5155" y="856"/>
                  <a:pt x="5155" y="856"/>
                </a:cubicBezTo>
                <a:lnTo>
                  <a:pt x="5155" y="872"/>
                </a:lnTo>
                <a:cubicBezTo>
                  <a:pt x="5155" y="1094"/>
                  <a:pt x="5155" y="1094"/>
                  <a:pt x="5155" y="1094"/>
                </a:cubicBezTo>
                <a:cubicBezTo>
                  <a:pt x="5155" y="1094"/>
                  <a:pt x="5155" y="1126"/>
                  <a:pt x="5123" y="1126"/>
                </a:cubicBezTo>
                <a:cubicBezTo>
                  <a:pt x="5091" y="1126"/>
                  <a:pt x="5043" y="1158"/>
                  <a:pt x="5043" y="1206"/>
                </a:cubicBezTo>
                <a:cubicBezTo>
                  <a:pt x="5043" y="1460"/>
                  <a:pt x="4852" y="1779"/>
                  <a:pt x="4598" y="1779"/>
                </a:cubicBezTo>
                <a:cubicBezTo>
                  <a:pt x="4343" y="1779"/>
                  <a:pt x="4121" y="1460"/>
                  <a:pt x="4121" y="1206"/>
                </a:cubicBezTo>
                <a:close/>
                <a:moveTo>
                  <a:pt x="1925" y="1842"/>
                </a:moveTo>
                <a:cubicBezTo>
                  <a:pt x="1909" y="1445"/>
                  <a:pt x="1861" y="919"/>
                  <a:pt x="2100" y="665"/>
                </a:cubicBezTo>
                <a:cubicBezTo>
                  <a:pt x="2196" y="569"/>
                  <a:pt x="2323" y="522"/>
                  <a:pt x="2498" y="522"/>
                </a:cubicBezTo>
                <a:cubicBezTo>
                  <a:pt x="2736" y="522"/>
                  <a:pt x="2911" y="569"/>
                  <a:pt x="3023" y="681"/>
                </a:cubicBezTo>
                <a:cubicBezTo>
                  <a:pt x="3230" y="903"/>
                  <a:pt x="3230" y="1301"/>
                  <a:pt x="3214" y="1683"/>
                </a:cubicBezTo>
                <a:cubicBezTo>
                  <a:pt x="3214" y="1874"/>
                  <a:pt x="3198" y="2081"/>
                  <a:pt x="3230" y="2240"/>
                </a:cubicBezTo>
                <a:cubicBezTo>
                  <a:pt x="3166" y="2208"/>
                  <a:pt x="3102" y="2192"/>
                  <a:pt x="3023" y="2192"/>
                </a:cubicBezTo>
                <a:cubicBezTo>
                  <a:pt x="2864" y="2192"/>
                  <a:pt x="2864" y="2192"/>
                  <a:pt x="2864" y="2192"/>
                </a:cubicBezTo>
                <a:cubicBezTo>
                  <a:pt x="2864" y="2017"/>
                  <a:pt x="2864" y="2017"/>
                  <a:pt x="2864" y="2017"/>
                </a:cubicBezTo>
                <a:cubicBezTo>
                  <a:pt x="3007" y="1874"/>
                  <a:pt x="3102" y="1667"/>
                  <a:pt x="3102" y="1476"/>
                </a:cubicBezTo>
                <a:cubicBezTo>
                  <a:pt x="3070" y="1158"/>
                  <a:pt x="2927" y="903"/>
                  <a:pt x="2864" y="792"/>
                </a:cubicBezTo>
                <a:cubicBezTo>
                  <a:pt x="2848" y="776"/>
                  <a:pt x="2848" y="760"/>
                  <a:pt x="2848" y="745"/>
                </a:cubicBezTo>
                <a:cubicBezTo>
                  <a:pt x="2832" y="728"/>
                  <a:pt x="2816" y="712"/>
                  <a:pt x="2784" y="712"/>
                </a:cubicBezTo>
                <a:cubicBezTo>
                  <a:pt x="2752" y="697"/>
                  <a:pt x="2736" y="712"/>
                  <a:pt x="2721" y="728"/>
                </a:cubicBezTo>
                <a:cubicBezTo>
                  <a:pt x="2673" y="760"/>
                  <a:pt x="2593" y="776"/>
                  <a:pt x="2514" y="792"/>
                </a:cubicBezTo>
                <a:cubicBezTo>
                  <a:pt x="2275" y="824"/>
                  <a:pt x="1909" y="888"/>
                  <a:pt x="1941" y="1508"/>
                </a:cubicBezTo>
                <a:cubicBezTo>
                  <a:pt x="1957" y="1683"/>
                  <a:pt x="2068" y="1906"/>
                  <a:pt x="2227" y="2033"/>
                </a:cubicBezTo>
                <a:cubicBezTo>
                  <a:pt x="2227" y="2192"/>
                  <a:pt x="2227" y="2192"/>
                  <a:pt x="2227" y="2192"/>
                </a:cubicBezTo>
                <a:cubicBezTo>
                  <a:pt x="2021" y="2192"/>
                  <a:pt x="2021" y="2192"/>
                  <a:pt x="2021" y="2192"/>
                </a:cubicBezTo>
                <a:cubicBezTo>
                  <a:pt x="1988" y="2192"/>
                  <a:pt x="1973" y="2192"/>
                  <a:pt x="1941" y="2208"/>
                </a:cubicBezTo>
                <a:cubicBezTo>
                  <a:pt x="1941" y="2113"/>
                  <a:pt x="1941" y="1985"/>
                  <a:pt x="1925" y="1842"/>
                </a:cubicBezTo>
                <a:close/>
                <a:moveTo>
                  <a:pt x="2370" y="1954"/>
                </a:moveTo>
                <a:cubicBezTo>
                  <a:pt x="2354" y="1937"/>
                  <a:pt x="2339" y="1922"/>
                  <a:pt x="2323" y="1922"/>
                </a:cubicBezTo>
                <a:cubicBezTo>
                  <a:pt x="2196" y="1810"/>
                  <a:pt x="2100" y="1619"/>
                  <a:pt x="2100" y="1476"/>
                </a:cubicBezTo>
                <a:cubicBezTo>
                  <a:pt x="2084" y="1015"/>
                  <a:pt x="2307" y="983"/>
                  <a:pt x="2530" y="951"/>
                </a:cubicBezTo>
                <a:cubicBezTo>
                  <a:pt x="2609" y="935"/>
                  <a:pt x="2688" y="935"/>
                  <a:pt x="2752" y="903"/>
                </a:cubicBezTo>
                <a:cubicBezTo>
                  <a:pt x="2816" y="1015"/>
                  <a:pt x="2927" y="1222"/>
                  <a:pt x="2943" y="1492"/>
                </a:cubicBezTo>
                <a:cubicBezTo>
                  <a:pt x="2943" y="1715"/>
                  <a:pt x="2736" y="2001"/>
                  <a:pt x="2514" y="2001"/>
                </a:cubicBezTo>
                <a:cubicBezTo>
                  <a:pt x="2466" y="2001"/>
                  <a:pt x="2418" y="1985"/>
                  <a:pt x="2370" y="1954"/>
                </a:cubicBezTo>
                <a:close/>
                <a:moveTo>
                  <a:pt x="525" y="1699"/>
                </a:moveTo>
                <a:cubicBezTo>
                  <a:pt x="525" y="1651"/>
                  <a:pt x="493" y="1619"/>
                  <a:pt x="445" y="1619"/>
                </a:cubicBezTo>
                <a:cubicBezTo>
                  <a:pt x="445" y="1476"/>
                  <a:pt x="445" y="1476"/>
                  <a:pt x="445" y="1476"/>
                </a:cubicBezTo>
                <a:cubicBezTo>
                  <a:pt x="461" y="1476"/>
                  <a:pt x="477" y="1476"/>
                  <a:pt x="477" y="1460"/>
                </a:cubicBezTo>
                <a:cubicBezTo>
                  <a:pt x="493" y="1445"/>
                  <a:pt x="509" y="1428"/>
                  <a:pt x="509" y="1412"/>
                </a:cubicBezTo>
                <a:cubicBezTo>
                  <a:pt x="509" y="1269"/>
                  <a:pt x="509" y="1269"/>
                  <a:pt x="509" y="1269"/>
                </a:cubicBezTo>
                <a:cubicBezTo>
                  <a:pt x="509" y="1190"/>
                  <a:pt x="541" y="1126"/>
                  <a:pt x="620" y="1126"/>
                </a:cubicBezTo>
                <a:cubicBezTo>
                  <a:pt x="652" y="1126"/>
                  <a:pt x="700" y="1110"/>
                  <a:pt x="716" y="1079"/>
                </a:cubicBezTo>
                <a:cubicBezTo>
                  <a:pt x="748" y="1046"/>
                  <a:pt x="859" y="1015"/>
                  <a:pt x="954" y="1046"/>
                </a:cubicBezTo>
                <a:cubicBezTo>
                  <a:pt x="1050" y="1079"/>
                  <a:pt x="1097" y="1142"/>
                  <a:pt x="1097" y="1269"/>
                </a:cubicBezTo>
                <a:cubicBezTo>
                  <a:pt x="1097" y="1412"/>
                  <a:pt x="1097" y="1412"/>
                  <a:pt x="1097" y="1412"/>
                </a:cubicBezTo>
                <a:cubicBezTo>
                  <a:pt x="1097" y="1445"/>
                  <a:pt x="1130" y="1476"/>
                  <a:pt x="1161" y="1476"/>
                </a:cubicBezTo>
                <a:cubicBezTo>
                  <a:pt x="1161" y="1619"/>
                  <a:pt x="1161" y="1619"/>
                  <a:pt x="1161" y="1619"/>
                </a:cubicBezTo>
                <a:cubicBezTo>
                  <a:pt x="1130" y="1619"/>
                  <a:pt x="1082" y="1651"/>
                  <a:pt x="1082" y="1699"/>
                </a:cubicBezTo>
                <a:cubicBezTo>
                  <a:pt x="1082" y="1858"/>
                  <a:pt x="954" y="2049"/>
                  <a:pt x="811" y="2049"/>
                </a:cubicBezTo>
                <a:cubicBezTo>
                  <a:pt x="668" y="2049"/>
                  <a:pt x="525" y="1858"/>
                  <a:pt x="525" y="1699"/>
                </a:cubicBezTo>
                <a:close/>
                <a:moveTo>
                  <a:pt x="414" y="2351"/>
                </a:moveTo>
                <a:cubicBezTo>
                  <a:pt x="525" y="2351"/>
                  <a:pt x="525" y="2351"/>
                  <a:pt x="525" y="2351"/>
                </a:cubicBezTo>
                <a:cubicBezTo>
                  <a:pt x="557" y="2351"/>
                  <a:pt x="573" y="2336"/>
                  <a:pt x="588" y="2303"/>
                </a:cubicBezTo>
                <a:cubicBezTo>
                  <a:pt x="684" y="2176"/>
                  <a:pt x="684" y="2176"/>
                  <a:pt x="684" y="2176"/>
                </a:cubicBezTo>
                <a:cubicBezTo>
                  <a:pt x="716" y="2192"/>
                  <a:pt x="763" y="2208"/>
                  <a:pt x="811" y="2208"/>
                </a:cubicBezTo>
                <a:cubicBezTo>
                  <a:pt x="859" y="2208"/>
                  <a:pt x="923" y="2192"/>
                  <a:pt x="954" y="2176"/>
                </a:cubicBezTo>
                <a:cubicBezTo>
                  <a:pt x="1050" y="2303"/>
                  <a:pt x="1050" y="2303"/>
                  <a:pt x="1050" y="2303"/>
                </a:cubicBezTo>
                <a:cubicBezTo>
                  <a:pt x="1066" y="2336"/>
                  <a:pt x="1082" y="2351"/>
                  <a:pt x="1114" y="2351"/>
                </a:cubicBezTo>
                <a:cubicBezTo>
                  <a:pt x="1225" y="2351"/>
                  <a:pt x="1225" y="2351"/>
                  <a:pt x="1225" y="2351"/>
                </a:cubicBezTo>
                <a:cubicBezTo>
                  <a:pt x="1288" y="2351"/>
                  <a:pt x="1495" y="2367"/>
                  <a:pt x="1495" y="2558"/>
                </a:cubicBezTo>
                <a:cubicBezTo>
                  <a:pt x="1495" y="2717"/>
                  <a:pt x="1495" y="2717"/>
                  <a:pt x="1495" y="2717"/>
                </a:cubicBezTo>
                <a:cubicBezTo>
                  <a:pt x="1495" y="3163"/>
                  <a:pt x="1495" y="3163"/>
                  <a:pt x="1495" y="3163"/>
                </a:cubicBezTo>
                <a:cubicBezTo>
                  <a:pt x="159" y="4308"/>
                  <a:pt x="159" y="4308"/>
                  <a:pt x="159" y="4308"/>
                </a:cubicBezTo>
                <a:cubicBezTo>
                  <a:pt x="159" y="2558"/>
                  <a:pt x="159" y="2558"/>
                  <a:pt x="159" y="2558"/>
                </a:cubicBezTo>
                <a:cubicBezTo>
                  <a:pt x="159" y="2383"/>
                  <a:pt x="302" y="2351"/>
                  <a:pt x="414" y="2351"/>
                </a:cubicBezTo>
                <a:close/>
                <a:moveTo>
                  <a:pt x="2418" y="2399"/>
                </a:moveTo>
                <a:cubicBezTo>
                  <a:pt x="1654" y="3036"/>
                  <a:pt x="1654" y="3036"/>
                  <a:pt x="1654" y="3036"/>
                </a:cubicBezTo>
                <a:cubicBezTo>
                  <a:pt x="1654" y="3003"/>
                  <a:pt x="1654" y="3003"/>
                  <a:pt x="1654" y="3003"/>
                </a:cubicBezTo>
                <a:cubicBezTo>
                  <a:pt x="1654" y="2717"/>
                  <a:pt x="1654" y="2717"/>
                  <a:pt x="1654" y="2717"/>
                </a:cubicBezTo>
                <a:cubicBezTo>
                  <a:pt x="1670" y="2479"/>
                  <a:pt x="1798" y="2351"/>
                  <a:pt x="2021" y="2351"/>
                </a:cubicBezTo>
                <a:cubicBezTo>
                  <a:pt x="2307" y="2351"/>
                  <a:pt x="2307" y="2351"/>
                  <a:pt x="2307" y="2351"/>
                </a:cubicBezTo>
                <a:cubicBezTo>
                  <a:pt x="2339" y="2351"/>
                  <a:pt x="2387" y="2319"/>
                  <a:pt x="2387" y="2272"/>
                </a:cubicBezTo>
                <a:cubicBezTo>
                  <a:pt x="2387" y="2145"/>
                  <a:pt x="2387" y="2145"/>
                  <a:pt x="2387" y="2145"/>
                </a:cubicBezTo>
                <a:cubicBezTo>
                  <a:pt x="2418" y="2160"/>
                  <a:pt x="2466" y="2160"/>
                  <a:pt x="2514" y="2160"/>
                </a:cubicBezTo>
                <a:cubicBezTo>
                  <a:pt x="2577" y="2160"/>
                  <a:pt x="2641" y="2145"/>
                  <a:pt x="2705" y="2128"/>
                </a:cubicBezTo>
                <a:cubicBezTo>
                  <a:pt x="2705" y="2272"/>
                  <a:pt x="2705" y="2272"/>
                  <a:pt x="2705" y="2272"/>
                </a:cubicBezTo>
                <a:cubicBezTo>
                  <a:pt x="2705" y="2319"/>
                  <a:pt x="2736" y="2351"/>
                  <a:pt x="2784" y="2351"/>
                </a:cubicBezTo>
                <a:cubicBezTo>
                  <a:pt x="3023" y="2351"/>
                  <a:pt x="3023" y="2351"/>
                  <a:pt x="3023" y="2351"/>
                </a:cubicBezTo>
                <a:cubicBezTo>
                  <a:pt x="3261" y="2351"/>
                  <a:pt x="3405" y="2510"/>
                  <a:pt x="3405" y="2733"/>
                </a:cubicBezTo>
                <a:cubicBezTo>
                  <a:pt x="3405" y="3258"/>
                  <a:pt x="3405" y="3258"/>
                  <a:pt x="3405" y="3258"/>
                </a:cubicBezTo>
                <a:cubicBezTo>
                  <a:pt x="3405" y="3290"/>
                  <a:pt x="3405" y="3290"/>
                  <a:pt x="3405" y="3290"/>
                </a:cubicBezTo>
                <a:cubicBezTo>
                  <a:pt x="2530" y="2399"/>
                  <a:pt x="2530" y="2399"/>
                  <a:pt x="2530" y="2399"/>
                </a:cubicBezTo>
                <a:cubicBezTo>
                  <a:pt x="2498" y="2367"/>
                  <a:pt x="2450" y="2367"/>
                  <a:pt x="2418" y="2399"/>
                </a:cubicBezTo>
                <a:close/>
                <a:moveTo>
                  <a:pt x="3818" y="3704"/>
                </a:moveTo>
                <a:cubicBezTo>
                  <a:pt x="3564" y="3449"/>
                  <a:pt x="3564" y="3449"/>
                  <a:pt x="3564" y="3449"/>
                </a:cubicBezTo>
                <a:cubicBezTo>
                  <a:pt x="3564" y="3258"/>
                  <a:pt x="3564" y="3258"/>
                  <a:pt x="3564" y="3258"/>
                </a:cubicBezTo>
                <a:cubicBezTo>
                  <a:pt x="3564" y="2733"/>
                  <a:pt x="3564" y="2733"/>
                  <a:pt x="3564" y="2733"/>
                </a:cubicBezTo>
                <a:cubicBezTo>
                  <a:pt x="3564" y="2526"/>
                  <a:pt x="3564" y="2526"/>
                  <a:pt x="3564" y="2526"/>
                </a:cubicBezTo>
                <a:cubicBezTo>
                  <a:pt x="3564" y="2192"/>
                  <a:pt x="3834" y="2145"/>
                  <a:pt x="3993" y="2145"/>
                </a:cubicBezTo>
                <a:cubicBezTo>
                  <a:pt x="4152" y="2145"/>
                  <a:pt x="4152" y="2145"/>
                  <a:pt x="4152" y="2145"/>
                </a:cubicBezTo>
                <a:cubicBezTo>
                  <a:pt x="4184" y="2145"/>
                  <a:pt x="4216" y="2145"/>
                  <a:pt x="4216" y="2113"/>
                </a:cubicBezTo>
                <a:cubicBezTo>
                  <a:pt x="4375" y="1890"/>
                  <a:pt x="4375" y="1890"/>
                  <a:pt x="4375" y="1890"/>
                </a:cubicBezTo>
                <a:cubicBezTo>
                  <a:pt x="4439" y="1922"/>
                  <a:pt x="4518" y="1937"/>
                  <a:pt x="4598" y="1937"/>
                </a:cubicBezTo>
                <a:cubicBezTo>
                  <a:pt x="4678" y="1937"/>
                  <a:pt x="4757" y="1922"/>
                  <a:pt x="4836" y="1874"/>
                </a:cubicBezTo>
                <a:cubicBezTo>
                  <a:pt x="4980" y="2113"/>
                  <a:pt x="4980" y="2113"/>
                  <a:pt x="4980" y="2113"/>
                </a:cubicBezTo>
                <a:cubicBezTo>
                  <a:pt x="4996" y="2145"/>
                  <a:pt x="5012" y="2145"/>
                  <a:pt x="5043" y="2145"/>
                </a:cubicBezTo>
                <a:cubicBezTo>
                  <a:pt x="5346" y="2145"/>
                  <a:pt x="5346" y="2145"/>
                  <a:pt x="5346" y="214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17">
            <a:extLst>
              <a:ext uri="{FF2B5EF4-FFF2-40B4-BE49-F238E27FC236}">
                <a16:creationId xmlns:a16="http://schemas.microsoft.com/office/drawing/2014/main" id="{B036DE6B-0894-6A43-9190-9386E91B4880}"/>
              </a:ext>
            </a:extLst>
          </p:cNvPr>
          <p:cNvSpPr/>
          <p:nvPr/>
        </p:nvSpPr>
        <p:spPr>
          <a:xfrm>
            <a:off x="5983452" y="9659187"/>
            <a:ext cx="1883880" cy="1620720"/>
          </a:xfrm>
          <a:custGeom>
            <a:avLst/>
            <a:gdLst/>
            <a:ahLst/>
            <a:cxnLst>
              <a:cxn ang="3cd4">
                <a:pos x="hc" y="t"/>
              </a:cxn>
              <a:cxn ang="cd2">
                <a:pos x="l" y="vc"/>
              </a:cxn>
              <a:cxn ang="cd4">
                <a:pos x="hc" y="b"/>
              </a:cxn>
              <a:cxn ang="0">
                <a:pos x="r" y="vc"/>
              </a:cxn>
            </a:cxnLst>
            <a:rect l="l" t="t" r="r" b="b"/>
            <a:pathLst>
              <a:path w="5234" h="4503">
                <a:moveTo>
                  <a:pt x="4391" y="1989"/>
                </a:moveTo>
                <a:cubicBezTo>
                  <a:pt x="4375" y="1957"/>
                  <a:pt x="4327" y="1941"/>
                  <a:pt x="4295" y="1957"/>
                </a:cubicBezTo>
                <a:cubicBezTo>
                  <a:pt x="3038" y="2578"/>
                  <a:pt x="3038" y="2578"/>
                  <a:pt x="3038" y="2578"/>
                </a:cubicBezTo>
                <a:cubicBezTo>
                  <a:pt x="2545" y="1591"/>
                  <a:pt x="2545" y="1591"/>
                  <a:pt x="2545" y="1591"/>
                </a:cubicBezTo>
                <a:cubicBezTo>
                  <a:pt x="2529" y="1575"/>
                  <a:pt x="2529" y="1575"/>
                  <a:pt x="2529" y="1575"/>
                </a:cubicBezTo>
                <a:cubicBezTo>
                  <a:pt x="2497" y="1544"/>
                  <a:pt x="2465" y="1527"/>
                  <a:pt x="2434" y="1544"/>
                </a:cubicBezTo>
                <a:cubicBezTo>
                  <a:pt x="2020" y="1750"/>
                  <a:pt x="2020" y="1750"/>
                  <a:pt x="2020" y="1750"/>
                </a:cubicBezTo>
                <a:lnTo>
                  <a:pt x="2004" y="1750"/>
                </a:lnTo>
                <a:cubicBezTo>
                  <a:pt x="1861" y="1718"/>
                  <a:pt x="1734" y="1671"/>
                  <a:pt x="1686" y="1639"/>
                </a:cubicBezTo>
                <a:cubicBezTo>
                  <a:pt x="1686" y="1639"/>
                  <a:pt x="1574" y="1591"/>
                  <a:pt x="1447" y="1527"/>
                </a:cubicBezTo>
                <a:cubicBezTo>
                  <a:pt x="1447" y="1496"/>
                  <a:pt x="1447" y="1480"/>
                  <a:pt x="1447" y="1448"/>
                </a:cubicBezTo>
                <a:cubicBezTo>
                  <a:pt x="1447" y="1416"/>
                  <a:pt x="1431" y="1369"/>
                  <a:pt x="1416" y="1337"/>
                </a:cubicBezTo>
                <a:cubicBezTo>
                  <a:pt x="1400" y="1305"/>
                  <a:pt x="1383" y="1257"/>
                  <a:pt x="1336" y="1209"/>
                </a:cubicBezTo>
                <a:cubicBezTo>
                  <a:pt x="1320" y="1178"/>
                  <a:pt x="1304" y="1162"/>
                  <a:pt x="1272" y="1146"/>
                </a:cubicBezTo>
                <a:cubicBezTo>
                  <a:pt x="1527" y="1082"/>
                  <a:pt x="1702" y="844"/>
                  <a:pt x="1702" y="573"/>
                </a:cubicBezTo>
                <a:cubicBezTo>
                  <a:pt x="1702" y="255"/>
                  <a:pt x="1447" y="0"/>
                  <a:pt x="1113" y="0"/>
                </a:cubicBezTo>
                <a:cubicBezTo>
                  <a:pt x="795" y="0"/>
                  <a:pt x="540" y="255"/>
                  <a:pt x="540" y="573"/>
                </a:cubicBezTo>
                <a:cubicBezTo>
                  <a:pt x="540" y="780"/>
                  <a:pt x="636" y="955"/>
                  <a:pt x="795" y="1066"/>
                </a:cubicBezTo>
                <a:cubicBezTo>
                  <a:pt x="700" y="1098"/>
                  <a:pt x="620" y="1146"/>
                  <a:pt x="556" y="1226"/>
                </a:cubicBezTo>
                <a:cubicBezTo>
                  <a:pt x="556" y="1226"/>
                  <a:pt x="492" y="1305"/>
                  <a:pt x="461" y="1432"/>
                </a:cubicBezTo>
                <a:cubicBezTo>
                  <a:pt x="445" y="1527"/>
                  <a:pt x="445" y="1639"/>
                  <a:pt x="445" y="1750"/>
                </a:cubicBezTo>
                <a:cubicBezTo>
                  <a:pt x="429" y="1830"/>
                  <a:pt x="429" y="1909"/>
                  <a:pt x="429" y="1989"/>
                </a:cubicBezTo>
                <a:cubicBezTo>
                  <a:pt x="429" y="2005"/>
                  <a:pt x="429" y="2291"/>
                  <a:pt x="445" y="2466"/>
                </a:cubicBezTo>
                <a:cubicBezTo>
                  <a:pt x="445" y="2466"/>
                  <a:pt x="461" y="2578"/>
                  <a:pt x="509" y="2689"/>
                </a:cubicBezTo>
                <a:cubicBezTo>
                  <a:pt x="540" y="2880"/>
                  <a:pt x="509" y="3071"/>
                  <a:pt x="477" y="3198"/>
                </a:cubicBezTo>
                <a:cubicBezTo>
                  <a:pt x="413" y="3421"/>
                  <a:pt x="191" y="3803"/>
                  <a:pt x="127" y="3914"/>
                </a:cubicBezTo>
                <a:cubicBezTo>
                  <a:pt x="79" y="3978"/>
                  <a:pt x="79" y="3978"/>
                  <a:pt x="79" y="3978"/>
                </a:cubicBezTo>
                <a:cubicBezTo>
                  <a:pt x="47" y="4041"/>
                  <a:pt x="15" y="4089"/>
                  <a:pt x="0" y="4153"/>
                </a:cubicBezTo>
                <a:cubicBezTo>
                  <a:pt x="0" y="4169"/>
                  <a:pt x="0" y="4200"/>
                  <a:pt x="0" y="4248"/>
                </a:cubicBezTo>
                <a:cubicBezTo>
                  <a:pt x="0" y="4264"/>
                  <a:pt x="15" y="4296"/>
                  <a:pt x="47" y="4328"/>
                </a:cubicBezTo>
                <a:cubicBezTo>
                  <a:pt x="47" y="4360"/>
                  <a:pt x="79" y="4375"/>
                  <a:pt x="111" y="4408"/>
                </a:cubicBezTo>
                <a:cubicBezTo>
                  <a:pt x="206" y="4487"/>
                  <a:pt x="302" y="4503"/>
                  <a:pt x="318" y="4503"/>
                </a:cubicBezTo>
                <a:cubicBezTo>
                  <a:pt x="334" y="4503"/>
                  <a:pt x="349" y="4503"/>
                  <a:pt x="349" y="4503"/>
                </a:cubicBezTo>
                <a:cubicBezTo>
                  <a:pt x="382" y="4503"/>
                  <a:pt x="413" y="4503"/>
                  <a:pt x="461" y="4471"/>
                </a:cubicBezTo>
                <a:cubicBezTo>
                  <a:pt x="509" y="4455"/>
                  <a:pt x="556" y="4391"/>
                  <a:pt x="620" y="4312"/>
                </a:cubicBezTo>
                <a:cubicBezTo>
                  <a:pt x="874" y="3851"/>
                  <a:pt x="1049" y="3469"/>
                  <a:pt x="1113" y="3166"/>
                </a:cubicBezTo>
                <a:cubicBezTo>
                  <a:pt x="1145" y="3230"/>
                  <a:pt x="1161" y="3278"/>
                  <a:pt x="1177" y="3326"/>
                </a:cubicBezTo>
                <a:cubicBezTo>
                  <a:pt x="1240" y="3548"/>
                  <a:pt x="1256" y="3962"/>
                  <a:pt x="1256" y="4089"/>
                </a:cubicBezTo>
                <a:cubicBezTo>
                  <a:pt x="1256" y="4169"/>
                  <a:pt x="1256" y="4169"/>
                  <a:pt x="1256" y="4169"/>
                </a:cubicBezTo>
                <a:cubicBezTo>
                  <a:pt x="1256" y="4232"/>
                  <a:pt x="1256" y="4296"/>
                  <a:pt x="1272" y="4344"/>
                </a:cubicBezTo>
                <a:cubicBezTo>
                  <a:pt x="1288" y="4375"/>
                  <a:pt x="1304" y="4408"/>
                  <a:pt x="1320" y="4423"/>
                </a:cubicBezTo>
                <a:cubicBezTo>
                  <a:pt x="1336" y="4439"/>
                  <a:pt x="1368" y="4455"/>
                  <a:pt x="1400" y="4471"/>
                </a:cubicBezTo>
                <a:cubicBezTo>
                  <a:pt x="1431" y="4487"/>
                  <a:pt x="1463" y="4487"/>
                  <a:pt x="1511" y="4503"/>
                </a:cubicBezTo>
                <a:cubicBezTo>
                  <a:pt x="1527" y="4503"/>
                  <a:pt x="1543" y="4503"/>
                  <a:pt x="1559" y="4503"/>
                </a:cubicBezTo>
                <a:cubicBezTo>
                  <a:pt x="1638" y="4503"/>
                  <a:pt x="1702" y="4487"/>
                  <a:pt x="1718" y="4471"/>
                </a:cubicBezTo>
                <a:cubicBezTo>
                  <a:pt x="1734" y="4471"/>
                  <a:pt x="1750" y="4455"/>
                  <a:pt x="1750" y="4455"/>
                </a:cubicBezTo>
                <a:cubicBezTo>
                  <a:pt x="1765" y="4439"/>
                  <a:pt x="1797" y="4408"/>
                  <a:pt x="1813" y="4375"/>
                </a:cubicBezTo>
                <a:cubicBezTo>
                  <a:pt x="1845" y="4344"/>
                  <a:pt x="1861" y="4264"/>
                  <a:pt x="1861" y="4169"/>
                </a:cubicBezTo>
                <a:cubicBezTo>
                  <a:pt x="1845" y="3803"/>
                  <a:pt x="1813" y="3484"/>
                  <a:pt x="1750" y="3230"/>
                </a:cubicBezTo>
                <a:cubicBezTo>
                  <a:pt x="1718" y="3118"/>
                  <a:pt x="1638" y="2848"/>
                  <a:pt x="1447" y="2609"/>
                </a:cubicBezTo>
                <a:cubicBezTo>
                  <a:pt x="1431" y="2609"/>
                  <a:pt x="1431" y="2609"/>
                  <a:pt x="1431" y="2609"/>
                </a:cubicBezTo>
                <a:cubicBezTo>
                  <a:pt x="1431" y="2594"/>
                  <a:pt x="1447" y="2594"/>
                  <a:pt x="1447" y="2578"/>
                </a:cubicBezTo>
                <a:cubicBezTo>
                  <a:pt x="1463" y="2498"/>
                  <a:pt x="1447" y="2387"/>
                  <a:pt x="1431" y="2355"/>
                </a:cubicBezTo>
                <a:cubicBezTo>
                  <a:pt x="1416" y="2244"/>
                  <a:pt x="1400" y="2148"/>
                  <a:pt x="1400" y="2037"/>
                </a:cubicBezTo>
                <a:cubicBezTo>
                  <a:pt x="1400" y="2053"/>
                  <a:pt x="1416" y="2053"/>
                  <a:pt x="1431" y="2053"/>
                </a:cubicBezTo>
                <a:cubicBezTo>
                  <a:pt x="1447" y="2069"/>
                  <a:pt x="1479" y="2084"/>
                  <a:pt x="1479" y="2084"/>
                </a:cubicBezTo>
                <a:cubicBezTo>
                  <a:pt x="1591" y="2132"/>
                  <a:pt x="1750" y="2196"/>
                  <a:pt x="1861" y="2227"/>
                </a:cubicBezTo>
                <a:cubicBezTo>
                  <a:pt x="1861" y="2227"/>
                  <a:pt x="1988" y="2275"/>
                  <a:pt x="2100" y="2275"/>
                </a:cubicBezTo>
                <a:cubicBezTo>
                  <a:pt x="2402" y="2291"/>
                  <a:pt x="2465" y="2164"/>
                  <a:pt x="2465" y="2148"/>
                </a:cubicBezTo>
                <a:cubicBezTo>
                  <a:pt x="2529" y="2053"/>
                  <a:pt x="2513" y="1941"/>
                  <a:pt x="2434" y="1862"/>
                </a:cubicBezTo>
                <a:lnTo>
                  <a:pt x="2434" y="1846"/>
                </a:lnTo>
                <a:cubicBezTo>
                  <a:pt x="2418" y="1830"/>
                  <a:pt x="2386" y="1814"/>
                  <a:pt x="2354" y="1814"/>
                </a:cubicBezTo>
                <a:cubicBezTo>
                  <a:pt x="2338" y="1798"/>
                  <a:pt x="2338" y="1798"/>
                  <a:pt x="2291" y="1798"/>
                </a:cubicBezTo>
                <a:cubicBezTo>
                  <a:pt x="2322" y="1782"/>
                  <a:pt x="2322" y="1782"/>
                  <a:pt x="2322" y="1782"/>
                </a:cubicBezTo>
                <a:cubicBezTo>
                  <a:pt x="2338" y="1782"/>
                  <a:pt x="2354" y="1766"/>
                  <a:pt x="2354" y="1766"/>
                </a:cubicBezTo>
                <a:cubicBezTo>
                  <a:pt x="2434" y="1735"/>
                  <a:pt x="2434" y="1735"/>
                  <a:pt x="2434" y="1735"/>
                </a:cubicBezTo>
                <a:cubicBezTo>
                  <a:pt x="3722" y="4312"/>
                  <a:pt x="3722" y="4312"/>
                  <a:pt x="3722" y="4312"/>
                </a:cubicBezTo>
                <a:cubicBezTo>
                  <a:pt x="3643" y="4344"/>
                  <a:pt x="3643" y="4344"/>
                  <a:pt x="3643" y="4344"/>
                </a:cubicBezTo>
                <a:cubicBezTo>
                  <a:pt x="3611" y="4360"/>
                  <a:pt x="3595" y="4408"/>
                  <a:pt x="3611" y="4455"/>
                </a:cubicBezTo>
                <a:cubicBezTo>
                  <a:pt x="3627" y="4471"/>
                  <a:pt x="3659" y="4487"/>
                  <a:pt x="3674" y="4487"/>
                </a:cubicBezTo>
                <a:cubicBezTo>
                  <a:pt x="3690" y="4487"/>
                  <a:pt x="3707" y="4487"/>
                  <a:pt x="3722" y="4487"/>
                </a:cubicBezTo>
                <a:cubicBezTo>
                  <a:pt x="3786" y="4455"/>
                  <a:pt x="3786" y="4455"/>
                  <a:pt x="3786" y="4455"/>
                </a:cubicBezTo>
                <a:cubicBezTo>
                  <a:pt x="4200" y="4248"/>
                  <a:pt x="4200" y="4248"/>
                  <a:pt x="4200" y="4248"/>
                </a:cubicBezTo>
                <a:cubicBezTo>
                  <a:pt x="4216" y="4248"/>
                  <a:pt x="4216" y="4232"/>
                  <a:pt x="4216" y="4232"/>
                </a:cubicBezTo>
                <a:cubicBezTo>
                  <a:pt x="4295" y="4328"/>
                  <a:pt x="4407" y="4391"/>
                  <a:pt x="4534" y="4391"/>
                </a:cubicBezTo>
                <a:cubicBezTo>
                  <a:pt x="4598" y="4391"/>
                  <a:pt x="4661" y="4375"/>
                  <a:pt x="4725" y="4344"/>
                </a:cubicBezTo>
                <a:cubicBezTo>
                  <a:pt x="4820" y="4296"/>
                  <a:pt x="4900" y="4217"/>
                  <a:pt x="4932" y="4105"/>
                </a:cubicBezTo>
                <a:cubicBezTo>
                  <a:pt x="4947" y="4026"/>
                  <a:pt x="4947" y="3946"/>
                  <a:pt x="4932" y="3882"/>
                </a:cubicBezTo>
                <a:cubicBezTo>
                  <a:pt x="4947" y="3882"/>
                  <a:pt x="4947" y="3882"/>
                  <a:pt x="4947" y="3866"/>
                </a:cubicBezTo>
                <a:cubicBezTo>
                  <a:pt x="5186" y="3755"/>
                  <a:pt x="5186" y="3755"/>
                  <a:pt x="5186" y="3755"/>
                </a:cubicBezTo>
                <a:cubicBezTo>
                  <a:pt x="5202" y="3739"/>
                  <a:pt x="5218" y="3723"/>
                  <a:pt x="5234" y="3707"/>
                </a:cubicBezTo>
                <a:cubicBezTo>
                  <a:pt x="5234" y="3691"/>
                  <a:pt x="5234" y="3660"/>
                  <a:pt x="5218" y="3644"/>
                </a:cubicBezTo>
                <a:close/>
                <a:moveTo>
                  <a:pt x="700" y="573"/>
                </a:moveTo>
                <a:cubicBezTo>
                  <a:pt x="700" y="350"/>
                  <a:pt x="891" y="159"/>
                  <a:pt x="1113" y="159"/>
                </a:cubicBezTo>
                <a:cubicBezTo>
                  <a:pt x="1352" y="159"/>
                  <a:pt x="1543" y="350"/>
                  <a:pt x="1543" y="573"/>
                </a:cubicBezTo>
                <a:cubicBezTo>
                  <a:pt x="1543" y="812"/>
                  <a:pt x="1352" y="1003"/>
                  <a:pt x="1113" y="1003"/>
                </a:cubicBezTo>
                <a:cubicBezTo>
                  <a:pt x="891" y="1003"/>
                  <a:pt x="700" y="812"/>
                  <a:pt x="700" y="573"/>
                </a:cubicBezTo>
                <a:close/>
                <a:moveTo>
                  <a:pt x="2322" y="1973"/>
                </a:moveTo>
                <a:cubicBezTo>
                  <a:pt x="2370" y="2005"/>
                  <a:pt x="2354" y="2037"/>
                  <a:pt x="2338" y="2069"/>
                </a:cubicBezTo>
                <a:cubicBezTo>
                  <a:pt x="2338" y="2069"/>
                  <a:pt x="2291" y="2132"/>
                  <a:pt x="2100" y="2116"/>
                </a:cubicBezTo>
                <a:cubicBezTo>
                  <a:pt x="2020" y="2116"/>
                  <a:pt x="1909" y="2069"/>
                  <a:pt x="1909" y="2069"/>
                </a:cubicBezTo>
                <a:cubicBezTo>
                  <a:pt x="1797" y="2037"/>
                  <a:pt x="1654" y="1989"/>
                  <a:pt x="1559" y="1941"/>
                </a:cubicBezTo>
                <a:cubicBezTo>
                  <a:pt x="1559" y="1941"/>
                  <a:pt x="1511" y="1926"/>
                  <a:pt x="1479" y="1909"/>
                </a:cubicBezTo>
                <a:cubicBezTo>
                  <a:pt x="1447" y="1893"/>
                  <a:pt x="1400" y="1862"/>
                  <a:pt x="1352" y="1846"/>
                </a:cubicBezTo>
                <a:cubicBezTo>
                  <a:pt x="1336" y="1830"/>
                  <a:pt x="1304" y="1830"/>
                  <a:pt x="1288" y="1846"/>
                </a:cubicBezTo>
                <a:cubicBezTo>
                  <a:pt x="1256" y="1862"/>
                  <a:pt x="1240" y="1878"/>
                  <a:pt x="1240" y="1909"/>
                </a:cubicBezTo>
                <a:cubicBezTo>
                  <a:pt x="1225" y="2069"/>
                  <a:pt x="1240" y="2244"/>
                  <a:pt x="1272" y="2387"/>
                </a:cubicBezTo>
                <a:cubicBezTo>
                  <a:pt x="1288" y="2435"/>
                  <a:pt x="1288" y="2498"/>
                  <a:pt x="1288" y="2546"/>
                </a:cubicBezTo>
                <a:cubicBezTo>
                  <a:pt x="1288" y="2562"/>
                  <a:pt x="1272" y="2594"/>
                  <a:pt x="1272" y="2609"/>
                </a:cubicBezTo>
                <a:cubicBezTo>
                  <a:pt x="1256" y="2626"/>
                  <a:pt x="1288" y="2673"/>
                  <a:pt x="1304" y="2689"/>
                </a:cubicBezTo>
                <a:cubicBezTo>
                  <a:pt x="1320" y="2721"/>
                  <a:pt x="1320" y="2721"/>
                  <a:pt x="1320" y="2721"/>
                </a:cubicBezTo>
                <a:cubicBezTo>
                  <a:pt x="1495" y="2928"/>
                  <a:pt x="1574" y="3182"/>
                  <a:pt x="1606" y="3262"/>
                </a:cubicBezTo>
                <a:cubicBezTo>
                  <a:pt x="1654" y="3517"/>
                  <a:pt x="1686" y="3818"/>
                  <a:pt x="1702" y="4169"/>
                </a:cubicBezTo>
                <a:cubicBezTo>
                  <a:pt x="1702" y="4264"/>
                  <a:pt x="1686" y="4296"/>
                  <a:pt x="1686" y="4296"/>
                </a:cubicBezTo>
                <a:cubicBezTo>
                  <a:pt x="1670" y="4312"/>
                  <a:pt x="1670" y="4312"/>
                  <a:pt x="1654" y="4328"/>
                </a:cubicBezTo>
                <a:lnTo>
                  <a:pt x="1638" y="4328"/>
                </a:lnTo>
                <a:cubicBezTo>
                  <a:pt x="1638" y="4328"/>
                  <a:pt x="1591" y="4360"/>
                  <a:pt x="1527" y="4344"/>
                </a:cubicBezTo>
                <a:cubicBezTo>
                  <a:pt x="1495" y="4344"/>
                  <a:pt x="1479" y="4328"/>
                  <a:pt x="1463" y="4328"/>
                </a:cubicBezTo>
                <a:cubicBezTo>
                  <a:pt x="1447" y="4312"/>
                  <a:pt x="1447" y="4312"/>
                  <a:pt x="1447" y="4312"/>
                </a:cubicBezTo>
                <a:cubicBezTo>
                  <a:pt x="1431" y="4312"/>
                  <a:pt x="1431" y="4296"/>
                  <a:pt x="1431" y="4296"/>
                </a:cubicBezTo>
                <a:cubicBezTo>
                  <a:pt x="1416" y="4264"/>
                  <a:pt x="1416" y="4217"/>
                  <a:pt x="1416" y="4169"/>
                </a:cubicBezTo>
                <a:cubicBezTo>
                  <a:pt x="1416" y="4089"/>
                  <a:pt x="1416" y="4089"/>
                  <a:pt x="1416" y="4089"/>
                </a:cubicBezTo>
                <a:cubicBezTo>
                  <a:pt x="1416" y="3930"/>
                  <a:pt x="1400" y="3517"/>
                  <a:pt x="1336" y="3278"/>
                </a:cubicBezTo>
                <a:cubicBezTo>
                  <a:pt x="1288" y="3182"/>
                  <a:pt x="1225" y="3023"/>
                  <a:pt x="1113" y="2880"/>
                </a:cubicBezTo>
                <a:cubicBezTo>
                  <a:pt x="1097" y="2848"/>
                  <a:pt x="1065" y="2848"/>
                  <a:pt x="1034" y="2848"/>
                </a:cubicBezTo>
                <a:cubicBezTo>
                  <a:pt x="1002" y="2864"/>
                  <a:pt x="970" y="2896"/>
                  <a:pt x="970" y="2928"/>
                </a:cubicBezTo>
                <a:cubicBezTo>
                  <a:pt x="970" y="2960"/>
                  <a:pt x="970" y="2975"/>
                  <a:pt x="970" y="3007"/>
                </a:cubicBezTo>
                <a:cubicBezTo>
                  <a:pt x="938" y="3309"/>
                  <a:pt x="779" y="3723"/>
                  <a:pt x="477" y="4232"/>
                </a:cubicBezTo>
                <a:cubicBezTo>
                  <a:pt x="429" y="4296"/>
                  <a:pt x="397" y="4328"/>
                  <a:pt x="382" y="4344"/>
                </a:cubicBezTo>
                <a:cubicBezTo>
                  <a:pt x="365" y="4344"/>
                  <a:pt x="365" y="4344"/>
                  <a:pt x="349" y="4344"/>
                </a:cubicBezTo>
                <a:lnTo>
                  <a:pt x="334" y="4344"/>
                </a:lnTo>
                <a:cubicBezTo>
                  <a:pt x="334" y="4344"/>
                  <a:pt x="270" y="4344"/>
                  <a:pt x="222" y="4296"/>
                </a:cubicBezTo>
                <a:cubicBezTo>
                  <a:pt x="191" y="4264"/>
                  <a:pt x="174" y="4248"/>
                  <a:pt x="174" y="4248"/>
                </a:cubicBezTo>
                <a:cubicBezTo>
                  <a:pt x="159" y="4217"/>
                  <a:pt x="159" y="4217"/>
                  <a:pt x="159" y="4217"/>
                </a:cubicBezTo>
                <a:cubicBezTo>
                  <a:pt x="159" y="4200"/>
                  <a:pt x="159" y="4185"/>
                  <a:pt x="159" y="4185"/>
                </a:cubicBezTo>
                <a:cubicBezTo>
                  <a:pt x="159" y="4153"/>
                  <a:pt x="191" y="4105"/>
                  <a:pt x="206" y="4073"/>
                </a:cubicBezTo>
                <a:cubicBezTo>
                  <a:pt x="238" y="4041"/>
                  <a:pt x="238" y="4041"/>
                  <a:pt x="238" y="4041"/>
                </a:cubicBezTo>
                <a:cubicBezTo>
                  <a:pt x="238" y="4009"/>
                  <a:pt x="254" y="3994"/>
                  <a:pt x="254" y="3994"/>
                </a:cubicBezTo>
                <a:cubicBezTo>
                  <a:pt x="349" y="3851"/>
                  <a:pt x="572" y="3484"/>
                  <a:pt x="636" y="3230"/>
                </a:cubicBezTo>
                <a:cubicBezTo>
                  <a:pt x="668" y="3087"/>
                  <a:pt x="700" y="2864"/>
                  <a:pt x="652" y="2641"/>
                </a:cubicBezTo>
                <a:lnTo>
                  <a:pt x="652" y="2626"/>
                </a:lnTo>
                <a:cubicBezTo>
                  <a:pt x="620" y="2546"/>
                  <a:pt x="604" y="2450"/>
                  <a:pt x="604" y="2450"/>
                </a:cubicBezTo>
                <a:cubicBezTo>
                  <a:pt x="588" y="2275"/>
                  <a:pt x="588" y="2005"/>
                  <a:pt x="588" y="1989"/>
                </a:cubicBezTo>
                <a:cubicBezTo>
                  <a:pt x="588" y="1909"/>
                  <a:pt x="588" y="1830"/>
                  <a:pt x="604" y="1766"/>
                </a:cubicBezTo>
                <a:cubicBezTo>
                  <a:pt x="604" y="1639"/>
                  <a:pt x="604" y="1544"/>
                  <a:pt x="620" y="1464"/>
                </a:cubicBezTo>
                <a:cubicBezTo>
                  <a:pt x="652" y="1369"/>
                  <a:pt x="683" y="1321"/>
                  <a:pt x="683" y="1321"/>
                </a:cubicBezTo>
                <a:cubicBezTo>
                  <a:pt x="779" y="1209"/>
                  <a:pt x="906" y="1178"/>
                  <a:pt x="1065" y="1209"/>
                </a:cubicBezTo>
                <a:cubicBezTo>
                  <a:pt x="1145" y="1226"/>
                  <a:pt x="1193" y="1273"/>
                  <a:pt x="1209" y="1305"/>
                </a:cubicBezTo>
                <a:cubicBezTo>
                  <a:pt x="1240" y="1321"/>
                  <a:pt x="1256" y="1353"/>
                  <a:pt x="1272" y="1384"/>
                </a:cubicBezTo>
                <a:cubicBezTo>
                  <a:pt x="1272" y="1416"/>
                  <a:pt x="1288" y="1448"/>
                  <a:pt x="1288" y="1480"/>
                </a:cubicBezTo>
                <a:cubicBezTo>
                  <a:pt x="1288" y="1512"/>
                  <a:pt x="1288" y="1544"/>
                  <a:pt x="1288" y="1560"/>
                </a:cubicBezTo>
                <a:cubicBezTo>
                  <a:pt x="1288" y="1591"/>
                  <a:pt x="1304" y="1623"/>
                  <a:pt x="1336" y="1639"/>
                </a:cubicBezTo>
                <a:cubicBezTo>
                  <a:pt x="1416" y="1687"/>
                  <a:pt x="1511" y="1735"/>
                  <a:pt x="1622" y="1782"/>
                </a:cubicBezTo>
                <a:cubicBezTo>
                  <a:pt x="1702" y="1814"/>
                  <a:pt x="1845" y="1878"/>
                  <a:pt x="2004" y="1926"/>
                </a:cubicBezTo>
                <a:cubicBezTo>
                  <a:pt x="2004" y="1926"/>
                  <a:pt x="2052" y="1926"/>
                  <a:pt x="2147" y="1941"/>
                </a:cubicBezTo>
                <a:cubicBezTo>
                  <a:pt x="2259" y="1941"/>
                  <a:pt x="2291" y="1957"/>
                  <a:pt x="2291" y="1957"/>
                </a:cubicBezTo>
                <a:cubicBezTo>
                  <a:pt x="2322" y="1957"/>
                  <a:pt x="2322" y="1973"/>
                  <a:pt x="2322" y="1973"/>
                </a:cubicBezTo>
                <a:close/>
                <a:moveTo>
                  <a:pt x="4773" y="4057"/>
                </a:moveTo>
                <a:cubicBezTo>
                  <a:pt x="4756" y="4121"/>
                  <a:pt x="4709" y="4169"/>
                  <a:pt x="4645" y="4200"/>
                </a:cubicBezTo>
                <a:cubicBezTo>
                  <a:pt x="4518" y="4264"/>
                  <a:pt x="4375" y="4217"/>
                  <a:pt x="4311" y="4089"/>
                </a:cubicBezTo>
                <a:cubicBezTo>
                  <a:pt x="4279" y="4026"/>
                  <a:pt x="4279" y="3962"/>
                  <a:pt x="4295" y="3898"/>
                </a:cubicBezTo>
                <a:cubicBezTo>
                  <a:pt x="4311" y="3835"/>
                  <a:pt x="4359" y="3787"/>
                  <a:pt x="4422" y="3755"/>
                </a:cubicBezTo>
                <a:cubicBezTo>
                  <a:pt x="4454" y="3739"/>
                  <a:pt x="4502" y="3723"/>
                  <a:pt x="4534" y="3723"/>
                </a:cubicBezTo>
                <a:cubicBezTo>
                  <a:pt x="4629" y="3723"/>
                  <a:pt x="4725" y="3771"/>
                  <a:pt x="4756" y="3866"/>
                </a:cubicBezTo>
                <a:cubicBezTo>
                  <a:pt x="4788" y="3930"/>
                  <a:pt x="4804" y="3994"/>
                  <a:pt x="4773" y="4057"/>
                </a:cubicBezTo>
                <a:close/>
                <a:moveTo>
                  <a:pt x="4884" y="3739"/>
                </a:moveTo>
                <a:cubicBezTo>
                  <a:pt x="4868" y="3739"/>
                  <a:pt x="4868" y="3739"/>
                  <a:pt x="4868" y="3739"/>
                </a:cubicBezTo>
                <a:cubicBezTo>
                  <a:pt x="4756" y="3580"/>
                  <a:pt x="4534" y="3517"/>
                  <a:pt x="4359" y="3612"/>
                </a:cubicBezTo>
                <a:cubicBezTo>
                  <a:pt x="4247" y="3660"/>
                  <a:pt x="4184" y="3739"/>
                  <a:pt x="4152" y="3851"/>
                </a:cubicBezTo>
                <a:cubicBezTo>
                  <a:pt x="4120" y="3930"/>
                  <a:pt x="4120" y="4009"/>
                  <a:pt x="4136" y="4105"/>
                </a:cubicBezTo>
                <a:cubicBezTo>
                  <a:pt x="3865" y="4232"/>
                  <a:pt x="3865" y="4232"/>
                  <a:pt x="3865" y="4232"/>
                </a:cubicBezTo>
                <a:cubicBezTo>
                  <a:pt x="3102" y="2721"/>
                  <a:pt x="3102" y="2721"/>
                  <a:pt x="3102" y="2721"/>
                </a:cubicBezTo>
                <a:cubicBezTo>
                  <a:pt x="4295" y="2132"/>
                  <a:pt x="4295" y="2132"/>
                  <a:pt x="4295" y="2132"/>
                </a:cubicBezTo>
                <a:cubicBezTo>
                  <a:pt x="5043" y="3644"/>
                  <a:pt x="5043" y="3644"/>
                  <a:pt x="5043" y="364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3" name="Freeform: Shape 19">
            <a:extLst>
              <a:ext uri="{FF2B5EF4-FFF2-40B4-BE49-F238E27FC236}">
                <a16:creationId xmlns:a16="http://schemas.microsoft.com/office/drawing/2014/main" id="{0F123D5F-F837-624C-BEC5-3116856EDBBD}"/>
              </a:ext>
            </a:extLst>
          </p:cNvPr>
          <p:cNvSpPr/>
          <p:nvPr/>
        </p:nvSpPr>
        <p:spPr>
          <a:xfrm>
            <a:off x="6260581" y="6352411"/>
            <a:ext cx="1051324" cy="1850048"/>
          </a:xfrm>
          <a:custGeom>
            <a:avLst/>
            <a:gdLst/>
            <a:ahLst/>
            <a:cxnLst>
              <a:cxn ang="3cd4">
                <a:pos x="hc" y="t"/>
              </a:cxn>
              <a:cxn ang="cd2">
                <a:pos x="l" y="vc"/>
              </a:cxn>
              <a:cxn ang="cd4">
                <a:pos x="hc" y="b"/>
              </a:cxn>
              <a:cxn ang="0">
                <a:pos x="r" y="vc"/>
              </a:cxn>
            </a:cxnLst>
            <a:rect l="l" t="t" r="r" b="b"/>
            <a:pathLst>
              <a:path w="3264" h="5743">
                <a:moveTo>
                  <a:pt x="533" y="1480"/>
                </a:moveTo>
                <a:cubicBezTo>
                  <a:pt x="8" y="3134"/>
                  <a:pt x="8" y="3134"/>
                  <a:pt x="8" y="3134"/>
                </a:cubicBezTo>
                <a:cubicBezTo>
                  <a:pt x="-24" y="3246"/>
                  <a:pt x="40" y="3341"/>
                  <a:pt x="135" y="3373"/>
                </a:cubicBezTo>
                <a:cubicBezTo>
                  <a:pt x="278" y="3420"/>
                  <a:pt x="454" y="3373"/>
                  <a:pt x="549" y="3229"/>
                </a:cubicBezTo>
                <a:cubicBezTo>
                  <a:pt x="390" y="3691"/>
                  <a:pt x="390" y="3691"/>
                  <a:pt x="390" y="3691"/>
                </a:cubicBezTo>
                <a:cubicBezTo>
                  <a:pt x="390" y="3723"/>
                  <a:pt x="390" y="3739"/>
                  <a:pt x="406" y="3771"/>
                </a:cubicBezTo>
                <a:cubicBezTo>
                  <a:pt x="422" y="3786"/>
                  <a:pt x="438" y="3802"/>
                  <a:pt x="469" y="3802"/>
                </a:cubicBezTo>
                <a:cubicBezTo>
                  <a:pt x="1042" y="3802"/>
                  <a:pt x="1042" y="3802"/>
                  <a:pt x="1042" y="3802"/>
                </a:cubicBezTo>
                <a:cubicBezTo>
                  <a:pt x="1042" y="3977"/>
                  <a:pt x="1042" y="4137"/>
                  <a:pt x="1042" y="4311"/>
                </a:cubicBezTo>
                <a:cubicBezTo>
                  <a:pt x="1026" y="4582"/>
                  <a:pt x="1026" y="4900"/>
                  <a:pt x="1042" y="5425"/>
                </a:cubicBezTo>
                <a:cubicBezTo>
                  <a:pt x="1042" y="5600"/>
                  <a:pt x="1185" y="5743"/>
                  <a:pt x="1329" y="5743"/>
                </a:cubicBezTo>
                <a:cubicBezTo>
                  <a:pt x="1488" y="5743"/>
                  <a:pt x="1615" y="5632"/>
                  <a:pt x="1631" y="5489"/>
                </a:cubicBezTo>
                <a:cubicBezTo>
                  <a:pt x="1647" y="5632"/>
                  <a:pt x="1790" y="5743"/>
                  <a:pt x="1933" y="5743"/>
                </a:cubicBezTo>
                <a:cubicBezTo>
                  <a:pt x="2092" y="5743"/>
                  <a:pt x="2236" y="5600"/>
                  <a:pt x="2236" y="5441"/>
                </a:cubicBezTo>
                <a:cubicBezTo>
                  <a:pt x="2236" y="4900"/>
                  <a:pt x="2236" y="4582"/>
                  <a:pt x="2236" y="4311"/>
                </a:cubicBezTo>
                <a:cubicBezTo>
                  <a:pt x="2236" y="4137"/>
                  <a:pt x="2236" y="3977"/>
                  <a:pt x="2236" y="3802"/>
                </a:cubicBezTo>
                <a:cubicBezTo>
                  <a:pt x="2808" y="3802"/>
                  <a:pt x="2808" y="3802"/>
                  <a:pt x="2808" y="3802"/>
                </a:cubicBezTo>
                <a:cubicBezTo>
                  <a:pt x="2824" y="3802"/>
                  <a:pt x="2856" y="3786"/>
                  <a:pt x="2872" y="3771"/>
                </a:cubicBezTo>
                <a:cubicBezTo>
                  <a:pt x="2888" y="3739"/>
                  <a:pt x="2888" y="3723"/>
                  <a:pt x="2872" y="3691"/>
                </a:cubicBezTo>
                <a:cubicBezTo>
                  <a:pt x="2729" y="3229"/>
                  <a:pt x="2729" y="3229"/>
                  <a:pt x="2729" y="3229"/>
                </a:cubicBezTo>
                <a:cubicBezTo>
                  <a:pt x="2808" y="3373"/>
                  <a:pt x="2999" y="3420"/>
                  <a:pt x="3126" y="3373"/>
                </a:cubicBezTo>
                <a:cubicBezTo>
                  <a:pt x="3238" y="3341"/>
                  <a:pt x="3285" y="3246"/>
                  <a:pt x="3254" y="3134"/>
                </a:cubicBezTo>
                <a:cubicBezTo>
                  <a:pt x="2745" y="1480"/>
                  <a:pt x="2745" y="1480"/>
                  <a:pt x="2745" y="1480"/>
                </a:cubicBezTo>
                <a:cubicBezTo>
                  <a:pt x="2633" y="1146"/>
                  <a:pt x="2331" y="986"/>
                  <a:pt x="1806" y="955"/>
                </a:cubicBezTo>
                <a:cubicBezTo>
                  <a:pt x="1997" y="891"/>
                  <a:pt x="2140" y="700"/>
                  <a:pt x="2140" y="493"/>
                </a:cubicBezTo>
                <a:cubicBezTo>
                  <a:pt x="2140" y="223"/>
                  <a:pt x="1917" y="0"/>
                  <a:pt x="1647" y="0"/>
                </a:cubicBezTo>
                <a:cubicBezTo>
                  <a:pt x="1631" y="0"/>
                  <a:pt x="1631" y="0"/>
                  <a:pt x="1631" y="0"/>
                </a:cubicBezTo>
                <a:cubicBezTo>
                  <a:pt x="1360" y="0"/>
                  <a:pt x="1138" y="223"/>
                  <a:pt x="1138" y="493"/>
                </a:cubicBezTo>
                <a:cubicBezTo>
                  <a:pt x="1138" y="700"/>
                  <a:pt x="1281" y="891"/>
                  <a:pt x="1472" y="955"/>
                </a:cubicBezTo>
                <a:cubicBezTo>
                  <a:pt x="947" y="986"/>
                  <a:pt x="645" y="1146"/>
                  <a:pt x="533" y="1480"/>
                </a:cubicBezTo>
                <a:close/>
                <a:moveTo>
                  <a:pt x="1297" y="493"/>
                </a:moveTo>
                <a:cubicBezTo>
                  <a:pt x="1297" y="302"/>
                  <a:pt x="1440" y="159"/>
                  <a:pt x="1631" y="159"/>
                </a:cubicBezTo>
                <a:lnTo>
                  <a:pt x="1647" y="159"/>
                </a:lnTo>
                <a:cubicBezTo>
                  <a:pt x="1822" y="159"/>
                  <a:pt x="1981" y="302"/>
                  <a:pt x="1981" y="493"/>
                </a:cubicBezTo>
                <a:cubicBezTo>
                  <a:pt x="1981" y="668"/>
                  <a:pt x="1822" y="827"/>
                  <a:pt x="1647" y="827"/>
                </a:cubicBezTo>
                <a:cubicBezTo>
                  <a:pt x="1631" y="827"/>
                  <a:pt x="1631" y="827"/>
                  <a:pt x="1631" y="827"/>
                </a:cubicBezTo>
                <a:cubicBezTo>
                  <a:pt x="1440" y="827"/>
                  <a:pt x="1297" y="668"/>
                  <a:pt x="1297" y="493"/>
                </a:cubicBezTo>
                <a:close/>
                <a:moveTo>
                  <a:pt x="1631" y="1114"/>
                </a:moveTo>
                <a:lnTo>
                  <a:pt x="1647" y="1114"/>
                </a:lnTo>
                <a:lnTo>
                  <a:pt x="1663" y="1114"/>
                </a:lnTo>
                <a:cubicBezTo>
                  <a:pt x="2203" y="1114"/>
                  <a:pt x="2490" y="1241"/>
                  <a:pt x="2585" y="1527"/>
                </a:cubicBezTo>
                <a:cubicBezTo>
                  <a:pt x="3094" y="3182"/>
                  <a:pt x="3094" y="3182"/>
                  <a:pt x="3094" y="3182"/>
                </a:cubicBezTo>
                <a:cubicBezTo>
                  <a:pt x="3111" y="3198"/>
                  <a:pt x="3111" y="3214"/>
                  <a:pt x="3079" y="3229"/>
                </a:cubicBezTo>
                <a:cubicBezTo>
                  <a:pt x="3015" y="3246"/>
                  <a:pt x="2888" y="3214"/>
                  <a:pt x="2856" y="3118"/>
                </a:cubicBezTo>
                <a:cubicBezTo>
                  <a:pt x="2840" y="3086"/>
                  <a:pt x="2840" y="3086"/>
                  <a:pt x="2840" y="3086"/>
                </a:cubicBezTo>
                <a:cubicBezTo>
                  <a:pt x="2633" y="2561"/>
                  <a:pt x="2394" y="1909"/>
                  <a:pt x="2331" y="1782"/>
                </a:cubicBezTo>
                <a:cubicBezTo>
                  <a:pt x="2315" y="1750"/>
                  <a:pt x="2267" y="1671"/>
                  <a:pt x="2188" y="1686"/>
                </a:cubicBezTo>
                <a:cubicBezTo>
                  <a:pt x="2140" y="1686"/>
                  <a:pt x="2108" y="1734"/>
                  <a:pt x="2108" y="1814"/>
                </a:cubicBezTo>
                <a:cubicBezTo>
                  <a:pt x="2108" y="1829"/>
                  <a:pt x="2108" y="1829"/>
                  <a:pt x="2108" y="1846"/>
                </a:cubicBezTo>
                <a:cubicBezTo>
                  <a:pt x="2697" y="3643"/>
                  <a:pt x="2697" y="3643"/>
                  <a:pt x="2697" y="3643"/>
                </a:cubicBezTo>
                <a:cubicBezTo>
                  <a:pt x="2188" y="3643"/>
                  <a:pt x="2188" y="3643"/>
                  <a:pt x="2188" y="3643"/>
                </a:cubicBezTo>
                <a:cubicBezTo>
                  <a:pt x="2124" y="3643"/>
                  <a:pt x="2076" y="3691"/>
                  <a:pt x="2076" y="3739"/>
                </a:cubicBezTo>
                <a:cubicBezTo>
                  <a:pt x="2076" y="3946"/>
                  <a:pt x="2076" y="4120"/>
                  <a:pt x="2076" y="4311"/>
                </a:cubicBezTo>
                <a:cubicBezTo>
                  <a:pt x="2076" y="4598"/>
                  <a:pt x="2076" y="4900"/>
                  <a:pt x="2076" y="5425"/>
                </a:cubicBezTo>
                <a:cubicBezTo>
                  <a:pt x="2076" y="5505"/>
                  <a:pt x="1997" y="5584"/>
                  <a:pt x="1933" y="5584"/>
                </a:cubicBezTo>
                <a:cubicBezTo>
                  <a:pt x="1854" y="5584"/>
                  <a:pt x="1790" y="5520"/>
                  <a:pt x="1790" y="5457"/>
                </a:cubicBezTo>
                <a:cubicBezTo>
                  <a:pt x="1790" y="5457"/>
                  <a:pt x="1774" y="3834"/>
                  <a:pt x="1774" y="3739"/>
                </a:cubicBezTo>
                <a:cubicBezTo>
                  <a:pt x="1758" y="3691"/>
                  <a:pt x="1726" y="3643"/>
                  <a:pt x="1663" y="3643"/>
                </a:cubicBezTo>
                <a:cubicBezTo>
                  <a:pt x="1631" y="3643"/>
                  <a:pt x="1631" y="3643"/>
                  <a:pt x="1631" y="3643"/>
                </a:cubicBezTo>
                <a:lnTo>
                  <a:pt x="1615" y="3643"/>
                </a:lnTo>
                <a:cubicBezTo>
                  <a:pt x="1551" y="3643"/>
                  <a:pt x="1503" y="3691"/>
                  <a:pt x="1503" y="3755"/>
                </a:cubicBezTo>
                <a:cubicBezTo>
                  <a:pt x="1503" y="3834"/>
                  <a:pt x="1472" y="5457"/>
                  <a:pt x="1472" y="5457"/>
                </a:cubicBezTo>
                <a:cubicBezTo>
                  <a:pt x="1472" y="5520"/>
                  <a:pt x="1408" y="5584"/>
                  <a:pt x="1329" y="5584"/>
                </a:cubicBezTo>
                <a:cubicBezTo>
                  <a:pt x="1265" y="5584"/>
                  <a:pt x="1202" y="5505"/>
                  <a:pt x="1202" y="5425"/>
                </a:cubicBezTo>
                <a:cubicBezTo>
                  <a:pt x="1185" y="4900"/>
                  <a:pt x="1185" y="4582"/>
                  <a:pt x="1202" y="4311"/>
                </a:cubicBezTo>
                <a:cubicBezTo>
                  <a:pt x="1202" y="4120"/>
                  <a:pt x="1202" y="3946"/>
                  <a:pt x="1202" y="3739"/>
                </a:cubicBezTo>
                <a:cubicBezTo>
                  <a:pt x="1202" y="3691"/>
                  <a:pt x="1154" y="3643"/>
                  <a:pt x="1074" y="3643"/>
                </a:cubicBezTo>
                <a:cubicBezTo>
                  <a:pt x="581" y="3643"/>
                  <a:pt x="581" y="3643"/>
                  <a:pt x="581" y="3643"/>
                </a:cubicBezTo>
                <a:cubicBezTo>
                  <a:pt x="1154" y="1846"/>
                  <a:pt x="1154" y="1846"/>
                  <a:pt x="1154" y="1846"/>
                </a:cubicBezTo>
                <a:cubicBezTo>
                  <a:pt x="1154" y="1829"/>
                  <a:pt x="1154" y="1829"/>
                  <a:pt x="1154" y="1814"/>
                </a:cubicBezTo>
                <a:cubicBezTo>
                  <a:pt x="1154" y="1734"/>
                  <a:pt x="1138" y="1686"/>
                  <a:pt x="1074" y="1686"/>
                </a:cubicBezTo>
                <a:cubicBezTo>
                  <a:pt x="994" y="1671"/>
                  <a:pt x="947" y="1750"/>
                  <a:pt x="947" y="1782"/>
                </a:cubicBezTo>
                <a:cubicBezTo>
                  <a:pt x="883" y="1909"/>
                  <a:pt x="629" y="2561"/>
                  <a:pt x="422" y="3086"/>
                </a:cubicBezTo>
                <a:cubicBezTo>
                  <a:pt x="422" y="3118"/>
                  <a:pt x="422" y="3118"/>
                  <a:pt x="422" y="3118"/>
                </a:cubicBezTo>
                <a:cubicBezTo>
                  <a:pt x="374" y="3214"/>
                  <a:pt x="263" y="3246"/>
                  <a:pt x="199" y="3229"/>
                </a:cubicBezTo>
                <a:cubicBezTo>
                  <a:pt x="167" y="3214"/>
                  <a:pt x="167" y="3198"/>
                  <a:pt x="167" y="3182"/>
                </a:cubicBezTo>
                <a:cubicBezTo>
                  <a:pt x="676" y="1527"/>
                  <a:pt x="676" y="1527"/>
                  <a:pt x="676" y="1527"/>
                </a:cubicBezTo>
                <a:cubicBezTo>
                  <a:pt x="772" y="1241"/>
                  <a:pt x="1074" y="1114"/>
                  <a:pt x="1631" y="111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4" name="Freeform: Shape 1">
            <a:extLst>
              <a:ext uri="{FF2B5EF4-FFF2-40B4-BE49-F238E27FC236}">
                <a16:creationId xmlns:a16="http://schemas.microsoft.com/office/drawing/2014/main" id="{2A1FAAA3-87C4-0D4B-AB77-DA0CD3221120}"/>
              </a:ext>
            </a:extLst>
          </p:cNvPr>
          <p:cNvSpPr/>
          <p:nvPr/>
        </p:nvSpPr>
        <p:spPr>
          <a:xfrm>
            <a:off x="17966424" y="9922384"/>
            <a:ext cx="793403" cy="1531810"/>
          </a:xfrm>
          <a:custGeom>
            <a:avLst/>
            <a:gdLst/>
            <a:ahLst/>
            <a:cxnLst>
              <a:cxn ang="3cd4">
                <a:pos x="hc" y="t"/>
              </a:cxn>
              <a:cxn ang="cd2">
                <a:pos x="l" y="vc"/>
              </a:cxn>
              <a:cxn ang="cd4">
                <a:pos x="hc" y="b"/>
              </a:cxn>
              <a:cxn ang="0">
                <a:pos x="r" y="vc"/>
              </a:cxn>
            </a:cxnLst>
            <a:rect l="l" t="t" r="r" b="b"/>
            <a:pathLst>
              <a:path w="2266" h="4374">
                <a:moveTo>
                  <a:pt x="2198" y="2116"/>
                </a:moveTo>
                <a:cubicBezTo>
                  <a:pt x="1561" y="1496"/>
                  <a:pt x="1561" y="1496"/>
                  <a:pt x="1561" y="1496"/>
                </a:cubicBezTo>
                <a:cubicBezTo>
                  <a:pt x="1561" y="1464"/>
                  <a:pt x="1561" y="1448"/>
                  <a:pt x="1561" y="1416"/>
                </a:cubicBezTo>
                <a:lnTo>
                  <a:pt x="1546" y="1416"/>
                </a:lnTo>
                <a:cubicBezTo>
                  <a:pt x="1546" y="1384"/>
                  <a:pt x="1530" y="1336"/>
                  <a:pt x="1530" y="1305"/>
                </a:cubicBezTo>
                <a:cubicBezTo>
                  <a:pt x="1530" y="1305"/>
                  <a:pt x="1514" y="1305"/>
                  <a:pt x="1514" y="1289"/>
                </a:cubicBezTo>
                <a:cubicBezTo>
                  <a:pt x="1514" y="1273"/>
                  <a:pt x="1482" y="1225"/>
                  <a:pt x="1450" y="1178"/>
                </a:cubicBezTo>
                <a:cubicBezTo>
                  <a:pt x="1434" y="1161"/>
                  <a:pt x="1418" y="1130"/>
                  <a:pt x="1386" y="1114"/>
                </a:cubicBezTo>
                <a:cubicBezTo>
                  <a:pt x="1625" y="1050"/>
                  <a:pt x="1800" y="827"/>
                  <a:pt x="1800" y="573"/>
                </a:cubicBezTo>
                <a:cubicBezTo>
                  <a:pt x="1800" y="255"/>
                  <a:pt x="1546" y="0"/>
                  <a:pt x="1228" y="0"/>
                </a:cubicBezTo>
                <a:cubicBezTo>
                  <a:pt x="925" y="0"/>
                  <a:pt x="671" y="255"/>
                  <a:pt x="671" y="573"/>
                </a:cubicBezTo>
                <a:cubicBezTo>
                  <a:pt x="671" y="764"/>
                  <a:pt x="766" y="939"/>
                  <a:pt x="909" y="1034"/>
                </a:cubicBezTo>
                <a:cubicBezTo>
                  <a:pt x="830" y="1066"/>
                  <a:pt x="750" y="1114"/>
                  <a:pt x="687" y="1193"/>
                </a:cubicBezTo>
                <a:cubicBezTo>
                  <a:pt x="687" y="1193"/>
                  <a:pt x="687" y="1209"/>
                  <a:pt x="671" y="1225"/>
                </a:cubicBezTo>
                <a:cubicBezTo>
                  <a:pt x="655" y="1225"/>
                  <a:pt x="655" y="1241"/>
                  <a:pt x="655" y="1241"/>
                </a:cubicBezTo>
                <a:cubicBezTo>
                  <a:pt x="50" y="1957"/>
                  <a:pt x="50" y="1957"/>
                  <a:pt x="50" y="1957"/>
                </a:cubicBezTo>
                <a:cubicBezTo>
                  <a:pt x="-29" y="2052"/>
                  <a:pt x="-13" y="2196"/>
                  <a:pt x="82" y="2259"/>
                </a:cubicBezTo>
                <a:cubicBezTo>
                  <a:pt x="130" y="2306"/>
                  <a:pt x="178" y="2323"/>
                  <a:pt x="225" y="2323"/>
                </a:cubicBezTo>
                <a:cubicBezTo>
                  <a:pt x="289" y="2323"/>
                  <a:pt x="353" y="2291"/>
                  <a:pt x="400" y="2243"/>
                </a:cubicBezTo>
                <a:cubicBezTo>
                  <a:pt x="559" y="2036"/>
                  <a:pt x="559" y="2036"/>
                  <a:pt x="559" y="2036"/>
                </a:cubicBezTo>
                <a:cubicBezTo>
                  <a:pt x="559" y="2132"/>
                  <a:pt x="559" y="2291"/>
                  <a:pt x="576" y="2402"/>
                </a:cubicBezTo>
                <a:cubicBezTo>
                  <a:pt x="591" y="2418"/>
                  <a:pt x="591" y="2514"/>
                  <a:pt x="639" y="2609"/>
                </a:cubicBezTo>
                <a:cubicBezTo>
                  <a:pt x="655" y="2784"/>
                  <a:pt x="639" y="2975"/>
                  <a:pt x="607" y="3102"/>
                </a:cubicBezTo>
                <a:cubicBezTo>
                  <a:pt x="543" y="3324"/>
                  <a:pt x="337" y="3690"/>
                  <a:pt x="273" y="3802"/>
                </a:cubicBezTo>
                <a:cubicBezTo>
                  <a:pt x="257" y="3802"/>
                  <a:pt x="257" y="3818"/>
                  <a:pt x="241" y="3833"/>
                </a:cubicBezTo>
                <a:lnTo>
                  <a:pt x="225" y="3850"/>
                </a:lnTo>
                <a:cubicBezTo>
                  <a:pt x="225" y="3865"/>
                  <a:pt x="225" y="3865"/>
                  <a:pt x="225" y="3865"/>
                </a:cubicBezTo>
                <a:cubicBezTo>
                  <a:pt x="194" y="3913"/>
                  <a:pt x="162" y="3961"/>
                  <a:pt x="146" y="4008"/>
                </a:cubicBezTo>
                <a:cubicBezTo>
                  <a:pt x="146" y="4024"/>
                  <a:pt x="146" y="4024"/>
                  <a:pt x="146" y="4024"/>
                </a:cubicBezTo>
                <a:cubicBezTo>
                  <a:pt x="146" y="4056"/>
                  <a:pt x="146" y="4072"/>
                  <a:pt x="146" y="4104"/>
                </a:cubicBezTo>
                <a:lnTo>
                  <a:pt x="146" y="4120"/>
                </a:lnTo>
                <a:cubicBezTo>
                  <a:pt x="162" y="4136"/>
                  <a:pt x="162" y="4168"/>
                  <a:pt x="178" y="4183"/>
                </a:cubicBezTo>
                <a:cubicBezTo>
                  <a:pt x="178" y="4199"/>
                  <a:pt x="178" y="4199"/>
                  <a:pt x="178" y="4199"/>
                </a:cubicBezTo>
                <a:lnTo>
                  <a:pt x="194" y="4199"/>
                </a:lnTo>
                <a:cubicBezTo>
                  <a:pt x="194" y="4215"/>
                  <a:pt x="225" y="4247"/>
                  <a:pt x="257" y="4279"/>
                </a:cubicBezTo>
                <a:cubicBezTo>
                  <a:pt x="353" y="4359"/>
                  <a:pt x="432" y="4374"/>
                  <a:pt x="448" y="4374"/>
                </a:cubicBezTo>
                <a:cubicBezTo>
                  <a:pt x="480" y="4374"/>
                  <a:pt x="480" y="4374"/>
                  <a:pt x="496" y="4374"/>
                </a:cubicBezTo>
                <a:cubicBezTo>
                  <a:pt x="528" y="4374"/>
                  <a:pt x="559" y="4359"/>
                  <a:pt x="591" y="4342"/>
                </a:cubicBezTo>
                <a:cubicBezTo>
                  <a:pt x="639" y="4311"/>
                  <a:pt x="687" y="4263"/>
                  <a:pt x="734" y="4183"/>
                </a:cubicBezTo>
                <a:cubicBezTo>
                  <a:pt x="750" y="4183"/>
                  <a:pt x="750" y="4183"/>
                  <a:pt x="750" y="4183"/>
                </a:cubicBezTo>
                <a:cubicBezTo>
                  <a:pt x="1005" y="3738"/>
                  <a:pt x="1164" y="3372"/>
                  <a:pt x="1228" y="3086"/>
                </a:cubicBezTo>
                <a:cubicBezTo>
                  <a:pt x="1243" y="3134"/>
                  <a:pt x="1275" y="3197"/>
                  <a:pt x="1291" y="3229"/>
                </a:cubicBezTo>
                <a:cubicBezTo>
                  <a:pt x="1355" y="3452"/>
                  <a:pt x="1355" y="3850"/>
                  <a:pt x="1355" y="3961"/>
                </a:cubicBezTo>
                <a:cubicBezTo>
                  <a:pt x="1355" y="4008"/>
                  <a:pt x="1355" y="4008"/>
                  <a:pt x="1355" y="4008"/>
                </a:cubicBezTo>
                <a:cubicBezTo>
                  <a:pt x="1355" y="4024"/>
                  <a:pt x="1355" y="4024"/>
                  <a:pt x="1355" y="4040"/>
                </a:cubicBezTo>
                <a:cubicBezTo>
                  <a:pt x="1355" y="4104"/>
                  <a:pt x="1371" y="4168"/>
                  <a:pt x="1386" y="4215"/>
                </a:cubicBezTo>
                <a:cubicBezTo>
                  <a:pt x="1386" y="4231"/>
                  <a:pt x="1403" y="4263"/>
                  <a:pt x="1434" y="4279"/>
                </a:cubicBezTo>
                <a:lnTo>
                  <a:pt x="1434" y="4295"/>
                </a:lnTo>
                <a:cubicBezTo>
                  <a:pt x="1450" y="4311"/>
                  <a:pt x="1466" y="4327"/>
                  <a:pt x="1498" y="4342"/>
                </a:cubicBezTo>
                <a:lnTo>
                  <a:pt x="1514" y="4342"/>
                </a:lnTo>
                <a:cubicBezTo>
                  <a:pt x="1530" y="4359"/>
                  <a:pt x="1577" y="4359"/>
                  <a:pt x="1593" y="4374"/>
                </a:cubicBezTo>
                <a:lnTo>
                  <a:pt x="1609" y="4374"/>
                </a:lnTo>
                <a:cubicBezTo>
                  <a:pt x="1625" y="4374"/>
                  <a:pt x="1641" y="4374"/>
                  <a:pt x="1657" y="4374"/>
                </a:cubicBezTo>
                <a:cubicBezTo>
                  <a:pt x="1736" y="4374"/>
                  <a:pt x="1800" y="4342"/>
                  <a:pt x="1800" y="4342"/>
                </a:cubicBezTo>
                <a:lnTo>
                  <a:pt x="1816" y="4342"/>
                </a:lnTo>
                <a:cubicBezTo>
                  <a:pt x="1832" y="4327"/>
                  <a:pt x="1832" y="4327"/>
                  <a:pt x="1848" y="4327"/>
                </a:cubicBezTo>
                <a:cubicBezTo>
                  <a:pt x="1864" y="4311"/>
                  <a:pt x="1895" y="4279"/>
                  <a:pt x="1912" y="4247"/>
                </a:cubicBezTo>
                <a:cubicBezTo>
                  <a:pt x="1927" y="4199"/>
                  <a:pt x="1943" y="4136"/>
                  <a:pt x="1959" y="4040"/>
                </a:cubicBezTo>
                <a:cubicBezTo>
                  <a:pt x="1943" y="3675"/>
                  <a:pt x="1912" y="3372"/>
                  <a:pt x="1848" y="3134"/>
                </a:cubicBezTo>
                <a:cubicBezTo>
                  <a:pt x="1816" y="3038"/>
                  <a:pt x="1736" y="2768"/>
                  <a:pt x="1546" y="2545"/>
                </a:cubicBezTo>
                <a:cubicBezTo>
                  <a:pt x="1546" y="2529"/>
                  <a:pt x="1546" y="2529"/>
                  <a:pt x="1546" y="2529"/>
                </a:cubicBezTo>
                <a:lnTo>
                  <a:pt x="1546" y="2514"/>
                </a:lnTo>
                <a:cubicBezTo>
                  <a:pt x="1561" y="2418"/>
                  <a:pt x="1546" y="2323"/>
                  <a:pt x="1530" y="2291"/>
                </a:cubicBezTo>
                <a:cubicBezTo>
                  <a:pt x="1530" y="2275"/>
                  <a:pt x="1530" y="2275"/>
                  <a:pt x="1530" y="2275"/>
                </a:cubicBezTo>
                <a:cubicBezTo>
                  <a:pt x="1514" y="2211"/>
                  <a:pt x="1514" y="2132"/>
                  <a:pt x="1498" y="2052"/>
                </a:cubicBezTo>
                <a:cubicBezTo>
                  <a:pt x="1895" y="2434"/>
                  <a:pt x="1895" y="2434"/>
                  <a:pt x="1895" y="2434"/>
                </a:cubicBezTo>
                <a:cubicBezTo>
                  <a:pt x="1943" y="2466"/>
                  <a:pt x="1991" y="2497"/>
                  <a:pt x="2055" y="2497"/>
                </a:cubicBezTo>
                <a:cubicBezTo>
                  <a:pt x="2118" y="2482"/>
                  <a:pt x="2166" y="2466"/>
                  <a:pt x="2213" y="2418"/>
                </a:cubicBezTo>
                <a:cubicBezTo>
                  <a:pt x="2245" y="2386"/>
                  <a:pt x="2277" y="2323"/>
                  <a:pt x="2261" y="2259"/>
                </a:cubicBezTo>
                <a:cubicBezTo>
                  <a:pt x="2261" y="2211"/>
                  <a:pt x="2245" y="2148"/>
                  <a:pt x="2198" y="2116"/>
                </a:cubicBezTo>
                <a:close/>
                <a:moveTo>
                  <a:pt x="830" y="573"/>
                </a:moveTo>
                <a:cubicBezTo>
                  <a:pt x="830" y="351"/>
                  <a:pt x="1005" y="160"/>
                  <a:pt x="1228" y="160"/>
                </a:cubicBezTo>
                <a:cubicBezTo>
                  <a:pt x="1466" y="160"/>
                  <a:pt x="1641" y="351"/>
                  <a:pt x="1641" y="573"/>
                </a:cubicBezTo>
                <a:cubicBezTo>
                  <a:pt x="1641" y="796"/>
                  <a:pt x="1466" y="987"/>
                  <a:pt x="1228" y="987"/>
                </a:cubicBezTo>
                <a:cubicBezTo>
                  <a:pt x="1005" y="987"/>
                  <a:pt x="830" y="796"/>
                  <a:pt x="830" y="573"/>
                </a:cubicBezTo>
                <a:close/>
                <a:moveTo>
                  <a:pt x="273" y="2132"/>
                </a:moveTo>
                <a:cubicBezTo>
                  <a:pt x="257" y="2163"/>
                  <a:pt x="210" y="2163"/>
                  <a:pt x="178" y="2148"/>
                </a:cubicBezTo>
                <a:cubicBezTo>
                  <a:pt x="162" y="2116"/>
                  <a:pt x="162" y="2084"/>
                  <a:pt x="178" y="2052"/>
                </a:cubicBezTo>
                <a:cubicBezTo>
                  <a:pt x="576" y="1575"/>
                  <a:pt x="576" y="1575"/>
                  <a:pt x="576" y="1575"/>
                </a:cubicBezTo>
                <a:cubicBezTo>
                  <a:pt x="576" y="1623"/>
                  <a:pt x="576" y="1654"/>
                  <a:pt x="576" y="1702"/>
                </a:cubicBezTo>
                <a:cubicBezTo>
                  <a:pt x="576" y="1734"/>
                  <a:pt x="576" y="1750"/>
                  <a:pt x="576" y="1782"/>
                </a:cubicBezTo>
                <a:cubicBezTo>
                  <a:pt x="559" y="1782"/>
                  <a:pt x="559" y="1782"/>
                  <a:pt x="559" y="1798"/>
                </a:cubicBezTo>
                <a:close/>
                <a:moveTo>
                  <a:pt x="2086" y="2306"/>
                </a:moveTo>
                <a:cubicBezTo>
                  <a:pt x="2070" y="2339"/>
                  <a:pt x="2023" y="2339"/>
                  <a:pt x="2007" y="2323"/>
                </a:cubicBezTo>
                <a:cubicBezTo>
                  <a:pt x="1482" y="1814"/>
                  <a:pt x="1482" y="1814"/>
                  <a:pt x="1482" y="1814"/>
                </a:cubicBezTo>
                <a:cubicBezTo>
                  <a:pt x="1482" y="1798"/>
                  <a:pt x="1450" y="1782"/>
                  <a:pt x="1434" y="1782"/>
                </a:cubicBezTo>
                <a:cubicBezTo>
                  <a:pt x="1403" y="1782"/>
                  <a:pt x="1386" y="1798"/>
                  <a:pt x="1371" y="1814"/>
                </a:cubicBezTo>
                <a:cubicBezTo>
                  <a:pt x="1355" y="1830"/>
                  <a:pt x="1355" y="1845"/>
                  <a:pt x="1355" y="1861"/>
                </a:cubicBezTo>
                <a:cubicBezTo>
                  <a:pt x="1339" y="2020"/>
                  <a:pt x="1355" y="2179"/>
                  <a:pt x="1386" y="2306"/>
                </a:cubicBezTo>
                <a:cubicBezTo>
                  <a:pt x="1386" y="2323"/>
                  <a:pt x="1386" y="2323"/>
                  <a:pt x="1386" y="2323"/>
                </a:cubicBezTo>
                <a:cubicBezTo>
                  <a:pt x="1386" y="2370"/>
                  <a:pt x="1403" y="2434"/>
                  <a:pt x="1386" y="2482"/>
                </a:cubicBezTo>
                <a:cubicBezTo>
                  <a:pt x="1386" y="2497"/>
                  <a:pt x="1386" y="2514"/>
                  <a:pt x="1371" y="2529"/>
                </a:cubicBezTo>
                <a:cubicBezTo>
                  <a:pt x="1371" y="2561"/>
                  <a:pt x="1371" y="2577"/>
                  <a:pt x="1403" y="2609"/>
                </a:cubicBezTo>
                <a:cubicBezTo>
                  <a:pt x="1403" y="2625"/>
                  <a:pt x="1418" y="2641"/>
                  <a:pt x="1434" y="2641"/>
                </a:cubicBezTo>
                <a:cubicBezTo>
                  <a:pt x="1593" y="2847"/>
                  <a:pt x="1673" y="3086"/>
                  <a:pt x="1689" y="3166"/>
                </a:cubicBezTo>
                <a:cubicBezTo>
                  <a:pt x="1752" y="3404"/>
                  <a:pt x="1784" y="3690"/>
                  <a:pt x="1800" y="4040"/>
                </a:cubicBezTo>
                <a:cubicBezTo>
                  <a:pt x="1784" y="4104"/>
                  <a:pt x="1784" y="4151"/>
                  <a:pt x="1768" y="4168"/>
                </a:cubicBezTo>
                <a:cubicBezTo>
                  <a:pt x="1768" y="4183"/>
                  <a:pt x="1768" y="4183"/>
                  <a:pt x="1752" y="4183"/>
                </a:cubicBezTo>
                <a:cubicBezTo>
                  <a:pt x="1752" y="4183"/>
                  <a:pt x="1752" y="4199"/>
                  <a:pt x="1736" y="4199"/>
                </a:cubicBezTo>
                <a:cubicBezTo>
                  <a:pt x="1721" y="4199"/>
                  <a:pt x="1689" y="4215"/>
                  <a:pt x="1625" y="4215"/>
                </a:cubicBezTo>
                <a:cubicBezTo>
                  <a:pt x="1593" y="4199"/>
                  <a:pt x="1577" y="4199"/>
                  <a:pt x="1577" y="4199"/>
                </a:cubicBezTo>
                <a:cubicBezTo>
                  <a:pt x="1561" y="4183"/>
                  <a:pt x="1546" y="4183"/>
                  <a:pt x="1546" y="4183"/>
                </a:cubicBezTo>
                <a:cubicBezTo>
                  <a:pt x="1546" y="4168"/>
                  <a:pt x="1530" y="4168"/>
                  <a:pt x="1530" y="4151"/>
                </a:cubicBezTo>
                <a:cubicBezTo>
                  <a:pt x="1514" y="4136"/>
                  <a:pt x="1514" y="4088"/>
                  <a:pt x="1514" y="4040"/>
                </a:cubicBezTo>
                <a:cubicBezTo>
                  <a:pt x="1514" y="4040"/>
                  <a:pt x="1514" y="4024"/>
                  <a:pt x="1514" y="4008"/>
                </a:cubicBezTo>
                <a:cubicBezTo>
                  <a:pt x="1514" y="3977"/>
                  <a:pt x="1514" y="3977"/>
                  <a:pt x="1514" y="3977"/>
                </a:cubicBezTo>
                <a:lnTo>
                  <a:pt x="1514" y="3961"/>
                </a:lnTo>
                <a:cubicBezTo>
                  <a:pt x="1514" y="3802"/>
                  <a:pt x="1514" y="3404"/>
                  <a:pt x="1434" y="3181"/>
                </a:cubicBezTo>
                <a:cubicBezTo>
                  <a:pt x="1403" y="3086"/>
                  <a:pt x="1339" y="2927"/>
                  <a:pt x="1228" y="2800"/>
                </a:cubicBezTo>
                <a:cubicBezTo>
                  <a:pt x="1212" y="2768"/>
                  <a:pt x="1180" y="2752"/>
                  <a:pt x="1148" y="2768"/>
                </a:cubicBezTo>
                <a:cubicBezTo>
                  <a:pt x="1116" y="2784"/>
                  <a:pt x="1085" y="2815"/>
                  <a:pt x="1085" y="2847"/>
                </a:cubicBezTo>
                <a:cubicBezTo>
                  <a:pt x="1085" y="2879"/>
                  <a:pt x="1085" y="2895"/>
                  <a:pt x="1085" y="2911"/>
                </a:cubicBezTo>
                <a:cubicBezTo>
                  <a:pt x="1052" y="3213"/>
                  <a:pt x="894" y="3611"/>
                  <a:pt x="607" y="4104"/>
                </a:cubicBezTo>
                <a:cubicBezTo>
                  <a:pt x="559" y="4168"/>
                  <a:pt x="528" y="4199"/>
                  <a:pt x="512" y="4199"/>
                </a:cubicBezTo>
                <a:cubicBezTo>
                  <a:pt x="512" y="4215"/>
                  <a:pt x="496" y="4215"/>
                  <a:pt x="496" y="4215"/>
                </a:cubicBezTo>
                <a:lnTo>
                  <a:pt x="480" y="4215"/>
                </a:lnTo>
                <a:lnTo>
                  <a:pt x="464" y="4215"/>
                </a:lnTo>
                <a:cubicBezTo>
                  <a:pt x="448" y="4215"/>
                  <a:pt x="400" y="4199"/>
                  <a:pt x="353" y="4168"/>
                </a:cubicBezTo>
                <a:cubicBezTo>
                  <a:pt x="337" y="4136"/>
                  <a:pt x="321" y="4120"/>
                  <a:pt x="321" y="4120"/>
                </a:cubicBezTo>
                <a:lnTo>
                  <a:pt x="321" y="4104"/>
                </a:lnTo>
                <a:cubicBezTo>
                  <a:pt x="305" y="4104"/>
                  <a:pt x="305" y="4088"/>
                  <a:pt x="305" y="4088"/>
                </a:cubicBezTo>
                <a:cubicBezTo>
                  <a:pt x="305" y="4072"/>
                  <a:pt x="305" y="4056"/>
                  <a:pt x="305" y="4056"/>
                </a:cubicBezTo>
                <a:cubicBezTo>
                  <a:pt x="305" y="4024"/>
                  <a:pt x="337" y="3993"/>
                  <a:pt x="353" y="3945"/>
                </a:cubicBezTo>
                <a:cubicBezTo>
                  <a:pt x="353" y="3945"/>
                  <a:pt x="368" y="3929"/>
                  <a:pt x="368" y="3913"/>
                </a:cubicBezTo>
                <a:cubicBezTo>
                  <a:pt x="385" y="3897"/>
                  <a:pt x="400" y="3881"/>
                  <a:pt x="400" y="3881"/>
                </a:cubicBezTo>
                <a:cubicBezTo>
                  <a:pt x="496" y="3738"/>
                  <a:pt x="703" y="3372"/>
                  <a:pt x="766" y="3134"/>
                </a:cubicBezTo>
                <a:cubicBezTo>
                  <a:pt x="798" y="2990"/>
                  <a:pt x="830" y="2784"/>
                  <a:pt x="782" y="2561"/>
                </a:cubicBezTo>
                <a:lnTo>
                  <a:pt x="782" y="2545"/>
                </a:lnTo>
                <a:cubicBezTo>
                  <a:pt x="750" y="2482"/>
                  <a:pt x="734" y="2386"/>
                  <a:pt x="734" y="2386"/>
                </a:cubicBezTo>
                <a:lnTo>
                  <a:pt x="734" y="2370"/>
                </a:lnTo>
                <a:cubicBezTo>
                  <a:pt x="719" y="2227"/>
                  <a:pt x="719" y="1988"/>
                  <a:pt x="719" y="1941"/>
                </a:cubicBezTo>
                <a:cubicBezTo>
                  <a:pt x="719" y="1861"/>
                  <a:pt x="719" y="1798"/>
                  <a:pt x="734" y="1718"/>
                </a:cubicBezTo>
                <a:cubicBezTo>
                  <a:pt x="734" y="1607"/>
                  <a:pt x="734" y="1511"/>
                  <a:pt x="750" y="1432"/>
                </a:cubicBezTo>
                <a:cubicBezTo>
                  <a:pt x="782" y="1352"/>
                  <a:pt x="814" y="1289"/>
                  <a:pt x="814" y="1289"/>
                </a:cubicBezTo>
                <a:cubicBezTo>
                  <a:pt x="909" y="1178"/>
                  <a:pt x="1021" y="1146"/>
                  <a:pt x="1180" y="1178"/>
                </a:cubicBezTo>
                <a:cubicBezTo>
                  <a:pt x="1243" y="1209"/>
                  <a:pt x="1291" y="1241"/>
                  <a:pt x="1323" y="1273"/>
                </a:cubicBezTo>
                <a:cubicBezTo>
                  <a:pt x="1339" y="1289"/>
                  <a:pt x="1355" y="1321"/>
                  <a:pt x="1371" y="1352"/>
                </a:cubicBezTo>
                <a:cubicBezTo>
                  <a:pt x="1386" y="1384"/>
                  <a:pt x="1386" y="1416"/>
                  <a:pt x="1403" y="1448"/>
                </a:cubicBezTo>
                <a:cubicBezTo>
                  <a:pt x="1403" y="1464"/>
                  <a:pt x="1403" y="1496"/>
                  <a:pt x="1403" y="1527"/>
                </a:cubicBezTo>
                <a:cubicBezTo>
                  <a:pt x="1403" y="1543"/>
                  <a:pt x="1403" y="1575"/>
                  <a:pt x="1418" y="1591"/>
                </a:cubicBezTo>
                <a:cubicBezTo>
                  <a:pt x="2086" y="2227"/>
                  <a:pt x="2086" y="2227"/>
                  <a:pt x="2086" y="2227"/>
                </a:cubicBezTo>
                <a:cubicBezTo>
                  <a:pt x="2102" y="2243"/>
                  <a:pt x="2102" y="2259"/>
                  <a:pt x="2102" y="2275"/>
                </a:cubicBezTo>
                <a:cubicBezTo>
                  <a:pt x="2102" y="2291"/>
                  <a:pt x="2102" y="2306"/>
                  <a:pt x="2086" y="2306"/>
                </a:cubicBezTo>
                <a:close/>
              </a:path>
            </a:pathLst>
          </a:custGeom>
          <a:solidFill>
            <a:schemeClr val="accent2"/>
          </a:solidFill>
          <a:ln cap="flat">
            <a:noFill/>
            <a:prstDash val="solid"/>
          </a:ln>
        </p:spPr>
        <p:txBody>
          <a:bodyPr vert="horz" wrap="none" lIns="179988" tIns="89994" rIns="179988" bIns="89994" anchor="ctr" anchorCtr="1" compatLnSpc="0"/>
          <a:lstStyle/>
          <a:p>
            <a:pPr hangingPunct="0">
              <a:spcBef>
                <a:spcPts val="0"/>
              </a:spcBef>
              <a:spcAft>
                <a:spcPts val="0"/>
              </a:spcAft>
            </a:pPr>
            <a:endParaRPr lang="en-CA" sz="3600">
              <a:latin typeface="Arial" pitchFamily="18"/>
              <a:ea typeface="SimSun" pitchFamily="2"/>
              <a:cs typeface="Lucida Sans" pitchFamily="2"/>
            </a:endParaRPr>
          </a:p>
        </p:txBody>
      </p:sp>
      <p:sp>
        <p:nvSpPr>
          <p:cNvPr id="65" name="TextBox 64">
            <a:extLst>
              <a:ext uri="{FF2B5EF4-FFF2-40B4-BE49-F238E27FC236}">
                <a16:creationId xmlns:a16="http://schemas.microsoft.com/office/drawing/2014/main" id="{BABF7B24-0950-7444-9334-CF7ADBB3E2FF}"/>
              </a:ext>
            </a:extLst>
          </p:cNvPr>
          <p:cNvSpPr txBox="1"/>
          <p:nvPr/>
        </p:nvSpPr>
        <p:spPr>
          <a:xfrm>
            <a:off x="16880155" y="12020940"/>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alking</a:t>
            </a:r>
          </a:p>
        </p:txBody>
      </p:sp>
      <p:sp>
        <p:nvSpPr>
          <p:cNvPr id="66" name="TextBox 65">
            <a:extLst>
              <a:ext uri="{FF2B5EF4-FFF2-40B4-BE49-F238E27FC236}">
                <a16:creationId xmlns:a16="http://schemas.microsoft.com/office/drawing/2014/main" id="{D3B59967-FEF1-7442-948E-C3FB2ABBA4CC}"/>
              </a:ext>
            </a:extLst>
          </p:cNvPr>
          <p:cNvSpPr txBox="1"/>
          <p:nvPr/>
        </p:nvSpPr>
        <p:spPr>
          <a:xfrm>
            <a:off x="20552300" y="11992727"/>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orker</a:t>
            </a:r>
          </a:p>
        </p:txBody>
      </p:sp>
      <p:sp>
        <p:nvSpPr>
          <p:cNvPr id="67" name="Freeform: Shape 8">
            <a:extLst>
              <a:ext uri="{FF2B5EF4-FFF2-40B4-BE49-F238E27FC236}">
                <a16:creationId xmlns:a16="http://schemas.microsoft.com/office/drawing/2014/main" id="{B1AE7814-6179-0A49-9B47-2917633926B4}"/>
              </a:ext>
            </a:extLst>
          </p:cNvPr>
          <p:cNvSpPr/>
          <p:nvPr/>
        </p:nvSpPr>
        <p:spPr>
          <a:xfrm>
            <a:off x="21501226" y="10079553"/>
            <a:ext cx="1414440" cy="1609200"/>
          </a:xfrm>
          <a:custGeom>
            <a:avLst/>
            <a:gdLst/>
            <a:ahLst/>
            <a:cxnLst>
              <a:cxn ang="3cd4">
                <a:pos x="hc" y="t"/>
              </a:cxn>
              <a:cxn ang="cd2">
                <a:pos x="l" y="vc"/>
              </a:cxn>
              <a:cxn ang="cd4">
                <a:pos x="hc" y="b"/>
              </a:cxn>
              <a:cxn ang="0">
                <a:pos x="r" y="vc"/>
              </a:cxn>
            </a:cxnLst>
            <a:rect l="l" t="t" r="r" b="b"/>
            <a:pathLst>
              <a:path w="3930" h="4471">
                <a:moveTo>
                  <a:pt x="2991" y="4471"/>
                </a:moveTo>
                <a:cubicBezTo>
                  <a:pt x="3039" y="4471"/>
                  <a:pt x="3071" y="4439"/>
                  <a:pt x="3071" y="4392"/>
                </a:cubicBezTo>
                <a:cubicBezTo>
                  <a:pt x="3071" y="3484"/>
                  <a:pt x="3071" y="3484"/>
                  <a:pt x="3071" y="3484"/>
                </a:cubicBezTo>
                <a:cubicBezTo>
                  <a:pt x="3437" y="3596"/>
                  <a:pt x="3771" y="3993"/>
                  <a:pt x="3771" y="4360"/>
                </a:cubicBezTo>
                <a:cubicBezTo>
                  <a:pt x="3771" y="4407"/>
                  <a:pt x="3819" y="4439"/>
                  <a:pt x="3851" y="4439"/>
                </a:cubicBezTo>
                <a:cubicBezTo>
                  <a:pt x="3899" y="4439"/>
                  <a:pt x="3930" y="4407"/>
                  <a:pt x="3930" y="4360"/>
                </a:cubicBezTo>
                <a:cubicBezTo>
                  <a:pt x="3930" y="3835"/>
                  <a:pt x="3373" y="3293"/>
                  <a:pt x="2848" y="3293"/>
                </a:cubicBezTo>
                <a:cubicBezTo>
                  <a:pt x="2626" y="3293"/>
                  <a:pt x="2626" y="3293"/>
                  <a:pt x="2626" y="3293"/>
                </a:cubicBezTo>
                <a:cubicBezTo>
                  <a:pt x="2800" y="3119"/>
                  <a:pt x="2912" y="2864"/>
                  <a:pt x="2912" y="2593"/>
                </a:cubicBezTo>
                <a:cubicBezTo>
                  <a:pt x="2912" y="2371"/>
                  <a:pt x="2912" y="2371"/>
                  <a:pt x="2912" y="2371"/>
                </a:cubicBezTo>
                <a:cubicBezTo>
                  <a:pt x="3071" y="2323"/>
                  <a:pt x="3071" y="2180"/>
                  <a:pt x="3071" y="2101"/>
                </a:cubicBezTo>
                <a:cubicBezTo>
                  <a:pt x="3071" y="1702"/>
                  <a:pt x="3071" y="1702"/>
                  <a:pt x="3071" y="1702"/>
                </a:cubicBezTo>
                <a:cubicBezTo>
                  <a:pt x="3071" y="1639"/>
                  <a:pt x="3071" y="1559"/>
                  <a:pt x="3039" y="1496"/>
                </a:cubicBezTo>
                <a:cubicBezTo>
                  <a:pt x="3390" y="1496"/>
                  <a:pt x="3390" y="1496"/>
                  <a:pt x="3390" y="1496"/>
                </a:cubicBezTo>
                <a:cubicBezTo>
                  <a:pt x="3437" y="1496"/>
                  <a:pt x="3469" y="1464"/>
                  <a:pt x="3469" y="1432"/>
                </a:cubicBezTo>
                <a:cubicBezTo>
                  <a:pt x="3469" y="1384"/>
                  <a:pt x="3437" y="1353"/>
                  <a:pt x="3390" y="1353"/>
                </a:cubicBezTo>
                <a:cubicBezTo>
                  <a:pt x="3071" y="1353"/>
                  <a:pt x="3071" y="1353"/>
                  <a:pt x="3071" y="1353"/>
                </a:cubicBezTo>
                <a:cubicBezTo>
                  <a:pt x="3071" y="1114"/>
                  <a:pt x="3071" y="1114"/>
                  <a:pt x="3071" y="1114"/>
                </a:cubicBezTo>
                <a:cubicBezTo>
                  <a:pt x="3071" y="716"/>
                  <a:pt x="2864" y="366"/>
                  <a:pt x="2562" y="175"/>
                </a:cubicBezTo>
                <a:cubicBezTo>
                  <a:pt x="2546" y="159"/>
                  <a:pt x="2530" y="144"/>
                  <a:pt x="2514" y="144"/>
                </a:cubicBezTo>
                <a:cubicBezTo>
                  <a:pt x="2355" y="48"/>
                  <a:pt x="2164" y="0"/>
                  <a:pt x="1957" y="0"/>
                </a:cubicBezTo>
                <a:cubicBezTo>
                  <a:pt x="1353" y="0"/>
                  <a:pt x="844" y="510"/>
                  <a:pt x="844" y="1130"/>
                </a:cubicBezTo>
                <a:cubicBezTo>
                  <a:pt x="844" y="1353"/>
                  <a:pt x="844" y="1353"/>
                  <a:pt x="844" y="1353"/>
                </a:cubicBezTo>
                <a:cubicBezTo>
                  <a:pt x="526" y="1353"/>
                  <a:pt x="526" y="1353"/>
                  <a:pt x="526" y="1353"/>
                </a:cubicBezTo>
                <a:cubicBezTo>
                  <a:pt x="494" y="1353"/>
                  <a:pt x="446" y="1384"/>
                  <a:pt x="446" y="1432"/>
                </a:cubicBezTo>
                <a:cubicBezTo>
                  <a:pt x="446" y="1464"/>
                  <a:pt x="494" y="1496"/>
                  <a:pt x="526" y="1496"/>
                </a:cubicBezTo>
                <a:cubicBezTo>
                  <a:pt x="891" y="1496"/>
                  <a:pt x="891" y="1496"/>
                  <a:pt x="891" y="1496"/>
                </a:cubicBezTo>
                <a:cubicBezTo>
                  <a:pt x="844" y="1559"/>
                  <a:pt x="844" y="1639"/>
                  <a:pt x="844" y="1702"/>
                </a:cubicBezTo>
                <a:cubicBezTo>
                  <a:pt x="844" y="2101"/>
                  <a:pt x="844" y="2101"/>
                  <a:pt x="844" y="2101"/>
                </a:cubicBezTo>
                <a:cubicBezTo>
                  <a:pt x="844" y="2180"/>
                  <a:pt x="844" y="2323"/>
                  <a:pt x="1003" y="2371"/>
                </a:cubicBezTo>
                <a:cubicBezTo>
                  <a:pt x="1003" y="2593"/>
                  <a:pt x="1003" y="2593"/>
                  <a:pt x="1003" y="2593"/>
                </a:cubicBezTo>
                <a:cubicBezTo>
                  <a:pt x="1003" y="2864"/>
                  <a:pt x="1114" y="3119"/>
                  <a:pt x="1289" y="3293"/>
                </a:cubicBezTo>
                <a:cubicBezTo>
                  <a:pt x="1082" y="3293"/>
                  <a:pt x="1082" y="3293"/>
                  <a:pt x="1082" y="3293"/>
                </a:cubicBezTo>
                <a:cubicBezTo>
                  <a:pt x="557" y="3293"/>
                  <a:pt x="0" y="3835"/>
                  <a:pt x="0" y="4360"/>
                </a:cubicBezTo>
                <a:cubicBezTo>
                  <a:pt x="0" y="4407"/>
                  <a:pt x="32" y="4439"/>
                  <a:pt x="80" y="4439"/>
                </a:cubicBezTo>
                <a:cubicBezTo>
                  <a:pt x="112" y="4439"/>
                  <a:pt x="160" y="4407"/>
                  <a:pt x="160" y="4360"/>
                </a:cubicBezTo>
                <a:cubicBezTo>
                  <a:pt x="160" y="3993"/>
                  <a:pt x="478" y="3612"/>
                  <a:pt x="844" y="3484"/>
                </a:cubicBezTo>
                <a:cubicBezTo>
                  <a:pt x="844" y="4392"/>
                  <a:pt x="844" y="4392"/>
                  <a:pt x="844" y="4392"/>
                </a:cubicBezTo>
                <a:cubicBezTo>
                  <a:pt x="844" y="4439"/>
                  <a:pt x="891" y="4471"/>
                  <a:pt x="923" y="4471"/>
                </a:cubicBezTo>
                <a:cubicBezTo>
                  <a:pt x="971" y="4471"/>
                  <a:pt x="1003" y="4439"/>
                  <a:pt x="1003" y="4392"/>
                </a:cubicBezTo>
                <a:cubicBezTo>
                  <a:pt x="1003" y="3453"/>
                  <a:pt x="1003" y="3453"/>
                  <a:pt x="1003" y="3453"/>
                </a:cubicBezTo>
                <a:cubicBezTo>
                  <a:pt x="1035" y="3453"/>
                  <a:pt x="1066" y="3453"/>
                  <a:pt x="1082" y="3453"/>
                </a:cubicBezTo>
                <a:cubicBezTo>
                  <a:pt x="1162" y="3453"/>
                  <a:pt x="1162" y="3453"/>
                  <a:pt x="1162" y="3453"/>
                </a:cubicBezTo>
                <a:cubicBezTo>
                  <a:pt x="1162" y="4392"/>
                  <a:pt x="1162" y="4392"/>
                  <a:pt x="1162" y="4392"/>
                </a:cubicBezTo>
                <a:cubicBezTo>
                  <a:pt x="1162" y="4439"/>
                  <a:pt x="1209" y="4471"/>
                  <a:pt x="1242" y="4471"/>
                </a:cubicBezTo>
                <a:cubicBezTo>
                  <a:pt x="1289" y="4471"/>
                  <a:pt x="1321" y="4439"/>
                  <a:pt x="1321" y="4392"/>
                </a:cubicBezTo>
                <a:cubicBezTo>
                  <a:pt x="1321" y="3453"/>
                  <a:pt x="1321" y="3453"/>
                  <a:pt x="1321" y="3453"/>
                </a:cubicBezTo>
                <a:cubicBezTo>
                  <a:pt x="1480" y="3453"/>
                  <a:pt x="1480" y="3453"/>
                  <a:pt x="1480" y="3453"/>
                </a:cubicBezTo>
                <a:cubicBezTo>
                  <a:pt x="1480" y="3453"/>
                  <a:pt x="1496" y="3453"/>
                  <a:pt x="1496" y="3437"/>
                </a:cubicBezTo>
                <a:cubicBezTo>
                  <a:pt x="1639" y="3516"/>
                  <a:pt x="1782" y="3564"/>
                  <a:pt x="1957" y="3564"/>
                </a:cubicBezTo>
                <a:cubicBezTo>
                  <a:pt x="2133" y="3564"/>
                  <a:pt x="2291" y="3516"/>
                  <a:pt x="2419" y="3437"/>
                </a:cubicBezTo>
                <a:cubicBezTo>
                  <a:pt x="2435" y="3453"/>
                  <a:pt x="2435" y="3453"/>
                  <a:pt x="2435" y="3453"/>
                </a:cubicBezTo>
                <a:cubicBezTo>
                  <a:pt x="2594" y="3453"/>
                  <a:pt x="2594" y="3453"/>
                  <a:pt x="2594" y="3453"/>
                </a:cubicBezTo>
                <a:cubicBezTo>
                  <a:pt x="2594" y="4392"/>
                  <a:pt x="2594" y="4392"/>
                  <a:pt x="2594" y="4392"/>
                </a:cubicBezTo>
                <a:cubicBezTo>
                  <a:pt x="2594" y="4439"/>
                  <a:pt x="2626" y="4471"/>
                  <a:pt x="2673" y="4471"/>
                </a:cubicBezTo>
                <a:cubicBezTo>
                  <a:pt x="2721" y="4471"/>
                  <a:pt x="2753" y="4439"/>
                  <a:pt x="2753" y="4392"/>
                </a:cubicBezTo>
                <a:cubicBezTo>
                  <a:pt x="2753" y="3453"/>
                  <a:pt x="2753" y="3453"/>
                  <a:pt x="2753" y="3453"/>
                </a:cubicBezTo>
                <a:cubicBezTo>
                  <a:pt x="2848" y="3453"/>
                  <a:pt x="2848" y="3453"/>
                  <a:pt x="2848" y="3453"/>
                </a:cubicBezTo>
                <a:cubicBezTo>
                  <a:pt x="2880" y="3453"/>
                  <a:pt x="2896" y="3453"/>
                  <a:pt x="2912" y="3453"/>
                </a:cubicBezTo>
                <a:cubicBezTo>
                  <a:pt x="2912" y="4392"/>
                  <a:pt x="2912" y="4392"/>
                  <a:pt x="2912" y="4392"/>
                </a:cubicBezTo>
                <a:cubicBezTo>
                  <a:pt x="2912" y="4439"/>
                  <a:pt x="2944" y="4471"/>
                  <a:pt x="2991" y="4471"/>
                </a:cubicBezTo>
                <a:close/>
                <a:moveTo>
                  <a:pt x="2912" y="1114"/>
                </a:moveTo>
                <a:cubicBezTo>
                  <a:pt x="2912" y="1353"/>
                  <a:pt x="2912" y="1353"/>
                  <a:pt x="2912" y="1353"/>
                </a:cubicBezTo>
                <a:cubicBezTo>
                  <a:pt x="2276" y="1353"/>
                  <a:pt x="2276" y="1353"/>
                  <a:pt x="2276" y="1353"/>
                </a:cubicBezTo>
                <a:cubicBezTo>
                  <a:pt x="2276" y="493"/>
                  <a:pt x="2276" y="493"/>
                  <a:pt x="2276" y="493"/>
                </a:cubicBezTo>
                <a:cubicBezTo>
                  <a:pt x="2276" y="366"/>
                  <a:pt x="2371" y="319"/>
                  <a:pt x="2466" y="302"/>
                </a:cubicBezTo>
                <a:cubicBezTo>
                  <a:pt x="2737" y="478"/>
                  <a:pt x="2912" y="764"/>
                  <a:pt x="2912" y="1114"/>
                </a:cubicBezTo>
                <a:close/>
                <a:moveTo>
                  <a:pt x="2276" y="207"/>
                </a:moveTo>
                <a:cubicBezTo>
                  <a:pt x="2180" y="271"/>
                  <a:pt x="2117" y="366"/>
                  <a:pt x="2117" y="493"/>
                </a:cubicBezTo>
                <a:cubicBezTo>
                  <a:pt x="2117" y="1353"/>
                  <a:pt x="2117" y="1353"/>
                  <a:pt x="2117" y="1353"/>
                </a:cubicBezTo>
                <a:cubicBezTo>
                  <a:pt x="1799" y="1353"/>
                  <a:pt x="1799" y="1353"/>
                  <a:pt x="1799" y="1353"/>
                </a:cubicBezTo>
                <a:cubicBezTo>
                  <a:pt x="1799" y="493"/>
                  <a:pt x="1799" y="493"/>
                  <a:pt x="1799" y="493"/>
                </a:cubicBezTo>
                <a:cubicBezTo>
                  <a:pt x="1799" y="366"/>
                  <a:pt x="1751" y="271"/>
                  <a:pt x="1655" y="207"/>
                </a:cubicBezTo>
                <a:cubicBezTo>
                  <a:pt x="1751" y="175"/>
                  <a:pt x="1862" y="159"/>
                  <a:pt x="1957" y="159"/>
                </a:cubicBezTo>
                <a:cubicBezTo>
                  <a:pt x="2069" y="159"/>
                  <a:pt x="2180" y="175"/>
                  <a:pt x="2276" y="207"/>
                </a:cubicBezTo>
                <a:close/>
                <a:moveTo>
                  <a:pt x="1003" y="1130"/>
                </a:moveTo>
                <a:cubicBezTo>
                  <a:pt x="1003" y="780"/>
                  <a:pt x="1194" y="478"/>
                  <a:pt x="1464" y="302"/>
                </a:cubicBezTo>
                <a:cubicBezTo>
                  <a:pt x="1576" y="302"/>
                  <a:pt x="1639" y="382"/>
                  <a:pt x="1639" y="493"/>
                </a:cubicBezTo>
                <a:cubicBezTo>
                  <a:pt x="1639" y="1353"/>
                  <a:pt x="1639" y="1353"/>
                  <a:pt x="1639" y="1353"/>
                </a:cubicBezTo>
                <a:cubicBezTo>
                  <a:pt x="1003" y="1353"/>
                  <a:pt x="1003" y="1353"/>
                  <a:pt x="1003" y="1353"/>
                </a:cubicBezTo>
                <a:close/>
                <a:moveTo>
                  <a:pt x="1162" y="2593"/>
                </a:moveTo>
                <a:cubicBezTo>
                  <a:pt x="1162" y="2291"/>
                  <a:pt x="1162" y="2291"/>
                  <a:pt x="1162" y="2291"/>
                </a:cubicBezTo>
                <a:cubicBezTo>
                  <a:pt x="1162" y="2244"/>
                  <a:pt x="1130" y="2212"/>
                  <a:pt x="1082" y="2212"/>
                </a:cubicBezTo>
                <a:cubicBezTo>
                  <a:pt x="1003" y="2212"/>
                  <a:pt x="1003" y="2212"/>
                  <a:pt x="1003" y="2101"/>
                </a:cubicBezTo>
                <a:cubicBezTo>
                  <a:pt x="1003" y="1702"/>
                  <a:pt x="1003" y="1702"/>
                  <a:pt x="1003" y="1702"/>
                </a:cubicBezTo>
                <a:cubicBezTo>
                  <a:pt x="1003" y="1591"/>
                  <a:pt x="1003" y="1575"/>
                  <a:pt x="1066" y="1575"/>
                </a:cubicBezTo>
                <a:cubicBezTo>
                  <a:pt x="1114" y="1591"/>
                  <a:pt x="1162" y="1544"/>
                  <a:pt x="1162" y="1496"/>
                </a:cubicBezTo>
                <a:cubicBezTo>
                  <a:pt x="2753" y="1496"/>
                  <a:pt x="2753" y="1496"/>
                  <a:pt x="2753" y="1496"/>
                </a:cubicBezTo>
                <a:cubicBezTo>
                  <a:pt x="2753" y="1512"/>
                  <a:pt x="2753" y="1512"/>
                  <a:pt x="2753" y="1512"/>
                </a:cubicBezTo>
                <a:cubicBezTo>
                  <a:pt x="2753" y="1559"/>
                  <a:pt x="2800" y="1591"/>
                  <a:pt x="2848" y="1575"/>
                </a:cubicBezTo>
                <a:cubicBezTo>
                  <a:pt x="2912" y="1575"/>
                  <a:pt x="2912" y="1591"/>
                  <a:pt x="2912" y="1702"/>
                </a:cubicBezTo>
                <a:cubicBezTo>
                  <a:pt x="2912" y="2101"/>
                  <a:pt x="2912" y="2101"/>
                  <a:pt x="2912" y="2101"/>
                </a:cubicBezTo>
                <a:cubicBezTo>
                  <a:pt x="2912" y="2212"/>
                  <a:pt x="2912" y="2212"/>
                  <a:pt x="2833" y="2212"/>
                </a:cubicBezTo>
                <a:cubicBezTo>
                  <a:pt x="2785" y="2212"/>
                  <a:pt x="2753" y="2244"/>
                  <a:pt x="2753" y="2291"/>
                </a:cubicBezTo>
                <a:cubicBezTo>
                  <a:pt x="2753" y="2593"/>
                  <a:pt x="2753" y="2593"/>
                  <a:pt x="2753" y="2593"/>
                </a:cubicBezTo>
                <a:cubicBezTo>
                  <a:pt x="2753" y="3055"/>
                  <a:pt x="2403" y="3405"/>
                  <a:pt x="1957" y="3405"/>
                </a:cubicBezTo>
                <a:cubicBezTo>
                  <a:pt x="1512" y="3405"/>
                  <a:pt x="1162" y="3055"/>
                  <a:pt x="1162" y="259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251544447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People - 2</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129" name="TextBox 128">
            <a:extLst>
              <a:ext uri="{FF2B5EF4-FFF2-40B4-BE49-F238E27FC236}">
                <a16:creationId xmlns:a16="http://schemas.microsoft.com/office/drawing/2014/main" id="{9C90785B-CD33-DB48-9A59-FAB7D0D07F2F}"/>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68" name="TextBox 67">
            <a:extLst>
              <a:ext uri="{FF2B5EF4-FFF2-40B4-BE49-F238E27FC236}">
                <a16:creationId xmlns:a16="http://schemas.microsoft.com/office/drawing/2014/main" id="{3FCD29E8-549B-3142-8363-4DE60FEE2F67}"/>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roup</a:t>
            </a:r>
          </a:p>
        </p:txBody>
      </p:sp>
      <p:sp>
        <p:nvSpPr>
          <p:cNvPr id="69" name="TextBox 68">
            <a:extLst>
              <a:ext uri="{FF2B5EF4-FFF2-40B4-BE49-F238E27FC236}">
                <a16:creationId xmlns:a16="http://schemas.microsoft.com/office/drawing/2014/main" id="{7B525E1D-F5B8-EE4A-A92C-810190D00641}"/>
              </a:ext>
            </a:extLst>
          </p:cNvPr>
          <p:cNvSpPr txBox="1"/>
          <p:nvPr/>
        </p:nvSpPr>
        <p:spPr>
          <a:xfrm>
            <a:off x="4739360" y="5161200"/>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erson Lock</a:t>
            </a:r>
          </a:p>
        </p:txBody>
      </p:sp>
      <p:sp>
        <p:nvSpPr>
          <p:cNvPr id="70" name="TextBox 69">
            <a:extLst>
              <a:ext uri="{FF2B5EF4-FFF2-40B4-BE49-F238E27FC236}">
                <a16:creationId xmlns:a16="http://schemas.microsoft.com/office/drawing/2014/main" id="{AB1033F3-03BB-9B4D-932A-41178F9A440A}"/>
              </a:ext>
            </a:extLst>
          </p:cNvPr>
          <p:cNvSpPr txBox="1"/>
          <p:nvPr/>
        </p:nvSpPr>
        <p:spPr>
          <a:xfrm>
            <a:off x="9054506" y="5161200"/>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erson Check</a:t>
            </a:r>
          </a:p>
        </p:txBody>
      </p:sp>
      <p:sp>
        <p:nvSpPr>
          <p:cNvPr id="71" name="TextBox 70">
            <a:extLst>
              <a:ext uri="{FF2B5EF4-FFF2-40B4-BE49-F238E27FC236}">
                <a16:creationId xmlns:a16="http://schemas.microsoft.com/office/drawing/2014/main" id="{A5FCF2E1-6B68-F44D-B48C-0D33024DE82D}"/>
              </a:ext>
            </a:extLst>
          </p:cNvPr>
          <p:cNvSpPr txBox="1"/>
          <p:nvPr/>
        </p:nvSpPr>
        <p:spPr>
          <a:xfrm>
            <a:off x="13106758" y="5161200"/>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erson Search</a:t>
            </a:r>
          </a:p>
        </p:txBody>
      </p:sp>
      <p:sp>
        <p:nvSpPr>
          <p:cNvPr id="72" name="TextBox 71">
            <a:extLst>
              <a:ext uri="{FF2B5EF4-FFF2-40B4-BE49-F238E27FC236}">
                <a16:creationId xmlns:a16="http://schemas.microsoft.com/office/drawing/2014/main" id="{05927FFA-2CEF-ED48-B213-8D4C89AE1FD1}"/>
              </a:ext>
            </a:extLst>
          </p:cNvPr>
          <p:cNvSpPr txBox="1"/>
          <p:nvPr/>
        </p:nvSpPr>
        <p:spPr>
          <a:xfrm>
            <a:off x="1339782" y="8292956"/>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erson </a:t>
            </a:r>
          </a:p>
        </p:txBody>
      </p:sp>
      <p:sp>
        <p:nvSpPr>
          <p:cNvPr id="73" name="TextBox 72">
            <a:extLst>
              <a:ext uri="{FF2B5EF4-FFF2-40B4-BE49-F238E27FC236}">
                <a16:creationId xmlns:a16="http://schemas.microsoft.com/office/drawing/2014/main" id="{8CEA551A-9C61-A344-B06A-876A9BF8EA67}"/>
              </a:ext>
            </a:extLst>
          </p:cNvPr>
          <p:cNvSpPr txBox="1"/>
          <p:nvPr/>
        </p:nvSpPr>
        <p:spPr>
          <a:xfrm>
            <a:off x="9590680"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vatar 2</a:t>
            </a:r>
          </a:p>
        </p:txBody>
      </p:sp>
      <p:sp>
        <p:nvSpPr>
          <p:cNvPr id="74" name="TextBox 73">
            <a:extLst>
              <a:ext uri="{FF2B5EF4-FFF2-40B4-BE49-F238E27FC236}">
                <a16:creationId xmlns:a16="http://schemas.microsoft.com/office/drawing/2014/main" id="{2644E011-6CA9-C147-9BEC-CE0450E66663}"/>
              </a:ext>
            </a:extLst>
          </p:cNvPr>
          <p:cNvSpPr txBox="1"/>
          <p:nvPr/>
        </p:nvSpPr>
        <p:spPr>
          <a:xfrm>
            <a:off x="13109204" y="8292956"/>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vatar 3</a:t>
            </a:r>
          </a:p>
        </p:txBody>
      </p:sp>
      <p:sp>
        <p:nvSpPr>
          <p:cNvPr id="75" name="TextBox 74">
            <a:extLst>
              <a:ext uri="{FF2B5EF4-FFF2-40B4-BE49-F238E27FC236}">
                <a16:creationId xmlns:a16="http://schemas.microsoft.com/office/drawing/2014/main" id="{A4913D13-9589-A14F-8CDF-EC878B0973A4}"/>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olice 1</a:t>
            </a:r>
          </a:p>
        </p:txBody>
      </p:sp>
      <p:sp>
        <p:nvSpPr>
          <p:cNvPr id="76" name="TextBox 75">
            <a:extLst>
              <a:ext uri="{FF2B5EF4-FFF2-40B4-BE49-F238E27FC236}">
                <a16:creationId xmlns:a16="http://schemas.microsoft.com/office/drawing/2014/main" id="{9975E8F1-9E07-B04B-963E-F1ECD9E3DCFC}"/>
              </a:ext>
            </a:extLst>
          </p:cNvPr>
          <p:cNvSpPr txBox="1"/>
          <p:nvPr/>
        </p:nvSpPr>
        <p:spPr>
          <a:xfrm>
            <a:off x="9013116"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olice 2</a:t>
            </a:r>
          </a:p>
        </p:txBody>
      </p:sp>
      <p:sp>
        <p:nvSpPr>
          <p:cNvPr id="77" name="TextBox 76">
            <a:extLst>
              <a:ext uri="{FF2B5EF4-FFF2-40B4-BE49-F238E27FC236}">
                <a16:creationId xmlns:a16="http://schemas.microsoft.com/office/drawing/2014/main" id="{70A9A3A8-5147-9646-A0C1-67D1851DF6C0}"/>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y</a:t>
            </a:r>
          </a:p>
        </p:txBody>
      </p:sp>
      <p:sp>
        <p:nvSpPr>
          <p:cNvPr id="78" name="TextBox 77">
            <a:extLst>
              <a:ext uri="{FF2B5EF4-FFF2-40B4-BE49-F238E27FC236}">
                <a16:creationId xmlns:a16="http://schemas.microsoft.com/office/drawing/2014/main" id="{99E9E98F-B0CB-6642-9F11-DE73512F0754}"/>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erson +</a:t>
            </a:r>
          </a:p>
        </p:txBody>
      </p:sp>
      <p:sp>
        <p:nvSpPr>
          <p:cNvPr id="79" name="TextBox 78">
            <a:extLst>
              <a:ext uri="{FF2B5EF4-FFF2-40B4-BE49-F238E27FC236}">
                <a16:creationId xmlns:a16="http://schemas.microsoft.com/office/drawing/2014/main" id="{0C39FB63-6115-6543-8A5F-42DDE86779EE}"/>
              </a:ext>
            </a:extLst>
          </p:cNvPr>
          <p:cNvSpPr txBox="1"/>
          <p:nvPr/>
        </p:nvSpPr>
        <p:spPr>
          <a:xfrm>
            <a:off x="5072702"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Name</a:t>
            </a:r>
          </a:p>
        </p:txBody>
      </p:sp>
      <p:sp>
        <p:nvSpPr>
          <p:cNvPr id="80" name="TextBox 79">
            <a:extLst>
              <a:ext uri="{FF2B5EF4-FFF2-40B4-BE49-F238E27FC236}">
                <a16:creationId xmlns:a16="http://schemas.microsoft.com/office/drawing/2014/main" id="{0C4D485D-FF38-E645-82DD-A61FACB98C84}"/>
              </a:ext>
            </a:extLst>
          </p:cNvPr>
          <p:cNvSpPr txBox="1"/>
          <p:nvPr/>
        </p:nvSpPr>
        <p:spPr>
          <a:xfrm>
            <a:off x="16453702" y="8292956"/>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Nurse</a:t>
            </a:r>
          </a:p>
        </p:txBody>
      </p:sp>
      <p:sp>
        <p:nvSpPr>
          <p:cNvPr id="81" name="Freeform: Shape 1">
            <a:extLst>
              <a:ext uri="{FF2B5EF4-FFF2-40B4-BE49-F238E27FC236}">
                <a16:creationId xmlns:a16="http://schemas.microsoft.com/office/drawing/2014/main" id="{3CD1366C-C1FB-5A41-B47A-B1244591EA62}"/>
              </a:ext>
            </a:extLst>
          </p:cNvPr>
          <p:cNvSpPr/>
          <p:nvPr/>
        </p:nvSpPr>
        <p:spPr>
          <a:xfrm>
            <a:off x="21332879" y="6263446"/>
            <a:ext cx="1408319" cy="1776600"/>
          </a:xfrm>
          <a:custGeom>
            <a:avLst/>
            <a:gdLst/>
            <a:ahLst/>
            <a:cxnLst>
              <a:cxn ang="3cd4">
                <a:pos x="hc" y="t"/>
              </a:cxn>
              <a:cxn ang="cd2">
                <a:pos x="l" y="vc"/>
              </a:cxn>
              <a:cxn ang="cd4">
                <a:pos x="hc" y="b"/>
              </a:cxn>
              <a:cxn ang="0">
                <a:pos x="r" y="vc"/>
              </a:cxn>
            </a:cxnLst>
            <a:rect l="l" t="t" r="r" b="b"/>
            <a:pathLst>
              <a:path w="3913" h="4936">
                <a:moveTo>
                  <a:pt x="3229" y="3981"/>
                </a:moveTo>
                <a:cubicBezTo>
                  <a:pt x="2704" y="3981"/>
                  <a:pt x="2704" y="3981"/>
                  <a:pt x="2704" y="3981"/>
                </a:cubicBezTo>
                <a:cubicBezTo>
                  <a:pt x="2816" y="3790"/>
                  <a:pt x="2879" y="3567"/>
                  <a:pt x="2879" y="3345"/>
                </a:cubicBezTo>
                <a:cubicBezTo>
                  <a:pt x="2975" y="3297"/>
                  <a:pt x="3022" y="3202"/>
                  <a:pt x="3022" y="3058"/>
                </a:cubicBezTo>
                <a:cubicBezTo>
                  <a:pt x="3022" y="2836"/>
                  <a:pt x="3022" y="2836"/>
                  <a:pt x="3022" y="2836"/>
                </a:cubicBezTo>
                <a:cubicBezTo>
                  <a:pt x="3022" y="2756"/>
                  <a:pt x="3022" y="2581"/>
                  <a:pt x="2848" y="2533"/>
                </a:cubicBezTo>
                <a:cubicBezTo>
                  <a:pt x="2848" y="1626"/>
                  <a:pt x="2848" y="1626"/>
                  <a:pt x="2848" y="1626"/>
                </a:cubicBezTo>
                <a:cubicBezTo>
                  <a:pt x="3166" y="1611"/>
                  <a:pt x="3420" y="1340"/>
                  <a:pt x="3420" y="1006"/>
                </a:cubicBezTo>
                <a:cubicBezTo>
                  <a:pt x="3420" y="720"/>
                  <a:pt x="3309" y="465"/>
                  <a:pt x="3086" y="274"/>
                </a:cubicBezTo>
                <a:cubicBezTo>
                  <a:pt x="2816" y="51"/>
                  <a:pt x="2386" y="-44"/>
                  <a:pt x="1972" y="20"/>
                </a:cubicBezTo>
                <a:cubicBezTo>
                  <a:pt x="1813" y="51"/>
                  <a:pt x="1654" y="163"/>
                  <a:pt x="1558" y="306"/>
                </a:cubicBezTo>
                <a:cubicBezTo>
                  <a:pt x="1558" y="306"/>
                  <a:pt x="1511" y="401"/>
                  <a:pt x="1495" y="497"/>
                </a:cubicBezTo>
                <a:cubicBezTo>
                  <a:pt x="1034" y="512"/>
                  <a:pt x="811" y="720"/>
                  <a:pt x="811" y="1102"/>
                </a:cubicBezTo>
                <a:cubicBezTo>
                  <a:pt x="811" y="1420"/>
                  <a:pt x="954" y="1563"/>
                  <a:pt x="1081" y="1611"/>
                </a:cubicBezTo>
                <a:cubicBezTo>
                  <a:pt x="1081" y="2533"/>
                  <a:pt x="1081" y="2533"/>
                  <a:pt x="1081" y="2533"/>
                </a:cubicBezTo>
                <a:cubicBezTo>
                  <a:pt x="891" y="2581"/>
                  <a:pt x="891" y="2756"/>
                  <a:pt x="891" y="2836"/>
                </a:cubicBezTo>
                <a:cubicBezTo>
                  <a:pt x="891" y="3058"/>
                  <a:pt x="891" y="3058"/>
                  <a:pt x="891" y="3058"/>
                </a:cubicBezTo>
                <a:cubicBezTo>
                  <a:pt x="891" y="3170"/>
                  <a:pt x="970" y="3297"/>
                  <a:pt x="1081" y="3345"/>
                </a:cubicBezTo>
                <a:cubicBezTo>
                  <a:pt x="1081" y="3567"/>
                  <a:pt x="1161" y="3790"/>
                  <a:pt x="1272" y="3981"/>
                </a:cubicBezTo>
                <a:cubicBezTo>
                  <a:pt x="891" y="3981"/>
                  <a:pt x="891" y="3981"/>
                  <a:pt x="891" y="3981"/>
                </a:cubicBezTo>
                <a:cubicBezTo>
                  <a:pt x="477" y="3981"/>
                  <a:pt x="0" y="4299"/>
                  <a:pt x="0" y="4729"/>
                </a:cubicBezTo>
                <a:cubicBezTo>
                  <a:pt x="0" y="4856"/>
                  <a:pt x="0" y="4856"/>
                  <a:pt x="0" y="4856"/>
                </a:cubicBezTo>
                <a:cubicBezTo>
                  <a:pt x="0" y="4904"/>
                  <a:pt x="31" y="4936"/>
                  <a:pt x="79" y="4936"/>
                </a:cubicBezTo>
                <a:cubicBezTo>
                  <a:pt x="127" y="4936"/>
                  <a:pt x="158" y="4904"/>
                  <a:pt x="158" y="4856"/>
                </a:cubicBezTo>
                <a:cubicBezTo>
                  <a:pt x="158" y="4729"/>
                  <a:pt x="158" y="4729"/>
                  <a:pt x="158" y="4729"/>
                </a:cubicBezTo>
                <a:cubicBezTo>
                  <a:pt x="158" y="4394"/>
                  <a:pt x="557" y="4140"/>
                  <a:pt x="891" y="4140"/>
                </a:cubicBezTo>
                <a:cubicBezTo>
                  <a:pt x="1384" y="4140"/>
                  <a:pt x="1384" y="4140"/>
                  <a:pt x="1384" y="4140"/>
                </a:cubicBezTo>
                <a:cubicBezTo>
                  <a:pt x="1543" y="4331"/>
                  <a:pt x="1749" y="4474"/>
                  <a:pt x="2004" y="4474"/>
                </a:cubicBezTo>
                <a:cubicBezTo>
                  <a:pt x="2243" y="4474"/>
                  <a:pt x="2466" y="4331"/>
                  <a:pt x="2625" y="4108"/>
                </a:cubicBezTo>
                <a:cubicBezTo>
                  <a:pt x="2625" y="4124"/>
                  <a:pt x="2657" y="4140"/>
                  <a:pt x="2672" y="4140"/>
                </a:cubicBezTo>
                <a:cubicBezTo>
                  <a:pt x="3229" y="4140"/>
                  <a:pt x="3229" y="4140"/>
                  <a:pt x="3229" y="4140"/>
                </a:cubicBezTo>
                <a:cubicBezTo>
                  <a:pt x="3531" y="4140"/>
                  <a:pt x="3754" y="4379"/>
                  <a:pt x="3754" y="4729"/>
                </a:cubicBezTo>
                <a:cubicBezTo>
                  <a:pt x="3754" y="4856"/>
                  <a:pt x="3754" y="4856"/>
                  <a:pt x="3754" y="4856"/>
                </a:cubicBezTo>
                <a:cubicBezTo>
                  <a:pt x="3754" y="4904"/>
                  <a:pt x="3786" y="4936"/>
                  <a:pt x="3834" y="4936"/>
                </a:cubicBezTo>
                <a:cubicBezTo>
                  <a:pt x="3882" y="4936"/>
                  <a:pt x="3913" y="4904"/>
                  <a:pt x="3913" y="4856"/>
                </a:cubicBezTo>
                <a:cubicBezTo>
                  <a:pt x="3913" y="4729"/>
                  <a:pt x="3913" y="4729"/>
                  <a:pt x="3913" y="4729"/>
                </a:cubicBezTo>
                <a:cubicBezTo>
                  <a:pt x="3913" y="4299"/>
                  <a:pt x="3627" y="3981"/>
                  <a:pt x="3229" y="3981"/>
                </a:cubicBezTo>
                <a:close/>
                <a:moveTo>
                  <a:pt x="970" y="1102"/>
                </a:moveTo>
                <a:cubicBezTo>
                  <a:pt x="970" y="799"/>
                  <a:pt x="1145" y="656"/>
                  <a:pt x="1558" y="656"/>
                </a:cubicBezTo>
                <a:cubicBezTo>
                  <a:pt x="1591" y="656"/>
                  <a:pt x="1638" y="624"/>
                  <a:pt x="1638" y="576"/>
                </a:cubicBezTo>
                <a:lnTo>
                  <a:pt x="1638" y="560"/>
                </a:lnTo>
                <a:cubicBezTo>
                  <a:pt x="1638" y="529"/>
                  <a:pt x="1686" y="417"/>
                  <a:pt x="1702" y="385"/>
                </a:cubicBezTo>
                <a:cubicBezTo>
                  <a:pt x="1766" y="290"/>
                  <a:pt x="1877" y="211"/>
                  <a:pt x="2004" y="178"/>
                </a:cubicBezTo>
                <a:cubicBezTo>
                  <a:pt x="2370" y="115"/>
                  <a:pt x="2736" y="194"/>
                  <a:pt x="2991" y="401"/>
                </a:cubicBezTo>
                <a:cubicBezTo>
                  <a:pt x="3166" y="560"/>
                  <a:pt x="3261" y="767"/>
                  <a:pt x="3261" y="1006"/>
                </a:cubicBezTo>
                <a:cubicBezTo>
                  <a:pt x="3261" y="1260"/>
                  <a:pt x="3054" y="1467"/>
                  <a:pt x="2800" y="1467"/>
                </a:cubicBezTo>
                <a:cubicBezTo>
                  <a:pt x="2768" y="1467"/>
                  <a:pt x="2768" y="1467"/>
                  <a:pt x="2768" y="1467"/>
                </a:cubicBezTo>
                <a:cubicBezTo>
                  <a:pt x="2720" y="1467"/>
                  <a:pt x="2688" y="1515"/>
                  <a:pt x="2688" y="1547"/>
                </a:cubicBezTo>
                <a:cubicBezTo>
                  <a:pt x="2688" y="2279"/>
                  <a:pt x="2688" y="2279"/>
                  <a:pt x="2688" y="2279"/>
                </a:cubicBezTo>
                <a:cubicBezTo>
                  <a:pt x="2529" y="2199"/>
                  <a:pt x="2306" y="2183"/>
                  <a:pt x="2163" y="2167"/>
                </a:cubicBezTo>
                <a:cubicBezTo>
                  <a:pt x="2036" y="2151"/>
                  <a:pt x="1909" y="2151"/>
                  <a:pt x="1797" y="2167"/>
                </a:cubicBezTo>
                <a:cubicBezTo>
                  <a:pt x="1654" y="2183"/>
                  <a:pt x="1400" y="2199"/>
                  <a:pt x="1240" y="2294"/>
                </a:cubicBezTo>
                <a:cubicBezTo>
                  <a:pt x="1240" y="1547"/>
                  <a:pt x="1240" y="1547"/>
                  <a:pt x="1240" y="1547"/>
                </a:cubicBezTo>
                <a:cubicBezTo>
                  <a:pt x="1240" y="1515"/>
                  <a:pt x="1209" y="1483"/>
                  <a:pt x="1161" y="1467"/>
                </a:cubicBezTo>
                <a:cubicBezTo>
                  <a:pt x="1161" y="1467"/>
                  <a:pt x="970" y="1435"/>
                  <a:pt x="970" y="1102"/>
                </a:cubicBezTo>
                <a:close/>
                <a:moveTo>
                  <a:pt x="2004" y="4315"/>
                </a:moveTo>
                <a:cubicBezTo>
                  <a:pt x="1575" y="4315"/>
                  <a:pt x="1240" y="3742"/>
                  <a:pt x="1240" y="3281"/>
                </a:cubicBezTo>
                <a:cubicBezTo>
                  <a:pt x="1240" y="3233"/>
                  <a:pt x="1193" y="3202"/>
                  <a:pt x="1161" y="3202"/>
                </a:cubicBezTo>
                <a:cubicBezTo>
                  <a:pt x="1113" y="3202"/>
                  <a:pt x="1049" y="3122"/>
                  <a:pt x="1049" y="3058"/>
                </a:cubicBezTo>
                <a:cubicBezTo>
                  <a:pt x="1049" y="2836"/>
                  <a:pt x="1049" y="2836"/>
                  <a:pt x="1049" y="2836"/>
                </a:cubicBezTo>
                <a:cubicBezTo>
                  <a:pt x="1049" y="2708"/>
                  <a:pt x="1066" y="2692"/>
                  <a:pt x="1161" y="2692"/>
                </a:cubicBezTo>
                <a:cubicBezTo>
                  <a:pt x="1193" y="2692"/>
                  <a:pt x="1240" y="2645"/>
                  <a:pt x="1240" y="2597"/>
                </a:cubicBezTo>
                <a:cubicBezTo>
                  <a:pt x="1240" y="2549"/>
                  <a:pt x="1240" y="2502"/>
                  <a:pt x="1240" y="2470"/>
                </a:cubicBezTo>
                <a:cubicBezTo>
                  <a:pt x="1272" y="2406"/>
                  <a:pt x="1543" y="2342"/>
                  <a:pt x="1797" y="2326"/>
                </a:cubicBezTo>
                <a:cubicBezTo>
                  <a:pt x="1861" y="2326"/>
                  <a:pt x="1925" y="2311"/>
                  <a:pt x="1988" y="2311"/>
                </a:cubicBezTo>
                <a:cubicBezTo>
                  <a:pt x="2036" y="2311"/>
                  <a:pt x="2084" y="2326"/>
                  <a:pt x="2148" y="2326"/>
                </a:cubicBezTo>
                <a:cubicBezTo>
                  <a:pt x="2402" y="2342"/>
                  <a:pt x="2657" y="2406"/>
                  <a:pt x="2672" y="2454"/>
                </a:cubicBezTo>
                <a:cubicBezTo>
                  <a:pt x="2688" y="2502"/>
                  <a:pt x="2688" y="2549"/>
                  <a:pt x="2688" y="2613"/>
                </a:cubicBezTo>
                <a:cubicBezTo>
                  <a:pt x="2688" y="2645"/>
                  <a:pt x="2720" y="2692"/>
                  <a:pt x="2768" y="2692"/>
                </a:cubicBezTo>
                <a:cubicBezTo>
                  <a:pt x="2848" y="2692"/>
                  <a:pt x="2863" y="2708"/>
                  <a:pt x="2863" y="2836"/>
                </a:cubicBezTo>
                <a:cubicBezTo>
                  <a:pt x="2863" y="3058"/>
                  <a:pt x="2863" y="3058"/>
                  <a:pt x="2863" y="3058"/>
                </a:cubicBezTo>
                <a:cubicBezTo>
                  <a:pt x="2863" y="3122"/>
                  <a:pt x="2831" y="3202"/>
                  <a:pt x="2800" y="3202"/>
                </a:cubicBezTo>
                <a:cubicBezTo>
                  <a:pt x="2768" y="3202"/>
                  <a:pt x="2720" y="3233"/>
                  <a:pt x="2720" y="3281"/>
                </a:cubicBezTo>
                <a:cubicBezTo>
                  <a:pt x="2720" y="3711"/>
                  <a:pt x="2449" y="4315"/>
                  <a:pt x="2004" y="431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2" name="Freeform: Shape 2">
            <a:extLst>
              <a:ext uri="{FF2B5EF4-FFF2-40B4-BE49-F238E27FC236}">
                <a16:creationId xmlns:a16="http://schemas.microsoft.com/office/drawing/2014/main" id="{57805BB7-B00C-1749-AD43-E617E8705639}"/>
              </a:ext>
            </a:extLst>
          </p:cNvPr>
          <p:cNvSpPr/>
          <p:nvPr/>
        </p:nvSpPr>
        <p:spPr>
          <a:xfrm>
            <a:off x="17391059" y="6275711"/>
            <a:ext cx="1555199" cy="1628999"/>
          </a:xfrm>
          <a:custGeom>
            <a:avLst/>
            <a:gdLst/>
            <a:ahLst/>
            <a:cxnLst>
              <a:cxn ang="3cd4">
                <a:pos x="hc" y="t"/>
              </a:cxn>
              <a:cxn ang="cd2">
                <a:pos x="l" y="vc"/>
              </a:cxn>
              <a:cxn ang="cd4">
                <a:pos x="hc" y="b"/>
              </a:cxn>
              <a:cxn ang="0">
                <a:pos x="r" y="vc"/>
              </a:cxn>
            </a:cxnLst>
            <a:rect l="l" t="t" r="r" b="b"/>
            <a:pathLst>
              <a:path w="4321" h="4526">
                <a:moveTo>
                  <a:pt x="2837" y="3746"/>
                </a:moveTo>
                <a:cubicBezTo>
                  <a:pt x="2678" y="3444"/>
                  <a:pt x="2678" y="3444"/>
                  <a:pt x="2678" y="3444"/>
                </a:cubicBezTo>
                <a:cubicBezTo>
                  <a:pt x="3490" y="3285"/>
                  <a:pt x="3808" y="2792"/>
                  <a:pt x="3888" y="2617"/>
                </a:cubicBezTo>
                <a:cubicBezTo>
                  <a:pt x="3903" y="2585"/>
                  <a:pt x="3903" y="2553"/>
                  <a:pt x="3888" y="2537"/>
                </a:cubicBezTo>
                <a:cubicBezTo>
                  <a:pt x="3792" y="2378"/>
                  <a:pt x="3522" y="1901"/>
                  <a:pt x="3490" y="1726"/>
                </a:cubicBezTo>
                <a:cubicBezTo>
                  <a:pt x="3474" y="1678"/>
                  <a:pt x="3474" y="1678"/>
                  <a:pt x="3474" y="1678"/>
                </a:cubicBezTo>
                <a:cubicBezTo>
                  <a:pt x="3426" y="1471"/>
                  <a:pt x="3378" y="1312"/>
                  <a:pt x="3331" y="1217"/>
                </a:cubicBezTo>
                <a:cubicBezTo>
                  <a:pt x="3410" y="1217"/>
                  <a:pt x="3410" y="1217"/>
                  <a:pt x="3410" y="1217"/>
                </a:cubicBezTo>
                <a:cubicBezTo>
                  <a:pt x="3458" y="1217"/>
                  <a:pt x="3490" y="1169"/>
                  <a:pt x="3490" y="1137"/>
                </a:cubicBezTo>
                <a:cubicBezTo>
                  <a:pt x="3490" y="501"/>
                  <a:pt x="3490" y="501"/>
                  <a:pt x="3490" y="501"/>
                </a:cubicBezTo>
                <a:cubicBezTo>
                  <a:pt x="3490" y="453"/>
                  <a:pt x="3458" y="421"/>
                  <a:pt x="3410" y="421"/>
                </a:cubicBezTo>
                <a:cubicBezTo>
                  <a:pt x="3076" y="421"/>
                  <a:pt x="2360" y="198"/>
                  <a:pt x="2185" y="23"/>
                </a:cubicBezTo>
                <a:cubicBezTo>
                  <a:pt x="2169" y="-8"/>
                  <a:pt x="2106" y="-8"/>
                  <a:pt x="2074" y="23"/>
                </a:cubicBezTo>
                <a:cubicBezTo>
                  <a:pt x="1915" y="198"/>
                  <a:pt x="1024" y="421"/>
                  <a:pt x="864" y="421"/>
                </a:cubicBezTo>
                <a:cubicBezTo>
                  <a:pt x="817" y="421"/>
                  <a:pt x="785" y="453"/>
                  <a:pt x="785" y="501"/>
                </a:cubicBezTo>
                <a:cubicBezTo>
                  <a:pt x="785" y="1137"/>
                  <a:pt x="785" y="1137"/>
                  <a:pt x="785" y="1137"/>
                </a:cubicBezTo>
                <a:cubicBezTo>
                  <a:pt x="785" y="1169"/>
                  <a:pt x="817" y="1217"/>
                  <a:pt x="864" y="1217"/>
                </a:cubicBezTo>
                <a:cubicBezTo>
                  <a:pt x="976" y="1217"/>
                  <a:pt x="976" y="1217"/>
                  <a:pt x="976" y="1217"/>
                </a:cubicBezTo>
                <a:cubicBezTo>
                  <a:pt x="928" y="1312"/>
                  <a:pt x="896" y="1471"/>
                  <a:pt x="849" y="1678"/>
                </a:cubicBezTo>
                <a:cubicBezTo>
                  <a:pt x="833" y="1726"/>
                  <a:pt x="833" y="1726"/>
                  <a:pt x="833" y="1726"/>
                </a:cubicBezTo>
                <a:cubicBezTo>
                  <a:pt x="785" y="1901"/>
                  <a:pt x="530" y="2378"/>
                  <a:pt x="419" y="2537"/>
                </a:cubicBezTo>
                <a:cubicBezTo>
                  <a:pt x="419" y="2553"/>
                  <a:pt x="419" y="2585"/>
                  <a:pt x="419" y="2617"/>
                </a:cubicBezTo>
                <a:cubicBezTo>
                  <a:pt x="515" y="2792"/>
                  <a:pt x="833" y="3285"/>
                  <a:pt x="1644" y="3444"/>
                </a:cubicBezTo>
                <a:cubicBezTo>
                  <a:pt x="1485" y="3746"/>
                  <a:pt x="1485" y="3746"/>
                  <a:pt x="1485" y="3746"/>
                </a:cubicBezTo>
                <a:cubicBezTo>
                  <a:pt x="912" y="3746"/>
                  <a:pt x="228" y="3762"/>
                  <a:pt x="6" y="4414"/>
                </a:cubicBezTo>
                <a:cubicBezTo>
                  <a:pt x="-10" y="4462"/>
                  <a:pt x="6" y="4510"/>
                  <a:pt x="53" y="4526"/>
                </a:cubicBezTo>
                <a:cubicBezTo>
                  <a:pt x="69" y="4526"/>
                  <a:pt x="69" y="4526"/>
                  <a:pt x="85" y="4526"/>
                </a:cubicBezTo>
                <a:cubicBezTo>
                  <a:pt x="117" y="4526"/>
                  <a:pt x="149" y="4510"/>
                  <a:pt x="149" y="4478"/>
                </a:cubicBezTo>
                <a:cubicBezTo>
                  <a:pt x="340" y="3905"/>
                  <a:pt x="976" y="3905"/>
                  <a:pt x="1533" y="3905"/>
                </a:cubicBezTo>
                <a:cubicBezTo>
                  <a:pt x="1564" y="3905"/>
                  <a:pt x="1597" y="3889"/>
                  <a:pt x="1612" y="3857"/>
                </a:cubicBezTo>
                <a:cubicBezTo>
                  <a:pt x="1803" y="3460"/>
                  <a:pt x="1803" y="3460"/>
                  <a:pt x="1803" y="3460"/>
                </a:cubicBezTo>
                <a:cubicBezTo>
                  <a:pt x="1915" y="3476"/>
                  <a:pt x="2026" y="3492"/>
                  <a:pt x="2154" y="3492"/>
                </a:cubicBezTo>
                <a:cubicBezTo>
                  <a:pt x="2281" y="3492"/>
                  <a:pt x="2408" y="3476"/>
                  <a:pt x="2519" y="3460"/>
                </a:cubicBezTo>
                <a:cubicBezTo>
                  <a:pt x="2710" y="3857"/>
                  <a:pt x="2710" y="3857"/>
                  <a:pt x="2710" y="3857"/>
                </a:cubicBezTo>
                <a:cubicBezTo>
                  <a:pt x="2726" y="3889"/>
                  <a:pt x="2758" y="3905"/>
                  <a:pt x="2790" y="3905"/>
                </a:cubicBezTo>
                <a:cubicBezTo>
                  <a:pt x="3346" y="3905"/>
                  <a:pt x="3967" y="3905"/>
                  <a:pt x="4158" y="4478"/>
                </a:cubicBezTo>
                <a:cubicBezTo>
                  <a:pt x="4174" y="4510"/>
                  <a:pt x="4206" y="4526"/>
                  <a:pt x="4237" y="4526"/>
                </a:cubicBezTo>
                <a:cubicBezTo>
                  <a:pt x="4254" y="4526"/>
                  <a:pt x="4254" y="4526"/>
                  <a:pt x="4269" y="4526"/>
                </a:cubicBezTo>
                <a:cubicBezTo>
                  <a:pt x="4301" y="4510"/>
                  <a:pt x="4333" y="4462"/>
                  <a:pt x="4317" y="4414"/>
                </a:cubicBezTo>
                <a:cubicBezTo>
                  <a:pt x="4094" y="3762"/>
                  <a:pt x="3410" y="3746"/>
                  <a:pt x="2837" y="3746"/>
                </a:cubicBezTo>
                <a:close/>
                <a:moveTo>
                  <a:pt x="944" y="564"/>
                </a:moveTo>
                <a:cubicBezTo>
                  <a:pt x="1199" y="532"/>
                  <a:pt x="1867" y="373"/>
                  <a:pt x="2137" y="183"/>
                </a:cubicBezTo>
                <a:cubicBezTo>
                  <a:pt x="2392" y="373"/>
                  <a:pt x="2981" y="548"/>
                  <a:pt x="3331" y="564"/>
                </a:cubicBezTo>
                <a:cubicBezTo>
                  <a:pt x="3331" y="1057"/>
                  <a:pt x="3331" y="1057"/>
                  <a:pt x="3331" y="1057"/>
                </a:cubicBezTo>
                <a:cubicBezTo>
                  <a:pt x="3155" y="1057"/>
                  <a:pt x="3155" y="1057"/>
                  <a:pt x="3155" y="1057"/>
                </a:cubicBezTo>
                <a:cubicBezTo>
                  <a:pt x="1151" y="1057"/>
                  <a:pt x="1151" y="1057"/>
                  <a:pt x="1151" y="1057"/>
                </a:cubicBezTo>
                <a:cubicBezTo>
                  <a:pt x="944" y="1057"/>
                  <a:pt x="944" y="1057"/>
                  <a:pt x="944" y="1057"/>
                </a:cubicBezTo>
                <a:close/>
                <a:moveTo>
                  <a:pt x="578" y="2585"/>
                </a:moveTo>
                <a:cubicBezTo>
                  <a:pt x="674" y="2442"/>
                  <a:pt x="944" y="1964"/>
                  <a:pt x="992" y="1774"/>
                </a:cubicBezTo>
                <a:cubicBezTo>
                  <a:pt x="1008" y="1710"/>
                  <a:pt x="1008" y="1710"/>
                  <a:pt x="1008" y="1710"/>
                </a:cubicBezTo>
                <a:cubicBezTo>
                  <a:pt x="1040" y="1566"/>
                  <a:pt x="1103" y="1248"/>
                  <a:pt x="1151" y="1217"/>
                </a:cubicBezTo>
                <a:cubicBezTo>
                  <a:pt x="3155" y="1217"/>
                  <a:pt x="3155" y="1217"/>
                  <a:pt x="3155" y="1217"/>
                </a:cubicBezTo>
                <a:cubicBezTo>
                  <a:pt x="3219" y="1264"/>
                  <a:pt x="3283" y="1566"/>
                  <a:pt x="3315" y="1710"/>
                </a:cubicBezTo>
                <a:cubicBezTo>
                  <a:pt x="3331" y="1774"/>
                  <a:pt x="3331" y="1774"/>
                  <a:pt x="3331" y="1774"/>
                </a:cubicBezTo>
                <a:cubicBezTo>
                  <a:pt x="3378" y="1964"/>
                  <a:pt x="3649" y="2442"/>
                  <a:pt x="3728" y="2585"/>
                </a:cubicBezTo>
                <a:cubicBezTo>
                  <a:pt x="3617" y="2792"/>
                  <a:pt x="3203" y="3332"/>
                  <a:pt x="2154" y="3332"/>
                </a:cubicBezTo>
                <a:cubicBezTo>
                  <a:pt x="1119" y="3332"/>
                  <a:pt x="706" y="2792"/>
                  <a:pt x="578" y="258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3" name="Freeform: Shape 5">
            <a:extLst>
              <a:ext uri="{FF2B5EF4-FFF2-40B4-BE49-F238E27FC236}">
                <a16:creationId xmlns:a16="http://schemas.microsoft.com/office/drawing/2014/main" id="{2CB6A95C-458E-CB47-B03D-EB1899DB81CE}"/>
              </a:ext>
            </a:extLst>
          </p:cNvPr>
          <p:cNvSpPr/>
          <p:nvPr/>
        </p:nvSpPr>
        <p:spPr>
          <a:xfrm>
            <a:off x="10204914" y="6243341"/>
            <a:ext cx="1700639" cy="1700999"/>
          </a:xfrm>
          <a:custGeom>
            <a:avLst/>
            <a:gdLst/>
            <a:ahLst/>
            <a:cxnLst>
              <a:cxn ang="3cd4">
                <a:pos x="hc" y="t"/>
              </a:cxn>
              <a:cxn ang="cd2">
                <a:pos x="l" y="vc"/>
              </a:cxn>
              <a:cxn ang="cd4">
                <a:pos x="hc" y="b"/>
              </a:cxn>
              <a:cxn ang="0">
                <a:pos x="r" y="vc"/>
              </a:cxn>
            </a:cxnLst>
            <a:rect l="l" t="t" r="r" b="b"/>
            <a:pathLst>
              <a:path w="4725" h="4726">
                <a:moveTo>
                  <a:pt x="2355" y="0"/>
                </a:moveTo>
                <a:cubicBezTo>
                  <a:pt x="1050" y="0"/>
                  <a:pt x="0" y="1051"/>
                  <a:pt x="0" y="2355"/>
                </a:cubicBezTo>
                <a:cubicBezTo>
                  <a:pt x="0" y="3071"/>
                  <a:pt x="302" y="3739"/>
                  <a:pt x="859" y="4185"/>
                </a:cubicBezTo>
                <a:cubicBezTo>
                  <a:pt x="1273" y="4535"/>
                  <a:pt x="1814" y="4726"/>
                  <a:pt x="2355" y="4726"/>
                </a:cubicBezTo>
                <a:cubicBezTo>
                  <a:pt x="3660" y="4726"/>
                  <a:pt x="4725" y="3660"/>
                  <a:pt x="4725" y="2355"/>
                </a:cubicBezTo>
                <a:cubicBezTo>
                  <a:pt x="4725" y="1051"/>
                  <a:pt x="3660" y="0"/>
                  <a:pt x="2355" y="0"/>
                </a:cubicBezTo>
                <a:close/>
                <a:moveTo>
                  <a:pt x="1066" y="4137"/>
                </a:moveTo>
                <a:cubicBezTo>
                  <a:pt x="1161" y="4121"/>
                  <a:pt x="1273" y="4105"/>
                  <a:pt x="1384" y="4105"/>
                </a:cubicBezTo>
                <a:cubicBezTo>
                  <a:pt x="1655" y="4105"/>
                  <a:pt x="1655" y="4105"/>
                  <a:pt x="1655" y="4105"/>
                </a:cubicBezTo>
                <a:cubicBezTo>
                  <a:pt x="1671" y="4105"/>
                  <a:pt x="1703" y="4089"/>
                  <a:pt x="1718" y="4073"/>
                </a:cubicBezTo>
                <a:cubicBezTo>
                  <a:pt x="1989" y="3676"/>
                  <a:pt x="1989" y="3676"/>
                  <a:pt x="1989" y="3676"/>
                </a:cubicBezTo>
                <a:cubicBezTo>
                  <a:pt x="2100" y="3724"/>
                  <a:pt x="2212" y="3771"/>
                  <a:pt x="2339" y="3771"/>
                </a:cubicBezTo>
                <a:cubicBezTo>
                  <a:pt x="2482" y="3771"/>
                  <a:pt x="2625" y="3724"/>
                  <a:pt x="2737" y="3644"/>
                </a:cubicBezTo>
                <a:cubicBezTo>
                  <a:pt x="3007" y="4058"/>
                  <a:pt x="3007" y="4058"/>
                  <a:pt x="3007" y="4058"/>
                </a:cubicBezTo>
                <a:cubicBezTo>
                  <a:pt x="3023" y="4089"/>
                  <a:pt x="3039" y="4105"/>
                  <a:pt x="3071" y="4105"/>
                </a:cubicBezTo>
                <a:cubicBezTo>
                  <a:pt x="3341" y="4105"/>
                  <a:pt x="3341" y="4105"/>
                  <a:pt x="3341" y="4105"/>
                </a:cubicBezTo>
                <a:cubicBezTo>
                  <a:pt x="3469" y="4105"/>
                  <a:pt x="3564" y="4105"/>
                  <a:pt x="3643" y="4137"/>
                </a:cubicBezTo>
                <a:cubicBezTo>
                  <a:pt x="3294" y="4407"/>
                  <a:pt x="2832" y="4567"/>
                  <a:pt x="2355" y="4567"/>
                </a:cubicBezTo>
                <a:cubicBezTo>
                  <a:pt x="1893" y="4567"/>
                  <a:pt x="1432" y="4407"/>
                  <a:pt x="1066" y="4137"/>
                </a:cubicBezTo>
                <a:close/>
                <a:moveTo>
                  <a:pt x="3230" y="2005"/>
                </a:moveTo>
                <a:cubicBezTo>
                  <a:pt x="3278" y="2005"/>
                  <a:pt x="3294" y="2021"/>
                  <a:pt x="3294" y="2021"/>
                </a:cubicBezTo>
                <a:cubicBezTo>
                  <a:pt x="3294" y="2021"/>
                  <a:pt x="3294" y="2069"/>
                  <a:pt x="3294" y="2101"/>
                </a:cubicBezTo>
                <a:cubicBezTo>
                  <a:pt x="3294" y="2451"/>
                  <a:pt x="3294" y="2451"/>
                  <a:pt x="3294" y="2451"/>
                </a:cubicBezTo>
                <a:cubicBezTo>
                  <a:pt x="3294" y="2498"/>
                  <a:pt x="3278" y="2546"/>
                  <a:pt x="3214" y="2546"/>
                </a:cubicBezTo>
                <a:cubicBezTo>
                  <a:pt x="3166" y="2546"/>
                  <a:pt x="3134" y="2594"/>
                  <a:pt x="3134" y="2625"/>
                </a:cubicBezTo>
                <a:cubicBezTo>
                  <a:pt x="3134" y="3071"/>
                  <a:pt x="2784" y="3612"/>
                  <a:pt x="2339" y="3612"/>
                </a:cubicBezTo>
                <a:cubicBezTo>
                  <a:pt x="1909" y="3612"/>
                  <a:pt x="1543" y="3071"/>
                  <a:pt x="1543" y="2625"/>
                </a:cubicBezTo>
                <a:cubicBezTo>
                  <a:pt x="1543" y="2594"/>
                  <a:pt x="1496" y="2546"/>
                  <a:pt x="1464" y="2546"/>
                </a:cubicBezTo>
                <a:cubicBezTo>
                  <a:pt x="1400" y="2546"/>
                  <a:pt x="1337" y="2498"/>
                  <a:pt x="1337" y="2451"/>
                </a:cubicBezTo>
                <a:cubicBezTo>
                  <a:pt x="1337" y="2101"/>
                  <a:pt x="1337" y="2101"/>
                  <a:pt x="1337" y="2101"/>
                </a:cubicBezTo>
                <a:cubicBezTo>
                  <a:pt x="1337" y="2037"/>
                  <a:pt x="1352" y="2021"/>
                  <a:pt x="1352" y="2005"/>
                </a:cubicBezTo>
                <a:cubicBezTo>
                  <a:pt x="1369" y="2005"/>
                  <a:pt x="1384" y="2005"/>
                  <a:pt x="1384" y="2005"/>
                </a:cubicBezTo>
                <a:cubicBezTo>
                  <a:pt x="1416" y="2005"/>
                  <a:pt x="1432" y="2005"/>
                  <a:pt x="1448" y="1989"/>
                </a:cubicBezTo>
                <a:cubicBezTo>
                  <a:pt x="1480" y="1973"/>
                  <a:pt x="1480" y="1958"/>
                  <a:pt x="1480" y="1925"/>
                </a:cubicBezTo>
                <a:cubicBezTo>
                  <a:pt x="1480" y="1576"/>
                  <a:pt x="1480" y="1576"/>
                  <a:pt x="1480" y="1576"/>
                </a:cubicBezTo>
                <a:cubicBezTo>
                  <a:pt x="1480" y="1321"/>
                  <a:pt x="1655" y="1130"/>
                  <a:pt x="1893" y="1130"/>
                </a:cubicBezTo>
                <a:cubicBezTo>
                  <a:pt x="1925" y="1130"/>
                  <a:pt x="1989" y="1130"/>
                  <a:pt x="2037" y="1067"/>
                </a:cubicBezTo>
                <a:cubicBezTo>
                  <a:pt x="2132" y="939"/>
                  <a:pt x="2466" y="844"/>
                  <a:pt x="2737" y="939"/>
                </a:cubicBezTo>
                <a:cubicBezTo>
                  <a:pt x="2928" y="987"/>
                  <a:pt x="3151" y="1146"/>
                  <a:pt x="3151" y="1576"/>
                </a:cubicBezTo>
                <a:cubicBezTo>
                  <a:pt x="3151" y="1925"/>
                  <a:pt x="3151" y="1925"/>
                  <a:pt x="3151" y="1925"/>
                </a:cubicBezTo>
                <a:cubicBezTo>
                  <a:pt x="3151" y="1973"/>
                  <a:pt x="3198" y="2005"/>
                  <a:pt x="3230" y="2005"/>
                </a:cubicBezTo>
                <a:close/>
                <a:moveTo>
                  <a:pt x="3787" y="4026"/>
                </a:moveTo>
                <a:cubicBezTo>
                  <a:pt x="3660" y="3962"/>
                  <a:pt x="3516" y="3946"/>
                  <a:pt x="3341" y="3946"/>
                </a:cubicBezTo>
                <a:cubicBezTo>
                  <a:pt x="3118" y="3946"/>
                  <a:pt x="3118" y="3946"/>
                  <a:pt x="3118" y="3946"/>
                </a:cubicBezTo>
                <a:cubicBezTo>
                  <a:pt x="2864" y="3549"/>
                  <a:pt x="2864" y="3549"/>
                  <a:pt x="2864" y="3549"/>
                </a:cubicBezTo>
                <a:cubicBezTo>
                  <a:pt x="3103" y="3342"/>
                  <a:pt x="3262" y="3007"/>
                  <a:pt x="3294" y="2705"/>
                </a:cubicBezTo>
                <a:cubicBezTo>
                  <a:pt x="3389" y="2658"/>
                  <a:pt x="3452" y="2578"/>
                  <a:pt x="3452" y="2451"/>
                </a:cubicBezTo>
                <a:cubicBezTo>
                  <a:pt x="3452" y="2085"/>
                  <a:pt x="3452" y="2085"/>
                  <a:pt x="3452" y="2085"/>
                </a:cubicBezTo>
                <a:cubicBezTo>
                  <a:pt x="3452" y="2021"/>
                  <a:pt x="3452" y="1958"/>
                  <a:pt x="3405" y="1910"/>
                </a:cubicBezTo>
                <a:cubicBezTo>
                  <a:pt x="3373" y="1878"/>
                  <a:pt x="3357" y="1862"/>
                  <a:pt x="3309" y="1862"/>
                </a:cubicBezTo>
                <a:cubicBezTo>
                  <a:pt x="3309" y="1576"/>
                  <a:pt x="3309" y="1576"/>
                  <a:pt x="3309" y="1576"/>
                </a:cubicBezTo>
                <a:cubicBezTo>
                  <a:pt x="3309" y="1034"/>
                  <a:pt x="2975" y="844"/>
                  <a:pt x="2784" y="780"/>
                </a:cubicBezTo>
                <a:cubicBezTo>
                  <a:pt x="2466" y="685"/>
                  <a:pt x="2052" y="764"/>
                  <a:pt x="1909" y="971"/>
                </a:cubicBezTo>
                <a:lnTo>
                  <a:pt x="1893" y="971"/>
                </a:lnTo>
                <a:cubicBezTo>
                  <a:pt x="1575" y="971"/>
                  <a:pt x="1321" y="1225"/>
                  <a:pt x="1321" y="1576"/>
                </a:cubicBezTo>
                <a:cubicBezTo>
                  <a:pt x="1321" y="1846"/>
                  <a:pt x="1321" y="1846"/>
                  <a:pt x="1321" y="1846"/>
                </a:cubicBezTo>
                <a:cubicBezTo>
                  <a:pt x="1305" y="1862"/>
                  <a:pt x="1273" y="1878"/>
                  <a:pt x="1257" y="1894"/>
                </a:cubicBezTo>
                <a:cubicBezTo>
                  <a:pt x="1193" y="1942"/>
                  <a:pt x="1178" y="2005"/>
                  <a:pt x="1178" y="2101"/>
                </a:cubicBezTo>
                <a:cubicBezTo>
                  <a:pt x="1178" y="2451"/>
                  <a:pt x="1178" y="2451"/>
                  <a:pt x="1178" y="2451"/>
                </a:cubicBezTo>
                <a:cubicBezTo>
                  <a:pt x="1178" y="2562"/>
                  <a:pt x="1273" y="2673"/>
                  <a:pt x="1384" y="2705"/>
                </a:cubicBezTo>
                <a:cubicBezTo>
                  <a:pt x="1400" y="3024"/>
                  <a:pt x="1591" y="3373"/>
                  <a:pt x="1861" y="3580"/>
                </a:cubicBezTo>
                <a:cubicBezTo>
                  <a:pt x="1607" y="3946"/>
                  <a:pt x="1607" y="3946"/>
                  <a:pt x="1607" y="3946"/>
                </a:cubicBezTo>
                <a:cubicBezTo>
                  <a:pt x="1384" y="3946"/>
                  <a:pt x="1384" y="3946"/>
                  <a:pt x="1384" y="3946"/>
                </a:cubicBezTo>
                <a:cubicBezTo>
                  <a:pt x="1209" y="3946"/>
                  <a:pt x="1050" y="3978"/>
                  <a:pt x="923" y="4026"/>
                </a:cubicBezTo>
                <a:cubicBezTo>
                  <a:pt x="430" y="3612"/>
                  <a:pt x="159" y="3007"/>
                  <a:pt x="159" y="2355"/>
                </a:cubicBezTo>
                <a:cubicBezTo>
                  <a:pt x="159" y="1146"/>
                  <a:pt x="1146" y="160"/>
                  <a:pt x="2355" y="160"/>
                </a:cubicBezTo>
                <a:cubicBezTo>
                  <a:pt x="3564" y="160"/>
                  <a:pt x="4566" y="1146"/>
                  <a:pt x="4566" y="2355"/>
                </a:cubicBezTo>
                <a:cubicBezTo>
                  <a:pt x="4566" y="3024"/>
                  <a:pt x="4264" y="3628"/>
                  <a:pt x="3787" y="402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4" name="Freeform: Shape 6">
            <a:extLst>
              <a:ext uri="{FF2B5EF4-FFF2-40B4-BE49-F238E27FC236}">
                <a16:creationId xmlns:a16="http://schemas.microsoft.com/office/drawing/2014/main" id="{5E780E6A-EC91-DF46-989D-B1BC317089CC}"/>
              </a:ext>
            </a:extLst>
          </p:cNvPr>
          <p:cNvSpPr/>
          <p:nvPr/>
        </p:nvSpPr>
        <p:spPr>
          <a:xfrm>
            <a:off x="1873066" y="6459180"/>
            <a:ext cx="1488960" cy="1626480"/>
          </a:xfrm>
          <a:custGeom>
            <a:avLst/>
            <a:gdLst/>
            <a:ahLst/>
            <a:cxnLst>
              <a:cxn ang="3cd4">
                <a:pos x="hc" y="t"/>
              </a:cxn>
              <a:cxn ang="cd2">
                <a:pos x="l" y="vc"/>
              </a:cxn>
              <a:cxn ang="cd4">
                <a:pos x="hc" y="b"/>
              </a:cxn>
              <a:cxn ang="0">
                <a:pos x="r" y="vc"/>
              </a:cxn>
            </a:cxnLst>
            <a:rect l="l" t="t" r="r" b="b"/>
            <a:pathLst>
              <a:path w="4137" h="4519">
                <a:moveTo>
                  <a:pt x="1543" y="3485"/>
                </a:moveTo>
                <a:cubicBezTo>
                  <a:pt x="1734" y="2912"/>
                  <a:pt x="1734" y="2912"/>
                  <a:pt x="1734" y="2912"/>
                </a:cubicBezTo>
                <a:cubicBezTo>
                  <a:pt x="1829" y="2928"/>
                  <a:pt x="1941" y="2944"/>
                  <a:pt x="2068" y="2944"/>
                </a:cubicBezTo>
                <a:cubicBezTo>
                  <a:pt x="2180" y="2944"/>
                  <a:pt x="2291" y="2928"/>
                  <a:pt x="2402" y="2912"/>
                </a:cubicBezTo>
                <a:cubicBezTo>
                  <a:pt x="2593" y="3485"/>
                  <a:pt x="2593" y="3485"/>
                  <a:pt x="2593" y="3485"/>
                </a:cubicBezTo>
                <a:cubicBezTo>
                  <a:pt x="2593" y="3517"/>
                  <a:pt x="2625" y="3533"/>
                  <a:pt x="2657" y="3533"/>
                </a:cubicBezTo>
                <a:cubicBezTo>
                  <a:pt x="3166" y="3533"/>
                  <a:pt x="3977" y="3946"/>
                  <a:pt x="3977" y="4439"/>
                </a:cubicBezTo>
                <a:cubicBezTo>
                  <a:pt x="3977" y="4487"/>
                  <a:pt x="4009" y="4519"/>
                  <a:pt x="4057" y="4519"/>
                </a:cubicBezTo>
                <a:cubicBezTo>
                  <a:pt x="4089" y="4519"/>
                  <a:pt x="4137" y="4487"/>
                  <a:pt x="4137" y="4439"/>
                </a:cubicBezTo>
                <a:cubicBezTo>
                  <a:pt x="4137" y="3851"/>
                  <a:pt x="3293" y="3405"/>
                  <a:pt x="2720" y="3373"/>
                </a:cubicBezTo>
                <a:cubicBezTo>
                  <a:pt x="2562" y="2896"/>
                  <a:pt x="2562" y="2896"/>
                  <a:pt x="2562" y="2896"/>
                </a:cubicBezTo>
                <a:cubicBezTo>
                  <a:pt x="3341" y="2753"/>
                  <a:pt x="3643" y="2260"/>
                  <a:pt x="3723" y="2101"/>
                </a:cubicBezTo>
                <a:cubicBezTo>
                  <a:pt x="3739" y="2069"/>
                  <a:pt x="3739" y="2053"/>
                  <a:pt x="3723" y="2021"/>
                </a:cubicBezTo>
                <a:cubicBezTo>
                  <a:pt x="3628" y="1862"/>
                  <a:pt x="3373" y="1417"/>
                  <a:pt x="3341" y="1257"/>
                </a:cubicBezTo>
                <a:cubicBezTo>
                  <a:pt x="3150" y="462"/>
                  <a:pt x="2689" y="0"/>
                  <a:pt x="2068" y="0"/>
                </a:cubicBezTo>
                <a:cubicBezTo>
                  <a:pt x="1448" y="0"/>
                  <a:pt x="986" y="462"/>
                  <a:pt x="795" y="1257"/>
                </a:cubicBezTo>
                <a:cubicBezTo>
                  <a:pt x="764" y="1417"/>
                  <a:pt x="509" y="1862"/>
                  <a:pt x="414" y="2021"/>
                </a:cubicBezTo>
                <a:cubicBezTo>
                  <a:pt x="398" y="2053"/>
                  <a:pt x="398" y="2069"/>
                  <a:pt x="414" y="2101"/>
                </a:cubicBezTo>
                <a:cubicBezTo>
                  <a:pt x="493" y="2260"/>
                  <a:pt x="795" y="2753"/>
                  <a:pt x="1575" y="2896"/>
                </a:cubicBezTo>
                <a:cubicBezTo>
                  <a:pt x="1416" y="3373"/>
                  <a:pt x="1416" y="3373"/>
                  <a:pt x="1416" y="3373"/>
                </a:cubicBezTo>
                <a:cubicBezTo>
                  <a:pt x="827" y="3405"/>
                  <a:pt x="0" y="3851"/>
                  <a:pt x="0" y="4439"/>
                </a:cubicBezTo>
                <a:cubicBezTo>
                  <a:pt x="0" y="4487"/>
                  <a:pt x="32" y="4519"/>
                  <a:pt x="80" y="4519"/>
                </a:cubicBezTo>
                <a:cubicBezTo>
                  <a:pt x="127" y="4519"/>
                  <a:pt x="159" y="4487"/>
                  <a:pt x="159" y="4439"/>
                </a:cubicBezTo>
                <a:cubicBezTo>
                  <a:pt x="159" y="3946"/>
                  <a:pt x="971" y="3533"/>
                  <a:pt x="1464" y="3533"/>
                </a:cubicBezTo>
                <a:cubicBezTo>
                  <a:pt x="1511" y="3533"/>
                  <a:pt x="1528" y="3517"/>
                  <a:pt x="1543" y="3485"/>
                </a:cubicBezTo>
                <a:close/>
                <a:moveTo>
                  <a:pt x="573" y="2069"/>
                </a:moveTo>
                <a:cubicBezTo>
                  <a:pt x="652" y="1926"/>
                  <a:pt x="907" y="1480"/>
                  <a:pt x="955" y="1289"/>
                </a:cubicBezTo>
                <a:cubicBezTo>
                  <a:pt x="1034" y="955"/>
                  <a:pt x="1305" y="160"/>
                  <a:pt x="2068" y="160"/>
                </a:cubicBezTo>
                <a:cubicBezTo>
                  <a:pt x="2832" y="160"/>
                  <a:pt x="3102" y="955"/>
                  <a:pt x="3182" y="1289"/>
                </a:cubicBezTo>
                <a:cubicBezTo>
                  <a:pt x="3230" y="1480"/>
                  <a:pt x="3484" y="1926"/>
                  <a:pt x="3564" y="2069"/>
                </a:cubicBezTo>
                <a:cubicBezTo>
                  <a:pt x="3452" y="2276"/>
                  <a:pt x="3055" y="2785"/>
                  <a:pt x="2068" y="2785"/>
                </a:cubicBezTo>
                <a:cubicBezTo>
                  <a:pt x="1066" y="2785"/>
                  <a:pt x="684" y="2276"/>
                  <a:pt x="573" y="206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Freeform: Shape 7">
            <a:extLst>
              <a:ext uri="{FF2B5EF4-FFF2-40B4-BE49-F238E27FC236}">
                <a16:creationId xmlns:a16="http://schemas.microsoft.com/office/drawing/2014/main" id="{F83377CF-39EF-3D4A-A9A0-AD783FC4030C}"/>
              </a:ext>
            </a:extLst>
          </p:cNvPr>
          <p:cNvSpPr/>
          <p:nvPr/>
        </p:nvSpPr>
        <p:spPr>
          <a:xfrm>
            <a:off x="17565152" y="2872303"/>
            <a:ext cx="1506239" cy="1726920"/>
          </a:xfrm>
          <a:custGeom>
            <a:avLst/>
            <a:gdLst/>
            <a:ahLst/>
            <a:cxnLst>
              <a:cxn ang="3cd4">
                <a:pos x="hc" y="t"/>
              </a:cxn>
              <a:cxn ang="cd2">
                <a:pos x="l" y="vc"/>
              </a:cxn>
              <a:cxn ang="cd4">
                <a:pos x="hc" y="b"/>
              </a:cxn>
              <a:cxn ang="0">
                <a:pos x="r" y="vc"/>
              </a:cxn>
            </a:cxnLst>
            <a:rect l="l" t="t" r="r" b="b"/>
            <a:pathLst>
              <a:path w="4185" h="4798">
                <a:moveTo>
                  <a:pt x="3564" y="3366"/>
                </a:moveTo>
                <a:cubicBezTo>
                  <a:pt x="3516" y="3366"/>
                  <a:pt x="3485" y="3398"/>
                  <a:pt x="3485" y="3446"/>
                </a:cubicBezTo>
                <a:lnTo>
                  <a:pt x="3485" y="3923"/>
                </a:lnTo>
                <a:lnTo>
                  <a:pt x="3007" y="3923"/>
                </a:lnTo>
                <a:cubicBezTo>
                  <a:pt x="2960" y="3923"/>
                  <a:pt x="2928" y="3955"/>
                  <a:pt x="2928" y="4003"/>
                </a:cubicBezTo>
                <a:cubicBezTo>
                  <a:pt x="2928" y="4050"/>
                  <a:pt x="2960" y="4082"/>
                  <a:pt x="3007" y="4082"/>
                </a:cubicBezTo>
                <a:lnTo>
                  <a:pt x="3485" y="4082"/>
                </a:lnTo>
                <a:lnTo>
                  <a:pt x="3485" y="4560"/>
                </a:lnTo>
                <a:cubicBezTo>
                  <a:pt x="3485" y="4607"/>
                  <a:pt x="3516" y="4639"/>
                  <a:pt x="3564" y="4639"/>
                </a:cubicBezTo>
                <a:cubicBezTo>
                  <a:pt x="3596" y="4639"/>
                  <a:pt x="3644" y="4607"/>
                  <a:pt x="3644" y="4560"/>
                </a:cubicBezTo>
                <a:lnTo>
                  <a:pt x="3644" y="4082"/>
                </a:lnTo>
                <a:lnTo>
                  <a:pt x="4121" y="4082"/>
                </a:lnTo>
                <a:cubicBezTo>
                  <a:pt x="4153" y="4082"/>
                  <a:pt x="4185" y="4050"/>
                  <a:pt x="4185" y="4003"/>
                </a:cubicBezTo>
                <a:cubicBezTo>
                  <a:pt x="4185" y="3955"/>
                  <a:pt x="4153" y="3923"/>
                  <a:pt x="4121" y="3923"/>
                </a:cubicBezTo>
                <a:lnTo>
                  <a:pt x="3644" y="3923"/>
                </a:lnTo>
                <a:lnTo>
                  <a:pt x="3644" y="3446"/>
                </a:lnTo>
                <a:cubicBezTo>
                  <a:pt x="3644" y="3398"/>
                  <a:pt x="3596" y="3366"/>
                  <a:pt x="3564" y="3366"/>
                </a:cubicBezTo>
                <a:close/>
                <a:moveTo>
                  <a:pt x="1003" y="3621"/>
                </a:moveTo>
                <a:cubicBezTo>
                  <a:pt x="366" y="3621"/>
                  <a:pt x="0" y="3955"/>
                  <a:pt x="0" y="4512"/>
                </a:cubicBezTo>
                <a:lnTo>
                  <a:pt x="0" y="4718"/>
                </a:lnTo>
                <a:cubicBezTo>
                  <a:pt x="0" y="4766"/>
                  <a:pt x="32" y="4798"/>
                  <a:pt x="80" y="4798"/>
                </a:cubicBezTo>
                <a:cubicBezTo>
                  <a:pt x="112" y="4798"/>
                  <a:pt x="160" y="4766"/>
                  <a:pt x="160" y="4718"/>
                </a:cubicBezTo>
                <a:lnTo>
                  <a:pt x="160" y="4512"/>
                </a:lnTo>
                <a:cubicBezTo>
                  <a:pt x="160" y="4034"/>
                  <a:pt x="462" y="3780"/>
                  <a:pt x="1003" y="3780"/>
                </a:cubicBezTo>
                <a:lnTo>
                  <a:pt x="1305" y="3780"/>
                </a:lnTo>
                <a:cubicBezTo>
                  <a:pt x="1321" y="3780"/>
                  <a:pt x="1353" y="3764"/>
                  <a:pt x="1369" y="3732"/>
                </a:cubicBezTo>
                <a:lnTo>
                  <a:pt x="1687" y="3287"/>
                </a:lnTo>
                <a:cubicBezTo>
                  <a:pt x="1798" y="3350"/>
                  <a:pt x="1942" y="3398"/>
                  <a:pt x="2085" y="3398"/>
                </a:cubicBezTo>
                <a:cubicBezTo>
                  <a:pt x="2657" y="3398"/>
                  <a:pt x="3103" y="2761"/>
                  <a:pt x="3135" y="2189"/>
                </a:cubicBezTo>
                <a:cubicBezTo>
                  <a:pt x="3246" y="2157"/>
                  <a:pt x="3325" y="2061"/>
                  <a:pt x="3325" y="1934"/>
                </a:cubicBezTo>
                <a:lnTo>
                  <a:pt x="3325" y="1521"/>
                </a:lnTo>
                <a:cubicBezTo>
                  <a:pt x="3325" y="1441"/>
                  <a:pt x="3325" y="1361"/>
                  <a:pt x="3278" y="1314"/>
                </a:cubicBezTo>
                <a:cubicBezTo>
                  <a:pt x="3246" y="1282"/>
                  <a:pt x="3214" y="1266"/>
                  <a:pt x="3167" y="1266"/>
                </a:cubicBezTo>
                <a:lnTo>
                  <a:pt x="3167" y="932"/>
                </a:lnTo>
                <a:cubicBezTo>
                  <a:pt x="3167" y="327"/>
                  <a:pt x="2801" y="121"/>
                  <a:pt x="2578" y="41"/>
                </a:cubicBezTo>
                <a:cubicBezTo>
                  <a:pt x="2180" y="-70"/>
                  <a:pt x="1734" y="57"/>
                  <a:pt x="1607" y="264"/>
                </a:cubicBezTo>
                <a:lnTo>
                  <a:pt x="1576" y="264"/>
                </a:lnTo>
                <a:cubicBezTo>
                  <a:pt x="1225" y="264"/>
                  <a:pt x="939" y="550"/>
                  <a:pt x="939" y="932"/>
                </a:cubicBezTo>
                <a:lnTo>
                  <a:pt x="939" y="1250"/>
                </a:lnTo>
                <a:cubicBezTo>
                  <a:pt x="923" y="1266"/>
                  <a:pt x="891" y="1282"/>
                  <a:pt x="860" y="1298"/>
                </a:cubicBezTo>
                <a:cubicBezTo>
                  <a:pt x="812" y="1345"/>
                  <a:pt x="780" y="1425"/>
                  <a:pt x="780" y="1536"/>
                </a:cubicBezTo>
                <a:lnTo>
                  <a:pt x="780" y="1934"/>
                </a:lnTo>
                <a:cubicBezTo>
                  <a:pt x="780" y="2046"/>
                  <a:pt x="891" y="2157"/>
                  <a:pt x="1003" y="2189"/>
                </a:cubicBezTo>
                <a:cubicBezTo>
                  <a:pt x="1034" y="2570"/>
                  <a:pt x="1242" y="2969"/>
                  <a:pt x="1544" y="3207"/>
                </a:cubicBezTo>
                <a:lnTo>
                  <a:pt x="1257" y="3621"/>
                </a:lnTo>
                <a:close/>
                <a:moveTo>
                  <a:pt x="1162" y="2125"/>
                </a:moveTo>
                <a:cubicBezTo>
                  <a:pt x="1162" y="2078"/>
                  <a:pt x="1130" y="2046"/>
                  <a:pt x="1082" y="2046"/>
                </a:cubicBezTo>
                <a:cubicBezTo>
                  <a:pt x="1019" y="2046"/>
                  <a:pt x="939" y="1982"/>
                  <a:pt x="939" y="1934"/>
                </a:cubicBezTo>
                <a:lnTo>
                  <a:pt x="939" y="1521"/>
                </a:lnTo>
                <a:cubicBezTo>
                  <a:pt x="939" y="1473"/>
                  <a:pt x="955" y="1441"/>
                  <a:pt x="971" y="1425"/>
                </a:cubicBezTo>
                <a:cubicBezTo>
                  <a:pt x="971" y="1409"/>
                  <a:pt x="987" y="1409"/>
                  <a:pt x="1003" y="1409"/>
                </a:cubicBezTo>
                <a:cubicBezTo>
                  <a:pt x="1034" y="1409"/>
                  <a:pt x="1051" y="1409"/>
                  <a:pt x="1082" y="1393"/>
                </a:cubicBezTo>
                <a:cubicBezTo>
                  <a:pt x="1098" y="1378"/>
                  <a:pt x="1098" y="1361"/>
                  <a:pt x="1098" y="1330"/>
                </a:cubicBezTo>
                <a:lnTo>
                  <a:pt x="1098" y="932"/>
                </a:lnTo>
                <a:cubicBezTo>
                  <a:pt x="1098" y="630"/>
                  <a:pt x="1305" y="423"/>
                  <a:pt x="1576" y="423"/>
                </a:cubicBezTo>
                <a:cubicBezTo>
                  <a:pt x="1607" y="423"/>
                  <a:pt x="1687" y="423"/>
                  <a:pt x="1719" y="359"/>
                </a:cubicBezTo>
                <a:cubicBezTo>
                  <a:pt x="1830" y="200"/>
                  <a:pt x="2212" y="105"/>
                  <a:pt x="2530" y="200"/>
                </a:cubicBezTo>
                <a:cubicBezTo>
                  <a:pt x="2753" y="264"/>
                  <a:pt x="3007" y="455"/>
                  <a:pt x="3007" y="932"/>
                </a:cubicBezTo>
                <a:lnTo>
                  <a:pt x="3007" y="1330"/>
                </a:lnTo>
                <a:cubicBezTo>
                  <a:pt x="3007" y="1378"/>
                  <a:pt x="3039" y="1409"/>
                  <a:pt x="3087" y="1409"/>
                </a:cubicBezTo>
                <a:cubicBezTo>
                  <a:pt x="3151" y="1409"/>
                  <a:pt x="3140" y="1420"/>
                  <a:pt x="3167" y="1425"/>
                </a:cubicBezTo>
                <a:lnTo>
                  <a:pt x="3167" y="1536"/>
                </a:lnTo>
                <a:lnTo>
                  <a:pt x="3167" y="1934"/>
                </a:lnTo>
                <a:cubicBezTo>
                  <a:pt x="3167" y="1982"/>
                  <a:pt x="3135" y="2046"/>
                  <a:pt x="3071" y="2046"/>
                </a:cubicBezTo>
                <a:cubicBezTo>
                  <a:pt x="3024" y="2046"/>
                  <a:pt x="2991" y="2078"/>
                  <a:pt x="2991" y="2125"/>
                </a:cubicBezTo>
                <a:cubicBezTo>
                  <a:pt x="2991" y="2634"/>
                  <a:pt x="2578" y="3239"/>
                  <a:pt x="2085" y="3239"/>
                </a:cubicBezTo>
                <a:cubicBezTo>
                  <a:pt x="1576" y="3239"/>
                  <a:pt x="1162" y="2634"/>
                  <a:pt x="1162" y="212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6" name="Freeform: Shape 8">
            <a:extLst>
              <a:ext uri="{FF2B5EF4-FFF2-40B4-BE49-F238E27FC236}">
                <a16:creationId xmlns:a16="http://schemas.microsoft.com/office/drawing/2014/main" id="{4B4EC6F8-7BF5-5248-ACF5-B8CEC8ED7DD7}"/>
              </a:ext>
            </a:extLst>
          </p:cNvPr>
          <p:cNvSpPr/>
          <p:nvPr/>
        </p:nvSpPr>
        <p:spPr>
          <a:xfrm>
            <a:off x="21128587" y="2872303"/>
            <a:ext cx="1512000" cy="1726920"/>
          </a:xfrm>
          <a:custGeom>
            <a:avLst/>
            <a:gdLst/>
            <a:ahLst/>
            <a:cxnLst>
              <a:cxn ang="3cd4">
                <a:pos x="hc" y="t"/>
              </a:cxn>
              <a:cxn ang="cd2">
                <a:pos x="l" y="vc"/>
              </a:cxn>
              <a:cxn ang="cd4">
                <a:pos x="hc" y="b"/>
              </a:cxn>
              <a:cxn ang="0">
                <a:pos x="r" y="vc"/>
              </a:cxn>
            </a:cxnLst>
            <a:rect l="l" t="t" r="r" b="b"/>
            <a:pathLst>
              <a:path w="4201" h="4798">
                <a:moveTo>
                  <a:pt x="2928" y="4003"/>
                </a:moveTo>
                <a:cubicBezTo>
                  <a:pt x="2928" y="4050"/>
                  <a:pt x="2959" y="4082"/>
                  <a:pt x="3007" y="4082"/>
                </a:cubicBezTo>
                <a:lnTo>
                  <a:pt x="4121" y="4082"/>
                </a:lnTo>
                <a:cubicBezTo>
                  <a:pt x="4153" y="4082"/>
                  <a:pt x="4201" y="4050"/>
                  <a:pt x="4201" y="4003"/>
                </a:cubicBezTo>
                <a:cubicBezTo>
                  <a:pt x="4201" y="3955"/>
                  <a:pt x="4153" y="3923"/>
                  <a:pt x="4121" y="3923"/>
                </a:cubicBezTo>
                <a:lnTo>
                  <a:pt x="3007" y="3923"/>
                </a:lnTo>
                <a:cubicBezTo>
                  <a:pt x="2959" y="3923"/>
                  <a:pt x="2928" y="3955"/>
                  <a:pt x="2928" y="4003"/>
                </a:cubicBezTo>
                <a:close/>
                <a:moveTo>
                  <a:pt x="159" y="4718"/>
                </a:moveTo>
                <a:lnTo>
                  <a:pt x="159" y="4512"/>
                </a:lnTo>
                <a:cubicBezTo>
                  <a:pt x="159" y="4034"/>
                  <a:pt x="462" y="3780"/>
                  <a:pt x="1003" y="3780"/>
                </a:cubicBezTo>
                <a:lnTo>
                  <a:pt x="1305" y="3780"/>
                </a:lnTo>
                <a:cubicBezTo>
                  <a:pt x="1337" y="3780"/>
                  <a:pt x="1353" y="3764"/>
                  <a:pt x="1368" y="3732"/>
                </a:cubicBezTo>
                <a:lnTo>
                  <a:pt x="1687" y="3287"/>
                </a:lnTo>
                <a:cubicBezTo>
                  <a:pt x="1814" y="3350"/>
                  <a:pt x="1941" y="3398"/>
                  <a:pt x="2085" y="3398"/>
                </a:cubicBezTo>
                <a:cubicBezTo>
                  <a:pt x="2658" y="3398"/>
                  <a:pt x="3119" y="2761"/>
                  <a:pt x="3150" y="2189"/>
                </a:cubicBezTo>
                <a:cubicBezTo>
                  <a:pt x="3262" y="2157"/>
                  <a:pt x="3326" y="2061"/>
                  <a:pt x="3326" y="1934"/>
                </a:cubicBezTo>
                <a:lnTo>
                  <a:pt x="3326" y="1521"/>
                </a:lnTo>
                <a:cubicBezTo>
                  <a:pt x="3326" y="1441"/>
                  <a:pt x="3326" y="1361"/>
                  <a:pt x="3278" y="1314"/>
                </a:cubicBezTo>
                <a:cubicBezTo>
                  <a:pt x="3246" y="1282"/>
                  <a:pt x="3214" y="1266"/>
                  <a:pt x="3167" y="1266"/>
                </a:cubicBezTo>
                <a:lnTo>
                  <a:pt x="3167" y="932"/>
                </a:lnTo>
                <a:cubicBezTo>
                  <a:pt x="3167" y="327"/>
                  <a:pt x="2801" y="121"/>
                  <a:pt x="2578" y="41"/>
                </a:cubicBezTo>
                <a:cubicBezTo>
                  <a:pt x="2180" y="-70"/>
                  <a:pt x="1750" y="57"/>
                  <a:pt x="1607" y="264"/>
                </a:cubicBezTo>
                <a:lnTo>
                  <a:pt x="1591" y="264"/>
                </a:lnTo>
                <a:cubicBezTo>
                  <a:pt x="1225" y="264"/>
                  <a:pt x="955" y="550"/>
                  <a:pt x="955" y="932"/>
                </a:cubicBezTo>
                <a:lnTo>
                  <a:pt x="955" y="1250"/>
                </a:lnTo>
                <a:lnTo>
                  <a:pt x="859" y="1298"/>
                </a:lnTo>
                <a:cubicBezTo>
                  <a:pt x="811" y="1345"/>
                  <a:pt x="780" y="1425"/>
                  <a:pt x="796" y="1536"/>
                </a:cubicBezTo>
                <a:lnTo>
                  <a:pt x="796" y="1934"/>
                </a:lnTo>
                <a:cubicBezTo>
                  <a:pt x="796" y="2046"/>
                  <a:pt x="891" y="2157"/>
                  <a:pt x="1003" y="2189"/>
                </a:cubicBezTo>
                <a:cubicBezTo>
                  <a:pt x="1034" y="2570"/>
                  <a:pt x="1241" y="2969"/>
                  <a:pt x="1544" y="3207"/>
                </a:cubicBezTo>
                <a:lnTo>
                  <a:pt x="1257" y="3621"/>
                </a:lnTo>
                <a:lnTo>
                  <a:pt x="1003" y="3621"/>
                </a:lnTo>
                <a:cubicBezTo>
                  <a:pt x="366" y="3621"/>
                  <a:pt x="0" y="3955"/>
                  <a:pt x="0" y="4512"/>
                </a:cubicBezTo>
                <a:lnTo>
                  <a:pt x="0" y="4718"/>
                </a:lnTo>
                <a:cubicBezTo>
                  <a:pt x="0" y="4766"/>
                  <a:pt x="32" y="4798"/>
                  <a:pt x="80" y="4798"/>
                </a:cubicBezTo>
                <a:cubicBezTo>
                  <a:pt x="112" y="4798"/>
                  <a:pt x="159" y="4766"/>
                  <a:pt x="159" y="4718"/>
                </a:cubicBezTo>
                <a:close/>
                <a:moveTo>
                  <a:pt x="1162" y="2125"/>
                </a:moveTo>
                <a:cubicBezTo>
                  <a:pt x="1162" y="2078"/>
                  <a:pt x="1130" y="2046"/>
                  <a:pt x="1082" y="2046"/>
                </a:cubicBezTo>
                <a:cubicBezTo>
                  <a:pt x="1019" y="2046"/>
                  <a:pt x="955" y="1982"/>
                  <a:pt x="955" y="1934"/>
                </a:cubicBezTo>
                <a:lnTo>
                  <a:pt x="955" y="1521"/>
                </a:lnTo>
                <a:cubicBezTo>
                  <a:pt x="939" y="1473"/>
                  <a:pt x="955" y="1441"/>
                  <a:pt x="971" y="1425"/>
                </a:cubicBezTo>
                <a:cubicBezTo>
                  <a:pt x="971" y="1409"/>
                  <a:pt x="992" y="1414"/>
                  <a:pt x="1003" y="1409"/>
                </a:cubicBezTo>
                <a:lnTo>
                  <a:pt x="1019" y="1409"/>
                </a:lnTo>
                <a:cubicBezTo>
                  <a:pt x="1034" y="1409"/>
                  <a:pt x="1067" y="1409"/>
                  <a:pt x="1082" y="1393"/>
                </a:cubicBezTo>
                <a:cubicBezTo>
                  <a:pt x="1098" y="1378"/>
                  <a:pt x="1114" y="1361"/>
                  <a:pt x="1114" y="1330"/>
                </a:cubicBezTo>
                <a:lnTo>
                  <a:pt x="1114" y="932"/>
                </a:lnTo>
                <a:cubicBezTo>
                  <a:pt x="1114" y="630"/>
                  <a:pt x="1305" y="423"/>
                  <a:pt x="1576" y="423"/>
                </a:cubicBezTo>
                <a:cubicBezTo>
                  <a:pt x="1623" y="423"/>
                  <a:pt x="1687" y="423"/>
                  <a:pt x="1719" y="359"/>
                </a:cubicBezTo>
                <a:cubicBezTo>
                  <a:pt x="1830" y="200"/>
                  <a:pt x="2212" y="105"/>
                  <a:pt x="2530" y="200"/>
                </a:cubicBezTo>
                <a:cubicBezTo>
                  <a:pt x="2753" y="264"/>
                  <a:pt x="3007" y="455"/>
                  <a:pt x="3007" y="932"/>
                </a:cubicBezTo>
                <a:lnTo>
                  <a:pt x="3007" y="1330"/>
                </a:lnTo>
                <a:cubicBezTo>
                  <a:pt x="3007" y="1378"/>
                  <a:pt x="3055" y="1409"/>
                  <a:pt x="3087" y="1409"/>
                </a:cubicBezTo>
                <a:cubicBezTo>
                  <a:pt x="3150" y="1409"/>
                  <a:pt x="3140" y="1420"/>
                  <a:pt x="3167" y="1425"/>
                </a:cubicBezTo>
                <a:lnTo>
                  <a:pt x="3167" y="1536"/>
                </a:lnTo>
                <a:lnTo>
                  <a:pt x="3167" y="1934"/>
                </a:lnTo>
                <a:cubicBezTo>
                  <a:pt x="3167" y="1982"/>
                  <a:pt x="3135" y="2046"/>
                  <a:pt x="3071" y="2046"/>
                </a:cubicBezTo>
                <a:cubicBezTo>
                  <a:pt x="3023" y="2046"/>
                  <a:pt x="2992" y="2078"/>
                  <a:pt x="2992" y="2125"/>
                </a:cubicBezTo>
                <a:cubicBezTo>
                  <a:pt x="2992" y="2634"/>
                  <a:pt x="2594" y="3239"/>
                  <a:pt x="2085" y="3239"/>
                </a:cubicBezTo>
                <a:cubicBezTo>
                  <a:pt x="1576" y="3239"/>
                  <a:pt x="1162" y="2634"/>
                  <a:pt x="1162" y="212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7" name="Freeform: Shape 9">
            <a:extLst>
              <a:ext uri="{FF2B5EF4-FFF2-40B4-BE49-F238E27FC236}">
                <a16:creationId xmlns:a16="http://schemas.microsoft.com/office/drawing/2014/main" id="{9233A228-C879-C648-82C0-F75104FCD41B}"/>
              </a:ext>
            </a:extLst>
          </p:cNvPr>
          <p:cNvSpPr/>
          <p:nvPr/>
        </p:nvSpPr>
        <p:spPr>
          <a:xfrm>
            <a:off x="10002000" y="3226984"/>
            <a:ext cx="1508760" cy="1726920"/>
          </a:xfrm>
          <a:custGeom>
            <a:avLst/>
            <a:gdLst/>
            <a:ahLst/>
            <a:cxnLst>
              <a:cxn ang="3cd4">
                <a:pos x="hc" y="t"/>
              </a:cxn>
              <a:cxn ang="cd2">
                <a:pos x="l" y="vc"/>
              </a:cxn>
              <a:cxn ang="cd4">
                <a:pos x="hc" y="b"/>
              </a:cxn>
              <a:cxn ang="0">
                <a:pos x="r" y="vc"/>
              </a:cxn>
            </a:cxnLst>
            <a:rect l="l" t="t" r="r" b="b"/>
            <a:pathLst>
              <a:path w="4192" h="4798">
                <a:moveTo>
                  <a:pt x="4057" y="3525"/>
                </a:moveTo>
                <a:lnTo>
                  <a:pt x="3324" y="4273"/>
                </a:lnTo>
                <a:lnTo>
                  <a:pt x="2975" y="3923"/>
                </a:lnTo>
                <a:cubicBezTo>
                  <a:pt x="2943" y="3891"/>
                  <a:pt x="2895" y="3891"/>
                  <a:pt x="2863" y="3923"/>
                </a:cubicBezTo>
                <a:cubicBezTo>
                  <a:pt x="2832" y="3955"/>
                  <a:pt x="2832" y="4003"/>
                  <a:pt x="2863" y="4034"/>
                </a:cubicBezTo>
                <a:lnTo>
                  <a:pt x="3261" y="4432"/>
                </a:lnTo>
                <a:cubicBezTo>
                  <a:pt x="3277" y="4448"/>
                  <a:pt x="3293" y="4464"/>
                  <a:pt x="3324" y="4464"/>
                </a:cubicBezTo>
                <a:cubicBezTo>
                  <a:pt x="3341" y="4464"/>
                  <a:pt x="3357" y="4448"/>
                  <a:pt x="3372" y="4432"/>
                </a:cubicBezTo>
                <a:lnTo>
                  <a:pt x="4168" y="3637"/>
                </a:lnTo>
                <a:cubicBezTo>
                  <a:pt x="4200" y="3605"/>
                  <a:pt x="4200" y="3557"/>
                  <a:pt x="4168" y="3525"/>
                </a:cubicBezTo>
                <a:cubicBezTo>
                  <a:pt x="4136" y="3493"/>
                  <a:pt x="4088" y="3493"/>
                  <a:pt x="4057" y="3525"/>
                </a:cubicBezTo>
                <a:close/>
                <a:moveTo>
                  <a:pt x="1003" y="3621"/>
                </a:moveTo>
                <a:cubicBezTo>
                  <a:pt x="366" y="3621"/>
                  <a:pt x="0" y="3955"/>
                  <a:pt x="0" y="4512"/>
                </a:cubicBezTo>
                <a:lnTo>
                  <a:pt x="0" y="4718"/>
                </a:lnTo>
                <a:cubicBezTo>
                  <a:pt x="0" y="4766"/>
                  <a:pt x="32" y="4798"/>
                  <a:pt x="80" y="4798"/>
                </a:cubicBezTo>
                <a:cubicBezTo>
                  <a:pt x="112" y="4798"/>
                  <a:pt x="160" y="4766"/>
                  <a:pt x="160" y="4718"/>
                </a:cubicBezTo>
                <a:lnTo>
                  <a:pt x="160" y="4512"/>
                </a:lnTo>
                <a:cubicBezTo>
                  <a:pt x="160" y="4034"/>
                  <a:pt x="462" y="3780"/>
                  <a:pt x="1003" y="3780"/>
                </a:cubicBezTo>
                <a:lnTo>
                  <a:pt x="1305" y="3780"/>
                </a:lnTo>
                <a:cubicBezTo>
                  <a:pt x="1321" y="3780"/>
                  <a:pt x="1353" y="3764"/>
                  <a:pt x="1369" y="3732"/>
                </a:cubicBezTo>
                <a:lnTo>
                  <a:pt x="1687" y="3287"/>
                </a:lnTo>
                <a:cubicBezTo>
                  <a:pt x="1798" y="3350"/>
                  <a:pt x="1942" y="3398"/>
                  <a:pt x="2085" y="3398"/>
                </a:cubicBezTo>
                <a:cubicBezTo>
                  <a:pt x="2658" y="3398"/>
                  <a:pt x="3103" y="2761"/>
                  <a:pt x="3151" y="2189"/>
                </a:cubicBezTo>
                <a:cubicBezTo>
                  <a:pt x="3246" y="2157"/>
                  <a:pt x="3325" y="2061"/>
                  <a:pt x="3325" y="1934"/>
                </a:cubicBezTo>
                <a:lnTo>
                  <a:pt x="3325" y="1521"/>
                </a:lnTo>
                <a:cubicBezTo>
                  <a:pt x="3325" y="1441"/>
                  <a:pt x="3325" y="1361"/>
                  <a:pt x="3278" y="1314"/>
                </a:cubicBezTo>
                <a:cubicBezTo>
                  <a:pt x="3246" y="1282"/>
                  <a:pt x="3215" y="1266"/>
                  <a:pt x="3167" y="1266"/>
                </a:cubicBezTo>
                <a:lnTo>
                  <a:pt x="3167" y="932"/>
                </a:lnTo>
                <a:cubicBezTo>
                  <a:pt x="3167" y="327"/>
                  <a:pt x="2801" y="121"/>
                  <a:pt x="2578" y="41"/>
                </a:cubicBezTo>
                <a:cubicBezTo>
                  <a:pt x="2180" y="-70"/>
                  <a:pt x="1734" y="57"/>
                  <a:pt x="1607" y="264"/>
                </a:cubicBezTo>
                <a:lnTo>
                  <a:pt x="1576" y="264"/>
                </a:lnTo>
                <a:cubicBezTo>
                  <a:pt x="1225" y="264"/>
                  <a:pt x="939" y="550"/>
                  <a:pt x="939" y="932"/>
                </a:cubicBezTo>
                <a:lnTo>
                  <a:pt x="939" y="1250"/>
                </a:lnTo>
                <a:cubicBezTo>
                  <a:pt x="923" y="1266"/>
                  <a:pt x="891" y="1282"/>
                  <a:pt x="860" y="1298"/>
                </a:cubicBezTo>
                <a:cubicBezTo>
                  <a:pt x="812" y="1345"/>
                  <a:pt x="780" y="1425"/>
                  <a:pt x="780" y="1536"/>
                </a:cubicBezTo>
                <a:lnTo>
                  <a:pt x="780" y="1934"/>
                </a:lnTo>
                <a:cubicBezTo>
                  <a:pt x="780" y="2046"/>
                  <a:pt x="891" y="2157"/>
                  <a:pt x="1003" y="2189"/>
                </a:cubicBezTo>
                <a:cubicBezTo>
                  <a:pt x="1034" y="2570"/>
                  <a:pt x="1242" y="2969"/>
                  <a:pt x="1544" y="3207"/>
                </a:cubicBezTo>
                <a:lnTo>
                  <a:pt x="1257" y="3621"/>
                </a:lnTo>
                <a:close/>
                <a:moveTo>
                  <a:pt x="1162" y="2125"/>
                </a:moveTo>
                <a:cubicBezTo>
                  <a:pt x="1162" y="2078"/>
                  <a:pt x="1130" y="2046"/>
                  <a:pt x="1082" y="2046"/>
                </a:cubicBezTo>
                <a:cubicBezTo>
                  <a:pt x="1019" y="2046"/>
                  <a:pt x="939" y="1982"/>
                  <a:pt x="939" y="1934"/>
                </a:cubicBezTo>
                <a:lnTo>
                  <a:pt x="939" y="1521"/>
                </a:lnTo>
                <a:cubicBezTo>
                  <a:pt x="939" y="1473"/>
                  <a:pt x="955" y="1441"/>
                  <a:pt x="971" y="1425"/>
                </a:cubicBezTo>
                <a:cubicBezTo>
                  <a:pt x="971" y="1409"/>
                  <a:pt x="987" y="1409"/>
                  <a:pt x="1003" y="1409"/>
                </a:cubicBezTo>
                <a:lnTo>
                  <a:pt x="1019" y="1409"/>
                </a:lnTo>
                <a:cubicBezTo>
                  <a:pt x="1034" y="1409"/>
                  <a:pt x="1051" y="1409"/>
                  <a:pt x="1082" y="1393"/>
                </a:cubicBezTo>
                <a:cubicBezTo>
                  <a:pt x="1098" y="1378"/>
                  <a:pt x="1098" y="1361"/>
                  <a:pt x="1098" y="1330"/>
                </a:cubicBezTo>
                <a:lnTo>
                  <a:pt x="1098" y="932"/>
                </a:lnTo>
                <a:cubicBezTo>
                  <a:pt x="1098" y="630"/>
                  <a:pt x="1305" y="423"/>
                  <a:pt x="1576" y="423"/>
                </a:cubicBezTo>
                <a:cubicBezTo>
                  <a:pt x="1607" y="423"/>
                  <a:pt x="1687" y="423"/>
                  <a:pt x="1719" y="359"/>
                </a:cubicBezTo>
                <a:cubicBezTo>
                  <a:pt x="1830" y="200"/>
                  <a:pt x="2212" y="105"/>
                  <a:pt x="2530" y="200"/>
                </a:cubicBezTo>
                <a:cubicBezTo>
                  <a:pt x="2753" y="264"/>
                  <a:pt x="3007" y="455"/>
                  <a:pt x="3007" y="932"/>
                </a:cubicBezTo>
                <a:lnTo>
                  <a:pt x="3007" y="1330"/>
                </a:lnTo>
                <a:cubicBezTo>
                  <a:pt x="3007" y="1378"/>
                  <a:pt x="3055" y="1409"/>
                  <a:pt x="3087" y="1409"/>
                </a:cubicBezTo>
                <a:cubicBezTo>
                  <a:pt x="3151" y="1409"/>
                  <a:pt x="3140" y="1420"/>
                  <a:pt x="3167" y="1425"/>
                </a:cubicBezTo>
                <a:lnTo>
                  <a:pt x="3167" y="1536"/>
                </a:lnTo>
                <a:lnTo>
                  <a:pt x="3167" y="1934"/>
                </a:lnTo>
                <a:cubicBezTo>
                  <a:pt x="3167" y="1982"/>
                  <a:pt x="3135" y="2046"/>
                  <a:pt x="3071" y="2046"/>
                </a:cubicBezTo>
                <a:cubicBezTo>
                  <a:pt x="3024" y="2046"/>
                  <a:pt x="2992" y="2078"/>
                  <a:pt x="2992" y="2125"/>
                </a:cubicBezTo>
                <a:cubicBezTo>
                  <a:pt x="2992" y="2634"/>
                  <a:pt x="2578" y="3239"/>
                  <a:pt x="2085" y="3239"/>
                </a:cubicBezTo>
                <a:cubicBezTo>
                  <a:pt x="1576" y="3239"/>
                  <a:pt x="1162" y="2634"/>
                  <a:pt x="1162" y="212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8" name="Freeform: Shape 10">
            <a:extLst>
              <a:ext uri="{FF2B5EF4-FFF2-40B4-BE49-F238E27FC236}">
                <a16:creationId xmlns:a16="http://schemas.microsoft.com/office/drawing/2014/main" id="{AA73046B-A732-CB49-9024-5844B8DC0176}"/>
              </a:ext>
            </a:extLst>
          </p:cNvPr>
          <p:cNvSpPr/>
          <p:nvPr/>
        </p:nvSpPr>
        <p:spPr>
          <a:xfrm>
            <a:off x="5794607" y="3226984"/>
            <a:ext cx="1568879" cy="1726920"/>
          </a:xfrm>
          <a:custGeom>
            <a:avLst/>
            <a:gdLst/>
            <a:ahLst/>
            <a:cxnLst>
              <a:cxn ang="3cd4">
                <a:pos x="hc" y="t"/>
              </a:cxn>
              <a:cxn ang="cd2">
                <a:pos x="l" y="vc"/>
              </a:cxn>
              <a:cxn ang="cd4">
                <a:pos x="hc" y="b"/>
              </a:cxn>
              <a:cxn ang="0">
                <a:pos x="r" y="vc"/>
              </a:cxn>
            </a:cxnLst>
            <a:rect l="l" t="t" r="r" b="b"/>
            <a:pathLst>
              <a:path w="4359" h="4798">
                <a:moveTo>
                  <a:pt x="4089" y="3652"/>
                </a:moveTo>
                <a:lnTo>
                  <a:pt x="4041" y="3652"/>
                </a:lnTo>
                <a:lnTo>
                  <a:pt x="4041" y="3239"/>
                </a:lnTo>
                <a:cubicBezTo>
                  <a:pt x="4041" y="2984"/>
                  <a:pt x="3834" y="2761"/>
                  <a:pt x="3564" y="2761"/>
                </a:cubicBezTo>
                <a:cubicBezTo>
                  <a:pt x="3309" y="2761"/>
                  <a:pt x="3087" y="2984"/>
                  <a:pt x="3087" y="3239"/>
                </a:cubicBezTo>
                <a:lnTo>
                  <a:pt x="3087" y="3652"/>
                </a:lnTo>
                <a:lnTo>
                  <a:pt x="3054" y="3652"/>
                </a:lnTo>
                <a:cubicBezTo>
                  <a:pt x="2896" y="3652"/>
                  <a:pt x="2768" y="3764"/>
                  <a:pt x="2768" y="3923"/>
                </a:cubicBezTo>
                <a:lnTo>
                  <a:pt x="2768" y="4480"/>
                </a:lnTo>
                <a:cubicBezTo>
                  <a:pt x="2768" y="4639"/>
                  <a:pt x="2896" y="4766"/>
                  <a:pt x="3054" y="4766"/>
                </a:cubicBezTo>
                <a:lnTo>
                  <a:pt x="4089" y="4766"/>
                </a:lnTo>
                <a:cubicBezTo>
                  <a:pt x="4232" y="4766"/>
                  <a:pt x="4359" y="4639"/>
                  <a:pt x="4359" y="4480"/>
                </a:cubicBezTo>
                <a:lnTo>
                  <a:pt x="4359" y="3923"/>
                </a:lnTo>
                <a:cubicBezTo>
                  <a:pt x="4359" y="3764"/>
                  <a:pt x="4232" y="3652"/>
                  <a:pt x="4089" y="3652"/>
                </a:cubicBezTo>
                <a:close/>
                <a:moveTo>
                  <a:pt x="3245" y="3239"/>
                </a:moveTo>
                <a:cubicBezTo>
                  <a:pt x="3245" y="3064"/>
                  <a:pt x="3389" y="2921"/>
                  <a:pt x="3564" y="2921"/>
                </a:cubicBezTo>
                <a:cubicBezTo>
                  <a:pt x="3739" y="2921"/>
                  <a:pt x="3882" y="3064"/>
                  <a:pt x="3882" y="3239"/>
                </a:cubicBezTo>
                <a:lnTo>
                  <a:pt x="3882" y="3652"/>
                </a:lnTo>
                <a:lnTo>
                  <a:pt x="3245" y="3652"/>
                </a:lnTo>
                <a:close/>
                <a:moveTo>
                  <a:pt x="4200" y="4480"/>
                </a:moveTo>
                <a:cubicBezTo>
                  <a:pt x="4200" y="4543"/>
                  <a:pt x="4153" y="4607"/>
                  <a:pt x="4089" y="4607"/>
                </a:cubicBezTo>
                <a:lnTo>
                  <a:pt x="3054" y="4607"/>
                </a:lnTo>
                <a:cubicBezTo>
                  <a:pt x="2991" y="4607"/>
                  <a:pt x="2927" y="4543"/>
                  <a:pt x="2927" y="4480"/>
                </a:cubicBezTo>
                <a:lnTo>
                  <a:pt x="2927" y="3923"/>
                </a:lnTo>
                <a:cubicBezTo>
                  <a:pt x="2927" y="3860"/>
                  <a:pt x="2991" y="3812"/>
                  <a:pt x="3054" y="3812"/>
                </a:cubicBezTo>
                <a:lnTo>
                  <a:pt x="4089" y="3812"/>
                </a:lnTo>
                <a:cubicBezTo>
                  <a:pt x="4153" y="3812"/>
                  <a:pt x="4200" y="3860"/>
                  <a:pt x="4200" y="3923"/>
                </a:cubicBezTo>
                <a:close/>
                <a:moveTo>
                  <a:pt x="2593" y="41"/>
                </a:moveTo>
                <a:cubicBezTo>
                  <a:pt x="2196" y="-70"/>
                  <a:pt x="1750" y="57"/>
                  <a:pt x="1607" y="264"/>
                </a:cubicBezTo>
                <a:lnTo>
                  <a:pt x="1591" y="264"/>
                </a:lnTo>
                <a:cubicBezTo>
                  <a:pt x="1225" y="264"/>
                  <a:pt x="954" y="550"/>
                  <a:pt x="954" y="932"/>
                </a:cubicBezTo>
                <a:lnTo>
                  <a:pt x="954" y="1250"/>
                </a:lnTo>
                <a:cubicBezTo>
                  <a:pt x="923" y="1266"/>
                  <a:pt x="891" y="1282"/>
                  <a:pt x="875" y="1298"/>
                </a:cubicBezTo>
                <a:cubicBezTo>
                  <a:pt x="811" y="1345"/>
                  <a:pt x="795" y="1425"/>
                  <a:pt x="795" y="1536"/>
                </a:cubicBezTo>
                <a:lnTo>
                  <a:pt x="795" y="1934"/>
                </a:lnTo>
                <a:cubicBezTo>
                  <a:pt x="795" y="2046"/>
                  <a:pt x="891" y="2157"/>
                  <a:pt x="1018" y="2189"/>
                </a:cubicBezTo>
                <a:cubicBezTo>
                  <a:pt x="1034" y="2570"/>
                  <a:pt x="1257" y="2969"/>
                  <a:pt x="1559" y="3207"/>
                </a:cubicBezTo>
                <a:lnTo>
                  <a:pt x="1273" y="3621"/>
                </a:lnTo>
                <a:lnTo>
                  <a:pt x="1018" y="3621"/>
                </a:lnTo>
                <a:cubicBezTo>
                  <a:pt x="382" y="3621"/>
                  <a:pt x="0" y="3955"/>
                  <a:pt x="0" y="4512"/>
                </a:cubicBezTo>
                <a:lnTo>
                  <a:pt x="0" y="4718"/>
                </a:lnTo>
                <a:cubicBezTo>
                  <a:pt x="0" y="4766"/>
                  <a:pt x="32" y="4798"/>
                  <a:pt x="80" y="4798"/>
                </a:cubicBezTo>
                <a:cubicBezTo>
                  <a:pt x="127" y="4798"/>
                  <a:pt x="159" y="4766"/>
                  <a:pt x="159" y="4718"/>
                </a:cubicBezTo>
                <a:lnTo>
                  <a:pt x="159" y="4512"/>
                </a:lnTo>
                <a:cubicBezTo>
                  <a:pt x="159" y="4034"/>
                  <a:pt x="477" y="3780"/>
                  <a:pt x="1018" y="3780"/>
                </a:cubicBezTo>
                <a:lnTo>
                  <a:pt x="1305" y="3780"/>
                </a:lnTo>
                <a:cubicBezTo>
                  <a:pt x="1336" y="3780"/>
                  <a:pt x="1368" y="3764"/>
                  <a:pt x="1368" y="3732"/>
                </a:cubicBezTo>
                <a:lnTo>
                  <a:pt x="1686" y="3287"/>
                </a:lnTo>
                <a:cubicBezTo>
                  <a:pt x="1814" y="3350"/>
                  <a:pt x="1957" y="3398"/>
                  <a:pt x="2100" y="3398"/>
                </a:cubicBezTo>
                <a:cubicBezTo>
                  <a:pt x="2673" y="3398"/>
                  <a:pt x="3118" y="2761"/>
                  <a:pt x="3150" y="2189"/>
                </a:cubicBezTo>
                <a:cubicBezTo>
                  <a:pt x="3262" y="2157"/>
                  <a:pt x="3341" y="2061"/>
                  <a:pt x="3341" y="1934"/>
                </a:cubicBezTo>
                <a:lnTo>
                  <a:pt x="3341" y="1521"/>
                </a:lnTo>
                <a:cubicBezTo>
                  <a:pt x="3341" y="1441"/>
                  <a:pt x="3341" y="1361"/>
                  <a:pt x="3277" y="1314"/>
                </a:cubicBezTo>
                <a:cubicBezTo>
                  <a:pt x="3262" y="1282"/>
                  <a:pt x="3230" y="1266"/>
                  <a:pt x="3182" y="1266"/>
                </a:cubicBezTo>
                <a:lnTo>
                  <a:pt x="3182" y="932"/>
                </a:lnTo>
                <a:cubicBezTo>
                  <a:pt x="3166" y="327"/>
                  <a:pt x="2800" y="121"/>
                  <a:pt x="2593" y="41"/>
                </a:cubicBezTo>
                <a:close/>
                <a:moveTo>
                  <a:pt x="3182" y="1536"/>
                </a:moveTo>
                <a:lnTo>
                  <a:pt x="3182" y="1934"/>
                </a:lnTo>
                <a:cubicBezTo>
                  <a:pt x="3182" y="1982"/>
                  <a:pt x="3150" y="2046"/>
                  <a:pt x="3071" y="2046"/>
                </a:cubicBezTo>
                <a:cubicBezTo>
                  <a:pt x="3023" y="2046"/>
                  <a:pt x="2991" y="2078"/>
                  <a:pt x="2991" y="2125"/>
                </a:cubicBezTo>
                <a:cubicBezTo>
                  <a:pt x="2991" y="2634"/>
                  <a:pt x="2593" y="3239"/>
                  <a:pt x="2100" y="3239"/>
                </a:cubicBezTo>
                <a:cubicBezTo>
                  <a:pt x="1591" y="3239"/>
                  <a:pt x="1177" y="2634"/>
                  <a:pt x="1177" y="2125"/>
                </a:cubicBezTo>
                <a:cubicBezTo>
                  <a:pt x="1177" y="2078"/>
                  <a:pt x="1129" y="2046"/>
                  <a:pt x="1098" y="2046"/>
                </a:cubicBezTo>
                <a:cubicBezTo>
                  <a:pt x="1018" y="2046"/>
                  <a:pt x="954" y="1982"/>
                  <a:pt x="954" y="1934"/>
                </a:cubicBezTo>
                <a:lnTo>
                  <a:pt x="954" y="1521"/>
                </a:lnTo>
                <a:cubicBezTo>
                  <a:pt x="954" y="1473"/>
                  <a:pt x="954" y="1441"/>
                  <a:pt x="971" y="1425"/>
                </a:cubicBezTo>
                <a:cubicBezTo>
                  <a:pt x="986" y="1409"/>
                  <a:pt x="1002" y="1409"/>
                  <a:pt x="1018" y="1409"/>
                </a:cubicBezTo>
                <a:cubicBezTo>
                  <a:pt x="1050" y="1409"/>
                  <a:pt x="1066" y="1409"/>
                  <a:pt x="1082" y="1393"/>
                </a:cubicBezTo>
                <a:cubicBezTo>
                  <a:pt x="1098" y="1378"/>
                  <a:pt x="1114" y="1361"/>
                  <a:pt x="1114" y="1330"/>
                </a:cubicBezTo>
                <a:lnTo>
                  <a:pt x="1114" y="932"/>
                </a:lnTo>
                <a:cubicBezTo>
                  <a:pt x="1114" y="630"/>
                  <a:pt x="1305" y="423"/>
                  <a:pt x="1591" y="423"/>
                </a:cubicBezTo>
                <a:cubicBezTo>
                  <a:pt x="1623" y="423"/>
                  <a:pt x="1686" y="423"/>
                  <a:pt x="1734" y="359"/>
                </a:cubicBezTo>
                <a:cubicBezTo>
                  <a:pt x="1845" y="200"/>
                  <a:pt x="2227" y="105"/>
                  <a:pt x="2545" y="200"/>
                </a:cubicBezTo>
                <a:cubicBezTo>
                  <a:pt x="2753" y="264"/>
                  <a:pt x="3007" y="455"/>
                  <a:pt x="3023" y="932"/>
                </a:cubicBezTo>
                <a:lnTo>
                  <a:pt x="3023" y="1330"/>
                </a:lnTo>
                <a:cubicBezTo>
                  <a:pt x="3023" y="1378"/>
                  <a:pt x="3054" y="1409"/>
                  <a:pt x="3102" y="1409"/>
                </a:cubicBezTo>
                <a:cubicBezTo>
                  <a:pt x="3150" y="1409"/>
                  <a:pt x="3145" y="1420"/>
                  <a:pt x="3166" y="1425"/>
                </a:cubicBezTo>
                <a:cubicBezTo>
                  <a:pt x="3182" y="1441"/>
                  <a:pt x="3182" y="1489"/>
                  <a:pt x="3182" y="1536"/>
                </a:cubicBezTo>
                <a:close/>
                <a:moveTo>
                  <a:pt x="3564" y="3907"/>
                </a:moveTo>
                <a:cubicBezTo>
                  <a:pt x="3453" y="3907"/>
                  <a:pt x="3341" y="4003"/>
                  <a:pt x="3341" y="4130"/>
                </a:cubicBezTo>
                <a:cubicBezTo>
                  <a:pt x="3341" y="4209"/>
                  <a:pt x="3405" y="4289"/>
                  <a:pt x="3484" y="4321"/>
                </a:cubicBezTo>
                <a:lnTo>
                  <a:pt x="3484" y="4416"/>
                </a:lnTo>
                <a:cubicBezTo>
                  <a:pt x="3484" y="4464"/>
                  <a:pt x="3516" y="4496"/>
                  <a:pt x="3564" y="4496"/>
                </a:cubicBezTo>
                <a:cubicBezTo>
                  <a:pt x="3611" y="4496"/>
                  <a:pt x="3644" y="4464"/>
                  <a:pt x="3644" y="4416"/>
                </a:cubicBezTo>
                <a:lnTo>
                  <a:pt x="3644" y="4321"/>
                </a:lnTo>
                <a:cubicBezTo>
                  <a:pt x="3723" y="4289"/>
                  <a:pt x="3787" y="4209"/>
                  <a:pt x="3787" y="4130"/>
                </a:cubicBezTo>
                <a:cubicBezTo>
                  <a:pt x="3787" y="4003"/>
                  <a:pt x="3691" y="3907"/>
                  <a:pt x="3564" y="3907"/>
                </a:cubicBezTo>
                <a:close/>
                <a:moveTo>
                  <a:pt x="3564" y="4066"/>
                </a:moveTo>
                <a:cubicBezTo>
                  <a:pt x="3596" y="4066"/>
                  <a:pt x="3627" y="4098"/>
                  <a:pt x="3627" y="4130"/>
                </a:cubicBezTo>
                <a:cubicBezTo>
                  <a:pt x="3627" y="4161"/>
                  <a:pt x="3596" y="4178"/>
                  <a:pt x="3564" y="4178"/>
                </a:cubicBezTo>
                <a:cubicBezTo>
                  <a:pt x="3532" y="4178"/>
                  <a:pt x="3500" y="4161"/>
                  <a:pt x="3500" y="4130"/>
                </a:cubicBezTo>
                <a:cubicBezTo>
                  <a:pt x="3500" y="4098"/>
                  <a:pt x="3532" y="4066"/>
                  <a:pt x="3564" y="406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9" name="Freeform: Shape 11">
            <a:extLst>
              <a:ext uri="{FF2B5EF4-FFF2-40B4-BE49-F238E27FC236}">
                <a16:creationId xmlns:a16="http://schemas.microsoft.com/office/drawing/2014/main" id="{82574606-5656-6B40-8813-6AB53692EF57}"/>
              </a:ext>
            </a:extLst>
          </p:cNvPr>
          <p:cNvSpPr/>
          <p:nvPr/>
        </p:nvSpPr>
        <p:spPr>
          <a:xfrm>
            <a:off x="13965397" y="3226984"/>
            <a:ext cx="1545839" cy="1726920"/>
          </a:xfrm>
          <a:custGeom>
            <a:avLst/>
            <a:gdLst/>
            <a:ahLst/>
            <a:cxnLst>
              <a:cxn ang="3cd4">
                <a:pos x="hc" y="t"/>
              </a:cxn>
              <a:cxn ang="cd2">
                <a:pos x="l" y="vc"/>
              </a:cxn>
              <a:cxn ang="cd4">
                <a:pos x="hc" y="b"/>
              </a:cxn>
              <a:cxn ang="0">
                <a:pos x="r" y="vc"/>
              </a:cxn>
            </a:cxnLst>
            <a:rect l="l" t="t" r="r" b="b"/>
            <a:pathLst>
              <a:path w="4295" h="4798">
                <a:moveTo>
                  <a:pt x="80" y="4798"/>
                </a:moveTo>
                <a:cubicBezTo>
                  <a:pt x="128" y="4798"/>
                  <a:pt x="160" y="4766"/>
                  <a:pt x="160" y="4718"/>
                </a:cubicBezTo>
                <a:lnTo>
                  <a:pt x="160" y="4512"/>
                </a:lnTo>
                <a:cubicBezTo>
                  <a:pt x="160" y="4034"/>
                  <a:pt x="478" y="3780"/>
                  <a:pt x="1019" y="3780"/>
                </a:cubicBezTo>
                <a:lnTo>
                  <a:pt x="1305" y="3780"/>
                </a:lnTo>
                <a:cubicBezTo>
                  <a:pt x="1337" y="3780"/>
                  <a:pt x="1369" y="3764"/>
                  <a:pt x="1369" y="3732"/>
                </a:cubicBezTo>
                <a:lnTo>
                  <a:pt x="1687" y="3287"/>
                </a:lnTo>
                <a:cubicBezTo>
                  <a:pt x="1814" y="3350"/>
                  <a:pt x="1957" y="3398"/>
                  <a:pt x="2101" y="3398"/>
                </a:cubicBezTo>
                <a:cubicBezTo>
                  <a:pt x="2673" y="3398"/>
                  <a:pt x="3119" y="2761"/>
                  <a:pt x="3151" y="2189"/>
                </a:cubicBezTo>
                <a:cubicBezTo>
                  <a:pt x="3262" y="2157"/>
                  <a:pt x="3342" y="2061"/>
                  <a:pt x="3342" y="1934"/>
                </a:cubicBezTo>
                <a:lnTo>
                  <a:pt x="3342" y="1521"/>
                </a:lnTo>
                <a:cubicBezTo>
                  <a:pt x="3342" y="1441"/>
                  <a:pt x="3342" y="1361"/>
                  <a:pt x="3278" y="1314"/>
                </a:cubicBezTo>
                <a:cubicBezTo>
                  <a:pt x="3262" y="1282"/>
                  <a:pt x="3214" y="1266"/>
                  <a:pt x="3182" y="1266"/>
                </a:cubicBezTo>
                <a:lnTo>
                  <a:pt x="3182" y="932"/>
                </a:lnTo>
                <a:cubicBezTo>
                  <a:pt x="3167" y="327"/>
                  <a:pt x="2801" y="121"/>
                  <a:pt x="2594" y="41"/>
                </a:cubicBezTo>
                <a:cubicBezTo>
                  <a:pt x="2196" y="-70"/>
                  <a:pt x="1751" y="57"/>
                  <a:pt x="1608" y="264"/>
                </a:cubicBezTo>
                <a:lnTo>
                  <a:pt x="1591" y="264"/>
                </a:lnTo>
                <a:cubicBezTo>
                  <a:pt x="1226" y="264"/>
                  <a:pt x="955" y="550"/>
                  <a:pt x="955" y="932"/>
                </a:cubicBezTo>
                <a:lnTo>
                  <a:pt x="955" y="1250"/>
                </a:lnTo>
                <a:cubicBezTo>
                  <a:pt x="923" y="1266"/>
                  <a:pt x="891" y="1282"/>
                  <a:pt x="876" y="1298"/>
                </a:cubicBezTo>
                <a:cubicBezTo>
                  <a:pt x="812" y="1345"/>
                  <a:pt x="796" y="1425"/>
                  <a:pt x="796" y="1536"/>
                </a:cubicBezTo>
                <a:lnTo>
                  <a:pt x="796" y="1934"/>
                </a:lnTo>
                <a:cubicBezTo>
                  <a:pt x="796" y="2046"/>
                  <a:pt x="891" y="2157"/>
                  <a:pt x="1019" y="2189"/>
                </a:cubicBezTo>
                <a:cubicBezTo>
                  <a:pt x="1035" y="2570"/>
                  <a:pt x="1257" y="2969"/>
                  <a:pt x="1560" y="3207"/>
                </a:cubicBezTo>
                <a:lnTo>
                  <a:pt x="1273" y="3621"/>
                </a:lnTo>
                <a:lnTo>
                  <a:pt x="1019" y="3621"/>
                </a:lnTo>
                <a:cubicBezTo>
                  <a:pt x="382" y="3621"/>
                  <a:pt x="0" y="3955"/>
                  <a:pt x="0" y="4512"/>
                </a:cubicBezTo>
                <a:lnTo>
                  <a:pt x="0" y="4718"/>
                </a:lnTo>
                <a:cubicBezTo>
                  <a:pt x="0" y="4766"/>
                  <a:pt x="32" y="4798"/>
                  <a:pt x="80" y="4798"/>
                </a:cubicBezTo>
                <a:close/>
                <a:moveTo>
                  <a:pt x="1178" y="2125"/>
                </a:moveTo>
                <a:cubicBezTo>
                  <a:pt x="1178" y="2078"/>
                  <a:pt x="1130" y="2046"/>
                  <a:pt x="1099" y="2046"/>
                </a:cubicBezTo>
                <a:cubicBezTo>
                  <a:pt x="1019" y="2046"/>
                  <a:pt x="955" y="1982"/>
                  <a:pt x="955" y="1934"/>
                </a:cubicBezTo>
                <a:lnTo>
                  <a:pt x="955" y="1521"/>
                </a:lnTo>
                <a:cubicBezTo>
                  <a:pt x="955" y="1473"/>
                  <a:pt x="955" y="1441"/>
                  <a:pt x="971" y="1425"/>
                </a:cubicBezTo>
                <a:cubicBezTo>
                  <a:pt x="987" y="1409"/>
                  <a:pt x="1003" y="1409"/>
                  <a:pt x="1019" y="1409"/>
                </a:cubicBezTo>
                <a:cubicBezTo>
                  <a:pt x="1051" y="1409"/>
                  <a:pt x="1066" y="1409"/>
                  <a:pt x="1082" y="1393"/>
                </a:cubicBezTo>
                <a:cubicBezTo>
                  <a:pt x="1099" y="1378"/>
                  <a:pt x="1114" y="1361"/>
                  <a:pt x="1114" y="1330"/>
                </a:cubicBezTo>
                <a:lnTo>
                  <a:pt x="1114" y="932"/>
                </a:lnTo>
                <a:cubicBezTo>
                  <a:pt x="1114" y="630"/>
                  <a:pt x="1305" y="423"/>
                  <a:pt x="1591" y="423"/>
                </a:cubicBezTo>
                <a:cubicBezTo>
                  <a:pt x="1623" y="423"/>
                  <a:pt x="1687" y="423"/>
                  <a:pt x="1735" y="359"/>
                </a:cubicBezTo>
                <a:cubicBezTo>
                  <a:pt x="1846" y="200"/>
                  <a:pt x="2228" y="105"/>
                  <a:pt x="2546" y="200"/>
                </a:cubicBezTo>
                <a:cubicBezTo>
                  <a:pt x="2753" y="264"/>
                  <a:pt x="3008" y="455"/>
                  <a:pt x="3024" y="932"/>
                </a:cubicBezTo>
                <a:lnTo>
                  <a:pt x="3024" y="1330"/>
                </a:lnTo>
                <a:cubicBezTo>
                  <a:pt x="3024" y="1378"/>
                  <a:pt x="3055" y="1409"/>
                  <a:pt x="3103" y="1409"/>
                </a:cubicBezTo>
                <a:cubicBezTo>
                  <a:pt x="3151" y="1409"/>
                  <a:pt x="3146" y="1420"/>
                  <a:pt x="3167" y="1425"/>
                </a:cubicBezTo>
                <a:cubicBezTo>
                  <a:pt x="3182" y="1441"/>
                  <a:pt x="3182" y="1489"/>
                  <a:pt x="3182" y="1536"/>
                </a:cubicBezTo>
                <a:lnTo>
                  <a:pt x="3182" y="1934"/>
                </a:lnTo>
                <a:cubicBezTo>
                  <a:pt x="3182" y="1982"/>
                  <a:pt x="3151" y="2046"/>
                  <a:pt x="3071" y="2046"/>
                </a:cubicBezTo>
                <a:cubicBezTo>
                  <a:pt x="3024" y="2046"/>
                  <a:pt x="2991" y="2078"/>
                  <a:pt x="2991" y="2125"/>
                </a:cubicBezTo>
                <a:cubicBezTo>
                  <a:pt x="2991" y="2634"/>
                  <a:pt x="2594" y="3239"/>
                  <a:pt x="2101" y="3239"/>
                </a:cubicBezTo>
                <a:cubicBezTo>
                  <a:pt x="1591" y="3239"/>
                  <a:pt x="1178" y="2634"/>
                  <a:pt x="1178" y="2125"/>
                </a:cubicBezTo>
                <a:close/>
                <a:moveTo>
                  <a:pt x="3548" y="3971"/>
                </a:moveTo>
                <a:cubicBezTo>
                  <a:pt x="3564" y="3939"/>
                  <a:pt x="3628" y="3939"/>
                  <a:pt x="3660" y="3955"/>
                </a:cubicBezTo>
                <a:lnTo>
                  <a:pt x="3708" y="4003"/>
                </a:lnTo>
                <a:cubicBezTo>
                  <a:pt x="3771" y="3923"/>
                  <a:pt x="3803" y="3812"/>
                  <a:pt x="3803" y="3700"/>
                </a:cubicBezTo>
                <a:cubicBezTo>
                  <a:pt x="3803" y="3398"/>
                  <a:pt x="3564" y="3159"/>
                  <a:pt x="3262" y="3159"/>
                </a:cubicBezTo>
                <a:cubicBezTo>
                  <a:pt x="2976" y="3159"/>
                  <a:pt x="2721" y="3398"/>
                  <a:pt x="2721" y="3700"/>
                </a:cubicBezTo>
                <a:cubicBezTo>
                  <a:pt x="2721" y="3987"/>
                  <a:pt x="2976" y="4225"/>
                  <a:pt x="3262" y="4225"/>
                </a:cubicBezTo>
                <a:cubicBezTo>
                  <a:pt x="3390" y="4225"/>
                  <a:pt x="3501" y="4193"/>
                  <a:pt x="3596" y="4114"/>
                </a:cubicBezTo>
                <a:lnTo>
                  <a:pt x="3548" y="4082"/>
                </a:lnTo>
                <a:cubicBezTo>
                  <a:pt x="3517" y="4050"/>
                  <a:pt x="3517" y="4003"/>
                  <a:pt x="3548" y="3971"/>
                </a:cubicBezTo>
                <a:close/>
                <a:moveTo>
                  <a:pt x="2880" y="3700"/>
                </a:moveTo>
                <a:cubicBezTo>
                  <a:pt x="2880" y="3478"/>
                  <a:pt x="3055" y="3318"/>
                  <a:pt x="3262" y="3318"/>
                </a:cubicBezTo>
                <a:cubicBezTo>
                  <a:pt x="3469" y="3318"/>
                  <a:pt x="3644" y="3478"/>
                  <a:pt x="3644" y="3700"/>
                </a:cubicBezTo>
                <a:cubicBezTo>
                  <a:pt x="3644" y="3907"/>
                  <a:pt x="3469" y="4066"/>
                  <a:pt x="3262" y="4066"/>
                </a:cubicBezTo>
                <a:cubicBezTo>
                  <a:pt x="3055" y="4066"/>
                  <a:pt x="2880" y="3907"/>
                  <a:pt x="2880" y="3700"/>
                </a:cubicBezTo>
                <a:close/>
                <a:moveTo>
                  <a:pt x="4247" y="4592"/>
                </a:moveTo>
                <a:cubicBezTo>
                  <a:pt x="4280" y="4544"/>
                  <a:pt x="4295" y="4513"/>
                  <a:pt x="4295" y="4465"/>
                </a:cubicBezTo>
                <a:cubicBezTo>
                  <a:pt x="4295" y="4417"/>
                  <a:pt x="4263" y="4370"/>
                  <a:pt x="4232" y="4338"/>
                </a:cubicBezTo>
                <a:lnTo>
                  <a:pt x="3914" y="4067"/>
                </a:lnTo>
                <a:cubicBezTo>
                  <a:pt x="3866" y="4019"/>
                  <a:pt x="3786" y="4004"/>
                  <a:pt x="3738" y="4035"/>
                </a:cubicBezTo>
                <a:lnTo>
                  <a:pt x="3707" y="4004"/>
                </a:lnTo>
                <a:lnTo>
                  <a:pt x="3659" y="3956"/>
                </a:lnTo>
                <a:cubicBezTo>
                  <a:pt x="3627" y="3940"/>
                  <a:pt x="3563" y="3940"/>
                  <a:pt x="3547" y="3972"/>
                </a:cubicBezTo>
                <a:cubicBezTo>
                  <a:pt x="3516" y="4004"/>
                  <a:pt x="3516" y="4051"/>
                  <a:pt x="3547" y="4083"/>
                </a:cubicBezTo>
                <a:lnTo>
                  <a:pt x="3595" y="4115"/>
                </a:lnTo>
                <a:lnTo>
                  <a:pt x="3627" y="4162"/>
                </a:lnTo>
                <a:lnTo>
                  <a:pt x="3627" y="4210"/>
                </a:lnTo>
                <a:cubicBezTo>
                  <a:pt x="3627" y="4258"/>
                  <a:pt x="3643" y="4290"/>
                  <a:pt x="3691" y="4322"/>
                </a:cubicBezTo>
                <a:lnTo>
                  <a:pt x="3993" y="4608"/>
                </a:lnTo>
                <a:cubicBezTo>
                  <a:pt x="4025" y="4624"/>
                  <a:pt x="4072" y="4640"/>
                  <a:pt x="4120" y="4640"/>
                </a:cubicBezTo>
                <a:cubicBezTo>
                  <a:pt x="4168" y="4640"/>
                  <a:pt x="4216" y="4624"/>
                  <a:pt x="4247" y="4592"/>
                </a:cubicBezTo>
                <a:close/>
                <a:moveTo>
                  <a:pt x="4120" y="4481"/>
                </a:moveTo>
                <a:lnTo>
                  <a:pt x="4104" y="4481"/>
                </a:lnTo>
                <a:lnTo>
                  <a:pt x="3786" y="4210"/>
                </a:lnTo>
                <a:lnTo>
                  <a:pt x="3738" y="4274"/>
                </a:lnTo>
                <a:lnTo>
                  <a:pt x="3770" y="4210"/>
                </a:lnTo>
                <a:cubicBezTo>
                  <a:pt x="3776" y="4204"/>
                  <a:pt x="3786" y="4210"/>
                  <a:pt x="3786" y="4194"/>
                </a:cubicBezTo>
                <a:cubicBezTo>
                  <a:pt x="3802" y="4194"/>
                  <a:pt x="3797" y="4184"/>
                  <a:pt x="3802" y="4179"/>
                </a:cubicBezTo>
                <a:lnTo>
                  <a:pt x="3818" y="4179"/>
                </a:lnTo>
                <a:lnTo>
                  <a:pt x="4120" y="4465"/>
                </a:lnTo>
                <a:lnTo>
                  <a:pt x="4184" y="4401"/>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0" name="Freeform: Shape 12">
            <a:extLst>
              <a:ext uri="{FF2B5EF4-FFF2-40B4-BE49-F238E27FC236}">
                <a16:creationId xmlns:a16="http://schemas.microsoft.com/office/drawing/2014/main" id="{0A552614-8BED-7C42-909D-F4B60FA2179E}"/>
              </a:ext>
            </a:extLst>
          </p:cNvPr>
          <p:cNvSpPr/>
          <p:nvPr/>
        </p:nvSpPr>
        <p:spPr>
          <a:xfrm>
            <a:off x="6015797" y="6413460"/>
            <a:ext cx="1488600" cy="1683719"/>
          </a:xfrm>
          <a:custGeom>
            <a:avLst/>
            <a:gdLst/>
            <a:ahLst/>
            <a:cxnLst>
              <a:cxn ang="3cd4">
                <a:pos x="hc" y="t"/>
              </a:cxn>
              <a:cxn ang="cd2">
                <a:pos x="l" y="vc"/>
              </a:cxn>
              <a:cxn ang="cd4">
                <a:pos x="hc" y="b"/>
              </a:cxn>
              <a:cxn ang="0">
                <a:pos x="r" y="vc"/>
              </a:cxn>
            </a:cxnLst>
            <a:rect l="l" t="t" r="r" b="b"/>
            <a:pathLst>
              <a:path w="4136" h="4678">
                <a:moveTo>
                  <a:pt x="1479" y="3532"/>
                </a:moveTo>
                <a:cubicBezTo>
                  <a:pt x="1511" y="3532"/>
                  <a:pt x="1543" y="3517"/>
                  <a:pt x="1559" y="3485"/>
                </a:cubicBezTo>
                <a:lnTo>
                  <a:pt x="1734" y="2912"/>
                </a:lnTo>
                <a:cubicBezTo>
                  <a:pt x="1845" y="2928"/>
                  <a:pt x="1957" y="2944"/>
                  <a:pt x="2068" y="2944"/>
                </a:cubicBezTo>
                <a:cubicBezTo>
                  <a:pt x="2195" y="2944"/>
                  <a:pt x="2306" y="2928"/>
                  <a:pt x="2402" y="2912"/>
                </a:cubicBezTo>
                <a:lnTo>
                  <a:pt x="2593" y="3485"/>
                </a:lnTo>
                <a:cubicBezTo>
                  <a:pt x="2609" y="3517"/>
                  <a:pt x="2641" y="3532"/>
                  <a:pt x="2672" y="3532"/>
                </a:cubicBezTo>
                <a:cubicBezTo>
                  <a:pt x="3166" y="3532"/>
                  <a:pt x="3977" y="3946"/>
                  <a:pt x="3977" y="4439"/>
                </a:cubicBezTo>
                <a:cubicBezTo>
                  <a:pt x="3977" y="4487"/>
                  <a:pt x="4009" y="4519"/>
                  <a:pt x="4057" y="4519"/>
                </a:cubicBezTo>
                <a:cubicBezTo>
                  <a:pt x="4105" y="4519"/>
                  <a:pt x="4136" y="4487"/>
                  <a:pt x="4136" y="4439"/>
                </a:cubicBezTo>
                <a:cubicBezTo>
                  <a:pt x="4136" y="3851"/>
                  <a:pt x="3309" y="3405"/>
                  <a:pt x="2720" y="3373"/>
                </a:cubicBezTo>
                <a:lnTo>
                  <a:pt x="2561" y="2896"/>
                </a:lnTo>
                <a:cubicBezTo>
                  <a:pt x="3341" y="2737"/>
                  <a:pt x="3643" y="2260"/>
                  <a:pt x="3739" y="2100"/>
                </a:cubicBezTo>
                <a:cubicBezTo>
                  <a:pt x="3739" y="2069"/>
                  <a:pt x="3739" y="2053"/>
                  <a:pt x="3723" y="2021"/>
                </a:cubicBezTo>
                <a:cubicBezTo>
                  <a:pt x="3627" y="1862"/>
                  <a:pt x="3372" y="1416"/>
                  <a:pt x="3341" y="1257"/>
                </a:cubicBezTo>
                <a:cubicBezTo>
                  <a:pt x="3150" y="462"/>
                  <a:pt x="2688" y="0"/>
                  <a:pt x="2068" y="0"/>
                </a:cubicBezTo>
                <a:cubicBezTo>
                  <a:pt x="1447" y="0"/>
                  <a:pt x="986" y="462"/>
                  <a:pt x="811" y="1257"/>
                </a:cubicBezTo>
                <a:cubicBezTo>
                  <a:pt x="763" y="1416"/>
                  <a:pt x="509" y="1862"/>
                  <a:pt x="413" y="2021"/>
                </a:cubicBezTo>
                <a:cubicBezTo>
                  <a:pt x="397" y="2053"/>
                  <a:pt x="397" y="2069"/>
                  <a:pt x="413" y="2100"/>
                </a:cubicBezTo>
                <a:cubicBezTo>
                  <a:pt x="493" y="2260"/>
                  <a:pt x="795" y="2737"/>
                  <a:pt x="1575" y="2896"/>
                </a:cubicBezTo>
                <a:lnTo>
                  <a:pt x="1415" y="3373"/>
                </a:lnTo>
                <a:cubicBezTo>
                  <a:pt x="843" y="3405"/>
                  <a:pt x="0" y="3851"/>
                  <a:pt x="0" y="4439"/>
                </a:cubicBezTo>
                <a:cubicBezTo>
                  <a:pt x="0" y="4487"/>
                  <a:pt x="47" y="4519"/>
                  <a:pt x="79" y="4519"/>
                </a:cubicBezTo>
                <a:cubicBezTo>
                  <a:pt x="127" y="4519"/>
                  <a:pt x="159" y="4487"/>
                  <a:pt x="159" y="4439"/>
                </a:cubicBezTo>
                <a:cubicBezTo>
                  <a:pt x="159" y="3946"/>
                  <a:pt x="970" y="3532"/>
                  <a:pt x="1479" y="3532"/>
                </a:cubicBezTo>
                <a:close/>
                <a:moveTo>
                  <a:pt x="572" y="2069"/>
                </a:moveTo>
                <a:cubicBezTo>
                  <a:pt x="652" y="1926"/>
                  <a:pt x="906" y="1480"/>
                  <a:pt x="954" y="1289"/>
                </a:cubicBezTo>
                <a:cubicBezTo>
                  <a:pt x="1034" y="939"/>
                  <a:pt x="1304" y="159"/>
                  <a:pt x="2068" y="159"/>
                </a:cubicBezTo>
                <a:cubicBezTo>
                  <a:pt x="2832" y="159"/>
                  <a:pt x="3102" y="939"/>
                  <a:pt x="3182" y="1289"/>
                </a:cubicBezTo>
                <a:cubicBezTo>
                  <a:pt x="3229" y="1480"/>
                  <a:pt x="3484" y="1926"/>
                  <a:pt x="3563" y="2069"/>
                </a:cubicBezTo>
                <a:cubicBezTo>
                  <a:pt x="3452" y="2275"/>
                  <a:pt x="3070" y="2784"/>
                  <a:pt x="2068" y="2784"/>
                </a:cubicBezTo>
                <a:cubicBezTo>
                  <a:pt x="1081" y="2784"/>
                  <a:pt x="684" y="2275"/>
                  <a:pt x="572" y="2069"/>
                </a:cubicBezTo>
                <a:close/>
                <a:moveTo>
                  <a:pt x="3070" y="4678"/>
                </a:moveTo>
                <a:cubicBezTo>
                  <a:pt x="3118" y="4678"/>
                  <a:pt x="3150" y="4646"/>
                  <a:pt x="3150" y="4598"/>
                </a:cubicBezTo>
                <a:lnTo>
                  <a:pt x="3150" y="4344"/>
                </a:lnTo>
                <a:lnTo>
                  <a:pt x="3405" y="4344"/>
                </a:lnTo>
                <a:cubicBezTo>
                  <a:pt x="3452" y="4344"/>
                  <a:pt x="3484" y="4312"/>
                  <a:pt x="3484" y="4264"/>
                </a:cubicBezTo>
                <a:cubicBezTo>
                  <a:pt x="3484" y="4217"/>
                  <a:pt x="3452" y="4185"/>
                  <a:pt x="3405" y="4185"/>
                </a:cubicBezTo>
                <a:lnTo>
                  <a:pt x="3150" y="4185"/>
                </a:lnTo>
                <a:lnTo>
                  <a:pt x="3150" y="3930"/>
                </a:lnTo>
                <a:cubicBezTo>
                  <a:pt x="3150" y="3882"/>
                  <a:pt x="3118" y="3851"/>
                  <a:pt x="3070" y="3851"/>
                </a:cubicBezTo>
                <a:cubicBezTo>
                  <a:pt x="3023" y="3851"/>
                  <a:pt x="2991" y="3882"/>
                  <a:pt x="2991" y="3930"/>
                </a:cubicBezTo>
                <a:lnTo>
                  <a:pt x="2991" y="4185"/>
                </a:lnTo>
                <a:lnTo>
                  <a:pt x="2736" y="4185"/>
                </a:lnTo>
                <a:cubicBezTo>
                  <a:pt x="2688" y="4185"/>
                  <a:pt x="2657" y="4217"/>
                  <a:pt x="2657" y="4264"/>
                </a:cubicBezTo>
                <a:cubicBezTo>
                  <a:pt x="2657" y="4312"/>
                  <a:pt x="2688" y="4344"/>
                  <a:pt x="2736" y="4344"/>
                </a:cubicBezTo>
                <a:lnTo>
                  <a:pt x="2991" y="4344"/>
                </a:lnTo>
                <a:lnTo>
                  <a:pt x="2991" y="4598"/>
                </a:lnTo>
                <a:cubicBezTo>
                  <a:pt x="2991" y="4646"/>
                  <a:pt x="3023" y="4678"/>
                  <a:pt x="3070" y="467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1" name="Freeform: Shape 13">
            <a:extLst>
              <a:ext uri="{FF2B5EF4-FFF2-40B4-BE49-F238E27FC236}">
                <a16:creationId xmlns:a16="http://schemas.microsoft.com/office/drawing/2014/main" id="{E1F9AC99-712B-0248-B540-97FAE8C72E2E}"/>
              </a:ext>
            </a:extLst>
          </p:cNvPr>
          <p:cNvSpPr/>
          <p:nvPr/>
        </p:nvSpPr>
        <p:spPr>
          <a:xfrm>
            <a:off x="13829171" y="6355245"/>
            <a:ext cx="1700639" cy="1700999"/>
          </a:xfrm>
          <a:custGeom>
            <a:avLst/>
            <a:gdLst/>
            <a:ahLst/>
            <a:cxnLst>
              <a:cxn ang="3cd4">
                <a:pos x="hc" y="t"/>
              </a:cxn>
              <a:cxn ang="cd2">
                <a:pos x="l" y="vc"/>
              </a:cxn>
              <a:cxn ang="cd4">
                <a:pos x="hc" y="b"/>
              </a:cxn>
              <a:cxn ang="0">
                <a:pos x="r" y="vc"/>
              </a:cxn>
            </a:cxnLst>
            <a:rect l="l" t="t" r="r" b="b"/>
            <a:pathLst>
              <a:path w="4725" h="4726">
                <a:moveTo>
                  <a:pt x="2371" y="0"/>
                </a:moveTo>
                <a:cubicBezTo>
                  <a:pt x="1066" y="0"/>
                  <a:pt x="0" y="1066"/>
                  <a:pt x="0" y="2371"/>
                </a:cubicBezTo>
                <a:cubicBezTo>
                  <a:pt x="0" y="3675"/>
                  <a:pt x="1066" y="4726"/>
                  <a:pt x="2371" y="4726"/>
                </a:cubicBezTo>
                <a:cubicBezTo>
                  <a:pt x="3676" y="4726"/>
                  <a:pt x="4725" y="3675"/>
                  <a:pt x="4725" y="2371"/>
                </a:cubicBezTo>
                <a:cubicBezTo>
                  <a:pt x="4725" y="1066"/>
                  <a:pt x="3676" y="0"/>
                  <a:pt x="2371" y="0"/>
                </a:cubicBezTo>
                <a:close/>
                <a:moveTo>
                  <a:pt x="1082" y="4153"/>
                </a:moveTo>
                <a:cubicBezTo>
                  <a:pt x="1321" y="4009"/>
                  <a:pt x="1607" y="3930"/>
                  <a:pt x="1830" y="3930"/>
                </a:cubicBezTo>
                <a:cubicBezTo>
                  <a:pt x="1862" y="3930"/>
                  <a:pt x="1894" y="3898"/>
                  <a:pt x="1909" y="3866"/>
                </a:cubicBezTo>
                <a:cubicBezTo>
                  <a:pt x="2069" y="3373"/>
                  <a:pt x="2069" y="3373"/>
                  <a:pt x="2069" y="3373"/>
                </a:cubicBezTo>
                <a:cubicBezTo>
                  <a:pt x="2164" y="3389"/>
                  <a:pt x="2259" y="3389"/>
                  <a:pt x="2371" y="3389"/>
                </a:cubicBezTo>
                <a:cubicBezTo>
                  <a:pt x="2466" y="3389"/>
                  <a:pt x="2578" y="3389"/>
                  <a:pt x="2657" y="3373"/>
                </a:cubicBezTo>
                <a:cubicBezTo>
                  <a:pt x="2832" y="3866"/>
                  <a:pt x="2832" y="3866"/>
                  <a:pt x="2832" y="3866"/>
                </a:cubicBezTo>
                <a:cubicBezTo>
                  <a:pt x="2832" y="3898"/>
                  <a:pt x="2864" y="3930"/>
                  <a:pt x="2896" y="3930"/>
                </a:cubicBezTo>
                <a:cubicBezTo>
                  <a:pt x="3134" y="3930"/>
                  <a:pt x="3421" y="4009"/>
                  <a:pt x="3643" y="4153"/>
                </a:cubicBezTo>
                <a:cubicBezTo>
                  <a:pt x="3294" y="4423"/>
                  <a:pt x="2848" y="4566"/>
                  <a:pt x="2371" y="4566"/>
                </a:cubicBezTo>
                <a:cubicBezTo>
                  <a:pt x="1894" y="4566"/>
                  <a:pt x="1448" y="4423"/>
                  <a:pt x="1082" y="4153"/>
                </a:cubicBezTo>
                <a:close/>
                <a:moveTo>
                  <a:pt x="2371" y="3230"/>
                </a:moveTo>
                <a:cubicBezTo>
                  <a:pt x="1480" y="3230"/>
                  <a:pt x="1146" y="2784"/>
                  <a:pt x="1034" y="2593"/>
                </a:cubicBezTo>
                <a:cubicBezTo>
                  <a:pt x="1114" y="2466"/>
                  <a:pt x="1337" y="2068"/>
                  <a:pt x="1369" y="1893"/>
                </a:cubicBezTo>
                <a:cubicBezTo>
                  <a:pt x="1448" y="1591"/>
                  <a:pt x="1687" y="891"/>
                  <a:pt x="2371" y="891"/>
                </a:cubicBezTo>
                <a:cubicBezTo>
                  <a:pt x="3055" y="891"/>
                  <a:pt x="3294" y="1591"/>
                  <a:pt x="3357" y="1893"/>
                </a:cubicBezTo>
                <a:cubicBezTo>
                  <a:pt x="3405" y="2068"/>
                  <a:pt x="3628" y="2466"/>
                  <a:pt x="3707" y="2593"/>
                </a:cubicBezTo>
                <a:cubicBezTo>
                  <a:pt x="3596" y="2784"/>
                  <a:pt x="3246" y="3230"/>
                  <a:pt x="2371" y="3230"/>
                </a:cubicBezTo>
                <a:close/>
                <a:moveTo>
                  <a:pt x="3787" y="4057"/>
                </a:moveTo>
                <a:cubicBezTo>
                  <a:pt x="3532" y="3898"/>
                  <a:pt x="3230" y="3787"/>
                  <a:pt x="2960" y="3771"/>
                </a:cubicBezTo>
                <a:cubicBezTo>
                  <a:pt x="2816" y="3341"/>
                  <a:pt x="2816" y="3341"/>
                  <a:pt x="2816" y="3341"/>
                </a:cubicBezTo>
                <a:cubicBezTo>
                  <a:pt x="3516" y="3214"/>
                  <a:pt x="3787" y="2784"/>
                  <a:pt x="3866" y="2625"/>
                </a:cubicBezTo>
                <a:cubicBezTo>
                  <a:pt x="3882" y="2609"/>
                  <a:pt x="3882" y="2578"/>
                  <a:pt x="3866" y="2545"/>
                </a:cubicBezTo>
                <a:cubicBezTo>
                  <a:pt x="3787" y="2418"/>
                  <a:pt x="3548" y="2005"/>
                  <a:pt x="3516" y="1862"/>
                </a:cubicBezTo>
                <a:cubicBezTo>
                  <a:pt x="3342" y="1145"/>
                  <a:pt x="2928" y="732"/>
                  <a:pt x="2371" y="732"/>
                </a:cubicBezTo>
                <a:cubicBezTo>
                  <a:pt x="1814" y="732"/>
                  <a:pt x="1384" y="1145"/>
                  <a:pt x="1225" y="1862"/>
                </a:cubicBezTo>
                <a:cubicBezTo>
                  <a:pt x="1178" y="2005"/>
                  <a:pt x="955" y="2418"/>
                  <a:pt x="875" y="2545"/>
                </a:cubicBezTo>
                <a:cubicBezTo>
                  <a:pt x="860" y="2578"/>
                  <a:pt x="860" y="2609"/>
                  <a:pt x="875" y="2625"/>
                </a:cubicBezTo>
                <a:cubicBezTo>
                  <a:pt x="939" y="2784"/>
                  <a:pt x="1209" y="3214"/>
                  <a:pt x="1909" y="3341"/>
                </a:cubicBezTo>
                <a:cubicBezTo>
                  <a:pt x="1782" y="3771"/>
                  <a:pt x="1782" y="3771"/>
                  <a:pt x="1782" y="3771"/>
                </a:cubicBezTo>
                <a:cubicBezTo>
                  <a:pt x="1512" y="3787"/>
                  <a:pt x="1194" y="3898"/>
                  <a:pt x="955" y="4057"/>
                </a:cubicBezTo>
                <a:cubicBezTo>
                  <a:pt x="478" y="3659"/>
                  <a:pt x="159" y="3039"/>
                  <a:pt x="159" y="2371"/>
                </a:cubicBezTo>
                <a:cubicBezTo>
                  <a:pt x="159" y="1145"/>
                  <a:pt x="1146" y="159"/>
                  <a:pt x="2371" y="159"/>
                </a:cubicBezTo>
                <a:cubicBezTo>
                  <a:pt x="3580" y="159"/>
                  <a:pt x="4566" y="1145"/>
                  <a:pt x="4566" y="2371"/>
                </a:cubicBezTo>
                <a:cubicBezTo>
                  <a:pt x="4566" y="3039"/>
                  <a:pt x="4264" y="3659"/>
                  <a:pt x="3787" y="405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2" name="Freeform: Shape 14">
            <a:extLst>
              <a:ext uri="{FF2B5EF4-FFF2-40B4-BE49-F238E27FC236}">
                <a16:creationId xmlns:a16="http://schemas.microsoft.com/office/drawing/2014/main" id="{3E869BC6-2B6A-1F44-833A-BAA41858AD90}"/>
              </a:ext>
            </a:extLst>
          </p:cNvPr>
          <p:cNvSpPr/>
          <p:nvPr/>
        </p:nvSpPr>
        <p:spPr>
          <a:xfrm>
            <a:off x="5961050" y="9645465"/>
            <a:ext cx="1626119" cy="1551960"/>
          </a:xfrm>
          <a:custGeom>
            <a:avLst/>
            <a:gdLst/>
            <a:ahLst/>
            <a:cxnLst>
              <a:cxn ang="3cd4">
                <a:pos x="hc" y="t"/>
              </a:cxn>
              <a:cxn ang="cd2">
                <a:pos x="l" y="vc"/>
              </a:cxn>
              <a:cxn ang="cd4">
                <a:pos x="hc" y="b"/>
              </a:cxn>
              <a:cxn ang="0">
                <a:pos x="r" y="vc"/>
              </a:cxn>
            </a:cxnLst>
            <a:rect l="l" t="t" r="r" b="b"/>
            <a:pathLst>
              <a:path w="4518" h="4312">
                <a:moveTo>
                  <a:pt x="3564" y="3166"/>
                </a:moveTo>
                <a:cubicBezTo>
                  <a:pt x="3532" y="3166"/>
                  <a:pt x="3405" y="3151"/>
                  <a:pt x="3294" y="3151"/>
                </a:cubicBezTo>
                <a:cubicBezTo>
                  <a:pt x="3437" y="2960"/>
                  <a:pt x="3548" y="2737"/>
                  <a:pt x="3564" y="2530"/>
                </a:cubicBezTo>
                <a:cubicBezTo>
                  <a:pt x="3675" y="2466"/>
                  <a:pt x="3723" y="2212"/>
                  <a:pt x="3723" y="2116"/>
                </a:cubicBezTo>
                <a:cubicBezTo>
                  <a:pt x="3723" y="1894"/>
                  <a:pt x="3723" y="1894"/>
                  <a:pt x="3723" y="1894"/>
                </a:cubicBezTo>
                <a:cubicBezTo>
                  <a:pt x="3723" y="1814"/>
                  <a:pt x="3723" y="1639"/>
                  <a:pt x="3564" y="1591"/>
                </a:cubicBezTo>
                <a:cubicBezTo>
                  <a:pt x="3564" y="955"/>
                  <a:pt x="3564" y="955"/>
                  <a:pt x="3564" y="955"/>
                </a:cubicBezTo>
                <a:cubicBezTo>
                  <a:pt x="3675" y="955"/>
                  <a:pt x="3675" y="955"/>
                  <a:pt x="3675" y="955"/>
                </a:cubicBezTo>
                <a:cubicBezTo>
                  <a:pt x="3723" y="955"/>
                  <a:pt x="3739" y="939"/>
                  <a:pt x="3755" y="907"/>
                </a:cubicBezTo>
                <a:cubicBezTo>
                  <a:pt x="3946" y="350"/>
                  <a:pt x="3946" y="350"/>
                  <a:pt x="3946" y="350"/>
                </a:cubicBezTo>
                <a:cubicBezTo>
                  <a:pt x="3961" y="318"/>
                  <a:pt x="3946" y="271"/>
                  <a:pt x="3914" y="255"/>
                </a:cubicBezTo>
                <a:cubicBezTo>
                  <a:pt x="3484" y="16"/>
                  <a:pt x="3484" y="16"/>
                  <a:pt x="3484" y="16"/>
                </a:cubicBezTo>
                <a:cubicBezTo>
                  <a:pt x="3484" y="16"/>
                  <a:pt x="3469" y="0"/>
                  <a:pt x="3452" y="0"/>
                </a:cubicBezTo>
                <a:cubicBezTo>
                  <a:pt x="1130" y="0"/>
                  <a:pt x="1130" y="0"/>
                  <a:pt x="1130" y="0"/>
                </a:cubicBezTo>
                <a:cubicBezTo>
                  <a:pt x="1130" y="0"/>
                  <a:pt x="1113" y="16"/>
                  <a:pt x="1098" y="16"/>
                </a:cubicBezTo>
                <a:cubicBezTo>
                  <a:pt x="684" y="255"/>
                  <a:pt x="684" y="255"/>
                  <a:pt x="684" y="255"/>
                </a:cubicBezTo>
                <a:cubicBezTo>
                  <a:pt x="652" y="271"/>
                  <a:pt x="636" y="318"/>
                  <a:pt x="652" y="350"/>
                </a:cubicBezTo>
                <a:cubicBezTo>
                  <a:pt x="827" y="907"/>
                  <a:pt x="827" y="907"/>
                  <a:pt x="827" y="907"/>
                </a:cubicBezTo>
                <a:cubicBezTo>
                  <a:pt x="843" y="939"/>
                  <a:pt x="875" y="955"/>
                  <a:pt x="907" y="955"/>
                </a:cubicBezTo>
                <a:cubicBezTo>
                  <a:pt x="1018" y="955"/>
                  <a:pt x="1018" y="955"/>
                  <a:pt x="1018" y="955"/>
                </a:cubicBezTo>
                <a:cubicBezTo>
                  <a:pt x="1018" y="1591"/>
                  <a:pt x="1018" y="1591"/>
                  <a:pt x="1018" y="1591"/>
                </a:cubicBezTo>
                <a:cubicBezTo>
                  <a:pt x="923" y="1623"/>
                  <a:pt x="859" y="1718"/>
                  <a:pt x="859" y="1894"/>
                </a:cubicBezTo>
                <a:cubicBezTo>
                  <a:pt x="859" y="2116"/>
                  <a:pt x="859" y="2116"/>
                  <a:pt x="859" y="2116"/>
                </a:cubicBezTo>
                <a:cubicBezTo>
                  <a:pt x="859" y="2180"/>
                  <a:pt x="891" y="2451"/>
                  <a:pt x="1018" y="2530"/>
                </a:cubicBezTo>
                <a:cubicBezTo>
                  <a:pt x="1034" y="2737"/>
                  <a:pt x="1130" y="2960"/>
                  <a:pt x="1273" y="3151"/>
                </a:cubicBezTo>
                <a:cubicBezTo>
                  <a:pt x="1161" y="3151"/>
                  <a:pt x="1002" y="3151"/>
                  <a:pt x="987" y="3151"/>
                </a:cubicBezTo>
                <a:cubicBezTo>
                  <a:pt x="430" y="3198"/>
                  <a:pt x="0" y="3676"/>
                  <a:pt x="0" y="4232"/>
                </a:cubicBezTo>
                <a:cubicBezTo>
                  <a:pt x="0" y="4264"/>
                  <a:pt x="32" y="4312"/>
                  <a:pt x="79" y="4312"/>
                </a:cubicBezTo>
                <a:cubicBezTo>
                  <a:pt x="112" y="4312"/>
                  <a:pt x="159" y="4264"/>
                  <a:pt x="159" y="4232"/>
                </a:cubicBezTo>
                <a:cubicBezTo>
                  <a:pt x="159" y="3755"/>
                  <a:pt x="525" y="3357"/>
                  <a:pt x="1002" y="3309"/>
                </a:cubicBezTo>
                <a:cubicBezTo>
                  <a:pt x="1018" y="3309"/>
                  <a:pt x="1305" y="3309"/>
                  <a:pt x="1400" y="3309"/>
                </a:cubicBezTo>
                <a:cubicBezTo>
                  <a:pt x="1655" y="3596"/>
                  <a:pt x="1973" y="3803"/>
                  <a:pt x="2275" y="3803"/>
                </a:cubicBezTo>
                <a:cubicBezTo>
                  <a:pt x="2561" y="3803"/>
                  <a:pt x="2912" y="3596"/>
                  <a:pt x="3166" y="3309"/>
                </a:cubicBezTo>
                <a:cubicBezTo>
                  <a:pt x="3277" y="3309"/>
                  <a:pt x="3516" y="3309"/>
                  <a:pt x="3548" y="3325"/>
                </a:cubicBezTo>
                <a:cubicBezTo>
                  <a:pt x="4009" y="3373"/>
                  <a:pt x="4360" y="3755"/>
                  <a:pt x="4360" y="4232"/>
                </a:cubicBezTo>
                <a:cubicBezTo>
                  <a:pt x="4360" y="4264"/>
                  <a:pt x="4391" y="4312"/>
                  <a:pt x="4439" y="4312"/>
                </a:cubicBezTo>
                <a:cubicBezTo>
                  <a:pt x="4487" y="4312"/>
                  <a:pt x="4518" y="4264"/>
                  <a:pt x="4518" y="4232"/>
                </a:cubicBezTo>
                <a:cubicBezTo>
                  <a:pt x="4518" y="3676"/>
                  <a:pt x="4105" y="3214"/>
                  <a:pt x="3564" y="3166"/>
                </a:cubicBezTo>
                <a:close/>
                <a:moveTo>
                  <a:pt x="970" y="796"/>
                </a:moveTo>
                <a:cubicBezTo>
                  <a:pt x="812" y="366"/>
                  <a:pt x="812" y="366"/>
                  <a:pt x="812" y="366"/>
                </a:cubicBezTo>
                <a:cubicBezTo>
                  <a:pt x="1161" y="160"/>
                  <a:pt x="1161" y="160"/>
                  <a:pt x="1161" y="160"/>
                </a:cubicBezTo>
                <a:cubicBezTo>
                  <a:pt x="3437" y="160"/>
                  <a:pt x="3437" y="160"/>
                  <a:pt x="3437" y="160"/>
                </a:cubicBezTo>
                <a:cubicBezTo>
                  <a:pt x="3771" y="366"/>
                  <a:pt x="3771" y="366"/>
                  <a:pt x="3771" y="366"/>
                </a:cubicBezTo>
                <a:cubicBezTo>
                  <a:pt x="3627" y="796"/>
                  <a:pt x="3627" y="796"/>
                  <a:pt x="3627" y="796"/>
                </a:cubicBezTo>
                <a:cubicBezTo>
                  <a:pt x="2657" y="796"/>
                  <a:pt x="2657" y="796"/>
                  <a:pt x="2657" y="796"/>
                </a:cubicBezTo>
                <a:cubicBezTo>
                  <a:pt x="2800" y="716"/>
                  <a:pt x="2800" y="716"/>
                  <a:pt x="2800" y="716"/>
                </a:cubicBezTo>
                <a:cubicBezTo>
                  <a:pt x="2832" y="700"/>
                  <a:pt x="2848" y="669"/>
                  <a:pt x="2832" y="637"/>
                </a:cubicBezTo>
                <a:cubicBezTo>
                  <a:pt x="2816" y="589"/>
                  <a:pt x="2784" y="573"/>
                  <a:pt x="2752" y="573"/>
                </a:cubicBezTo>
                <a:cubicBezTo>
                  <a:pt x="2466" y="573"/>
                  <a:pt x="2466" y="573"/>
                  <a:pt x="2466" y="573"/>
                </a:cubicBezTo>
                <a:cubicBezTo>
                  <a:pt x="2370" y="287"/>
                  <a:pt x="2370" y="287"/>
                  <a:pt x="2370" y="287"/>
                </a:cubicBezTo>
                <a:cubicBezTo>
                  <a:pt x="2355" y="255"/>
                  <a:pt x="2323" y="239"/>
                  <a:pt x="2291" y="239"/>
                </a:cubicBezTo>
                <a:cubicBezTo>
                  <a:pt x="2259" y="239"/>
                  <a:pt x="2227" y="255"/>
                  <a:pt x="2212" y="287"/>
                </a:cubicBezTo>
                <a:cubicBezTo>
                  <a:pt x="2132" y="573"/>
                  <a:pt x="2132" y="573"/>
                  <a:pt x="2132" y="573"/>
                </a:cubicBezTo>
                <a:cubicBezTo>
                  <a:pt x="1830" y="573"/>
                  <a:pt x="1830" y="573"/>
                  <a:pt x="1830" y="573"/>
                </a:cubicBezTo>
                <a:cubicBezTo>
                  <a:pt x="1798" y="573"/>
                  <a:pt x="1766" y="589"/>
                  <a:pt x="1750" y="637"/>
                </a:cubicBezTo>
                <a:cubicBezTo>
                  <a:pt x="1750" y="669"/>
                  <a:pt x="1766" y="700"/>
                  <a:pt x="1798" y="716"/>
                </a:cubicBezTo>
                <a:cubicBezTo>
                  <a:pt x="1925" y="796"/>
                  <a:pt x="1925" y="796"/>
                  <a:pt x="1925" y="796"/>
                </a:cubicBezTo>
                <a:close/>
                <a:moveTo>
                  <a:pt x="2403" y="843"/>
                </a:moveTo>
                <a:cubicBezTo>
                  <a:pt x="2418" y="907"/>
                  <a:pt x="2418" y="907"/>
                  <a:pt x="2418" y="907"/>
                </a:cubicBezTo>
                <a:cubicBezTo>
                  <a:pt x="2339" y="860"/>
                  <a:pt x="2339" y="860"/>
                  <a:pt x="2339" y="860"/>
                </a:cubicBezTo>
                <a:cubicBezTo>
                  <a:pt x="2323" y="843"/>
                  <a:pt x="2307" y="843"/>
                  <a:pt x="2291" y="843"/>
                </a:cubicBezTo>
                <a:cubicBezTo>
                  <a:pt x="2275" y="843"/>
                  <a:pt x="2259" y="843"/>
                  <a:pt x="2243" y="860"/>
                </a:cubicBezTo>
                <a:cubicBezTo>
                  <a:pt x="2164" y="907"/>
                  <a:pt x="2164" y="907"/>
                  <a:pt x="2164" y="907"/>
                </a:cubicBezTo>
                <a:cubicBezTo>
                  <a:pt x="2196" y="843"/>
                  <a:pt x="2196" y="843"/>
                  <a:pt x="2196" y="843"/>
                </a:cubicBezTo>
                <a:cubicBezTo>
                  <a:pt x="2212" y="812"/>
                  <a:pt x="2196" y="780"/>
                  <a:pt x="2164" y="748"/>
                </a:cubicBezTo>
                <a:cubicBezTo>
                  <a:pt x="2116" y="732"/>
                  <a:pt x="2116" y="732"/>
                  <a:pt x="2116" y="732"/>
                </a:cubicBezTo>
                <a:cubicBezTo>
                  <a:pt x="2180" y="732"/>
                  <a:pt x="2180" y="732"/>
                  <a:pt x="2180" y="732"/>
                </a:cubicBezTo>
                <a:cubicBezTo>
                  <a:pt x="2212" y="732"/>
                  <a:pt x="2243" y="700"/>
                  <a:pt x="2259" y="669"/>
                </a:cubicBezTo>
                <a:cubicBezTo>
                  <a:pt x="2291" y="573"/>
                  <a:pt x="2291" y="573"/>
                  <a:pt x="2291" y="573"/>
                </a:cubicBezTo>
                <a:cubicBezTo>
                  <a:pt x="2323" y="669"/>
                  <a:pt x="2323" y="669"/>
                  <a:pt x="2323" y="669"/>
                </a:cubicBezTo>
                <a:cubicBezTo>
                  <a:pt x="2339" y="700"/>
                  <a:pt x="2370" y="732"/>
                  <a:pt x="2403" y="732"/>
                </a:cubicBezTo>
                <a:cubicBezTo>
                  <a:pt x="2466" y="732"/>
                  <a:pt x="2466" y="732"/>
                  <a:pt x="2466" y="732"/>
                </a:cubicBezTo>
                <a:cubicBezTo>
                  <a:pt x="2434" y="748"/>
                  <a:pt x="2434" y="748"/>
                  <a:pt x="2434" y="748"/>
                </a:cubicBezTo>
                <a:cubicBezTo>
                  <a:pt x="2403" y="764"/>
                  <a:pt x="2387" y="812"/>
                  <a:pt x="2403" y="843"/>
                </a:cubicBezTo>
                <a:close/>
                <a:moveTo>
                  <a:pt x="1989" y="955"/>
                </a:moveTo>
                <a:cubicBezTo>
                  <a:pt x="1941" y="1098"/>
                  <a:pt x="1941" y="1098"/>
                  <a:pt x="1941" y="1098"/>
                </a:cubicBezTo>
                <a:cubicBezTo>
                  <a:pt x="1925" y="1130"/>
                  <a:pt x="1925" y="1161"/>
                  <a:pt x="1957" y="1178"/>
                </a:cubicBezTo>
                <a:cubicBezTo>
                  <a:pt x="1989" y="1209"/>
                  <a:pt x="2021" y="1209"/>
                  <a:pt x="2052" y="1178"/>
                </a:cubicBezTo>
                <a:cubicBezTo>
                  <a:pt x="2291" y="1018"/>
                  <a:pt x="2291" y="1018"/>
                  <a:pt x="2291" y="1018"/>
                </a:cubicBezTo>
                <a:cubicBezTo>
                  <a:pt x="2530" y="1194"/>
                  <a:pt x="2530" y="1194"/>
                  <a:pt x="2530" y="1194"/>
                </a:cubicBezTo>
                <a:cubicBezTo>
                  <a:pt x="2546" y="1209"/>
                  <a:pt x="2561" y="1209"/>
                  <a:pt x="2578" y="1209"/>
                </a:cubicBezTo>
                <a:cubicBezTo>
                  <a:pt x="2593" y="1209"/>
                  <a:pt x="2609" y="1209"/>
                  <a:pt x="2625" y="1194"/>
                </a:cubicBezTo>
                <a:cubicBezTo>
                  <a:pt x="2657" y="1178"/>
                  <a:pt x="2673" y="1146"/>
                  <a:pt x="2657" y="1114"/>
                </a:cubicBezTo>
                <a:cubicBezTo>
                  <a:pt x="2609" y="955"/>
                  <a:pt x="2609" y="955"/>
                  <a:pt x="2609" y="955"/>
                </a:cubicBezTo>
                <a:cubicBezTo>
                  <a:pt x="3405" y="955"/>
                  <a:pt x="3405" y="955"/>
                  <a:pt x="3405" y="955"/>
                </a:cubicBezTo>
                <a:cubicBezTo>
                  <a:pt x="3405" y="1082"/>
                  <a:pt x="3405" y="1082"/>
                  <a:pt x="3405" y="1082"/>
                </a:cubicBezTo>
                <a:cubicBezTo>
                  <a:pt x="3373" y="1146"/>
                  <a:pt x="2943" y="1305"/>
                  <a:pt x="2227" y="1305"/>
                </a:cubicBezTo>
                <a:cubicBezTo>
                  <a:pt x="1512" y="1305"/>
                  <a:pt x="1177" y="1146"/>
                  <a:pt x="1177" y="1082"/>
                </a:cubicBezTo>
                <a:cubicBezTo>
                  <a:pt x="1177" y="955"/>
                  <a:pt x="1177" y="955"/>
                  <a:pt x="1177" y="955"/>
                </a:cubicBezTo>
                <a:close/>
                <a:moveTo>
                  <a:pt x="2275" y="3643"/>
                </a:moveTo>
                <a:cubicBezTo>
                  <a:pt x="1814" y="3643"/>
                  <a:pt x="1177" y="2975"/>
                  <a:pt x="1177" y="2482"/>
                </a:cubicBezTo>
                <a:cubicBezTo>
                  <a:pt x="1177" y="2434"/>
                  <a:pt x="1146" y="2403"/>
                  <a:pt x="1113" y="2403"/>
                </a:cubicBezTo>
                <a:cubicBezTo>
                  <a:pt x="1066" y="2387"/>
                  <a:pt x="1018" y="2228"/>
                  <a:pt x="1018" y="2116"/>
                </a:cubicBezTo>
                <a:cubicBezTo>
                  <a:pt x="1018" y="1894"/>
                  <a:pt x="1018" y="1894"/>
                  <a:pt x="1018" y="1894"/>
                </a:cubicBezTo>
                <a:cubicBezTo>
                  <a:pt x="1018" y="1751"/>
                  <a:pt x="1050" y="1734"/>
                  <a:pt x="1098" y="1734"/>
                </a:cubicBezTo>
                <a:cubicBezTo>
                  <a:pt x="1146" y="1734"/>
                  <a:pt x="1177" y="1703"/>
                  <a:pt x="1177" y="1655"/>
                </a:cubicBezTo>
                <a:cubicBezTo>
                  <a:pt x="1177" y="1289"/>
                  <a:pt x="1177" y="1289"/>
                  <a:pt x="1177" y="1289"/>
                </a:cubicBezTo>
                <a:cubicBezTo>
                  <a:pt x="1400" y="1400"/>
                  <a:pt x="1814" y="1448"/>
                  <a:pt x="2227" y="1448"/>
                </a:cubicBezTo>
                <a:cubicBezTo>
                  <a:pt x="2514" y="1448"/>
                  <a:pt x="3118" y="1416"/>
                  <a:pt x="3405" y="1273"/>
                </a:cubicBezTo>
                <a:cubicBezTo>
                  <a:pt x="3405" y="1655"/>
                  <a:pt x="3405" y="1655"/>
                  <a:pt x="3405" y="1655"/>
                </a:cubicBezTo>
                <a:cubicBezTo>
                  <a:pt x="3405" y="1703"/>
                  <a:pt x="3437" y="1734"/>
                  <a:pt x="3484" y="1734"/>
                </a:cubicBezTo>
                <a:cubicBezTo>
                  <a:pt x="3548" y="1734"/>
                  <a:pt x="3564" y="1751"/>
                  <a:pt x="3564" y="1894"/>
                </a:cubicBezTo>
                <a:cubicBezTo>
                  <a:pt x="3564" y="2116"/>
                  <a:pt x="3564" y="2116"/>
                  <a:pt x="3564" y="2116"/>
                </a:cubicBezTo>
                <a:cubicBezTo>
                  <a:pt x="3564" y="2228"/>
                  <a:pt x="3516" y="2387"/>
                  <a:pt x="3484" y="2403"/>
                </a:cubicBezTo>
                <a:cubicBezTo>
                  <a:pt x="3437" y="2403"/>
                  <a:pt x="3405" y="2434"/>
                  <a:pt x="3405" y="2482"/>
                </a:cubicBezTo>
                <a:cubicBezTo>
                  <a:pt x="3405" y="2689"/>
                  <a:pt x="3277" y="2943"/>
                  <a:pt x="3087" y="3166"/>
                </a:cubicBezTo>
                <a:cubicBezTo>
                  <a:pt x="3071" y="3182"/>
                  <a:pt x="3055" y="3182"/>
                  <a:pt x="3055" y="3198"/>
                </a:cubicBezTo>
                <a:cubicBezTo>
                  <a:pt x="2816" y="3453"/>
                  <a:pt x="2514" y="3643"/>
                  <a:pt x="2275" y="364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Freeform: Shape 15">
            <a:extLst>
              <a:ext uri="{FF2B5EF4-FFF2-40B4-BE49-F238E27FC236}">
                <a16:creationId xmlns:a16="http://schemas.microsoft.com/office/drawing/2014/main" id="{F1666CD5-A1C0-5B40-ACC4-5A66F2AA06B3}"/>
              </a:ext>
            </a:extLst>
          </p:cNvPr>
          <p:cNvSpPr/>
          <p:nvPr/>
        </p:nvSpPr>
        <p:spPr>
          <a:xfrm>
            <a:off x="10051459" y="9628185"/>
            <a:ext cx="1597680" cy="1666439"/>
          </a:xfrm>
          <a:custGeom>
            <a:avLst/>
            <a:gdLst/>
            <a:ahLst/>
            <a:cxnLst>
              <a:cxn ang="3cd4">
                <a:pos x="hc" y="t"/>
              </a:cxn>
              <a:cxn ang="cd2">
                <a:pos x="l" y="vc"/>
              </a:cxn>
              <a:cxn ang="cd4">
                <a:pos x="hc" y="b"/>
              </a:cxn>
              <a:cxn ang="0">
                <a:pos x="r" y="vc"/>
              </a:cxn>
            </a:cxnLst>
            <a:rect l="l" t="t" r="r" b="b"/>
            <a:pathLst>
              <a:path w="4439" h="4630">
                <a:moveTo>
                  <a:pt x="3468" y="3182"/>
                </a:moveTo>
                <a:cubicBezTo>
                  <a:pt x="3818" y="2976"/>
                  <a:pt x="3977" y="2705"/>
                  <a:pt x="4041" y="2578"/>
                </a:cubicBezTo>
                <a:cubicBezTo>
                  <a:pt x="4057" y="2562"/>
                  <a:pt x="4057" y="2530"/>
                  <a:pt x="4041" y="2514"/>
                </a:cubicBezTo>
                <a:cubicBezTo>
                  <a:pt x="3930" y="2339"/>
                  <a:pt x="3659" y="1846"/>
                  <a:pt x="3612" y="1671"/>
                </a:cubicBezTo>
                <a:cubicBezTo>
                  <a:pt x="3612" y="1623"/>
                  <a:pt x="3595" y="1544"/>
                  <a:pt x="3580" y="1464"/>
                </a:cubicBezTo>
                <a:lnTo>
                  <a:pt x="3580" y="891"/>
                </a:lnTo>
                <a:cubicBezTo>
                  <a:pt x="3786" y="748"/>
                  <a:pt x="3850" y="509"/>
                  <a:pt x="3803" y="366"/>
                </a:cubicBezTo>
                <a:cubicBezTo>
                  <a:pt x="3771" y="255"/>
                  <a:pt x="3691" y="191"/>
                  <a:pt x="3595" y="191"/>
                </a:cubicBezTo>
                <a:cubicBezTo>
                  <a:pt x="3373" y="191"/>
                  <a:pt x="3007" y="128"/>
                  <a:pt x="2721" y="80"/>
                </a:cubicBezTo>
                <a:cubicBezTo>
                  <a:pt x="2482" y="32"/>
                  <a:pt x="2307" y="0"/>
                  <a:pt x="2227" y="0"/>
                </a:cubicBezTo>
                <a:cubicBezTo>
                  <a:pt x="2132" y="0"/>
                  <a:pt x="1957" y="32"/>
                  <a:pt x="1734" y="80"/>
                </a:cubicBezTo>
                <a:cubicBezTo>
                  <a:pt x="1448" y="128"/>
                  <a:pt x="1098" y="191"/>
                  <a:pt x="875" y="191"/>
                </a:cubicBezTo>
                <a:cubicBezTo>
                  <a:pt x="779" y="191"/>
                  <a:pt x="716" y="255"/>
                  <a:pt x="684" y="351"/>
                </a:cubicBezTo>
                <a:cubicBezTo>
                  <a:pt x="636" y="509"/>
                  <a:pt x="716" y="748"/>
                  <a:pt x="939" y="891"/>
                </a:cubicBezTo>
                <a:lnTo>
                  <a:pt x="939" y="1289"/>
                </a:lnTo>
                <a:cubicBezTo>
                  <a:pt x="939" y="1369"/>
                  <a:pt x="939" y="1496"/>
                  <a:pt x="875" y="1655"/>
                </a:cubicBezTo>
                <a:cubicBezTo>
                  <a:pt x="812" y="1878"/>
                  <a:pt x="461" y="2499"/>
                  <a:pt x="461" y="2514"/>
                </a:cubicBezTo>
                <a:cubicBezTo>
                  <a:pt x="445" y="2530"/>
                  <a:pt x="445" y="2562"/>
                  <a:pt x="461" y="2578"/>
                </a:cubicBezTo>
                <a:cubicBezTo>
                  <a:pt x="509" y="2705"/>
                  <a:pt x="668" y="2960"/>
                  <a:pt x="1002" y="3167"/>
                </a:cubicBezTo>
                <a:cubicBezTo>
                  <a:pt x="477" y="3357"/>
                  <a:pt x="0" y="4058"/>
                  <a:pt x="0" y="4551"/>
                </a:cubicBezTo>
                <a:cubicBezTo>
                  <a:pt x="0" y="4599"/>
                  <a:pt x="32" y="4630"/>
                  <a:pt x="79" y="4630"/>
                </a:cubicBezTo>
                <a:cubicBezTo>
                  <a:pt x="127" y="4630"/>
                  <a:pt x="159" y="4599"/>
                  <a:pt x="159" y="4551"/>
                </a:cubicBezTo>
                <a:cubicBezTo>
                  <a:pt x="159" y="4090"/>
                  <a:pt x="700" y="3342"/>
                  <a:pt x="1193" y="3294"/>
                </a:cubicBezTo>
                <a:cubicBezTo>
                  <a:pt x="1209" y="3294"/>
                  <a:pt x="1204" y="3283"/>
                  <a:pt x="1209" y="3278"/>
                </a:cubicBezTo>
                <a:cubicBezTo>
                  <a:pt x="1479" y="3405"/>
                  <a:pt x="1813" y="3485"/>
                  <a:pt x="2243" y="3485"/>
                </a:cubicBezTo>
                <a:cubicBezTo>
                  <a:pt x="2673" y="3485"/>
                  <a:pt x="3007" y="3405"/>
                  <a:pt x="3261" y="3294"/>
                </a:cubicBezTo>
                <a:cubicBezTo>
                  <a:pt x="3739" y="3357"/>
                  <a:pt x="4280" y="4090"/>
                  <a:pt x="4280" y="4551"/>
                </a:cubicBezTo>
                <a:cubicBezTo>
                  <a:pt x="4280" y="4599"/>
                  <a:pt x="4312" y="4630"/>
                  <a:pt x="4359" y="4630"/>
                </a:cubicBezTo>
                <a:cubicBezTo>
                  <a:pt x="4391" y="4630"/>
                  <a:pt x="4439" y="4599"/>
                  <a:pt x="4439" y="4551"/>
                </a:cubicBezTo>
                <a:cubicBezTo>
                  <a:pt x="4439" y="4073"/>
                  <a:pt x="3977" y="3373"/>
                  <a:pt x="3468" y="3182"/>
                </a:cubicBezTo>
                <a:close/>
                <a:moveTo>
                  <a:pt x="843" y="398"/>
                </a:moveTo>
                <a:cubicBezTo>
                  <a:pt x="843" y="351"/>
                  <a:pt x="859" y="351"/>
                  <a:pt x="875" y="351"/>
                </a:cubicBezTo>
                <a:cubicBezTo>
                  <a:pt x="1113" y="351"/>
                  <a:pt x="1479" y="287"/>
                  <a:pt x="1766" y="223"/>
                </a:cubicBezTo>
                <a:cubicBezTo>
                  <a:pt x="1957" y="191"/>
                  <a:pt x="2148" y="160"/>
                  <a:pt x="2227" y="160"/>
                </a:cubicBezTo>
                <a:cubicBezTo>
                  <a:pt x="2291" y="160"/>
                  <a:pt x="2482" y="191"/>
                  <a:pt x="2689" y="223"/>
                </a:cubicBezTo>
                <a:cubicBezTo>
                  <a:pt x="2991" y="287"/>
                  <a:pt x="3373" y="351"/>
                  <a:pt x="3595" y="351"/>
                </a:cubicBezTo>
                <a:cubicBezTo>
                  <a:pt x="3612" y="351"/>
                  <a:pt x="3643" y="351"/>
                  <a:pt x="3659" y="414"/>
                </a:cubicBezTo>
                <a:cubicBezTo>
                  <a:pt x="3675" y="494"/>
                  <a:pt x="3643" y="685"/>
                  <a:pt x="3452" y="796"/>
                </a:cubicBezTo>
                <a:cubicBezTo>
                  <a:pt x="3437" y="812"/>
                  <a:pt x="3421" y="828"/>
                  <a:pt x="3421" y="860"/>
                </a:cubicBezTo>
                <a:lnTo>
                  <a:pt x="3421" y="1051"/>
                </a:lnTo>
                <a:cubicBezTo>
                  <a:pt x="3421" y="1289"/>
                  <a:pt x="2927" y="1560"/>
                  <a:pt x="2212" y="1560"/>
                </a:cubicBezTo>
                <a:cubicBezTo>
                  <a:pt x="1527" y="1560"/>
                  <a:pt x="1098" y="1289"/>
                  <a:pt x="1098" y="1051"/>
                </a:cubicBezTo>
                <a:lnTo>
                  <a:pt x="1098" y="860"/>
                </a:lnTo>
                <a:cubicBezTo>
                  <a:pt x="1098" y="828"/>
                  <a:pt x="1082" y="812"/>
                  <a:pt x="1050" y="796"/>
                </a:cubicBezTo>
                <a:cubicBezTo>
                  <a:pt x="875" y="669"/>
                  <a:pt x="812" y="478"/>
                  <a:pt x="843" y="398"/>
                </a:cubicBezTo>
                <a:close/>
                <a:moveTo>
                  <a:pt x="621" y="2546"/>
                </a:moveTo>
                <a:cubicBezTo>
                  <a:pt x="700" y="2403"/>
                  <a:pt x="955" y="1910"/>
                  <a:pt x="1034" y="1719"/>
                </a:cubicBezTo>
                <a:cubicBezTo>
                  <a:pt x="1082" y="1591"/>
                  <a:pt x="1082" y="1464"/>
                  <a:pt x="1098" y="1385"/>
                </a:cubicBezTo>
                <a:cubicBezTo>
                  <a:pt x="1304" y="1576"/>
                  <a:pt x="1718" y="1719"/>
                  <a:pt x="2212" y="1719"/>
                </a:cubicBezTo>
                <a:cubicBezTo>
                  <a:pt x="2736" y="1719"/>
                  <a:pt x="3182" y="1576"/>
                  <a:pt x="3404" y="1385"/>
                </a:cubicBezTo>
                <a:cubicBezTo>
                  <a:pt x="3421" y="1496"/>
                  <a:pt x="3452" y="1639"/>
                  <a:pt x="3468" y="1703"/>
                </a:cubicBezTo>
                <a:cubicBezTo>
                  <a:pt x="3516" y="1910"/>
                  <a:pt x="3786" y="2403"/>
                  <a:pt x="3882" y="2546"/>
                </a:cubicBezTo>
                <a:cubicBezTo>
                  <a:pt x="3755" y="2769"/>
                  <a:pt x="3325" y="3326"/>
                  <a:pt x="2243" y="3326"/>
                </a:cubicBezTo>
                <a:cubicBezTo>
                  <a:pt x="1161" y="3326"/>
                  <a:pt x="732" y="2769"/>
                  <a:pt x="621" y="2546"/>
                </a:cubicBezTo>
                <a:close/>
                <a:moveTo>
                  <a:pt x="1718" y="860"/>
                </a:moveTo>
                <a:lnTo>
                  <a:pt x="1941" y="987"/>
                </a:lnTo>
                <a:lnTo>
                  <a:pt x="1861" y="1226"/>
                </a:lnTo>
                <a:cubicBezTo>
                  <a:pt x="1846" y="1257"/>
                  <a:pt x="1861" y="1305"/>
                  <a:pt x="1877" y="1321"/>
                </a:cubicBezTo>
                <a:cubicBezTo>
                  <a:pt x="1909" y="1337"/>
                  <a:pt x="1941" y="1337"/>
                  <a:pt x="1973" y="1321"/>
                </a:cubicBezTo>
                <a:lnTo>
                  <a:pt x="2212" y="1146"/>
                </a:lnTo>
                <a:lnTo>
                  <a:pt x="2450" y="1337"/>
                </a:lnTo>
                <a:cubicBezTo>
                  <a:pt x="2466" y="1337"/>
                  <a:pt x="2482" y="1353"/>
                  <a:pt x="2498" y="1353"/>
                </a:cubicBezTo>
                <a:cubicBezTo>
                  <a:pt x="2513" y="1353"/>
                  <a:pt x="2530" y="1353"/>
                  <a:pt x="2546" y="1337"/>
                </a:cubicBezTo>
                <a:cubicBezTo>
                  <a:pt x="2577" y="1321"/>
                  <a:pt x="2593" y="1273"/>
                  <a:pt x="2577" y="1242"/>
                </a:cubicBezTo>
                <a:lnTo>
                  <a:pt x="2482" y="987"/>
                </a:lnTo>
                <a:lnTo>
                  <a:pt x="2721" y="860"/>
                </a:lnTo>
                <a:cubicBezTo>
                  <a:pt x="2752" y="844"/>
                  <a:pt x="2768" y="796"/>
                  <a:pt x="2752" y="764"/>
                </a:cubicBezTo>
                <a:cubicBezTo>
                  <a:pt x="2752" y="732"/>
                  <a:pt x="2721" y="700"/>
                  <a:pt x="2673" y="700"/>
                </a:cubicBezTo>
                <a:lnTo>
                  <a:pt x="2386" y="700"/>
                </a:lnTo>
                <a:lnTo>
                  <a:pt x="2291" y="430"/>
                </a:lnTo>
                <a:cubicBezTo>
                  <a:pt x="2275" y="398"/>
                  <a:pt x="2243" y="366"/>
                  <a:pt x="2212" y="366"/>
                </a:cubicBezTo>
                <a:cubicBezTo>
                  <a:pt x="2180" y="366"/>
                  <a:pt x="2148" y="398"/>
                  <a:pt x="2148" y="430"/>
                </a:cubicBezTo>
                <a:lnTo>
                  <a:pt x="2052" y="700"/>
                </a:lnTo>
                <a:lnTo>
                  <a:pt x="1750" y="700"/>
                </a:lnTo>
                <a:cubicBezTo>
                  <a:pt x="1718" y="700"/>
                  <a:pt x="1686" y="732"/>
                  <a:pt x="1670" y="764"/>
                </a:cubicBezTo>
                <a:cubicBezTo>
                  <a:pt x="1670" y="796"/>
                  <a:pt x="1686" y="844"/>
                  <a:pt x="1718" y="860"/>
                </a:cubicBezTo>
                <a:close/>
                <a:moveTo>
                  <a:pt x="2100" y="860"/>
                </a:moveTo>
                <a:cubicBezTo>
                  <a:pt x="2148" y="860"/>
                  <a:pt x="2180" y="844"/>
                  <a:pt x="2180" y="812"/>
                </a:cubicBezTo>
                <a:lnTo>
                  <a:pt x="2212" y="717"/>
                </a:lnTo>
                <a:lnTo>
                  <a:pt x="2243" y="812"/>
                </a:lnTo>
                <a:cubicBezTo>
                  <a:pt x="2259" y="844"/>
                  <a:pt x="2291" y="860"/>
                  <a:pt x="2323" y="860"/>
                </a:cubicBezTo>
                <a:lnTo>
                  <a:pt x="2386" y="860"/>
                </a:lnTo>
                <a:lnTo>
                  <a:pt x="2355" y="891"/>
                </a:lnTo>
                <a:cubicBezTo>
                  <a:pt x="2323" y="908"/>
                  <a:pt x="2307" y="939"/>
                  <a:pt x="2323" y="987"/>
                </a:cubicBezTo>
                <a:lnTo>
                  <a:pt x="2339" y="1051"/>
                </a:lnTo>
                <a:lnTo>
                  <a:pt x="2259" y="987"/>
                </a:lnTo>
                <a:cubicBezTo>
                  <a:pt x="2243" y="987"/>
                  <a:pt x="2227" y="971"/>
                  <a:pt x="2212" y="971"/>
                </a:cubicBezTo>
                <a:cubicBezTo>
                  <a:pt x="2195" y="971"/>
                  <a:pt x="2180" y="971"/>
                  <a:pt x="2164" y="987"/>
                </a:cubicBezTo>
                <a:lnTo>
                  <a:pt x="2100" y="1051"/>
                </a:lnTo>
                <a:lnTo>
                  <a:pt x="2116" y="987"/>
                </a:lnTo>
                <a:cubicBezTo>
                  <a:pt x="2132" y="955"/>
                  <a:pt x="2116" y="908"/>
                  <a:pt x="2084" y="891"/>
                </a:cubicBezTo>
                <a:lnTo>
                  <a:pt x="2036" y="860"/>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4" name="Freeform: Shape 19">
            <a:extLst>
              <a:ext uri="{FF2B5EF4-FFF2-40B4-BE49-F238E27FC236}">
                <a16:creationId xmlns:a16="http://schemas.microsoft.com/office/drawing/2014/main" id="{3B005D05-1B92-4D47-AA2B-1938E9B5B1B1}"/>
              </a:ext>
            </a:extLst>
          </p:cNvPr>
          <p:cNvSpPr/>
          <p:nvPr/>
        </p:nvSpPr>
        <p:spPr>
          <a:xfrm>
            <a:off x="2001346" y="3111312"/>
            <a:ext cx="1339920" cy="1838160"/>
          </a:xfrm>
          <a:custGeom>
            <a:avLst/>
            <a:gdLst/>
            <a:ahLst/>
            <a:cxnLst>
              <a:cxn ang="3cd4">
                <a:pos x="hc" y="t"/>
              </a:cxn>
              <a:cxn ang="cd2">
                <a:pos x="l" y="vc"/>
              </a:cxn>
              <a:cxn ang="cd4">
                <a:pos x="hc" y="b"/>
              </a:cxn>
              <a:cxn ang="0">
                <a:pos x="r" y="vc"/>
              </a:cxn>
            </a:cxnLst>
            <a:rect l="l" t="t" r="r" b="b"/>
            <a:pathLst>
              <a:path w="3723" h="5107">
                <a:moveTo>
                  <a:pt x="955" y="2752"/>
                </a:moveTo>
                <a:lnTo>
                  <a:pt x="780" y="2752"/>
                </a:lnTo>
                <a:cubicBezTo>
                  <a:pt x="350" y="2752"/>
                  <a:pt x="0" y="3102"/>
                  <a:pt x="0" y="3532"/>
                </a:cubicBezTo>
                <a:lnTo>
                  <a:pt x="0" y="4598"/>
                </a:lnTo>
                <a:cubicBezTo>
                  <a:pt x="0" y="4645"/>
                  <a:pt x="32" y="4677"/>
                  <a:pt x="80" y="4677"/>
                </a:cubicBezTo>
                <a:lnTo>
                  <a:pt x="1655" y="4677"/>
                </a:lnTo>
                <a:cubicBezTo>
                  <a:pt x="1687" y="4677"/>
                  <a:pt x="1734" y="4645"/>
                  <a:pt x="1734" y="4598"/>
                </a:cubicBezTo>
                <a:lnTo>
                  <a:pt x="1734" y="3532"/>
                </a:lnTo>
                <a:cubicBezTo>
                  <a:pt x="1734" y="3325"/>
                  <a:pt x="1639" y="3134"/>
                  <a:pt x="1512" y="2991"/>
                </a:cubicBezTo>
                <a:lnTo>
                  <a:pt x="2514" y="2991"/>
                </a:lnTo>
                <a:cubicBezTo>
                  <a:pt x="2609" y="3071"/>
                  <a:pt x="2721" y="3118"/>
                  <a:pt x="2864" y="3118"/>
                </a:cubicBezTo>
                <a:cubicBezTo>
                  <a:pt x="3134" y="3118"/>
                  <a:pt x="3373" y="2896"/>
                  <a:pt x="3373" y="2625"/>
                </a:cubicBezTo>
                <a:cubicBezTo>
                  <a:pt x="3373" y="2339"/>
                  <a:pt x="3134" y="2116"/>
                  <a:pt x="2864" y="2116"/>
                </a:cubicBezTo>
                <a:cubicBezTo>
                  <a:pt x="2800" y="2116"/>
                  <a:pt x="2737" y="2132"/>
                  <a:pt x="2689" y="2148"/>
                </a:cubicBezTo>
                <a:lnTo>
                  <a:pt x="2689" y="1845"/>
                </a:lnTo>
                <a:cubicBezTo>
                  <a:pt x="2689" y="1416"/>
                  <a:pt x="2339" y="1066"/>
                  <a:pt x="1909" y="1066"/>
                </a:cubicBezTo>
                <a:lnTo>
                  <a:pt x="1750" y="1066"/>
                </a:lnTo>
                <a:cubicBezTo>
                  <a:pt x="1369" y="1066"/>
                  <a:pt x="1050" y="1336"/>
                  <a:pt x="987" y="1702"/>
                </a:cubicBezTo>
                <a:cubicBezTo>
                  <a:pt x="939" y="1686"/>
                  <a:pt x="907" y="1686"/>
                  <a:pt x="859" y="1686"/>
                </a:cubicBezTo>
                <a:cubicBezTo>
                  <a:pt x="589" y="1686"/>
                  <a:pt x="366" y="1909"/>
                  <a:pt x="366" y="2195"/>
                </a:cubicBezTo>
                <a:cubicBezTo>
                  <a:pt x="366" y="2466"/>
                  <a:pt x="589" y="2689"/>
                  <a:pt x="859" y="2689"/>
                </a:cubicBezTo>
                <a:lnTo>
                  <a:pt x="970" y="2689"/>
                </a:lnTo>
                <a:lnTo>
                  <a:pt x="970" y="2752"/>
                </a:lnTo>
                <a:close/>
                <a:moveTo>
                  <a:pt x="1575" y="4518"/>
                </a:moveTo>
                <a:lnTo>
                  <a:pt x="159" y="4518"/>
                </a:lnTo>
                <a:lnTo>
                  <a:pt x="159" y="3532"/>
                </a:lnTo>
                <a:cubicBezTo>
                  <a:pt x="159" y="3198"/>
                  <a:pt x="446" y="2911"/>
                  <a:pt x="780" y="2911"/>
                </a:cubicBezTo>
                <a:lnTo>
                  <a:pt x="955" y="2911"/>
                </a:lnTo>
                <a:cubicBezTo>
                  <a:pt x="1289" y="2911"/>
                  <a:pt x="1575" y="3198"/>
                  <a:pt x="1575" y="3532"/>
                </a:cubicBezTo>
                <a:close/>
                <a:moveTo>
                  <a:pt x="3214" y="2625"/>
                </a:moveTo>
                <a:cubicBezTo>
                  <a:pt x="3214" y="2816"/>
                  <a:pt x="3055" y="2959"/>
                  <a:pt x="2864" y="2959"/>
                </a:cubicBezTo>
                <a:cubicBezTo>
                  <a:pt x="2673" y="2959"/>
                  <a:pt x="2514" y="2816"/>
                  <a:pt x="2514" y="2625"/>
                </a:cubicBezTo>
                <a:cubicBezTo>
                  <a:pt x="2514" y="2434"/>
                  <a:pt x="2673" y="2275"/>
                  <a:pt x="2864" y="2275"/>
                </a:cubicBezTo>
                <a:cubicBezTo>
                  <a:pt x="3055" y="2275"/>
                  <a:pt x="3214" y="2434"/>
                  <a:pt x="3214" y="2625"/>
                </a:cubicBezTo>
                <a:close/>
                <a:moveTo>
                  <a:pt x="525" y="2195"/>
                </a:moveTo>
                <a:cubicBezTo>
                  <a:pt x="525" y="2005"/>
                  <a:pt x="669" y="1845"/>
                  <a:pt x="859" y="1845"/>
                </a:cubicBezTo>
                <a:cubicBezTo>
                  <a:pt x="1050" y="1845"/>
                  <a:pt x="1209" y="2005"/>
                  <a:pt x="1209" y="2195"/>
                </a:cubicBezTo>
                <a:cubicBezTo>
                  <a:pt x="1209" y="2386"/>
                  <a:pt x="1050" y="2529"/>
                  <a:pt x="859" y="2529"/>
                </a:cubicBezTo>
                <a:cubicBezTo>
                  <a:pt x="669" y="2529"/>
                  <a:pt x="525" y="2386"/>
                  <a:pt x="525" y="2195"/>
                </a:cubicBezTo>
                <a:close/>
                <a:moveTo>
                  <a:pt x="1130" y="2625"/>
                </a:moveTo>
                <a:cubicBezTo>
                  <a:pt x="1273" y="2529"/>
                  <a:pt x="1369" y="2371"/>
                  <a:pt x="1369" y="2195"/>
                </a:cubicBezTo>
                <a:cubicBezTo>
                  <a:pt x="1369" y="2005"/>
                  <a:pt x="1273" y="1845"/>
                  <a:pt x="1130" y="1766"/>
                </a:cubicBezTo>
                <a:cubicBezTo>
                  <a:pt x="1178" y="1448"/>
                  <a:pt x="1432" y="1225"/>
                  <a:pt x="1750" y="1225"/>
                </a:cubicBezTo>
                <a:lnTo>
                  <a:pt x="1909" y="1225"/>
                </a:lnTo>
                <a:cubicBezTo>
                  <a:pt x="2260" y="1225"/>
                  <a:pt x="2530" y="1511"/>
                  <a:pt x="2530" y="1845"/>
                </a:cubicBezTo>
                <a:lnTo>
                  <a:pt x="2530" y="2243"/>
                </a:lnTo>
                <a:cubicBezTo>
                  <a:pt x="2418" y="2323"/>
                  <a:pt x="2355" y="2466"/>
                  <a:pt x="2355" y="2625"/>
                </a:cubicBezTo>
                <a:cubicBezTo>
                  <a:pt x="2355" y="2689"/>
                  <a:pt x="2371" y="2768"/>
                  <a:pt x="2403" y="2832"/>
                </a:cubicBezTo>
                <a:lnTo>
                  <a:pt x="1289" y="2832"/>
                </a:lnTo>
                <a:cubicBezTo>
                  <a:pt x="1241" y="2800"/>
                  <a:pt x="1178" y="2784"/>
                  <a:pt x="1130" y="2768"/>
                </a:cubicBezTo>
                <a:close/>
                <a:moveTo>
                  <a:pt x="2339" y="493"/>
                </a:moveTo>
                <a:cubicBezTo>
                  <a:pt x="2339" y="223"/>
                  <a:pt x="2100" y="0"/>
                  <a:pt x="1830" y="0"/>
                </a:cubicBezTo>
                <a:cubicBezTo>
                  <a:pt x="1543" y="0"/>
                  <a:pt x="1321" y="223"/>
                  <a:pt x="1321" y="493"/>
                </a:cubicBezTo>
                <a:cubicBezTo>
                  <a:pt x="1321" y="780"/>
                  <a:pt x="1543" y="1002"/>
                  <a:pt x="1830" y="1002"/>
                </a:cubicBezTo>
                <a:cubicBezTo>
                  <a:pt x="2100" y="1002"/>
                  <a:pt x="2339" y="780"/>
                  <a:pt x="2339" y="493"/>
                </a:cubicBezTo>
                <a:close/>
                <a:moveTo>
                  <a:pt x="1480" y="493"/>
                </a:moveTo>
                <a:cubicBezTo>
                  <a:pt x="1480" y="302"/>
                  <a:pt x="1639" y="159"/>
                  <a:pt x="1830" y="159"/>
                </a:cubicBezTo>
                <a:cubicBezTo>
                  <a:pt x="2021" y="159"/>
                  <a:pt x="2180" y="302"/>
                  <a:pt x="2180" y="493"/>
                </a:cubicBezTo>
                <a:cubicBezTo>
                  <a:pt x="2180" y="684"/>
                  <a:pt x="2021" y="843"/>
                  <a:pt x="1830" y="843"/>
                </a:cubicBezTo>
                <a:cubicBezTo>
                  <a:pt x="1639" y="843"/>
                  <a:pt x="1480" y="684"/>
                  <a:pt x="1480" y="493"/>
                </a:cubicBezTo>
                <a:close/>
                <a:moveTo>
                  <a:pt x="2784" y="3182"/>
                </a:moveTo>
                <a:cubicBezTo>
                  <a:pt x="2355" y="3182"/>
                  <a:pt x="2005" y="3532"/>
                  <a:pt x="2005" y="3962"/>
                </a:cubicBezTo>
                <a:lnTo>
                  <a:pt x="2005" y="5027"/>
                </a:lnTo>
                <a:cubicBezTo>
                  <a:pt x="2005" y="5075"/>
                  <a:pt x="2037" y="5107"/>
                  <a:pt x="2084" y="5107"/>
                </a:cubicBezTo>
                <a:lnTo>
                  <a:pt x="3643" y="5107"/>
                </a:lnTo>
                <a:cubicBezTo>
                  <a:pt x="3691" y="5107"/>
                  <a:pt x="3723" y="5075"/>
                  <a:pt x="3723" y="5027"/>
                </a:cubicBezTo>
                <a:lnTo>
                  <a:pt x="3723" y="3962"/>
                </a:lnTo>
                <a:cubicBezTo>
                  <a:pt x="3723" y="3532"/>
                  <a:pt x="3373" y="3182"/>
                  <a:pt x="2943" y="3182"/>
                </a:cubicBezTo>
                <a:close/>
                <a:moveTo>
                  <a:pt x="3564" y="3962"/>
                </a:moveTo>
                <a:lnTo>
                  <a:pt x="3564" y="4948"/>
                </a:lnTo>
                <a:lnTo>
                  <a:pt x="2164" y="4948"/>
                </a:lnTo>
                <a:lnTo>
                  <a:pt x="2164" y="3962"/>
                </a:lnTo>
                <a:cubicBezTo>
                  <a:pt x="2164" y="3627"/>
                  <a:pt x="2434" y="3341"/>
                  <a:pt x="2784" y="3341"/>
                </a:cubicBezTo>
                <a:lnTo>
                  <a:pt x="2943" y="3341"/>
                </a:lnTo>
                <a:cubicBezTo>
                  <a:pt x="3278" y="3341"/>
                  <a:pt x="3564" y="3627"/>
                  <a:pt x="3564" y="396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5" name="Freeform: Shape 3">
            <a:extLst>
              <a:ext uri="{FF2B5EF4-FFF2-40B4-BE49-F238E27FC236}">
                <a16:creationId xmlns:a16="http://schemas.microsoft.com/office/drawing/2014/main" id="{C92D6FE2-72E6-A44E-8D4D-F30D4D427D92}"/>
              </a:ext>
            </a:extLst>
          </p:cNvPr>
          <p:cNvSpPr/>
          <p:nvPr/>
        </p:nvSpPr>
        <p:spPr>
          <a:xfrm>
            <a:off x="13917441" y="9719984"/>
            <a:ext cx="1500119" cy="1654200"/>
          </a:xfrm>
          <a:custGeom>
            <a:avLst/>
            <a:gdLst/>
            <a:ahLst/>
            <a:cxnLst>
              <a:cxn ang="3cd4">
                <a:pos x="hc" y="t"/>
              </a:cxn>
              <a:cxn ang="cd2">
                <a:pos x="l" y="vc"/>
              </a:cxn>
              <a:cxn ang="cd4">
                <a:pos x="hc" y="b"/>
              </a:cxn>
              <a:cxn ang="0">
                <a:pos x="r" y="vc"/>
              </a:cxn>
            </a:cxnLst>
            <a:rect l="l" t="t" r="r" b="b"/>
            <a:pathLst>
              <a:path w="4168" h="4596">
                <a:moveTo>
                  <a:pt x="4009" y="4517"/>
                </a:moveTo>
                <a:cubicBezTo>
                  <a:pt x="4009" y="4564"/>
                  <a:pt x="4057" y="4596"/>
                  <a:pt x="4089" y="4596"/>
                </a:cubicBezTo>
                <a:cubicBezTo>
                  <a:pt x="4137" y="4596"/>
                  <a:pt x="4168" y="4564"/>
                  <a:pt x="4168" y="4517"/>
                </a:cubicBezTo>
                <a:cubicBezTo>
                  <a:pt x="4168" y="3689"/>
                  <a:pt x="3802" y="3100"/>
                  <a:pt x="3277" y="3100"/>
                </a:cubicBezTo>
                <a:lnTo>
                  <a:pt x="3134" y="3100"/>
                </a:lnTo>
                <a:cubicBezTo>
                  <a:pt x="3436" y="2798"/>
                  <a:pt x="3595" y="2432"/>
                  <a:pt x="3595" y="2321"/>
                </a:cubicBezTo>
                <a:lnTo>
                  <a:pt x="3595" y="1430"/>
                </a:lnTo>
                <a:lnTo>
                  <a:pt x="3595" y="1414"/>
                </a:lnTo>
                <a:cubicBezTo>
                  <a:pt x="3707" y="1112"/>
                  <a:pt x="3643" y="826"/>
                  <a:pt x="3516" y="635"/>
                </a:cubicBezTo>
                <a:cubicBezTo>
                  <a:pt x="3341" y="380"/>
                  <a:pt x="3070" y="253"/>
                  <a:pt x="2864" y="332"/>
                </a:cubicBezTo>
                <a:cubicBezTo>
                  <a:pt x="2116" y="-34"/>
                  <a:pt x="1543" y="-97"/>
                  <a:pt x="1145" y="141"/>
                </a:cubicBezTo>
                <a:cubicBezTo>
                  <a:pt x="764" y="380"/>
                  <a:pt x="684" y="826"/>
                  <a:pt x="684" y="984"/>
                </a:cubicBezTo>
                <a:lnTo>
                  <a:pt x="684" y="1032"/>
                </a:lnTo>
                <a:cubicBezTo>
                  <a:pt x="684" y="1207"/>
                  <a:pt x="684" y="1526"/>
                  <a:pt x="843" y="1700"/>
                </a:cubicBezTo>
                <a:lnTo>
                  <a:pt x="843" y="1732"/>
                </a:lnTo>
                <a:lnTo>
                  <a:pt x="843" y="2321"/>
                </a:lnTo>
                <a:cubicBezTo>
                  <a:pt x="843" y="2480"/>
                  <a:pt x="955" y="2814"/>
                  <a:pt x="1193" y="3100"/>
                </a:cubicBezTo>
                <a:lnTo>
                  <a:pt x="986" y="3100"/>
                </a:lnTo>
                <a:cubicBezTo>
                  <a:pt x="429" y="3100"/>
                  <a:pt x="0" y="3721"/>
                  <a:pt x="0" y="4517"/>
                </a:cubicBezTo>
                <a:cubicBezTo>
                  <a:pt x="0" y="4564"/>
                  <a:pt x="31" y="4596"/>
                  <a:pt x="79" y="4596"/>
                </a:cubicBezTo>
                <a:cubicBezTo>
                  <a:pt x="111" y="4596"/>
                  <a:pt x="159" y="4564"/>
                  <a:pt x="159" y="4517"/>
                </a:cubicBezTo>
                <a:cubicBezTo>
                  <a:pt x="159" y="3817"/>
                  <a:pt x="525" y="3260"/>
                  <a:pt x="986" y="3260"/>
                </a:cubicBezTo>
                <a:lnTo>
                  <a:pt x="1304" y="3260"/>
                </a:lnTo>
                <a:cubicBezTo>
                  <a:pt x="1320" y="3260"/>
                  <a:pt x="1336" y="3260"/>
                  <a:pt x="1336" y="3244"/>
                </a:cubicBezTo>
                <a:cubicBezTo>
                  <a:pt x="1543" y="3419"/>
                  <a:pt x="1798" y="3546"/>
                  <a:pt x="2116" y="3546"/>
                </a:cubicBezTo>
                <a:cubicBezTo>
                  <a:pt x="2450" y="3546"/>
                  <a:pt x="2736" y="3419"/>
                  <a:pt x="2959" y="3260"/>
                </a:cubicBezTo>
                <a:lnTo>
                  <a:pt x="2975" y="3260"/>
                </a:lnTo>
                <a:lnTo>
                  <a:pt x="3277" y="3260"/>
                </a:lnTo>
                <a:cubicBezTo>
                  <a:pt x="3707" y="3260"/>
                  <a:pt x="4009" y="3785"/>
                  <a:pt x="4009" y="4517"/>
                </a:cubicBezTo>
                <a:close/>
                <a:moveTo>
                  <a:pt x="843" y="1032"/>
                </a:moveTo>
                <a:lnTo>
                  <a:pt x="843" y="984"/>
                </a:lnTo>
                <a:cubicBezTo>
                  <a:pt x="843" y="873"/>
                  <a:pt x="922" y="475"/>
                  <a:pt x="1225" y="284"/>
                </a:cubicBezTo>
                <a:cubicBezTo>
                  <a:pt x="1368" y="189"/>
                  <a:pt x="1511" y="157"/>
                  <a:pt x="1702" y="157"/>
                </a:cubicBezTo>
                <a:cubicBezTo>
                  <a:pt x="2004" y="157"/>
                  <a:pt x="2386" y="269"/>
                  <a:pt x="2832" y="491"/>
                </a:cubicBezTo>
                <a:lnTo>
                  <a:pt x="2895" y="491"/>
                </a:lnTo>
                <a:cubicBezTo>
                  <a:pt x="3023" y="427"/>
                  <a:pt x="3246" y="523"/>
                  <a:pt x="3373" y="714"/>
                </a:cubicBezTo>
                <a:cubicBezTo>
                  <a:pt x="3452" y="826"/>
                  <a:pt x="3659" y="1223"/>
                  <a:pt x="3229" y="1653"/>
                </a:cubicBezTo>
                <a:cubicBezTo>
                  <a:pt x="2895" y="1462"/>
                  <a:pt x="2752" y="1127"/>
                  <a:pt x="2752" y="984"/>
                </a:cubicBezTo>
                <a:cubicBezTo>
                  <a:pt x="2752" y="937"/>
                  <a:pt x="2720" y="905"/>
                  <a:pt x="2673" y="905"/>
                </a:cubicBezTo>
                <a:cubicBezTo>
                  <a:pt x="2466" y="905"/>
                  <a:pt x="2275" y="1080"/>
                  <a:pt x="2227" y="1287"/>
                </a:cubicBezTo>
                <a:cubicBezTo>
                  <a:pt x="2100" y="1239"/>
                  <a:pt x="1989" y="1112"/>
                  <a:pt x="1989" y="984"/>
                </a:cubicBezTo>
                <a:cubicBezTo>
                  <a:pt x="1989" y="937"/>
                  <a:pt x="1956" y="905"/>
                  <a:pt x="1909" y="905"/>
                </a:cubicBezTo>
                <a:cubicBezTo>
                  <a:pt x="1702" y="905"/>
                  <a:pt x="1129" y="1096"/>
                  <a:pt x="1066" y="1669"/>
                </a:cubicBezTo>
                <a:cubicBezTo>
                  <a:pt x="1034" y="1653"/>
                  <a:pt x="1002" y="1637"/>
                  <a:pt x="970" y="1605"/>
                </a:cubicBezTo>
                <a:cubicBezTo>
                  <a:pt x="843" y="1478"/>
                  <a:pt x="843" y="1191"/>
                  <a:pt x="843" y="1032"/>
                </a:cubicBezTo>
                <a:close/>
                <a:moveTo>
                  <a:pt x="1002" y="2321"/>
                </a:moveTo>
                <a:lnTo>
                  <a:pt x="1002" y="1812"/>
                </a:lnTo>
                <a:cubicBezTo>
                  <a:pt x="1050" y="1828"/>
                  <a:pt x="1098" y="1828"/>
                  <a:pt x="1145" y="1828"/>
                </a:cubicBezTo>
                <a:cubicBezTo>
                  <a:pt x="1193" y="1828"/>
                  <a:pt x="1225" y="1796"/>
                  <a:pt x="1225" y="1748"/>
                </a:cubicBezTo>
                <a:cubicBezTo>
                  <a:pt x="1225" y="1287"/>
                  <a:pt x="1638" y="1112"/>
                  <a:pt x="1845" y="1080"/>
                </a:cubicBezTo>
                <a:cubicBezTo>
                  <a:pt x="1893" y="1271"/>
                  <a:pt x="2084" y="1446"/>
                  <a:pt x="2291" y="1446"/>
                </a:cubicBezTo>
                <a:cubicBezTo>
                  <a:pt x="2338" y="1446"/>
                  <a:pt x="2370" y="1414"/>
                  <a:pt x="2370" y="1366"/>
                </a:cubicBezTo>
                <a:cubicBezTo>
                  <a:pt x="2370" y="1239"/>
                  <a:pt x="2482" y="1112"/>
                  <a:pt x="2593" y="1080"/>
                </a:cubicBezTo>
                <a:cubicBezTo>
                  <a:pt x="2641" y="1303"/>
                  <a:pt x="2847" y="1637"/>
                  <a:pt x="3214" y="1828"/>
                </a:cubicBezTo>
                <a:lnTo>
                  <a:pt x="3246" y="1828"/>
                </a:lnTo>
                <a:cubicBezTo>
                  <a:pt x="3261" y="1828"/>
                  <a:pt x="3277" y="1828"/>
                  <a:pt x="3293" y="1812"/>
                </a:cubicBezTo>
                <a:cubicBezTo>
                  <a:pt x="3341" y="1764"/>
                  <a:pt x="3389" y="1717"/>
                  <a:pt x="3436" y="1669"/>
                </a:cubicBezTo>
                <a:lnTo>
                  <a:pt x="3436" y="2321"/>
                </a:lnTo>
                <a:cubicBezTo>
                  <a:pt x="3436" y="2448"/>
                  <a:pt x="3007" y="3387"/>
                  <a:pt x="2116" y="3387"/>
                </a:cubicBezTo>
                <a:cubicBezTo>
                  <a:pt x="1304" y="3387"/>
                  <a:pt x="1002" y="2480"/>
                  <a:pt x="1002" y="2321"/>
                </a:cubicBezTo>
                <a:close/>
                <a:moveTo>
                  <a:pt x="3023" y="4485"/>
                </a:moveTo>
                <a:cubicBezTo>
                  <a:pt x="3055" y="4517"/>
                  <a:pt x="3102" y="4500"/>
                  <a:pt x="3134" y="4453"/>
                </a:cubicBezTo>
                <a:lnTo>
                  <a:pt x="3309" y="4151"/>
                </a:lnTo>
                <a:cubicBezTo>
                  <a:pt x="3325" y="4103"/>
                  <a:pt x="3325" y="4071"/>
                  <a:pt x="3293" y="4039"/>
                </a:cubicBezTo>
                <a:lnTo>
                  <a:pt x="2911" y="3721"/>
                </a:lnTo>
                <a:cubicBezTo>
                  <a:pt x="2895" y="3721"/>
                  <a:pt x="2880" y="3705"/>
                  <a:pt x="2864" y="3705"/>
                </a:cubicBezTo>
                <a:lnTo>
                  <a:pt x="1336" y="3705"/>
                </a:lnTo>
                <a:cubicBezTo>
                  <a:pt x="1320" y="3705"/>
                  <a:pt x="1304" y="3721"/>
                  <a:pt x="1289" y="3721"/>
                </a:cubicBezTo>
                <a:lnTo>
                  <a:pt x="907" y="4039"/>
                </a:lnTo>
                <a:cubicBezTo>
                  <a:pt x="875" y="4071"/>
                  <a:pt x="875" y="4103"/>
                  <a:pt x="891" y="4135"/>
                </a:cubicBezTo>
                <a:lnTo>
                  <a:pt x="1066" y="4485"/>
                </a:lnTo>
                <a:cubicBezTo>
                  <a:pt x="1082" y="4517"/>
                  <a:pt x="1113" y="4532"/>
                  <a:pt x="1145" y="4532"/>
                </a:cubicBezTo>
                <a:cubicBezTo>
                  <a:pt x="1155" y="4527"/>
                  <a:pt x="1161" y="4532"/>
                  <a:pt x="1177" y="4517"/>
                </a:cubicBezTo>
                <a:cubicBezTo>
                  <a:pt x="1209" y="4500"/>
                  <a:pt x="1225" y="4453"/>
                  <a:pt x="1209" y="4421"/>
                </a:cubicBezTo>
                <a:lnTo>
                  <a:pt x="1050" y="4119"/>
                </a:lnTo>
                <a:lnTo>
                  <a:pt x="1368" y="3864"/>
                </a:lnTo>
                <a:lnTo>
                  <a:pt x="2832" y="3864"/>
                </a:lnTo>
                <a:lnTo>
                  <a:pt x="3134" y="4119"/>
                </a:lnTo>
                <a:lnTo>
                  <a:pt x="2991" y="4373"/>
                </a:lnTo>
                <a:cubicBezTo>
                  <a:pt x="2975" y="4421"/>
                  <a:pt x="2975" y="4469"/>
                  <a:pt x="3023" y="448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6" name="TextBox 95">
            <a:extLst>
              <a:ext uri="{FF2B5EF4-FFF2-40B4-BE49-F238E27FC236}">
                <a16:creationId xmlns:a16="http://schemas.microsoft.com/office/drawing/2014/main" id="{3A099319-73E6-0D4C-8D4C-711BE29A04F1}"/>
              </a:ext>
            </a:extLst>
          </p:cNvPr>
          <p:cNvSpPr txBox="1"/>
          <p:nvPr/>
        </p:nvSpPr>
        <p:spPr>
          <a:xfrm>
            <a:off x="994300" y="11650973"/>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uard</a:t>
            </a:r>
          </a:p>
        </p:txBody>
      </p:sp>
      <p:sp>
        <p:nvSpPr>
          <p:cNvPr id="97" name="TextBox 96">
            <a:extLst>
              <a:ext uri="{FF2B5EF4-FFF2-40B4-BE49-F238E27FC236}">
                <a16:creationId xmlns:a16="http://schemas.microsoft.com/office/drawing/2014/main" id="{603BEAC1-16A8-244D-945C-7E30349FB8B1}"/>
              </a:ext>
            </a:extLst>
          </p:cNvPr>
          <p:cNvSpPr txBox="1"/>
          <p:nvPr/>
        </p:nvSpPr>
        <p:spPr>
          <a:xfrm>
            <a:off x="20318784" y="11650973"/>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erson Glasses</a:t>
            </a:r>
          </a:p>
        </p:txBody>
      </p:sp>
      <p:sp>
        <p:nvSpPr>
          <p:cNvPr id="98" name="TextBox 97">
            <a:extLst>
              <a:ext uri="{FF2B5EF4-FFF2-40B4-BE49-F238E27FC236}">
                <a16:creationId xmlns:a16="http://schemas.microsoft.com/office/drawing/2014/main" id="{97400C22-AEE3-CC4D-A0B5-D9B91D19022C}"/>
              </a:ext>
            </a:extLst>
          </p:cNvPr>
          <p:cNvSpPr txBox="1"/>
          <p:nvPr/>
        </p:nvSpPr>
        <p:spPr>
          <a:xfrm>
            <a:off x="16639473" y="11654200"/>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y 2</a:t>
            </a:r>
          </a:p>
        </p:txBody>
      </p:sp>
      <p:sp>
        <p:nvSpPr>
          <p:cNvPr id="99" name="Freeform: Shape 5">
            <a:extLst>
              <a:ext uri="{FF2B5EF4-FFF2-40B4-BE49-F238E27FC236}">
                <a16:creationId xmlns:a16="http://schemas.microsoft.com/office/drawing/2014/main" id="{184B97EC-925F-D646-AAFF-3F07E71AAAE1}"/>
              </a:ext>
            </a:extLst>
          </p:cNvPr>
          <p:cNvSpPr/>
          <p:nvPr/>
        </p:nvSpPr>
        <p:spPr>
          <a:xfrm>
            <a:off x="17364330" y="9484807"/>
            <a:ext cx="1460160" cy="1591560"/>
          </a:xfrm>
          <a:custGeom>
            <a:avLst/>
            <a:gdLst/>
            <a:ahLst/>
            <a:cxnLst>
              <a:cxn ang="3cd4">
                <a:pos x="hc" y="t"/>
              </a:cxn>
              <a:cxn ang="cd2">
                <a:pos x="l" y="vc"/>
              </a:cxn>
              <a:cxn ang="cd4">
                <a:pos x="hc" y="b"/>
              </a:cxn>
              <a:cxn ang="0">
                <a:pos x="r" y="vc"/>
              </a:cxn>
            </a:cxnLst>
            <a:rect l="l" t="t" r="r" b="b"/>
            <a:pathLst>
              <a:path w="4057" h="4422">
                <a:moveTo>
                  <a:pt x="1193" y="1750"/>
                </a:moveTo>
                <a:cubicBezTo>
                  <a:pt x="1193" y="2004"/>
                  <a:pt x="1193" y="2004"/>
                  <a:pt x="1193" y="2004"/>
                </a:cubicBezTo>
                <a:cubicBezTo>
                  <a:pt x="1193" y="2131"/>
                  <a:pt x="1209" y="2354"/>
                  <a:pt x="1321" y="2434"/>
                </a:cubicBezTo>
                <a:cubicBezTo>
                  <a:pt x="1336" y="2768"/>
                  <a:pt x="1511" y="3150"/>
                  <a:pt x="1782" y="3388"/>
                </a:cubicBezTo>
                <a:cubicBezTo>
                  <a:pt x="1639" y="3404"/>
                  <a:pt x="1496" y="3404"/>
                  <a:pt x="1464" y="3404"/>
                </a:cubicBezTo>
                <a:cubicBezTo>
                  <a:pt x="987" y="3468"/>
                  <a:pt x="636" y="3866"/>
                  <a:pt x="636" y="4343"/>
                </a:cubicBezTo>
                <a:cubicBezTo>
                  <a:pt x="636" y="4391"/>
                  <a:pt x="668" y="4422"/>
                  <a:pt x="716" y="4422"/>
                </a:cubicBezTo>
                <a:cubicBezTo>
                  <a:pt x="748" y="4422"/>
                  <a:pt x="796" y="4391"/>
                  <a:pt x="796" y="4343"/>
                </a:cubicBezTo>
                <a:cubicBezTo>
                  <a:pt x="796" y="3945"/>
                  <a:pt x="1082" y="3611"/>
                  <a:pt x="1479" y="3564"/>
                </a:cubicBezTo>
                <a:cubicBezTo>
                  <a:pt x="1511" y="3564"/>
                  <a:pt x="1878" y="3547"/>
                  <a:pt x="2005" y="3547"/>
                </a:cubicBezTo>
                <a:cubicBezTo>
                  <a:pt x="2116" y="3627"/>
                  <a:pt x="2259" y="3659"/>
                  <a:pt x="2402" y="3659"/>
                </a:cubicBezTo>
                <a:cubicBezTo>
                  <a:pt x="2546" y="3659"/>
                  <a:pt x="2673" y="3627"/>
                  <a:pt x="2800" y="3547"/>
                </a:cubicBezTo>
                <a:cubicBezTo>
                  <a:pt x="2896" y="3547"/>
                  <a:pt x="3150" y="3564"/>
                  <a:pt x="3182" y="3564"/>
                </a:cubicBezTo>
                <a:cubicBezTo>
                  <a:pt x="3580" y="3595"/>
                  <a:pt x="3898" y="3945"/>
                  <a:pt x="3898" y="4343"/>
                </a:cubicBezTo>
                <a:cubicBezTo>
                  <a:pt x="3898" y="4391"/>
                  <a:pt x="3930" y="4422"/>
                  <a:pt x="3978" y="4422"/>
                </a:cubicBezTo>
                <a:cubicBezTo>
                  <a:pt x="4009" y="4422"/>
                  <a:pt x="4057" y="4391"/>
                  <a:pt x="4057" y="4343"/>
                </a:cubicBezTo>
                <a:cubicBezTo>
                  <a:pt x="4057" y="3866"/>
                  <a:pt x="3691" y="3452"/>
                  <a:pt x="3198" y="3404"/>
                </a:cubicBezTo>
                <a:cubicBezTo>
                  <a:pt x="3182" y="3404"/>
                  <a:pt x="3102" y="3404"/>
                  <a:pt x="3007" y="3388"/>
                </a:cubicBezTo>
                <a:cubicBezTo>
                  <a:pt x="3278" y="3150"/>
                  <a:pt x="3452" y="2768"/>
                  <a:pt x="3469" y="2434"/>
                </a:cubicBezTo>
                <a:cubicBezTo>
                  <a:pt x="3484" y="2418"/>
                  <a:pt x="3484" y="2418"/>
                  <a:pt x="3484" y="2402"/>
                </a:cubicBezTo>
                <a:cubicBezTo>
                  <a:pt x="3564" y="2338"/>
                  <a:pt x="3580" y="2179"/>
                  <a:pt x="3580" y="2004"/>
                </a:cubicBezTo>
                <a:cubicBezTo>
                  <a:pt x="3580" y="1750"/>
                  <a:pt x="3580" y="1750"/>
                  <a:pt x="3580" y="1750"/>
                </a:cubicBezTo>
                <a:cubicBezTo>
                  <a:pt x="3580" y="1734"/>
                  <a:pt x="3580" y="1718"/>
                  <a:pt x="3580" y="1702"/>
                </a:cubicBezTo>
                <a:cubicBezTo>
                  <a:pt x="3580" y="1638"/>
                  <a:pt x="3580" y="1559"/>
                  <a:pt x="3532" y="1495"/>
                </a:cubicBezTo>
                <a:cubicBezTo>
                  <a:pt x="3739" y="1495"/>
                  <a:pt x="3739" y="1495"/>
                  <a:pt x="3739" y="1495"/>
                </a:cubicBezTo>
                <a:cubicBezTo>
                  <a:pt x="3770" y="1495"/>
                  <a:pt x="3818" y="1463"/>
                  <a:pt x="3818" y="1416"/>
                </a:cubicBezTo>
                <a:cubicBezTo>
                  <a:pt x="3818" y="1368"/>
                  <a:pt x="3770" y="1336"/>
                  <a:pt x="3739" y="1336"/>
                </a:cubicBezTo>
                <a:cubicBezTo>
                  <a:pt x="3580" y="1336"/>
                  <a:pt x="3580" y="1336"/>
                  <a:pt x="3580" y="1336"/>
                </a:cubicBezTo>
                <a:cubicBezTo>
                  <a:pt x="3580" y="1209"/>
                  <a:pt x="3580" y="1209"/>
                  <a:pt x="3580" y="1209"/>
                </a:cubicBezTo>
                <a:cubicBezTo>
                  <a:pt x="3580" y="540"/>
                  <a:pt x="3055" y="0"/>
                  <a:pt x="2386" y="0"/>
                </a:cubicBezTo>
                <a:cubicBezTo>
                  <a:pt x="1718" y="0"/>
                  <a:pt x="1193" y="540"/>
                  <a:pt x="1193" y="1209"/>
                </a:cubicBezTo>
                <a:cubicBezTo>
                  <a:pt x="1193" y="1336"/>
                  <a:pt x="1193" y="1336"/>
                  <a:pt x="1193" y="1336"/>
                </a:cubicBezTo>
                <a:cubicBezTo>
                  <a:pt x="79" y="1336"/>
                  <a:pt x="79" y="1336"/>
                  <a:pt x="79" y="1336"/>
                </a:cubicBezTo>
                <a:cubicBezTo>
                  <a:pt x="32" y="1336"/>
                  <a:pt x="0" y="1368"/>
                  <a:pt x="0" y="1416"/>
                </a:cubicBezTo>
                <a:cubicBezTo>
                  <a:pt x="0" y="1463"/>
                  <a:pt x="32" y="1495"/>
                  <a:pt x="79" y="1495"/>
                </a:cubicBezTo>
                <a:cubicBezTo>
                  <a:pt x="1257" y="1495"/>
                  <a:pt x="1257" y="1495"/>
                  <a:pt x="1257" y="1495"/>
                </a:cubicBezTo>
                <a:cubicBezTo>
                  <a:pt x="1193" y="1574"/>
                  <a:pt x="1193" y="1686"/>
                  <a:pt x="1193" y="1750"/>
                </a:cubicBezTo>
                <a:close/>
                <a:moveTo>
                  <a:pt x="3341" y="1591"/>
                </a:moveTo>
                <a:cubicBezTo>
                  <a:pt x="3373" y="1591"/>
                  <a:pt x="3405" y="1591"/>
                  <a:pt x="3405" y="1607"/>
                </a:cubicBezTo>
                <a:cubicBezTo>
                  <a:pt x="3421" y="1607"/>
                  <a:pt x="3421" y="1670"/>
                  <a:pt x="3421" y="1702"/>
                </a:cubicBezTo>
                <a:cubicBezTo>
                  <a:pt x="3421" y="1718"/>
                  <a:pt x="3421" y="1734"/>
                  <a:pt x="3421" y="1750"/>
                </a:cubicBezTo>
                <a:cubicBezTo>
                  <a:pt x="3421" y="2020"/>
                  <a:pt x="3421" y="2020"/>
                  <a:pt x="3421" y="2020"/>
                </a:cubicBezTo>
                <a:cubicBezTo>
                  <a:pt x="3421" y="2227"/>
                  <a:pt x="3389" y="2275"/>
                  <a:pt x="3389" y="2291"/>
                </a:cubicBezTo>
                <a:cubicBezTo>
                  <a:pt x="3341" y="2291"/>
                  <a:pt x="3309" y="2322"/>
                  <a:pt x="3309" y="2370"/>
                </a:cubicBezTo>
                <a:cubicBezTo>
                  <a:pt x="3309" y="2879"/>
                  <a:pt x="2896" y="3500"/>
                  <a:pt x="2402" y="3500"/>
                </a:cubicBezTo>
                <a:cubicBezTo>
                  <a:pt x="2291" y="3500"/>
                  <a:pt x="2179" y="3468"/>
                  <a:pt x="2068" y="3404"/>
                </a:cubicBezTo>
                <a:lnTo>
                  <a:pt x="2052" y="3404"/>
                </a:lnTo>
                <a:cubicBezTo>
                  <a:pt x="1718" y="3198"/>
                  <a:pt x="1479" y="2752"/>
                  <a:pt x="1479" y="2370"/>
                </a:cubicBezTo>
                <a:cubicBezTo>
                  <a:pt x="1479" y="2322"/>
                  <a:pt x="1448" y="2291"/>
                  <a:pt x="1400" y="2291"/>
                </a:cubicBezTo>
                <a:cubicBezTo>
                  <a:pt x="1384" y="2275"/>
                  <a:pt x="1352" y="2164"/>
                  <a:pt x="1352" y="2004"/>
                </a:cubicBezTo>
                <a:cubicBezTo>
                  <a:pt x="1352" y="1750"/>
                  <a:pt x="1352" y="1750"/>
                  <a:pt x="1352" y="1750"/>
                </a:cubicBezTo>
                <a:cubicBezTo>
                  <a:pt x="1352" y="1591"/>
                  <a:pt x="1368" y="1591"/>
                  <a:pt x="1432" y="1591"/>
                </a:cubicBezTo>
                <a:cubicBezTo>
                  <a:pt x="1479" y="1591"/>
                  <a:pt x="1511" y="1543"/>
                  <a:pt x="1511" y="1511"/>
                </a:cubicBezTo>
                <a:cubicBezTo>
                  <a:pt x="1511" y="1495"/>
                  <a:pt x="1511" y="1495"/>
                  <a:pt x="1511" y="1495"/>
                </a:cubicBezTo>
                <a:cubicBezTo>
                  <a:pt x="3261" y="1495"/>
                  <a:pt x="3261" y="1495"/>
                  <a:pt x="3261" y="1495"/>
                </a:cubicBezTo>
                <a:lnTo>
                  <a:pt x="3261" y="1511"/>
                </a:lnTo>
                <a:cubicBezTo>
                  <a:pt x="3261" y="1543"/>
                  <a:pt x="3293" y="1591"/>
                  <a:pt x="3341" y="1591"/>
                </a:cubicBezTo>
                <a:close/>
                <a:moveTo>
                  <a:pt x="1352" y="1209"/>
                </a:moveTo>
                <a:cubicBezTo>
                  <a:pt x="1352" y="620"/>
                  <a:pt x="1798" y="159"/>
                  <a:pt x="2386" y="159"/>
                </a:cubicBezTo>
                <a:cubicBezTo>
                  <a:pt x="2959" y="159"/>
                  <a:pt x="3421" y="620"/>
                  <a:pt x="3421" y="1209"/>
                </a:cubicBezTo>
                <a:cubicBezTo>
                  <a:pt x="3421" y="1336"/>
                  <a:pt x="3421" y="1336"/>
                  <a:pt x="3421" y="1336"/>
                </a:cubicBezTo>
                <a:cubicBezTo>
                  <a:pt x="1352" y="1336"/>
                  <a:pt x="1352" y="1336"/>
                  <a:pt x="1352" y="133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0" name="Freeform: Shape 16">
            <a:extLst>
              <a:ext uri="{FF2B5EF4-FFF2-40B4-BE49-F238E27FC236}">
                <a16:creationId xmlns:a16="http://schemas.microsoft.com/office/drawing/2014/main" id="{63CA77E6-6514-8C45-AC23-490F18DE4732}"/>
              </a:ext>
            </a:extLst>
          </p:cNvPr>
          <p:cNvSpPr/>
          <p:nvPr/>
        </p:nvSpPr>
        <p:spPr>
          <a:xfrm>
            <a:off x="21227697" y="9444695"/>
            <a:ext cx="1563480" cy="1626119"/>
          </a:xfrm>
          <a:custGeom>
            <a:avLst/>
            <a:gdLst/>
            <a:ahLst/>
            <a:cxnLst>
              <a:cxn ang="3cd4">
                <a:pos x="hc" y="t"/>
              </a:cxn>
              <a:cxn ang="cd2">
                <a:pos x="l" y="vc"/>
              </a:cxn>
              <a:cxn ang="cd4">
                <a:pos x="hc" y="b"/>
              </a:cxn>
              <a:cxn ang="0">
                <a:pos x="r" y="vc"/>
              </a:cxn>
            </a:cxnLst>
            <a:rect l="l" t="t" r="r" b="b"/>
            <a:pathLst>
              <a:path w="4344" h="4518">
                <a:moveTo>
                  <a:pt x="3357" y="2959"/>
                </a:moveTo>
                <a:cubicBezTo>
                  <a:pt x="3166" y="2959"/>
                  <a:pt x="3166" y="2959"/>
                  <a:pt x="3166" y="2959"/>
                </a:cubicBezTo>
                <a:cubicBezTo>
                  <a:pt x="3501" y="2657"/>
                  <a:pt x="3739" y="2275"/>
                  <a:pt x="3739" y="2148"/>
                </a:cubicBezTo>
                <a:cubicBezTo>
                  <a:pt x="3739" y="1400"/>
                  <a:pt x="3739" y="1400"/>
                  <a:pt x="3739" y="1400"/>
                </a:cubicBezTo>
                <a:cubicBezTo>
                  <a:pt x="3739" y="1384"/>
                  <a:pt x="3755" y="1384"/>
                  <a:pt x="3755" y="1368"/>
                </a:cubicBezTo>
                <a:cubicBezTo>
                  <a:pt x="3835" y="1209"/>
                  <a:pt x="3755" y="1049"/>
                  <a:pt x="3707" y="922"/>
                </a:cubicBezTo>
                <a:cubicBezTo>
                  <a:pt x="3675" y="858"/>
                  <a:pt x="3659" y="795"/>
                  <a:pt x="3659" y="763"/>
                </a:cubicBezTo>
                <a:cubicBezTo>
                  <a:pt x="3659" y="620"/>
                  <a:pt x="3564" y="429"/>
                  <a:pt x="3278" y="286"/>
                </a:cubicBezTo>
                <a:cubicBezTo>
                  <a:pt x="3310" y="238"/>
                  <a:pt x="3357" y="238"/>
                  <a:pt x="3373" y="238"/>
                </a:cubicBezTo>
                <a:cubicBezTo>
                  <a:pt x="3405" y="238"/>
                  <a:pt x="3437" y="222"/>
                  <a:pt x="3453" y="190"/>
                </a:cubicBezTo>
                <a:cubicBezTo>
                  <a:pt x="3468" y="158"/>
                  <a:pt x="3453" y="127"/>
                  <a:pt x="3437" y="111"/>
                </a:cubicBezTo>
                <a:cubicBezTo>
                  <a:pt x="3357" y="31"/>
                  <a:pt x="3278" y="0"/>
                  <a:pt x="3150" y="0"/>
                </a:cubicBezTo>
                <a:cubicBezTo>
                  <a:pt x="3039" y="0"/>
                  <a:pt x="2912" y="63"/>
                  <a:pt x="2816" y="143"/>
                </a:cubicBezTo>
                <a:cubicBezTo>
                  <a:pt x="2641" y="95"/>
                  <a:pt x="2419" y="79"/>
                  <a:pt x="2196" y="79"/>
                </a:cubicBezTo>
                <a:cubicBezTo>
                  <a:pt x="1034" y="79"/>
                  <a:pt x="716" y="509"/>
                  <a:pt x="716" y="763"/>
                </a:cubicBezTo>
                <a:cubicBezTo>
                  <a:pt x="716" y="795"/>
                  <a:pt x="684" y="827"/>
                  <a:pt x="668" y="875"/>
                </a:cubicBezTo>
                <a:cubicBezTo>
                  <a:pt x="589" y="1002"/>
                  <a:pt x="509" y="1129"/>
                  <a:pt x="557" y="1304"/>
                </a:cubicBezTo>
                <a:cubicBezTo>
                  <a:pt x="557" y="1320"/>
                  <a:pt x="557" y="1320"/>
                  <a:pt x="557" y="1320"/>
                </a:cubicBezTo>
                <a:cubicBezTo>
                  <a:pt x="557" y="2148"/>
                  <a:pt x="557" y="2148"/>
                  <a:pt x="557" y="2148"/>
                </a:cubicBezTo>
                <a:cubicBezTo>
                  <a:pt x="557" y="2275"/>
                  <a:pt x="796" y="2657"/>
                  <a:pt x="1146" y="2959"/>
                </a:cubicBezTo>
                <a:cubicBezTo>
                  <a:pt x="939" y="2959"/>
                  <a:pt x="939" y="2959"/>
                  <a:pt x="939" y="2959"/>
                </a:cubicBezTo>
                <a:cubicBezTo>
                  <a:pt x="398" y="2959"/>
                  <a:pt x="0" y="3595"/>
                  <a:pt x="0" y="4439"/>
                </a:cubicBezTo>
                <a:cubicBezTo>
                  <a:pt x="0" y="4470"/>
                  <a:pt x="32" y="4518"/>
                  <a:pt x="80" y="4518"/>
                </a:cubicBezTo>
                <a:cubicBezTo>
                  <a:pt x="128" y="4518"/>
                  <a:pt x="159" y="4470"/>
                  <a:pt x="159" y="4439"/>
                </a:cubicBezTo>
                <a:cubicBezTo>
                  <a:pt x="159" y="3691"/>
                  <a:pt x="509" y="3118"/>
                  <a:pt x="939" y="3118"/>
                </a:cubicBezTo>
                <a:cubicBezTo>
                  <a:pt x="1337" y="3118"/>
                  <a:pt x="1337" y="3118"/>
                  <a:pt x="1337" y="3118"/>
                </a:cubicBezTo>
                <a:cubicBezTo>
                  <a:pt x="1575" y="3293"/>
                  <a:pt x="1862" y="3420"/>
                  <a:pt x="2148" y="3420"/>
                </a:cubicBezTo>
                <a:cubicBezTo>
                  <a:pt x="2434" y="3420"/>
                  <a:pt x="2721" y="3293"/>
                  <a:pt x="2959" y="3118"/>
                </a:cubicBezTo>
                <a:cubicBezTo>
                  <a:pt x="3357" y="3118"/>
                  <a:pt x="3357" y="3118"/>
                  <a:pt x="3357" y="3118"/>
                </a:cubicBezTo>
                <a:cubicBezTo>
                  <a:pt x="3819" y="3118"/>
                  <a:pt x="4184" y="3691"/>
                  <a:pt x="4184" y="4439"/>
                </a:cubicBezTo>
                <a:cubicBezTo>
                  <a:pt x="4184" y="4470"/>
                  <a:pt x="4216" y="4518"/>
                  <a:pt x="4264" y="4518"/>
                </a:cubicBezTo>
                <a:cubicBezTo>
                  <a:pt x="4312" y="4518"/>
                  <a:pt x="4344" y="4470"/>
                  <a:pt x="4344" y="4439"/>
                </a:cubicBezTo>
                <a:cubicBezTo>
                  <a:pt x="4344" y="3595"/>
                  <a:pt x="3914" y="2959"/>
                  <a:pt x="3357" y="2959"/>
                </a:cubicBezTo>
                <a:close/>
                <a:moveTo>
                  <a:pt x="796" y="954"/>
                </a:moveTo>
                <a:cubicBezTo>
                  <a:pt x="843" y="891"/>
                  <a:pt x="875" y="827"/>
                  <a:pt x="875" y="763"/>
                </a:cubicBezTo>
                <a:cubicBezTo>
                  <a:pt x="875" y="620"/>
                  <a:pt x="1114" y="238"/>
                  <a:pt x="2196" y="238"/>
                </a:cubicBezTo>
                <a:cubicBezTo>
                  <a:pt x="2434" y="238"/>
                  <a:pt x="2641" y="270"/>
                  <a:pt x="2832" y="302"/>
                </a:cubicBezTo>
                <a:cubicBezTo>
                  <a:pt x="2864" y="302"/>
                  <a:pt x="2880" y="302"/>
                  <a:pt x="2912" y="270"/>
                </a:cubicBezTo>
                <a:cubicBezTo>
                  <a:pt x="2959" y="206"/>
                  <a:pt x="3071" y="158"/>
                  <a:pt x="3166" y="158"/>
                </a:cubicBezTo>
                <a:lnTo>
                  <a:pt x="3182" y="158"/>
                </a:lnTo>
                <a:cubicBezTo>
                  <a:pt x="3150" y="206"/>
                  <a:pt x="3118" y="254"/>
                  <a:pt x="3102" y="318"/>
                </a:cubicBezTo>
                <a:cubicBezTo>
                  <a:pt x="3102" y="349"/>
                  <a:pt x="3118" y="381"/>
                  <a:pt x="3150" y="397"/>
                </a:cubicBezTo>
                <a:cubicBezTo>
                  <a:pt x="3405" y="509"/>
                  <a:pt x="3501" y="668"/>
                  <a:pt x="3501" y="763"/>
                </a:cubicBezTo>
                <a:cubicBezTo>
                  <a:pt x="3501" y="827"/>
                  <a:pt x="3532" y="906"/>
                  <a:pt x="3564" y="970"/>
                </a:cubicBezTo>
                <a:cubicBezTo>
                  <a:pt x="3612" y="1097"/>
                  <a:pt x="3659" y="1209"/>
                  <a:pt x="3612" y="1304"/>
                </a:cubicBezTo>
                <a:cubicBezTo>
                  <a:pt x="3612" y="1304"/>
                  <a:pt x="3612" y="1320"/>
                  <a:pt x="3596" y="1320"/>
                </a:cubicBezTo>
                <a:lnTo>
                  <a:pt x="3596" y="1336"/>
                </a:lnTo>
                <a:cubicBezTo>
                  <a:pt x="3548" y="1384"/>
                  <a:pt x="3468" y="1431"/>
                  <a:pt x="3373" y="1479"/>
                </a:cubicBezTo>
                <a:cubicBezTo>
                  <a:pt x="3007" y="1463"/>
                  <a:pt x="2657" y="1097"/>
                  <a:pt x="2657" y="954"/>
                </a:cubicBezTo>
                <a:cubicBezTo>
                  <a:pt x="2657" y="922"/>
                  <a:pt x="2641" y="891"/>
                  <a:pt x="2593" y="875"/>
                </a:cubicBezTo>
                <a:cubicBezTo>
                  <a:pt x="2562" y="875"/>
                  <a:pt x="2530" y="891"/>
                  <a:pt x="2514" y="938"/>
                </a:cubicBezTo>
                <a:cubicBezTo>
                  <a:pt x="2419" y="1224"/>
                  <a:pt x="2037" y="1415"/>
                  <a:pt x="1671" y="1543"/>
                </a:cubicBezTo>
                <a:lnTo>
                  <a:pt x="1655" y="1543"/>
                </a:lnTo>
                <a:cubicBezTo>
                  <a:pt x="1400" y="1622"/>
                  <a:pt x="1146" y="1670"/>
                  <a:pt x="1018" y="1670"/>
                </a:cubicBezTo>
                <a:cubicBezTo>
                  <a:pt x="589" y="1288"/>
                  <a:pt x="700" y="1113"/>
                  <a:pt x="796" y="954"/>
                </a:cubicBezTo>
                <a:close/>
                <a:moveTo>
                  <a:pt x="2466" y="1527"/>
                </a:moveTo>
                <a:cubicBezTo>
                  <a:pt x="2419" y="1527"/>
                  <a:pt x="2387" y="1575"/>
                  <a:pt x="2387" y="1606"/>
                </a:cubicBezTo>
                <a:cubicBezTo>
                  <a:pt x="2387" y="1845"/>
                  <a:pt x="2387" y="1845"/>
                  <a:pt x="2387" y="1845"/>
                </a:cubicBezTo>
                <a:cubicBezTo>
                  <a:pt x="1910" y="1845"/>
                  <a:pt x="1910" y="1845"/>
                  <a:pt x="1910" y="1845"/>
                </a:cubicBezTo>
                <a:cubicBezTo>
                  <a:pt x="1910" y="1622"/>
                  <a:pt x="1910" y="1622"/>
                  <a:pt x="1910" y="1622"/>
                </a:cubicBezTo>
                <a:cubicBezTo>
                  <a:pt x="2180" y="1511"/>
                  <a:pt x="2434" y="1368"/>
                  <a:pt x="2578" y="1161"/>
                </a:cubicBezTo>
                <a:cubicBezTo>
                  <a:pt x="2657" y="1288"/>
                  <a:pt x="2816" y="1447"/>
                  <a:pt x="2991" y="1527"/>
                </a:cubicBezTo>
                <a:close/>
                <a:moveTo>
                  <a:pt x="3182" y="1686"/>
                </a:moveTo>
                <a:cubicBezTo>
                  <a:pt x="3182" y="2163"/>
                  <a:pt x="3182" y="2163"/>
                  <a:pt x="3182" y="2163"/>
                </a:cubicBezTo>
                <a:cubicBezTo>
                  <a:pt x="2546" y="2163"/>
                  <a:pt x="2546" y="2163"/>
                  <a:pt x="2546" y="2163"/>
                </a:cubicBezTo>
                <a:cubicBezTo>
                  <a:pt x="2546" y="1686"/>
                  <a:pt x="2546" y="1686"/>
                  <a:pt x="2546" y="1686"/>
                </a:cubicBezTo>
                <a:close/>
                <a:moveTo>
                  <a:pt x="1750" y="1686"/>
                </a:moveTo>
                <a:cubicBezTo>
                  <a:pt x="1750" y="2163"/>
                  <a:pt x="1750" y="2163"/>
                  <a:pt x="1750" y="2163"/>
                </a:cubicBezTo>
                <a:cubicBezTo>
                  <a:pt x="1114" y="2163"/>
                  <a:pt x="1114" y="2163"/>
                  <a:pt x="1114" y="2163"/>
                </a:cubicBezTo>
                <a:cubicBezTo>
                  <a:pt x="1114" y="1829"/>
                  <a:pt x="1114" y="1829"/>
                  <a:pt x="1114" y="1829"/>
                </a:cubicBezTo>
                <a:cubicBezTo>
                  <a:pt x="1257" y="1797"/>
                  <a:pt x="1464" y="1766"/>
                  <a:pt x="1702" y="1686"/>
                </a:cubicBezTo>
                <a:close/>
                <a:moveTo>
                  <a:pt x="716" y="2148"/>
                </a:moveTo>
                <a:cubicBezTo>
                  <a:pt x="716" y="1591"/>
                  <a:pt x="716" y="1591"/>
                  <a:pt x="716" y="1591"/>
                </a:cubicBezTo>
                <a:cubicBezTo>
                  <a:pt x="780" y="1654"/>
                  <a:pt x="859" y="1734"/>
                  <a:pt x="939" y="1813"/>
                </a:cubicBezTo>
                <a:cubicBezTo>
                  <a:pt x="954" y="1813"/>
                  <a:pt x="954" y="1813"/>
                  <a:pt x="954" y="1829"/>
                </a:cubicBezTo>
                <a:cubicBezTo>
                  <a:pt x="954" y="2243"/>
                  <a:pt x="954" y="2243"/>
                  <a:pt x="954" y="2243"/>
                </a:cubicBezTo>
                <a:cubicBezTo>
                  <a:pt x="954" y="2291"/>
                  <a:pt x="987" y="2322"/>
                  <a:pt x="1034" y="2322"/>
                </a:cubicBezTo>
                <a:cubicBezTo>
                  <a:pt x="1830" y="2322"/>
                  <a:pt x="1830" y="2322"/>
                  <a:pt x="1830" y="2322"/>
                </a:cubicBezTo>
                <a:cubicBezTo>
                  <a:pt x="1877" y="2322"/>
                  <a:pt x="1910" y="2291"/>
                  <a:pt x="1910" y="2243"/>
                </a:cubicBezTo>
                <a:cubicBezTo>
                  <a:pt x="1910" y="2004"/>
                  <a:pt x="1910" y="2004"/>
                  <a:pt x="1910" y="2004"/>
                </a:cubicBezTo>
                <a:cubicBezTo>
                  <a:pt x="2387" y="2004"/>
                  <a:pt x="2387" y="2004"/>
                  <a:pt x="2387" y="2004"/>
                </a:cubicBezTo>
                <a:cubicBezTo>
                  <a:pt x="2387" y="2243"/>
                  <a:pt x="2387" y="2243"/>
                  <a:pt x="2387" y="2243"/>
                </a:cubicBezTo>
                <a:cubicBezTo>
                  <a:pt x="2387" y="2291"/>
                  <a:pt x="2419" y="2322"/>
                  <a:pt x="2466" y="2322"/>
                </a:cubicBezTo>
                <a:cubicBezTo>
                  <a:pt x="3262" y="2322"/>
                  <a:pt x="3262" y="2322"/>
                  <a:pt x="3262" y="2322"/>
                </a:cubicBezTo>
                <a:cubicBezTo>
                  <a:pt x="3310" y="2322"/>
                  <a:pt x="3341" y="2291"/>
                  <a:pt x="3341" y="2243"/>
                </a:cubicBezTo>
                <a:cubicBezTo>
                  <a:pt x="3341" y="1638"/>
                  <a:pt x="3341" y="1638"/>
                  <a:pt x="3341" y="1638"/>
                </a:cubicBezTo>
                <a:cubicBezTo>
                  <a:pt x="3357" y="1638"/>
                  <a:pt x="3373" y="1638"/>
                  <a:pt x="3373" y="1638"/>
                </a:cubicBezTo>
                <a:cubicBezTo>
                  <a:pt x="3389" y="1638"/>
                  <a:pt x="3389" y="1638"/>
                  <a:pt x="3405" y="1622"/>
                </a:cubicBezTo>
                <a:cubicBezTo>
                  <a:pt x="3468" y="1606"/>
                  <a:pt x="3532" y="1575"/>
                  <a:pt x="3580" y="1558"/>
                </a:cubicBezTo>
                <a:cubicBezTo>
                  <a:pt x="3580" y="2148"/>
                  <a:pt x="3580" y="2148"/>
                  <a:pt x="3580" y="2148"/>
                </a:cubicBezTo>
                <a:cubicBezTo>
                  <a:pt x="3580" y="2306"/>
                  <a:pt x="2896" y="3261"/>
                  <a:pt x="2148" y="3261"/>
                </a:cubicBezTo>
                <a:cubicBezTo>
                  <a:pt x="1400" y="3261"/>
                  <a:pt x="716" y="2306"/>
                  <a:pt x="716" y="214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1" name="Freeform: Shape 17">
            <a:extLst>
              <a:ext uri="{FF2B5EF4-FFF2-40B4-BE49-F238E27FC236}">
                <a16:creationId xmlns:a16="http://schemas.microsoft.com/office/drawing/2014/main" id="{FDF799EB-3943-AC40-BB0B-D0056BFCBE44}"/>
              </a:ext>
            </a:extLst>
          </p:cNvPr>
          <p:cNvSpPr/>
          <p:nvPr/>
        </p:nvSpPr>
        <p:spPr>
          <a:xfrm>
            <a:off x="1928706" y="9560320"/>
            <a:ext cx="1397160" cy="1666439"/>
          </a:xfrm>
          <a:custGeom>
            <a:avLst/>
            <a:gdLst/>
            <a:ahLst/>
            <a:cxnLst>
              <a:cxn ang="3cd4">
                <a:pos x="hc" y="t"/>
              </a:cxn>
              <a:cxn ang="cd2">
                <a:pos x="l" y="vc"/>
              </a:cxn>
              <a:cxn ang="cd4">
                <a:pos x="hc" y="b"/>
              </a:cxn>
              <a:cxn ang="0">
                <a:pos x="r" y="vc"/>
              </a:cxn>
            </a:cxnLst>
            <a:rect l="l" t="t" r="r" b="b"/>
            <a:pathLst>
              <a:path w="3882" h="4630">
                <a:moveTo>
                  <a:pt x="891" y="3803"/>
                </a:moveTo>
                <a:lnTo>
                  <a:pt x="1893" y="4408"/>
                </a:lnTo>
                <a:cubicBezTo>
                  <a:pt x="1909" y="4408"/>
                  <a:pt x="1925" y="4423"/>
                  <a:pt x="1941" y="4423"/>
                </a:cubicBezTo>
                <a:cubicBezTo>
                  <a:pt x="1957" y="4423"/>
                  <a:pt x="1973" y="4408"/>
                  <a:pt x="1989" y="4408"/>
                </a:cubicBezTo>
                <a:lnTo>
                  <a:pt x="2991" y="3803"/>
                </a:lnTo>
                <a:cubicBezTo>
                  <a:pt x="3405" y="3803"/>
                  <a:pt x="3723" y="4137"/>
                  <a:pt x="3723" y="4551"/>
                </a:cubicBezTo>
                <a:cubicBezTo>
                  <a:pt x="3723" y="4582"/>
                  <a:pt x="3755" y="4630"/>
                  <a:pt x="3803" y="4630"/>
                </a:cubicBezTo>
                <a:cubicBezTo>
                  <a:pt x="3850" y="4630"/>
                  <a:pt x="3882" y="4582"/>
                  <a:pt x="3882" y="4551"/>
                </a:cubicBezTo>
                <a:cubicBezTo>
                  <a:pt x="3882" y="4042"/>
                  <a:pt x="3484" y="3644"/>
                  <a:pt x="2975" y="3644"/>
                </a:cubicBezTo>
                <a:lnTo>
                  <a:pt x="2960" y="3644"/>
                </a:lnTo>
                <a:lnTo>
                  <a:pt x="2943" y="3644"/>
                </a:lnTo>
                <a:lnTo>
                  <a:pt x="2927" y="3644"/>
                </a:lnTo>
                <a:lnTo>
                  <a:pt x="1941" y="4248"/>
                </a:lnTo>
                <a:lnTo>
                  <a:pt x="955" y="3644"/>
                </a:lnTo>
                <a:lnTo>
                  <a:pt x="939" y="3644"/>
                </a:lnTo>
                <a:lnTo>
                  <a:pt x="923" y="3644"/>
                </a:lnTo>
                <a:lnTo>
                  <a:pt x="907" y="3644"/>
                </a:lnTo>
                <a:cubicBezTo>
                  <a:pt x="398" y="3644"/>
                  <a:pt x="0" y="4042"/>
                  <a:pt x="0" y="4551"/>
                </a:cubicBezTo>
                <a:cubicBezTo>
                  <a:pt x="0" y="4582"/>
                  <a:pt x="32" y="4630"/>
                  <a:pt x="79" y="4630"/>
                </a:cubicBezTo>
                <a:cubicBezTo>
                  <a:pt x="127" y="4630"/>
                  <a:pt x="159" y="4582"/>
                  <a:pt x="159" y="4551"/>
                </a:cubicBezTo>
                <a:cubicBezTo>
                  <a:pt x="159" y="4137"/>
                  <a:pt x="478" y="3803"/>
                  <a:pt x="891" y="3803"/>
                </a:cubicBezTo>
                <a:close/>
                <a:moveTo>
                  <a:pt x="3246" y="955"/>
                </a:moveTo>
                <a:lnTo>
                  <a:pt x="3357" y="955"/>
                </a:lnTo>
                <a:cubicBezTo>
                  <a:pt x="3405" y="955"/>
                  <a:pt x="3437" y="923"/>
                  <a:pt x="3437" y="891"/>
                </a:cubicBezTo>
                <a:lnTo>
                  <a:pt x="3627" y="350"/>
                </a:lnTo>
                <a:cubicBezTo>
                  <a:pt x="3643" y="303"/>
                  <a:pt x="3627" y="271"/>
                  <a:pt x="3596" y="255"/>
                </a:cubicBezTo>
                <a:lnTo>
                  <a:pt x="3166" y="16"/>
                </a:lnTo>
                <a:cubicBezTo>
                  <a:pt x="3166" y="0"/>
                  <a:pt x="3150" y="0"/>
                  <a:pt x="3134" y="0"/>
                </a:cubicBezTo>
                <a:lnTo>
                  <a:pt x="827" y="0"/>
                </a:lnTo>
                <a:cubicBezTo>
                  <a:pt x="812" y="0"/>
                  <a:pt x="796" y="0"/>
                  <a:pt x="779" y="16"/>
                </a:cubicBezTo>
                <a:lnTo>
                  <a:pt x="366" y="255"/>
                </a:lnTo>
                <a:cubicBezTo>
                  <a:pt x="334" y="271"/>
                  <a:pt x="318" y="303"/>
                  <a:pt x="334" y="350"/>
                </a:cubicBezTo>
                <a:lnTo>
                  <a:pt x="509" y="891"/>
                </a:lnTo>
                <a:cubicBezTo>
                  <a:pt x="525" y="923"/>
                  <a:pt x="557" y="955"/>
                  <a:pt x="589" y="955"/>
                </a:cubicBezTo>
                <a:lnTo>
                  <a:pt x="700" y="955"/>
                </a:lnTo>
                <a:lnTo>
                  <a:pt x="700" y="1575"/>
                </a:lnTo>
                <a:cubicBezTo>
                  <a:pt x="605" y="1607"/>
                  <a:pt x="541" y="1718"/>
                  <a:pt x="541" y="1878"/>
                </a:cubicBezTo>
                <a:lnTo>
                  <a:pt x="541" y="2117"/>
                </a:lnTo>
                <a:cubicBezTo>
                  <a:pt x="541" y="2180"/>
                  <a:pt x="573" y="2451"/>
                  <a:pt x="716" y="2530"/>
                </a:cubicBezTo>
                <a:cubicBezTo>
                  <a:pt x="748" y="3103"/>
                  <a:pt x="1416" y="3803"/>
                  <a:pt x="1957" y="3803"/>
                </a:cubicBezTo>
                <a:cubicBezTo>
                  <a:pt x="2482" y="3803"/>
                  <a:pt x="3198" y="3087"/>
                  <a:pt x="3246" y="2530"/>
                </a:cubicBezTo>
                <a:cubicBezTo>
                  <a:pt x="3357" y="2451"/>
                  <a:pt x="3405" y="2212"/>
                  <a:pt x="3405" y="2117"/>
                </a:cubicBezTo>
                <a:lnTo>
                  <a:pt x="3405" y="1878"/>
                </a:lnTo>
                <a:cubicBezTo>
                  <a:pt x="3405" y="1798"/>
                  <a:pt x="3405" y="1623"/>
                  <a:pt x="3246" y="1575"/>
                </a:cubicBezTo>
                <a:close/>
                <a:moveTo>
                  <a:pt x="652" y="796"/>
                </a:moveTo>
                <a:lnTo>
                  <a:pt x="493" y="350"/>
                </a:lnTo>
                <a:lnTo>
                  <a:pt x="843" y="159"/>
                </a:lnTo>
                <a:lnTo>
                  <a:pt x="3118" y="159"/>
                </a:lnTo>
                <a:lnTo>
                  <a:pt x="3452" y="350"/>
                </a:lnTo>
                <a:lnTo>
                  <a:pt x="3309" y="796"/>
                </a:lnTo>
                <a:close/>
                <a:moveTo>
                  <a:pt x="3087" y="955"/>
                </a:moveTo>
                <a:lnTo>
                  <a:pt x="3087" y="1066"/>
                </a:lnTo>
                <a:cubicBezTo>
                  <a:pt x="3055" y="1146"/>
                  <a:pt x="2625" y="1289"/>
                  <a:pt x="1909" y="1289"/>
                </a:cubicBezTo>
                <a:cubicBezTo>
                  <a:pt x="1193" y="1289"/>
                  <a:pt x="859" y="1130"/>
                  <a:pt x="859" y="1066"/>
                </a:cubicBezTo>
                <a:lnTo>
                  <a:pt x="859" y="955"/>
                </a:lnTo>
                <a:close/>
                <a:moveTo>
                  <a:pt x="3246" y="1878"/>
                </a:moveTo>
                <a:lnTo>
                  <a:pt x="3246" y="2117"/>
                </a:lnTo>
                <a:cubicBezTo>
                  <a:pt x="3246" y="2212"/>
                  <a:pt x="3198" y="2371"/>
                  <a:pt x="3166" y="2387"/>
                </a:cubicBezTo>
                <a:cubicBezTo>
                  <a:pt x="3118" y="2387"/>
                  <a:pt x="3087" y="2418"/>
                  <a:pt x="3087" y="2466"/>
                </a:cubicBezTo>
                <a:cubicBezTo>
                  <a:pt x="3087" y="2944"/>
                  <a:pt x="2418" y="3644"/>
                  <a:pt x="1957" y="3644"/>
                </a:cubicBezTo>
                <a:cubicBezTo>
                  <a:pt x="1496" y="3644"/>
                  <a:pt x="859" y="2960"/>
                  <a:pt x="859" y="2466"/>
                </a:cubicBezTo>
                <a:cubicBezTo>
                  <a:pt x="859" y="2418"/>
                  <a:pt x="827" y="2387"/>
                  <a:pt x="796" y="2387"/>
                </a:cubicBezTo>
                <a:cubicBezTo>
                  <a:pt x="748" y="2371"/>
                  <a:pt x="700" y="2212"/>
                  <a:pt x="700" y="2117"/>
                </a:cubicBezTo>
                <a:lnTo>
                  <a:pt x="700" y="1878"/>
                </a:lnTo>
                <a:cubicBezTo>
                  <a:pt x="700" y="1735"/>
                  <a:pt x="732" y="1735"/>
                  <a:pt x="779" y="1735"/>
                </a:cubicBezTo>
                <a:cubicBezTo>
                  <a:pt x="827" y="1735"/>
                  <a:pt x="859" y="1687"/>
                  <a:pt x="859" y="1655"/>
                </a:cubicBezTo>
                <a:lnTo>
                  <a:pt x="859" y="1273"/>
                </a:lnTo>
                <a:cubicBezTo>
                  <a:pt x="1082" y="1400"/>
                  <a:pt x="1496" y="1448"/>
                  <a:pt x="1909" y="1448"/>
                </a:cubicBezTo>
                <a:cubicBezTo>
                  <a:pt x="2196" y="1448"/>
                  <a:pt x="2800" y="1416"/>
                  <a:pt x="3087" y="1257"/>
                </a:cubicBezTo>
                <a:lnTo>
                  <a:pt x="3087" y="1655"/>
                </a:lnTo>
                <a:cubicBezTo>
                  <a:pt x="3087" y="1687"/>
                  <a:pt x="3118" y="1735"/>
                  <a:pt x="3166" y="1735"/>
                </a:cubicBezTo>
                <a:cubicBezTo>
                  <a:pt x="3230" y="1735"/>
                  <a:pt x="3246" y="1750"/>
                  <a:pt x="3246" y="187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93285313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People - 3</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129" name="TextBox 128">
            <a:extLst>
              <a:ext uri="{FF2B5EF4-FFF2-40B4-BE49-F238E27FC236}">
                <a16:creationId xmlns:a16="http://schemas.microsoft.com/office/drawing/2014/main" id="{9C90785B-CD33-DB48-9A59-FAB7D0D07F2F}"/>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39" name="TextBox 38">
            <a:extLst>
              <a:ext uri="{FF2B5EF4-FFF2-40B4-BE49-F238E27FC236}">
                <a16:creationId xmlns:a16="http://schemas.microsoft.com/office/drawing/2014/main" id="{714058F4-4A25-3045-8610-6DCBD99F4E12}"/>
              </a:ext>
            </a:extLst>
          </p:cNvPr>
          <p:cNvSpPr txBox="1"/>
          <p:nvPr/>
        </p:nvSpPr>
        <p:spPr>
          <a:xfrm>
            <a:off x="857472"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obot</a:t>
            </a:r>
          </a:p>
        </p:txBody>
      </p:sp>
      <p:sp>
        <p:nvSpPr>
          <p:cNvPr id="40" name="TextBox 39">
            <a:extLst>
              <a:ext uri="{FF2B5EF4-FFF2-40B4-BE49-F238E27FC236}">
                <a16:creationId xmlns:a16="http://schemas.microsoft.com/office/drawing/2014/main" id="{BC6FEEFE-7B11-0D41-9B9D-F793BF074787}"/>
              </a:ext>
            </a:extLst>
          </p:cNvPr>
          <p:cNvSpPr txBox="1"/>
          <p:nvPr/>
        </p:nvSpPr>
        <p:spPr>
          <a:xfrm>
            <a:off x="4848808" y="5121317"/>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D 1</a:t>
            </a:r>
          </a:p>
        </p:txBody>
      </p:sp>
      <p:sp>
        <p:nvSpPr>
          <p:cNvPr id="41" name="TextBox 40">
            <a:extLst>
              <a:ext uri="{FF2B5EF4-FFF2-40B4-BE49-F238E27FC236}">
                <a16:creationId xmlns:a16="http://schemas.microsoft.com/office/drawing/2014/main" id="{670A17E0-C1F2-524D-B800-6B2381475FB4}"/>
              </a:ext>
            </a:extLst>
          </p:cNvPr>
          <p:cNvSpPr txBox="1"/>
          <p:nvPr/>
        </p:nvSpPr>
        <p:spPr>
          <a:xfrm>
            <a:off x="8646959" y="5121317"/>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D 2</a:t>
            </a:r>
          </a:p>
        </p:txBody>
      </p:sp>
      <p:sp>
        <p:nvSpPr>
          <p:cNvPr id="42" name="TextBox 41">
            <a:extLst>
              <a:ext uri="{FF2B5EF4-FFF2-40B4-BE49-F238E27FC236}">
                <a16:creationId xmlns:a16="http://schemas.microsoft.com/office/drawing/2014/main" id="{BACAF78A-6E34-9B40-AAA4-FD5CA53099F1}"/>
              </a:ext>
            </a:extLst>
          </p:cNvPr>
          <p:cNvSpPr txBox="1"/>
          <p:nvPr/>
        </p:nvSpPr>
        <p:spPr>
          <a:xfrm>
            <a:off x="20202130" y="5160494"/>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ead ?</a:t>
            </a:r>
          </a:p>
        </p:txBody>
      </p:sp>
      <p:sp>
        <p:nvSpPr>
          <p:cNvPr id="44" name="TextBox 43">
            <a:extLst>
              <a:ext uri="{FF2B5EF4-FFF2-40B4-BE49-F238E27FC236}">
                <a16:creationId xmlns:a16="http://schemas.microsoft.com/office/drawing/2014/main" id="{6F8882EF-6CAE-8143-8BC4-C0B0197689B2}"/>
              </a:ext>
            </a:extLst>
          </p:cNvPr>
          <p:cNvSpPr txBox="1"/>
          <p:nvPr/>
        </p:nvSpPr>
        <p:spPr>
          <a:xfrm>
            <a:off x="1052420" y="8468543"/>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ead Check</a:t>
            </a:r>
          </a:p>
        </p:txBody>
      </p:sp>
      <p:sp>
        <p:nvSpPr>
          <p:cNvPr id="45" name="TextBox 44">
            <a:extLst>
              <a:ext uri="{FF2B5EF4-FFF2-40B4-BE49-F238E27FC236}">
                <a16:creationId xmlns:a16="http://schemas.microsoft.com/office/drawing/2014/main" id="{C5CFDF4A-5BDB-3440-A30C-B41150343A28}"/>
              </a:ext>
            </a:extLst>
          </p:cNvPr>
          <p:cNvSpPr txBox="1"/>
          <p:nvPr/>
        </p:nvSpPr>
        <p:spPr>
          <a:xfrm>
            <a:off x="4647043" y="8468543"/>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ead X</a:t>
            </a:r>
          </a:p>
        </p:txBody>
      </p:sp>
      <p:sp>
        <p:nvSpPr>
          <p:cNvPr id="46" name="TextBox 45">
            <a:extLst>
              <a:ext uri="{FF2B5EF4-FFF2-40B4-BE49-F238E27FC236}">
                <a16:creationId xmlns:a16="http://schemas.microsoft.com/office/drawing/2014/main" id="{0186F100-66FB-A34A-8C0D-CBCC9F93C3A9}"/>
              </a:ext>
            </a:extLst>
          </p:cNvPr>
          <p:cNvSpPr txBox="1"/>
          <p:nvPr/>
        </p:nvSpPr>
        <p:spPr>
          <a:xfrm>
            <a:off x="8041320" y="8468543"/>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ead Sync</a:t>
            </a:r>
          </a:p>
        </p:txBody>
      </p:sp>
      <p:sp>
        <p:nvSpPr>
          <p:cNvPr id="47" name="Freeform: Shape 26">
            <a:extLst>
              <a:ext uri="{FF2B5EF4-FFF2-40B4-BE49-F238E27FC236}">
                <a16:creationId xmlns:a16="http://schemas.microsoft.com/office/drawing/2014/main" id="{6830FE55-DE7C-A84B-BA8D-DC7E587F78DE}"/>
              </a:ext>
            </a:extLst>
          </p:cNvPr>
          <p:cNvSpPr/>
          <p:nvPr/>
        </p:nvSpPr>
        <p:spPr>
          <a:xfrm>
            <a:off x="2639803"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8" name="TextBox 47">
            <a:extLst>
              <a:ext uri="{FF2B5EF4-FFF2-40B4-BE49-F238E27FC236}">
                <a16:creationId xmlns:a16="http://schemas.microsoft.com/office/drawing/2014/main" id="{F7728D17-92A2-CD49-AD55-A4200E6083D9}"/>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49" name="Freeform: Shape 15">
            <a:extLst>
              <a:ext uri="{FF2B5EF4-FFF2-40B4-BE49-F238E27FC236}">
                <a16:creationId xmlns:a16="http://schemas.microsoft.com/office/drawing/2014/main" id="{970058CB-CDE1-D748-8369-0AAB61825400}"/>
              </a:ext>
            </a:extLst>
          </p:cNvPr>
          <p:cNvSpPr/>
          <p:nvPr/>
        </p:nvSpPr>
        <p:spPr>
          <a:xfrm>
            <a:off x="20961263" y="3134461"/>
            <a:ext cx="1410839" cy="1702440"/>
          </a:xfrm>
          <a:custGeom>
            <a:avLst/>
            <a:gdLst/>
            <a:ahLst/>
            <a:cxnLst>
              <a:cxn ang="3cd4">
                <a:pos x="hc" y="t"/>
              </a:cxn>
              <a:cxn ang="cd2">
                <a:pos x="l" y="vc"/>
              </a:cxn>
              <a:cxn ang="cd4">
                <a:pos x="hc" y="b"/>
              </a:cxn>
              <a:cxn ang="0">
                <a:pos x="r" y="vc"/>
              </a:cxn>
            </a:cxnLst>
            <a:rect l="l" t="t" r="r" b="b"/>
            <a:pathLst>
              <a:path w="3920" h="4730">
                <a:moveTo>
                  <a:pt x="1960" y="2819"/>
                </a:moveTo>
                <a:cubicBezTo>
                  <a:pt x="1912" y="2819"/>
                  <a:pt x="1880" y="2787"/>
                  <a:pt x="1880" y="2739"/>
                </a:cubicBezTo>
                <a:cubicBezTo>
                  <a:pt x="1880" y="2436"/>
                  <a:pt x="1945" y="2373"/>
                  <a:pt x="2088" y="2230"/>
                </a:cubicBezTo>
                <a:cubicBezTo>
                  <a:pt x="2151" y="2182"/>
                  <a:pt x="2215" y="2118"/>
                  <a:pt x="2294" y="2007"/>
                </a:cubicBezTo>
                <a:cubicBezTo>
                  <a:pt x="2406" y="1879"/>
                  <a:pt x="2422" y="1688"/>
                  <a:pt x="2342" y="1529"/>
                </a:cubicBezTo>
                <a:cubicBezTo>
                  <a:pt x="2310" y="1450"/>
                  <a:pt x="2199" y="1306"/>
                  <a:pt x="1960" y="1322"/>
                </a:cubicBezTo>
                <a:cubicBezTo>
                  <a:pt x="1833" y="1338"/>
                  <a:pt x="1721" y="1386"/>
                  <a:pt x="1658" y="1465"/>
                </a:cubicBezTo>
                <a:cubicBezTo>
                  <a:pt x="1546" y="1593"/>
                  <a:pt x="1594" y="1667"/>
                  <a:pt x="1562" y="1768"/>
                </a:cubicBezTo>
                <a:cubicBezTo>
                  <a:pt x="1562" y="1815"/>
                  <a:pt x="1530" y="1847"/>
                  <a:pt x="1482" y="1847"/>
                </a:cubicBezTo>
                <a:cubicBezTo>
                  <a:pt x="1451" y="1863"/>
                  <a:pt x="1403" y="1832"/>
                  <a:pt x="1403" y="1784"/>
                </a:cubicBezTo>
                <a:cubicBezTo>
                  <a:pt x="1403" y="1768"/>
                  <a:pt x="1387" y="1545"/>
                  <a:pt x="1546" y="1353"/>
                </a:cubicBezTo>
                <a:cubicBezTo>
                  <a:pt x="1642" y="1243"/>
                  <a:pt x="1769" y="1178"/>
                  <a:pt x="1960" y="1163"/>
                </a:cubicBezTo>
                <a:cubicBezTo>
                  <a:pt x="2183" y="1147"/>
                  <a:pt x="2390" y="1258"/>
                  <a:pt x="2485" y="1450"/>
                </a:cubicBezTo>
                <a:cubicBezTo>
                  <a:pt x="2597" y="1672"/>
                  <a:pt x="2565" y="1927"/>
                  <a:pt x="2422" y="2118"/>
                </a:cubicBezTo>
                <a:cubicBezTo>
                  <a:pt x="2326" y="2230"/>
                  <a:pt x="2263" y="2293"/>
                  <a:pt x="2199" y="2357"/>
                </a:cubicBezTo>
                <a:cubicBezTo>
                  <a:pt x="2072" y="2469"/>
                  <a:pt x="2039" y="2500"/>
                  <a:pt x="2039" y="2739"/>
                </a:cubicBezTo>
                <a:cubicBezTo>
                  <a:pt x="2039" y="2787"/>
                  <a:pt x="2008" y="2819"/>
                  <a:pt x="1960" y="2819"/>
                </a:cubicBezTo>
                <a:close/>
                <a:moveTo>
                  <a:pt x="1960" y="3313"/>
                </a:moveTo>
                <a:cubicBezTo>
                  <a:pt x="1896" y="3313"/>
                  <a:pt x="1849" y="3265"/>
                  <a:pt x="1849" y="3201"/>
                </a:cubicBezTo>
                <a:cubicBezTo>
                  <a:pt x="1849" y="3138"/>
                  <a:pt x="1896" y="3090"/>
                  <a:pt x="1960" y="3090"/>
                </a:cubicBezTo>
                <a:cubicBezTo>
                  <a:pt x="2024" y="3090"/>
                  <a:pt x="2072" y="3138"/>
                  <a:pt x="2072" y="3201"/>
                </a:cubicBezTo>
                <a:cubicBezTo>
                  <a:pt x="2072" y="3265"/>
                  <a:pt x="2024" y="3313"/>
                  <a:pt x="1960" y="3313"/>
                </a:cubicBezTo>
                <a:close/>
                <a:moveTo>
                  <a:pt x="1960" y="4730"/>
                </a:moveTo>
                <a:cubicBezTo>
                  <a:pt x="1658" y="4730"/>
                  <a:pt x="830" y="4412"/>
                  <a:pt x="559" y="3647"/>
                </a:cubicBezTo>
                <a:cubicBezTo>
                  <a:pt x="353" y="3616"/>
                  <a:pt x="161" y="3376"/>
                  <a:pt x="50" y="3010"/>
                </a:cubicBezTo>
                <a:cubicBezTo>
                  <a:pt x="2" y="2787"/>
                  <a:pt x="-46" y="2485"/>
                  <a:pt x="82" y="2326"/>
                </a:cubicBezTo>
                <a:cubicBezTo>
                  <a:pt x="114" y="2277"/>
                  <a:pt x="161" y="2246"/>
                  <a:pt x="225" y="2230"/>
                </a:cubicBezTo>
                <a:cubicBezTo>
                  <a:pt x="130" y="1529"/>
                  <a:pt x="273" y="956"/>
                  <a:pt x="607" y="557"/>
                </a:cubicBezTo>
                <a:cubicBezTo>
                  <a:pt x="926" y="191"/>
                  <a:pt x="1403" y="0"/>
                  <a:pt x="1960" y="0"/>
                </a:cubicBezTo>
                <a:cubicBezTo>
                  <a:pt x="2518" y="0"/>
                  <a:pt x="2995" y="191"/>
                  <a:pt x="3313" y="557"/>
                </a:cubicBezTo>
                <a:cubicBezTo>
                  <a:pt x="3647" y="956"/>
                  <a:pt x="3791" y="1529"/>
                  <a:pt x="3695" y="2230"/>
                </a:cubicBezTo>
                <a:cubicBezTo>
                  <a:pt x="3759" y="2246"/>
                  <a:pt x="3807" y="2277"/>
                  <a:pt x="3838" y="2326"/>
                </a:cubicBezTo>
                <a:cubicBezTo>
                  <a:pt x="3966" y="2485"/>
                  <a:pt x="3918" y="2787"/>
                  <a:pt x="3870" y="3010"/>
                </a:cubicBezTo>
                <a:cubicBezTo>
                  <a:pt x="3774" y="3376"/>
                  <a:pt x="3583" y="3616"/>
                  <a:pt x="3361" y="3647"/>
                </a:cubicBezTo>
                <a:cubicBezTo>
                  <a:pt x="3091" y="4412"/>
                  <a:pt x="2278" y="4730"/>
                  <a:pt x="1960" y="4730"/>
                </a:cubicBezTo>
                <a:close/>
                <a:moveTo>
                  <a:pt x="623" y="3488"/>
                </a:moveTo>
                <a:cubicBezTo>
                  <a:pt x="655" y="3488"/>
                  <a:pt x="687" y="3504"/>
                  <a:pt x="703" y="3552"/>
                </a:cubicBezTo>
                <a:cubicBezTo>
                  <a:pt x="909" y="4268"/>
                  <a:pt x="1690" y="4571"/>
                  <a:pt x="1960" y="4571"/>
                </a:cubicBezTo>
                <a:cubicBezTo>
                  <a:pt x="2231" y="4571"/>
                  <a:pt x="3010" y="4268"/>
                  <a:pt x="3218" y="3552"/>
                </a:cubicBezTo>
                <a:cubicBezTo>
                  <a:pt x="3234" y="3504"/>
                  <a:pt x="3265" y="3488"/>
                  <a:pt x="3313" y="3488"/>
                </a:cubicBezTo>
                <a:cubicBezTo>
                  <a:pt x="3472" y="3504"/>
                  <a:pt x="3631" y="3297"/>
                  <a:pt x="3711" y="2963"/>
                </a:cubicBezTo>
                <a:cubicBezTo>
                  <a:pt x="3774" y="2708"/>
                  <a:pt x="3791" y="2500"/>
                  <a:pt x="3711" y="2421"/>
                </a:cubicBezTo>
                <a:cubicBezTo>
                  <a:pt x="3695" y="2389"/>
                  <a:pt x="3664" y="2373"/>
                  <a:pt x="3615" y="2373"/>
                </a:cubicBezTo>
                <a:cubicBezTo>
                  <a:pt x="3583" y="2373"/>
                  <a:pt x="3567" y="2357"/>
                  <a:pt x="3552" y="2341"/>
                </a:cubicBezTo>
                <a:cubicBezTo>
                  <a:pt x="3536" y="2326"/>
                  <a:pt x="3536" y="2309"/>
                  <a:pt x="3536" y="2277"/>
                </a:cubicBezTo>
                <a:cubicBezTo>
                  <a:pt x="3631" y="1593"/>
                  <a:pt x="3520" y="1035"/>
                  <a:pt x="3186" y="653"/>
                </a:cubicBezTo>
                <a:cubicBezTo>
                  <a:pt x="2899" y="334"/>
                  <a:pt x="2469" y="160"/>
                  <a:pt x="1960" y="160"/>
                </a:cubicBezTo>
                <a:cubicBezTo>
                  <a:pt x="1451" y="160"/>
                  <a:pt x="1021" y="334"/>
                  <a:pt x="734" y="653"/>
                </a:cubicBezTo>
                <a:cubicBezTo>
                  <a:pt x="416" y="1035"/>
                  <a:pt x="289" y="1593"/>
                  <a:pt x="384" y="2277"/>
                </a:cubicBezTo>
                <a:cubicBezTo>
                  <a:pt x="384" y="2309"/>
                  <a:pt x="384" y="2326"/>
                  <a:pt x="369" y="2341"/>
                </a:cubicBezTo>
                <a:cubicBezTo>
                  <a:pt x="353" y="2357"/>
                  <a:pt x="336" y="2373"/>
                  <a:pt x="304" y="2373"/>
                </a:cubicBezTo>
                <a:cubicBezTo>
                  <a:pt x="257" y="2373"/>
                  <a:pt x="225" y="2389"/>
                  <a:pt x="209" y="2421"/>
                </a:cubicBezTo>
                <a:cubicBezTo>
                  <a:pt x="145" y="2500"/>
                  <a:pt x="145" y="2708"/>
                  <a:pt x="209" y="2963"/>
                </a:cubicBezTo>
                <a:cubicBezTo>
                  <a:pt x="289" y="3297"/>
                  <a:pt x="463" y="3504"/>
                  <a:pt x="623" y="348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0" name="Freeform: Shape 9">
            <a:extLst>
              <a:ext uri="{FF2B5EF4-FFF2-40B4-BE49-F238E27FC236}">
                <a16:creationId xmlns:a16="http://schemas.microsoft.com/office/drawing/2014/main" id="{1838E1D2-C6CF-9041-9271-39F3851B1F54}"/>
              </a:ext>
            </a:extLst>
          </p:cNvPr>
          <p:cNvSpPr/>
          <p:nvPr/>
        </p:nvSpPr>
        <p:spPr>
          <a:xfrm>
            <a:off x="1915306" y="3080035"/>
            <a:ext cx="1316880" cy="1683719"/>
          </a:xfrm>
          <a:custGeom>
            <a:avLst/>
            <a:gdLst/>
            <a:ahLst/>
            <a:cxnLst>
              <a:cxn ang="3cd4">
                <a:pos x="hc" y="t"/>
              </a:cxn>
              <a:cxn ang="cd2">
                <a:pos x="l" y="vc"/>
              </a:cxn>
              <a:cxn ang="cd4">
                <a:pos x="hc" y="b"/>
              </a:cxn>
              <a:cxn ang="0">
                <a:pos x="r" y="vc"/>
              </a:cxn>
            </a:cxnLst>
            <a:rect l="l" t="t" r="r" b="b"/>
            <a:pathLst>
              <a:path w="3659" h="4678">
                <a:moveTo>
                  <a:pt x="3659" y="4598"/>
                </a:moveTo>
                <a:lnTo>
                  <a:pt x="3659" y="3325"/>
                </a:lnTo>
                <a:cubicBezTo>
                  <a:pt x="3659" y="3278"/>
                  <a:pt x="3628" y="3246"/>
                  <a:pt x="3580" y="3246"/>
                </a:cubicBezTo>
                <a:lnTo>
                  <a:pt x="2387" y="3246"/>
                </a:lnTo>
                <a:lnTo>
                  <a:pt x="2387" y="2609"/>
                </a:lnTo>
                <a:lnTo>
                  <a:pt x="3103" y="2609"/>
                </a:lnTo>
                <a:cubicBezTo>
                  <a:pt x="3150" y="2609"/>
                  <a:pt x="3182" y="2578"/>
                  <a:pt x="3182" y="2530"/>
                </a:cubicBezTo>
                <a:lnTo>
                  <a:pt x="3182" y="779"/>
                </a:lnTo>
                <a:cubicBezTo>
                  <a:pt x="3182" y="748"/>
                  <a:pt x="3150" y="700"/>
                  <a:pt x="3103" y="700"/>
                </a:cubicBezTo>
                <a:lnTo>
                  <a:pt x="1910" y="700"/>
                </a:lnTo>
                <a:lnTo>
                  <a:pt x="1910" y="79"/>
                </a:lnTo>
                <a:cubicBezTo>
                  <a:pt x="1910" y="32"/>
                  <a:pt x="1877" y="0"/>
                  <a:pt x="1830" y="0"/>
                </a:cubicBezTo>
                <a:cubicBezTo>
                  <a:pt x="1782" y="0"/>
                  <a:pt x="1750" y="32"/>
                  <a:pt x="1750" y="79"/>
                </a:cubicBezTo>
                <a:lnTo>
                  <a:pt x="1750" y="700"/>
                </a:lnTo>
                <a:lnTo>
                  <a:pt x="557" y="700"/>
                </a:lnTo>
                <a:cubicBezTo>
                  <a:pt x="525" y="700"/>
                  <a:pt x="477" y="748"/>
                  <a:pt x="477" y="779"/>
                </a:cubicBezTo>
                <a:lnTo>
                  <a:pt x="477" y="2530"/>
                </a:lnTo>
                <a:cubicBezTo>
                  <a:pt x="477" y="2578"/>
                  <a:pt x="525" y="2609"/>
                  <a:pt x="557" y="2609"/>
                </a:cubicBezTo>
                <a:lnTo>
                  <a:pt x="1273" y="2609"/>
                </a:lnTo>
                <a:lnTo>
                  <a:pt x="1273" y="3246"/>
                </a:lnTo>
                <a:lnTo>
                  <a:pt x="80" y="3246"/>
                </a:lnTo>
                <a:cubicBezTo>
                  <a:pt x="48" y="3246"/>
                  <a:pt x="0" y="3278"/>
                  <a:pt x="0" y="3325"/>
                </a:cubicBezTo>
                <a:lnTo>
                  <a:pt x="0" y="4598"/>
                </a:lnTo>
                <a:cubicBezTo>
                  <a:pt x="0" y="4646"/>
                  <a:pt x="48" y="4678"/>
                  <a:pt x="80" y="4678"/>
                </a:cubicBezTo>
                <a:lnTo>
                  <a:pt x="3580" y="4678"/>
                </a:lnTo>
                <a:cubicBezTo>
                  <a:pt x="3628" y="4678"/>
                  <a:pt x="3659" y="4646"/>
                  <a:pt x="3659" y="4598"/>
                </a:cubicBezTo>
                <a:close/>
                <a:moveTo>
                  <a:pt x="637" y="859"/>
                </a:moveTo>
                <a:lnTo>
                  <a:pt x="3023" y="859"/>
                </a:lnTo>
                <a:lnTo>
                  <a:pt x="3023" y="2450"/>
                </a:lnTo>
                <a:lnTo>
                  <a:pt x="2307" y="2450"/>
                </a:lnTo>
                <a:lnTo>
                  <a:pt x="1353" y="2450"/>
                </a:lnTo>
                <a:lnTo>
                  <a:pt x="637" y="2450"/>
                </a:lnTo>
                <a:close/>
                <a:moveTo>
                  <a:pt x="1432" y="2609"/>
                </a:moveTo>
                <a:lnTo>
                  <a:pt x="2228" y="2609"/>
                </a:lnTo>
                <a:lnTo>
                  <a:pt x="2228" y="3246"/>
                </a:lnTo>
                <a:lnTo>
                  <a:pt x="1432" y="3246"/>
                </a:lnTo>
                <a:close/>
                <a:moveTo>
                  <a:pt x="3501" y="4518"/>
                </a:moveTo>
                <a:lnTo>
                  <a:pt x="3023" y="4518"/>
                </a:lnTo>
                <a:lnTo>
                  <a:pt x="3023" y="3882"/>
                </a:lnTo>
                <a:cubicBezTo>
                  <a:pt x="3023" y="3834"/>
                  <a:pt x="2991" y="3803"/>
                  <a:pt x="2944" y="3803"/>
                </a:cubicBezTo>
                <a:cubicBezTo>
                  <a:pt x="2896" y="3803"/>
                  <a:pt x="2864" y="3834"/>
                  <a:pt x="2864" y="3882"/>
                </a:cubicBezTo>
                <a:lnTo>
                  <a:pt x="2864" y="4518"/>
                </a:lnTo>
                <a:lnTo>
                  <a:pt x="796" y="4518"/>
                </a:lnTo>
                <a:lnTo>
                  <a:pt x="796" y="3882"/>
                </a:lnTo>
                <a:cubicBezTo>
                  <a:pt x="796" y="3834"/>
                  <a:pt x="764" y="3803"/>
                  <a:pt x="716" y="3803"/>
                </a:cubicBezTo>
                <a:cubicBezTo>
                  <a:pt x="685" y="3803"/>
                  <a:pt x="637" y="3834"/>
                  <a:pt x="637" y="3882"/>
                </a:cubicBezTo>
                <a:lnTo>
                  <a:pt x="637" y="4518"/>
                </a:lnTo>
                <a:lnTo>
                  <a:pt x="159" y="4518"/>
                </a:lnTo>
                <a:lnTo>
                  <a:pt x="159" y="3405"/>
                </a:lnTo>
                <a:lnTo>
                  <a:pt x="1353" y="3405"/>
                </a:lnTo>
                <a:lnTo>
                  <a:pt x="2307" y="3405"/>
                </a:lnTo>
                <a:lnTo>
                  <a:pt x="3501" y="3405"/>
                </a:lnTo>
                <a:close/>
                <a:moveTo>
                  <a:pt x="1353" y="1479"/>
                </a:moveTo>
                <a:cubicBezTo>
                  <a:pt x="1464" y="1479"/>
                  <a:pt x="1559" y="1400"/>
                  <a:pt x="1559" y="1288"/>
                </a:cubicBezTo>
                <a:cubicBezTo>
                  <a:pt x="1559" y="1178"/>
                  <a:pt x="1464" y="1082"/>
                  <a:pt x="1353" y="1082"/>
                </a:cubicBezTo>
                <a:cubicBezTo>
                  <a:pt x="1241" y="1082"/>
                  <a:pt x="1162" y="1178"/>
                  <a:pt x="1162" y="1288"/>
                </a:cubicBezTo>
                <a:cubicBezTo>
                  <a:pt x="1162" y="1400"/>
                  <a:pt x="1241" y="1479"/>
                  <a:pt x="1353" y="1479"/>
                </a:cubicBezTo>
                <a:close/>
                <a:moveTo>
                  <a:pt x="2355" y="1479"/>
                </a:moveTo>
                <a:cubicBezTo>
                  <a:pt x="2450" y="1479"/>
                  <a:pt x="2546" y="1400"/>
                  <a:pt x="2546" y="1288"/>
                </a:cubicBezTo>
                <a:cubicBezTo>
                  <a:pt x="2546" y="1178"/>
                  <a:pt x="2450" y="1082"/>
                  <a:pt x="2355" y="1082"/>
                </a:cubicBezTo>
                <a:cubicBezTo>
                  <a:pt x="2244" y="1082"/>
                  <a:pt x="2148" y="1178"/>
                  <a:pt x="2148" y="1288"/>
                </a:cubicBezTo>
                <a:cubicBezTo>
                  <a:pt x="2148" y="1400"/>
                  <a:pt x="2244" y="1479"/>
                  <a:pt x="2355" y="1479"/>
                </a:cubicBezTo>
                <a:close/>
                <a:moveTo>
                  <a:pt x="2705" y="2212"/>
                </a:moveTo>
                <a:lnTo>
                  <a:pt x="2705" y="1734"/>
                </a:lnTo>
                <a:cubicBezTo>
                  <a:pt x="2705" y="1702"/>
                  <a:pt x="2673" y="1655"/>
                  <a:pt x="2625" y="1655"/>
                </a:cubicBezTo>
                <a:lnTo>
                  <a:pt x="1034" y="1655"/>
                </a:lnTo>
                <a:cubicBezTo>
                  <a:pt x="1003" y="1655"/>
                  <a:pt x="955" y="1702"/>
                  <a:pt x="955" y="1734"/>
                </a:cubicBezTo>
                <a:lnTo>
                  <a:pt x="955" y="2212"/>
                </a:lnTo>
                <a:cubicBezTo>
                  <a:pt x="955" y="2259"/>
                  <a:pt x="1003" y="2291"/>
                  <a:pt x="1034" y="2291"/>
                </a:cubicBezTo>
                <a:lnTo>
                  <a:pt x="2625" y="2291"/>
                </a:lnTo>
                <a:cubicBezTo>
                  <a:pt x="2673" y="2291"/>
                  <a:pt x="2705" y="2259"/>
                  <a:pt x="2705" y="2212"/>
                </a:cubicBezTo>
                <a:close/>
                <a:moveTo>
                  <a:pt x="2546" y="2132"/>
                </a:moveTo>
                <a:lnTo>
                  <a:pt x="1114" y="2132"/>
                </a:lnTo>
                <a:lnTo>
                  <a:pt x="1114" y="1814"/>
                </a:lnTo>
                <a:lnTo>
                  <a:pt x="2546" y="1814"/>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1" name="Freeform: Shape 10">
            <a:extLst>
              <a:ext uri="{FF2B5EF4-FFF2-40B4-BE49-F238E27FC236}">
                <a16:creationId xmlns:a16="http://schemas.microsoft.com/office/drawing/2014/main" id="{F715B162-BF84-6A4E-9D2C-30387399591E}"/>
              </a:ext>
            </a:extLst>
          </p:cNvPr>
          <p:cNvSpPr/>
          <p:nvPr/>
        </p:nvSpPr>
        <p:spPr>
          <a:xfrm>
            <a:off x="9489566" y="3566101"/>
            <a:ext cx="1586160" cy="1270800"/>
          </a:xfrm>
          <a:custGeom>
            <a:avLst/>
            <a:gdLst/>
            <a:ahLst/>
            <a:cxnLst>
              <a:cxn ang="3cd4">
                <a:pos x="hc" y="t"/>
              </a:cxn>
              <a:cxn ang="cd2">
                <a:pos x="l" y="vc"/>
              </a:cxn>
              <a:cxn ang="cd4">
                <a:pos x="hc" y="b"/>
              </a:cxn>
              <a:cxn ang="0">
                <a:pos x="r" y="vc"/>
              </a:cxn>
            </a:cxnLst>
            <a:rect l="l" t="t" r="r" b="b"/>
            <a:pathLst>
              <a:path w="4407" h="3531">
                <a:moveTo>
                  <a:pt x="4327" y="0"/>
                </a:moveTo>
                <a:lnTo>
                  <a:pt x="1097" y="0"/>
                </a:lnTo>
                <a:cubicBezTo>
                  <a:pt x="1066" y="0"/>
                  <a:pt x="1018" y="47"/>
                  <a:pt x="1018" y="79"/>
                </a:cubicBezTo>
                <a:lnTo>
                  <a:pt x="1018" y="684"/>
                </a:lnTo>
                <a:cubicBezTo>
                  <a:pt x="684" y="779"/>
                  <a:pt x="414" y="1097"/>
                  <a:pt x="414" y="1479"/>
                </a:cubicBezTo>
                <a:cubicBezTo>
                  <a:pt x="414" y="1718"/>
                  <a:pt x="525" y="1940"/>
                  <a:pt x="700" y="2084"/>
                </a:cubicBezTo>
                <a:cubicBezTo>
                  <a:pt x="286" y="2291"/>
                  <a:pt x="0" y="2704"/>
                  <a:pt x="0" y="3150"/>
                </a:cubicBezTo>
                <a:lnTo>
                  <a:pt x="0" y="3452"/>
                </a:lnTo>
                <a:cubicBezTo>
                  <a:pt x="0" y="3500"/>
                  <a:pt x="32" y="3531"/>
                  <a:pt x="79" y="3531"/>
                </a:cubicBezTo>
                <a:lnTo>
                  <a:pt x="2275" y="3531"/>
                </a:lnTo>
                <a:cubicBezTo>
                  <a:pt x="2323" y="3531"/>
                  <a:pt x="2354" y="3500"/>
                  <a:pt x="2354" y="3452"/>
                </a:cubicBezTo>
                <a:lnTo>
                  <a:pt x="2354" y="3118"/>
                </a:lnTo>
                <a:lnTo>
                  <a:pt x="2354" y="3086"/>
                </a:lnTo>
                <a:lnTo>
                  <a:pt x="4327" y="3086"/>
                </a:lnTo>
                <a:cubicBezTo>
                  <a:pt x="4359" y="3086"/>
                  <a:pt x="4407" y="3054"/>
                  <a:pt x="4407" y="3006"/>
                </a:cubicBezTo>
                <a:lnTo>
                  <a:pt x="4407" y="79"/>
                </a:lnTo>
                <a:cubicBezTo>
                  <a:pt x="4407" y="47"/>
                  <a:pt x="4359" y="0"/>
                  <a:pt x="4327" y="0"/>
                </a:cubicBezTo>
                <a:close/>
                <a:moveTo>
                  <a:pt x="573" y="1479"/>
                </a:moveTo>
                <a:cubicBezTo>
                  <a:pt x="573" y="1113"/>
                  <a:pt x="875" y="827"/>
                  <a:pt x="1225" y="827"/>
                </a:cubicBezTo>
                <a:cubicBezTo>
                  <a:pt x="1591" y="827"/>
                  <a:pt x="1877" y="1113"/>
                  <a:pt x="1877" y="1479"/>
                </a:cubicBezTo>
                <a:cubicBezTo>
                  <a:pt x="1877" y="1829"/>
                  <a:pt x="1591" y="2131"/>
                  <a:pt x="1225" y="2131"/>
                </a:cubicBezTo>
                <a:cubicBezTo>
                  <a:pt x="875" y="2131"/>
                  <a:pt x="573" y="1829"/>
                  <a:pt x="573" y="1479"/>
                </a:cubicBezTo>
                <a:close/>
                <a:moveTo>
                  <a:pt x="2196" y="3373"/>
                </a:moveTo>
                <a:lnTo>
                  <a:pt x="159" y="3373"/>
                </a:lnTo>
                <a:lnTo>
                  <a:pt x="159" y="3150"/>
                </a:lnTo>
                <a:cubicBezTo>
                  <a:pt x="159" y="2736"/>
                  <a:pt x="445" y="2354"/>
                  <a:pt x="859" y="2195"/>
                </a:cubicBezTo>
                <a:cubicBezTo>
                  <a:pt x="970" y="2259"/>
                  <a:pt x="1097" y="2291"/>
                  <a:pt x="1225" y="2291"/>
                </a:cubicBezTo>
                <a:cubicBezTo>
                  <a:pt x="1352" y="2291"/>
                  <a:pt x="1479" y="2259"/>
                  <a:pt x="1591" y="2195"/>
                </a:cubicBezTo>
                <a:cubicBezTo>
                  <a:pt x="1957" y="2338"/>
                  <a:pt x="2196" y="2688"/>
                  <a:pt x="2196" y="3118"/>
                </a:cubicBezTo>
                <a:close/>
                <a:moveTo>
                  <a:pt x="4248" y="2927"/>
                </a:moveTo>
                <a:lnTo>
                  <a:pt x="2339" y="2927"/>
                </a:lnTo>
                <a:cubicBezTo>
                  <a:pt x="2323" y="2784"/>
                  <a:pt x="2275" y="2657"/>
                  <a:pt x="2211" y="2529"/>
                </a:cubicBezTo>
                <a:lnTo>
                  <a:pt x="2211" y="2513"/>
                </a:lnTo>
                <a:lnTo>
                  <a:pt x="2736" y="2004"/>
                </a:lnTo>
                <a:cubicBezTo>
                  <a:pt x="2768" y="1972"/>
                  <a:pt x="2768" y="1925"/>
                  <a:pt x="2736" y="1893"/>
                </a:cubicBezTo>
                <a:cubicBezTo>
                  <a:pt x="2705" y="1861"/>
                  <a:pt x="2657" y="1861"/>
                  <a:pt x="2625" y="1893"/>
                </a:cubicBezTo>
                <a:lnTo>
                  <a:pt x="2116" y="2402"/>
                </a:lnTo>
                <a:cubicBezTo>
                  <a:pt x="2020" y="2275"/>
                  <a:pt x="1893" y="2179"/>
                  <a:pt x="1750" y="2100"/>
                </a:cubicBezTo>
                <a:cubicBezTo>
                  <a:pt x="1925" y="1957"/>
                  <a:pt x="2036" y="1718"/>
                  <a:pt x="2036" y="1479"/>
                </a:cubicBezTo>
                <a:cubicBezTo>
                  <a:pt x="2036" y="1034"/>
                  <a:pt x="1670" y="668"/>
                  <a:pt x="1225" y="668"/>
                </a:cubicBezTo>
                <a:lnTo>
                  <a:pt x="1177" y="668"/>
                </a:lnTo>
                <a:lnTo>
                  <a:pt x="1177" y="158"/>
                </a:lnTo>
                <a:lnTo>
                  <a:pt x="4248" y="158"/>
                </a:lnTo>
                <a:close/>
                <a:moveTo>
                  <a:pt x="2354" y="684"/>
                </a:moveTo>
                <a:lnTo>
                  <a:pt x="3516" y="684"/>
                </a:lnTo>
                <a:cubicBezTo>
                  <a:pt x="3564" y="684"/>
                  <a:pt x="3596" y="636"/>
                  <a:pt x="3596" y="604"/>
                </a:cubicBezTo>
                <a:cubicBezTo>
                  <a:pt x="3596" y="557"/>
                  <a:pt x="3564" y="524"/>
                  <a:pt x="3516" y="524"/>
                </a:cubicBezTo>
                <a:lnTo>
                  <a:pt x="2354" y="524"/>
                </a:lnTo>
                <a:cubicBezTo>
                  <a:pt x="2307" y="524"/>
                  <a:pt x="2275" y="557"/>
                  <a:pt x="2275" y="604"/>
                </a:cubicBezTo>
                <a:cubicBezTo>
                  <a:pt x="2275" y="636"/>
                  <a:pt x="2307" y="684"/>
                  <a:pt x="2354" y="684"/>
                </a:cubicBezTo>
                <a:close/>
                <a:moveTo>
                  <a:pt x="2354" y="1113"/>
                </a:moveTo>
                <a:lnTo>
                  <a:pt x="3802" y="1113"/>
                </a:lnTo>
                <a:cubicBezTo>
                  <a:pt x="3850" y="1113"/>
                  <a:pt x="3882" y="1081"/>
                  <a:pt x="3882" y="1034"/>
                </a:cubicBezTo>
                <a:cubicBezTo>
                  <a:pt x="3882" y="986"/>
                  <a:pt x="3850" y="954"/>
                  <a:pt x="3802" y="954"/>
                </a:cubicBezTo>
                <a:lnTo>
                  <a:pt x="2354" y="954"/>
                </a:lnTo>
                <a:cubicBezTo>
                  <a:pt x="2307" y="954"/>
                  <a:pt x="2275" y="986"/>
                  <a:pt x="2275" y="1034"/>
                </a:cubicBezTo>
                <a:cubicBezTo>
                  <a:pt x="2275" y="1081"/>
                  <a:pt x="2307" y="1113"/>
                  <a:pt x="2354" y="1113"/>
                </a:cubicBezTo>
                <a:close/>
                <a:moveTo>
                  <a:pt x="2354" y="1559"/>
                </a:moveTo>
                <a:lnTo>
                  <a:pt x="3802" y="1559"/>
                </a:lnTo>
                <a:cubicBezTo>
                  <a:pt x="3850" y="1559"/>
                  <a:pt x="3882" y="1511"/>
                  <a:pt x="3882" y="1479"/>
                </a:cubicBezTo>
                <a:cubicBezTo>
                  <a:pt x="3882" y="1431"/>
                  <a:pt x="3850" y="1400"/>
                  <a:pt x="3802" y="1400"/>
                </a:cubicBezTo>
                <a:lnTo>
                  <a:pt x="2354" y="1400"/>
                </a:lnTo>
                <a:cubicBezTo>
                  <a:pt x="2307" y="1400"/>
                  <a:pt x="2275" y="1431"/>
                  <a:pt x="2275" y="1479"/>
                </a:cubicBezTo>
                <a:cubicBezTo>
                  <a:pt x="2275" y="1511"/>
                  <a:pt x="2307" y="1559"/>
                  <a:pt x="2354" y="15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2" name="Freeform: Shape 11">
            <a:extLst>
              <a:ext uri="{FF2B5EF4-FFF2-40B4-BE49-F238E27FC236}">
                <a16:creationId xmlns:a16="http://schemas.microsoft.com/office/drawing/2014/main" id="{880F6776-E6B9-4647-A11B-166AA3AA661C}"/>
              </a:ext>
            </a:extLst>
          </p:cNvPr>
          <p:cNvSpPr/>
          <p:nvPr/>
        </p:nvSpPr>
        <p:spPr>
          <a:xfrm>
            <a:off x="5843758" y="3497341"/>
            <a:ext cx="1631880" cy="1305360"/>
          </a:xfrm>
          <a:custGeom>
            <a:avLst/>
            <a:gdLst/>
            <a:ahLst/>
            <a:cxnLst>
              <a:cxn ang="3cd4">
                <a:pos x="hc" y="t"/>
              </a:cxn>
              <a:cxn ang="cd2">
                <a:pos x="l" y="vc"/>
              </a:cxn>
              <a:cxn ang="cd4">
                <a:pos x="hc" y="b"/>
              </a:cxn>
              <a:cxn ang="0">
                <a:pos x="r" y="vc"/>
              </a:cxn>
            </a:cxnLst>
            <a:rect l="l" t="t" r="r" b="b"/>
            <a:pathLst>
              <a:path w="4534" h="3627">
                <a:moveTo>
                  <a:pt x="4455" y="0"/>
                </a:moveTo>
                <a:lnTo>
                  <a:pt x="1241" y="0"/>
                </a:lnTo>
                <a:cubicBezTo>
                  <a:pt x="1193" y="0"/>
                  <a:pt x="1162" y="31"/>
                  <a:pt x="1162" y="79"/>
                </a:cubicBezTo>
                <a:lnTo>
                  <a:pt x="1162" y="684"/>
                </a:lnTo>
                <a:cubicBezTo>
                  <a:pt x="764" y="731"/>
                  <a:pt x="446" y="1082"/>
                  <a:pt x="446" y="1511"/>
                </a:cubicBezTo>
                <a:lnTo>
                  <a:pt x="446" y="1654"/>
                </a:lnTo>
                <a:cubicBezTo>
                  <a:pt x="207" y="1797"/>
                  <a:pt x="111" y="2068"/>
                  <a:pt x="63" y="2275"/>
                </a:cubicBezTo>
                <a:cubicBezTo>
                  <a:pt x="63" y="2306"/>
                  <a:pt x="63" y="2322"/>
                  <a:pt x="80" y="2354"/>
                </a:cubicBezTo>
                <a:cubicBezTo>
                  <a:pt x="95" y="2370"/>
                  <a:pt x="111" y="2370"/>
                  <a:pt x="143" y="2370"/>
                </a:cubicBezTo>
                <a:cubicBezTo>
                  <a:pt x="271" y="2370"/>
                  <a:pt x="366" y="2354"/>
                  <a:pt x="446" y="2322"/>
                </a:cubicBezTo>
                <a:cubicBezTo>
                  <a:pt x="175" y="2545"/>
                  <a:pt x="0" y="2895"/>
                  <a:pt x="0" y="3245"/>
                </a:cubicBezTo>
                <a:lnTo>
                  <a:pt x="0" y="3548"/>
                </a:lnTo>
                <a:cubicBezTo>
                  <a:pt x="0" y="3595"/>
                  <a:pt x="48" y="3627"/>
                  <a:pt x="80" y="3627"/>
                </a:cubicBezTo>
                <a:lnTo>
                  <a:pt x="2355" y="3627"/>
                </a:lnTo>
                <a:cubicBezTo>
                  <a:pt x="2387" y="3627"/>
                  <a:pt x="2434" y="3595"/>
                  <a:pt x="2434" y="3548"/>
                </a:cubicBezTo>
                <a:lnTo>
                  <a:pt x="2434" y="3213"/>
                </a:lnTo>
                <a:cubicBezTo>
                  <a:pt x="2434" y="3166"/>
                  <a:pt x="2434" y="3118"/>
                  <a:pt x="2419" y="3086"/>
                </a:cubicBezTo>
                <a:lnTo>
                  <a:pt x="4455" y="3086"/>
                </a:lnTo>
                <a:cubicBezTo>
                  <a:pt x="4502" y="3086"/>
                  <a:pt x="4534" y="3054"/>
                  <a:pt x="4534" y="3007"/>
                </a:cubicBezTo>
                <a:lnTo>
                  <a:pt x="4534" y="79"/>
                </a:lnTo>
                <a:cubicBezTo>
                  <a:pt x="4534" y="31"/>
                  <a:pt x="4502" y="0"/>
                  <a:pt x="4455" y="0"/>
                </a:cubicBezTo>
                <a:close/>
                <a:moveTo>
                  <a:pt x="1273" y="843"/>
                </a:moveTo>
                <a:lnTo>
                  <a:pt x="1320" y="843"/>
                </a:lnTo>
                <a:cubicBezTo>
                  <a:pt x="1575" y="859"/>
                  <a:pt x="1782" y="1018"/>
                  <a:pt x="1893" y="1240"/>
                </a:cubicBezTo>
                <a:cubicBezTo>
                  <a:pt x="1671" y="1257"/>
                  <a:pt x="1464" y="1161"/>
                  <a:pt x="1320" y="1002"/>
                </a:cubicBezTo>
                <a:cubicBezTo>
                  <a:pt x="1305" y="970"/>
                  <a:pt x="1273" y="970"/>
                  <a:pt x="1241" y="970"/>
                </a:cubicBezTo>
                <a:cubicBezTo>
                  <a:pt x="1209" y="986"/>
                  <a:pt x="1193" y="1002"/>
                  <a:pt x="1177" y="1034"/>
                </a:cubicBezTo>
                <a:cubicBezTo>
                  <a:pt x="1146" y="1336"/>
                  <a:pt x="907" y="1575"/>
                  <a:pt x="605" y="1606"/>
                </a:cubicBezTo>
                <a:lnTo>
                  <a:pt x="605" y="1543"/>
                </a:lnTo>
                <a:lnTo>
                  <a:pt x="605" y="1511"/>
                </a:lnTo>
                <a:cubicBezTo>
                  <a:pt x="605" y="1145"/>
                  <a:pt x="907" y="843"/>
                  <a:pt x="1273" y="843"/>
                </a:cubicBezTo>
                <a:close/>
                <a:moveTo>
                  <a:pt x="1941" y="1511"/>
                </a:moveTo>
                <a:cubicBezTo>
                  <a:pt x="1941" y="1750"/>
                  <a:pt x="1814" y="1973"/>
                  <a:pt x="1623" y="2084"/>
                </a:cubicBezTo>
                <a:cubicBezTo>
                  <a:pt x="1591" y="2084"/>
                  <a:pt x="1543" y="2100"/>
                  <a:pt x="1528" y="2131"/>
                </a:cubicBezTo>
                <a:cubicBezTo>
                  <a:pt x="1448" y="2163"/>
                  <a:pt x="1368" y="2179"/>
                  <a:pt x="1273" y="2179"/>
                </a:cubicBezTo>
                <a:cubicBezTo>
                  <a:pt x="1114" y="2179"/>
                  <a:pt x="971" y="2131"/>
                  <a:pt x="859" y="2052"/>
                </a:cubicBezTo>
                <a:cubicBezTo>
                  <a:pt x="859" y="2020"/>
                  <a:pt x="859" y="2004"/>
                  <a:pt x="843" y="1988"/>
                </a:cubicBezTo>
                <a:cubicBezTo>
                  <a:pt x="828" y="1973"/>
                  <a:pt x="796" y="1957"/>
                  <a:pt x="780" y="1957"/>
                </a:cubicBezTo>
                <a:cubicBezTo>
                  <a:pt x="716" y="1909"/>
                  <a:pt x="684" y="1845"/>
                  <a:pt x="652" y="1766"/>
                </a:cubicBezTo>
                <a:cubicBezTo>
                  <a:pt x="955" y="1718"/>
                  <a:pt x="1209" y="1495"/>
                  <a:pt x="1305" y="1209"/>
                </a:cubicBezTo>
                <a:cubicBezTo>
                  <a:pt x="1480" y="1352"/>
                  <a:pt x="1702" y="1416"/>
                  <a:pt x="1941" y="1400"/>
                </a:cubicBezTo>
                <a:close/>
                <a:moveTo>
                  <a:pt x="493" y="1813"/>
                </a:moveTo>
                <a:cubicBezTo>
                  <a:pt x="525" y="1909"/>
                  <a:pt x="589" y="1988"/>
                  <a:pt x="637" y="2052"/>
                </a:cubicBezTo>
                <a:cubicBezTo>
                  <a:pt x="525" y="2148"/>
                  <a:pt x="414" y="2179"/>
                  <a:pt x="255" y="2211"/>
                </a:cubicBezTo>
                <a:cubicBezTo>
                  <a:pt x="302" y="2068"/>
                  <a:pt x="366" y="1909"/>
                  <a:pt x="493" y="1813"/>
                </a:cubicBezTo>
                <a:close/>
                <a:moveTo>
                  <a:pt x="2275" y="3468"/>
                </a:moveTo>
                <a:lnTo>
                  <a:pt x="159" y="3468"/>
                </a:lnTo>
                <a:lnTo>
                  <a:pt x="159" y="3245"/>
                </a:lnTo>
                <a:cubicBezTo>
                  <a:pt x="159" y="2816"/>
                  <a:pt x="462" y="2402"/>
                  <a:pt x="891" y="2243"/>
                </a:cubicBezTo>
                <a:cubicBezTo>
                  <a:pt x="1002" y="2306"/>
                  <a:pt x="1129" y="2339"/>
                  <a:pt x="1273" y="2339"/>
                </a:cubicBezTo>
                <a:cubicBezTo>
                  <a:pt x="1400" y="2339"/>
                  <a:pt x="1528" y="2322"/>
                  <a:pt x="1639" y="2259"/>
                </a:cubicBezTo>
                <a:cubicBezTo>
                  <a:pt x="2020" y="2418"/>
                  <a:pt x="2275" y="2784"/>
                  <a:pt x="2275" y="3213"/>
                </a:cubicBezTo>
                <a:close/>
                <a:moveTo>
                  <a:pt x="4375" y="2927"/>
                </a:moveTo>
                <a:lnTo>
                  <a:pt x="2402" y="2927"/>
                </a:lnTo>
                <a:cubicBezTo>
                  <a:pt x="2371" y="2816"/>
                  <a:pt x="2323" y="2704"/>
                  <a:pt x="2259" y="2609"/>
                </a:cubicBezTo>
                <a:cubicBezTo>
                  <a:pt x="2275" y="2593"/>
                  <a:pt x="2275" y="2593"/>
                  <a:pt x="2291" y="2593"/>
                </a:cubicBezTo>
                <a:lnTo>
                  <a:pt x="2816" y="2052"/>
                </a:lnTo>
                <a:cubicBezTo>
                  <a:pt x="2848" y="2020"/>
                  <a:pt x="2848" y="1973"/>
                  <a:pt x="2816" y="1940"/>
                </a:cubicBezTo>
                <a:cubicBezTo>
                  <a:pt x="2784" y="1909"/>
                  <a:pt x="2737" y="1909"/>
                  <a:pt x="2705" y="1940"/>
                </a:cubicBezTo>
                <a:lnTo>
                  <a:pt x="2180" y="2482"/>
                </a:lnTo>
                <a:cubicBezTo>
                  <a:pt x="2068" y="2354"/>
                  <a:pt x="1941" y="2243"/>
                  <a:pt x="1798" y="2163"/>
                </a:cubicBezTo>
                <a:cubicBezTo>
                  <a:pt x="1989" y="2004"/>
                  <a:pt x="2100" y="1782"/>
                  <a:pt x="2100" y="1511"/>
                </a:cubicBezTo>
                <a:cubicBezTo>
                  <a:pt x="2100" y="1082"/>
                  <a:pt x="1782" y="731"/>
                  <a:pt x="1384" y="684"/>
                </a:cubicBezTo>
                <a:lnTo>
                  <a:pt x="1368" y="684"/>
                </a:lnTo>
                <a:lnTo>
                  <a:pt x="1352" y="684"/>
                </a:lnTo>
                <a:lnTo>
                  <a:pt x="1320" y="684"/>
                </a:lnTo>
                <a:lnTo>
                  <a:pt x="1320" y="159"/>
                </a:lnTo>
                <a:lnTo>
                  <a:pt x="4375" y="159"/>
                </a:lnTo>
                <a:close/>
                <a:moveTo>
                  <a:pt x="2482" y="668"/>
                </a:moveTo>
                <a:lnTo>
                  <a:pt x="3659" y="668"/>
                </a:lnTo>
                <a:cubicBezTo>
                  <a:pt x="3707" y="668"/>
                  <a:pt x="3739" y="636"/>
                  <a:pt x="3739" y="588"/>
                </a:cubicBezTo>
                <a:cubicBezTo>
                  <a:pt x="3739" y="540"/>
                  <a:pt x="3707" y="509"/>
                  <a:pt x="3659" y="509"/>
                </a:cubicBezTo>
                <a:lnTo>
                  <a:pt x="2482" y="509"/>
                </a:lnTo>
                <a:cubicBezTo>
                  <a:pt x="2450" y="509"/>
                  <a:pt x="2402" y="540"/>
                  <a:pt x="2402" y="588"/>
                </a:cubicBezTo>
                <a:cubicBezTo>
                  <a:pt x="2402" y="636"/>
                  <a:pt x="2450" y="668"/>
                  <a:pt x="2482" y="668"/>
                </a:cubicBezTo>
                <a:close/>
                <a:moveTo>
                  <a:pt x="2482" y="1113"/>
                </a:moveTo>
                <a:lnTo>
                  <a:pt x="3946" y="1113"/>
                </a:lnTo>
                <a:cubicBezTo>
                  <a:pt x="3993" y="1113"/>
                  <a:pt x="4025" y="1066"/>
                  <a:pt x="4025" y="1034"/>
                </a:cubicBezTo>
                <a:cubicBezTo>
                  <a:pt x="4025" y="986"/>
                  <a:pt x="3993" y="954"/>
                  <a:pt x="3946" y="954"/>
                </a:cubicBezTo>
                <a:lnTo>
                  <a:pt x="2482" y="954"/>
                </a:lnTo>
                <a:cubicBezTo>
                  <a:pt x="2450" y="954"/>
                  <a:pt x="2402" y="986"/>
                  <a:pt x="2402" y="1034"/>
                </a:cubicBezTo>
                <a:cubicBezTo>
                  <a:pt x="2402" y="1066"/>
                  <a:pt x="2450" y="1113"/>
                  <a:pt x="2482" y="1113"/>
                </a:cubicBezTo>
                <a:close/>
                <a:moveTo>
                  <a:pt x="2482" y="1543"/>
                </a:moveTo>
                <a:lnTo>
                  <a:pt x="3946" y="1543"/>
                </a:lnTo>
                <a:cubicBezTo>
                  <a:pt x="3993" y="1543"/>
                  <a:pt x="4025" y="1511"/>
                  <a:pt x="4025" y="1463"/>
                </a:cubicBezTo>
                <a:cubicBezTo>
                  <a:pt x="4025" y="1416"/>
                  <a:pt x="3993" y="1384"/>
                  <a:pt x="3946" y="1384"/>
                </a:cubicBezTo>
                <a:lnTo>
                  <a:pt x="2482" y="1384"/>
                </a:lnTo>
                <a:cubicBezTo>
                  <a:pt x="2450" y="1384"/>
                  <a:pt x="2402" y="1416"/>
                  <a:pt x="2402" y="1463"/>
                </a:cubicBezTo>
                <a:cubicBezTo>
                  <a:pt x="2402" y="1511"/>
                  <a:pt x="2450" y="1543"/>
                  <a:pt x="2482" y="154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3" name="Freeform: Shape 12">
            <a:extLst>
              <a:ext uri="{FF2B5EF4-FFF2-40B4-BE49-F238E27FC236}">
                <a16:creationId xmlns:a16="http://schemas.microsoft.com/office/drawing/2014/main" id="{71A66EE9-34F9-BA42-9E3E-BC31980EC5AA}"/>
              </a:ext>
            </a:extLst>
          </p:cNvPr>
          <p:cNvSpPr/>
          <p:nvPr/>
        </p:nvSpPr>
        <p:spPr>
          <a:xfrm>
            <a:off x="5604117" y="6517672"/>
            <a:ext cx="1410120" cy="1700639"/>
          </a:xfrm>
          <a:custGeom>
            <a:avLst/>
            <a:gdLst/>
            <a:ahLst/>
            <a:cxnLst>
              <a:cxn ang="3cd4">
                <a:pos x="hc" y="t"/>
              </a:cxn>
              <a:cxn ang="cd2">
                <a:pos x="l" y="vc"/>
              </a:cxn>
              <a:cxn ang="cd4">
                <a:pos x="hc" y="b"/>
              </a:cxn>
              <a:cxn ang="0">
                <a:pos x="r" y="vc"/>
              </a:cxn>
            </a:cxnLst>
            <a:rect l="l" t="t" r="r" b="b"/>
            <a:pathLst>
              <a:path w="3918" h="4725">
                <a:moveTo>
                  <a:pt x="2579" y="1750"/>
                </a:moveTo>
                <a:cubicBezTo>
                  <a:pt x="2547" y="1718"/>
                  <a:pt x="2499" y="1718"/>
                  <a:pt x="2468" y="1750"/>
                </a:cubicBezTo>
                <a:lnTo>
                  <a:pt x="1959" y="2259"/>
                </a:lnTo>
                <a:lnTo>
                  <a:pt x="1449" y="1750"/>
                </a:lnTo>
                <a:cubicBezTo>
                  <a:pt x="1417" y="1718"/>
                  <a:pt x="1370" y="1718"/>
                  <a:pt x="1338" y="1750"/>
                </a:cubicBezTo>
                <a:cubicBezTo>
                  <a:pt x="1306" y="1782"/>
                  <a:pt x="1306" y="1830"/>
                  <a:pt x="1338" y="1861"/>
                </a:cubicBezTo>
                <a:lnTo>
                  <a:pt x="1847" y="2370"/>
                </a:lnTo>
                <a:lnTo>
                  <a:pt x="1338" y="2864"/>
                </a:lnTo>
                <a:cubicBezTo>
                  <a:pt x="1306" y="2896"/>
                  <a:pt x="1306" y="2959"/>
                  <a:pt x="1338" y="2991"/>
                </a:cubicBezTo>
                <a:cubicBezTo>
                  <a:pt x="1354" y="3007"/>
                  <a:pt x="1386" y="3007"/>
                  <a:pt x="1402" y="3007"/>
                </a:cubicBezTo>
                <a:cubicBezTo>
                  <a:pt x="1417" y="3007"/>
                  <a:pt x="1434" y="3007"/>
                  <a:pt x="1449" y="2991"/>
                </a:cubicBezTo>
                <a:lnTo>
                  <a:pt x="1959" y="2482"/>
                </a:lnTo>
                <a:lnTo>
                  <a:pt x="2468" y="2991"/>
                </a:lnTo>
                <a:cubicBezTo>
                  <a:pt x="2484" y="3007"/>
                  <a:pt x="2499" y="3007"/>
                  <a:pt x="2516" y="3007"/>
                </a:cubicBezTo>
                <a:cubicBezTo>
                  <a:pt x="2547" y="3007"/>
                  <a:pt x="2563" y="3007"/>
                  <a:pt x="2579" y="2991"/>
                </a:cubicBezTo>
                <a:cubicBezTo>
                  <a:pt x="2611" y="2959"/>
                  <a:pt x="2611" y="2896"/>
                  <a:pt x="2579" y="2864"/>
                </a:cubicBezTo>
                <a:lnTo>
                  <a:pt x="2070" y="2370"/>
                </a:lnTo>
                <a:lnTo>
                  <a:pt x="2579" y="1861"/>
                </a:lnTo>
                <a:cubicBezTo>
                  <a:pt x="2611" y="1830"/>
                  <a:pt x="2611" y="1782"/>
                  <a:pt x="2579" y="1750"/>
                </a:cubicBezTo>
                <a:close/>
                <a:moveTo>
                  <a:pt x="3693" y="2227"/>
                </a:moveTo>
                <a:cubicBezTo>
                  <a:pt x="3788" y="1527"/>
                  <a:pt x="3645" y="955"/>
                  <a:pt x="3311" y="557"/>
                </a:cubicBezTo>
                <a:cubicBezTo>
                  <a:pt x="2993" y="207"/>
                  <a:pt x="2516" y="0"/>
                  <a:pt x="1959" y="0"/>
                </a:cubicBezTo>
                <a:cubicBezTo>
                  <a:pt x="1402" y="0"/>
                  <a:pt x="925" y="207"/>
                  <a:pt x="606" y="557"/>
                </a:cubicBezTo>
                <a:cubicBezTo>
                  <a:pt x="272" y="955"/>
                  <a:pt x="129" y="1527"/>
                  <a:pt x="225" y="2227"/>
                </a:cubicBezTo>
                <a:cubicBezTo>
                  <a:pt x="161" y="2243"/>
                  <a:pt x="113" y="2275"/>
                  <a:pt x="81" y="2323"/>
                </a:cubicBezTo>
                <a:cubicBezTo>
                  <a:pt x="-46" y="2498"/>
                  <a:pt x="2" y="2800"/>
                  <a:pt x="49" y="3023"/>
                </a:cubicBezTo>
                <a:cubicBezTo>
                  <a:pt x="161" y="3389"/>
                  <a:pt x="352" y="3627"/>
                  <a:pt x="559" y="3643"/>
                </a:cubicBezTo>
                <a:cubicBezTo>
                  <a:pt x="829" y="4423"/>
                  <a:pt x="1656" y="4725"/>
                  <a:pt x="1959" y="4725"/>
                </a:cubicBezTo>
                <a:cubicBezTo>
                  <a:pt x="2277" y="4725"/>
                  <a:pt x="3088" y="4423"/>
                  <a:pt x="3359" y="3643"/>
                </a:cubicBezTo>
                <a:cubicBezTo>
                  <a:pt x="3581" y="3627"/>
                  <a:pt x="3772" y="3389"/>
                  <a:pt x="3868" y="3023"/>
                </a:cubicBezTo>
                <a:cubicBezTo>
                  <a:pt x="3916" y="2800"/>
                  <a:pt x="3963" y="2498"/>
                  <a:pt x="3836" y="2323"/>
                </a:cubicBezTo>
                <a:cubicBezTo>
                  <a:pt x="3804" y="2275"/>
                  <a:pt x="3756" y="2243"/>
                  <a:pt x="3693" y="2227"/>
                </a:cubicBezTo>
                <a:close/>
                <a:moveTo>
                  <a:pt x="3708" y="2975"/>
                </a:moveTo>
                <a:cubicBezTo>
                  <a:pt x="3629" y="3293"/>
                  <a:pt x="3470" y="3500"/>
                  <a:pt x="3311" y="3500"/>
                </a:cubicBezTo>
                <a:cubicBezTo>
                  <a:pt x="3263" y="3484"/>
                  <a:pt x="3231" y="3516"/>
                  <a:pt x="3216" y="3548"/>
                </a:cubicBezTo>
                <a:cubicBezTo>
                  <a:pt x="3008" y="4264"/>
                  <a:pt x="2229" y="4566"/>
                  <a:pt x="1959" y="4566"/>
                </a:cubicBezTo>
                <a:cubicBezTo>
                  <a:pt x="1688" y="4566"/>
                  <a:pt x="908" y="4264"/>
                  <a:pt x="702" y="3548"/>
                </a:cubicBezTo>
                <a:cubicBezTo>
                  <a:pt x="686" y="3516"/>
                  <a:pt x="654" y="3500"/>
                  <a:pt x="622" y="3500"/>
                </a:cubicBezTo>
                <a:cubicBezTo>
                  <a:pt x="463" y="3500"/>
                  <a:pt x="288" y="3293"/>
                  <a:pt x="208" y="2975"/>
                </a:cubicBezTo>
                <a:cubicBezTo>
                  <a:pt x="145" y="2705"/>
                  <a:pt x="145" y="2514"/>
                  <a:pt x="208" y="2418"/>
                </a:cubicBezTo>
                <a:cubicBezTo>
                  <a:pt x="225" y="2402"/>
                  <a:pt x="256" y="2387"/>
                  <a:pt x="304" y="2387"/>
                </a:cubicBezTo>
                <a:cubicBezTo>
                  <a:pt x="336" y="2387"/>
                  <a:pt x="352" y="2370"/>
                  <a:pt x="368" y="2355"/>
                </a:cubicBezTo>
                <a:cubicBezTo>
                  <a:pt x="383" y="2339"/>
                  <a:pt x="383" y="2307"/>
                  <a:pt x="383" y="2291"/>
                </a:cubicBezTo>
                <a:cubicBezTo>
                  <a:pt x="288" y="1607"/>
                  <a:pt x="415" y="1034"/>
                  <a:pt x="734" y="668"/>
                </a:cubicBezTo>
                <a:cubicBezTo>
                  <a:pt x="1020" y="334"/>
                  <a:pt x="1449" y="159"/>
                  <a:pt x="1959" y="159"/>
                </a:cubicBezTo>
                <a:cubicBezTo>
                  <a:pt x="2468" y="159"/>
                  <a:pt x="2897" y="334"/>
                  <a:pt x="3184" y="668"/>
                </a:cubicBezTo>
                <a:cubicBezTo>
                  <a:pt x="3518" y="1034"/>
                  <a:pt x="3629" y="1607"/>
                  <a:pt x="3534" y="2291"/>
                </a:cubicBezTo>
                <a:cubicBezTo>
                  <a:pt x="3534" y="2307"/>
                  <a:pt x="3534" y="2339"/>
                  <a:pt x="3550" y="2355"/>
                </a:cubicBezTo>
                <a:cubicBezTo>
                  <a:pt x="3565" y="2370"/>
                  <a:pt x="3581" y="2387"/>
                  <a:pt x="3613" y="2387"/>
                </a:cubicBezTo>
                <a:cubicBezTo>
                  <a:pt x="3661" y="2387"/>
                  <a:pt x="3693" y="2402"/>
                  <a:pt x="3708" y="2418"/>
                </a:cubicBezTo>
                <a:cubicBezTo>
                  <a:pt x="3788" y="2514"/>
                  <a:pt x="3788" y="2705"/>
                  <a:pt x="3708" y="297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4" name="Freeform: Shape 13">
            <a:extLst>
              <a:ext uri="{FF2B5EF4-FFF2-40B4-BE49-F238E27FC236}">
                <a16:creationId xmlns:a16="http://schemas.microsoft.com/office/drawing/2014/main" id="{3DC7429A-DB36-DD41-9BBE-4B3561F0032B}"/>
              </a:ext>
            </a:extLst>
          </p:cNvPr>
          <p:cNvSpPr/>
          <p:nvPr/>
        </p:nvSpPr>
        <p:spPr>
          <a:xfrm>
            <a:off x="9288248" y="6517672"/>
            <a:ext cx="1411560" cy="1700639"/>
          </a:xfrm>
          <a:custGeom>
            <a:avLst/>
            <a:gdLst/>
            <a:ahLst/>
            <a:cxnLst>
              <a:cxn ang="3cd4">
                <a:pos x="hc" y="t"/>
              </a:cxn>
              <a:cxn ang="cd2">
                <a:pos x="l" y="vc"/>
              </a:cxn>
              <a:cxn ang="cd4">
                <a:pos x="hc" y="b"/>
              </a:cxn>
              <a:cxn ang="0">
                <a:pos x="r" y="vc"/>
              </a:cxn>
            </a:cxnLst>
            <a:rect l="l" t="t" r="r" b="b"/>
            <a:pathLst>
              <a:path w="3922" h="4725">
                <a:moveTo>
                  <a:pt x="2761" y="2339"/>
                </a:moveTo>
                <a:cubicBezTo>
                  <a:pt x="2729" y="2339"/>
                  <a:pt x="2681" y="2370"/>
                  <a:pt x="2681" y="2418"/>
                </a:cubicBezTo>
                <a:cubicBezTo>
                  <a:pt x="2681" y="2816"/>
                  <a:pt x="2363" y="3150"/>
                  <a:pt x="1965" y="3150"/>
                </a:cubicBezTo>
                <a:cubicBezTo>
                  <a:pt x="1567" y="3150"/>
                  <a:pt x="1233" y="2816"/>
                  <a:pt x="1233" y="2418"/>
                </a:cubicBezTo>
                <a:cubicBezTo>
                  <a:pt x="1233" y="2021"/>
                  <a:pt x="1567" y="1702"/>
                  <a:pt x="1965" y="1702"/>
                </a:cubicBezTo>
                <a:cubicBezTo>
                  <a:pt x="2140" y="1702"/>
                  <a:pt x="2331" y="1766"/>
                  <a:pt x="2458" y="1893"/>
                </a:cubicBezTo>
                <a:lnTo>
                  <a:pt x="2236" y="1893"/>
                </a:lnTo>
                <a:cubicBezTo>
                  <a:pt x="2188" y="1893"/>
                  <a:pt x="2156" y="1925"/>
                  <a:pt x="2156" y="1973"/>
                </a:cubicBezTo>
                <a:cubicBezTo>
                  <a:pt x="2156" y="2021"/>
                  <a:pt x="2188" y="2052"/>
                  <a:pt x="2236" y="2052"/>
                </a:cubicBezTo>
                <a:lnTo>
                  <a:pt x="2665" y="2052"/>
                </a:lnTo>
                <a:cubicBezTo>
                  <a:pt x="2697" y="2052"/>
                  <a:pt x="2745" y="2021"/>
                  <a:pt x="2745" y="1973"/>
                </a:cubicBezTo>
                <a:lnTo>
                  <a:pt x="2745" y="1559"/>
                </a:lnTo>
                <a:cubicBezTo>
                  <a:pt x="2745" y="1511"/>
                  <a:pt x="2697" y="1479"/>
                  <a:pt x="2665" y="1479"/>
                </a:cubicBezTo>
                <a:cubicBezTo>
                  <a:pt x="2617" y="1479"/>
                  <a:pt x="2585" y="1511"/>
                  <a:pt x="2585" y="1559"/>
                </a:cubicBezTo>
                <a:lnTo>
                  <a:pt x="2585" y="1782"/>
                </a:lnTo>
                <a:cubicBezTo>
                  <a:pt x="2411" y="1623"/>
                  <a:pt x="2188" y="1543"/>
                  <a:pt x="1965" y="1543"/>
                </a:cubicBezTo>
                <a:cubicBezTo>
                  <a:pt x="1472" y="1543"/>
                  <a:pt x="1074" y="1941"/>
                  <a:pt x="1074" y="2418"/>
                </a:cubicBezTo>
                <a:cubicBezTo>
                  <a:pt x="1074" y="2912"/>
                  <a:pt x="1472" y="3309"/>
                  <a:pt x="1965" y="3309"/>
                </a:cubicBezTo>
                <a:cubicBezTo>
                  <a:pt x="2442" y="3309"/>
                  <a:pt x="2840" y="2912"/>
                  <a:pt x="2840" y="2418"/>
                </a:cubicBezTo>
                <a:cubicBezTo>
                  <a:pt x="2840" y="2370"/>
                  <a:pt x="2808" y="2339"/>
                  <a:pt x="2761" y="2339"/>
                </a:cubicBezTo>
                <a:close/>
                <a:moveTo>
                  <a:pt x="3699" y="2227"/>
                </a:moveTo>
                <a:cubicBezTo>
                  <a:pt x="3779" y="1527"/>
                  <a:pt x="3652" y="955"/>
                  <a:pt x="3302" y="557"/>
                </a:cubicBezTo>
                <a:cubicBezTo>
                  <a:pt x="2999" y="207"/>
                  <a:pt x="2522" y="0"/>
                  <a:pt x="1965" y="0"/>
                </a:cubicBezTo>
                <a:cubicBezTo>
                  <a:pt x="1408" y="0"/>
                  <a:pt x="931" y="207"/>
                  <a:pt x="613" y="557"/>
                </a:cubicBezTo>
                <a:cubicBezTo>
                  <a:pt x="279" y="955"/>
                  <a:pt x="136" y="1527"/>
                  <a:pt x="215" y="2227"/>
                </a:cubicBezTo>
                <a:cubicBezTo>
                  <a:pt x="167" y="2243"/>
                  <a:pt x="120" y="2275"/>
                  <a:pt x="88" y="2323"/>
                </a:cubicBezTo>
                <a:cubicBezTo>
                  <a:pt x="-40" y="2498"/>
                  <a:pt x="-8" y="2800"/>
                  <a:pt x="56" y="3023"/>
                </a:cubicBezTo>
                <a:cubicBezTo>
                  <a:pt x="151" y="3389"/>
                  <a:pt x="342" y="3627"/>
                  <a:pt x="565" y="3643"/>
                </a:cubicBezTo>
                <a:cubicBezTo>
                  <a:pt x="820" y="4423"/>
                  <a:pt x="1647" y="4725"/>
                  <a:pt x="1965" y="4725"/>
                </a:cubicBezTo>
                <a:cubicBezTo>
                  <a:pt x="2267" y="4725"/>
                  <a:pt x="3095" y="4423"/>
                  <a:pt x="3365" y="3643"/>
                </a:cubicBezTo>
                <a:cubicBezTo>
                  <a:pt x="3572" y="3627"/>
                  <a:pt x="3763" y="3389"/>
                  <a:pt x="3858" y="3023"/>
                </a:cubicBezTo>
                <a:cubicBezTo>
                  <a:pt x="3922" y="2800"/>
                  <a:pt x="3970" y="2498"/>
                  <a:pt x="3842" y="2323"/>
                </a:cubicBezTo>
                <a:cubicBezTo>
                  <a:pt x="3811" y="2275"/>
                  <a:pt x="3763" y="2243"/>
                  <a:pt x="3699" y="2227"/>
                </a:cubicBezTo>
                <a:close/>
                <a:moveTo>
                  <a:pt x="3715" y="2975"/>
                </a:moveTo>
                <a:cubicBezTo>
                  <a:pt x="3636" y="3293"/>
                  <a:pt x="3461" y="3500"/>
                  <a:pt x="3302" y="3500"/>
                </a:cubicBezTo>
                <a:cubicBezTo>
                  <a:pt x="3270" y="3484"/>
                  <a:pt x="3238" y="3516"/>
                  <a:pt x="3222" y="3548"/>
                </a:cubicBezTo>
                <a:cubicBezTo>
                  <a:pt x="3015" y="4264"/>
                  <a:pt x="2236" y="4566"/>
                  <a:pt x="1965" y="4566"/>
                </a:cubicBezTo>
                <a:cubicBezTo>
                  <a:pt x="1694" y="4566"/>
                  <a:pt x="915" y="4264"/>
                  <a:pt x="692" y="3548"/>
                </a:cubicBezTo>
                <a:cubicBezTo>
                  <a:pt x="692" y="3516"/>
                  <a:pt x="660" y="3500"/>
                  <a:pt x="629" y="3500"/>
                </a:cubicBezTo>
                <a:lnTo>
                  <a:pt x="613" y="3500"/>
                </a:lnTo>
                <a:cubicBezTo>
                  <a:pt x="454" y="3500"/>
                  <a:pt x="294" y="3293"/>
                  <a:pt x="215" y="2975"/>
                </a:cubicBezTo>
                <a:cubicBezTo>
                  <a:pt x="136" y="2705"/>
                  <a:pt x="136" y="2514"/>
                  <a:pt x="199" y="2418"/>
                </a:cubicBezTo>
                <a:cubicBezTo>
                  <a:pt x="231" y="2402"/>
                  <a:pt x="263" y="2387"/>
                  <a:pt x="311" y="2387"/>
                </a:cubicBezTo>
                <a:cubicBezTo>
                  <a:pt x="342" y="2387"/>
                  <a:pt x="358" y="2370"/>
                  <a:pt x="374" y="2355"/>
                </a:cubicBezTo>
                <a:cubicBezTo>
                  <a:pt x="390" y="2339"/>
                  <a:pt x="390" y="2307"/>
                  <a:pt x="390" y="2291"/>
                </a:cubicBezTo>
                <a:cubicBezTo>
                  <a:pt x="294" y="1607"/>
                  <a:pt x="406" y="1034"/>
                  <a:pt x="740" y="668"/>
                </a:cubicBezTo>
                <a:cubicBezTo>
                  <a:pt x="1011" y="334"/>
                  <a:pt x="1456" y="159"/>
                  <a:pt x="1965" y="159"/>
                </a:cubicBezTo>
                <a:cubicBezTo>
                  <a:pt x="2474" y="159"/>
                  <a:pt x="2904" y="334"/>
                  <a:pt x="3190" y="668"/>
                </a:cubicBezTo>
                <a:cubicBezTo>
                  <a:pt x="3508" y="1034"/>
                  <a:pt x="3636" y="1607"/>
                  <a:pt x="3540" y="2291"/>
                </a:cubicBezTo>
                <a:cubicBezTo>
                  <a:pt x="3524" y="2307"/>
                  <a:pt x="3540" y="2339"/>
                  <a:pt x="3556" y="2355"/>
                </a:cubicBezTo>
                <a:cubicBezTo>
                  <a:pt x="3572" y="2370"/>
                  <a:pt x="3588" y="2387"/>
                  <a:pt x="3620" y="2387"/>
                </a:cubicBezTo>
                <a:cubicBezTo>
                  <a:pt x="3667" y="2387"/>
                  <a:pt x="3699" y="2402"/>
                  <a:pt x="3715" y="2418"/>
                </a:cubicBezTo>
                <a:cubicBezTo>
                  <a:pt x="3779" y="2514"/>
                  <a:pt x="3779" y="2705"/>
                  <a:pt x="3715" y="297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5" name="Freeform: Shape 15">
            <a:extLst>
              <a:ext uri="{FF2B5EF4-FFF2-40B4-BE49-F238E27FC236}">
                <a16:creationId xmlns:a16="http://schemas.microsoft.com/office/drawing/2014/main" id="{ED2AFD55-5880-2E49-A201-55C9017A4397}"/>
              </a:ext>
            </a:extLst>
          </p:cNvPr>
          <p:cNvSpPr/>
          <p:nvPr/>
        </p:nvSpPr>
        <p:spPr>
          <a:xfrm>
            <a:off x="1915306" y="6592191"/>
            <a:ext cx="1414800" cy="1700639"/>
          </a:xfrm>
          <a:custGeom>
            <a:avLst/>
            <a:gdLst/>
            <a:ahLst/>
            <a:cxnLst>
              <a:cxn ang="3cd4">
                <a:pos x="hc" y="t"/>
              </a:cxn>
              <a:cxn ang="cd2">
                <a:pos x="l" y="vc"/>
              </a:cxn>
              <a:cxn ang="cd4">
                <a:pos x="hc" y="b"/>
              </a:cxn>
              <a:cxn ang="0">
                <a:pos x="r" y="vc"/>
              </a:cxn>
            </a:cxnLst>
            <a:rect l="l" t="t" r="r" b="b"/>
            <a:pathLst>
              <a:path w="3931" h="4725">
                <a:moveTo>
                  <a:pt x="2818" y="1640"/>
                </a:moveTo>
                <a:cubicBezTo>
                  <a:pt x="2786" y="1608"/>
                  <a:pt x="2738" y="1623"/>
                  <a:pt x="2706" y="1655"/>
                </a:cubicBezTo>
                <a:lnTo>
                  <a:pt x="1895" y="2928"/>
                </a:lnTo>
                <a:lnTo>
                  <a:pt x="1338" y="2435"/>
                </a:lnTo>
                <a:cubicBezTo>
                  <a:pt x="1306" y="2403"/>
                  <a:pt x="1258" y="2403"/>
                  <a:pt x="1227" y="2451"/>
                </a:cubicBezTo>
                <a:cubicBezTo>
                  <a:pt x="1195" y="2483"/>
                  <a:pt x="1210" y="2531"/>
                  <a:pt x="1242" y="2562"/>
                </a:cubicBezTo>
                <a:lnTo>
                  <a:pt x="1847" y="3119"/>
                </a:lnTo>
                <a:cubicBezTo>
                  <a:pt x="1863" y="3119"/>
                  <a:pt x="1879" y="3135"/>
                  <a:pt x="1910" y="3135"/>
                </a:cubicBezTo>
                <a:cubicBezTo>
                  <a:pt x="1942" y="3135"/>
                  <a:pt x="1958" y="3119"/>
                  <a:pt x="1974" y="3103"/>
                </a:cubicBezTo>
                <a:lnTo>
                  <a:pt x="2849" y="1751"/>
                </a:lnTo>
                <a:cubicBezTo>
                  <a:pt x="2865" y="1703"/>
                  <a:pt x="2865" y="1655"/>
                  <a:pt x="2818" y="1640"/>
                </a:cubicBezTo>
                <a:close/>
                <a:moveTo>
                  <a:pt x="3708" y="2227"/>
                </a:moveTo>
                <a:cubicBezTo>
                  <a:pt x="3787" y="1527"/>
                  <a:pt x="3660" y="954"/>
                  <a:pt x="3309" y="557"/>
                </a:cubicBezTo>
                <a:cubicBezTo>
                  <a:pt x="2991" y="191"/>
                  <a:pt x="2514" y="0"/>
                  <a:pt x="1973" y="0"/>
                </a:cubicBezTo>
                <a:cubicBezTo>
                  <a:pt x="1417" y="0"/>
                  <a:pt x="939" y="191"/>
                  <a:pt x="621" y="557"/>
                </a:cubicBezTo>
                <a:cubicBezTo>
                  <a:pt x="271" y="954"/>
                  <a:pt x="144" y="1527"/>
                  <a:pt x="223" y="2227"/>
                </a:cubicBezTo>
                <a:cubicBezTo>
                  <a:pt x="175" y="2243"/>
                  <a:pt x="127" y="2275"/>
                  <a:pt x="80" y="2322"/>
                </a:cubicBezTo>
                <a:cubicBezTo>
                  <a:pt x="-47" y="2482"/>
                  <a:pt x="0" y="2784"/>
                  <a:pt x="64" y="3007"/>
                </a:cubicBezTo>
                <a:cubicBezTo>
                  <a:pt x="160" y="3373"/>
                  <a:pt x="350" y="3611"/>
                  <a:pt x="573" y="3643"/>
                </a:cubicBezTo>
                <a:cubicBezTo>
                  <a:pt x="827" y="4407"/>
                  <a:pt x="1655" y="4725"/>
                  <a:pt x="1973" y="4725"/>
                </a:cubicBezTo>
                <a:cubicBezTo>
                  <a:pt x="2275" y="4725"/>
                  <a:pt x="3103" y="4407"/>
                  <a:pt x="3357" y="3643"/>
                </a:cubicBezTo>
                <a:cubicBezTo>
                  <a:pt x="3580" y="3611"/>
                  <a:pt x="3771" y="3373"/>
                  <a:pt x="3866" y="3007"/>
                </a:cubicBezTo>
                <a:cubicBezTo>
                  <a:pt x="3930" y="2784"/>
                  <a:pt x="3978" y="2482"/>
                  <a:pt x="3851" y="2322"/>
                </a:cubicBezTo>
                <a:cubicBezTo>
                  <a:pt x="3803" y="2275"/>
                  <a:pt x="3755" y="2243"/>
                  <a:pt x="3708" y="2227"/>
                </a:cubicBezTo>
                <a:close/>
                <a:moveTo>
                  <a:pt x="3723" y="2975"/>
                </a:moveTo>
                <a:cubicBezTo>
                  <a:pt x="3628" y="3293"/>
                  <a:pt x="3469" y="3500"/>
                  <a:pt x="3309" y="3484"/>
                </a:cubicBezTo>
                <a:cubicBezTo>
                  <a:pt x="3262" y="3484"/>
                  <a:pt x="3246" y="3500"/>
                  <a:pt x="3230" y="3548"/>
                </a:cubicBezTo>
                <a:cubicBezTo>
                  <a:pt x="3008" y="4264"/>
                  <a:pt x="2244" y="4566"/>
                  <a:pt x="1973" y="4566"/>
                </a:cubicBezTo>
                <a:cubicBezTo>
                  <a:pt x="1687" y="4566"/>
                  <a:pt x="923" y="4264"/>
                  <a:pt x="700" y="3548"/>
                </a:cubicBezTo>
                <a:cubicBezTo>
                  <a:pt x="700" y="3500"/>
                  <a:pt x="669" y="3484"/>
                  <a:pt x="621" y="3484"/>
                </a:cubicBezTo>
                <a:cubicBezTo>
                  <a:pt x="462" y="3500"/>
                  <a:pt x="303" y="3293"/>
                  <a:pt x="207" y="2975"/>
                </a:cubicBezTo>
                <a:cubicBezTo>
                  <a:pt x="144" y="2704"/>
                  <a:pt x="144" y="2497"/>
                  <a:pt x="207" y="2418"/>
                </a:cubicBezTo>
                <a:cubicBezTo>
                  <a:pt x="239" y="2386"/>
                  <a:pt x="271" y="2370"/>
                  <a:pt x="318" y="2370"/>
                </a:cubicBezTo>
                <a:cubicBezTo>
                  <a:pt x="335" y="2370"/>
                  <a:pt x="366" y="2370"/>
                  <a:pt x="382" y="2339"/>
                </a:cubicBezTo>
                <a:cubicBezTo>
                  <a:pt x="382" y="2322"/>
                  <a:pt x="398" y="2307"/>
                  <a:pt x="398" y="2275"/>
                </a:cubicBezTo>
                <a:cubicBezTo>
                  <a:pt x="303" y="1591"/>
                  <a:pt x="414" y="1034"/>
                  <a:pt x="732" y="652"/>
                </a:cubicBezTo>
                <a:cubicBezTo>
                  <a:pt x="1018" y="334"/>
                  <a:pt x="1464" y="159"/>
                  <a:pt x="1973" y="159"/>
                </a:cubicBezTo>
                <a:cubicBezTo>
                  <a:pt x="2466" y="159"/>
                  <a:pt x="2912" y="334"/>
                  <a:pt x="3198" y="652"/>
                </a:cubicBezTo>
                <a:cubicBezTo>
                  <a:pt x="3517" y="1034"/>
                  <a:pt x="3628" y="1591"/>
                  <a:pt x="3532" y="2275"/>
                </a:cubicBezTo>
                <a:cubicBezTo>
                  <a:pt x="3532" y="2307"/>
                  <a:pt x="3548" y="2322"/>
                  <a:pt x="3564" y="2339"/>
                </a:cubicBezTo>
                <a:cubicBezTo>
                  <a:pt x="3564" y="2370"/>
                  <a:pt x="3596" y="2370"/>
                  <a:pt x="3612" y="2370"/>
                </a:cubicBezTo>
                <a:cubicBezTo>
                  <a:pt x="3660" y="2370"/>
                  <a:pt x="3691" y="2386"/>
                  <a:pt x="3723" y="2418"/>
                </a:cubicBezTo>
                <a:cubicBezTo>
                  <a:pt x="3787" y="2497"/>
                  <a:pt x="3787" y="2704"/>
                  <a:pt x="3723" y="297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6" name="TextBox 55">
            <a:extLst>
              <a:ext uri="{FF2B5EF4-FFF2-40B4-BE49-F238E27FC236}">
                <a16:creationId xmlns:a16="http://schemas.microsoft.com/office/drawing/2014/main" id="{49240186-3788-AD4E-9D4C-043C9A9A561C}"/>
              </a:ext>
            </a:extLst>
          </p:cNvPr>
          <p:cNvSpPr txBox="1"/>
          <p:nvPr/>
        </p:nvSpPr>
        <p:spPr>
          <a:xfrm>
            <a:off x="11935670" y="5167441"/>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ead +</a:t>
            </a:r>
          </a:p>
        </p:txBody>
      </p:sp>
      <p:sp>
        <p:nvSpPr>
          <p:cNvPr id="57" name="TextBox 56">
            <a:extLst>
              <a:ext uri="{FF2B5EF4-FFF2-40B4-BE49-F238E27FC236}">
                <a16:creationId xmlns:a16="http://schemas.microsoft.com/office/drawing/2014/main" id="{D2A0CDC3-6032-9044-883A-1701313F422D}"/>
              </a:ext>
            </a:extLst>
          </p:cNvPr>
          <p:cNvSpPr txBox="1"/>
          <p:nvPr/>
        </p:nvSpPr>
        <p:spPr>
          <a:xfrm>
            <a:off x="15987922" y="5167441"/>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ead –</a:t>
            </a:r>
          </a:p>
        </p:txBody>
      </p:sp>
      <p:sp>
        <p:nvSpPr>
          <p:cNvPr id="58" name="TextBox 57">
            <a:extLst>
              <a:ext uri="{FF2B5EF4-FFF2-40B4-BE49-F238E27FC236}">
                <a16:creationId xmlns:a16="http://schemas.microsoft.com/office/drawing/2014/main" id="{7193EB2D-F807-7342-9F83-F48A14BF4BA8}"/>
              </a:ext>
            </a:extLst>
          </p:cNvPr>
          <p:cNvSpPr txBox="1"/>
          <p:nvPr/>
        </p:nvSpPr>
        <p:spPr>
          <a:xfrm>
            <a:off x="12072689" y="8468543"/>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ead Chat</a:t>
            </a:r>
          </a:p>
        </p:txBody>
      </p:sp>
      <p:sp>
        <p:nvSpPr>
          <p:cNvPr id="59" name="Freeform: Shape 26">
            <a:extLst>
              <a:ext uri="{FF2B5EF4-FFF2-40B4-BE49-F238E27FC236}">
                <a16:creationId xmlns:a16="http://schemas.microsoft.com/office/drawing/2014/main" id="{64CB2700-5842-CA4F-B8CA-F9FA3B5379B2}"/>
              </a:ext>
            </a:extLst>
          </p:cNvPr>
          <p:cNvSpPr/>
          <p:nvPr/>
        </p:nvSpPr>
        <p:spPr>
          <a:xfrm>
            <a:off x="17770253" y="4024146"/>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Freeform: Shape 16">
            <a:extLst>
              <a:ext uri="{FF2B5EF4-FFF2-40B4-BE49-F238E27FC236}">
                <a16:creationId xmlns:a16="http://schemas.microsoft.com/office/drawing/2014/main" id="{14437C67-8D59-5B40-8795-39585C9CBCA7}"/>
              </a:ext>
            </a:extLst>
          </p:cNvPr>
          <p:cNvSpPr/>
          <p:nvPr/>
        </p:nvSpPr>
        <p:spPr>
          <a:xfrm>
            <a:off x="13032689" y="3107015"/>
            <a:ext cx="1414440" cy="1700999"/>
          </a:xfrm>
          <a:custGeom>
            <a:avLst/>
            <a:gdLst/>
            <a:ahLst/>
            <a:cxnLst>
              <a:cxn ang="3cd4">
                <a:pos x="hc" y="t"/>
              </a:cxn>
              <a:cxn ang="cd2">
                <a:pos x="l" y="vc"/>
              </a:cxn>
              <a:cxn ang="cd4">
                <a:pos x="hc" y="b"/>
              </a:cxn>
              <a:cxn ang="0">
                <a:pos x="r" y="vc"/>
              </a:cxn>
            </a:cxnLst>
            <a:rect l="l" t="t" r="r" b="b"/>
            <a:pathLst>
              <a:path w="3930" h="4726">
                <a:moveTo>
                  <a:pt x="1178" y="2451"/>
                </a:moveTo>
                <a:lnTo>
                  <a:pt x="1894" y="2451"/>
                </a:lnTo>
                <a:lnTo>
                  <a:pt x="1894" y="3151"/>
                </a:lnTo>
                <a:cubicBezTo>
                  <a:pt x="1894" y="3198"/>
                  <a:pt x="1926" y="3230"/>
                  <a:pt x="1973" y="3230"/>
                </a:cubicBezTo>
                <a:cubicBezTo>
                  <a:pt x="2005" y="3230"/>
                  <a:pt x="2053" y="3198"/>
                  <a:pt x="2053" y="3151"/>
                </a:cubicBezTo>
                <a:lnTo>
                  <a:pt x="2053" y="2451"/>
                </a:lnTo>
                <a:lnTo>
                  <a:pt x="2753" y="2451"/>
                </a:lnTo>
                <a:cubicBezTo>
                  <a:pt x="2801" y="2451"/>
                  <a:pt x="2833" y="2403"/>
                  <a:pt x="2833" y="2371"/>
                </a:cubicBezTo>
                <a:cubicBezTo>
                  <a:pt x="2833" y="2324"/>
                  <a:pt x="2801" y="2291"/>
                  <a:pt x="2753" y="2291"/>
                </a:cubicBezTo>
                <a:lnTo>
                  <a:pt x="2053" y="2291"/>
                </a:lnTo>
                <a:lnTo>
                  <a:pt x="2053" y="1576"/>
                </a:lnTo>
                <a:cubicBezTo>
                  <a:pt x="2053" y="1528"/>
                  <a:pt x="2005" y="1496"/>
                  <a:pt x="1973" y="1496"/>
                </a:cubicBezTo>
                <a:cubicBezTo>
                  <a:pt x="1926" y="1496"/>
                  <a:pt x="1894" y="1528"/>
                  <a:pt x="1894" y="1576"/>
                </a:cubicBezTo>
                <a:lnTo>
                  <a:pt x="1894" y="2291"/>
                </a:lnTo>
                <a:lnTo>
                  <a:pt x="1178" y="2291"/>
                </a:lnTo>
                <a:cubicBezTo>
                  <a:pt x="1130" y="2291"/>
                  <a:pt x="1098" y="2324"/>
                  <a:pt x="1098" y="2371"/>
                </a:cubicBezTo>
                <a:cubicBezTo>
                  <a:pt x="1098" y="2403"/>
                  <a:pt x="1130" y="2451"/>
                  <a:pt x="1178" y="2451"/>
                </a:cubicBezTo>
                <a:close/>
                <a:moveTo>
                  <a:pt x="80" y="2324"/>
                </a:moveTo>
                <a:cubicBezTo>
                  <a:pt x="-47" y="2498"/>
                  <a:pt x="1" y="2785"/>
                  <a:pt x="64" y="3007"/>
                </a:cubicBezTo>
                <a:cubicBezTo>
                  <a:pt x="160" y="3389"/>
                  <a:pt x="351" y="3612"/>
                  <a:pt x="573" y="3644"/>
                </a:cubicBezTo>
                <a:cubicBezTo>
                  <a:pt x="828" y="4407"/>
                  <a:pt x="1655" y="4726"/>
                  <a:pt x="1973" y="4726"/>
                </a:cubicBezTo>
                <a:cubicBezTo>
                  <a:pt x="2276" y="4726"/>
                  <a:pt x="3103" y="4407"/>
                  <a:pt x="3358" y="3644"/>
                </a:cubicBezTo>
                <a:cubicBezTo>
                  <a:pt x="3580" y="3612"/>
                  <a:pt x="3771" y="3389"/>
                  <a:pt x="3867" y="3007"/>
                </a:cubicBezTo>
                <a:cubicBezTo>
                  <a:pt x="3930" y="2785"/>
                  <a:pt x="3978" y="2498"/>
                  <a:pt x="3851" y="2324"/>
                </a:cubicBezTo>
                <a:cubicBezTo>
                  <a:pt x="3819" y="2276"/>
                  <a:pt x="3771" y="2244"/>
                  <a:pt x="3707" y="2228"/>
                </a:cubicBezTo>
                <a:cubicBezTo>
                  <a:pt x="3787" y="1528"/>
                  <a:pt x="3660" y="955"/>
                  <a:pt x="3310" y="557"/>
                </a:cubicBezTo>
                <a:cubicBezTo>
                  <a:pt x="3007" y="207"/>
                  <a:pt x="2515" y="0"/>
                  <a:pt x="1973" y="0"/>
                </a:cubicBezTo>
                <a:cubicBezTo>
                  <a:pt x="1416" y="0"/>
                  <a:pt x="939" y="207"/>
                  <a:pt x="621" y="557"/>
                </a:cubicBezTo>
                <a:cubicBezTo>
                  <a:pt x="271" y="955"/>
                  <a:pt x="144" y="1528"/>
                  <a:pt x="224" y="2228"/>
                </a:cubicBezTo>
                <a:cubicBezTo>
                  <a:pt x="176" y="2244"/>
                  <a:pt x="128" y="2276"/>
                  <a:pt x="80" y="2324"/>
                </a:cubicBezTo>
                <a:close/>
                <a:moveTo>
                  <a:pt x="207" y="2419"/>
                </a:moveTo>
                <a:cubicBezTo>
                  <a:pt x="239" y="2387"/>
                  <a:pt x="271" y="2371"/>
                  <a:pt x="319" y="2371"/>
                </a:cubicBezTo>
                <a:cubicBezTo>
                  <a:pt x="335" y="2371"/>
                  <a:pt x="367" y="2371"/>
                  <a:pt x="382" y="2355"/>
                </a:cubicBezTo>
                <a:cubicBezTo>
                  <a:pt x="398" y="2339"/>
                  <a:pt x="398" y="2307"/>
                  <a:pt x="398" y="2291"/>
                </a:cubicBezTo>
                <a:cubicBezTo>
                  <a:pt x="303" y="1591"/>
                  <a:pt x="414" y="1034"/>
                  <a:pt x="733" y="669"/>
                </a:cubicBezTo>
                <a:cubicBezTo>
                  <a:pt x="1019" y="334"/>
                  <a:pt x="1464" y="160"/>
                  <a:pt x="1973" y="160"/>
                </a:cubicBezTo>
                <a:cubicBezTo>
                  <a:pt x="2483" y="160"/>
                  <a:pt x="2912" y="334"/>
                  <a:pt x="3198" y="669"/>
                </a:cubicBezTo>
                <a:cubicBezTo>
                  <a:pt x="3517" y="1034"/>
                  <a:pt x="3644" y="1591"/>
                  <a:pt x="3533" y="2291"/>
                </a:cubicBezTo>
                <a:cubicBezTo>
                  <a:pt x="3533" y="2307"/>
                  <a:pt x="3549" y="2339"/>
                  <a:pt x="3564" y="2355"/>
                </a:cubicBezTo>
                <a:cubicBezTo>
                  <a:pt x="3580" y="2371"/>
                  <a:pt x="3596" y="2371"/>
                  <a:pt x="3612" y="2371"/>
                </a:cubicBezTo>
                <a:cubicBezTo>
                  <a:pt x="3660" y="2371"/>
                  <a:pt x="3692" y="2387"/>
                  <a:pt x="3724" y="2419"/>
                </a:cubicBezTo>
                <a:cubicBezTo>
                  <a:pt x="3787" y="2514"/>
                  <a:pt x="3787" y="2705"/>
                  <a:pt x="3724" y="2976"/>
                </a:cubicBezTo>
                <a:cubicBezTo>
                  <a:pt x="3628" y="3294"/>
                  <a:pt x="3469" y="3501"/>
                  <a:pt x="3310" y="3485"/>
                </a:cubicBezTo>
                <a:cubicBezTo>
                  <a:pt x="3278" y="3485"/>
                  <a:pt x="3246" y="3516"/>
                  <a:pt x="3230" y="3548"/>
                </a:cubicBezTo>
                <a:cubicBezTo>
                  <a:pt x="3007" y="4264"/>
                  <a:pt x="2244" y="4567"/>
                  <a:pt x="1973" y="4567"/>
                </a:cubicBezTo>
                <a:cubicBezTo>
                  <a:pt x="1687" y="4567"/>
                  <a:pt x="924" y="4264"/>
                  <a:pt x="701" y="3548"/>
                </a:cubicBezTo>
                <a:cubicBezTo>
                  <a:pt x="701" y="3516"/>
                  <a:pt x="669" y="3485"/>
                  <a:pt x="621" y="3485"/>
                </a:cubicBezTo>
                <a:cubicBezTo>
                  <a:pt x="462" y="3501"/>
                  <a:pt x="303" y="3294"/>
                  <a:pt x="224" y="2976"/>
                </a:cubicBezTo>
                <a:cubicBezTo>
                  <a:pt x="144" y="2705"/>
                  <a:pt x="144" y="2514"/>
                  <a:pt x="207" y="241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Freeform: Shape 17">
            <a:extLst>
              <a:ext uri="{FF2B5EF4-FFF2-40B4-BE49-F238E27FC236}">
                <a16:creationId xmlns:a16="http://schemas.microsoft.com/office/drawing/2014/main" id="{133445A8-CCC8-C64C-899C-02AC07F894D2}"/>
              </a:ext>
            </a:extLst>
          </p:cNvPr>
          <p:cNvSpPr/>
          <p:nvPr/>
        </p:nvSpPr>
        <p:spPr>
          <a:xfrm>
            <a:off x="16997876" y="3107015"/>
            <a:ext cx="1412640" cy="1700999"/>
          </a:xfrm>
          <a:custGeom>
            <a:avLst/>
            <a:gdLst/>
            <a:ahLst/>
            <a:cxnLst>
              <a:cxn ang="3cd4">
                <a:pos x="hc" y="t"/>
              </a:cxn>
              <a:cxn ang="cd2">
                <a:pos x="l" y="vc"/>
              </a:cxn>
              <a:cxn ang="cd4">
                <a:pos x="hc" y="b"/>
              </a:cxn>
              <a:cxn ang="0">
                <a:pos x="r" y="vc"/>
              </a:cxn>
            </a:cxnLst>
            <a:rect l="l" t="t" r="r" b="b"/>
            <a:pathLst>
              <a:path w="3925" h="4726">
                <a:moveTo>
                  <a:pt x="1322" y="2451"/>
                </a:moveTo>
                <a:lnTo>
                  <a:pt x="2595" y="2451"/>
                </a:lnTo>
                <a:cubicBezTo>
                  <a:pt x="2642" y="2451"/>
                  <a:pt x="2674" y="2403"/>
                  <a:pt x="2674" y="2371"/>
                </a:cubicBezTo>
                <a:cubicBezTo>
                  <a:pt x="2674" y="2324"/>
                  <a:pt x="2642" y="2291"/>
                  <a:pt x="2595" y="2291"/>
                </a:cubicBezTo>
                <a:lnTo>
                  <a:pt x="1322" y="2291"/>
                </a:lnTo>
                <a:cubicBezTo>
                  <a:pt x="1290" y="2291"/>
                  <a:pt x="1242" y="2324"/>
                  <a:pt x="1242" y="2371"/>
                </a:cubicBezTo>
                <a:cubicBezTo>
                  <a:pt x="1242" y="2403"/>
                  <a:pt x="1290" y="2451"/>
                  <a:pt x="1322" y="2451"/>
                </a:cubicBezTo>
                <a:close/>
                <a:moveTo>
                  <a:pt x="557" y="3644"/>
                </a:moveTo>
                <a:cubicBezTo>
                  <a:pt x="828" y="4407"/>
                  <a:pt x="1655" y="4726"/>
                  <a:pt x="1957" y="4726"/>
                </a:cubicBezTo>
                <a:cubicBezTo>
                  <a:pt x="2275" y="4726"/>
                  <a:pt x="3103" y="4407"/>
                  <a:pt x="3357" y="3644"/>
                </a:cubicBezTo>
                <a:cubicBezTo>
                  <a:pt x="3580" y="3612"/>
                  <a:pt x="3771" y="3389"/>
                  <a:pt x="3867" y="3007"/>
                </a:cubicBezTo>
                <a:cubicBezTo>
                  <a:pt x="3930" y="2785"/>
                  <a:pt x="3962" y="2498"/>
                  <a:pt x="3850" y="2324"/>
                </a:cubicBezTo>
                <a:cubicBezTo>
                  <a:pt x="3803" y="2276"/>
                  <a:pt x="3755" y="2244"/>
                  <a:pt x="3707" y="2228"/>
                </a:cubicBezTo>
                <a:cubicBezTo>
                  <a:pt x="3787" y="1528"/>
                  <a:pt x="3644" y="955"/>
                  <a:pt x="3310" y="557"/>
                </a:cubicBezTo>
                <a:cubicBezTo>
                  <a:pt x="2991" y="207"/>
                  <a:pt x="2514" y="0"/>
                  <a:pt x="1957" y="0"/>
                </a:cubicBezTo>
                <a:cubicBezTo>
                  <a:pt x="1400" y="0"/>
                  <a:pt x="923" y="207"/>
                  <a:pt x="621" y="557"/>
                </a:cubicBezTo>
                <a:cubicBezTo>
                  <a:pt x="271" y="955"/>
                  <a:pt x="143" y="1528"/>
                  <a:pt x="223" y="2228"/>
                </a:cubicBezTo>
                <a:cubicBezTo>
                  <a:pt x="159" y="2244"/>
                  <a:pt x="112" y="2276"/>
                  <a:pt x="80" y="2324"/>
                </a:cubicBezTo>
                <a:cubicBezTo>
                  <a:pt x="-48" y="2498"/>
                  <a:pt x="0" y="2785"/>
                  <a:pt x="64" y="3007"/>
                </a:cubicBezTo>
                <a:cubicBezTo>
                  <a:pt x="159" y="3389"/>
                  <a:pt x="350" y="3612"/>
                  <a:pt x="557" y="3644"/>
                </a:cubicBezTo>
                <a:close/>
                <a:moveTo>
                  <a:pt x="207" y="2419"/>
                </a:moveTo>
                <a:cubicBezTo>
                  <a:pt x="223" y="2387"/>
                  <a:pt x="271" y="2371"/>
                  <a:pt x="318" y="2371"/>
                </a:cubicBezTo>
                <a:cubicBezTo>
                  <a:pt x="334" y="2371"/>
                  <a:pt x="350" y="2371"/>
                  <a:pt x="366" y="2355"/>
                </a:cubicBezTo>
                <a:cubicBezTo>
                  <a:pt x="382" y="2339"/>
                  <a:pt x="398" y="2307"/>
                  <a:pt x="382" y="2291"/>
                </a:cubicBezTo>
                <a:cubicBezTo>
                  <a:pt x="286" y="1591"/>
                  <a:pt x="414" y="1034"/>
                  <a:pt x="732" y="669"/>
                </a:cubicBezTo>
                <a:cubicBezTo>
                  <a:pt x="1018" y="334"/>
                  <a:pt x="1448" y="160"/>
                  <a:pt x="1957" y="160"/>
                </a:cubicBezTo>
                <a:cubicBezTo>
                  <a:pt x="2466" y="160"/>
                  <a:pt x="2912" y="334"/>
                  <a:pt x="3182" y="669"/>
                </a:cubicBezTo>
                <a:cubicBezTo>
                  <a:pt x="3516" y="1034"/>
                  <a:pt x="3628" y="1591"/>
                  <a:pt x="3532" y="2291"/>
                </a:cubicBezTo>
                <a:cubicBezTo>
                  <a:pt x="3532" y="2307"/>
                  <a:pt x="3532" y="2339"/>
                  <a:pt x="3548" y="2355"/>
                </a:cubicBezTo>
                <a:cubicBezTo>
                  <a:pt x="3564" y="2371"/>
                  <a:pt x="3596" y="2371"/>
                  <a:pt x="3612" y="2371"/>
                </a:cubicBezTo>
                <a:cubicBezTo>
                  <a:pt x="3659" y="2371"/>
                  <a:pt x="3691" y="2387"/>
                  <a:pt x="3723" y="2419"/>
                </a:cubicBezTo>
                <a:cubicBezTo>
                  <a:pt x="3787" y="2514"/>
                  <a:pt x="3787" y="2705"/>
                  <a:pt x="3707" y="2976"/>
                </a:cubicBezTo>
                <a:cubicBezTo>
                  <a:pt x="3628" y="3294"/>
                  <a:pt x="3468" y="3501"/>
                  <a:pt x="3310" y="3485"/>
                </a:cubicBezTo>
                <a:cubicBezTo>
                  <a:pt x="3262" y="3485"/>
                  <a:pt x="3230" y="3516"/>
                  <a:pt x="3230" y="3548"/>
                </a:cubicBezTo>
                <a:cubicBezTo>
                  <a:pt x="3007" y="4264"/>
                  <a:pt x="2228" y="4567"/>
                  <a:pt x="1957" y="4567"/>
                </a:cubicBezTo>
                <a:cubicBezTo>
                  <a:pt x="1686" y="4567"/>
                  <a:pt x="907" y="4264"/>
                  <a:pt x="700" y="3548"/>
                </a:cubicBezTo>
                <a:cubicBezTo>
                  <a:pt x="684" y="3516"/>
                  <a:pt x="652" y="3485"/>
                  <a:pt x="621" y="3485"/>
                </a:cubicBezTo>
                <a:cubicBezTo>
                  <a:pt x="462" y="3501"/>
                  <a:pt x="303" y="3294"/>
                  <a:pt x="207" y="2976"/>
                </a:cubicBezTo>
                <a:cubicBezTo>
                  <a:pt x="143" y="2705"/>
                  <a:pt x="143" y="2514"/>
                  <a:pt x="207" y="241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18">
            <a:extLst>
              <a:ext uri="{FF2B5EF4-FFF2-40B4-BE49-F238E27FC236}">
                <a16:creationId xmlns:a16="http://schemas.microsoft.com/office/drawing/2014/main" id="{A3456B17-1D80-3E41-9748-C8B3C98F9462}"/>
              </a:ext>
            </a:extLst>
          </p:cNvPr>
          <p:cNvSpPr/>
          <p:nvPr/>
        </p:nvSpPr>
        <p:spPr>
          <a:xfrm>
            <a:off x="12973819" y="6348483"/>
            <a:ext cx="1412280" cy="1700999"/>
          </a:xfrm>
          <a:custGeom>
            <a:avLst/>
            <a:gdLst/>
            <a:ahLst/>
            <a:cxnLst>
              <a:cxn ang="3cd4">
                <a:pos x="hc" y="t"/>
              </a:cxn>
              <a:cxn ang="cd2">
                <a:pos x="l" y="vc"/>
              </a:cxn>
              <a:cxn ang="cd4">
                <a:pos x="hc" y="b"/>
              </a:cxn>
              <a:cxn ang="0">
                <a:pos x="r" y="vc"/>
              </a:cxn>
            </a:cxnLst>
            <a:rect l="l" t="t" r="r" b="b"/>
            <a:pathLst>
              <a:path w="3924" h="4726">
                <a:moveTo>
                  <a:pt x="74" y="2324"/>
                </a:moveTo>
                <a:cubicBezTo>
                  <a:pt x="-38" y="2498"/>
                  <a:pt x="-6" y="2785"/>
                  <a:pt x="57" y="3007"/>
                </a:cubicBezTo>
                <a:cubicBezTo>
                  <a:pt x="153" y="3389"/>
                  <a:pt x="344" y="3612"/>
                  <a:pt x="566" y="3644"/>
                </a:cubicBezTo>
                <a:cubicBezTo>
                  <a:pt x="821" y="4407"/>
                  <a:pt x="1648" y="4726"/>
                  <a:pt x="1966" y="4726"/>
                </a:cubicBezTo>
                <a:cubicBezTo>
                  <a:pt x="2269" y="4726"/>
                  <a:pt x="3096" y="4407"/>
                  <a:pt x="3367" y="3644"/>
                </a:cubicBezTo>
                <a:cubicBezTo>
                  <a:pt x="3574" y="3612"/>
                  <a:pt x="3765" y="3389"/>
                  <a:pt x="3860" y="3007"/>
                </a:cubicBezTo>
                <a:cubicBezTo>
                  <a:pt x="3924" y="2785"/>
                  <a:pt x="3971" y="2498"/>
                  <a:pt x="3844" y="2324"/>
                </a:cubicBezTo>
                <a:cubicBezTo>
                  <a:pt x="3812" y="2276"/>
                  <a:pt x="3765" y="2244"/>
                  <a:pt x="3701" y="2228"/>
                </a:cubicBezTo>
                <a:cubicBezTo>
                  <a:pt x="3780" y="1528"/>
                  <a:pt x="3653" y="955"/>
                  <a:pt x="3303" y="557"/>
                </a:cubicBezTo>
                <a:cubicBezTo>
                  <a:pt x="3001" y="207"/>
                  <a:pt x="2523" y="0"/>
                  <a:pt x="1966" y="0"/>
                </a:cubicBezTo>
                <a:cubicBezTo>
                  <a:pt x="1410" y="0"/>
                  <a:pt x="932" y="207"/>
                  <a:pt x="614" y="557"/>
                </a:cubicBezTo>
                <a:cubicBezTo>
                  <a:pt x="280" y="955"/>
                  <a:pt x="137" y="1528"/>
                  <a:pt x="217" y="2228"/>
                </a:cubicBezTo>
                <a:cubicBezTo>
                  <a:pt x="169" y="2244"/>
                  <a:pt x="121" y="2276"/>
                  <a:pt x="74" y="2324"/>
                </a:cubicBezTo>
                <a:close/>
                <a:moveTo>
                  <a:pt x="201" y="2419"/>
                </a:moveTo>
                <a:cubicBezTo>
                  <a:pt x="232" y="2387"/>
                  <a:pt x="264" y="2371"/>
                  <a:pt x="312" y="2371"/>
                </a:cubicBezTo>
                <a:cubicBezTo>
                  <a:pt x="328" y="2371"/>
                  <a:pt x="360" y="2371"/>
                  <a:pt x="375" y="2355"/>
                </a:cubicBezTo>
                <a:cubicBezTo>
                  <a:pt x="392" y="2339"/>
                  <a:pt x="392" y="2307"/>
                  <a:pt x="392" y="2291"/>
                </a:cubicBezTo>
                <a:cubicBezTo>
                  <a:pt x="296" y="1591"/>
                  <a:pt x="408" y="1034"/>
                  <a:pt x="742" y="669"/>
                </a:cubicBezTo>
                <a:cubicBezTo>
                  <a:pt x="1012" y="334"/>
                  <a:pt x="1457" y="160"/>
                  <a:pt x="1966" y="160"/>
                </a:cubicBezTo>
                <a:cubicBezTo>
                  <a:pt x="2476" y="160"/>
                  <a:pt x="2905" y="334"/>
                  <a:pt x="3192" y="669"/>
                </a:cubicBezTo>
                <a:cubicBezTo>
                  <a:pt x="3510" y="1034"/>
                  <a:pt x="3637" y="1591"/>
                  <a:pt x="3526" y="2291"/>
                </a:cubicBezTo>
                <a:cubicBezTo>
                  <a:pt x="3526" y="2307"/>
                  <a:pt x="3542" y="2339"/>
                  <a:pt x="3557" y="2355"/>
                </a:cubicBezTo>
                <a:cubicBezTo>
                  <a:pt x="3574" y="2371"/>
                  <a:pt x="3590" y="2371"/>
                  <a:pt x="3605" y="2371"/>
                </a:cubicBezTo>
                <a:cubicBezTo>
                  <a:pt x="3653" y="2371"/>
                  <a:pt x="3701" y="2387"/>
                  <a:pt x="3717" y="2419"/>
                </a:cubicBezTo>
                <a:cubicBezTo>
                  <a:pt x="3780" y="2514"/>
                  <a:pt x="3780" y="2705"/>
                  <a:pt x="3717" y="2976"/>
                </a:cubicBezTo>
                <a:cubicBezTo>
                  <a:pt x="3621" y="3294"/>
                  <a:pt x="3462" y="3501"/>
                  <a:pt x="3303" y="3485"/>
                </a:cubicBezTo>
                <a:cubicBezTo>
                  <a:pt x="3271" y="3485"/>
                  <a:pt x="3239" y="3516"/>
                  <a:pt x="3223" y="3548"/>
                </a:cubicBezTo>
                <a:cubicBezTo>
                  <a:pt x="3017" y="4264"/>
                  <a:pt x="2237" y="4567"/>
                  <a:pt x="1966" y="4567"/>
                </a:cubicBezTo>
                <a:cubicBezTo>
                  <a:pt x="1696" y="4567"/>
                  <a:pt x="917" y="4264"/>
                  <a:pt x="694" y="3548"/>
                </a:cubicBezTo>
                <a:cubicBezTo>
                  <a:pt x="694" y="3516"/>
                  <a:pt x="662" y="3485"/>
                  <a:pt x="630" y="3485"/>
                </a:cubicBezTo>
                <a:lnTo>
                  <a:pt x="614" y="3485"/>
                </a:lnTo>
                <a:cubicBezTo>
                  <a:pt x="455" y="3501"/>
                  <a:pt x="296" y="3294"/>
                  <a:pt x="217" y="2976"/>
                </a:cubicBezTo>
                <a:cubicBezTo>
                  <a:pt x="137" y="2705"/>
                  <a:pt x="137" y="2514"/>
                  <a:pt x="201" y="2419"/>
                </a:cubicBezTo>
                <a:close/>
                <a:moveTo>
                  <a:pt x="1966" y="2562"/>
                </a:moveTo>
                <a:cubicBezTo>
                  <a:pt x="2078" y="2562"/>
                  <a:pt x="2157" y="2467"/>
                  <a:pt x="2157" y="2371"/>
                </a:cubicBezTo>
                <a:cubicBezTo>
                  <a:pt x="2157" y="2260"/>
                  <a:pt x="2078" y="2164"/>
                  <a:pt x="1966" y="2164"/>
                </a:cubicBezTo>
                <a:cubicBezTo>
                  <a:pt x="1855" y="2164"/>
                  <a:pt x="1760" y="2260"/>
                  <a:pt x="1760" y="2371"/>
                </a:cubicBezTo>
                <a:cubicBezTo>
                  <a:pt x="1760" y="2467"/>
                  <a:pt x="1855" y="2562"/>
                  <a:pt x="1966" y="2562"/>
                </a:cubicBezTo>
                <a:close/>
                <a:moveTo>
                  <a:pt x="1171" y="2562"/>
                </a:moveTo>
                <a:cubicBezTo>
                  <a:pt x="1283" y="2562"/>
                  <a:pt x="1362" y="2467"/>
                  <a:pt x="1362" y="2371"/>
                </a:cubicBezTo>
                <a:cubicBezTo>
                  <a:pt x="1362" y="2260"/>
                  <a:pt x="1283" y="2164"/>
                  <a:pt x="1171" y="2164"/>
                </a:cubicBezTo>
                <a:cubicBezTo>
                  <a:pt x="1060" y="2164"/>
                  <a:pt x="965" y="2260"/>
                  <a:pt x="965" y="2371"/>
                </a:cubicBezTo>
                <a:cubicBezTo>
                  <a:pt x="965" y="2467"/>
                  <a:pt x="1060" y="2562"/>
                  <a:pt x="1171" y="2562"/>
                </a:cubicBezTo>
                <a:close/>
                <a:moveTo>
                  <a:pt x="2762" y="2562"/>
                </a:moveTo>
                <a:cubicBezTo>
                  <a:pt x="2857" y="2562"/>
                  <a:pt x="2953" y="2467"/>
                  <a:pt x="2953" y="2371"/>
                </a:cubicBezTo>
                <a:cubicBezTo>
                  <a:pt x="2953" y="2260"/>
                  <a:pt x="2857" y="2164"/>
                  <a:pt x="2762" y="2164"/>
                </a:cubicBezTo>
                <a:cubicBezTo>
                  <a:pt x="2651" y="2164"/>
                  <a:pt x="2556" y="2260"/>
                  <a:pt x="2556" y="2371"/>
                </a:cubicBezTo>
                <a:cubicBezTo>
                  <a:pt x="2556" y="2467"/>
                  <a:pt x="2651" y="2562"/>
                  <a:pt x="2762" y="256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223961416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Transportation / Buildings - 1</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129" name="TextBox 128">
            <a:extLst>
              <a:ext uri="{FF2B5EF4-FFF2-40B4-BE49-F238E27FC236}">
                <a16:creationId xmlns:a16="http://schemas.microsoft.com/office/drawing/2014/main" id="{9C90785B-CD33-DB48-9A59-FAB7D0D07F2F}"/>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48" name="TextBox 47">
            <a:extLst>
              <a:ext uri="{FF2B5EF4-FFF2-40B4-BE49-F238E27FC236}">
                <a16:creationId xmlns:a16="http://schemas.microsoft.com/office/drawing/2014/main" id="{F7728D17-92A2-CD49-AD55-A4200E6083D9}"/>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28" name="TextBox 27">
            <a:extLst>
              <a:ext uri="{FF2B5EF4-FFF2-40B4-BE49-F238E27FC236}">
                <a16:creationId xmlns:a16="http://schemas.microsoft.com/office/drawing/2014/main" id="{8F06453D-3C39-A24C-B8BE-64AEF8EFFFD1}"/>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irplane</a:t>
            </a:r>
          </a:p>
        </p:txBody>
      </p:sp>
      <p:sp>
        <p:nvSpPr>
          <p:cNvPr id="29" name="TextBox 28">
            <a:extLst>
              <a:ext uri="{FF2B5EF4-FFF2-40B4-BE49-F238E27FC236}">
                <a16:creationId xmlns:a16="http://schemas.microsoft.com/office/drawing/2014/main" id="{7846E04D-1433-8B4F-84F3-09D430554763}"/>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uto</a:t>
            </a:r>
          </a:p>
        </p:txBody>
      </p:sp>
      <p:sp>
        <p:nvSpPr>
          <p:cNvPr id="30" name="TextBox 29">
            <a:extLst>
              <a:ext uri="{FF2B5EF4-FFF2-40B4-BE49-F238E27FC236}">
                <a16:creationId xmlns:a16="http://schemas.microsoft.com/office/drawing/2014/main" id="{1F833EFF-ABA1-EA47-9DBA-7B8D8929F99A}"/>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uilding - Supplier</a:t>
            </a:r>
          </a:p>
        </p:txBody>
      </p:sp>
      <p:sp>
        <p:nvSpPr>
          <p:cNvPr id="31" name="TextBox 30">
            <a:extLst>
              <a:ext uri="{FF2B5EF4-FFF2-40B4-BE49-F238E27FC236}">
                <a16:creationId xmlns:a16="http://schemas.microsoft.com/office/drawing/2014/main" id="{268F8D09-7509-B141-A730-64DC7E2956ED}"/>
              </a:ext>
            </a:extLst>
          </p:cNvPr>
          <p:cNvSpPr txBox="1"/>
          <p:nvPr/>
        </p:nvSpPr>
        <p:spPr>
          <a:xfrm>
            <a:off x="13111734" y="5164929"/>
            <a:ext cx="3341968"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uilding - Warehouse</a:t>
            </a:r>
          </a:p>
        </p:txBody>
      </p:sp>
      <p:sp>
        <p:nvSpPr>
          <p:cNvPr id="32" name="TextBox 31">
            <a:extLst>
              <a:ext uri="{FF2B5EF4-FFF2-40B4-BE49-F238E27FC236}">
                <a16:creationId xmlns:a16="http://schemas.microsoft.com/office/drawing/2014/main" id="{215AD194-B784-F145-9B6A-BC0F18AD18BF}"/>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uildings</a:t>
            </a:r>
          </a:p>
        </p:txBody>
      </p:sp>
      <p:sp>
        <p:nvSpPr>
          <p:cNvPr id="33" name="TextBox 32">
            <a:extLst>
              <a:ext uri="{FF2B5EF4-FFF2-40B4-BE49-F238E27FC236}">
                <a16:creationId xmlns:a16="http://schemas.microsoft.com/office/drawing/2014/main" id="{64250D13-0293-4346-A711-6DE58881026D}"/>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orporation Buildings</a:t>
            </a:r>
          </a:p>
        </p:txBody>
      </p:sp>
      <p:sp>
        <p:nvSpPr>
          <p:cNvPr id="34" name="TextBox 33">
            <a:extLst>
              <a:ext uri="{FF2B5EF4-FFF2-40B4-BE49-F238E27FC236}">
                <a16:creationId xmlns:a16="http://schemas.microsoft.com/office/drawing/2014/main" id="{1367B60D-1417-B140-B12D-FA29C07EC583}"/>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overnment</a:t>
            </a:r>
          </a:p>
        </p:txBody>
      </p:sp>
      <p:sp>
        <p:nvSpPr>
          <p:cNvPr id="35" name="TextBox 34">
            <a:extLst>
              <a:ext uri="{FF2B5EF4-FFF2-40B4-BE49-F238E27FC236}">
                <a16:creationId xmlns:a16="http://schemas.microsoft.com/office/drawing/2014/main" id="{F98A99CE-034A-3848-8208-C8C99D245D86}"/>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hipping</a:t>
            </a:r>
          </a:p>
        </p:txBody>
      </p:sp>
      <p:sp>
        <p:nvSpPr>
          <p:cNvPr id="36" name="TextBox 35">
            <a:extLst>
              <a:ext uri="{FF2B5EF4-FFF2-40B4-BE49-F238E27FC236}">
                <a16:creationId xmlns:a16="http://schemas.microsoft.com/office/drawing/2014/main" id="{3515FF86-4435-BB47-8C0F-AD09A75F75C1}"/>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Transportation 1</a:t>
            </a:r>
            <a:endParaRPr lang="en-US" sz="2800" dirty="0"/>
          </a:p>
        </p:txBody>
      </p:sp>
      <p:sp>
        <p:nvSpPr>
          <p:cNvPr id="37" name="TextBox 36">
            <a:extLst>
              <a:ext uri="{FF2B5EF4-FFF2-40B4-BE49-F238E27FC236}">
                <a16:creationId xmlns:a16="http://schemas.microsoft.com/office/drawing/2014/main" id="{C022D9F8-718C-2D4F-A9CB-3A24FE404546}"/>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ransportation 3</a:t>
            </a:r>
          </a:p>
        </p:txBody>
      </p:sp>
      <p:sp>
        <p:nvSpPr>
          <p:cNvPr id="38" name="TextBox 37">
            <a:extLst>
              <a:ext uri="{FF2B5EF4-FFF2-40B4-BE49-F238E27FC236}">
                <a16:creationId xmlns:a16="http://schemas.microsoft.com/office/drawing/2014/main" id="{B6C15BB8-4334-6849-9314-50B7CA1EE08A}"/>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ransportation 4</a:t>
            </a:r>
          </a:p>
        </p:txBody>
      </p:sp>
      <p:sp>
        <p:nvSpPr>
          <p:cNvPr id="63" name="TextBox 62">
            <a:extLst>
              <a:ext uri="{FF2B5EF4-FFF2-40B4-BE49-F238E27FC236}">
                <a16:creationId xmlns:a16="http://schemas.microsoft.com/office/drawing/2014/main" id="{5684DA94-EA74-8849-AF05-18FFBCF5014C}"/>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ransportation 5</a:t>
            </a:r>
          </a:p>
        </p:txBody>
      </p:sp>
      <p:sp>
        <p:nvSpPr>
          <p:cNvPr id="64" name="TextBox 63">
            <a:extLst>
              <a:ext uri="{FF2B5EF4-FFF2-40B4-BE49-F238E27FC236}">
                <a16:creationId xmlns:a16="http://schemas.microsoft.com/office/drawing/2014/main" id="{FD2F1D86-EB04-4B47-A63F-B0C9B468A027}"/>
              </a:ext>
            </a:extLst>
          </p:cNvPr>
          <p:cNvSpPr txBox="1"/>
          <p:nvPr/>
        </p:nvSpPr>
        <p:spPr>
          <a:xfrm>
            <a:off x="9013116"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lobe 5</a:t>
            </a:r>
          </a:p>
        </p:txBody>
      </p:sp>
      <p:sp>
        <p:nvSpPr>
          <p:cNvPr id="65" name="TextBox 64">
            <a:extLst>
              <a:ext uri="{FF2B5EF4-FFF2-40B4-BE49-F238E27FC236}">
                <a16:creationId xmlns:a16="http://schemas.microsoft.com/office/drawing/2014/main" id="{FAB19B3E-C7B5-B94F-A526-EBDD39D4C0BD}"/>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age 1</a:t>
            </a:r>
          </a:p>
        </p:txBody>
      </p:sp>
      <p:sp>
        <p:nvSpPr>
          <p:cNvPr id="66" name="TextBox 65">
            <a:extLst>
              <a:ext uri="{FF2B5EF4-FFF2-40B4-BE49-F238E27FC236}">
                <a16:creationId xmlns:a16="http://schemas.microsoft.com/office/drawing/2014/main" id="{7A09A03D-63C1-2F4C-9AFE-1334B2E67255}"/>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uitcase</a:t>
            </a:r>
          </a:p>
        </p:txBody>
      </p:sp>
      <p:sp>
        <p:nvSpPr>
          <p:cNvPr id="67" name="Freeform: Shape 26">
            <a:extLst>
              <a:ext uri="{FF2B5EF4-FFF2-40B4-BE49-F238E27FC236}">
                <a16:creationId xmlns:a16="http://schemas.microsoft.com/office/drawing/2014/main" id="{59B84063-3B0D-8940-B7AD-70AF8A27C1B2}"/>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8" name="TextBox 67">
            <a:extLst>
              <a:ext uri="{FF2B5EF4-FFF2-40B4-BE49-F238E27FC236}">
                <a16:creationId xmlns:a16="http://schemas.microsoft.com/office/drawing/2014/main" id="{B93B1FF3-8AA9-4D4E-8F1E-8BDDBE301685}"/>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uilding</a:t>
            </a:r>
          </a:p>
        </p:txBody>
      </p:sp>
      <p:sp>
        <p:nvSpPr>
          <p:cNvPr id="69" name="TextBox 68">
            <a:extLst>
              <a:ext uri="{FF2B5EF4-FFF2-40B4-BE49-F238E27FC236}">
                <a16:creationId xmlns:a16="http://schemas.microsoft.com/office/drawing/2014/main" id="{045578F5-6DBB-4248-8125-6CCC80B7A64F}"/>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ransportation 2</a:t>
            </a:r>
          </a:p>
        </p:txBody>
      </p:sp>
      <p:sp>
        <p:nvSpPr>
          <p:cNvPr id="70" name="TextBox 69">
            <a:extLst>
              <a:ext uri="{FF2B5EF4-FFF2-40B4-BE49-F238E27FC236}">
                <a16:creationId xmlns:a16="http://schemas.microsoft.com/office/drawing/2014/main" id="{733B0569-7551-C644-829C-3B3921A5CA4D}"/>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age 2</a:t>
            </a:r>
          </a:p>
        </p:txBody>
      </p:sp>
      <p:sp>
        <p:nvSpPr>
          <p:cNvPr id="71" name="Freeform: Shape 13">
            <a:extLst>
              <a:ext uri="{FF2B5EF4-FFF2-40B4-BE49-F238E27FC236}">
                <a16:creationId xmlns:a16="http://schemas.microsoft.com/office/drawing/2014/main" id="{99FA727E-B077-2F47-8C1F-47CB605197C9}"/>
              </a:ext>
            </a:extLst>
          </p:cNvPr>
          <p:cNvSpPr/>
          <p:nvPr/>
        </p:nvSpPr>
        <p:spPr>
          <a:xfrm>
            <a:off x="2283649" y="3606611"/>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2" name="Freeform: Shape 1">
            <a:extLst>
              <a:ext uri="{FF2B5EF4-FFF2-40B4-BE49-F238E27FC236}">
                <a16:creationId xmlns:a16="http://schemas.microsoft.com/office/drawing/2014/main" id="{7B5CA637-8D8A-554E-89D4-24AFB4EE2DD4}"/>
              </a:ext>
            </a:extLst>
          </p:cNvPr>
          <p:cNvSpPr/>
          <p:nvPr/>
        </p:nvSpPr>
        <p:spPr>
          <a:xfrm>
            <a:off x="17352718" y="10022853"/>
            <a:ext cx="1631880" cy="841679"/>
          </a:xfrm>
          <a:custGeom>
            <a:avLst/>
            <a:gdLst/>
            <a:ahLst/>
            <a:cxnLst>
              <a:cxn ang="3cd4">
                <a:pos x="hc" y="t"/>
              </a:cxn>
              <a:cxn ang="cd2">
                <a:pos x="l" y="vc"/>
              </a:cxn>
              <a:cxn ang="cd4">
                <a:pos x="hc" y="b"/>
              </a:cxn>
              <a:cxn ang="0">
                <a:pos x="r" y="vc"/>
              </a:cxn>
            </a:cxnLst>
            <a:rect l="l" t="t" r="r" b="b"/>
            <a:pathLst>
              <a:path w="4534" h="2339">
                <a:moveTo>
                  <a:pt x="79" y="2339"/>
                </a:moveTo>
                <a:lnTo>
                  <a:pt x="4454" y="2339"/>
                </a:lnTo>
                <a:cubicBezTo>
                  <a:pt x="4486" y="2339"/>
                  <a:pt x="4534" y="2307"/>
                  <a:pt x="4534" y="2259"/>
                </a:cubicBezTo>
                <a:cubicBezTo>
                  <a:pt x="4534" y="907"/>
                  <a:pt x="3611" y="0"/>
                  <a:pt x="2258" y="0"/>
                </a:cubicBezTo>
                <a:cubicBezTo>
                  <a:pt x="906" y="0"/>
                  <a:pt x="0" y="907"/>
                  <a:pt x="0" y="2259"/>
                </a:cubicBezTo>
                <a:cubicBezTo>
                  <a:pt x="0" y="2307"/>
                  <a:pt x="31" y="2339"/>
                  <a:pt x="79" y="2339"/>
                </a:cubicBezTo>
                <a:close/>
                <a:moveTo>
                  <a:pt x="1940" y="2179"/>
                </a:moveTo>
                <a:cubicBezTo>
                  <a:pt x="1940" y="2004"/>
                  <a:pt x="2084" y="1861"/>
                  <a:pt x="2258" y="1861"/>
                </a:cubicBezTo>
                <a:cubicBezTo>
                  <a:pt x="2434" y="1861"/>
                  <a:pt x="2577" y="2004"/>
                  <a:pt x="2577" y="2179"/>
                </a:cubicBezTo>
                <a:close/>
                <a:moveTo>
                  <a:pt x="2258" y="159"/>
                </a:moveTo>
                <a:cubicBezTo>
                  <a:pt x="3515" y="159"/>
                  <a:pt x="4327" y="939"/>
                  <a:pt x="4375" y="2179"/>
                </a:cubicBezTo>
                <a:lnTo>
                  <a:pt x="2736" y="2179"/>
                </a:lnTo>
                <a:cubicBezTo>
                  <a:pt x="2736" y="1909"/>
                  <a:pt x="2529" y="1702"/>
                  <a:pt x="2258" y="1702"/>
                </a:cubicBezTo>
                <a:cubicBezTo>
                  <a:pt x="2195" y="1702"/>
                  <a:pt x="2131" y="1718"/>
                  <a:pt x="2068" y="1734"/>
                </a:cubicBezTo>
                <a:lnTo>
                  <a:pt x="1527" y="1034"/>
                </a:lnTo>
                <a:cubicBezTo>
                  <a:pt x="1495" y="1002"/>
                  <a:pt x="1447" y="1002"/>
                  <a:pt x="1415" y="1018"/>
                </a:cubicBezTo>
                <a:cubicBezTo>
                  <a:pt x="1384" y="1050"/>
                  <a:pt x="1368" y="1098"/>
                  <a:pt x="1400" y="1130"/>
                </a:cubicBezTo>
                <a:lnTo>
                  <a:pt x="1940" y="1830"/>
                </a:lnTo>
                <a:cubicBezTo>
                  <a:pt x="1845" y="1909"/>
                  <a:pt x="1781" y="2036"/>
                  <a:pt x="1781" y="2179"/>
                </a:cubicBezTo>
                <a:lnTo>
                  <a:pt x="158" y="2179"/>
                </a:lnTo>
                <a:cubicBezTo>
                  <a:pt x="190" y="939"/>
                  <a:pt x="1018" y="159"/>
                  <a:pt x="2258" y="159"/>
                </a:cubicBezTo>
                <a:close/>
                <a:moveTo>
                  <a:pt x="715" y="1750"/>
                </a:moveTo>
                <a:lnTo>
                  <a:pt x="524" y="1718"/>
                </a:lnTo>
                <a:cubicBezTo>
                  <a:pt x="477" y="1702"/>
                  <a:pt x="429" y="1734"/>
                  <a:pt x="429" y="1782"/>
                </a:cubicBezTo>
                <a:cubicBezTo>
                  <a:pt x="413" y="1813"/>
                  <a:pt x="445" y="1861"/>
                  <a:pt x="493" y="1861"/>
                </a:cubicBezTo>
                <a:lnTo>
                  <a:pt x="684" y="1909"/>
                </a:lnTo>
                <a:lnTo>
                  <a:pt x="700" y="1909"/>
                </a:lnTo>
                <a:cubicBezTo>
                  <a:pt x="731" y="1909"/>
                  <a:pt x="763" y="1893"/>
                  <a:pt x="779" y="1846"/>
                </a:cubicBezTo>
                <a:cubicBezTo>
                  <a:pt x="779" y="1813"/>
                  <a:pt x="763" y="1766"/>
                  <a:pt x="715" y="1750"/>
                </a:cubicBezTo>
                <a:close/>
                <a:moveTo>
                  <a:pt x="938" y="955"/>
                </a:moveTo>
                <a:cubicBezTo>
                  <a:pt x="906" y="922"/>
                  <a:pt x="858" y="939"/>
                  <a:pt x="827" y="970"/>
                </a:cubicBezTo>
                <a:cubicBezTo>
                  <a:pt x="795" y="1002"/>
                  <a:pt x="795" y="1050"/>
                  <a:pt x="843" y="1082"/>
                </a:cubicBezTo>
                <a:lnTo>
                  <a:pt x="986" y="1209"/>
                </a:lnTo>
                <a:cubicBezTo>
                  <a:pt x="1002" y="1209"/>
                  <a:pt x="1018" y="1225"/>
                  <a:pt x="1034" y="1225"/>
                </a:cubicBezTo>
                <a:cubicBezTo>
                  <a:pt x="1066" y="1225"/>
                  <a:pt x="1081" y="1209"/>
                  <a:pt x="1097" y="1193"/>
                </a:cubicBezTo>
                <a:cubicBezTo>
                  <a:pt x="1129" y="1161"/>
                  <a:pt x="1129" y="1113"/>
                  <a:pt x="1097" y="1082"/>
                </a:cubicBezTo>
                <a:close/>
                <a:moveTo>
                  <a:pt x="1591" y="716"/>
                </a:moveTo>
                <a:cubicBezTo>
                  <a:pt x="1606" y="748"/>
                  <a:pt x="1638" y="779"/>
                  <a:pt x="1670" y="779"/>
                </a:cubicBezTo>
                <a:cubicBezTo>
                  <a:pt x="1681" y="774"/>
                  <a:pt x="1686" y="764"/>
                  <a:pt x="1702" y="764"/>
                </a:cubicBezTo>
                <a:cubicBezTo>
                  <a:pt x="1734" y="748"/>
                  <a:pt x="1749" y="700"/>
                  <a:pt x="1734" y="668"/>
                </a:cubicBezTo>
                <a:lnTo>
                  <a:pt x="1670" y="477"/>
                </a:lnTo>
                <a:cubicBezTo>
                  <a:pt x="1654" y="445"/>
                  <a:pt x="1606" y="413"/>
                  <a:pt x="1558" y="430"/>
                </a:cubicBezTo>
                <a:cubicBezTo>
                  <a:pt x="1527" y="445"/>
                  <a:pt x="1495" y="493"/>
                  <a:pt x="1511" y="541"/>
                </a:cubicBezTo>
                <a:close/>
                <a:moveTo>
                  <a:pt x="2418" y="668"/>
                </a:moveTo>
                <a:lnTo>
                  <a:pt x="2434" y="668"/>
                </a:lnTo>
                <a:cubicBezTo>
                  <a:pt x="2466" y="668"/>
                  <a:pt x="2497" y="636"/>
                  <a:pt x="2513" y="604"/>
                </a:cubicBezTo>
                <a:lnTo>
                  <a:pt x="2529" y="398"/>
                </a:lnTo>
                <a:cubicBezTo>
                  <a:pt x="2529" y="350"/>
                  <a:pt x="2497" y="318"/>
                  <a:pt x="2466" y="318"/>
                </a:cubicBezTo>
                <a:cubicBezTo>
                  <a:pt x="2418" y="318"/>
                  <a:pt x="2370" y="334"/>
                  <a:pt x="2370" y="382"/>
                </a:cubicBezTo>
                <a:lnTo>
                  <a:pt x="2354" y="588"/>
                </a:lnTo>
                <a:cubicBezTo>
                  <a:pt x="2338" y="621"/>
                  <a:pt x="2370" y="668"/>
                  <a:pt x="2418" y="668"/>
                </a:cubicBezTo>
                <a:close/>
                <a:moveTo>
                  <a:pt x="3102" y="922"/>
                </a:moveTo>
                <a:cubicBezTo>
                  <a:pt x="3118" y="939"/>
                  <a:pt x="3134" y="939"/>
                  <a:pt x="3149" y="939"/>
                </a:cubicBezTo>
                <a:cubicBezTo>
                  <a:pt x="3182" y="939"/>
                  <a:pt x="3197" y="922"/>
                  <a:pt x="3213" y="907"/>
                </a:cubicBezTo>
                <a:lnTo>
                  <a:pt x="3325" y="732"/>
                </a:lnTo>
                <a:cubicBezTo>
                  <a:pt x="3357" y="700"/>
                  <a:pt x="3340" y="652"/>
                  <a:pt x="3309" y="621"/>
                </a:cubicBezTo>
                <a:cubicBezTo>
                  <a:pt x="3277" y="604"/>
                  <a:pt x="3229" y="604"/>
                  <a:pt x="3197" y="652"/>
                </a:cubicBezTo>
                <a:lnTo>
                  <a:pt x="3086" y="811"/>
                </a:lnTo>
                <a:cubicBezTo>
                  <a:pt x="3054" y="843"/>
                  <a:pt x="3070" y="891"/>
                  <a:pt x="3102" y="922"/>
                </a:cubicBezTo>
                <a:close/>
                <a:moveTo>
                  <a:pt x="3659" y="1512"/>
                </a:moveTo>
                <a:cubicBezTo>
                  <a:pt x="3675" y="1512"/>
                  <a:pt x="3691" y="1512"/>
                  <a:pt x="3706" y="1495"/>
                </a:cubicBezTo>
                <a:lnTo>
                  <a:pt x="3882" y="1400"/>
                </a:lnTo>
                <a:cubicBezTo>
                  <a:pt x="3913" y="1384"/>
                  <a:pt x="3929" y="1336"/>
                  <a:pt x="3913" y="1304"/>
                </a:cubicBezTo>
                <a:cubicBezTo>
                  <a:pt x="3897" y="1257"/>
                  <a:pt x="3849" y="1241"/>
                  <a:pt x="3802" y="1273"/>
                </a:cubicBezTo>
                <a:lnTo>
                  <a:pt x="3627" y="1352"/>
                </a:lnTo>
                <a:cubicBezTo>
                  <a:pt x="3595" y="1384"/>
                  <a:pt x="3579" y="1432"/>
                  <a:pt x="3595" y="1464"/>
                </a:cubicBezTo>
                <a:cubicBezTo>
                  <a:pt x="3611" y="1495"/>
                  <a:pt x="3643" y="1512"/>
                  <a:pt x="3659" y="151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3" name="Freeform: Shape 2">
            <a:extLst>
              <a:ext uri="{FF2B5EF4-FFF2-40B4-BE49-F238E27FC236}">
                <a16:creationId xmlns:a16="http://schemas.microsoft.com/office/drawing/2014/main" id="{D7FCCFFE-A6CD-624B-B7C0-5521FF5A0CFE}"/>
              </a:ext>
            </a:extLst>
          </p:cNvPr>
          <p:cNvSpPr/>
          <p:nvPr/>
        </p:nvSpPr>
        <p:spPr>
          <a:xfrm>
            <a:off x="10238598" y="9706413"/>
            <a:ext cx="1185120" cy="1673280"/>
          </a:xfrm>
          <a:custGeom>
            <a:avLst/>
            <a:gdLst/>
            <a:ahLst/>
            <a:cxnLst>
              <a:cxn ang="3cd4">
                <a:pos x="hc" y="t"/>
              </a:cxn>
              <a:cxn ang="cd2">
                <a:pos x="l" y="vc"/>
              </a:cxn>
              <a:cxn ang="cd4">
                <a:pos x="hc" y="b"/>
              </a:cxn>
              <a:cxn ang="0">
                <a:pos x="r" y="vc"/>
              </a:cxn>
            </a:cxnLst>
            <a:rect l="l" t="t" r="r" b="b"/>
            <a:pathLst>
              <a:path w="3293" h="4649">
                <a:moveTo>
                  <a:pt x="0" y="1881"/>
                </a:moveTo>
                <a:cubicBezTo>
                  <a:pt x="0" y="2804"/>
                  <a:pt x="684" y="3552"/>
                  <a:pt x="1559" y="3679"/>
                </a:cubicBezTo>
                <a:cubicBezTo>
                  <a:pt x="1559" y="3918"/>
                  <a:pt x="1559" y="3918"/>
                  <a:pt x="1559" y="3918"/>
                </a:cubicBezTo>
                <a:cubicBezTo>
                  <a:pt x="1559" y="3934"/>
                  <a:pt x="1575" y="3982"/>
                  <a:pt x="1447" y="4029"/>
                </a:cubicBezTo>
                <a:cubicBezTo>
                  <a:pt x="1241" y="4109"/>
                  <a:pt x="986" y="4236"/>
                  <a:pt x="955" y="4252"/>
                </a:cubicBezTo>
                <a:cubicBezTo>
                  <a:pt x="955" y="4252"/>
                  <a:pt x="843" y="4331"/>
                  <a:pt x="875" y="4443"/>
                </a:cubicBezTo>
                <a:cubicBezTo>
                  <a:pt x="907" y="4554"/>
                  <a:pt x="1050" y="4618"/>
                  <a:pt x="1320" y="4634"/>
                </a:cubicBezTo>
                <a:cubicBezTo>
                  <a:pt x="1464" y="4649"/>
                  <a:pt x="1591" y="4649"/>
                  <a:pt x="1734" y="4649"/>
                </a:cubicBezTo>
                <a:cubicBezTo>
                  <a:pt x="2147" y="4649"/>
                  <a:pt x="2498" y="4602"/>
                  <a:pt x="2577" y="4570"/>
                </a:cubicBezTo>
                <a:cubicBezTo>
                  <a:pt x="2657" y="4538"/>
                  <a:pt x="2720" y="4474"/>
                  <a:pt x="2720" y="4395"/>
                </a:cubicBezTo>
                <a:cubicBezTo>
                  <a:pt x="2720" y="4363"/>
                  <a:pt x="2720" y="4268"/>
                  <a:pt x="2577" y="4204"/>
                </a:cubicBezTo>
                <a:cubicBezTo>
                  <a:pt x="2546" y="4188"/>
                  <a:pt x="2498" y="4172"/>
                  <a:pt x="2434" y="4156"/>
                </a:cubicBezTo>
                <a:cubicBezTo>
                  <a:pt x="2323" y="4109"/>
                  <a:pt x="2147" y="4029"/>
                  <a:pt x="2116" y="4013"/>
                </a:cubicBezTo>
                <a:cubicBezTo>
                  <a:pt x="2068" y="3982"/>
                  <a:pt x="2052" y="3965"/>
                  <a:pt x="2052" y="3870"/>
                </a:cubicBezTo>
                <a:cubicBezTo>
                  <a:pt x="2052" y="3679"/>
                  <a:pt x="2052" y="3679"/>
                  <a:pt x="2052" y="3679"/>
                </a:cubicBezTo>
                <a:cubicBezTo>
                  <a:pt x="2291" y="3647"/>
                  <a:pt x="2513" y="3583"/>
                  <a:pt x="2720" y="3456"/>
                </a:cubicBezTo>
                <a:cubicBezTo>
                  <a:pt x="2752" y="3440"/>
                  <a:pt x="2768" y="3392"/>
                  <a:pt x="2752" y="3345"/>
                </a:cubicBezTo>
                <a:cubicBezTo>
                  <a:pt x="2720" y="3313"/>
                  <a:pt x="2673" y="3297"/>
                  <a:pt x="2641" y="3329"/>
                </a:cubicBezTo>
                <a:cubicBezTo>
                  <a:pt x="2609" y="3345"/>
                  <a:pt x="2577" y="3361"/>
                  <a:pt x="2546" y="3377"/>
                </a:cubicBezTo>
                <a:cubicBezTo>
                  <a:pt x="2482" y="3218"/>
                  <a:pt x="2482" y="3218"/>
                  <a:pt x="2482" y="3218"/>
                </a:cubicBezTo>
                <a:cubicBezTo>
                  <a:pt x="2959" y="2963"/>
                  <a:pt x="3293" y="2470"/>
                  <a:pt x="3293" y="1897"/>
                </a:cubicBezTo>
                <a:cubicBezTo>
                  <a:pt x="3293" y="1070"/>
                  <a:pt x="2641" y="418"/>
                  <a:pt x="1813" y="418"/>
                </a:cubicBezTo>
                <a:cubicBezTo>
                  <a:pt x="1638" y="418"/>
                  <a:pt x="1479" y="449"/>
                  <a:pt x="1320" y="497"/>
                </a:cubicBezTo>
                <a:cubicBezTo>
                  <a:pt x="1256" y="338"/>
                  <a:pt x="1256" y="338"/>
                  <a:pt x="1256" y="338"/>
                </a:cubicBezTo>
                <a:cubicBezTo>
                  <a:pt x="1320" y="306"/>
                  <a:pt x="1384" y="290"/>
                  <a:pt x="1447" y="274"/>
                </a:cubicBezTo>
                <a:cubicBezTo>
                  <a:pt x="1479" y="258"/>
                  <a:pt x="1511" y="227"/>
                  <a:pt x="1495" y="179"/>
                </a:cubicBezTo>
                <a:cubicBezTo>
                  <a:pt x="1495" y="131"/>
                  <a:pt x="1447" y="115"/>
                  <a:pt x="1400" y="115"/>
                </a:cubicBezTo>
                <a:cubicBezTo>
                  <a:pt x="1336" y="131"/>
                  <a:pt x="1256" y="163"/>
                  <a:pt x="1193" y="179"/>
                </a:cubicBezTo>
                <a:cubicBezTo>
                  <a:pt x="1145" y="52"/>
                  <a:pt x="1145" y="52"/>
                  <a:pt x="1145" y="52"/>
                </a:cubicBezTo>
                <a:cubicBezTo>
                  <a:pt x="1113" y="20"/>
                  <a:pt x="1082" y="-12"/>
                  <a:pt x="1034" y="4"/>
                </a:cubicBezTo>
                <a:cubicBezTo>
                  <a:pt x="986" y="20"/>
                  <a:pt x="970" y="67"/>
                  <a:pt x="986" y="115"/>
                </a:cubicBezTo>
                <a:cubicBezTo>
                  <a:pt x="1050" y="243"/>
                  <a:pt x="1050" y="243"/>
                  <a:pt x="1050" y="243"/>
                </a:cubicBezTo>
                <a:cubicBezTo>
                  <a:pt x="413" y="545"/>
                  <a:pt x="0" y="1165"/>
                  <a:pt x="0" y="1881"/>
                </a:cubicBezTo>
                <a:close/>
                <a:moveTo>
                  <a:pt x="2020" y="4140"/>
                </a:moveTo>
                <a:cubicBezTo>
                  <a:pt x="2084" y="4172"/>
                  <a:pt x="2211" y="4220"/>
                  <a:pt x="2370" y="4300"/>
                </a:cubicBezTo>
                <a:cubicBezTo>
                  <a:pt x="2434" y="4316"/>
                  <a:pt x="2482" y="4331"/>
                  <a:pt x="2529" y="4363"/>
                </a:cubicBezTo>
                <a:cubicBezTo>
                  <a:pt x="2561" y="4363"/>
                  <a:pt x="2561" y="4379"/>
                  <a:pt x="2561" y="4395"/>
                </a:cubicBezTo>
                <a:cubicBezTo>
                  <a:pt x="2561" y="4395"/>
                  <a:pt x="2546" y="4411"/>
                  <a:pt x="2529" y="4427"/>
                </a:cubicBezTo>
                <a:cubicBezTo>
                  <a:pt x="2434" y="4459"/>
                  <a:pt x="1893" y="4522"/>
                  <a:pt x="1336" y="4474"/>
                </a:cubicBezTo>
                <a:cubicBezTo>
                  <a:pt x="1066" y="4459"/>
                  <a:pt x="1034" y="4411"/>
                  <a:pt x="1034" y="4411"/>
                </a:cubicBezTo>
                <a:cubicBezTo>
                  <a:pt x="1034" y="4395"/>
                  <a:pt x="1050" y="4379"/>
                  <a:pt x="1050" y="4379"/>
                </a:cubicBezTo>
                <a:cubicBezTo>
                  <a:pt x="1050" y="4379"/>
                  <a:pt x="1304" y="4252"/>
                  <a:pt x="1495" y="4188"/>
                </a:cubicBezTo>
                <a:cubicBezTo>
                  <a:pt x="1702" y="4109"/>
                  <a:pt x="1734" y="3965"/>
                  <a:pt x="1718" y="3902"/>
                </a:cubicBezTo>
                <a:cubicBezTo>
                  <a:pt x="1718" y="3695"/>
                  <a:pt x="1718" y="3695"/>
                  <a:pt x="1718" y="3695"/>
                </a:cubicBezTo>
                <a:cubicBezTo>
                  <a:pt x="1750" y="3695"/>
                  <a:pt x="1782" y="3695"/>
                  <a:pt x="1813" y="3695"/>
                </a:cubicBezTo>
                <a:cubicBezTo>
                  <a:pt x="1845" y="3695"/>
                  <a:pt x="1877" y="3695"/>
                  <a:pt x="1893" y="3695"/>
                </a:cubicBezTo>
                <a:cubicBezTo>
                  <a:pt x="1893" y="3870"/>
                  <a:pt x="1893" y="3870"/>
                  <a:pt x="1893" y="3870"/>
                </a:cubicBezTo>
                <a:cubicBezTo>
                  <a:pt x="1893" y="3965"/>
                  <a:pt x="1909" y="4077"/>
                  <a:pt x="2020" y="4140"/>
                </a:cubicBezTo>
                <a:close/>
                <a:moveTo>
                  <a:pt x="1909" y="3202"/>
                </a:moveTo>
                <a:cubicBezTo>
                  <a:pt x="1941" y="3091"/>
                  <a:pt x="1973" y="2979"/>
                  <a:pt x="2020" y="2852"/>
                </a:cubicBezTo>
                <a:cubicBezTo>
                  <a:pt x="2052" y="2772"/>
                  <a:pt x="2116" y="2709"/>
                  <a:pt x="2164" y="2677"/>
                </a:cubicBezTo>
                <a:cubicBezTo>
                  <a:pt x="2195" y="2661"/>
                  <a:pt x="2211" y="2645"/>
                  <a:pt x="2243" y="2645"/>
                </a:cubicBezTo>
                <a:cubicBezTo>
                  <a:pt x="2307" y="2629"/>
                  <a:pt x="2434" y="2581"/>
                  <a:pt x="2418" y="2438"/>
                </a:cubicBezTo>
                <a:cubicBezTo>
                  <a:pt x="2418" y="2279"/>
                  <a:pt x="2291" y="2231"/>
                  <a:pt x="2211" y="2215"/>
                </a:cubicBezTo>
                <a:cubicBezTo>
                  <a:pt x="2179" y="2200"/>
                  <a:pt x="2179" y="2200"/>
                  <a:pt x="2179" y="2200"/>
                </a:cubicBezTo>
                <a:cubicBezTo>
                  <a:pt x="2100" y="2168"/>
                  <a:pt x="2084" y="2136"/>
                  <a:pt x="2020" y="2088"/>
                </a:cubicBezTo>
                <a:cubicBezTo>
                  <a:pt x="1989" y="2040"/>
                  <a:pt x="1989" y="2040"/>
                  <a:pt x="1989" y="2040"/>
                </a:cubicBezTo>
                <a:cubicBezTo>
                  <a:pt x="1909" y="1945"/>
                  <a:pt x="1813" y="1945"/>
                  <a:pt x="1750" y="1945"/>
                </a:cubicBezTo>
                <a:cubicBezTo>
                  <a:pt x="1718" y="1945"/>
                  <a:pt x="1702" y="1945"/>
                  <a:pt x="1670" y="1945"/>
                </a:cubicBezTo>
                <a:cubicBezTo>
                  <a:pt x="1655" y="1945"/>
                  <a:pt x="1655" y="1945"/>
                  <a:pt x="1638" y="1945"/>
                </a:cubicBezTo>
                <a:cubicBezTo>
                  <a:pt x="1655" y="1929"/>
                  <a:pt x="1670" y="1929"/>
                  <a:pt x="1670" y="1929"/>
                </a:cubicBezTo>
                <a:cubicBezTo>
                  <a:pt x="1734" y="1881"/>
                  <a:pt x="1734" y="1801"/>
                  <a:pt x="1734" y="1738"/>
                </a:cubicBezTo>
                <a:cubicBezTo>
                  <a:pt x="1734" y="1722"/>
                  <a:pt x="1734" y="1690"/>
                  <a:pt x="1750" y="1690"/>
                </a:cubicBezTo>
                <a:cubicBezTo>
                  <a:pt x="1750" y="1643"/>
                  <a:pt x="1750" y="1643"/>
                  <a:pt x="1829" y="1627"/>
                </a:cubicBezTo>
                <a:cubicBezTo>
                  <a:pt x="1845" y="1627"/>
                  <a:pt x="1845" y="1627"/>
                  <a:pt x="1845" y="1627"/>
                </a:cubicBezTo>
                <a:cubicBezTo>
                  <a:pt x="1973" y="1595"/>
                  <a:pt x="2132" y="1452"/>
                  <a:pt x="2132" y="1324"/>
                </a:cubicBezTo>
                <a:cubicBezTo>
                  <a:pt x="2132" y="1245"/>
                  <a:pt x="2084" y="1165"/>
                  <a:pt x="1989" y="1149"/>
                </a:cubicBezTo>
                <a:cubicBezTo>
                  <a:pt x="1925" y="1118"/>
                  <a:pt x="1877" y="1134"/>
                  <a:pt x="1845" y="1149"/>
                </a:cubicBezTo>
                <a:cubicBezTo>
                  <a:pt x="1861" y="1101"/>
                  <a:pt x="1845" y="1054"/>
                  <a:pt x="1813" y="1006"/>
                </a:cubicBezTo>
                <a:cubicBezTo>
                  <a:pt x="1750" y="927"/>
                  <a:pt x="1543" y="895"/>
                  <a:pt x="1464" y="943"/>
                </a:cubicBezTo>
                <a:cubicBezTo>
                  <a:pt x="1432" y="974"/>
                  <a:pt x="1416" y="1006"/>
                  <a:pt x="1400" y="1038"/>
                </a:cubicBezTo>
                <a:cubicBezTo>
                  <a:pt x="1368" y="1038"/>
                  <a:pt x="1336" y="1038"/>
                  <a:pt x="1320" y="1038"/>
                </a:cubicBezTo>
                <a:cubicBezTo>
                  <a:pt x="1320" y="1038"/>
                  <a:pt x="1304" y="1006"/>
                  <a:pt x="1288" y="990"/>
                </a:cubicBezTo>
                <a:cubicBezTo>
                  <a:pt x="1273" y="974"/>
                  <a:pt x="1256" y="943"/>
                  <a:pt x="1209" y="911"/>
                </a:cubicBezTo>
                <a:cubicBezTo>
                  <a:pt x="1193" y="895"/>
                  <a:pt x="1161" y="895"/>
                  <a:pt x="1145" y="895"/>
                </a:cubicBezTo>
                <a:cubicBezTo>
                  <a:pt x="1145" y="847"/>
                  <a:pt x="1161" y="831"/>
                  <a:pt x="1193" y="815"/>
                </a:cubicBezTo>
                <a:cubicBezTo>
                  <a:pt x="1225" y="800"/>
                  <a:pt x="1256" y="800"/>
                  <a:pt x="1304" y="800"/>
                </a:cubicBezTo>
                <a:cubicBezTo>
                  <a:pt x="1336" y="783"/>
                  <a:pt x="1368" y="783"/>
                  <a:pt x="1400" y="783"/>
                </a:cubicBezTo>
                <a:cubicBezTo>
                  <a:pt x="1464" y="767"/>
                  <a:pt x="1495" y="736"/>
                  <a:pt x="1527" y="720"/>
                </a:cubicBezTo>
                <a:cubicBezTo>
                  <a:pt x="1543" y="704"/>
                  <a:pt x="1559" y="704"/>
                  <a:pt x="1575" y="688"/>
                </a:cubicBezTo>
                <a:cubicBezTo>
                  <a:pt x="1670" y="640"/>
                  <a:pt x="1845" y="592"/>
                  <a:pt x="1925" y="624"/>
                </a:cubicBezTo>
                <a:cubicBezTo>
                  <a:pt x="1956" y="640"/>
                  <a:pt x="1989" y="656"/>
                  <a:pt x="1989" y="688"/>
                </a:cubicBezTo>
                <a:cubicBezTo>
                  <a:pt x="2004" y="720"/>
                  <a:pt x="2020" y="752"/>
                  <a:pt x="2020" y="800"/>
                </a:cubicBezTo>
                <a:cubicBezTo>
                  <a:pt x="2020" y="847"/>
                  <a:pt x="2020" y="895"/>
                  <a:pt x="2036" y="943"/>
                </a:cubicBezTo>
                <a:cubicBezTo>
                  <a:pt x="2068" y="990"/>
                  <a:pt x="2084" y="1038"/>
                  <a:pt x="2116" y="1070"/>
                </a:cubicBezTo>
                <a:cubicBezTo>
                  <a:pt x="2132" y="1118"/>
                  <a:pt x="2164" y="1149"/>
                  <a:pt x="2179" y="1213"/>
                </a:cubicBezTo>
                <a:cubicBezTo>
                  <a:pt x="2195" y="1292"/>
                  <a:pt x="2211" y="1420"/>
                  <a:pt x="2402" y="1404"/>
                </a:cubicBezTo>
                <a:cubicBezTo>
                  <a:pt x="2546" y="1388"/>
                  <a:pt x="2593" y="1292"/>
                  <a:pt x="2593" y="1197"/>
                </a:cubicBezTo>
                <a:cubicBezTo>
                  <a:pt x="2593" y="1197"/>
                  <a:pt x="2609" y="1197"/>
                  <a:pt x="2609" y="1181"/>
                </a:cubicBezTo>
                <a:cubicBezTo>
                  <a:pt x="2625" y="1197"/>
                  <a:pt x="2625" y="1213"/>
                  <a:pt x="2625" y="1229"/>
                </a:cubicBezTo>
                <a:cubicBezTo>
                  <a:pt x="2609" y="1245"/>
                  <a:pt x="2625" y="1277"/>
                  <a:pt x="2657" y="1292"/>
                </a:cubicBezTo>
                <a:cubicBezTo>
                  <a:pt x="2673" y="1309"/>
                  <a:pt x="2689" y="1309"/>
                  <a:pt x="2704" y="1324"/>
                </a:cubicBezTo>
                <a:cubicBezTo>
                  <a:pt x="2720" y="1324"/>
                  <a:pt x="2736" y="1340"/>
                  <a:pt x="2736" y="1356"/>
                </a:cubicBezTo>
                <a:cubicBezTo>
                  <a:pt x="2736" y="1356"/>
                  <a:pt x="2704" y="1356"/>
                  <a:pt x="2689" y="1356"/>
                </a:cubicBezTo>
                <a:cubicBezTo>
                  <a:pt x="2657" y="1372"/>
                  <a:pt x="2641" y="1372"/>
                  <a:pt x="2625" y="1372"/>
                </a:cubicBezTo>
                <a:cubicBezTo>
                  <a:pt x="2513" y="1404"/>
                  <a:pt x="2434" y="1467"/>
                  <a:pt x="2402" y="1547"/>
                </a:cubicBezTo>
                <a:cubicBezTo>
                  <a:pt x="2370" y="1611"/>
                  <a:pt x="2355" y="1706"/>
                  <a:pt x="2434" y="1834"/>
                </a:cubicBezTo>
                <a:cubicBezTo>
                  <a:pt x="2466" y="1865"/>
                  <a:pt x="2482" y="1881"/>
                  <a:pt x="2482" y="1913"/>
                </a:cubicBezTo>
                <a:cubicBezTo>
                  <a:pt x="2546" y="2024"/>
                  <a:pt x="2609" y="2136"/>
                  <a:pt x="2800" y="2200"/>
                </a:cubicBezTo>
                <a:cubicBezTo>
                  <a:pt x="2864" y="2231"/>
                  <a:pt x="2911" y="2247"/>
                  <a:pt x="2959" y="2295"/>
                </a:cubicBezTo>
                <a:cubicBezTo>
                  <a:pt x="2975" y="2311"/>
                  <a:pt x="2975" y="2343"/>
                  <a:pt x="2991" y="2374"/>
                </a:cubicBezTo>
                <a:cubicBezTo>
                  <a:pt x="2991" y="2391"/>
                  <a:pt x="3007" y="2422"/>
                  <a:pt x="3007" y="2438"/>
                </a:cubicBezTo>
                <a:cubicBezTo>
                  <a:pt x="2816" y="2868"/>
                  <a:pt x="2402" y="3170"/>
                  <a:pt x="1909" y="3202"/>
                </a:cubicBezTo>
                <a:close/>
                <a:moveTo>
                  <a:pt x="986" y="974"/>
                </a:moveTo>
                <a:cubicBezTo>
                  <a:pt x="986" y="1006"/>
                  <a:pt x="1018" y="1038"/>
                  <a:pt x="1050" y="1038"/>
                </a:cubicBezTo>
                <a:cubicBezTo>
                  <a:pt x="1082" y="1038"/>
                  <a:pt x="1082" y="1038"/>
                  <a:pt x="1082" y="1038"/>
                </a:cubicBezTo>
                <a:cubicBezTo>
                  <a:pt x="1098" y="1038"/>
                  <a:pt x="1129" y="1054"/>
                  <a:pt x="1129" y="1054"/>
                </a:cubicBezTo>
                <a:cubicBezTo>
                  <a:pt x="1145" y="1054"/>
                  <a:pt x="1161" y="1070"/>
                  <a:pt x="1161" y="1086"/>
                </a:cubicBezTo>
                <a:cubicBezTo>
                  <a:pt x="1193" y="1118"/>
                  <a:pt x="1209" y="1165"/>
                  <a:pt x="1273" y="1181"/>
                </a:cubicBezTo>
                <a:cubicBezTo>
                  <a:pt x="1304" y="1197"/>
                  <a:pt x="1447" y="1213"/>
                  <a:pt x="1495" y="1165"/>
                </a:cubicBezTo>
                <a:cubicBezTo>
                  <a:pt x="1527" y="1149"/>
                  <a:pt x="1543" y="1118"/>
                  <a:pt x="1543" y="1086"/>
                </a:cubicBezTo>
                <a:cubicBezTo>
                  <a:pt x="1575" y="1070"/>
                  <a:pt x="1670" y="1086"/>
                  <a:pt x="1686" y="1101"/>
                </a:cubicBezTo>
                <a:cubicBezTo>
                  <a:pt x="1686" y="1118"/>
                  <a:pt x="1686" y="1118"/>
                  <a:pt x="1686" y="1134"/>
                </a:cubicBezTo>
                <a:cubicBezTo>
                  <a:pt x="1670" y="1149"/>
                  <a:pt x="1655" y="1165"/>
                  <a:pt x="1622" y="1165"/>
                </a:cubicBezTo>
                <a:cubicBezTo>
                  <a:pt x="1591" y="1165"/>
                  <a:pt x="1559" y="1181"/>
                  <a:pt x="1543" y="1213"/>
                </a:cubicBezTo>
                <a:cubicBezTo>
                  <a:pt x="1527" y="1292"/>
                  <a:pt x="1543" y="1340"/>
                  <a:pt x="1591" y="1388"/>
                </a:cubicBezTo>
                <a:cubicBezTo>
                  <a:pt x="1655" y="1436"/>
                  <a:pt x="1750" y="1436"/>
                  <a:pt x="1813" y="1388"/>
                </a:cubicBezTo>
                <a:cubicBezTo>
                  <a:pt x="1861" y="1372"/>
                  <a:pt x="1877" y="1340"/>
                  <a:pt x="1893" y="1309"/>
                </a:cubicBezTo>
                <a:cubicBezTo>
                  <a:pt x="1909" y="1309"/>
                  <a:pt x="1925" y="1292"/>
                  <a:pt x="1925" y="1292"/>
                </a:cubicBezTo>
                <a:lnTo>
                  <a:pt x="1941" y="1292"/>
                </a:lnTo>
                <a:cubicBezTo>
                  <a:pt x="1973" y="1309"/>
                  <a:pt x="1973" y="1309"/>
                  <a:pt x="1973" y="1309"/>
                </a:cubicBezTo>
                <a:cubicBezTo>
                  <a:pt x="1973" y="1309"/>
                  <a:pt x="1973" y="1324"/>
                  <a:pt x="1956" y="1356"/>
                </a:cubicBezTo>
                <a:cubicBezTo>
                  <a:pt x="1925" y="1404"/>
                  <a:pt x="1861" y="1452"/>
                  <a:pt x="1813" y="1467"/>
                </a:cubicBezTo>
                <a:cubicBezTo>
                  <a:pt x="1798" y="1467"/>
                  <a:pt x="1798" y="1467"/>
                  <a:pt x="1798" y="1467"/>
                </a:cubicBezTo>
                <a:cubicBezTo>
                  <a:pt x="1718" y="1483"/>
                  <a:pt x="1622" y="1500"/>
                  <a:pt x="1591" y="1643"/>
                </a:cubicBezTo>
                <a:cubicBezTo>
                  <a:pt x="1575" y="1674"/>
                  <a:pt x="1575" y="1706"/>
                  <a:pt x="1575" y="1738"/>
                </a:cubicBezTo>
                <a:cubicBezTo>
                  <a:pt x="1575" y="1754"/>
                  <a:pt x="1575" y="1770"/>
                  <a:pt x="1575" y="1786"/>
                </a:cubicBezTo>
                <a:cubicBezTo>
                  <a:pt x="1575" y="1770"/>
                  <a:pt x="1575" y="1770"/>
                  <a:pt x="1559" y="1754"/>
                </a:cubicBezTo>
                <a:cubicBezTo>
                  <a:pt x="1527" y="1722"/>
                  <a:pt x="1495" y="1658"/>
                  <a:pt x="1384" y="1674"/>
                </a:cubicBezTo>
                <a:cubicBezTo>
                  <a:pt x="1256" y="1674"/>
                  <a:pt x="1225" y="1722"/>
                  <a:pt x="1209" y="1770"/>
                </a:cubicBezTo>
                <a:cubicBezTo>
                  <a:pt x="1209" y="1818"/>
                  <a:pt x="1225" y="1865"/>
                  <a:pt x="1273" y="1897"/>
                </a:cubicBezTo>
                <a:cubicBezTo>
                  <a:pt x="1256" y="1897"/>
                  <a:pt x="1256" y="1897"/>
                  <a:pt x="1256" y="1897"/>
                </a:cubicBezTo>
                <a:cubicBezTo>
                  <a:pt x="1241" y="1897"/>
                  <a:pt x="1225" y="1881"/>
                  <a:pt x="1209" y="1849"/>
                </a:cubicBezTo>
                <a:cubicBezTo>
                  <a:pt x="1177" y="1818"/>
                  <a:pt x="1177" y="1818"/>
                  <a:pt x="1177" y="1818"/>
                </a:cubicBezTo>
                <a:cubicBezTo>
                  <a:pt x="1129" y="1738"/>
                  <a:pt x="1129" y="1738"/>
                  <a:pt x="1161" y="1627"/>
                </a:cubicBezTo>
                <a:cubicBezTo>
                  <a:pt x="1177" y="1579"/>
                  <a:pt x="1177" y="1579"/>
                  <a:pt x="1177" y="1579"/>
                </a:cubicBezTo>
                <a:cubicBezTo>
                  <a:pt x="1209" y="1483"/>
                  <a:pt x="1193" y="1420"/>
                  <a:pt x="1177" y="1356"/>
                </a:cubicBezTo>
                <a:cubicBezTo>
                  <a:pt x="1161" y="1340"/>
                  <a:pt x="1161" y="1324"/>
                  <a:pt x="1161" y="1292"/>
                </a:cubicBezTo>
                <a:cubicBezTo>
                  <a:pt x="1145" y="1292"/>
                  <a:pt x="1145" y="1277"/>
                  <a:pt x="1145" y="1261"/>
                </a:cubicBezTo>
                <a:cubicBezTo>
                  <a:pt x="1145" y="1213"/>
                  <a:pt x="1145" y="1149"/>
                  <a:pt x="1034" y="1101"/>
                </a:cubicBezTo>
                <a:cubicBezTo>
                  <a:pt x="986" y="1086"/>
                  <a:pt x="891" y="1101"/>
                  <a:pt x="859" y="1101"/>
                </a:cubicBezTo>
                <a:cubicBezTo>
                  <a:pt x="827" y="1101"/>
                  <a:pt x="795" y="1118"/>
                  <a:pt x="764" y="1118"/>
                </a:cubicBezTo>
                <a:lnTo>
                  <a:pt x="747" y="1134"/>
                </a:lnTo>
                <a:cubicBezTo>
                  <a:pt x="811" y="1038"/>
                  <a:pt x="891" y="943"/>
                  <a:pt x="986" y="879"/>
                </a:cubicBezTo>
                <a:cubicBezTo>
                  <a:pt x="986" y="911"/>
                  <a:pt x="986" y="943"/>
                  <a:pt x="986" y="974"/>
                </a:cubicBezTo>
                <a:close/>
                <a:moveTo>
                  <a:pt x="1575" y="2136"/>
                </a:moveTo>
                <a:cubicBezTo>
                  <a:pt x="1575" y="2120"/>
                  <a:pt x="1575" y="2104"/>
                  <a:pt x="1559" y="2088"/>
                </a:cubicBezTo>
                <a:cubicBezTo>
                  <a:pt x="1591" y="2088"/>
                  <a:pt x="1622" y="2104"/>
                  <a:pt x="1655" y="2104"/>
                </a:cubicBezTo>
                <a:cubicBezTo>
                  <a:pt x="1686" y="2104"/>
                  <a:pt x="1718" y="2104"/>
                  <a:pt x="1750" y="2104"/>
                </a:cubicBezTo>
                <a:cubicBezTo>
                  <a:pt x="1813" y="2104"/>
                  <a:pt x="1829" y="2104"/>
                  <a:pt x="1877" y="2152"/>
                </a:cubicBezTo>
                <a:cubicBezTo>
                  <a:pt x="1909" y="2183"/>
                  <a:pt x="1909" y="2183"/>
                  <a:pt x="1909" y="2183"/>
                </a:cubicBezTo>
                <a:cubicBezTo>
                  <a:pt x="1956" y="2247"/>
                  <a:pt x="2004" y="2311"/>
                  <a:pt x="2116" y="2343"/>
                </a:cubicBezTo>
                <a:cubicBezTo>
                  <a:pt x="2164" y="2358"/>
                  <a:pt x="2164" y="2358"/>
                  <a:pt x="2164" y="2358"/>
                </a:cubicBezTo>
                <a:cubicBezTo>
                  <a:pt x="2259" y="2391"/>
                  <a:pt x="2259" y="2391"/>
                  <a:pt x="2259" y="2438"/>
                </a:cubicBezTo>
                <a:cubicBezTo>
                  <a:pt x="2259" y="2470"/>
                  <a:pt x="2259" y="2470"/>
                  <a:pt x="2195" y="2486"/>
                </a:cubicBezTo>
                <a:cubicBezTo>
                  <a:pt x="2164" y="2502"/>
                  <a:pt x="2132" y="2518"/>
                  <a:pt x="2084" y="2534"/>
                </a:cubicBezTo>
                <a:cubicBezTo>
                  <a:pt x="2004" y="2581"/>
                  <a:pt x="1925" y="2677"/>
                  <a:pt x="1877" y="2788"/>
                </a:cubicBezTo>
                <a:cubicBezTo>
                  <a:pt x="1861" y="2852"/>
                  <a:pt x="1829" y="2900"/>
                  <a:pt x="1813" y="2947"/>
                </a:cubicBezTo>
                <a:cubicBezTo>
                  <a:pt x="1798" y="2852"/>
                  <a:pt x="1750" y="2772"/>
                  <a:pt x="1702" y="2692"/>
                </a:cubicBezTo>
                <a:cubicBezTo>
                  <a:pt x="1702" y="2677"/>
                  <a:pt x="1686" y="2661"/>
                  <a:pt x="1670" y="2629"/>
                </a:cubicBezTo>
                <a:cubicBezTo>
                  <a:pt x="1622" y="2565"/>
                  <a:pt x="1591" y="2518"/>
                  <a:pt x="1591" y="2438"/>
                </a:cubicBezTo>
                <a:cubicBezTo>
                  <a:pt x="1591" y="2406"/>
                  <a:pt x="1591" y="2374"/>
                  <a:pt x="1591" y="2343"/>
                </a:cubicBezTo>
                <a:cubicBezTo>
                  <a:pt x="1591" y="2279"/>
                  <a:pt x="1591" y="2200"/>
                  <a:pt x="1575" y="2136"/>
                </a:cubicBezTo>
                <a:close/>
                <a:moveTo>
                  <a:pt x="636" y="1309"/>
                </a:moveTo>
                <a:cubicBezTo>
                  <a:pt x="700" y="1309"/>
                  <a:pt x="747" y="1292"/>
                  <a:pt x="811" y="1277"/>
                </a:cubicBezTo>
                <a:cubicBezTo>
                  <a:pt x="827" y="1277"/>
                  <a:pt x="859" y="1261"/>
                  <a:pt x="891" y="1261"/>
                </a:cubicBezTo>
                <a:cubicBezTo>
                  <a:pt x="907" y="1261"/>
                  <a:pt x="970" y="1245"/>
                  <a:pt x="986" y="1261"/>
                </a:cubicBezTo>
                <a:cubicBezTo>
                  <a:pt x="986" y="1277"/>
                  <a:pt x="986" y="1309"/>
                  <a:pt x="1002" y="1340"/>
                </a:cubicBezTo>
                <a:cubicBezTo>
                  <a:pt x="1002" y="1372"/>
                  <a:pt x="1018" y="1388"/>
                  <a:pt x="1018" y="1404"/>
                </a:cubicBezTo>
                <a:cubicBezTo>
                  <a:pt x="1034" y="1467"/>
                  <a:pt x="1050" y="1483"/>
                  <a:pt x="1034" y="1531"/>
                </a:cubicBezTo>
                <a:cubicBezTo>
                  <a:pt x="1018" y="1579"/>
                  <a:pt x="1018" y="1579"/>
                  <a:pt x="1018" y="1579"/>
                </a:cubicBezTo>
                <a:cubicBezTo>
                  <a:pt x="970" y="1706"/>
                  <a:pt x="955" y="1770"/>
                  <a:pt x="1050" y="1913"/>
                </a:cubicBezTo>
                <a:cubicBezTo>
                  <a:pt x="1066" y="1945"/>
                  <a:pt x="1066" y="1945"/>
                  <a:pt x="1066" y="1945"/>
                </a:cubicBezTo>
                <a:cubicBezTo>
                  <a:pt x="1098" y="1977"/>
                  <a:pt x="1129" y="2009"/>
                  <a:pt x="1177" y="2040"/>
                </a:cubicBezTo>
                <a:cubicBezTo>
                  <a:pt x="1225" y="2072"/>
                  <a:pt x="1273" y="2056"/>
                  <a:pt x="1304" y="2056"/>
                </a:cubicBezTo>
                <a:cubicBezTo>
                  <a:pt x="1368" y="2072"/>
                  <a:pt x="1416" y="2120"/>
                  <a:pt x="1416" y="2168"/>
                </a:cubicBezTo>
                <a:cubicBezTo>
                  <a:pt x="1432" y="2215"/>
                  <a:pt x="1432" y="2279"/>
                  <a:pt x="1432" y="2343"/>
                </a:cubicBezTo>
                <a:cubicBezTo>
                  <a:pt x="1432" y="2374"/>
                  <a:pt x="1432" y="2406"/>
                  <a:pt x="1432" y="2454"/>
                </a:cubicBezTo>
                <a:cubicBezTo>
                  <a:pt x="1432" y="2565"/>
                  <a:pt x="1479" y="2645"/>
                  <a:pt x="1543" y="2725"/>
                </a:cubicBezTo>
                <a:cubicBezTo>
                  <a:pt x="1543" y="2740"/>
                  <a:pt x="1559" y="2756"/>
                  <a:pt x="1575" y="2772"/>
                </a:cubicBezTo>
                <a:cubicBezTo>
                  <a:pt x="1638" y="2883"/>
                  <a:pt x="1670" y="2947"/>
                  <a:pt x="1670" y="3043"/>
                </a:cubicBezTo>
                <a:cubicBezTo>
                  <a:pt x="1670" y="3074"/>
                  <a:pt x="1670" y="3074"/>
                  <a:pt x="1670" y="3074"/>
                </a:cubicBezTo>
                <a:cubicBezTo>
                  <a:pt x="1670" y="3122"/>
                  <a:pt x="1670" y="3154"/>
                  <a:pt x="1670" y="3202"/>
                </a:cubicBezTo>
                <a:cubicBezTo>
                  <a:pt x="1018" y="3122"/>
                  <a:pt x="509" y="2565"/>
                  <a:pt x="509" y="1897"/>
                </a:cubicBezTo>
                <a:cubicBezTo>
                  <a:pt x="509" y="1674"/>
                  <a:pt x="556" y="1483"/>
                  <a:pt x="636" y="1309"/>
                </a:cubicBezTo>
                <a:close/>
                <a:moveTo>
                  <a:pt x="3134" y="1897"/>
                </a:moveTo>
                <a:cubicBezTo>
                  <a:pt x="3134" y="2009"/>
                  <a:pt x="3118" y="2104"/>
                  <a:pt x="3102" y="2215"/>
                </a:cubicBezTo>
                <a:cubicBezTo>
                  <a:pt x="3086" y="2215"/>
                  <a:pt x="3086" y="2200"/>
                  <a:pt x="3086" y="2200"/>
                </a:cubicBezTo>
                <a:cubicBezTo>
                  <a:pt x="3007" y="2104"/>
                  <a:pt x="2927" y="2088"/>
                  <a:pt x="2847" y="2040"/>
                </a:cubicBezTo>
                <a:cubicBezTo>
                  <a:pt x="2720" y="1992"/>
                  <a:pt x="2689" y="1945"/>
                  <a:pt x="2625" y="1834"/>
                </a:cubicBezTo>
                <a:cubicBezTo>
                  <a:pt x="2609" y="1801"/>
                  <a:pt x="2593" y="1786"/>
                  <a:pt x="2577" y="1754"/>
                </a:cubicBezTo>
                <a:cubicBezTo>
                  <a:pt x="2546" y="1690"/>
                  <a:pt x="2529" y="1643"/>
                  <a:pt x="2546" y="1611"/>
                </a:cubicBezTo>
                <a:cubicBezTo>
                  <a:pt x="2561" y="1563"/>
                  <a:pt x="2593" y="1547"/>
                  <a:pt x="2657" y="1531"/>
                </a:cubicBezTo>
                <a:cubicBezTo>
                  <a:pt x="2673" y="1531"/>
                  <a:pt x="2689" y="1531"/>
                  <a:pt x="2704" y="1515"/>
                </a:cubicBezTo>
                <a:cubicBezTo>
                  <a:pt x="2768" y="1515"/>
                  <a:pt x="2847" y="1500"/>
                  <a:pt x="2895" y="1420"/>
                </a:cubicBezTo>
                <a:cubicBezTo>
                  <a:pt x="2943" y="1277"/>
                  <a:pt x="2832" y="1197"/>
                  <a:pt x="2768" y="1181"/>
                </a:cubicBezTo>
                <a:cubicBezTo>
                  <a:pt x="2768" y="1149"/>
                  <a:pt x="2768" y="1118"/>
                  <a:pt x="2752" y="1070"/>
                </a:cubicBezTo>
                <a:cubicBezTo>
                  <a:pt x="2736" y="1054"/>
                  <a:pt x="2720" y="1038"/>
                  <a:pt x="2689" y="1022"/>
                </a:cubicBezTo>
                <a:cubicBezTo>
                  <a:pt x="2641" y="1022"/>
                  <a:pt x="2593" y="1022"/>
                  <a:pt x="2561" y="1038"/>
                </a:cubicBezTo>
                <a:cubicBezTo>
                  <a:pt x="2546" y="1038"/>
                  <a:pt x="2546" y="1038"/>
                  <a:pt x="2529" y="1038"/>
                </a:cubicBezTo>
                <a:cubicBezTo>
                  <a:pt x="2482" y="1054"/>
                  <a:pt x="2450" y="1086"/>
                  <a:pt x="2434" y="1134"/>
                </a:cubicBezTo>
                <a:cubicBezTo>
                  <a:pt x="2434" y="1245"/>
                  <a:pt x="2434" y="1245"/>
                  <a:pt x="2386" y="1245"/>
                </a:cubicBezTo>
                <a:cubicBezTo>
                  <a:pt x="2355" y="1245"/>
                  <a:pt x="2355" y="1245"/>
                  <a:pt x="2355" y="1245"/>
                </a:cubicBezTo>
                <a:cubicBezTo>
                  <a:pt x="2338" y="1245"/>
                  <a:pt x="2338" y="1197"/>
                  <a:pt x="2323" y="1165"/>
                </a:cubicBezTo>
                <a:cubicBezTo>
                  <a:pt x="2307" y="1086"/>
                  <a:pt x="2275" y="1038"/>
                  <a:pt x="2243" y="990"/>
                </a:cubicBezTo>
                <a:cubicBezTo>
                  <a:pt x="2227" y="958"/>
                  <a:pt x="2211" y="927"/>
                  <a:pt x="2195" y="895"/>
                </a:cubicBezTo>
                <a:cubicBezTo>
                  <a:pt x="2179" y="863"/>
                  <a:pt x="2179" y="815"/>
                  <a:pt x="2179" y="783"/>
                </a:cubicBezTo>
                <a:cubicBezTo>
                  <a:pt x="2164" y="736"/>
                  <a:pt x="2164" y="672"/>
                  <a:pt x="2147" y="624"/>
                </a:cubicBezTo>
                <a:cubicBezTo>
                  <a:pt x="2147" y="624"/>
                  <a:pt x="2147" y="609"/>
                  <a:pt x="2132" y="609"/>
                </a:cubicBezTo>
                <a:cubicBezTo>
                  <a:pt x="2704" y="752"/>
                  <a:pt x="3134" y="1277"/>
                  <a:pt x="3134" y="1897"/>
                </a:cubicBezTo>
                <a:close/>
                <a:moveTo>
                  <a:pt x="1098" y="401"/>
                </a:moveTo>
                <a:cubicBezTo>
                  <a:pt x="1177" y="561"/>
                  <a:pt x="1177" y="561"/>
                  <a:pt x="1177" y="561"/>
                </a:cubicBezTo>
                <a:cubicBezTo>
                  <a:pt x="684" y="800"/>
                  <a:pt x="350" y="1309"/>
                  <a:pt x="350" y="1897"/>
                </a:cubicBezTo>
                <a:cubicBezTo>
                  <a:pt x="350" y="2709"/>
                  <a:pt x="1002" y="3361"/>
                  <a:pt x="1813" y="3361"/>
                </a:cubicBezTo>
                <a:cubicBezTo>
                  <a:pt x="2004" y="3361"/>
                  <a:pt x="2164" y="3329"/>
                  <a:pt x="2323" y="3281"/>
                </a:cubicBezTo>
                <a:cubicBezTo>
                  <a:pt x="2402" y="3440"/>
                  <a:pt x="2402" y="3440"/>
                  <a:pt x="2402" y="3440"/>
                </a:cubicBezTo>
                <a:cubicBezTo>
                  <a:pt x="2211" y="3504"/>
                  <a:pt x="2020" y="3536"/>
                  <a:pt x="1813" y="3536"/>
                </a:cubicBezTo>
                <a:cubicBezTo>
                  <a:pt x="907" y="3536"/>
                  <a:pt x="159" y="2804"/>
                  <a:pt x="159" y="1881"/>
                </a:cubicBezTo>
                <a:cubicBezTo>
                  <a:pt x="159" y="1229"/>
                  <a:pt x="541" y="656"/>
                  <a:pt x="1098" y="40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4" name="Freeform: Shape 3">
            <a:extLst>
              <a:ext uri="{FF2B5EF4-FFF2-40B4-BE49-F238E27FC236}">
                <a16:creationId xmlns:a16="http://schemas.microsoft.com/office/drawing/2014/main" id="{1AD107AD-B5E9-C543-A7FE-13774B61C77A}"/>
              </a:ext>
            </a:extLst>
          </p:cNvPr>
          <p:cNvSpPr/>
          <p:nvPr/>
        </p:nvSpPr>
        <p:spPr>
          <a:xfrm>
            <a:off x="13799900" y="9742053"/>
            <a:ext cx="1735199" cy="1735199"/>
          </a:xfrm>
          <a:custGeom>
            <a:avLst/>
            <a:gdLst/>
            <a:ahLst/>
            <a:cxnLst>
              <a:cxn ang="3cd4">
                <a:pos x="hc" y="t"/>
              </a:cxn>
              <a:cxn ang="cd2">
                <a:pos x="l" y="vc"/>
              </a:cxn>
              <a:cxn ang="cd4">
                <a:pos x="hc" y="b"/>
              </a:cxn>
              <a:cxn ang="0">
                <a:pos x="r" y="vc"/>
              </a:cxn>
            </a:cxnLst>
            <a:rect l="l" t="t" r="r" b="b"/>
            <a:pathLst>
              <a:path w="4821" h="4821">
                <a:moveTo>
                  <a:pt x="2419" y="0"/>
                </a:moveTo>
                <a:cubicBezTo>
                  <a:pt x="1082" y="0"/>
                  <a:pt x="0" y="1082"/>
                  <a:pt x="0" y="2419"/>
                </a:cubicBezTo>
                <a:cubicBezTo>
                  <a:pt x="0" y="3739"/>
                  <a:pt x="1082" y="4821"/>
                  <a:pt x="2419" y="4821"/>
                </a:cubicBezTo>
                <a:cubicBezTo>
                  <a:pt x="3739" y="4821"/>
                  <a:pt x="4821" y="3739"/>
                  <a:pt x="4821" y="2419"/>
                </a:cubicBezTo>
                <a:cubicBezTo>
                  <a:pt x="4821" y="1082"/>
                  <a:pt x="3739" y="0"/>
                  <a:pt x="2419" y="0"/>
                </a:cubicBezTo>
                <a:close/>
                <a:moveTo>
                  <a:pt x="2419" y="4662"/>
                </a:moveTo>
                <a:cubicBezTo>
                  <a:pt x="1178" y="4662"/>
                  <a:pt x="160" y="3660"/>
                  <a:pt x="160" y="2419"/>
                </a:cubicBezTo>
                <a:cubicBezTo>
                  <a:pt x="160" y="1178"/>
                  <a:pt x="1178" y="159"/>
                  <a:pt x="2419" y="159"/>
                </a:cubicBezTo>
                <a:cubicBezTo>
                  <a:pt x="3660" y="159"/>
                  <a:pt x="4662" y="1178"/>
                  <a:pt x="4662" y="2419"/>
                </a:cubicBezTo>
                <a:cubicBezTo>
                  <a:pt x="4662" y="3660"/>
                  <a:pt x="3660" y="4662"/>
                  <a:pt x="2419" y="4662"/>
                </a:cubicBezTo>
                <a:close/>
                <a:moveTo>
                  <a:pt x="2403" y="716"/>
                </a:moveTo>
                <a:cubicBezTo>
                  <a:pt x="1798" y="716"/>
                  <a:pt x="1242" y="1035"/>
                  <a:pt x="939" y="1559"/>
                </a:cubicBezTo>
                <a:lnTo>
                  <a:pt x="923" y="1575"/>
                </a:lnTo>
                <a:cubicBezTo>
                  <a:pt x="907" y="1623"/>
                  <a:pt x="891" y="1687"/>
                  <a:pt x="923" y="1702"/>
                </a:cubicBezTo>
                <a:cubicBezTo>
                  <a:pt x="955" y="1735"/>
                  <a:pt x="1019" y="1719"/>
                  <a:pt x="1051" y="1687"/>
                </a:cubicBezTo>
                <a:cubicBezTo>
                  <a:pt x="1242" y="1480"/>
                  <a:pt x="1655" y="1130"/>
                  <a:pt x="2339" y="1146"/>
                </a:cubicBezTo>
                <a:cubicBezTo>
                  <a:pt x="2912" y="1178"/>
                  <a:pt x="3294" y="1575"/>
                  <a:pt x="3389" y="1702"/>
                </a:cubicBezTo>
                <a:cubicBezTo>
                  <a:pt x="3421" y="1735"/>
                  <a:pt x="3453" y="1766"/>
                  <a:pt x="3501" y="1766"/>
                </a:cubicBezTo>
                <a:cubicBezTo>
                  <a:pt x="3533" y="1766"/>
                  <a:pt x="3549" y="1750"/>
                  <a:pt x="3580" y="1735"/>
                </a:cubicBezTo>
                <a:lnTo>
                  <a:pt x="3771" y="1623"/>
                </a:lnTo>
                <a:cubicBezTo>
                  <a:pt x="3787" y="1607"/>
                  <a:pt x="3819" y="1591"/>
                  <a:pt x="3819" y="1559"/>
                </a:cubicBezTo>
                <a:cubicBezTo>
                  <a:pt x="3835" y="1496"/>
                  <a:pt x="3803" y="1448"/>
                  <a:pt x="3803" y="1432"/>
                </a:cubicBezTo>
                <a:cubicBezTo>
                  <a:pt x="3469" y="987"/>
                  <a:pt x="2960" y="716"/>
                  <a:pt x="2403" y="716"/>
                </a:cubicBezTo>
                <a:close/>
                <a:moveTo>
                  <a:pt x="3501" y="1591"/>
                </a:moveTo>
                <a:cubicBezTo>
                  <a:pt x="3389" y="1448"/>
                  <a:pt x="2976" y="1019"/>
                  <a:pt x="2355" y="987"/>
                </a:cubicBezTo>
                <a:lnTo>
                  <a:pt x="2276" y="987"/>
                </a:lnTo>
                <a:cubicBezTo>
                  <a:pt x="2021" y="987"/>
                  <a:pt x="1767" y="1050"/>
                  <a:pt x="1544" y="1146"/>
                </a:cubicBezTo>
                <a:cubicBezTo>
                  <a:pt x="1798" y="971"/>
                  <a:pt x="2101" y="875"/>
                  <a:pt x="2403" y="875"/>
                </a:cubicBezTo>
                <a:cubicBezTo>
                  <a:pt x="2896" y="875"/>
                  <a:pt x="3373" y="1114"/>
                  <a:pt x="3660" y="1512"/>
                </a:cubicBezTo>
                <a:close/>
                <a:moveTo>
                  <a:pt x="2689" y="3214"/>
                </a:moveTo>
                <a:lnTo>
                  <a:pt x="2689" y="2355"/>
                </a:lnTo>
                <a:cubicBezTo>
                  <a:pt x="2689" y="2196"/>
                  <a:pt x="2546" y="2069"/>
                  <a:pt x="2387" y="2069"/>
                </a:cubicBezTo>
                <a:cubicBezTo>
                  <a:pt x="2228" y="2069"/>
                  <a:pt x="2101" y="2196"/>
                  <a:pt x="2101" y="2355"/>
                </a:cubicBezTo>
                <a:lnTo>
                  <a:pt x="2101" y="3214"/>
                </a:lnTo>
                <a:cubicBezTo>
                  <a:pt x="1958" y="3310"/>
                  <a:pt x="1878" y="3469"/>
                  <a:pt x="1878" y="3628"/>
                </a:cubicBezTo>
                <a:cubicBezTo>
                  <a:pt x="1878" y="3914"/>
                  <a:pt x="2116" y="4153"/>
                  <a:pt x="2387" y="4153"/>
                </a:cubicBezTo>
                <a:cubicBezTo>
                  <a:pt x="2673" y="4153"/>
                  <a:pt x="2912" y="3914"/>
                  <a:pt x="2912" y="3628"/>
                </a:cubicBezTo>
                <a:cubicBezTo>
                  <a:pt x="2912" y="3469"/>
                  <a:pt x="2816" y="3310"/>
                  <a:pt x="2689" y="3214"/>
                </a:cubicBezTo>
                <a:close/>
                <a:moveTo>
                  <a:pt x="2387" y="3994"/>
                </a:moveTo>
                <a:cubicBezTo>
                  <a:pt x="2196" y="3994"/>
                  <a:pt x="2037" y="3835"/>
                  <a:pt x="2037" y="3628"/>
                </a:cubicBezTo>
                <a:cubicBezTo>
                  <a:pt x="2037" y="3501"/>
                  <a:pt x="2101" y="3389"/>
                  <a:pt x="2228" y="3326"/>
                </a:cubicBezTo>
                <a:cubicBezTo>
                  <a:pt x="2244" y="3310"/>
                  <a:pt x="2260" y="3278"/>
                  <a:pt x="2260" y="3246"/>
                </a:cubicBezTo>
                <a:lnTo>
                  <a:pt x="2260" y="2355"/>
                </a:lnTo>
                <a:cubicBezTo>
                  <a:pt x="2260" y="2275"/>
                  <a:pt x="2324" y="2228"/>
                  <a:pt x="2387" y="2228"/>
                </a:cubicBezTo>
                <a:cubicBezTo>
                  <a:pt x="2467" y="2228"/>
                  <a:pt x="2530" y="2275"/>
                  <a:pt x="2530" y="2355"/>
                </a:cubicBezTo>
                <a:lnTo>
                  <a:pt x="2530" y="3246"/>
                </a:lnTo>
                <a:cubicBezTo>
                  <a:pt x="2530" y="3278"/>
                  <a:pt x="2546" y="3310"/>
                  <a:pt x="2562" y="3326"/>
                </a:cubicBezTo>
                <a:cubicBezTo>
                  <a:pt x="2673" y="3389"/>
                  <a:pt x="2753" y="3501"/>
                  <a:pt x="2753" y="3628"/>
                </a:cubicBezTo>
                <a:cubicBezTo>
                  <a:pt x="2753" y="3835"/>
                  <a:pt x="2594" y="3994"/>
                  <a:pt x="2387" y="399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5" name="Freeform: Shape 4">
            <a:extLst>
              <a:ext uri="{FF2B5EF4-FFF2-40B4-BE49-F238E27FC236}">
                <a16:creationId xmlns:a16="http://schemas.microsoft.com/office/drawing/2014/main" id="{ABD21F58-89BB-7B43-B31D-EDEDBD6A205C}"/>
              </a:ext>
            </a:extLst>
          </p:cNvPr>
          <p:cNvSpPr/>
          <p:nvPr/>
        </p:nvSpPr>
        <p:spPr>
          <a:xfrm>
            <a:off x="21332879" y="9908373"/>
            <a:ext cx="1534319" cy="1368360"/>
          </a:xfrm>
          <a:custGeom>
            <a:avLst/>
            <a:gdLst/>
            <a:ahLst/>
            <a:cxnLst>
              <a:cxn ang="3cd4">
                <a:pos x="hc" y="t"/>
              </a:cxn>
              <a:cxn ang="cd2">
                <a:pos x="l" y="vc"/>
              </a:cxn>
              <a:cxn ang="cd4">
                <a:pos x="hc" y="b"/>
              </a:cxn>
              <a:cxn ang="0">
                <a:pos x="r" y="vc"/>
              </a:cxn>
            </a:cxnLst>
            <a:rect l="l" t="t" r="r" b="b"/>
            <a:pathLst>
              <a:path w="4263" h="3802">
                <a:moveTo>
                  <a:pt x="413" y="3802"/>
                </a:moveTo>
                <a:cubicBezTo>
                  <a:pt x="3850" y="3802"/>
                  <a:pt x="3850" y="3802"/>
                  <a:pt x="3850" y="3802"/>
                </a:cubicBezTo>
                <a:cubicBezTo>
                  <a:pt x="4073" y="3802"/>
                  <a:pt x="4263" y="3627"/>
                  <a:pt x="4263" y="3388"/>
                </a:cubicBezTo>
                <a:cubicBezTo>
                  <a:pt x="4263" y="1129"/>
                  <a:pt x="4263" y="1129"/>
                  <a:pt x="4263" y="1129"/>
                </a:cubicBezTo>
                <a:cubicBezTo>
                  <a:pt x="4263" y="891"/>
                  <a:pt x="4073" y="700"/>
                  <a:pt x="3850" y="700"/>
                </a:cubicBezTo>
                <a:cubicBezTo>
                  <a:pt x="3102" y="700"/>
                  <a:pt x="3102" y="700"/>
                  <a:pt x="3102" y="700"/>
                </a:cubicBezTo>
                <a:cubicBezTo>
                  <a:pt x="3102" y="525"/>
                  <a:pt x="3102" y="525"/>
                  <a:pt x="3102" y="525"/>
                </a:cubicBezTo>
                <a:cubicBezTo>
                  <a:pt x="3102" y="239"/>
                  <a:pt x="2863" y="0"/>
                  <a:pt x="2577" y="0"/>
                </a:cubicBezTo>
                <a:cubicBezTo>
                  <a:pt x="1686" y="0"/>
                  <a:pt x="1686" y="0"/>
                  <a:pt x="1686" y="0"/>
                </a:cubicBezTo>
                <a:cubicBezTo>
                  <a:pt x="1384" y="0"/>
                  <a:pt x="1145" y="239"/>
                  <a:pt x="1145" y="525"/>
                </a:cubicBezTo>
                <a:cubicBezTo>
                  <a:pt x="1145" y="700"/>
                  <a:pt x="1145" y="700"/>
                  <a:pt x="1145" y="700"/>
                </a:cubicBezTo>
                <a:cubicBezTo>
                  <a:pt x="413" y="700"/>
                  <a:pt x="413" y="700"/>
                  <a:pt x="413" y="700"/>
                </a:cubicBezTo>
                <a:cubicBezTo>
                  <a:pt x="175" y="700"/>
                  <a:pt x="0" y="891"/>
                  <a:pt x="0" y="1129"/>
                </a:cubicBezTo>
                <a:cubicBezTo>
                  <a:pt x="0" y="3388"/>
                  <a:pt x="0" y="3388"/>
                  <a:pt x="0" y="3388"/>
                </a:cubicBezTo>
                <a:cubicBezTo>
                  <a:pt x="0" y="3627"/>
                  <a:pt x="175" y="3802"/>
                  <a:pt x="413" y="3802"/>
                </a:cubicBezTo>
                <a:close/>
                <a:moveTo>
                  <a:pt x="1209" y="859"/>
                </a:moveTo>
                <a:cubicBezTo>
                  <a:pt x="1224" y="859"/>
                  <a:pt x="1224" y="859"/>
                  <a:pt x="1224" y="859"/>
                </a:cubicBezTo>
                <a:cubicBezTo>
                  <a:pt x="1241" y="859"/>
                  <a:pt x="1241" y="859"/>
                  <a:pt x="1241" y="859"/>
                </a:cubicBezTo>
                <a:cubicBezTo>
                  <a:pt x="3006" y="859"/>
                  <a:pt x="3006" y="859"/>
                  <a:pt x="3006" y="859"/>
                </a:cubicBezTo>
                <a:cubicBezTo>
                  <a:pt x="3023" y="859"/>
                  <a:pt x="3023" y="859"/>
                  <a:pt x="3023" y="859"/>
                </a:cubicBezTo>
                <a:cubicBezTo>
                  <a:pt x="3038" y="859"/>
                  <a:pt x="3038" y="859"/>
                  <a:pt x="3038" y="859"/>
                </a:cubicBezTo>
                <a:cubicBezTo>
                  <a:pt x="3436" y="859"/>
                  <a:pt x="3436" y="859"/>
                  <a:pt x="3436" y="859"/>
                </a:cubicBezTo>
                <a:cubicBezTo>
                  <a:pt x="3436" y="3643"/>
                  <a:pt x="3436" y="3643"/>
                  <a:pt x="3436" y="3643"/>
                </a:cubicBezTo>
                <a:cubicBezTo>
                  <a:pt x="843" y="3643"/>
                  <a:pt x="843" y="3643"/>
                  <a:pt x="843" y="3643"/>
                </a:cubicBezTo>
                <a:cubicBezTo>
                  <a:pt x="843" y="859"/>
                  <a:pt x="843" y="859"/>
                  <a:pt x="843" y="859"/>
                </a:cubicBezTo>
                <a:close/>
                <a:moveTo>
                  <a:pt x="4105" y="1129"/>
                </a:moveTo>
                <a:cubicBezTo>
                  <a:pt x="4105" y="3388"/>
                  <a:pt x="4105" y="3388"/>
                  <a:pt x="4105" y="3388"/>
                </a:cubicBezTo>
                <a:cubicBezTo>
                  <a:pt x="4105" y="3532"/>
                  <a:pt x="3993" y="3643"/>
                  <a:pt x="3850" y="3643"/>
                </a:cubicBezTo>
                <a:cubicBezTo>
                  <a:pt x="3595" y="3643"/>
                  <a:pt x="3595" y="3643"/>
                  <a:pt x="3595" y="3643"/>
                </a:cubicBezTo>
                <a:cubicBezTo>
                  <a:pt x="3595" y="859"/>
                  <a:pt x="3595" y="859"/>
                  <a:pt x="3595" y="859"/>
                </a:cubicBezTo>
                <a:cubicBezTo>
                  <a:pt x="3850" y="859"/>
                  <a:pt x="3850" y="859"/>
                  <a:pt x="3850" y="859"/>
                </a:cubicBezTo>
                <a:cubicBezTo>
                  <a:pt x="3993" y="859"/>
                  <a:pt x="4105" y="986"/>
                  <a:pt x="4105" y="1129"/>
                </a:cubicBezTo>
                <a:close/>
                <a:moveTo>
                  <a:pt x="1304" y="525"/>
                </a:moveTo>
                <a:cubicBezTo>
                  <a:pt x="1304" y="318"/>
                  <a:pt x="1479" y="159"/>
                  <a:pt x="1686" y="159"/>
                </a:cubicBezTo>
                <a:cubicBezTo>
                  <a:pt x="2577" y="159"/>
                  <a:pt x="2577" y="159"/>
                  <a:pt x="2577" y="159"/>
                </a:cubicBezTo>
                <a:cubicBezTo>
                  <a:pt x="2784" y="159"/>
                  <a:pt x="2943" y="318"/>
                  <a:pt x="2943" y="525"/>
                </a:cubicBezTo>
                <a:cubicBezTo>
                  <a:pt x="2943" y="700"/>
                  <a:pt x="2943" y="700"/>
                  <a:pt x="2943" y="700"/>
                </a:cubicBezTo>
                <a:cubicBezTo>
                  <a:pt x="1304" y="700"/>
                  <a:pt x="1304" y="700"/>
                  <a:pt x="1304" y="700"/>
                </a:cubicBezTo>
                <a:close/>
                <a:moveTo>
                  <a:pt x="159" y="1129"/>
                </a:moveTo>
                <a:cubicBezTo>
                  <a:pt x="159" y="986"/>
                  <a:pt x="270" y="859"/>
                  <a:pt x="413" y="859"/>
                </a:cubicBezTo>
                <a:cubicBezTo>
                  <a:pt x="684" y="859"/>
                  <a:pt x="684" y="859"/>
                  <a:pt x="684" y="859"/>
                </a:cubicBezTo>
                <a:cubicBezTo>
                  <a:pt x="684" y="3643"/>
                  <a:pt x="684" y="3643"/>
                  <a:pt x="684" y="3643"/>
                </a:cubicBezTo>
                <a:cubicBezTo>
                  <a:pt x="413" y="3643"/>
                  <a:pt x="413" y="3643"/>
                  <a:pt x="413" y="3643"/>
                </a:cubicBezTo>
                <a:cubicBezTo>
                  <a:pt x="270" y="3643"/>
                  <a:pt x="159" y="3532"/>
                  <a:pt x="159" y="338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6" name="Freeform: Shape 5">
            <a:extLst>
              <a:ext uri="{FF2B5EF4-FFF2-40B4-BE49-F238E27FC236}">
                <a16:creationId xmlns:a16="http://schemas.microsoft.com/office/drawing/2014/main" id="{7717E498-0776-A645-8034-A683EE3A8588}"/>
              </a:ext>
            </a:extLst>
          </p:cNvPr>
          <p:cNvSpPr/>
          <p:nvPr/>
        </p:nvSpPr>
        <p:spPr>
          <a:xfrm>
            <a:off x="17020833" y="6752446"/>
            <a:ext cx="2061719" cy="1139760"/>
          </a:xfrm>
          <a:custGeom>
            <a:avLst/>
            <a:gdLst/>
            <a:ahLst/>
            <a:cxnLst>
              <a:cxn ang="3cd4">
                <a:pos x="hc" y="t"/>
              </a:cxn>
              <a:cxn ang="cd2">
                <a:pos x="l" y="vc"/>
              </a:cxn>
              <a:cxn ang="cd4">
                <a:pos x="hc" y="b"/>
              </a:cxn>
              <a:cxn ang="0">
                <a:pos x="r" y="vc"/>
              </a:cxn>
            </a:cxnLst>
            <a:rect l="l" t="t" r="r" b="b"/>
            <a:pathLst>
              <a:path w="5728" h="3167">
                <a:moveTo>
                  <a:pt x="573" y="2594"/>
                </a:moveTo>
                <a:cubicBezTo>
                  <a:pt x="621" y="2912"/>
                  <a:pt x="891" y="3167"/>
                  <a:pt x="1241" y="3167"/>
                </a:cubicBezTo>
                <a:cubicBezTo>
                  <a:pt x="1575" y="3167"/>
                  <a:pt x="1846" y="2912"/>
                  <a:pt x="1893" y="2594"/>
                </a:cubicBezTo>
                <a:cubicBezTo>
                  <a:pt x="3835" y="2594"/>
                  <a:pt x="3835" y="2594"/>
                  <a:pt x="3835" y="2594"/>
                </a:cubicBezTo>
                <a:cubicBezTo>
                  <a:pt x="3866" y="2912"/>
                  <a:pt x="4153" y="3167"/>
                  <a:pt x="4487" y="3167"/>
                </a:cubicBezTo>
                <a:cubicBezTo>
                  <a:pt x="4821" y="3167"/>
                  <a:pt x="5092" y="2912"/>
                  <a:pt x="5139" y="2594"/>
                </a:cubicBezTo>
                <a:cubicBezTo>
                  <a:pt x="5410" y="2594"/>
                  <a:pt x="5410" y="2594"/>
                  <a:pt x="5410" y="2594"/>
                </a:cubicBezTo>
                <a:cubicBezTo>
                  <a:pt x="5584" y="2594"/>
                  <a:pt x="5728" y="2451"/>
                  <a:pt x="5728" y="2276"/>
                </a:cubicBezTo>
                <a:cubicBezTo>
                  <a:pt x="5728" y="1576"/>
                  <a:pt x="5728" y="1576"/>
                  <a:pt x="5728" y="1576"/>
                </a:cubicBezTo>
                <a:cubicBezTo>
                  <a:pt x="5728" y="1210"/>
                  <a:pt x="4519" y="955"/>
                  <a:pt x="4375" y="923"/>
                </a:cubicBezTo>
                <a:cubicBezTo>
                  <a:pt x="4280" y="907"/>
                  <a:pt x="3962" y="557"/>
                  <a:pt x="3723" y="255"/>
                </a:cubicBezTo>
                <a:cubicBezTo>
                  <a:pt x="3612" y="128"/>
                  <a:pt x="3469" y="0"/>
                  <a:pt x="3214" y="0"/>
                </a:cubicBezTo>
                <a:cubicBezTo>
                  <a:pt x="2737" y="0"/>
                  <a:pt x="2737" y="0"/>
                  <a:pt x="2737" y="0"/>
                </a:cubicBezTo>
                <a:cubicBezTo>
                  <a:pt x="2705" y="0"/>
                  <a:pt x="2657" y="33"/>
                  <a:pt x="2657" y="80"/>
                </a:cubicBezTo>
                <a:cubicBezTo>
                  <a:pt x="2657" y="923"/>
                  <a:pt x="2657" y="923"/>
                  <a:pt x="2657" y="923"/>
                </a:cubicBezTo>
                <a:cubicBezTo>
                  <a:pt x="1925" y="923"/>
                  <a:pt x="1925" y="923"/>
                  <a:pt x="1925" y="923"/>
                </a:cubicBezTo>
                <a:cubicBezTo>
                  <a:pt x="541" y="923"/>
                  <a:pt x="541" y="923"/>
                  <a:pt x="541" y="923"/>
                </a:cubicBezTo>
                <a:cubicBezTo>
                  <a:pt x="430" y="923"/>
                  <a:pt x="430" y="923"/>
                  <a:pt x="430" y="923"/>
                </a:cubicBezTo>
                <a:cubicBezTo>
                  <a:pt x="144" y="923"/>
                  <a:pt x="0" y="1082"/>
                  <a:pt x="0" y="1353"/>
                </a:cubicBezTo>
                <a:cubicBezTo>
                  <a:pt x="0" y="2307"/>
                  <a:pt x="0" y="2307"/>
                  <a:pt x="0" y="2307"/>
                </a:cubicBezTo>
                <a:cubicBezTo>
                  <a:pt x="0" y="2467"/>
                  <a:pt x="128" y="2594"/>
                  <a:pt x="302" y="2594"/>
                </a:cubicBezTo>
                <a:close/>
                <a:moveTo>
                  <a:pt x="1241" y="3007"/>
                </a:moveTo>
                <a:cubicBezTo>
                  <a:pt x="955" y="3007"/>
                  <a:pt x="732" y="2785"/>
                  <a:pt x="732" y="2514"/>
                </a:cubicBezTo>
                <a:cubicBezTo>
                  <a:pt x="732" y="2228"/>
                  <a:pt x="955" y="2005"/>
                  <a:pt x="1241" y="2005"/>
                </a:cubicBezTo>
                <a:cubicBezTo>
                  <a:pt x="1512" y="2005"/>
                  <a:pt x="1735" y="2228"/>
                  <a:pt x="1735" y="2514"/>
                </a:cubicBezTo>
                <a:cubicBezTo>
                  <a:pt x="1735" y="2785"/>
                  <a:pt x="1512" y="3007"/>
                  <a:pt x="1241" y="3007"/>
                </a:cubicBezTo>
                <a:close/>
                <a:moveTo>
                  <a:pt x="4487" y="3007"/>
                </a:moveTo>
                <a:cubicBezTo>
                  <a:pt x="4201" y="3007"/>
                  <a:pt x="3978" y="2785"/>
                  <a:pt x="3978" y="2514"/>
                </a:cubicBezTo>
                <a:cubicBezTo>
                  <a:pt x="3978" y="2228"/>
                  <a:pt x="4201" y="2005"/>
                  <a:pt x="4487" y="2005"/>
                </a:cubicBezTo>
                <a:cubicBezTo>
                  <a:pt x="4757" y="2005"/>
                  <a:pt x="4980" y="2228"/>
                  <a:pt x="4980" y="2514"/>
                </a:cubicBezTo>
                <a:cubicBezTo>
                  <a:pt x="4980" y="2785"/>
                  <a:pt x="4757" y="3007"/>
                  <a:pt x="4487" y="3007"/>
                </a:cubicBezTo>
                <a:close/>
                <a:moveTo>
                  <a:pt x="2816" y="160"/>
                </a:moveTo>
                <a:cubicBezTo>
                  <a:pt x="3214" y="160"/>
                  <a:pt x="3214" y="160"/>
                  <a:pt x="3214" y="160"/>
                </a:cubicBezTo>
                <a:cubicBezTo>
                  <a:pt x="3405" y="160"/>
                  <a:pt x="3501" y="255"/>
                  <a:pt x="3612" y="351"/>
                </a:cubicBezTo>
                <a:cubicBezTo>
                  <a:pt x="3675" y="430"/>
                  <a:pt x="3898" y="733"/>
                  <a:pt x="4105" y="923"/>
                </a:cubicBezTo>
                <a:cubicBezTo>
                  <a:pt x="2816" y="923"/>
                  <a:pt x="2816" y="923"/>
                  <a:pt x="2816" y="923"/>
                </a:cubicBezTo>
                <a:close/>
                <a:moveTo>
                  <a:pt x="159" y="2307"/>
                </a:moveTo>
                <a:cubicBezTo>
                  <a:pt x="159" y="1353"/>
                  <a:pt x="159" y="1353"/>
                  <a:pt x="159" y="1353"/>
                </a:cubicBezTo>
                <a:cubicBezTo>
                  <a:pt x="159" y="1162"/>
                  <a:pt x="239" y="1082"/>
                  <a:pt x="430" y="1082"/>
                </a:cubicBezTo>
                <a:cubicBezTo>
                  <a:pt x="541" y="1082"/>
                  <a:pt x="541" y="1082"/>
                  <a:pt x="541" y="1082"/>
                </a:cubicBezTo>
                <a:cubicBezTo>
                  <a:pt x="1925" y="1082"/>
                  <a:pt x="1925" y="1082"/>
                  <a:pt x="1925" y="1082"/>
                </a:cubicBezTo>
                <a:cubicBezTo>
                  <a:pt x="4360" y="1082"/>
                  <a:pt x="4360" y="1082"/>
                  <a:pt x="4360" y="1082"/>
                </a:cubicBezTo>
                <a:cubicBezTo>
                  <a:pt x="5044" y="1225"/>
                  <a:pt x="5569" y="1464"/>
                  <a:pt x="5569" y="1576"/>
                </a:cubicBezTo>
                <a:cubicBezTo>
                  <a:pt x="5569" y="2276"/>
                  <a:pt x="5569" y="2276"/>
                  <a:pt x="5569" y="2276"/>
                </a:cubicBezTo>
                <a:cubicBezTo>
                  <a:pt x="5569" y="2355"/>
                  <a:pt x="5489" y="2435"/>
                  <a:pt x="5410" y="2435"/>
                </a:cubicBezTo>
                <a:cubicBezTo>
                  <a:pt x="5139" y="2435"/>
                  <a:pt x="5139" y="2435"/>
                  <a:pt x="5139" y="2435"/>
                </a:cubicBezTo>
                <a:cubicBezTo>
                  <a:pt x="5092" y="2101"/>
                  <a:pt x="4821" y="1846"/>
                  <a:pt x="4487" y="1846"/>
                </a:cubicBezTo>
                <a:cubicBezTo>
                  <a:pt x="4153" y="1846"/>
                  <a:pt x="3866" y="2101"/>
                  <a:pt x="3835" y="2435"/>
                </a:cubicBezTo>
                <a:cubicBezTo>
                  <a:pt x="1893" y="2435"/>
                  <a:pt x="1893" y="2435"/>
                  <a:pt x="1893" y="2435"/>
                </a:cubicBezTo>
                <a:cubicBezTo>
                  <a:pt x="1846" y="2101"/>
                  <a:pt x="1575" y="1846"/>
                  <a:pt x="1241" y="1846"/>
                </a:cubicBezTo>
                <a:cubicBezTo>
                  <a:pt x="891" y="1846"/>
                  <a:pt x="621" y="2101"/>
                  <a:pt x="573" y="2435"/>
                </a:cubicBezTo>
                <a:cubicBezTo>
                  <a:pt x="302" y="2435"/>
                  <a:pt x="302" y="2435"/>
                  <a:pt x="302" y="2435"/>
                </a:cubicBezTo>
                <a:cubicBezTo>
                  <a:pt x="239" y="2435"/>
                  <a:pt x="159" y="2387"/>
                  <a:pt x="159" y="230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7" name="Freeform: Shape 6">
            <a:extLst>
              <a:ext uri="{FF2B5EF4-FFF2-40B4-BE49-F238E27FC236}">
                <a16:creationId xmlns:a16="http://schemas.microsoft.com/office/drawing/2014/main" id="{D21F0253-1028-8C49-8817-397D600DC65C}"/>
              </a:ext>
            </a:extLst>
          </p:cNvPr>
          <p:cNvSpPr/>
          <p:nvPr/>
        </p:nvSpPr>
        <p:spPr>
          <a:xfrm>
            <a:off x="21372838" y="6510526"/>
            <a:ext cx="1368360" cy="1622160"/>
          </a:xfrm>
          <a:custGeom>
            <a:avLst/>
            <a:gdLst/>
            <a:ahLst/>
            <a:cxnLst>
              <a:cxn ang="3cd4">
                <a:pos x="hc" y="t"/>
              </a:cxn>
              <a:cxn ang="cd2">
                <a:pos x="l" y="vc"/>
              </a:cxn>
              <a:cxn ang="cd4">
                <a:pos x="hc" y="b"/>
              </a:cxn>
              <a:cxn ang="0">
                <a:pos x="r" y="vc"/>
              </a:cxn>
            </a:cxnLst>
            <a:rect l="l" t="t" r="r" b="b"/>
            <a:pathLst>
              <a:path w="3802" h="4507">
                <a:moveTo>
                  <a:pt x="636" y="2900"/>
                </a:moveTo>
                <a:cubicBezTo>
                  <a:pt x="477" y="2900"/>
                  <a:pt x="350" y="3027"/>
                  <a:pt x="350" y="3186"/>
                </a:cubicBezTo>
                <a:cubicBezTo>
                  <a:pt x="350" y="3345"/>
                  <a:pt x="477" y="3488"/>
                  <a:pt x="636" y="3488"/>
                </a:cubicBezTo>
                <a:cubicBezTo>
                  <a:pt x="795" y="3488"/>
                  <a:pt x="922" y="3345"/>
                  <a:pt x="922" y="3186"/>
                </a:cubicBezTo>
                <a:cubicBezTo>
                  <a:pt x="922" y="3027"/>
                  <a:pt x="795" y="2900"/>
                  <a:pt x="636" y="2900"/>
                </a:cubicBezTo>
                <a:close/>
                <a:moveTo>
                  <a:pt x="636" y="3330"/>
                </a:moveTo>
                <a:cubicBezTo>
                  <a:pt x="556" y="3330"/>
                  <a:pt x="509" y="3266"/>
                  <a:pt x="509" y="3186"/>
                </a:cubicBezTo>
                <a:cubicBezTo>
                  <a:pt x="509" y="3123"/>
                  <a:pt x="556" y="3059"/>
                  <a:pt x="636" y="3059"/>
                </a:cubicBezTo>
                <a:cubicBezTo>
                  <a:pt x="700" y="3059"/>
                  <a:pt x="763" y="3123"/>
                  <a:pt x="763" y="3186"/>
                </a:cubicBezTo>
                <a:cubicBezTo>
                  <a:pt x="763" y="3266"/>
                  <a:pt x="700" y="3330"/>
                  <a:pt x="636" y="3330"/>
                </a:cubicBezTo>
                <a:close/>
                <a:moveTo>
                  <a:pt x="3118" y="2900"/>
                </a:moveTo>
                <a:cubicBezTo>
                  <a:pt x="2959" y="2900"/>
                  <a:pt x="2832" y="3027"/>
                  <a:pt x="2832" y="3186"/>
                </a:cubicBezTo>
                <a:cubicBezTo>
                  <a:pt x="2832" y="3345"/>
                  <a:pt x="2959" y="3488"/>
                  <a:pt x="3118" y="3488"/>
                </a:cubicBezTo>
                <a:cubicBezTo>
                  <a:pt x="3277" y="3488"/>
                  <a:pt x="3404" y="3345"/>
                  <a:pt x="3404" y="3186"/>
                </a:cubicBezTo>
                <a:cubicBezTo>
                  <a:pt x="3404" y="3027"/>
                  <a:pt x="3277" y="2900"/>
                  <a:pt x="3118" y="2900"/>
                </a:cubicBezTo>
                <a:close/>
                <a:moveTo>
                  <a:pt x="3118" y="3330"/>
                </a:moveTo>
                <a:cubicBezTo>
                  <a:pt x="3055" y="3330"/>
                  <a:pt x="2991" y="3266"/>
                  <a:pt x="2991" y="3186"/>
                </a:cubicBezTo>
                <a:cubicBezTo>
                  <a:pt x="2991" y="3123"/>
                  <a:pt x="3055" y="3059"/>
                  <a:pt x="3118" y="3059"/>
                </a:cubicBezTo>
                <a:cubicBezTo>
                  <a:pt x="3198" y="3059"/>
                  <a:pt x="3245" y="3123"/>
                  <a:pt x="3245" y="3186"/>
                </a:cubicBezTo>
                <a:cubicBezTo>
                  <a:pt x="3245" y="3266"/>
                  <a:pt x="3198" y="3330"/>
                  <a:pt x="3118" y="3330"/>
                </a:cubicBezTo>
                <a:close/>
                <a:moveTo>
                  <a:pt x="3595" y="529"/>
                </a:moveTo>
                <a:cubicBezTo>
                  <a:pt x="3564" y="306"/>
                  <a:pt x="3373" y="132"/>
                  <a:pt x="3118" y="84"/>
                </a:cubicBezTo>
                <a:cubicBezTo>
                  <a:pt x="2322" y="-28"/>
                  <a:pt x="1464" y="-28"/>
                  <a:pt x="668" y="84"/>
                </a:cubicBezTo>
                <a:cubicBezTo>
                  <a:pt x="413" y="132"/>
                  <a:pt x="238" y="306"/>
                  <a:pt x="207" y="529"/>
                </a:cubicBezTo>
                <a:cubicBezTo>
                  <a:pt x="174" y="705"/>
                  <a:pt x="31" y="1802"/>
                  <a:pt x="0" y="2391"/>
                </a:cubicBezTo>
                <a:lnTo>
                  <a:pt x="0" y="3743"/>
                </a:lnTo>
                <a:cubicBezTo>
                  <a:pt x="0" y="3934"/>
                  <a:pt x="174" y="3982"/>
                  <a:pt x="286" y="4014"/>
                </a:cubicBezTo>
                <a:lnTo>
                  <a:pt x="286" y="4125"/>
                </a:lnTo>
                <a:cubicBezTo>
                  <a:pt x="286" y="4188"/>
                  <a:pt x="286" y="4316"/>
                  <a:pt x="365" y="4411"/>
                </a:cubicBezTo>
                <a:cubicBezTo>
                  <a:pt x="445" y="4475"/>
                  <a:pt x="540" y="4507"/>
                  <a:pt x="684" y="4507"/>
                </a:cubicBezTo>
                <a:lnTo>
                  <a:pt x="747" y="4507"/>
                </a:lnTo>
                <a:cubicBezTo>
                  <a:pt x="1113" y="4507"/>
                  <a:pt x="1113" y="4252"/>
                  <a:pt x="1113" y="4173"/>
                </a:cubicBezTo>
                <a:lnTo>
                  <a:pt x="1113" y="4077"/>
                </a:lnTo>
                <a:lnTo>
                  <a:pt x="2688" y="4077"/>
                </a:lnTo>
                <a:lnTo>
                  <a:pt x="2688" y="4141"/>
                </a:lnTo>
                <a:cubicBezTo>
                  <a:pt x="2688" y="4348"/>
                  <a:pt x="2816" y="4459"/>
                  <a:pt x="3070" y="4475"/>
                </a:cubicBezTo>
                <a:lnTo>
                  <a:pt x="3134" y="4475"/>
                </a:lnTo>
                <a:cubicBezTo>
                  <a:pt x="3309" y="4475"/>
                  <a:pt x="3516" y="4411"/>
                  <a:pt x="3516" y="4141"/>
                </a:cubicBezTo>
                <a:lnTo>
                  <a:pt x="3516" y="4030"/>
                </a:lnTo>
                <a:cubicBezTo>
                  <a:pt x="3707" y="3982"/>
                  <a:pt x="3802" y="3887"/>
                  <a:pt x="3802" y="3743"/>
                </a:cubicBezTo>
                <a:lnTo>
                  <a:pt x="3802" y="2375"/>
                </a:lnTo>
                <a:cubicBezTo>
                  <a:pt x="3755" y="1802"/>
                  <a:pt x="3611" y="672"/>
                  <a:pt x="3595" y="529"/>
                </a:cubicBezTo>
                <a:close/>
                <a:moveTo>
                  <a:pt x="365" y="545"/>
                </a:moveTo>
                <a:cubicBezTo>
                  <a:pt x="382" y="402"/>
                  <a:pt x="509" y="275"/>
                  <a:pt x="684" y="243"/>
                </a:cubicBezTo>
                <a:cubicBezTo>
                  <a:pt x="1082" y="195"/>
                  <a:pt x="1495" y="163"/>
                  <a:pt x="1893" y="163"/>
                </a:cubicBezTo>
                <a:cubicBezTo>
                  <a:pt x="2307" y="163"/>
                  <a:pt x="2704" y="179"/>
                  <a:pt x="3102" y="243"/>
                </a:cubicBezTo>
                <a:cubicBezTo>
                  <a:pt x="3277" y="275"/>
                  <a:pt x="3420" y="402"/>
                  <a:pt x="3436" y="545"/>
                </a:cubicBezTo>
                <a:cubicBezTo>
                  <a:pt x="3452" y="688"/>
                  <a:pt x="3579" y="1675"/>
                  <a:pt x="3627" y="2263"/>
                </a:cubicBezTo>
                <a:lnTo>
                  <a:pt x="3564" y="2263"/>
                </a:lnTo>
                <a:lnTo>
                  <a:pt x="3356" y="2263"/>
                </a:lnTo>
                <a:lnTo>
                  <a:pt x="3356" y="2216"/>
                </a:lnTo>
                <a:lnTo>
                  <a:pt x="3245" y="1023"/>
                </a:lnTo>
                <a:cubicBezTo>
                  <a:pt x="3229" y="911"/>
                  <a:pt x="3150" y="848"/>
                  <a:pt x="3055" y="848"/>
                </a:cubicBezTo>
                <a:lnTo>
                  <a:pt x="747" y="848"/>
                </a:lnTo>
                <a:cubicBezTo>
                  <a:pt x="636" y="848"/>
                  <a:pt x="556" y="911"/>
                  <a:pt x="556" y="1023"/>
                </a:cubicBezTo>
                <a:lnTo>
                  <a:pt x="429" y="2216"/>
                </a:lnTo>
                <a:cubicBezTo>
                  <a:pt x="429" y="2232"/>
                  <a:pt x="429" y="2248"/>
                  <a:pt x="445" y="2263"/>
                </a:cubicBezTo>
                <a:lnTo>
                  <a:pt x="238" y="2263"/>
                </a:lnTo>
                <a:lnTo>
                  <a:pt x="159" y="2263"/>
                </a:lnTo>
                <a:cubicBezTo>
                  <a:pt x="207" y="1675"/>
                  <a:pt x="334" y="720"/>
                  <a:pt x="365" y="545"/>
                </a:cubicBezTo>
                <a:close/>
                <a:moveTo>
                  <a:pt x="588" y="2232"/>
                </a:moveTo>
                <a:lnTo>
                  <a:pt x="700" y="1023"/>
                </a:lnTo>
                <a:cubicBezTo>
                  <a:pt x="716" y="1006"/>
                  <a:pt x="716" y="1006"/>
                  <a:pt x="747" y="1006"/>
                </a:cubicBezTo>
                <a:lnTo>
                  <a:pt x="3055" y="1006"/>
                </a:lnTo>
                <a:cubicBezTo>
                  <a:pt x="3070" y="1006"/>
                  <a:pt x="3086" y="1006"/>
                  <a:pt x="3086" y="1023"/>
                </a:cubicBezTo>
                <a:lnTo>
                  <a:pt x="3198" y="2232"/>
                </a:lnTo>
                <a:lnTo>
                  <a:pt x="3198" y="2248"/>
                </a:lnTo>
                <a:lnTo>
                  <a:pt x="3166" y="2248"/>
                </a:lnTo>
                <a:lnTo>
                  <a:pt x="620" y="2248"/>
                </a:lnTo>
                <a:lnTo>
                  <a:pt x="604" y="2248"/>
                </a:lnTo>
                <a:close/>
                <a:moveTo>
                  <a:pt x="3436" y="3887"/>
                </a:moveTo>
                <a:cubicBezTo>
                  <a:pt x="3389" y="3887"/>
                  <a:pt x="3356" y="3934"/>
                  <a:pt x="3356" y="3998"/>
                </a:cubicBezTo>
                <a:lnTo>
                  <a:pt x="3356" y="4141"/>
                </a:lnTo>
                <a:cubicBezTo>
                  <a:pt x="3356" y="4205"/>
                  <a:pt x="3356" y="4316"/>
                  <a:pt x="3134" y="4316"/>
                </a:cubicBezTo>
                <a:lnTo>
                  <a:pt x="3070" y="4316"/>
                </a:lnTo>
                <a:cubicBezTo>
                  <a:pt x="2847" y="4316"/>
                  <a:pt x="2847" y="4221"/>
                  <a:pt x="2847" y="4141"/>
                </a:cubicBezTo>
                <a:lnTo>
                  <a:pt x="2864" y="4014"/>
                </a:lnTo>
                <a:cubicBezTo>
                  <a:pt x="2864" y="3966"/>
                  <a:pt x="2816" y="3918"/>
                  <a:pt x="2752" y="3918"/>
                </a:cubicBezTo>
                <a:lnTo>
                  <a:pt x="1050" y="3918"/>
                </a:lnTo>
                <a:cubicBezTo>
                  <a:pt x="1002" y="3918"/>
                  <a:pt x="954" y="3966"/>
                  <a:pt x="954" y="4014"/>
                </a:cubicBezTo>
                <a:lnTo>
                  <a:pt x="954" y="4173"/>
                </a:lnTo>
                <a:cubicBezTo>
                  <a:pt x="954" y="4268"/>
                  <a:pt x="954" y="4348"/>
                  <a:pt x="747" y="4348"/>
                </a:cubicBezTo>
                <a:lnTo>
                  <a:pt x="684" y="4348"/>
                </a:lnTo>
                <a:cubicBezTo>
                  <a:pt x="588" y="4348"/>
                  <a:pt x="525" y="4332"/>
                  <a:pt x="493" y="4300"/>
                </a:cubicBezTo>
                <a:cubicBezTo>
                  <a:pt x="445" y="4252"/>
                  <a:pt x="445" y="4173"/>
                  <a:pt x="445" y="4125"/>
                </a:cubicBezTo>
                <a:lnTo>
                  <a:pt x="445" y="3966"/>
                </a:lnTo>
                <a:cubicBezTo>
                  <a:pt x="445" y="3918"/>
                  <a:pt x="397" y="3870"/>
                  <a:pt x="350" y="3854"/>
                </a:cubicBezTo>
                <a:cubicBezTo>
                  <a:pt x="191" y="3823"/>
                  <a:pt x="159" y="3807"/>
                  <a:pt x="159" y="3743"/>
                </a:cubicBezTo>
                <a:lnTo>
                  <a:pt x="159" y="2454"/>
                </a:lnTo>
                <a:cubicBezTo>
                  <a:pt x="159" y="2439"/>
                  <a:pt x="191" y="2423"/>
                  <a:pt x="238" y="2423"/>
                </a:cubicBezTo>
                <a:lnTo>
                  <a:pt x="3564" y="2423"/>
                </a:lnTo>
                <a:cubicBezTo>
                  <a:pt x="3611" y="2423"/>
                  <a:pt x="3627" y="2439"/>
                  <a:pt x="3643" y="2439"/>
                </a:cubicBezTo>
                <a:lnTo>
                  <a:pt x="3643" y="3743"/>
                </a:lnTo>
                <a:cubicBezTo>
                  <a:pt x="3643" y="3775"/>
                  <a:pt x="3643" y="3854"/>
                  <a:pt x="3436" y="3887"/>
                </a:cubicBezTo>
                <a:close/>
                <a:moveTo>
                  <a:pt x="891" y="720"/>
                </a:moveTo>
                <a:lnTo>
                  <a:pt x="2911" y="720"/>
                </a:lnTo>
                <a:cubicBezTo>
                  <a:pt x="2943" y="720"/>
                  <a:pt x="2991" y="688"/>
                  <a:pt x="2991" y="641"/>
                </a:cubicBezTo>
                <a:cubicBezTo>
                  <a:pt x="2991" y="593"/>
                  <a:pt x="2943" y="561"/>
                  <a:pt x="2911" y="561"/>
                </a:cubicBezTo>
                <a:lnTo>
                  <a:pt x="891" y="561"/>
                </a:lnTo>
                <a:cubicBezTo>
                  <a:pt x="843" y="561"/>
                  <a:pt x="811" y="593"/>
                  <a:pt x="811" y="641"/>
                </a:cubicBezTo>
                <a:cubicBezTo>
                  <a:pt x="811" y="688"/>
                  <a:pt x="843" y="720"/>
                  <a:pt x="891" y="720"/>
                </a:cubicBezTo>
                <a:close/>
                <a:moveTo>
                  <a:pt x="1304" y="2836"/>
                </a:moveTo>
                <a:cubicBezTo>
                  <a:pt x="1256" y="2836"/>
                  <a:pt x="1225" y="2868"/>
                  <a:pt x="1225" y="2916"/>
                </a:cubicBezTo>
                <a:lnTo>
                  <a:pt x="1225" y="3520"/>
                </a:lnTo>
                <a:cubicBezTo>
                  <a:pt x="1225" y="3568"/>
                  <a:pt x="1256" y="3600"/>
                  <a:pt x="1304" y="3600"/>
                </a:cubicBezTo>
                <a:cubicBezTo>
                  <a:pt x="1352" y="3600"/>
                  <a:pt x="1384" y="3568"/>
                  <a:pt x="1384" y="3520"/>
                </a:cubicBezTo>
                <a:lnTo>
                  <a:pt x="1384" y="2916"/>
                </a:lnTo>
                <a:cubicBezTo>
                  <a:pt x="1384" y="2868"/>
                  <a:pt x="1352" y="2836"/>
                  <a:pt x="1304" y="2836"/>
                </a:cubicBezTo>
                <a:close/>
                <a:moveTo>
                  <a:pt x="1702" y="2836"/>
                </a:moveTo>
                <a:cubicBezTo>
                  <a:pt x="1654" y="2836"/>
                  <a:pt x="1622" y="2868"/>
                  <a:pt x="1622" y="2916"/>
                </a:cubicBezTo>
                <a:lnTo>
                  <a:pt x="1622" y="3520"/>
                </a:lnTo>
                <a:cubicBezTo>
                  <a:pt x="1622" y="3568"/>
                  <a:pt x="1654" y="3600"/>
                  <a:pt x="1702" y="3600"/>
                </a:cubicBezTo>
                <a:cubicBezTo>
                  <a:pt x="1750" y="3600"/>
                  <a:pt x="1782" y="3568"/>
                  <a:pt x="1782" y="3520"/>
                </a:cubicBezTo>
                <a:lnTo>
                  <a:pt x="1782" y="2916"/>
                </a:lnTo>
                <a:cubicBezTo>
                  <a:pt x="1782" y="2868"/>
                  <a:pt x="1750" y="2836"/>
                  <a:pt x="1702" y="2836"/>
                </a:cubicBezTo>
                <a:close/>
                <a:moveTo>
                  <a:pt x="2100" y="2836"/>
                </a:moveTo>
                <a:cubicBezTo>
                  <a:pt x="2052" y="2836"/>
                  <a:pt x="2020" y="2868"/>
                  <a:pt x="2020" y="2916"/>
                </a:cubicBezTo>
                <a:lnTo>
                  <a:pt x="2020" y="3520"/>
                </a:lnTo>
                <a:cubicBezTo>
                  <a:pt x="2020" y="3568"/>
                  <a:pt x="2052" y="3600"/>
                  <a:pt x="2100" y="3600"/>
                </a:cubicBezTo>
                <a:cubicBezTo>
                  <a:pt x="2147" y="3600"/>
                  <a:pt x="2179" y="3568"/>
                  <a:pt x="2179" y="3520"/>
                </a:cubicBezTo>
                <a:lnTo>
                  <a:pt x="2179" y="2916"/>
                </a:lnTo>
                <a:cubicBezTo>
                  <a:pt x="2179" y="2868"/>
                  <a:pt x="2147" y="2836"/>
                  <a:pt x="2100" y="2836"/>
                </a:cubicBezTo>
                <a:close/>
                <a:moveTo>
                  <a:pt x="2498" y="2836"/>
                </a:moveTo>
                <a:cubicBezTo>
                  <a:pt x="2465" y="2836"/>
                  <a:pt x="2418" y="2868"/>
                  <a:pt x="2418" y="2916"/>
                </a:cubicBezTo>
                <a:lnTo>
                  <a:pt x="2418" y="3520"/>
                </a:lnTo>
                <a:cubicBezTo>
                  <a:pt x="2418" y="3568"/>
                  <a:pt x="2465" y="3600"/>
                  <a:pt x="2498" y="3600"/>
                </a:cubicBezTo>
                <a:cubicBezTo>
                  <a:pt x="2545" y="3600"/>
                  <a:pt x="2577" y="3568"/>
                  <a:pt x="2577" y="3520"/>
                </a:cubicBezTo>
                <a:lnTo>
                  <a:pt x="2577" y="2916"/>
                </a:lnTo>
                <a:cubicBezTo>
                  <a:pt x="2577" y="2868"/>
                  <a:pt x="2545" y="2836"/>
                  <a:pt x="2498" y="283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8" name="Freeform: Shape 7">
            <a:extLst>
              <a:ext uri="{FF2B5EF4-FFF2-40B4-BE49-F238E27FC236}">
                <a16:creationId xmlns:a16="http://schemas.microsoft.com/office/drawing/2014/main" id="{FB2C8FBD-1CB7-C442-8A94-BEEA0B20388A}"/>
              </a:ext>
            </a:extLst>
          </p:cNvPr>
          <p:cNvSpPr/>
          <p:nvPr/>
        </p:nvSpPr>
        <p:spPr>
          <a:xfrm>
            <a:off x="1577329" y="3204950"/>
            <a:ext cx="1942919" cy="1700999"/>
          </a:xfrm>
          <a:custGeom>
            <a:avLst/>
            <a:gdLst/>
            <a:ahLst/>
            <a:cxnLst>
              <a:cxn ang="3cd4">
                <a:pos x="hc" y="t"/>
              </a:cxn>
              <a:cxn ang="cd2">
                <a:pos x="l" y="vc"/>
              </a:cxn>
              <a:cxn ang="cd4">
                <a:pos x="hc" y="b"/>
              </a:cxn>
              <a:cxn ang="0">
                <a:pos x="r" y="vc"/>
              </a:cxn>
            </a:cxnLst>
            <a:rect l="l" t="t" r="r" b="b"/>
            <a:pathLst>
              <a:path w="5398" h="4726">
                <a:moveTo>
                  <a:pt x="21" y="3501"/>
                </a:moveTo>
                <a:cubicBezTo>
                  <a:pt x="52" y="3516"/>
                  <a:pt x="84" y="3532"/>
                  <a:pt x="116" y="3532"/>
                </a:cubicBezTo>
                <a:cubicBezTo>
                  <a:pt x="195" y="3532"/>
                  <a:pt x="195" y="3532"/>
                  <a:pt x="195" y="3532"/>
                </a:cubicBezTo>
                <a:cubicBezTo>
                  <a:pt x="291" y="3532"/>
                  <a:pt x="339" y="3532"/>
                  <a:pt x="386" y="3437"/>
                </a:cubicBezTo>
                <a:cubicBezTo>
                  <a:pt x="673" y="2880"/>
                  <a:pt x="673" y="2880"/>
                  <a:pt x="673" y="2880"/>
                </a:cubicBezTo>
                <a:cubicBezTo>
                  <a:pt x="1898" y="2880"/>
                  <a:pt x="1898" y="2880"/>
                  <a:pt x="1898" y="2880"/>
                </a:cubicBezTo>
                <a:cubicBezTo>
                  <a:pt x="1739" y="3262"/>
                  <a:pt x="1246" y="4471"/>
                  <a:pt x="1214" y="4535"/>
                </a:cubicBezTo>
                <a:cubicBezTo>
                  <a:pt x="1198" y="4614"/>
                  <a:pt x="1214" y="4662"/>
                  <a:pt x="1230" y="4678"/>
                </a:cubicBezTo>
                <a:cubicBezTo>
                  <a:pt x="1246" y="4693"/>
                  <a:pt x="1277" y="4726"/>
                  <a:pt x="1341" y="4726"/>
                </a:cubicBezTo>
                <a:lnTo>
                  <a:pt x="1357" y="4726"/>
                </a:lnTo>
                <a:cubicBezTo>
                  <a:pt x="1389" y="4726"/>
                  <a:pt x="1516" y="4710"/>
                  <a:pt x="1612" y="4710"/>
                </a:cubicBezTo>
                <a:cubicBezTo>
                  <a:pt x="1707" y="4693"/>
                  <a:pt x="1755" y="4630"/>
                  <a:pt x="1786" y="4598"/>
                </a:cubicBezTo>
                <a:cubicBezTo>
                  <a:pt x="1803" y="4582"/>
                  <a:pt x="2948" y="3119"/>
                  <a:pt x="3139" y="2880"/>
                </a:cubicBezTo>
                <a:cubicBezTo>
                  <a:pt x="4746" y="2880"/>
                  <a:pt x="4746" y="2880"/>
                  <a:pt x="4746" y="2880"/>
                </a:cubicBezTo>
                <a:cubicBezTo>
                  <a:pt x="5191" y="2880"/>
                  <a:pt x="5398" y="2514"/>
                  <a:pt x="5398" y="2371"/>
                </a:cubicBezTo>
                <a:cubicBezTo>
                  <a:pt x="5398" y="2212"/>
                  <a:pt x="5191" y="1846"/>
                  <a:pt x="4746" y="1846"/>
                </a:cubicBezTo>
                <a:cubicBezTo>
                  <a:pt x="3139" y="1846"/>
                  <a:pt x="3139" y="1846"/>
                  <a:pt x="3139" y="1846"/>
                </a:cubicBezTo>
                <a:cubicBezTo>
                  <a:pt x="2948" y="1607"/>
                  <a:pt x="1803" y="159"/>
                  <a:pt x="1771" y="128"/>
                </a:cubicBezTo>
                <a:cubicBezTo>
                  <a:pt x="1755" y="96"/>
                  <a:pt x="1707" y="32"/>
                  <a:pt x="1612" y="32"/>
                </a:cubicBezTo>
                <a:cubicBezTo>
                  <a:pt x="1516" y="16"/>
                  <a:pt x="1389" y="0"/>
                  <a:pt x="1357" y="0"/>
                </a:cubicBezTo>
                <a:cubicBezTo>
                  <a:pt x="1277" y="0"/>
                  <a:pt x="1246" y="32"/>
                  <a:pt x="1230" y="48"/>
                </a:cubicBezTo>
                <a:cubicBezTo>
                  <a:pt x="1214" y="80"/>
                  <a:pt x="1198" y="111"/>
                  <a:pt x="1214" y="191"/>
                </a:cubicBezTo>
                <a:cubicBezTo>
                  <a:pt x="1246" y="255"/>
                  <a:pt x="1739" y="1464"/>
                  <a:pt x="1898" y="1846"/>
                </a:cubicBezTo>
                <a:cubicBezTo>
                  <a:pt x="673" y="1846"/>
                  <a:pt x="673" y="1846"/>
                  <a:pt x="673" y="1846"/>
                </a:cubicBezTo>
                <a:cubicBezTo>
                  <a:pt x="386" y="1289"/>
                  <a:pt x="386" y="1289"/>
                  <a:pt x="386" y="1289"/>
                </a:cubicBezTo>
                <a:cubicBezTo>
                  <a:pt x="339" y="1193"/>
                  <a:pt x="243" y="1193"/>
                  <a:pt x="195" y="1193"/>
                </a:cubicBezTo>
                <a:cubicBezTo>
                  <a:pt x="116" y="1193"/>
                  <a:pt x="116" y="1193"/>
                  <a:pt x="116" y="1193"/>
                </a:cubicBezTo>
                <a:cubicBezTo>
                  <a:pt x="100" y="1193"/>
                  <a:pt x="68" y="1193"/>
                  <a:pt x="36" y="1225"/>
                </a:cubicBezTo>
                <a:cubicBezTo>
                  <a:pt x="4" y="1257"/>
                  <a:pt x="4" y="1289"/>
                  <a:pt x="4" y="1321"/>
                </a:cubicBezTo>
                <a:cubicBezTo>
                  <a:pt x="4" y="1368"/>
                  <a:pt x="164" y="2116"/>
                  <a:pt x="212" y="2371"/>
                </a:cubicBezTo>
                <a:cubicBezTo>
                  <a:pt x="195" y="2498"/>
                  <a:pt x="21" y="3357"/>
                  <a:pt x="4" y="3405"/>
                </a:cubicBezTo>
                <a:cubicBezTo>
                  <a:pt x="-11" y="3453"/>
                  <a:pt x="21" y="3484"/>
                  <a:pt x="21" y="3501"/>
                </a:cubicBezTo>
                <a:close/>
                <a:moveTo>
                  <a:pt x="370" y="2387"/>
                </a:moveTo>
                <a:cubicBezTo>
                  <a:pt x="386" y="2371"/>
                  <a:pt x="386" y="2355"/>
                  <a:pt x="370" y="2355"/>
                </a:cubicBezTo>
                <a:cubicBezTo>
                  <a:pt x="307" y="2005"/>
                  <a:pt x="195" y="1511"/>
                  <a:pt x="164" y="1353"/>
                </a:cubicBezTo>
                <a:cubicBezTo>
                  <a:pt x="195" y="1353"/>
                  <a:pt x="195" y="1353"/>
                  <a:pt x="195" y="1353"/>
                </a:cubicBezTo>
                <a:cubicBezTo>
                  <a:pt x="227" y="1353"/>
                  <a:pt x="243" y="1368"/>
                  <a:pt x="243" y="1368"/>
                </a:cubicBezTo>
                <a:cubicBezTo>
                  <a:pt x="561" y="1957"/>
                  <a:pt x="561" y="1957"/>
                  <a:pt x="561" y="1957"/>
                </a:cubicBezTo>
                <a:cubicBezTo>
                  <a:pt x="577" y="1989"/>
                  <a:pt x="593" y="2005"/>
                  <a:pt x="625" y="2005"/>
                </a:cubicBezTo>
                <a:cubicBezTo>
                  <a:pt x="2009" y="2005"/>
                  <a:pt x="2009" y="2005"/>
                  <a:pt x="2009" y="2005"/>
                </a:cubicBezTo>
                <a:cubicBezTo>
                  <a:pt x="2041" y="2005"/>
                  <a:pt x="2073" y="1989"/>
                  <a:pt x="2089" y="1973"/>
                </a:cubicBezTo>
                <a:cubicBezTo>
                  <a:pt x="2089" y="1957"/>
                  <a:pt x="2104" y="1925"/>
                  <a:pt x="2089" y="1893"/>
                </a:cubicBezTo>
                <a:cubicBezTo>
                  <a:pt x="2089" y="1878"/>
                  <a:pt x="1484" y="430"/>
                  <a:pt x="1373" y="159"/>
                </a:cubicBezTo>
                <a:cubicBezTo>
                  <a:pt x="1437" y="159"/>
                  <a:pt x="1516" y="175"/>
                  <a:pt x="1595" y="175"/>
                </a:cubicBezTo>
                <a:cubicBezTo>
                  <a:pt x="1627" y="191"/>
                  <a:pt x="1643" y="191"/>
                  <a:pt x="1659" y="223"/>
                </a:cubicBezTo>
                <a:cubicBezTo>
                  <a:pt x="1675" y="255"/>
                  <a:pt x="2566" y="1384"/>
                  <a:pt x="3028" y="1973"/>
                </a:cubicBezTo>
                <a:cubicBezTo>
                  <a:pt x="3043" y="1989"/>
                  <a:pt x="3075" y="2005"/>
                  <a:pt x="3091" y="2005"/>
                </a:cubicBezTo>
                <a:cubicBezTo>
                  <a:pt x="4746" y="2005"/>
                  <a:pt x="4746" y="2005"/>
                  <a:pt x="4746" y="2005"/>
                </a:cubicBezTo>
                <a:cubicBezTo>
                  <a:pt x="5112" y="2005"/>
                  <a:pt x="5239" y="2307"/>
                  <a:pt x="5239" y="2371"/>
                </a:cubicBezTo>
                <a:cubicBezTo>
                  <a:pt x="5239" y="2435"/>
                  <a:pt x="5112" y="2721"/>
                  <a:pt x="4746" y="2721"/>
                </a:cubicBezTo>
                <a:cubicBezTo>
                  <a:pt x="3091" y="2721"/>
                  <a:pt x="3091" y="2721"/>
                  <a:pt x="3091" y="2721"/>
                </a:cubicBezTo>
                <a:cubicBezTo>
                  <a:pt x="3075" y="2721"/>
                  <a:pt x="3043" y="2737"/>
                  <a:pt x="3028" y="2753"/>
                </a:cubicBezTo>
                <a:cubicBezTo>
                  <a:pt x="2566" y="3341"/>
                  <a:pt x="1675" y="4471"/>
                  <a:pt x="1659" y="4503"/>
                </a:cubicBezTo>
                <a:cubicBezTo>
                  <a:pt x="1643" y="4535"/>
                  <a:pt x="1627" y="4535"/>
                  <a:pt x="1595" y="4550"/>
                </a:cubicBezTo>
                <a:cubicBezTo>
                  <a:pt x="1516" y="4550"/>
                  <a:pt x="1437" y="4566"/>
                  <a:pt x="1373" y="4566"/>
                </a:cubicBezTo>
                <a:cubicBezTo>
                  <a:pt x="1468" y="4328"/>
                  <a:pt x="2089" y="2848"/>
                  <a:pt x="2089" y="2832"/>
                </a:cubicBezTo>
                <a:cubicBezTo>
                  <a:pt x="2104" y="2801"/>
                  <a:pt x="2089" y="2784"/>
                  <a:pt x="2089" y="2753"/>
                </a:cubicBezTo>
                <a:cubicBezTo>
                  <a:pt x="2073" y="2737"/>
                  <a:pt x="2041" y="2721"/>
                  <a:pt x="2009" y="2721"/>
                </a:cubicBezTo>
                <a:cubicBezTo>
                  <a:pt x="625" y="2721"/>
                  <a:pt x="625" y="2721"/>
                  <a:pt x="625" y="2721"/>
                </a:cubicBezTo>
                <a:cubicBezTo>
                  <a:pt x="593" y="2721"/>
                  <a:pt x="577" y="2737"/>
                  <a:pt x="561" y="2769"/>
                </a:cubicBezTo>
                <a:cubicBezTo>
                  <a:pt x="243" y="3373"/>
                  <a:pt x="243" y="3373"/>
                  <a:pt x="243" y="3373"/>
                </a:cubicBezTo>
                <a:cubicBezTo>
                  <a:pt x="227" y="3373"/>
                  <a:pt x="212" y="3373"/>
                  <a:pt x="195" y="3373"/>
                </a:cubicBezTo>
                <a:cubicBezTo>
                  <a:pt x="179" y="3373"/>
                  <a:pt x="179" y="3373"/>
                  <a:pt x="179" y="3373"/>
                </a:cubicBezTo>
                <a:cubicBezTo>
                  <a:pt x="212" y="3150"/>
                  <a:pt x="370" y="2387"/>
                  <a:pt x="370" y="238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9" name="Freeform: Shape 8">
            <a:extLst>
              <a:ext uri="{FF2B5EF4-FFF2-40B4-BE49-F238E27FC236}">
                <a16:creationId xmlns:a16="http://schemas.microsoft.com/office/drawing/2014/main" id="{389EAB64-FF33-9145-B5CD-54FA79756312}"/>
              </a:ext>
            </a:extLst>
          </p:cNvPr>
          <p:cNvSpPr/>
          <p:nvPr/>
        </p:nvSpPr>
        <p:spPr>
          <a:xfrm>
            <a:off x="5776690" y="3514190"/>
            <a:ext cx="2061360" cy="961919"/>
          </a:xfrm>
          <a:custGeom>
            <a:avLst/>
            <a:gdLst/>
            <a:ahLst/>
            <a:cxnLst>
              <a:cxn ang="3cd4">
                <a:pos x="hc" y="t"/>
              </a:cxn>
              <a:cxn ang="cd2">
                <a:pos x="l" y="vc"/>
              </a:cxn>
              <a:cxn ang="cd4">
                <a:pos x="hc" y="b"/>
              </a:cxn>
              <a:cxn ang="0">
                <a:pos x="r" y="vc"/>
              </a:cxn>
            </a:cxnLst>
            <a:rect l="l" t="t" r="r" b="b"/>
            <a:pathLst>
              <a:path w="5727" h="2673">
                <a:moveTo>
                  <a:pt x="5074" y="955"/>
                </a:moveTo>
                <a:cubicBezTo>
                  <a:pt x="4407" y="955"/>
                  <a:pt x="4407" y="955"/>
                  <a:pt x="4407" y="955"/>
                </a:cubicBezTo>
                <a:cubicBezTo>
                  <a:pt x="4279" y="955"/>
                  <a:pt x="4279" y="955"/>
                  <a:pt x="4279" y="955"/>
                </a:cubicBezTo>
                <a:cubicBezTo>
                  <a:pt x="3691" y="175"/>
                  <a:pt x="3691" y="175"/>
                  <a:pt x="3691" y="175"/>
                </a:cubicBezTo>
                <a:cubicBezTo>
                  <a:pt x="3595" y="64"/>
                  <a:pt x="3468" y="0"/>
                  <a:pt x="3340" y="0"/>
                </a:cubicBezTo>
                <a:cubicBezTo>
                  <a:pt x="1781" y="0"/>
                  <a:pt x="1781" y="0"/>
                  <a:pt x="1781" y="0"/>
                </a:cubicBezTo>
                <a:cubicBezTo>
                  <a:pt x="1638" y="0"/>
                  <a:pt x="1511" y="64"/>
                  <a:pt x="1415" y="175"/>
                </a:cubicBezTo>
                <a:cubicBezTo>
                  <a:pt x="827" y="955"/>
                  <a:pt x="827" y="955"/>
                  <a:pt x="827" y="955"/>
                </a:cubicBezTo>
                <a:cubicBezTo>
                  <a:pt x="763" y="955"/>
                  <a:pt x="763" y="955"/>
                  <a:pt x="763" y="955"/>
                </a:cubicBezTo>
                <a:cubicBezTo>
                  <a:pt x="79" y="955"/>
                  <a:pt x="79" y="955"/>
                  <a:pt x="79" y="955"/>
                </a:cubicBezTo>
                <a:cubicBezTo>
                  <a:pt x="47" y="955"/>
                  <a:pt x="0" y="987"/>
                  <a:pt x="0" y="1034"/>
                </a:cubicBezTo>
                <a:cubicBezTo>
                  <a:pt x="0" y="1989"/>
                  <a:pt x="0" y="1989"/>
                  <a:pt x="0" y="1989"/>
                </a:cubicBezTo>
                <a:cubicBezTo>
                  <a:pt x="0" y="2037"/>
                  <a:pt x="47" y="2069"/>
                  <a:pt x="79" y="2069"/>
                </a:cubicBezTo>
                <a:cubicBezTo>
                  <a:pt x="683" y="2069"/>
                  <a:pt x="683" y="2069"/>
                  <a:pt x="683" y="2069"/>
                </a:cubicBezTo>
                <a:cubicBezTo>
                  <a:pt x="668" y="2085"/>
                  <a:pt x="668" y="2100"/>
                  <a:pt x="668" y="2116"/>
                </a:cubicBezTo>
                <a:cubicBezTo>
                  <a:pt x="668" y="2419"/>
                  <a:pt x="922" y="2673"/>
                  <a:pt x="1240" y="2673"/>
                </a:cubicBezTo>
                <a:cubicBezTo>
                  <a:pt x="1543" y="2673"/>
                  <a:pt x="1797" y="2419"/>
                  <a:pt x="1797" y="2116"/>
                </a:cubicBezTo>
                <a:cubicBezTo>
                  <a:pt x="1797" y="2100"/>
                  <a:pt x="1797" y="2085"/>
                  <a:pt x="1797" y="2069"/>
                </a:cubicBezTo>
                <a:cubicBezTo>
                  <a:pt x="4040" y="2069"/>
                  <a:pt x="4040" y="2069"/>
                  <a:pt x="4040" y="2069"/>
                </a:cubicBezTo>
                <a:cubicBezTo>
                  <a:pt x="4040" y="2085"/>
                  <a:pt x="4040" y="2100"/>
                  <a:pt x="4040" y="2116"/>
                </a:cubicBezTo>
                <a:cubicBezTo>
                  <a:pt x="4040" y="2419"/>
                  <a:pt x="4279" y="2673"/>
                  <a:pt x="4597" y="2673"/>
                </a:cubicBezTo>
                <a:cubicBezTo>
                  <a:pt x="4900" y="2673"/>
                  <a:pt x="5154" y="2419"/>
                  <a:pt x="5154" y="2116"/>
                </a:cubicBezTo>
                <a:cubicBezTo>
                  <a:pt x="5154" y="2100"/>
                  <a:pt x="5154" y="2085"/>
                  <a:pt x="5154" y="2069"/>
                </a:cubicBezTo>
                <a:cubicBezTo>
                  <a:pt x="5647" y="2069"/>
                  <a:pt x="5647" y="2069"/>
                  <a:pt x="5647" y="2069"/>
                </a:cubicBezTo>
                <a:cubicBezTo>
                  <a:pt x="5695" y="2069"/>
                  <a:pt x="5727" y="2037"/>
                  <a:pt x="5727" y="1989"/>
                </a:cubicBezTo>
                <a:cubicBezTo>
                  <a:pt x="5727" y="1878"/>
                  <a:pt x="5727" y="1878"/>
                  <a:pt x="5727" y="1878"/>
                </a:cubicBezTo>
                <a:cubicBezTo>
                  <a:pt x="5727" y="1639"/>
                  <a:pt x="5727" y="955"/>
                  <a:pt x="5074" y="955"/>
                </a:cubicBezTo>
                <a:close/>
                <a:moveTo>
                  <a:pt x="3563" y="271"/>
                </a:moveTo>
                <a:cubicBezTo>
                  <a:pt x="4073" y="955"/>
                  <a:pt x="4073" y="955"/>
                  <a:pt x="4073" y="955"/>
                </a:cubicBezTo>
                <a:cubicBezTo>
                  <a:pt x="2656" y="955"/>
                  <a:pt x="2656" y="955"/>
                  <a:pt x="2656" y="955"/>
                </a:cubicBezTo>
                <a:lnTo>
                  <a:pt x="2656" y="939"/>
                </a:lnTo>
                <a:cubicBezTo>
                  <a:pt x="2656" y="175"/>
                  <a:pt x="2656" y="175"/>
                  <a:pt x="2656" y="175"/>
                </a:cubicBezTo>
                <a:cubicBezTo>
                  <a:pt x="2656" y="160"/>
                  <a:pt x="2656" y="160"/>
                  <a:pt x="2656" y="160"/>
                </a:cubicBezTo>
                <a:cubicBezTo>
                  <a:pt x="3340" y="160"/>
                  <a:pt x="3340" y="160"/>
                  <a:pt x="3340" y="160"/>
                </a:cubicBezTo>
                <a:cubicBezTo>
                  <a:pt x="3420" y="160"/>
                  <a:pt x="3500" y="191"/>
                  <a:pt x="3563" y="271"/>
                </a:cubicBezTo>
                <a:close/>
                <a:moveTo>
                  <a:pt x="1543" y="271"/>
                </a:moveTo>
                <a:cubicBezTo>
                  <a:pt x="1606" y="191"/>
                  <a:pt x="1686" y="160"/>
                  <a:pt x="1781" y="160"/>
                </a:cubicBezTo>
                <a:cubicBezTo>
                  <a:pt x="2497" y="160"/>
                  <a:pt x="2497" y="160"/>
                  <a:pt x="2497" y="160"/>
                </a:cubicBezTo>
                <a:lnTo>
                  <a:pt x="2497" y="175"/>
                </a:lnTo>
                <a:cubicBezTo>
                  <a:pt x="2497" y="939"/>
                  <a:pt x="2497" y="939"/>
                  <a:pt x="2497" y="939"/>
                </a:cubicBezTo>
                <a:lnTo>
                  <a:pt x="2497" y="955"/>
                </a:lnTo>
                <a:cubicBezTo>
                  <a:pt x="1034" y="955"/>
                  <a:pt x="1034" y="955"/>
                  <a:pt x="1034" y="955"/>
                </a:cubicBezTo>
                <a:close/>
                <a:moveTo>
                  <a:pt x="1240" y="2514"/>
                </a:moveTo>
                <a:cubicBezTo>
                  <a:pt x="1018" y="2514"/>
                  <a:pt x="827" y="2339"/>
                  <a:pt x="827" y="2116"/>
                </a:cubicBezTo>
                <a:cubicBezTo>
                  <a:pt x="827" y="1894"/>
                  <a:pt x="1018" y="1719"/>
                  <a:pt x="1240" y="1719"/>
                </a:cubicBezTo>
                <a:cubicBezTo>
                  <a:pt x="1447" y="1719"/>
                  <a:pt x="1638" y="1894"/>
                  <a:pt x="1638" y="2116"/>
                </a:cubicBezTo>
                <a:cubicBezTo>
                  <a:pt x="1638" y="2339"/>
                  <a:pt x="1447" y="2514"/>
                  <a:pt x="1240" y="2514"/>
                </a:cubicBezTo>
                <a:close/>
                <a:moveTo>
                  <a:pt x="4597" y="2514"/>
                </a:moveTo>
                <a:cubicBezTo>
                  <a:pt x="4374" y="2514"/>
                  <a:pt x="4200" y="2339"/>
                  <a:pt x="4200" y="2116"/>
                </a:cubicBezTo>
                <a:cubicBezTo>
                  <a:pt x="4200" y="1894"/>
                  <a:pt x="4374" y="1719"/>
                  <a:pt x="4597" y="1719"/>
                </a:cubicBezTo>
                <a:cubicBezTo>
                  <a:pt x="4820" y="1719"/>
                  <a:pt x="4995" y="1894"/>
                  <a:pt x="4995" y="2116"/>
                </a:cubicBezTo>
                <a:cubicBezTo>
                  <a:pt x="4995" y="2339"/>
                  <a:pt x="4820" y="2514"/>
                  <a:pt x="4597" y="2514"/>
                </a:cubicBezTo>
                <a:close/>
                <a:moveTo>
                  <a:pt x="5568" y="1910"/>
                </a:moveTo>
                <a:cubicBezTo>
                  <a:pt x="5122" y="1910"/>
                  <a:pt x="5122" y="1910"/>
                  <a:pt x="5122" y="1910"/>
                </a:cubicBezTo>
                <a:cubicBezTo>
                  <a:pt x="5043" y="1703"/>
                  <a:pt x="4836" y="1560"/>
                  <a:pt x="4597" y="1560"/>
                </a:cubicBezTo>
                <a:cubicBezTo>
                  <a:pt x="4359" y="1560"/>
                  <a:pt x="4152" y="1703"/>
                  <a:pt x="4073" y="1910"/>
                </a:cubicBezTo>
                <a:cubicBezTo>
                  <a:pt x="1749" y="1910"/>
                  <a:pt x="1749" y="1910"/>
                  <a:pt x="1749" y="1910"/>
                </a:cubicBezTo>
                <a:cubicBezTo>
                  <a:pt x="1670" y="1703"/>
                  <a:pt x="1479" y="1560"/>
                  <a:pt x="1240" y="1560"/>
                </a:cubicBezTo>
                <a:cubicBezTo>
                  <a:pt x="1002" y="1560"/>
                  <a:pt x="795" y="1703"/>
                  <a:pt x="715" y="1910"/>
                </a:cubicBezTo>
                <a:cubicBezTo>
                  <a:pt x="158" y="1910"/>
                  <a:pt x="158" y="1910"/>
                  <a:pt x="158" y="1910"/>
                </a:cubicBezTo>
                <a:cubicBezTo>
                  <a:pt x="158" y="1114"/>
                  <a:pt x="158" y="1114"/>
                  <a:pt x="158" y="1114"/>
                </a:cubicBezTo>
                <a:cubicBezTo>
                  <a:pt x="763" y="1114"/>
                  <a:pt x="763" y="1114"/>
                  <a:pt x="763" y="1114"/>
                </a:cubicBezTo>
                <a:cubicBezTo>
                  <a:pt x="874" y="1114"/>
                  <a:pt x="874" y="1114"/>
                  <a:pt x="874" y="1114"/>
                </a:cubicBezTo>
                <a:cubicBezTo>
                  <a:pt x="4231" y="1114"/>
                  <a:pt x="4231" y="1114"/>
                  <a:pt x="4231" y="1114"/>
                </a:cubicBezTo>
                <a:cubicBezTo>
                  <a:pt x="4407" y="1114"/>
                  <a:pt x="4407" y="1114"/>
                  <a:pt x="4407" y="1114"/>
                </a:cubicBezTo>
                <a:cubicBezTo>
                  <a:pt x="5074" y="1114"/>
                  <a:pt x="5074" y="1114"/>
                  <a:pt x="5074" y="1114"/>
                </a:cubicBezTo>
                <a:cubicBezTo>
                  <a:pt x="5425" y="1114"/>
                  <a:pt x="5568" y="1353"/>
                  <a:pt x="5568" y="187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0" name="Freeform: Shape 9">
            <a:extLst>
              <a:ext uri="{FF2B5EF4-FFF2-40B4-BE49-F238E27FC236}">
                <a16:creationId xmlns:a16="http://schemas.microsoft.com/office/drawing/2014/main" id="{17E241C6-5941-5042-9E50-045E4CF020EF}"/>
              </a:ext>
            </a:extLst>
          </p:cNvPr>
          <p:cNvSpPr/>
          <p:nvPr/>
        </p:nvSpPr>
        <p:spPr>
          <a:xfrm>
            <a:off x="9909378" y="3479990"/>
            <a:ext cx="2118960" cy="1064880"/>
          </a:xfrm>
          <a:custGeom>
            <a:avLst/>
            <a:gdLst/>
            <a:ahLst/>
            <a:cxnLst>
              <a:cxn ang="3cd4">
                <a:pos x="hc" y="t"/>
              </a:cxn>
              <a:cxn ang="cd2">
                <a:pos x="l" y="vc"/>
              </a:cxn>
              <a:cxn ang="cd4">
                <a:pos x="hc" y="b"/>
              </a:cxn>
              <a:cxn ang="0">
                <a:pos x="r" y="vc"/>
              </a:cxn>
            </a:cxnLst>
            <a:rect l="l" t="t" r="r" b="b"/>
            <a:pathLst>
              <a:path w="5887" h="2959">
                <a:moveTo>
                  <a:pt x="3103" y="1464"/>
                </a:moveTo>
                <a:lnTo>
                  <a:pt x="2276" y="1464"/>
                </a:lnTo>
                <a:cubicBezTo>
                  <a:pt x="2228" y="1464"/>
                  <a:pt x="2196" y="1495"/>
                  <a:pt x="2196" y="1543"/>
                </a:cubicBezTo>
                <a:lnTo>
                  <a:pt x="2196" y="1861"/>
                </a:lnTo>
                <a:cubicBezTo>
                  <a:pt x="2196" y="1909"/>
                  <a:pt x="2228" y="1941"/>
                  <a:pt x="2276" y="1941"/>
                </a:cubicBezTo>
                <a:lnTo>
                  <a:pt x="3103" y="1941"/>
                </a:lnTo>
                <a:cubicBezTo>
                  <a:pt x="3135" y="1941"/>
                  <a:pt x="3182" y="1909"/>
                  <a:pt x="3182" y="1861"/>
                </a:cubicBezTo>
                <a:lnTo>
                  <a:pt x="3182" y="1543"/>
                </a:lnTo>
                <a:cubicBezTo>
                  <a:pt x="3182" y="1495"/>
                  <a:pt x="3135" y="1464"/>
                  <a:pt x="3103" y="1464"/>
                </a:cubicBezTo>
                <a:close/>
                <a:moveTo>
                  <a:pt x="3024" y="1782"/>
                </a:moveTo>
                <a:lnTo>
                  <a:pt x="2355" y="1782"/>
                </a:lnTo>
                <a:lnTo>
                  <a:pt x="2355" y="1623"/>
                </a:lnTo>
                <a:lnTo>
                  <a:pt x="3024" y="1623"/>
                </a:lnTo>
                <a:close/>
                <a:moveTo>
                  <a:pt x="3103" y="2068"/>
                </a:moveTo>
                <a:lnTo>
                  <a:pt x="2276" y="2068"/>
                </a:lnTo>
                <a:cubicBezTo>
                  <a:pt x="2228" y="2068"/>
                  <a:pt x="2196" y="2100"/>
                  <a:pt x="2196" y="2148"/>
                </a:cubicBezTo>
                <a:lnTo>
                  <a:pt x="2196" y="2466"/>
                </a:lnTo>
                <a:cubicBezTo>
                  <a:pt x="2196" y="2498"/>
                  <a:pt x="2228" y="2546"/>
                  <a:pt x="2276" y="2546"/>
                </a:cubicBezTo>
                <a:lnTo>
                  <a:pt x="3103" y="2546"/>
                </a:lnTo>
                <a:cubicBezTo>
                  <a:pt x="3135" y="2546"/>
                  <a:pt x="3182" y="2498"/>
                  <a:pt x="3182" y="2466"/>
                </a:cubicBezTo>
                <a:lnTo>
                  <a:pt x="3182" y="2148"/>
                </a:lnTo>
                <a:cubicBezTo>
                  <a:pt x="3182" y="2100"/>
                  <a:pt x="3135" y="2068"/>
                  <a:pt x="3103" y="2068"/>
                </a:cubicBezTo>
                <a:close/>
                <a:moveTo>
                  <a:pt x="3024" y="2386"/>
                </a:moveTo>
                <a:lnTo>
                  <a:pt x="2355" y="2386"/>
                </a:lnTo>
                <a:lnTo>
                  <a:pt x="2355" y="2228"/>
                </a:lnTo>
                <a:lnTo>
                  <a:pt x="3024" y="2228"/>
                </a:lnTo>
                <a:close/>
                <a:moveTo>
                  <a:pt x="1448" y="2068"/>
                </a:moveTo>
                <a:lnTo>
                  <a:pt x="637" y="2068"/>
                </a:lnTo>
                <a:cubicBezTo>
                  <a:pt x="590" y="2068"/>
                  <a:pt x="557" y="2100"/>
                  <a:pt x="557" y="2148"/>
                </a:cubicBezTo>
                <a:lnTo>
                  <a:pt x="557" y="2466"/>
                </a:lnTo>
                <a:cubicBezTo>
                  <a:pt x="557" y="2498"/>
                  <a:pt x="590" y="2546"/>
                  <a:pt x="637" y="2546"/>
                </a:cubicBezTo>
                <a:lnTo>
                  <a:pt x="1448" y="2546"/>
                </a:lnTo>
                <a:cubicBezTo>
                  <a:pt x="1496" y="2546"/>
                  <a:pt x="1528" y="2498"/>
                  <a:pt x="1528" y="2466"/>
                </a:cubicBezTo>
                <a:lnTo>
                  <a:pt x="1528" y="2148"/>
                </a:lnTo>
                <a:cubicBezTo>
                  <a:pt x="1528" y="2100"/>
                  <a:pt x="1496" y="2068"/>
                  <a:pt x="1448" y="2068"/>
                </a:cubicBezTo>
                <a:close/>
                <a:moveTo>
                  <a:pt x="1369" y="2386"/>
                </a:moveTo>
                <a:lnTo>
                  <a:pt x="717" y="2386"/>
                </a:lnTo>
                <a:lnTo>
                  <a:pt x="717" y="2228"/>
                </a:lnTo>
                <a:lnTo>
                  <a:pt x="1369" y="2228"/>
                </a:lnTo>
                <a:close/>
                <a:moveTo>
                  <a:pt x="1448" y="1464"/>
                </a:moveTo>
                <a:lnTo>
                  <a:pt x="637" y="1464"/>
                </a:lnTo>
                <a:cubicBezTo>
                  <a:pt x="590" y="1464"/>
                  <a:pt x="557" y="1495"/>
                  <a:pt x="557" y="1543"/>
                </a:cubicBezTo>
                <a:lnTo>
                  <a:pt x="557" y="1861"/>
                </a:lnTo>
                <a:cubicBezTo>
                  <a:pt x="557" y="1909"/>
                  <a:pt x="590" y="1941"/>
                  <a:pt x="637" y="1941"/>
                </a:cubicBezTo>
                <a:lnTo>
                  <a:pt x="1448" y="1941"/>
                </a:lnTo>
                <a:cubicBezTo>
                  <a:pt x="1496" y="1941"/>
                  <a:pt x="1528" y="1909"/>
                  <a:pt x="1528" y="1861"/>
                </a:cubicBezTo>
                <a:lnTo>
                  <a:pt x="1528" y="1543"/>
                </a:lnTo>
                <a:cubicBezTo>
                  <a:pt x="1528" y="1495"/>
                  <a:pt x="1496" y="1464"/>
                  <a:pt x="1448" y="1464"/>
                </a:cubicBezTo>
                <a:close/>
                <a:moveTo>
                  <a:pt x="1369" y="1782"/>
                </a:moveTo>
                <a:lnTo>
                  <a:pt x="717" y="1782"/>
                </a:lnTo>
                <a:lnTo>
                  <a:pt x="717" y="1623"/>
                </a:lnTo>
                <a:lnTo>
                  <a:pt x="1369" y="1623"/>
                </a:lnTo>
                <a:close/>
                <a:moveTo>
                  <a:pt x="3644" y="2959"/>
                </a:moveTo>
                <a:lnTo>
                  <a:pt x="5808" y="2959"/>
                </a:lnTo>
                <a:cubicBezTo>
                  <a:pt x="5855" y="2959"/>
                  <a:pt x="5887" y="2928"/>
                  <a:pt x="5887" y="2880"/>
                </a:cubicBezTo>
                <a:lnTo>
                  <a:pt x="5887" y="2673"/>
                </a:lnTo>
                <a:cubicBezTo>
                  <a:pt x="5887" y="2625"/>
                  <a:pt x="5855" y="2593"/>
                  <a:pt x="5808" y="2593"/>
                </a:cubicBezTo>
                <a:lnTo>
                  <a:pt x="5664" y="2593"/>
                </a:lnTo>
                <a:lnTo>
                  <a:pt x="5664" y="1114"/>
                </a:lnTo>
                <a:cubicBezTo>
                  <a:pt x="5664" y="1066"/>
                  <a:pt x="5633" y="1034"/>
                  <a:pt x="5585" y="1034"/>
                </a:cubicBezTo>
                <a:lnTo>
                  <a:pt x="3724" y="1034"/>
                </a:lnTo>
                <a:lnTo>
                  <a:pt x="3724" y="80"/>
                </a:lnTo>
                <a:cubicBezTo>
                  <a:pt x="3724" y="47"/>
                  <a:pt x="3692" y="0"/>
                  <a:pt x="3644" y="0"/>
                </a:cubicBezTo>
                <a:lnTo>
                  <a:pt x="80" y="0"/>
                </a:lnTo>
                <a:cubicBezTo>
                  <a:pt x="48" y="0"/>
                  <a:pt x="0" y="47"/>
                  <a:pt x="0" y="80"/>
                </a:cubicBezTo>
                <a:lnTo>
                  <a:pt x="0" y="2880"/>
                </a:lnTo>
                <a:cubicBezTo>
                  <a:pt x="0" y="2928"/>
                  <a:pt x="48" y="2959"/>
                  <a:pt x="80" y="2959"/>
                </a:cubicBezTo>
                <a:lnTo>
                  <a:pt x="3421" y="2959"/>
                </a:lnTo>
                <a:close/>
                <a:moveTo>
                  <a:pt x="5506" y="1193"/>
                </a:moveTo>
                <a:lnTo>
                  <a:pt x="5506" y="2673"/>
                </a:lnTo>
                <a:cubicBezTo>
                  <a:pt x="5506" y="2720"/>
                  <a:pt x="5553" y="2752"/>
                  <a:pt x="5585" y="2752"/>
                </a:cubicBezTo>
                <a:lnTo>
                  <a:pt x="5728" y="2752"/>
                </a:lnTo>
                <a:lnTo>
                  <a:pt x="5728" y="2800"/>
                </a:lnTo>
                <a:lnTo>
                  <a:pt x="3644" y="2800"/>
                </a:lnTo>
                <a:lnTo>
                  <a:pt x="3501" y="2800"/>
                </a:lnTo>
                <a:lnTo>
                  <a:pt x="3501" y="2752"/>
                </a:lnTo>
                <a:lnTo>
                  <a:pt x="3644" y="2752"/>
                </a:lnTo>
                <a:cubicBezTo>
                  <a:pt x="3692" y="2752"/>
                  <a:pt x="3724" y="2720"/>
                  <a:pt x="3724" y="2673"/>
                </a:cubicBezTo>
                <a:lnTo>
                  <a:pt x="3724" y="2498"/>
                </a:lnTo>
                <a:lnTo>
                  <a:pt x="3724" y="2482"/>
                </a:lnTo>
                <a:lnTo>
                  <a:pt x="3724" y="1193"/>
                </a:lnTo>
                <a:close/>
                <a:moveTo>
                  <a:pt x="160" y="159"/>
                </a:moveTo>
                <a:lnTo>
                  <a:pt x="3564" y="159"/>
                </a:lnTo>
                <a:lnTo>
                  <a:pt x="3564" y="1098"/>
                </a:lnTo>
                <a:lnTo>
                  <a:pt x="3564" y="1114"/>
                </a:lnTo>
                <a:lnTo>
                  <a:pt x="3564" y="2593"/>
                </a:lnTo>
                <a:lnTo>
                  <a:pt x="3421" y="2593"/>
                </a:lnTo>
                <a:cubicBezTo>
                  <a:pt x="3373" y="2593"/>
                  <a:pt x="3342" y="2625"/>
                  <a:pt x="3342" y="2673"/>
                </a:cubicBezTo>
                <a:lnTo>
                  <a:pt x="3342" y="2800"/>
                </a:lnTo>
                <a:lnTo>
                  <a:pt x="160" y="2800"/>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1" name="Freeform: Shape 10">
            <a:extLst>
              <a:ext uri="{FF2B5EF4-FFF2-40B4-BE49-F238E27FC236}">
                <a16:creationId xmlns:a16="http://schemas.microsoft.com/office/drawing/2014/main" id="{4C5E0A1F-8599-9840-9F60-8361503E8AD6}"/>
              </a:ext>
            </a:extLst>
          </p:cNvPr>
          <p:cNvSpPr/>
          <p:nvPr/>
        </p:nvSpPr>
        <p:spPr>
          <a:xfrm>
            <a:off x="13685637" y="3657470"/>
            <a:ext cx="2135880" cy="887400"/>
          </a:xfrm>
          <a:custGeom>
            <a:avLst/>
            <a:gdLst/>
            <a:ahLst/>
            <a:cxnLst>
              <a:cxn ang="3cd4">
                <a:pos x="hc" y="t"/>
              </a:cxn>
              <a:cxn ang="cd2">
                <a:pos x="l" y="vc"/>
              </a:cxn>
              <a:cxn ang="cd4">
                <a:pos x="hc" y="b"/>
              </a:cxn>
              <a:cxn ang="0">
                <a:pos x="r" y="vc"/>
              </a:cxn>
            </a:cxnLst>
            <a:rect l="l" t="t" r="r" b="b"/>
            <a:pathLst>
              <a:path w="5934" h="2466">
                <a:moveTo>
                  <a:pt x="4661" y="2068"/>
                </a:moveTo>
                <a:lnTo>
                  <a:pt x="5584" y="2068"/>
                </a:lnTo>
                <a:cubicBezTo>
                  <a:pt x="5632" y="2068"/>
                  <a:pt x="5664" y="2036"/>
                  <a:pt x="5664" y="1989"/>
                </a:cubicBezTo>
                <a:lnTo>
                  <a:pt x="5664" y="859"/>
                </a:lnTo>
                <a:cubicBezTo>
                  <a:pt x="5664" y="811"/>
                  <a:pt x="5632" y="780"/>
                  <a:pt x="5584" y="780"/>
                </a:cubicBezTo>
                <a:lnTo>
                  <a:pt x="4661" y="780"/>
                </a:lnTo>
                <a:cubicBezTo>
                  <a:pt x="4630" y="780"/>
                  <a:pt x="4582" y="811"/>
                  <a:pt x="4582" y="859"/>
                </a:cubicBezTo>
                <a:lnTo>
                  <a:pt x="4582" y="1989"/>
                </a:lnTo>
                <a:cubicBezTo>
                  <a:pt x="4582" y="2036"/>
                  <a:pt x="4630" y="2068"/>
                  <a:pt x="4661" y="2068"/>
                </a:cubicBezTo>
                <a:close/>
                <a:moveTo>
                  <a:pt x="4741" y="939"/>
                </a:moveTo>
                <a:lnTo>
                  <a:pt x="5505" y="939"/>
                </a:lnTo>
                <a:lnTo>
                  <a:pt x="5505" y="1909"/>
                </a:lnTo>
                <a:lnTo>
                  <a:pt x="4741" y="1909"/>
                </a:lnTo>
                <a:close/>
                <a:moveTo>
                  <a:pt x="3484" y="2068"/>
                </a:moveTo>
                <a:lnTo>
                  <a:pt x="4407" y="2068"/>
                </a:lnTo>
                <a:cubicBezTo>
                  <a:pt x="4455" y="2068"/>
                  <a:pt x="4487" y="2036"/>
                  <a:pt x="4487" y="1989"/>
                </a:cubicBezTo>
                <a:lnTo>
                  <a:pt x="4487" y="859"/>
                </a:lnTo>
                <a:cubicBezTo>
                  <a:pt x="4487" y="811"/>
                  <a:pt x="4455" y="780"/>
                  <a:pt x="4407" y="780"/>
                </a:cubicBezTo>
                <a:lnTo>
                  <a:pt x="3484" y="780"/>
                </a:lnTo>
                <a:cubicBezTo>
                  <a:pt x="3452" y="780"/>
                  <a:pt x="3405" y="811"/>
                  <a:pt x="3405" y="859"/>
                </a:cubicBezTo>
                <a:lnTo>
                  <a:pt x="3405" y="1989"/>
                </a:lnTo>
                <a:cubicBezTo>
                  <a:pt x="3405" y="2036"/>
                  <a:pt x="3452" y="2068"/>
                  <a:pt x="3484" y="2068"/>
                </a:cubicBezTo>
                <a:close/>
                <a:moveTo>
                  <a:pt x="3564" y="939"/>
                </a:moveTo>
                <a:lnTo>
                  <a:pt x="4327" y="939"/>
                </a:lnTo>
                <a:lnTo>
                  <a:pt x="4327" y="1909"/>
                </a:lnTo>
                <a:lnTo>
                  <a:pt x="3564" y="1909"/>
                </a:lnTo>
                <a:close/>
                <a:moveTo>
                  <a:pt x="79" y="2466"/>
                </a:moveTo>
                <a:lnTo>
                  <a:pt x="1607" y="2466"/>
                </a:lnTo>
                <a:lnTo>
                  <a:pt x="1909" y="2466"/>
                </a:lnTo>
                <a:lnTo>
                  <a:pt x="5855" y="2466"/>
                </a:lnTo>
                <a:cubicBezTo>
                  <a:pt x="5887" y="2466"/>
                  <a:pt x="5918" y="2435"/>
                  <a:pt x="5934" y="2387"/>
                </a:cubicBezTo>
                <a:lnTo>
                  <a:pt x="5934" y="2212"/>
                </a:lnTo>
                <a:lnTo>
                  <a:pt x="5934" y="2196"/>
                </a:lnTo>
                <a:lnTo>
                  <a:pt x="5934" y="1989"/>
                </a:lnTo>
                <a:lnTo>
                  <a:pt x="5934" y="1973"/>
                </a:lnTo>
                <a:lnTo>
                  <a:pt x="5934" y="80"/>
                </a:lnTo>
                <a:cubicBezTo>
                  <a:pt x="5934" y="32"/>
                  <a:pt x="5887" y="0"/>
                  <a:pt x="5855" y="0"/>
                </a:cubicBezTo>
                <a:lnTo>
                  <a:pt x="79" y="0"/>
                </a:lnTo>
                <a:cubicBezTo>
                  <a:pt x="32" y="0"/>
                  <a:pt x="0" y="32"/>
                  <a:pt x="0" y="80"/>
                </a:cubicBezTo>
                <a:lnTo>
                  <a:pt x="0" y="2387"/>
                </a:lnTo>
                <a:cubicBezTo>
                  <a:pt x="0" y="2435"/>
                  <a:pt x="32" y="2466"/>
                  <a:pt x="79" y="2466"/>
                </a:cubicBezTo>
                <a:close/>
                <a:moveTo>
                  <a:pt x="1830" y="2307"/>
                </a:moveTo>
                <a:lnTo>
                  <a:pt x="1687" y="2307"/>
                </a:lnTo>
                <a:lnTo>
                  <a:pt x="1687" y="1830"/>
                </a:lnTo>
                <a:lnTo>
                  <a:pt x="1830" y="1830"/>
                </a:lnTo>
                <a:close/>
                <a:moveTo>
                  <a:pt x="159" y="159"/>
                </a:moveTo>
                <a:lnTo>
                  <a:pt x="5775" y="159"/>
                </a:lnTo>
                <a:lnTo>
                  <a:pt x="5775" y="2180"/>
                </a:lnTo>
                <a:lnTo>
                  <a:pt x="5775" y="2307"/>
                </a:lnTo>
                <a:lnTo>
                  <a:pt x="1989" y="2307"/>
                </a:lnTo>
                <a:lnTo>
                  <a:pt x="1989" y="1750"/>
                </a:lnTo>
                <a:cubicBezTo>
                  <a:pt x="1989" y="1718"/>
                  <a:pt x="1957" y="1687"/>
                  <a:pt x="1909" y="1687"/>
                </a:cubicBezTo>
                <a:lnTo>
                  <a:pt x="1607" y="1687"/>
                </a:lnTo>
                <a:cubicBezTo>
                  <a:pt x="1559" y="1687"/>
                  <a:pt x="1527" y="1718"/>
                  <a:pt x="1527" y="1750"/>
                </a:cubicBezTo>
                <a:lnTo>
                  <a:pt x="1527" y="2307"/>
                </a:lnTo>
                <a:lnTo>
                  <a:pt x="159" y="2307"/>
                </a:lnTo>
                <a:close/>
                <a:moveTo>
                  <a:pt x="3134" y="1241"/>
                </a:moveTo>
                <a:lnTo>
                  <a:pt x="3134" y="859"/>
                </a:lnTo>
                <a:cubicBezTo>
                  <a:pt x="3134" y="811"/>
                  <a:pt x="3102" y="780"/>
                  <a:pt x="3055" y="780"/>
                </a:cubicBezTo>
                <a:lnTo>
                  <a:pt x="461" y="780"/>
                </a:lnTo>
                <a:cubicBezTo>
                  <a:pt x="414" y="780"/>
                  <a:pt x="382" y="811"/>
                  <a:pt x="382" y="859"/>
                </a:cubicBezTo>
                <a:lnTo>
                  <a:pt x="382" y="1241"/>
                </a:lnTo>
                <a:cubicBezTo>
                  <a:pt x="382" y="1289"/>
                  <a:pt x="414" y="1321"/>
                  <a:pt x="461" y="1321"/>
                </a:cubicBezTo>
                <a:lnTo>
                  <a:pt x="3055" y="1321"/>
                </a:lnTo>
                <a:cubicBezTo>
                  <a:pt x="3102" y="1321"/>
                  <a:pt x="3134" y="1289"/>
                  <a:pt x="3134" y="1241"/>
                </a:cubicBezTo>
                <a:close/>
                <a:moveTo>
                  <a:pt x="2975" y="1162"/>
                </a:moveTo>
                <a:lnTo>
                  <a:pt x="541" y="1162"/>
                </a:lnTo>
                <a:lnTo>
                  <a:pt x="541" y="939"/>
                </a:lnTo>
                <a:lnTo>
                  <a:pt x="2975" y="93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2" name="Freeform: Shape 11">
            <a:extLst>
              <a:ext uri="{FF2B5EF4-FFF2-40B4-BE49-F238E27FC236}">
                <a16:creationId xmlns:a16="http://schemas.microsoft.com/office/drawing/2014/main" id="{4E24BC7A-73C7-A742-AD44-35FE78778EFF}"/>
              </a:ext>
            </a:extLst>
          </p:cNvPr>
          <p:cNvSpPr/>
          <p:nvPr/>
        </p:nvSpPr>
        <p:spPr>
          <a:xfrm>
            <a:off x="17565152" y="3330950"/>
            <a:ext cx="1517400" cy="1540440"/>
          </a:xfrm>
          <a:custGeom>
            <a:avLst/>
            <a:gdLst/>
            <a:ahLst/>
            <a:cxnLst>
              <a:cxn ang="3cd4">
                <a:pos x="hc" y="t"/>
              </a:cxn>
              <a:cxn ang="cd2">
                <a:pos x="l" y="vc"/>
              </a:cxn>
              <a:cxn ang="cd4">
                <a:pos x="hc" y="b"/>
              </a:cxn>
              <a:cxn ang="0">
                <a:pos x="r" y="vc"/>
              </a:cxn>
            </a:cxnLst>
            <a:rect l="l" t="t" r="r" b="b"/>
            <a:pathLst>
              <a:path w="4216" h="4280">
                <a:moveTo>
                  <a:pt x="1082" y="446"/>
                </a:moveTo>
                <a:lnTo>
                  <a:pt x="764" y="446"/>
                </a:lnTo>
                <a:cubicBezTo>
                  <a:pt x="732" y="446"/>
                  <a:pt x="685" y="494"/>
                  <a:pt x="685" y="525"/>
                </a:cubicBezTo>
                <a:lnTo>
                  <a:pt x="685" y="1305"/>
                </a:lnTo>
                <a:cubicBezTo>
                  <a:pt x="685" y="1337"/>
                  <a:pt x="732" y="1384"/>
                  <a:pt x="764" y="1384"/>
                </a:cubicBezTo>
                <a:lnTo>
                  <a:pt x="1082" y="1384"/>
                </a:lnTo>
                <a:cubicBezTo>
                  <a:pt x="1130" y="1384"/>
                  <a:pt x="1162" y="1337"/>
                  <a:pt x="1162" y="1305"/>
                </a:cubicBezTo>
                <a:lnTo>
                  <a:pt x="1162" y="525"/>
                </a:lnTo>
                <a:cubicBezTo>
                  <a:pt x="1162" y="494"/>
                  <a:pt x="1130" y="446"/>
                  <a:pt x="1082" y="446"/>
                </a:cubicBezTo>
                <a:close/>
                <a:moveTo>
                  <a:pt x="1003" y="1225"/>
                </a:moveTo>
                <a:lnTo>
                  <a:pt x="843" y="1225"/>
                </a:lnTo>
                <a:lnTo>
                  <a:pt x="843" y="605"/>
                </a:lnTo>
                <a:lnTo>
                  <a:pt x="1003" y="605"/>
                </a:lnTo>
                <a:close/>
                <a:moveTo>
                  <a:pt x="1560" y="1384"/>
                </a:moveTo>
                <a:lnTo>
                  <a:pt x="1878" y="1384"/>
                </a:lnTo>
                <a:cubicBezTo>
                  <a:pt x="1925" y="1384"/>
                  <a:pt x="1957" y="1337"/>
                  <a:pt x="1957" y="1305"/>
                </a:cubicBezTo>
                <a:lnTo>
                  <a:pt x="1957" y="525"/>
                </a:lnTo>
                <a:cubicBezTo>
                  <a:pt x="1957" y="494"/>
                  <a:pt x="1925" y="446"/>
                  <a:pt x="1878" y="446"/>
                </a:cubicBezTo>
                <a:lnTo>
                  <a:pt x="1560" y="446"/>
                </a:lnTo>
                <a:cubicBezTo>
                  <a:pt x="1512" y="446"/>
                  <a:pt x="1480" y="494"/>
                  <a:pt x="1480" y="525"/>
                </a:cubicBezTo>
                <a:lnTo>
                  <a:pt x="1480" y="1305"/>
                </a:lnTo>
                <a:cubicBezTo>
                  <a:pt x="1480" y="1337"/>
                  <a:pt x="1512" y="1384"/>
                  <a:pt x="1560" y="1384"/>
                </a:cubicBezTo>
                <a:close/>
                <a:moveTo>
                  <a:pt x="1639" y="605"/>
                </a:moveTo>
                <a:lnTo>
                  <a:pt x="1798" y="605"/>
                </a:lnTo>
                <a:lnTo>
                  <a:pt x="1798" y="1225"/>
                </a:lnTo>
                <a:lnTo>
                  <a:pt x="1639" y="1225"/>
                </a:lnTo>
                <a:close/>
                <a:moveTo>
                  <a:pt x="2339" y="1384"/>
                </a:moveTo>
                <a:lnTo>
                  <a:pt x="2657" y="1384"/>
                </a:lnTo>
                <a:cubicBezTo>
                  <a:pt x="2705" y="1384"/>
                  <a:pt x="2737" y="1337"/>
                  <a:pt x="2737" y="1305"/>
                </a:cubicBezTo>
                <a:lnTo>
                  <a:pt x="2737" y="525"/>
                </a:lnTo>
                <a:cubicBezTo>
                  <a:pt x="2737" y="494"/>
                  <a:pt x="2705" y="446"/>
                  <a:pt x="2657" y="446"/>
                </a:cubicBezTo>
                <a:lnTo>
                  <a:pt x="2339" y="446"/>
                </a:lnTo>
                <a:cubicBezTo>
                  <a:pt x="2291" y="446"/>
                  <a:pt x="2260" y="494"/>
                  <a:pt x="2260" y="525"/>
                </a:cubicBezTo>
                <a:lnTo>
                  <a:pt x="2260" y="1305"/>
                </a:lnTo>
                <a:cubicBezTo>
                  <a:pt x="2260" y="1337"/>
                  <a:pt x="2291" y="1384"/>
                  <a:pt x="2339" y="1384"/>
                </a:cubicBezTo>
                <a:close/>
                <a:moveTo>
                  <a:pt x="2419" y="605"/>
                </a:moveTo>
                <a:lnTo>
                  <a:pt x="2578" y="605"/>
                </a:lnTo>
                <a:lnTo>
                  <a:pt x="2578" y="1225"/>
                </a:lnTo>
                <a:lnTo>
                  <a:pt x="2419" y="1225"/>
                </a:lnTo>
                <a:close/>
                <a:moveTo>
                  <a:pt x="3134" y="1384"/>
                </a:moveTo>
                <a:lnTo>
                  <a:pt x="3453" y="1384"/>
                </a:lnTo>
                <a:cubicBezTo>
                  <a:pt x="3485" y="1384"/>
                  <a:pt x="3533" y="1337"/>
                  <a:pt x="3533" y="1305"/>
                </a:cubicBezTo>
                <a:lnTo>
                  <a:pt x="3533" y="525"/>
                </a:lnTo>
                <a:cubicBezTo>
                  <a:pt x="3533" y="494"/>
                  <a:pt x="3485" y="446"/>
                  <a:pt x="3453" y="446"/>
                </a:cubicBezTo>
                <a:lnTo>
                  <a:pt x="3134" y="446"/>
                </a:lnTo>
                <a:cubicBezTo>
                  <a:pt x="3087" y="446"/>
                  <a:pt x="3055" y="494"/>
                  <a:pt x="3055" y="525"/>
                </a:cubicBezTo>
                <a:lnTo>
                  <a:pt x="3055" y="1305"/>
                </a:lnTo>
                <a:cubicBezTo>
                  <a:pt x="3055" y="1337"/>
                  <a:pt x="3087" y="1384"/>
                  <a:pt x="3134" y="1384"/>
                </a:cubicBezTo>
                <a:close/>
                <a:moveTo>
                  <a:pt x="3214" y="605"/>
                </a:moveTo>
                <a:lnTo>
                  <a:pt x="3373" y="605"/>
                </a:lnTo>
                <a:lnTo>
                  <a:pt x="3373" y="1225"/>
                </a:lnTo>
                <a:lnTo>
                  <a:pt x="3214" y="1225"/>
                </a:lnTo>
                <a:close/>
                <a:moveTo>
                  <a:pt x="1082" y="1687"/>
                </a:moveTo>
                <a:lnTo>
                  <a:pt x="764" y="1687"/>
                </a:lnTo>
                <a:cubicBezTo>
                  <a:pt x="732" y="1687"/>
                  <a:pt x="685" y="1718"/>
                  <a:pt x="685" y="1766"/>
                </a:cubicBezTo>
                <a:lnTo>
                  <a:pt x="685" y="2530"/>
                </a:lnTo>
                <a:cubicBezTo>
                  <a:pt x="685" y="2578"/>
                  <a:pt x="732" y="2609"/>
                  <a:pt x="764" y="2609"/>
                </a:cubicBezTo>
                <a:lnTo>
                  <a:pt x="1082" y="2609"/>
                </a:lnTo>
                <a:cubicBezTo>
                  <a:pt x="1130" y="2609"/>
                  <a:pt x="1162" y="2578"/>
                  <a:pt x="1162" y="2530"/>
                </a:cubicBezTo>
                <a:lnTo>
                  <a:pt x="1162" y="1766"/>
                </a:lnTo>
                <a:cubicBezTo>
                  <a:pt x="1162" y="1718"/>
                  <a:pt x="1130" y="1687"/>
                  <a:pt x="1082" y="1687"/>
                </a:cubicBezTo>
                <a:close/>
                <a:moveTo>
                  <a:pt x="1003" y="2451"/>
                </a:moveTo>
                <a:lnTo>
                  <a:pt x="843" y="2451"/>
                </a:lnTo>
                <a:lnTo>
                  <a:pt x="843" y="1846"/>
                </a:lnTo>
                <a:lnTo>
                  <a:pt x="1003" y="1846"/>
                </a:lnTo>
                <a:close/>
                <a:moveTo>
                  <a:pt x="1560" y="2609"/>
                </a:moveTo>
                <a:lnTo>
                  <a:pt x="1878" y="2609"/>
                </a:lnTo>
                <a:cubicBezTo>
                  <a:pt x="1925" y="2609"/>
                  <a:pt x="1957" y="2578"/>
                  <a:pt x="1957" y="2530"/>
                </a:cubicBezTo>
                <a:lnTo>
                  <a:pt x="1957" y="1766"/>
                </a:lnTo>
                <a:cubicBezTo>
                  <a:pt x="1957" y="1718"/>
                  <a:pt x="1925" y="1687"/>
                  <a:pt x="1878" y="1687"/>
                </a:cubicBezTo>
                <a:lnTo>
                  <a:pt x="1560" y="1687"/>
                </a:lnTo>
                <a:cubicBezTo>
                  <a:pt x="1512" y="1687"/>
                  <a:pt x="1480" y="1718"/>
                  <a:pt x="1480" y="1766"/>
                </a:cubicBezTo>
                <a:lnTo>
                  <a:pt x="1480" y="2530"/>
                </a:lnTo>
                <a:cubicBezTo>
                  <a:pt x="1480" y="2578"/>
                  <a:pt x="1512" y="2609"/>
                  <a:pt x="1560" y="2609"/>
                </a:cubicBezTo>
                <a:close/>
                <a:moveTo>
                  <a:pt x="1639" y="1846"/>
                </a:moveTo>
                <a:lnTo>
                  <a:pt x="1798" y="1846"/>
                </a:lnTo>
                <a:lnTo>
                  <a:pt x="1798" y="2451"/>
                </a:lnTo>
                <a:lnTo>
                  <a:pt x="1639" y="2451"/>
                </a:lnTo>
                <a:close/>
                <a:moveTo>
                  <a:pt x="2339" y="2609"/>
                </a:moveTo>
                <a:lnTo>
                  <a:pt x="2657" y="2609"/>
                </a:lnTo>
                <a:cubicBezTo>
                  <a:pt x="2705" y="2609"/>
                  <a:pt x="2737" y="2578"/>
                  <a:pt x="2737" y="2530"/>
                </a:cubicBezTo>
                <a:lnTo>
                  <a:pt x="2737" y="1766"/>
                </a:lnTo>
                <a:cubicBezTo>
                  <a:pt x="2737" y="1718"/>
                  <a:pt x="2705" y="1687"/>
                  <a:pt x="2657" y="1687"/>
                </a:cubicBezTo>
                <a:lnTo>
                  <a:pt x="2339" y="1687"/>
                </a:lnTo>
                <a:cubicBezTo>
                  <a:pt x="2291" y="1687"/>
                  <a:pt x="2260" y="1718"/>
                  <a:pt x="2260" y="1766"/>
                </a:cubicBezTo>
                <a:lnTo>
                  <a:pt x="2260" y="2530"/>
                </a:lnTo>
                <a:cubicBezTo>
                  <a:pt x="2260" y="2578"/>
                  <a:pt x="2291" y="2609"/>
                  <a:pt x="2339" y="2609"/>
                </a:cubicBezTo>
                <a:close/>
                <a:moveTo>
                  <a:pt x="2419" y="1846"/>
                </a:moveTo>
                <a:lnTo>
                  <a:pt x="2578" y="1846"/>
                </a:lnTo>
                <a:lnTo>
                  <a:pt x="2578" y="2451"/>
                </a:lnTo>
                <a:lnTo>
                  <a:pt x="2419" y="2451"/>
                </a:lnTo>
                <a:close/>
                <a:moveTo>
                  <a:pt x="3134" y="2609"/>
                </a:moveTo>
                <a:lnTo>
                  <a:pt x="3453" y="2609"/>
                </a:lnTo>
                <a:cubicBezTo>
                  <a:pt x="3485" y="2609"/>
                  <a:pt x="3533" y="2578"/>
                  <a:pt x="3533" y="2530"/>
                </a:cubicBezTo>
                <a:lnTo>
                  <a:pt x="3533" y="1766"/>
                </a:lnTo>
                <a:cubicBezTo>
                  <a:pt x="3533" y="1718"/>
                  <a:pt x="3485" y="1687"/>
                  <a:pt x="3453" y="1687"/>
                </a:cubicBezTo>
                <a:lnTo>
                  <a:pt x="3134" y="1687"/>
                </a:lnTo>
                <a:cubicBezTo>
                  <a:pt x="3087" y="1687"/>
                  <a:pt x="3055" y="1718"/>
                  <a:pt x="3055" y="1766"/>
                </a:cubicBezTo>
                <a:lnTo>
                  <a:pt x="3055" y="2530"/>
                </a:lnTo>
                <a:cubicBezTo>
                  <a:pt x="3055" y="2578"/>
                  <a:pt x="3087" y="2609"/>
                  <a:pt x="3134" y="2609"/>
                </a:cubicBezTo>
                <a:close/>
                <a:moveTo>
                  <a:pt x="3214" y="1846"/>
                </a:moveTo>
                <a:lnTo>
                  <a:pt x="3373" y="1846"/>
                </a:lnTo>
                <a:lnTo>
                  <a:pt x="3373" y="2451"/>
                </a:lnTo>
                <a:lnTo>
                  <a:pt x="3214" y="2451"/>
                </a:lnTo>
                <a:close/>
                <a:moveTo>
                  <a:pt x="1082" y="2912"/>
                </a:moveTo>
                <a:lnTo>
                  <a:pt x="764" y="2912"/>
                </a:lnTo>
                <a:cubicBezTo>
                  <a:pt x="732" y="2912"/>
                  <a:pt x="685" y="2943"/>
                  <a:pt x="685" y="2991"/>
                </a:cubicBezTo>
                <a:lnTo>
                  <a:pt x="685" y="3755"/>
                </a:lnTo>
                <a:cubicBezTo>
                  <a:pt x="685" y="3803"/>
                  <a:pt x="732" y="3834"/>
                  <a:pt x="764" y="3834"/>
                </a:cubicBezTo>
                <a:lnTo>
                  <a:pt x="1082" y="3834"/>
                </a:lnTo>
                <a:cubicBezTo>
                  <a:pt x="1130" y="3834"/>
                  <a:pt x="1162" y="3803"/>
                  <a:pt x="1162" y="3755"/>
                </a:cubicBezTo>
                <a:lnTo>
                  <a:pt x="1162" y="2991"/>
                </a:lnTo>
                <a:cubicBezTo>
                  <a:pt x="1162" y="2943"/>
                  <a:pt x="1130" y="2912"/>
                  <a:pt x="1082" y="2912"/>
                </a:cubicBezTo>
                <a:close/>
                <a:moveTo>
                  <a:pt x="1003" y="3676"/>
                </a:moveTo>
                <a:lnTo>
                  <a:pt x="843" y="3676"/>
                </a:lnTo>
                <a:lnTo>
                  <a:pt x="843" y="3071"/>
                </a:lnTo>
                <a:lnTo>
                  <a:pt x="1003" y="3071"/>
                </a:lnTo>
                <a:close/>
                <a:moveTo>
                  <a:pt x="3134" y="3834"/>
                </a:moveTo>
                <a:lnTo>
                  <a:pt x="3453" y="3834"/>
                </a:lnTo>
                <a:cubicBezTo>
                  <a:pt x="3485" y="3834"/>
                  <a:pt x="3533" y="3803"/>
                  <a:pt x="3533" y="3755"/>
                </a:cubicBezTo>
                <a:lnTo>
                  <a:pt x="3533" y="2991"/>
                </a:lnTo>
                <a:cubicBezTo>
                  <a:pt x="3533" y="2943"/>
                  <a:pt x="3485" y="2912"/>
                  <a:pt x="3453" y="2912"/>
                </a:cubicBezTo>
                <a:lnTo>
                  <a:pt x="3134" y="2912"/>
                </a:lnTo>
                <a:cubicBezTo>
                  <a:pt x="3087" y="2912"/>
                  <a:pt x="3055" y="2943"/>
                  <a:pt x="3055" y="2991"/>
                </a:cubicBezTo>
                <a:lnTo>
                  <a:pt x="3055" y="3755"/>
                </a:lnTo>
                <a:cubicBezTo>
                  <a:pt x="3055" y="3803"/>
                  <a:pt x="3087" y="3834"/>
                  <a:pt x="3134" y="3834"/>
                </a:cubicBezTo>
                <a:close/>
                <a:moveTo>
                  <a:pt x="3214" y="3071"/>
                </a:moveTo>
                <a:lnTo>
                  <a:pt x="3373" y="3071"/>
                </a:lnTo>
                <a:lnTo>
                  <a:pt x="3373" y="3676"/>
                </a:lnTo>
                <a:lnTo>
                  <a:pt x="3214" y="3676"/>
                </a:lnTo>
                <a:close/>
                <a:moveTo>
                  <a:pt x="80" y="4280"/>
                </a:moveTo>
                <a:lnTo>
                  <a:pt x="303" y="4280"/>
                </a:lnTo>
                <a:lnTo>
                  <a:pt x="1543" y="4280"/>
                </a:lnTo>
                <a:lnTo>
                  <a:pt x="2673" y="4280"/>
                </a:lnTo>
                <a:lnTo>
                  <a:pt x="3914" y="4280"/>
                </a:lnTo>
                <a:lnTo>
                  <a:pt x="4137" y="4280"/>
                </a:lnTo>
                <a:cubicBezTo>
                  <a:pt x="4169" y="4280"/>
                  <a:pt x="4216" y="4248"/>
                  <a:pt x="4216" y="4216"/>
                </a:cubicBezTo>
                <a:cubicBezTo>
                  <a:pt x="4216" y="4169"/>
                  <a:pt x="4169" y="4137"/>
                  <a:pt x="4137" y="4137"/>
                </a:cubicBezTo>
                <a:lnTo>
                  <a:pt x="3994" y="4137"/>
                </a:lnTo>
                <a:lnTo>
                  <a:pt x="3994" y="80"/>
                </a:lnTo>
                <a:cubicBezTo>
                  <a:pt x="3994" y="32"/>
                  <a:pt x="3946" y="0"/>
                  <a:pt x="3914" y="0"/>
                </a:cubicBezTo>
                <a:lnTo>
                  <a:pt x="303" y="0"/>
                </a:lnTo>
                <a:cubicBezTo>
                  <a:pt x="271" y="0"/>
                  <a:pt x="223" y="32"/>
                  <a:pt x="223" y="80"/>
                </a:cubicBezTo>
                <a:lnTo>
                  <a:pt x="223" y="4137"/>
                </a:lnTo>
                <a:lnTo>
                  <a:pt x="80" y="4137"/>
                </a:lnTo>
                <a:cubicBezTo>
                  <a:pt x="48" y="4137"/>
                  <a:pt x="0" y="4169"/>
                  <a:pt x="0" y="4216"/>
                </a:cubicBezTo>
                <a:cubicBezTo>
                  <a:pt x="0" y="4248"/>
                  <a:pt x="48" y="4280"/>
                  <a:pt x="80" y="4280"/>
                </a:cubicBezTo>
                <a:close/>
                <a:moveTo>
                  <a:pt x="1623" y="4137"/>
                </a:moveTo>
                <a:lnTo>
                  <a:pt x="1623" y="3023"/>
                </a:lnTo>
                <a:lnTo>
                  <a:pt x="2594" y="3023"/>
                </a:lnTo>
                <a:lnTo>
                  <a:pt x="2594" y="4137"/>
                </a:lnTo>
                <a:close/>
                <a:moveTo>
                  <a:pt x="382" y="160"/>
                </a:moveTo>
                <a:lnTo>
                  <a:pt x="3834" y="160"/>
                </a:lnTo>
                <a:lnTo>
                  <a:pt x="3834" y="4137"/>
                </a:lnTo>
                <a:lnTo>
                  <a:pt x="2753" y="4137"/>
                </a:lnTo>
                <a:lnTo>
                  <a:pt x="2753" y="2943"/>
                </a:lnTo>
                <a:cubicBezTo>
                  <a:pt x="2753" y="2896"/>
                  <a:pt x="2721" y="2864"/>
                  <a:pt x="2673" y="2864"/>
                </a:cubicBezTo>
                <a:lnTo>
                  <a:pt x="1543" y="2864"/>
                </a:lnTo>
                <a:cubicBezTo>
                  <a:pt x="1496" y="2864"/>
                  <a:pt x="1464" y="2896"/>
                  <a:pt x="1464" y="2943"/>
                </a:cubicBezTo>
                <a:lnTo>
                  <a:pt x="1464" y="4137"/>
                </a:lnTo>
                <a:lnTo>
                  <a:pt x="382" y="4137"/>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3" name="Freeform: Shape 12">
            <a:extLst>
              <a:ext uri="{FF2B5EF4-FFF2-40B4-BE49-F238E27FC236}">
                <a16:creationId xmlns:a16="http://schemas.microsoft.com/office/drawing/2014/main" id="{A44B38A7-3265-E342-95B6-7843C12D75CF}"/>
              </a:ext>
            </a:extLst>
          </p:cNvPr>
          <p:cNvSpPr/>
          <p:nvPr/>
        </p:nvSpPr>
        <p:spPr>
          <a:xfrm>
            <a:off x="21128587" y="3199190"/>
            <a:ext cx="1557719" cy="1626480"/>
          </a:xfrm>
          <a:custGeom>
            <a:avLst/>
            <a:gdLst/>
            <a:ahLst/>
            <a:cxnLst>
              <a:cxn ang="3cd4">
                <a:pos x="hc" y="t"/>
              </a:cxn>
              <a:cxn ang="cd2">
                <a:pos x="l" y="vc"/>
              </a:cxn>
              <a:cxn ang="cd4">
                <a:pos x="hc" y="b"/>
              </a:cxn>
              <a:cxn ang="0">
                <a:pos x="r" y="vc"/>
              </a:cxn>
            </a:cxnLst>
            <a:rect l="l" t="t" r="r" b="b"/>
            <a:pathLst>
              <a:path w="4328" h="4519">
                <a:moveTo>
                  <a:pt x="80" y="4137"/>
                </a:moveTo>
                <a:lnTo>
                  <a:pt x="271" y="4137"/>
                </a:lnTo>
                <a:lnTo>
                  <a:pt x="1432" y="4137"/>
                </a:lnTo>
                <a:lnTo>
                  <a:pt x="1623" y="4137"/>
                </a:lnTo>
                <a:cubicBezTo>
                  <a:pt x="1671" y="4137"/>
                  <a:pt x="1703" y="4105"/>
                  <a:pt x="1703" y="4057"/>
                </a:cubicBezTo>
                <a:cubicBezTo>
                  <a:pt x="1703" y="4026"/>
                  <a:pt x="1671" y="3994"/>
                  <a:pt x="1623" y="3994"/>
                </a:cubicBezTo>
                <a:lnTo>
                  <a:pt x="1512" y="3994"/>
                </a:lnTo>
                <a:lnTo>
                  <a:pt x="1512" y="827"/>
                </a:lnTo>
                <a:cubicBezTo>
                  <a:pt x="1512" y="780"/>
                  <a:pt x="1480" y="748"/>
                  <a:pt x="1432" y="748"/>
                </a:cubicBezTo>
                <a:lnTo>
                  <a:pt x="271" y="748"/>
                </a:lnTo>
                <a:cubicBezTo>
                  <a:pt x="223" y="748"/>
                  <a:pt x="191" y="780"/>
                  <a:pt x="191" y="827"/>
                </a:cubicBezTo>
                <a:lnTo>
                  <a:pt x="191" y="3994"/>
                </a:lnTo>
                <a:lnTo>
                  <a:pt x="80" y="3994"/>
                </a:lnTo>
                <a:cubicBezTo>
                  <a:pt x="32" y="3994"/>
                  <a:pt x="0" y="4026"/>
                  <a:pt x="0" y="4057"/>
                </a:cubicBezTo>
                <a:cubicBezTo>
                  <a:pt x="0" y="4105"/>
                  <a:pt x="32" y="4137"/>
                  <a:pt x="80" y="4137"/>
                </a:cubicBezTo>
                <a:close/>
                <a:moveTo>
                  <a:pt x="351" y="907"/>
                </a:moveTo>
                <a:lnTo>
                  <a:pt x="1353" y="907"/>
                </a:lnTo>
                <a:lnTo>
                  <a:pt x="1353" y="3994"/>
                </a:lnTo>
                <a:lnTo>
                  <a:pt x="351" y="3994"/>
                </a:lnTo>
                <a:close/>
                <a:moveTo>
                  <a:pt x="717" y="1257"/>
                </a:moveTo>
                <a:lnTo>
                  <a:pt x="589" y="1257"/>
                </a:lnTo>
                <a:cubicBezTo>
                  <a:pt x="542" y="1257"/>
                  <a:pt x="509" y="1305"/>
                  <a:pt x="509" y="1337"/>
                </a:cubicBezTo>
                <a:cubicBezTo>
                  <a:pt x="509" y="1384"/>
                  <a:pt x="542" y="1417"/>
                  <a:pt x="589" y="1417"/>
                </a:cubicBezTo>
                <a:lnTo>
                  <a:pt x="717" y="1417"/>
                </a:lnTo>
                <a:cubicBezTo>
                  <a:pt x="764" y="1417"/>
                  <a:pt x="796" y="1384"/>
                  <a:pt x="796" y="1337"/>
                </a:cubicBezTo>
                <a:cubicBezTo>
                  <a:pt x="796" y="1305"/>
                  <a:pt x="764" y="1257"/>
                  <a:pt x="717" y="1257"/>
                </a:cubicBezTo>
                <a:close/>
                <a:moveTo>
                  <a:pt x="1114" y="1257"/>
                </a:moveTo>
                <a:lnTo>
                  <a:pt x="987" y="1257"/>
                </a:lnTo>
                <a:cubicBezTo>
                  <a:pt x="939" y="1257"/>
                  <a:pt x="908" y="1305"/>
                  <a:pt x="908" y="1337"/>
                </a:cubicBezTo>
                <a:cubicBezTo>
                  <a:pt x="908" y="1384"/>
                  <a:pt x="939" y="1417"/>
                  <a:pt x="987" y="1417"/>
                </a:cubicBezTo>
                <a:lnTo>
                  <a:pt x="1114" y="1417"/>
                </a:lnTo>
                <a:cubicBezTo>
                  <a:pt x="1146" y="1417"/>
                  <a:pt x="1194" y="1384"/>
                  <a:pt x="1194" y="1337"/>
                </a:cubicBezTo>
                <a:cubicBezTo>
                  <a:pt x="1194" y="1305"/>
                  <a:pt x="1146" y="1257"/>
                  <a:pt x="1114" y="1257"/>
                </a:cubicBezTo>
                <a:close/>
                <a:moveTo>
                  <a:pt x="717" y="1655"/>
                </a:moveTo>
                <a:lnTo>
                  <a:pt x="589" y="1655"/>
                </a:lnTo>
                <a:cubicBezTo>
                  <a:pt x="542" y="1655"/>
                  <a:pt x="509" y="1687"/>
                  <a:pt x="509" y="1735"/>
                </a:cubicBezTo>
                <a:cubicBezTo>
                  <a:pt x="509" y="1782"/>
                  <a:pt x="542" y="1814"/>
                  <a:pt x="589" y="1814"/>
                </a:cubicBezTo>
                <a:lnTo>
                  <a:pt x="717" y="1814"/>
                </a:lnTo>
                <a:cubicBezTo>
                  <a:pt x="764" y="1814"/>
                  <a:pt x="796" y="1782"/>
                  <a:pt x="796" y="1735"/>
                </a:cubicBezTo>
                <a:cubicBezTo>
                  <a:pt x="796" y="1687"/>
                  <a:pt x="764" y="1655"/>
                  <a:pt x="717" y="1655"/>
                </a:cubicBezTo>
                <a:close/>
                <a:moveTo>
                  <a:pt x="1114" y="1655"/>
                </a:moveTo>
                <a:lnTo>
                  <a:pt x="987" y="1655"/>
                </a:lnTo>
                <a:cubicBezTo>
                  <a:pt x="939" y="1655"/>
                  <a:pt x="908" y="1687"/>
                  <a:pt x="908" y="1735"/>
                </a:cubicBezTo>
                <a:cubicBezTo>
                  <a:pt x="908" y="1782"/>
                  <a:pt x="939" y="1814"/>
                  <a:pt x="987" y="1814"/>
                </a:cubicBezTo>
                <a:lnTo>
                  <a:pt x="1114" y="1814"/>
                </a:lnTo>
                <a:cubicBezTo>
                  <a:pt x="1146" y="1814"/>
                  <a:pt x="1194" y="1782"/>
                  <a:pt x="1194" y="1735"/>
                </a:cubicBezTo>
                <a:cubicBezTo>
                  <a:pt x="1194" y="1687"/>
                  <a:pt x="1146" y="1655"/>
                  <a:pt x="1114" y="1655"/>
                </a:cubicBezTo>
                <a:close/>
                <a:moveTo>
                  <a:pt x="717" y="2037"/>
                </a:moveTo>
                <a:lnTo>
                  <a:pt x="589" y="2037"/>
                </a:lnTo>
                <a:cubicBezTo>
                  <a:pt x="542" y="2037"/>
                  <a:pt x="509" y="2084"/>
                  <a:pt x="509" y="2117"/>
                </a:cubicBezTo>
                <a:cubicBezTo>
                  <a:pt x="509" y="2164"/>
                  <a:pt x="542" y="2196"/>
                  <a:pt x="589" y="2196"/>
                </a:cubicBezTo>
                <a:lnTo>
                  <a:pt x="717" y="2196"/>
                </a:lnTo>
                <a:cubicBezTo>
                  <a:pt x="764" y="2196"/>
                  <a:pt x="796" y="2164"/>
                  <a:pt x="796" y="2117"/>
                </a:cubicBezTo>
                <a:cubicBezTo>
                  <a:pt x="796" y="2084"/>
                  <a:pt x="764" y="2037"/>
                  <a:pt x="717" y="2037"/>
                </a:cubicBezTo>
                <a:close/>
                <a:moveTo>
                  <a:pt x="1114" y="2037"/>
                </a:moveTo>
                <a:lnTo>
                  <a:pt x="987" y="2037"/>
                </a:lnTo>
                <a:cubicBezTo>
                  <a:pt x="939" y="2037"/>
                  <a:pt x="908" y="2084"/>
                  <a:pt x="908" y="2117"/>
                </a:cubicBezTo>
                <a:cubicBezTo>
                  <a:pt x="908" y="2164"/>
                  <a:pt x="939" y="2196"/>
                  <a:pt x="987" y="2196"/>
                </a:cubicBezTo>
                <a:lnTo>
                  <a:pt x="1114" y="2196"/>
                </a:lnTo>
                <a:cubicBezTo>
                  <a:pt x="1146" y="2196"/>
                  <a:pt x="1194" y="2164"/>
                  <a:pt x="1194" y="2117"/>
                </a:cubicBezTo>
                <a:cubicBezTo>
                  <a:pt x="1194" y="2084"/>
                  <a:pt x="1146" y="2037"/>
                  <a:pt x="1114" y="2037"/>
                </a:cubicBezTo>
                <a:close/>
                <a:moveTo>
                  <a:pt x="717" y="2435"/>
                </a:moveTo>
                <a:lnTo>
                  <a:pt x="589" y="2435"/>
                </a:lnTo>
                <a:cubicBezTo>
                  <a:pt x="542" y="2435"/>
                  <a:pt x="509" y="2466"/>
                  <a:pt x="509" y="2514"/>
                </a:cubicBezTo>
                <a:cubicBezTo>
                  <a:pt x="509" y="2546"/>
                  <a:pt x="542" y="2594"/>
                  <a:pt x="589" y="2594"/>
                </a:cubicBezTo>
                <a:lnTo>
                  <a:pt x="717" y="2594"/>
                </a:lnTo>
                <a:cubicBezTo>
                  <a:pt x="764" y="2594"/>
                  <a:pt x="796" y="2546"/>
                  <a:pt x="796" y="2514"/>
                </a:cubicBezTo>
                <a:cubicBezTo>
                  <a:pt x="796" y="2466"/>
                  <a:pt x="764" y="2435"/>
                  <a:pt x="717" y="2435"/>
                </a:cubicBezTo>
                <a:close/>
                <a:moveTo>
                  <a:pt x="1114" y="2435"/>
                </a:moveTo>
                <a:lnTo>
                  <a:pt x="987" y="2435"/>
                </a:lnTo>
                <a:cubicBezTo>
                  <a:pt x="939" y="2435"/>
                  <a:pt x="908" y="2466"/>
                  <a:pt x="908" y="2514"/>
                </a:cubicBezTo>
                <a:cubicBezTo>
                  <a:pt x="908" y="2546"/>
                  <a:pt x="939" y="2594"/>
                  <a:pt x="987" y="2594"/>
                </a:cubicBezTo>
                <a:lnTo>
                  <a:pt x="1114" y="2594"/>
                </a:lnTo>
                <a:cubicBezTo>
                  <a:pt x="1146" y="2594"/>
                  <a:pt x="1194" y="2546"/>
                  <a:pt x="1194" y="2514"/>
                </a:cubicBezTo>
                <a:cubicBezTo>
                  <a:pt x="1194" y="2466"/>
                  <a:pt x="1146" y="2435"/>
                  <a:pt x="1114" y="2435"/>
                </a:cubicBezTo>
                <a:close/>
                <a:moveTo>
                  <a:pt x="717" y="2817"/>
                </a:moveTo>
                <a:lnTo>
                  <a:pt x="589" y="2817"/>
                </a:lnTo>
                <a:cubicBezTo>
                  <a:pt x="542" y="2817"/>
                  <a:pt x="509" y="2848"/>
                  <a:pt x="509" y="2896"/>
                </a:cubicBezTo>
                <a:cubicBezTo>
                  <a:pt x="509" y="2944"/>
                  <a:pt x="542" y="2975"/>
                  <a:pt x="589" y="2975"/>
                </a:cubicBezTo>
                <a:lnTo>
                  <a:pt x="717" y="2975"/>
                </a:lnTo>
                <a:cubicBezTo>
                  <a:pt x="764" y="2975"/>
                  <a:pt x="796" y="2944"/>
                  <a:pt x="796" y="2896"/>
                </a:cubicBezTo>
                <a:cubicBezTo>
                  <a:pt x="796" y="2848"/>
                  <a:pt x="764" y="2817"/>
                  <a:pt x="717" y="2817"/>
                </a:cubicBezTo>
                <a:close/>
                <a:moveTo>
                  <a:pt x="1114" y="2817"/>
                </a:moveTo>
                <a:lnTo>
                  <a:pt x="987" y="2817"/>
                </a:lnTo>
                <a:cubicBezTo>
                  <a:pt x="939" y="2817"/>
                  <a:pt x="908" y="2848"/>
                  <a:pt x="908" y="2896"/>
                </a:cubicBezTo>
                <a:cubicBezTo>
                  <a:pt x="908" y="2944"/>
                  <a:pt x="939" y="2975"/>
                  <a:pt x="987" y="2975"/>
                </a:cubicBezTo>
                <a:lnTo>
                  <a:pt x="1114" y="2975"/>
                </a:lnTo>
                <a:cubicBezTo>
                  <a:pt x="1146" y="2975"/>
                  <a:pt x="1194" y="2944"/>
                  <a:pt x="1194" y="2896"/>
                </a:cubicBezTo>
                <a:cubicBezTo>
                  <a:pt x="1194" y="2848"/>
                  <a:pt x="1146" y="2817"/>
                  <a:pt x="1114" y="2817"/>
                </a:cubicBezTo>
                <a:close/>
                <a:moveTo>
                  <a:pt x="717" y="3214"/>
                </a:moveTo>
                <a:lnTo>
                  <a:pt x="589" y="3214"/>
                </a:lnTo>
                <a:cubicBezTo>
                  <a:pt x="542" y="3214"/>
                  <a:pt x="509" y="3246"/>
                  <a:pt x="509" y="3294"/>
                </a:cubicBezTo>
                <a:cubicBezTo>
                  <a:pt x="509" y="3326"/>
                  <a:pt x="542" y="3373"/>
                  <a:pt x="589" y="3373"/>
                </a:cubicBezTo>
                <a:lnTo>
                  <a:pt x="717" y="3373"/>
                </a:lnTo>
                <a:cubicBezTo>
                  <a:pt x="764" y="3373"/>
                  <a:pt x="796" y="3326"/>
                  <a:pt x="796" y="3294"/>
                </a:cubicBezTo>
                <a:cubicBezTo>
                  <a:pt x="796" y="3246"/>
                  <a:pt x="764" y="3214"/>
                  <a:pt x="717" y="3214"/>
                </a:cubicBezTo>
                <a:close/>
                <a:moveTo>
                  <a:pt x="1114" y="3214"/>
                </a:moveTo>
                <a:lnTo>
                  <a:pt x="987" y="3214"/>
                </a:lnTo>
                <a:cubicBezTo>
                  <a:pt x="939" y="3214"/>
                  <a:pt x="908" y="3246"/>
                  <a:pt x="908" y="3294"/>
                </a:cubicBezTo>
                <a:cubicBezTo>
                  <a:pt x="908" y="3326"/>
                  <a:pt x="939" y="3373"/>
                  <a:pt x="987" y="3373"/>
                </a:cubicBezTo>
                <a:lnTo>
                  <a:pt x="1114" y="3373"/>
                </a:lnTo>
                <a:cubicBezTo>
                  <a:pt x="1146" y="3373"/>
                  <a:pt x="1194" y="3326"/>
                  <a:pt x="1194" y="3294"/>
                </a:cubicBezTo>
                <a:cubicBezTo>
                  <a:pt x="1194" y="3246"/>
                  <a:pt x="1146" y="3214"/>
                  <a:pt x="1114" y="3214"/>
                </a:cubicBezTo>
                <a:close/>
                <a:moveTo>
                  <a:pt x="717" y="3596"/>
                </a:moveTo>
                <a:lnTo>
                  <a:pt x="589" y="3596"/>
                </a:lnTo>
                <a:cubicBezTo>
                  <a:pt x="542" y="3596"/>
                  <a:pt x="509" y="3628"/>
                  <a:pt x="509" y="3675"/>
                </a:cubicBezTo>
                <a:cubicBezTo>
                  <a:pt x="509" y="3723"/>
                  <a:pt x="542" y="3755"/>
                  <a:pt x="589" y="3755"/>
                </a:cubicBezTo>
                <a:lnTo>
                  <a:pt x="717" y="3755"/>
                </a:lnTo>
                <a:cubicBezTo>
                  <a:pt x="764" y="3755"/>
                  <a:pt x="796" y="3723"/>
                  <a:pt x="796" y="3675"/>
                </a:cubicBezTo>
                <a:cubicBezTo>
                  <a:pt x="796" y="3628"/>
                  <a:pt x="764" y="3596"/>
                  <a:pt x="717" y="3596"/>
                </a:cubicBezTo>
                <a:close/>
                <a:moveTo>
                  <a:pt x="1114" y="3596"/>
                </a:moveTo>
                <a:lnTo>
                  <a:pt x="987" y="3596"/>
                </a:lnTo>
                <a:cubicBezTo>
                  <a:pt x="939" y="3596"/>
                  <a:pt x="908" y="3628"/>
                  <a:pt x="908" y="3675"/>
                </a:cubicBezTo>
                <a:cubicBezTo>
                  <a:pt x="908" y="3723"/>
                  <a:pt x="939" y="3755"/>
                  <a:pt x="987" y="3755"/>
                </a:cubicBezTo>
                <a:lnTo>
                  <a:pt x="1114" y="3755"/>
                </a:lnTo>
                <a:cubicBezTo>
                  <a:pt x="1146" y="3755"/>
                  <a:pt x="1194" y="3723"/>
                  <a:pt x="1194" y="3675"/>
                </a:cubicBezTo>
                <a:cubicBezTo>
                  <a:pt x="1194" y="3628"/>
                  <a:pt x="1146" y="3596"/>
                  <a:pt x="1114" y="3596"/>
                </a:cubicBezTo>
                <a:close/>
                <a:moveTo>
                  <a:pt x="1910" y="4519"/>
                </a:moveTo>
                <a:lnTo>
                  <a:pt x="2690" y="4519"/>
                </a:lnTo>
                <a:lnTo>
                  <a:pt x="3469" y="4519"/>
                </a:lnTo>
                <a:lnTo>
                  <a:pt x="4248" y="4519"/>
                </a:lnTo>
                <a:cubicBezTo>
                  <a:pt x="4296" y="4519"/>
                  <a:pt x="4328" y="4487"/>
                  <a:pt x="4328" y="4455"/>
                </a:cubicBezTo>
                <a:lnTo>
                  <a:pt x="4328" y="80"/>
                </a:lnTo>
                <a:cubicBezTo>
                  <a:pt x="4328" y="32"/>
                  <a:pt x="4296" y="0"/>
                  <a:pt x="4248" y="0"/>
                </a:cubicBezTo>
                <a:lnTo>
                  <a:pt x="1910" y="0"/>
                </a:lnTo>
                <a:cubicBezTo>
                  <a:pt x="1862" y="0"/>
                  <a:pt x="1830" y="32"/>
                  <a:pt x="1830" y="80"/>
                </a:cubicBezTo>
                <a:lnTo>
                  <a:pt x="1830" y="4455"/>
                </a:lnTo>
                <a:cubicBezTo>
                  <a:pt x="1830" y="4487"/>
                  <a:pt x="1862" y="4519"/>
                  <a:pt x="1910" y="4519"/>
                </a:cubicBezTo>
                <a:close/>
                <a:moveTo>
                  <a:pt x="2769" y="4376"/>
                </a:moveTo>
                <a:lnTo>
                  <a:pt x="2769" y="3278"/>
                </a:lnTo>
                <a:lnTo>
                  <a:pt x="3390" y="3278"/>
                </a:lnTo>
                <a:lnTo>
                  <a:pt x="3390" y="4376"/>
                </a:lnTo>
                <a:close/>
                <a:moveTo>
                  <a:pt x="1989" y="159"/>
                </a:moveTo>
                <a:lnTo>
                  <a:pt x="4169" y="159"/>
                </a:lnTo>
                <a:lnTo>
                  <a:pt x="4169" y="4376"/>
                </a:lnTo>
                <a:lnTo>
                  <a:pt x="3548" y="4376"/>
                </a:lnTo>
                <a:lnTo>
                  <a:pt x="3548" y="3198"/>
                </a:lnTo>
                <a:cubicBezTo>
                  <a:pt x="3548" y="3151"/>
                  <a:pt x="3517" y="3118"/>
                  <a:pt x="3469" y="3118"/>
                </a:cubicBezTo>
                <a:lnTo>
                  <a:pt x="2690" y="3118"/>
                </a:lnTo>
                <a:cubicBezTo>
                  <a:pt x="2642" y="3118"/>
                  <a:pt x="2610" y="3151"/>
                  <a:pt x="2610" y="3198"/>
                </a:cubicBezTo>
                <a:lnTo>
                  <a:pt x="2610" y="4376"/>
                </a:lnTo>
                <a:lnTo>
                  <a:pt x="1989" y="4376"/>
                </a:lnTo>
                <a:close/>
                <a:moveTo>
                  <a:pt x="2371" y="1560"/>
                </a:moveTo>
                <a:lnTo>
                  <a:pt x="2848" y="1560"/>
                </a:lnTo>
                <a:cubicBezTo>
                  <a:pt x="2896" y="1560"/>
                  <a:pt x="2928" y="1527"/>
                  <a:pt x="2928" y="1480"/>
                </a:cubicBezTo>
                <a:lnTo>
                  <a:pt x="2928" y="700"/>
                </a:lnTo>
                <a:cubicBezTo>
                  <a:pt x="2928" y="653"/>
                  <a:pt x="2896" y="621"/>
                  <a:pt x="2848" y="621"/>
                </a:cubicBezTo>
                <a:lnTo>
                  <a:pt x="2371" y="621"/>
                </a:lnTo>
                <a:cubicBezTo>
                  <a:pt x="2339" y="621"/>
                  <a:pt x="2291" y="653"/>
                  <a:pt x="2291" y="700"/>
                </a:cubicBezTo>
                <a:lnTo>
                  <a:pt x="2291" y="1480"/>
                </a:lnTo>
                <a:cubicBezTo>
                  <a:pt x="2291" y="1527"/>
                  <a:pt x="2339" y="1560"/>
                  <a:pt x="2371" y="1560"/>
                </a:cubicBezTo>
                <a:close/>
                <a:moveTo>
                  <a:pt x="2451" y="780"/>
                </a:moveTo>
                <a:lnTo>
                  <a:pt x="2769" y="780"/>
                </a:lnTo>
                <a:lnTo>
                  <a:pt x="2769" y="1400"/>
                </a:lnTo>
                <a:lnTo>
                  <a:pt x="2451" y="1400"/>
                </a:lnTo>
                <a:close/>
                <a:moveTo>
                  <a:pt x="3310" y="1560"/>
                </a:moveTo>
                <a:lnTo>
                  <a:pt x="3787" y="1560"/>
                </a:lnTo>
                <a:cubicBezTo>
                  <a:pt x="3819" y="1560"/>
                  <a:pt x="3867" y="1527"/>
                  <a:pt x="3867" y="1480"/>
                </a:cubicBezTo>
                <a:lnTo>
                  <a:pt x="3867" y="700"/>
                </a:lnTo>
                <a:cubicBezTo>
                  <a:pt x="3867" y="653"/>
                  <a:pt x="3819" y="621"/>
                  <a:pt x="3787" y="621"/>
                </a:cubicBezTo>
                <a:lnTo>
                  <a:pt x="3310" y="621"/>
                </a:lnTo>
                <a:cubicBezTo>
                  <a:pt x="3278" y="621"/>
                  <a:pt x="3230" y="653"/>
                  <a:pt x="3230" y="700"/>
                </a:cubicBezTo>
                <a:lnTo>
                  <a:pt x="3230" y="1480"/>
                </a:lnTo>
                <a:cubicBezTo>
                  <a:pt x="3230" y="1527"/>
                  <a:pt x="3278" y="1560"/>
                  <a:pt x="3310" y="1560"/>
                </a:cubicBezTo>
                <a:close/>
                <a:moveTo>
                  <a:pt x="3390" y="780"/>
                </a:moveTo>
                <a:lnTo>
                  <a:pt x="3708" y="780"/>
                </a:lnTo>
                <a:lnTo>
                  <a:pt x="3708" y="1400"/>
                </a:lnTo>
                <a:lnTo>
                  <a:pt x="3390" y="1400"/>
                </a:lnTo>
                <a:close/>
                <a:moveTo>
                  <a:pt x="2848" y="2817"/>
                </a:moveTo>
                <a:cubicBezTo>
                  <a:pt x="2896" y="2817"/>
                  <a:pt x="2928" y="2769"/>
                  <a:pt x="2928" y="2737"/>
                </a:cubicBezTo>
                <a:lnTo>
                  <a:pt x="2928" y="1957"/>
                </a:lnTo>
                <a:cubicBezTo>
                  <a:pt x="2928" y="1909"/>
                  <a:pt x="2896" y="1878"/>
                  <a:pt x="2848" y="1878"/>
                </a:cubicBezTo>
                <a:lnTo>
                  <a:pt x="2371" y="1878"/>
                </a:lnTo>
                <a:cubicBezTo>
                  <a:pt x="2339" y="1878"/>
                  <a:pt x="2291" y="1909"/>
                  <a:pt x="2291" y="1957"/>
                </a:cubicBezTo>
                <a:lnTo>
                  <a:pt x="2291" y="2737"/>
                </a:lnTo>
                <a:cubicBezTo>
                  <a:pt x="2291" y="2769"/>
                  <a:pt x="2339" y="2817"/>
                  <a:pt x="2371" y="2817"/>
                </a:cubicBezTo>
                <a:close/>
                <a:moveTo>
                  <a:pt x="2451" y="2037"/>
                </a:moveTo>
                <a:lnTo>
                  <a:pt x="2769" y="2037"/>
                </a:lnTo>
                <a:lnTo>
                  <a:pt x="2769" y="2657"/>
                </a:lnTo>
                <a:lnTo>
                  <a:pt x="2451" y="2657"/>
                </a:lnTo>
                <a:close/>
                <a:moveTo>
                  <a:pt x="3310" y="2817"/>
                </a:moveTo>
                <a:lnTo>
                  <a:pt x="3787" y="2817"/>
                </a:lnTo>
                <a:cubicBezTo>
                  <a:pt x="3819" y="2817"/>
                  <a:pt x="3867" y="2769"/>
                  <a:pt x="3867" y="2737"/>
                </a:cubicBezTo>
                <a:lnTo>
                  <a:pt x="3867" y="1957"/>
                </a:lnTo>
                <a:cubicBezTo>
                  <a:pt x="3867" y="1909"/>
                  <a:pt x="3819" y="1878"/>
                  <a:pt x="3787" y="1878"/>
                </a:cubicBezTo>
                <a:lnTo>
                  <a:pt x="3310" y="1878"/>
                </a:lnTo>
                <a:cubicBezTo>
                  <a:pt x="3278" y="1878"/>
                  <a:pt x="3230" y="1909"/>
                  <a:pt x="3230" y="1957"/>
                </a:cubicBezTo>
                <a:lnTo>
                  <a:pt x="3230" y="2737"/>
                </a:lnTo>
                <a:cubicBezTo>
                  <a:pt x="3230" y="2769"/>
                  <a:pt x="3278" y="2817"/>
                  <a:pt x="3310" y="2817"/>
                </a:cubicBezTo>
                <a:close/>
                <a:moveTo>
                  <a:pt x="3390" y="2037"/>
                </a:moveTo>
                <a:lnTo>
                  <a:pt x="3708" y="2037"/>
                </a:lnTo>
                <a:lnTo>
                  <a:pt x="3708" y="2657"/>
                </a:lnTo>
                <a:lnTo>
                  <a:pt x="3390" y="2657"/>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4" name="Freeform: Shape 13">
            <a:extLst>
              <a:ext uri="{FF2B5EF4-FFF2-40B4-BE49-F238E27FC236}">
                <a16:creationId xmlns:a16="http://schemas.microsoft.com/office/drawing/2014/main" id="{1501BEC7-AF05-2C4A-B230-68A097A19007}"/>
              </a:ext>
            </a:extLst>
          </p:cNvPr>
          <p:cNvSpPr/>
          <p:nvPr/>
        </p:nvSpPr>
        <p:spPr>
          <a:xfrm>
            <a:off x="5933525" y="6342274"/>
            <a:ext cx="1573560" cy="1458719"/>
          </a:xfrm>
          <a:custGeom>
            <a:avLst/>
            <a:gdLst/>
            <a:ahLst/>
            <a:cxnLst>
              <a:cxn ang="3cd4">
                <a:pos x="hc" y="t"/>
              </a:cxn>
              <a:cxn ang="cd2">
                <a:pos x="l" y="vc"/>
              </a:cxn>
              <a:cxn ang="cd4">
                <a:pos x="hc" y="b"/>
              </a:cxn>
              <a:cxn ang="0">
                <a:pos x="r" y="vc"/>
              </a:cxn>
            </a:cxnLst>
            <a:rect l="l" t="t" r="r" b="b"/>
            <a:pathLst>
              <a:path w="4372" h="4053">
                <a:moveTo>
                  <a:pt x="85" y="1651"/>
                </a:moveTo>
                <a:lnTo>
                  <a:pt x="4285" y="1651"/>
                </a:lnTo>
                <a:cubicBezTo>
                  <a:pt x="4317" y="1651"/>
                  <a:pt x="4349" y="1634"/>
                  <a:pt x="4365" y="1603"/>
                </a:cubicBezTo>
                <a:cubicBezTo>
                  <a:pt x="4381" y="1571"/>
                  <a:pt x="4365" y="1539"/>
                  <a:pt x="4333" y="1507"/>
                </a:cubicBezTo>
                <a:lnTo>
                  <a:pt x="2170" y="12"/>
                </a:lnTo>
                <a:cubicBezTo>
                  <a:pt x="2153" y="-4"/>
                  <a:pt x="2106" y="-4"/>
                  <a:pt x="2090" y="12"/>
                </a:cubicBezTo>
                <a:lnTo>
                  <a:pt x="37" y="1507"/>
                </a:lnTo>
                <a:cubicBezTo>
                  <a:pt x="6" y="1539"/>
                  <a:pt x="-10" y="1571"/>
                  <a:pt x="6" y="1603"/>
                </a:cubicBezTo>
                <a:cubicBezTo>
                  <a:pt x="6" y="1634"/>
                  <a:pt x="37" y="1651"/>
                  <a:pt x="85" y="1651"/>
                </a:cubicBezTo>
                <a:close/>
                <a:moveTo>
                  <a:pt x="2138" y="170"/>
                </a:moveTo>
                <a:lnTo>
                  <a:pt x="4031" y="1491"/>
                </a:lnTo>
                <a:lnTo>
                  <a:pt x="324" y="1491"/>
                </a:lnTo>
                <a:close/>
                <a:moveTo>
                  <a:pt x="149" y="3528"/>
                </a:moveTo>
                <a:lnTo>
                  <a:pt x="149" y="3973"/>
                </a:lnTo>
                <a:cubicBezTo>
                  <a:pt x="149" y="4021"/>
                  <a:pt x="180" y="4053"/>
                  <a:pt x="228" y="4053"/>
                </a:cubicBezTo>
                <a:lnTo>
                  <a:pt x="4126" y="4053"/>
                </a:lnTo>
                <a:cubicBezTo>
                  <a:pt x="4174" y="4053"/>
                  <a:pt x="4206" y="4021"/>
                  <a:pt x="4206" y="3973"/>
                </a:cubicBezTo>
                <a:lnTo>
                  <a:pt x="4206" y="3528"/>
                </a:lnTo>
                <a:cubicBezTo>
                  <a:pt x="4206" y="3480"/>
                  <a:pt x="4174" y="3448"/>
                  <a:pt x="4126" y="3448"/>
                </a:cubicBezTo>
                <a:lnTo>
                  <a:pt x="228" y="3448"/>
                </a:lnTo>
                <a:cubicBezTo>
                  <a:pt x="180" y="3448"/>
                  <a:pt x="149" y="3480"/>
                  <a:pt x="149" y="3528"/>
                </a:cubicBezTo>
                <a:close/>
                <a:moveTo>
                  <a:pt x="308" y="3607"/>
                </a:moveTo>
                <a:lnTo>
                  <a:pt x="4047" y="3607"/>
                </a:lnTo>
                <a:lnTo>
                  <a:pt x="4047" y="3894"/>
                </a:lnTo>
                <a:lnTo>
                  <a:pt x="308" y="3894"/>
                </a:lnTo>
                <a:close/>
                <a:moveTo>
                  <a:pt x="1119" y="3305"/>
                </a:moveTo>
                <a:cubicBezTo>
                  <a:pt x="1167" y="3305"/>
                  <a:pt x="1199" y="3273"/>
                  <a:pt x="1199" y="3225"/>
                </a:cubicBezTo>
                <a:lnTo>
                  <a:pt x="1199" y="2032"/>
                </a:lnTo>
                <a:cubicBezTo>
                  <a:pt x="1199" y="1984"/>
                  <a:pt x="1167" y="1952"/>
                  <a:pt x="1119" y="1952"/>
                </a:cubicBezTo>
                <a:lnTo>
                  <a:pt x="531" y="1952"/>
                </a:lnTo>
                <a:cubicBezTo>
                  <a:pt x="483" y="1952"/>
                  <a:pt x="451" y="1984"/>
                  <a:pt x="451" y="2032"/>
                </a:cubicBezTo>
                <a:lnTo>
                  <a:pt x="451" y="3225"/>
                </a:lnTo>
                <a:cubicBezTo>
                  <a:pt x="451" y="3273"/>
                  <a:pt x="483" y="3305"/>
                  <a:pt x="531" y="3305"/>
                </a:cubicBezTo>
                <a:close/>
                <a:moveTo>
                  <a:pt x="610" y="2112"/>
                </a:moveTo>
                <a:lnTo>
                  <a:pt x="1040" y="2112"/>
                </a:lnTo>
                <a:lnTo>
                  <a:pt x="1040" y="3146"/>
                </a:lnTo>
                <a:lnTo>
                  <a:pt x="610" y="3146"/>
                </a:lnTo>
                <a:close/>
                <a:moveTo>
                  <a:pt x="3824" y="3305"/>
                </a:moveTo>
                <a:cubicBezTo>
                  <a:pt x="3872" y="3305"/>
                  <a:pt x="3904" y="3273"/>
                  <a:pt x="3904" y="3225"/>
                </a:cubicBezTo>
                <a:lnTo>
                  <a:pt x="3904" y="2032"/>
                </a:lnTo>
                <a:cubicBezTo>
                  <a:pt x="3904" y="1984"/>
                  <a:pt x="3872" y="1952"/>
                  <a:pt x="3824" y="1952"/>
                </a:cubicBezTo>
                <a:lnTo>
                  <a:pt x="3219" y="1952"/>
                </a:lnTo>
                <a:cubicBezTo>
                  <a:pt x="3188" y="1952"/>
                  <a:pt x="3140" y="1984"/>
                  <a:pt x="3140" y="2032"/>
                </a:cubicBezTo>
                <a:lnTo>
                  <a:pt x="3140" y="3225"/>
                </a:lnTo>
                <a:cubicBezTo>
                  <a:pt x="3140" y="3273"/>
                  <a:pt x="3188" y="3305"/>
                  <a:pt x="3219" y="3305"/>
                </a:cubicBezTo>
                <a:close/>
                <a:moveTo>
                  <a:pt x="3299" y="2112"/>
                </a:moveTo>
                <a:lnTo>
                  <a:pt x="3744" y="2112"/>
                </a:lnTo>
                <a:lnTo>
                  <a:pt x="3744" y="3146"/>
                </a:lnTo>
                <a:lnTo>
                  <a:pt x="3299" y="3146"/>
                </a:lnTo>
                <a:close/>
                <a:moveTo>
                  <a:pt x="2472" y="3305"/>
                </a:moveTo>
                <a:cubicBezTo>
                  <a:pt x="2519" y="3305"/>
                  <a:pt x="2551" y="3273"/>
                  <a:pt x="2551" y="3225"/>
                </a:cubicBezTo>
                <a:lnTo>
                  <a:pt x="2551" y="2032"/>
                </a:lnTo>
                <a:cubicBezTo>
                  <a:pt x="2551" y="1984"/>
                  <a:pt x="2519" y="1952"/>
                  <a:pt x="2472" y="1952"/>
                </a:cubicBezTo>
                <a:lnTo>
                  <a:pt x="1867" y="1952"/>
                </a:lnTo>
                <a:cubicBezTo>
                  <a:pt x="1835" y="1952"/>
                  <a:pt x="1788" y="1984"/>
                  <a:pt x="1788" y="2032"/>
                </a:cubicBezTo>
                <a:lnTo>
                  <a:pt x="1788" y="3225"/>
                </a:lnTo>
                <a:cubicBezTo>
                  <a:pt x="1788" y="3273"/>
                  <a:pt x="1835" y="3305"/>
                  <a:pt x="1867" y="3305"/>
                </a:cubicBezTo>
                <a:close/>
                <a:moveTo>
                  <a:pt x="1947" y="2112"/>
                </a:moveTo>
                <a:lnTo>
                  <a:pt x="2392" y="2112"/>
                </a:lnTo>
                <a:lnTo>
                  <a:pt x="2392" y="3146"/>
                </a:lnTo>
                <a:lnTo>
                  <a:pt x="1947" y="314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Freeform: Shape 14">
            <a:extLst>
              <a:ext uri="{FF2B5EF4-FFF2-40B4-BE49-F238E27FC236}">
                <a16:creationId xmlns:a16="http://schemas.microsoft.com/office/drawing/2014/main" id="{F3B53675-AAA2-3B42-AEAB-608C613683D2}"/>
              </a:ext>
            </a:extLst>
          </p:cNvPr>
          <p:cNvSpPr/>
          <p:nvPr/>
        </p:nvSpPr>
        <p:spPr>
          <a:xfrm>
            <a:off x="14002580" y="6558274"/>
            <a:ext cx="1494360" cy="1620720"/>
          </a:xfrm>
          <a:custGeom>
            <a:avLst/>
            <a:gdLst/>
            <a:ahLst/>
            <a:cxnLst>
              <a:cxn ang="3cd4">
                <a:pos x="hc" y="t"/>
              </a:cxn>
              <a:cxn ang="cd2">
                <a:pos x="l" y="vc"/>
              </a:cxn>
              <a:cxn ang="cd4">
                <a:pos x="hc" y="b"/>
              </a:cxn>
              <a:cxn ang="0">
                <a:pos x="r" y="vc"/>
              </a:cxn>
            </a:cxnLst>
            <a:rect l="l" t="t" r="r" b="b"/>
            <a:pathLst>
              <a:path w="4152" h="4503">
                <a:moveTo>
                  <a:pt x="3564" y="2705"/>
                </a:moveTo>
                <a:lnTo>
                  <a:pt x="3134" y="2705"/>
                </a:lnTo>
                <a:cubicBezTo>
                  <a:pt x="3054" y="2705"/>
                  <a:pt x="2991" y="2769"/>
                  <a:pt x="2991" y="2848"/>
                </a:cubicBezTo>
                <a:lnTo>
                  <a:pt x="2991" y="3087"/>
                </a:lnTo>
                <a:cubicBezTo>
                  <a:pt x="2991" y="3166"/>
                  <a:pt x="3054" y="3230"/>
                  <a:pt x="3134" y="3230"/>
                </a:cubicBezTo>
                <a:lnTo>
                  <a:pt x="3564" y="3230"/>
                </a:lnTo>
                <a:cubicBezTo>
                  <a:pt x="3643" y="3230"/>
                  <a:pt x="3707" y="3166"/>
                  <a:pt x="3707" y="3087"/>
                </a:cubicBezTo>
                <a:lnTo>
                  <a:pt x="3707" y="2848"/>
                </a:lnTo>
                <a:cubicBezTo>
                  <a:pt x="3707" y="2769"/>
                  <a:pt x="3643" y="2705"/>
                  <a:pt x="3564" y="2705"/>
                </a:cubicBezTo>
                <a:close/>
                <a:moveTo>
                  <a:pt x="3548" y="3071"/>
                </a:moveTo>
                <a:lnTo>
                  <a:pt x="3150" y="3071"/>
                </a:lnTo>
                <a:lnTo>
                  <a:pt x="3150" y="2864"/>
                </a:lnTo>
                <a:lnTo>
                  <a:pt x="3548" y="2864"/>
                </a:lnTo>
                <a:close/>
                <a:moveTo>
                  <a:pt x="1018" y="2705"/>
                </a:moveTo>
                <a:lnTo>
                  <a:pt x="605" y="2705"/>
                </a:lnTo>
                <a:cubicBezTo>
                  <a:pt x="525" y="2705"/>
                  <a:pt x="461" y="2769"/>
                  <a:pt x="461" y="2848"/>
                </a:cubicBezTo>
                <a:lnTo>
                  <a:pt x="461" y="3087"/>
                </a:lnTo>
                <a:cubicBezTo>
                  <a:pt x="461" y="3166"/>
                  <a:pt x="525" y="3230"/>
                  <a:pt x="605" y="3230"/>
                </a:cubicBezTo>
                <a:lnTo>
                  <a:pt x="1018" y="3230"/>
                </a:lnTo>
                <a:cubicBezTo>
                  <a:pt x="1097" y="3230"/>
                  <a:pt x="1161" y="3166"/>
                  <a:pt x="1161" y="3087"/>
                </a:cubicBezTo>
                <a:lnTo>
                  <a:pt x="1161" y="2848"/>
                </a:lnTo>
                <a:cubicBezTo>
                  <a:pt x="1161" y="2769"/>
                  <a:pt x="1097" y="2705"/>
                  <a:pt x="1018" y="2705"/>
                </a:cubicBezTo>
                <a:close/>
                <a:moveTo>
                  <a:pt x="1002" y="3071"/>
                </a:moveTo>
                <a:lnTo>
                  <a:pt x="620" y="3071"/>
                </a:lnTo>
                <a:lnTo>
                  <a:pt x="620" y="2864"/>
                </a:lnTo>
                <a:lnTo>
                  <a:pt x="1002" y="2864"/>
                </a:lnTo>
                <a:close/>
                <a:moveTo>
                  <a:pt x="191" y="2052"/>
                </a:moveTo>
                <a:lnTo>
                  <a:pt x="270" y="2052"/>
                </a:lnTo>
                <a:lnTo>
                  <a:pt x="270" y="2451"/>
                </a:lnTo>
                <a:cubicBezTo>
                  <a:pt x="175" y="2530"/>
                  <a:pt x="95" y="2657"/>
                  <a:pt x="95" y="2816"/>
                </a:cubicBezTo>
                <a:lnTo>
                  <a:pt x="95" y="3516"/>
                </a:lnTo>
                <a:lnTo>
                  <a:pt x="95" y="3612"/>
                </a:lnTo>
                <a:lnTo>
                  <a:pt x="95" y="3978"/>
                </a:lnTo>
                <a:lnTo>
                  <a:pt x="95" y="4248"/>
                </a:lnTo>
                <a:cubicBezTo>
                  <a:pt x="95" y="4391"/>
                  <a:pt x="206" y="4503"/>
                  <a:pt x="350" y="4503"/>
                </a:cubicBezTo>
                <a:lnTo>
                  <a:pt x="716" y="4503"/>
                </a:lnTo>
                <a:cubicBezTo>
                  <a:pt x="859" y="4503"/>
                  <a:pt x="986" y="4391"/>
                  <a:pt x="986" y="4248"/>
                </a:cubicBezTo>
                <a:lnTo>
                  <a:pt x="986" y="4057"/>
                </a:lnTo>
                <a:lnTo>
                  <a:pt x="3182" y="4057"/>
                </a:lnTo>
                <a:lnTo>
                  <a:pt x="3182" y="4248"/>
                </a:lnTo>
                <a:cubicBezTo>
                  <a:pt x="3182" y="4391"/>
                  <a:pt x="3293" y="4503"/>
                  <a:pt x="3436" y="4503"/>
                </a:cubicBezTo>
                <a:lnTo>
                  <a:pt x="3802" y="4503"/>
                </a:lnTo>
                <a:cubicBezTo>
                  <a:pt x="3945" y="4503"/>
                  <a:pt x="4057" y="4391"/>
                  <a:pt x="4057" y="4248"/>
                </a:cubicBezTo>
                <a:lnTo>
                  <a:pt x="4057" y="3978"/>
                </a:lnTo>
                <a:lnTo>
                  <a:pt x="4057" y="3898"/>
                </a:lnTo>
                <a:lnTo>
                  <a:pt x="4057" y="3612"/>
                </a:lnTo>
                <a:lnTo>
                  <a:pt x="4057" y="3516"/>
                </a:lnTo>
                <a:lnTo>
                  <a:pt x="4057" y="2816"/>
                </a:lnTo>
                <a:cubicBezTo>
                  <a:pt x="4057" y="2657"/>
                  <a:pt x="3993" y="2530"/>
                  <a:pt x="3882" y="2451"/>
                </a:cubicBezTo>
                <a:lnTo>
                  <a:pt x="3882" y="2052"/>
                </a:lnTo>
                <a:lnTo>
                  <a:pt x="3961" y="2052"/>
                </a:lnTo>
                <a:cubicBezTo>
                  <a:pt x="4073" y="2052"/>
                  <a:pt x="4152" y="1973"/>
                  <a:pt x="4152" y="1862"/>
                </a:cubicBezTo>
                <a:lnTo>
                  <a:pt x="4152" y="1369"/>
                </a:lnTo>
                <a:cubicBezTo>
                  <a:pt x="4152" y="1257"/>
                  <a:pt x="4073" y="1178"/>
                  <a:pt x="3961" y="1178"/>
                </a:cubicBezTo>
                <a:lnTo>
                  <a:pt x="3882" y="1178"/>
                </a:lnTo>
                <a:lnTo>
                  <a:pt x="3882" y="271"/>
                </a:lnTo>
                <a:cubicBezTo>
                  <a:pt x="3882" y="112"/>
                  <a:pt x="3754" y="0"/>
                  <a:pt x="3596" y="0"/>
                </a:cubicBezTo>
                <a:lnTo>
                  <a:pt x="557" y="0"/>
                </a:lnTo>
                <a:cubicBezTo>
                  <a:pt x="397" y="0"/>
                  <a:pt x="270" y="112"/>
                  <a:pt x="270" y="271"/>
                </a:cubicBezTo>
                <a:lnTo>
                  <a:pt x="270" y="1178"/>
                </a:lnTo>
                <a:lnTo>
                  <a:pt x="191" y="1178"/>
                </a:lnTo>
                <a:cubicBezTo>
                  <a:pt x="95" y="1178"/>
                  <a:pt x="0" y="1257"/>
                  <a:pt x="0" y="1369"/>
                </a:cubicBezTo>
                <a:lnTo>
                  <a:pt x="0" y="1862"/>
                </a:lnTo>
                <a:cubicBezTo>
                  <a:pt x="0" y="1973"/>
                  <a:pt x="95" y="2052"/>
                  <a:pt x="191" y="2052"/>
                </a:cubicBezTo>
                <a:close/>
                <a:moveTo>
                  <a:pt x="3898" y="3612"/>
                </a:moveTo>
                <a:lnTo>
                  <a:pt x="3898" y="3898"/>
                </a:lnTo>
                <a:lnTo>
                  <a:pt x="254" y="3898"/>
                </a:lnTo>
                <a:lnTo>
                  <a:pt x="254" y="3612"/>
                </a:lnTo>
                <a:lnTo>
                  <a:pt x="254" y="3596"/>
                </a:lnTo>
                <a:lnTo>
                  <a:pt x="3898" y="3596"/>
                </a:lnTo>
                <a:close/>
                <a:moveTo>
                  <a:pt x="827" y="4057"/>
                </a:moveTo>
                <a:lnTo>
                  <a:pt x="827" y="4248"/>
                </a:lnTo>
                <a:cubicBezTo>
                  <a:pt x="827" y="4296"/>
                  <a:pt x="779" y="4343"/>
                  <a:pt x="716" y="4343"/>
                </a:cubicBezTo>
                <a:lnTo>
                  <a:pt x="350" y="4343"/>
                </a:lnTo>
                <a:cubicBezTo>
                  <a:pt x="302" y="4343"/>
                  <a:pt x="254" y="4296"/>
                  <a:pt x="254" y="4248"/>
                </a:cubicBezTo>
                <a:lnTo>
                  <a:pt x="254" y="4057"/>
                </a:lnTo>
                <a:close/>
                <a:moveTo>
                  <a:pt x="3802" y="4343"/>
                </a:moveTo>
                <a:lnTo>
                  <a:pt x="3436" y="4343"/>
                </a:lnTo>
                <a:cubicBezTo>
                  <a:pt x="3388" y="4343"/>
                  <a:pt x="3341" y="4296"/>
                  <a:pt x="3341" y="4248"/>
                </a:cubicBezTo>
                <a:lnTo>
                  <a:pt x="3341" y="4057"/>
                </a:lnTo>
                <a:lnTo>
                  <a:pt x="3898" y="4057"/>
                </a:lnTo>
                <a:lnTo>
                  <a:pt x="3898" y="4248"/>
                </a:lnTo>
                <a:cubicBezTo>
                  <a:pt x="3898" y="4296"/>
                  <a:pt x="3866" y="4343"/>
                  <a:pt x="3802" y="4343"/>
                </a:cubicBezTo>
                <a:close/>
                <a:moveTo>
                  <a:pt x="3898" y="3437"/>
                </a:moveTo>
                <a:lnTo>
                  <a:pt x="254" y="3437"/>
                </a:lnTo>
                <a:lnTo>
                  <a:pt x="254" y="2816"/>
                </a:lnTo>
                <a:cubicBezTo>
                  <a:pt x="254" y="2642"/>
                  <a:pt x="382" y="2514"/>
                  <a:pt x="557" y="2514"/>
                </a:cubicBezTo>
                <a:lnTo>
                  <a:pt x="716" y="2514"/>
                </a:lnTo>
                <a:cubicBezTo>
                  <a:pt x="763" y="2514"/>
                  <a:pt x="795" y="2482"/>
                  <a:pt x="795" y="2434"/>
                </a:cubicBezTo>
                <a:lnTo>
                  <a:pt x="843" y="2069"/>
                </a:lnTo>
                <a:cubicBezTo>
                  <a:pt x="986" y="2085"/>
                  <a:pt x="1400" y="2148"/>
                  <a:pt x="2084" y="2148"/>
                </a:cubicBezTo>
                <a:cubicBezTo>
                  <a:pt x="2768" y="2148"/>
                  <a:pt x="3166" y="2085"/>
                  <a:pt x="3309" y="2069"/>
                </a:cubicBezTo>
                <a:lnTo>
                  <a:pt x="3357" y="2434"/>
                </a:lnTo>
                <a:cubicBezTo>
                  <a:pt x="3373" y="2482"/>
                  <a:pt x="3405" y="2514"/>
                  <a:pt x="3436" y="2514"/>
                </a:cubicBezTo>
                <a:lnTo>
                  <a:pt x="3596" y="2514"/>
                </a:lnTo>
                <a:cubicBezTo>
                  <a:pt x="3770" y="2514"/>
                  <a:pt x="3898" y="2642"/>
                  <a:pt x="3898" y="2816"/>
                </a:cubicBezTo>
                <a:close/>
                <a:moveTo>
                  <a:pt x="875" y="1909"/>
                </a:moveTo>
                <a:lnTo>
                  <a:pt x="970" y="1194"/>
                </a:lnTo>
                <a:cubicBezTo>
                  <a:pt x="970" y="1130"/>
                  <a:pt x="1225" y="987"/>
                  <a:pt x="1988" y="987"/>
                </a:cubicBezTo>
                <a:cubicBezTo>
                  <a:pt x="2800" y="987"/>
                  <a:pt x="3166" y="1130"/>
                  <a:pt x="3197" y="1194"/>
                </a:cubicBezTo>
                <a:lnTo>
                  <a:pt x="3293" y="1909"/>
                </a:lnTo>
                <a:cubicBezTo>
                  <a:pt x="3166" y="1925"/>
                  <a:pt x="2752" y="1989"/>
                  <a:pt x="2084" y="1989"/>
                </a:cubicBezTo>
                <a:cubicBezTo>
                  <a:pt x="1400" y="1989"/>
                  <a:pt x="1002" y="1925"/>
                  <a:pt x="875" y="1909"/>
                </a:cubicBezTo>
                <a:close/>
                <a:moveTo>
                  <a:pt x="3993" y="1369"/>
                </a:moveTo>
                <a:lnTo>
                  <a:pt x="3993" y="1862"/>
                </a:lnTo>
                <a:cubicBezTo>
                  <a:pt x="3993" y="1878"/>
                  <a:pt x="3977" y="1894"/>
                  <a:pt x="3961" y="1894"/>
                </a:cubicBezTo>
                <a:lnTo>
                  <a:pt x="3818" y="1894"/>
                </a:lnTo>
                <a:cubicBezTo>
                  <a:pt x="3802" y="1894"/>
                  <a:pt x="3787" y="1878"/>
                  <a:pt x="3787" y="1862"/>
                </a:cubicBezTo>
                <a:lnTo>
                  <a:pt x="3787" y="1369"/>
                </a:lnTo>
                <a:cubicBezTo>
                  <a:pt x="3787" y="1352"/>
                  <a:pt x="3802" y="1337"/>
                  <a:pt x="3818" y="1337"/>
                </a:cubicBezTo>
                <a:lnTo>
                  <a:pt x="3961" y="1337"/>
                </a:lnTo>
                <a:cubicBezTo>
                  <a:pt x="3977" y="1337"/>
                  <a:pt x="3993" y="1352"/>
                  <a:pt x="3993" y="1369"/>
                </a:cubicBezTo>
                <a:close/>
                <a:moveTo>
                  <a:pt x="557" y="143"/>
                </a:moveTo>
                <a:lnTo>
                  <a:pt x="3596" y="143"/>
                </a:lnTo>
                <a:cubicBezTo>
                  <a:pt x="3675" y="143"/>
                  <a:pt x="3723" y="207"/>
                  <a:pt x="3723" y="271"/>
                </a:cubicBezTo>
                <a:lnTo>
                  <a:pt x="3723" y="1194"/>
                </a:lnTo>
                <a:cubicBezTo>
                  <a:pt x="3675" y="1241"/>
                  <a:pt x="3627" y="1289"/>
                  <a:pt x="3627" y="1369"/>
                </a:cubicBezTo>
                <a:lnTo>
                  <a:pt x="3627" y="1862"/>
                </a:lnTo>
                <a:cubicBezTo>
                  <a:pt x="3627" y="1925"/>
                  <a:pt x="3675" y="1989"/>
                  <a:pt x="3723" y="2021"/>
                </a:cubicBezTo>
                <a:lnTo>
                  <a:pt x="3723" y="2371"/>
                </a:lnTo>
                <a:cubicBezTo>
                  <a:pt x="3691" y="2355"/>
                  <a:pt x="3643" y="2355"/>
                  <a:pt x="3596" y="2355"/>
                </a:cubicBezTo>
                <a:lnTo>
                  <a:pt x="3516" y="2355"/>
                </a:lnTo>
                <a:lnTo>
                  <a:pt x="3357" y="1178"/>
                </a:lnTo>
                <a:cubicBezTo>
                  <a:pt x="3325" y="843"/>
                  <a:pt x="2132" y="828"/>
                  <a:pt x="1988" y="828"/>
                </a:cubicBezTo>
                <a:cubicBezTo>
                  <a:pt x="1559" y="828"/>
                  <a:pt x="827" y="875"/>
                  <a:pt x="811" y="1178"/>
                </a:cubicBezTo>
                <a:lnTo>
                  <a:pt x="652" y="2355"/>
                </a:lnTo>
                <a:lnTo>
                  <a:pt x="557" y="2355"/>
                </a:lnTo>
                <a:cubicBezTo>
                  <a:pt x="509" y="2355"/>
                  <a:pt x="477" y="2355"/>
                  <a:pt x="429" y="2371"/>
                </a:cubicBezTo>
                <a:lnTo>
                  <a:pt x="429" y="2021"/>
                </a:lnTo>
                <a:cubicBezTo>
                  <a:pt x="493" y="1989"/>
                  <a:pt x="525" y="1925"/>
                  <a:pt x="525" y="1862"/>
                </a:cubicBezTo>
                <a:lnTo>
                  <a:pt x="525" y="1369"/>
                </a:lnTo>
                <a:cubicBezTo>
                  <a:pt x="525" y="1289"/>
                  <a:pt x="493" y="1241"/>
                  <a:pt x="429" y="1194"/>
                </a:cubicBezTo>
                <a:lnTo>
                  <a:pt x="429" y="271"/>
                </a:lnTo>
                <a:cubicBezTo>
                  <a:pt x="429" y="207"/>
                  <a:pt x="493" y="143"/>
                  <a:pt x="557" y="143"/>
                </a:cubicBezTo>
                <a:close/>
                <a:moveTo>
                  <a:pt x="159" y="1369"/>
                </a:moveTo>
                <a:cubicBezTo>
                  <a:pt x="159" y="1352"/>
                  <a:pt x="175" y="1337"/>
                  <a:pt x="191" y="1337"/>
                </a:cubicBezTo>
                <a:lnTo>
                  <a:pt x="334" y="1337"/>
                </a:lnTo>
                <a:cubicBezTo>
                  <a:pt x="350" y="1337"/>
                  <a:pt x="366" y="1352"/>
                  <a:pt x="366" y="1369"/>
                </a:cubicBezTo>
                <a:lnTo>
                  <a:pt x="366" y="1862"/>
                </a:lnTo>
                <a:cubicBezTo>
                  <a:pt x="366" y="1878"/>
                  <a:pt x="350" y="1894"/>
                  <a:pt x="334" y="1894"/>
                </a:cubicBezTo>
                <a:lnTo>
                  <a:pt x="191" y="1894"/>
                </a:lnTo>
                <a:cubicBezTo>
                  <a:pt x="175" y="1894"/>
                  <a:pt x="159" y="1878"/>
                  <a:pt x="159" y="1862"/>
                </a:cubicBezTo>
                <a:close/>
                <a:moveTo>
                  <a:pt x="2561" y="2355"/>
                </a:moveTo>
                <a:lnTo>
                  <a:pt x="1591" y="2355"/>
                </a:lnTo>
                <a:cubicBezTo>
                  <a:pt x="1463" y="2355"/>
                  <a:pt x="1368" y="2451"/>
                  <a:pt x="1368" y="2578"/>
                </a:cubicBezTo>
                <a:lnTo>
                  <a:pt x="1368" y="3007"/>
                </a:lnTo>
                <a:cubicBezTo>
                  <a:pt x="1368" y="3134"/>
                  <a:pt x="1463" y="3230"/>
                  <a:pt x="1591" y="3230"/>
                </a:cubicBezTo>
                <a:lnTo>
                  <a:pt x="2561" y="3230"/>
                </a:lnTo>
                <a:cubicBezTo>
                  <a:pt x="2688" y="3230"/>
                  <a:pt x="2800" y="3134"/>
                  <a:pt x="2800" y="3007"/>
                </a:cubicBezTo>
                <a:lnTo>
                  <a:pt x="2800" y="2578"/>
                </a:lnTo>
                <a:cubicBezTo>
                  <a:pt x="2800" y="2451"/>
                  <a:pt x="2688" y="2355"/>
                  <a:pt x="2561" y="2355"/>
                </a:cubicBezTo>
                <a:close/>
                <a:moveTo>
                  <a:pt x="2641" y="3007"/>
                </a:moveTo>
                <a:cubicBezTo>
                  <a:pt x="2641" y="3039"/>
                  <a:pt x="2609" y="3071"/>
                  <a:pt x="2561" y="3071"/>
                </a:cubicBezTo>
                <a:lnTo>
                  <a:pt x="1591" y="3071"/>
                </a:lnTo>
                <a:cubicBezTo>
                  <a:pt x="1559" y="3071"/>
                  <a:pt x="1527" y="3039"/>
                  <a:pt x="1527" y="3007"/>
                </a:cubicBezTo>
                <a:lnTo>
                  <a:pt x="1527" y="2578"/>
                </a:lnTo>
                <a:cubicBezTo>
                  <a:pt x="1527" y="2546"/>
                  <a:pt x="1559" y="2514"/>
                  <a:pt x="1591" y="2514"/>
                </a:cubicBezTo>
                <a:lnTo>
                  <a:pt x="2561" y="2514"/>
                </a:lnTo>
                <a:cubicBezTo>
                  <a:pt x="2609" y="2514"/>
                  <a:pt x="2641" y="2546"/>
                  <a:pt x="2641" y="257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6" name="Freeform: Shape 15">
            <a:extLst>
              <a:ext uri="{FF2B5EF4-FFF2-40B4-BE49-F238E27FC236}">
                <a16:creationId xmlns:a16="http://schemas.microsoft.com/office/drawing/2014/main" id="{5F6AFB9B-FD06-2542-A6ED-8B3B98EC85BD}"/>
              </a:ext>
            </a:extLst>
          </p:cNvPr>
          <p:cNvSpPr/>
          <p:nvPr/>
        </p:nvSpPr>
        <p:spPr>
          <a:xfrm>
            <a:off x="9747738" y="6426514"/>
            <a:ext cx="2280600" cy="1448999"/>
          </a:xfrm>
          <a:custGeom>
            <a:avLst/>
            <a:gdLst/>
            <a:ahLst/>
            <a:cxnLst>
              <a:cxn ang="3cd4">
                <a:pos x="hc" y="t"/>
              </a:cxn>
              <a:cxn ang="cd2">
                <a:pos x="l" y="vc"/>
              </a:cxn>
              <a:cxn ang="cd4">
                <a:pos x="hc" y="b"/>
              </a:cxn>
              <a:cxn ang="0">
                <a:pos x="r" y="vc"/>
              </a:cxn>
            </a:cxnLst>
            <a:rect l="l" t="t" r="r" b="b"/>
            <a:pathLst>
              <a:path w="6336" h="4026">
                <a:moveTo>
                  <a:pt x="6332" y="1560"/>
                </a:moveTo>
                <a:cubicBezTo>
                  <a:pt x="6332" y="1384"/>
                  <a:pt x="6252" y="1289"/>
                  <a:pt x="6078" y="1289"/>
                </a:cubicBezTo>
                <a:cubicBezTo>
                  <a:pt x="4837" y="1289"/>
                  <a:pt x="4837" y="1289"/>
                  <a:pt x="4837" y="1289"/>
                </a:cubicBezTo>
                <a:cubicBezTo>
                  <a:pt x="4678" y="1289"/>
                  <a:pt x="4566" y="1321"/>
                  <a:pt x="4471" y="1400"/>
                </a:cubicBezTo>
                <a:cubicBezTo>
                  <a:pt x="4439" y="1432"/>
                  <a:pt x="4391" y="1512"/>
                  <a:pt x="4343" y="1607"/>
                </a:cubicBezTo>
                <a:cubicBezTo>
                  <a:pt x="4216" y="1814"/>
                  <a:pt x="4057" y="2132"/>
                  <a:pt x="3755" y="2180"/>
                </a:cubicBezTo>
                <a:cubicBezTo>
                  <a:pt x="3755" y="1591"/>
                  <a:pt x="3755" y="1591"/>
                  <a:pt x="3755" y="1591"/>
                </a:cubicBezTo>
                <a:cubicBezTo>
                  <a:pt x="3755" y="1544"/>
                  <a:pt x="3723" y="1512"/>
                  <a:pt x="3675" y="1512"/>
                </a:cubicBezTo>
                <a:cubicBezTo>
                  <a:pt x="2991" y="1512"/>
                  <a:pt x="2991" y="1512"/>
                  <a:pt x="2991" y="1512"/>
                </a:cubicBezTo>
                <a:cubicBezTo>
                  <a:pt x="2959" y="1512"/>
                  <a:pt x="2912" y="1544"/>
                  <a:pt x="2912" y="1591"/>
                </a:cubicBezTo>
                <a:cubicBezTo>
                  <a:pt x="2912" y="2180"/>
                  <a:pt x="2912" y="2180"/>
                  <a:pt x="2912" y="2180"/>
                </a:cubicBezTo>
                <a:cubicBezTo>
                  <a:pt x="2721" y="2180"/>
                  <a:pt x="2721" y="2180"/>
                  <a:pt x="2721" y="2180"/>
                </a:cubicBezTo>
                <a:cubicBezTo>
                  <a:pt x="2721" y="1591"/>
                  <a:pt x="2721" y="1591"/>
                  <a:pt x="2721" y="1591"/>
                </a:cubicBezTo>
                <a:cubicBezTo>
                  <a:pt x="2721" y="1544"/>
                  <a:pt x="2689" y="1512"/>
                  <a:pt x="2641" y="1512"/>
                </a:cubicBezTo>
                <a:cubicBezTo>
                  <a:pt x="1957" y="1512"/>
                  <a:pt x="1957" y="1512"/>
                  <a:pt x="1957" y="1512"/>
                </a:cubicBezTo>
                <a:cubicBezTo>
                  <a:pt x="1909" y="1512"/>
                  <a:pt x="1878" y="1544"/>
                  <a:pt x="1878" y="1591"/>
                </a:cubicBezTo>
                <a:cubicBezTo>
                  <a:pt x="1878" y="2180"/>
                  <a:pt x="1878" y="2180"/>
                  <a:pt x="1878" y="2180"/>
                </a:cubicBezTo>
                <a:cubicBezTo>
                  <a:pt x="1702" y="2180"/>
                  <a:pt x="1702" y="2180"/>
                  <a:pt x="1702" y="2180"/>
                </a:cubicBezTo>
                <a:cubicBezTo>
                  <a:pt x="1702" y="1273"/>
                  <a:pt x="1702" y="1273"/>
                  <a:pt x="1702" y="1273"/>
                </a:cubicBezTo>
                <a:cubicBezTo>
                  <a:pt x="1941" y="1035"/>
                  <a:pt x="1941" y="1035"/>
                  <a:pt x="1941" y="1035"/>
                </a:cubicBezTo>
                <a:cubicBezTo>
                  <a:pt x="1957" y="1018"/>
                  <a:pt x="1957" y="1003"/>
                  <a:pt x="1957" y="987"/>
                </a:cubicBezTo>
                <a:cubicBezTo>
                  <a:pt x="1957" y="716"/>
                  <a:pt x="1957" y="716"/>
                  <a:pt x="1957" y="716"/>
                </a:cubicBezTo>
                <a:cubicBezTo>
                  <a:pt x="1957" y="684"/>
                  <a:pt x="1925" y="637"/>
                  <a:pt x="1878" y="637"/>
                </a:cubicBezTo>
                <a:cubicBezTo>
                  <a:pt x="1305" y="637"/>
                  <a:pt x="1305" y="637"/>
                  <a:pt x="1305" y="637"/>
                </a:cubicBezTo>
                <a:cubicBezTo>
                  <a:pt x="1305" y="637"/>
                  <a:pt x="1321" y="621"/>
                  <a:pt x="1321" y="589"/>
                </a:cubicBezTo>
                <a:cubicBezTo>
                  <a:pt x="1321" y="80"/>
                  <a:pt x="1321" y="80"/>
                  <a:pt x="1321" y="80"/>
                </a:cubicBezTo>
                <a:cubicBezTo>
                  <a:pt x="1321" y="32"/>
                  <a:pt x="1273" y="0"/>
                  <a:pt x="1241" y="0"/>
                </a:cubicBezTo>
                <a:cubicBezTo>
                  <a:pt x="1193" y="0"/>
                  <a:pt x="1161" y="32"/>
                  <a:pt x="1161" y="80"/>
                </a:cubicBezTo>
                <a:cubicBezTo>
                  <a:pt x="1161" y="589"/>
                  <a:pt x="1161" y="589"/>
                  <a:pt x="1161" y="589"/>
                </a:cubicBezTo>
                <a:cubicBezTo>
                  <a:pt x="1161" y="621"/>
                  <a:pt x="1161" y="637"/>
                  <a:pt x="1178" y="637"/>
                </a:cubicBezTo>
                <a:cubicBezTo>
                  <a:pt x="589" y="637"/>
                  <a:pt x="589" y="637"/>
                  <a:pt x="589" y="637"/>
                </a:cubicBezTo>
                <a:cubicBezTo>
                  <a:pt x="541" y="637"/>
                  <a:pt x="509" y="684"/>
                  <a:pt x="509" y="716"/>
                </a:cubicBezTo>
                <a:cubicBezTo>
                  <a:pt x="509" y="2180"/>
                  <a:pt x="509" y="2180"/>
                  <a:pt x="509" y="2180"/>
                </a:cubicBezTo>
                <a:cubicBezTo>
                  <a:pt x="334" y="2180"/>
                  <a:pt x="334" y="2180"/>
                  <a:pt x="334" y="2180"/>
                </a:cubicBezTo>
                <a:cubicBezTo>
                  <a:pt x="159" y="2180"/>
                  <a:pt x="0" y="2355"/>
                  <a:pt x="0" y="2514"/>
                </a:cubicBezTo>
                <a:cubicBezTo>
                  <a:pt x="0" y="2896"/>
                  <a:pt x="0" y="2896"/>
                  <a:pt x="0" y="2896"/>
                </a:cubicBezTo>
                <a:cubicBezTo>
                  <a:pt x="0" y="3135"/>
                  <a:pt x="270" y="3564"/>
                  <a:pt x="668" y="3803"/>
                </a:cubicBezTo>
                <a:cubicBezTo>
                  <a:pt x="541" y="3835"/>
                  <a:pt x="414" y="3851"/>
                  <a:pt x="318" y="3851"/>
                </a:cubicBezTo>
                <a:cubicBezTo>
                  <a:pt x="239" y="3851"/>
                  <a:pt x="175" y="3851"/>
                  <a:pt x="96" y="3835"/>
                </a:cubicBezTo>
                <a:cubicBezTo>
                  <a:pt x="48" y="3835"/>
                  <a:pt x="0" y="3851"/>
                  <a:pt x="0" y="3898"/>
                </a:cubicBezTo>
                <a:cubicBezTo>
                  <a:pt x="0" y="3946"/>
                  <a:pt x="16" y="3978"/>
                  <a:pt x="64" y="3994"/>
                </a:cubicBezTo>
                <a:cubicBezTo>
                  <a:pt x="159" y="4009"/>
                  <a:pt x="239" y="4009"/>
                  <a:pt x="318" y="4009"/>
                </a:cubicBezTo>
                <a:cubicBezTo>
                  <a:pt x="525" y="4009"/>
                  <a:pt x="812" y="3962"/>
                  <a:pt x="1034" y="3803"/>
                </a:cubicBezTo>
                <a:cubicBezTo>
                  <a:pt x="1241" y="3962"/>
                  <a:pt x="1527" y="4009"/>
                  <a:pt x="1734" y="4009"/>
                </a:cubicBezTo>
                <a:cubicBezTo>
                  <a:pt x="1941" y="4009"/>
                  <a:pt x="2227" y="3962"/>
                  <a:pt x="2450" y="3803"/>
                </a:cubicBezTo>
                <a:cubicBezTo>
                  <a:pt x="2673" y="3962"/>
                  <a:pt x="2959" y="4009"/>
                  <a:pt x="3166" y="4009"/>
                </a:cubicBezTo>
                <a:cubicBezTo>
                  <a:pt x="3373" y="4009"/>
                  <a:pt x="3660" y="3962"/>
                  <a:pt x="3882" y="3803"/>
                </a:cubicBezTo>
                <a:cubicBezTo>
                  <a:pt x="4073" y="3946"/>
                  <a:pt x="4343" y="4009"/>
                  <a:pt x="4550" y="4009"/>
                </a:cubicBezTo>
                <a:cubicBezTo>
                  <a:pt x="4550" y="4009"/>
                  <a:pt x="4566" y="4026"/>
                  <a:pt x="4582" y="4026"/>
                </a:cubicBezTo>
                <a:cubicBezTo>
                  <a:pt x="4614" y="4026"/>
                  <a:pt x="4661" y="4009"/>
                  <a:pt x="4694" y="4009"/>
                </a:cubicBezTo>
                <a:cubicBezTo>
                  <a:pt x="4884" y="3994"/>
                  <a:pt x="5123" y="3930"/>
                  <a:pt x="5298" y="3803"/>
                </a:cubicBezTo>
                <a:cubicBezTo>
                  <a:pt x="5521" y="3962"/>
                  <a:pt x="5807" y="4009"/>
                  <a:pt x="6014" y="4009"/>
                </a:cubicBezTo>
                <a:cubicBezTo>
                  <a:pt x="6109" y="4009"/>
                  <a:pt x="6205" y="3994"/>
                  <a:pt x="6285" y="3962"/>
                </a:cubicBezTo>
                <a:cubicBezTo>
                  <a:pt x="6316" y="3962"/>
                  <a:pt x="6348" y="3914"/>
                  <a:pt x="6332" y="3866"/>
                </a:cubicBezTo>
                <a:cubicBezTo>
                  <a:pt x="6316" y="3835"/>
                  <a:pt x="6269" y="3803"/>
                  <a:pt x="6221" y="3819"/>
                </a:cubicBezTo>
                <a:cubicBezTo>
                  <a:pt x="6157" y="3835"/>
                  <a:pt x="6094" y="3851"/>
                  <a:pt x="6014" y="3851"/>
                </a:cubicBezTo>
                <a:cubicBezTo>
                  <a:pt x="5823" y="3851"/>
                  <a:pt x="5537" y="3803"/>
                  <a:pt x="5346" y="3644"/>
                </a:cubicBezTo>
                <a:cubicBezTo>
                  <a:pt x="5346" y="3644"/>
                  <a:pt x="5330" y="3644"/>
                  <a:pt x="5314" y="3628"/>
                </a:cubicBezTo>
                <a:cubicBezTo>
                  <a:pt x="5855" y="3118"/>
                  <a:pt x="6332" y="2196"/>
                  <a:pt x="6332" y="1560"/>
                </a:cubicBezTo>
                <a:close/>
                <a:moveTo>
                  <a:pt x="3070" y="1671"/>
                </a:moveTo>
                <a:cubicBezTo>
                  <a:pt x="3596" y="1671"/>
                  <a:pt x="3596" y="1671"/>
                  <a:pt x="3596" y="1671"/>
                </a:cubicBezTo>
                <a:cubicBezTo>
                  <a:pt x="3596" y="2180"/>
                  <a:pt x="3596" y="2180"/>
                  <a:pt x="3596" y="2180"/>
                </a:cubicBezTo>
                <a:cubicBezTo>
                  <a:pt x="3070" y="2180"/>
                  <a:pt x="3070" y="2180"/>
                  <a:pt x="3070" y="2180"/>
                </a:cubicBezTo>
                <a:close/>
                <a:moveTo>
                  <a:pt x="2036" y="1671"/>
                </a:moveTo>
                <a:cubicBezTo>
                  <a:pt x="2561" y="1671"/>
                  <a:pt x="2561" y="1671"/>
                  <a:pt x="2561" y="1671"/>
                </a:cubicBezTo>
                <a:cubicBezTo>
                  <a:pt x="2561" y="2180"/>
                  <a:pt x="2561" y="2180"/>
                  <a:pt x="2561" y="2180"/>
                </a:cubicBezTo>
                <a:cubicBezTo>
                  <a:pt x="2036" y="2180"/>
                  <a:pt x="2036" y="2180"/>
                  <a:pt x="2036" y="2180"/>
                </a:cubicBezTo>
                <a:close/>
                <a:moveTo>
                  <a:pt x="668" y="796"/>
                </a:moveTo>
                <a:cubicBezTo>
                  <a:pt x="1798" y="796"/>
                  <a:pt x="1798" y="796"/>
                  <a:pt x="1798" y="796"/>
                </a:cubicBezTo>
                <a:cubicBezTo>
                  <a:pt x="1798" y="955"/>
                  <a:pt x="1798" y="955"/>
                  <a:pt x="1798" y="955"/>
                </a:cubicBezTo>
                <a:cubicBezTo>
                  <a:pt x="1559" y="1178"/>
                  <a:pt x="1559" y="1178"/>
                  <a:pt x="1559" y="1178"/>
                </a:cubicBezTo>
                <a:cubicBezTo>
                  <a:pt x="1543" y="1194"/>
                  <a:pt x="1543" y="1209"/>
                  <a:pt x="1543" y="1241"/>
                </a:cubicBezTo>
                <a:cubicBezTo>
                  <a:pt x="1543" y="2180"/>
                  <a:pt x="1543" y="2180"/>
                  <a:pt x="1543" y="2180"/>
                </a:cubicBezTo>
                <a:cubicBezTo>
                  <a:pt x="668" y="2180"/>
                  <a:pt x="668" y="2180"/>
                  <a:pt x="668" y="2180"/>
                </a:cubicBezTo>
                <a:close/>
                <a:moveTo>
                  <a:pt x="3834" y="3644"/>
                </a:moveTo>
                <a:cubicBezTo>
                  <a:pt x="3643" y="3803"/>
                  <a:pt x="3357" y="3851"/>
                  <a:pt x="3166" y="3851"/>
                </a:cubicBezTo>
                <a:cubicBezTo>
                  <a:pt x="2975" y="3851"/>
                  <a:pt x="2689" y="3803"/>
                  <a:pt x="2498" y="3644"/>
                </a:cubicBezTo>
                <a:cubicBezTo>
                  <a:pt x="2466" y="3628"/>
                  <a:pt x="2434" y="3628"/>
                  <a:pt x="2403" y="3644"/>
                </a:cubicBezTo>
                <a:cubicBezTo>
                  <a:pt x="2212" y="3803"/>
                  <a:pt x="1925" y="3851"/>
                  <a:pt x="1734" y="3851"/>
                </a:cubicBezTo>
                <a:cubicBezTo>
                  <a:pt x="1559" y="3851"/>
                  <a:pt x="1273" y="3803"/>
                  <a:pt x="1082" y="3644"/>
                </a:cubicBezTo>
                <a:cubicBezTo>
                  <a:pt x="1050" y="3628"/>
                  <a:pt x="1002" y="3628"/>
                  <a:pt x="987" y="3644"/>
                </a:cubicBezTo>
                <a:cubicBezTo>
                  <a:pt x="939" y="3691"/>
                  <a:pt x="891" y="3708"/>
                  <a:pt x="827" y="3739"/>
                </a:cubicBezTo>
                <a:cubicBezTo>
                  <a:pt x="827" y="3723"/>
                  <a:pt x="812" y="3708"/>
                  <a:pt x="796" y="3691"/>
                </a:cubicBezTo>
                <a:cubicBezTo>
                  <a:pt x="382" y="3469"/>
                  <a:pt x="159" y="3055"/>
                  <a:pt x="159" y="2896"/>
                </a:cubicBezTo>
                <a:cubicBezTo>
                  <a:pt x="159" y="2514"/>
                  <a:pt x="159" y="2514"/>
                  <a:pt x="159" y="2514"/>
                </a:cubicBezTo>
                <a:cubicBezTo>
                  <a:pt x="159" y="2451"/>
                  <a:pt x="239" y="2339"/>
                  <a:pt x="334" y="2339"/>
                </a:cubicBezTo>
                <a:cubicBezTo>
                  <a:pt x="589" y="2339"/>
                  <a:pt x="589" y="2339"/>
                  <a:pt x="589" y="2339"/>
                </a:cubicBezTo>
                <a:cubicBezTo>
                  <a:pt x="1623" y="2339"/>
                  <a:pt x="1623" y="2339"/>
                  <a:pt x="1623" y="2339"/>
                </a:cubicBezTo>
                <a:cubicBezTo>
                  <a:pt x="1957" y="2339"/>
                  <a:pt x="1957" y="2339"/>
                  <a:pt x="1957" y="2339"/>
                </a:cubicBezTo>
                <a:cubicBezTo>
                  <a:pt x="2641" y="2339"/>
                  <a:pt x="2641" y="2339"/>
                  <a:pt x="2641" y="2339"/>
                </a:cubicBezTo>
                <a:cubicBezTo>
                  <a:pt x="2991" y="2339"/>
                  <a:pt x="2991" y="2339"/>
                  <a:pt x="2991" y="2339"/>
                </a:cubicBezTo>
                <a:cubicBezTo>
                  <a:pt x="3675" y="2339"/>
                  <a:pt x="3675" y="2339"/>
                  <a:pt x="3675" y="2339"/>
                </a:cubicBezTo>
                <a:cubicBezTo>
                  <a:pt x="4121" y="2339"/>
                  <a:pt x="4343" y="1926"/>
                  <a:pt x="4487" y="1687"/>
                </a:cubicBezTo>
                <a:cubicBezTo>
                  <a:pt x="4518" y="1607"/>
                  <a:pt x="4550" y="1527"/>
                  <a:pt x="4582" y="1512"/>
                </a:cubicBezTo>
                <a:cubicBezTo>
                  <a:pt x="4614" y="1480"/>
                  <a:pt x="4678" y="1448"/>
                  <a:pt x="4837" y="1448"/>
                </a:cubicBezTo>
                <a:cubicBezTo>
                  <a:pt x="6078" y="1448"/>
                  <a:pt x="6078" y="1448"/>
                  <a:pt x="6078" y="1448"/>
                </a:cubicBezTo>
                <a:cubicBezTo>
                  <a:pt x="6142" y="1448"/>
                  <a:pt x="6173" y="1448"/>
                  <a:pt x="6173" y="1560"/>
                </a:cubicBezTo>
                <a:cubicBezTo>
                  <a:pt x="6173" y="2418"/>
                  <a:pt x="5298" y="3723"/>
                  <a:pt x="4678" y="3851"/>
                </a:cubicBezTo>
                <a:cubicBezTo>
                  <a:pt x="4646" y="3851"/>
                  <a:pt x="4614" y="3851"/>
                  <a:pt x="4598" y="3851"/>
                </a:cubicBezTo>
                <a:cubicBezTo>
                  <a:pt x="4407" y="3851"/>
                  <a:pt x="4121" y="3803"/>
                  <a:pt x="3930" y="3644"/>
                </a:cubicBezTo>
                <a:cubicBezTo>
                  <a:pt x="3898" y="3628"/>
                  <a:pt x="3850" y="3628"/>
                  <a:pt x="3834" y="364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7" name="Freeform: Shape 16">
            <a:extLst>
              <a:ext uri="{FF2B5EF4-FFF2-40B4-BE49-F238E27FC236}">
                <a16:creationId xmlns:a16="http://schemas.microsoft.com/office/drawing/2014/main" id="{35D8971D-2372-3040-9373-89E8C331D4E4}"/>
              </a:ext>
            </a:extLst>
          </p:cNvPr>
          <p:cNvSpPr/>
          <p:nvPr/>
        </p:nvSpPr>
        <p:spPr>
          <a:xfrm>
            <a:off x="1888189" y="6386554"/>
            <a:ext cx="1253880" cy="1712160"/>
          </a:xfrm>
          <a:custGeom>
            <a:avLst/>
            <a:gdLst/>
            <a:ahLst/>
            <a:cxnLst>
              <a:cxn ang="3cd4">
                <a:pos x="hc" y="t"/>
              </a:cxn>
              <a:cxn ang="cd2">
                <a:pos x="l" y="vc"/>
              </a:cxn>
              <a:cxn ang="cd4">
                <a:pos x="hc" y="b"/>
              </a:cxn>
              <a:cxn ang="0">
                <a:pos x="r" y="vc"/>
              </a:cxn>
            </a:cxnLst>
            <a:rect l="l" t="t" r="r" b="b"/>
            <a:pathLst>
              <a:path w="3484" h="4757">
                <a:moveTo>
                  <a:pt x="79" y="4757"/>
                </a:moveTo>
                <a:lnTo>
                  <a:pt x="1352" y="4757"/>
                </a:lnTo>
                <a:lnTo>
                  <a:pt x="2148" y="4757"/>
                </a:lnTo>
                <a:lnTo>
                  <a:pt x="3405" y="4757"/>
                </a:lnTo>
                <a:cubicBezTo>
                  <a:pt x="3452" y="4757"/>
                  <a:pt x="3484" y="4725"/>
                  <a:pt x="3484" y="4677"/>
                </a:cubicBezTo>
                <a:lnTo>
                  <a:pt x="3484" y="875"/>
                </a:lnTo>
                <a:cubicBezTo>
                  <a:pt x="3484" y="827"/>
                  <a:pt x="3452" y="795"/>
                  <a:pt x="3405" y="795"/>
                </a:cubicBezTo>
                <a:lnTo>
                  <a:pt x="3023" y="795"/>
                </a:lnTo>
                <a:lnTo>
                  <a:pt x="3023" y="80"/>
                </a:lnTo>
                <a:cubicBezTo>
                  <a:pt x="3023" y="32"/>
                  <a:pt x="2975" y="0"/>
                  <a:pt x="2943" y="0"/>
                </a:cubicBezTo>
                <a:lnTo>
                  <a:pt x="716" y="0"/>
                </a:lnTo>
                <a:cubicBezTo>
                  <a:pt x="668" y="0"/>
                  <a:pt x="636" y="32"/>
                  <a:pt x="636" y="80"/>
                </a:cubicBezTo>
                <a:lnTo>
                  <a:pt x="636" y="795"/>
                </a:lnTo>
                <a:lnTo>
                  <a:pt x="79" y="795"/>
                </a:lnTo>
                <a:cubicBezTo>
                  <a:pt x="32" y="795"/>
                  <a:pt x="0" y="827"/>
                  <a:pt x="0" y="875"/>
                </a:cubicBezTo>
                <a:lnTo>
                  <a:pt x="0" y="4677"/>
                </a:lnTo>
                <a:cubicBezTo>
                  <a:pt x="0" y="4725"/>
                  <a:pt x="32" y="4757"/>
                  <a:pt x="79" y="4757"/>
                </a:cubicBezTo>
                <a:close/>
                <a:moveTo>
                  <a:pt x="1432" y="4598"/>
                </a:moveTo>
                <a:lnTo>
                  <a:pt x="1432" y="4120"/>
                </a:lnTo>
                <a:lnTo>
                  <a:pt x="2068" y="4120"/>
                </a:lnTo>
                <a:lnTo>
                  <a:pt x="2068" y="4598"/>
                </a:lnTo>
                <a:close/>
                <a:moveTo>
                  <a:pt x="796" y="159"/>
                </a:moveTo>
                <a:lnTo>
                  <a:pt x="2864" y="159"/>
                </a:lnTo>
                <a:lnTo>
                  <a:pt x="2864" y="795"/>
                </a:lnTo>
                <a:lnTo>
                  <a:pt x="796" y="795"/>
                </a:lnTo>
                <a:close/>
                <a:moveTo>
                  <a:pt x="159" y="955"/>
                </a:moveTo>
                <a:lnTo>
                  <a:pt x="716" y="955"/>
                </a:lnTo>
                <a:lnTo>
                  <a:pt x="2943" y="955"/>
                </a:lnTo>
                <a:lnTo>
                  <a:pt x="3341" y="955"/>
                </a:lnTo>
                <a:lnTo>
                  <a:pt x="3341" y="4598"/>
                </a:lnTo>
                <a:lnTo>
                  <a:pt x="2227" y="4598"/>
                </a:lnTo>
                <a:lnTo>
                  <a:pt x="2227" y="4041"/>
                </a:lnTo>
                <a:cubicBezTo>
                  <a:pt x="2227" y="4009"/>
                  <a:pt x="2179" y="3962"/>
                  <a:pt x="2148" y="3962"/>
                </a:cubicBezTo>
                <a:lnTo>
                  <a:pt x="1352" y="3962"/>
                </a:lnTo>
                <a:cubicBezTo>
                  <a:pt x="1305" y="3962"/>
                  <a:pt x="1273" y="4009"/>
                  <a:pt x="1273" y="4041"/>
                </a:cubicBezTo>
                <a:lnTo>
                  <a:pt x="1273" y="4598"/>
                </a:lnTo>
                <a:lnTo>
                  <a:pt x="159" y="4598"/>
                </a:lnTo>
                <a:close/>
                <a:moveTo>
                  <a:pt x="445" y="1973"/>
                </a:moveTo>
                <a:lnTo>
                  <a:pt x="3039" y="1973"/>
                </a:lnTo>
                <a:cubicBezTo>
                  <a:pt x="3087" y="1973"/>
                  <a:pt x="3118" y="1925"/>
                  <a:pt x="3118" y="1893"/>
                </a:cubicBezTo>
                <a:lnTo>
                  <a:pt x="3118" y="1511"/>
                </a:lnTo>
                <a:cubicBezTo>
                  <a:pt x="3118" y="1464"/>
                  <a:pt x="3087" y="1432"/>
                  <a:pt x="3039" y="1432"/>
                </a:cubicBezTo>
                <a:lnTo>
                  <a:pt x="445" y="1432"/>
                </a:lnTo>
                <a:cubicBezTo>
                  <a:pt x="397" y="1432"/>
                  <a:pt x="366" y="1464"/>
                  <a:pt x="366" y="1511"/>
                </a:cubicBezTo>
                <a:lnTo>
                  <a:pt x="366" y="1893"/>
                </a:lnTo>
                <a:cubicBezTo>
                  <a:pt x="366" y="1925"/>
                  <a:pt x="397" y="1973"/>
                  <a:pt x="445" y="1973"/>
                </a:cubicBezTo>
                <a:close/>
                <a:moveTo>
                  <a:pt x="525" y="1591"/>
                </a:moveTo>
                <a:lnTo>
                  <a:pt x="2959" y="1591"/>
                </a:lnTo>
                <a:lnTo>
                  <a:pt x="2959" y="1814"/>
                </a:lnTo>
                <a:lnTo>
                  <a:pt x="525" y="1814"/>
                </a:lnTo>
                <a:close/>
                <a:moveTo>
                  <a:pt x="445" y="2768"/>
                </a:moveTo>
                <a:lnTo>
                  <a:pt x="3039" y="2768"/>
                </a:lnTo>
                <a:cubicBezTo>
                  <a:pt x="3087" y="2768"/>
                  <a:pt x="3118" y="2737"/>
                  <a:pt x="3118" y="2689"/>
                </a:cubicBezTo>
                <a:lnTo>
                  <a:pt x="3118" y="2307"/>
                </a:lnTo>
                <a:cubicBezTo>
                  <a:pt x="3118" y="2259"/>
                  <a:pt x="3087" y="2228"/>
                  <a:pt x="3039" y="2228"/>
                </a:cubicBezTo>
                <a:lnTo>
                  <a:pt x="445" y="2228"/>
                </a:lnTo>
                <a:cubicBezTo>
                  <a:pt x="397" y="2228"/>
                  <a:pt x="366" y="2259"/>
                  <a:pt x="366" y="2307"/>
                </a:cubicBezTo>
                <a:lnTo>
                  <a:pt x="366" y="2689"/>
                </a:lnTo>
                <a:cubicBezTo>
                  <a:pt x="366" y="2737"/>
                  <a:pt x="397" y="2768"/>
                  <a:pt x="445" y="2768"/>
                </a:cubicBezTo>
                <a:close/>
                <a:moveTo>
                  <a:pt x="525" y="2386"/>
                </a:moveTo>
                <a:lnTo>
                  <a:pt x="2959" y="2386"/>
                </a:lnTo>
                <a:lnTo>
                  <a:pt x="2959" y="2609"/>
                </a:lnTo>
                <a:lnTo>
                  <a:pt x="525" y="2609"/>
                </a:lnTo>
                <a:close/>
                <a:moveTo>
                  <a:pt x="3039" y="3564"/>
                </a:moveTo>
                <a:cubicBezTo>
                  <a:pt x="3087" y="3564"/>
                  <a:pt x="3118" y="3532"/>
                  <a:pt x="3118" y="3484"/>
                </a:cubicBezTo>
                <a:lnTo>
                  <a:pt x="3118" y="3102"/>
                </a:lnTo>
                <a:cubicBezTo>
                  <a:pt x="3118" y="3071"/>
                  <a:pt x="3087" y="3023"/>
                  <a:pt x="3039" y="3023"/>
                </a:cubicBezTo>
                <a:lnTo>
                  <a:pt x="445" y="3023"/>
                </a:lnTo>
                <a:cubicBezTo>
                  <a:pt x="397" y="3023"/>
                  <a:pt x="366" y="3071"/>
                  <a:pt x="366" y="3102"/>
                </a:cubicBezTo>
                <a:lnTo>
                  <a:pt x="366" y="3484"/>
                </a:lnTo>
                <a:cubicBezTo>
                  <a:pt x="366" y="3532"/>
                  <a:pt x="397" y="3564"/>
                  <a:pt x="445" y="3564"/>
                </a:cubicBezTo>
                <a:close/>
                <a:moveTo>
                  <a:pt x="525" y="3182"/>
                </a:moveTo>
                <a:lnTo>
                  <a:pt x="2959" y="3182"/>
                </a:lnTo>
                <a:lnTo>
                  <a:pt x="2959" y="3405"/>
                </a:lnTo>
                <a:lnTo>
                  <a:pt x="525" y="3405"/>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8" name="Freeform: Shape 17">
            <a:extLst>
              <a:ext uri="{FF2B5EF4-FFF2-40B4-BE49-F238E27FC236}">
                <a16:creationId xmlns:a16="http://schemas.microsoft.com/office/drawing/2014/main" id="{1CE86639-25D2-2843-8A4B-99E233F978BD}"/>
              </a:ext>
            </a:extLst>
          </p:cNvPr>
          <p:cNvSpPr/>
          <p:nvPr/>
        </p:nvSpPr>
        <p:spPr>
          <a:xfrm>
            <a:off x="1577329" y="10062813"/>
            <a:ext cx="2158920" cy="1030680"/>
          </a:xfrm>
          <a:custGeom>
            <a:avLst/>
            <a:gdLst/>
            <a:ahLst/>
            <a:cxnLst>
              <a:cxn ang="3cd4">
                <a:pos x="hc" y="t"/>
              </a:cxn>
              <a:cxn ang="cd2">
                <a:pos x="l" y="vc"/>
              </a:cxn>
              <a:cxn ang="cd4">
                <a:pos x="hc" y="b"/>
              </a:cxn>
              <a:cxn ang="0">
                <a:pos x="r" y="vc"/>
              </a:cxn>
            </a:cxnLst>
            <a:rect l="l" t="t" r="r" b="b"/>
            <a:pathLst>
              <a:path w="5998" h="2864">
                <a:moveTo>
                  <a:pt x="5887" y="1925"/>
                </a:moveTo>
                <a:lnTo>
                  <a:pt x="5887" y="1401"/>
                </a:lnTo>
                <a:cubicBezTo>
                  <a:pt x="5887" y="1305"/>
                  <a:pt x="5839" y="1210"/>
                  <a:pt x="5743" y="1146"/>
                </a:cubicBezTo>
                <a:lnTo>
                  <a:pt x="5346" y="923"/>
                </a:lnTo>
                <a:lnTo>
                  <a:pt x="5330" y="907"/>
                </a:lnTo>
                <a:lnTo>
                  <a:pt x="4916" y="207"/>
                </a:lnTo>
                <a:cubicBezTo>
                  <a:pt x="4837" y="80"/>
                  <a:pt x="4709" y="16"/>
                  <a:pt x="4566" y="0"/>
                </a:cubicBezTo>
                <a:lnTo>
                  <a:pt x="270" y="0"/>
                </a:lnTo>
                <a:cubicBezTo>
                  <a:pt x="191" y="0"/>
                  <a:pt x="127" y="64"/>
                  <a:pt x="127" y="144"/>
                </a:cubicBezTo>
                <a:lnTo>
                  <a:pt x="127" y="1925"/>
                </a:lnTo>
                <a:cubicBezTo>
                  <a:pt x="64" y="1925"/>
                  <a:pt x="0" y="1989"/>
                  <a:pt x="0" y="2053"/>
                </a:cubicBezTo>
                <a:lnTo>
                  <a:pt x="0" y="2371"/>
                </a:lnTo>
                <a:cubicBezTo>
                  <a:pt x="0" y="2450"/>
                  <a:pt x="64" y="2498"/>
                  <a:pt x="127" y="2498"/>
                </a:cubicBezTo>
                <a:lnTo>
                  <a:pt x="891" y="2498"/>
                </a:lnTo>
                <a:cubicBezTo>
                  <a:pt x="970" y="2721"/>
                  <a:pt x="1177" y="2864"/>
                  <a:pt x="1416" y="2864"/>
                </a:cubicBezTo>
                <a:cubicBezTo>
                  <a:pt x="1670" y="2864"/>
                  <a:pt x="1878" y="2721"/>
                  <a:pt x="1957" y="2498"/>
                </a:cubicBezTo>
                <a:lnTo>
                  <a:pt x="4487" y="2498"/>
                </a:lnTo>
                <a:cubicBezTo>
                  <a:pt x="4566" y="2721"/>
                  <a:pt x="4773" y="2864"/>
                  <a:pt x="5012" y="2864"/>
                </a:cubicBezTo>
                <a:cubicBezTo>
                  <a:pt x="5250" y="2864"/>
                  <a:pt x="5473" y="2721"/>
                  <a:pt x="5552" y="2498"/>
                </a:cubicBezTo>
                <a:lnTo>
                  <a:pt x="5871" y="2498"/>
                </a:lnTo>
                <a:cubicBezTo>
                  <a:pt x="5934" y="2498"/>
                  <a:pt x="5998" y="2450"/>
                  <a:pt x="5998" y="2371"/>
                </a:cubicBezTo>
                <a:lnTo>
                  <a:pt x="5998" y="2053"/>
                </a:lnTo>
                <a:cubicBezTo>
                  <a:pt x="5998" y="1989"/>
                  <a:pt x="5950" y="1941"/>
                  <a:pt x="5887" y="1925"/>
                </a:cubicBezTo>
                <a:close/>
                <a:moveTo>
                  <a:pt x="1830" y="2371"/>
                </a:moveTo>
                <a:cubicBezTo>
                  <a:pt x="1814" y="2387"/>
                  <a:pt x="1814" y="2402"/>
                  <a:pt x="1814" y="2419"/>
                </a:cubicBezTo>
                <a:lnTo>
                  <a:pt x="1814" y="2435"/>
                </a:lnTo>
                <a:cubicBezTo>
                  <a:pt x="1750" y="2593"/>
                  <a:pt x="1607" y="2721"/>
                  <a:pt x="1416" y="2721"/>
                </a:cubicBezTo>
                <a:cubicBezTo>
                  <a:pt x="1241" y="2721"/>
                  <a:pt x="1082" y="2593"/>
                  <a:pt x="1034" y="2435"/>
                </a:cubicBezTo>
                <a:lnTo>
                  <a:pt x="1034" y="2419"/>
                </a:lnTo>
                <a:cubicBezTo>
                  <a:pt x="1034" y="2402"/>
                  <a:pt x="1034" y="2387"/>
                  <a:pt x="1018" y="2371"/>
                </a:cubicBezTo>
                <a:cubicBezTo>
                  <a:pt x="1018" y="2355"/>
                  <a:pt x="1002" y="2323"/>
                  <a:pt x="1002" y="2307"/>
                </a:cubicBezTo>
                <a:cubicBezTo>
                  <a:pt x="1002" y="2068"/>
                  <a:pt x="1193" y="1893"/>
                  <a:pt x="1416" y="1893"/>
                </a:cubicBezTo>
                <a:cubicBezTo>
                  <a:pt x="1655" y="1893"/>
                  <a:pt x="1830" y="2068"/>
                  <a:pt x="1830" y="2307"/>
                </a:cubicBezTo>
                <a:close/>
                <a:moveTo>
                  <a:pt x="5425" y="2371"/>
                </a:moveTo>
                <a:cubicBezTo>
                  <a:pt x="5409" y="2387"/>
                  <a:pt x="5393" y="2402"/>
                  <a:pt x="5393" y="2419"/>
                </a:cubicBezTo>
                <a:cubicBezTo>
                  <a:pt x="5393" y="2435"/>
                  <a:pt x="5404" y="2430"/>
                  <a:pt x="5409" y="2435"/>
                </a:cubicBezTo>
                <a:cubicBezTo>
                  <a:pt x="5346" y="2593"/>
                  <a:pt x="5187" y="2705"/>
                  <a:pt x="5012" y="2705"/>
                </a:cubicBezTo>
                <a:cubicBezTo>
                  <a:pt x="4837" y="2705"/>
                  <a:pt x="4678" y="2593"/>
                  <a:pt x="4630" y="2435"/>
                </a:cubicBezTo>
                <a:lnTo>
                  <a:pt x="4630" y="2419"/>
                </a:lnTo>
                <a:cubicBezTo>
                  <a:pt x="4630" y="2402"/>
                  <a:pt x="4614" y="2387"/>
                  <a:pt x="4614" y="2371"/>
                </a:cubicBezTo>
                <a:cubicBezTo>
                  <a:pt x="4614" y="2355"/>
                  <a:pt x="4598" y="2323"/>
                  <a:pt x="4598" y="2291"/>
                </a:cubicBezTo>
                <a:cubicBezTo>
                  <a:pt x="4598" y="2068"/>
                  <a:pt x="4789" y="1893"/>
                  <a:pt x="5012" y="1893"/>
                </a:cubicBezTo>
                <a:cubicBezTo>
                  <a:pt x="5234" y="1893"/>
                  <a:pt x="5425" y="2068"/>
                  <a:pt x="5425" y="2291"/>
                </a:cubicBezTo>
                <a:close/>
                <a:moveTo>
                  <a:pt x="5839" y="2339"/>
                </a:moveTo>
                <a:lnTo>
                  <a:pt x="5584" y="2339"/>
                </a:lnTo>
                <a:lnTo>
                  <a:pt x="5584" y="2291"/>
                </a:lnTo>
                <a:cubicBezTo>
                  <a:pt x="5584" y="1989"/>
                  <a:pt x="5330" y="1735"/>
                  <a:pt x="5012" y="1735"/>
                </a:cubicBezTo>
                <a:cubicBezTo>
                  <a:pt x="4693" y="1735"/>
                  <a:pt x="4439" y="1989"/>
                  <a:pt x="4439" y="2291"/>
                </a:cubicBezTo>
                <a:lnTo>
                  <a:pt x="4439" y="2339"/>
                </a:lnTo>
                <a:lnTo>
                  <a:pt x="1988" y="2339"/>
                </a:lnTo>
                <a:lnTo>
                  <a:pt x="1988" y="2307"/>
                </a:lnTo>
                <a:cubicBezTo>
                  <a:pt x="1988" y="1989"/>
                  <a:pt x="1734" y="1735"/>
                  <a:pt x="1416" y="1735"/>
                </a:cubicBezTo>
                <a:cubicBezTo>
                  <a:pt x="1114" y="1735"/>
                  <a:pt x="843" y="1989"/>
                  <a:pt x="843" y="2307"/>
                </a:cubicBezTo>
                <a:cubicBezTo>
                  <a:pt x="843" y="2323"/>
                  <a:pt x="843" y="2323"/>
                  <a:pt x="859" y="2339"/>
                </a:cubicBezTo>
                <a:lnTo>
                  <a:pt x="159" y="2339"/>
                </a:lnTo>
                <a:lnTo>
                  <a:pt x="159" y="2084"/>
                </a:lnTo>
                <a:lnTo>
                  <a:pt x="207" y="2084"/>
                </a:lnTo>
                <a:cubicBezTo>
                  <a:pt x="254" y="2084"/>
                  <a:pt x="287" y="2053"/>
                  <a:pt x="287" y="2005"/>
                </a:cubicBezTo>
                <a:lnTo>
                  <a:pt x="287" y="159"/>
                </a:lnTo>
                <a:lnTo>
                  <a:pt x="4550" y="159"/>
                </a:lnTo>
                <a:cubicBezTo>
                  <a:pt x="4661" y="175"/>
                  <a:pt x="4725" y="207"/>
                  <a:pt x="4773" y="287"/>
                </a:cubicBezTo>
                <a:lnTo>
                  <a:pt x="5187" y="987"/>
                </a:lnTo>
                <a:cubicBezTo>
                  <a:pt x="5203" y="1019"/>
                  <a:pt x="5234" y="1034"/>
                  <a:pt x="5266" y="1050"/>
                </a:cubicBezTo>
                <a:lnTo>
                  <a:pt x="5664" y="1289"/>
                </a:lnTo>
                <a:cubicBezTo>
                  <a:pt x="5696" y="1321"/>
                  <a:pt x="5727" y="1353"/>
                  <a:pt x="5727" y="1401"/>
                </a:cubicBezTo>
                <a:lnTo>
                  <a:pt x="5727" y="2005"/>
                </a:lnTo>
                <a:cubicBezTo>
                  <a:pt x="5727" y="2053"/>
                  <a:pt x="5760" y="2084"/>
                  <a:pt x="5807" y="2084"/>
                </a:cubicBezTo>
                <a:lnTo>
                  <a:pt x="5839" y="2084"/>
                </a:lnTo>
                <a:close/>
                <a:moveTo>
                  <a:pt x="4646" y="334"/>
                </a:moveTo>
                <a:cubicBezTo>
                  <a:pt x="4630" y="302"/>
                  <a:pt x="4598" y="287"/>
                  <a:pt x="4550" y="287"/>
                </a:cubicBezTo>
                <a:lnTo>
                  <a:pt x="4025" y="287"/>
                </a:lnTo>
                <a:cubicBezTo>
                  <a:pt x="3993" y="287"/>
                  <a:pt x="3978" y="287"/>
                  <a:pt x="3961" y="302"/>
                </a:cubicBezTo>
                <a:cubicBezTo>
                  <a:pt x="3946" y="319"/>
                  <a:pt x="3946" y="334"/>
                  <a:pt x="3946" y="366"/>
                </a:cubicBezTo>
                <a:lnTo>
                  <a:pt x="3946" y="1162"/>
                </a:lnTo>
                <a:cubicBezTo>
                  <a:pt x="3946" y="1193"/>
                  <a:pt x="3978" y="1241"/>
                  <a:pt x="4025" y="1241"/>
                </a:cubicBezTo>
                <a:lnTo>
                  <a:pt x="4518" y="1241"/>
                </a:lnTo>
                <a:lnTo>
                  <a:pt x="4773" y="1241"/>
                </a:lnTo>
                <a:cubicBezTo>
                  <a:pt x="4837" y="1241"/>
                  <a:pt x="4869" y="1225"/>
                  <a:pt x="4916" y="1193"/>
                </a:cubicBezTo>
                <a:lnTo>
                  <a:pt x="4996" y="1130"/>
                </a:lnTo>
                <a:cubicBezTo>
                  <a:pt x="5012" y="1114"/>
                  <a:pt x="5060" y="1050"/>
                  <a:pt x="5012" y="955"/>
                </a:cubicBezTo>
                <a:close/>
                <a:moveTo>
                  <a:pt x="4821" y="1066"/>
                </a:moveTo>
                <a:cubicBezTo>
                  <a:pt x="4805" y="1082"/>
                  <a:pt x="4805" y="1082"/>
                  <a:pt x="4773" y="1082"/>
                </a:cubicBezTo>
                <a:lnTo>
                  <a:pt x="4518" y="1082"/>
                </a:lnTo>
                <a:lnTo>
                  <a:pt x="4105" y="1082"/>
                </a:lnTo>
                <a:lnTo>
                  <a:pt x="4105" y="446"/>
                </a:lnTo>
                <a:lnTo>
                  <a:pt x="4518" y="446"/>
                </a:lnTo>
                <a:lnTo>
                  <a:pt x="4869" y="1034"/>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9" name="Freeform: Shape 18">
            <a:extLst>
              <a:ext uri="{FF2B5EF4-FFF2-40B4-BE49-F238E27FC236}">
                <a16:creationId xmlns:a16="http://schemas.microsoft.com/office/drawing/2014/main" id="{0775BE44-0A35-1344-BE75-5497CF64D817}"/>
              </a:ext>
            </a:extLst>
          </p:cNvPr>
          <p:cNvSpPr/>
          <p:nvPr/>
        </p:nvSpPr>
        <p:spPr>
          <a:xfrm>
            <a:off x="5784921" y="9942573"/>
            <a:ext cx="2331720" cy="1019159"/>
          </a:xfrm>
          <a:custGeom>
            <a:avLst/>
            <a:gdLst/>
            <a:ahLst/>
            <a:cxnLst>
              <a:cxn ang="3cd4">
                <a:pos x="hc" y="t"/>
              </a:cxn>
              <a:cxn ang="cd2">
                <a:pos x="l" y="vc"/>
              </a:cxn>
              <a:cxn ang="cd4">
                <a:pos x="hc" y="b"/>
              </a:cxn>
              <a:cxn ang="0">
                <a:pos x="r" y="vc"/>
              </a:cxn>
            </a:cxnLst>
            <a:rect l="l" t="t" r="r" b="b"/>
            <a:pathLst>
              <a:path w="6478" h="2832">
                <a:moveTo>
                  <a:pt x="430" y="2832"/>
                </a:moveTo>
                <a:cubicBezTo>
                  <a:pt x="668" y="2832"/>
                  <a:pt x="844" y="2641"/>
                  <a:pt x="844" y="2418"/>
                </a:cubicBezTo>
                <a:cubicBezTo>
                  <a:pt x="844" y="2180"/>
                  <a:pt x="668" y="1989"/>
                  <a:pt x="430" y="1989"/>
                </a:cubicBezTo>
                <a:cubicBezTo>
                  <a:pt x="191" y="1989"/>
                  <a:pt x="0" y="2180"/>
                  <a:pt x="0" y="2418"/>
                </a:cubicBezTo>
                <a:cubicBezTo>
                  <a:pt x="0" y="2641"/>
                  <a:pt x="191" y="2832"/>
                  <a:pt x="430" y="2832"/>
                </a:cubicBezTo>
                <a:close/>
                <a:moveTo>
                  <a:pt x="430" y="2148"/>
                </a:moveTo>
                <a:cubicBezTo>
                  <a:pt x="573" y="2148"/>
                  <a:pt x="684" y="2259"/>
                  <a:pt x="684" y="2418"/>
                </a:cubicBezTo>
                <a:cubicBezTo>
                  <a:pt x="684" y="2562"/>
                  <a:pt x="573" y="2673"/>
                  <a:pt x="430" y="2673"/>
                </a:cubicBezTo>
                <a:cubicBezTo>
                  <a:pt x="287" y="2673"/>
                  <a:pt x="159" y="2562"/>
                  <a:pt x="159" y="2418"/>
                </a:cubicBezTo>
                <a:cubicBezTo>
                  <a:pt x="159" y="2259"/>
                  <a:pt x="287" y="2148"/>
                  <a:pt x="430" y="2148"/>
                </a:cubicBezTo>
                <a:close/>
                <a:moveTo>
                  <a:pt x="6412" y="2116"/>
                </a:moveTo>
                <a:lnTo>
                  <a:pt x="6412" y="2084"/>
                </a:lnTo>
                <a:cubicBezTo>
                  <a:pt x="6412" y="2069"/>
                  <a:pt x="6412" y="2036"/>
                  <a:pt x="6396" y="2021"/>
                </a:cubicBezTo>
                <a:lnTo>
                  <a:pt x="6396" y="1925"/>
                </a:lnTo>
                <a:cubicBezTo>
                  <a:pt x="6412" y="1909"/>
                  <a:pt x="6412" y="1893"/>
                  <a:pt x="6412" y="1862"/>
                </a:cubicBezTo>
                <a:lnTo>
                  <a:pt x="6412" y="1575"/>
                </a:lnTo>
                <a:cubicBezTo>
                  <a:pt x="6412" y="1464"/>
                  <a:pt x="6332" y="1353"/>
                  <a:pt x="6221" y="1336"/>
                </a:cubicBezTo>
                <a:lnTo>
                  <a:pt x="5410" y="1178"/>
                </a:lnTo>
                <a:cubicBezTo>
                  <a:pt x="5394" y="1178"/>
                  <a:pt x="5346" y="1130"/>
                  <a:pt x="5298" y="1034"/>
                </a:cubicBezTo>
                <a:lnTo>
                  <a:pt x="5139" y="748"/>
                </a:lnTo>
                <a:cubicBezTo>
                  <a:pt x="5139" y="716"/>
                  <a:pt x="5139" y="700"/>
                  <a:pt x="5123" y="684"/>
                </a:cubicBezTo>
                <a:lnTo>
                  <a:pt x="5012" y="509"/>
                </a:lnTo>
                <a:lnTo>
                  <a:pt x="4980" y="445"/>
                </a:lnTo>
                <a:cubicBezTo>
                  <a:pt x="4964" y="445"/>
                  <a:pt x="4948" y="430"/>
                  <a:pt x="4916" y="414"/>
                </a:cubicBezTo>
                <a:lnTo>
                  <a:pt x="4503" y="48"/>
                </a:lnTo>
                <a:cubicBezTo>
                  <a:pt x="4487" y="32"/>
                  <a:pt x="4482" y="37"/>
                  <a:pt x="4471" y="32"/>
                </a:cubicBezTo>
                <a:cubicBezTo>
                  <a:pt x="4439" y="16"/>
                  <a:pt x="4392" y="0"/>
                  <a:pt x="4344" y="0"/>
                </a:cubicBezTo>
                <a:lnTo>
                  <a:pt x="4105" y="0"/>
                </a:lnTo>
                <a:cubicBezTo>
                  <a:pt x="4041" y="0"/>
                  <a:pt x="3993" y="48"/>
                  <a:pt x="3993" y="111"/>
                </a:cubicBezTo>
                <a:lnTo>
                  <a:pt x="3993" y="557"/>
                </a:lnTo>
                <a:lnTo>
                  <a:pt x="3993" y="2005"/>
                </a:lnTo>
                <a:lnTo>
                  <a:pt x="3262" y="2005"/>
                </a:lnTo>
                <a:cubicBezTo>
                  <a:pt x="3230" y="2005"/>
                  <a:pt x="3198" y="2021"/>
                  <a:pt x="3166" y="2036"/>
                </a:cubicBezTo>
                <a:cubicBezTo>
                  <a:pt x="3150" y="2053"/>
                  <a:pt x="3135" y="2084"/>
                  <a:pt x="3135" y="2116"/>
                </a:cubicBezTo>
                <a:cubicBezTo>
                  <a:pt x="3055" y="2036"/>
                  <a:pt x="2959" y="1989"/>
                  <a:pt x="2832" y="1989"/>
                </a:cubicBezTo>
                <a:cubicBezTo>
                  <a:pt x="2673" y="1989"/>
                  <a:pt x="2530" y="2084"/>
                  <a:pt x="2466" y="2212"/>
                </a:cubicBezTo>
                <a:cubicBezTo>
                  <a:pt x="2387" y="2084"/>
                  <a:pt x="2244" y="1989"/>
                  <a:pt x="2084" y="1989"/>
                </a:cubicBezTo>
                <a:cubicBezTo>
                  <a:pt x="1862" y="1989"/>
                  <a:pt x="1671" y="2180"/>
                  <a:pt x="1671" y="2418"/>
                </a:cubicBezTo>
                <a:cubicBezTo>
                  <a:pt x="1671" y="2641"/>
                  <a:pt x="1862" y="2832"/>
                  <a:pt x="2084" y="2832"/>
                </a:cubicBezTo>
                <a:cubicBezTo>
                  <a:pt x="2244" y="2832"/>
                  <a:pt x="2387" y="2753"/>
                  <a:pt x="2466" y="2609"/>
                </a:cubicBezTo>
                <a:cubicBezTo>
                  <a:pt x="2530" y="2753"/>
                  <a:pt x="2673" y="2832"/>
                  <a:pt x="2832" y="2832"/>
                </a:cubicBezTo>
                <a:cubicBezTo>
                  <a:pt x="3055" y="2832"/>
                  <a:pt x="3230" y="2673"/>
                  <a:pt x="3246" y="2450"/>
                </a:cubicBezTo>
                <a:lnTo>
                  <a:pt x="3262" y="2450"/>
                </a:lnTo>
                <a:lnTo>
                  <a:pt x="5155" y="2450"/>
                </a:lnTo>
                <a:lnTo>
                  <a:pt x="5187" y="2562"/>
                </a:lnTo>
                <a:cubicBezTo>
                  <a:pt x="5203" y="2578"/>
                  <a:pt x="5235" y="2609"/>
                  <a:pt x="5266" y="2609"/>
                </a:cubicBezTo>
                <a:lnTo>
                  <a:pt x="5283" y="2609"/>
                </a:lnTo>
                <a:cubicBezTo>
                  <a:pt x="5362" y="2753"/>
                  <a:pt x="5505" y="2832"/>
                  <a:pt x="5664" y="2832"/>
                </a:cubicBezTo>
                <a:cubicBezTo>
                  <a:pt x="5871" y="2832"/>
                  <a:pt x="6030" y="2689"/>
                  <a:pt x="6078" y="2498"/>
                </a:cubicBezTo>
                <a:lnTo>
                  <a:pt x="6284" y="2498"/>
                </a:lnTo>
                <a:cubicBezTo>
                  <a:pt x="6380" y="2498"/>
                  <a:pt x="6428" y="2466"/>
                  <a:pt x="6460" y="2402"/>
                </a:cubicBezTo>
                <a:cubicBezTo>
                  <a:pt x="6475" y="2355"/>
                  <a:pt x="6492" y="2244"/>
                  <a:pt x="6460" y="2164"/>
                </a:cubicBezTo>
                <a:cubicBezTo>
                  <a:pt x="6444" y="2148"/>
                  <a:pt x="6444" y="2132"/>
                  <a:pt x="6412" y="2116"/>
                </a:cubicBezTo>
                <a:close/>
                <a:moveTo>
                  <a:pt x="2084" y="2673"/>
                </a:moveTo>
                <a:cubicBezTo>
                  <a:pt x="1941" y="2673"/>
                  <a:pt x="1830" y="2562"/>
                  <a:pt x="1830" y="2418"/>
                </a:cubicBezTo>
                <a:cubicBezTo>
                  <a:pt x="1830" y="2259"/>
                  <a:pt x="1941" y="2148"/>
                  <a:pt x="2084" y="2148"/>
                </a:cubicBezTo>
                <a:cubicBezTo>
                  <a:pt x="2228" y="2148"/>
                  <a:pt x="2355" y="2259"/>
                  <a:pt x="2355" y="2418"/>
                </a:cubicBezTo>
                <a:cubicBezTo>
                  <a:pt x="2355" y="2562"/>
                  <a:pt x="2228" y="2673"/>
                  <a:pt x="2084" y="2673"/>
                </a:cubicBezTo>
                <a:close/>
                <a:moveTo>
                  <a:pt x="2832" y="2673"/>
                </a:moveTo>
                <a:cubicBezTo>
                  <a:pt x="2689" y="2673"/>
                  <a:pt x="2578" y="2562"/>
                  <a:pt x="2578" y="2418"/>
                </a:cubicBezTo>
                <a:cubicBezTo>
                  <a:pt x="2578" y="2259"/>
                  <a:pt x="2689" y="2148"/>
                  <a:pt x="2832" y="2148"/>
                </a:cubicBezTo>
                <a:cubicBezTo>
                  <a:pt x="2975" y="2148"/>
                  <a:pt x="3102" y="2259"/>
                  <a:pt x="3102" y="2418"/>
                </a:cubicBezTo>
                <a:cubicBezTo>
                  <a:pt x="3102" y="2562"/>
                  <a:pt x="2975" y="2673"/>
                  <a:pt x="2832" y="2673"/>
                </a:cubicBezTo>
                <a:close/>
                <a:moveTo>
                  <a:pt x="5664" y="2673"/>
                </a:moveTo>
                <a:cubicBezTo>
                  <a:pt x="5521" y="2673"/>
                  <a:pt x="5394" y="2562"/>
                  <a:pt x="5394" y="2418"/>
                </a:cubicBezTo>
                <a:cubicBezTo>
                  <a:pt x="5394" y="2259"/>
                  <a:pt x="5521" y="2148"/>
                  <a:pt x="5664" y="2148"/>
                </a:cubicBezTo>
                <a:cubicBezTo>
                  <a:pt x="5807" y="2148"/>
                  <a:pt x="5919" y="2259"/>
                  <a:pt x="5919" y="2418"/>
                </a:cubicBezTo>
                <a:cubicBezTo>
                  <a:pt x="5919" y="2562"/>
                  <a:pt x="5807" y="2673"/>
                  <a:pt x="5664" y="2673"/>
                </a:cubicBezTo>
                <a:close/>
                <a:moveTo>
                  <a:pt x="6284" y="2339"/>
                </a:moveTo>
                <a:lnTo>
                  <a:pt x="6078" y="2339"/>
                </a:lnTo>
                <a:cubicBezTo>
                  <a:pt x="6030" y="2132"/>
                  <a:pt x="5871" y="1989"/>
                  <a:pt x="5664" y="1989"/>
                </a:cubicBezTo>
                <a:cubicBezTo>
                  <a:pt x="5457" y="1989"/>
                  <a:pt x="5298" y="2132"/>
                  <a:pt x="5250" y="2307"/>
                </a:cubicBezTo>
                <a:lnTo>
                  <a:pt x="5250" y="2323"/>
                </a:lnTo>
                <a:cubicBezTo>
                  <a:pt x="5219" y="2307"/>
                  <a:pt x="5203" y="2291"/>
                  <a:pt x="5171" y="2291"/>
                </a:cubicBezTo>
                <a:lnTo>
                  <a:pt x="3293" y="2291"/>
                </a:lnTo>
                <a:lnTo>
                  <a:pt x="3293" y="2164"/>
                </a:lnTo>
                <a:lnTo>
                  <a:pt x="4026" y="2164"/>
                </a:lnTo>
                <a:cubicBezTo>
                  <a:pt x="4057" y="2164"/>
                  <a:pt x="4089" y="2148"/>
                  <a:pt x="4105" y="2132"/>
                </a:cubicBezTo>
                <a:cubicBezTo>
                  <a:pt x="4137" y="2100"/>
                  <a:pt x="4153" y="2069"/>
                  <a:pt x="4153" y="2021"/>
                </a:cubicBezTo>
                <a:lnTo>
                  <a:pt x="4153" y="159"/>
                </a:lnTo>
                <a:lnTo>
                  <a:pt x="4344" y="159"/>
                </a:lnTo>
                <a:cubicBezTo>
                  <a:pt x="4360" y="159"/>
                  <a:pt x="4375" y="159"/>
                  <a:pt x="4407" y="175"/>
                </a:cubicBezTo>
                <a:lnTo>
                  <a:pt x="4837" y="541"/>
                </a:lnTo>
                <a:lnTo>
                  <a:pt x="4853" y="557"/>
                </a:lnTo>
                <a:lnTo>
                  <a:pt x="4980" y="732"/>
                </a:lnTo>
                <a:lnTo>
                  <a:pt x="4980" y="796"/>
                </a:lnTo>
                <a:lnTo>
                  <a:pt x="5155" y="1098"/>
                </a:lnTo>
                <a:cubicBezTo>
                  <a:pt x="5203" y="1193"/>
                  <a:pt x="5283" y="1305"/>
                  <a:pt x="5378" y="1336"/>
                </a:cubicBezTo>
                <a:lnTo>
                  <a:pt x="6189" y="1496"/>
                </a:lnTo>
                <a:cubicBezTo>
                  <a:pt x="6237" y="1496"/>
                  <a:pt x="6253" y="1527"/>
                  <a:pt x="6253" y="1575"/>
                </a:cubicBezTo>
                <a:lnTo>
                  <a:pt x="6253" y="1830"/>
                </a:lnTo>
                <a:cubicBezTo>
                  <a:pt x="6237" y="1846"/>
                  <a:pt x="6237" y="1862"/>
                  <a:pt x="6237" y="1893"/>
                </a:cubicBezTo>
                <a:lnTo>
                  <a:pt x="6237" y="2069"/>
                </a:lnTo>
                <a:cubicBezTo>
                  <a:pt x="6237" y="2084"/>
                  <a:pt x="6237" y="2116"/>
                  <a:pt x="6269" y="2132"/>
                </a:cubicBezTo>
                <a:cubicBezTo>
                  <a:pt x="6269" y="2180"/>
                  <a:pt x="6301" y="2212"/>
                  <a:pt x="6317" y="2244"/>
                </a:cubicBezTo>
                <a:cubicBezTo>
                  <a:pt x="6332" y="2259"/>
                  <a:pt x="6317" y="2323"/>
                  <a:pt x="6332" y="2323"/>
                </a:cubicBezTo>
                <a:cubicBezTo>
                  <a:pt x="6316" y="2328"/>
                  <a:pt x="6317" y="2339"/>
                  <a:pt x="6284" y="2339"/>
                </a:cubicBezTo>
                <a:close/>
                <a:moveTo>
                  <a:pt x="80" y="1862"/>
                </a:moveTo>
                <a:lnTo>
                  <a:pt x="3755" y="1862"/>
                </a:lnTo>
                <a:cubicBezTo>
                  <a:pt x="3803" y="1862"/>
                  <a:pt x="3835" y="1830"/>
                  <a:pt x="3835" y="1782"/>
                </a:cubicBezTo>
                <a:lnTo>
                  <a:pt x="3835" y="80"/>
                </a:lnTo>
                <a:cubicBezTo>
                  <a:pt x="3835" y="32"/>
                  <a:pt x="3803" y="0"/>
                  <a:pt x="3755" y="0"/>
                </a:cubicBezTo>
                <a:lnTo>
                  <a:pt x="80" y="0"/>
                </a:lnTo>
                <a:cubicBezTo>
                  <a:pt x="48" y="0"/>
                  <a:pt x="0" y="32"/>
                  <a:pt x="0" y="80"/>
                </a:cubicBezTo>
                <a:lnTo>
                  <a:pt x="0" y="1782"/>
                </a:lnTo>
                <a:cubicBezTo>
                  <a:pt x="0" y="1830"/>
                  <a:pt x="48" y="1862"/>
                  <a:pt x="80" y="1862"/>
                </a:cubicBezTo>
                <a:close/>
                <a:moveTo>
                  <a:pt x="159" y="159"/>
                </a:moveTo>
                <a:lnTo>
                  <a:pt x="3675" y="159"/>
                </a:lnTo>
                <a:lnTo>
                  <a:pt x="3675" y="1702"/>
                </a:lnTo>
                <a:lnTo>
                  <a:pt x="159" y="1702"/>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67531402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Transportation / Buildings - 2</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129" name="TextBox 128">
            <a:extLst>
              <a:ext uri="{FF2B5EF4-FFF2-40B4-BE49-F238E27FC236}">
                <a16:creationId xmlns:a16="http://schemas.microsoft.com/office/drawing/2014/main" id="{9C90785B-CD33-DB48-9A59-FAB7D0D07F2F}"/>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48" name="TextBox 47">
            <a:extLst>
              <a:ext uri="{FF2B5EF4-FFF2-40B4-BE49-F238E27FC236}">
                <a16:creationId xmlns:a16="http://schemas.microsoft.com/office/drawing/2014/main" id="{F7728D17-92A2-CD49-AD55-A4200E6083D9}"/>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45" name="TextBox 44">
            <a:extLst>
              <a:ext uri="{FF2B5EF4-FFF2-40B4-BE49-F238E27FC236}">
                <a16:creationId xmlns:a16="http://schemas.microsoft.com/office/drawing/2014/main" id="{C3885932-8442-CD47-872D-77568AB67582}"/>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raffic Light 1</a:t>
            </a:r>
          </a:p>
        </p:txBody>
      </p:sp>
      <p:sp>
        <p:nvSpPr>
          <p:cNvPr id="46" name="TextBox 45">
            <a:extLst>
              <a:ext uri="{FF2B5EF4-FFF2-40B4-BE49-F238E27FC236}">
                <a16:creationId xmlns:a16="http://schemas.microsoft.com/office/drawing/2014/main" id="{81E39628-681F-F943-9B8F-37E2CB0589DF}"/>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raffic Light 2</a:t>
            </a:r>
          </a:p>
        </p:txBody>
      </p:sp>
      <p:sp>
        <p:nvSpPr>
          <p:cNvPr id="47" name="TextBox 46">
            <a:extLst>
              <a:ext uri="{FF2B5EF4-FFF2-40B4-BE49-F238E27FC236}">
                <a16:creationId xmlns:a16="http://schemas.microsoft.com/office/drawing/2014/main" id="{FFF7D0B9-093E-4644-A802-A2EF4D1D97B1}"/>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oad</a:t>
            </a:r>
          </a:p>
        </p:txBody>
      </p:sp>
      <p:sp>
        <p:nvSpPr>
          <p:cNvPr id="49" name="TextBox 48">
            <a:extLst>
              <a:ext uri="{FF2B5EF4-FFF2-40B4-BE49-F238E27FC236}">
                <a16:creationId xmlns:a16="http://schemas.microsoft.com/office/drawing/2014/main" id="{CBDEFCBD-05B6-D54A-90AE-A10B14CB9FE1}"/>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lobe 1</a:t>
            </a:r>
          </a:p>
        </p:txBody>
      </p:sp>
      <p:sp>
        <p:nvSpPr>
          <p:cNvPr id="50" name="TextBox 49">
            <a:extLst>
              <a:ext uri="{FF2B5EF4-FFF2-40B4-BE49-F238E27FC236}">
                <a16:creationId xmlns:a16="http://schemas.microsoft.com/office/drawing/2014/main" id="{88C1CBAF-99DE-B343-8E6E-021DCF8C8367}"/>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lobe 3</a:t>
            </a:r>
          </a:p>
        </p:txBody>
      </p:sp>
      <p:sp>
        <p:nvSpPr>
          <p:cNvPr id="51" name="TextBox 50">
            <a:extLst>
              <a:ext uri="{FF2B5EF4-FFF2-40B4-BE49-F238E27FC236}">
                <a16:creationId xmlns:a16="http://schemas.microsoft.com/office/drawing/2014/main" id="{7240F145-B4D7-CC43-8407-349B1490D3BE}"/>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hoto</a:t>
            </a:r>
          </a:p>
        </p:txBody>
      </p:sp>
      <p:sp>
        <p:nvSpPr>
          <p:cNvPr id="52" name="TextBox 51">
            <a:extLst>
              <a:ext uri="{FF2B5EF4-FFF2-40B4-BE49-F238E27FC236}">
                <a16:creationId xmlns:a16="http://schemas.microsoft.com/office/drawing/2014/main" id="{9C7DA663-016F-B34E-95A0-3E04CC5ED60E}"/>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ree</a:t>
            </a:r>
          </a:p>
        </p:txBody>
      </p:sp>
      <p:sp>
        <p:nvSpPr>
          <p:cNvPr id="53" name="TextBox 52">
            <a:extLst>
              <a:ext uri="{FF2B5EF4-FFF2-40B4-BE49-F238E27FC236}">
                <a16:creationId xmlns:a16="http://schemas.microsoft.com/office/drawing/2014/main" id="{DB45DDE0-23F1-914A-BACE-98E9C66EA632}"/>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eering Wheel</a:t>
            </a:r>
          </a:p>
        </p:txBody>
      </p:sp>
      <p:sp>
        <p:nvSpPr>
          <p:cNvPr id="54" name="TextBox 53">
            <a:extLst>
              <a:ext uri="{FF2B5EF4-FFF2-40B4-BE49-F238E27FC236}">
                <a16:creationId xmlns:a16="http://schemas.microsoft.com/office/drawing/2014/main" id="{EC7598E7-14E5-7B42-A295-281A0A83612A}"/>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xi</a:t>
            </a:r>
          </a:p>
        </p:txBody>
      </p:sp>
      <p:sp>
        <p:nvSpPr>
          <p:cNvPr id="55" name="TextBox 54">
            <a:extLst>
              <a:ext uri="{FF2B5EF4-FFF2-40B4-BE49-F238E27FC236}">
                <a16:creationId xmlns:a16="http://schemas.microsoft.com/office/drawing/2014/main" id="{0E150255-A883-4C44-95B0-2BA7EBBE0BF6}"/>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as Pump</a:t>
            </a:r>
          </a:p>
        </p:txBody>
      </p:sp>
      <p:sp>
        <p:nvSpPr>
          <p:cNvPr id="56" name="TextBox 55">
            <a:extLst>
              <a:ext uri="{FF2B5EF4-FFF2-40B4-BE49-F238E27FC236}">
                <a16:creationId xmlns:a16="http://schemas.microsoft.com/office/drawing/2014/main" id="{2936D2CD-E8F9-6A44-8F6C-7B3923B8BD0F}"/>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p 1</a:t>
            </a:r>
          </a:p>
        </p:txBody>
      </p:sp>
      <p:sp>
        <p:nvSpPr>
          <p:cNvPr id="57" name="TextBox 56">
            <a:extLst>
              <a:ext uri="{FF2B5EF4-FFF2-40B4-BE49-F238E27FC236}">
                <a16:creationId xmlns:a16="http://schemas.microsoft.com/office/drawing/2014/main" id="{F1563A0C-0FFB-114E-B22D-652A1E50451A}"/>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p 2</a:t>
            </a:r>
          </a:p>
        </p:txBody>
      </p:sp>
      <p:sp>
        <p:nvSpPr>
          <p:cNvPr id="58" name="TextBox 57">
            <a:extLst>
              <a:ext uri="{FF2B5EF4-FFF2-40B4-BE49-F238E27FC236}">
                <a16:creationId xmlns:a16="http://schemas.microsoft.com/office/drawing/2014/main" id="{23BD3B1F-1E87-2140-9A6B-47D226447C25}"/>
              </a:ext>
            </a:extLst>
          </p:cNvPr>
          <p:cNvSpPr txBox="1"/>
          <p:nvPr/>
        </p:nvSpPr>
        <p:spPr>
          <a:xfrm>
            <a:off x="9013116"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p 3</a:t>
            </a:r>
          </a:p>
        </p:txBody>
      </p:sp>
      <p:sp>
        <p:nvSpPr>
          <p:cNvPr id="59" name="TextBox 58">
            <a:extLst>
              <a:ext uri="{FF2B5EF4-FFF2-40B4-BE49-F238E27FC236}">
                <a16:creationId xmlns:a16="http://schemas.microsoft.com/office/drawing/2014/main" id="{20E363F9-29E9-044E-BEF5-D608EAE01390}"/>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p 4</a:t>
            </a:r>
          </a:p>
        </p:txBody>
      </p:sp>
      <p:sp>
        <p:nvSpPr>
          <p:cNvPr id="60" name="TextBox 59">
            <a:extLst>
              <a:ext uri="{FF2B5EF4-FFF2-40B4-BE49-F238E27FC236}">
                <a16:creationId xmlns:a16="http://schemas.microsoft.com/office/drawing/2014/main" id="{66BAC8C0-D999-1648-ABA7-D523ED2DBE1C}"/>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ooter 1</a:t>
            </a:r>
          </a:p>
        </p:txBody>
      </p:sp>
      <p:sp>
        <p:nvSpPr>
          <p:cNvPr id="61" name="Freeform: Shape 26">
            <a:extLst>
              <a:ext uri="{FF2B5EF4-FFF2-40B4-BE49-F238E27FC236}">
                <a16:creationId xmlns:a16="http://schemas.microsoft.com/office/drawing/2014/main" id="{D7823D89-4A06-1F4E-85A7-DF45480FB2C5}"/>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TextBox 61">
            <a:extLst>
              <a:ext uri="{FF2B5EF4-FFF2-40B4-BE49-F238E27FC236}">
                <a16:creationId xmlns:a16="http://schemas.microsoft.com/office/drawing/2014/main" id="{5F40B78E-79AD-6E46-876D-AD6A74C29BE9}"/>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lobe 2</a:t>
            </a:r>
          </a:p>
        </p:txBody>
      </p:sp>
      <p:sp>
        <p:nvSpPr>
          <p:cNvPr id="90" name="TextBox 89">
            <a:extLst>
              <a:ext uri="{FF2B5EF4-FFF2-40B4-BE49-F238E27FC236}">
                <a16:creationId xmlns:a16="http://schemas.microsoft.com/office/drawing/2014/main" id="{4E613FB6-0B21-3A49-9A2E-47A27305A4C5}"/>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as</a:t>
            </a:r>
          </a:p>
        </p:txBody>
      </p:sp>
      <p:sp>
        <p:nvSpPr>
          <p:cNvPr id="91" name="TextBox 90">
            <a:extLst>
              <a:ext uri="{FF2B5EF4-FFF2-40B4-BE49-F238E27FC236}">
                <a16:creationId xmlns:a16="http://schemas.microsoft.com/office/drawing/2014/main" id="{B7ECD3E0-EA32-4B4A-A6CF-ECB78D1CF612}"/>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elicopter</a:t>
            </a:r>
          </a:p>
        </p:txBody>
      </p:sp>
      <p:sp>
        <p:nvSpPr>
          <p:cNvPr id="92" name="TextBox 91">
            <a:extLst>
              <a:ext uri="{FF2B5EF4-FFF2-40B4-BE49-F238E27FC236}">
                <a16:creationId xmlns:a16="http://schemas.microsoft.com/office/drawing/2014/main" id="{8B959DBD-D698-AD49-AEA7-307C0AF207BB}"/>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93" name="Freeform: Shape 13">
            <a:extLst>
              <a:ext uri="{FF2B5EF4-FFF2-40B4-BE49-F238E27FC236}">
                <a16:creationId xmlns:a16="http://schemas.microsoft.com/office/drawing/2014/main" id="{7BAD9386-3DC9-0741-B6E1-1791FCC17112}"/>
              </a:ext>
            </a:extLst>
          </p:cNvPr>
          <p:cNvSpPr/>
          <p:nvPr/>
        </p:nvSpPr>
        <p:spPr>
          <a:xfrm>
            <a:off x="2283649" y="3606611"/>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4" name="Freeform: Shape 1">
            <a:extLst>
              <a:ext uri="{FF2B5EF4-FFF2-40B4-BE49-F238E27FC236}">
                <a16:creationId xmlns:a16="http://schemas.microsoft.com/office/drawing/2014/main" id="{C35F7903-9D32-9542-B451-C4066A44290C}"/>
              </a:ext>
            </a:extLst>
          </p:cNvPr>
          <p:cNvSpPr/>
          <p:nvPr/>
        </p:nvSpPr>
        <p:spPr>
          <a:xfrm>
            <a:off x="21124440" y="10318792"/>
            <a:ext cx="1707480" cy="938880"/>
          </a:xfrm>
          <a:custGeom>
            <a:avLst/>
            <a:gdLst/>
            <a:ahLst/>
            <a:cxnLst>
              <a:cxn ang="3cd4">
                <a:pos x="hc" y="t"/>
              </a:cxn>
              <a:cxn ang="cd2">
                <a:pos x="l" y="vc"/>
              </a:cxn>
              <a:cxn ang="cd4">
                <a:pos x="hc" y="b"/>
              </a:cxn>
              <a:cxn ang="0">
                <a:pos x="r" y="vc"/>
              </a:cxn>
            </a:cxnLst>
            <a:rect l="l" t="t" r="r" b="b"/>
            <a:pathLst>
              <a:path w="4744" h="2609">
                <a:moveTo>
                  <a:pt x="12" y="1957"/>
                </a:moveTo>
                <a:cubicBezTo>
                  <a:pt x="-4" y="1973"/>
                  <a:pt x="-4" y="2005"/>
                  <a:pt x="12" y="2037"/>
                </a:cubicBezTo>
                <a:cubicBezTo>
                  <a:pt x="28" y="2053"/>
                  <a:pt x="60" y="2068"/>
                  <a:pt x="76" y="2068"/>
                </a:cubicBezTo>
                <a:cubicBezTo>
                  <a:pt x="569" y="2068"/>
                  <a:pt x="569" y="2068"/>
                  <a:pt x="569" y="2068"/>
                </a:cubicBezTo>
                <a:cubicBezTo>
                  <a:pt x="601" y="2386"/>
                  <a:pt x="855" y="2609"/>
                  <a:pt x="1190" y="2609"/>
                </a:cubicBezTo>
                <a:cubicBezTo>
                  <a:pt x="1508" y="2609"/>
                  <a:pt x="1763" y="2386"/>
                  <a:pt x="1794" y="2068"/>
                </a:cubicBezTo>
                <a:cubicBezTo>
                  <a:pt x="1937" y="2068"/>
                  <a:pt x="1937" y="2068"/>
                  <a:pt x="1937" y="2068"/>
                </a:cubicBezTo>
                <a:cubicBezTo>
                  <a:pt x="1954" y="2068"/>
                  <a:pt x="1969" y="2068"/>
                  <a:pt x="1985" y="2053"/>
                </a:cubicBezTo>
                <a:cubicBezTo>
                  <a:pt x="1985" y="2068"/>
                  <a:pt x="2001" y="2068"/>
                  <a:pt x="2017" y="2068"/>
                </a:cubicBezTo>
                <a:cubicBezTo>
                  <a:pt x="3385" y="2068"/>
                  <a:pt x="3385" y="2068"/>
                  <a:pt x="3385" y="2068"/>
                </a:cubicBezTo>
                <a:cubicBezTo>
                  <a:pt x="3369" y="2212"/>
                  <a:pt x="3417" y="2339"/>
                  <a:pt x="3497" y="2466"/>
                </a:cubicBezTo>
                <a:cubicBezTo>
                  <a:pt x="3497" y="2498"/>
                  <a:pt x="3512" y="2498"/>
                  <a:pt x="3545" y="2514"/>
                </a:cubicBezTo>
                <a:lnTo>
                  <a:pt x="3560" y="2514"/>
                </a:lnTo>
                <a:cubicBezTo>
                  <a:pt x="3576" y="2514"/>
                  <a:pt x="3592" y="2514"/>
                  <a:pt x="3592" y="2498"/>
                </a:cubicBezTo>
                <a:cubicBezTo>
                  <a:pt x="3719" y="2419"/>
                  <a:pt x="3719" y="2419"/>
                  <a:pt x="3719" y="2419"/>
                </a:cubicBezTo>
                <a:cubicBezTo>
                  <a:pt x="3799" y="2498"/>
                  <a:pt x="3894" y="2562"/>
                  <a:pt x="3990" y="2594"/>
                </a:cubicBezTo>
                <a:cubicBezTo>
                  <a:pt x="4037" y="2594"/>
                  <a:pt x="4069" y="2609"/>
                  <a:pt x="4117" y="2609"/>
                </a:cubicBezTo>
                <a:cubicBezTo>
                  <a:pt x="4213" y="2609"/>
                  <a:pt x="4292" y="2577"/>
                  <a:pt x="4388" y="2530"/>
                </a:cubicBezTo>
                <a:cubicBezTo>
                  <a:pt x="4499" y="2450"/>
                  <a:pt x="4579" y="2339"/>
                  <a:pt x="4610" y="2212"/>
                </a:cubicBezTo>
                <a:cubicBezTo>
                  <a:pt x="4642" y="2100"/>
                  <a:pt x="4626" y="1989"/>
                  <a:pt x="4579" y="1894"/>
                </a:cubicBezTo>
                <a:cubicBezTo>
                  <a:pt x="4706" y="1814"/>
                  <a:pt x="4706" y="1814"/>
                  <a:pt x="4706" y="1814"/>
                </a:cubicBezTo>
                <a:cubicBezTo>
                  <a:pt x="4737" y="1798"/>
                  <a:pt x="4754" y="1734"/>
                  <a:pt x="4737" y="1703"/>
                </a:cubicBezTo>
                <a:cubicBezTo>
                  <a:pt x="4642" y="1559"/>
                  <a:pt x="4499" y="1448"/>
                  <a:pt x="4356" y="1400"/>
                </a:cubicBezTo>
                <a:cubicBezTo>
                  <a:pt x="4340" y="1385"/>
                  <a:pt x="4340" y="1385"/>
                  <a:pt x="4340" y="1385"/>
                </a:cubicBezTo>
                <a:cubicBezTo>
                  <a:pt x="4133" y="955"/>
                  <a:pt x="3863" y="223"/>
                  <a:pt x="3863" y="207"/>
                </a:cubicBezTo>
                <a:cubicBezTo>
                  <a:pt x="3846" y="175"/>
                  <a:pt x="3815" y="159"/>
                  <a:pt x="3783" y="159"/>
                </a:cubicBezTo>
                <a:cubicBezTo>
                  <a:pt x="3767" y="159"/>
                  <a:pt x="3767" y="159"/>
                  <a:pt x="3767" y="159"/>
                </a:cubicBezTo>
                <a:cubicBezTo>
                  <a:pt x="3799" y="159"/>
                  <a:pt x="3846" y="128"/>
                  <a:pt x="3846" y="80"/>
                </a:cubicBezTo>
                <a:cubicBezTo>
                  <a:pt x="3846" y="32"/>
                  <a:pt x="3799" y="0"/>
                  <a:pt x="3767" y="0"/>
                </a:cubicBezTo>
                <a:cubicBezTo>
                  <a:pt x="3131" y="0"/>
                  <a:pt x="3131" y="0"/>
                  <a:pt x="3131" y="0"/>
                </a:cubicBezTo>
                <a:cubicBezTo>
                  <a:pt x="3083" y="0"/>
                  <a:pt x="3051" y="32"/>
                  <a:pt x="3051" y="80"/>
                </a:cubicBezTo>
                <a:cubicBezTo>
                  <a:pt x="3051" y="128"/>
                  <a:pt x="3083" y="159"/>
                  <a:pt x="3131" y="159"/>
                </a:cubicBezTo>
                <a:cubicBezTo>
                  <a:pt x="3528" y="159"/>
                  <a:pt x="3528" y="159"/>
                  <a:pt x="3528" y="159"/>
                </a:cubicBezTo>
                <a:cubicBezTo>
                  <a:pt x="3481" y="159"/>
                  <a:pt x="3449" y="191"/>
                  <a:pt x="3449" y="239"/>
                </a:cubicBezTo>
                <a:cubicBezTo>
                  <a:pt x="3449" y="732"/>
                  <a:pt x="3449" y="732"/>
                  <a:pt x="3449" y="732"/>
                </a:cubicBezTo>
                <a:cubicBezTo>
                  <a:pt x="3067" y="939"/>
                  <a:pt x="2972" y="1400"/>
                  <a:pt x="2955" y="1591"/>
                </a:cubicBezTo>
                <a:cubicBezTo>
                  <a:pt x="2446" y="1591"/>
                  <a:pt x="2446" y="1591"/>
                  <a:pt x="2446" y="1591"/>
                </a:cubicBezTo>
                <a:cubicBezTo>
                  <a:pt x="2431" y="1225"/>
                  <a:pt x="2224" y="828"/>
                  <a:pt x="2001" y="684"/>
                </a:cubicBezTo>
                <a:cubicBezTo>
                  <a:pt x="2001" y="668"/>
                  <a:pt x="2017" y="652"/>
                  <a:pt x="2017" y="637"/>
                </a:cubicBezTo>
                <a:cubicBezTo>
                  <a:pt x="2017" y="239"/>
                  <a:pt x="2017" y="239"/>
                  <a:pt x="2017" y="239"/>
                </a:cubicBezTo>
                <a:cubicBezTo>
                  <a:pt x="2017" y="191"/>
                  <a:pt x="1985" y="159"/>
                  <a:pt x="1937" y="159"/>
                </a:cubicBezTo>
                <a:cubicBezTo>
                  <a:pt x="506" y="159"/>
                  <a:pt x="506" y="159"/>
                  <a:pt x="506" y="159"/>
                </a:cubicBezTo>
                <a:cubicBezTo>
                  <a:pt x="458" y="159"/>
                  <a:pt x="426" y="191"/>
                  <a:pt x="426" y="239"/>
                </a:cubicBezTo>
                <a:cubicBezTo>
                  <a:pt x="426" y="716"/>
                  <a:pt x="426" y="716"/>
                  <a:pt x="426" y="716"/>
                </a:cubicBezTo>
                <a:cubicBezTo>
                  <a:pt x="426" y="764"/>
                  <a:pt x="458" y="795"/>
                  <a:pt x="506" y="795"/>
                </a:cubicBezTo>
                <a:cubicBezTo>
                  <a:pt x="585" y="795"/>
                  <a:pt x="585" y="795"/>
                  <a:pt x="585" y="795"/>
                </a:cubicBezTo>
                <a:cubicBezTo>
                  <a:pt x="585" y="1273"/>
                  <a:pt x="585" y="1273"/>
                  <a:pt x="585" y="1273"/>
                </a:cubicBezTo>
                <a:lnTo>
                  <a:pt x="585" y="1289"/>
                </a:lnTo>
                <a:cubicBezTo>
                  <a:pt x="346" y="1416"/>
                  <a:pt x="155" y="1639"/>
                  <a:pt x="12" y="1957"/>
                </a:cubicBezTo>
                <a:close/>
                <a:moveTo>
                  <a:pt x="1190" y="2450"/>
                </a:moveTo>
                <a:cubicBezTo>
                  <a:pt x="951" y="2450"/>
                  <a:pt x="760" y="2291"/>
                  <a:pt x="728" y="2068"/>
                </a:cubicBezTo>
                <a:cubicBezTo>
                  <a:pt x="1635" y="2068"/>
                  <a:pt x="1635" y="2068"/>
                  <a:pt x="1635" y="2068"/>
                </a:cubicBezTo>
                <a:cubicBezTo>
                  <a:pt x="1603" y="2291"/>
                  <a:pt x="1412" y="2450"/>
                  <a:pt x="1190" y="2450"/>
                </a:cubicBezTo>
                <a:close/>
                <a:moveTo>
                  <a:pt x="4451" y="2164"/>
                </a:moveTo>
                <a:cubicBezTo>
                  <a:pt x="4436" y="2259"/>
                  <a:pt x="4372" y="2339"/>
                  <a:pt x="4292" y="2386"/>
                </a:cubicBezTo>
                <a:cubicBezTo>
                  <a:pt x="4213" y="2434"/>
                  <a:pt x="4117" y="2450"/>
                  <a:pt x="4037" y="2434"/>
                </a:cubicBezTo>
                <a:cubicBezTo>
                  <a:pt x="3958" y="2419"/>
                  <a:pt x="3910" y="2386"/>
                  <a:pt x="3863" y="2339"/>
                </a:cubicBezTo>
                <a:cubicBezTo>
                  <a:pt x="4451" y="1973"/>
                  <a:pt x="4451" y="1973"/>
                  <a:pt x="4451" y="1973"/>
                </a:cubicBezTo>
                <a:cubicBezTo>
                  <a:pt x="4467" y="2037"/>
                  <a:pt x="4467" y="2100"/>
                  <a:pt x="4451" y="2164"/>
                </a:cubicBezTo>
                <a:close/>
                <a:moveTo>
                  <a:pt x="4546" y="1719"/>
                </a:moveTo>
                <a:cubicBezTo>
                  <a:pt x="4213" y="1941"/>
                  <a:pt x="4213" y="1941"/>
                  <a:pt x="4213" y="1941"/>
                </a:cubicBezTo>
                <a:cubicBezTo>
                  <a:pt x="3703" y="2243"/>
                  <a:pt x="3703" y="2243"/>
                  <a:pt x="3703" y="2243"/>
                </a:cubicBezTo>
                <a:cubicBezTo>
                  <a:pt x="3592" y="2323"/>
                  <a:pt x="3592" y="2323"/>
                  <a:pt x="3592" y="2323"/>
                </a:cubicBezTo>
                <a:cubicBezTo>
                  <a:pt x="3481" y="2068"/>
                  <a:pt x="3560" y="1750"/>
                  <a:pt x="3815" y="1607"/>
                </a:cubicBezTo>
                <a:cubicBezTo>
                  <a:pt x="3910" y="1543"/>
                  <a:pt x="4006" y="1512"/>
                  <a:pt x="4117" y="1512"/>
                </a:cubicBezTo>
                <a:cubicBezTo>
                  <a:pt x="4276" y="1512"/>
                  <a:pt x="4436" y="1591"/>
                  <a:pt x="4546" y="1719"/>
                </a:cubicBezTo>
                <a:close/>
                <a:moveTo>
                  <a:pt x="585" y="318"/>
                </a:moveTo>
                <a:cubicBezTo>
                  <a:pt x="1858" y="318"/>
                  <a:pt x="1858" y="318"/>
                  <a:pt x="1858" y="318"/>
                </a:cubicBezTo>
                <a:cubicBezTo>
                  <a:pt x="1858" y="637"/>
                  <a:pt x="1858" y="637"/>
                  <a:pt x="1858" y="637"/>
                </a:cubicBezTo>
                <a:cubicBezTo>
                  <a:pt x="1842" y="637"/>
                  <a:pt x="1842" y="637"/>
                  <a:pt x="1826" y="637"/>
                </a:cubicBezTo>
                <a:cubicBezTo>
                  <a:pt x="585" y="637"/>
                  <a:pt x="585" y="637"/>
                  <a:pt x="585" y="637"/>
                </a:cubicBezTo>
                <a:close/>
                <a:moveTo>
                  <a:pt x="744" y="795"/>
                </a:moveTo>
                <a:cubicBezTo>
                  <a:pt x="1826" y="795"/>
                  <a:pt x="1826" y="795"/>
                  <a:pt x="1826" y="795"/>
                </a:cubicBezTo>
                <a:cubicBezTo>
                  <a:pt x="1985" y="795"/>
                  <a:pt x="2303" y="1209"/>
                  <a:pt x="2303" y="1671"/>
                </a:cubicBezTo>
                <a:cubicBezTo>
                  <a:pt x="2303" y="1719"/>
                  <a:pt x="2335" y="1750"/>
                  <a:pt x="2383" y="1750"/>
                </a:cubicBezTo>
                <a:cubicBezTo>
                  <a:pt x="3019" y="1750"/>
                  <a:pt x="3019" y="1750"/>
                  <a:pt x="3019" y="1750"/>
                </a:cubicBezTo>
                <a:cubicBezTo>
                  <a:pt x="3067" y="1750"/>
                  <a:pt x="3099" y="1719"/>
                  <a:pt x="3099" y="1671"/>
                </a:cubicBezTo>
                <a:cubicBezTo>
                  <a:pt x="3099" y="1671"/>
                  <a:pt x="3131" y="1050"/>
                  <a:pt x="3560" y="859"/>
                </a:cubicBezTo>
                <a:cubicBezTo>
                  <a:pt x="3592" y="843"/>
                  <a:pt x="3608" y="812"/>
                  <a:pt x="3608" y="780"/>
                </a:cubicBezTo>
                <a:cubicBezTo>
                  <a:pt x="3608" y="318"/>
                  <a:pt x="3608" y="318"/>
                  <a:pt x="3608" y="318"/>
                </a:cubicBezTo>
                <a:cubicBezTo>
                  <a:pt x="3735" y="318"/>
                  <a:pt x="3735" y="318"/>
                  <a:pt x="3735" y="318"/>
                </a:cubicBezTo>
                <a:cubicBezTo>
                  <a:pt x="3783" y="477"/>
                  <a:pt x="3974" y="986"/>
                  <a:pt x="4149" y="1352"/>
                </a:cubicBezTo>
                <a:cubicBezTo>
                  <a:pt x="4006" y="1352"/>
                  <a:pt x="3863" y="1385"/>
                  <a:pt x="3735" y="1464"/>
                </a:cubicBezTo>
                <a:cubicBezTo>
                  <a:pt x="3560" y="1575"/>
                  <a:pt x="3449" y="1734"/>
                  <a:pt x="3401" y="1909"/>
                </a:cubicBezTo>
                <a:cubicBezTo>
                  <a:pt x="2017" y="1909"/>
                  <a:pt x="2017" y="1909"/>
                  <a:pt x="2017" y="1909"/>
                </a:cubicBezTo>
                <a:cubicBezTo>
                  <a:pt x="1969" y="1543"/>
                  <a:pt x="1603" y="1146"/>
                  <a:pt x="1190" y="1146"/>
                </a:cubicBezTo>
                <a:cubicBezTo>
                  <a:pt x="1031" y="1146"/>
                  <a:pt x="872" y="1177"/>
                  <a:pt x="744" y="1209"/>
                </a:cubicBezTo>
                <a:cubicBezTo>
                  <a:pt x="744" y="795"/>
                  <a:pt x="744" y="795"/>
                  <a:pt x="744" y="795"/>
                </a:cubicBezTo>
                <a:close/>
                <a:moveTo>
                  <a:pt x="1190" y="1305"/>
                </a:moveTo>
                <a:cubicBezTo>
                  <a:pt x="1524" y="1305"/>
                  <a:pt x="1810" y="1639"/>
                  <a:pt x="1858" y="1909"/>
                </a:cubicBezTo>
                <a:cubicBezTo>
                  <a:pt x="1731" y="1909"/>
                  <a:pt x="1731" y="1909"/>
                  <a:pt x="1731" y="1909"/>
                </a:cubicBezTo>
                <a:cubicBezTo>
                  <a:pt x="633" y="1909"/>
                  <a:pt x="633" y="1909"/>
                  <a:pt x="633" y="1909"/>
                </a:cubicBezTo>
                <a:cubicBezTo>
                  <a:pt x="203" y="1909"/>
                  <a:pt x="203" y="1909"/>
                  <a:pt x="203" y="1909"/>
                </a:cubicBezTo>
                <a:cubicBezTo>
                  <a:pt x="426" y="1496"/>
                  <a:pt x="744" y="1305"/>
                  <a:pt x="1190" y="130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5" name="Freeform: Shape 2">
            <a:extLst>
              <a:ext uri="{FF2B5EF4-FFF2-40B4-BE49-F238E27FC236}">
                <a16:creationId xmlns:a16="http://schemas.microsoft.com/office/drawing/2014/main" id="{DB63BE6B-7C48-A74C-9EAB-75500B5F29F6}"/>
              </a:ext>
            </a:extLst>
          </p:cNvPr>
          <p:cNvSpPr/>
          <p:nvPr/>
        </p:nvSpPr>
        <p:spPr>
          <a:xfrm>
            <a:off x="9981989" y="3657470"/>
            <a:ext cx="1769760" cy="801360"/>
          </a:xfrm>
          <a:custGeom>
            <a:avLst/>
            <a:gdLst/>
            <a:ahLst/>
            <a:cxnLst>
              <a:cxn ang="3cd4">
                <a:pos x="hc" y="t"/>
              </a:cxn>
              <a:cxn ang="cd2">
                <a:pos x="l" y="vc"/>
              </a:cxn>
              <a:cxn ang="cd4">
                <a:pos x="hc" y="b"/>
              </a:cxn>
              <a:cxn ang="0">
                <a:pos x="r" y="vc"/>
              </a:cxn>
            </a:cxnLst>
            <a:rect l="l" t="t" r="r" b="b"/>
            <a:pathLst>
              <a:path w="4917" h="2227">
                <a:moveTo>
                  <a:pt x="4917" y="79"/>
                </a:moveTo>
                <a:cubicBezTo>
                  <a:pt x="4917" y="48"/>
                  <a:pt x="4885" y="0"/>
                  <a:pt x="4837" y="0"/>
                </a:cubicBezTo>
                <a:lnTo>
                  <a:pt x="80" y="0"/>
                </a:lnTo>
                <a:cubicBezTo>
                  <a:pt x="32" y="0"/>
                  <a:pt x="0" y="48"/>
                  <a:pt x="0" y="79"/>
                </a:cubicBezTo>
                <a:cubicBezTo>
                  <a:pt x="0" y="127"/>
                  <a:pt x="32" y="159"/>
                  <a:pt x="80" y="159"/>
                </a:cubicBezTo>
                <a:lnTo>
                  <a:pt x="4837" y="159"/>
                </a:lnTo>
                <a:cubicBezTo>
                  <a:pt x="4885" y="159"/>
                  <a:pt x="4917" y="127"/>
                  <a:pt x="4917" y="79"/>
                </a:cubicBezTo>
                <a:close/>
                <a:moveTo>
                  <a:pt x="80" y="2227"/>
                </a:moveTo>
                <a:lnTo>
                  <a:pt x="4837" y="2227"/>
                </a:lnTo>
                <a:cubicBezTo>
                  <a:pt x="4885" y="2227"/>
                  <a:pt x="4917" y="2195"/>
                  <a:pt x="4917" y="2148"/>
                </a:cubicBezTo>
                <a:cubicBezTo>
                  <a:pt x="4917" y="2100"/>
                  <a:pt x="4885" y="2068"/>
                  <a:pt x="4837" y="2068"/>
                </a:cubicBezTo>
                <a:lnTo>
                  <a:pt x="80" y="2068"/>
                </a:lnTo>
                <a:cubicBezTo>
                  <a:pt x="32" y="2068"/>
                  <a:pt x="0" y="2100"/>
                  <a:pt x="0" y="2148"/>
                </a:cubicBezTo>
                <a:cubicBezTo>
                  <a:pt x="0" y="2195"/>
                  <a:pt x="32" y="2227"/>
                  <a:pt x="80" y="2227"/>
                </a:cubicBezTo>
                <a:close/>
                <a:moveTo>
                  <a:pt x="557" y="954"/>
                </a:moveTo>
                <a:cubicBezTo>
                  <a:pt x="509" y="954"/>
                  <a:pt x="478" y="986"/>
                  <a:pt x="478" y="1034"/>
                </a:cubicBezTo>
                <a:cubicBezTo>
                  <a:pt x="478" y="1082"/>
                  <a:pt x="509" y="1113"/>
                  <a:pt x="557" y="1113"/>
                </a:cubicBezTo>
                <a:lnTo>
                  <a:pt x="717" y="1113"/>
                </a:lnTo>
                <a:cubicBezTo>
                  <a:pt x="764" y="1113"/>
                  <a:pt x="796" y="1082"/>
                  <a:pt x="796" y="1034"/>
                </a:cubicBezTo>
                <a:cubicBezTo>
                  <a:pt x="796" y="986"/>
                  <a:pt x="764" y="954"/>
                  <a:pt x="717" y="954"/>
                </a:cubicBezTo>
                <a:close/>
                <a:moveTo>
                  <a:pt x="1512" y="954"/>
                </a:moveTo>
                <a:cubicBezTo>
                  <a:pt x="1464" y="954"/>
                  <a:pt x="1433" y="986"/>
                  <a:pt x="1433" y="1034"/>
                </a:cubicBezTo>
                <a:cubicBezTo>
                  <a:pt x="1433" y="1082"/>
                  <a:pt x="1464" y="1113"/>
                  <a:pt x="1512" y="1113"/>
                </a:cubicBezTo>
                <a:lnTo>
                  <a:pt x="1671" y="1113"/>
                </a:lnTo>
                <a:cubicBezTo>
                  <a:pt x="1719" y="1113"/>
                  <a:pt x="1751" y="1082"/>
                  <a:pt x="1751" y="1034"/>
                </a:cubicBezTo>
                <a:cubicBezTo>
                  <a:pt x="1751" y="986"/>
                  <a:pt x="1719" y="954"/>
                  <a:pt x="1671" y="954"/>
                </a:cubicBezTo>
                <a:close/>
                <a:moveTo>
                  <a:pt x="2467" y="954"/>
                </a:moveTo>
                <a:cubicBezTo>
                  <a:pt x="2419" y="954"/>
                  <a:pt x="2387" y="986"/>
                  <a:pt x="2387" y="1034"/>
                </a:cubicBezTo>
                <a:cubicBezTo>
                  <a:pt x="2387" y="1082"/>
                  <a:pt x="2419" y="1113"/>
                  <a:pt x="2467" y="1113"/>
                </a:cubicBezTo>
                <a:lnTo>
                  <a:pt x="2626" y="1113"/>
                </a:lnTo>
                <a:cubicBezTo>
                  <a:pt x="2657" y="1113"/>
                  <a:pt x="2705" y="1082"/>
                  <a:pt x="2705" y="1034"/>
                </a:cubicBezTo>
                <a:cubicBezTo>
                  <a:pt x="2705" y="986"/>
                  <a:pt x="2657" y="954"/>
                  <a:pt x="2626" y="954"/>
                </a:cubicBezTo>
                <a:close/>
                <a:moveTo>
                  <a:pt x="3421" y="954"/>
                </a:moveTo>
                <a:cubicBezTo>
                  <a:pt x="3373" y="954"/>
                  <a:pt x="3342" y="986"/>
                  <a:pt x="3342" y="1034"/>
                </a:cubicBezTo>
                <a:cubicBezTo>
                  <a:pt x="3342" y="1082"/>
                  <a:pt x="3373" y="1113"/>
                  <a:pt x="3421" y="1113"/>
                </a:cubicBezTo>
                <a:lnTo>
                  <a:pt x="3580" y="1113"/>
                </a:lnTo>
                <a:cubicBezTo>
                  <a:pt x="3612" y="1113"/>
                  <a:pt x="3660" y="1082"/>
                  <a:pt x="3660" y="1034"/>
                </a:cubicBezTo>
                <a:cubicBezTo>
                  <a:pt x="3660" y="986"/>
                  <a:pt x="3612" y="954"/>
                  <a:pt x="3580" y="954"/>
                </a:cubicBezTo>
                <a:close/>
                <a:moveTo>
                  <a:pt x="4376" y="954"/>
                </a:moveTo>
                <a:cubicBezTo>
                  <a:pt x="4328" y="954"/>
                  <a:pt x="4296" y="986"/>
                  <a:pt x="4296" y="1034"/>
                </a:cubicBezTo>
                <a:cubicBezTo>
                  <a:pt x="4296" y="1082"/>
                  <a:pt x="4328" y="1113"/>
                  <a:pt x="4376" y="1113"/>
                </a:cubicBezTo>
                <a:lnTo>
                  <a:pt x="4535" y="1113"/>
                </a:lnTo>
                <a:cubicBezTo>
                  <a:pt x="4567" y="1113"/>
                  <a:pt x="4615" y="1082"/>
                  <a:pt x="4615" y="1034"/>
                </a:cubicBezTo>
                <a:cubicBezTo>
                  <a:pt x="4615" y="986"/>
                  <a:pt x="4567" y="954"/>
                  <a:pt x="4535" y="95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6" name="Freeform: Shape 3">
            <a:extLst>
              <a:ext uri="{FF2B5EF4-FFF2-40B4-BE49-F238E27FC236}">
                <a16:creationId xmlns:a16="http://schemas.microsoft.com/office/drawing/2014/main" id="{C3D54B3D-0E2C-7246-9E98-94D70EC0B6EC}"/>
              </a:ext>
            </a:extLst>
          </p:cNvPr>
          <p:cNvSpPr/>
          <p:nvPr/>
        </p:nvSpPr>
        <p:spPr>
          <a:xfrm>
            <a:off x="17255373" y="10147412"/>
            <a:ext cx="1780920" cy="1053360"/>
          </a:xfrm>
          <a:custGeom>
            <a:avLst/>
            <a:gdLst/>
            <a:ahLst/>
            <a:cxnLst>
              <a:cxn ang="3cd4">
                <a:pos x="hc" y="t"/>
              </a:cxn>
              <a:cxn ang="cd2">
                <a:pos x="l" y="vc"/>
              </a:cxn>
              <a:cxn ang="cd4">
                <a:pos x="hc" y="b"/>
              </a:cxn>
              <a:cxn ang="0">
                <a:pos x="r" y="vc"/>
              </a:cxn>
            </a:cxnLst>
            <a:rect l="l" t="t" r="r" b="b"/>
            <a:pathLst>
              <a:path w="4948" h="2927">
                <a:moveTo>
                  <a:pt x="3993" y="2927"/>
                </a:moveTo>
                <a:cubicBezTo>
                  <a:pt x="4741" y="2927"/>
                  <a:pt x="4836" y="2736"/>
                  <a:pt x="4836" y="2657"/>
                </a:cubicBezTo>
                <a:cubicBezTo>
                  <a:pt x="4836" y="2609"/>
                  <a:pt x="4805" y="2577"/>
                  <a:pt x="4757" y="2561"/>
                </a:cubicBezTo>
                <a:cubicBezTo>
                  <a:pt x="4709" y="2577"/>
                  <a:pt x="4677" y="2593"/>
                  <a:pt x="4677" y="2641"/>
                </a:cubicBezTo>
                <a:cubicBezTo>
                  <a:pt x="4449" y="2683"/>
                  <a:pt x="4614" y="2768"/>
                  <a:pt x="3993" y="2768"/>
                </a:cubicBezTo>
                <a:lnTo>
                  <a:pt x="1893" y="2768"/>
                </a:lnTo>
                <a:cubicBezTo>
                  <a:pt x="1845" y="2768"/>
                  <a:pt x="1814" y="2800"/>
                  <a:pt x="1814" y="2848"/>
                </a:cubicBezTo>
                <a:cubicBezTo>
                  <a:pt x="1814" y="2895"/>
                  <a:pt x="1845" y="2927"/>
                  <a:pt x="1893" y="2927"/>
                </a:cubicBezTo>
                <a:close/>
                <a:moveTo>
                  <a:pt x="477" y="1543"/>
                </a:moveTo>
                <a:cubicBezTo>
                  <a:pt x="636" y="1543"/>
                  <a:pt x="779" y="1464"/>
                  <a:pt x="875" y="1336"/>
                </a:cubicBezTo>
                <a:cubicBezTo>
                  <a:pt x="1193" y="1416"/>
                  <a:pt x="1623" y="1543"/>
                  <a:pt x="1988" y="1622"/>
                </a:cubicBezTo>
                <a:lnTo>
                  <a:pt x="1988" y="1861"/>
                </a:lnTo>
                <a:cubicBezTo>
                  <a:pt x="1988" y="2068"/>
                  <a:pt x="2036" y="2227"/>
                  <a:pt x="2147" y="2339"/>
                </a:cubicBezTo>
                <a:cubicBezTo>
                  <a:pt x="2323" y="2513"/>
                  <a:pt x="2625" y="2545"/>
                  <a:pt x="2975" y="2545"/>
                </a:cubicBezTo>
                <a:lnTo>
                  <a:pt x="3150" y="2545"/>
                </a:lnTo>
                <a:cubicBezTo>
                  <a:pt x="3914" y="2529"/>
                  <a:pt x="4932" y="2609"/>
                  <a:pt x="4932" y="1766"/>
                </a:cubicBezTo>
                <a:cubicBezTo>
                  <a:pt x="4932" y="1018"/>
                  <a:pt x="3945" y="493"/>
                  <a:pt x="3054" y="493"/>
                </a:cubicBezTo>
                <a:lnTo>
                  <a:pt x="2943" y="493"/>
                </a:lnTo>
                <a:lnTo>
                  <a:pt x="2943" y="286"/>
                </a:lnTo>
                <a:lnTo>
                  <a:pt x="4773" y="366"/>
                </a:lnTo>
                <a:cubicBezTo>
                  <a:pt x="4868" y="366"/>
                  <a:pt x="4948" y="302"/>
                  <a:pt x="4948" y="222"/>
                </a:cubicBezTo>
                <a:cubicBezTo>
                  <a:pt x="4948" y="143"/>
                  <a:pt x="4868" y="79"/>
                  <a:pt x="4773" y="79"/>
                </a:cubicBezTo>
                <a:lnTo>
                  <a:pt x="2943" y="159"/>
                </a:lnTo>
                <a:lnTo>
                  <a:pt x="2943" y="79"/>
                </a:lnTo>
                <a:cubicBezTo>
                  <a:pt x="2943" y="31"/>
                  <a:pt x="2911" y="0"/>
                  <a:pt x="2863" y="0"/>
                </a:cubicBezTo>
                <a:cubicBezTo>
                  <a:pt x="2815" y="0"/>
                  <a:pt x="2784" y="31"/>
                  <a:pt x="2784" y="79"/>
                </a:cubicBezTo>
                <a:lnTo>
                  <a:pt x="2784" y="159"/>
                </a:lnTo>
                <a:lnTo>
                  <a:pt x="954" y="79"/>
                </a:lnTo>
                <a:cubicBezTo>
                  <a:pt x="859" y="79"/>
                  <a:pt x="779" y="143"/>
                  <a:pt x="779" y="222"/>
                </a:cubicBezTo>
                <a:cubicBezTo>
                  <a:pt x="779" y="302"/>
                  <a:pt x="859" y="366"/>
                  <a:pt x="954" y="366"/>
                </a:cubicBezTo>
                <a:lnTo>
                  <a:pt x="2784" y="286"/>
                </a:lnTo>
                <a:lnTo>
                  <a:pt x="2784" y="525"/>
                </a:lnTo>
                <a:cubicBezTo>
                  <a:pt x="2545" y="588"/>
                  <a:pt x="2402" y="731"/>
                  <a:pt x="2291" y="891"/>
                </a:cubicBezTo>
                <a:lnTo>
                  <a:pt x="923" y="891"/>
                </a:lnTo>
                <a:lnTo>
                  <a:pt x="923" y="875"/>
                </a:lnTo>
                <a:cubicBezTo>
                  <a:pt x="843" y="700"/>
                  <a:pt x="668" y="588"/>
                  <a:pt x="477" y="588"/>
                </a:cubicBezTo>
                <a:cubicBezTo>
                  <a:pt x="223" y="588"/>
                  <a:pt x="0" y="811"/>
                  <a:pt x="0" y="1066"/>
                </a:cubicBezTo>
                <a:cubicBezTo>
                  <a:pt x="0" y="1336"/>
                  <a:pt x="223" y="1543"/>
                  <a:pt x="477" y="1543"/>
                </a:cubicBezTo>
                <a:close/>
                <a:moveTo>
                  <a:pt x="3802" y="779"/>
                </a:moveTo>
                <a:lnTo>
                  <a:pt x="3818" y="779"/>
                </a:lnTo>
                <a:cubicBezTo>
                  <a:pt x="4311" y="939"/>
                  <a:pt x="4677" y="1273"/>
                  <a:pt x="4757" y="1639"/>
                </a:cubicBezTo>
                <a:cubicBezTo>
                  <a:pt x="4645" y="1734"/>
                  <a:pt x="4423" y="1782"/>
                  <a:pt x="3659" y="1782"/>
                </a:cubicBezTo>
                <a:cubicBezTo>
                  <a:pt x="3468" y="1782"/>
                  <a:pt x="3341" y="1670"/>
                  <a:pt x="3341" y="1495"/>
                </a:cubicBezTo>
                <a:cubicBezTo>
                  <a:pt x="3341" y="779"/>
                  <a:pt x="3500" y="779"/>
                  <a:pt x="3802" y="779"/>
                </a:cubicBezTo>
                <a:close/>
                <a:moveTo>
                  <a:pt x="2323" y="1050"/>
                </a:moveTo>
                <a:cubicBezTo>
                  <a:pt x="2354" y="1050"/>
                  <a:pt x="2370" y="1034"/>
                  <a:pt x="2386" y="1018"/>
                </a:cubicBezTo>
                <a:cubicBezTo>
                  <a:pt x="2529" y="827"/>
                  <a:pt x="2704" y="652"/>
                  <a:pt x="3054" y="652"/>
                </a:cubicBezTo>
                <a:cubicBezTo>
                  <a:pt x="3182" y="652"/>
                  <a:pt x="3309" y="668"/>
                  <a:pt x="3436" y="684"/>
                </a:cubicBezTo>
                <a:cubicBezTo>
                  <a:pt x="3261" y="779"/>
                  <a:pt x="3182" y="1002"/>
                  <a:pt x="3182" y="1495"/>
                </a:cubicBezTo>
                <a:cubicBezTo>
                  <a:pt x="3182" y="1750"/>
                  <a:pt x="3372" y="1941"/>
                  <a:pt x="3659" y="1941"/>
                </a:cubicBezTo>
                <a:cubicBezTo>
                  <a:pt x="4279" y="1941"/>
                  <a:pt x="4582" y="1909"/>
                  <a:pt x="4773" y="1813"/>
                </a:cubicBezTo>
                <a:cubicBezTo>
                  <a:pt x="4725" y="2339"/>
                  <a:pt x="4184" y="2370"/>
                  <a:pt x="3357" y="2370"/>
                </a:cubicBezTo>
                <a:cubicBezTo>
                  <a:pt x="3293" y="2370"/>
                  <a:pt x="3214" y="2386"/>
                  <a:pt x="3150" y="2386"/>
                </a:cubicBezTo>
                <a:cubicBezTo>
                  <a:pt x="2768" y="2386"/>
                  <a:pt x="2418" y="2386"/>
                  <a:pt x="2259" y="2227"/>
                </a:cubicBezTo>
                <a:cubicBezTo>
                  <a:pt x="2179" y="2148"/>
                  <a:pt x="2147" y="2036"/>
                  <a:pt x="2147" y="1861"/>
                </a:cubicBezTo>
                <a:lnTo>
                  <a:pt x="2147" y="1559"/>
                </a:lnTo>
                <a:cubicBezTo>
                  <a:pt x="2147" y="1527"/>
                  <a:pt x="2115" y="1495"/>
                  <a:pt x="2084" y="1479"/>
                </a:cubicBezTo>
                <a:cubicBezTo>
                  <a:pt x="1638" y="1384"/>
                  <a:pt x="1050" y="1225"/>
                  <a:pt x="732" y="1130"/>
                </a:cubicBezTo>
                <a:cubicBezTo>
                  <a:pt x="572" y="1097"/>
                  <a:pt x="477" y="1066"/>
                  <a:pt x="461" y="1066"/>
                </a:cubicBezTo>
                <a:lnTo>
                  <a:pt x="461" y="1050"/>
                </a:lnTo>
                <a:close/>
                <a:moveTo>
                  <a:pt x="477" y="748"/>
                </a:moveTo>
                <a:cubicBezTo>
                  <a:pt x="588" y="748"/>
                  <a:pt x="684" y="795"/>
                  <a:pt x="747" y="891"/>
                </a:cubicBezTo>
                <a:lnTo>
                  <a:pt x="461" y="891"/>
                </a:lnTo>
                <a:cubicBezTo>
                  <a:pt x="366" y="891"/>
                  <a:pt x="302" y="954"/>
                  <a:pt x="302" y="1050"/>
                </a:cubicBezTo>
                <a:cubicBezTo>
                  <a:pt x="286" y="1130"/>
                  <a:pt x="350" y="1209"/>
                  <a:pt x="429" y="1225"/>
                </a:cubicBezTo>
                <a:cubicBezTo>
                  <a:pt x="445" y="1225"/>
                  <a:pt x="541" y="1257"/>
                  <a:pt x="684" y="1288"/>
                </a:cubicBezTo>
                <a:lnTo>
                  <a:pt x="700" y="1288"/>
                </a:lnTo>
                <a:cubicBezTo>
                  <a:pt x="636" y="1352"/>
                  <a:pt x="556" y="1384"/>
                  <a:pt x="477" y="1384"/>
                </a:cubicBezTo>
                <a:cubicBezTo>
                  <a:pt x="302" y="1384"/>
                  <a:pt x="159" y="1241"/>
                  <a:pt x="159" y="1066"/>
                </a:cubicBezTo>
                <a:cubicBezTo>
                  <a:pt x="159" y="891"/>
                  <a:pt x="302" y="748"/>
                  <a:pt x="477" y="74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7" name="Freeform: Shape 4">
            <a:extLst>
              <a:ext uri="{FF2B5EF4-FFF2-40B4-BE49-F238E27FC236}">
                <a16:creationId xmlns:a16="http://schemas.microsoft.com/office/drawing/2014/main" id="{3CDA138D-DFF5-F049-99CA-145452DA4EE8}"/>
              </a:ext>
            </a:extLst>
          </p:cNvPr>
          <p:cNvSpPr/>
          <p:nvPr/>
        </p:nvSpPr>
        <p:spPr>
          <a:xfrm>
            <a:off x="9992180" y="6209140"/>
            <a:ext cx="1775160" cy="1769400"/>
          </a:xfrm>
          <a:custGeom>
            <a:avLst/>
            <a:gdLst/>
            <a:ahLst/>
            <a:cxnLst>
              <a:cxn ang="3cd4">
                <a:pos x="hc" y="t"/>
              </a:cxn>
              <a:cxn ang="cd2">
                <a:pos x="l" y="vc"/>
              </a:cxn>
              <a:cxn ang="cd4">
                <a:pos x="hc" y="b"/>
              </a:cxn>
              <a:cxn ang="0">
                <a:pos x="r" y="vc"/>
              </a:cxn>
            </a:cxnLst>
            <a:rect l="l" t="t" r="r" b="b"/>
            <a:pathLst>
              <a:path w="4932" h="4916">
                <a:moveTo>
                  <a:pt x="2466" y="4422"/>
                </a:moveTo>
                <a:cubicBezTo>
                  <a:pt x="3548" y="4422"/>
                  <a:pt x="4422" y="3547"/>
                  <a:pt x="4422" y="2465"/>
                </a:cubicBezTo>
                <a:cubicBezTo>
                  <a:pt x="4422" y="1383"/>
                  <a:pt x="3548" y="492"/>
                  <a:pt x="2466" y="492"/>
                </a:cubicBezTo>
                <a:cubicBezTo>
                  <a:pt x="1384" y="492"/>
                  <a:pt x="493" y="1383"/>
                  <a:pt x="493" y="2465"/>
                </a:cubicBezTo>
                <a:cubicBezTo>
                  <a:pt x="493" y="3547"/>
                  <a:pt x="1384" y="4422"/>
                  <a:pt x="2466" y="4422"/>
                </a:cubicBezTo>
                <a:close/>
                <a:moveTo>
                  <a:pt x="715" y="2943"/>
                </a:moveTo>
                <a:lnTo>
                  <a:pt x="1575" y="2943"/>
                </a:lnTo>
                <a:cubicBezTo>
                  <a:pt x="1813" y="2943"/>
                  <a:pt x="1988" y="3118"/>
                  <a:pt x="1988" y="3356"/>
                </a:cubicBezTo>
                <a:lnTo>
                  <a:pt x="1988" y="4152"/>
                </a:lnTo>
                <a:cubicBezTo>
                  <a:pt x="1988" y="4168"/>
                  <a:pt x="2004" y="4200"/>
                  <a:pt x="2020" y="4216"/>
                </a:cubicBezTo>
                <a:cubicBezTo>
                  <a:pt x="1384" y="4056"/>
                  <a:pt x="891" y="3563"/>
                  <a:pt x="715" y="2943"/>
                </a:cubicBezTo>
                <a:close/>
                <a:moveTo>
                  <a:pt x="2084" y="4231"/>
                </a:moveTo>
                <a:cubicBezTo>
                  <a:pt x="2116" y="4216"/>
                  <a:pt x="2148" y="4183"/>
                  <a:pt x="2148" y="4152"/>
                </a:cubicBezTo>
                <a:lnTo>
                  <a:pt x="2148" y="3356"/>
                </a:lnTo>
                <a:cubicBezTo>
                  <a:pt x="2148" y="3038"/>
                  <a:pt x="1893" y="2783"/>
                  <a:pt x="1575" y="2783"/>
                </a:cubicBezTo>
                <a:lnTo>
                  <a:pt x="684" y="2783"/>
                </a:lnTo>
                <a:cubicBezTo>
                  <a:pt x="668" y="2672"/>
                  <a:pt x="652" y="2577"/>
                  <a:pt x="652" y="2465"/>
                </a:cubicBezTo>
                <a:cubicBezTo>
                  <a:pt x="652" y="2386"/>
                  <a:pt x="668" y="2306"/>
                  <a:pt x="668" y="2243"/>
                </a:cubicBezTo>
                <a:cubicBezTo>
                  <a:pt x="1113" y="2227"/>
                  <a:pt x="1431" y="2083"/>
                  <a:pt x="1702" y="1956"/>
                </a:cubicBezTo>
                <a:cubicBezTo>
                  <a:pt x="1940" y="1845"/>
                  <a:pt x="2179" y="1749"/>
                  <a:pt x="2466" y="1749"/>
                </a:cubicBezTo>
                <a:cubicBezTo>
                  <a:pt x="2752" y="1749"/>
                  <a:pt x="3007" y="1861"/>
                  <a:pt x="3261" y="1972"/>
                </a:cubicBezTo>
                <a:cubicBezTo>
                  <a:pt x="3548" y="2100"/>
                  <a:pt x="3850" y="2227"/>
                  <a:pt x="4264" y="2243"/>
                </a:cubicBezTo>
                <a:lnTo>
                  <a:pt x="4264" y="2465"/>
                </a:lnTo>
                <a:cubicBezTo>
                  <a:pt x="4264" y="2577"/>
                  <a:pt x="4264" y="2672"/>
                  <a:pt x="4248" y="2783"/>
                </a:cubicBezTo>
                <a:lnTo>
                  <a:pt x="3357" y="2783"/>
                </a:lnTo>
                <a:cubicBezTo>
                  <a:pt x="3039" y="2783"/>
                  <a:pt x="2784" y="3038"/>
                  <a:pt x="2784" y="3356"/>
                </a:cubicBezTo>
                <a:lnTo>
                  <a:pt x="2784" y="4152"/>
                </a:lnTo>
                <a:cubicBezTo>
                  <a:pt x="2784" y="4183"/>
                  <a:pt x="2816" y="4216"/>
                  <a:pt x="2848" y="4231"/>
                </a:cubicBezTo>
                <a:cubicBezTo>
                  <a:pt x="2720" y="4247"/>
                  <a:pt x="2593" y="4263"/>
                  <a:pt x="2466" y="4263"/>
                </a:cubicBezTo>
                <a:cubicBezTo>
                  <a:pt x="2339" y="4263"/>
                  <a:pt x="2211" y="4247"/>
                  <a:pt x="2084" y="4231"/>
                </a:cubicBezTo>
                <a:close/>
                <a:moveTo>
                  <a:pt x="2911" y="4216"/>
                </a:moveTo>
                <a:cubicBezTo>
                  <a:pt x="2927" y="4200"/>
                  <a:pt x="2943" y="4168"/>
                  <a:pt x="2943" y="4152"/>
                </a:cubicBezTo>
                <a:lnTo>
                  <a:pt x="2943" y="3356"/>
                </a:lnTo>
                <a:cubicBezTo>
                  <a:pt x="2943" y="3134"/>
                  <a:pt x="3134" y="2943"/>
                  <a:pt x="3357" y="2943"/>
                </a:cubicBezTo>
                <a:lnTo>
                  <a:pt x="4200" y="2943"/>
                </a:lnTo>
                <a:cubicBezTo>
                  <a:pt x="4041" y="3563"/>
                  <a:pt x="3531" y="4056"/>
                  <a:pt x="2911" y="4216"/>
                </a:cubicBezTo>
                <a:close/>
                <a:moveTo>
                  <a:pt x="2466" y="652"/>
                </a:moveTo>
                <a:cubicBezTo>
                  <a:pt x="3325" y="652"/>
                  <a:pt x="4057" y="1272"/>
                  <a:pt x="4231" y="2083"/>
                </a:cubicBezTo>
                <a:cubicBezTo>
                  <a:pt x="3866" y="2068"/>
                  <a:pt x="3595" y="1940"/>
                  <a:pt x="3325" y="1829"/>
                </a:cubicBezTo>
                <a:cubicBezTo>
                  <a:pt x="3054" y="1702"/>
                  <a:pt x="2800" y="1591"/>
                  <a:pt x="2466" y="1591"/>
                </a:cubicBezTo>
                <a:cubicBezTo>
                  <a:pt x="2131" y="1591"/>
                  <a:pt x="1893" y="1702"/>
                  <a:pt x="1639" y="1813"/>
                </a:cubicBezTo>
                <a:cubicBezTo>
                  <a:pt x="1368" y="1940"/>
                  <a:pt x="1097" y="2068"/>
                  <a:pt x="700" y="2083"/>
                </a:cubicBezTo>
                <a:cubicBezTo>
                  <a:pt x="875" y="1272"/>
                  <a:pt x="1591" y="652"/>
                  <a:pt x="2466" y="652"/>
                </a:cubicBezTo>
                <a:close/>
                <a:moveTo>
                  <a:pt x="2466" y="4916"/>
                </a:moveTo>
                <a:cubicBezTo>
                  <a:pt x="3818" y="4916"/>
                  <a:pt x="4932" y="3818"/>
                  <a:pt x="4932" y="2465"/>
                </a:cubicBezTo>
                <a:cubicBezTo>
                  <a:pt x="4932" y="1097"/>
                  <a:pt x="3818" y="0"/>
                  <a:pt x="2466" y="0"/>
                </a:cubicBezTo>
                <a:cubicBezTo>
                  <a:pt x="1113" y="0"/>
                  <a:pt x="0" y="1097"/>
                  <a:pt x="0" y="2465"/>
                </a:cubicBezTo>
                <a:cubicBezTo>
                  <a:pt x="0" y="3818"/>
                  <a:pt x="1113" y="4916"/>
                  <a:pt x="2466" y="4916"/>
                </a:cubicBezTo>
                <a:close/>
                <a:moveTo>
                  <a:pt x="2466" y="158"/>
                </a:moveTo>
                <a:cubicBezTo>
                  <a:pt x="3739" y="158"/>
                  <a:pt x="4773" y="1192"/>
                  <a:pt x="4773" y="2465"/>
                </a:cubicBezTo>
                <a:cubicBezTo>
                  <a:pt x="4773" y="3738"/>
                  <a:pt x="3739" y="4756"/>
                  <a:pt x="2466" y="4756"/>
                </a:cubicBezTo>
                <a:cubicBezTo>
                  <a:pt x="1193" y="4756"/>
                  <a:pt x="159" y="3738"/>
                  <a:pt x="159" y="2465"/>
                </a:cubicBezTo>
                <a:cubicBezTo>
                  <a:pt x="159" y="1192"/>
                  <a:pt x="1193" y="158"/>
                  <a:pt x="2466" y="158"/>
                </a:cubicBezTo>
                <a:close/>
                <a:moveTo>
                  <a:pt x="2943" y="2465"/>
                </a:moveTo>
                <a:cubicBezTo>
                  <a:pt x="2943" y="2195"/>
                  <a:pt x="2720" y="1988"/>
                  <a:pt x="2466" y="1988"/>
                </a:cubicBezTo>
                <a:cubicBezTo>
                  <a:pt x="2195" y="1988"/>
                  <a:pt x="1988" y="2195"/>
                  <a:pt x="1988" y="2465"/>
                </a:cubicBezTo>
                <a:cubicBezTo>
                  <a:pt x="1988" y="2720"/>
                  <a:pt x="2195" y="2943"/>
                  <a:pt x="2466" y="2943"/>
                </a:cubicBezTo>
                <a:cubicBezTo>
                  <a:pt x="2720" y="2943"/>
                  <a:pt x="2943" y="2720"/>
                  <a:pt x="2943" y="2465"/>
                </a:cubicBezTo>
                <a:close/>
                <a:moveTo>
                  <a:pt x="2466" y="2783"/>
                </a:moveTo>
                <a:cubicBezTo>
                  <a:pt x="2291" y="2783"/>
                  <a:pt x="2148" y="2640"/>
                  <a:pt x="2148" y="2465"/>
                </a:cubicBezTo>
                <a:cubicBezTo>
                  <a:pt x="2148" y="2291"/>
                  <a:pt x="2291" y="2147"/>
                  <a:pt x="2466" y="2147"/>
                </a:cubicBezTo>
                <a:cubicBezTo>
                  <a:pt x="2640" y="2147"/>
                  <a:pt x="2784" y="2291"/>
                  <a:pt x="2784" y="2465"/>
                </a:cubicBezTo>
                <a:cubicBezTo>
                  <a:pt x="2784" y="2640"/>
                  <a:pt x="2640" y="2783"/>
                  <a:pt x="2466" y="278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8" name="Freeform: Shape 5">
            <a:extLst>
              <a:ext uri="{FF2B5EF4-FFF2-40B4-BE49-F238E27FC236}">
                <a16:creationId xmlns:a16="http://schemas.microsoft.com/office/drawing/2014/main" id="{D2588F3B-8C80-9245-BC15-D3458AB248CE}"/>
              </a:ext>
            </a:extLst>
          </p:cNvPr>
          <p:cNvSpPr/>
          <p:nvPr/>
        </p:nvSpPr>
        <p:spPr>
          <a:xfrm>
            <a:off x="17417683" y="6571366"/>
            <a:ext cx="1551599" cy="1500479"/>
          </a:xfrm>
          <a:custGeom>
            <a:avLst/>
            <a:gdLst/>
            <a:ahLst/>
            <a:cxnLst>
              <a:cxn ang="3cd4">
                <a:pos x="hc" y="t"/>
              </a:cxn>
              <a:cxn ang="cd2">
                <a:pos x="l" y="vc"/>
              </a:cxn>
              <a:cxn ang="cd4">
                <a:pos x="hc" y="b"/>
              </a:cxn>
              <a:cxn ang="0">
                <a:pos x="r" y="vc"/>
              </a:cxn>
            </a:cxnLst>
            <a:rect l="l" t="t" r="r" b="b"/>
            <a:pathLst>
              <a:path w="4311" h="4169">
                <a:moveTo>
                  <a:pt x="1209" y="1749"/>
                </a:moveTo>
                <a:lnTo>
                  <a:pt x="843" y="2115"/>
                </a:lnTo>
                <a:cubicBezTo>
                  <a:pt x="763" y="2195"/>
                  <a:pt x="763" y="2322"/>
                  <a:pt x="843" y="2402"/>
                </a:cubicBezTo>
                <a:lnTo>
                  <a:pt x="1193" y="2752"/>
                </a:lnTo>
                <a:cubicBezTo>
                  <a:pt x="1257" y="2815"/>
                  <a:pt x="1320" y="2847"/>
                  <a:pt x="1400" y="2847"/>
                </a:cubicBezTo>
                <a:cubicBezTo>
                  <a:pt x="1479" y="2847"/>
                  <a:pt x="1559" y="2815"/>
                  <a:pt x="1623" y="2752"/>
                </a:cubicBezTo>
                <a:lnTo>
                  <a:pt x="2084" y="2290"/>
                </a:lnTo>
                <a:cubicBezTo>
                  <a:pt x="2163" y="2211"/>
                  <a:pt x="2163" y="2084"/>
                  <a:pt x="2084" y="2004"/>
                </a:cubicBezTo>
                <a:lnTo>
                  <a:pt x="1829" y="1749"/>
                </a:lnTo>
                <a:cubicBezTo>
                  <a:pt x="1654" y="1576"/>
                  <a:pt x="1384" y="1576"/>
                  <a:pt x="1209" y="1749"/>
                </a:cubicBezTo>
                <a:close/>
                <a:moveTo>
                  <a:pt x="1591" y="1781"/>
                </a:moveTo>
                <a:cubicBezTo>
                  <a:pt x="1400" y="2036"/>
                  <a:pt x="1415" y="2322"/>
                  <a:pt x="1415" y="2338"/>
                </a:cubicBezTo>
                <a:cubicBezTo>
                  <a:pt x="1415" y="2370"/>
                  <a:pt x="1447" y="2402"/>
                  <a:pt x="1495" y="2402"/>
                </a:cubicBezTo>
                <a:cubicBezTo>
                  <a:pt x="1543" y="2402"/>
                  <a:pt x="1575" y="2370"/>
                  <a:pt x="1575" y="2322"/>
                </a:cubicBezTo>
                <a:cubicBezTo>
                  <a:pt x="1628" y="2168"/>
                  <a:pt x="1559" y="2067"/>
                  <a:pt x="1734" y="1861"/>
                </a:cubicBezTo>
                <a:lnTo>
                  <a:pt x="1972" y="2115"/>
                </a:lnTo>
                <a:cubicBezTo>
                  <a:pt x="1988" y="2131"/>
                  <a:pt x="1988" y="2163"/>
                  <a:pt x="1972" y="2179"/>
                </a:cubicBezTo>
                <a:lnTo>
                  <a:pt x="1511" y="2640"/>
                </a:lnTo>
                <a:cubicBezTo>
                  <a:pt x="1447" y="2688"/>
                  <a:pt x="1352" y="2688"/>
                  <a:pt x="1304" y="2640"/>
                </a:cubicBezTo>
                <a:lnTo>
                  <a:pt x="954" y="2290"/>
                </a:lnTo>
                <a:cubicBezTo>
                  <a:pt x="938" y="2275"/>
                  <a:pt x="938" y="2243"/>
                  <a:pt x="954" y="2227"/>
                </a:cubicBezTo>
                <a:lnTo>
                  <a:pt x="1320" y="1861"/>
                </a:lnTo>
                <a:cubicBezTo>
                  <a:pt x="1368" y="1813"/>
                  <a:pt x="1447" y="1781"/>
                  <a:pt x="1527" y="1781"/>
                </a:cubicBezTo>
                <a:close/>
                <a:moveTo>
                  <a:pt x="4232" y="0"/>
                </a:moveTo>
                <a:lnTo>
                  <a:pt x="3468" y="0"/>
                </a:lnTo>
                <a:cubicBezTo>
                  <a:pt x="3341" y="16"/>
                  <a:pt x="3229" y="64"/>
                  <a:pt x="3134" y="159"/>
                </a:cubicBezTo>
                <a:lnTo>
                  <a:pt x="2736" y="557"/>
                </a:lnTo>
                <a:lnTo>
                  <a:pt x="2657" y="478"/>
                </a:lnTo>
                <a:cubicBezTo>
                  <a:pt x="2593" y="430"/>
                  <a:pt x="2514" y="398"/>
                  <a:pt x="2434" y="430"/>
                </a:cubicBezTo>
                <a:lnTo>
                  <a:pt x="2306" y="478"/>
                </a:lnTo>
                <a:lnTo>
                  <a:pt x="2275" y="446"/>
                </a:lnTo>
                <a:cubicBezTo>
                  <a:pt x="2148" y="319"/>
                  <a:pt x="1925" y="319"/>
                  <a:pt x="1781" y="446"/>
                </a:cubicBezTo>
                <a:lnTo>
                  <a:pt x="1463" y="780"/>
                </a:lnTo>
                <a:cubicBezTo>
                  <a:pt x="1415" y="812"/>
                  <a:pt x="1384" y="876"/>
                  <a:pt x="1384" y="939"/>
                </a:cubicBezTo>
                <a:cubicBezTo>
                  <a:pt x="1384" y="955"/>
                  <a:pt x="1400" y="971"/>
                  <a:pt x="1400" y="1003"/>
                </a:cubicBezTo>
                <a:lnTo>
                  <a:pt x="334" y="2068"/>
                </a:lnTo>
                <a:cubicBezTo>
                  <a:pt x="270" y="2132"/>
                  <a:pt x="254" y="2228"/>
                  <a:pt x="286" y="2291"/>
                </a:cubicBezTo>
                <a:cubicBezTo>
                  <a:pt x="111" y="2482"/>
                  <a:pt x="0" y="2753"/>
                  <a:pt x="0" y="3023"/>
                </a:cubicBezTo>
                <a:cubicBezTo>
                  <a:pt x="0" y="3437"/>
                  <a:pt x="286" y="3994"/>
                  <a:pt x="923" y="4169"/>
                </a:cubicBezTo>
                <a:lnTo>
                  <a:pt x="938" y="4169"/>
                </a:lnTo>
                <a:cubicBezTo>
                  <a:pt x="970" y="4169"/>
                  <a:pt x="1002" y="4153"/>
                  <a:pt x="1018" y="4121"/>
                </a:cubicBezTo>
                <a:cubicBezTo>
                  <a:pt x="1034" y="4073"/>
                  <a:pt x="1002" y="4026"/>
                  <a:pt x="954" y="4026"/>
                </a:cubicBezTo>
                <a:cubicBezTo>
                  <a:pt x="381" y="3850"/>
                  <a:pt x="159" y="3326"/>
                  <a:pt x="159" y="3023"/>
                </a:cubicBezTo>
                <a:cubicBezTo>
                  <a:pt x="159" y="2801"/>
                  <a:pt x="254" y="2578"/>
                  <a:pt x="397" y="2419"/>
                </a:cubicBezTo>
                <a:lnTo>
                  <a:pt x="1097" y="3103"/>
                </a:lnTo>
                <a:cubicBezTo>
                  <a:pt x="1177" y="3198"/>
                  <a:pt x="1288" y="3246"/>
                  <a:pt x="1400" y="3246"/>
                </a:cubicBezTo>
                <a:cubicBezTo>
                  <a:pt x="1527" y="3246"/>
                  <a:pt x="1638" y="3198"/>
                  <a:pt x="1718" y="3103"/>
                </a:cubicBezTo>
                <a:lnTo>
                  <a:pt x="2593" y="2228"/>
                </a:lnTo>
                <a:lnTo>
                  <a:pt x="2609" y="2244"/>
                </a:lnTo>
                <a:cubicBezTo>
                  <a:pt x="2657" y="2291"/>
                  <a:pt x="2704" y="2307"/>
                  <a:pt x="2768" y="2307"/>
                </a:cubicBezTo>
                <a:cubicBezTo>
                  <a:pt x="2832" y="2307"/>
                  <a:pt x="2879" y="2291"/>
                  <a:pt x="2927" y="2244"/>
                </a:cubicBezTo>
                <a:lnTo>
                  <a:pt x="3006" y="2164"/>
                </a:lnTo>
                <a:cubicBezTo>
                  <a:pt x="3070" y="2101"/>
                  <a:pt x="3102" y="2021"/>
                  <a:pt x="3102" y="1925"/>
                </a:cubicBezTo>
                <a:lnTo>
                  <a:pt x="3038" y="1385"/>
                </a:lnTo>
                <a:cubicBezTo>
                  <a:pt x="3038" y="1273"/>
                  <a:pt x="3006" y="1178"/>
                  <a:pt x="2927" y="1098"/>
                </a:cubicBezTo>
                <a:lnTo>
                  <a:pt x="2879" y="1050"/>
                </a:lnTo>
                <a:lnTo>
                  <a:pt x="2927" y="923"/>
                </a:lnTo>
                <a:cubicBezTo>
                  <a:pt x="2959" y="844"/>
                  <a:pt x="2943" y="764"/>
                  <a:pt x="2879" y="700"/>
                </a:cubicBezTo>
                <a:lnTo>
                  <a:pt x="2848" y="668"/>
                </a:lnTo>
                <a:lnTo>
                  <a:pt x="3245" y="271"/>
                </a:lnTo>
                <a:cubicBezTo>
                  <a:pt x="3309" y="207"/>
                  <a:pt x="3388" y="159"/>
                  <a:pt x="3468" y="159"/>
                </a:cubicBezTo>
                <a:lnTo>
                  <a:pt x="4232" y="159"/>
                </a:lnTo>
                <a:cubicBezTo>
                  <a:pt x="4279" y="159"/>
                  <a:pt x="4311" y="112"/>
                  <a:pt x="4311" y="80"/>
                </a:cubicBezTo>
                <a:cubicBezTo>
                  <a:pt x="4311" y="32"/>
                  <a:pt x="4279" y="0"/>
                  <a:pt x="4232" y="0"/>
                </a:cubicBezTo>
                <a:close/>
                <a:moveTo>
                  <a:pt x="1606" y="2992"/>
                </a:moveTo>
                <a:cubicBezTo>
                  <a:pt x="1495" y="3103"/>
                  <a:pt x="1320" y="3103"/>
                  <a:pt x="1209" y="2992"/>
                </a:cubicBezTo>
                <a:lnTo>
                  <a:pt x="445" y="2244"/>
                </a:lnTo>
                <a:cubicBezTo>
                  <a:pt x="429" y="2228"/>
                  <a:pt x="429" y="2196"/>
                  <a:pt x="445" y="2180"/>
                </a:cubicBezTo>
                <a:lnTo>
                  <a:pt x="1495" y="1130"/>
                </a:lnTo>
                <a:lnTo>
                  <a:pt x="2482" y="2116"/>
                </a:lnTo>
                <a:close/>
                <a:moveTo>
                  <a:pt x="2943" y="1925"/>
                </a:moveTo>
                <a:cubicBezTo>
                  <a:pt x="2943" y="1973"/>
                  <a:pt x="2927" y="2021"/>
                  <a:pt x="2895" y="2053"/>
                </a:cubicBezTo>
                <a:lnTo>
                  <a:pt x="2815" y="2132"/>
                </a:lnTo>
                <a:cubicBezTo>
                  <a:pt x="2784" y="2164"/>
                  <a:pt x="2736" y="2164"/>
                  <a:pt x="2720" y="2132"/>
                </a:cubicBezTo>
                <a:lnTo>
                  <a:pt x="1575" y="987"/>
                </a:lnTo>
                <a:cubicBezTo>
                  <a:pt x="1559" y="971"/>
                  <a:pt x="1543" y="955"/>
                  <a:pt x="1543" y="939"/>
                </a:cubicBezTo>
                <a:cubicBezTo>
                  <a:pt x="1543" y="923"/>
                  <a:pt x="1559" y="891"/>
                  <a:pt x="1575" y="891"/>
                </a:cubicBezTo>
                <a:lnTo>
                  <a:pt x="1893" y="557"/>
                </a:lnTo>
                <a:cubicBezTo>
                  <a:pt x="1925" y="525"/>
                  <a:pt x="1972" y="510"/>
                  <a:pt x="2036" y="510"/>
                </a:cubicBezTo>
                <a:cubicBezTo>
                  <a:pt x="2084" y="510"/>
                  <a:pt x="2132" y="525"/>
                  <a:pt x="2163" y="557"/>
                </a:cubicBezTo>
                <a:lnTo>
                  <a:pt x="2227" y="621"/>
                </a:lnTo>
                <a:cubicBezTo>
                  <a:pt x="2243" y="637"/>
                  <a:pt x="2275" y="653"/>
                  <a:pt x="2306" y="637"/>
                </a:cubicBezTo>
                <a:lnTo>
                  <a:pt x="2497" y="589"/>
                </a:lnTo>
                <a:cubicBezTo>
                  <a:pt x="2514" y="573"/>
                  <a:pt x="2529" y="573"/>
                  <a:pt x="2545" y="589"/>
                </a:cubicBezTo>
                <a:lnTo>
                  <a:pt x="2768" y="828"/>
                </a:lnTo>
                <a:cubicBezTo>
                  <a:pt x="2784" y="828"/>
                  <a:pt x="2784" y="859"/>
                  <a:pt x="2784" y="876"/>
                </a:cubicBezTo>
                <a:lnTo>
                  <a:pt x="2720" y="1050"/>
                </a:lnTo>
                <a:cubicBezTo>
                  <a:pt x="2704" y="1082"/>
                  <a:pt x="2720" y="1114"/>
                  <a:pt x="2736" y="1130"/>
                </a:cubicBezTo>
                <a:lnTo>
                  <a:pt x="2815" y="1210"/>
                </a:lnTo>
                <a:cubicBezTo>
                  <a:pt x="2863" y="1257"/>
                  <a:pt x="2879" y="1305"/>
                  <a:pt x="2879" y="138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9" name="Freeform: Shape 6">
            <a:extLst>
              <a:ext uri="{FF2B5EF4-FFF2-40B4-BE49-F238E27FC236}">
                <a16:creationId xmlns:a16="http://schemas.microsoft.com/office/drawing/2014/main" id="{C7A8443A-D200-814B-A5E4-13CEDD7BC674}"/>
              </a:ext>
            </a:extLst>
          </p:cNvPr>
          <p:cNvSpPr/>
          <p:nvPr/>
        </p:nvSpPr>
        <p:spPr>
          <a:xfrm>
            <a:off x="5858863" y="6042544"/>
            <a:ext cx="1848960" cy="1849680"/>
          </a:xfrm>
          <a:custGeom>
            <a:avLst/>
            <a:gdLst/>
            <a:ahLst/>
            <a:cxnLst>
              <a:cxn ang="3cd4">
                <a:pos x="hc" y="t"/>
              </a:cxn>
              <a:cxn ang="cd2">
                <a:pos x="l" y="vc"/>
              </a:cxn>
              <a:cxn ang="cd4">
                <a:pos x="hc" y="b"/>
              </a:cxn>
              <a:cxn ang="0">
                <a:pos x="r" y="vc"/>
              </a:cxn>
            </a:cxnLst>
            <a:rect l="l" t="t" r="r" b="b"/>
            <a:pathLst>
              <a:path w="5137" h="5139">
                <a:moveTo>
                  <a:pt x="1050" y="3326"/>
                </a:moveTo>
                <a:cubicBezTo>
                  <a:pt x="1177" y="3342"/>
                  <a:pt x="1289" y="3326"/>
                  <a:pt x="1384" y="3278"/>
                </a:cubicBezTo>
                <a:cubicBezTo>
                  <a:pt x="1782" y="3564"/>
                  <a:pt x="1782" y="3564"/>
                  <a:pt x="1782" y="3564"/>
                </a:cubicBezTo>
                <a:cubicBezTo>
                  <a:pt x="1893" y="3644"/>
                  <a:pt x="2227" y="3962"/>
                  <a:pt x="2371" y="4105"/>
                </a:cubicBezTo>
                <a:cubicBezTo>
                  <a:pt x="2371" y="5060"/>
                  <a:pt x="2371" y="5060"/>
                  <a:pt x="2371" y="5060"/>
                </a:cubicBezTo>
                <a:cubicBezTo>
                  <a:pt x="2371" y="5091"/>
                  <a:pt x="2402" y="5139"/>
                  <a:pt x="2450" y="5139"/>
                </a:cubicBezTo>
                <a:cubicBezTo>
                  <a:pt x="2498" y="5139"/>
                  <a:pt x="2529" y="5091"/>
                  <a:pt x="2529" y="5060"/>
                </a:cubicBezTo>
                <a:cubicBezTo>
                  <a:pt x="2529" y="4169"/>
                  <a:pt x="2529" y="4169"/>
                  <a:pt x="2529" y="4169"/>
                </a:cubicBezTo>
                <a:cubicBezTo>
                  <a:pt x="2546" y="4153"/>
                  <a:pt x="2546" y="4153"/>
                  <a:pt x="2561" y="4137"/>
                </a:cubicBezTo>
                <a:cubicBezTo>
                  <a:pt x="2561" y="4137"/>
                  <a:pt x="2800" y="3803"/>
                  <a:pt x="3038" y="3612"/>
                </a:cubicBezTo>
                <a:cubicBezTo>
                  <a:pt x="3325" y="3405"/>
                  <a:pt x="3516" y="3342"/>
                  <a:pt x="3580" y="3326"/>
                </a:cubicBezTo>
                <a:cubicBezTo>
                  <a:pt x="3643" y="3373"/>
                  <a:pt x="3723" y="3421"/>
                  <a:pt x="3802" y="3437"/>
                </a:cubicBezTo>
                <a:cubicBezTo>
                  <a:pt x="3914" y="3485"/>
                  <a:pt x="4009" y="3500"/>
                  <a:pt x="4120" y="3500"/>
                </a:cubicBezTo>
                <a:cubicBezTo>
                  <a:pt x="4423" y="3500"/>
                  <a:pt x="4725" y="3357"/>
                  <a:pt x="4900" y="3135"/>
                </a:cubicBezTo>
                <a:cubicBezTo>
                  <a:pt x="5171" y="2785"/>
                  <a:pt x="5219" y="2275"/>
                  <a:pt x="4996" y="1909"/>
                </a:cubicBezTo>
                <a:cubicBezTo>
                  <a:pt x="4789" y="1560"/>
                  <a:pt x="4439" y="1448"/>
                  <a:pt x="4296" y="1417"/>
                </a:cubicBezTo>
                <a:cubicBezTo>
                  <a:pt x="4296" y="1146"/>
                  <a:pt x="4168" y="891"/>
                  <a:pt x="3962" y="717"/>
                </a:cubicBezTo>
                <a:cubicBezTo>
                  <a:pt x="3675" y="478"/>
                  <a:pt x="3309" y="541"/>
                  <a:pt x="3150" y="589"/>
                </a:cubicBezTo>
                <a:cubicBezTo>
                  <a:pt x="3071" y="430"/>
                  <a:pt x="2784" y="17"/>
                  <a:pt x="2211" y="0"/>
                </a:cubicBezTo>
                <a:cubicBezTo>
                  <a:pt x="1829" y="0"/>
                  <a:pt x="1480" y="207"/>
                  <a:pt x="1320" y="509"/>
                </a:cubicBezTo>
                <a:cubicBezTo>
                  <a:pt x="1161" y="828"/>
                  <a:pt x="1177" y="1130"/>
                  <a:pt x="1209" y="1289"/>
                </a:cubicBezTo>
                <a:cubicBezTo>
                  <a:pt x="780" y="1226"/>
                  <a:pt x="413" y="1385"/>
                  <a:pt x="191" y="1703"/>
                </a:cubicBezTo>
                <a:cubicBezTo>
                  <a:pt x="-64" y="2053"/>
                  <a:pt x="-64" y="2546"/>
                  <a:pt x="191" y="2912"/>
                </a:cubicBezTo>
                <a:cubicBezTo>
                  <a:pt x="382" y="3166"/>
                  <a:pt x="684" y="3326"/>
                  <a:pt x="1050" y="3326"/>
                </a:cubicBezTo>
                <a:close/>
                <a:moveTo>
                  <a:pt x="1877" y="3437"/>
                </a:moveTo>
                <a:cubicBezTo>
                  <a:pt x="1559" y="3214"/>
                  <a:pt x="1559" y="3214"/>
                  <a:pt x="1559" y="3214"/>
                </a:cubicBezTo>
                <a:cubicBezTo>
                  <a:pt x="1670" y="3135"/>
                  <a:pt x="1766" y="3039"/>
                  <a:pt x="1814" y="2976"/>
                </a:cubicBezTo>
                <a:cubicBezTo>
                  <a:pt x="1973" y="3119"/>
                  <a:pt x="2132" y="3214"/>
                  <a:pt x="2371" y="3262"/>
                </a:cubicBezTo>
                <a:cubicBezTo>
                  <a:pt x="2371" y="3882"/>
                  <a:pt x="2371" y="3882"/>
                  <a:pt x="2371" y="3882"/>
                </a:cubicBezTo>
                <a:cubicBezTo>
                  <a:pt x="2211" y="3723"/>
                  <a:pt x="1973" y="3500"/>
                  <a:pt x="1877" y="3437"/>
                </a:cubicBezTo>
                <a:close/>
                <a:moveTo>
                  <a:pt x="2943" y="3485"/>
                </a:moveTo>
                <a:cubicBezTo>
                  <a:pt x="2784" y="3612"/>
                  <a:pt x="2625" y="3787"/>
                  <a:pt x="2529" y="3914"/>
                </a:cubicBezTo>
                <a:cubicBezTo>
                  <a:pt x="2529" y="3262"/>
                  <a:pt x="2529" y="3262"/>
                  <a:pt x="2529" y="3262"/>
                </a:cubicBezTo>
                <a:cubicBezTo>
                  <a:pt x="2561" y="3262"/>
                  <a:pt x="2609" y="3262"/>
                  <a:pt x="2641" y="3262"/>
                </a:cubicBezTo>
                <a:cubicBezTo>
                  <a:pt x="2943" y="3262"/>
                  <a:pt x="3150" y="3103"/>
                  <a:pt x="3246" y="3008"/>
                </a:cubicBezTo>
                <a:cubicBezTo>
                  <a:pt x="3309" y="3071"/>
                  <a:pt x="3357" y="3151"/>
                  <a:pt x="3420" y="3199"/>
                </a:cubicBezTo>
                <a:cubicBezTo>
                  <a:pt x="3325" y="3246"/>
                  <a:pt x="3150" y="3326"/>
                  <a:pt x="2943" y="3485"/>
                </a:cubicBezTo>
                <a:close/>
                <a:moveTo>
                  <a:pt x="318" y="1798"/>
                </a:moveTo>
                <a:cubicBezTo>
                  <a:pt x="525" y="1496"/>
                  <a:pt x="891" y="1369"/>
                  <a:pt x="1289" y="1464"/>
                </a:cubicBezTo>
                <a:cubicBezTo>
                  <a:pt x="1320" y="1464"/>
                  <a:pt x="1352" y="1464"/>
                  <a:pt x="1368" y="1432"/>
                </a:cubicBezTo>
                <a:cubicBezTo>
                  <a:pt x="1384" y="1417"/>
                  <a:pt x="1400" y="1385"/>
                  <a:pt x="1384" y="1353"/>
                </a:cubicBezTo>
                <a:cubicBezTo>
                  <a:pt x="1384" y="1353"/>
                  <a:pt x="1257" y="971"/>
                  <a:pt x="1447" y="589"/>
                </a:cubicBezTo>
                <a:cubicBezTo>
                  <a:pt x="1591" y="335"/>
                  <a:pt x="1877" y="160"/>
                  <a:pt x="2211" y="160"/>
                </a:cubicBezTo>
                <a:cubicBezTo>
                  <a:pt x="2800" y="175"/>
                  <a:pt x="3038" y="700"/>
                  <a:pt x="3038" y="717"/>
                </a:cubicBezTo>
                <a:cubicBezTo>
                  <a:pt x="3055" y="764"/>
                  <a:pt x="3102" y="780"/>
                  <a:pt x="3150" y="764"/>
                </a:cubicBezTo>
                <a:cubicBezTo>
                  <a:pt x="3150" y="764"/>
                  <a:pt x="3564" y="605"/>
                  <a:pt x="3850" y="844"/>
                </a:cubicBezTo>
                <a:cubicBezTo>
                  <a:pt x="4041" y="1003"/>
                  <a:pt x="4152" y="1226"/>
                  <a:pt x="4137" y="1480"/>
                </a:cubicBezTo>
                <a:cubicBezTo>
                  <a:pt x="4137" y="1528"/>
                  <a:pt x="4168" y="1560"/>
                  <a:pt x="4200" y="1560"/>
                </a:cubicBezTo>
                <a:cubicBezTo>
                  <a:pt x="4216" y="1560"/>
                  <a:pt x="4629" y="1623"/>
                  <a:pt x="4852" y="1989"/>
                </a:cubicBezTo>
                <a:cubicBezTo>
                  <a:pt x="5043" y="2291"/>
                  <a:pt x="5011" y="2737"/>
                  <a:pt x="4773" y="3039"/>
                </a:cubicBezTo>
                <a:cubicBezTo>
                  <a:pt x="4566" y="3294"/>
                  <a:pt x="4168" y="3405"/>
                  <a:pt x="3866" y="3294"/>
                </a:cubicBezTo>
                <a:cubicBezTo>
                  <a:pt x="3643" y="3214"/>
                  <a:pt x="3452" y="3039"/>
                  <a:pt x="3325" y="2832"/>
                </a:cubicBezTo>
                <a:cubicBezTo>
                  <a:pt x="3325" y="2817"/>
                  <a:pt x="3293" y="2800"/>
                  <a:pt x="3261" y="2785"/>
                </a:cubicBezTo>
                <a:cubicBezTo>
                  <a:pt x="3229" y="2785"/>
                  <a:pt x="3214" y="2800"/>
                  <a:pt x="3198" y="2832"/>
                </a:cubicBezTo>
                <a:cubicBezTo>
                  <a:pt x="3182" y="2832"/>
                  <a:pt x="2991" y="3103"/>
                  <a:pt x="2641" y="3103"/>
                </a:cubicBezTo>
                <a:cubicBezTo>
                  <a:pt x="2243" y="3119"/>
                  <a:pt x="2068" y="3023"/>
                  <a:pt x="1861" y="2800"/>
                </a:cubicBezTo>
                <a:cubicBezTo>
                  <a:pt x="1846" y="2785"/>
                  <a:pt x="1829" y="2769"/>
                  <a:pt x="1798" y="2785"/>
                </a:cubicBezTo>
                <a:cubicBezTo>
                  <a:pt x="1782" y="2785"/>
                  <a:pt x="1750" y="2800"/>
                  <a:pt x="1734" y="2817"/>
                </a:cubicBezTo>
                <a:cubicBezTo>
                  <a:pt x="1734" y="2832"/>
                  <a:pt x="1527" y="3182"/>
                  <a:pt x="1066" y="3182"/>
                </a:cubicBezTo>
                <a:cubicBezTo>
                  <a:pt x="875" y="3166"/>
                  <a:pt x="525" y="3119"/>
                  <a:pt x="334" y="2817"/>
                </a:cubicBezTo>
                <a:cubicBezTo>
                  <a:pt x="111" y="2514"/>
                  <a:pt x="111" y="2085"/>
                  <a:pt x="318" y="179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0" name="Freeform: Shape 7">
            <a:extLst>
              <a:ext uri="{FF2B5EF4-FFF2-40B4-BE49-F238E27FC236}">
                <a16:creationId xmlns:a16="http://schemas.microsoft.com/office/drawing/2014/main" id="{0DD521FA-4B5F-7946-AB79-AF9446BDAEF9}"/>
              </a:ext>
            </a:extLst>
          </p:cNvPr>
          <p:cNvSpPr/>
          <p:nvPr/>
        </p:nvSpPr>
        <p:spPr>
          <a:xfrm>
            <a:off x="1817870" y="9742053"/>
            <a:ext cx="1442880" cy="1441439"/>
          </a:xfrm>
          <a:custGeom>
            <a:avLst/>
            <a:gdLst/>
            <a:ahLst/>
            <a:cxnLst>
              <a:cxn ang="3cd4">
                <a:pos x="hc" y="t"/>
              </a:cxn>
              <a:cxn ang="cd2">
                <a:pos x="l" y="vc"/>
              </a:cxn>
              <a:cxn ang="cd4">
                <a:pos x="hc" y="b"/>
              </a:cxn>
              <a:cxn ang="0">
                <a:pos x="r" y="vc"/>
              </a:cxn>
            </a:cxnLst>
            <a:rect l="l" t="t" r="r" b="b"/>
            <a:pathLst>
              <a:path w="4009" h="4005">
                <a:moveTo>
                  <a:pt x="4009" y="3321"/>
                </a:moveTo>
                <a:cubicBezTo>
                  <a:pt x="4009" y="75"/>
                  <a:pt x="4009" y="75"/>
                  <a:pt x="4009" y="75"/>
                </a:cubicBezTo>
                <a:cubicBezTo>
                  <a:pt x="4009" y="59"/>
                  <a:pt x="3993" y="27"/>
                  <a:pt x="3977" y="11"/>
                </a:cubicBezTo>
                <a:cubicBezTo>
                  <a:pt x="3961" y="-4"/>
                  <a:pt x="3929" y="-4"/>
                  <a:pt x="3897" y="11"/>
                </a:cubicBezTo>
                <a:cubicBezTo>
                  <a:pt x="2657" y="600"/>
                  <a:pt x="2657" y="600"/>
                  <a:pt x="2657" y="600"/>
                </a:cubicBezTo>
                <a:cubicBezTo>
                  <a:pt x="1400" y="11"/>
                  <a:pt x="1400" y="11"/>
                  <a:pt x="1400" y="11"/>
                </a:cubicBezTo>
                <a:cubicBezTo>
                  <a:pt x="1384" y="-4"/>
                  <a:pt x="1368" y="-4"/>
                  <a:pt x="1352" y="11"/>
                </a:cubicBezTo>
                <a:lnTo>
                  <a:pt x="1336" y="11"/>
                </a:lnTo>
                <a:cubicBezTo>
                  <a:pt x="47" y="616"/>
                  <a:pt x="47" y="616"/>
                  <a:pt x="47" y="616"/>
                </a:cubicBezTo>
                <a:cubicBezTo>
                  <a:pt x="31" y="632"/>
                  <a:pt x="0" y="664"/>
                  <a:pt x="0" y="696"/>
                </a:cubicBezTo>
                <a:cubicBezTo>
                  <a:pt x="0" y="3925"/>
                  <a:pt x="0" y="3925"/>
                  <a:pt x="0" y="3925"/>
                </a:cubicBezTo>
                <a:cubicBezTo>
                  <a:pt x="0" y="3957"/>
                  <a:pt x="15" y="3989"/>
                  <a:pt x="47" y="4005"/>
                </a:cubicBezTo>
                <a:cubicBezTo>
                  <a:pt x="63" y="4005"/>
                  <a:pt x="63" y="4005"/>
                  <a:pt x="79" y="4005"/>
                </a:cubicBezTo>
                <a:cubicBezTo>
                  <a:pt x="95" y="4005"/>
                  <a:pt x="111" y="4005"/>
                  <a:pt x="127" y="4005"/>
                </a:cubicBezTo>
                <a:cubicBezTo>
                  <a:pt x="1368" y="3400"/>
                  <a:pt x="1368" y="3400"/>
                  <a:pt x="1368" y="3400"/>
                </a:cubicBezTo>
                <a:cubicBezTo>
                  <a:pt x="2625" y="4005"/>
                  <a:pt x="2625" y="4005"/>
                  <a:pt x="2625" y="4005"/>
                </a:cubicBezTo>
                <a:cubicBezTo>
                  <a:pt x="2640" y="4005"/>
                  <a:pt x="2640" y="4005"/>
                  <a:pt x="2640" y="4005"/>
                </a:cubicBezTo>
                <a:lnTo>
                  <a:pt x="2657" y="4005"/>
                </a:lnTo>
                <a:lnTo>
                  <a:pt x="2672" y="4005"/>
                </a:lnTo>
                <a:lnTo>
                  <a:pt x="2688" y="4005"/>
                </a:lnTo>
                <a:cubicBezTo>
                  <a:pt x="3961" y="3384"/>
                  <a:pt x="3961" y="3384"/>
                  <a:pt x="3961" y="3384"/>
                </a:cubicBezTo>
                <a:cubicBezTo>
                  <a:pt x="3993" y="3369"/>
                  <a:pt x="4009" y="3353"/>
                  <a:pt x="4009" y="3321"/>
                </a:cubicBezTo>
                <a:close/>
                <a:moveTo>
                  <a:pt x="2577" y="3798"/>
                </a:moveTo>
                <a:cubicBezTo>
                  <a:pt x="1447" y="3273"/>
                  <a:pt x="1447" y="3273"/>
                  <a:pt x="1447" y="3273"/>
                </a:cubicBezTo>
                <a:cubicBezTo>
                  <a:pt x="1447" y="1189"/>
                  <a:pt x="1447" y="1189"/>
                  <a:pt x="1447" y="1189"/>
                </a:cubicBezTo>
                <a:cubicBezTo>
                  <a:pt x="1447" y="202"/>
                  <a:pt x="1447" y="202"/>
                  <a:pt x="1447" y="202"/>
                </a:cubicBezTo>
                <a:cubicBezTo>
                  <a:pt x="2577" y="744"/>
                  <a:pt x="2577" y="744"/>
                  <a:pt x="2577" y="744"/>
                </a:cubicBezTo>
                <a:close/>
                <a:moveTo>
                  <a:pt x="158" y="3798"/>
                </a:moveTo>
                <a:cubicBezTo>
                  <a:pt x="158" y="744"/>
                  <a:pt x="158" y="744"/>
                  <a:pt x="158" y="744"/>
                </a:cubicBezTo>
                <a:cubicBezTo>
                  <a:pt x="1288" y="202"/>
                  <a:pt x="1288" y="202"/>
                  <a:pt x="1288" y="202"/>
                </a:cubicBezTo>
                <a:cubicBezTo>
                  <a:pt x="1288" y="3273"/>
                  <a:pt x="1288" y="3273"/>
                  <a:pt x="1288" y="3273"/>
                </a:cubicBezTo>
                <a:close/>
                <a:moveTo>
                  <a:pt x="3850" y="3273"/>
                </a:moveTo>
                <a:cubicBezTo>
                  <a:pt x="2736" y="3798"/>
                  <a:pt x="2736" y="3798"/>
                  <a:pt x="2736" y="3798"/>
                </a:cubicBezTo>
                <a:cubicBezTo>
                  <a:pt x="2736" y="744"/>
                  <a:pt x="2736" y="744"/>
                  <a:pt x="2736" y="744"/>
                </a:cubicBezTo>
                <a:cubicBezTo>
                  <a:pt x="3850" y="202"/>
                  <a:pt x="3850" y="202"/>
                  <a:pt x="3850" y="20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1" name="Freeform: Shape 8">
            <a:extLst>
              <a:ext uri="{FF2B5EF4-FFF2-40B4-BE49-F238E27FC236}">
                <a16:creationId xmlns:a16="http://schemas.microsoft.com/office/drawing/2014/main" id="{967EF0F7-03A2-0E46-A195-80340B2EC1D3}"/>
              </a:ext>
            </a:extLst>
          </p:cNvPr>
          <p:cNvSpPr/>
          <p:nvPr/>
        </p:nvSpPr>
        <p:spPr>
          <a:xfrm>
            <a:off x="10109718" y="9895052"/>
            <a:ext cx="1442880" cy="1442880"/>
          </a:xfrm>
          <a:custGeom>
            <a:avLst/>
            <a:gdLst/>
            <a:ahLst/>
            <a:cxnLst>
              <a:cxn ang="3cd4">
                <a:pos x="hc" y="t"/>
              </a:cxn>
              <a:cxn ang="cd2">
                <a:pos x="l" y="vc"/>
              </a:cxn>
              <a:cxn ang="cd4">
                <a:pos x="hc" y="b"/>
              </a:cxn>
              <a:cxn ang="0">
                <a:pos x="r" y="vc"/>
              </a:cxn>
            </a:cxnLst>
            <a:rect l="l" t="t" r="r" b="b"/>
            <a:pathLst>
              <a:path w="4009" h="4009">
                <a:moveTo>
                  <a:pt x="1352" y="1671"/>
                </a:moveTo>
                <a:cubicBezTo>
                  <a:pt x="1113" y="1671"/>
                  <a:pt x="922" y="1862"/>
                  <a:pt x="922" y="2100"/>
                </a:cubicBezTo>
                <a:cubicBezTo>
                  <a:pt x="922" y="2355"/>
                  <a:pt x="1113" y="2546"/>
                  <a:pt x="1352" y="2546"/>
                </a:cubicBezTo>
                <a:cubicBezTo>
                  <a:pt x="1607" y="2546"/>
                  <a:pt x="1798" y="2355"/>
                  <a:pt x="1798" y="2100"/>
                </a:cubicBezTo>
                <a:cubicBezTo>
                  <a:pt x="1798" y="1862"/>
                  <a:pt x="1607" y="1671"/>
                  <a:pt x="1352" y="1671"/>
                </a:cubicBezTo>
                <a:close/>
                <a:moveTo>
                  <a:pt x="1352" y="2387"/>
                </a:moveTo>
                <a:cubicBezTo>
                  <a:pt x="1209" y="2387"/>
                  <a:pt x="1082" y="2259"/>
                  <a:pt x="1082" y="2100"/>
                </a:cubicBezTo>
                <a:cubicBezTo>
                  <a:pt x="1082" y="1957"/>
                  <a:pt x="1209" y="1830"/>
                  <a:pt x="1352" y="1830"/>
                </a:cubicBezTo>
                <a:cubicBezTo>
                  <a:pt x="1511" y="1830"/>
                  <a:pt x="1638" y="1957"/>
                  <a:pt x="1638" y="2100"/>
                </a:cubicBezTo>
                <a:cubicBezTo>
                  <a:pt x="1638" y="2259"/>
                  <a:pt x="1511" y="2387"/>
                  <a:pt x="1352" y="2387"/>
                </a:cubicBezTo>
                <a:close/>
                <a:moveTo>
                  <a:pt x="1384" y="0"/>
                </a:moveTo>
                <a:lnTo>
                  <a:pt x="1320" y="0"/>
                </a:lnTo>
                <a:lnTo>
                  <a:pt x="47" y="620"/>
                </a:lnTo>
                <a:cubicBezTo>
                  <a:pt x="16" y="637"/>
                  <a:pt x="0" y="652"/>
                  <a:pt x="0" y="684"/>
                </a:cubicBezTo>
                <a:lnTo>
                  <a:pt x="0" y="3930"/>
                </a:lnTo>
                <a:cubicBezTo>
                  <a:pt x="0" y="3946"/>
                  <a:pt x="16" y="3978"/>
                  <a:pt x="31" y="3993"/>
                </a:cubicBezTo>
                <a:cubicBezTo>
                  <a:pt x="47" y="4009"/>
                  <a:pt x="63" y="4009"/>
                  <a:pt x="79" y="4009"/>
                </a:cubicBezTo>
                <a:cubicBezTo>
                  <a:pt x="90" y="4004"/>
                  <a:pt x="95" y="4009"/>
                  <a:pt x="111" y="3993"/>
                </a:cubicBezTo>
                <a:lnTo>
                  <a:pt x="970" y="3580"/>
                </a:lnTo>
                <a:cubicBezTo>
                  <a:pt x="986" y="3580"/>
                  <a:pt x="1002" y="3564"/>
                  <a:pt x="1018" y="3548"/>
                </a:cubicBezTo>
                <a:cubicBezTo>
                  <a:pt x="1161" y="3787"/>
                  <a:pt x="1273" y="3946"/>
                  <a:pt x="1288" y="3978"/>
                </a:cubicBezTo>
                <a:cubicBezTo>
                  <a:pt x="1304" y="3993"/>
                  <a:pt x="1336" y="4009"/>
                  <a:pt x="1352" y="4009"/>
                </a:cubicBezTo>
                <a:cubicBezTo>
                  <a:pt x="1384" y="4009"/>
                  <a:pt x="1400" y="3993"/>
                  <a:pt x="1416" y="3978"/>
                </a:cubicBezTo>
                <a:cubicBezTo>
                  <a:pt x="1431" y="3946"/>
                  <a:pt x="1559" y="3787"/>
                  <a:pt x="1702" y="3548"/>
                </a:cubicBezTo>
                <a:lnTo>
                  <a:pt x="1750" y="3596"/>
                </a:lnTo>
                <a:lnTo>
                  <a:pt x="2609" y="3993"/>
                </a:lnTo>
                <a:cubicBezTo>
                  <a:pt x="2614" y="3998"/>
                  <a:pt x="2609" y="4009"/>
                  <a:pt x="2625" y="4009"/>
                </a:cubicBezTo>
                <a:lnTo>
                  <a:pt x="2641" y="4009"/>
                </a:lnTo>
                <a:lnTo>
                  <a:pt x="2656" y="4009"/>
                </a:lnTo>
                <a:lnTo>
                  <a:pt x="2673" y="3993"/>
                </a:lnTo>
                <a:lnTo>
                  <a:pt x="3961" y="3389"/>
                </a:lnTo>
                <a:cubicBezTo>
                  <a:pt x="3977" y="3373"/>
                  <a:pt x="4009" y="3341"/>
                  <a:pt x="4009" y="3310"/>
                </a:cubicBezTo>
                <a:lnTo>
                  <a:pt x="4009" y="80"/>
                </a:lnTo>
                <a:cubicBezTo>
                  <a:pt x="4009" y="48"/>
                  <a:pt x="3993" y="32"/>
                  <a:pt x="3961" y="16"/>
                </a:cubicBezTo>
                <a:cubicBezTo>
                  <a:pt x="3946" y="0"/>
                  <a:pt x="3913" y="0"/>
                  <a:pt x="3882" y="0"/>
                </a:cubicBezTo>
                <a:lnTo>
                  <a:pt x="2641" y="605"/>
                </a:lnTo>
                <a:close/>
                <a:moveTo>
                  <a:pt x="907" y="3437"/>
                </a:moveTo>
                <a:lnTo>
                  <a:pt x="159" y="3802"/>
                </a:lnTo>
                <a:lnTo>
                  <a:pt x="159" y="732"/>
                </a:lnTo>
                <a:lnTo>
                  <a:pt x="1273" y="207"/>
                </a:lnTo>
                <a:lnTo>
                  <a:pt x="1273" y="1193"/>
                </a:lnTo>
                <a:cubicBezTo>
                  <a:pt x="779" y="1225"/>
                  <a:pt x="382" y="1655"/>
                  <a:pt x="382" y="2164"/>
                </a:cubicBezTo>
                <a:cubicBezTo>
                  <a:pt x="382" y="2466"/>
                  <a:pt x="684" y="3023"/>
                  <a:pt x="938" y="3437"/>
                </a:cubicBezTo>
                <a:close/>
                <a:moveTo>
                  <a:pt x="1352" y="3787"/>
                </a:moveTo>
                <a:cubicBezTo>
                  <a:pt x="1082" y="3389"/>
                  <a:pt x="541" y="2514"/>
                  <a:pt x="541" y="2164"/>
                </a:cubicBezTo>
                <a:cubicBezTo>
                  <a:pt x="541" y="1719"/>
                  <a:pt x="907" y="1337"/>
                  <a:pt x="1352" y="1337"/>
                </a:cubicBezTo>
                <a:cubicBezTo>
                  <a:pt x="1813" y="1337"/>
                  <a:pt x="2179" y="1719"/>
                  <a:pt x="2179" y="2164"/>
                </a:cubicBezTo>
                <a:cubicBezTo>
                  <a:pt x="2179" y="2514"/>
                  <a:pt x="1638" y="3389"/>
                  <a:pt x="1352" y="3787"/>
                </a:cubicBezTo>
                <a:close/>
                <a:moveTo>
                  <a:pt x="1765" y="3437"/>
                </a:moveTo>
                <a:cubicBezTo>
                  <a:pt x="2036" y="3023"/>
                  <a:pt x="2338" y="2466"/>
                  <a:pt x="2338" y="2164"/>
                </a:cubicBezTo>
                <a:cubicBezTo>
                  <a:pt x="2338" y="1655"/>
                  <a:pt x="1941" y="1225"/>
                  <a:pt x="1431" y="1193"/>
                </a:cubicBezTo>
                <a:lnTo>
                  <a:pt x="1431" y="1177"/>
                </a:lnTo>
                <a:lnTo>
                  <a:pt x="1431" y="207"/>
                </a:lnTo>
                <a:lnTo>
                  <a:pt x="2561" y="732"/>
                </a:lnTo>
                <a:lnTo>
                  <a:pt x="2561" y="3802"/>
                </a:lnTo>
                <a:lnTo>
                  <a:pt x="1813" y="3453"/>
                </a:lnTo>
                <a:cubicBezTo>
                  <a:pt x="1798" y="3437"/>
                  <a:pt x="1782" y="3437"/>
                  <a:pt x="1765" y="3437"/>
                </a:cubicBezTo>
                <a:close/>
                <a:moveTo>
                  <a:pt x="3850" y="3262"/>
                </a:moveTo>
                <a:lnTo>
                  <a:pt x="2720" y="3802"/>
                </a:lnTo>
                <a:lnTo>
                  <a:pt x="2720" y="732"/>
                </a:lnTo>
                <a:lnTo>
                  <a:pt x="3850" y="207"/>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2" name="Freeform: Shape 9">
            <a:extLst>
              <a:ext uri="{FF2B5EF4-FFF2-40B4-BE49-F238E27FC236}">
                <a16:creationId xmlns:a16="http://schemas.microsoft.com/office/drawing/2014/main" id="{0ADC0067-E932-9842-B7D2-213BFDBE0278}"/>
              </a:ext>
            </a:extLst>
          </p:cNvPr>
          <p:cNvSpPr/>
          <p:nvPr/>
        </p:nvSpPr>
        <p:spPr>
          <a:xfrm>
            <a:off x="21496320" y="6489514"/>
            <a:ext cx="1335600" cy="1609200"/>
          </a:xfrm>
          <a:custGeom>
            <a:avLst/>
            <a:gdLst/>
            <a:ahLst/>
            <a:cxnLst>
              <a:cxn ang="3cd4">
                <a:pos x="hc" y="t"/>
              </a:cxn>
              <a:cxn ang="cd2">
                <a:pos x="l" y="vc"/>
              </a:cxn>
              <a:cxn ang="cd4">
                <a:pos x="hc" y="b"/>
              </a:cxn>
              <a:cxn ang="0">
                <a:pos x="r" y="vc"/>
              </a:cxn>
            </a:cxnLst>
            <a:rect l="l" t="t" r="r" b="b"/>
            <a:pathLst>
              <a:path w="3711" h="4471">
                <a:moveTo>
                  <a:pt x="2912" y="334"/>
                </a:moveTo>
                <a:cubicBezTo>
                  <a:pt x="2912" y="143"/>
                  <a:pt x="2753" y="0"/>
                  <a:pt x="2562" y="0"/>
                </a:cubicBezTo>
                <a:lnTo>
                  <a:pt x="509" y="0"/>
                </a:lnTo>
                <a:cubicBezTo>
                  <a:pt x="318" y="0"/>
                  <a:pt x="159" y="143"/>
                  <a:pt x="159" y="334"/>
                </a:cubicBezTo>
                <a:lnTo>
                  <a:pt x="159" y="3994"/>
                </a:lnTo>
                <a:cubicBezTo>
                  <a:pt x="64" y="4010"/>
                  <a:pt x="0" y="4089"/>
                  <a:pt x="0" y="4201"/>
                </a:cubicBezTo>
                <a:lnTo>
                  <a:pt x="0" y="4248"/>
                </a:lnTo>
                <a:cubicBezTo>
                  <a:pt x="0" y="4376"/>
                  <a:pt x="96" y="4471"/>
                  <a:pt x="223" y="4471"/>
                </a:cubicBezTo>
                <a:lnTo>
                  <a:pt x="2848" y="4471"/>
                </a:lnTo>
                <a:cubicBezTo>
                  <a:pt x="2975" y="4471"/>
                  <a:pt x="3071" y="4376"/>
                  <a:pt x="3071" y="4248"/>
                </a:cubicBezTo>
                <a:lnTo>
                  <a:pt x="3071" y="4201"/>
                </a:lnTo>
                <a:cubicBezTo>
                  <a:pt x="3071" y="4089"/>
                  <a:pt x="3007" y="4010"/>
                  <a:pt x="2912" y="3994"/>
                </a:cubicBezTo>
                <a:lnTo>
                  <a:pt x="2912" y="2228"/>
                </a:lnTo>
                <a:cubicBezTo>
                  <a:pt x="2944" y="2243"/>
                  <a:pt x="2991" y="2260"/>
                  <a:pt x="3039" y="2323"/>
                </a:cubicBezTo>
                <a:cubicBezTo>
                  <a:pt x="3087" y="2403"/>
                  <a:pt x="3102" y="2610"/>
                  <a:pt x="3102" y="2753"/>
                </a:cubicBezTo>
                <a:lnTo>
                  <a:pt x="3102" y="3214"/>
                </a:lnTo>
                <a:cubicBezTo>
                  <a:pt x="3087" y="3389"/>
                  <a:pt x="3087" y="3676"/>
                  <a:pt x="3309" y="3739"/>
                </a:cubicBezTo>
                <a:cubicBezTo>
                  <a:pt x="3341" y="3755"/>
                  <a:pt x="3357" y="3755"/>
                  <a:pt x="3389" y="3755"/>
                </a:cubicBezTo>
                <a:cubicBezTo>
                  <a:pt x="3516" y="3755"/>
                  <a:pt x="3627" y="3676"/>
                  <a:pt x="3675" y="3564"/>
                </a:cubicBezTo>
                <a:cubicBezTo>
                  <a:pt x="3707" y="3469"/>
                  <a:pt x="3707" y="2928"/>
                  <a:pt x="3691" y="1957"/>
                </a:cubicBezTo>
                <a:lnTo>
                  <a:pt x="3691" y="1607"/>
                </a:lnTo>
                <a:cubicBezTo>
                  <a:pt x="3707" y="1560"/>
                  <a:pt x="3739" y="1305"/>
                  <a:pt x="3659" y="1003"/>
                </a:cubicBezTo>
                <a:cubicBezTo>
                  <a:pt x="3564" y="652"/>
                  <a:pt x="3071" y="509"/>
                  <a:pt x="2912" y="478"/>
                </a:cubicBezTo>
                <a:close/>
                <a:moveTo>
                  <a:pt x="318" y="334"/>
                </a:moveTo>
                <a:cubicBezTo>
                  <a:pt x="318" y="239"/>
                  <a:pt x="414" y="160"/>
                  <a:pt x="509" y="160"/>
                </a:cubicBezTo>
                <a:lnTo>
                  <a:pt x="2562" y="160"/>
                </a:lnTo>
                <a:cubicBezTo>
                  <a:pt x="2657" y="160"/>
                  <a:pt x="2753" y="239"/>
                  <a:pt x="2753" y="334"/>
                </a:cubicBezTo>
                <a:lnTo>
                  <a:pt x="2753" y="3978"/>
                </a:lnTo>
                <a:lnTo>
                  <a:pt x="318" y="3978"/>
                </a:lnTo>
                <a:close/>
                <a:moveTo>
                  <a:pt x="2912" y="4248"/>
                </a:moveTo>
                <a:cubicBezTo>
                  <a:pt x="2912" y="4280"/>
                  <a:pt x="2880" y="4312"/>
                  <a:pt x="2848" y="4312"/>
                </a:cubicBezTo>
                <a:lnTo>
                  <a:pt x="223" y="4312"/>
                </a:lnTo>
                <a:cubicBezTo>
                  <a:pt x="191" y="4312"/>
                  <a:pt x="159" y="4280"/>
                  <a:pt x="159" y="4248"/>
                </a:cubicBezTo>
                <a:lnTo>
                  <a:pt x="159" y="4201"/>
                </a:lnTo>
                <a:cubicBezTo>
                  <a:pt x="159" y="4169"/>
                  <a:pt x="191" y="4137"/>
                  <a:pt x="223" y="4137"/>
                </a:cubicBezTo>
                <a:lnTo>
                  <a:pt x="239" y="4137"/>
                </a:lnTo>
                <a:lnTo>
                  <a:pt x="2832" y="4137"/>
                </a:lnTo>
                <a:lnTo>
                  <a:pt x="2848" y="4137"/>
                </a:lnTo>
                <a:cubicBezTo>
                  <a:pt x="2880" y="4137"/>
                  <a:pt x="2912" y="4169"/>
                  <a:pt x="2912" y="4201"/>
                </a:cubicBezTo>
                <a:close/>
                <a:moveTo>
                  <a:pt x="3500" y="1051"/>
                </a:moveTo>
                <a:cubicBezTo>
                  <a:pt x="3532" y="1162"/>
                  <a:pt x="3548" y="1273"/>
                  <a:pt x="3548" y="1369"/>
                </a:cubicBezTo>
                <a:cubicBezTo>
                  <a:pt x="3516" y="1353"/>
                  <a:pt x="3484" y="1321"/>
                  <a:pt x="3453" y="1321"/>
                </a:cubicBezTo>
                <a:cubicBezTo>
                  <a:pt x="3198" y="1242"/>
                  <a:pt x="3166" y="1162"/>
                  <a:pt x="3182" y="1082"/>
                </a:cubicBezTo>
                <a:cubicBezTo>
                  <a:pt x="3198" y="939"/>
                  <a:pt x="3230" y="828"/>
                  <a:pt x="3246" y="780"/>
                </a:cubicBezTo>
                <a:cubicBezTo>
                  <a:pt x="3373" y="843"/>
                  <a:pt x="3469" y="923"/>
                  <a:pt x="3500" y="1051"/>
                </a:cubicBezTo>
                <a:close/>
                <a:moveTo>
                  <a:pt x="3102" y="700"/>
                </a:moveTo>
                <a:cubicBezTo>
                  <a:pt x="3087" y="764"/>
                  <a:pt x="3055" y="891"/>
                  <a:pt x="3023" y="1066"/>
                </a:cubicBezTo>
                <a:cubicBezTo>
                  <a:pt x="2991" y="1257"/>
                  <a:pt x="3118" y="1400"/>
                  <a:pt x="3405" y="1464"/>
                </a:cubicBezTo>
                <a:cubicBezTo>
                  <a:pt x="3469" y="1480"/>
                  <a:pt x="3516" y="1575"/>
                  <a:pt x="3532" y="1607"/>
                </a:cubicBezTo>
                <a:lnTo>
                  <a:pt x="3532" y="1957"/>
                </a:lnTo>
                <a:cubicBezTo>
                  <a:pt x="3532" y="2419"/>
                  <a:pt x="3548" y="3405"/>
                  <a:pt x="3516" y="3500"/>
                </a:cubicBezTo>
                <a:cubicBezTo>
                  <a:pt x="3500" y="3564"/>
                  <a:pt x="3421" y="3612"/>
                  <a:pt x="3357" y="3596"/>
                </a:cubicBezTo>
                <a:cubicBezTo>
                  <a:pt x="3246" y="3548"/>
                  <a:pt x="3246" y="3342"/>
                  <a:pt x="3262" y="3214"/>
                </a:cubicBezTo>
                <a:lnTo>
                  <a:pt x="3262" y="2753"/>
                </a:lnTo>
                <a:cubicBezTo>
                  <a:pt x="3262" y="2466"/>
                  <a:pt x="3230" y="2323"/>
                  <a:pt x="3166" y="2228"/>
                </a:cubicBezTo>
                <a:cubicBezTo>
                  <a:pt x="3071" y="2116"/>
                  <a:pt x="2975" y="2085"/>
                  <a:pt x="2912" y="2069"/>
                </a:cubicBezTo>
                <a:lnTo>
                  <a:pt x="2912" y="637"/>
                </a:lnTo>
                <a:cubicBezTo>
                  <a:pt x="2959" y="652"/>
                  <a:pt x="3039" y="685"/>
                  <a:pt x="3102" y="700"/>
                </a:cubicBezTo>
                <a:close/>
                <a:moveTo>
                  <a:pt x="2498" y="318"/>
                </a:moveTo>
                <a:lnTo>
                  <a:pt x="573" y="318"/>
                </a:lnTo>
                <a:cubicBezTo>
                  <a:pt x="525" y="318"/>
                  <a:pt x="493" y="351"/>
                  <a:pt x="493" y="398"/>
                </a:cubicBezTo>
                <a:lnTo>
                  <a:pt x="493" y="1894"/>
                </a:lnTo>
                <a:cubicBezTo>
                  <a:pt x="493" y="1942"/>
                  <a:pt x="525" y="1973"/>
                  <a:pt x="573" y="1973"/>
                </a:cubicBezTo>
                <a:lnTo>
                  <a:pt x="2498" y="1973"/>
                </a:lnTo>
                <a:cubicBezTo>
                  <a:pt x="2545" y="1973"/>
                  <a:pt x="2578" y="1942"/>
                  <a:pt x="2578" y="1894"/>
                </a:cubicBezTo>
                <a:lnTo>
                  <a:pt x="2578" y="398"/>
                </a:lnTo>
                <a:cubicBezTo>
                  <a:pt x="2578" y="351"/>
                  <a:pt x="2545" y="318"/>
                  <a:pt x="2498" y="318"/>
                </a:cubicBezTo>
                <a:close/>
                <a:moveTo>
                  <a:pt x="2418" y="1814"/>
                </a:moveTo>
                <a:lnTo>
                  <a:pt x="653" y="1814"/>
                </a:lnTo>
                <a:lnTo>
                  <a:pt x="653" y="478"/>
                </a:lnTo>
                <a:lnTo>
                  <a:pt x="2418" y="478"/>
                </a:lnTo>
                <a:close/>
                <a:moveTo>
                  <a:pt x="1909" y="2180"/>
                </a:moveTo>
                <a:lnTo>
                  <a:pt x="1162" y="2180"/>
                </a:lnTo>
                <a:cubicBezTo>
                  <a:pt x="1018" y="2180"/>
                  <a:pt x="907" y="2291"/>
                  <a:pt x="907" y="2419"/>
                </a:cubicBezTo>
                <a:lnTo>
                  <a:pt x="907" y="2578"/>
                </a:lnTo>
                <a:cubicBezTo>
                  <a:pt x="907" y="2721"/>
                  <a:pt x="1018" y="2833"/>
                  <a:pt x="1162" y="2833"/>
                </a:cubicBezTo>
                <a:lnTo>
                  <a:pt x="1909" y="2833"/>
                </a:lnTo>
                <a:cubicBezTo>
                  <a:pt x="2053" y="2833"/>
                  <a:pt x="2164" y="2721"/>
                  <a:pt x="2164" y="2578"/>
                </a:cubicBezTo>
                <a:lnTo>
                  <a:pt x="2164" y="2419"/>
                </a:lnTo>
                <a:cubicBezTo>
                  <a:pt x="2164" y="2291"/>
                  <a:pt x="2053" y="2180"/>
                  <a:pt x="1909" y="2180"/>
                </a:cubicBezTo>
                <a:close/>
                <a:moveTo>
                  <a:pt x="2005" y="2578"/>
                </a:moveTo>
                <a:cubicBezTo>
                  <a:pt x="2005" y="2625"/>
                  <a:pt x="1957" y="2673"/>
                  <a:pt x="1909" y="2673"/>
                </a:cubicBezTo>
                <a:lnTo>
                  <a:pt x="1162" y="2673"/>
                </a:lnTo>
                <a:cubicBezTo>
                  <a:pt x="1114" y="2673"/>
                  <a:pt x="1066" y="2625"/>
                  <a:pt x="1066" y="2578"/>
                </a:cubicBezTo>
                <a:lnTo>
                  <a:pt x="1066" y="2419"/>
                </a:lnTo>
                <a:cubicBezTo>
                  <a:pt x="1066" y="2371"/>
                  <a:pt x="1114" y="2339"/>
                  <a:pt x="1162" y="2339"/>
                </a:cubicBezTo>
                <a:lnTo>
                  <a:pt x="1909" y="2339"/>
                </a:lnTo>
                <a:cubicBezTo>
                  <a:pt x="1957" y="2339"/>
                  <a:pt x="2005" y="2371"/>
                  <a:pt x="2005" y="241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3" name="Freeform: Shape 10">
            <a:extLst>
              <a:ext uri="{FF2B5EF4-FFF2-40B4-BE49-F238E27FC236}">
                <a16:creationId xmlns:a16="http://schemas.microsoft.com/office/drawing/2014/main" id="{D9DC96D4-0EBB-B347-9531-B3BE747EA38A}"/>
              </a:ext>
            </a:extLst>
          </p:cNvPr>
          <p:cNvSpPr/>
          <p:nvPr/>
        </p:nvSpPr>
        <p:spPr>
          <a:xfrm>
            <a:off x="5990974" y="9772137"/>
            <a:ext cx="1517400" cy="1479599"/>
          </a:xfrm>
          <a:custGeom>
            <a:avLst/>
            <a:gdLst/>
            <a:ahLst/>
            <a:cxnLst>
              <a:cxn ang="3cd4">
                <a:pos x="hc" y="t"/>
              </a:cxn>
              <a:cxn ang="cd2">
                <a:pos x="l" y="vc"/>
              </a:cxn>
              <a:cxn ang="cd4">
                <a:pos x="hc" y="b"/>
              </a:cxn>
              <a:cxn ang="0">
                <a:pos x="r" y="vc"/>
              </a:cxn>
            </a:cxnLst>
            <a:rect l="l" t="t" r="r" b="b"/>
            <a:pathLst>
              <a:path w="4216" h="4111">
                <a:moveTo>
                  <a:pt x="2132" y="1543"/>
                </a:moveTo>
                <a:cubicBezTo>
                  <a:pt x="2387" y="1543"/>
                  <a:pt x="2593" y="1336"/>
                  <a:pt x="2593" y="1081"/>
                </a:cubicBezTo>
                <a:cubicBezTo>
                  <a:pt x="2593" y="827"/>
                  <a:pt x="2387" y="604"/>
                  <a:pt x="2132" y="604"/>
                </a:cubicBezTo>
                <a:cubicBezTo>
                  <a:pt x="1861" y="604"/>
                  <a:pt x="1654" y="827"/>
                  <a:pt x="1654" y="1081"/>
                </a:cubicBezTo>
                <a:cubicBezTo>
                  <a:pt x="1654" y="1336"/>
                  <a:pt x="1861" y="1543"/>
                  <a:pt x="2132" y="1543"/>
                </a:cubicBezTo>
                <a:close/>
                <a:moveTo>
                  <a:pt x="2132" y="763"/>
                </a:moveTo>
                <a:cubicBezTo>
                  <a:pt x="2291" y="763"/>
                  <a:pt x="2434" y="906"/>
                  <a:pt x="2434" y="1081"/>
                </a:cubicBezTo>
                <a:cubicBezTo>
                  <a:pt x="2434" y="1241"/>
                  <a:pt x="2291" y="1384"/>
                  <a:pt x="2132" y="1384"/>
                </a:cubicBezTo>
                <a:cubicBezTo>
                  <a:pt x="1957" y="1384"/>
                  <a:pt x="1814" y="1241"/>
                  <a:pt x="1814" y="1081"/>
                </a:cubicBezTo>
                <a:cubicBezTo>
                  <a:pt x="1814" y="906"/>
                  <a:pt x="1957" y="763"/>
                  <a:pt x="2132" y="763"/>
                </a:cubicBezTo>
                <a:close/>
                <a:moveTo>
                  <a:pt x="2084" y="4105"/>
                </a:moveTo>
                <a:lnTo>
                  <a:pt x="2100" y="4105"/>
                </a:lnTo>
                <a:lnTo>
                  <a:pt x="2116" y="4105"/>
                </a:lnTo>
                <a:lnTo>
                  <a:pt x="2132" y="4105"/>
                </a:lnTo>
                <a:lnTo>
                  <a:pt x="3118" y="3850"/>
                </a:lnTo>
                <a:lnTo>
                  <a:pt x="4105" y="4105"/>
                </a:lnTo>
                <a:cubicBezTo>
                  <a:pt x="4136" y="4120"/>
                  <a:pt x="4168" y="4105"/>
                  <a:pt x="4184" y="4088"/>
                </a:cubicBezTo>
                <a:cubicBezTo>
                  <a:pt x="4200" y="4073"/>
                  <a:pt x="4216" y="4041"/>
                  <a:pt x="4216" y="4025"/>
                </a:cubicBezTo>
                <a:lnTo>
                  <a:pt x="3882" y="970"/>
                </a:lnTo>
                <a:cubicBezTo>
                  <a:pt x="3866" y="938"/>
                  <a:pt x="3850" y="923"/>
                  <a:pt x="3818" y="906"/>
                </a:cubicBezTo>
                <a:lnTo>
                  <a:pt x="3070" y="652"/>
                </a:lnTo>
                <a:cubicBezTo>
                  <a:pt x="2927" y="270"/>
                  <a:pt x="2545" y="0"/>
                  <a:pt x="2100" y="0"/>
                </a:cubicBezTo>
                <a:cubicBezTo>
                  <a:pt x="1654" y="0"/>
                  <a:pt x="1273" y="286"/>
                  <a:pt x="1130" y="684"/>
                </a:cubicBezTo>
                <a:lnTo>
                  <a:pt x="366" y="906"/>
                </a:lnTo>
                <a:cubicBezTo>
                  <a:pt x="334" y="923"/>
                  <a:pt x="318" y="938"/>
                  <a:pt x="302" y="970"/>
                </a:cubicBezTo>
                <a:lnTo>
                  <a:pt x="0" y="4025"/>
                </a:lnTo>
                <a:cubicBezTo>
                  <a:pt x="0" y="4041"/>
                  <a:pt x="16" y="4073"/>
                  <a:pt x="32" y="4088"/>
                </a:cubicBezTo>
                <a:cubicBezTo>
                  <a:pt x="48" y="4105"/>
                  <a:pt x="63" y="4105"/>
                  <a:pt x="79" y="4105"/>
                </a:cubicBezTo>
                <a:lnTo>
                  <a:pt x="95" y="4105"/>
                </a:lnTo>
                <a:lnTo>
                  <a:pt x="1034" y="3850"/>
                </a:lnTo>
                <a:close/>
                <a:moveTo>
                  <a:pt x="2100" y="159"/>
                </a:moveTo>
                <a:cubicBezTo>
                  <a:pt x="2482" y="159"/>
                  <a:pt x="2800" y="381"/>
                  <a:pt x="2927" y="715"/>
                </a:cubicBezTo>
                <a:cubicBezTo>
                  <a:pt x="2927" y="732"/>
                  <a:pt x="2927" y="747"/>
                  <a:pt x="2943" y="763"/>
                </a:cubicBezTo>
                <a:cubicBezTo>
                  <a:pt x="2959" y="843"/>
                  <a:pt x="2975" y="923"/>
                  <a:pt x="2975" y="1018"/>
                </a:cubicBezTo>
                <a:cubicBezTo>
                  <a:pt x="2975" y="1447"/>
                  <a:pt x="2307" y="2386"/>
                  <a:pt x="2100" y="2672"/>
                </a:cubicBezTo>
                <a:cubicBezTo>
                  <a:pt x="1814" y="2275"/>
                  <a:pt x="1225" y="1400"/>
                  <a:pt x="1225" y="1018"/>
                </a:cubicBezTo>
                <a:cubicBezTo>
                  <a:pt x="1225" y="541"/>
                  <a:pt x="1623" y="159"/>
                  <a:pt x="2100" y="159"/>
                </a:cubicBezTo>
                <a:close/>
                <a:moveTo>
                  <a:pt x="461" y="1050"/>
                </a:moveTo>
                <a:lnTo>
                  <a:pt x="1082" y="875"/>
                </a:lnTo>
                <a:cubicBezTo>
                  <a:pt x="1082" y="923"/>
                  <a:pt x="1066" y="970"/>
                  <a:pt x="1066" y="1018"/>
                </a:cubicBezTo>
                <a:cubicBezTo>
                  <a:pt x="1066" y="1575"/>
                  <a:pt x="2005" y="2800"/>
                  <a:pt x="2036" y="2863"/>
                </a:cubicBezTo>
                <a:cubicBezTo>
                  <a:pt x="2052" y="2879"/>
                  <a:pt x="2084" y="2895"/>
                  <a:pt x="2100" y="2895"/>
                </a:cubicBezTo>
                <a:cubicBezTo>
                  <a:pt x="2132" y="2895"/>
                  <a:pt x="2148" y="2879"/>
                  <a:pt x="2164" y="2863"/>
                </a:cubicBezTo>
                <a:cubicBezTo>
                  <a:pt x="2211" y="2800"/>
                  <a:pt x="3134" y="1575"/>
                  <a:pt x="3134" y="1018"/>
                </a:cubicBezTo>
                <a:cubicBezTo>
                  <a:pt x="3134" y="954"/>
                  <a:pt x="3134" y="891"/>
                  <a:pt x="3118" y="843"/>
                </a:cubicBezTo>
                <a:lnTo>
                  <a:pt x="3723" y="1050"/>
                </a:lnTo>
                <a:lnTo>
                  <a:pt x="4041" y="3929"/>
                </a:lnTo>
                <a:lnTo>
                  <a:pt x="3198" y="3706"/>
                </a:lnTo>
                <a:lnTo>
                  <a:pt x="3102" y="2163"/>
                </a:lnTo>
                <a:cubicBezTo>
                  <a:pt x="3102" y="2132"/>
                  <a:pt x="3070" y="2100"/>
                  <a:pt x="3023" y="2100"/>
                </a:cubicBezTo>
                <a:cubicBezTo>
                  <a:pt x="2975" y="2100"/>
                  <a:pt x="2943" y="2132"/>
                  <a:pt x="2943" y="2179"/>
                </a:cubicBezTo>
                <a:lnTo>
                  <a:pt x="3039" y="3706"/>
                </a:lnTo>
                <a:lnTo>
                  <a:pt x="2179" y="3929"/>
                </a:lnTo>
                <a:lnTo>
                  <a:pt x="2179" y="3325"/>
                </a:lnTo>
                <a:cubicBezTo>
                  <a:pt x="2179" y="3277"/>
                  <a:pt x="2148" y="3245"/>
                  <a:pt x="2100" y="3245"/>
                </a:cubicBezTo>
                <a:cubicBezTo>
                  <a:pt x="2068" y="3245"/>
                  <a:pt x="2020" y="3277"/>
                  <a:pt x="2020" y="3325"/>
                </a:cubicBezTo>
                <a:lnTo>
                  <a:pt x="2020" y="3929"/>
                </a:lnTo>
                <a:lnTo>
                  <a:pt x="1114" y="3706"/>
                </a:lnTo>
                <a:lnTo>
                  <a:pt x="1225" y="2211"/>
                </a:lnTo>
                <a:cubicBezTo>
                  <a:pt x="1241" y="2163"/>
                  <a:pt x="1209" y="2115"/>
                  <a:pt x="1161" y="2115"/>
                </a:cubicBezTo>
                <a:cubicBezTo>
                  <a:pt x="1114" y="2115"/>
                  <a:pt x="1082" y="2148"/>
                  <a:pt x="1082" y="2195"/>
                </a:cubicBezTo>
                <a:lnTo>
                  <a:pt x="954" y="3706"/>
                </a:lnTo>
                <a:lnTo>
                  <a:pt x="175" y="39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4" name="Freeform: Shape 11">
            <a:extLst>
              <a:ext uri="{FF2B5EF4-FFF2-40B4-BE49-F238E27FC236}">
                <a16:creationId xmlns:a16="http://schemas.microsoft.com/office/drawing/2014/main" id="{D61A5AE1-D00A-684B-A2AF-70768E481DD3}"/>
              </a:ext>
            </a:extLst>
          </p:cNvPr>
          <p:cNvSpPr/>
          <p:nvPr/>
        </p:nvSpPr>
        <p:spPr>
          <a:xfrm>
            <a:off x="13940299" y="9774812"/>
            <a:ext cx="1454400" cy="1425960"/>
          </a:xfrm>
          <a:custGeom>
            <a:avLst/>
            <a:gdLst/>
            <a:ahLst/>
            <a:cxnLst>
              <a:cxn ang="3cd4">
                <a:pos x="hc" y="t"/>
              </a:cxn>
              <a:cxn ang="cd2">
                <a:pos x="l" y="vc"/>
              </a:cxn>
              <a:cxn ang="cd4">
                <a:pos x="hc" y="b"/>
              </a:cxn>
              <a:cxn ang="0">
                <a:pos x="r" y="vc"/>
              </a:cxn>
            </a:cxnLst>
            <a:rect l="l" t="t" r="r" b="b"/>
            <a:pathLst>
              <a:path w="4041" h="3962">
                <a:moveTo>
                  <a:pt x="2975" y="16"/>
                </a:moveTo>
                <a:lnTo>
                  <a:pt x="2975" y="0"/>
                </a:lnTo>
                <a:lnTo>
                  <a:pt x="2959" y="0"/>
                </a:lnTo>
                <a:lnTo>
                  <a:pt x="2943" y="0"/>
                </a:lnTo>
                <a:cubicBezTo>
                  <a:pt x="2928" y="0"/>
                  <a:pt x="2928" y="0"/>
                  <a:pt x="2928" y="0"/>
                </a:cubicBezTo>
                <a:lnTo>
                  <a:pt x="2911" y="0"/>
                </a:lnTo>
                <a:lnTo>
                  <a:pt x="2911" y="16"/>
                </a:lnTo>
                <a:cubicBezTo>
                  <a:pt x="2020" y="509"/>
                  <a:pt x="2020" y="509"/>
                  <a:pt x="2020" y="509"/>
                </a:cubicBezTo>
                <a:cubicBezTo>
                  <a:pt x="1129" y="16"/>
                  <a:pt x="1129" y="16"/>
                  <a:pt x="1129" y="16"/>
                </a:cubicBezTo>
                <a:lnTo>
                  <a:pt x="1114" y="16"/>
                </a:lnTo>
                <a:lnTo>
                  <a:pt x="1114" y="0"/>
                </a:lnTo>
                <a:lnTo>
                  <a:pt x="1098" y="0"/>
                </a:lnTo>
                <a:cubicBezTo>
                  <a:pt x="1082" y="0"/>
                  <a:pt x="1082" y="0"/>
                  <a:pt x="1082" y="0"/>
                </a:cubicBezTo>
                <a:cubicBezTo>
                  <a:pt x="1066" y="0"/>
                  <a:pt x="1066" y="0"/>
                  <a:pt x="1066" y="0"/>
                </a:cubicBezTo>
                <a:lnTo>
                  <a:pt x="1050" y="0"/>
                </a:lnTo>
                <a:lnTo>
                  <a:pt x="1050" y="16"/>
                </a:lnTo>
                <a:cubicBezTo>
                  <a:pt x="32" y="525"/>
                  <a:pt x="32" y="525"/>
                  <a:pt x="32" y="525"/>
                </a:cubicBezTo>
                <a:cubicBezTo>
                  <a:pt x="16" y="541"/>
                  <a:pt x="0" y="573"/>
                  <a:pt x="0" y="605"/>
                </a:cubicBezTo>
                <a:cubicBezTo>
                  <a:pt x="0" y="3882"/>
                  <a:pt x="0" y="3882"/>
                  <a:pt x="0" y="3882"/>
                </a:cubicBezTo>
                <a:cubicBezTo>
                  <a:pt x="0" y="3898"/>
                  <a:pt x="16" y="3930"/>
                  <a:pt x="32" y="3945"/>
                </a:cubicBezTo>
                <a:cubicBezTo>
                  <a:pt x="47" y="3945"/>
                  <a:pt x="64" y="3962"/>
                  <a:pt x="80" y="3962"/>
                </a:cubicBezTo>
                <a:cubicBezTo>
                  <a:pt x="80" y="3962"/>
                  <a:pt x="95" y="3962"/>
                  <a:pt x="111" y="3945"/>
                </a:cubicBezTo>
                <a:cubicBezTo>
                  <a:pt x="1098" y="3436"/>
                  <a:pt x="1098" y="3436"/>
                  <a:pt x="1098" y="3436"/>
                </a:cubicBezTo>
                <a:cubicBezTo>
                  <a:pt x="1973" y="3914"/>
                  <a:pt x="1973" y="3914"/>
                  <a:pt x="1973" y="3914"/>
                </a:cubicBezTo>
                <a:cubicBezTo>
                  <a:pt x="1989" y="3930"/>
                  <a:pt x="1989" y="3930"/>
                  <a:pt x="1989" y="3930"/>
                </a:cubicBezTo>
                <a:lnTo>
                  <a:pt x="2004" y="3930"/>
                </a:lnTo>
                <a:lnTo>
                  <a:pt x="2020" y="3930"/>
                </a:lnTo>
                <a:cubicBezTo>
                  <a:pt x="2037" y="3930"/>
                  <a:pt x="2037" y="3930"/>
                  <a:pt x="2037" y="3930"/>
                </a:cubicBezTo>
                <a:cubicBezTo>
                  <a:pt x="2052" y="3930"/>
                  <a:pt x="2052" y="3930"/>
                  <a:pt x="2052" y="3914"/>
                </a:cubicBezTo>
                <a:cubicBezTo>
                  <a:pt x="2928" y="3436"/>
                  <a:pt x="2928" y="3436"/>
                  <a:pt x="2928" y="3436"/>
                </a:cubicBezTo>
                <a:cubicBezTo>
                  <a:pt x="3914" y="3945"/>
                  <a:pt x="3914" y="3945"/>
                  <a:pt x="3914" y="3945"/>
                </a:cubicBezTo>
                <a:cubicBezTo>
                  <a:pt x="3929" y="3962"/>
                  <a:pt x="3946" y="3962"/>
                  <a:pt x="3962" y="3962"/>
                </a:cubicBezTo>
                <a:cubicBezTo>
                  <a:pt x="3962" y="3962"/>
                  <a:pt x="3977" y="3945"/>
                  <a:pt x="3993" y="3945"/>
                </a:cubicBezTo>
                <a:cubicBezTo>
                  <a:pt x="4025" y="3930"/>
                  <a:pt x="4041" y="3898"/>
                  <a:pt x="4041" y="3882"/>
                </a:cubicBezTo>
                <a:cubicBezTo>
                  <a:pt x="4041" y="605"/>
                  <a:pt x="4041" y="605"/>
                  <a:pt x="4041" y="605"/>
                </a:cubicBezTo>
                <a:cubicBezTo>
                  <a:pt x="4041" y="573"/>
                  <a:pt x="4009" y="541"/>
                  <a:pt x="3993" y="525"/>
                </a:cubicBezTo>
                <a:close/>
                <a:moveTo>
                  <a:pt x="159" y="653"/>
                </a:moveTo>
                <a:cubicBezTo>
                  <a:pt x="1002" y="207"/>
                  <a:pt x="1002" y="207"/>
                  <a:pt x="1002" y="207"/>
                </a:cubicBezTo>
                <a:cubicBezTo>
                  <a:pt x="1002" y="3309"/>
                  <a:pt x="1002" y="3309"/>
                  <a:pt x="1002" y="3309"/>
                </a:cubicBezTo>
                <a:cubicBezTo>
                  <a:pt x="159" y="3755"/>
                  <a:pt x="159" y="3755"/>
                  <a:pt x="159" y="3755"/>
                </a:cubicBezTo>
                <a:close/>
                <a:moveTo>
                  <a:pt x="1161" y="223"/>
                </a:moveTo>
                <a:cubicBezTo>
                  <a:pt x="1941" y="636"/>
                  <a:pt x="1941" y="636"/>
                  <a:pt x="1941" y="636"/>
                </a:cubicBezTo>
                <a:cubicBezTo>
                  <a:pt x="1941" y="3723"/>
                  <a:pt x="1941" y="3723"/>
                  <a:pt x="1941" y="3723"/>
                </a:cubicBezTo>
                <a:cubicBezTo>
                  <a:pt x="1161" y="3293"/>
                  <a:pt x="1161" y="3293"/>
                  <a:pt x="1161" y="3293"/>
                </a:cubicBezTo>
                <a:close/>
                <a:moveTo>
                  <a:pt x="2100" y="636"/>
                </a:moveTo>
                <a:cubicBezTo>
                  <a:pt x="2864" y="223"/>
                  <a:pt x="2864" y="223"/>
                  <a:pt x="2864" y="223"/>
                </a:cubicBezTo>
                <a:cubicBezTo>
                  <a:pt x="2864" y="3293"/>
                  <a:pt x="2864" y="3293"/>
                  <a:pt x="2864" y="3293"/>
                </a:cubicBezTo>
                <a:cubicBezTo>
                  <a:pt x="2100" y="3723"/>
                  <a:pt x="2100" y="3723"/>
                  <a:pt x="2100" y="3723"/>
                </a:cubicBezTo>
                <a:close/>
                <a:moveTo>
                  <a:pt x="3882" y="3755"/>
                </a:moveTo>
                <a:cubicBezTo>
                  <a:pt x="3023" y="3309"/>
                  <a:pt x="3023" y="3309"/>
                  <a:pt x="3023" y="3309"/>
                </a:cubicBezTo>
                <a:cubicBezTo>
                  <a:pt x="3023" y="207"/>
                  <a:pt x="3023" y="207"/>
                  <a:pt x="3023" y="207"/>
                </a:cubicBezTo>
                <a:cubicBezTo>
                  <a:pt x="3882" y="653"/>
                  <a:pt x="3882" y="653"/>
                  <a:pt x="3882" y="65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5" name="Freeform: Shape 12">
            <a:extLst>
              <a:ext uri="{FF2B5EF4-FFF2-40B4-BE49-F238E27FC236}">
                <a16:creationId xmlns:a16="http://schemas.microsoft.com/office/drawing/2014/main" id="{F85F32F9-796A-1845-8169-1EAAFC65DE31}"/>
              </a:ext>
            </a:extLst>
          </p:cNvPr>
          <p:cNvSpPr/>
          <p:nvPr/>
        </p:nvSpPr>
        <p:spPr>
          <a:xfrm>
            <a:off x="1955390" y="6780346"/>
            <a:ext cx="1305360" cy="1305360"/>
          </a:xfrm>
          <a:custGeom>
            <a:avLst/>
            <a:gdLst/>
            <a:ahLst/>
            <a:cxnLst>
              <a:cxn ang="3cd4">
                <a:pos x="hc" y="t"/>
              </a:cxn>
              <a:cxn ang="cd2">
                <a:pos x="l" y="vc"/>
              </a:cxn>
              <a:cxn ang="cd4">
                <a:pos x="hc" y="b"/>
              </a:cxn>
              <a:cxn ang="0">
                <a:pos x="r" y="vc"/>
              </a:cxn>
            </a:cxnLst>
            <a:rect l="l" t="t" r="r" b="b"/>
            <a:pathLst>
              <a:path w="3627" h="3627">
                <a:moveTo>
                  <a:pt x="79" y="3627"/>
                </a:moveTo>
                <a:lnTo>
                  <a:pt x="3548" y="3627"/>
                </a:lnTo>
                <a:cubicBezTo>
                  <a:pt x="3553" y="3622"/>
                  <a:pt x="3564" y="3627"/>
                  <a:pt x="3564" y="3612"/>
                </a:cubicBezTo>
                <a:lnTo>
                  <a:pt x="3580" y="3612"/>
                </a:lnTo>
                <a:lnTo>
                  <a:pt x="3595" y="3612"/>
                </a:lnTo>
                <a:lnTo>
                  <a:pt x="3595" y="3595"/>
                </a:lnTo>
                <a:cubicBezTo>
                  <a:pt x="3611" y="3595"/>
                  <a:pt x="3611" y="3595"/>
                  <a:pt x="3611" y="3579"/>
                </a:cubicBezTo>
                <a:lnTo>
                  <a:pt x="3627" y="3564"/>
                </a:lnTo>
                <a:lnTo>
                  <a:pt x="3627" y="3548"/>
                </a:lnTo>
                <a:lnTo>
                  <a:pt x="3627" y="79"/>
                </a:lnTo>
                <a:cubicBezTo>
                  <a:pt x="3627" y="31"/>
                  <a:pt x="3595" y="0"/>
                  <a:pt x="3548" y="0"/>
                </a:cubicBezTo>
                <a:lnTo>
                  <a:pt x="79" y="0"/>
                </a:lnTo>
                <a:cubicBezTo>
                  <a:pt x="47" y="0"/>
                  <a:pt x="0" y="31"/>
                  <a:pt x="0" y="79"/>
                </a:cubicBezTo>
                <a:lnTo>
                  <a:pt x="0" y="2577"/>
                </a:lnTo>
                <a:lnTo>
                  <a:pt x="0" y="2657"/>
                </a:lnTo>
                <a:lnTo>
                  <a:pt x="0" y="3548"/>
                </a:lnTo>
                <a:cubicBezTo>
                  <a:pt x="0" y="3579"/>
                  <a:pt x="47" y="3627"/>
                  <a:pt x="79" y="3627"/>
                </a:cubicBezTo>
                <a:close/>
                <a:moveTo>
                  <a:pt x="159" y="2641"/>
                </a:moveTo>
                <a:lnTo>
                  <a:pt x="1368" y="1448"/>
                </a:lnTo>
                <a:lnTo>
                  <a:pt x="3357" y="3468"/>
                </a:lnTo>
                <a:lnTo>
                  <a:pt x="159" y="3468"/>
                </a:lnTo>
                <a:close/>
                <a:moveTo>
                  <a:pt x="3468" y="3341"/>
                </a:moveTo>
                <a:lnTo>
                  <a:pt x="2147" y="2004"/>
                </a:lnTo>
                <a:lnTo>
                  <a:pt x="2657" y="1495"/>
                </a:lnTo>
                <a:lnTo>
                  <a:pt x="3468" y="2275"/>
                </a:lnTo>
                <a:close/>
                <a:moveTo>
                  <a:pt x="3468" y="159"/>
                </a:moveTo>
                <a:lnTo>
                  <a:pt x="3468" y="2068"/>
                </a:lnTo>
                <a:lnTo>
                  <a:pt x="2704" y="1320"/>
                </a:lnTo>
                <a:cubicBezTo>
                  <a:pt x="2673" y="1304"/>
                  <a:pt x="2625" y="1304"/>
                  <a:pt x="2593" y="1336"/>
                </a:cubicBezTo>
                <a:lnTo>
                  <a:pt x="2020" y="1893"/>
                </a:lnTo>
                <a:lnTo>
                  <a:pt x="1416" y="1273"/>
                </a:lnTo>
                <a:cubicBezTo>
                  <a:pt x="1384" y="1257"/>
                  <a:pt x="1336" y="1257"/>
                  <a:pt x="1304" y="1273"/>
                </a:cubicBezTo>
                <a:lnTo>
                  <a:pt x="159" y="2418"/>
                </a:lnTo>
                <a:lnTo>
                  <a:pt x="159" y="159"/>
                </a:lnTo>
                <a:close/>
                <a:moveTo>
                  <a:pt x="2004" y="1113"/>
                </a:moveTo>
                <a:cubicBezTo>
                  <a:pt x="2147" y="1113"/>
                  <a:pt x="2291" y="986"/>
                  <a:pt x="2291" y="827"/>
                </a:cubicBezTo>
                <a:cubicBezTo>
                  <a:pt x="2291" y="668"/>
                  <a:pt x="2147" y="541"/>
                  <a:pt x="2004" y="541"/>
                </a:cubicBezTo>
                <a:cubicBezTo>
                  <a:pt x="1846" y="541"/>
                  <a:pt x="1702" y="668"/>
                  <a:pt x="1702" y="827"/>
                </a:cubicBezTo>
                <a:cubicBezTo>
                  <a:pt x="1702" y="986"/>
                  <a:pt x="1846" y="1113"/>
                  <a:pt x="2004" y="1113"/>
                </a:cubicBezTo>
                <a:close/>
                <a:moveTo>
                  <a:pt x="2004" y="700"/>
                </a:moveTo>
                <a:cubicBezTo>
                  <a:pt x="2068" y="700"/>
                  <a:pt x="2132" y="763"/>
                  <a:pt x="2132" y="827"/>
                </a:cubicBezTo>
                <a:cubicBezTo>
                  <a:pt x="2132" y="907"/>
                  <a:pt x="2068" y="954"/>
                  <a:pt x="2004" y="954"/>
                </a:cubicBezTo>
                <a:cubicBezTo>
                  <a:pt x="1925" y="954"/>
                  <a:pt x="1861" y="907"/>
                  <a:pt x="1861" y="827"/>
                </a:cubicBezTo>
                <a:cubicBezTo>
                  <a:pt x="1861" y="763"/>
                  <a:pt x="1925" y="700"/>
                  <a:pt x="2004" y="70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6" name="Freeform: Shape 13">
            <a:extLst>
              <a:ext uri="{FF2B5EF4-FFF2-40B4-BE49-F238E27FC236}">
                <a16:creationId xmlns:a16="http://schemas.microsoft.com/office/drawing/2014/main" id="{8EF0461B-1E7E-C34A-AD02-1028356EE831}"/>
              </a:ext>
            </a:extLst>
          </p:cNvPr>
          <p:cNvSpPr/>
          <p:nvPr/>
        </p:nvSpPr>
        <p:spPr>
          <a:xfrm>
            <a:off x="13930087" y="7025194"/>
            <a:ext cx="1600920" cy="686880"/>
          </a:xfrm>
          <a:custGeom>
            <a:avLst/>
            <a:gdLst/>
            <a:ahLst/>
            <a:cxnLst>
              <a:cxn ang="3cd4">
                <a:pos x="hc" y="t"/>
              </a:cxn>
              <a:cxn ang="cd2">
                <a:pos x="l" y="vc"/>
              </a:cxn>
              <a:cxn ang="cd4">
                <a:pos x="hc" y="b"/>
              </a:cxn>
              <a:cxn ang="0">
                <a:pos x="r" y="vc"/>
              </a:cxn>
            </a:cxnLst>
            <a:rect l="l" t="t" r="r" b="b"/>
            <a:pathLst>
              <a:path w="4448" h="1909">
                <a:moveTo>
                  <a:pt x="3545" y="0"/>
                </a:moveTo>
                <a:lnTo>
                  <a:pt x="904" y="0"/>
                </a:lnTo>
                <a:cubicBezTo>
                  <a:pt x="840" y="0"/>
                  <a:pt x="666" y="0"/>
                  <a:pt x="602" y="158"/>
                </a:cubicBezTo>
                <a:lnTo>
                  <a:pt x="29" y="1415"/>
                </a:lnTo>
                <a:cubicBezTo>
                  <a:pt x="-19" y="1511"/>
                  <a:pt x="-3" y="1654"/>
                  <a:pt x="45" y="1749"/>
                </a:cubicBezTo>
                <a:cubicBezTo>
                  <a:pt x="124" y="1845"/>
                  <a:pt x="220" y="1909"/>
                  <a:pt x="331" y="1909"/>
                </a:cubicBezTo>
                <a:lnTo>
                  <a:pt x="4118" y="1909"/>
                </a:lnTo>
                <a:cubicBezTo>
                  <a:pt x="4245" y="1909"/>
                  <a:pt x="4340" y="1813"/>
                  <a:pt x="4388" y="1734"/>
                </a:cubicBezTo>
                <a:cubicBezTo>
                  <a:pt x="4452" y="1638"/>
                  <a:pt x="4468" y="1527"/>
                  <a:pt x="4420" y="1431"/>
                </a:cubicBezTo>
                <a:lnTo>
                  <a:pt x="3848" y="158"/>
                </a:lnTo>
                <a:cubicBezTo>
                  <a:pt x="3784" y="0"/>
                  <a:pt x="3609" y="0"/>
                  <a:pt x="3545" y="0"/>
                </a:cubicBezTo>
                <a:close/>
                <a:moveTo>
                  <a:pt x="4261" y="1638"/>
                </a:moveTo>
                <a:cubicBezTo>
                  <a:pt x="4229" y="1702"/>
                  <a:pt x="4166" y="1749"/>
                  <a:pt x="4118" y="1749"/>
                </a:cubicBezTo>
                <a:lnTo>
                  <a:pt x="331" y="1749"/>
                </a:lnTo>
                <a:cubicBezTo>
                  <a:pt x="284" y="1749"/>
                  <a:pt x="220" y="1718"/>
                  <a:pt x="188" y="1654"/>
                </a:cubicBezTo>
                <a:cubicBezTo>
                  <a:pt x="156" y="1606"/>
                  <a:pt x="140" y="1527"/>
                  <a:pt x="172" y="1479"/>
                </a:cubicBezTo>
                <a:lnTo>
                  <a:pt x="745" y="222"/>
                </a:lnTo>
                <a:cubicBezTo>
                  <a:pt x="761" y="190"/>
                  <a:pt x="777" y="158"/>
                  <a:pt x="904" y="158"/>
                </a:cubicBezTo>
                <a:lnTo>
                  <a:pt x="3545" y="158"/>
                </a:lnTo>
                <a:cubicBezTo>
                  <a:pt x="3657" y="158"/>
                  <a:pt x="3688" y="190"/>
                  <a:pt x="3704" y="222"/>
                </a:cubicBezTo>
                <a:lnTo>
                  <a:pt x="4277" y="1495"/>
                </a:lnTo>
                <a:cubicBezTo>
                  <a:pt x="4293" y="1543"/>
                  <a:pt x="4293" y="1591"/>
                  <a:pt x="4261" y="1638"/>
                </a:cubicBezTo>
                <a:close/>
                <a:moveTo>
                  <a:pt x="1731" y="588"/>
                </a:moveTo>
                <a:lnTo>
                  <a:pt x="1731" y="493"/>
                </a:lnTo>
                <a:cubicBezTo>
                  <a:pt x="1731" y="477"/>
                  <a:pt x="1715" y="461"/>
                  <a:pt x="1700" y="461"/>
                </a:cubicBezTo>
                <a:lnTo>
                  <a:pt x="1047" y="461"/>
                </a:lnTo>
                <a:cubicBezTo>
                  <a:pt x="1031" y="461"/>
                  <a:pt x="1031" y="477"/>
                  <a:pt x="1031" y="493"/>
                </a:cubicBezTo>
                <a:lnTo>
                  <a:pt x="1031" y="588"/>
                </a:lnTo>
                <a:cubicBezTo>
                  <a:pt x="1031" y="604"/>
                  <a:pt x="1031" y="620"/>
                  <a:pt x="1047" y="620"/>
                </a:cubicBezTo>
                <a:lnTo>
                  <a:pt x="1286" y="620"/>
                </a:lnTo>
                <a:lnTo>
                  <a:pt x="1286" y="1304"/>
                </a:lnTo>
                <a:cubicBezTo>
                  <a:pt x="1286" y="1336"/>
                  <a:pt x="1302" y="1336"/>
                  <a:pt x="1318" y="1336"/>
                </a:cubicBezTo>
                <a:lnTo>
                  <a:pt x="1429" y="1336"/>
                </a:lnTo>
                <a:cubicBezTo>
                  <a:pt x="1445" y="1336"/>
                  <a:pt x="1461" y="1336"/>
                  <a:pt x="1461" y="1304"/>
                </a:cubicBezTo>
                <a:lnTo>
                  <a:pt x="1461" y="620"/>
                </a:lnTo>
                <a:lnTo>
                  <a:pt x="1700" y="620"/>
                </a:lnTo>
                <a:cubicBezTo>
                  <a:pt x="1715" y="620"/>
                  <a:pt x="1731" y="604"/>
                  <a:pt x="1731" y="588"/>
                </a:cubicBezTo>
                <a:close/>
                <a:moveTo>
                  <a:pt x="2861" y="891"/>
                </a:moveTo>
                <a:lnTo>
                  <a:pt x="3115" y="509"/>
                </a:lnTo>
                <a:lnTo>
                  <a:pt x="3115" y="477"/>
                </a:lnTo>
                <a:cubicBezTo>
                  <a:pt x="3100" y="477"/>
                  <a:pt x="3100" y="461"/>
                  <a:pt x="3084" y="461"/>
                </a:cubicBezTo>
                <a:lnTo>
                  <a:pt x="2972" y="461"/>
                </a:lnTo>
                <a:cubicBezTo>
                  <a:pt x="2957" y="461"/>
                  <a:pt x="2957" y="477"/>
                  <a:pt x="2940" y="477"/>
                </a:cubicBezTo>
                <a:lnTo>
                  <a:pt x="2766" y="747"/>
                </a:lnTo>
                <a:lnTo>
                  <a:pt x="2591" y="477"/>
                </a:lnTo>
                <a:cubicBezTo>
                  <a:pt x="2575" y="477"/>
                  <a:pt x="2575" y="461"/>
                  <a:pt x="2559" y="461"/>
                </a:cubicBezTo>
                <a:lnTo>
                  <a:pt x="2431" y="461"/>
                </a:lnTo>
                <a:lnTo>
                  <a:pt x="2415" y="477"/>
                </a:lnTo>
                <a:cubicBezTo>
                  <a:pt x="2400" y="493"/>
                  <a:pt x="2400" y="509"/>
                  <a:pt x="2415" y="509"/>
                </a:cubicBezTo>
                <a:lnTo>
                  <a:pt x="2670" y="891"/>
                </a:lnTo>
                <a:lnTo>
                  <a:pt x="2384" y="1288"/>
                </a:lnTo>
                <a:lnTo>
                  <a:pt x="2384" y="1304"/>
                </a:lnTo>
                <a:lnTo>
                  <a:pt x="2066" y="493"/>
                </a:lnTo>
                <a:cubicBezTo>
                  <a:pt x="2066" y="477"/>
                  <a:pt x="2055" y="472"/>
                  <a:pt x="2049" y="461"/>
                </a:cubicBezTo>
                <a:lnTo>
                  <a:pt x="1938" y="461"/>
                </a:lnTo>
                <a:cubicBezTo>
                  <a:pt x="1922" y="461"/>
                  <a:pt x="1906" y="477"/>
                  <a:pt x="1906" y="493"/>
                </a:cubicBezTo>
                <a:lnTo>
                  <a:pt x="1588" y="1304"/>
                </a:lnTo>
                <a:lnTo>
                  <a:pt x="1588" y="1336"/>
                </a:lnTo>
                <a:lnTo>
                  <a:pt x="1620" y="1336"/>
                </a:lnTo>
                <a:lnTo>
                  <a:pt x="1731" y="1336"/>
                </a:lnTo>
                <a:cubicBezTo>
                  <a:pt x="1747" y="1336"/>
                  <a:pt x="1747" y="1336"/>
                  <a:pt x="1763" y="1320"/>
                </a:cubicBezTo>
                <a:lnTo>
                  <a:pt x="1827" y="1113"/>
                </a:lnTo>
                <a:lnTo>
                  <a:pt x="2145" y="1113"/>
                </a:lnTo>
                <a:lnTo>
                  <a:pt x="2225" y="1320"/>
                </a:lnTo>
                <a:cubicBezTo>
                  <a:pt x="2225" y="1336"/>
                  <a:pt x="2235" y="1331"/>
                  <a:pt x="2240" y="1336"/>
                </a:cubicBezTo>
                <a:lnTo>
                  <a:pt x="2368" y="1336"/>
                </a:lnTo>
                <a:lnTo>
                  <a:pt x="2384" y="1336"/>
                </a:lnTo>
                <a:lnTo>
                  <a:pt x="2384" y="1320"/>
                </a:lnTo>
                <a:cubicBezTo>
                  <a:pt x="2400" y="1336"/>
                  <a:pt x="2400" y="1336"/>
                  <a:pt x="2415" y="1336"/>
                </a:cubicBezTo>
                <a:lnTo>
                  <a:pt x="2527" y="1336"/>
                </a:lnTo>
                <a:lnTo>
                  <a:pt x="2559" y="1336"/>
                </a:lnTo>
                <a:lnTo>
                  <a:pt x="2766" y="1018"/>
                </a:lnTo>
                <a:lnTo>
                  <a:pt x="2972" y="1336"/>
                </a:lnTo>
                <a:lnTo>
                  <a:pt x="2988" y="1336"/>
                </a:lnTo>
                <a:lnTo>
                  <a:pt x="3115" y="1336"/>
                </a:lnTo>
                <a:cubicBezTo>
                  <a:pt x="3131" y="1336"/>
                  <a:pt x="3131" y="1336"/>
                  <a:pt x="3148" y="1320"/>
                </a:cubicBezTo>
                <a:lnTo>
                  <a:pt x="3148" y="1288"/>
                </a:lnTo>
                <a:close/>
                <a:moveTo>
                  <a:pt x="2081" y="970"/>
                </a:moveTo>
                <a:lnTo>
                  <a:pt x="1891" y="970"/>
                </a:lnTo>
                <a:lnTo>
                  <a:pt x="1986" y="700"/>
                </a:lnTo>
                <a:close/>
                <a:moveTo>
                  <a:pt x="3322" y="461"/>
                </a:moveTo>
                <a:lnTo>
                  <a:pt x="3211" y="461"/>
                </a:lnTo>
                <a:cubicBezTo>
                  <a:pt x="3195" y="461"/>
                  <a:pt x="3195" y="477"/>
                  <a:pt x="3195" y="493"/>
                </a:cubicBezTo>
                <a:lnTo>
                  <a:pt x="3195" y="1304"/>
                </a:lnTo>
                <a:cubicBezTo>
                  <a:pt x="3195" y="1336"/>
                  <a:pt x="3195" y="1336"/>
                  <a:pt x="3211" y="1336"/>
                </a:cubicBezTo>
                <a:lnTo>
                  <a:pt x="3322" y="1336"/>
                </a:lnTo>
                <a:cubicBezTo>
                  <a:pt x="3338" y="1336"/>
                  <a:pt x="3354" y="1336"/>
                  <a:pt x="3354" y="1304"/>
                </a:cubicBezTo>
                <a:lnTo>
                  <a:pt x="3354" y="493"/>
                </a:lnTo>
                <a:cubicBezTo>
                  <a:pt x="3354" y="477"/>
                  <a:pt x="3338" y="461"/>
                  <a:pt x="3322" y="46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7" name="Freeform: Shape 14">
            <a:extLst>
              <a:ext uri="{FF2B5EF4-FFF2-40B4-BE49-F238E27FC236}">
                <a16:creationId xmlns:a16="http://schemas.microsoft.com/office/drawing/2014/main" id="{18933562-88BD-5F41-A154-1117119507B8}"/>
              </a:ext>
            </a:extLst>
          </p:cNvPr>
          <p:cNvSpPr/>
          <p:nvPr/>
        </p:nvSpPr>
        <p:spPr>
          <a:xfrm>
            <a:off x="13984171" y="3144831"/>
            <a:ext cx="1348560" cy="1680839"/>
          </a:xfrm>
          <a:custGeom>
            <a:avLst/>
            <a:gdLst/>
            <a:ahLst/>
            <a:cxnLst>
              <a:cxn ang="3cd4">
                <a:pos x="hc" y="t"/>
              </a:cxn>
              <a:cxn ang="cd2">
                <a:pos x="l" y="vc"/>
              </a:cxn>
              <a:cxn ang="cd4">
                <a:pos x="hc" y="b"/>
              </a:cxn>
              <a:cxn ang="0">
                <a:pos x="r" y="vc"/>
              </a:cxn>
            </a:cxnLst>
            <a:rect l="l" t="t" r="r" b="b"/>
            <a:pathLst>
              <a:path w="3747" h="4670">
                <a:moveTo>
                  <a:pt x="621" y="3126"/>
                </a:moveTo>
                <a:cubicBezTo>
                  <a:pt x="987" y="3508"/>
                  <a:pt x="1496" y="3731"/>
                  <a:pt x="2037" y="3731"/>
                </a:cubicBezTo>
                <a:cubicBezTo>
                  <a:pt x="2037" y="4510"/>
                  <a:pt x="2037" y="4510"/>
                  <a:pt x="2037" y="4510"/>
                </a:cubicBezTo>
                <a:cubicBezTo>
                  <a:pt x="1400" y="4510"/>
                  <a:pt x="1400" y="4510"/>
                  <a:pt x="1400" y="4510"/>
                </a:cubicBezTo>
                <a:cubicBezTo>
                  <a:pt x="1353" y="4510"/>
                  <a:pt x="1321" y="4542"/>
                  <a:pt x="1321" y="4590"/>
                </a:cubicBezTo>
                <a:cubicBezTo>
                  <a:pt x="1321" y="4637"/>
                  <a:pt x="1353" y="4670"/>
                  <a:pt x="1400" y="4670"/>
                </a:cubicBezTo>
                <a:cubicBezTo>
                  <a:pt x="2832" y="4670"/>
                  <a:pt x="2832" y="4670"/>
                  <a:pt x="2832" y="4670"/>
                </a:cubicBezTo>
                <a:cubicBezTo>
                  <a:pt x="2880" y="4670"/>
                  <a:pt x="2912" y="4637"/>
                  <a:pt x="2912" y="4590"/>
                </a:cubicBezTo>
                <a:cubicBezTo>
                  <a:pt x="2912" y="4542"/>
                  <a:pt x="2880" y="4510"/>
                  <a:pt x="2832" y="4510"/>
                </a:cubicBezTo>
                <a:cubicBezTo>
                  <a:pt x="2196" y="4510"/>
                  <a:pt x="2196" y="4510"/>
                  <a:pt x="2196" y="4510"/>
                </a:cubicBezTo>
                <a:cubicBezTo>
                  <a:pt x="2196" y="3731"/>
                  <a:pt x="2196" y="3731"/>
                  <a:pt x="2196" y="3731"/>
                </a:cubicBezTo>
                <a:cubicBezTo>
                  <a:pt x="2673" y="3699"/>
                  <a:pt x="3119" y="3508"/>
                  <a:pt x="3469" y="3190"/>
                </a:cubicBezTo>
                <a:cubicBezTo>
                  <a:pt x="3612" y="3317"/>
                  <a:pt x="3612" y="3317"/>
                  <a:pt x="3612" y="3317"/>
                </a:cubicBezTo>
                <a:cubicBezTo>
                  <a:pt x="3628" y="3333"/>
                  <a:pt x="3644" y="3333"/>
                  <a:pt x="3660" y="3333"/>
                </a:cubicBezTo>
                <a:cubicBezTo>
                  <a:pt x="3676" y="3333"/>
                  <a:pt x="3708" y="3333"/>
                  <a:pt x="3723" y="3317"/>
                </a:cubicBezTo>
                <a:cubicBezTo>
                  <a:pt x="3755" y="3285"/>
                  <a:pt x="3755" y="3237"/>
                  <a:pt x="3723" y="3206"/>
                </a:cubicBezTo>
                <a:cubicBezTo>
                  <a:pt x="3246" y="2744"/>
                  <a:pt x="3246" y="2744"/>
                  <a:pt x="3246" y="2744"/>
                </a:cubicBezTo>
                <a:cubicBezTo>
                  <a:pt x="3500" y="2458"/>
                  <a:pt x="3660" y="2076"/>
                  <a:pt x="3660" y="1678"/>
                </a:cubicBezTo>
                <a:cubicBezTo>
                  <a:pt x="3660" y="788"/>
                  <a:pt x="2944" y="87"/>
                  <a:pt x="2069" y="87"/>
                </a:cubicBezTo>
                <a:cubicBezTo>
                  <a:pt x="1671" y="87"/>
                  <a:pt x="1289" y="231"/>
                  <a:pt x="1003" y="501"/>
                </a:cubicBezTo>
                <a:cubicBezTo>
                  <a:pt x="1003" y="485"/>
                  <a:pt x="1003" y="485"/>
                  <a:pt x="1003" y="485"/>
                </a:cubicBezTo>
                <a:cubicBezTo>
                  <a:pt x="732" y="215"/>
                  <a:pt x="732" y="215"/>
                  <a:pt x="732" y="215"/>
                </a:cubicBezTo>
                <a:cubicBezTo>
                  <a:pt x="541" y="24"/>
                  <a:pt x="541" y="24"/>
                  <a:pt x="541" y="24"/>
                </a:cubicBezTo>
                <a:cubicBezTo>
                  <a:pt x="509" y="-8"/>
                  <a:pt x="462" y="-8"/>
                  <a:pt x="430" y="24"/>
                </a:cubicBezTo>
                <a:cubicBezTo>
                  <a:pt x="398" y="55"/>
                  <a:pt x="398" y="103"/>
                  <a:pt x="430" y="135"/>
                </a:cubicBezTo>
                <a:cubicBezTo>
                  <a:pt x="557" y="262"/>
                  <a:pt x="557" y="262"/>
                  <a:pt x="557" y="262"/>
                </a:cubicBezTo>
                <a:cubicBezTo>
                  <a:pt x="207" y="644"/>
                  <a:pt x="0" y="1153"/>
                  <a:pt x="0" y="1678"/>
                </a:cubicBezTo>
                <a:cubicBezTo>
                  <a:pt x="0" y="2219"/>
                  <a:pt x="223" y="2744"/>
                  <a:pt x="621" y="3126"/>
                </a:cubicBezTo>
                <a:close/>
                <a:moveTo>
                  <a:pt x="2069" y="246"/>
                </a:moveTo>
                <a:cubicBezTo>
                  <a:pt x="2864" y="246"/>
                  <a:pt x="3500" y="883"/>
                  <a:pt x="3500" y="1678"/>
                </a:cubicBezTo>
                <a:cubicBezTo>
                  <a:pt x="3500" y="2458"/>
                  <a:pt x="2864" y="3094"/>
                  <a:pt x="2069" y="3094"/>
                </a:cubicBezTo>
                <a:cubicBezTo>
                  <a:pt x="1289" y="3094"/>
                  <a:pt x="637" y="2458"/>
                  <a:pt x="637" y="1678"/>
                </a:cubicBezTo>
                <a:cubicBezTo>
                  <a:pt x="637" y="883"/>
                  <a:pt x="1289" y="246"/>
                  <a:pt x="2069" y="246"/>
                </a:cubicBezTo>
                <a:close/>
                <a:moveTo>
                  <a:pt x="891" y="597"/>
                </a:moveTo>
                <a:cubicBezTo>
                  <a:pt x="891" y="612"/>
                  <a:pt x="891" y="612"/>
                  <a:pt x="891" y="612"/>
                </a:cubicBezTo>
                <a:cubicBezTo>
                  <a:pt x="637" y="883"/>
                  <a:pt x="478" y="1265"/>
                  <a:pt x="478" y="1678"/>
                </a:cubicBezTo>
                <a:cubicBezTo>
                  <a:pt x="478" y="2553"/>
                  <a:pt x="1194" y="3253"/>
                  <a:pt x="2069" y="3253"/>
                </a:cubicBezTo>
                <a:cubicBezTo>
                  <a:pt x="2482" y="3253"/>
                  <a:pt x="2864" y="3110"/>
                  <a:pt x="3135" y="2856"/>
                </a:cubicBezTo>
                <a:cubicBezTo>
                  <a:pt x="3357" y="3079"/>
                  <a:pt x="3357" y="3079"/>
                  <a:pt x="3357" y="3079"/>
                </a:cubicBezTo>
                <a:cubicBezTo>
                  <a:pt x="3008" y="3397"/>
                  <a:pt x="2562" y="3571"/>
                  <a:pt x="2069" y="3571"/>
                </a:cubicBezTo>
                <a:cubicBezTo>
                  <a:pt x="1560" y="3571"/>
                  <a:pt x="1082" y="3380"/>
                  <a:pt x="732" y="3015"/>
                </a:cubicBezTo>
                <a:cubicBezTo>
                  <a:pt x="366" y="2665"/>
                  <a:pt x="160" y="2188"/>
                  <a:pt x="160" y="1678"/>
                </a:cubicBezTo>
                <a:cubicBezTo>
                  <a:pt x="160" y="1185"/>
                  <a:pt x="351" y="740"/>
                  <a:pt x="669" y="37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8" name="Freeform: Shape 15">
            <a:extLst>
              <a:ext uri="{FF2B5EF4-FFF2-40B4-BE49-F238E27FC236}">
                <a16:creationId xmlns:a16="http://schemas.microsoft.com/office/drawing/2014/main" id="{422BCB11-A8AD-5246-A196-2DE6A6A10004}"/>
              </a:ext>
            </a:extLst>
          </p:cNvPr>
          <p:cNvSpPr/>
          <p:nvPr/>
        </p:nvSpPr>
        <p:spPr>
          <a:xfrm>
            <a:off x="17616093" y="2952950"/>
            <a:ext cx="1420200" cy="1918440"/>
          </a:xfrm>
          <a:custGeom>
            <a:avLst/>
            <a:gdLst/>
            <a:ahLst/>
            <a:cxnLst>
              <a:cxn ang="3cd4">
                <a:pos x="hc" y="t"/>
              </a:cxn>
              <a:cxn ang="cd2">
                <a:pos x="l" y="vc"/>
              </a:cxn>
              <a:cxn ang="cd4">
                <a:pos x="hc" y="b"/>
              </a:cxn>
              <a:cxn ang="0">
                <a:pos x="r" y="vc"/>
              </a:cxn>
            </a:cxnLst>
            <a:rect l="l" t="t" r="r" b="b"/>
            <a:pathLst>
              <a:path w="3946" h="5330">
                <a:moveTo>
                  <a:pt x="1989" y="1385"/>
                </a:moveTo>
                <a:lnTo>
                  <a:pt x="1973" y="1385"/>
                </a:lnTo>
                <a:cubicBezTo>
                  <a:pt x="1957" y="1385"/>
                  <a:pt x="1957" y="1385"/>
                  <a:pt x="1957" y="1385"/>
                </a:cubicBezTo>
                <a:cubicBezTo>
                  <a:pt x="1353" y="1385"/>
                  <a:pt x="796" y="1671"/>
                  <a:pt x="446" y="2101"/>
                </a:cubicBezTo>
                <a:cubicBezTo>
                  <a:pt x="446" y="2116"/>
                  <a:pt x="430" y="2116"/>
                  <a:pt x="430" y="2116"/>
                </a:cubicBezTo>
                <a:cubicBezTo>
                  <a:pt x="159" y="2467"/>
                  <a:pt x="0" y="2896"/>
                  <a:pt x="0" y="3358"/>
                </a:cubicBezTo>
                <a:cubicBezTo>
                  <a:pt x="0" y="4440"/>
                  <a:pt x="891" y="5330"/>
                  <a:pt x="1973" y="5330"/>
                </a:cubicBezTo>
                <a:cubicBezTo>
                  <a:pt x="3071" y="5330"/>
                  <a:pt x="3946" y="4440"/>
                  <a:pt x="3946" y="3358"/>
                </a:cubicBezTo>
                <a:cubicBezTo>
                  <a:pt x="3946" y="2896"/>
                  <a:pt x="3787" y="2467"/>
                  <a:pt x="3516" y="2116"/>
                </a:cubicBezTo>
                <a:cubicBezTo>
                  <a:pt x="3516" y="2116"/>
                  <a:pt x="3501" y="2116"/>
                  <a:pt x="3501" y="2101"/>
                </a:cubicBezTo>
                <a:cubicBezTo>
                  <a:pt x="3453" y="2053"/>
                  <a:pt x="3405" y="1989"/>
                  <a:pt x="3357" y="1941"/>
                </a:cubicBezTo>
                <a:cubicBezTo>
                  <a:pt x="3357" y="1098"/>
                  <a:pt x="3357" y="1098"/>
                  <a:pt x="3357" y="1098"/>
                </a:cubicBezTo>
                <a:cubicBezTo>
                  <a:pt x="3628" y="1067"/>
                  <a:pt x="3835" y="828"/>
                  <a:pt x="3835" y="557"/>
                </a:cubicBezTo>
                <a:cubicBezTo>
                  <a:pt x="3835" y="239"/>
                  <a:pt x="3580" y="0"/>
                  <a:pt x="3278" y="0"/>
                </a:cubicBezTo>
                <a:cubicBezTo>
                  <a:pt x="2975" y="0"/>
                  <a:pt x="2721" y="239"/>
                  <a:pt x="2721" y="557"/>
                </a:cubicBezTo>
                <a:cubicBezTo>
                  <a:pt x="2721" y="828"/>
                  <a:pt x="2928" y="1067"/>
                  <a:pt x="3198" y="1098"/>
                </a:cubicBezTo>
                <a:cubicBezTo>
                  <a:pt x="3198" y="1798"/>
                  <a:pt x="3198" y="1798"/>
                  <a:pt x="3198" y="1798"/>
                </a:cubicBezTo>
                <a:cubicBezTo>
                  <a:pt x="2864" y="1544"/>
                  <a:pt x="2450" y="1385"/>
                  <a:pt x="1989" y="1385"/>
                </a:cubicBezTo>
                <a:close/>
                <a:moveTo>
                  <a:pt x="2880" y="557"/>
                </a:moveTo>
                <a:cubicBezTo>
                  <a:pt x="2880" y="334"/>
                  <a:pt x="3055" y="159"/>
                  <a:pt x="3278" y="159"/>
                </a:cubicBezTo>
                <a:cubicBezTo>
                  <a:pt x="3501" y="159"/>
                  <a:pt x="3675" y="334"/>
                  <a:pt x="3675" y="557"/>
                </a:cubicBezTo>
                <a:cubicBezTo>
                  <a:pt x="3675" y="764"/>
                  <a:pt x="3501" y="939"/>
                  <a:pt x="3278" y="939"/>
                </a:cubicBezTo>
                <a:cubicBezTo>
                  <a:pt x="3055" y="939"/>
                  <a:pt x="2880" y="764"/>
                  <a:pt x="2880" y="557"/>
                </a:cubicBezTo>
                <a:close/>
                <a:moveTo>
                  <a:pt x="3198" y="2085"/>
                </a:moveTo>
                <a:cubicBezTo>
                  <a:pt x="2705" y="2085"/>
                  <a:pt x="2705" y="2085"/>
                  <a:pt x="2705" y="2085"/>
                </a:cubicBezTo>
                <a:cubicBezTo>
                  <a:pt x="2593" y="1894"/>
                  <a:pt x="2435" y="1719"/>
                  <a:pt x="2244" y="1559"/>
                </a:cubicBezTo>
                <a:cubicBezTo>
                  <a:pt x="2610" y="1607"/>
                  <a:pt x="2944" y="1782"/>
                  <a:pt x="3198" y="2021"/>
                </a:cubicBezTo>
                <a:close/>
                <a:moveTo>
                  <a:pt x="2896" y="3310"/>
                </a:moveTo>
                <a:cubicBezTo>
                  <a:pt x="1050" y="3310"/>
                  <a:pt x="1050" y="3310"/>
                  <a:pt x="1050" y="3310"/>
                </a:cubicBezTo>
                <a:cubicBezTo>
                  <a:pt x="1050" y="3278"/>
                  <a:pt x="1050" y="3230"/>
                  <a:pt x="1050" y="3198"/>
                </a:cubicBezTo>
                <a:cubicBezTo>
                  <a:pt x="1066" y="2849"/>
                  <a:pt x="1162" y="2530"/>
                  <a:pt x="1321" y="2244"/>
                </a:cubicBezTo>
                <a:cubicBezTo>
                  <a:pt x="2625" y="2244"/>
                  <a:pt x="2625" y="2244"/>
                  <a:pt x="2625" y="2244"/>
                </a:cubicBezTo>
                <a:cubicBezTo>
                  <a:pt x="2784" y="2530"/>
                  <a:pt x="2880" y="2849"/>
                  <a:pt x="2896" y="3198"/>
                </a:cubicBezTo>
                <a:cubicBezTo>
                  <a:pt x="2896" y="3230"/>
                  <a:pt x="2896" y="3278"/>
                  <a:pt x="2896" y="3310"/>
                </a:cubicBezTo>
                <a:close/>
                <a:moveTo>
                  <a:pt x="1973" y="5155"/>
                </a:moveTo>
                <a:cubicBezTo>
                  <a:pt x="1782" y="4996"/>
                  <a:pt x="1607" y="4805"/>
                  <a:pt x="1480" y="4614"/>
                </a:cubicBezTo>
                <a:cubicBezTo>
                  <a:pt x="2466" y="4614"/>
                  <a:pt x="2466" y="4614"/>
                  <a:pt x="2466" y="4614"/>
                </a:cubicBezTo>
                <a:cubicBezTo>
                  <a:pt x="2339" y="4805"/>
                  <a:pt x="2164" y="4996"/>
                  <a:pt x="1973" y="5155"/>
                </a:cubicBezTo>
                <a:close/>
                <a:moveTo>
                  <a:pt x="1368" y="4455"/>
                </a:moveTo>
                <a:cubicBezTo>
                  <a:pt x="1193" y="4153"/>
                  <a:pt x="1082" y="3819"/>
                  <a:pt x="1050" y="3469"/>
                </a:cubicBezTo>
                <a:cubicBezTo>
                  <a:pt x="2896" y="3469"/>
                  <a:pt x="2896" y="3469"/>
                  <a:pt x="2896" y="3469"/>
                </a:cubicBezTo>
                <a:cubicBezTo>
                  <a:pt x="2864" y="3819"/>
                  <a:pt x="2753" y="4153"/>
                  <a:pt x="2578" y="4455"/>
                </a:cubicBezTo>
                <a:close/>
                <a:moveTo>
                  <a:pt x="159" y="3469"/>
                </a:moveTo>
                <a:cubicBezTo>
                  <a:pt x="891" y="3469"/>
                  <a:pt x="891" y="3469"/>
                  <a:pt x="891" y="3469"/>
                </a:cubicBezTo>
                <a:cubicBezTo>
                  <a:pt x="923" y="3819"/>
                  <a:pt x="1019" y="4153"/>
                  <a:pt x="1193" y="4455"/>
                </a:cubicBezTo>
                <a:cubicBezTo>
                  <a:pt x="525" y="4455"/>
                  <a:pt x="525" y="4455"/>
                  <a:pt x="525" y="4455"/>
                </a:cubicBezTo>
                <a:cubicBezTo>
                  <a:pt x="319" y="4185"/>
                  <a:pt x="191" y="3835"/>
                  <a:pt x="159" y="3469"/>
                </a:cubicBezTo>
                <a:close/>
                <a:moveTo>
                  <a:pt x="541" y="2244"/>
                </a:moveTo>
                <a:cubicBezTo>
                  <a:pt x="1146" y="2244"/>
                  <a:pt x="1146" y="2244"/>
                  <a:pt x="1146" y="2244"/>
                </a:cubicBezTo>
                <a:cubicBezTo>
                  <a:pt x="987" y="2530"/>
                  <a:pt x="907" y="2849"/>
                  <a:pt x="891" y="3182"/>
                </a:cubicBezTo>
                <a:cubicBezTo>
                  <a:pt x="891" y="3230"/>
                  <a:pt x="891" y="3278"/>
                  <a:pt x="891" y="3310"/>
                </a:cubicBezTo>
                <a:cubicBezTo>
                  <a:pt x="159" y="3310"/>
                  <a:pt x="159" y="3310"/>
                  <a:pt x="159" y="3310"/>
                </a:cubicBezTo>
                <a:cubicBezTo>
                  <a:pt x="159" y="2912"/>
                  <a:pt x="302" y="2546"/>
                  <a:pt x="541" y="2244"/>
                </a:cubicBezTo>
                <a:close/>
                <a:moveTo>
                  <a:pt x="1432" y="2085"/>
                </a:moveTo>
                <a:cubicBezTo>
                  <a:pt x="1575" y="1878"/>
                  <a:pt x="1750" y="1703"/>
                  <a:pt x="1973" y="1559"/>
                </a:cubicBezTo>
                <a:cubicBezTo>
                  <a:pt x="2196" y="1703"/>
                  <a:pt x="2371" y="1878"/>
                  <a:pt x="2514" y="2085"/>
                </a:cubicBezTo>
                <a:close/>
                <a:moveTo>
                  <a:pt x="1702" y="1559"/>
                </a:moveTo>
                <a:cubicBezTo>
                  <a:pt x="1511" y="1719"/>
                  <a:pt x="1353" y="1894"/>
                  <a:pt x="1241" y="2085"/>
                </a:cubicBezTo>
                <a:cubicBezTo>
                  <a:pt x="684" y="2085"/>
                  <a:pt x="684" y="2085"/>
                  <a:pt x="684" y="2085"/>
                </a:cubicBezTo>
                <a:cubicBezTo>
                  <a:pt x="939" y="1814"/>
                  <a:pt x="1305" y="1623"/>
                  <a:pt x="1702" y="1559"/>
                </a:cubicBezTo>
                <a:close/>
                <a:moveTo>
                  <a:pt x="668" y="4614"/>
                </a:moveTo>
                <a:cubicBezTo>
                  <a:pt x="1289" y="4614"/>
                  <a:pt x="1289" y="4614"/>
                  <a:pt x="1289" y="4614"/>
                </a:cubicBezTo>
                <a:cubicBezTo>
                  <a:pt x="1416" y="4805"/>
                  <a:pt x="1559" y="4996"/>
                  <a:pt x="1734" y="5155"/>
                </a:cubicBezTo>
                <a:cubicBezTo>
                  <a:pt x="1321" y="5107"/>
                  <a:pt x="939" y="4901"/>
                  <a:pt x="668" y="4614"/>
                </a:cubicBezTo>
                <a:close/>
                <a:moveTo>
                  <a:pt x="2212" y="5155"/>
                </a:moveTo>
                <a:cubicBezTo>
                  <a:pt x="2387" y="4996"/>
                  <a:pt x="2530" y="4805"/>
                  <a:pt x="2657" y="4614"/>
                </a:cubicBezTo>
                <a:cubicBezTo>
                  <a:pt x="3278" y="4614"/>
                  <a:pt x="3278" y="4614"/>
                  <a:pt x="3278" y="4614"/>
                </a:cubicBezTo>
                <a:cubicBezTo>
                  <a:pt x="3007" y="4901"/>
                  <a:pt x="2625" y="5107"/>
                  <a:pt x="2212" y="5155"/>
                </a:cubicBezTo>
                <a:close/>
                <a:moveTo>
                  <a:pt x="3421" y="4455"/>
                </a:moveTo>
                <a:cubicBezTo>
                  <a:pt x="2753" y="4455"/>
                  <a:pt x="2753" y="4455"/>
                  <a:pt x="2753" y="4455"/>
                </a:cubicBezTo>
                <a:cubicBezTo>
                  <a:pt x="2928" y="4153"/>
                  <a:pt x="3023" y="3819"/>
                  <a:pt x="3055" y="3469"/>
                </a:cubicBezTo>
                <a:cubicBezTo>
                  <a:pt x="3707" y="3469"/>
                  <a:pt x="3707" y="3469"/>
                  <a:pt x="3707" y="3469"/>
                </a:cubicBezTo>
                <a:cubicBezTo>
                  <a:pt x="3739" y="3469"/>
                  <a:pt x="3787" y="3437"/>
                  <a:pt x="3787" y="3389"/>
                </a:cubicBezTo>
                <a:cubicBezTo>
                  <a:pt x="3787" y="3358"/>
                  <a:pt x="3739" y="3310"/>
                  <a:pt x="3707" y="3310"/>
                </a:cubicBezTo>
                <a:cubicBezTo>
                  <a:pt x="3055" y="3310"/>
                  <a:pt x="3055" y="3310"/>
                  <a:pt x="3055" y="3310"/>
                </a:cubicBezTo>
                <a:cubicBezTo>
                  <a:pt x="3055" y="3278"/>
                  <a:pt x="3055" y="3230"/>
                  <a:pt x="3055" y="3182"/>
                </a:cubicBezTo>
                <a:cubicBezTo>
                  <a:pt x="3039" y="2849"/>
                  <a:pt x="2959" y="2530"/>
                  <a:pt x="2801" y="2244"/>
                </a:cubicBezTo>
                <a:cubicBezTo>
                  <a:pt x="3198" y="2244"/>
                  <a:pt x="3198" y="2244"/>
                  <a:pt x="3198" y="2244"/>
                </a:cubicBezTo>
                <a:cubicBezTo>
                  <a:pt x="3198" y="2737"/>
                  <a:pt x="3198" y="2737"/>
                  <a:pt x="3198" y="2737"/>
                </a:cubicBezTo>
                <a:cubicBezTo>
                  <a:pt x="3198" y="2769"/>
                  <a:pt x="3230" y="2816"/>
                  <a:pt x="3278" y="2816"/>
                </a:cubicBezTo>
                <a:cubicBezTo>
                  <a:pt x="3325" y="2816"/>
                  <a:pt x="3357" y="2769"/>
                  <a:pt x="3357" y="2737"/>
                </a:cubicBezTo>
                <a:cubicBezTo>
                  <a:pt x="3357" y="2244"/>
                  <a:pt x="3357" y="2244"/>
                  <a:pt x="3357" y="2244"/>
                </a:cubicBezTo>
                <a:cubicBezTo>
                  <a:pt x="3405" y="2244"/>
                  <a:pt x="3405" y="2244"/>
                  <a:pt x="3405" y="2244"/>
                </a:cubicBezTo>
                <a:cubicBezTo>
                  <a:pt x="3644" y="2546"/>
                  <a:pt x="3787" y="2944"/>
                  <a:pt x="3787" y="3358"/>
                </a:cubicBezTo>
                <a:cubicBezTo>
                  <a:pt x="3787" y="3771"/>
                  <a:pt x="3659" y="4153"/>
                  <a:pt x="3421" y="445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9" name="Freeform: Shape 16">
            <a:extLst>
              <a:ext uri="{FF2B5EF4-FFF2-40B4-BE49-F238E27FC236}">
                <a16:creationId xmlns:a16="http://schemas.microsoft.com/office/drawing/2014/main" id="{0D583114-E217-7540-B24E-EEA5062EFB76}"/>
              </a:ext>
            </a:extLst>
          </p:cNvPr>
          <p:cNvSpPr/>
          <p:nvPr/>
        </p:nvSpPr>
        <p:spPr>
          <a:xfrm>
            <a:off x="6296623" y="3104689"/>
            <a:ext cx="973440" cy="1780920"/>
          </a:xfrm>
          <a:custGeom>
            <a:avLst/>
            <a:gdLst/>
            <a:ahLst/>
            <a:cxnLst>
              <a:cxn ang="3cd4">
                <a:pos x="hc" y="t"/>
              </a:cxn>
              <a:cxn ang="cd2">
                <a:pos x="l" y="vc"/>
              </a:cxn>
              <a:cxn ang="cd4">
                <a:pos x="hc" y="b"/>
              </a:cxn>
              <a:cxn ang="0">
                <a:pos x="r" y="vc"/>
              </a:cxn>
            </a:cxnLst>
            <a:rect l="l" t="t" r="r" b="b"/>
            <a:pathLst>
              <a:path w="2705" h="4948">
                <a:moveTo>
                  <a:pt x="541" y="4948"/>
                </a:moveTo>
                <a:lnTo>
                  <a:pt x="2148" y="4948"/>
                </a:lnTo>
                <a:cubicBezTo>
                  <a:pt x="2450" y="4948"/>
                  <a:pt x="2705" y="4709"/>
                  <a:pt x="2705" y="4407"/>
                </a:cubicBezTo>
                <a:lnTo>
                  <a:pt x="2705" y="541"/>
                </a:lnTo>
                <a:cubicBezTo>
                  <a:pt x="2705" y="255"/>
                  <a:pt x="2450" y="0"/>
                  <a:pt x="2148" y="0"/>
                </a:cubicBezTo>
                <a:lnTo>
                  <a:pt x="541" y="0"/>
                </a:lnTo>
                <a:cubicBezTo>
                  <a:pt x="239" y="0"/>
                  <a:pt x="0" y="255"/>
                  <a:pt x="0" y="541"/>
                </a:cubicBezTo>
                <a:lnTo>
                  <a:pt x="0" y="4407"/>
                </a:lnTo>
                <a:cubicBezTo>
                  <a:pt x="0" y="4709"/>
                  <a:pt x="239" y="4948"/>
                  <a:pt x="541" y="4948"/>
                </a:cubicBezTo>
                <a:close/>
                <a:moveTo>
                  <a:pt x="159" y="541"/>
                </a:moveTo>
                <a:cubicBezTo>
                  <a:pt x="159" y="334"/>
                  <a:pt x="318" y="159"/>
                  <a:pt x="541" y="159"/>
                </a:cubicBezTo>
                <a:lnTo>
                  <a:pt x="2148" y="159"/>
                </a:lnTo>
                <a:cubicBezTo>
                  <a:pt x="2371" y="159"/>
                  <a:pt x="2545" y="334"/>
                  <a:pt x="2545" y="541"/>
                </a:cubicBezTo>
                <a:lnTo>
                  <a:pt x="2545" y="4407"/>
                </a:lnTo>
                <a:cubicBezTo>
                  <a:pt x="2545" y="4614"/>
                  <a:pt x="2371" y="4789"/>
                  <a:pt x="2148" y="4789"/>
                </a:cubicBezTo>
                <a:lnTo>
                  <a:pt x="541" y="4789"/>
                </a:lnTo>
                <a:cubicBezTo>
                  <a:pt x="318" y="4789"/>
                  <a:pt x="159" y="4614"/>
                  <a:pt x="159" y="4407"/>
                </a:cubicBezTo>
                <a:close/>
                <a:moveTo>
                  <a:pt x="1353" y="1703"/>
                </a:moveTo>
                <a:cubicBezTo>
                  <a:pt x="1654" y="1703"/>
                  <a:pt x="1909" y="1448"/>
                  <a:pt x="1909" y="1146"/>
                </a:cubicBezTo>
                <a:cubicBezTo>
                  <a:pt x="1909" y="827"/>
                  <a:pt x="1654" y="573"/>
                  <a:pt x="1353" y="573"/>
                </a:cubicBezTo>
                <a:cubicBezTo>
                  <a:pt x="1034" y="573"/>
                  <a:pt x="780" y="827"/>
                  <a:pt x="780" y="1146"/>
                </a:cubicBezTo>
                <a:cubicBezTo>
                  <a:pt x="780" y="1448"/>
                  <a:pt x="1034" y="1703"/>
                  <a:pt x="1353" y="1703"/>
                </a:cubicBezTo>
                <a:close/>
                <a:moveTo>
                  <a:pt x="1353" y="732"/>
                </a:moveTo>
                <a:cubicBezTo>
                  <a:pt x="1575" y="732"/>
                  <a:pt x="1750" y="923"/>
                  <a:pt x="1750" y="1146"/>
                </a:cubicBezTo>
                <a:cubicBezTo>
                  <a:pt x="1750" y="1369"/>
                  <a:pt x="1575" y="1543"/>
                  <a:pt x="1353" y="1543"/>
                </a:cubicBezTo>
                <a:cubicBezTo>
                  <a:pt x="1114" y="1543"/>
                  <a:pt x="939" y="1369"/>
                  <a:pt x="939" y="1146"/>
                </a:cubicBezTo>
                <a:cubicBezTo>
                  <a:pt x="939" y="923"/>
                  <a:pt x="1114" y="732"/>
                  <a:pt x="1353" y="732"/>
                </a:cubicBezTo>
                <a:close/>
                <a:moveTo>
                  <a:pt x="1353" y="4487"/>
                </a:moveTo>
                <a:cubicBezTo>
                  <a:pt x="1654" y="4487"/>
                  <a:pt x="1909" y="4232"/>
                  <a:pt x="1909" y="3914"/>
                </a:cubicBezTo>
                <a:cubicBezTo>
                  <a:pt x="1909" y="3612"/>
                  <a:pt x="1654" y="3357"/>
                  <a:pt x="1353" y="3357"/>
                </a:cubicBezTo>
                <a:cubicBezTo>
                  <a:pt x="1034" y="3357"/>
                  <a:pt x="780" y="3612"/>
                  <a:pt x="780" y="3914"/>
                </a:cubicBezTo>
                <a:cubicBezTo>
                  <a:pt x="780" y="4232"/>
                  <a:pt x="1034" y="4487"/>
                  <a:pt x="1353" y="4487"/>
                </a:cubicBezTo>
                <a:close/>
                <a:moveTo>
                  <a:pt x="1353" y="3516"/>
                </a:moveTo>
                <a:cubicBezTo>
                  <a:pt x="1575" y="3516"/>
                  <a:pt x="1750" y="3691"/>
                  <a:pt x="1750" y="3914"/>
                </a:cubicBezTo>
                <a:cubicBezTo>
                  <a:pt x="1750" y="4137"/>
                  <a:pt x="1575" y="4328"/>
                  <a:pt x="1353" y="4328"/>
                </a:cubicBezTo>
                <a:cubicBezTo>
                  <a:pt x="1114" y="4328"/>
                  <a:pt x="939" y="4137"/>
                  <a:pt x="939" y="3914"/>
                </a:cubicBezTo>
                <a:cubicBezTo>
                  <a:pt x="939" y="3691"/>
                  <a:pt x="1114" y="3516"/>
                  <a:pt x="1353" y="3516"/>
                </a:cubicBezTo>
                <a:close/>
                <a:moveTo>
                  <a:pt x="1353" y="3103"/>
                </a:moveTo>
                <a:cubicBezTo>
                  <a:pt x="1654" y="3103"/>
                  <a:pt x="1909" y="2848"/>
                  <a:pt x="1909" y="2530"/>
                </a:cubicBezTo>
                <a:cubicBezTo>
                  <a:pt x="1909" y="2212"/>
                  <a:pt x="1654" y="1957"/>
                  <a:pt x="1353" y="1957"/>
                </a:cubicBezTo>
                <a:cubicBezTo>
                  <a:pt x="1034" y="1957"/>
                  <a:pt x="780" y="2212"/>
                  <a:pt x="780" y="2530"/>
                </a:cubicBezTo>
                <a:cubicBezTo>
                  <a:pt x="780" y="2848"/>
                  <a:pt x="1034" y="3103"/>
                  <a:pt x="1353" y="3103"/>
                </a:cubicBezTo>
                <a:close/>
                <a:moveTo>
                  <a:pt x="1353" y="2116"/>
                </a:moveTo>
                <a:cubicBezTo>
                  <a:pt x="1575" y="2116"/>
                  <a:pt x="1750" y="2307"/>
                  <a:pt x="1750" y="2530"/>
                </a:cubicBezTo>
                <a:cubicBezTo>
                  <a:pt x="1750" y="2752"/>
                  <a:pt x="1575" y="2943"/>
                  <a:pt x="1353" y="2943"/>
                </a:cubicBezTo>
                <a:cubicBezTo>
                  <a:pt x="1114" y="2943"/>
                  <a:pt x="939" y="2752"/>
                  <a:pt x="939" y="2530"/>
                </a:cubicBezTo>
                <a:cubicBezTo>
                  <a:pt x="939" y="2307"/>
                  <a:pt x="1114" y="2116"/>
                  <a:pt x="1353" y="211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0" name="Freeform: Shape 17">
            <a:extLst>
              <a:ext uri="{FF2B5EF4-FFF2-40B4-BE49-F238E27FC236}">
                <a16:creationId xmlns:a16="http://schemas.microsoft.com/office/drawing/2014/main" id="{1C48104A-CE20-7440-8C4E-D06A80D6463B}"/>
              </a:ext>
            </a:extLst>
          </p:cNvPr>
          <p:cNvSpPr/>
          <p:nvPr/>
        </p:nvSpPr>
        <p:spPr>
          <a:xfrm>
            <a:off x="21242160" y="3233750"/>
            <a:ext cx="1589760" cy="1591920"/>
          </a:xfrm>
          <a:custGeom>
            <a:avLst/>
            <a:gdLst/>
            <a:ahLst/>
            <a:cxnLst>
              <a:cxn ang="3cd4">
                <a:pos x="hc" y="t"/>
              </a:cxn>
              <a:cxn ang="cd2">
                <a:pos x="l" y="vc"/>
              </a:cxn>
              <a:cxn ang="cd4">
                <a:pos x="hc" y="b"/>
              </a:cxn>
              <a:cxn ang="0">
                <a:pos x="r" y="vc"/>
              </a:cxn>
            </a:cxnLst>
            <a:rect l="l" t="t" r="r" b="b"/>
            <a:pathLst>
              <a:path w="4417" h="4423">
                <a:moveTo>
                  <a:pt x="2657" y="2689"/>
                </a:moveTo>
                <a:cubicBezTo>
                  <a:pt x="2609" y="2657"/>
                  <a:pt x="2561" y="2609"/>
                  <a:pt x="2545" y="2593"/>
                </a:cubicBezTo>
                <a:cubicBezTo>
                  <a:pt x="2482" y="2482"/>
                  <a:pt x="2322" y="2355"/>
                  <a:pt x="2131" y="2355"/>
                </a:cubicBezTo>
                <a:lnTo>
                  <a:pt x="1925" y="2339"/>
                </a:lnTo>
                <a:cubicBezTo>
                  <a:pt x="1813" y="2339"/>
                  <a:pt x="1702" y="2323"/>
                  <a:pt x="1670" y="2323"/>
                </a:cubicBezTo>
                <a:cubicBezTo>
                  <a:pt x="1622" y="2307"/>
                  <a:pt x="1431" y="2164"/>
                  <a:pt x="1400" y="2116"/>
                </a:cubicBezTo>
                <a:lnTo>
                  <a:pt x="1400" y="2084"/>
                </a:lnTo>
                <a:lnTo>
                  <a:pt x="1400" y="2068"/>
                </a:lnTo>
                <a:lnTo>
                  <a:pt x="1416" y="2068"/>
                </a:lnTo>
                <a:cubicBezTo>
                  <a:pt x="1463" y="2084"/>
                  <a:pt x="1495" y="2084"/>
                  <a:pt x="1543" y="2084"/>
                </a:cubicBezTo>
                <a:lnTo>
                  <a:pt x="1670" y="2084"/>
                </a:lnTo>
                <a:cubicBezTo>
                  <a:pt x="1686" y="2100"/>
                  <a:pt x="1702" y="2100"/>
                  <a:pt x="1718" y="2116"/>
                </a:cubicBezTo>
                <a:cubicBezTo>
                  <a:pt x="1782" y="2148"/>
                  <a:pt x="1829" y="2180"/>
                  <a:pt x="1877" y="2228"/>
                </a:cubicBezTo>
                <a:cubicBezTo>
                  <a:pt x="1925" y="2275"/>
                  <a:pt x="2004" y="2291"/>
                  <a:pt x="2052" y="2275"/>
                </a:cubicBezTo>
                <a:cubicBezTo>
                  <a:pt x="2100" y="2243"/>
                  <a:pt x="2131" y="2211"/>
                  <a:pt x="2131" y="2164"/>
                </a:cubicBezTo>
                <a:cubicBezTo>
                  <a:pt x="2131" y="2084"/>
                  <a:pt x="2100" y="2037"/>
                  <a:pt x="2052" y="1989"/>
                </a:cubicBezTo>
                <a:cubicBezTo>
                  <a:pt x="2020" y="1925"/>
                  <a:pt x="2004" y="1893"/>
                  <a:pt x="2004" y="1877"/>
                </a:cubicBezTo>
                <a:cubicBezTo>
                  <a:pt x="2036" y="1829"/>
                  <a:pt x="2100" y="1782"/>
                  <a:pt x="2179" y="1750"/>
                </a:cubicBezTo>
                <a:cubicBezTo>
                  <a:pt x="2291" y="1702"/>
                  <a:pt x="2434" y="1543"/>
                  <a:pt x="2418" y="1416"/>
                </a:cubicBezTo>
                <a:cubicBezTo>
                  <a:pt x="2402" y="1352"/>
                  <a:pt x="2370" y="1304"/>
                  <a:pt x="2306" y="1273"/>
                </a:cubicBezTo>
                <a:cubicBezTo>
                  <a:pt x="2259" y="1257"/>
                  <a:pt x="2195" y="1241"/>
                  <a:pt x="2148" y="1273"/>
                </a:cubicBezTo>
                <a:cubicBezTo>
                  <a:pt x="2131" y="1273"/>
                  <a:pt x="2116" y="1304"/>
                  <a:pt x="2068" y="1337"/>
                </a:cubicBezTo>
                <a:cubicBezTo>
                  <a:pt x="2068" y="1320"/>
                  <a:pt x="2052" y="1304"/>
                  <a:pt x="2036" y="1289"/>
                </a:cubicBezTo>
                <a:cubicBezTo>
                  <a:pt x="2068" y="1241"/>
                  <a:pt x="2100" y="1209"/>
                  <a:pt x="2116" y="1193"/>
                </a:cubicBezTo>
                <a:cubicBezTo>
                  <a:pt x="2163" y="1177"/>
                  <a:pt x="2275" y="1114"/>
                  <a:pt x="2291" y="1018"/>
                </a:cubicBezTo>
                <a:cubicBezTo>
                  <a:pt x="2291" y="970"/>
                  <a:pt x="2291" y="907"/>
                  <a:pt x="2211" y="859"/>
                </a:cubicBezTo>
                <a:cubicBezTo>
                  <a:pt x="2100" y="764"/>
                  <a:pt x="1797" y="684"/>
                  <a:pt x="1654" y="716"/>
                </a:cubicBezTo>
                <a:cubicBezTo>
                  <a:pt x="1575" y="732"/>
                  <a:pt x="1511" y="795"/>
                  <a:pt x="1448" y="843"/>
                </a:cubicBezTo>
                <a:cubicBezTo>
                  <a:pt x="1416" y="859"/>
                  <a:pt x="1405" y="875"/>
                  <a:pt x="1384" y="891"/>
                </a:cubicBezTo>
                <a:cubicBezTo>
                  <a:pt x="1336" y="891"/>
                  <a:pt x="1145" y="843"/>
                  <a:pt x="1097" y="811"/>
                </a:cubicBezTo>
                <a:cubicBezTo>
                  <a:pt x="1034" y="748"/>
                  <a:pt x="875" y="764"/>
                  <a:pt x="779" y="811"/>
                </a:cubicBezTo>
                <a:cubicBezTo>
                  <a:pt x="700" y="843"/>
                  <a:pt x="652" y="923"/>
                  <a:pt x="668" y="1018"/>
                </a:cubicBezTo>
                <a:cubicBezTo>
                  <a:pt x="668" y="1098"/>
                  <a:pt x="668" y="1129"/>
                  <a:pt x="652" y="1146"/>
                </a:cubicBezTo>
                <a:lnTo>
                  <a:pt x="636" y="1161"/>
                </a:lnTo>
                <a:cubicBezTo>
                  <a:pt x="572" y="1209"/>
                  <a:pt x="588" y="1273"/>
                  <a:pt x="620" y="1304"/>
                </a:cubicBezTo>
                <a:cubicBezTo>
                  <a:pt x="652" y="1352"/>
                  <a:pt x="731" y="1352"/>
                  <a:pt x="795" y="1320"/>
                </a:cubicBezTo>
                <a:cubicBezTo>
                  <a:pt x="795" y="1304"/>
                  <a:pt x="806" y="1310"/>
                  <a:pt x="811" y="1304"/>
                </a:cubicBezTo>
                <a:cubicBezTo>
                  <a:pt x="779" y="1368"/>
                  <a:pt x="684" y="1543"/>
                  <a:pt x="715" y="1750"/>
                </a:cubicBezTo>
                <a:cubicBezTo>
                  <a:pt x="731" y="1829"/>
                  <a:pt x="811" y="1941"/>
                  <a:pt x="938" y="2100"/>
                </a:cubicBezTo>
                <a:cubicBezTo>
                  <a:pt x="970" y="2132"/>
                  <a:pt x="1002" y="2164"/>
                  <a:pt x="1018" y="2211"/>
                </a:cubicBezTo>
                <a:cubicBezTo>
                  <a:pt x="1082" y="2307"/>
                  <a:pt x="1129" y="2386"/>
                  <a:pt x="1225" y="2418"/>
                </a:cubicBezTo>
                <a:lnTo>
                  <a:pt x="1272" y="2434"/>
                </a:lnTo>
                <a:cubicBezTo>
                  <a:pt x="1400" y="2482"/>
                  <a:pt x="1479" y="2514"/>
                  <a:pt x="1511" y="2593"/>
                </a:cubicBezTo>
                <a:cubicBezTo>
                  <a:pt x="1543" y="2641"/>
                  <a:pt x="1543" y="2752"/>
                  <a:pt x="1527" y="2848"/>
                </a:cubicBezTo>
                <a:cubicBezTo>
                  <a:pt x="1527" y="2975"/>
                  <a:pt x="1527" y="3071"/>
                  <a:pt x="1559" y="3150"/>
                </a:cubicBezTo>
                <a:cubicBezTo>
                  <a:pt x="1575" y="3166"/>
                  <a:pt x="1591" y="3198"/>
                  <a:pt x="1606" y="3229"/>
                </a:cubicBezTo>
                <a:cubicBezTo>
                  <a:pt x="1639" y="3309"/>
                  <a:pt x="1686" y="3389"/>
                  <a:pt x="1766" y="3516"/>
                </a:cubicBezTo>
                <a:cubicBezTo>
                  <a:pt x="1861" y="3643"/>
                  <a:pt x="1925" y="3786"/>
                  <a:pt x="1925" y="3898"/>
                </a:cubicBezTo>
                <a:cubicBezTo>
                  <a:pt x="1925" y="4009"/>
                  <a:pt x="2004" y="4105"/>
                  <a:pt x="2100" y="4120"/>
                </a:cubicBezTo>
                <a:lnTo>
                  <a:pt x="2116" y="4120"/>
                </a:lnTo>
                <a:cubicBezTo>
                  <a:pt x="2163" y="4120"/>
                  <a:pt x="2259" y="4089"/>
                  <a:pt x="2306" y="3914"/>
                </a:cubicBezTo>
                <a:cubicBezTo>
                  <a:pt x="2354" y="3675"/>
                  <a:pt x="2497" y="3420"/>
                  <a:pt x="2561" y="3389"/>
                </a:cubicBezTo>
                <a:cubicBezTo>
                  <a:pt x="2673" y="3309"/>
                  <a:pt x="2975" y="3102"/>
                  <a:pt x="2895" y="2911"/>
                </a:cubicBezTo>
                <a:cubicBezTo>
                  <a:pt x="2848" y="2816"/>
                  <a:pt x="2736" y="2737"/>
                  <a:pt x="2657" y="2689"/>
                </a:cubicBezTo>
                <a:close/>
                <a:moveTo>
                  <a:pt x="748" y="1273"/>
                </a:moveTo>
                <a:lnTo>
                  <a:pt x="684" y="1209"/>
                </a:lnTo>
                <a:lnTo>
                  <a:pt x="748" y="1257"/>
                </a:lnTo>
                <a:close/>
                <a:moveTo>
                  <a:pt x="1288" y="1957"/>
                </a:moveTo>
                <a:cubicBezTo>
                  <a:pt x="1240" y="1989"/>
                  <a:pt x="1240" y="2052"/>
                  <a:pt x="1240" y="2084"/>
                </a:cubicBezTo>
                <a:lnTo>
                  <a:pt x="1240" y="2116"/>
                </a:lnTo>
                <a:cubicBezTo>
                  <a:pt x="1225" y="2164"/>
                  <a:pt x="1257" y="2195"/>
                  <a:pt x="1272" y="2228"/>
                </a:cubicBezTo>
                <a:cubicBezTo>
                  <a:pt x="1288" y="2243"/>
                  <a:pt x="1320" y="2275"/>
                  <a:pt x="1352" y="2291"/>
                </a:cubicBezTo>
                <a:lnTo>
                  <a:pt x="1320" y="2291"/>
                </a:lnTo>
                <a:lnTo>
                  <a:pt x="1272" y="2275"/>
                </a:lnTo>
                <a:cubicBezTo>
                  <a:pt x="1240" y="2259"/>
                  <a:pt x="1193" y="2180"/>
                  <a:pt x="1145" y="2116"/>
                </a:cubicBezTo>
                <a:cubicBezTo>
                  <a:pt x="1129" y="2084"/>
                  <a:pt x="1097" y="2037"/>
                  <a:pt x="1066" y="1989"/>
                </a:cubicBezTo>
                <a:cubicBezTo>
                  <a:pt x="922" y="1814"/>
                  <a:pt x="875" y="1750"/>
                  <a:pt x="875" y="1718"/>
                </a:cubicBezTo>
                <a:cubicBezTo>
                  <a:pt x="859" y="1559"/>
                  <a:pt x="922" y="1416"/>
                  <a:pt x="954" y="1384"/>
                </a:cubicBezTo>
                <a:cubicBezTo>
                  <a:pt x="970" y="1352"/>
                  <a:pt x="1018" y="1304"/>
                  <a:pt x="1002" y="1241"/>
                </a:cubicBezTo>
                <a:cubicBezTo>
                  <a:pt x="1002" y="1225"/>
                  <a:pt x="986" y="1177"/>
                  <a:pt x="906" y="1146"/>
                </a:cubicBezTo>
                <a:cubicBezTo>
                  <a:pt x="875" y="1129"/>
                  <a:pt x="843" y="1129"/>
                  <a:pt x="827" y="1129"/>
                </a:cubicBezTo>
                <a:cubicBezTo>
                  <a:pt x="827" y="1098"/>
                  <a:pt x="827" y="1050"/>
                  <a:pt x="811" y="1002"/>
                </a:cubicBezTo>
                <a:cubicBezTo>
                  <a:pt x="811" y="986"/>
                  <a:pt x="811" y="970"/>
                  <a:pt x="843" y="955"/>
                </a:cubicBezTo>
                <a:cubicBezTo>
                  <a:pt x="891" y="923"/>
                  <a:pt x="970" y="923"/>
                  <a:pt x="1002" y="938"/>
                </a:cubicBezTo>
                <a:cubicBezTo>
                  <a:pt x="1066" y="1002"/>
                  <a:pt x="1336" y="1066"/>
                  <a:pt x="1416" y="1050"/>
                </a:cubicBezTo>
                <a:cubicBezTo>
                  <a:pt x="1463" y="1034"/>
                  <a:pt x="1495" y="1002"/>
                  <a:pt x="1543" y="970"/>
                </a:cubicBezTo>
                <a:cubicBezTo>
                  <a:pt x="1591" y="923"/>
                  <a:pt x="1654" y="875"/>
                  <a:pt x="1702" y="859"/>
                </a:cubicBezTo>
                <a:cubicBezTo>
                  <a:pt x="1766" y="843"/>
                  <a:pt x="2036" y="907"/>
                  <a:pt x="2131" y="986"/>
                </a:cubicBezTo>
                <a:cubicBezTo>
                  <a:pt x="2131" y="1002"/>
                  <a:pt x="2084" y="1034"/>
                  <a:pt x="2052" y="1050"/>
                </a:cubicBezTo>
                <a:cubicBezTo>
                  <a:pt x="1973" y="1082"/>
                  <a:pt x="1909" y="1209"/>
                  <a:pt x="1877" y="1241"/>
                </a:cubicBezTo>
                <a:lnTo>
                  <a:pt x="1877" y="1304"/>
                </a:lnTo>
                <a:cubicBezTo>
                  <a:pt x="1973" y="1511"/>
                  <a:pt x="2004" y="1527"/>
                  <a:pt x="2020" y="1527"/>
                </a:cubicBezTo>
                <a:cubicBezTo>
                  <a:pt x="2084" y="1559"/>
                  <a:pt x="2131" y="1511"/>
                  <a:pt x="2195" y="1448"/>
                </a:cubicBezTo>
                <a:cubicBezTo>
                  <a:pt x="2211" y="1432"/>
                  <a:pt x="2227" y="1416"/>
                  <a:pt x="2211" y="1416"/>
                </a:cubicBezTo>
                <a:cubicBezTo>
                  <a:pt x="2227" y="1416"/>
                  <a:pt x="2259" y="1416"/>
                  <a:pt x="2259" y="1432"/>
                </a:cubicBezTo>
                <a:cubicBezTo>
                  <a:pt x="2259" y="1464"/>
                  <a:pt x="2179" y="1575"/>
                  <a:pt x="2116" y="1607"/>
                </a:cubicBezTo>
                <a:cubicBezTo>
                  <a:pt x="2068" y="1623"/>
                  <a:pt x="1925" y="1686"/>
                  <a:pt x="1861" y="1814"/>
                </a:cubicBezTo>
                <a:cubicBezTo>
                  <a:pt x="1813" y="1893"/>
                  <a:pt x="1861" y="1973"/>
                  <a:pt x="1909" y="2037"/>
                </a:cubicBezTo>
                <a:cubicBezTo>
                  <a:pt x="1861" y="2020"/>
                  <a:pt x="1829" y="2005"/>
                  <a:pt x="1797" y="1989"/>
                </a:cubicBezTo>
                <a:cubicBezTo>
                  <a:pt x="1782" y="1973"/>
                  <a:pt x="1766" y="1957"/>
                  <a:pt x="1750" y="1957"/>
                </a:cubicBezTo>
                <a:cubicBezTo>
                  <a:pt x="1702" y="1925"/>
                  <a:pt x="1639" y="1925"/>
                  <a:pt x="1543" y="1925"/>
                </a:cubicBezTo>
                <a:lnTo>
                  <a:pt x="1431" y="1925"/>
                </a:lnTo>
                <a:cubicBezTo>
                  <a:pt x="1384" y="1909"/>
                  <a:pt x="1320" y="1909"/>
                  <a:pt x="1288" y="1957"/>
                </a:cubicBezTo>
                <a:close/>
                <a:moveTo>
                  <a:pt x="2466" y="3262"/>
                </a:moveTo>
                <a:cubicBezTo>
                  <a:pt x="2354" y="3325"/>
                  <a:pt x="2211" y="3628"/>
                  <a:pt x="2148" y="3882"/>
                </a:cubicBezTo>
                <a:cubicBezTo>
                  <a:pt x="2131" y="3929"/>
                  <a:pt x="2116" y="3946"/>
                  <a:pt x="2116" y="3962"/>
                </a:cubicBezTo>
                <a:cubicBezTo>
                  <a:pt x="2100" y="3946"/>
                  <a:pt x="2084" y="3929"/>
                  <a:pt x="2084" y="3898"/>
                </a:cubicBezTo>
                <a:cubicBezTo>
                  <a:pt x="2084" y="3755"/>
                  <a:pt x="2004" y="3580"/>
                  <a:pt x="1893" y="3420"/>
                </a:cubicBezTo>
                <a:cubicBezTo>
                  <a:pt x="1813" y="3309"/>
                  <a:pt x="1782" y="3229"/>
                  <a:pt x="1750" y="3150"/>
                </a:cubicBezTo>
                <a:cubicBezTo>
                  <a:pt x="1734" y="3134"/>
                  <a:pt x="1718" y="3102"/>
                  <a:pt x="1702" y="3071"/>
                </a:cubicBezTo>
                <a:cubicBezTo>
                  <a:pt x="1686" y="3039"/>
                  <a:pt x="1686" y="2928"/>
                  <a:pt x="1686" y="2864"/>
                </a:cubicBezTo>
                <a:cubicBezTo>
                  <a:pt x="1702" y="2737"/>
                  <a:pt x="1702" y="2609"/>
                  <a:pt x="1654" y="2529"/>
                </a:cubicBezTo>
                <a:cubicBezTo>
                  <a:pt x="1654" y="2514"/>
                  <a:pt x="1639" y="2498"/>
                  <a:pt x="1639" y="2482"/>
                </a:cubicBezTo>
                <a:lnTo>
                  <a:pt x="1654" y="2482"/>
                </a:lnTo>
                <a:cubicBezTo>
                  <a:pt x="1686" y="2482"/>
                  <a:pt x="1797" y="2498"/>
                  <a:pt x="1925" y="2498"/>
                </a:cubicBezTo>
                <a:lnTo>
                  <a:pt x="2116" y="2514"/>
                </a:lnTo>
                <a:cubicBezTo>
                  <a:pt x="2259" y="2514"/>
                  <a:pt x="2370" y="2609"/>
                  <a:pt x="2402" y="2673"/>
                </a:cubicBezTo>
                <a:cubicBezTo>
                  <a:pt x="2434" y="2720"/>
                  <a:pt x="2497" y="2768"/>
                  <a:pt x="2561" y="2816"/>
                </a:cubicBezTo>
                <a:cubicBezTo>
                  <a:pt x="2640" y="2864"/>
                  <a:pt x="2720" y="2911"/>
                  <a:pt x="2752" y="2975"/>
                </a:cubicBezTo>
                <a:cubicBezTo>
                  <a:pt x="2657" y="3071"/>
                  <a:pt x="2768" y="3055"/>
                  <a:pt x="2466" y="3262"/>
                </a:cubicBezTo>
                <a:close/>
                <a:moveTo>
                  <a:pt x="4375" y="1766"/>
                </a:moveTo>
                <a:cubicBezTo>
                  <a:pt x="4279" y="1273"/>
                  <a:pt x="4057" y="970"/>
                  <a:pt x="3898" y="795"/>
                </a:cubicBezTo>
                <a:cubicBezTo>
                  <a:pt x="3722" y="573"/>
                  <a:pt x="3500" y="398"/>
                  <a:pt x="3230" y="255"/>
                </a:cubicBezTo>
                <a:cubicBezTo>
                  <a:pt x="3213" y="238"/>
                  <a:pt x="2831" y="0"/>
                  <a:pt x="2211" y="0"/>
                </a:cubicBezTo>
                <a:lnTo>
                  <a:pt x="2195" y="0"/>
                </a:lnTo>
                <a:cubicBezTo>
                  <a:pt x="1686" y="0"/>
                  <a:pt x="1384" y="143"/>
                  <a:pt x="1336" y="175"/>
                </a:cubicBezTo>
                <a:cubicBezTo>
                  <a:pt x="557" y="509"/>
                  <a:pt x="0" y="1289"/>
                  <a:pt x="0" y="2211"/>
                </a:cubicBezTo>
                <a:cubicBezTo>
                  <a:pt x="0" y="2466"/>
                  <a:pt x="48" y="2720"/>
                  <a:pt x="127" y="2959"/>
                </a:cubicBezTo>
                <a:cubicBezTo>
                  <a:pt x="175" y="3166"/>
                  <a:pt x="302" y="3357"/>
                  <a:pt x="397" y="3468"/>
                </a:cubicBezTo>
                <a:cubicBezTo>
                  <a:pt x="795" y="4041"/>
                  <a:pt x="1448" y="4423"/>
                  <a:pt x="2211" y="4423"/>
                </a:cubicBezTo>
                <a:cubicBezTo>
                  <a:pt x="3102" y="4423"/>
                  <a:pt x="3866" y="3882"/>
                  <a:pt x="4216" y="3118"/>
                </a:cubicBezTo>
                <a:lnTo>
                  <a:pt x="4231" y="3102"/>
                </a:lnTo>
                <a:cubicBezTo>
                  <a:pt x="4248" y="3086"/>
                  <a:pt x="4518" y="2546"/>
                  <a:pt x="4375" y="1766"/>
                </a:cubicBezTo>
                <a:close/>
                <a:moveTo>
                  <a:pt x="3675" y="875"/>
                </a:moveTo>
                <a:cubicBezTo>
                  <a:pt x="3691" y="859"/>
                  <a:pt x="3691" y="843"/>
                  <a:pt x="3707" y="827"/>
                </a:cubicBezTo>
                <a:cubicBezTo>
                  <a:pt x="3722" y="843"/>
                  <a:pt x="3754" y="875"/>
                  <a:pt x="3802" y="923"/>
                </a:cubicBezTo>
                <a:cubicBezTo>
                  <a:pt x="3930" y="1082"/>
                  <a:pt x="4041" y="1273"/>
                  <a:pt x="4120" y="1480"/>
                </a:cubicBezTo>
                <a:cubicBezTo>
                  <a:pt x="4088" y="1448"/>
                  <a:pt x="4025" y="1400"/>
                  <a:pt x="3850" y="1337"/>
                </a:cubicBezTo>
                <a:lnTo>
                  <a:pt x="3818" y="1337"/>
                </a:lnTo>
                <a:cubicBezTo>
                  <a:pt x="3659" y="1337"/>
                  <a:pt x="3484" y="1320"/>
                  <a:pt x="3436" y="1304"/>
                </a:cubicBezTo>
                <a:cubicBezTo>
                  <a:pt x="3388" y="1273"/>
                  <a:pt x="3357" y="1177"/>
                  <a:pt x="3357" y="1129"/>
                </a:cubicBezTo>
                <a:cubicBezTo>
                  <a:pt x="3357" y="1098"/>
                  <a:pt x="3357" y="1082"/>
                  <a:pt x="3373" y="1066"/>
                </a:cubicBezTo>
                <a:cubicBezTo>
                  <a:pt x="3388" y="1066"/>
                  <a:pt x="3404" y="1050"/>
                  <a:pt x="3436" y="1066"/>
                </a:cubicBezTo>
                <a:cubicBezTo>
                  <a:pt x="3595" y="1082"/>
                  <a:pt x="3627" y="1034"/>
                  <a:pt x="3675" y="875"/>
                </a:cubicBezTo>
                <a:close/>
                <a:moveTo>
                  <a:pt x="4152" y="1559"/>
                </a:moveTo>
                <a:cubicBezTo>
                  <a:pt x="4216" y="1766"/>
                  <a:pt x="4248" y="1973"/>
                  <a:pt x="4248" y="2211"/>
                </a:cubicBezTo>
                <a:cubicBezTo>
                  <a:pt x="4248" y="2434"/>
                  <a:pt x="4216" y="2657"/>
                  <a:pt x="4152" y="2864"/>
                </a:cubicBezTo>
                <a:cubicBezTo>
                  <a:pt x="4120" y="2768"/>
                  <a:pt x="4041" y="2593"/>
                  <a:pt x="3898" y="2546"/>
                </a:cubicBezTo>
                <a:lnTo>
                  <a:pt x="3802" y="2514"/>
                </a:lnTo>
                <a:cubicBezTo>
                  <a:pt x="3675" y="2450"/>
                  <a:pt x="3548" y="2402"/>
                  <a:pt x="3500" y="2339"/>
                </a:cubicBezTo>
                <a:cubicBezTo>
                  <a:pt x="3468" y="2291"/>
                  <a:pt x="3357" y="2132"/>
                  <a:pt x="3357" y="1973"/>
                </a:cubicBezTo>
                <a:cubicBezTo>
                  <a:pt x="3373" y="1846"/>
                  <a:pt x="3420" y="1718"/>
                  <a:pt x="3516" y="1718"/>
                </a:cubicBezTo>
                <a:lnTo>
                  <a:pt x="3548" y="1718"/>
                </a:lnTo>
                <a:cubicBezTo>
                  <a:pt x="3643" y="1718"/>
                  <a:pt x="3754" y="1734"/>
                  <a:pt x="3802" y="1750"/>
                </a:cubicBezTo>
                <a:cubicBezTo>
                  <a:pt x="3834" y="1766"/>
                  <a:pt x="3850" y="1766"/>
                  <a:pt x="3866" y="1766"/>
                </a:cubicBezTo>
                <a:cubicBezTo>
                  <a:pt x="3882" y="1766"/>
                  <a:pt x="3898" y="1766"/>
                  <a:pt x="4025" y="1702"/>
                </a:cubicBezTo>
                <a:cubicBezTo>
                  <a:pt x="4104" y="1671"/>
                  <a:pt x="4152" y="1607"/>
                  <a:pt x="4152" y="1559"/>
                </a:cubicBezTo>
                <a:close/>
                <a:moveTo>
                  <a:pt x="2148" y="159"/>
                </a:moveTo>
                <a:lnTo>
                  <a:pt x="2211" y="159"/>
                </a:lnTo>
                <a:lnTo>
                  <a:pt x="2275" y="159"/>
                </a:lnTo>
                <a:lnTo>
                  <a:pt x="2306" y="159"/>
                </a:lnTo>
                <a:lnTo>
                  <a:pt x="2322" y="159"/>
                </a:lnTo>
                <a:cubicBezTo>
                  <a:pt x="2577" y="175"/>
                  <a:pt x="2831" y="238"/>
                  <a:pt x="3054" y="350"/>
                </a:cubicBezTo>
                <a:lnTo>
                  <a:pt x="3039" y="350"/>
                </a:lnTo>
                <a:cubicBezTo>
                  <a:pt x="2911" y="366"/>
                  <a:pt x="2895" y="366"/>
                  <a:pt x="2752" y="302"/>
                </a:cubicBezTo>
                <a:cubicBezTo>
                  <a:pt x="2625" y="270"/>
                  <a:pt x="2450" y="270"/>
                  <a:pt x="2306" y="270"/>
                </a:cubicBezTo>
                <a:lnTo>
                  <a:pt x="2163" y="270"/>
                </a:lnTo>
                <a:cubicBezTo>
                  <a:pt x="2052" y="255"/>
                  <a:pt x="1909" y="270"/>
                  <a:pt x="1606" y="366"/>
                </a:cubicBezTo>
                <a:cubicBezTo>
                  <a:pt x="1543" y="382"/>
                  <a:pt x="1495" y="382"/>
                  <a:pt x="1479" y="350"/>
                </a:cubicBezTo>
                <a:cubicBezTo>
                  <a:pt x="1463" y="350"/>
                  <a:pt x="1463" y="318"/>
                  <a:pt x="1463" y="302"/>
                </a:cubicBezTo>
                <a:cubicBezTo>
                  <a:pt x="1670" y="207"/>
                  <a:pt x="1909" y="159"/>
                  <a:pt x="2148" y="159"/>
                </a:cubicBezTo>
                <a:close/>
                <a:moveTo>
                  <a:pt x="270" y="2911"/>
                </a:moveTo>
                <a:lnTo>
                  <a:pt x="270" y="2864"/>
                </a:lnTo>
                <a:cubicBezTo>
                  <a:pt x="318" y="2848"/>
                  <a:pt x="413" y="2832"/>
                  <a:pt x="461" y="2864"/>
                </a:cubicBezTo>
                <a:cubicBezTo>
                  <a:pt x="572" y="2928"/>
                  <a:pt x="636" y="3039"/>
                  <a:pt x="636" y="3055"/>
                </a:cubicBezTo>
                <a:cubicBezTo>
                  <a:pt x="636" y="3071"/>
                  <a:pt x="652" y="3102"/>
                  <a:pt x="652" y="3118"/>
                </a:cubicBezTo>
                <a:lnTo>
                  <a:pt x="652" y="3246"/>
                </a:lnTo>
                <a:cubicBezTo>
                  <a:pt x="636" y="3293"/>
                  <a:pt x="620" y="3341"/>
                  <a:pt x="620" y="3373"/>
                </a:cubicBezTo>
                <a:lnTo>
                  <a:pt x="620" y="3420"/>
                </a:lnTo>
                <a:cubicBezTo>
                  <a:pt x="620" y="3437"/>
                  <a:pt x="604" y="3452"/>
                  <a:pt x="588" y="3452"/>
                </a:cubicBezTo>
                <a:cubicBezTo>
                  <a:pt x="557" y="3437"/>
                  <a:pt x="540" y="3405"/>
                  <a:pt x="509" y="3373"/>
                </a:cubicBezTo>
                <a:cubicBezTo>
                  <a:pt x="413" y="3229"/>
                  <a:pt x="334" y="3071"/>
                  <a:pt x="270" y="2911"/>
                </a:cubicBezTo>
                <a:close/>
                <a:moveTo>
                  <a:pt x="2211" y="4264"/>
                </a:moveTo>
                <a:cubicBezTo>
                  <a:pt x="1606" y="4264"/>
                  <a:pt x="1049" y="3993"/>
                  <a:pt x="684" y="3580"/>
                </a:cubicBezTo>
                <a:cubicBezTo>
                  <a:pt x="715" y="3564"/>
                  <a:pt x="748" y="3532"/>
                  <a:pt x="763" y="3484"/>
                </a:cubicBezTo>
                <a:cubicBezTo>
                  <a:pt x="779" y="3452"/>
                  <a:pt x="779" y="3420"/>
                  <a:pt x="779" y="3389"/>
                </a:cubicBezTo>
                <a:cubicBezTo>
                  <a:pt x="779" y="3357"/>
                  <a:pt x="779" y="3325"/>
                  <a:pt x="795" y="3293"/>
                </a:cubicBezTo>
                <a:cubicBezTo>
                  <a:pt x="827" y="3229"/>
                  <a:pt x="811" y="3166"/>
                  <a:pt x="811" y="3102"/>
                </a:cubicBezTo>
                <a:cubicBezTo>
                  <a:pt x="795" y="3086"/>
                  <a:pt x="795" y="3071"/>
                  <a:pt x="795" y="3055"/>
                </a:cubicBezTo>
                <a:cubicBezTo>
                  <a:pt x="795" y="2959"/>
                  <a:pt x="668" y="2800"/>
                  <a:pt x="540" y="2720"/>
                </a:cubicBezTo>
                <a:cubicBezTo>
                  <a:pt x="429" y="2657"/>
                  <a:pt x="302" y="2689"/>
                  <a:pt x="222" y="2720"/>
                </a:cubicBezTo>
                <a:cubicBezTo>
                  <a:pt x="175" y="2546"/>
                  <a:pt x="159" y="2386"/>
                  <a:pt x="159" y="2211"/>
                </a:cubicBezTo>
                <a:cubicBezTo>
                  <a:pt x="159" y="1400"/>
                  <a:pt x="620" y="700"/>
                  <a:pt x="1304" y="366"/>
                </a:cubicBezTo>
                <a:cubicBezTo>
                  <a:pt x="1320" y="398"/>
                  <a:pt x="1336" y="446"/>
                  <a:pt x="1368" y="477"/>
                </a:cubicBezTo>
                <a:cubicBezTo>
                  <a:pt x="1416" y="509"/>
                  <a:pt x="1463" y="525"/>
                  <a:pt x="1527" y="525"/>
                </a:cubicBezTo>
                <a:cubicBezTo>
                  <a:pt x="1559" y="525"/>
                  <a:pt x="1606" y="525"/>
                  <a:pt x="1654" y="509"/>
                </a:cubicBezTo>
                <a:cubicBezTo>
                  <a:pt x="1925" y="429"/>
                  <a:pt x="2052" y="414"/>
                  <a:pt x="2148" y="429"/>
                </a:cubicBezTo>
                <a:lnTo>
                  <a:pt x="2306" y="429"/>
                </a:lnTo>
                <a:cubicBezTo>
                  <a:pt x="2434" y="429"/>
                  <a:pt x="2593" y="429"/>
                  <a:pt x="2688" y="461"/>
                </a:cubicBezTo>
                <a:cubicBezTo>
                  <a:pt x="2863" y="525"/>
                  <a:pt x="2895" y="525"/>
                  <a:pt x="3054" y="509"/>
                </a:cubicBezTo>
                <a:cubicBezTo>
                  <a:pt x="3134" y="493"/>
                  <a:pt x="3197" y="477"/>
                  <a:pt x="3230" y="429"/>
                </a:cubicBezTo>
                <a:cubicBezTo>
                  <a:pt x="3357" y="509"/>
                  <a:pt x="3484" y="589"/>
                  <a:pt x="3579" y="700"/>
                </a:cubicBezTo>
                <a:cubicBezTo>
                  <a:pt x="3564" y="732"/>
                  <a:pt x="3548" y="780"/>
                  <a:pt x="3531" y="827"/>
                </a:cubicBezTo>
                <a:cubicBezTo>
                  <a:pt x="3516" y="859"/>
                  <a:pt x="3516" y="891"/>
                  <a:pt x="3500" y="907"/>
                </a:cubicBezTo>
                <a:lnTo>
                  <a:pt x="3452" y="907"/>
                </a:lnTo>
                <a:cubicBezTo>
                  <a:pt x="3373" y="891"/>
                  <a:pt x="3309" y="923"/>
                  <a:pt x="3277" y="938"/>
                </a:cubicBezTo>
                <a:cubicBezTo>
                  <a:pt x="3230" y="986"/>
                  <a:pt x="3197" y="1050"/>
                  <a:pt x="3197" y="1114"/>
                </a:cubicBezTo>
                <a:cubicBezTo>
                  <a:pt x="3182" y="1241"/>
                  <a:pt x="3261" y="1368"/>
                  <a:pt x="3357" y="1432"/>
                </a:cubicBezTo>
                <a:cubicBezTo>
                  <a:pt x="3452" y="1495"/>
                  <a:pt x="3691" y="1495"/>
                  <a:pt x="3802" y="1495"/>
                </a:cubicBezTo>
                <a:cubicBezTo>
                  <a:pt x="3866" y="1511"/>
                  <a:pt x="3930" y="1543"/>
                  <a:pt x="3961" y="1559"/>
                </a:cubicBezTo>
                <a:cubicBezTo>
                  <a:pt x="3924" y="1575"/>
                  <a:pt x="3898" y="1591"/>
                  <a:pt x="3850" y="1607"/>
                </a:cubicBezTo>
                <a:lnTo>
                  <a:pt x="3850" y="1591"/>
                </a:lnTo>
                <a:cubicBezTo>
                  <a:pt x="3770" y="1575"/>
                  <a:pt x="3611" y="1543"/>
                  <a:pt x="3500" y="1559"/>
                </a:cubicBezTo>
                <a:cubicBezTo>
                  <a:pt x="3325" y="1575"/>
                  <a:pt x="3213" y="1734"/>
                  <a:pt x="3197" y="1957"/>
                </a:cubicBezTo>
                <a:cubicBezTo>
                  <a:pt x="3197" y="2180"/>
                  <a:pt x="3309" y="2371"/>
                  <a:pt x="3373" y="2434"/>
                </a:cubicBezTo>
                <a:cubicBezTo>
                  <a:pt x="3436" y="2529"/>
                  <a:pt x="3595" y="2593"/>
                  <a:pt x="3754" y="2657"/>
                </a:cubicBezTo>
                <a:lnTo>
                  <a:pt x="3834" y="2689"/>
                </a:lnTo>
                <a:cubicBezTo>
                  <a:pt x="3945" y="2737"/>
                  <a:pt x="3993" y="2911"/>
                  <a:pt x="4009" y="2975"/>
                </a:cubicBezTo>
                <a:cubicBezTo>
                  <a:pt x="4009" y="3039"/>
                  <a:pt x="4025" y="3071"/>
                  <a:pt x="4057" y="3102"/>
                </a:cubicBezTo>
                <a:cubicBezTo>
                  <a:pt x="3722" y="3786"/>
                  <a:pt x="3022" y="4264"/>
                  <a:pt x="2211" y="426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1" name="Freeform: Shape 18">
            <a:extLst>
              <a:ext uri="{FF2B5EF4-FFF2-40B4-BE49-F238E27FC236}">
                <a16:creationId xmlns:a16="http://schemas.microsoft.com/office/drawing/2014/main" id="{DACD166B-DA8E-BF48-8461-6A96E88BF903}"/>
              </a:ext>
            </a:extLst>
          </p:cNvPr>
          <p:cNvSpPr/>
          <p:nvPr/>
        </p:nvSpPr>
        <p:spPr>
          <a:xfrm>
            <a:off x="1958623" y="3155219"/>
            <a:ext cx="1245960" cy="1746360"/>
          </a:xfrm>
          <a:custGeom>
            <a:avLst/>
            <a:gdLst/>
            <a:ahLst/>
            <a:cxnLst>
              <a:cxn ang="3cd4">
                <a:pos x="hc" y="t"/>
              </a:cxn>
              <a:cxn ang="cd2">
                <a:pos x="l" y="vc"/>
              </a:cxn>
              <a:cxn ang="cd4">
                <a:pos x="hc" y="b"/>
              </a:cxn>
              <a:cxn ang="0">
                <a:pos x="r" y="vc"/>
              </a:cxn>
            </a:cxnLst>
            <a:rect l="l" t="t" r="r" b="b"/>
            <a:pathLst>
              <a:path w="3462" h="4852">
                <a:moveTo>
                  <a:pt x="1730" y="509"/>
                </a:moveTo>
                <a:cubicBezTo>
                  <a:pt x="1476" y="509"/>
                  <a:pt x="1253" y="716"/>
                  <a:pt x="1253" y="970"/>
                </a:cubicBezTo>
                <a:cubicBezTo>
                  <a:pt x="1253" y="1241"/>
                  <a:pt x="1476" y="1447"/>
                  <a:pt x="1730" y="1447"/>
                </a:cubicBezTo>
                <a:cubicBezTo>
                  <a:pt x="2001" y="1447"/>
                  <a:pt x="2208" y="1241"/>
                  <a:pt x="2208" y="970"/>
                </a:cubicBezTo>
                <a:cubicBezTo>
                  <a:pt x="2208" y="716"/>
                  <a:pt x="2001" y="509"/>
                  <a:pt x="1730" y="509"/>
                </a:cubicBezTo>
                <a:close/>
                <a:moveTo>
                  <a:pt x="1730" y="1289"/>
                </a:moveTo>
                <a:cubicBezTo>
                  <a:pt x="1555" y="1289"/>
                  <a:pt x="1412" y="1145"/>
                  <a:pt x="1412" y="970"/>
                </a:cubicBezTo>
                <a:cubicBezTo>
                  <a:pt x="1412" y="795"/>
                  <a:pt x="1555" y="652"/>
                  <a:pt x="1730" y="652"/>
                </a:cubicBezTo>
                <a:cubicBezTo>
                  <a:pt x="1905" y="652"/>
                  <a:pt x="2049" y="795"/>
                  <a:pt x="2049" y="970"/>
                </a:cubicBezTo>
                <a:cubicBezTo>
                  <a:pt x="2049" y="1145"/>
                  <a:pt x="1905" y="1289"/>
                  <a:pt x="1730" y="1289"/>
                </a:cubicBezTo>
                <a:close/>
                <a:moveTo>
                  <a:pt x="1730" y="1686"/>
                </a:moveTo>
                <a:cubicBezTo>
                  <a:pt x="1476" y="1686"/>
                  <a:pt x="1253" y="1909"/>
                  <a:pt x="1253" y="2163"/>
                </a:cubicBezTo>
                <a:cubicBezTo>
                  <a:pt x="1253" y="2434"/>
                  <a:pt x="1476" y="2641"/>
                  <a:pt x="1730" y="2641"/>
                </a:cubicBezTo>
                <a:cubicBezTo>
                  <a:pt x="2001" y="2641"/>
                  <a:pt x="2208" y="2434"/>
                  <a:pt x="2208" y="2163"/>
                </a:cubicBezTo>
                <a:cubicBezTo>
                  <a:pt x="2208" y="1909"/>
                  <a:pt x="2001" y="1686"/>
                  <a:pt x="1730" y="1686"/>
                </a:cubicBezTo>
                <a:close/>
                <a:moveTo>
                  <a:pt x="1730" y="2482"/>
                </a:moveTo>
                <a:cubicBezTo>
                  <a:pt x="1555" y="2482"/>
                  <a:pt x="1412" y="2338"/>
                  <a:pt x="1412" y="2163"/>
                </a:cubicBezTo>
                <a:cubicBezTo>
                  <a:pt x="1412" y="1989"/>
                  <a:pt x="1555" y="1845"/>
                  <a:pt x="1730" y="1845"/>
                </a:cubicBezTo>
                <a:cubicBezTo>
                  <a:pt x="1905" y="1845"/>
                  <a:pt x="2049" y="1989"/>
                  <a:pt x="2049" y="2163"/>
                </a:cubicBezTo>
                <a:cubicBezTo>
                  <a:pt x="2049" y="2338"/>
                  <a:pt x="1905" y="2482"/>
                  <a:pt x="1730" y="2482"/>
                </a:cubicBezTo>
                <a:close/>
                <a:moveTo>
                  <a:pt x="1730" y="2880"/>
                </a:moveTo>
                <a:cubicBezTo>
                  <a:pt x="1476" y="2880"/>
                  <a:pt x="1253" y="3102"/>
                  <a:pt x="1253" y="3357"/>
                </a:cubicBezTo>
                <a:cubicBezTo>
                  <a:pt x="1253" y="3627"/>
                  <a:pt x="1476" y="3834"/>
                  <a:pt x="1730" y="3834"/>
                </a:cubicBezTo>
                <a:cubicBezTo>
                  <a:pt x="2001" y="3834"/>
                  <a:pt x="2208" y="3627"/>
                  <a:pt x="2208" y="3357"/>
                </a:cubicBezTo>
                <a:cubicBezTo>
                  <a:pt x="2208" y="3102"/>
                  <a:pt x="2001" y="2880"/>
                  <a:pt x="1730" y="2880"/>
                </a:cubicBezTo>
                <a:close/>
                <a:moveTo>
                  <a:pt x="1730" y="3675"/>
                </a:moveTo>
                <a:cubicBezTo>
                  <a:pt x="1555" y="3675"/>
                  <a:pt x="1412" y="3532"/>
                  <a:pt x="1412" y="3357"/>
                </a:cubicBezTo>
                <a:cubicBezTo>
                  <a:pt x="1412" y="3182"/>
                  <a:pt x="1555" y="3038"/>
                  <a:pt x="1730" y="3038"/>
                </a:cubicBezTo>
                <a:cubicBezTo>
                  <a:pt x="1905" y="3038"/>
                  <a:pt x="2049" y="3182"/>
                  <a:pt x="2049" y="3357"/>
                </a:cubicBezTo>
                <a:cubicBezTo>
                  <a:pt x="2049" y="3532"/>
                  <a:pt x="1905" y="3675"/>
                  <a:pt x="1730" y="3675"/>
                </a:cubicBezTo>
                <a:close/>
                <a:moveTo>
                  <a:pt x="235" y="2863"/>
                </a:moveTo>
                <a:cubicBezTo>
                  <a:pt x="171" y="2863"/>
                  <a:pt x="44" y="2863"/>
                  <a:pt x="12" y="2991"/>
                </a:cubicBezTo>
                <a:cubicBezTo>
                  <a:pt x="-20" y="3086"/>
                  <a:pt x="12" y="3166"/>
                  <a:pt x="91" y="3229"/>
                </a:cubicBezTo>
                <a:lnTo>
                  <a:pt x="696" y="3675"/>
                </a:lnTo>
                <a:cubicBezTo>
                  <a:pt x="712" y="3675"/>
                  <a:pt x="728" y="3691"/>
                  <a:pt x="744" y="3691"/>
                </a:cubicBezTo>
                <a:lnTo>
                  <a:pt x="744" y="4216"/>
                </a:lnTo>
                <a:cubicBezTo>
                  <a:pt x="744" y="4263"/>
                  <a:pt x="776" y="4296"/>
                  <a:pt x="824" y="4296"/>
                </a:cubicBezTo>
                <a:lnTo>
                  <a:pt x="1333" y="4296"/>
                </a:lnTo>
                <a:lnTo>
                  <a:pt x="1333" y="4773"/>
                </a:lnTo>
                <a:cubicBezTo>
                  <a:pt x="1333" y="4820"/>
                  <a:pt x="1364" y="4852"/>
                  <a:pt x="1412" y="4852"/>
                </a:cubicBezTo>
                <a:cubicBezTo>
                  <a:pt x="1460" y="4852"/>
                  <a:pt x="1492" y="4820"/>
                  <a:pt x="1492" y="4773"/>
                </a:cubicBezTo>
                <a:lnTo>
                  <a:pt x="1492" y="4296"/>
                </a:lnTo>
                <a:lnTo>
                  <a:pt x="1969" y="4296"/>
                </a:lnTo>
                <a:lnTo>
                  <a:pt x="1969" y="4773"/>
                </a:lnTo>
                <a:cubicBezTo>
                  <a:pt x="1969" y="4820"/>
                  <a:pt x="2001" y="4852"/>
                  <a:pt x="2049" y="4852"/>
                </a:cubicBezTo>
                <a:cubicBezTo>
                  <a:pt x="2096" y="4852"/>
                  <a:pt x="2128" y="4820"/>
                  <a:pt x="2128" y="4773"/>
                </a:cubicBezTo>
                <a:lnTo>
                  <a:pt x="2128" y="4296"/>
                </a:lnTo>
                <a:lnTo>
                  <a:pt x="2573" y="4296"/>
                </a:lnTo>
                <a:cubicBezTo>
                  <a:pt x="2606" y="4296"/>
                  <a:pt x="2653" y="4263"/>
                  <a:pt x="2653" y="4216"/>
                </a:cubicBezTo>
                <a:lnTo>
                  <a:pt x="2653" y="3691"/>
                </a:lnTo>
                <a:cubicBezTo>
                  <a:pt x="2664" y="3686"/>
                  <a:pt x="2669" y="3691"/>
                  <a:pt x="2685" y="3675"/>
                </a:cubicBezTo>
                <a:lnTo>
                  <a:pt x="3369" y="3229"/>
                </a:lnTo>
                <a:cubicBezTo>
                  <a:pt x="3449" y="3166"/>
                  <a:pt x="3481" y="3086"/>
                  <a:pt x="3449" y="2991"/>
                </a:cubicBezTo>
                <a:cubicBezTo>
                  <a:pt x="3417" y="2863"/>
                  <a:pt x="3290" y="2863"/>
                  <a:pt x="3226" y="2863"/>
                </a:cubicBezTo>
                <a:lnTo>
                  <a:pt x="2653" y="2863"/>
                </a:lnTo>
                <a:lnTo>
                  <a:pt x="2653" y="2450"/>
                </a:lnTo>
                <a:cubicBezTo>
                  <a:pt x="2664" y="2445"/>
                  <a:pt x="2669" y="2450"/>
                  <a:pt x="2685" y="2434"/>
                </a:cubicBezTo>
                <a:lnTo>
                  <a:pt x="3369" y="2020"/>
                </a:lnTo>
                <a:cubicBezTo>
                  <a:pt x="3449" y="1957"/>
                  <a:pt x="3481" y="1861"/>
                  <a:pt x="3449" y="1750"/>
                </a:cubicBezTo>
                <a:cubicBezTo>
                  <a:pt x="3417" y="1654"/>
                  <a:pt x="3337" y="1591"/>
                  <a:pt x="3226" y="1591"/>
                </a:cubicBezTo>
                <a:lnTo>
                  <a:pt x="2653" y="1591"/>
                </a:lnTo>
                <a:lnTo>
                  <a:pt x="2653" y="1304"/>
                </a:lnTo>
                <a:cubicBezTo>
                  <a:pt x="2664" y="1299"/>
                  <a:pt x="2669" y="1304"/>
                  <a:pt x="2685" y="1289"/>
                </a:cubicBezTo>
                <a:lnTo>
                  <a:pt x="3369" y="843"/>
                </a:lnTo>
                <a:cubicBezTo>
                  <a:pt x="3449" y="780"/>
                  <a:pt x="3481" y="700"/>
                  <a:pt x="3449" y="604"/>
                </a:cubicBezTo>
                <a:cubicBezTo>
                  <a:pt x="3417" y="477"/>
                  <a:pt x="3290" y="477"/>
                  <a:pt x="3226" y="477"/>
                </a:cubicBezTo>
                <a:lnTo>
                  <a:pt x="2653" y="477"/>
                </a:lnTo>
                <a:lnTo>
                  <a:pt x="2653" y="79"/>
                </a:lnTo>
                <a:cubicBezTo>
                  <a:pt x="2653" y="47"/>
                  <a:pt x="2606" y="0"/>
                  <a:pt x="2573" y="0"/>
                </a:cubicBezTo>
                <a:lnTo>
                  <a:pt x="824" y="0"/>
                </a:lnTo>
                <a:cubicBezTo>
                  <a:pt x="776" y="0"/>
                  <a:pt x="744" y="47"/>
                  <a:pt x="744" y="79"/>
                </a:cubicBezTo>
                <a:lnTo>
                  <a:pt x="744" y="477"/>
                </a:lnTo>
                <a:lnTo>
                  <a:pt x="235" y="477"/>
                </a:lnTo>
                <a:cubicBezTo>
                  <a:pt x="171" y="477"/>
                  <a:pt x="44" y="477"/>
                  <a:pt x="12" y="604"/>
                </a:cubicBezTo>
                <a:cubicBezTo>
                  <a:pt x="-20" y="700"/>
                  <a:pt x="12" y="780"/>
                  <a:pt x="91" y="843"/>
                </a:cubicBezTo>
                <a:lnTo>
                  <a:pt x="696" y="1289"/>
                </a:lnTo>
                <a:cubicBezTo>
                  <a:pt x="712" y="1304"/>
                  <a:pt x="728" y="1304"/>
                  <a:pt x="744" y="1304"/>
                </a:cubicBezTo>
                <a:lnTo>
                  <a:pt x="744" y="1591"/>
                </a:lnTo>
                <a:lnTo>
                  <a:pt x="235" y="1591"/>
                </a:lnTo>
                <a:cubicBezTo>
                  <a:pt x="124" y="1591"/>
                  <a:pt x="44" y="1654"/>
                  <a:pt x="12" y="1750"/>
                </a:cubicBezTo>
                <a:cubicBezTo>
                  <a:pt x="-20" y="1861"/>
                  <a:pt x="12" y="1957"/>
                  <a:pt x="91" y="2020"/>
                </a:cubicBezTo>
                <a:lnTo>
                  <a:pt x="696" y="2434"/>
                </a:lnTo>
                <a:cubicBezTo>
                  <a:pt x="712" y="2450"/>
                  <a:pt x="728" y="2450"/>
                  <a:pt x="744" y="2450"/>
                </a:cubicBezTo>
                <a:lnTo>
                  <a:pt x="744" y="2863"/>
                </a:lnTo>
                <a:close/>
                <a:moveTo>
                  <a:pt x="3226" y="3023"/>
                </a:moveTo>
                <a:cubicBezTo>
                  <a:pt x="3273" y="3023"/>
                  <a:pt x="3290" y="3023"/>
                  <a:pt x="3306" y="3038"/>
                </a:cubicBezTo>
                <a:cubicBezTo>
                  <a:pt x="3306" y="3054"/>
                  <a:pt x="3306" y="3071"/>
                  <a:pt x="3273" y="3102"/>
                </a:cubicBezTo>
                <a:lnTo>
                  <a:pt x="2653" y="3516"/>
                </a:lnTo>
                <a:lnTo>
                  <a:pt x="2653" y="3023"/>
                </a:lnTo>
                <a:close/>
                <a:moveTo>
                  <a:pt x="3226" y="1750"/>
                </a:moveTo>
                <a:cubicBezTo>
                  <a:pt x="3258" y="1750"/>
                  <a:pt x="3290" y="1766"/>
                  <a:pt x="3306" y="1798"/>
                </a:cubicBezTo>
                <a:cubicBezTo>
                  <a:pt x="3306" y="1829"/>
                  <a:pt x="3306" y="1861"/>
                  <a:pt x="3273" y="1877"/>
                </a:cubicBezTo>
                <a:lnTo>
                  <a:pt x="2653" y="2275"/>
                </a:lnTo>
                <a:lnTo>
                  <a:pt x="2653" y="1750"/>
                </a:lnTo>
                <a:close/>
                <a:moveTo>
                  <a:pt x="3226" y="636"/>
                </a:moveTo>
                <a:cubicBezTo>
                  <a:pt x="3273" y="636"/>
                  <a:pt x="3290" y="636"/>
                  <a:pt x="3306" y="652"/>
                </a:cubicBezTo>
                <a:cubicBezTo>
                  <a:pt x="3306" y="668"/>
                  <a:pt x="3306" y="684"/>
                  <a:pt x="3273" y="716"/>
                </a:cubicBezTo>
                <a:lnTo>
                  <a:pt x="2653" y="1129"/>
                </a:lnTo>
                <a:lnTo>
                  <a:pt x="2653" y="636"/>
                </a:lnTo>
                <a:close/>
                <a:moveTo>
                  <a:pt x="903" y="159"/>
                </a:moveTo>
                <a:lnTo>
                  <a:pt x="2494" y="159"/>
                </a:lnTo>
                <a:lnTo>
                  <a:pt x="2494" y="4136"/>
                </a:lnTo>
                <a:lnTo>
                  <a:pt x="903" y="4136"/>
                </a:lnTo>
                <a:close/>
                <a:moveTo>
                  <a:pt x="187" y="3102"/>
                </a:moveTo>
                <a:cubicBezTo>
                  <a:pt x="155" y="3071"/>
                  <a:pt x="155" y="3054"/>
                  <a:pt x="171" y="3023"/>
                </a:cubicBezTo>
                <a:lnTo>
                  <a:pt x="235" y="3023"/>
                </a:lnTo>
                <a:lnTo>
                  <a:pt x="744" y="3023"/>
                </a:lnTo>
                <a:lnTo>
                  <a:pt x="744" y="3516"/>
                </a:lnTo>
                <a:close/>
                <a:moveTo>
                  <a:pt x="187" y="716"/>
                </a:moveTo>
                <a:cubicBezTo>
                  <a:pt x="155" y="684"/>
                  <a:pt x="155" y="668"/>
                  <a:pt x="171" y="652"/>
                </a:cubicBezTo>
                <a:cubicBezTo>
                  <a:pt x="171" y="636"/>
                  <a:pt x="187" y="636"/>
                  <a:pt x="235" y="636"/>
                </a:cubicBezTo>
                <a:lnTo>
                  <a:pt x="744" y="636"/>
                </a:lnTo>
                <a:lnTo>
                  <a:pt x="744" y="1129"/>
                </a:lnTo>
                <a:close/>
                <a:moveTo>
                  <a:pt x="187" y="1893"/>
                </a:moveTo>
                <a:cubicBezTo>
                  <a:pt x="171" y="1861"/>
                  <a:pt x="155" y="1829"/>
                  <a:pt x="155" y="1798"/>
                </a:cubicBezTo>
                <a:cubicBezTo>
                  <a:pt x="171" y="1766"/>
                  <a:pt x="203" y="1750"/>
                  <a:pt x="235" y="1750"/>
                </a:cubicBezTo>
                <a:lnTo>
                  <a:pt x="744" y="1750"/>
                </a:lnTo>
                <a:lnTo>
                  <a:pt x="744" y="2275"/>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228204996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Transportation / Buildings - 3</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63" name="TextBox 62">
            <a:extLst>
              <a:ext uri="{FF2B5EF4-FFF2-40B4-BE49-F238E27FC236}">
                <a16:creationId xmlns:a16="http://schemas.microsoft.com/office/drawing/2014/main" id="{A781C5A1-39CB-AE49-9890-1A29C61F6657}"/>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ooter 2</a:t>
            </a:r>
          </a:p>
        </p:txBody>
      </p:sp>
      <p:sp>
        <p:nvSpPr>
          <p:cNvPr id="64" name="TextBox 63">
            <a:extLst>
              <a:ext uri="{FF2B5EF4-FFF2-40B4-BE49-F238E27FC236}">
                <a16:creationId xmlns:a16="http://schemas.microsoft.com/office/drawing/2014/main" id="{D2699DED-CCB1-404E-8F0D-A6806A15C532}"/>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oto</a:t>
            </a:r>
          </a:p>
        </p:txBody>
      </p:sp>
      <p:sp>
        <p:nvSpPr>
          <p:cNvPr id="65" name="TextBox 64">
            <a:extLst>
              <a:ext uri="{FF2B5EF4-FFF2-40B4-BE49-F238E27FC236}">
                <a16:creationId xmlns:a16="http://schemas.microsoft.com/office/drawing/2014/main" id="{A488743C-C3F9-C34B-8E14-1052F53601AC}"/>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kateboard</a:t>
            </a:r>
          </a:p>
        </p:txBody>
      </p:sp>
      <p:sp>
        <p:nvSpPr>
          <p:cNvPr id="66" name="TextBox 65">
            <a:extLst>
              <a:ext uri="{FF2B5EF4-FFF2-40B4-BE49-F238E27FC236}">
                <a16:creationId xmlns:a16="http://schemas.microsoft.com/office/drawing/2014/main" id="{7D2D95F4-E276-8246-BB22-13F4F51565F4}"/>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o Cart</a:t>
            </a:r>
          </a:p>
        </p:txBody>
      </p:sp>
      <p:sp>
        <p:nvSpPr>
          <p:cNvPr id="67" name="TextBox 66">
            <a:extLst>
              <a:ext uri="{FF2B5EF4-FFF2-40B4-BE49-F238E27FC236}">
                <a16:creationId xmlns:a16="http://schemas.microsoft.com/office/drawing/2014/main" id="{EAFC1367-E833-A74D-878F-95B7258675FB}"/>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Zeppelin</a:t>
            </a:r>
          </a:p>
        </p:txBody>
      </p:sp>
      <p:sp>
        <p:nvSpPr>
          <p:cNvPr id="68" name="TextBox 67">
            <a:extLst>
              <a:ext uri="{FF2B5EF4-FFF2-40B4-BE49-F238E27FC236}">
                <a16:creationId xmlns:a16="http://schemas.microsoft.com/office/drawing/2014/main" id="{BF269061-6A8B-F745-800D-E5A02C65C46B}"/>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us 6</a:t>
            </a:r>
          </a:p>
        </p:txBody>
      </p:sp>
      <p:sp>
        <p:nvSpPr>
          <p:cNvPr id="69" name="TextBox 68">
            <a:extLst>
              <a:ext uri="{FF2B5EF4-FFF2-40B4-BE49-F238E27FC236}">
                <a16:creationId xmlns:a16="http://schemas.microsoft.com/office/drawing/2014/main" id="{7A9B7565-1806-6A4D-ADD5-CBDC83ADB76C}"/>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rain Side</a:t>
            </a:r>
          </a:p>
        </p:txBody>
      </p:sp>
      <p:sp>
        <p:nvSpPr>
          <p:cNvPr id="70" name="TextBox 69">
            <a:extLst>
              <a:ext uri="{FF2B5EF4-FFF2-40B4-BE49-F238E27FC236}">
                <a16:creationId xmlns:a16="http://schemas.microsoft.com/office/drawing/2014/main" id="{95BB63F1-2FEC-8148-916E-ED3F50DD9810}"/>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rain</a:t>
            </a:r>
          </a:p>
        </p:txBody>
      </p:sp>
      <p:sp>
        <p:nvSpPr>
          <p:cNvPr id="71" name="TextBox 70">
            <a:extLst>
              <a:ext uri="{FF2B5EF4-FFF2-40B4-BE49-F238E27FC236}">
                <a16:creationId xmlns:a16="http://schemas.microsoft.com/office/drawing/2014/main" id="{3453906F-6404-4C47-BC7B-D8F21EA88BAE}"/>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us</a:t>
            </a:r>
          </a:p>
        </p:txBody>
      </p:sp>
      <p:sp>
        <p:nvSpPr>
          <p:cNvPr id="72" name="TextBox 71">
            <a:extLst>
              <a:ext uri="{FF2B5EF4-FFF2-40B4-BE49-F238E27FC236}">
                <a16:creationId xmlns:a16="http://schemas.microsoft.com/office/drawing/2014/main" id="{80577F3B-8828-004D-ABD4-C1C9B7F2C040}"/>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ick-up</a:t>
            </a:r>
          </a:p>
        </p:txBody>
      </p:sp>
      <p:sp>
        <p:nvSpPr>
          <p:cNvPr id="73" name="TextBox 72">
            <a:extLst>
              <a:ext uri="{FF2B5EF4-FFF2-40B4-BE49-F238E27FC236}">
                <a16:creationId xmlns:a16="http://schemas.microsoft.com/office/drawing/2014/main" id="{DD033610-C535-4B40-938E-D093046B809D}"/>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Van</a:t>
            </a:r>
          </a:p>
        </p:txBody>
      </p:sp>
      <p:sp>
        <p:nvSpPr>
          <p:cNvPr id="74" name="TextBox 73">
            <a:extLst>
              <a:ext uri="{FF2B5EF4-FFF2-40B4-BE49-F238E27FC236}">
                <a16:creationId xmlns:a16="http://schemas.microsoft.com/office/drawing/2014/main" id="{7A8B35CF-C26A-6541-A248-3F5070EA8F71}"/>
              </a:ext>
            </a:extLst>
          </p:cNvPr>
          <p:cNvSpPr txBox="1"/>
          <p:nvPr/>
        </p:nvSpPr>
        <p:spPr>
          <a:xfrm>
            <a:off x="5534372"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ow Truck</a:t>
            </a:r>
          </a:p>
        </p:txBody>
      </p:sp>
      <p:sp>
        <p:nvSpPr>
          <p:cNvPr id="75" name="TextBox 74">
            <a:extLst>
              <a:ext uri="{FF2B5EF4-FFF2-40B4-BE49-F238E27FC236}">
                <a16:creationId xmlns:a16="http://schemas.microsoft.com/office/drawing/2014/main" id="{FE8FAD24-686C-A444-BEC7-223224615A92}"/>
              </a:ext>
            </a:extLst>
          </p:cNvPr>
          <p:cNvSpPr txBox="1"/>
          <p:nvPr/>
        </p:nvSpPr>
        <p:spPr>
          <a:xfrm>
            <a:off x="12954804"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xi</a:t>
            </a:r>
          </a:p>
        </p:txBody>
      </p:sp>
      <p:sp>
        <p:nvSpPr>
          <p:cNvPr id="76" name="Freeform: Shape 26">
            <a:extLst>
              <a:ext uri="{FF2B5EF4-FFF2-40B4-BE49-F238E27FC236}">
                <a16:creationId xmlns:a16="http://schemas.microsoft.com/office/drawing/2014/main" id="{86C33047-FF51-364C-B1D0-31DF083D69E0}"/>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7" name="TextBox 76">
            <a:extLst>
              <a:ext uri="{FF2B5EF4-FFF2-40B4-BE49-F238E27FC236}">
                <a16:creationId xmlns:a16="http://schemas.microsoft.com/office/drawing/2014/main" id="{60FC9AE9-E797-834D-9B8D-31AAE8BEC914}"/>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ot Air Balloon</a:t>
            </a:r>
          </a:p>
        </p:txBody>
      </p:sp>
      <p:sp>
        <p:nvSpPr>
          <p:cNvPr id="78" name="TextBox 77">
            <a:extLst>
              <a:ext uri="{FF2B5EF4-FFF2-40B4-BE49-F238E27FC236}">
                <a16:creationId xmlns:a16="http://schemas.microsoft.com/office/drawing/2014/main" id="{5210AC80-7888-354B-A9E8-AD9DF6F99CAC}"/>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r 4</a:t>
            </a:r>
          </a:p>
        </p:txBody>
      </p:sp>
      <p:sp>
        <p:nvSpPr>
          <p:cNvPr id="79" name="TextBox 78">
            <a:extLst>
              <a:ext uri="{FF2B5EF4-FFF2-40B4-BE49-F238E27FC236}">
                <a16:creationId xmlns:a16="http://schemas.microsoft.com/office/drawing/2014/main" id="{20640B6D-3C8D-E749-A59F-09C367A305AC}"/>
              </a:ext>
            </a:extLst>
          </p:cNvPr>
          <p:cNvSpPr txBox="1"/>
          <p:nvPr/>
        </p:nvSpPr>
        <p:spPr>
          <a:xfrm>
            <a:off x="9140467"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r</a:t>
            </a:r>
          </a:p>
        </p:txBody>
      </p:sp>
      <p:sp>
        <p:nvSpPr>
          <p:cNvPr id="81" name="Freeform: Shape 13">
            <a:extLst>
              <a:ext uri="{FF2B5EF4-FFF2-40B4-BE49-F238E27FC236}">
                <a16:creationId xmlns:a16="http://schemas.microsoft.com/office/drawing/2014/main" id="{191BDD2B-81FD-A544-A991-A8A2C9436595}"/>
              </a:ext>
            </a:extLst>
          </p:cNvPr>
          <p:cNvSpPr/>
          <p:nvPr/>
        </p:nvSpPr>
        <p:spPr>
          <a:xfrm>
            <a:off x="2283649" y="3606611"/>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2" name="Freeform: Shape 1">
            <a:extLst>
              <a:ext uri="{FF2B5EF4-FFF2-40B4-BE49-F238E27FC236}">
                <a16:creationId xmlns:a16="http://schemas.microsoft.com/office/drawing/2014/main" id="{75A373E6-7E0C-CC45-999E-2F201E8032CF}"/>
              </a:ext>
            </a:extLst>
          </p:cNvPr>
          <p:cNvSpPr/>
          <p:nvPr/>
        </p:nvSpPr>
        <p:spPr>
          <a:xfrm>
            <a:off x="21096360" y="3659146"/>
            <a:ext cx="1763640" cy="1030319"/>
          </a:xfrm>
          <a:custGeom>
            <a:avLst/>
            <a:gdLst/>
            <a:ahLst/>
            <a:cxnLst>
              <a:cxn ang="3cd4">
                <a:pos x="hc" y="t"/>
              </a:cxn>
              <a:cxn ang="cd2">
                <a:pos x="l" y="vc"/>
              </a:cxn>
              <a:cxn ang="cd4">
                <a:pos x="hc" y="b"/>
              </a:cxn>
              <a:cxn ang="0">
                <a:pos x="r" y="vc"/>
              </a:cxn>
            </a:cxnLst>
            <a:rect l="l" t="t" r="r" b="b"/>
            <a:pathLst>
              <a:path w="4900" h="2863">
                <a:moveTo>
                  <a:pt x="4073" y="477"/>
                </a:moveTo>
                <a:cubicBezTo>
                  <a:pt x="1448" y="477"/>
                  <a:pt x="1448" y="477"/>
                  <a:pt x="1448" y="477"/>
                </a:cubicBezTo>
                <a:cubicBezTo>
                  <a:pt x="1432" y="477"/>
                  <a:pt x="1416" y="477"/>
                  <a:pt x="1400" y="477"/>
                </a:cubicBezTo>
                <a:cubicBezTo>
                  <a:pt x="923" y="31"/>
                  <a:pt x="923" y="31"/>
                  <a:pt x="923" y="31"/>
                </a:cubicBezTo>
                <a:cubicBezTo>
                  <a:pt x="907" y="15"/>
                  <a:pt x="891" y="0"/>
                  <a:pt x="875" y="0"/>
                </a:cubicBezTo>
                <a:cubicBezTo>
                  <a:pt x="80" y="0"/>
                  <a:pt x="80" y="0"/>
                  <a:pt x="80" y="0"/>
                </a:cubicBezTo>
                <a:cubicBezTo>
                  <a:pt x="48" y="0"/>
                  <a:pt x="16" y="15"/>
                  <a:pt x="0" y="48"/>
                </a:cubicBezTo>
                <a:cubicBezTo>
                  <a:pt x="0" y="79"/>
                  <a:pt x="0" y="111"/>
                  <a:pt x="16" y="127"/>
                </a:cubicBezTo>
                <a:cubicBezTo>
                  <a:pt x="668" y="1049"/>
                  <a:pt x="668" y="1049"/>
                  <a:pt x="668" y="1049"/>
                </a:cubicBezTo>
                <a:cubicBezTo>
                  <a:pt x="637" y="1145"/>
                  <a:pt x="621" y="1240"/>
                  <a:pt x="621" y="1352"/>
                </a:cubicBezTo>
                <a:cubicBezTo>
                  <a:pt x="621" y="1416"/>
                  <a:pt x="621" y="1479"/>
                  <a:pt x="637" y="1527"/>
                </a:cubicBezTo>
                <a:lnTo>
                  <a:pt x="637" y="1543"/>
                </a:lnTo>
                <a:cubicBezTo>
                  <a:pt x="16" y="2418"/>
                  <a:pt x="16" y="2418"/>
                  <a:pt x="16" y="2418"/>
                </a:cubicBezTo>
                <a:cubicBezTo>
                  <a:pt x="0" y="2450"/>
                  <a:pt x="0" y="2482"/>
                  <a:pt x="0" y="2497"/>
                </a:cubicBezTo>
                <a:cubicBezTo>
                  <a:pt x="16" y="2529"/>
                  <a:pt x="48" y="2545"/>
                  <a:pt x="80" y="2545"/>
                </a:cubicBezTo>
                <a:cubicBezTo>
                  <a:pt x="875" y="2545"/>
                  <a:pt x="875" y="2545"/>
                  <a:pt x="875" y="2545"/>
                </a:cubicBezTo>
                <a:cubicBezTo>
                  <a:pt x="891" y="2545"/>
                  <a:pt x="907" y="2529"/>
                  <a:pt x="923" y="2529"/>
                </a:cubicBezTo>
                <a:cubicBezTo>
                  <a:pt x="1257" y="2195"/>
                  <a:pt x="1257" y="2195"/>
                  <a:pt x="1257" y="2195"/>
                </a:cubicBezTo>
                <a:cubicBezTo>
                  <a:pt x="1321" y="2211"/>
                  <a:pt x="1384" y="2227"/>
                  <a:pt x="1448" y="2227"/>
                </a:cubicBezTo>
                <a:cubicBezTo>
                  <a:pt x="1909" y="2227"/>
                  <a:pt x="1909" y="2227"/>
                  <a:pt x="1909" y="2227"/>
                </a:cubicBezTo>
                <a:cubicBezTo>
                  <a:pt x="2085" y="2800"/>
                  <a:pt x="2085" y="2800"/>
                  <a:pt x="2085" y="2800"/>
                </a:cubicBezTo>
                <a:cubicBezTo>
                  <a:pt x="2100" y="2831"/>
                  <a:pt x="2132" y="2863"/>
                  <a:pt x="2164" y="2863"/>
                </a:cubicBezTo>
                <a:cubicBezTo>
                  <a:pt x="3548" y="2863"/>
                  <a:pt x="3548" y="2863"/>
                  <a:pt x="3548" y="2863"/>
                </a:cubicBezTo>
                <a:cubicBezTo>
                  <a:pt x="3580" y="2863"/>
                  <a:pt x="3612" y="2831"/>
                  <a:pt x="3628" y="2800"/>
                </a:cubicBezTo>
                <a:cubicBezTo>
                  <a:pt x="3803" y="2227"/>
                  <a:pt x="3803" y="2227"/>
                  <a:pt x="3803" y="2227"/>
                </a:cubicBezTo>
                <a:cubicBezTo>
                  <a:pt x="4073" y="2227"/>
                  <a:pt x="4073" y="2227"/>
                  <a:pt x="4073" y="2227"/>
                </a:cubicBezTo>
                <a:cubicBezTo>
                  <a:pt x="4519" y="2227"/>
                  <a:pt x="4900" y="1829"/>
                  <a:pt x="4900" y="1352"/>
                </a:cubicBezTo>
                <a:cubicBezTo>
                  <a:pt x="4900" y="875"/>
                  <a:pt x="4519" y="477"/>
                  <a:pt x="4073" y="477"/>
                </a:cubicBezTo>
                <a:close/>
                <a:moveTo>
                  <a:pt x="239" y="159"/>
                </a:moveTo>
                <a:cubicBezTo>
                  <a:pt x="843" y="159"/>
                  <a:pt x="843" y="159"/>
                  <a:pt x="843" y="159"/>
                </a:cubicBezTo>
                <a:cubicBezTo>
                  <a:pt x="1209" y="525"/>
                  <a:pt x="1209" y="525"/>
                  <a:pt x="1209" y="525"/>
                </a:cubicBezTo>
                <a:cubicBezTo>
                  <a:pt x="1018" y="572"/>
                  <a:pt x="859" y="715"/>
                  <a:pt x="748" y="891"/>
                </a:cubicBezTo>
                <a:close/>
                <a:moveTo>
                  <a:pt x="843" y="2386"/>
                </a:moveTo>
                <a:cubicBezTo>
                  <a:pt x="223" y="2386"/>
                  <a:pt x="223" y="2386"/>
                  <a:pt x="223" y="2386"/>
                </a:cubicBezTo>
                <a:cubicBezTo>
                  <a:pt x="700" y="1718"/>
                  <a:pt x="700" y="1718"/>
                  <a:pt x="700" y="1718"/>
                </a:cubicBezTo>
                <a:cubicBezTo>
                  <a:pt x="780" y="1909"/>
                  <a:pt x="923" y="2052"/>
                  <a:pt x="1098" y="2148"/>
                </a:cubicBezTo>
                <a:close/>
                <a:moveTo>
                  <a:pt x="3500" y="2704"/>
                </a:moveTo>
                <a:cubicBezTo>
                  <a:pt x="2228" y="2704"/>
                  <a:pt x="2228" y="2704"/>
                  <a:pt x="2228" y="2704"/>
                </a:cubicBezTo>
                <a:cubicBezTo>
                  <a:pt x="2068" y="2227"/>
                  <a:pt x="2068" y="2227"/>
                  <a:pt x="2068" y="2227"/>
                </a:cubicBezTo>
                <a:cubicBezTo>
                  <a:pt x="3643" y="2227"/>
                  <a:pt x="3643" y="2227"/>
                  <a:pt x="3643" y="2227"/>
                </a:cubicBezTo>
                <a:close/>
                <a:moveTo>
                  <a:pt x="4073" y="2068"/>
                </a:moveTo>
                <a:cubicBezTo>
                  <a:pt x="3755" y="2068"/>
                  <a:pt x="3755" y="2068"/>
                  <a:pt x="3755" y="2068"/>
                </a:cubicBezTo>
                <a:cubicBezTo>
                  <a:pt x="1957" y="2068"/>
                  <a:pt x="1957" y="2068"/>
                  <a:pt x="1957" y="2068"/>
                </a:cubicBezTo>
                <a:cubicBezTo>
                  <a:pt x="1448" y="2068"/>
                  <a:pt x="1448" y="2068"/>
                  <a:pt x="1448" y="2068"/>
                </a:cubicBezTo>
                <a:cubicBezTo>
                  <a:pt x="1082" y="2068"/>
                  <a:pt x="780" y="1734"/>
                  <a:pt x="780" y="1352"/>
                </a:cubicBezTo>
                <a:cubicBezTo>
                  <a:pt x="780" y="970"/>
                  <a:pt x="1098" y="636"/>
                  <a:pt x="1448" y="636"/>
                </a:cubicBezTo>
                <a:cubicBezTo>
                  <a:pt x="4073" y="636"/>
                  <a:pt x="4073" y="636"/>
                  <a:pt x="4073" y="636"/>
                </a:cubicBezTo>
                <a:cubicBezTo>
                  <a:pt x="4423" y="636"/>
                  <a:pt x="4741" y="970"/>
                  <a:pt x="4741" y="1352"/>
                </a:cubicBezTo>
                <a:cubicBezTo>
                  <a:pt x="4741" y="1734"/>
                  <a:pt x="4439" y="2068"/>
                  <a:pt x="4073" y="206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3" name="Freeform: Shape 2">
            <a:extLst>
              <a:ext uri="{FF2B5EF4-FFF2-40B4-BE49-F238E27FC236}">
                <a16:creationId xmlns:a16="http://schemas.microsoft.com/office/drawing/2014/main" id="{FC5C7ADE-CE08-5341-9DBD-35306DA5DDCD}"/>
              </a:ext>
            </a:extLst>
          </p:cNvPr>
          <p:cNvSpPr/>
          <p:nvPr/>
        </p:nvSpPr>
        <p:spPr>
          <a:xfrm>
            <a:off x="5933734" y="3665608"/>
            <a:ext cx="1631880" cy="916559"/>
          </a:xfrm>
          <a:custGeom>
            <a:avLst/>
            <a:gdLst/>
            <a:ahLst/>
            <a:cxnLst>
              <a:cxn ang="3cd4">
                <a:pos x="hc" y="t"/>
              </a:cxn>
              <a:cxn ang="cd2">
                <a:pos x="l" y="vc"/>
              </a:cxn>
              <a:cxn ang="cd4">
                <a:pos x="hc" y="b"/>
              </a:cxn>
              <a:cxn ang="0">
                <a:pos x="r" y="vc"/>
              </a:cxn>
            </a:cxnLst>
            <a:rect l="l" t="t" r="r" b="b"/>
            <a:pathLst>
              <a:path w="4534" h="2547">
                <a:moveTo>
                  <a:pt x="684" y="1195"/>
                </a:moveTo>
                <a:cubicBezTo>
                  <a:pt x="302" y="1195"/>
                  <a:pt x="0" y="1497"/>
                  <a:pt x="0" y="1863"/>
                </a:cubicBezTo>
                <a:cubicBezTo>
                  <a:pt x="0" y="2245"/>
                  <a:pt x="302" y="2547"/>
                  <a:pt x="684" y="2547"/>
                </a:cubicBezTo>
                <a:cubicBezTo>
                  <a:pt x="1050" y="2547"/>
                  <a:pt x="1352" y="2245"/>
                  <a:pt x="1352" y="1863"/>
                </a:cubicBezTo>
                <a:cubicBezTo>
                  <a:pt x="1352" y="1497"/>
                  <a:pt x="1050" y="1195"/>
                  <a:pt x="684" y="1195"/>
                </a:cubicBezTo>
                <a:close/>
                <a:moveTo>
                  <a:pt x="684" y="2388"/>
                </a:moveTo>
                <a:cubicBezTo>
                  <a:pt x="398" y="2388"/>
                  <a:pt x="159" y="2149"/>
                  <a:pt x="159" y="1863"/>
                </a:cubicBezTo>
                <a:cubicBezTo>
                  <a:pt x="159" y="1577"/>
                  <a:pt x="398" y="1354"/>
                  <a:pt x="684" y="1354"/>
                </a:cubicBezTo>
                <a:cubicBezTo>
                  <a:pt x="970" y="1354"/>
                  <a:pt x="1193" y="1577"/>
                  <a:pt x="1193" y="1863"/>
                </a:cubicBezTo>
                <a:cubicBezTo>
                  <a:pt x="1193" y="2149"/>
                  <a:pt x="970" y="2388"/>
                  <a:pt x="684" y="2388"/>
                </a:cubicBezTo>
                <a:close/>
                <a:moveTo>
                  <a:pt x="3850" y="1195"/>
                </a:moveTo>
                <a:cubicBezTo>
                  <a:pt x="3484" y="1195"/>
                  <a:pt x="3182" y="1497"/>
                  <a:pt x="3182" y="1863"/>
                </a:cubicBezTo>
                <a:cubicBezTo>
                  <a:pt x="3182" y="2245"/>
                  <a:pt x="3484" y="2547"/>
                  <a:pt x="3850" y="2547"/>
                </a:cubicBezTo>
                <a:cubicBezTo>
                  <a:pt x="4232" y="2547"/>
                  <a:pt x="4534" y="2245"/>
                  <a:pt x="4534" y="1863"/>
                </a:cubicBezTo>
                <a:cubicBezTo>
                  <a:pt x="4534" y="1497"/>
                  <a:pt x="4232" y="1195"/>
                  <a:pt x="3850" y="1195"/>
                </a:cubicBezTo>
                <a:close/>
                <a:moveTo>
                  <a:pt x="3850" y="2388"/>
                </a:moveTo>
                <a:cubicBezTo>
                  <a:pt x="3580" y="2388"/>
                  <a:pt x="3341" y="2149"/>
                  <a:pt x="3341" y="1863"/>
                </a:cubicBezTo>
                <a:cubicBezTo>
                  <a:pt x="3341" y="1577"/>
                  <a:pt x="3580" y="1354"/>
                  <a:pt x="3850" y="1354"/>
                </a:cubicBezTo>
                <a:cubicBezTo>
                  <a:pt x="4137" y="1354"/>
                  <a:pt x="4375" y="1577"/>
                  <a:pt x="4375" y="1863"/>
                </a:cubicBezTo>
                <a:cubicBezTo>
                  <a:pt x="4375" y="2149"/>
                  <a:pt x="4137" y="2388"/>
                  <a:pt x="3850" y="2388"/>
                </a:cubicBezTo>
                <a:close/>
                <a:moveTo>
                  <a:pt x="1670" y="2086"/>
                </a:moveTo>
                <a:lnTo>
                  <a:pt x="2864" y="2086"/>
                </a:lnTo>
                <a:cubicBezTo>
                  <a:pt x="2912" y="2086"/>
                  <a:pt x="2943" y="2054"/>
                  <a:pt x="2943" y="2006"/>
                </a:cubicBezTo>
                <a:cubicBezTo>
                  <a:pt x="2943" y="1274"/>
                  <a:pt x="3277" y="988"/>
                  <a:pt x="4152" y="988"/>
                </a:cubicBezTo>
                <a:cubicBezTo>
                  <a:pt x="4200" y="988"/>
                  <a:pt x="4232" y="956"/>
                  <a:pt x="4232" y="908"/>
                </a:cubicBezTo>
                <a:cubicBezTo>
                  <a:pt x="4232" y="702"/>
                  <a:pt x="4041" y="415"/>
                  <a:pt x="4025" y="383"/>
                </a:cubicBezTo>
                <a:cubicBezTo>
                  <a:pt x="4009" y="352"/>
                  <a:pt x="3977" y="335"/>
                  <a:pt x="3961" y="335"/>
                </a:cubicBezTo>
                <a:lnTo>
                  <a:pt x="3818" y="335"/>
                </a:lnTo>
                <a:lnTo>
                  <a:pt x="3309" y="17"/>
                </a:lnTo>
                <a:cubicBezTo>
                  <a:pt x="3261" y="-14"/>
                  <a:pt x="3214" y="1"/>
                  <a:pt x="3198" y="34"/>
                </a:cubicBezTo>
                <a:cubicBezTo>
                  <a:pt x="3166" y="81"/>
                  <a:pt x="3182" y="129"/>
                  <a:pt x="3214" y="145"/>
                </a:cubicBezTo>
                <a:lnTo>
                  <a:pt x="3516" y="335"/>
                </a:lnTo>
                <a:lnTo>
                  <a:pt x="2959" y="335"/>
                </a:lnTo>
                <a:cubicBezTo>
                  <a:pt x="2546" y="335"/>
                  <a:pt x="2323" y="558"/>
                  <a:pt x="2291" y="972"/>
                </a:cubicBezTo>
                <a:lnTo>
                  <a:pt x="1702" y="972"/>
                </a:lnTo>
                <a:lnTo>
                  <a:pt x="922" y="511"/>
                </a:lnTo>
                <a:cubicBezTo>
                  <a:pt x="907" y="511"/>
                  <a:pt x="891" y="495"/>
                  <a:pt x="875" y="495"/>
                </a:cubicBezTo>
                <a:lnTo>
                  <a:pt x="286" y="495"/>
                </a:lnTo>
                <a:cubicBezTo>
                  <a:pt x="255" y="495"/>
                  <a:pt x="222" y="526"/>
                  <a:pt x="207" y="558"/>
                </a:cubicBezTo>
                <a:cubicBezTo>
                  <a:pt x="191" y="590"/>
                  <a:pt x="207" y="622"/>
                  <a:pt x="239" y="654"/>
                </a:cubicBezTo>
                <a:cubicBezTo>
                  <a:pt x="255" y="654"/>
                  <a:pt x="827" y="1004"/>
                  <a:pt x="1225" y="1211"/>
                </a:cubicBezTo>
                <a:cubicBezTo>
                  <a:pt x="1591" y="1577"/>
                  <a:pt x="1469" y="1741"/>
                  <a:pt x="1591" y="2006"/>
                </a:cubicBezTo>
                <a:cubicBezTo>
                  <a:pt x="1591" y="2054"/>
                  <a:pt x="1623" y="2086"/>
                  <a:pt x="1670" y="2086"/>
                </a:cubicBezTo>
                <a:close/>
                <a:moveTo>
                  <a:pt x="1304" y="1068"/>
                </a:moveTo>
                <a:cubicBezTo>
                  <a:pt x="1082" y="956"/>
                  <a:pt x="779" y="781"/>
                  <a:pt x="573" y="654"/>
                </a:cubicBezTo>
                <a:lnTo>
                  <a:pt x="859" y="654"/>
                </a:lnTo>
                <a:lnTo>
                  <a:pt x="1639" y="1115"/>
                </a:lnTo>
                <a:cubicBezTo>
                  <a:pt x="1639" y="1131"/>
                  <a:pt x="1655" y="1131"/>
                  <a:pt x="1670" y="1131"/>
                </a:cubicBezTo>
                <a:lnTo>
                  <a:pt x="2370" y="1131"/>
                </a:lnTo>
                <a:cubicBezTo>
                  <a:pt x="2418" y="1131"/>
                  <a:pt x="2450" y="1099"/>
                  <a:pt x="2450" y="1052"/>
                </a:cubicBezTo>
                <a:cubicBezTo>
                  <a:pt x="2450" y="686"/>
                  <a:pt x="2609" y="495"/>
                  <a:pt x="2959" y="495"/>
                </a:cubicBezTo>
                <a:lnTo>
                  <a:pt x="3914" y="495"/>
                </a:lnTo>
                <a:cubicBezTo>
                  <a:pt x="3961" y="574"/>
                  <a:pt x="4041" y="717"/>
                  <a:pt x="4057" y="845"/>
                </a:cubicBezTo>
                <a:cubicBezTo>
                  <a:pt x="3198" y="861"/>
                  <a:pt x="2816" y="1195"/>
                  <a:pt x="2784" y="1926"/>
                </a:cubicBezTo>
                <a:lnTo>
                  <a:pt x="1750" y="1926"/>
                </a:lnTo>
                <a:cubicBezTo>
                  <a:pt x="1734" y="1768"/>
                  <a:pt x="1655" y="1402"/>
                  <a:pt x="1336" y="1083"/>
                </a:cubicBezTo>
                <a:cubicBezTo>
                  <a:pt x="1321" y="1083"/>
                  <a:pt x="1321" y="1083"/>
                  <a:pt x="1304" y="106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4" name="Freeform: Shape 3">
            <a:extLst>
              <a:ext uri="{FF2B5EF4-FFF2-40B4-BE49-F238E27FC236}">
                <a16:creationId xmlns:a16="http://schemas.microsoft.com/office/drawing/2014/main" id="{96DC32BD-D4C3-3E44-858E-A0B3CF8FCCE8}"/>
              </a:ext>
            </a:extLst>
          </p:cNvPr>
          <p:cNvSpPr/>
          <p:nvPr/>
        </p:nvSpPr>
        <p:spPr>
          <a:xfrm>
            <a:off x="17616410" y="3229306"/>
            <a:ext cx="1196640" cy="1752479"/>
          </a:xfrm>
          <a:custGeom>
            <a:avLst/>
            <a:gdLst/>
            <a:ahLst/>
            <a:cxnLst>
              <a:cxn ang="3cd4">
                <a:pos x="hc" y="t"/>
              </a:cxn>
              <a:cxn ang="cd2">
                <a:pos x="l" y="vc"/>
              </a:cxn>
              <a:cxn ang="cd4">
                <a:pos x="hc" y="b"/>
              </a:cxn>
              <a:cxn ang="0">
                <a:pos x="r" y="vc"/>
              </a:cxn>
            </a:cxnLst>
            <a:rect l="l" t="t" r="r" b="b"/>
            <a:pathLst>
              <a:path w="3325" h="4869">
                <a:moveTo>
                  <a:pt x="1670" y="0"/>
                </a:moveTo>
                <a:cubicBezTo>
                  <a:pt x="748" y="0"/>
                  <a:pt x="0" y="748"/>
                  <a:pt x="0" y="1671"/>
                </a:cubicBezTo>
                <a:cubicBezTo>
                  <a:pt x="0" y="1957"/>
                  <a:pt x="63" y="2196"/>
                  <a:pt x="191" y="2355"/>
                </a:cubicBezTo>
                <a:cubicBezTo>
                  <a:pt x="1145" y="4169"/>
                  <a:pt x="1145" y="4169"/>
                  <a:pt x="1145" y="4169"/>
                </a:cubicBezTo>
                <a:cubicBezTo>
                  <a:pt x="1145" y="4789"/>
                  <a:pt x="1145" y="4789"/>
                  <a:pt x="1145" y="4789"/>
                </a:cubicBezTo>
                <a:cubicBezTo>
                  <a:pt x="1145" y="4837"/>
                  <a:pt x="1193" y="4869"/>
                  <a:pt x="1225" y="4869"/>
                </a:cubicBezTo>
                <a:cubicBezTo>
                  <a:pt x="2179" y="4869"/>
                  <a:pt x="2179" y="4869"/>
                  <a:pt x="2179" y="4869"/>
                </a:cubicBezTo>
                <a:cubicBezTo>
                  <a:pt x="2227" y="4869"/>
                  <a:pt x="2259" y="4837"/>
                  <a:pt x="2259" y="4789"/>
                </a:cubicBezTo>
                <a:cubicBezTo>
                  <a:pt x="2259" y="4153"/>
                  <a:pt x="2259" y="4153"/>
                  <a:pt x="2259" y="4153"/>
                </a:cubicBezTo>
                <a:lnTo>
                  <a:pt x="2259" y="4137"/>
                </a:lnTo>
                <a:cubicBezTo>
                  <a:pt x="3150" y="2339"/>
                  <a:pt x="3150" y="2339"/>
                  <a:pt x="3150" y="2339"/>
                </a:cubicBezTo>
                <a:cubicBezTo>
                  <a:pt x="3261" y="2196"/>
                  <a:pt x="3325" y="1973"/>
                  <a:pt x="3325" y="1671"/>
                </a:cubicBezTo>
                <a:cubicBezTo>
                  <a:pt x="3325" y="748"/>
                  <a:pt x="2577" y="0"/>
                  <a:pt x="1670" y="0"/>
                </a:cubicBezTo>
                <a:close/>
                <a:moveTo>
                  <a:pt x="1670" y="160"/>
                </a:moveTo>
                <a:cubicBezTo>
                  <a:pt x="2402" y="160"/>
                  <a:pt x="3022" y="700"/>
                  <a:pt x="3150" y="1416"/>
                </a:cubicBezTo>
                <a:cubicBezTo>
                  <a:pt x="3118" y="1400"/>
                  <a:pt x="3086" y="1400"/>
                  <a:pt x="3054" y="1400"/>
                </a:cubicBezTo>
                <a:cubicBezTo>
                  <a:pt x="2895" y="1400"/>
                  <a:pt x="2768" y="1512"/>
                  <a:pt x="2768" y="1671"/>
                </a:cubicBezTo>
                <a:cubicBezTo>
                  <a:pt x="2768" y="1734"/>
                  <a:pt x="2720" y="1798"/>
                  <a:pt x="2657" y="1798"/>
                </a:cubicBezTo>
                <a:cubicBezTo>
                  <a:pt x="2593" y="1798"/>
                  <a:pt x="2545" y="1734"/>
                  <a:pt x="2545" y="1671"/>
                </a:cubicBezTo>
                <a:cubicBezTo>
                  <a:pt x="2545" y="1512"/>
                  <a:pt x="2418" y="1400"/>
                  <a:pt x="2259" y="1400"/>
                </a:cubicBezTo>
                <a:cubicBezTo>
                  <a:pt x="2100" y="1400"/>
                  <a:pt x="1988" y="1512"/>
                  <a:pt x="1988" y="1671"/>
                </a:cubicBezTo>
                <a:cubicBezTo>
                  <a:pt x="1988" y="1734"/>
                  <a:pt x="1925" y="1798"/>
                  <a:pt x="1861" y="1798"/>
                </a:cubicBezTo>
                <a:cubicBezTo>
                  <a:pt x="1797" y="1798"/>
                  <a:pt x="1750" y="1734"/>
                  <a:pt x="1750" y="1671"/>
                </a:cubicBezTo>
                <a:cubicBezTo>
                  <a:pt x="1750" y="1512"/>
                  <a:pt x="1622" y="1400"/>
                  <a:pt x="1463" y="1400"/>
                </a:cubicBezTo>
                <a:cubicBezTo>
                  <a:pt x="1304" y="1400"/>
                  <a:pt x="1193" y="1512"/>
                  <a:pt x="1193" y="1671"/>
                </a:cubicBezTo>
                <a:cubicBezTo>
                  <a:pt x="1193" y="1734"/>
                  <a:pt x="1129" y="1798"/>
                  <a:pt x="1066" y="1798"/>
                </a:cubicBezTo>
                <a:cubicBezTo>
                  <a:pt x="1002" y="1798"/>
                  <a:pt x="954" y="1734"/>
                  <a:pt x="954" y="1671"/>
                </a:cubicBezTo>
                <a:cubicBezTo>
                  <a:pt x="954" y="1512"/>
                  <a:pt x="827" y="1400"/>
                  <a:pt x="668" y="1400"/>
                </a:cubicBezTo>
                <a:cubicBezTo>
                  <a:pt x="525" y="1400"/>
                  <a:pt x="397" y="1512"/>
                  <a:pt x="397" y="1671"/>
                </a:cubicBezTo>
                <a:cubicBezTo>
                  <a:pt x="397" y="1734"/>
                  <a:pt x="334" y="1798"/>
                  <a:pt x="270" y="1798"/>
                </a:cubicBezTo>
                <a:cubicBezTo>
                  <a:pt x="206" y="1798"/>
                  <a:pt x="159" y="1734"/>
                  <a:pt x="159" y="1671"/>
                </a:cubicBezTo>
                <a:cubicBezTo>
                  <a:pt x="159" y="843"/>
                  <a:pt x="827" y="160"/>
                  <a:pt x="1670" y="160"/>
                </a:cubicBezTo>
                <a:close/>
                <a:moveTo>
                  <a:pt x="2116" y="4073"/>
                </a:moveTo>
                <a:cubicBezTo>
                  <a:pt x="1941" y="4073"/>
                  <a:pt x="1941" y="4073"/>
                  <a:pt x="1941" y="4073"/>
                </a:cubicBezTo>
                <a:cubicBezTo>
                  <a:pt x="2148" y="2642"/>
                  <a:pt x="2148" y="2642"/>
                  <a:pt x="2148" y="2642"/>
                </a:cubicBezTo>
                <a:cubicBezTo>
                  <a:pt x="2354" y="2642"/>
                  <a:pt x="2354" y="2642"/>
                  <a:pt x="2354" y="2642"/>
                </a:cubicBezTo>
                <a:cubicBezTo>
                  <a:pt x="2513" y="2642"/>
                  <a:pt x="2704" y="2625"/>
                  <a:pt x="2864" y="2562"/>
                </a:cubicBezTo>
                <a:close/>
                <a:moveTo>
                  <a:pt x="1782" y="4073"/>
                </a:moveTo>
                <a:cubicBezTo>
                  <a:pt x="1543" y="4073"/>
                  <a:pt x="1543" y="4073"/>
                  <a:pt x="1543" y="4073"/>
                </a:cubicBezTo>
                <a:cubicBezTo>
                  <a:pt x="1352" y="2642"/>
                  <a:pt x="1352" y="2642"/>
                  <a:pt x="1352" y="2642"/>
                </a:cubicBezTo>
                <a:cubicBezTo>
                  <a:pt x="1988" y="2642"/>
                  <a:pt x="1988" y="2642"/>
                  <a:pt x="1988" y="2642"/>
                </a:cubicBezTo>
                <a:close/>
                <a:moveTo>
                  <a:pt x="1193" y="2642"/>
                </a:moveTo>
                <a:cubicBezTo>
                  <a:pt x="1384" y="4073"/>
                  <a:pt x="1384" y="4073"/>
                  <a:pt x="1384" y="4073"/>
                </a:cubicBezTo>
                <a:cubicBezTo>
                  <a:pt x="1273" y="4073"/>
                  <a:pt x="1273" y="4073"/>
                  <a:pt x="1273" y="4073"/>
                </a:cubicBezTo>
                <a:cubicBezTo>
                  <a:pt x="493" y="2562"/>
                  <a:pt x="493" y="2562"/>
                  <a:pt x="493" y="2562"/>
                </a:cubicBezTo>
                <a:cubicBezTo>
                  <a:pt x="620" y="2610"/>
                  <a:pt x="779" y="2642"/>
                  <a:pt x="970" y="2642"/>
                </a:cubicBezTo>
                <a:close/>
                <a:moveTo>
                  <a:pt x="2100" y="4710"/>
                </a:moveTo>
                <a:cubicBezTo>
                  <a:pt x="1304" y="4710"/>
                  <a:pt x="1304" y="4710"/>
                  <a:pt x="1304" y="4710"/>
                </a:cubicBezTo>
                <a:cubicBezTo>
                  <a:pt x="1304" y="4232"/>
                  <a:pt x="1304" y="4232"/>
                  <a:pt x="1304" y="4232"/>
                </a:cubicBezTo>
                <a:cubicBezTo>
                  <a:pt x="2100" y="4232"/>
                  <a:pt x="2100" y="4232"/>
                  <a:pt x="2100" y="4232"/>
                </a:cubicBezTo>
                <a:close/>
                <a:moveTo>
                  <a:pt x="2354" y="2482"/>
                </a:moveTo>
                <a:cubicBezTo>
                  <a:pt x="970" y="2482"/>
                  <a:pt x="970" y="2482"/>
                  <a:pt x="970" y="2482"/>
                </a:cubicBezTo>
                <a:cubicBezTo>
                  <a:pt x="668" y="2482"/>
                  <a:pt x="286" y="2419"/>
                  <a:pt x="175" y="1925"/>
                </a:cubicBezTo>
                <a:cubicBezTo>
                  <a:pt x="206" y="1942"/>
                  <a:pt x="239" y="1957"/>
                  <a:pt x="270" y="1957"/>
                </a:cubicBezTo>
                <a:cubicBezTo>
                  <a:pt x="429" y="1957"/>
                  <a:pt x="557" y="1830"/>
                  <a:pt x="557" y="1671"/>
                </a:cubicBezTo>
                <a:cubicBezTo>
                  <a:pt x="557" y="1607"/>
                  <a:pt x="604" y="1560"/>
                  <a:pt x="668" y="1560"/>
                </a:cubicBezTo>
                <a:cubicBezTo>
                  <a:pt x="731" y="1560"/>
                  <a:pt x="795" y="1607"/>
                  <a:pt x="795" y="1671"/>
                </a:cubicBezTo>
                <a:cubicBezTo>
                  <a:pt x="795" y="1830"/>
                  <a:pt x="922" y="1957"/>
                  <a:pt x="1066" y="1957"/>
                </a:cubicBezTo>
                <a:cubicBezTo>
                  <a:pt x="1225" y="1957"/>
                  <a:pt x="1352" y="1830"/>
                  <a:pt x="1352" y="1671"/>
                </a:cubicBezTo>
                <a:cubicBezTo>
                  <a:pt x="1352" y="1607"/>
                  <a:pt x="1400" y="1560"/>
                  <a:pt x="1463" y="1560"/>
                </a:cubicBezTo>
                <a:cubicBezTo>
                  <a:pt x="1527" y="1560"/>
                  <a:pt x="1591" y="1607"/>
                  <a:pt x="1591" y="1671"/>
                </a:cubicBezTo>
                <a:cubicBezTo>
                  <a:pt x="1591" y="1830"/>
                  <a:pt x="1702" y="1957"/>
                  <a:pt x="1861" y="1957"/>
                </a:cubicBezTo>
                <a:cubicBezTo>
                  <a:pt x="2020" y="1957"/>
                  <a:pt x="2148" y="1830"/>
                  <a:pt x="2148" y="1671"/>
                </a:cubicBezTo>
                <a:cubicBezTo>
                  <a:pt x="2148" y="1607"/>
                  <a:pt x="2195" y="1560"/>
                  <a:pt x="2259" y="1560"/>
                </a:cubicBezTo>
                <a:cubicBezTo>
                  <a:pt x="2322" y="1560"/>
                  <a:pt x="2386" y="1607"/>
                  <a:pt x="2386" y="1671"/>
                </a:cubicBezTo>
                <a:cubicBezTo>
                  <a:pt x="2386" y="1830"/>
                  <a:pt x="2498" y="1957"/>
                  <a:pt x="2657" y="1957"/>
                </a:cubicBezTo>
                <a:cubicBezTo>
                  <a:pt x="2816" y="1957"/>
                  <a:pt x="2927" y="1830"/>
                  <a:pt x="2927" y="1671"/>
                </a:cubicBezTo>
                <a:cubicBezTo>
                  <a:pt x="2927" y="1607"/>
                  <a:pt x="2991" y="1560"/>
                  <a:pt x="3054" y="1560"/>
                </a:cubicBezTo>
                <a:cubicBezTo>
                  <a:pt x="3118" y="1560"/>
                  <a:pt x="3166" y="1607"/>
                  <a:pt x="3166" y="1671"/>
                </a:cubicBezTo>
                <a:cubicBezTo>
                  <a:pt x="3166" y="2387"/>
                  <a:pt x="2768" y="2482"/>
                  <a:pt x="2354" y="248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Freeform: Shape 4">
            <a:extLst>
              <a:ext uri="{FF2B5EF4-FFF2-40B4-BE49-F238E27FC236}">
                <a16:creationId xmlns:a16="http://schemas.microsoft.com/office/drawing/2014/main" id="{A73030EE-A206-F446-9583-52E382EAD1DD}"/>
              </a:ext>
            </a:extLst>
          </p:cNvPr>
          <p:cNvSpPr/>
          <p:nvPr/>
        </p:nvSpPr>
        <p:spPr>
          <a:xfrm>
            <a:off x="17194122" y="7037339"/>
            <a:ext cx="1775160" cy="984600"/>
          </a:xfrm>
          <a:custGeom>
            <a:avLst/>
            <a:gdLst/>
            <a:ahLst/>
            <a:cxnLst>
              <a:cxn ang="3cd4">
                <a:pos x="hc" y="t"/>
              </a:cxn>
              <a:cxn ang="cd2">
                <a:pos x="l" y="vc"/>
              </a:cxn>
              <a:cxn ang="cd4">
                <a:pos x="hc" y="b"/>
              </a:cxn>
              <a:cxn ang="0">
                <a:pos x="r" y="vc"/>
              </a:cxn>
            </a:cxnLst>
            <a:rect l="l" t="t" r="r" b="b"/>
            <a:pathLst>
              <a:path w="4932" h="2736">
                <a:moveTo>
                  <a:pt x="1082" y="2736"/>
                </a:moveTo>
                <a:cubicBezTo>
                  <a:pt x="1368" y="2736"/>
                  <a:pt x="1607" y="2529"/>
                  <a:pt x="1639" y="2243"/>
                </a:cubicBezTo>
                <a:cubicBezTo>
                  <a:pt x="3278" y="2243"/>
                  <a:pt x="3278" y="2243"/>
                  <a:pt x="3278" y="2243"/>
                </a:cubicBezTo>
                <a:cubicBezTo>
                  <a:pt x="3325" y="2529"/>
                  <a:pt x="3564" y="2736"/>
                  <a:pt x="3850" y="2736"/>
                </a:cubicBezTo>
                <a:cubicBezTo>
                  <a:pt x="4153" y="2736"/>
                  <a:pt x="4391" y="2529"/>
                  <a:pt x="4423" y="2243"/>
                </a:cubicBezTo>
                <a:cubicBezTo>
                  <a:pt x="4646" y="2243"/>
                  <a:pt x="4646" y="2243"/>
                  <a:pt x="4646" y="2243"/>
                </a:cubicBezTo>
                <a:cubicBezTo>
                  <a:pt x="4789" y="2243"/>
                  <a:pt x="4932" y="2116"/>
                  <a:pt x="4932" y="1973"/>
                </a:cubicBezTo>
                <a:cubicBezTo>
                  <a:pt x="4932" y="1368"/>
                  <a:pt x="4932" y="1368"/>
                  <a:pt x="4932" y="1368"/>
                </a:cubicBezTo>
                <a:cubicBezTo>
                  <a:pt x="4932" y="1034"/>
                  <a:pt x="3898" y="827"/>
                  <a:pt x="3771" y="795"/>
                </a:cubicBezTo>
                <a:cubicBezTo>
                  <a:pt x="3691" y="779"/>
                  <a:pt x="3421" y="492"/>
                  <a:pt x="3214" y="222"/>
                </a:cubicBezTo>
                <a:cubicBezTo>
                  <a:pt x="3119" y="127"/>
                  <a:pt x="2991" y="0"/>
                  <a:pt x="2768" y="0"/>
                </a:cubicBezTo>
                <a:cubicBezTo>
                  <a:pt x="1384" y="0"/>
                  <a:pt x="1384" y="0"/>
                  <a:pt x="1384" y="0"/>
                </a:cubicBezTo>
                <a:cubicBezTo>
                  <a:pt x="1193" y="0"/>
                  <a:pt x="1082" y="206"/>
                  <a:pt x="971" y="397"/>
                </a:cubicBezTo>
                <a:cubicBezTo>
                  <a:pt x="859" y="588"/>
                  <a:pt x="748" y="795"/>
                  <a:pt x="573" y="795"/>
                </a:cubicBezTo>
                <a:cubicBezTo>
                  <a:pt x="477" y="795"/>
                  <a:pt x="477" y="795"/>
                  <a:pt x="477" y="795"/>
                </a:cubicBezTo>
                <a:cubicBezTo>
                  <a:pt x="382" y="795"/>
                  <a:pt x="382" y="795"/>
                  <a:pt x="382" y="795"/>
                </a:cubicBezTo>
                <a:cubicBezTo>
                  <a:pt x="143" y="795"/>
                  <a:pt x="0" y="938"/>
                  <a:pt x="0" y="1177"/>
                </a:cubicBezTo>
                <a:cubicBezTo>
                  <a:pt x="0" y="2004"/>
                  <a:pt x="0" y="2004"/>
                  <a:pt x="0" y="2004"/>
                </a:cubicBezTo>
                <a:cubicBezTo>
                  <a:pt x="0" y="2131"/>
                  <a:pt x="128" y="2243"/>
                  <a:pt x="286" y="2243"/>
                </a:cubicBezTo>
                <a:cubicBezTo>
                  <a:pt x="509" y="2243"/>
                  <a:pt x="509" y="2243"/>
                  <a:pt x="509" y="2243"/>
                </a:cubicBezTo>
                <a:cubicBezTo>
                  <a:pt x="541" y="2529"/>
                  <a:pt x="780" y="2736"/>
                  <a:pt x="1082" y="2736"/>
                </a:cubicBezTo>
                <a:close/>
                <a:moveTo>
                  <a:pt x="1082" y="2577"/>
                </a:moveTo>
                <a:cubicBezTo>
                  <a:pt x="843" y="2577"/>
                  <a:pt x="652" y="2402"/>
                  <a:pt x="652" y="2163"/>
                </a:cubicBezTo>
                <a:cubicBezTo>
                  <a:pt x="652" y="1940"/>
                  <a:pt x="843" y="1750"/>
                  <a:pt x="1082" y="1750"/>
                </a:cubicBezTo>
                <a:cubicBezTo>
                  <a:pt x="1305" y="1750"/>
                  <a:pt x="1496" y="1940"/>
                  <a:pt x="1496" y="2163"/>
                </a:cubicBezTo>
                <a:cubicBezTo>
                  <a:pt x="1496" y="2402"/>
                  <a:pt x="1305" y="2577"/>
                  <a:pt x="1082" y="2577"/>
                </a:cubicBezTo>
                <a:close/>
                <a:moveTo>
                  <a:pt x="3850" y="2577"/>
                </a:moveTo>
                <a:cubicBezTo>
                  <a:pt x="3628" y="2577"/>
                  <a:pt x="3437" y="2402"/>
                  <a:pt x="3437" y="2163"/>
                </a:cubicBezTo>
                <a:cubicBezTo>
                  <a:pt x="3437" y="1940"/>
                  <a:pt x="3628" y="1750"/>
                  <a:pt x="3850" y="1750"/>
                </a:cubicBezTo>
                <a:cubicBezTo>
                  <a:pt x="4089" y="1750"/>
                  <a:pt x="4264" y="1940"/>
                  <a:pt x="4264" y="2163"/>
                </a:cubicBezTo>
                <a:cubicBezTo>
                  <a:pt x="4264" y="2402"/>
                  <a:pt x="4089" y="2577"/>
                  <a:pt x="3850" y="2577"/>
                </a:cubicBezTo>
                <a:close/>
                <a:moveTo>
                  <a:pt x="3102" y="334"/>
                </a:moveTo>
                <a:cubicBezTo>
                  <a:pt x="3166" y="413"/>
                  <a:pt x="3341" y="636"/>
                  <a:pt x="3501" y="795"/>
                </a:cubicBezTo>
                <a:cubicBezTo>
                  <a:pt x="2243" y="795"/>
                  <a:pt x="2243" y="795"/>
                  <a:pt x="2243" y="795"/>
                </a:cubicBezTo>
                <a:cubicBezTo>
                  <a:pt x="2243" y="159"/>
                  <a:pt x="2243" y="159"/>
                  <a:pt x="2243" y="159"/>
                </a:cubicBezTo>
                <a:cubicBezTo>
                  <a:pt x="2768" y="159"/>
                  <a:pt x="2768" y="159"/>
                  <a:pt x="2768" y="159"/>
                </a:cubicBezTo>
                <a:cubicBezTo>
                  <a:pt x="2928" y="159"/>
                  <a:pt x="3007" y="238"/>
                  <a:pt x="3102" y="334"/>
                </a:cubicBezTo>
                <a:close/>
                <a:moveTo>
                  <a:pt x="1098" y="477"/>
                </a:moveTo>
                <a:cubicBezTo>
                  <a:pt x="1193" y="318"/>
                  <a:pt x="1289" y="159"/>
                  <a:pt x="1384" y="159"/>
                </a:cubicBezTo>
                <a:cubicBezTo>
                  <a:pt x="2084" y="159"/>
                  <a:pt x="2084" y="159"/>
                  <a:pt x="2084" y="159"/>
                </a:cubicBezTo>
                <a:cubicBezTo>
                  <a:pt x="2084" y="795"/>
                  <a:pt x="2084" y="795"/>
                  <a:pt x="2084" y="795"/>
                </a:cubicBezTo>
                <a:cubicBezTo>
                  <a:pt x="891" y="795"/>
                  <a:pt x="891" y="795"/>
                  <a:pt x="891" y="795"/>
                </a:cubicBezTo>
                <a:cubicBezTo>
                  <a:pt x="986" y="700"/>
                  <a:pt x="1050" y="588"/>
                  <a:pt x="1098" y="477"/>
                </a:cubicBezTo>
                <a:close/>
                <a:moveTo>
                  <a:pt x="159" y="2004"/>
                </a:moveTo>
                <a:cubicBezTo>
                  <a:pt x="159" y="1177"/>
                  <a:pt x="159" y="1177"/>
                  <a:pt x="159" y="1177"/>
                </a:cubicBezTo>
                <a:cubicBezTo>
                  <a:pt x="159" y="1018"/>
                  <a:pt x="223" y="954"/>
                  <a:pt x="382" y="954"/>
                </a:cubicBezTo>
                <a:cubicBezTo>
                  <a:pt x="477" y="954"/>
                  <a:pt x="477" y="954"/>
                  <a:pt x="477" y="954"/>
                </a:cubicBezTo>
                <a:cubicBezTo>
                  <a:pt x="573" y="954"/>
                  <a:pt x="573" y="954"/>
                  <a:pt x="573" y="954"/>
                </a:cubicBezTo>
                <a:cubicBezTo>
                  <a:pt x="3739" y="954"/>
                  <a:pt x="3739" y="954"/>
                  <a:pt x="3739" y="954"/>
                </a:cubicBezTo>
                <a:cubicBezTo>
                  <a:pt x="4375" y="1082"/>
                  <a:pt x="4773" y="1288"/>
                  <a:pt x="4773" y="1368"/>
                </a:cubicBezTo>
                <a:cubicBezTo>
                  <a:pt x="4773" y="1973"/>
                  <a:pt x="4773" y="1973"/>
                  <a:pt x="4773" y="1973"/>
                </a:cubicBezTo>
                <a:cubicBezTo>
                  <a:pt x="4773" y="2036"/>
                  <a:pt x="4710" y="2083"/>
                  <a:pt x="4646" y="2083"/>
                </a:cubicBezTo>
                <a:cubicBezTo>
                  <a:pt x="4423" y="2083"/>
                  <a:pt x="4423" y="2083"/>
                  <a:pt x="4423" y="2083"/>
                </a:cubicBezTo>
                <a:cubicBezTo>
                  <a:pt x="4391" y="1813"/>
                  <a:pt x="4153" y="1591"/>
                  <a:pt x="3850" y="1591"/>
                </a:cubicBezTo>
                <a:cubicBezTo>
                  <a:pt x="3564" y="1591"/>
                  <a:pt x="3325" y="1813"/>
                  <a:pt x="3278" y="2083"/>
                </a:cubicBezTo>
                <a:cubicBezTo>
                  <a:pt x="1639" y="2083"/>
                  <a:pt x="1639" y="2083"/>
                  <a:pt x="1639" y="2083"/>
                </a:cubicBezTo>
                <a:cubicBezTo>
                  <a:pt x="1607" y="1813"/>
                  <a:pt x="1368" y="1591"/>
                  <a:pt x="1082" y="1591"/>
                </a:cubicBezTo>
                <a:cubicBezTo>
                  <a:pt x="780" y="1591"/>
                  <a:pt x="541" y="1813"/>
                  <a:pt x="509" y="2083"/>
                </a:cubicBezTo>
                <a:cubicBezTo>
                  <a:pt x="286" y="2083"/>
                  <a:pt x="286" y="2083"/>
                  <a:pt x="286" y="2083"/>
                </a:cubicBezTo>
                <a:cubicBezTo>
                  <a:pt x="223" y="2083"/>
                  <a:pt x="159" y="2052"/>
                  <a:pt x="159" y="200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6" name="Freeform: Shape 5">
            <a:extLst>
              <a:ext uri="{FF2B5EF4-FFF2-40B4-BE49-F238E27FC236}">
                <a16:creationId xmlns:a16="http://schemas.microsoft.com/office/drawing/2014/main" id="{6C8C9A4A-CBC6-B647-8446-4FFC02A69C26}"/>
              </a:ext>
            </a:extLst>
          </p:cNvPr>
          <p:cNvSpPr/>
          <p:nvPr/>
        </p:nvSpPr>
        <p:spPr>
          <a:xfrm>
            <a:off x="13926262" y="9886093"/>
            <a:ext cx="1700639" cy="1345680"/>
          </a:xfrm>
          <a:custGeom>
            <a:avLst/>
            <a:gdLst/>
            <a:ahLst/>
            <a:cxnLst>
              <a:cxn ang="3cd4">
                <a:pos x="hc" y="t"/>
              </a:cxn>
              <a:cxn ang="cd2">
                <a:pos x="l" y="vc"/>
              </a:cxn>
              <a:cxn ang="cd4">
                <a:pos x="hc" y="b"/>
              </a:cxn>
              <a:cxn ang="0">
                <a:pos x="r" y="vc"/>
              </a:cxn>
            </a:cxnLst>
            <a:rect l="l" t="t" r="r" b="b"/>
            <a:pathLst>
              <a:path w="4725" h="3739">
                <a:moveTo>
                  <a:pt x="2657" y="0"/>
                </a:moveTo>
                <a:lnTo>
                  <a:pt x="2068" y="0"/>
                </a:lnTo>
                <a:cubicBezTo>
                  <a:pt x="1909" y="0"/>
                  <a:pt x="1782" y="127"/>
                  <a:pt x="1782" y="287"/>
                </a:cubicBezTo>
                <a:lnTo>
                  <a:pt x="1782" y="430"/>
                </a:lnTo>
                <a:cubicBezTo>
                  <a:pt x="1527" y="462"/>
                  <a:pt x="1549" y="472"/>
                  <a:pt x="1432" y="493"/>
                </a:cubicBezTo>
                <a:cubicBezTo>
                  <a:pt x="1289" y="557"/>
                  <a:pt x="1050" y="637"/>
                  <a:pt x="955" y="812"/>
                </a:cubicBezTo>
                <a:cubicBezTo>
                  <a:pt x="923" y="875"/>
                  <a:pt x="811" y="1178"/>
                  <a:pt x="700" y="1496"/>
                </a:cubicBezTo>
                <a:lnTo>
                  <a:pt x="382" y="1496"/>
                </a:lnTo>
                <a:cubicBezTo>
                  <a:pt x="111" y="1496"/>
                  <a:pt x="0" y="1655"/>
                  <a:pt x="0" y="1830"/>
                </a:cubicBezTo>
                <a:cubicBezTo>
                  <a:pt x="0" y="1926"/>
                  <a:pt x="47" y="2053"/>
                  <a:pt x="286" y="2053"/>
                </a:cubicBezTo>
                <a:lnTo>
                  <a:pt x="477" y="2053"/>
                </a:lnTo>
                <a:cubicBezTo>
                  <a:pt x="446" y="2164"/>
                  <a:pt x="413" y="2244"/>
                  <a:pt x="398" y="2260"/>
                </a:cubicBezTo>
                <a:lnTo>
                  <a:pt x="398" y="2275"/>
                </a:lnTo>
                <a:lnTo>
                  <a:pt x="398" y="2960"/>
                </a:lnTo>
                <a:lnTo>
                  <a:pt x="398" y="3071"/>
                </a:lnTo>
                <a:lnTo>
                  <a:pt x="398" y="3453"/>
                </a:lnTo>
                <a:cubicBezTo>
                  <a:pt x="398" y="3612"/>
                  <a:pt x="525" y="3739"/>
                  <a:pt x="684" y="3739"/>
                </a:cubicBezTo>
                <a:lnTo>
                  <a:pt x="1082" y="3739"/>
                </a:lnTo>
                <a:cubicBezTo>
                  <a:pt x="1225" y="3739"/>
                  <a:pt x="1352" y="3612"/>
                  <a:pt x="1352" y="3453"/>
                </a:cubicBezTo>
                <a:lnTo>
                  <a:pt x="1352" y="3341"/>
                </a:lnTo>
                <a:lnTo>
                  <a:pt x="3373" y="3341"/>
                </a:lnTo>
                <a:lnTo>
                  <a:pt x="3373" y="3453"/>
                </a:lnTo>
                <a:cubicBezTo>
                  <a:pt x="3373" y="3612"/>
                  <a:pt x="3500" y="3739"/>
                  <a:pt x="3659" y="3739"/>
                </a:cubicBezTo>
                <a:lnTo>
                  <a:pt x="4057" y="3739"/>
                </a:lnTo>
                <a:cubicBezTo>
                  <a:pt x="4200" y="3739"/>
                  <a:pt x="4328" y="3612"/>
                  <a:pt x="4328" y="3453"/>
                </a:cubicBezTo>
                <a:lnTo>
                  <a:pt x="4328" y="3071"/>
                </a:lnTo>
                <a:lnTo>
                  <a:pt x="4328" y="2960"/>
                </a:lnTo>
                <a:lnTo>
                  <a:pt x="4328" y="2275"/>
                </a:lnTo>
                <a:lnTo>
                  <a:pt x="4328" y="2260"/>
                </a:lnTo>
                <a:cubicBezTo>
                  <a:pt x="4328" y="2244"/>
                  <a:pt x="4295" y="2164"/>
                  <a:pt x="4248" y="2053"/>
                </a:cubicBezTo>
                <a:lnTo>
                  <a:pt x="4439" y="2053"/>
                </a:lnTo>
                <a:cubicBezTo>
                  <a:pt x="4677" y="2053"/>
                  <a:pt x="4725" y="1926"/>
                  <a:pt x="4725" y="1830"/>
                </a:cubicBezTo>
                <a:cubicBezTo>
                  <a:pt x="4725" y="1655"/>
                  <a:pt x="4629" y="1496"/>
                  <a:pt x="4343" y="1496"/>
                </a:cubicBezTo>
                <a:lnTo>
                  <a:pt x="4025" y="1496"/>
                </a:lnTo>
                <a:cubicBezTo>
                  <a:pt x="3914" y="1194"/>
                  <a:pt x="3802" y="891"/>
                  <a:pt x="3771" y="812"/>
                </a:cubicBezTo>
                <a:cubicBezTo>
                  <a:pt x="3675" y="637"/>
                  <a:pt x="3452" y="541"/>
                  <a:pt x="3309" y="509"/>
                </a:cubicBezTo>
                <a:cubicBezTo>
                  <a:pt x="3293" y="493"/>
                  <a:pt x="3198" y="462"/>
                  <a:pt x="2943" y="430"/>
                </a:cubicBezTo>
                <a:lnTo>
                  <a:pt x="2943" y="287"/>
                </a:lnTo>
                <a:cubicBezTo>
                  <a:pt x="2943" y="127"/>
                  <a:pt x="2816" y="0"/>
                  <a:pt x="2657" y="0"/>
                </a:cubicBezTo>
                <a:close/>
                <a:moveTo>
                  <a:pt x="1941" y="287"/>
                </a:moveTo>
                <a:cubicBezTo>
                  <a:pt x="1941" y="207"/>
                  <a:pt x="2004" y="159"/>
                  <a:pt x="2068" y="159"/>
                </a:cubicBezTo>
                <a:lnTo>
                  <a:pt x="2657" y="159"/>
                </a:lnTo>
                <a:cubicBezTo>
                  <a:pt x="2720" y="159"/>
                  <a:pt x="2784" y="207"/>
                  <a:pt x="2784" y="287"/>
                </a:cubicBezTo>
                <a:lnTo>
                  <a:pt x="2784" y="414"/>
                </a:lnTo>
                <a:cubicBezTo>
                  <a:pt x="2673" y="398"/>
                  <a:pt x="2529" y="398"/>
                  <a:pt x="2371" y="398"/>
                </a:cubicBezTo>
                <a:cubicBezTo>
                  <a:pt x="2195" y="398"/>
                  <a:pt x="2068" y="398"/>
                  <a:pt x="1941" y="414"/>
                </a:cubicBezTo>
                <a:close/>
                <a:moveTo>
                  <a:pt x="1177" y="2053"/>
                </a:moveTo>
                <a:lnTo>
                  <a:pt x="3548" y="2053"/>
                </a:lnTo>
                <a:cubicBezTo>
                  <a:pt x="3786" y="2053"/>
                  <a:pt x="3929" y="1989"/>
                  <a:pt x="4009" y="1894"/>
                </a:cubicBezTo>
                <a:cubicBezTo>
                  <a:pt x="4089" y="2084"/>
                  <a:pt x="4152" y="2244"/>
                  <a:pt x="4168" y="2291"/>
                </a:cubicBezTo>
                <a:lnTo>
                  <a:pt x="4168" y="2960"/>
                </a:lnTo>
                <a:lnTo>
                  <a:pt x="4168" y="3071"/>
                </a:lnTo>
                <a:cubicBezTo>
                  <a:pt x="4168" y="3135"/>
                  <a:pt x="4120" y="3182"/>
                  <a:pt x="4057" y="3182"/>
                </a:cubicBezTo>
                <a:lnTo>
                  <a:pt x="668" y="3182"/>
                </a:lnTo>
                <a:cubicBezTo>
                  <a:pt x="604" y="3182"/>
                  <a:pt x="557" y="3135"/>
                  <a:pt x="557" y="3071"/>
                </a:cubicBezTo>
                <a:lnTo>
                  <a:pt x="557" y="2960"/>
                </a:lnTo>
                <a:lnTo>
                  <a:pt x="557" y="2291"/>
                </a:lnTo>
                <a:cubicBezTo>
                  <a:pt x="589" y="2196"/>
                  <a:pt x="652" y="2053"/>
                  <a:pt x="716" y="1894"/>
                </a:cubicBezTo>
                <a:cubicBezTo>
                  <a:pt x="795" y="1989"/>
                  <a:pt x="938" y="2053"/>
                  <a:pt x="1177" y="2053"/>
                </a:cubicBezTo>
                <a:close/>
                <a:moveTo>
                  <a:pt x="286" y="1894"/>
                </a:moveTo>
                <a:cubicBezTo>
                  <a:pt x="159" y="1894"/>
                  <a:pt x="159" y="1846"/>
                  <a:pt x="159" y="1830"/>
                </a:cubicBezTo>
                <a:cubicBezTo>
                  <a:pt x="159" y="1703"/>
                  <a:pt x="238" y="1655"/>
                  <a:pt x="382" y="1655"/>
                </a:cubicBezTo>
                <a:lnTo>
                  <a:pt x="636" y="1655"/>
                </a:lnTo>
                <a:cubicBezTo>
                  <a:pt x="604" y="1735"/>
                  <a:pt x="573" y="1814"/>
                  <a:pt x="541" y="1894"/>
                </a:cubicBezTo>
                <a:close/>
                <a:moveTo>
                  <a:pt x="1193" y="3453"/>
                </a:moveTo>
                <a:cubicBezTo>
                  <a:pt x="1193" y="3517"/>
                  <a:pt x="1146" y="3580"/>
                  <a:pt x="1082" y="3580"/>
                </a:cubicBezTo>
                <a:lnTo>
                  <a:pt x="684" y="3580"/>
                </a:lnTo>
                <a:cubicBezTo>
                  <a:pt x="604" y="3580"/>
                  <a:pt x="557" y="3517"/>
                  <a:pt x="557" y="3453"/>
                </a:cubicBezTo>
                <a:lnTo>
                  <a:pt x="557" y="3309"/>
                </a:lnTo>
                <a:cubicBezTo>
                  <a:pt x="589" y="3326"/>
                  <a:pt x="620" y="3341"/>
                  <a:pt x="668" y="3341"/>
                </a:cubicBezTo>
                <a:lnTo>
                  <a:pt x="1193" y="3341"/>
                </a:lnTo>
                <a:close/>
                <a:moveTo>
                  <a:pt x="4057" y="3580"/>
                </a:moveTo>
                <a:lnTo>
                  <a:pt x="3659" y="3580"/>
                </a:lnTo>
                <a:cubicBezTo>
                  <a:pt x="3595" y="3580"/>
                  <a:pt x="3532" y="3517"/>
                  <a:pt x="3532" y="3453"/>
                </a:cubicBezTo>
                <a:lnTo>
                  <a:pt x="3532" y="3341"/>
                </a:lnTo>
                <a:lnTo>
                  <a:pt x="4057" y="3341"/>
                </a:lnTo>
                <a:cubicBezTo>
                  <a:pt x="4105" y="3341"/>
                  <a:pt x="4137" y="3326"/>
                  <a:pt x="4168" y="3309"/>
                </a:cubicBezTo>
                <a:lnTo>
                  <a:pt x="4168" y="3453"/>
                </a:lnTo>
                <a:cubicBezTo>
                  <a:pt x="4168" y="3517"/>
                  <a:pt x="4120" y="3580"/>
                  <a:pt x="4057" y="3580"/>
                </a:cubicBezTo>
                <a:close/>
                <a:moveTo>
                  <a:pt x="4343" y="1655"/>
                </a:moveTo>
                <a:cubicBezTo>
                  <a:pt x="4486" y="1655"/>
                  <a:pt x="4566" y="1703"/>
                  <a:pt x="4566" y="1830"/>
                </a:cubicBezTo>
                <a:cubicBezTo>
                  <a:pt x="4566" y="1846"/>
                  <a:pt x="4566" y="1894"/>
                  <a:pt x="4439" y="1894"/>
                </a:cubicBezTo>
                <a:lnTo>
                  <a:pt x="4184" y="1894"/>
                </a:lnTo>
                <a:cubicBezTo>
                  <a:pt x="4152" y="1814"/>
                  <a:pt x="4120" y="1735"/>
                  <a:pt x="4089" y="1655"/>
                </a:cubicBezTo>
                <a:close/>
                <a:moveTo>
                  <a:pt x="3611" y="875"/>
                </a:moveTo>
                <a:cubicBezTo>
                  <a:pt x="3643" y="955"/>
                  <a:pt x="3755" y="1209"/>
                  <a:pt x="3866" y="1496"/>
                </a:cubicBezTo>
                <a:lnTo>
                  <a:pt x="3866" y="1512"/>
                </a:lnTo>
                <a:cubicBezTo>
                  <a:pt x="3866" y="1527"/>
                  <a:pt x="3877" y="1522"/>
                  <a:pt x="3882" y="1527"/>
                </a:cubicBezTo>
                <a:lnTo>
                  <a:pt x="3882" y="1560"/>
                </a:lnTo>
                <a:cubicBezTo>
                  <a:pt x="3914" y="1623"/>
                  <a:pt x="3946" y="1718"/>
                  <a:pt x="3898" y="1782"/>
                </a:cubicBezTo>
                <a:cubicBezTo>
                  <a:pt x="3850" y="1846"/>
                  <a:pt x="3739" y="1894"/>
                  <a:pt x="3548" y="1894"/>
                </a:cubicBezTo>
                <a:lnTo>
                  <a:pt x="1177" y="1894"/>
                </a:lnTo>
                <a:cubicBezTo>
                  <a:pt x="1002" y="1894"/>
                  <a:pt x="875" y="1846"/>
                  <a:pt x="827" y="1782"/>
                </a:cubicBezTo>
                <a:cubicBezTo>
                  <a:pt x="780" y="1703"/>
                  <a:pt x="827" y="1575"/>
                  <a:pt x="859" y="1512"/>
                </a:cubicBezTo>
                <a:lnTo>
                  <a:pt x="859" y="1496"/>
                </a:lnTo>
                <a:cubicBezTo>
                  <a:pt x="875" y="1496"/>
                  <a:pt x="875" y="1480"/>
                  <a:pt x="875" y="1464"/>
                </a:cubicBezTo>
                <a:cubicBezTo>
                  <a:pt x="986" y="1194"/>
                  <a:pt x="1082" y="939"/>
                  <a:pt x="1098" y="891"/>
                </a:cubicBezTo>
                <a:cubicBezTo>
                  <a:pt x="1161" y="764"/>
                  <a:pt x="1352" y="700"/>
                  <a:pt x="1495" y="653"/>
                </a:cubicBezTo>
                <a:cubicBezTo>
                  <a:pt x="1787" y="621"/>
                  <a:pt x="1702" y="557"/>
                  <a:pt x="2371" y="557"/>
                </a:cubicBezTo>
                <a:cubicBezTo>
                  <a:pt x="3023" y="557"/>
                  <a:pt x="3229" y="653"/>
                  <a:pt x="3246" y="653"/>
                </a:cubicBezTo>
                <a:cubicBezTo>
                  <a:pt x="3325" y="669"/>
                  <a:pt x="3564" y="748"/>
                  <a:pt x="3611" y="875"/>
                </a:cubicBezTo>
                <a:close/>
                <a:moveTo>
                  <a:pt x="3357" y="2944"/>
                </a:moveTo>
                <a:cubicBezTo>
                  <a:pt x="3532" y="2944"/>
                  <a:pt x="3595" y="2896"/>
                  <a:pt x="3723" y="2817"/>
                </a:cubicBezTo>
                <a:lnTo>
                  <a:pt x="3786" y="2785"/>
                </a:lnTo>
                <a:cubicBezTo>
                  <a:pt x="3882" y="2721"/>
                  <a:pt x="4025" y="2641"/>
                  <a:pt x="4025" y="2466"/>
                </a:cubicBezTo>
                <a:cubicBezTo>
                  <a:pt x="4025" y="2307"/>
                  <a:pt x="3914" y="2180"/>
                  <a:pt x="3755" y="2180"/>
                </a:cubicBezTo>
                <a:lnTo>
                  <a:pt x="3357" y="2180"/>
                </a:lnTo>
                <a:cubicBezTo>
                  <a:pt x="3150" y="2180"/>
                  <a:pt x="2975" y="2355"/>
                  <a:pt x="2975" y="2562"/>
                </a:cubicBezTo>
                <a:cubicBezTo>
                  <a:pt x="2975" y="2769"/>
                  <a:pt x="3150" y="2944"/>
                  <a:pt x="3357" y="2944"/>
                </a:cubicBezTo>
                <a:close/>
                <a:moveTo>
                  <a:pt x="3357" y="2339"/>
                </a:moveTo>
                <a:lnTo>
                  <a:pt x="3755" y="2339"/>
                </a:lnTo>
                <a:cubicBezTo>
                  <a:pt x="3818" y="2339"/>
                  <a:pt x="3866" y="2403"/>
                  <a:pt x="3866" y="2466"/>
                </a:cubicBezTo>
                <a:cubicBezTo>
                  <a:pt x="3866" y="2546"/>
                  <a:pt x="3818" y="2578"/>
                  <a:pt x="3707" y="2641"/>
                </a:cubicBezTo>
                <a:lnTo>
                  <a:pt x="3643" y="2689"/>
                </a:lnTo>
                <a:cubicBezTo>
                  <a:pt x="3516" y="2753"/>
                  <a:pt x="3484" y="2785"/>
                  <a:pt x="3357" y="2785"/>
                </a:cubicBezTo>
                <a:cubicBezTo>
                  <a:pt x="3229" y="2785"/>
                  <a:pt x="3134" y="2689"/>
                  <a:pt x="3134" y="2562"/>
                </a:cubicBezTo>
                <a:cubicBezTo>
                  <a:pt x="3134" y="2435"/>
                  <a:pt x="3229" y="2339"/>
                  <a:pt x="3357" y="2339"/>
                </a:cubicBezTo>
                <a:close/>
                <a:moveTo>
                  <a:pt x="938" y="2785"/>
                </a:moveTo>
                <a:lnTo>
                  <a:pt x="1002" y="2817"/>
                </a:lnTo>
                <a:cubicBezTo>
                  <a:pt x="1129" y="2896"/>
                  <a:pt x="1209" y="2944"/>
                  <a:pt x="1368" y="2944"/>
                </a:cubicBezTo>
                <a:cubicBezTo>
                  <a:pt x="1575" y="2944"/>
                  <a:pt x="1750" y="2769"/>
                  <a:pt x="1750" y="2562"/>
                </a:cubicBezTo>
                <a:cubicBezTo>
                  <a:pt x="1750" y="2355"/>
                  <a:pt x="1575" y="2180"/>
                  <a:pt x="1368" y="2180"/>
                </a:cubicBezTo>
                <a:lnTo>
                  <a:pt x="970" y="2180"/>
                </a:lnTo>
                <a:cubicBezTo>
                  <a:pt x="827" y="2180"/>
                  <a:pt x="700" y="2307"/>
                  <a:pt x="700" y="2466"/>
                </a:cubicBezTo>
                <a:cubicBezTo>
                  <a:pt x="700" y="2641"/>
                  <a:pt x="843" y="2721"/>
                  <a:pt x="938" y="2785"/>
                </a:cubicBezTo>
                <a:close/>
                <a:moveTo>
                  <a:pt x="970" y="2339"/>
                </a:moveTo>
                <a:lnTo>
                  <a:pt x="1368" y="2339"/>
                </a:lnTo>
                <a:cubicBezTo>
                  <a:pt x="1495" y="2339"/>
                  <a:pt x="1591" y="2435"/>
                  <a:pt x="1591" y="2562"/>
                </a:cubicBezTo>
                <a:cubicBezTo>
                  <a:pt x="1591" y="2689"/>
                  <a:pt x="1495" y="2785"/>
                  <a:pt x="1368" y="2785"/>
                </a:cubicBezTo>
                <a:cubicBezTo>
                  <a:pt x="1241" y="2785"/>
                  <a:pt x="1209" y="2753"/>
                  <a:pt x="1082" y="2689"/>
                </a:cubicBezTo>
                <a:lnTo>
                  <a:pt x="1018" y="2641"/>
                </a:lnTo>
                <a:cubicBezTo>
                  <a:pt x="907" y="2578"/>
                  <a:pt x="859" y="2546"/>
                  <a:pt x="859" y="2466"/>
                </a:cubicBezTo>
                <a:cubicBezTo>
                  <a:pt x="859" y="2403"/>
                  <a:pt x="907" y="2339"/>
                  <a:pt x="970" y="233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7" name="Freeform: Shape 6">
            <a:extLst>
              <a:ext uri="{FF2B5EF4-FFF2-40B4-BE49-F238E27FC236}">
                <a16:creationId xmlns:a16="http://schemas.microsoft.com/office/drawing/2014/main" id="{AAF9107D-6C92-0343-B8AC-D8095A359999}"/>
              </a:ext>
            </a:extLst>
          </p:cNvPr>
          <p:cNvSpPr/>
          <p:nvPr/>
        </p:nvSpPr>
        <p:spPr>
          <a:xfrm>
            <a:off x="1817870" y="3540328"/>
            <a:ext cx="1769400" cy="1334160"/>
          </a:xfrm>
          <a:custGeom>
            <a:avLst/>
            <a:gdLst/>
            <a:ahLst/>
            <a:cxnLst>
              <a:cxn ang="3cd4">
                <a:pos x="hc" y="t"/>
              </a:cxn>
              <a:cxn ang="cd2">
                <a:pos x="l" y="vc"/>
              </a:cxn>
              <a:cxn ang="cd4">
                <a:pos x="hc" y="b"/>
              </a:cxn>
              <a:cxn ang="0">
                <a:pos x="r" y="vc"/>
              </a:cxn>
            </a:cxnLst>
            <a:rect l="l" t="t" r="r" b="b"/>
            <a:pathLst>
              <a:path w="4916" h="3707">
                <a:moveTo>
                  <a:pt x="4088" y="1956"/>
                </a:moveTo>
                <a:cubicBezTo>
                  <a:pt x="4073" y="1909"/>
                  <a:pt x="4041" y="1845"/>
                  <a:pt x="4009" y="1797"/>
                </a:cubicBezTo>
                <a:cubicBezTo>
                  <a:pt x="3977" y="1750"/>
                  <a:pt x="3945" y="1702"/>
                  <a:pt x="3913" y="1638"/>
                </a:cubicBezTo>
                <a:cubicBezTo>
                  <a:pt x="3754" y="1416"/>
                  <a:pt x="3531" y="1082"/>
                  <a:pt x="3388" y="668"/>
                </a:cubicBezTo>
                <a:cubicBezTo>
                  <a:pt x="3420" y="668"/>
                  <a:pt x="3436" y="668"/>
                  <a:pt x="3468" y="668"/>
                </a:cubicBezTo>
                <a:cubicBezTo>
                  <a:pt x="3579" y="668"/>
                  <a:pt x="3659" y="636"/>
                  <a:pt x="3707" y="588"/>
                </a:cubicBezTo>
                <a:cubicBezTo>
                  <a:pt x="3770" y="525"/>
                  <a:pt x="3770" y="429"/>
                  <a:pt x="3770" y="349"/>
                </a:cubicBezTo>
                <a:cubicBezTo>
                  <a:pt x="3691" y="334"/>
                  <a:pt x="3691" y="334"/>
                  <a:pt x="3691" y="334"/>
                </a:cubicBezTo>
                <a:cubicBezTo>
                  <a:pt x="3770" y="318"/>
                  <a:pt x="3770" y="318"/>
                  <a:pt x="3770" y="318"/>
                </a:cubicBezTo>
                <a:cubicBezTo>
                  <a:pt x="3770" y="222"/>
                  <a:pt x="3770" y="143"/>
                  <a:pt x="3707" y="79"/>
                </a:cubicBezTo>
                <a:cubicBezTo>
                  <a:pt x="3659" y="31"/>
                  <a:pt x="3579" y="0"/>
                  <a:pt x="3468" y="0"/>
                </a:cubicBezTo>
                <a:cubicBezTo>
                  <a:pt x="3198" y="0"/>
                  <a:pt x="2975" y="127"/>
                  <a:pt x="2943" y="286"/>
                </a:cubicBezTo>
                <a:cubicBezTo>
                  <a:pt x="2943" y="302"/>
                  <a:pt x="2943" y="302"/>
                  <a:pt x="2927" y="302"/>
                </a:cubicBezTo>
                <a:cubicBezTo>
                  <a:pt x="2752" y="382"/>
                  <a:pt x="2545" y="461"/>
                  <a:pt x="2513" y="477"/>
                </a:cubicBezTo>
                <a:cubicBezTo>
                  <a:pt x="2402" y="540"/>
                  <a:pt x="2386" y="636"/>
                  <a:pt x="2402" y="700"/>
                </a:cubicBezTo>
                <a:cubicBezTo>
                  <a:pt x="2434" y="795"/>
                  <a:pt x="2561" y="859"/>
                  <a:pt x="2673" y="827"/>
                </a:cubicBezTo>
                <a:cubicBezTo>
                  <a:pt x="2752" y="811"/>
                  <a:pt x="2847" y="747"/>
                  <a:pt x="2911" y="683"/>
                </a:cubicBezTo>
                <a:cubicBezTo>
                  <a:pt x="3054" y="1065"/>
                  <a:pt x="3182" y="1734"/>
                  <a:pt x="2943" y="2100"/>
                </a:cubicBezTo>
                <a:cubicBezTo>
                  <a:pt x="2831" y="2274"/>
                  <a:pt x="2625" y="2354"/>
                  <a:pt x="2354" y="2354"/>
                </a:cubicBezTo>
                <a:cubicBezTo>
                  <a:pt x="2274" y="2354"/>
                  <a:pt x="2274" y="2354"/>
                  <a:pt x="2274" y="2354"/>
                </a:cubicBezTo>
                <a:cubicBezTo>
                  <a:pt x="2116" y="2354"/>
                  <a:pt x="1973" y="2354"/>
                  <a:pt x="1909" y="2274"/>
                </a:cubicBezTo>
                <a:cubicBezTo>
                  <a:pt x="1845" y="2211"/>
                  <a:pt x="1861" y="2036"/>
                  <a:pt x="1940" y="1765"/>
                </a:cubicBezTo>
                <a:cubicBezTo>
                  <a:pt x="1940" y="1750"/>
                  <a:pt x="1940" y="1734"/>
                  <a:pt x="1940" y="1718"/>
                </a:cubicBezTo>
                <a:cubicBezTo>
                  <a:pt x="1925" y="1686"/>
                  <a:pt x="1909" y="1638"/>
                  <a:pt x="1877" y="1591"/>
                </a:cubicBezTo>
                <a:cubicBezTo>
                  <a:pt x="1909" y="1559"/>
                  <a:pt x="1940" y="1527"/>
                  <a:pt x="1940" y="1479"/>
                </a:cubicBezTo>
                <a:cubicBezTo>
                  <a:pt x="1940" y="1336"/>
                  <a:pt x="1829" y="1161"/>
                  <a:pt x="1686" y="1161"/>
                </a:cubicBezTo>
                <a:cubicBezTo>
                  <a:pt x="254" y="1161"/>
                  <a:pt x="254" y="1161"/>
                  <a:pt x="254" y="1161"/>
                </a:cubicBezTo>
                <a:cubicBezTo>
                  <a:pt x="111" y="1161"/>
                  <a:pt x="0" y="1336"/>
                  <a:pt x="0" y="1479"/>
                </a:cubicBezTo>
                <a:cubicBezTo>
                  <a:pt x="0" y="1543"/>
                  <a:pt x="47" y="1606"/>
                  <a:pt x="174" y="1638"/>
                </a:cubicBezTo>
                <a:cubicBezTo>
                  <a:pt x="111" y="1765"/>
                  <a:pt x="0" y="2020"/>
                  <a:pt x="0" y="2338"/>
                </a:cubicBezTo>
                <a:cubicBezTo>
                  <a:pt x="0" y="2513"/>
                  <a:pt x="143" y="2641"/>
                  <a:pt x="365" y="2736"/>
                </a:cubicBezTo>
                <a:cubicBezTo>
                  <a:pt x="318" y="2831"/>
                  <a:pt x="286" y="2927"/>
                  <a:pt x="286" y="3038"/>
                </a:cubicBezTo>
                <a:cubicBezTo>
                  <a:pt x="286" y="3404"/>
                  <a:pt x="588" y="3707"/>
                  <a:pt x="970" y="3707"/>
                </a:cubicBezTo>
                <a:cubicBezTo>
                  <a:pt x="1336" y="3707"/>
                  <a:pt x="1638" y="3404"/>
                  <a:pt x="1638" y="3038"/>
                </a:cubicBezTo>
                <a:cubicBezTo>
                  <a:pt x="1638" y="3022"/>
                  <a:pt x="1638" y="3007"/>
                  <a:pt x="1638" y="2991"/>
                </a:cubicBezTo>
                <a:cubicBezTo>
                  <a:pt x="1940" y="3007"/>
                  <a:pt x="2195" y="3007"/>
                  <a:pt x="2274" y="3007"/>
                </a:cubicBezTo>
                <a:cubicBezTo>
                  <a:pt x="2577" y="3007"/>
                  <a:pt x="2847" y="2991"/>
                  <a:pt x="3070" y="2943"/>
                </a:cubicBezTo>
                <a:cubicBezTo>
                  <a:pt x="3102" y="3165"/>
                  <a:pt x="3245" y="3213"/>
                  <a:pt x="3356" y="3213"/>
                </a:cubicBezTo>
                <a:cubicBezTo>
                  <a:pt x="3404" y="3213"/>
                  <a:pt x="3452" y="3197"/>
                  <a:pt x="3484" y="3165"/>
                </a:cubicBezTo>
                <a:cubicBezTo>
                  <a:pt x="3547" y="3468"/>
                  <a:pt x="3818" y="3707"/>
                  <a:pt x="4136" y="3707"/>
                </a:cubicBezTo>
                <a:cubicBezTo>
                  <a:pt x="4518" y="3707"/>
                  <a:pt x="4820" y="3404"/>
                  <a:pt x="4820" y="3038"/>
                </a:cubicBezTo>
                <a:cubicBezTo>
                  <a:pt x="4820" y="2911"/>
                  <a:pt x="4789" y="2800"/>
                  <a:pt x="4741" y="2704"/>
                </a:cubicBezTo>
                <a:cubicBezTo>
                  <a:pt x="4789" y="2704"/>
                  <a:pt x="4836" y="2688"/>
                  <a:pt x="4868" y="2656"/>
                </a:cubicBezTo>
                <a:cubicBezTo>
                  <a:pt x="4900" y="2625"/>
                  <a:pt x="4916" y="2577"/>
                  <a:pt x="4916" y="2513"/>
                </a:cubicBezTo>
                <a:cubicBezTo>
                  <a:pt x="4916" y="2291"/>
                  <a:pt x="4629" y="2004"/>
                  <a:pt x="4088" y="1973"/>
                </a:cubicBezTo>
                <a:close/>
                <a:moveTo>
                  <a:pt x="3468" y="159"/>
                </a:moveTo>
                <a:cubicBezTo>
                  <a:pt x="3564" y="159"/>
                  <a:pt x="3595" y="174"/>
                  <a:pt x="3595" y="191"/>
                </a:cubicBezTo>
                <a:cubicBezTo>
                  <a:pt x="3611" y="206"/>
                  <a:pt x="3611" y="254"/>
                  <a:pt x="3611" y="318"/>
                </a:cubicBezTo>
                <a:lnTo>
                  <a:pt x="3611" y="349"/>
                </a:lnTo>
                <a:cubicBezTo>
                  <a:pt x="3611" y="413"/>
                  <a:pt x="3611" y="461"/>
                  <a:pt x="3595" y="477"/>
                </a:cubicBezTo>
                <a:cubicBezTo>
                  <a:pt x="3595" y="493"/>
                  <a:pt x="3564" y="509"/>
                  <a:pt x="3468" y="509"/>
                </a:cubicBezTo>
                <a:cubicBezTo>
                  <a:pt x="3261" y="509"/>
                  <a:pt x="3102" y="413"/>
                  <a:pt x="3102" y="334"/>
                </a:cubicBezTo>
                <a:cubicBezTo>
                  <a:pt x="3102" y="254"/>
                  <a:pt x="3261" y="159"/>
                  <a:pt x="3468" y="159"/>
                </a:cubicBezTo>
                <a:close/>
                <a:moveTo>
                  <a:pt x="2895" y="493"/>
                </a:moveTo>
                <a:cubicBezTo>
                  <a:pt x="2864" y="525"/>
                  <a:pt x="2720" y="652"/>
                  <a:pt x="2641" y="668"/>
                </a:cubicBezTo>
                <a:cubicBezTo>
                  <a:pt x="2609" y="683"/>
                  <a:pt x="2577" y="668"/>
                  <a:pt x="2545" y="652"/>
                </a:cubicBezTo>
                <a:cubicBezTo>
                  <a:pt x="2561" y="652"/>
                  <a:pt x="2561" y="636"/>
                  <a:pt x="2593" y="620"/>
                </a:cubicBezTo>
                <a:cubicBezTo>
                  <a:pt x="2609" y="604"/>
                  <a:pt x="2800" y="525"/>
                  <a:pt x="2975" y="445"/>
                </a:cubicBezTo>
                <a:cubicBezTo>
                  <a:pt x="2975" y="461"/>
                  <a:pt x="2991" y="477"/>
                  <a:pt x="2991" y="477"/>
                </a:cubicBezTo>
                <a:lnTo>
                  <a:pt x="2975" y="477"/>
                </a:lnTo>
                <a:cubicBezTo>
                  <a:pt x="2943" y="461"/>
                  <a:pt x="2911" y="477"/>
                  <a:pt x="2895" y="493"/>
                </a:cubicBezTo>
                <a:close/>
                <a:moveTo>
                  <a:pt x="254" y="1320"/>
                </a:moveTo>
                <a:cubicBezTo>
                  <a:pt x="1686" y="1320"/>
                  <a:pt x="1686" y="1320"/>
                  <a:pt x="1686" y="1320"/>
                </a:cubicBezTo>
                <a:cubicBezTo>
                  <a:pt x="1718" y="1320"/>
                  <a:pt x="1765" y="1400"/>
                  <a:pt x="1782" y="1463"/>
                </a:cubicBezTo>
                <a:cubicBezTo>
                  <a:pt x="1718" y="1511"/>
                  <a:pt x="1431" y="1559"/>
                  <a:pt x="954" y="1559"/>
                </a:cubicBezTo>
                <a:cubicBezTo>
                  <a:pt x="445" y="1559"/>
                  <a:pt x="206" y="1495"/>
                  <a:pt x="159" y="1463"/>
                </a:cubicBezTo>
                <a:cubicBezTo>
                  <a:pt x="159" y="1400"/>
                  <a:pt x="206" y="1320"/>
                  <a:pt x="254" y="1320"/>
                </a:cubicBezTo>
                <a:close/>
                <a:moveTo>
                  <a:pt x="1479" y="3038"/>
                </a:moveTo>
                <a:cubicBezTo>
                  <a:pt x="1479" y="3309"/>
                  <a:pt x="1256" y="3547"/>
                  <a:pt x="970" y="3547"/>
                </a:cubicBezTo>
                <a:cubicBezTo>
                  <a:pt x="683" y="3547"/>
                  <a:pt x="445" y="3309"/>
                  <a:pt x="445" y="3038"/>
                </a:cubicBezTo>
                <a:cubicBezTo>
                  <a:pt x="445" y="2943"/>
                  <a:pt x="477" y="2863"/>
                  <a:pt x="509" y="2800"/>
                </a:cubicBezTo>
                <a:cubicBezTo>
                  <a:pt x="556" y="2816"/>
                  <a:pt x="604" y="2816"/>
                  <a:pt x="636" y="2831"/>
                </a:cubicBezTo>
                <a:cubicBezTo>
                  <a:pt x="604" y="2895"/>
                  <a:pt x="588" y="2959"/>
                  <a:pt x="588" y="3038"/>
                </a:cubicBezTo>
                <a:cubicBezTo>
                  <a:pt x="588" y="3245"/>
                  <a:pt x="763" y="3404"/>
                  <a:pt x="970" y="3404"/>
                </a:cubicBezTo>
                <a:cubicBezTo>
                  <a:pt x="1177" y="3404"/>
                  <a:pt x="1336" y="3245"/>
                  <a:pt x="1336" y="3038"/>
                </a:cubicBezTo>
                <a:cubicBezTo>
                  <a:pt x="1336" y="3007"/>
                  <a:pt x="1336" y="2974"/>
                  <a:pt x="1336" y="2959"/>
                </a:cubicBezTo>
                <a:cubicBezTo>
                  <a:pt x="1384" y="2959"/>
                  <a:pt x="1431" y="2974"/>
                  <a:pt x="1479" y="2974"/>
                </a:cubicBezTo>
                <a:cubicBezTo>
                  <a:pt x="1479" y="2991"/>
                  <a:pt x="1479" y="3007"/>
                  <a:pt x="1479" y="3038"/>
                </a:cubicBezTo>
                <a:close/>
                <a:moveTo>
                  <a:pt x="906" y="3086"/>
                </a:moveTo>
                <a:cubicBezTo>
                  <a:pt x="922" y="3102"/>
                  <a:pt x="954" y="3102"/>
                  <a:pt x="970" y="3102"/>
                </a:cubicBezTo>
                <a:cubicBezTo>
                  <a:pt x="986" y="3102"/>
                  <a:pt x="1002" y="3102"/>
                  <a:pt x="1018" y="3086"/>
                </a:cubicBezTo>
                <a:cubicBezTo>
                  <a:pt x="1065" y="3038"/>
                  <a:pt x="1113" y="2991"/>
                  <a:pt x="1161" y="2943"/>
                </a:cubicBezTo>
                <a:lnTo>
                  <a:pt x="1177" y="2943"/>
                </a:lnTo>
                <a:cubicBezTo>
                  <a:pt x="1177" y="2959"/>
                  <a:pt x="1177" y="2974"/>
                  <a:pt x="1177" y="2991"/>
                </a:cubicBezTo>
                <a:cubicBezTo>
                  <a:pt x="1177" y="3007"/>
                  <a:pt x="1177" y="3022"/>
                  <a:pt x="1177" y="3038"/>
                </a:cubicBezTo>
                <a:cubicBezTo>
                  <a:pt x="1177" y="3150"/>
                  <a:pt x="1082" y="3245"/>
                  <a:pt x="970" y="3245"/>
                </a:cubicBezTo>
                <a:cubicBezTo>
                  <a:pt x="843" y="3245"/>
                  <a:pt x="747" y="3150"/>
                  <a:pt x="747" y="3038"/>
                </a:cubicBezTo>
                <a:cubicBezTo>
                  <a:pt x="747" y="2991"/>
                  <a:pt x="763" y="2943"/>
                  <a:pt x="779" y="2911"/>
                </a:cubicBezTo>
                <a:cubicBezTo>
                  <a:pt x="795" y="2895"/>
                  <a:pt x="795" y="2879"/>
                  <a:pt x="795" y="2879"/>
                </a:cubicBezTo>
                <a:cubicBezTo>
                  <a:pt x="859" y="2879"/>
                  <a:pt x="906" y="2895"/>
                  <a:pt x="970" y="2911"/>
                </a:cubicBezTo>
                <a:cubicBezTo>
                  <a:pt x="954" y="2927"/>
                  <a:pt x="922" y="2959"/>
                  <a:pt x="906" y="2974"/>
                </a:cubicBezTo>
                <a:cubicBezTo>
                  <a:pt x="874" y="3007"/>
                  <a:pt x="874" y="3054"/>
                  <a:pt x="906" y="3086"/>
                </a:cubicBezTo>
                <a:close/>
                <a:moveTo>
                  <a:pt x="159" y="2338"/>
                </a:moveTo>
                <a:cubicBezTo>
                  <a:pt x="159" y="2020"/>
                  <a:pt x="286" y="1765"/>
                  <a:pt x="334" y="1686"/>
                </a:cubicBezTo>
                <a:cubicBezTo>
                  <a:pt x="493" y="1702"/>
                  <a:pt x="700" y="1718"/>
                  <a:pt x="954" y="1718"/>
                </a:cubicBezTo>
                <a:cubicBezTo>
                  <a:pt x="1288" y="1718"/>
                  <a:pt x="1543" y="1702"/>
                  <a:pt x="1702" y="1654"/>
                </a:cubicBezTo>
                <a:cubicBezTo>
                  <a:pt x="1750" y="1670"/>
                  <a:pt x="1765" y="1718"/>
                  <a:pt x="1782" y="1734"/>
                </a:cubicBezTo>
                <a:cubicBezTo>
                  <a:pt x="1686" y="2052"/>
                  <a:pt x="1686" y="2259"/>
                  <a:pt x="1782" y="2370"/>
                </a:cubicBezTo>
                <a:cubicBezTo>
                  <a:pt x="1877" y="2497"/>
                  <a:pt x="2036" y="2513"/>
                  <a:pt x="2211" y="2513"/>
                </a:cubicBezTo>
                <a:cubicBezTo>
                  <a:pt x="2243" y="2513"/>
                  <a:pt x="2259" y="2513"/>
                  <a:pt x="2291" y="2513"/>
                </a:cubicBezTo>
                <a:cubicBezTo>
                  <a:pt x="2354" y="2513"/>
                  <a:pt x="2354" y="2513"/>
                  <a:pt x="2354" y="2513"/>
                </a:cubicBezTo>
                <a:cubicBezTo>
                  <a:pt x="2688" y="2513"/>
                  <a:pt x="2927" y="2402"/>
                  <a:pt x="3070" y="2179"/>
                </a:cubicBezTo>
                <a:cubicBezTo>
                  <a:pt x="3373" y="1734"/>
                  <a:pt x="3182" y="922"/>
                  <a:pt x="3022" y="525"/>
                </a:cubicBezTo>
                <a:lnTo>
                  <a:pt x="3022" y="509"/>
                </a:lnTo>
                <a:cubicBezTo>
                  <a:pt x="3070" y="556"/>
                  <a:pt x="3134" y="604"/>
                  <a:pt x="3213" y="620"/>
                </a:cubicBezTo>
                <a:cubicBezTo>
                  <a:pt x="3356" y="1097"/>
                  <a:pt x="3611" y="1479"/>
                  <a:pt x="3770" y="1718"/>
                </a:cubicBezTo>
                <a:cubicBezTo>
                  <a:pt x="3818" y="1782"/>
                  <a:pt x="3850" y="1829"/>
                  <a:pt x="3882" y="1877"/>
                </a:cubicBezTo>
                <a:cubicBezTo>
                  <a:pt x="3898" y="1909"/>
                  <a:pt x="3913" y="1940"/>
                  <a:pt x="3913" y="1973"/>
                </a:cubicBezTo>
                <a:cubicBezTo>
                  <a:pt x="3468" y="2004"/>
                  <a:pt x="3102" y="2338"/>
                  <a:pt x="3070" y="2784"/>
                </a:cubicBezTo>
                <a:cubicBezTo>
                  <a:pt x="2847" y="2831"/>
                  <a:pt x="2577" y="2847"/>
                  <a:pt x="2274" y="2847"/>
                </a:cubicBezTo>
                <a:cubicBezTo>
                  <a:pt x="1082" y="2847"/>
                  <a:pt x="159" y="2625"/>
                  <a:pt x="159" y="2338"/>
                </a:cubicBezTo>
                <a:close/>
                <a:moveTo>
                  <a:pt x="4136" y="3547"/>
                </a:moveTo>
                <a:cubicBezTo>
                  <a:pt x="3865" y="3547"/>
                  <a:pt x="3627" y="3309"/>
                  <a:pt x="3627" y="3038"/>
                </a:cubicBezTo>
                <a:cubicBezTo>
                  <a:pt x="3627" y="3022"/>
                  <a:pt x="3627" y="3022"/>
                  <a:pt x="3627" y="3007"/>
                </a:cubicBezTo>
                <a:cubicBezTo>
                  <a:pt x="3659" y="2974"/>
                  <a:pt x="3722" y="2943"/>
                  <a:pt x="3786" y="2895"/>
                </a:cubicBezTo>
                <a:cubicBezTo>
                  <a:pt x="3770" y="2943"/>
                  <a:pt x="3770" y="2991"/>
                  <a:pt x="3770" y="3038"/>
                </a:cubicBezTo>
                <a:cubicBezTo>
                  <a:pt x="3770" y="3245"/>
                  <a:pt x="3929" y="3404"/>
                  <a:pt x="4136" y="3404"/>
                </a:cubicBezTo>
                <a:cubicBezTo>
                  <a:pt x="4343" y="3404"/>
                  <a:pt x="4518" y="3245"/>
                  <a:pt x="4518" y="3038"/>
                </a:cubicBezTo>
                <a:cubicBezTo>
                  <a:pt x="4518" y="2895"/>
                  <a:pt x="4455" y="2784"/>
                  <a:pt x="4343" y="2720"/>
                </a:cubicBezTo>
                <a:cubicBezTo>
                  <a:pt x="4422" y="2704"/>
                  <a:pt x="4486" y="2704"/>
                  <a:pt x="4550" y="2704"/>
                </a:cubicBezTo>
                <a:cubicBezTo>
                  <a:pt x="4613" y="2800"/>
                  <a:pt x="4661" y="2911"/>
                  <a:pt x="4661" y="3038"/>
                </a:cubicBezTo>
                <a:cubicBezTo>
                  <a:pt x="4661" y="3309"/>
                  <a:pt x="4422" y="3547"/>
                  <a:pt x="4136" y="3547"/>
                </a:cubicBezTo>
                <a:close/>
                <a:moveTo>
                  <a:pt x="3945" y="2927"/>
                </a:moveTo>
                <a:cubicBezTo>
                  <a:pt x="3993" y="2991"/>
                  <a:pt x="4041" y="3038"/>
                  <a:pt x="4088" y="3086"/>
                </a:cubicBezTo>
                <a:cubicBezTo>
                  <a:pt x="4104" y="3102"/>
                  <a:pt x="4120" y="3102"/>
                  <a:pt x="4136" y="3102"/>
                </a:cubicBezTo>
                <a:cubicBezTo>
                  <a:pt x="4168" y="3102"/>
                  <a:pt x="4184" y="3102"/>
                  <a:pt x="4200" y="3086"/>
                </a:cubicBezTo>
                <a:cubicBezTo>
                  <a:pt x="4232" y="3054"/>
                  <a:pt x="4232" y="3007"/>
                  <a:pt x="4200" y="2974"/>
                </a:cubicBezTo>
                <a:cubicBezTo>
                  <a:pt x="4152" y="2927"/>
                  <a:pt x="4120" y="2879"/>
                  <a:pt x="4073" y="2831"/>
                </a:cubicBezTo>
                <a:cubicBezTo>
                  <a:pt x="4088" y="2816"/>
                  <a:pt x="4120" y="2816"/>
                  <a:pt x="4136" y="2816"/>
                </a:cubicBezTo>
                <a:cubicBezTo>
                  <a:pt x="4264" y="2816"/>
                  <a:pt x="4359" y="2911"/>
                  <a:pt x="4359" y="3038"/>
                </a:cubicBezTo>
                <a:cubicBezTo>
                  <a:pt x="4359" y="3150"/>
                  <a:pt x="4264" y="3245"/>
                  <a:pt x="4136" y="3245"/>
                </a:cubicBezTo>
                <a:cubicBezTo>
                  <a:pt x="4025" y="3245"/>
                  <a:pt x="3929" y="3150"/>
                  <a:pt x="3929" y="3038"/>
                </a:cubicBezTo>
                <a:cubicBezTo>
                  <a:pt x="3929" y="2991"/>
                  <a:pt x="3929" y="2959"/>
                  <a:pt x="3945" y="2927"/>
                </a:cubicBezTo>
                <a:close/>
                <a:moveTo>
                  <a:pt x="4756" y="2513"/>
                </a:moveTo>
                <a:cubicBezTo>
                  <a:pt x="4756" y="2529"/>
                  <a:pt x="4756" y="2545"/>
                  <a:pt x="4756" y="2545"/>
                </a:cubicBezTo>
                <a:cubicBezTo>
                  <a:pt x="4741" y="2561"/>
                  <a:pt x="4661" y="2561"/>
                  <a:pt x="4598" y="2545"/>
                </a:cubicBezTo>
                <a:cubicBezTo>
                  <a:pt x="4438" y="2545"/>
                  <a:pt x="4216" y="2545"/>
                  <a:pt x="3913" y="2656"/>
                </a:cubicBezTo>
                <a:cubicBezTo>
                  <a:pt x="3595" y="2800"/>
                  <a:pt x="3484" y="2927"/>
                  <a:pt x="3420" y="2991"/>
                </a:cubicBezTo>
                <a:cubicBezTo>
                  <a:pt x="3388" y="3054"/>
                  <a:pt x="3373" y="3054"/>
                  <a:pt x="3356" y="3054"/>
                </a:cubicBezTo>
                <a:cubicBezTo>
                  <a:pt x="3309" y="3054"/>
                  <a:pt x="3229" y="3054"/>
                  <a:pt x="3229" y="2831"/>
                </a:cubicBezTo>
                <a:cubicBezTo>
                  <a:pt x="3229" y="2450"/>
                  <a:pt x="3579" y="2116"/>
                  <a:pt x="3993" y="2116"/>
                </a:cubicBezTo>
                <a:cubicBezTo>
                  <a:pt x="4486" y="2116"/>
                  <a:pt x="4756" y="2370"/>
                  <a:pt x="4756" y="251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8" name="Freeform: Shape 7">
            <a:extLst>
              <a:ext uri="{FF2B5EF4-FFF2-40B4-BE49-F238E27FC236}">
                <a16:creationId xmlns:a16="http://schemas.microsoft.com/office/drawing/2014/main" id="{7AB48CD7-F5E6-8E40-8039-AF21F3A850D1}"/>
              </a:ext>
            </a:extLst>
          </p:cNvPr>
          <p:cNvSpPr/>
          <p:nvPr/>
        </p:nvSpPr>
        <p:spPr>
          <a:xfrm>
            <a:off x="21170756" y="7087245"/>
            <a:ext cx="1769400" cy="984600"/>
          </a:xfrm>
          <a:custGeom>
            <a:avLst/>
            <a:gdLst/>
            <a:ahLst/>
            <a:cxnLst>
              <a:cxn ang="3cd4">
                <a:pos x="hc" y="t"/>
              </a:cxn>
              <a:cxn ang="cd2">
                <a:pos x="l" y="vc"/>
              </a:cxn>
              <a:cxn ang="cd4">
                <a:pos x="hc" y="b"/>
              </a:cxn>
              <a:cxn ang="0">
                <a:pos x="r" y="vc"/>
              </a:cxn>
            </a:cxnLst>
            <a:rect l="l" t="t" r="r" b="b"/>
            <a:pathLst>
              <a:path w="4916" h="2736">
                <a:moveTo>
                  <a:pt x="3770" y="795"/>
                </a:moveTo>
                <a:cubicBezTo>
                  <a:pt x="3675" y="779"/>
                  <a:pt x="3420" y="493"/>
                  <a:pt x="3213" y="222"/>
                </a:cubicBezTo>
                <a:cubicBezTo>
                  <a:pt x="3102" y="111"/>
                  <a:pt x="2991" y="0"/>
                  <a:pt x="2752" y="0"/>
                </a:cubicBezTo>
                <a:cubicBezTo>
                  <a:pt x="1861" y="0"/>
                  <a:pt x="1861" y="0"/>
                  <a:pt x="1861" y="0"/>
                </a:cubicBezTo>
                <a:cubicBezTo>
                  <a:pt x="1702" y="0"/>
                  <a:pt x="1591" y="95"/>
                  <a:pt x="1591" y="270"/>
                </a:cubicBezTo>
                <a:cubicBezTo>
                  <a:pt x="1591" y="795"/>
                  <a:pt x="1591" y="795"/>
                  <a:pt x="1591" y="795"/>
                </a:cubicBezTo>
                <a:cubicBezTo>
                  <a:pt x="477" y="795"/>
                  <a:pt x="477" y="795"/>
                  <a:pt x="477" y="795"/>
                </a:cubicBezTo>
                <a:cubicBezTo>
                  <a:pt x="382" y="795"/>
                  <a:pt x="382" y="795"/>
                  <a:pt x="382" y="795"/>
                </a:cubicBezTo>
                <a:cubicBezTo>
                  <a:pt x="143" y="795"/>
                  <a:pt x="0" y="938"/>
                  <a:pt x="0" y="1177"/>
                </a:cubicBezTo>
                <a:cubicBezTo>
                  <a:pt x="0" y="1988"/>
                  <a:pt x="0" y="1988"/>
                  <a:pt x="0" y="1988"/>
                </a:cubicBezTo>
                <a:cubicBezTo>
                  <a:pt x="0" y="2132"/>
                  <a:pt x="111" y="2243"/>
                  <a:pt x="270" y="2243"/>
                </a:cubicBezTo>
                <a:cubicBezTo>
                  <a:pt x="509" y="2243"/>
                  <a:pt x="509" y="2243"/>
                  <a:pt x="509" y="2243"/>
                </a:cubicBezTo>
                <a:cubicBezTo>
                  <a:pt x="540" y="2529"/>
                  <a:pt x="779" y="2736"/>
                  <a:pt x="1066" y="2736"/>
                </a:cubicBezTo>
                <a:cubicBezTo>
                  <a:pt x="1368" y="2736"/>
                  <a:pt x="1606" y="2529"/>
                  <a:pt x="1639" y="2243"/>
                </a:cubicBezTo>
                <a:cubicBezTo>
                  <a:pt x="3277" y="2243"/>
                  <a:pt x="3277" y="2243"/>
                  <a:pt x="3277" y="2243"/>
                </a:cubicBezTo>
                <a:cubicBezTo>
                  <a:pt x="3325" y="2529"/>
                  <a:pt x="3564" y="2736"/>
                  <a:pt x="3850" y="2736"/>
                </a:cubicBezTo>
                <a:cubicBezTo>
                  <a:pt x="4136" y="2736"/>
                  <a:pt x="4375" y="2529"/>
                  <a:pt x="4422" y="2243"/>
                </a:cubicBezTo>
                <a:cubicBezTo>
                  <a:pt x="4645" y="2243"/>
                  <a:pt x="4645" y="2243"/>
                  <a:pt x="4645" y="2243"/>
                </a:cubicBezTo>
                <a:cubicBezTo>
                  <a:pt x="4788" y="2243"/>
                  <a:pt x="4916" y="2116"/>
                  <a:pt x="4916" y="1973"/>
                </a:cubicBezTo>
                <a:cubicBezTo>
                  <a:pt x="4916" y="1368"/>
                  <a:pt x="4916" y="1368"/>
                  <a:pt x="4916" y="1368"/>
                </a:cubicBezTo>
                <a:cubicBezTo>
                  <a:pt x="4916" y="1034"/>
                  <a:pt x="3882" y="811"/>
                  <a:pt x="3770" y="795"/>
                </a:cubicBezTo>
                <a:close/>
                <a:moveTo>
                  <a:pt x="3086" y="318"/>
                </a:moveTo>
                <a:cubicBezTo>
                  <a:pt x="3166" y="413"/>
                  <a:pt x="3341" y="636"/>
                  <a:pt x="3500" y="795"/>
                </a:cubicBezTo>
                <a:cubicBezTo>
                  <a:pt x="2434" y="795"/>
                  <a:pt x="2434" y="795"/>
                  <a:pt x="2434" y="795"/>
                </a:cubicBezTo>
                <a:cubicBezTo>
                  <a:pt x="2434" y="159"/>
                  <a:pt x="2434" y="159"/>
                  <a:pt x="2434" y="159"/>
                </a:cubicBezTo>
                <a:cubicBezTo>
                  <a:pt x="2752" y="159"/>
                  <a:pt x="2752" y="159"/>
                  <a:pt x="2752" y="159"/>
                </a:cubicBezTo>
                <a:cubicBezTo>
                  <a:pt x="2927" y="159"/>
                  <a:pt x="3007" y="238"/>
                  <a:pt x="3086" y="318"/>
                </a:cubicBezTo>
                <a:close/>
                <a:moveTo>
                  <a:pt x="1750" y="270"/>
                </a:moveTo>
                <a:cubicBezTo>
                  <a:pt x="1750" y="238"/>
                  <a:pt x="1750" y="159"/>
                  <a:pt x="1861" y="159"/>
                </a:cubicBezTo>
                <a:cubicBezTo>
                  <a:pt x="2275" y="159"/>
                  <a:pt x="2275" y="159"/>
                  <a:pt x="2275" y="159"/>
                </a:cubicBezTo>
                <a:cubicBezTo>
                  <a:pt x="2275" y="795"/>
                  <a:pt x="2275" y="795"/>
                  <a:pt x="2275" y="795"/>
                </a:cubicBezTo>
                <a:cubicBezTo>
                  <a:pt x="1750" y="795"/>
                  <a:pt x="1750" y="795"/>
                  <a:pt x="1750" y="795"/>
                </a:cubicBezTo>
                <a:close/>
                <a:moveTo>
                  <a:pt x="1066" y="2577"/>
                </a:moveTo>
                <a:cubicBezTo>
                  <a:pt x="843" y="2577"/>
                  <a:pt x="652" y="2386"/>
                  <a:pt x="652" y="2164"/>
                </a:cubicBezTo>
                <a:cubicBezTo>
                  <a:pt x="652" y="1941"/>
                  <a:pt x="843" y="1750"/>
                  <a:pt x="1066" y="1750"/>
                </a:cubicBezTo>
                <a:cubicBezTo>
                  <a:pt x="1304" y="1750"/>
                  <a:pt x="1495" y="1941"/>
                  <a:pt x="1495" y="2164"/>
                </a:cubicBezTo>
                <a:cubicBezTo>
                  <a:pt x="1495" y="2386"/>
                  <a:pt x="1304" y="2577"/>
                  <a:pt x="1066" y="2577"/>
                </a:cubicBezTo>
                <a:close/>
                <a:moveTo>
                  <a:pt x="3850" y="2577"/>
                </a:moveTo>
                <a:cubicBezTo>
                  <a:pt x="3627" y="2577"/>
                  <a:pt x="3436" y="2386"/>
                  <a:pt x="3436" y="2164"/>
                </a:cubicBezTo>
                <a:cubicBezTo>
                  <a:pt x="3436" y="1941"/>
                  <a:pt x="3627" y="1750"/>
                  <a:pt x="3850" y="1750"/>
                </a:cubicBezTo>
                <a:cubicBezTo>
                  <a:pt x="4088" y="1750"/>
                  <a:pt x="4264" y="1941"/>
                  <a:pt x="4264" y="2164"/>
                </a:cubicBezTo>
                <a:cubicBezTo>
                  <a:pt x="4264" y="2386"/>
                  <a:pt x="4088" y="2577"/>
                  <a:pt x="3850" y="2577"/>
                </a:cubicBezTo>
                <a:close/>
                <a:moveTo>
                  <a:pt x="4757" y="1973"/>
                </a:moveTo>
                <a:cubicBezTo>
                  <a:pt x="4757" y="2020"/>
                  <a:pt x="4709" y="2084"/>
                  <a:pt x="4645" y="2084"/>
                </a:cubicBezTo>
                <a:cubicBezTo>
                  <a:pt x="4422" y="2084"/>
                  <a:pt x="4422" y="2084"/>
                  <a:pt x="4422" y="2084"/>
                </a:cubicBezTo>
                <a:cubicBezTo>
                  <a:pt x="4375" y="1798"/>
                  <a:pt x="4136" y="1591"/>
                  <a:pt x="3850" y="1591"/>
                </a:cubicBezTo>
                <a:cubicBezTo>
                  <a:pt x="3564" y="1591"/>
                  <a:pt x="3325" y="1798"/>
                  <a:pt x="3277" y="2084"/>
                </a:cubicBezTo>
                <a:cubicBezTo>
                  <a:pt x="1639" y="2084"/>
                  <a:pt x="1639" y="2084"/>
                  <a:pt x="1639" y="2084"/>
                </a:cubicBezTo>
                <a:cubicBezTo>
                  <a:pt x="1606" y="1798"/>
                  <a:pt x="1368" y="1591"/>
                  <a:pt x="1066" y="1591"/>
                </a:cubicBezTo>
                <a:cubicBezTo>
                  <a:pt x="779" y="1591"/>
                  <a:pt x="540" y="1798"/>
                  <a:pt x="509" y="2084"/>
                </a:cubicBezTo>
                <a:cubicBezTo>
                  <a:pt x="270" y="2084"/>
                  <a:pt x="270" y="2084"/>
                  <a:pt x="270" y="2084"/>
                </a:cubicBezTo>
                <a:cubicBezTo>
                  <a:pt x="222" y="2084"/>
                  <a:pt x="159" y="2052"/>
                  <a:pt x="159" y="1988"/>
                </a:cubicBezTo>
                <a:cubicBezTo>
                  <a:pt x="159" y="1177"/>
                  <a:pt x="159" y="1177"/>
                  <a:pt x="159" y="1177"/>
                </a:cubicBezTo>
                <a:cubicBezTo>
                  <a:pt x="159" y="1018"/>
                  <a:pt x="222" y="954"/>
                  <a:pt x="382" y="954"/>
                </a:cubicBezTo>
                <a:cubicBezTo>
                  <a:pt x="477" y="954"/>
                  <a:pt x="477" y="954"/>
                  <a:pt x="477" y="954"/>
                </a:cubicBezTo>
                <a:cubicBezTo>
                  <a:pt x="1670" y="954"/>
                  <a:pt x="1670" y="954"/>
                  <a:pt x="1670" y="954"/>
                </a:cubicBezTo>
                <a:cubicBezTo>
                  <a:pt x="3739" y="954"/>
                  <a:pt x="3739" y="954"/>
                  <a:pt x="3739" y="954"/>
                </a:cubicBezTo>
                <a:cubicBezTo>
                  <a:pt x="4359" y="1082"/>
                  <a:pt x="4757" y="1288"/>
                  <a:pt x="4757" y="136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9" name="Freeform: Shape 8">
            <a:extLst>
              <a:ext uri="{FF2B5EF4-FFF2-40B4-BE49-F238E27FC236}">
                <a16:creationId xmlns:a16="http://schemas.microsoft.com/office/drawing/2014/main" id="{FC668F94-4023-0C46-9273-E4DC2D94602D}"/>
              </a:ext>
            </a:extLst>
          </p:cNvPr>
          <p:cNvSpPr/>
          <p:nvPr/>
        </p:nvSpPr>
        <p:spPr>
          <a:xfrm>
            <a:off x="5782831" y="7003140"/>
            <a:ext cx="1769400" cy="1018799"/>
          </a:xfrm>
          <a:custGeom>
            <a:avLst/>
            <a:gdLst/>
            <a:ahLst/>
            <a:cxnLst>
              <a:cxn ang="3cd4">
                <a:pos x="hc" y="t"/>
              </a:cxn>
              <a:cxn ang="cd2">
                <a:pos x="l" y="vc"/>
              </a:cxn>
              <a:cxn ang="cd4">
                <a:pos x="hc" y="b"/>
              </a:cxn>
              <a:cxn ang="0">
                <a:pos x="r" y="vc"/>
              </a:cxn>
            </a:cxnLst>
            <a:rect l="l" t="t" r="r" b="b"/>
            <a:pathLst>
              <a:path w="4916" h="2831">
                <a:moveTo>
                  <a:pt x="4916" y="1972"/>
                </a:moveTo>
                <a:lnTo>
                  <a:pt x="4916" y="620"/>
                </a:lnTo>
                <a:cubicBezTo>
                  <a:pt x="4916" y="286"/>
                  <a:pt x="4630" y="0"/>
                  <a:pt x="4295" y="0"/>
                </a:cubicBezTo>
                <a:lnTo>
                  <a:pt x="620" y="0"/>
                </a:lnTo>
                <a:cubicBezTo>
                  <a:pt x="270" y="0"/>
                  <a:pt x="0" y="286"/>
                  <a:pt x="0" y="620"/>
                </a:cubicBezTo>
                <a:lnTo>
                  <a:pt x="0" y="1972"/>
                </a:lnTo>
                <a:cubicBezTo>
                  <a:pt x="0" y="2131"/>
                  <a:pt x="111" y="2243"/>
                  <a:pt x="254" y="2243"/>
                </a:cubicBezTo>
                <a:lnTo>
                  <a:pt x="270" y="2243"/>
                </a:lnTo>
                <a:cubicBezTo>
                  <a:pt x="222" y="2306"/>
                  <a:pt x="191" y="2386"/>
                  <a:pt x="191" y="2465"/>
                </a:cubicBezTo>
                <a:cubicBezTo>
                  <a:pt x="191" y="2672"/>
                  <a:pt x="366" y="2831"/>
                  <a:pt x="573" y="2831"/>
                </a:cubicBezTo>
                <a:cubicBezTo>
                  <a:pt x="748" y="2831"/>
                  <a:pt x="907" y="2704"/>
                  <a:pt x="939" y="2545"/>
                </a:cubicBezTo>
                <a:lnTo>
                  <a:pt x="1097" y="2545"/>
                </a:lnTo>
                <a:cubicBezTo>
                  <a:pt x="1129" y="2704"/>
                  <a:pt x="1288" y="2831"/>
                  <a:pt x="1463" y="2831"/>
                </a:cubicBezTo>
                <a:cubicBezTo>
                  <a:pt x="1670" y="2831"/>
                  <a:pt x="1845" y="2672"/>
                  <a:pt x="1845" y="2465"/>
                </a:cubicBezTo>
                <a:cubicBezTo>
                  <a:pt x="1845" y="2386"/>
                  <a:pt x="1813" y="2306"/>
                  <a:pt x="1766" y="2243"/>
                </a:cubicBezTo>
                <a:lnTo>
                  <a:pt x="3134" y="2243"/>
                </a:lnTo>
                <a:cubicBezTo>
                  <a:pt x="3102" y="2306"/>
                  <a:pt x="3070" y="2386"/>
                  <a:pt x="3070" y="2465"/>
                </a:cubicBezTo>
                <a:cubicBezTo>
                  <a:pt x="3070" y="2672"/>
                  <a:pt x="3245" y="2831"/>
                  <a:pt x="3452" y="2831"/>
                </a:cubicBezTo>
                <a:cubicBezTo>
                  <a:pt x="3627" y="2831"/>
                  <a:pt x="3786" y="2704"/>
                  <a:pt x="3818" y="2545"/>
                </a:cubicBezTo>
                <a:lnTo>
                  <a:pt x="3977" y="2545"/>
                </a:lnTo>
                <a:cubicBezTo>
                  <a:pt x="4009" y="2704"/>
                  <a:pt x="4168" y="2831"/>
                  <a:pt x="4343" y="2831"/>
                </a:cubicBezTo>
                <a:cubicBezTo>
                  <a:pt x="4550" y="2831"/>
                  <a:pt x="4725" y="2672"/>
                  <a:pt x="4725" y="2465"/>
                </a:cubicBezTo>
                <a:cubicBezTo>
                  <a:pt x="4725" y="2386"/>
                  <a:pt x="4693" y="2306"/>
                  <a:pt x="4645" y="2243"/>
                </a:cubicBezTo>
                <a:lnTo>
                  <a:pt x="4661" y="2243"/>
                </a:lnTo>
                <a:cubicBezTo>
                  <a:pt x="4804" y="2243"/>
                  <a:pt x="4916" y="2131"/>
                  <a:pt x="4916" y="1972"/>
                </a:cubicBezTo>
                <a:close/>
                <a:moveTo>
                  <a:pt x="159" y="1972"/>
                </a:moveTo>
                <a:lnTo>
                  <a:pt x="159" y="620"/>
                </a:lnTo>
                <a:cubicBezTo>
                  <a:pt x="159" y="365"/>
                  <a:pt x="366" y="158"/>
                  <a:pt x="620" y="158"/>
                </a:cubicBezTo>
                <a:lnTo>
                  <a:pt x="4295" y="158"/>
                </a:lnTo>
                <a:cubicBezTo>
                  <a:pt x="4550" y="158"/>
                  <a:pt x="4757" y="365"/>
                  <a:pt x="4757" y="620"/>
                </a:cubicBezTo>
                <a:lnTo>
                  <a:pt x="4757" y="1972"/>
                </a:lnTo>
                <a:cubicBezTo>
                  <a:pt x="4757" y="2036"/>
                  <a:pt x="4709" y="2083"/>
                  <a:pt x="4661" y="2083"/>
                </a:cubicBezTo>
                <a:lnTo>
                  <a:pt x="254" y="2083"/>
                </a:lnTo>
                <a:cubicBezTo>
                  <a:pt x="206" y="2083"/>
                  <a:pt x="159" y="2036"/>
                  <a:pt x="159" y="1972"/>
                </a:cubicBezTo>
                <a:close/>
                <a:moveTo>
                  <a:pt x="4041" y="2243"/>
                </a:moveTo>
                <a:cubicBezTo>
                  <a:pt x="4009" y="2291"/>
                  <a:pt x="3977" y="2322"/>
                  <a:pt x="3977" y="2386"/>
                </a:cubicBezTo>
                <a:lnTo>
                  <a:pt x="3818" y="2386"/>
                </a:lnTo>
                <a:cubicBezTo>
                  <a:pt x="3802" y="2322"/>
                  <a:pt x="3786" y="2291"/>
                  <a:pt x="3755" y="2243"/>
                </a:cubicBezTo>
                <a:close/>
                <a:moveTo>
                  <a:pt x="1161" y="2243"/>
                </a:moveTo>
                <a:cubicBezTo>
                  <a:pt x="1129" y="2291"/>
                  <a:pt x="1097" y="2322"/>
                  <a:pt x="1097" y="2386"/>
                </a:cubicBezTo>
                <a:lnTo>
                  <a:pt x="939" y="2386"/>
                </a:lnTo>
                <a:cubicBezTo>
                  <a:pt x="922" y="2322"/>
                  <a:pt x="907" y="2291"/>
                  <a:pt x="875" y="2243"/>
                </a:cubicBezTo>
                <a:close/>
                <a:moveTo>
                  <a:pt x="573" y="2672"/>
                </a:moveTo>
                <a:cubicBezTo>
                  <a:pt x="445" y="2672"/>
                  <a:pt x="350" y="2577"/>
                  <a:pt x="350" y="2465"/>
                </a:cubicBezTo>
                <a:cubicBezTo>
                  <a:pt x="350" y="2338"/>
                  <a:pt x="445" y="2243"/>
                  <a:pt x="573" y="2243"/>
                </a:cubicBezTo>
                <a:cubicBezTo>
                  <a:pt x="668" y="2243"/>
                  <a:pt x="748" y="2306"/>
                  <a:pt x="779" y="2386"/>
                </a:cubicBezTo>
                <a:lnTo>
                  <a:pt x="573" y="2386"/>
                </a:lnTo>
                <a:cubicBezTo>
                  <a:pt x="525" y="2386"/>
                  <a:pt x="493" y="2418"/>
                  <a:pt x="493" y="2465"/>
                </a:cubicBezTo>
                <a:cubicBezTo>
                  <a:pt x="493" y="2497"/>
                  <a:pt x="525" y="2545"/>
                  <a:pt x="573" y="2545"/>
                </a:cubicBezTo>
                <a:lnTo>
                  <a:pt x="779" y="2545"/>
                </a:lnTo>
                <a:cubicBezTo>
                  <a:pt x="748" y="2625"/>
                  <a:pt x="668" y="2672"/>
                  <a:pt x="573" y="2672"/>
                </a:cubicBezTo>
                <a:close/>
                <a:moveTo>
                  <a:pt x="1686" y="2465"/>
                </a:moveTo>
                <a:cubicBezTo>
                  <a:pt x="1686" y="2577"/>
                  <a:pt x="1591" y="2672"/>
                  <a:pt x="1463" y="2672"/>
                </a:cubicBezTo>
                <a:cubicBezTo>
                  <a:pt x="1368" y="2672"/>
                  <a:pt x="1288" y="2625"/>
                  <a:pt x="1257" y="2545"/>
                </a:cubicBezTo>
                <a:lnTo>
                  <a:pt x="1463" y="2545"/>
                </a:lnTo>
                <a:cubicBezTo>
                  <a:pt x="1511" y="2545"/>
                  <a:pt x="1543" y="2497"/>
                  <a:pt x="1543" y="2465"/>
                </a:cubicBezTo>
                <a:cubicBezTo>
                  <a:pt x="1543" y="2418"/>
                  <a:pt x="1511" y="2386"/>
                  <a:pt x="1463" y="2386"/>
                </a:cubicBezTo>
                <a:lnTo>
                  <a:pt x="1257" y="2386"/>
                </a:lnTo>
                <a:cubicBezTo>
                  <a:pt x="1288" y="2306"/>
                  <a:pt x="1368" y="2243"/>
                  <a:pt x="1463" y="2243"/>
                </a:cubicBezTo>
                <a:cubicBezTo>
                  <a:pt x="1591" y="2243"/>
                  <a:pt x="1686" y="2338"/>
                  <a:pt x="1686" y="2465"/>
                </a:cubicBezTo>
                <a:close/>
                <a:moveTo>
                  <a:pt x="3452" y="2672"/>
                </a:moveTo>
                <a:cubicBezTo>
                  <a:pt x="3325" y="2672"/>
                  <a:pt x="3230" y="2577"/>
                  <a:pt x="3230" y="2465"/>
                </a:cubicBezTo>
                <a:cubicBezTo>
                  <a:pt x="3230" y="2338"/>
                  <a:pt x="3325" y="2243"/>
                  <a:pt x="3452" y="2243"/>
                </a:cubicBezTo>
                <a:cubicBezTo>
                  <a:pt x="3548" y="2243"/>
                  <a:pt x="3627" y="2306"/>
                  <a:pt x="3659" y="2386"/>
                </a:cubicBezTo>
                <a:lnTo>
                  <a:pt x="3452" y="2386"/>
                </a:lnTo>
                <a:cubicBezTo>
                  <a:pt x="3404" y="2386"/>
                  <a:pt x="3373" y="2418"/>
                  <a:pt x="3373" y="2465"/>
                </a:cubicBezTo>
                <a:cubicBezTo>
                  <a:pt x="3373" y="2497"/>
                  <a:pt x="3404" y="2545"/>
                  <a:pt x="3452" y="2545"/>
                </a:cubicBezTo>
                <a:lnTo>
                  <a:pt x="3659" y="2545"/>
                </a:lnTo>
                <a:cubicBezTo>
                  <a:pt x="3627" y="2625"/>
                  <a:pt x="3548" y="2672"/>
                  <a:pt x="3452" y="2672"/>
                </a:cubicBezTo>
                <a:close/>
                <a:moveTo>
                  <a:pt x="4566" y="2465"/>
                </a:moveTo>
                <a:cubicBezTo>
                  <a:pt x="4566" y="2577"/>
                  <a:pt x="4455" y="2672"/>
                  <a:pt x="4343" y="2672"/>
                </a:cubicBezTo>
                <a:cubicBezTo>
                  <a:pt x="4248" y="2672"/>
                  <a:pt x="4168" y="2625"/>
                  <a:pt x="4136" y="2545"/>
                </a:cubicBezTo>
                <a:lnTo>
                  <a:pt x="4343" y="2545"/>
                </a:lnTo>
                <a:cubicBezTo>
                  <a:pt x="4391" y="2545"/>
                  <a:pt x="4422" y="2497"/>
                  <a:pt x="4422" y="2465"/>
                </a:cubicBezTo>
                <a:cubicBezTo>
                  <a:pt x="4422" y="2418"/>
                  <a:pt x="4391" y="2386"/>
                  <a:pt x="4343" y="2386"/>
                </a:cubicBezTo>
                <a:lnTo>
                  <a:pt x="4136" y="2386"/>
                </a:lnTo>
                <a:cubicBezTo>
                  <a:pt x="4168" y="2306"/>
                  <a:pt x="4248" y="2243"/>
                  <a:pt x="4343" y="2243"/>
                </a:cubicBezTo>
                <a:cubicBezTo>
                  <a:pt x="4455" y="2243"/>
                  <a:pt x="4566" y="2338"/>
                  <a:pt x="4566" y="2465"/>
                </a:cubicBezTo>
                <a:close/>
                <a:moveTo>
                  <a:pt x="986" y="1447"/>
                </a:moveTo>
                <a:cubicBezTo>
                  <a:pt x="1129" y="1447"/>
                  <a:pt x="1240" y="1336"/>
                  <a:pt x="1240" y="1192"/>
                </a:cubicBezTo>
                <a:lnTo>
                  <a:pt x="1240" y="652"/>
                </a:lnTo>
                <a:cubicBezTo>
                  <a:pt x="1240" y="509"/>
                  <a:pt x="1129" y="397"/>
                  <a:pt x="986" y="397"/>
                </a:cubicBezTo>
                <a:lnTo>
                  <a:pt x="636" y="397"/>
                </a:lnTo>
                <a:cubicBezTo>
                  <a:pt x="509" y="397"/>
                  <a:pt x="397" y="509"/>
                  <a:pt x="397" y="652"/>
                </a:cubicBezTo>
                <a:lnTo>
                  <a:pt x="397" y="1192"/>
                </a:lnTo>
                <a:cubicBezTo>
                  <a:pt x="397" y="1336"/>
                  <a:pt x="509" y="1447"/>
                  <a:pt x="636" y="1447"/>
                </a:cubicBezTo>
                <a:close/>
                <a:moveTo>
                  <a:pt x="557" y="1192"/>
                </a:moveTo>
                <a:lnTo>
                  <a:pt x="557" y="652"/>
                </a:lnTo>
                <a:cubicBezTo>
                  <a:pt x="557" y="604"/>
                  <a:pt x="588" y="556"/>
                  <a:pt x="636" y="556"/>
                </a:cubicBezTo>
                <a:lnTo>
                  <a:pt x="986" y="556"/>
                </a:lnTo>
                <a:cubicBezTo>
                  <a:pt x="1050" y="556"/>
                  <a:pt x="1082" y="604"/>
                  <a:pt x="1082" y="652"/>
                </a:cubicBezTo>
                <a:lnTo>
                  <a:pt x="1082" y="1192"/>
                </a:lnTo>
                <a:cubicBezTo>
                  <a:pt x="1082" y="1240"/>
                  <a:pt x="1050" y="1288"/>
                  <a:pt x="986" y="1288"/>
                </a:cubicBezTo>
                <a:lnTo>
                  <a:pt x="636" y="1288"/>
                </a:lnTo>
                <a:cubicBezTo>
                  <a:pt x="588" y="1288"/>
                  <a:pt x="557" y="1240"/>
                  <a:pt x="557" y="1192"/>
                </a:cubicBezTo>
                <a:close/>
                <a:moveTo>
                  <a:pt x="1734" y="1447"/>
                </a:moveTo>
                <a:lnTo>
                  <a:pt x="2084" y="1447"/>
                </a:lnTo>
                <a:cubicBezTo>
                  <a:pt x="2227" y="1447"/>
                  <a:pt x="2339" y="1336"/>
                  <a:pt x="2339" y="1192"/>
                </a:cubicBezTo>
                <a:lnTo>
                  <a:pt x="2339" y="652"/>
                </a:lnTo>
                <a:cubicBezTo>
                  <a:pt x="2339" y="509"/>
                  <a:pt x="2227" y="397"/>
                  <a:pt x="2084" y="397"/>
                </a:cubicBezTo>
                <a:lnTo>
                  <a:pt x="1734" y="397"/>
                </a:lnTo>
                <a:cubicBezTo>
                  <a:pt x="1591" y="397"/>
                  <a:pt x="1479" y="509"/>
                  <a:pt x="1479" y="652"/>
                </a:cubicBezTo>
                <a:lnTo>
                  <a:pt x="1479" y="1192"/>
                </a:lnTo>
                <a:cubicBezTo>
                  <a:pt x="1479" y="1336"/>
                  <a:pt x="1591" y="1447"/>
                  <a:pt x="1734" y="1447"/>
                </a:cubicBezTo>
                <a:close/>
                <a:moveTo>
                  <a:pt x="1639" y="652"/>
                </a:moveTo>
                <a:cubicBezTo>
                  <a:pt x="1639" y="604"/>
                  <a:pt x="1686" y="556"/>
                  <a:pt x="1734" y="556"/>
                </a:cubicBezTo>
                <a:lnTo>
                  <a:pt x="2084" y="556"/>
                </a:lnTo>
                <a:cubicBezTo>
                  <a:pt x="2131" y="556"/>
                  <a:pt x="2179" y="604"/>
                  <a:pt x="2179" y="652"/>
                </a:cubicBezTo>
                <a:lnTo>
                  <a:pt x="2179" y="1192"/>
                </a:lnTo>
                <a:cubicBezTo>
                  <a:pt x="2179" y="1240"/>
                  <a:pt x="2131" y="1288"/>
                  <a:pt x="2084" y="1288"/>
                </a:cubicBezTo>
                <a:lnTo>
                  <a:pt x="1734" y="1288"/>
                </a:lnTo>
                <a:cubicBezTo>
                  <a:pt x="1686" y="1288"/>
                  <a:pt x="1639" y="1240"/>
                  <a:pt x="1639" y="1192"/>
                </a:cubicBezTo>
                <a:close/>
                <a:moveTo>
                  <a:pt x="3913" y="1447"/>
                </a:moveTo>
                <a:lnTo>
                  <a:pt x="4264" y="1447"/>
                </a:lnTo>
                <a:cubicBezTo>
                  <a:pt x="4407" y="1447"/>
                  <a:pt x="4518" y="1336"/>
                  <a:pt x="4518" y="1192"/>
                </a:cubicBezTo>
                <a:lnTo>
                  <a:pt x="4518" y="652"/>
                </a:lnTo>
                <a:cubicBezTo>
                  <a:pt x="4518" y="509"/>
                  <a:pt x="4407" y="397"/>
                  <a:pt x="4264" y="397"/>
                </a:cubicBezTo>
                <a:lnTo>
                  <a:pt x="3913" y="397"/>
                </a:lnTo>
                <a:cubicBezTo>
                  <a:pt x="3786" y="397"/>
                  <a:pt x="3659" y="509"/>
                  <a:pt x="3659" y="652"/>
                </a:cubicBezTo>
                <a:lnTo>
                  <a:pt x="3659" y="1192"/>
                </a:lnTo>
                <a:cubicBezTo>
                  <a:pt x="3659" y="1336"/>
                  <a:pt x="3786" y="1447"/>
                  <a:pt x="3913" y="1447"/>
                </a:cubicBezTo>
                <a:close/>
                <a:moveTo>
                  <a:pt x="3818" y="652"/>
                </a:moveTo>
                <a:cubicBezTo>
                  <a:pt x="3818" y="604"/>
                  <a:pt x="3866" y="556"/>
                  <a:pt x="3913" y="556"/>
                </a:cubicBezTo>
                <a:lnTo>
                  <a:pt x="4264" y="556"/>
                </a:lnTo>
                <a:cubicBezTo>
                  <a:pt x="4327" y="556"/>
                  <a:pt x="4359" y="604"/>
                  <a:pt x="4359" y="652"/>
                </a:cubicBezTo>
                <a:lnTo>
                  <a:pt x="4359" y="1192"/>
                </a:lnTo>
                <a:cubicBezTo>
                  <a:pt x="4359" y="1240"/>
                  <a:pt x="4327" y="1288"/>
                  <a:pt x="4264" y="1288"/>
                </a:cubicBezTo>
                <a:lnTo>
                  <a:pt x="3913" y="1288"/>
                </a:lnTo>
                <a:cubicBezTo>
                  <a:pt x="3866" y="1288"/>
                  <a:pt x="3818" y="1240"/>
                  <a:pt x="3818" y="1192"/>
                </a:cubicBezTo>
                <a:close/>
                <a:moveTo>
                  <a:pt x="2831" y="1447"/>
                </a:moveTo>
                <a:lnTo>
                  <a:pt x="3182" y="1447"/>
                </a:lnTo>
                <a:cubicBezTo>
                  <a:pt x="3309" y="1447"/>
                  <a:pt x="3436" y="1336"/>
                  <a:pt x="3436" y="1192"/>
                </a:cubicBezTo>
                <a:lnTo>
                  <a:pt x="3436" y="652"/>
                </a:lnTo>
                <a:cubicBezTo>
                  <a:pt x="3436" y="509"/>
                  <a:pt x="3309" y="397"/>
                  <a:pt x="3182" y="397"/>
                </a:cubicBezTo>
                <a:lnTo>
                  <a:pt x="2831" y="397"/>
                </a:lnTo>
                <a:cubicBezTo>
                  <a:pt x="2688" y="397"/>
                  <a:pt x="2577" y="509"/>
                  <a:pt x="2577" y="652"/>
                </a:cubicBezTo>
                <a:lnTo>
                  <a:pt x="2577" y="1192"/>
                </a:lnTo>
                <a:cubicBezTo>
                  <a:pt x="2577" y="1336"/>
                  <a:pt x="2688" y="1447"/>
                  <a:pt x="2831" y="1447"/>
                </a:cubicBezTo>
                <a:close/>
                <a:moveTo>
                  <a:pt x="2736" y="652"/>
                </a:moveTo>
                <a:cubicBezTo>
                  <a:pt x="2736" y="604"/>
                  <a:pt x="2768" y="556"/>
                  <a:pt x="2831" y="556"/>
                </a:cubicBezTo>
                <a:lnTo>
                  <a:pt x="3182" y="556"/>
                </a:lnTo>
                <a:cubicBezTo>
                  <a:pt x="3230" y="556"/>
                  <a:pt x="3277" y="604"/>
                  <a:pt x="3277" y="652"/>
                </a:cubicBezTo>
                <a:lnTo>
                  <a:pt x="3277" y="1192"/>
                </a:lnTo>
                <a:cubicBezTo>
                  <a:pt x="3277" y="1240"/>
                  <a:pt x="3230" y="1288"/>
                  <a:pt x="3182" y="1288"/>
                </a:cubicBezTo>
                <a:lnTo>
                  <a:pt x="2831" y="1288"/>
                </a:lnTo>
                <a:cubicBezTo>
                  <a:pt x="2768" y="1288"/>
                  <a:pt x="2736" y="1240"/>
                  <a:pt x="2736" y="119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2" name="Freeform: Shape 9">
            <a:extLst>
              <a:ext uri="{FF2B5EF4-FFF2-40B4-BE49-F238E27FC236}">
                <a16:creationId xmlns:a16="http://schemas.microsoft.com/office/drawing/2014/main" id="{D1DE3527-A159-0346-9BD8-BE5A21CB109B}"/>
              </a:ext>
            </a:extLst>
          </p:cNvPr>
          <p:cNvSpPr/>
          <p:nvPr/>
        </p:nvSpPr>
        <p:spPr>
          <a:xfrm>
            <a:off x="1655943" y="6899821"/>
            <a:ext cx="1769400" cy="1196640"/>
          </a:xfrm>
          <a:custGeom>
            <a:avLst/>
            <a:gdLst/>
            <a:ahLst/>
            <a:cxnLst>
              <a:cxn ang="3cd4">
                <a:pos x="hc" y="t"/>
              </a:cxn>
              <a:cxn ang="cd2">
                <a:pos x="l" y="vc"/>
              </a:cxn>
              <a:cxn ang="cd4">
                <a:pos x="hc" y="b"/>
              </a:cxn>
              <a:cxn ang="0">
                <a:pos x="r" y="vc"/>
              </a:cxn>
            </a:cxnLst>
            <a:rect l="l" t="t" r="r" b="b"/>
            <a:pathLst>
              <a:path w="4916" h="3325">
                <a:moveTo>
                  <a:pt x="3723" y="0"/>
                </a:moveTo>
                <a:lnTo>
                  <a:pt x="573" y="0"/>
                </a:lnTo>
                <a:cubicBezTo>
                  <a:pt x="254" y="0"/>
                  <a:pt x="0" y="239"/>
                  <a:pt x="0" y="557"/>
                </a:cubicBezTo>
                <a:lnTo>
                  <a:pt x="0" y="2578"/>
                </a:lnTo>
                <a:cubicBezTo>
                  <a:pt x="0" y="2721"/>
                  <a:pt x="111" y="2832"/>
                  <a:pt x="254" y="2832"/>
                </a:cubicBezTo>
                <a:lnTo>
                  <a:pt x="493" y="2832"/>
                </a:lnTo>
                <a:cubicBezTo>
                  <a:pt x="541" y="3118"/>
                  <a:pt x="779" y="3325"/>
                  <a:pt x="1066" y="3325"/>
                </a:cubicBezTo>
                <a:cubicBezTo>
                  <a:pt x="1368" y="3325"/>
                  <a:pt x="1607" y="3118"/>
                  <a:pt x="1639" y="2832"/>
                </a:cubicBezTo>
                <a:lnTo>
                  <a:pt x="3278" y="2832"/>
                </a:lnTo>
                <a:cubicBezTo>
                  <a:pt x="3325" y="3118"/>
                  <a:pt x="3564" y="3325"/>
                  <a:pt x="3850" y="3325"/>
                </a:cubicBezTo>
                <a:cubicBezTo>
                  <a:pt x="4136" y="3325"/>
                  <a:pt x="4375" y="3118"/>
                  <a:pt x="4423" y="2832"/>
                </a:cubicBezTo>
                <a:lnTo>
                  <a:pt x="4470" y="2832"/>
                </a:lnTo>
                <a:cubicBezTo>
                  <a:pt x="4693" y="2832"/>
                  <a:pt x="4916" y="2705"/>
                  <a:pt x="4916" y="2434"/>
                </a:cubicBezTo>
                <a:lnTo>
                  <a:pt x="4916" y="1655"/>
                </a:lnTo>
                <a:cubicBezTo>
                  <a:pt x="4916" y="1543"/>
                  <a:pt x="4900" y="1448"/>
                  <a:pt x="4869" y="1352"/>
                </a:cubicBezTo>
                <a:cubicBezTo>
                  <a:pt x="4763" y="1076"/>
                  <a:pt x="4693" y="875"/>
                  <a:pt x="4550" y="525"/>
                </a:cubicBezTo>
                <a:cubicBezTo>
                  <a:pt x="4391" y="143"/>
                  <a:pt x="4168" y="0"/>
                  <a:pt x="3723" y="0"/>
                </a:cubicBezTo>
                <a:close/>
                <a:moveTo>
                  <a:pt x="4407" y="588"/>
                </a:moveTo>
                <a:cubicBezTo>
                  <a:pt x="4502" y="827"/>
                  <a:pt x="4614" y="1130"/>
                  <a:pt x="4678" y="1288"/>
                </a:cubicBezTo>
                <a:lnTo>
                  <a:pt x="3787" y="1288"/>
                </a:lnTo>
                <a:cubicBezTo>
                  <a:pt x="3707" y="1288"/>
                  <a:pt x="3627" y="1225"/>
                  <a:pt x="3627" y="1130"/>
                </a:cubicBezTo>
                <a:lnTo>
                  <a:pt x="3627" y="700"/>
                </a:lnTo>
                <a:cubicBezTo>
                  <a:pt x="3627" y="621"/>
                  <a:pt x="3707" y="557"/>
                  <a:pt x="3787" y="557"/>
                </a:cubicBezTo>
                <a:lnTo>
                  <a:pt x="4391" y="557"/>
                </a:lnTo>
                <a:cubicBezTo>
                  <a:pt x="4396" y="567"/>
                  <a:pt x="4407" y="573"/>
                  <a:pt x="4407" y="588"/>
                </a:cubicBezTo>
                <a:close/>
                <a:moveTo>
                  <a:pt x="1066" y="3182"/>
                </a:moveTo>
                <a:cubicBezTo>
                  <a:pt x="843" y="3182"/>
                  <a:pt x="652" y="2991"/>
                  <a:pt x="652" y="2752"/>
                </a:cubicBezTo>
                <a:cubicBezTo>
                  <a:pt x="652" y="2530"/>
                  <a:pt x="843" y="2339"/>
                  <a:pt x="1066" y="2339"/>
                </a:cubicBezTo>
                <a:cubicBezTo>
                  <a:pt x="1305" y="2339"/>
                  <a:pt x="1496" y="2530"/>
                  <a:pt x="1496" y="2752"/>
                </a:cubicBezTo>
                <a:cubicBezTo>
                  <a:pt x="1496" y="2991"/>
                  <a:pt x="1305" y="3182"/>
                  <a:pt x="1066" y="3182"/>
                </a:cubicBezTo>
                <a:close/>
                <a:moveTo>
                  <a:pt x="3850" y="3182"/>
                </a:moveTo>
                <a:cubicBezTo>
                  <a:pt x="3627" y="3182"/>
                  <a:pt x="3436" y="2991"/>
                  <a:pt x="3436" y="2752"/>
                </a:cubicBezTo>
                <a:cubicBezTo>
                  <a:pt x="3436" y="2530"/>
                  <a:pt x="3627" y="2339"/>
                  <a:pt x="3850" y="2339"/>
                </a:cubicBezTo>
                <a:cubicBezTo>
                  <a:pt x="4073" y="2339"/>
                  <a:pt x="4264" y="2530"/>
                  <a:pt x="4264" y="2752"/>
                </a:cubicBezTo>
                <a:cubicBezTo>
                  <a:pt x="4264" y="2991"/>
                  <a:pt x="4073" y="3182"/>
                  <a:pt x="3850" y="3182"/>
                </a:cubicBezTo>
                <a:close/>
                <a:moveTo>
                  <a:pt x="4757" y="2434"/>
                </a:moveTo>
                <a:cubicBezTo>
                  <a:pt x="4757" y="2673"/>
                  <a:pt x="4502" y="2673"/>
                  <a:pt x="4470" y="2673"/>
                </a:cubicBezTo>
                <a:lnTo>
                  <a:pt x="4423" y="2673"/>
                </a:lnTo>
                <a:cubicBezTo>
                  <a:pt x="4375" y="2402"/>
                  <a:pt x="4136" y="2179"/>
                  <a:pt x="3850" y="2179"/>
                </a:cubicBezTo>
                <a:cubicBezTo>
                  <a:pt x="3564" y="2179"/>
                  <a:pt x="3325" y="2402"/>
                  <a:pt x="3278" y="2673"/>
                </a:cubicBezTo>
                <a:lnTo>
                  <a:pt x="1639" y="2673"/>
                </a:lnTo>
                <a:cubicBezTo>
                  <a:pt x="1607" y="2402"/>
                  <a:pt x="1368" y="2179"/>
                  <a:pt x="1066" y="2179"/>
                </a:cubicBezTo>
                <a:cubicBezTo>
                  <a:pt x="779" y="2179"/>
                  <a:pt x="541" y="2402"/>
                  <a:pt x="493" y="2673"/>
                </a:cubicBezTo>
                <a:lnTo>
                  <a:pt x="254" y="2673"/>
                </a:lnTo>
                <a:cubicBezTo>
                  <a:pt x="207" y="2673"/>
                  <a:pt x="159" y="2641"/>
                  <a:pt x="159" y="2578"/>
                </a:cubicBezTo>
                <a:lnTo>
                  <a:pt x="159" y="557"/>
                </a:lnTo>
                <a:cubicBezTo>
                  <a:pt x="159" y="334"/>
                  <a:pt x="334" y="159"/>
                  <a:pt x="573" y="159"/>
                </a:cubicBezTo>
                <a:lnTo>
                  <a:pt x="3723" y="159"/>
                </a:lnTo>
                <a:cubicBezTo>
                  <a:pt x="4025" y="159"/>
                  <a:pt x="4184" y="223"/>
                  <a:pt x="4312" y="398"/>
                </a:cubicBezTo>
                <a:lnTo>
                  <a:pt x="3787" y="398"/>
                </a:lnTo>
                <a:cubicBezTo>
                  <a:pt x="3612" y="398"/>
                  <a:pt x="3468" y="541"/>
                  <a:pt x="3468" y="700"/>
                </a:cubicBezTo>
                <a:lnTo>
                  <a:pt x="3468" y="1130"/>
                </a:lnTo>
                <a:cubicBezTo>
                  <a:pt x="3468" y="1305"/>
                  <a:pt x="3612" y="1448"/>
                  <a:pt x="3787" y="1448"/>
                </a:cubicBezTo>
                <a:lnTo>
                  <a:pt x="4741" y="1448"/>
                </a:lnTo>
                <a:cubicBezTo>
                  <a:pt x="4757" y="1511"/>
                  <a:pt x="4757" y="1575"/>
                  <a:pt x="4757" y="1655"/>
                </a:cubicBezTo>
                <a:close/>
                <a:moveTo>
                  <a:pt x="1336" y="398"/>
                </a:moveTo>
                <a:lnTo>
                  <a:pt x="700" y="398"/>
                </a:lnTo>
                <a:cubicBezTo>
                  <a:pt x="541" y="398"/>
                  <a:pt x="397" y="541"/>
                  <a:pt x="397" y="700"/>
                </a:cubicBezTo>
                <a:lnTo>
                  <a:pt x="397" y="1130"/>
                </a:lnTo>
                <a:cubicBezTo>
                  <a:pt x="397" y="1305"/>
                  <a:pt x="541" y="1448"/>
                  <a:pt x="700" y="1448"/>
                </a:cubicBezTo>
                <a:lnTo>
                  <a:pt x="1336" y="1448"/>
                </a:lnTo>
                <a:cubicBezTo>
                  <a:pt x="1511" y="1448"/>
                  <a:pt x="1654" y="1305"/>
                  <a:pt x="1654" y="1130"/>
                </a:cubicBezTo>
                <a:lnTo>
                  <a:pt x="1654" y="700"/>
                </a:lnTo>
                <a:cubicBezTo>
                  <a:pt x="1654" y="541"/>
                  <a:pt x="1511" y="398"/>
                  <a:pt x="1336" y="398"/>
                </a:cubicBezTo>
                <a:close/>
                <a:moveTo>
                  <a:pt x="1496" y="1130"/>
                </a:moveTo>
                <a:cubicBezTo>
                  <a:pt x="1496" y="1225"/>
                  <a:pt x="1416" y="1288"/>
                  <a:pt x="1336" y="1288"/>
                </a:cubicBezTo>
                <a:lnTo>
                  <a:pt x="700" y="1288"/>
                </a:lnTo>
                <a:cubicBezTo>
                  <a:pt x="620" y="1288"/>
                  <a:pt x="557" y="1225"/>
                  <a:pt x="557" y="1130"/>
                </a:cubicBezTo>
                <a:lnTo>
                  <a:pt x="557" y="700"/>
                </a:lnTo>
                <a:cubicBezTo>
                  <a:pt x="557" y="621"/>
                  <a:pt x="620" y="557"/>
                  <a:pt x="700" y="557"/>
                </a:cubicBezTo>
                <a:lnTo>
                  <a:pt x="1336" y="557"/>
                </a:lnTo>
                <a:cubicBezTo>
                  <a:pt x="1416" y="557"/>
                  <a:pt x="1496" y="621"/>
                  <a:pt x="1496" y="700"/>
                </a:cubicBezTo>
                <a:close/>
                <a:moveTo>
                  <a:pt x="2927" y="398"/>
                </a:moveTo>
                <a:lnTo>
                  <a:pt x="2196" y="398"/>
                </a:lnTo>
                <a:cubicBezTo>
                  <a:pt x="2020" y="398"/>
                  <a:pt x="1877" y="541"/>
                  <a:pt x="1877" y="700"/>
                </a:cubicBezTo>
                <a:lnTo>
                  <a:pt x="1877" y="1130"/>
                </a:lnTo>
                <a:cubicBezTo>
                  <a:pt x="1877" y="1305"/>
                  <a:pt x="2020" y="1448"/>
                  <a:pt x="2196" y="1448"/>
                </a:cubicBezTo>
                <a:lnTo>
                  <a:pt x="2927" y="1448"/>
                </a:lnTo>
                <a:cubicBezTo>
                  <a:pt x="3102" y="1448"/>
                  <a:pt x="3230" y="1305"/>
                  <a:pt x="3230" y="1130"/>
                </a:cubicBezTo>
                <a:lnTo>
                  <a:pt x="3230" y="700"/>
                </a:lnTo>
                <a:cubicBezTo>
                  <a:pt x="3230" y="541"/>
                  <a:pt x="3102" y="398"/>
                  <a:pt x="2927" y="398"/>
                </a:cubicBezTo>
                <a:close/>
                <a:moveTo>
                  <a:pt x="3070" y="1130"/>
                </a:moveTo>
                <a:cubicBezTo>
                  <a:pt x="3070" y="1225"/>
                  <a:pt x="3007" y="1288"/>
                  <a:pt x="2927" y="1288"/>
                </a:cubicBezTo>
                <a:lnTo>
                  <a:pt x="2196" y="1288"/>
                </a:lnTo>
                <a:cubicBezTo>
                  <a:pt x="2116" y="1288"/>
                  <a:pt x="2036" y="1225"/>
                  <a:pt x="2036" y="1130"/>
                </a:cubicBezTo>
                <a:lnTo>
                  <a:pt x="2036" y="700"/>
                </a:lnTo>
                <a:cubicBezTo>
                  <a:pt x="2036" y="621"/>
                  <a:pt x="2116" y="557"/>
                  <a:pt x="2196" y="557"/>
                </a:cubicBezTo>
                <a:lnTo>
                  <a:pt x="2927" y="557"/>
                </a:lnTo>
                <a:cubicBezTo>
                  <a:pt x="3007" y="557"/>
                  <a:pt x="3070" y="621"/>
                  <a:pt x="3070" y="70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3" name="Freeform: Shape 11">
            <a:extLst>
              <a:ext uri="{FF2B5EF4-FFF2-40B4-BE49-F238E27FC236}">
                <a16:creationId xmlns:a16="http://schemas.microsoft.com/office/drawing/2014/main" id="{40691B3C-EEFA-F947-972F-B9B747D7E31B}"/>
              </a:ext>
            </a:extLst>
          </p:cNvPr>
          <p:cNvSpPr/>
          <p:nvPr/>
        </p:nvSpPr>
        <p:spPr>
          <a:xfrm>
            <a:off x="13856266" y="3697647"/>
            <a:ext cx="1774800" cy="912959"/>
          </a:xfrm>
          <a:custGeom>
            <a:avLst/>
            <a:gdLst/>
            <a:ahLst/>
            <a:cxnLst>
              <a:cxn ang="3cd4">
                <a:pos x="hc" y="t"/>
              </a:cxn>
              <a:cxn ang="cd2">
                <a:pos x="l" y="vc"/>
              </a:cxn>
              <a:cxn ang="cd4">
                <a:pos x="hc" y="b"/>
              </a:cxn>
              <a:cxn ang="0">
                <a:pos x="r" y="vc"/>
              </a:cxn>
            </a:cxnLst>
            <a:rect l="l" t="t" r="r" b="b"/>
            <a:pathLst>
              <a:path w="4931" h="2537">
                <a:moveTo>
                  <a:pt x="302" y="2331"/>
                </a:moveTo>
                <a:cubicBezTo>
                  <a:pt x="525" y="2331"/>
                  <a:pt x="525" y="2331"/>
                  <a:pt x="525" y="2331"/>
                </a:cubicBezTo>
                <a:cubicBezTo>
                  <a:pt x="620" y="2458"/>
                  <a:pt x="763" y="2537"/>
                  <a:pt x="938" y="2537"/>
                </a:cubicBezTo>
                <a:cubicBezTo>
                  <a:pt x="1097" y="2537"/>
                  <a:pt x="1240" y="2458"/>
                  <a:pt x="1336" y="2331"/>
                </a:cubicBezTo>
                <a:cubicBezTo>
                  <a:pt x="3595" y="2331"/>
                  <a:pt x="3595" y="2331"/>
                  <a:pt x="3595" y="2331"/>
                </a:cubicBezTo>
                <a:cubicBezTo>
                  <a:pt x="3691" y="2458"/>
                  <a:pt x="3834" y="2537"/>
                  <a:pt x="4009" y="2537"/>
                </a:cubicBezTo>
                <a:cubicBezTo>
                  <a:pt x="4168" y="2537"/>
                  <a:pt x="4327" y="2458"/>
                  <a:pt x="4422" y="2331"/>
                </a:cubicBezTo>
                <a:cubicBezTo>
                  <a:pt x="4645" y="2331"/>
                  <a:pt x="4645" y="2331"/>
                  <a:pt x="4645" y="2331"/>
                </a:cubicBezTo>
                <a:cubicBezTo>
                  <a:pt x="4804" y="2331"/>
                  <a:pt x="4931" y="2204"/>
                  <a:pt x="4931" y="2045"/>
                </a:cubicBezTo>
                <a:cubicBezTo>
                  <a:pt x="4931" y="1870"/>
                  <a:pt x="4931" y="1870"/>
                  <a:pt x="4931" y="1870"/>
                </a:cubicBezTo>
                <a:cubicBezTo>
                  <a:pt x="4931" y="1742"/>
                  <a:pt x="4852" y="1631"/>
                  <a:pt x="4725" y="1583"/>
                </a:cubicBezTo>
                <a:cubicBezTo>
                  <a:pt x="4630" y="1090"/>
                  <a:pt x="3516" y="724"/>
                  <a:pt x="3388" y="692"/>
                </a:cubicBezTo>
                <a:cubicBezTo>
                  <a:pt x="3357" y="676"/>
                  <a:pt x="3325" y="692"/>
                  <a:pt x="3293" y="708"/>
                </a:cubicBezTo>
                <a:cubicBezTo>
                  <a:pt x="3293" y="708"/>
                  <a:pt x="3293" y="724"/>
                  <a:pt x="3261" y="756"/>
                </a:cubicBezTo>
                <a:cubicBezTo>
                  <a:pt x="2863" y="358"/>
                  <a:pt x="2863" y="358"/>
                  <a:pt x="2863" y="358"/>
                </a:cubicBezTo>
                <a:cubicBezTo>
                  <a:pt x="3070" y="135"/>
                  <a:pt x="3070" y="135"/>
                  <a:pt x="3070" y="135"/>
                </a:cubicBezTo>
                <a:cubicBezTo>
                  <a:pt x="3102" y="103"/>
                  <a:pt x="3102" y="56"/>
                  <a:pt x="3070" y="24"/>
                </a:cubicBezTo>
                <a:cubicBezTo>
                  <a:pt x="3039" y="-8"/>
                  <a:pt x="2991" y="-8"/>
                  <a:pt x="2959" y="24"/>
                </a:cubicBezTo>
                <a:cubicBezTo>
                  <a:pt x="2418" y="565"/>
                  <a:pt x="2418" y="565"/>
                  <a:pt x="2418" y="565"/>
                </a:cubicBezTo>
                <a:cubicBezTo>
                  <a:pt x="2386" y="597"/>
                  <a:pt x="2386" y="645"/>
                  <a:pt x="2418" y="676"/>
                </a:cubicBezTo>
                <a:cubicBezTo>
                  <a:pt x="2434" y="692"/>
                  <a:pt x="2450" y="708"/>
                  <a:pt x="2466" y="708"/>
                </a:cubicBezTo>
                <a:cubicBezTo>
                  <a:pt x="2497" y="708"/>
                  <a:pt x="2513" y="692"/>
                  <a:pt x="2529" y="676"/>
                </a:cubicBezTo>
                <a:cubicBezTo>
                  <a:pt x="2752" y="469"/>
                  <a:pt x="2752" y="469"/>
                  <a:pt x="2752" y="469"/>
                </a:cubicBezTo>
                <a:cubicBezTo>
                  <a:pt x="3134" y="851"/>
                  <a:pt x="3134" y="851"/>
                  <a:pt x="3134" y="851"/>
                </a:cubicBezTo>
                <a:cubicBezTo>
                  <a:pt x="2975" y="963"/>
                  <a:pt x="2704" y="1074"/>
                  <a:pt x="2275" y="1074"/>
                </a:cubicBezTo>
                <a:cubicBezTo>
                  <a:pt x="1638" y="1074"/>
                  <a:pt x="1320" y="803"/>
                  <a:pt x="1257" y="740"/>
                </a:cubicBezTo>
                <a:cubicBezTo>
                  <a:pt x="1257" y="628"/>
                  <a:pt x="1257" y="628"/>
                  <a:pt x="1257" y="628"/>
                </a:cubicBezTo>
                <a:cubicBezTo>
                  <a:pt x="1257" y="501"/>
                  <a:pt x="1225" y="390"/>
                  <a:pt x="1161" y="279"/>
                </a:cubicBezTo>
                <a:cubicBezTo>
                  <a:pt x="1049" y="119"/>
                  <a:pt x="1049" y="119"/>
                  <a:pt x="1049" y="119"/>
                </a:cubicBezTo>
                <a:cubicBezTo>
                  <a:pt x="1018" y="88"/>
                  <a:pt x="970" y="72"/>
                  <a:pt x="938" y="103"/>
                </a:cubicBezTo>
                <a:cubicBezTo>
                  <a:pt x="906" y="119"/>
                  <a:pt x="891" y="183"/>
                  <a:pt x="906" y="215"/>
                </a:cubicBezTo>
                <a:cubicBezTo>
                  <a:pt x="1018" y="374"/>
                  <a:pt x="1018" y="374"/>
                  <a:pt x="1018" y="374"/>
                </a:cubicBezTo>
                <a:cubicBezTo>
                  <a:pt x="1066" y="454"/>
                  <a:pt x="1097" y="533"/>
                  <a:pt x="1097" y="628"/>
                </a:cubicBezTo>
                <a:cubicBezTo>
                  <a:pt x="1097" y="676"/>
                  <a:pt x="1097" y="676"/>
                  <a:pt x="1097" y="676"/>
                </a:cubicBezTo>
                <a:cubicBezTo>
                  <a:pt x="509" y="676"/>
                  <a:pt x="509" y="676"/>
                  <a:pt x="509" y="676"/>
                </a:cubicBezTo>
                <a:cubicBezTo>
                  <a:pt x="349" y="676"/>
                  <a:pt x="206" y="819"/>
                  <a:pt x="206" y="994"/>
                </a:cubicBezTo>
                <a:cubicBezTo>
                  <a:pt x="206" y="1599"/>
                  <a:pt x="206" y="1599"/>
                  <a:pt x="206" y="1599"/>
                </a:cubicBezTo>
                <a:cubicBezTo>
                  <a:pt x="95" y="1631"/>
                  <a:pt x="0" y="1742"/>
                  <a:pt x="0" y="1870"/>
                </a:cubicBezTo>
                <a:cubicBezTo>
                  <a:pt x="0" y="2045"/>
                  <a:pt x="0" y="2045"/>
                  <a:pt x="0" y="2045"/>
                </a:cubicBezTo>
                <a:cubicBezTo>
                  <a:pt x="0" y="2204"/>
                  <a:pt x="143" y="2331"/>
                  <a:pt x="302" y="2331"/>
                </a:cubicBezTo>
                <a:close/>
                <a:moveTo>
                  <a:pt x="938" y="2379"/>
                </a:moveTo>
                <a:cubicBezTo>
                  <a:pt x="731" y="2379"/>
                  <a:pt x="557" y="2204"/>
                  <a:pt x="557" y="1997"/>
                </a:cubicBezTo>
                <a:cubicBezTo>
                  <a:pt x="557" y="1806"/>
                  <a:pt x="731" y="1631"/>
                  <a:pt x="938" y="1631"/>
                </a:cubicBezTo>
                <a:cubicBezTo>
                  <a:pt x="1129" y="1631"/>
                  <a:pt x="1304" y="1806"/>
                  <a:pt x="1304" y="1997"/>
                </a:cubicBezTo>
                <a:cubicBezTo>
                  <a:pt x="1304" y="2204"/>
                  <a:pt x="1129" y="2379"/>
                  <a:pt x="938" y="2379"/>
                </a:cubicBezTo>
                <a:close/>
                <a:moveTo>
                  <a:pt x="1431" y="2172"/>
                </a:moveTo>
                <a:cubicBezTo>
                  <a:pt x="1448" y="2124"/>
                  <a:pt x="1463" y="2060"/>
                  <a:pt x="1463" y="1997"/>
                </a:cubicBezTo>
                <a:cubicBezTo>
                  <a:pt x="1463" y="1901"/>
                  <a:pt x="1431" y="1822"/>
                  <a:pt x="1384" y="1742"/>
                </a:cubicBezTo>
                <a:cubicBezTo>
                  <a:pt x="3563" y="1742"/>
                  <a:pt x="3563" y="1742"/>
                  <a:pt x="3563" y="1742"/>
                </a:cubicBezTo>
                <a:cubicBezTo>
                  <a:pt x="3516" y="1822"/>
                  <a:pt x="3484" y="1901"/>
                  <a:pt x="3484" y="1997"/>
                </a:cubicBezTo>
                <a:cubicBezTo>
                  <a:pt x="3484" y="2060"/>
                  <a:pt x="3484" y="2124"/>
                  <a:pt x="3516" y="2172"/>
                </a:cubicBezTo>
                <a:close/>
                <a:moveTo>
                  <a:pt x="4009" y="2379"/>
                </a:moveTo>
                <a:cubicBezTo>
                  <a:pt x="3802" y="2379"/>
                  <a:pt x="3643" y="2204"/>
                  <a:pt x="3643" y="1997"/>
                </a:cubicBezTo>
                <a:cubicBezTo>
                  <a:pt x="3643" y="1806"/>
                  <a:pt x="3802" y="1631"/>
                  <a:pt x="4009" y="1631"/>
                </a:cubicBezTo>
                <a:cubicBezTo>
                  <a:pt x="4216" y="1631"/>
                  <a:pt x="4375" y="1806"/>
                  <a:pt x="4375" y="1997"/>
                </a:cubicBezTo>
                <a:cubicBezTo>
                  <a:pt x="4375" y="2204"/>
                  <a:pt x="4216" y="2379"/>
                  <a:pt x="4009" y="2379"/>
                </a:cubicBezTo>
                <a:close/>
                <a:moveTo>
                  <a:pt x="4773" y="1870"/>
                </a:moveTo>
                <a:cubicBezTo>
                  <a:pt x="4773" y="2045"/>
                  <a:pt x="4773" y="2045"/>
                  <a:pt x="4773" y="2045"/>
                </a:cubicBezTo>
                <a:cubicBezTo>
                  <a:pt x="4773" y="2108"/>
                  <a:pt x="4709" y="2172"/>
                  <a:pt x="4645" y="2172"/>
                </a:cubicBezTo>
                <a:cubicBezTo>
                  <a:pt x="4502" y="2172"/>
                  <a:pt x="4502" y="2172"/>
                  <a:pt x="4502" y="2172"/>
                </a:cubicBezTo>
                <a:cubicBezTo>
                  <a:pt x="4518" y="2124"/>
                  <a:pt x="4534" y="2060"/>
                  <a:pt x="4534" y="1997"/>
                </a:cubicBezTo>
                <a:cubicBezTo>
                  <a:pt x="4534" y="1901"/>
                  <a:pt x="4502" y="1822"/>
                  <a:pt x="4454" y="1742"/>
                </a:cubicBezTo>
                <a:cubicBezTo>
                  <a:pt x="4645" y="1742"/>
                  <a:pt x="4645" y="1742"/>
                  <a:pt x="4645" y="1742"/>
                </a:cubicBezTo>
                <a:cubicBezTo>
                  <a:pt x="4709" y="1742"/>
                  <a:pt x="4773" y="1790"/>
                  <a:pt x="4773" y="1870"/>
                </a:cubicBezTo>
                <a:close/>
                <a:moveTo>
                  <a:pt x="509" y="835"/>
                </a:moveTo>
                <a:cubicBezTo>
                  <a:pt x="1145" y="835"/>
                  <a:pt x="1145" y="835"/>
                  <a:pt x="1145" y="835"/>
                </a:cubicBezTo>
                <a:cubicBezTo>
                  <a:pt x="1240" y="946"/>
                  <a:pt x="1575" y="1233"/>
                  <a:pt x="2275" y="1233"/>
                </a:cubicBezTo>
                <a:cubicBezTo>
                  <a:pt x="2943" y="1233"/>
                  <a:pt x="3277" y="963"/>
                  <a:pt x="3388" y="851"/>
                </a:cubicBezTo>
                <a:cubicBezTo>
                  <a:pt x="3818" y="994"/>
                  <a:pt x="4454" y="1297"/>
                  <a:pt x="4566" y="1583"/>
                </a:cubicBezTo>
                <a:cubicBezTo>
                  <a:pt x="4311" y="1583"/>
                  <a:pt x="4311" y="1583"/>
                  <a:pt x="4311" y="1583"/>
                </a:cubicBezTo>
                <a:cubicBezTo>
                  <a:pt x="4231" y="1519"/>
                  <a:pt x="4120" y="1472"/>
                  <a:pt x="4009" y="1472"/>
                </a:cubicBezTo>
                <a:cubicBezTo>
                  <a:pt x="3897" y="1472"/>
                  <a:pt x="3786" y="1519"/>
                  <a:pt x="3707" y="1583"/>
                </a:cubicBezTo>
                <a:cubicBezTo>
                  <a:pt x="1240" y="1583"/>
                  <a:pt x="1240" y="1583"/>
                  <a:pt x="1240" y="1583"/>
                </a:cubicBezTo>
                <a:cubicBezTo>
                  <a:pt x="1145" y="1519"/>
                  <a:pt x="1049" y="1472"/>
                  <a:pt x="938" y="1472"/>
                </a:cubicBezTo>
                <a:cubicBezTo>
                  <a:pt x="811" y="1472"/>
                  <a:pt x="715" y="1519"/>
                  <a:pt x="620" y="1583"/>
                </a:cubicBezTo>
                <a:cubicBezTo>
                  <a:pt x="366" y="1583"/>
                  <a:pt x="366" y="1583"/>
                  <a:pt x="366" y="1583"/>
                </a:cubicBezTo>
                <a:cubicBezTo>
                  <a:pt x="366" y="994"/>
                  <a:pt x="366" y="994"/>
                  <a:pt x="366" y="994"/>
                </a:cubicBezTo>
                <a:cubicBezTo>
                  <a:pt x="366" y="915"/>
                  <a:pt x="429" y="835"/>
                  <a:pt x="509" y="835"/>
                </a:cubicBezTo>
                <a:close/>
                <a:moveTo>
                  <a:pt x="158" y="1870"/>
                </a:moveTo>
                <a:cubicBezTo>
                  <a:pt x="158" y="1790"/>
                  <a:pt x="222" y="1742"/>
                  <a:pt x="302" y="1742"/>
                </a:cubicBezTo>
                <a:cubicBezTo>
                  <a:pt x="477" y="1742"/>
                  <a:pt x="477" y="1742"/>
                  <a:pt x="477" y="1742"/>
                </a:cubicBezTo>
                <a:cubicBezTo>
                  <a:pt x="429" y="1822"/>
                  <a:pt x="397" y="1901"/>
                  <a:pt x="397" y="1997"/>
                </a:cubicBezTo>
                <a:cubicBezTo>
                  <a:pt x="397" y="2060"/>
                  <a:pt x="413" y="2124"/>
                  <a:pt x="429" y="2172"/>
                </a:cubicBezTo>
                <a:cubicBezTo>
                  <a:pt x="302" y="2172"/>
                  <a:pt x="302" y="2172"/>
                  <a:pt x="302" y="2172"/>
                </a:cubicBezTo>
                <a:cubicBezTo>
                  <a:pt x="222" y="2172"/>
                  <a:pt x="158" y="2108"/>
                  <a:pt x="158" y="204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4" name="Freeform: Shape 12">
            <a:extLst>
              <a:ext uri="{FF2B5EF4-FFF2-40B4-BE49-F238E27FC236}">
                <a16:creationId xmlns:a16="http://schemas.microsoft.com/office/drawing/2014/main" id="{5F10B823-21CF-1C4F-8647-9FC624844466}"/>
              </a:ext>
            </a:extLst>
          </p:cNvPr>
          <p:cNvSpPr/>
          <p:nvPr/>
        </p:nvSpPr>
        <p:spPr>
          <a:xfrm>
            <a:off x="5933734" y="9784736"/>
            <a:ext cx="1775520" cy="1454400"/>
          </a:xfrm>
          <a:custGeom>
            <a:avLst/>
            <a:gdLst/>
            <a:ahLst/>
            <a:cxnLst>
              <a:cxn ang="3cd4">
                <a:pos x="hc" y="t"/>
              </a:cxn>
              <a:cxn ang="cd2">
                <a:pos x="l" y="vc"/>
              </a:cxn>
              <a:cxn ang="cd4">
                <a:pos x="hc" y="b"/>
              </a:cxn>
              <a:cxn ang="0">
                <a:pos x="r" y="vc"/>
              </a:cxn>
            </a:cxnLst>
            <a:rect l="l" t="t" r="r" b="b"/>
            <a:pathLst>
              <a:path w="4933" h="4041">
                <a:moveTo>
                  <a:pt x="4933" y="779"/>
                </a:moveTo>
                <a:lnTo>
                  <a:pt x="4933" y="477"/>
                </a:lnTo>
                <a:cubicBezTo>
                  <a:pt x="4933" y="429"/>
                  <a:pt x="4885" y="397"/>
                  <a:pt x="4853" y="397"/>
                </a:cubicBezTo>
                <a:lnTo>
                  <a:pt x="4280" y="397"/>
                </a:lnTo>
                <a:cubicBezTo>
                  <a:pt x="4216" y="397"/>
                  <a:pt x="4169" y="429"/>
                  <a:pt x="4121" y="461"/>
                </a:cubicBezTo>
                <a:lnTo>
                  <a:pt x="3373" y="1209"/>
                </a:lnTo>
                <a:lnTo>
                  <a:pt x="3437" y="382"/>
                </a:lnTo>
                <a:cubicBezTo>
                  <a:pt x="3421" y="127"/>
                  <a:pt x="3024" y="0"/>
                  <a:pt x="2164" y="0"/>
                </a:cubicBezTo>
                <a:cubicBezTo>
                  <a:pt x="1305" y="0"/>
                  <a:pt x="907" y="127"/>
                  <a:pt x="891" y="397"/>
                </a:cubicBezTo>
                <a:lnTo>
                  <a:pt x="987" y="1591"/>
                </a:lnTo>
                <a:lnTo>
                  <a:pt x="907" y="1591"/>
                </a:lnTo>
                <a:cubicBezTo>
                  <a:pt x="637" y="1591"/>
                  <a:pt x="398" y="1813"/>
                  <a:pt x="398" y="2100"/>
                </a:cubicBezTo>
                <a:lnTo>
                  <a:pt x="398" y="2688"/>
                </a:lnTo>
                <a:lnTo>
                  <a:pt x="80" y="2688"/>
                </a:lnTo>
                <a:cubicBezTo>
                  <a:pt x="32" y="2688"/>
                  <a:pt x="0" y="2721"/>
                  <a:pt x="0" y="2768"/>
                </a:cubicBezTo>
                <a:lnTo>
                  <a:pt x="0" y="3961"/>
                </a:lnTo>
                <a:cubicBezTo>
                  <a:pt x="0" y="3993"/>
                  <a:pt x="32" y="4041"/>
                  <a:pt x="80" y="4041"/>
                </a:cubicBezTo>
                <a:lnTo>
                  <a:pt x="4249" y="4041"/>
                </a:lnTo>
                <a:cubicBezTo>
                  <a:pt x="4296" y="4041"/>
                  <a:pt x="4328" y="3993"/>
                  <a:pt x="4328" y="3961"/>
                </a:cubicBezTo>
                <a:lnTo>
                  <a:pt x="4328" y="2768"/>
                </a:lnTo>
                <a:cubicBezTo>
                  <a:pt x="4328" y="2721"/>
                  <a:pt x="4296" y="2688"/>
                  <a:pt x="4249" y="2688"/>
                </a:cubicBezTo>
                <a:lnTo>
                  <a:pt x="3930" y="2688"/>
                </a:lnTo>
                <a:lnTo>
                  <a:pt x="3930" y="2100"/>
                </a:lnTo>
                <a:cubicBezTo>
                  <a:pt x="3930" y="1877"/>
                  <a:pt x="3803" y="1702"/>
                  <a:pt x="3596" y="1622"/>
                </a:cubicBezTo>
                <a:lnTo>
                  <a:pt x="4376" y="859"/>
                </a:lnTo>
                <a:lnTo>
                  <a:pt x="4853" y="859"/>
                </a:lnTo>
                <a:cubicBezTo>
                  <a:pt x="4885" y="859"/>
                  <a:pt x="4933" y="827"/>
                  <a:pt x="4933" y="779"/>
                </a:cubicBezTo>
                <a:close/>
                <a:moveTo>
                  <a:pt x="3278" y="382"/>
                </a:moveTo>
                <a:lnTo>
                  <a:pt x="3214" y="1193"/>
                </a:lnTo>
                <a:lnTo>
                  <a:pt x="2244" y="1193"/>
                </a:lnTo>
                <a:lnTo>
                  <a:pt x="2244" y="159"/>
                </a:lnTo>
                <a:cubicBezTo>
                  <a:pt x="3182" y="175"/>
                  <a:pt x="3278" y="334"/>
                  <a:pt x="3278" y="382"/>
                </a:cubicBezTo>
                <a:close/>
                <a:moveTo>
                  <a:pt x="2085" y="159"/>
                </a:moveTo>
                <a:lnTo>
                  <a:pt x="2085" y="1193"/>
                </a:lnTo>
                <a:lnTo>
                  <a:pt x="1114" y="1193"/>
                </a:lnTo>
                <a:lnTo>
                  <a:pt x="1051" y="397"/>
                </a:lnTo>
                <a:cubicBezTo>
                  <a:pt x="1067" y="334"/>
                  <a:pt x="1146" y="175"/>
                  <a:pt x="2085" y="159"/>
                </a:cubicBezTo>
                <a:close/>
                <a:moveTo>
                  <a:pt x="160" y="3882"/>
                </a:moveTo>
                <a:lnTo>
                  <a:pt x="160" y="3436"/>
                </a:lnTo>
                <a:lnTo>
                  <a:pt x="4169" y="3436"/>
                </a:lnTo>
                <a:lnTo>
                  <a:pt x="4169" y="3882"/>
                </a:lnTo>
                <a:close/>
                <a:moveTo>
                  <a:pt x="4169" y="3277"/>
                </a:moveTo>
                <a:lnTo>
                  <a:pt x="160" y="3277"/>
                </a:lnTo>
                <a:lnTo>
                  <a:pt x="160" y="2848"/>
                </a:lnTo>
                <a:lnTo>
                  <a:pt x="4169" y="2848"/>
                </a:lnTo>
                <a:close/>
                <a:moveTo>
                  <a:pt x="3771" y="2100"/>
                </a:moveTo>
                <a:lnTo>
                  <a:pt x="3771" y="2688"/>
                </a:lnTo>
                <a:lnTo>
                  <a:pt x="557" y="2688"/>
                </a:lnTo>
                <a:lnTo>
                  <a:pt x="557" y="2100"/>
                </a:lnTo>
                <a:cubicBezTo>
                  <a:pt x="557" y="1909"/>
                  <a:pt x="716" y="1750"/>
                  <a:pt x="907" y="1750"/>
                </a:cubicBezTo>
                <a:lnTo>
                  <a:pt x="1082" y="1750"/>
                </a:lnTo>
                <a:cubicBezTo>
                  <a:pt x="1098" y="1750"/>
                  <a:pt x="1114" y="1750"/>
                  <a:pt x="1130" y="1734"/>
                </a:cubicBezTo>
                <a:cubicBezTo>
                  <a:pt x="1146" y="1702"/>
                  <a:pt x="1162" y="1686"/>
                  <a:pt x="1162" y="1670"/>
                </a:cubicBezTo>
                <a:lnTo>
                  <a:pt x="1130" y="1352"/>
                </a:lnTo>
                <a:lnTo>
                  <a:pt x="2148" y="1352"/>
                </a:lnTo>
                <a:lnTo>
                  <a:pt x="2164" y="1352"/>
                </a:lnTo>
                <a:lnTo>
                  <a:pt x="2196" y="1352"/>
                </a:lnTo>
                <a:lnTo>
                  <a:pt x="3198" y="1352"/>
                </a:lnTo>
                <a:lnTo>
                  <a:pt x="3198" y="1368"/>
                </a:lnTo>
                <a:cubicBezTo>
                  <a:pt x="3182" y="1400"/>
                  <a:pt x="3182" y="1431"/>
                  <a:pt x="3198" y="1463"/>
                </a:cubicBezTo>
                <a:lnTo>
                  <a:pt x="3182" y="1670"/>
                </a:lnTo>
                <a:cubicBezTo>
                  <a:pt x="3182" y="1686"/>
                  <a:pt x="3182" y="1702"/>
                  <a:pt x="3198" y="1734"/>
                </a:cubicBezTo>
                <a:cubicBezTo>
                  <a:pt x="3214" y="1750"/>
                  <a:pt x="3230" y="1750"/>
                  <a:pt x="3262" y="1750"/>
                </a:cubicBezTo>
                <a:lnTo>
                  <a:pt x="3421" y="1750"/>
                </a:lnTo>
                <a:lnTo>
                  <a:pt x="3437" y="1750"/>
                </a:lnTo>
                <a:cubicBezTo>
                  <a:pt x="3628" y="1766"/>
                  <a:pt x="3771" y="1909"/>
                  <a:pt x="3771" y="2100"/>
                </a:cubicBezTo>
                <a:close/>
                <a:moveTo>
                  <a:pt x="4773" y="700"/>
                </a:moveTo>
                <a:lnTo>
                  <a:pt x="4344" y="700"/>
                </a:lnTo>
                <a:cubicBezTo>
                  <a:pt x="4328" y="700"/>
                  <a:pt x="4296" y="700"/>
                  <a:pt x="4280" y="716"/>
                </a:cubicBezTo>
                <a:lnTo>
                  <a:pt x="3405" y="1591"/>
                </a:lnTo>
                <a:lnTo>
                  <a:pt x="3342" y="1591"/>
                </a:lnTo>
                <a:lnTo>
                  <a:pt x="3358" y="1448"/>
                </a:lnTo>
                <a:lnTo>
                  <a:pt x="4233" y="573"/>
                </a:lnTo>
                <a:cubicBezTo>
                  <a:pt x="4249" y="573"/>
                  <a:pt x="4264" y="557"/>
                  <a:pt x="4280" y="557"/>
                </a:cubicBezTo>
                <a:lnTo>
                  <a:pt x="4773" y="557"/>
                </a:lnTo>
                <a:close/>
                <a:moveTo>
                  <a:pt x="3358" y="2020"/>
                </a:moveTo>
                <a:cubicBezTo>
                  <a:pt x="3198" y="2020"/>
                  <a:pt x="3087" y="2148"/>
                  <a:pt x="3087" y="2307"/>
                </a:cubicBezTo>
                <a:cubicBezTo>
                  <a:pt x="3087" y="2450"/>
                  <a:pt x="3198" y="2577"/>
                  <a:pt x="3358" y="2577"/>
                </a:cubicBezTo>
                <a:cubicBezTo>
                  <a:pt x="3516" y="2577"/>
                  <a:pt x="3644" y="2450"/>
                  <a:pt x="3644" y="2307"/>
                </a:cubicBezTo>
                <a:cubicBezTo>
                  <a:pt x="3644" y="2148"/>
                  <a:pt x="3516" y="2020"/>
                  <a:pt x="3358" y="2020"/>
                </a:cubicBezTo>
                <a:close/>
                <a:moveTo>
                  <a:pt x="3358" y="2418"/>
                </a:moveTo>
                <a:cubicBezTo>
                  <a:pt x="3294" y="2418"/>
                  <a:pt x="3246" y="2370"/>
                  <a:pt x="3246" y="2307"/>
                </a:cubicBezTo>
                <a:cubicBezTo>
                  <a:pt x="3246" y="2243"/>
                  <a:pt x="3294" y="2179"/>
                  <a:pt x="3358" y="2179"/>
                </a:cubicBezTo>
                <a:cubicBezTo>
                  <a:pt x="3421" y="2179"/>
                  <a:pt x="3485" y="2243"/>
                  <a:pt x="3485" y="2307"/>
                </a:cubicBezTo>
                <a:cubicBezTo>
                  <a:pt x="3485" y="2370"/>
                  <a:pt x="3421" y="2418"/>
                  <a:pt x="3358" y="2418"/>
                </a:cubicBezTo>
                <a:close/>
                <a:moveTo>
                  <a:pt x="971" y="2020"/>
                </a:moveTo>
                <a:cubicBezTo>
                  <a:pt x="812" y="2020"/>
                  <a:pt x="685" y="2148"/>
                  <a:pt x="685" y="2307"/>
                </a:cubicBezTo>
                <a:cubicBezTo>
                  <a:pt x="685" y="2450"/>
                  <a:pt x="812" y="2577"/>
                  <a:pt x="971" y="2577"/>
                </a:cubicBezTo>
                <a:cubicBezTo>
                  <a:pt x="1114" y="2577"/>
                  <a:pt x="1242" y="2450"/>
                  <a:pt x="1242" y="2307"/>
                </a:cubicBezTo>
                <a:cubicBezTo>
                  <a:pt x="1242" y="2148"/>
                  <a:pt x="1114" y="2020"/>
                  <a:pt x="971" y="2020"/>
                </a:cubicBezTo>
                <a:close/>
                <a:moveTo>
                  <a:pt x="971" y="2418"/>
                </a:moveTo>
                <a:cubicBezTo>
                  <a:pt x="907" y="2418"/>
                  <a:pt x="844" y="2370"/>
                  <a:pt x="844" y="2307"/>
                </a:cubicBezTo>
                <a:cubicBezTo>
                  <a:pt x="844" y="2243"/>
                  <a:pt x="907" y="2179"/>
                  <a:pt x="971" y="2179"/>
                </a:cubicBezTo>
                <a:cubicBezTo>
                  <a:pt x="1034" y="2179"/>
                  <a:pt x="1082" y="2243"/>
                  <a:pt x="1082" y="2307"/>
                </a:cubicBezTo>
                <a:cubicBezTo>
                  <a:pt x="1082" y="2370"/>
                  <a:pt x="1034" y="2418"/>
                  <a:pt x="971" y="241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5" name="Freeform: Shape 13">
            <a:extLst>
              <a:ext uri="{FF2B5EF4-FFF2-40B4-BE49-F238E27FC236}">
                <a16:creationId xmlns:a16="http://schemas.microsoft.com/office/drawing/2014/main" id="{E851ECAA-B6F5-FD49-ABB3-30CFBCAC8898}"/>
              </a:ext>
            </a:extLst>
          </p:cNvPr>
          <p:cNvSpPr/>
          <p:nvPr/>
        </p:nvSpPr>
        <p:spPr>
          <a:xfrm>
            <a:off x="1817870" y="9797611"/>
            <a:ext cx="1488960" cy="1397160"/>
          </a:xfrm>
          <a:custGeom>
            <a:avLst/>
            <a:gdLst/>
            <a:ahLst/>
            <a:cxnLst>
              <a:cxn ang="3cd4">
                <a:pos x="hc" y="t"/>
              </a:cxn>
              <a:cxn ang="cd2">
                <a:pos x="l" y="vc"/>
              </a:cxn>
              <a:cxn ang="cd4">
                <a:pos x="hc" y="b"/>
              </a:cxn>
              <a:cxn ang="0">
                <a:pos x="r" y="vc"/>
              </a:cxn>
            </a:cxnLst>
            <a:rect l="l" t="t" r="r" b="b"/>
            <a:pathLst>
              <a:path w="4137" h="3882">
                <a:moveTo>
                  <a:pt x="2737" y="1320"/>
                </a:moveTo>
                <a:cubicBezTo>
                  <a:pt x="2737" y="1543"/>
                  <a:pt x="2912" y="1734"/>
                  <a:pt x="3150" y="1734"/>
                </a:cubicBezTo>
                <a:cubicBezTo>
                  <a:pt x="3373" y="1734"/>
                  <a:pt x="3548" y="1543"/>
                  <a:pt x="3548" y="1320"/>
                </a:cubicBezTo>
                <a:cubicBezTo>
                  <a:pt x="3548" y="1081"/>
                  <a:pt x="3373" y="906"/>
                  <a:pt x="3150" y="906"/>
                </a:cubicBezTo>
                <a:cubicBezTo>
                  <a:pt x="2912" y="906"/>
                  <a:pt x="2737" y="1081"/>
                  <a:pt x="2737" y="1320"/>
                </a:cubicBezTo>
                <a:close/>
                <a:moveTo>
                  <a:pt x="3150" y="1066"/>
                </a:moveTo>
                <a:cubicBezTo>
                  <a:pt x="3277" y="1066"/>
                  <a:pt x="3389" y="1177"/>
                  <a:pt x="3389" y="1320"/>
                </a:cubicBezTo>
                <a:cubicBezTo>
                  <a:pt x="3389" y="1447"/>
                  <a:pt x="3277" y="1575"/>
                  <a:pt x="3150" y="1575"/>
                </a:cubicBezTo>
                <a:cubicBezTo>
                  <a:pt x="3007" y="1575"/>
                  <a:pt x="2895" y="1447"/>
                  <a:pt x="2895" y="1320"/>
                </a:cubicBezTo>
                <a:cubicBezTo>
                  <a:pt x="2895" y="1177"/>
                  <a:pt x="3007" y="1066"/>
                  <a:pt x="3150" y="1066"/>
                </a:cubicBezTo>
                <a:close/>
                <a:moveTo>
                  <a:pt x="1655" y="1320"/>
                </a:moveTo>
                <a:cubicBezTo>
                  <a:pt x="1655" y="1543"/>
                  <a:pt x="1846" y="1734"/>
                  <a:pt x="2068" y="1734"/>
                </a:cubicBezTo>
                <a:cubicBezTo>
                  <a:pt x="2291" y="1734"/>
                  <a:pt x="2482" y="1543"/>
                  <a:pt x="2482" y="1320"/>
                </a:cubicBezTo>
                <a:cubicBezTo>
                  <a:pt x="2482" y="1081"/>
                  <a:pt x="2291" y="906"/>
                  <a:pt x="2068" y="906"/>
                </a:cubicBezTo>
                <a:cubicBezTo>
                  <a:pt x="1846" y="906"/>
                  <a:pt x="1655" y="1081"/>
                  <a:pt x="1655" y="1320"/>
                </a:cubicBezTo>
                <a:close/>
                <a:moveTo>
                  <a:pt x="2068" y="1066"/>
                </a:moveTo>
                <a:cubicBezTo>
                  <a:pt x="2212" y="1066"/>
                  <a:pt x="2323" y="1177"/>
                  <a:pt x="2323" y="1320"/>
                </a:cubicBezTo>
                <a:cubicBezTo>
                  <a:pt x="2323" y="1447"/>
                  <a:pt x="2212" y="1575"/>
                  <a:pt x="2068" y="1575"/>
                </a:cubicBezTo>
                <a:cubicBezTo>
                  <a:pt x="1925" y="1575"/>
                  <a:pt x="1814" y="1447"/>
                  <a:pt x="1814" y="1320"/>
                </a:cubicBezTo>
                <a:cubicBezTo>
                  <a:pt x="1814" y="1177"/>
                  <a:pt x="1925" y="1066"/>
                  <a:pt x="2068" y="1066"/>
                </a:cubicBezTo>
                <a:close/>
                <a:moveTo>
                  <a:pt x="986" y="1734"/>
                </a:moveTo>
                <a:cubicBezTo>
                  <a:pt x="1225" y="1734"/>
                  <a:pt x="1400" y="1543"/>
                  <a:pt x="1400" y="1320"/>
                </a:cubicBezTo>
                <a:cubicBezTo>
                  <a:pt x="1400" y="1081"/>
                  <a:pt x="1225" y="906"/>
                  <a:pt x="986" y="906"/>
                </a:cubicBezTo>
                <a:cubicBezTo>
                  <a:pt x="764" y="906"/>
                  <a:pt x="589" y="1081"/>
                  <a:pt x="589" y="1320"/>
                </a:cubicBezTo>
                <a:cubicBezTo>
                  <a:pt x="589" y="1543"/>
                  <a:pt x="764" y="1734"/>
                  <a:pt x="986" y="1734"/>
                </a:cubicBezTo>
                <a:close/>
                <a:moveTo>
                  <a:pt x="986" y="1066"/>
                </a:moveTo>
                <a:cubicBezTo>
                  <a:pt x="1130" y="1066"/>
                  <a:pt x="1241" y="1177"/>
                  <a:pt x="1241" y="1320"/>
                </a:cubicBezTo>
                <a:cubicBezTo>
                  <a:pt x="1241" y="1447"/>
                  <a:pt x="1130" y="1575"/>
                  <a:pt x="986" y="1575"/>
                </a:cubicBezTo>
                <a:cubicBezTo>
                  <a:pt x="859" y="1575"/>
                  <a:pt x="748" y="1447"/>
                  <a:pt x="748" y="1320"/>
                </a:cubicBezTo>
                <a:cubicBezTo>
                  <a:pt x="748" y="1177"/>
                  <a:pt x="859" y="1066"/>
                  <a:pt x="986" y="1066"/>
                </a:cubicBezTo>
                <a:close/>
                <a:moveTo>
                  <a:pt x="2561" y="906"/>
                </a:moveTo>
                <a:cubicBezTo>
                  <a:pt x="2737" y="906"/>
                  <a:pt x="2895" y="747"/>
                  <a:pt x="2895" y="572"/>
                </a:cubicBezTo>
                <a:cubicBezTo>
                  <a:pt x="2895" y="397"/>
                  <a:pt x="2737" y="238"/>
                  <a:pt x="2561" y="238"/>
                </a:cubicBezTo>
                <a:cubicBezTo>
                  <a:pt x="2386" y="238"/>
                  <a:pt x="2243" y="397"/>
                  <a:pt x="2243" y="572"/>
                </a:cubicBezTo>
                <a:cubicBezTo>
                  <a:pt x="2243" y="747"/>
                  <a:pt x="2386" y="906"/>
                  <a:pt x="2561" y="906"/>
                </a:cubicBezTo>
                <a:close/>
                <a:moveTo>
                  <a:pt x="2561" y="397"/>
                </a:moveTo>
                <a:cubicBezTo>
                  <a:pt x="2657" y="397"/>
                  <a:pt x="2737" y="477"/>
                  <a:pt x="2737" y="572"/>
                </a:cubicBezTo>
                <a:cubicBezTo>
                  <a:pt x="2737" y="667"/>
                  <a:pt x="2657" y="747"/>
                  <a:pt x="2561" y="747"/>
                </a:cubicBezTo>
                <a:cubicBezTo>
                  <a:pt x="2466" y="747"/>
                  <a:pt x="2403" y="667"/>
                  <a:pt x="2403" y="572"/>
                </a:cubicBezTo>
                <a:cubicBezTo>
                  <a:pt x="2403" y="477"/>
                  <a:pt x="2466" y="397"/>
                  <a:pt x="2561" y="397"/>
                </a:cubicBezTo>
                <a:close/>
                <a:moveTo>
                  <a:pt x="1495" y="906"/>
                </a:moveTo>
                <a:cubicBezTo>
                  <a:pt x="1670" y="906"/>
                  <a:pt x="1814" y="747"/>
                  <a:pt x="1814" y="572"/>
                </a:cubicBezTo>
                <a:cubicBezTo>
                  <a:pt x="1814" y="397"/>
                  <a:pt x="1670" y="238"/>
                  <a:pt x="1495" y="238"/>
                </a:cubicBezTo>
                <a:cubicBezTo>
                  <a:pt x="1304" y="238"/>
                  <a:pt x="1161" y="397"/>
                  <a:pt x="1161" y="572"/>
                </a:cubicBezTo>
                <a:cubicBezTo>
                  <a:pt x="1161" y="747"/>
                  <a:pt x="1304" y="906"/>
                  <a:pt x="1495" y="906"/>
                </a:cubicBezTo>
                <a:close/>
                <a:moveTo>
                  <a:pt x="1495" y="397"/>
                </a:moveTo>
                <a:cubicBezTo>
                  <a:pt x="1575" y="397"/>
                  <a:pt x="1655" y="477"/>
                  <a:pt x="1655" y="572"/>
                </a:cubicBezTo>
                <a:cubicBezTo>
                  <a:pt x="1655" y="667"/>
                  <a:pt x="1575" y="747"/>
                  <a:pt x="1495" y="747"/>
                </a:cubicBezTo>
                <a:cubicBezTo>
                  <a:pt x="1400" y="747"/>
                  <a:pt x="1321" y="667"/>
                  <a:pt x="1321" y="572"/>
                </a:cubicBezTo>
                <a:cubicBezTo>
                  <a:pt x="1321" y="477"/>
                  <a:pt x="1400" y="397"/>
                  <a:pt x="1495" y="397"/>
                </a:cubicBezTo>
                <a:close/>
                <a:moveTo>
                  <a:pt x="48" y="1622"/>
                </a:moveTo>
                <a:lnTo>
                  <a:pt x="32" y="1686"/>
                </a:lnTo>
                <a:cubicBezTo>
                  <a:pt x="16" y="1766"/>
                  <a:pt x="0" y="1861"/>
                  <a:pt x="0" y="1957"/>
                </a:cubicBezTo>
                <a:lnTo>
                  <a:pt x="0" y="3134"/>
                </a:lnTo>
                <a:lnTo>
                  <a:pt x="0" y="3229"/>
                </a:lnTo>
                <a:lnTo>
                  <a:pt x="0" y="3627"/>
                </a:lnTo>
                <a:cubicBezTo>
                  <a:pt x="0" y="3770"/>
                  <a:pt x="112" y="3882"/>
                  <a:pt x="255" y="3882"/>
                </a:cubicBezTo>
                <a:lnTo>
                  <a:pt x="573" y="3882"/>
                </a:lnTo>
                <a:cubicBezTo>
                  <a:pt x="716" y="3882"/>
                  <a:pt x="827" y="3770"/>
                  <a:pt x="827" y="3627"/>
                </a:cubicBezTo>
                <a:lnTo>
                  <a:pt x="827" y="3468"/>
                </a:lnTo>
                <a:lnTo>
                  <a:pt x="3309" y="3468"/>
                </a:lnTo>
                <a:lnTo>
                  <a:pt x="3309" y="3627"/>
                </a:lnTo>
                <a:cubicBezTo>
                  <a:pt x="3309" y="3770"/>
                  <a:pt x="3421" y="3882"/>
                  <a:pt x="3564" y="3882"/>
                </a:cubicBezTo>
                <a:lnTo>
                  <a:pt x="3882" y="3882"/>
                </a:lnTo>
                <a:cubicBezTo>
                  <a:pt x="4025" y="3882"/>
                  <a:pt x="4137" y="3770"/>
                  <a:pt x="4137" y="3627"/>
                </a:cubicBezTo>
                <a:lnTo>
                  <a:pt x="4137" y="3229"/>
                </a:lnTo>
                <a:lnTo>
                  <a:pt x="4137" y="3134"/>
                </a:lnTo>
                <a:lnTo>
                  <a:pt x="4137" y="1957"/>
                </a:lnTo>
                <a:cubicBezTo>
                  <a:pt x="4137" y="1861"/>
                  <a:pt x="4121" y="1766"/>
                  <a:pt x="4089" y="1686"/>
                </a:cubicBezTo>
                <a:lnTo>
                  <a:pt x="4057" y="1527"/>
                </a:lnTo>
                <a:lnTo>
                  <a:pt x="4057" y="1511"/>
                </a:lnTo>
                <a:lnTo>
                  <a:pt x="4041" y="1495"/>
                </a:lnTo>
                <a:lnTo>
                  <a:pt x="3755" y="429"/>
                </a:lnTo>
                <a:cubicBezTo>
                  <a:pt x="3691" y="175"/>
                  <a:pt x="3468" y="0"/>
                  <a:pt x="3198" y="0"/>
                </a:cubicBezTo>
                <a:lnTo>
                  <a:pt x="923" y="0"/>
                </a:lnTo>
                <a:cubicBezTo>
                  <a:pt x="668" y="0"/>
                  <a:pt x="430" y="175"/>
                  <a:pt x="366" y="429"/>
                </a:cubicBezTo>
                <a:lnTo>
                  <a:pt x="79" y="1543"/>
                </a:lnTo>
                <a:cubicBezTo>
                  <a:pt x="64" y="1558"/>
                  <a:pt x="64" y="1591"/>
                  <a:pt x="48" y="1622"/>
                </a:cubicBezTo>
                <a:close/>
                <a:moveTo>
                  <a:pt x="3977" y="1925"/>
                </a:moveTo>
                <a:lnTo>
                  <a:pt x="3977" y="1957"/>
                </a:lnTo>
                <a:lnTo>
                  <a:pt x="3977" y="3134"/>
                </a:lnTo>
                <a:lnTo>
                  <a:pt x="3977" y="3229"/>
                </a:lnTo>
                <a:cubicBezTo>
                  <a:pt x="3977" y="3277"/>
                  <a:pt x="3946" y="3309"/>
                  <a:pt x="3898" y="3309"/>
                </a:cubicBezTo>
                <a:lnTo>
                  <a:pt x="239" y="3309"/>
                </a:lnTo>
                <a:cubicBezTo>
                  <a:pt x="191" y="3309"/>
                  <a:pt x="159" y="3277"/>
                  <a:pt x="159" y="3229"/>
                </a:cubicBezTo>
                <a:lnTo>
                  <a:pt x="159" y="3134"/>
                </a:lnTo>
                <a:lnTo>
                  <a:pt x="159" y="1972"/>
                </a:lnTo>
                <a:cubicBezTo>
                  <a:pt x="239" y="2036"/>
                  <a:pt x="350" y="2052"/>
                  <a:pt x="509" y="2052"/>
                </a:cubicBezTo>
                <a:lnTo>
                  <a:pt x="3612" y="2052"/>
                </a:lnTo>
                <a:cubicBezTo>
                  <a:pt x="3771" y="2052"/>
                  <a:pt x="3898" y="2020"/>
                  <a:pt x="3977" y="1925"/>
                </a:cubicBezTo>
                <a:close/>
                <a:moveTo>
                  <a:pt x="668" y="3627"/>
                </a:moveTo>
                <a:cubicBezTo>
                  <a:pt x="668" y="3675"/>
                  <a:pt x="621" y="3722"/>
                  <a:pt x="573" y="3722"/>
                </a:cubicBezTo>
                <a:lnTo>
                  <a:pt x="255" y="3722"/>
                </a:lnTo>
                <a:cubicBezTo>
                  <a:pt x="207" y="3722"/>
                  <a:pt x="159" y="3675"/>
                  <a:pt x="159" y="3627"/>
                </a:cubicBezTo>
                <a:lnTo>
                  <a:pt x="159" y="3452"/>
                </a:lnTo>
                <a:cubicBezTo>
                  <a:pt x="191" y="3452"/>
                  <a:pt x="207" y="3468"/>
                  <a:pt x="239" y="3468"/>
                </a:cubicBezTo>
                <a:lnTo>
                  <a:pt x="668" y="3468"/>
                </a:lnTo>
                <a:close/>
                <a:moveTo>
                  <a:pt x="3882" y="3722"/>
                </a:moveTo>
                <a:lnTo>
                  <a:pt x="3564" y="3722"/>
                </a:lnTo>
                <a:cubicBezTo>
                  <a:pt x="3516" y="3722"/>
                  <a:pt x="3468" y="3675"/>
                  <a:pt x="3468" y="3627"/>
                </a:cubicBezTo>
                <a:lnTo>
                  <a:pt x="3468" y="3468"/>
                </a:lnTo>
                <a:lnTo>
                  <a:pt x="3898" y="3468"/>
                </a:lnTo>
                <a:cubicBezTo>
                  <a:pt x="3930" y="3468"/>
                  <a:pt x="3946" y="3452"/>
                  <a:pt x="3977" y="3452"/>
                </a:cubicBezTo>
                <a:lnTo>
                  <a:pt x="3977" y="3627"/>
                </a:lnTo>
                <a:cubicBezTo>
                  <a:pt x="3977" y="3675"/>
                  <a:pt x="3930" y="3722"/>
                  <a:pt x="3882" y="3722"/>
                </a:cubicBezTo>
                <a:close/>
                <a:moveTo>
                  <a:pt x="525" y="461"/>
                </a:moveTo>
                <a:cubicBezTo>
                  <a:pt x="573" y="286"/>
                  <a:pt x="732" y="158"/>
                  <a:pt x="923" y="158"/>
                </a:cubicBezTo>
                <a:lnTo>
                  <a:pt x="3198" y="158"/>
                </a:lnTo>
                <a:cubicBezTo>
                  <a:pt x="3389" y="158"/>
                  <a:pt x="3564" y="286"/>
                  <a:pt x="3612" y="461"/>
                </a:cubicBezTo>
                <a:lnTo>
                  <a:pt x="3898" y="1558"/>
                </a:lnTo>
                <a:cubicBezTo>
                  <a:pt x="3914" y="1622"/>
                  <a:pt x="3930" y="1734"/>
                  <a:pt x="3866" y="1813"/>
                </a:cubicBezTo>
                <a:cubicBezTo>
                  <a:pt x="3818" y="1877"/>
                  <a:pt x="3739" y="1893"/>
                  <a:pt x="3612" y="1893"/>
                </a:cubicBezTo>
                <a:lnTo>
                  <a:pt x="509" y="1893"/>
                </a:lnTo>
                <a:cubicBezTo>
                  <a:pt x="366" y="1893"/>
                  <a:pt x="270" y="1877"/>
                  <a:pt x="223" y="1813"/>
                </a:cubicBezTo>
                <a:cubicBezTo>
                  <a:pt x="191" y="1766"/>
                  <a:pt x="191" y="1718"/>
                  <a:pt x="207" y="1654"/>
                </a:cubicBezTo>
                <a:lnTo>
                  <a:pt x="223" y="1575"/>
                </a:lnTo>
                <a:lnTo>
                  <a:pt x="239" y="1558"/>
                </a:lnTo>
                <a:lnTo>
                  <a:pt x="239" y="1543"/>
                </a:lnTo>
                <a:close/>
                <a:moveTo>
                  <a:pt x="3150" y="2402"/>
                </a:moveTo>
                <a:cubicBezTo>
                  <a:pt x="3007" y="2402"/>
                  <a:pt x="2895" y="2497"/>
                  <a:pt x="2895" y="2640"/>
                </a:cubicBezTo>
                <a:lnTo>
                  <a:pt x="2895" y="2720"/>
                </a:lnTo>
                <a:cubicBezTo>
                  <a:pt x="2895" y="2863"/>
                  <a:pt x="3007" y="2975"/>
                  <a:pt x="3150" y="2975"/>
                </a:cubicBezTo>
                <a:lnTo>
                  <a:pt x="3564" y="2975"/>
                </a:lnTo>
                <a:cubicBezTo>
                  <a:pt x="3691" y="2975"/>
                  <a:pt x="3803" y="2863"/>
                  <a:pt x="3803" y="2720"/>
                </a:cubicBezTo>
                <a:lnTo>
                  <a:pt x="3803" y="2640"/>
                </a:lnTo>
                <a:cubicBezTo>
                  <a:pt x="3803" y="2497"/>
                  <a:pt x="3691" y="2402"/>
                  <a:pt x="3564" y="2402"/>
                </a:cubicBezTo>
                <a:close/>
                <a:moveTo>
                  <a:pt x="3643" y="2640"/>
                </a:moveTo>
                <a:lnTo>
                  <a:pt x="3643" y="2720"/>
                </a:lnTo>
                <a:cubicBezTo>
                  <a:pt x="3643" y="2768"/>
                  <a:pt x="3595" y="2815"/>
                  <a:pt x="3564" y="2815"/>
                </a:cubicBezTo>
                <a:lnTo>
                  <a:pt x="3150" y="2815"/>
                </a:lnTo>
                <a:cubicBezTo>
                  <a:pt x="3103" y="2815"/>
                  <a:pt x="3055" y="2768"/>
                  <a:pt x="3055" y="2720"/>
                </a:cubicBezTo>
                <a:lnTo>
                  <a:pt x="3055" y="2640"/>
                </a:lnTo>
                <a:cubicBezTo>
                  <a:pt x="3055" y="2593"/>
                  <a:pt x="3103" y="2561"/>
                  <a:pt x="3150" y="2561"/>
                </a:cubicBezTo>
                <a:lnTo>
                  <a:pt x="3564" y="2561"/>
                </a:lnTo>
                <a:cubicBezTo>
                  <a:pt x="3595" y="2561"/>
                  <a:pt x="3643" y="2593"/>
                  <a:pt x="3643" y="2640"/>
                </a:cubicBezTo>
                <a:close/>
                <a:moveTo>
                  <a:pt x="986" y="2402"/>
                </a:moveTo>
                <a:lnTo>
                  <a:pt x="573" y="2402"/>
                </a:lnTo>
                <a:cubicBezTo>
                  <a:pt x="446" y="2402"/>
                  <a:pt x="334" y="2497"/>
                  <a:pt x="334" y="2640"/>
                </a:cubicBezTo>
                <a:lnTo>
                  <a:pt x="334" y="2720"/>
                </a:lnTo>
                <a:cubicBezTo>
                  <a:pt x="334" y="2863"/>
                  <a:pt x="446" y="2975"/>
                  <a:pt x="573" y="2975"/>
                </a:cubicBezTo>
                <a:lnTo>
                  <a:pt x="986" y="2975"/>
                </a:lnTo>
                <a:cubicBezTo>
                  <a:pt x="1130" y="2975"/>
                  <a:pt x="1241" y="2863"/>
                  <a:pt x="1241" y="2720"/>
                </a:cubicBezTo>
                <a:lnTo>
                  <a:pt x="1241" y="2640"/>
                </a:lnTo>
                <a:cubicBezTo>
                  <a:pt x="1241" y="2497"/>
                  <a:pt x="1130" y="2402"/>
                  <a:pt x="986" y="2402"/>
                </a:cubicBezTo>
                <a:close/>
                <a:moveTo>
                  <a:pt x="1082" y="2720"/>
                </a:moveTo>
                <a:cubicBezTo>
                  <a:pt x="1082" y="2768"/>
                  <a:pt x="1034" y="2815"/>
                  <a:pt x="986" y="2815"/>
                </a:cubicBezTo>
                <a:lnTo>
                  <a:pt x="573" y="2815"/>
                </a:lnTo>
                <a:cubicBezTo>
                  <a:pt x="525" y="2815"/>
                  <a:pt x="493" y="2768"/>
                  <a:pt x="493" y="2720"/>
                </a:cubicBezTo>
                <a:lnTo>
                  <a:pt x="493" y="2640"/>
                </a:lnTo>
                <a:cubicBezTo>
                  <a:pt x="493" y="2593"/>
                  <a:pt x="525" y="2561"/>
                  <a:pt x="573" y="2561"/>
                </a:cubicBezTo>
                <a:lnTo>
                  <a:pt x="986" y="2561"/>
                </a:lnTo>
                <a:cubicBezTo>
                  <a:pt x="1034" y="2561"/>
                  <a:pt x="1082" y="2593"/>
                  <a:pt x="1082" y="26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6" name="Freeform: Shape 14">
            <a:extLst>
              <a:ext uri="{FF2B5EF4-FFF2-40B4-BE49-F238E27FC236}">
                <a16:creationId xmlns:a16="http://schemas.microsoft.com/office/drawing/2014/main" id="{0BB67F9A-FAFE-D44C-AEE1-F149CFA866FA}"/>
              </a:ext>
            </a:extLst>
          </p:cNvPr>
          <p:cNvSpPr/>
          <p:nvPr/>
        </p:nvSpPr>
        <p:spPr>
          <a:xfrm>
            <a:off x="14069178" y="6443404"/>
            <a:ext cx="1379880" cy="1643399"/>
          </a:xfrm>
          <a:custGeom>
            <a:avLst/>
            <a:gdLst/>
            <a:ahLst/>
            <a:cxnLst>
              <a:cxn ang="3cd4">
                <a:pos x="hc" y="t"/>
              </a:cxn>
              <a:cxn ang="cd2">
                <a:pos x="l" y="vc"/>
              </a:cxn>
              <a:cxn ang="cd4">
                <a:pos x="hc" y="b"/>
              </a:cxn>
              <a:cxn ang="0">
                <a:pos x="r" y="vc"/>
              </a:cxn>
            </a:cxnLst>
            <a:rect l="l" t="t" r="r" b="b"/>
            <a:pathLst>
              <a:path w="3834" h="4566">
                <a:moveTo>
                  <a:pt x="636" y="2944"/>
                </a:moveTo>
                <a:cubicBezTo>
                  <a:pt x="477" y="2944"/>
                  <a:pt x="350" y="3071"/>
                  <a:pt x="350" y="3230"/>
                </a:cubicBezTo>
                <a:cubicBezTo>
                  <a:pt x="350" y="3389"/>
                  <a:pt x="477" y="3517"/>
                  <a:pt x="636" y="3517"/>
                </a:cubicBezTo>
                <a:cubicBezTo>
                  <a:pt x="795" y="3517"/>
                  <a:pt x="923" y="3389"/>
                  <a:pt x="923" y="3230"/>
                </a:cubicBezTo>
                <a:cubicBezTo>
                  <a:pt x="923" y="3071"/>
                  <a:pt x="795" y="2944"/>
                  <a:pt x="636" y="2944"/>
                </a:cubicBezTo>
                <a:close/>
                <a:moveTo>
                  <a:pt x="636" y="3358"/>
                </a:moveTo>
                <a:cubicBezTo>
                  <a:pt x="573" y="3358"/>
                  <a:pt x="509" y="3310"/>
                  <a:pt x="509" y="3230"/>
                </a:cubicBezTo>
                <a:cubicBezTo>
                  <a:pt x="509" y="3167"/>
                  <a:pt x="573" y="3103"/>
                  <a:pt x="636" y="3103"/>
                </a:cubicBezTo>
                <a:cubicBezTo>
                  <a:pt x="716" y="3103"/>
                  <a:pt x="764" y="3167"/>
                  <a:pt x="764" y="3230"/>
                </a:cubicBezTo>
                <a:cubicBezTo>
                  <a:pt x="764" y="3310"/>
                  <a:pt x="716" y="3358"/>
                  <a:pt x="636" y="3358"/>
                </a:cubicBezTo>
                <a:close/>
                <a:moveTo>
                  <a:pt x="3150" y="2944"/>
                </a:moveTo>
                <a:cubicBezTo>
                  <a:pt x="2991" y="2944"/>
                  <a:pt x="2864" y="3071"/>
                  <a:pt x="2864" y="3230"/>
                </a:cubicBezTo>
                <a:cubicBezTo>
                  <a:pt x="2864" y="3389"/>
                  <a:pt x="2991" y="3517"/>
                  <a:pt x="3150" y="3517"/>
                </a:cubicBezTo>
                <a:cubicBezTo>
                  <a:pt x="3309" y="3517"/>
                  <a:pt x="3452" y="3389"/>
                  <a:pt x="3452" y="3230"/>
                </a:cubicBezTo>
                <a:cubicBezTo>
                  <a:pt x="3452" y="3071"/>
                  <a:pt x="3309" y="2944"/>
                  <a:pt x="3150" y="2944"/>
                </a:cubicBezTo>
                <a:close/>
                <a:moveTo>
                  <a:pt x="3150" y="3358"/>
                </a:moveTo>
                <a:cubicBezTo>
                  <a:pt x="3086" y="3358"/>
                  <a:pt x="3023" y="3310"/>
                  <a:pt x="3023" y="3230"/>
                </a:cubicBezTo>
                <a:cubicBezTo>
                  <a:pt x="3023" y="3167"/>
                  <a:pt x="3086" y="3103"/>
                  <a:pt x="3150" y="3103"/>
                </a:cubicBezTo>
                <a:cubicBezTo>
                  <a:pt x="3230" y="3103"/>
                  <a:pt x="3293" y="3167"/>
                  <a:pt x="3293" y="3230"/>
                </a:cubicBezTo>
                <a:cubicBezTo>
                  <a:pt x="3293" y="3310"/>
                  <a:pt x="3230" y="3358"/>
                  <a:pt x="3150" y="3358"/>
                </a:cubicBezTo>
                <a:close/>
                <a:moveTo>
                  <a:pt x="3342" y="2387"/>
                </a:moveTo>
                <a:cubicBezTo>
                  <a:pt x="3374" y="2340"/>
                  <a:pt x="3405" y="2292"/>
                  <a:pt x="3390" y="2244"/>
                </a:cubicBezTo>
                <a:lnTo>
                  <a:pt x="3278" y="1035"/>
                </a:lnTo>
                <a:cubicBezTo>
                  <a:pt x="3262" y="924"/>
                  <a:pt x="3183" y="860"/>
                  <a:pt x="3087" y="860"/>
                </a:cubicBezTo>
                <a:lnTo>
                  <a:pt x="749" y="860"/>
                </a:lnTo>
                <a:cubicBezTo>
                  <a:pt x="653" y="860"/>
                  <a:pt x="558" y="924"/>
                  <a:pt x="558" y="1035"/>
                </a:cubicBezTo>
                <a:lnTo>
                  <a:pt x="446" y="2244"/>
                </a:lnTo>
                <a:cubicBezTo>
                  <a:pt x="431" y="2292"/>
                  <a:pt x="446" y="2340"/>
                  <a:pt x="494" y="2387"/>
                </a:cubicBezTo>
                <a:cubicBezTo>
                  <a:pt x="526" y="2419"/>
                  <a:pt x="574" y="2451"/>
                  <a:pt x="622" y="2451"/>
                </a:cubicBezTo>
                <a:lnTo>
                  <a:pt x="3215" y="2451"/>
                </a:lnTo>
                <a:cubicBezTo>
                  <a:pt x="3262" y="2451"/>
                  <a:pt x="3310" y="2419"/>
                  <a:pt x="3342" y="2387"/>
                </a:cubicBezTo>
                <a:close/>
                <a:moveTo>
                  <a:pt x="605" y="2276"/>
                </a:moveTo>
                <a:lnTo>
                  <a:pt x="605" y="2260"/>
                </a:lnTo>
                <a:lnTo>
                  <a:pt x="717" y="1051"/>
                </a:lnTo>
                <a:cubicBezTo>
                  <a:pt x="717" y="1035"/>
                  <a:pt x="733" y="1019"/>
                  <a:pt x="749" y="1019"/>
                </a:cubicBezTo>
                <a:lnTo>
                  <a:pt x="3087" y="1019"/>
                </a:lnTo>
                <a:cubicBezTo>
                  <a:pt x="3104" y="1019"/>
                  <a:pt x="3119" y="1035"/>
                  <a:pt x="3119" y="1051"/>
                </a:cubicBezTo>
                <a:lnTo>
                  <a:pt x="3231" y="2260"/>
                </a:lnTo>
                <a:lnTo>
                  <a:pt x="3231" y="2276"/>
                </a:lnTo>
                <a:lnTo>
                  <a:pt x="3215" y="2292"/>
                </a:lnTo>
                <a:lnTo>
                  <a:pt x="622" y="2292"/>
                </a:lnTo>
                <a:close/>
                <a:moveTo>
                  <a:pt x="3103" y="4534"/>
                </a:moveTo>
                <a:lnTo>
                  <a:pt x="3166" y="4534"/>
                </a:lnTo>
                <a:cubicBezTo>
                  <a:pt x="3341" y="4518"/>
                  <a:pt x="3548" y="4470"/>
                  <a:pt x="3548" y="4184"/>
                </a:cubicBezTo>
                <a:lnTo>
                  <a:pt x="3548" y="4073"/>
                </a:lnTo>
                <a:cubicBezTo>
                  <a:pt x="3739" y="4041"/>
                  <a:pt x="3834" y="3945"/>
                  <a:pt x="3834" y="3786"/>
                </a:cubicBezTo>
                <a:lnTo>
                  <a:pt x="3834" y="2402"/>
                </a:lnTo>
                <a:cubicBezTo>
                  <a:pt x="3803" y="1829"/>
                  <a:pt x="3659" y="715"/>
                  <a:pt x="3627" y="541"/>
                </a:cubicBezTo>
                <a:cubicBezTo>
                  <a:pt x="3595" y="318"/>
                  <a:pt x="3404" y="127"/>
                  <a:pt x="3150" y="95"/>
                </a:cubicBezTo>
                <a:cubicBezTo>
                  <a:pt x="2339" y="-32"/>
                  <a:pt x="1480" y="-32"/>
                  <a:pt x="668" y="95"/>
                </a:cubicBezTo>
                <a:cubicBezTo>
                  <a:pt x="430" y="127"/>
                  <a:pt x="239" y="318"/>
                  <a:pt x="207" y="541"/>
                </a:cubicBezTo>
                <a:cubicBezTo>
                  <a:pt x="175" y="715"/>
                  <a:pt x="32" y="1829"/>
                  <a:pt x="0" y="2418"/>
                </a:cubicBezTo>
                <a:lnTo>
                  <a:pt x="0" y="3786"/>
                </a:lnTo>
                <a:cubicBezTo>
                  <a:pt x="0" y="3977"/>
                  <a:pt x="175" y="4041"/>
                  <a:pt x="286" y="4057"/>
                </a:cubicBezTo>
                <a:lnTo>
                  <a:pt x="286" y="4184"/>
                </a:lnTo>
                <a:cubicBezTo>
                  <a:pt x="286" y="4232"/>
                  <a:pt x="286" y="4359"/>
                  <a:pt x="382" y="4454"/>
                </a:cubicBezTo>
                <a:cubicBezTo>
                  <a:pt x="445" y="4534"/>
                  <a:pt x="541" y="4566"/>
                  <a:pt x="684" y="4566"/>
                </a:cubicBezTo>
                <a:lnTo>
                  <a:pt x="748" y="4566"/>
                </a:lnTo>
                <a:cubicBezTo>
                  <a:pt x="1113" y="4566"/>
                  <a:pt x="1113" y="4311"/>
                  <a:pt x="1113" y="4232"/>
                </a:cubicBezTo>
                <a:lnTo>
                  <a:pt x="1113" y="4120"/>
                </a:lnTo>
                <a:lnTo>
                  <a:pt x="2721" y="4120"/>
                </a:lnTo>
                <a:lnTo>
                  <a:pt x="2721" y="4200"/>
                </a:lnTo>
                <a:cubicBezTo>
                  <a:pt x="2721" y="4407"/>
                  <a:pt x="2848" y="4518"/>
                  <a:pt x="3103" y="4534"/>
                </a:cubicBezTo>
                <a:close/>
                <a:moveTo>
                  <a:pt x="1066" y="3961"/>
                </a:moveTo>
                <a:cubicBezTo>
                  <a:pt x="1002" y="3961"/>
                  <a:pt x="955" y="4009"/>
                  <a:pt x="955" y="4073"/>
                </a:cubicBezTo>
                <a:lnTo>
                  <a:pt x="955" y="4232"/>
                </a:lnTo>
                <a:cubicBezTo>
                  <a:pt x="955" y="4311"/>
                  <a:pt x="955" y="4407"/>
                  <a:pt x="748" y="4407"/>
                </a:cubicBezTo>
                <a:lnTo>
                  <a:pt x="684" y="4407"/>
                </a:lnTo>
                <a:cubicBezTo>
                  <a:pt x="589" y="4407"/>
                  <a:pt x="525" y="4391"/>
                  <a:pt x="493" y="4343"/>
                </a:cubicBezTo>
                <a:cubicBezTo>
                  <a:pt x="445" y="4296"/>
                  <a:pt x="445" y="4232"/>
                  <a:pt x="445" y="4168"/>
                </a:cubicBezTo>
                <a:lnTo>
                  <a:pt x="445" y="4025"/>
                </a:lnTo>
                <a:cubicBezTo>
                  <a:pt x="445" y="3961"/>
                  <a:pt x="413" y="3914"/>
                  <a:pt x="350" y="3914"/>
                </a:cubicBezTo>
                <a:cubicBezTo>
                  <a:pt x="191" y="3882"/>
                  <a:pt x="159" y="3850"/>
                  <a:pt x="159" y="3786"/>
                </a:cubicBezTo>
                <a:lnTo>
                  <a:pt x="159" y="2434"/>
                </a:lnTo>
                <a:cubicBezTo>
                  <a:pt x="191" y="1845"/>
                  <a:pt x="334" y="748"/>
                  <a:pt x="366" y="557"/>
                </a:cubicBezTo>
                <a:cubicBezTo>
                  <a:pt x="382" y="397"/>
                  <a:pt x="509" y="286"/>
                  <a:pt x="700" y="254"/>
                </a:cubicBezTo>
                <a:cubicBezTo>
                  <a:pt x="1098" y="191"/>
                  <a:pt x="1512" y="159"/>
                  <a:pt x="1925" y="159"/>
                </a:cubicBezTo>
                <a:cubicBezTo>
                  <a:pt x="2323" y="159"/>
                  <a:pt x="2737" y="191"/>
                  <a:pt x="3134" y="254"/>
                </a:cubicBezTo>
                <a:cubicBezTo>
                  <a:pt x="3309" y="286"/>
                  <a:pt x="3452" y="397"/>
                  <a:pt x="3468" y="557"/>
                </a:cubicBezTo>
                <a:cubicBezTo>
                  <a:pt x="3500" y="748"/>
                  <a:pt x="3643" y="1845"/>
                  <a:pt x="3675" y="2418"/>
                </a:cubicBezTo>
                <a:lnTo>
                  <a:pt x="3675" y="3786"/>
                </a:lnTo>
                <a:cubicBezTo>
                  <a:pt x="3675" y="3818"/>
                  <a:pt x="3675" y="3897"/>
                  <a:pt x="3484" y="3930"/>
                </a:cubicBezTo>
                <a:cubicBezTo>
                  <a:pt x="3421" y="3945"/>
                  <a:pt x="3389" y="3993"/>
                  <a:pt x="3389" y="4041"/>
                </a:cubicBezTo>
                <a:lnTo>
                  <a:pt x="3389" y="4184"/>
                </a:lnTo>
                <a:cubicBezTo>
                  <a:pt x="3389" y="4264"/>
                  <a:pt x="3389" y="4359"/>
                  <a:pt x="3166" y="4375"/>
                </a:cubicBezTo>
                <a:lnTo>
                  <a:pt x="3103" y="4375"/>
                </a:lnTo>
                <a:cubicBezTo>
                  <a:pt x="2880" y="4359"/>
                  <a:pt x="2880" y="4264"/>
                  <a:pt x="2880" y="4200"/>
                </a:cubicBezTo>
                <a:lnTo>
                  <a:pt x="2880" y="4073"/>
                </a:lnTo>
                <a:cubicBezTo>
                  <a:pt x="2880" y="4009"/>
                  <a:pt x="2848" y="3961"/>
                  <a:pt x="2784" y="3961"/>
                </a:cubicBezTo>
                <a:close/>
                <a:moveTo>
                  <a:pt x="891" y="733"/>
                </a:moveTo>
                <a:lnTo>
                  <a:pt x="2943" y="733"/>
                </a:lnTo>
                <a:cubicBezTo>
                  <a:pt x="2975" y="733"/>
                  <a:pt x="3023" y="701"/>
                  <a:pt x="3023" y="653"/>
                </a:cubicBezTo>
                <a:cubicBezTo>
                  <a:pt x="3023" y="605"/>
                  <a:pt x="2975" y="573"/>
                  <a:pt x="2943" y="573"/>
                </a:cubicBezTo>
                <a:lnTo>
                  <a:pt x="891" y="573"/>
                </a:lnTo>
                <a:cubicBezTo>
                  <a:pt x="859" y="573"/>
                  <a:pt x="812" y="605"/>
                  <a:pt x="812" y="653"/>
                </a:cubicBezTo>
                <a:cubicBezTo>
                  <a:pt x="812" y="701"/>
                  <a:pt x="859" y="733"/>
                  <a:pt x="891" y="73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7" name="Freeform: Shape 15">
            <a:extLst>
              <a:ext uri="{FF2B5EF4-FFF2-40B4-BE49-F238E27FC236}">
                <a16:creationId xmlns:a16="http://schemas.microsoft.com/office/drawing/2014/main" id="{F4593EE5-0831-2D43-AE25-FBBFF27DEE60}"/>
              </a:ext>
            </a:extLst>
          </p:cNvPr>
          <p:cNvSpPr/>
          <p:nvPr/>
        </p:nvSpPr>
        <p:spPr>
          <a:xfrm>
            <a:off x="10315639" y="6395763"/>
            <a:ext cx="1236959" cy="1710720"/>
          </a:xfrm>
          <a:custGeom>
            <a:avLst/>
            <a:gdLst/>
            <a:ahLst/>
            <a:cxnLst>
              <a:cxn ang="3cd4">
                <a:pos x="hc" y="t"/>
              </a:cxn>
              <a:cxn ang="cd2">
                <a:pos x="l" y="vc"/>
              </a:cxn>
              <a:cxn ang="cd4">
                <a:pos x="hc" y="b"/>
              </a:cxn>
              <a:cxn ang="0">
                <a:pos x="r" y="vc"/>
              </a:cxn>
            </a:cxnLst>
            <a:rect l="l" t="t" r="r" b="b"/>
            <a:pathLst>
              <a:path w="3437" h="4753">
                <a:moveTo>
                  <a:pt x="494" y="2271"/>
                </a:moveTo>
                <a:lnTo>
                  <a:pt x="2928" y="2271"/>
                </a:lnTo>
                <a:cubicBezTo>
                  <a:pt x="2976" y="2271"/>
                  <a:pt x="3023" y="2255"/>
                  <a:pt x="3055" y="2223"/>
                </a:cubicBezTo>
                <a:cubicBezTo>
                  <a:pt x="3103" y="2176"/>
                  <a:pt x="3119" y="2128"/>
                  <a:pt x="3103" y="2080"/>
                </a:cubicBezTo>
                <a:lnTo>
                  <a:pt x="2991" y="934"/>
                </a:lnTo>
                <a:cubicBezTo>
                  <a:pt x="2991" y="855"/>
                  <a:pt x="2912" y="776"/>
                  <a:pt x="2816" y="776"/>
                </a:cubicBezTo>
                <a:lnTo>
                  <a:pt x="621" y="776"/>
                </a:lnTo>
                <a:cubicBezTo>
                  <a:pt x="525" y="776"/>
                  <a:pt x="446" y="855"/>
                  <a:pt x="430" y="934"/>
                </a:cubicBezTo>
                <a:lnTo>
                  <a:pt x="319" y="2080"/>
                </a:lnTo>
                <a:cubicBezTo>
                  <a:pt x="319" y="2128"/>
                  <a:pt x="334" y="2176"/>
                  <a:pt x="366" y="2223"/>
                </a:cubicBezTo>
                <a:cubicBezTo>
                  <a:pt x="398" y="2255"/>
                  <a:pt x="446" y="2271"/>
                  <a:pt x="494" y="2271"/>
                </a:cubicBezTo>
                <a:close/>
                <a:moveTo>
                  <a:pt x="589" y="950"/>
                </a:moveTo>
                <a:cubicBezTo>
                  <a:pt x="600" y="945"/>
                  <a:pt x="605" y="934"/>
                  <a:pt x="621" y="934"/>
                </a:cubicBezTo>
                <a:lnTo>
                  <a:pt x="2816" y="934"/>
                </a:lnTo>
                <a:cubicBezTo>
                  <a:pt x="2832" y="934"/>
                  <a:pt x="2832" y="950"/>
                  <a:pt x="2848" y="950"/>
                </a:cubicBezTo>
                <a:lnTo>
                  <a:pt x="2944" y="2096"/>
                </a:lnTo>
                <a:lnTo>
                  <a:pt x="2928" y="2112"/>
                </a:lnTo>
                <a:lnTo>
                  <a:pt x="494" y="2112"/>
                </a:lnTo>
                <a:lnTo>
                  <a:pt x="477" y="2096"/>
                </a:lnTo>
                <a:close/>
                <a:moveTo>
                  <a:pt x="3294" y="3719"/>
                </a:moveTo>
                <a:cubicBezTo>
                  <a:pt x="3373" y="3703"/>
                  <a:pt x="3437" y="3623"/>
                  <a:pt x="3437" y="3544"/>
                </a:cubicBezTo>
                <a:lnTo>
                  <a:pt x="3421" y="2191"/>
                </a:lnTo>
                <a:cubicBezTo>
                  <a:pt x="3389" y="1714"/>
                  <a:pt x="3294" y="1030"/>
                  <a:pt x="3246" y="728"/>
                </a:cubicBezTo>
                <a:lnTo>
                  <a:pt x="3230" y="585"/>
                </a:lnTo>
                <a:cubicBezTo>
                  <a:pt x="3198" y="457"/>
                  <a:pt x="3087" y="346"/>
                  <a:pt x="2928" y="314"/>
                </a:cubicBezTo>
                <a:cubicBezTo>
                  <a:pt x="2753" y="298"/>
                  <a:pt x="2578" y="266"/>
                  <a:pt x="2387" y="250"/>
                </a:cubicBezTo>
                <a:lnTo>
                  <a:pt x="2387" y="234"/>
                </a:lnTo>
                <a:cubicBezTo>
                  <a:pt x="2259" y="59"/>
                  <a:pt x="2244" y="28"/>
                  <a:pt x="2212" y="12"/>
                </a:cubicBezTo>
                <a:lnTo>
                  <a:pt x="2196" y="12"/>
                </a:lnTo>
                <a:cubicBezTo>
                  <a:pt x="2116" y="-4"/>
                  <a:pt x="1305" y="-4"/>
                  <a:pt x="1210" y="12"/>
                </a:cubicBezTo>
                <a:cubicBezTo>
                  <a:pt x="1194" y="12"/>
                  <a:pt x="1194" y="12"/>
                  <a:pt x="1177" y="28"/>
                </a:cubicBezTo>
                <a:cubicBezTo>
                  <a:pt x="1162" y="43"/>
                  <a:pt x="1146" y="59"/>
                  <a:pt x="1066" y="186"/>
                </a:cubicBezTo>
                <a:cubicBezTo>
                  <a:pt x="1066" y="219"/>
                  <a:pt x="1050" y="234"/>
                  <a:pt x="1034" y="250"/>
                </a:cubicBezTo>
                <a:cubicBezTo>
                  <a:pt x="859" y="266"/>
                  <a:pt x="685" y="282"/>
                  <a:pt x="525" y="314"/>
                </a:cubicBezTo>
                <a:cubicBezTo>
                  <a:pt x="350" y="346"/>
                  <a:pt x="223" y="441"/>
                  <a:pt x="207" y="585"/>
                </a:cubicBezTo>
                <a:lnTo>
                  <a:pt x="191" y="728"/>
                </a:lnTo>
                <a:cubicBezTo>
                  <a:pt x="143" y="1030"/>
                  <a:pt x="32" y="1714"/>
                  <a:pt x="0" y="2191"/>
                </a:cubicBezTo>
                <a:lnTo>
                  <a:pt x="0" y="3544"/>
                </a:lnTo>
                <a:cubicBezTo>
                  <a:pt x="0" y="3623"/>
                  <a:pt x="64" y="3703"/>
                  <a:pt x="159" y="3719"/>
                </a:cubicBezTo>
                <a:lnTo>
                  <a:pt x="255" y="3719"/>
                </a:lnTo>
                <a:lnTo>
                  <a:pt x="398" y="3735"/>
                </a:lnTo>
                <a:cubicBezTo>
                  <a:pt x="366" y="3814"/>
                  <a:pt x="303" y="3958"/>
                  <a:pt x="207" y="4180"/>
                </a:cubicBezTo>
                <a:cubicBezTo>
                  <a:pt x="191" y="4212"/>
                  <a:pt x="96" y="4435"/>
                  <a:pt x="191" y="4610"/>
                </a:cubicBezTo>
                <a:cubicBezTo>
                  <a:pt x="255" y="4705"/>
                  <a:pt x="366" y="4753"/>
                  <a:pt x="525" y="4753"/>
                </a:cubicBezTo>
                <a:lnTo>
                  <a:pt x="2912" y="4753"/>
                </a:lnTo>
                <a:lnTo>
                  <a:pt x="2928" y="4753"/>
                </a:lnTo>
                <a:cubicBezTo>
                  <a:pt x="2959" y="4737"/>
                  <a:pt x="3182" y="4673"/>
                  <a:pt x="3262" y="4498"/>
                </a:cubicBezTo>
                <a:cubicBezTo>
                  <a:pt x="3278" y="4435"/>
                  <a:pt x="3294" y="4339"/>
                  <a:pt x="3230" y="4212"/>
                </a:cubicBezTo>
                <a:cubicBezTo>
                  <a:pt x="3134" y="4021"/>
                  <a:pt x="3055" y="3830"/>
                  <a:pt x="3007" y="3735"/>
                </a:cubicBezTo>
                <a:lnTo>
                  <a:pt x="3087" y="3719"/>
                </a:lnTo>
                <a:close/>
                <a:moveTo>
                  <a:pt x="1225" y="234"/>
                </a:moveTo>
                <a:cubicBezTo>
                  <a:pt x="1241" y="219"/>
                  <a:pt x="1257" y="186"/>
                  <a:pt x="1273" y="171"/>
                </a:cubicBezTo>
                <a:cubicBezTo>
                  <a:pt x="1416" y="155"/>
                  <a:pt x="2005" y="155"/>
                  <a:pt x="2132" y="171"/>
                </a:cubicBezTo>
                <a:cubicBezTo>
                  <a:pt x="2148" y="186"/>
                  <a:pt x="2164" y="219"/>
                  <a:pt x="2196" y="234"/>
                </a:cubicBezTo>
                <a:lnTo>
                  <a:pt x="2132" y="234"/>
                </a:lnTo>
                <a:lnTo>
                  <a:pt x="2068" y="234"/>
                </a:lnTo>
                <a:lnTo>
                  <a:pt x="1687" y="234"/>
                </a:lnTo>
                <a:close/>
                <a:moveTo>
                  <a:pt x="159" y="3544"/>
                </a:moveTo>
                <a:lnTo>
                  <a:pt x="159" y="2207"/>
                </a:lnTo>
                <a:cubicBezTo>
                  <a:pt x="191" y="1730"/>
                  <a:pt x="303" y="1046"/>
                  <a:pt x="350" y="759"/>
                </a:cubicBezTo>
                <a:lnTo>
                  <a:pt x="366" y="616"/>
                </a:lnTo>
                <a:cubicBezTo>
                  <a:pt x="366" y="537"/>
                  <a:pt x="446" y="489"/>
                  <a:pt x="541" y="473"/>
                </a:cubicBezTo>
                <a:cubicBezTo>
                  <a:pt x="907" y="409"/>
                  <a:pt x="1289" y="394"/>
                  <a:pt x="1671" y="394"/>
                </a:cubicBezTo>
                <a:lnTo>
                  <a:pt x="2053" y="394"/>
                </a:lnTo>
                <a:lnTo>
                  <a:pt x="2132" y="394"/>
                </a:lnTo>
                <a:lnTo>
                  <a:pt x="2196" y="394"/>
                </a:lnTo>
                <a:cubicBezTo>
                  <a:pt x="2207" y="399"/>
                  <a:pt x="2212" y="409"/>
                  <a:pt x="2228" y="409"/>
                </a:cubicBezTo>
                <a:lnTo>
                  <a:pt x="2339" y="409"/>
                </a:lnTo>
                <a:lnTo>
                  <a:pt x="2355" y="409"/>
                </a:lnTo>
                <a:cubicBezTo>
                  <a:pt x="2530" y="425"/>
                  <a:pt x="2721" y="441"/>
                  <a:pt x="2896" y="473"/>
                </a:cubicBezTo>
                <a:cubicBezTo>
                  <a:pt x="2991" y="489"/>
                  <a:pt x="3055" y="537"/>
                  <a:pt x="3071" y="616"/>
                </a:cubicBezTo>
                <a:lnTo>
                  <a:pt x="3087" y="759"/>
                </a:lnTo>
                <a:cubicBezTo>
                  <a:pt x="3134" y="1046"/>
                  <a:pt x="3230" y="1746"/>
                  <a:pt x="3278" y="2191"/>
                </a:cubicBezTo>
                <a:lnTo>
                  <a:pt x="3278" y="3559"/>
                </a:lnTo>
                <a:lnTo>
                  <a:pt x="1798" y="3607"/>
                </a:lnTo>
                <a:cubicBezTo>
                  <a:pt x="1750" y="3623"/>
                  <a:pt x="1687" y="3623"/>
                  <a:pt x="1639" y="3607"/>
                </a:cubicBezTo>
                <a:lnTo>
                  <a:pt x="414" y="3576"/>
                </a:lnTo>
                <a:lnTo>
                  <a:pt x="271" y="3559"/>
                </a:lnTo>
                <a:cubicBezTo>
                  <a:pt x="207" y="3559"/>
                  <a:pt x="159" y="3559"/>
                  <a:pt x="159" y="3544"/>
                </a:cubicBezTo>
                <a:close/>
                <a:moveTo>
                  <a:pt x="3087" y="4275"/>
                </a:moveTo>
                <a:cubicBezTo>
                  <a:pt x="3119" y="4339"/>
                  <a:pt x="3134" y="4387"/>
                  <a:pt x="3103" y="4435"/>
                </a:cubicBezTo>
                <a:cubicBezTo>
                  <a:pt x="3071" y="4530"/>
                  <a:pt x="2959" y="4578"/>
                  <a:pt x="2896" y="4594"/>
                </a:cubicBezTo>
                <a:lnTo>
                  <a:pt x="525" y="4594"/>
                </a:lnTo>
                <a:cubicBezTo>
                  <a:pt x="430" y="4594"/>
                  <a:pt x="366" y="4562"/>
                  <a:pt x="334" y="4530"/>
                </a:cubicBezTo>
                <a:cubicBezTo>
                  <a:pt x="286" y="4450"/>
                  <a:pt x="334" y="4307"/>
                  <a:pt x="350" y="4244"/>
                </a:cubicBezTo>
                <a:cubicBezTo>
                  <a:pt x="424" y="4074"/>
                  <a:pt x="557" y="3782"/>
                  <a:pt x="573" y="3735"/>
                </a:cubicBezTo>
                <a:lnTo>
                  <a:pt x="1639" y="3766"/>
                </a:lnTo>
                <a:lnTo>
                  <a:pt x="1719" y="3766"/>
                </a:lnTo>
                <a:lnTo>
                  <a:pt x="1798" y="3766"/>
                </a:lnTo>
                <a:lnTo>
                  <a:pt x="2832" y="3735"/>
                </a:lnTo>
                <a:cubicBezTo>
                  <a:pt x="2880" y="3830"/>
                  <a:pt x="2976" y="4037"/>
                  <a:pt x="3087" y="4275"/>
                </a:cubicBezTo>
                <a:close/>
                <a:moveTo>
                  <a:pt x="812" y="3019"/>
                </a:moveTo>
                <a:cubicBezTo>
                  <a:pt x="812" y="2859"/>
                  <a:pt x="685" y="2732"/>
                  <a:pt x="525" y="2732"/>
                </a:cubicBezTo>
                <a:cubicBezTo>
                  <a:pt x="366" y="2732"/>
                  <a:pt x="239" y="2859"/>
                  <a:pt x="239" y="3019"/>
                </a:cubicBezTo>
                <a:cubicBezTo>
                  <a:pt x="239" y="3178"/>
                  <a:pt x="366" y="3305"/>
                  <a:pt x="525" y="3305"/>
                </a:cubicBezTo>
                <a:cubicBezTo>
                  <a:pt x="685" y="3305"/>
                  <a:pt x="812" y="3178"/>
                  <a:pt x="812" y="3019"/>
                </a:cubicBezTo>
                <a:close/>
                <a:moveTo>
                  <a:pt x="398" y="3019"/>
                </a:moveTo>
                <a:cubicBezTo>
                  <a:pt x="398" y="2939"/>
                  <a:pt x="462" y="2891"/>
                  <a:pt x="525" y="2891"/>
                </a:cubicBezTo>
                <a:cubicBezTo>
                  <a:pt x="605" y="2891"/>
                  <a:pt x="653" y="2939"/>
                  <a:pt x="653" y="3019"/>
                </a:cubicBezTo>
                <a:cubicBezTo>
                  <a:pt x="653" y="3082"/>
                  <a:pt x="605" y="3146"/>
                  <a:pt x="525" y="3146"/>
                </a:cubicBezTo>
                <a:cubicBezTo>
                  <a:pt x="462" y="3146"/>
                  <a:pt x="398" y="3082"/>
                  <a:pt x="398" y="3019"/>
                </a:cubicBezTo>
                <a:close/>
                <a:moveTo>
                  <a:pt x="2896" y="2732"/>
                </a:moveTo>
                <a:cubicBezTo>
                  <a:pt x="2737" y="2732"/>
                  <a:pt x="2610" y="2859"/>
                  <a:pt x="2610" y="3019"/>
                </a:cubicBezTo>
                <a:cubicBezTo>
                  <a:pt x="2610" y="3178"/>
                  <a:pt x="2737" y="3305"/>
                  <a:pt x="2896" y="3305"/>
                </a:cubicBezTo>
                <a:cubicBezTo>
                  <a:pt x="3055" y="3305"/>
                  <a:pt x="3182" y="3178"/>
                  <a:pt x="3182" y="3019"/>
                </a:cubicBezTo>
                <a:cubicBezTo>
                  <a:pt x="3182" y="2859"/>
                  <a:pt x="3055" y="2732"/>
                  <a:pt x="2896" y="2732"/>
                </a:cubicBezTo>
                <a:close/>
                <a:moveTo>
                  <a:pt x="2896" y="3146"/>
                </a:moveTo>
                <a:cubicBezTo>
                  <a:pt x="2832" y="3146"/>
                  <a:pt x="2768" y="3082"/>
                  <a:pt x="2768" y="3019"/>
                </a:cubicBezTo>
                <a:cubicBezTo>
                  <a:pt x="2768" y="2939"/>
                  <a:pt x="2832" y="2891"/>
                  <a:pt x="2896" y="2891"/>
                </a:cubicBezTo>
                <a:cubicBezTo>
                  <a:pt x="2976" y="2891"/>
                  <a:pt x="3023" y="2939"/>
                  <a:pt x="3023" y="3019"/>
                </a:cubicBezTo>
                <a:cubicBezTo>
                  <a:pt x="3023" y="3082"/>
                  <a:pt x="2976" y="3146"/>
                  <a:pt x="2896" y="3146"/>
                </a:cubicBezTo>
                <a:close/>
                <a:moveTo>
                  <a:pt x="557" y="4307"/>
                </a:moveTo>
                <a:cubicBezTo>
                  <a:pt x="557" y="4355"/>
                  <a:pt x="605" y="4387"/>
                  <a:pt x="637" y="4387"/>
                </a:cubicBezTo>
                <a:lnTo>
                  <a:pt x="2785" y="4387"/>
                </a:lnTo>
                <a:cubicBezTo>
                  <a:pt x="2832" y="4387"/>
                  <a:pt x="2864" y="4355"/>
                  <a:pt x="2864" y="4307"/>
                </a:cubicBezTo>
                <a:cubicBezTo>
                  <a:pt x="2864" y="4259"/>
                  <a:pt x="2832" y="4228"/>
                  <a:pt x="2785" y="4228"/>
                </a:cubicBezTo>
                <a:lnTo>
                  <a:pt x="637" y="4228"/>
                </a:lnTo>
                <a:cubicBezTo>
                  <a:pt x="605" y="4228"/>
                  <a:pt x="557" y="4259"/>
                  <a:pt x="557" y="4307"/>
                </a:cubicBezTo>
                <a:close/>
                <a:moveTo>
                  <a:pt x="685" y="4021"/>
                </a:moveTo>
                <a:cubicBezTo>
                  <a:pt x="685" y="4069"/>
                  <a:pt x="716" y="4101"/>
                  <a:pt x="764" y="4101"/>
                </a:cubicBezTo>
                <a:lnTo>
                  <a:pt x="2673" y="4101"/>
                </a:lnTo>
                <a:cubicBezTo>
                  <a:pt x="2721" y="4101"/>
                  <a:pt x="2753" y="4069"/>
                  <a:pt x="2753" y="4021"/>
                </a:cubicBezTo>
                <a:cubicBezTo>
                  <a:pt x="2753" y="3973"/>
                  <a:pt x="2721" y="3941"/>
                  <a:pt x="2673" y="3941"/>
                </a:cubicBezTo>
                <a:lnTo>
                  <a:pt x="764" y="3941"/>
                </a:lnTo>
                <a:cubicBezTo>
                  <a:pt x="716" y="3941"/>
                  <a:pt x="685" y="3973"/>
                  <a:pt x="685" y="402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8" name="Freeform: Shape 16">
            <a:extLst>
              <a:ext uri="{FF2B5EF4-FFF2-40B4-BE49-F238E27FC236}">
                <a16:creationId xmlns:a16="http://schemas.microsoft.com/office/drawing/2014/main" id="{34C8E5C0-A41A-9147-8B3E-81A70738430F}"/>
              </a:ext>
            </a:extLst>
          </p:cNvPr>
          <p:cNvSpPr/>
          <p:nvPr/>
        </p:nvSpPr>
        <p:spPr>
          <a:xfrm>
            <a:off x="10144940" y="9928016"/>
            <a:ext cx="1666439" cy="1311120"/>
          </a:xfrm>
          <a:custGeom>
            <a:avLst/>
            <a:gdLst/>
            <a:ahLst/>
            <a:cxnLst>
              <a:cxn ang="3cd4">
                <a:pos x="hc" y="t"/>
              </a:cxn>
              <a:cxn ang="cd2">
                <a:pos x="l" y="vc"/>
              </a:cxn>
              <a:cxn ang="cd4">
                <a:pos x="hc" y="b"/>
              </a:cxn>
              <a:cxn ang="0">
                <a:pos x="r" y="vc"/>
              </a:cxn>
            </a:cxnLst>
            <a:rect l="l" t="t" r="r" b="b"/>
            <a:pathLst>
              <a:path w="4630" h="3643">
                <a:moveTo>
                  <a:pt x="780" y="2275"/>
                </a:moveTo>
                <a:cubicBezTo>
                  <a:pt x="955" y="2275"/>
                  <a:pt x="1082" y="2148"/>
                  <a:pt x="1082" y="1973"/>
                </a:cubicBezTo>
                <a:cubicBezTo>
                  <a:pt x="1082" y="1813"/>
                  <a:pt x="955" y="1670"/>
                  <a:pt x="780" y="1670"/>
                </a:cubicBezTo>
                <a:cubicBezTo>
                  <a:pt x="620" y="1670"/>
                  <a:pt x="477" y="1813"/>
                  <a:pt x="477" y="1973"/>
                </a:cubicBezTo>
                <a:cubicBezTo>
                  <a:pt x="477" y="2148"/>
                  <a:pt x="620" y="2275"/>
                  <a:pt x="780" y="2275"/>
                </a:cubicBezTo>
                <a:close/>
                <a:moveTo>
                  <a:pt x="780" y="1829"/>
                </a:moveTo>
                <a:cubicBezTo>
                  <a:pt x="859" y="1829"/>
                  <a:pt x="923" y="1893"/>
                  <a:pt x="923" y="1973"/>
                </a:cubicBezTo>
                <a:cubicBezTo>
                  <a:pt x="923" y="2052"/>
                  <a:pt x="859" y="2116"/>
                  <a:pt x="780" y="2116"/>
                </a:cubicBezTo>
                <a:cubicBezTo>
                  <a:pt x="700" y="2116"/>
                  <a:pt x="636" y="2052"/>
                  <a:pt x="636" y="1973"/>
                </a:cubicBezTo>
                <a:cubicBezTo>
                  <a:pt x="636" y="1893"/>
                  <a:pt x="700" y="1829"/>
                  <a:pt x="780" y="1829"/>
                </a:cubicBezTo>
                <a:close/>
                <a:moveTo>
                  <a:pt x="3850" y="2275"/>
                </a:moveTo>
                <a:cubicBezTo>
                  <a:pt x="4025" y="2275"/>
                  <a:pt x="4152" y="2148"/>
                  <a:pt x="4152" y="1973"/>
                </a:cubicBezTo>
                <a:cubicBezTo>
                  <a:pt x="4152" y="1813"/>
                  <a:pt x="4025" y="1670"/>
                  <a:pt x="3850" y="1670"/>
                </a:cubicBezTo>
                <a:cubicBezTo>
                  <a:pt x="3691" y="1670"/>
                  <a:pt x="3548" y="1813"/>
                  <a:pt x="3548" y="1973"/>
                </a:cubicBezTo>
                <a:cubicBezTo>
                  <a:pt x="3548" y="2148"/>
                  <a:pt x="3691" y="2275"/>
                  <a:pt x="3850" y="2275"/>
                </a:cubicBezTo>
                <a:close/>
                <a:moveTo>
                  <a:pt x="3850" y="1829"/>
                </a:moveTo>
                <a:cubicBezTo>
                  <a:pt x="3929" y="1829"/>
                  <a:pt x="3993" y="1893"/>
                  <a:pt x="3993" y="1973"/>
                </a:cubicBezTo>
                <a:cubicBezTo>
                  <a:pt x="3993" y="2052"/>
                  <a:pt x="3929" y="2116"/>
                  <a:pt x="3850" y="2116"/>
                </a:cubicBezTo>
                <a:cubicBezTo>
                  <a:pt x="3771" y="2116"/>
                  <a:pt x="3707" y="2052"/>
                  <a:pt x="3707" y="1973"/>
                </a:cubicBezTo>
                <a:cubicBezTo>
                  <a:pt x="3707" y="1893"/>
                  <a:pt x="3771" y="1829"/>
                  <a:pt x="3850" y="1829"/>
                </a:cubicBezTo>
                <a:close/>
                <a:moveTo>
                  <a:pt x="398" y="3054"/>
                </a:moveTo>
                <a:lnTo>
                  <a:pt x="398" y="3182"/>
                </a:lnTo>
                <a:cubicBezTo>
                  <a:pt x="398" y="3436"/>
                  <a:pt x="589" y="3643"/>
                  <a:pt x="811" y="3643"/>
                </a:cubicBezTo>
                <a:cubicBezTo>
                  <a:pt x="1050" y="3643"/>
                  <a:pt x="1241" y="3436"/>
                  <a:pt x="1241" y="3182"/>
                </a:cubicBezTo>
                <a:lnTo>
                  <a:pt x="1241" y="3054"/>
                </a:lnTo>
                <a:lnTo>
                  <a:pt x="3389" y="3054"/>
                </a:lnTo>
                <a:lnTo>
                  <a:pt x="3389" y="3182"/>
                </a:lnTo>
                <a:cubicBezTo>
                  <a:pt x="3389" y="3436"/>
                  <a:pt x="3580" y="3643"/>
                  <a:pt x="3818" y="3643"/>
                </a:cubicBezTo>
                <a:cubicBezTo>
                  <a:pt x="4057" y="3643"/>
                  <a:pt x="4248" y="3436"/>
                  <a:pt x="4248" y="3182"/>
                </a:cubicBezTo>
                <a:lnTo>
                  <a:pt x="4248" y="3054"/>
                </a:lnTo>
                <a:lnTo>
                  <a:pt x="4550" y="3054"/>
                </a:lnTo>
                <a:cubicBezTo>
                  <a:pt x="4598" y="3054"/>
                  <a:pt x="4630" y="3022"/>
                  <a:pt x="4630" y="2991"/>
                </a:cubicBezTo>
                <a:lnTo>
                  <a:pt x="4630" y="1766"/>
                </a:lnTo>
                <a:cubicBezTo>
                  <a:pt x="4614" y="1750"/>
                  <a:pt x="4582" y="1527"/>
                  <a:pt x="4455" y="1416"/>
                </a:cubicBezTo>
                <a:cubicBezTo>
                  <a:pt x="4375" y="1336"/>
                  <a:pt x="4264" y="1272"/>
                  <a:pt x="4200" y="1240"/>
                </a:cubicBezTo>
                <a:lnTo>
                  <a:pt x="3802" y="318"/>
                </a:lnTo>
                <a:cubicBezTo>
                  <a:pt x="3771" y="206"/>
                  <a:pt x="3643" y="0"/>
                  <a:pt x="3373" y="0"/>
                </a:cubicBezTo>
                <a:lnTo>
                  <a:pt x="1225" y="0"/>
                </a:lnTo>
                <a:cubicBezTo>
                  <a:pt x="1209" y="0"/>
                  <a:pt x="923" y="0"/>
                  <a:pt x="811" y="286"/>
                </a:cubicBezTo>
                <a:cubicBezTo>
                  <a:pt x="732" y="477"/>
                  <a:pt x="493" y="1082"/>
                  <a:pt x="429" y="1240"/>
                </a:cubicBezTo>
                <a:cubicBezTo>
                  <a:pt x="270" y="1288"/>
                  <a:pt x="0" y="1463"/>
                  <a:pt x="0" y="1734"/>
                </a:cubicBezTo>
                <a:lnTo>
                  <a:pt x="0" y="2991"/>
                </a:lnTo>
                <a:cubicBezTo>
                  <a:pt x="0" y="3022"/>
                  <a:pt x="47" y="3054"/>
                  <a:pt x="80" y="3054"/>
                </a:cubicBezTo>
                <a:close/>
                <a:moveTo>
                  <a:pt x="1082" y="3182"/>
                </a:moveTo>
                <a:cubicBezTo>
                  <a:pt x="1082" y="3357"/>
                  <a:pt x="955" y="3484"/>
                  <a:pt x="811" y="3484"/>
                </a:cubicBezTo>
                <a:cubicBezTo>
                  <a:pt x="668" y="3484"/>
                  <a:pt x="557" y="3357"/>
                  <a:pt x="557" y="3182"/>
                </a:cubicBezTo>
                <a:lnTo>
                  <a:pt x="557" y="3054"/>
                </a:lnTo>
                <a:lnTo>
                  <a:pt x="1082" y="3054"/>
                </a:lnTo>
                <a:close/>
                <a:moveTo>
                  <a:pt x="4089" y="3182"/>
                </a:moveTo>
                <a:cubicBezTo>
                  <a:pt x="4089" y="3357"/>
                  <a:pt x="3962" y="3484"/>
                  <a:pt x="3818" y="3484"/>
                </a:cubicBezTo>
                <a:cubicBezTo>
                  <a:pt x="3675" y="3484"/>
                  <a:pt x="3548" y="3357"/>
                  <a:pt x="3548" y="3182"/>
                </a:cubicBezTo>
                <a:lnTo>
                  <a:pt x="3548" y="3054"/>
                </a:lnTo>
                <a:lnTo>
                  <a:pt x="4089" y="3054"/>
                </a:lnTo>
                <a:close/>
                <a:moveTo>
                  <a:pt x="955" y="334"/>
                </a:moveTo>
                <a:cubicBezTo>
                  <a:pt x="1034" y="159"/>
                  <a:pt x="1209" y="159"/>
                  <a:pt x="1225" y="159"/>
                </a:cubicBezTo>
                <a:lnTo>
                  <a:pt x="3373" y="159"/>
                </a:lnTo>
                <a:cubicBezTo>
                  <a:pt x="3596" y="159"/>
                  <a:pt x="3659" y="349"/>
                  <a:pt x="3659" y="366"/>
                </a:cubicBezTo>
                <a:lnTo>
                  <a:pt x="4025" y="1225"/>
                </a:lnTo>
                <a:lnTo>
                  <a:pt x="604" y="1225"/>
                </a:lnTo>
                <a:cubicBezTo>
                  <a:pt x="700" y="1002"/>
                  <a:pt x="891" y="509"/>
                  <a:pt x="955" y="334"/>
                </a:cubicBezTo>
                <a:close/>
                <a:moveTo>
                  <a:pt x="159" y="1734"/>
                </a:moveTo>
                <a:cubicBezTo>
                  <a:pt x="159" y="1543"/>
                  <a:pt x="413" y="1400"/>
                  <a:pt x="493" y="1384"/>
                </a:cubicBezTo>
                <a:lnTo>
                  <a:pt x="4120" y="1384"/>
                </a:lnTo>
                <a:cubicBezTo>
                  <a:pt x="4168" y="1400"/>
                  <a:pt x="4280" y="1463"/>
                  <a:pt x="4359" y="1527"/>
                </a:cubicBezTo>
                <a:cubicBezTo>
                  <a:pt x="4423" y="1591"/>
                  <a:pt x="4455" y="1750"/>
                  <a:pt x="4471" y="1782"/>
                </a:cubicBezTo>
                <a:lnTo>
                  <a:pt x="4471" y="2911"/>
                </a:lnTo>
                <a:lnTo>
                  <a:pt x="4168" y="2911"/>
                </a:lnTo>
                <a:lnTo>
                  <a:pt x="3468" y="2911"/>
                </a:lnTo>
                <a:lnTo>
                  <a:pt x="1161" y="2911"/>
                </a:lnTo>
                <a:lnTo>
                  <a:pt x="477" y="2911"/>
                </a:lnTo>
                <a:lnTo>
                  <a:pt x="159" y="2911"/>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9" name="Freeform: Shape 17">
            <a:extLst>
              <a:ext uri="{FF2B5EF4-FFF2-40B4-BE49-F238E27FC236}">
                <a16:creationId xmlns:a16="http://schemas.microsoft.com/office/drawing/2014/main" id="{6B156077-F54B-A64C-AB06-74C648EF0D31}"/>
              </a:ext>
            </a:extLst>
          </p:cNvPr>
          <p:cNvSpPr/>
          <p:nvPr/>
        </p:nvSpPr>
        <p:spPr>
          <a:xfrm>
            <a:off x="9814229" y="4068088"/>
            <a:ext cx="2105280" cy="434160"/>
          </a:xfrm>
          <a:custGeom>
            <a:avLst/>
            <a:gdLst/>
            <a:ahLst/>
            <a:cxnLst>
              <a:cxn ang="3cd4">
                <a:pos x="hc" y="t"/>
              </a:cxn>
              <a:cxn ang="cd2">
                <a:pos x="l" y="vc"/>
              </a:cxn>
              <a:cxn ang="cd4">
                <a:pos x="hc" y="b"/>
              </a:cxn>
              <a:cxn ang="0">
                <a:pos x="r" y="vc"/>
              </a:cxn>
            </a:cxnLst>
            <a:rect l="l" t="t" r="r" b="b"/>
            <a:pathLst>
              <a:path w="5849" h="1207">
                <a:moveTo>
                  <a:pt x="5731" y="13"/>
                </a:moveTo>
                <a:lnTo>
                  <a:pt x="4968" y="316"/>
                </a:lnTo>
                <a:lnTo>
                  <a:pt x="879" y="316"/>
                </a:lnTo>
                <a:lnTo>
                  <a:pt x="115" y="13"/>
                </a:lnTo>
                <a:cubicBezTo>
                  <a:pt x="67" y="-19"/>
                  <a:pt x="20" y="13"/>
                  <a:pt x="4" y="45"/>
                </a:cubicBezTo>
                <a:cubicBezTo>
                  <a:pt x="-12" y="93"/>
                  <a:pt x="20" y="140"/>
                  <a:pt x="52" y="156"/>
                </a:cubicBezTo>
                <a:lnTo>
                  <a:pt x="847" y="459"/>
                </a:lnTo>
                <a:cubicBezTo>
                  <a:pt x="847" y="474"/>
                  <a:pt x="858" y="469"/>
                  <a:pt x="863" y="474"/>
                </a:cubicBezTo>
                <a:lnTo>
                  <a:pt x="4983" y="474"/>
                </a:lnTo>
                <a:cubicBezTo>
                  <a:pt x="4999" y="474"/>
                  <a:pt x="4999" y="474"/>
                  <a:pt x="5016" y="459"/>
                </a:cubicBezTo>
                <a:lnTo>
                  <a:pt x="5795" y="156"/>
                </a:lnTo>
                <a:cubicBezTo>
                  <a:pt x="5843" y="140"/>
                  <a:pt x="5859" y="93"/>
                  <a:pt x="5843" y="45"/>
                </a:cubicBezTo>
                <a:cubicBezTo>
                  <a:pt x="5827" y="13"/>
                  <a:pt x="5779" y="-19"/>
                  <a:pt x="5731" y="13"/>
                </a:cubicBezTo>
                <a:close/>
                <a:moveTo>
                  <a:pt x="1563" y="1207"/>
                </a:moveTo>
                <a:cubicBezTo>
                  <a:pt x="1738" y="1207"/>
                  <a:pt x="1881" y="1063"/>
                  <a:pt x="1881" y="888"/>
                </a:cubicBezTo>
                <a:cubicBezTo>
                  <a:pt x="1881" y="697"/>
                  <a:pt x="1738" y="554"/>
                  <a:pt x="1563" y="554"/>
                </a:cubicBezTo>
                <a:cubicBezTo>
                  <a:pt x="1372" y="554"/>
                  <a:pt x="1229" y="697"/>
                  <a:pt x="1229" y="888"/>
                </a:cubicBezTo>
                <a:cubicBezTo>
                  <a:pt x="1229" y="1063"/>
                  <a:pt x="1372" y="1207"/>
                  <a:pt x="1563" y="1207"/>
                </a:cubicBezTo>
                <a:close/>
                <a:moveTo>
                  <a:pt x="1563" y="713"/>
                </a:moveTo>
                <a:cubicBezTo>
                  <a:pt x="1658" y="713"/>
                  <a:pt x="1722" y="793"/>
                  <a:pt x="1722" y="888"/>
                </a:cubicBezTo>
                <a:cubicBezTo>
                  <a:pt x="1722" y="968"/>
                  <a:pt x="1658" y="1047"/>
                  <a:pt x="1563" y="1047"/>
                </a:cubicBezTo>
                <a:cubicBezTo>
                  <a:pt x="1467" y="1047"/>
                  <a:pt x="1388" y="968"/>
                  <a:pt x="1388" y="888"/>
                </a:cubicBezTo>
                <a:cubicBezTo>
                  <a:pt x="1388" y="793"/>
                  <a:pt x="1467" y="713"/>
                  <a:pt x="1563" y="713"/>
                </a:cubicBezTo>
                <a:close/>
                <a:moveTo>
                  <a:pt x="4617" y="888"/>
                </a:moveTo>
                <a:cubicBezTo>
                  <a:pt x="4617" y="697"/>
                  <a:pt x="4474" y="554"/>
                  <a:pt x="4283" y="554"/>
                </a:cubicBezTo>
                <a:cubicBezTo>
                  <a:pt x="4108" y="554"/>
                  <a:pt x="3965" y="697"/>
                  <a:pt x="3965" y="888"/>
                </a:cubicBezTo>
                <a:cubicBezTo>
                  <a:pt x="3965" y="1063"/>
                  <a:pt x="4108" y="1207"/>
                  <a:pt x="4283" y="1207"/>
                </a:cubicBezTo>
                <a:cubicBezTo>
                  <a:pt x="4474" y="1207"/>
                  <a:pt x="4617" y="1063"/>
                  <a:pt x="4617" y="888"/>
                </a:cubicBezTo>
                <a:close/>
                <a:moveTo>
                  <a:pt x="4125" y="888"/>
                </a:moveTo>
                <a:cubicBezTo>
                  <a:pt x="4125" y="793"/>
                  <a:pt x="4204" y="713"/>
                  <a:pt x="4283" y="713"/>
                </a:cubicBezTo>
                <a:cubicBezTo>
                  <a:pt x="4379" y="713"/>
                  <a:pt x="4459" y="793"/>
                  <a:pt x="4459" y="888"/>
                </a:cubicBezTo>
                <a:cubicBezTo>
                  <a:pt x="4459" y="968"/>
                  <a:pt x="4379" y="1047"/>
                  <a:pt x="4283" y="1047"/>
                </a:cubicBezTo>
                <a:cubicBezTo>
                  <a:pt x="4204" y="1047"/>
                  <a:pt x="4125" y="968"/>
                  <a:pt x="4125" y="88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0" name="TextBox 119">
            <a:extLst>
              <a:ext uri="{FF2B5EF4-FFF2-40B4-BE49-F238E27FC236}">
                <a16:creationId xmlns:a16="http://schemas.microsoft.com/office/drawing/2014/main" id="{58AAD1E1-C429-D74E-83FD-FD0A19D911FA}"/>
              </a:ext>
            </a:extLst>
          </p:cNvPr>
          <p:cNvSpPr txBox="1"/>
          <p:nvPr/>
        </p:nvSpPr>
        <p:spPr>
          <a:xfrm>
            <a:off x="16476928" y="11536083"/>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xi</a:t>
            </a:r>
          </a:p>
        </p:txBody>
      </p:sp>
      <p:sp>
        <p:nvSpPr>
          <p:cNvPr id="121" name="TextBox 120">
            <a:extLst>
              <a:ext uri="{FF2B5EF4-FFF2-40B4-BE49-F238E27FC236}">
                <a16:creationId xmlns:a16="http://schemas.microsoft.com/office/drawing/2014/main" id="{62CF8C86-BECF-204C-8E4D-6D070D3E45F0}"/>
              </a:ext>
            </a:extLst>
          </p:cNvPr>
          <p:cNvSpPr txBox="1"/>
          <p:nvPr/>
        </p:nvSpPr>
        <p:spPr>
          <a:xfrm>
            <a:off x="20456794" y="11536083"/>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at 2</a:t>
            </a:r>
          </a:p>
        </p:txBody>
      </p:sp>
      <p:sp>
        <p:nvSpPr>
          <p:cNvPr id="122" name="Freeform: Shape 13">
            <a:extLst>
              <a:ext uri="{FF2B5EF4-FFF2-40B4-BE49-F238E27FC236}">
                <a16:creationId xmlns:a16="http://schemas.microsoft.com/office/drawing/2014/main" id="{AFD57417-A679-154A-ABF6-A352B518FF5A}"/>
              </a:ext>
            </a:extLst>
          </p:cNvPr>
          <p:cNvSpPr/>
          <p:nvPr/>
        </p:nvSpPr>
        <p:spPr>
          <a:xfrm>
            <a:off x="17708157" y="9977765"/>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3" name="Freeform: Shape 2">
            <a:extLst>
              <a:ext uri="{FF2B5EF4-FFF2-40B4-BE49-F238E27FC236}">
                <a16:creationId xmlns:a16="http://schemas.microsoft.com/office/drawing/2014/main" id="{812D4870-B9D5-E44F-834F-B16084383AD5}"/>
              </a:ext>
            </a:extLst>
          </p:cNvPr>
          <p:cNvSpPr/>
          <p:nvPr/>
        </p:nvSpPr>
        <p:spPr>
          <a:xfrm>
            <a:off x="17194122" y="10106851"/>
            <a:ext cx="1969920" cy="1087920"/>
          </a:xfrm>
          <a:custGeom>
            <a:avLst/>
            <a:gdLst/>
            <a:ahLst/>
            <a:cxnLst>
              <a:cxn ang="3cd4">
                <a:pos x="hc" y="t"/>
              </a:cxn>
              <a:cxn ang="cd2">
                <a:pos x="l" y="vc"/>
              </a:cxn>
              <a:cxn ang="cd4">
                <a:pos x="hc" y="b"/>
              </a:cxn>
              <a:cxn ang="0">
                <a:pos x="r" y="vc"/>
              </a:cxn>
            </a:cxnLst>
            <a:rect l="l" t="t" r="r" b="b"/>
            <a:pathLst>
              <a:path w="5473" h="3023">
                <a:moveTo>
                  <a:pt x="4836" y="1464"/>
                </a:moveTo>
                <a:cubicBezTo>
                  <a:pt x="4200" y="1464"/>
                  <a:pt x="4200" y="1464"/>
                  <a:pt x="4200" y="1464"/>
                </a:cubicBezTo>
                <a:cubicBezTo>
                  <a:pt x="4073" y="1464"/>
                  <a:pt x="4073" y="1464"/>
                  <a:pt x="4073" y="1464"/>
                </a:cubicBezTo>
                <a:cubicBezTo>
                  <a:pt x="3516" y="716"/>
                  <a:pt x="3516" y="716"/>
                  <a:pt x="3516" y="716"/>
                </a:cubicBezTo>
                <a:cubicBezTo>
                  <a:pt x="3453" y="637"/>
                  <a:pt x="3373" y="589"/>
                  <a:pt x="3293" y="557"/>
                </a:cubicBezTo>
                <a:cubicBezTo>
                  <a:pt x="3071" y="48"/>
                  <a:pt x="3071" y="48"/>
                  <a:pt x="3071" y="48"/>
                </a:cubicBezTo>
                <a:cubicBezTo>
                  <a:pt x="3071" y="16"/>
                  <a:pt x="3039" y="0"/>
                  <a:pt x="3007" y="0"/>
                </a:cubicBezTo>
                <a:cubicBezTo>
                  <a:pt x="1862" y="0"/>
                  <a:pt x="1862" y="0"/>
                  <a:pt x="1862" y="0"/>
                </a:cubicBezTo>
                <a:cubicBezTo>
                  <a:pt x="1830" y="0"/>
                  <a:pt x="1798" y="16"/>
                  <a:pt x="1782" y="48"/>
                </a:cubicBezTo>
                <a:cubicBezTo>
                  <a:pt x="1575" y="557"/>
                  <a:pt x="1575" y="557"/>
                  <a:pt x="1575" y="557"/>
                </a:cubicBezTo>
                <a:cubicBezTo>
                  <a:pt x="1480" y="589"/>
                  <a:pt x="1400" y="637"/>
                  <a:pt x="1353" y="716"/>
                </a:cubicBezTo>
                <a:cubicBezTo>
                  <a:pt x="780" y="1464"/>
                  <a:pt x="780" y="1464"/>
                  <a:pt x="780" y="1464"/>
                </a:cubicBezTo>
                <a:cubicBezTo>
                  <a:pt x="716" y="1464"/>
                  <a:pt x="716" y="1464"/>
                  <a:pt x="716" y="1464"/>
                </a:cubicBezTo>
                <a:cubicBezTo>
                  <a:pt x="63" y="1464"/>
                  <a:pt x="63" y="1464"/>
                  <a:pt x="63" y="1464"/>
                </a:cubicBezTo>
                <a:cubicBezTo>
                  <a:pt x="32" y="1464"/>
                  <a:pt x="0" y="1496"/>
                  <a:pt x="0" y="1543"/>
                </a:cubicBezTo>
                <a:cubicBezTo>
                  <a:pt x="0" y="2466"/>
                  <a:pt x="0" y="2466"/>
                  <a:pt x="0" y="2466"/>
                </a:cubicBezTo>
                <a:cubicBezTo>
                  <a:pt x="0" y="2498"/>
                  <a:pt x="32" y="2546"/>
                  <a:pt x="63" y="2546"/>
                </a:cubicBezTo>
                <a:cubicBezTo>
                  <a:pt x="636" y="2546"/>
                  <a:pt x="636" y="2546"/>
                  <a:pt x="636" y="2546"/>
                </a:cubicBezTo>
                <a:cubicBezTo>
                  <a:pt x="668" y="2816"/>
                  <a:pt x="891" y="3023"/>
                  <a:pt x="1177" y="3023"/>
                </a:cubicBezTo>
                <a:cubicBezTo>
                  <a:pt x="1448" y="3023"/>
                  <a:pt x="1671" y="2816"/>
                  <a:pt x="1702" y="2546"/>
                </a:cubicBezTo>
                <a:cubicBezTo>
                  <a:pt x="3835" y="2546"/>
                  <a:pt x="3835" y="2546"/>
                  <a:pt x="3835" y="2546"/>
                </a:cubicBezTo>
                <a:lnTo>
                  <a:pt x="3850" y="2546"/>
                </a:lnTo>
                <a:cubicBezTo>
                  <a:pt x="3866" y="2816"/>
                  <a:pt x="4105" y="3023"/>
                  <a:pt x="4375" y="3023"/>
                </a:cubicBezTo>
                <a:cubicBezTo>
                  <a:pt x="4662" y="3023"/>
                  <a:pt x="4884" y="2816"/>
                  <a:pt x="4916" y="2546"/>
                </a:cubicBezTo>
                <a:cubicBezTo>
                  <a:pt x="5393" y="2546"/>
                  <a:pt x="5393" y="2546"/>
                  <a:pt x="5393" y="2546"/>
                </a:cubicBezTo>
                <a:cubicBezTo>
                  <a:pt x="5426" y="2546"/>
                  <a:pt x="5473" y="2498"/>
                  <a:pt x="5473" y="2466"/>
                </a:cubicBezTo>
                <a:cubicBezTo>
                  <a:pt x="5473" y="2259"/>
                  <a:pt x="5473" y="2259"/>
                  <a:pt x="5473" y="2259"/>
                </a:cubicBezTo>
                <a:cubicBezTo>
                  <a:pt x="5473" y="1862"/>
                  <a:pt x="5393" y="1464"/>
                  <a:pt x="4836" y="1464"/>
                </a:cubicBezTo>
                <a:close/>
                <a:moveTo>
                  <a:pt x="1909" y="159"/>
                </a:moveTo>
                <a:cubicBezTo>
                  <a:pt x="2944" y="159"/>
                  <a:pt x="2944" y="159"/>
                  <a:pt x="2944" y="159"/>
                </a:cubicBezTo>
                <a:cubicBezTo>
                  <a:pt x="3118" y="541"/>
                  <a:pt x="3118" y="541"/>
                  <a:pt x="3118" y="541"/>
                </a:cubicBezTo>
                <a:cubicBezTo>
                  <a:pt x="1750" y="541"/>
                  <a:pt x="1750" y="541"/>
                  <a:pt x="1750" y="541"/>
                </a:cubicBezTo>
                <a:close/>
                <a:moveTo>
                  <a:pt x="1480" y="811"/>
                </a:moveTo>
                <a:cubicBezTo>
                  <a:pt x="1527" y="748"/>
                  <a:pt x="1607" y="700"/>
                  <a:pt x="1687" y="700"/>
                </a:cubicBezTo>
                <a:cubicBezTo>
                  <a:pt x="3182" y="700"/>
                  <a:pt x="3182" y="700"/>
                  <a:pt x="3182" y="700"/>
                </a:cubicBezTo>
                <a:cubicBezTo>
                  <a:pt x="3262" y="700"/>
                  <a:pt x="3341" y="748"/>
                  <a:pt x="3389" y="811"/>
                </a:cubicBezTo>
                <a:cubicBezTo>
                  <a:pt x="3882" y="1464"/>
                  <a:pt x="3882" y="1464"/>
                  <a:pt x="3882" y="1464"/>
                </a:cubicBezTo>
                <a:cubicBezTo>
                  <a:pt x="987" y="1464"/>
                  <a:pt x="987" y="1464"/>
                  <a:pt x="987" y="1464"/>
                </a:cubicBezTo>
                <a:close/>
                <a:moveTo>
                  <a:pt x="1177" y="2864"/>
                </a:moveTo>
                <a:cubicBezTo>
                  <a:pt x="954" y="2864"/>
                  <a:pt x="796" y="2689"/>
                  <a:pt x="796" y="2482"/>
                </a:cubicBezTo>
                <a:cubicBezTo>
                  <a:pt x="796" y="2466"/>
                  <a:pt x="796" y="2466"/>
                  <a:pt x="796" y="2466"/>
                </a:cubicBezTo>
                <a:lnTo>
                  <a:pt x="796" y="2450"/>
                </a:lnTo>
                <a:cubicBezTo>
                  <a:pt x="811" y="2259"/>
                  <a:pt x="971" y="2100"/>
                  <a:pt x="1177" y="2100"/>
                </a:cubicBezTo>
                <a:cubicBezTo>
                  <a:pt x="1384" y="2100"/>
                  <a:pt x="1543" y="2275"/>
                  <a:pt x="1543" y="2482"/>
                </a:cubicBezTo>
                <a:cubicBezTo>
                  <a:pt x="1543" y="2689"/>
                  <a:pt x="1384" y="2864"/>
                  <a:pt x="1177" y="2864"/>
                </a:cubicBezTo>
                <a:close/>
                <a:moveTo>
                  <a:pt x="4375" y="2864"/>
                </a:moveTo>
                <a:cubicBezTo>
                  <a:pt x="4169" y="2864"/>
                  <a:pt x="3993" y="2689"/>
                  <a:pt x="3993" y="2482"/>
                </a:cubicBezTo>
                <a:cubicBezTo>
                  <a:pt x="3993" y="2275"/>
                  <a:pt x="4169" y="2100"/>
                  <a:pt x="4375" y="2100"/>
                </a:cubicBezTo>
                <a:cubicBezTo>
                  <a:pt x="4582" y="2100"/>
                  <a:pt x="4757" y="2275"/>
                  <a:pt x="4757" y="2482"/>
                </a:cubicBezTo>
                <a:cubicBezTo>
                  <a:pt x="4757" y="2689"/>
                  <a:pt x="4582" y="2864"/>
                  <a:pt x="4375" y="2864"/>
                </a:cubicBezTo>
                <a:close/>
                <a:moveTo>
                  <a:pt x="5314" y="2387"/>
                </a:moveTo>
                <a:cubicBezTo>
                  <a:pt x="4900" y="2387"/>
                  <a:pt x="4900" y="2387"/>
                  <a:pt x="4900" y="2387"/>
                </a:cubicBezTo>
                <a:cubicBezTo>
                  <a:pt x="4853" y="2132"/>
                  <a:pt x="4646" y="1941"/>
                  <a:pt x="4375" y="1941"/>
                </a:cubicBezTo>
                <a:cubicBezTo>
                  <a:pt x="4121" y="1941"/>
                  <a:pt x="3898" y="2132"/>
                  <a:pt x="3850" y="2387"/>
                </a:cubicBezTo>
                <a:lnTo>
                  <a:pt x="3835" y="2387"/>
                </a:lnTo>
                <a:cubicBezTo>
                  <a:pt x="1702" y="2387"/>
                  <a:pt x="1702" y="2387"/>
                  <a:pt x="1702" y="2387"/>
                </a:cubicBezTo>
                <a:cubicBezTo>
                  <a:pt x="1654" y="2132"/>
                  <a:pt x="1432" y="1941"/>
                  <a:pt x="1177" y="1941"/>
                </a:cubicBezTo>
                <a:cubicBezTo>
                  <a:pt x="907" y="1941"/>
                  <a:pt x="684" y="2132"/>
                  <a:pt x="636" y="2387"/>
                </a:cubicBezTo>
                <a:cubicBezTo>
                  <a:pt x="143" y="2387"/>
                  <a:pt x="143" y="2387"/>
                  <a:pt x="143" y="2387"/>
                </a:cubicBezTo>
                <a:cubicBezTo>
                  <a:pt x="143" y="1623"/>
                  <a:pt x="143" y="1623"/>
                  <a:pt x="143" y="1623"/>
                </a:cubicBezTo>
                <a:cubicBezTo>
                  <a:pt x="716" y="1623"/>
                  <a:pt x="716" y="1623"/>
                  <a:pt x="716" y="1623"/>
                </a:cubicBezTo>
                <a:cubicBezTo>
                  <a:pt x="827" y="1623"/>
                  <a:pt x="827" y="1623"/>
                  <a:pt x="827" y="1623"/>
                </a:cubicBezTo>
                <a:cubicBezTo>
                  <a:pt x="4041" y="1623"/>
                  <a:pt x="4041" y="1623"/>
                  <a:pt x="4041" y="1623"/>
                </a:cubicBezTo>
                <a:cubicBezTo>
                  <a:pt x="4200" y="1623"/>
                  <a:pt x="4200" y="1623"/>
                  <a:pt x="4200" y="1623"/>
                </a:cubicBezTo>
                <a:cubicBezTo>
                  <a:pt x="4836" y="1623"/>
                  <a:pt x="4836" y="1623"/>
                  <a:pt x="4836" y="1623"/>
                </a:cubicBezTo>
                <a:cubicBezTo>
                  <a:pt x="5187" y="1623"/>
                  <a:pt x="5314" y="1782"/>
                  <a:pt x="5314" y="22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4" name="Freeform: Shape 6">
            <a:extLst>
              <a:ext uri="{FF2B5EF4-FFF2-40B4-BE49-F238E27FC236}">
                <a16:creationId xmlns:a16="http://schemas.microsoft.com/office/drawing/2014/main" id="{B2452A12-1E82-FE4F-B2D9-0DBD2BC15D58}"/>
              </a:ext>
            </a:extLst>
          </p:cNvPr>
          <p:cNvSpPr/>
          <p:nvPr/>
        </p:nvSpPr>
        <p:spPr>
          <a:xfrm>
            <a:off x="21375681" y="10129891"/>
            <a:ext cx="1643399" cy="1047599"/>
          </a:xfrm>
          <a:custGeom>
            <a:avLst/>
            <a:gdLst/>
            <a:ahLst/>
            <a:cxnLst>
              <a:cxn ang="3cd4">
                <a:pos x="hc" y="t"/>
              </a:cxn>
              <a:cxn ang="cd2">
                <a:pos x="l" y="vc"/>
              </a:cxn>
              <a:cxn ang="cd4">
                <a:pos x="hc" y="b"/>
              </a:cxn>
              <a:cxn ang="0">
                <a:pos x="r" y="vc"/>
              </a:cxn>
            </a:cxnLst>
            <a:rect l="l" t="t" r="r" b="b"/>
            <a:pathLst>
              <a:path w="4566" h="2911">
                <a:moveTo>
                  <a:pt x="4566" y="1145"/>
                </a:moveTo>
                <a:cubicBezTo>
                  <a:pt x="4566" y="955"/>
                  <a:pt x="4454" y="923"/>
                  <a:pt x="4359" y="923"/>
                </a:cubicBezTo>
                <a:lnTo>
                  <a:pt x="3468" y="923"/>
                </a:lnTo>
                <a:cubicBezTo>
                  <a:pt x="3357" y="923"/>
                  <a:pt x="3261" y="955"/>
                  <a:pt x="3198" y="1002"/>
                </a:cubicBezTo>
                <a:cubicBezTo>
                  <a:pt x="3166" y="1034"/>
                  <a:pt x="3134" y="1082"/>
                  <a:pt x="3102" y="1161"/>
                </a:cubicBezTo>
                <a:cubicBezTo>
                  <a:pt x="3007" y="1320"/>
                  <a:pt x="2880" y="1559"/>
                  <a:pt x="2641" y="1559"/>
                </a:cubicBezTo>
                <a:lnTo>
                  <a:pt x="1257" y="1559"/>
                </a:lnTo>
                <a:lnTo>
                  <a:pt x="1257" y="938"/>
                </a:lnTo>
                <a:lnTo>
                  <a:pt x="1416" y="779"/>
                </a:lnTo>
                <a:cubicBezTo>
                  <a:pt x="1432" y="764"/>
                  <a:pt x="1447" y="747"/>
                  <a:pt x="1447" y="732"/>
                </a:cubicBezTo>
                <a:lnTo>
                  <a:pt x="1447" y="541"/>
                </a:lnTo>
                <a:cubicBezTo>
                  <a:pt x="1447" y="493"/>
                  <a:pt x="1416" y="461"/>
                  <a:pt x="1368" y="461"/>
                </a:cubicBezTo>
                <a:lnTo>
                  <a:pt x="986" y="461"/>
                </a:lnTo>
                <a:lnTo>
                  <a:pt x="986" y="445"/>
                </a:lnTo>
                <a:lnTo>
                  <a:pt x="986" y="79"/>
                </a:lnTo>
                <a:cubicBezTo>
                  <a:pt x="986" y="47"/>
                  <a:pt x="954" y="0"/>
                  <a:pt x="907" y="0"/>
                </a:cubicBezTo>
                <a:cubicBezTo>
                  <a:pt x="859" y="0"/>
                  <a:pt x="827" y="47"/>
                  <a:pt x="827" y="79"/>
                </a:cubicBezTo>
                <a:lnTo>
                  <a:pt x="827" y="445"/>
                </a:lnTo>
                <a:lnTo>
                  <a:pt x="827" y="461"/>
                </a:lnTo>
                <a:lnTo>
                  <a:pt x="445" y="461"/>
                </a:lnTo>
                <a:cubicBezTo>
                  <a:pt x="398" y="461"/>
                  <a:pt x="366" y="493"/>
                  <a:pt x="366" y="541"/>
                </a:cubicBezTo>
                <a:lnTo>
                  <a:pt x="366" y="1559"/>
                </a:lnTo>
                <a:lnTo>
                  <a:pt x="270" y="1559"/>
                </a:lnTo>
                <a:cubicBezTo>
                  <a:pt x="127" y="1559"/>
                  <a:pt x="0" y="1686"/>
                  <a:pt x="0" y="1813"/>
                </a:cubicBezTo>
                <a:lnTo>
                  <a:pt x="0" y="2084"/>
                </a:lnTo>
                <a:cubicBezTo>
                  <a:pt x="0" y="2259"/>
                  <a:pt x="175" y="2546"/>
                  <a:pt x="445" y="2720"/>
                </a:cubicBezTo>
                <a:cubicBezTo>
                  <a:pt x="381" y="2736"/>
                  <a:pt x="302" y="2752"/>
                  <a:pt x="254" y="2752"/>
                </a:cubicBezTo>
                <a:cubicBezTo>
                  <a:pt x="190" y="2752"/>
                  <a:pt x="143" y="2736"/>
                  <a:pt x="95" y="2736"/>
                </a:cubicBezTo>
                <a:cubicBezTo>
                  <a:pt x="47" y="2736"/>
                  <a:pt x="16" y="2752"/>
                  <a:pt x="0" y="2800"/>
                </a:cubicBezTo>
                <a:cubicBezTo>
                  <a:pt x="0" y="2847"/>
                  <a:pt x="32" y="2880"/>
                  <a:pt x="63" y="2895"/>
                </a:cubicBezTo>
                <a:cubicBezTo>
                  <a:pt x="127" y="2911"/>
                  <a:pt x="190" y="2911"/>
                  <a:pt x="254" y="2911"/>
                </a:cubicBezTo>
                <a:cubicBezTo>
                  <a:pt x="398" y="2911"/>
                  <a:pt x="604" y="2864"/>
                  <a:pt x="763" y="2768"/>
                </a:cubicBezTo>
                <a:cubicBezTo>
                  <a:pt x="923" y="2864"/>
                  <a:pt x="1113" y="2911"/>
                  <a:pt x="1272" y="2911"/>
                </a:cubicBezTo>
                <a:cubicBezTo>
                  <a:pt x="1416" y="2911"/>
                  <a:pt x="1623" y="2864"/>
                  <a:pt x="1766" y="2768"/>
                </a:cubicBezTo>
                <a:cubicBezTo>
                  <a:pt x="1925" y="2864"/>
                  <a:pt x="2132" y="2911"/>
                  <a:pt x="2275" y="2911"/>
                </a:cubicBezTo>
                <a:cubicBezTo>
                  <a:pt x="2434" y="2911"/>
                  <a:pt x="2625" y="2864"/>
                  <a:pt x="2784" y="2768"/>
                </a:cubicBezTo>
                <a:cubicBezTo>
                  <a:pt x="2927" y="2864"/>
                  <a:pt x="3118" y="2895"/>
                  <a:pt x="3261" y="2911"/>
                </a:cubicBezTo>
                <a:lnTo>
                  <a:pt x="3293" y="2911"/>
                </a:lnTo>
                <a:lnTo>
                  <a:pt x="3372" y="2911"/>
                </a:lnTo>
                <a:cubicBezTo>
                  <a:pt x="3516" y="2895"/>
                  <a:pt x="3675" y="2847"/>
                  <a:pt x="3802" y="2768"/>
                </a:cubicBezTo>
                <a:cubicBezTo>
                  <a:pt x="3961" y="2864"/>
                  <a:pt x="4168" y="2911"/>
                  <a:pt x="4311" y="2911"/>
                </a:cubicBezTo>
                <a:cubicBezTo>
                  <a:pt x="4375" y="2911"/>
                  <a:pt x="4439" y="2895"/>
                  <a:pt x="4502" y="2880"/>
                </a:cubicBezTo>
                <a:cubicBezTo>
                  <a:pt x="4550" y="2864"/>
                  <a:pt x="4566" y="2816"/>
                  <a:pt x="4550" y="2768"/>
                </a:cubicBezTo>
                <a:cubicBezTo>
                  <a:pt x="4534" y="2736"/>
                  <a:pt x="4502" y="2704"/>
                  <a:pt x="4454" y="2720"/>
                </a:cubicBezTo>
                <a:cubicBezTo>
                  <a:pt x="4407" y="2736"/>
                  <a:pt x="4359" y="2752"/>
                  <a:pt x="4311" y="2752"/>
                </a:cubicBezTo>
                <a:cubicBezTo>
                  <a:pt x="4184" y="2752"/>
                  <a:pt x="3977" y="2720"/>
                  <a:pt x="3850" y="2609"/>
                </a:cubicBezTo>
                <a:cubicBezTo>
                  <a:pt x="4232" y="2227"/>
                  <a:pt x="4566" y="1575"/>
                  <a:pt x="4566" y="1145"/>
                </a:cubicBezTo>
                <a:close/>
                <a:moveTo>
                  <a:pt x="525" y="620"/>
                </a:moveTo>
                <a:lnTo>
                  <a:pt x="1289" y="620"/>
                </a:lnTo>
                <a:lnTo>
                  <a:pt x="1289" y="700"/>
                </a:lnTo>
                <a:lnTo>
                  <a:pt x="1129" y="859"/>
                </a:lnTo>
                <a:cubicBezTo>
                  <a:pt x="1113" y="875"/>
                  <a:pt x="1098" y="891"/>
                  <a:pt x="1098" y="907"/>
                </a:cubicBezTo>
                <a:lnTo>
                  <a:pt x="1098" y="1559"/>
                </a:lnTo>
                <a:lnTo>
                  <a:pt x="525" y="1559"/>
                </a:lnTo>
                <a:close/>
                <a:moveTo>
                  <a:pt x="2736" y="2609"/>
                </a:moveTo>
                <a:cubicBezTo>
                  <a:pt x="2609" y="2720"/>
                  <a:pt x="2418" y="2752"/>
                  <a:pt x="2275" y="2752"/>
                </a:cubicBezTo>
                <a:cubicBezTo>
                  <a:pt x="2147" y="2752"/>
                  <a:pt x="1957" y="2720"/>
                  <a:pt x="1829" y="2609"/>
                </a:cubicBezTo>
                <a:cubicBezTo>
                  <a:pt x="1798" y="2593"/>
                  <a:pt x="1750" y="2593"/>
                  <a:pt x="1718" y="2609"/>
                </a:cubicBezTo>
                <a:cubicBezTo>
                  <a:pt x="1591" y="2720"/>
                  <a:pt x="1400" y="2752"/>
                  <a:pt x="1272" y="2752"/>
                </a:cubicBezTo>
                <a:cubicBezTo>
                  <a:pt x="1129" y="2752"/>
                  <a:pt x="938" y="2720"/>
                  <a:pt x="811" y="2609"/>
                </a:cubicBezTo>
                <a:cubicBezTo>
                  <a:pt x="779" y="2593"/>
                  <a:pt x="732" y="2593"/>
                  <a:pt x="716" y="2609"/>
                </a:cubicBezTo>
                <a:cubicBezTo>
                  <a:pt x="684" y="2625"/>
                  <a:pt x="652" y="2641"/>
                  <a:pt x="636" y="2657"/>
                </a:cubicBezTo>
                <a:cubicBezTo>
                  <a:pt x="620" y="2657"/>
                  <a:pt x="620" y="2641"/>
                  <a:pt x="604" y="2641"/>
                </a:cubicBezTo>
                <a:cubicBezTo>
                  <a:pt x="318" y="2482"/>
                  <a:pt x="159" y="2195"/>
                  <a:pt x="159" y="2084"/>
                </a:cubicBezTo>
                <a:lnTo>
                  <a:pt x="159" y="1813"/>
                </a:lnTo>
                <a:cubicBezTo>
                  <a:pt x="159" y="1782"/>
                  <a:pt x="222" y="1718"/>
                  <a:pt x="270" y="1718"/>
                </a:cubicBezTo>
                <a:lnTo>
                  <a:pt x="445" y="1718"/>
                </a:lnTo>
                <a:lnTo>
                  <a:pt x="1177" y="1718"/>
                </a:lnTo>
                <a:lnTo>
                  <a:pt x="2641" y="1718"/>
                </a:lnTo>
                <a:cubicBezTo>
                  <a:pt x="2975" y="1718"/>
                  <a:pt x="3134" y="1416"/>
                  <a:pt x="3229" y="1241"/>
                </a:cubicBezTo>
                <a:cubicBezTo>
                  <a:pt x="3261" y="1193"/>
                  <a:pt x="3293" y="1129"/>
                  <a:pt x="3309" y="1129"/>
                </a:cubicBezTo>
                <a:cubicBezTo>
                  <a:pt x="3325" y="1098"/>
                  <a:pt x="3372" y="1082"/>
                  <a:pt x="3468" y="1082"/>
                </a:cubicBezTo>
                <a:lnTo>
                  <a:pt x="4359" y="1082"/>
                </a:lnTo>
                <a:cubicBezTo>
                  <a:pt x="4391" y="1082"/>
                  <a:pt x="4407" y="1082"/>
                  <a:pt x="4407" y="1145"/>
                </a:cubicBezTo>
                <a:cubicBezTo>
                  <a:pt x="4407" y="1734"/>
                  <a:pt x="3786" y="2657"/>
                  <a:pt x="3357" y="2752"/>
                </a:cubicBezTo>
                <a:lnTo>
                  <a:pt x="3293" y="2752"/>
                </a:lnTo>
                <a:cubicBezTo>
                  <a:pt x="3166" y="2752"/>
                  <a:pt x="2975" y="2720"/>
                  <a:pt x="2832" y="2609"/>
                </a:cubicBezTo>
                <a:cubicBezTo>
                  <a:pt x="2816" y="2593"/>
                  <a:pt x="2768" y="2593"/>
                  <a:pt x="2736" y="2609"/>
                </a:cubicBezTo>
                <a:close/>
                <a:moveTo>
                  <a:pt x="3659" y="1638"/>
                </a:moveTo>
                <a:lnTo>
                  <a:pt x="3850" y="1638"/>
                </a:lnTo>
                <a:cubicBezTo>
                  <a:pt x="3876" y="1612"/>
                  <a:pt x="3929" y="1638"/>
                  <a:pt x="3929" y="1559"/>
                </a:cubicBezTo>
                <a:lnTo>
                  <a:pt x="3929" y="1432"/>
                </a:lnTo>
                <a:cubicBezTo>
                  <a:pt x="3908" y="1421"/>
                  <a:pt x="3929" y="1400"/>
                  <a:pt x="3866" y="1400"/>
                </a:cubicBezTo>
                <a:cubicBezTo>
                  <a:pt x="3818" y="1400"/>
                  <a:pt x="3823" y="1421"/>
                  <a:pt x="3802" y="1432"/>
                </a:cubicBezTo>
                <a:lnTo>
                  <a:pt x="3802" y="1511"/>
                </a:lnTo>
                <a:cubicBezTo>
                  <a:pt x="3781" y="1522"/>
                  <a:pt x="3802" y="1543"/>
                  <a:pt x="3738" y="1543"/>
                </a:cubicBezTo>
                <a:cubicBezTo>
                  <a:pt x="3691" y="1543"/>
                  <a:pt x="3707" y="1522"/>
                  <a:pt x="3691" y="1511"/>
                </a:cubicBezTo>
                <a:lnTo>
                  <a:pt x="3691" y="1432"/>
                </a:lnTo>
                <a:cubicBezTo>
                  <a:pt x="3670" y="1421"/>
                  <a:pt x="3675" y="1400"/>
                  <a:pt x="3627" y="1400"/>
                </a:cubicBezTo>
                <a:cubicBezTo>
                  <a:pt x="3563" y="1400"/>
                  <a:pt x="3584" y="1421"/>
                  <a:pt x="3563" y="1432"/>
                </a:cubicBezTo>
                <a:lnTo>
                  <a:pt x="3563" y="1559"/>
                </a:lnTo>
                <a:cubicBezTo>
                  <a:pt x="3563" y="1638"/>
                  <a:pt x="3627" y="1612"/>
                  <a:pt x="3659" y="163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20129591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EC825-8F96-B248-8103-65790C8E3B55}"/>
              </a:ext>
            </a:extLst>
          </p:cNvPr>
          <p:cNvSpPr>
            <a:spLocks noGrp="1"/>
          </p:cNvSpPr>
          <p:nvPr>
            <p:ph type="title"/>
          </p:nvPr>
        </p:nvSpPr>
        <p:spPr/>
        <p:txBody>
          <a:bodyPr/>
          <a:lstStyle/>
          <a:p>
            <a:r>
              <a:rPr lang="en-US" dirty="0"/>
              <a:t>Two column layout</a:t>
            </a:r>
          </a:p>
        </p:txBody>
      </p:sp>
      <p:sp>
        <p:nvSpPr>
          <p:cNvPr id="3" name="Content Placeholder 2">
            <a:extLst>
              <a:ext uri="{FF2B5EF4-FFF2-40B4-BE49-F238E27FC236}">
                <a16:creationId xmlns:a16="http://schemas.microsoft.com/office/drawing/2014/main" id="{494B9312-62F5-A24E-945F-C629C94665EF}"/>
              </a:ext>
            </a:extLst>
          </p:cNvPr>
          <p:cNvSpPr>
            <a:spLocks noGrp="1"/>
          </p:cNvSpPr>
          <p:nvPr>
            <p:ph sz="half" idx="4294967295"/>
          </p:nvPr>
        </p:nvSpPr>
        <p:spPr>
          <a:xfrm>
            <a:off x="1257300" y="2860675"/>
            <a:ext cx="10362526" cy="9493251"/>
          </a:xfrm>
        </p:spPr>
        <p:txBody>
          <a:bodyPr/>
          <a:lstStyle/>
          <a:p>
            <a:pPr marL="0" indent="0">
              <a:buNone/>
            </a:pPr>
            <a:r>
              <a:rPr lang="en-US" sz="5400" dirty="0"/>
              <a:t>Header</a:t>
            </a:r>
          </a:p>
          <a:p>
            <a:pPr marL="0" indent="0">
              <a:buNone/>
            </a:pPr>
            <a:r>
              <a:rPr lang="en-US" dirty="0"/>
              <a:t>Copy</a:t>
            </a:r>
          </a:p>
          <a:p>
            <a:r>
              <a:rPr lang="en-US" dirty="0"/>
              <a:t>Bullet</a:t>
            </a:r>
          </a:p>
          <a:p>
            <a:pPr lvl="1"/>
            <a:r>
              <a:rPr lang="en-US" dirty="0"/>
              <a:t>Bullet</a:t>
            </a:r>
          </a:p>
          <a:p>
            <a:pPr lvl="2"/>
            <a:r>
              <a:rPr lang="en-US" dirty="0"/>
              <a:t>Bullet</a:t>
            </a:r>
          </a:p>
        </p:txBody>
      </p:sp>
      <p:sp>
        <p:nvSpPr>
          <p:cNvPr id="4" name="Content Placeholder 3">
            <a:extLst>
              <a:ext uri="{FF2B5EF4-FFF2-40B4-BE49-F238E27FC236}">
                <a16:creationId xmlns:a16="http://schemas.microsoft.com/office/drawing/2014/main" id="{CA841DC9-F5A3-5B45-A263-4A072C95B58B}"/>
              </a:ext>
            </a:extLst>
          </p:cNvPr>
          <p:cNvSpPr>
            <a:spLocks noGrp="1"/>
          </p:cNvSpPr>
          <p:nvPr>
            <p:ph sz="half" idx="4294967295"/>
          </p:nvPr>
        </p:nvSpPr>
        <p:spPr>
          <a:xfrm>
            <a:off x="12762588" y="2860675"/>
            <a:ext cx="10362526" cy="9493251"/>
          </a:xfrm>
        </p:spPr>
        <p:txBody>
          <a:bodyPr/>
          <a:lstStyle/>
          <a:p>
            <a:pPr marL="0" indent="0">
              <a:buNone/>
            </a:pPr>
            <a:r>
              <a:rPr lang="en-US" sz="5400"/>
              <a:t>Header</a:t>
            </a:r>
          </a:p>
          <a:p>
            <a:pPr marL="0" indent="0">
              <a:buNone/>
            </a:pPr>
            <a:r>
              <a:rPr lang="en-US"/>
              <a:t>Copy</a:t>
            </a:r>
          </a:p>
          <a:p>
            <a:r>
              <a:rPr lang="en-US"/>
              <a:t>Bullet</a:t>
            </a:r>
          </a:p>
          <a:p>
            <a:pPr lvl="1"/>
            <a:r>
              <a:rPr lang="en-US"/>
              <a:t>Bullet</a:t>
            </a:r>
          </a:p>
          <a:p>
            <a:pPr lvl="2"/>
            <a:r>
              <a:rPr lang="en-US"/>
              <a:t>Bullet</a:t>
            </a:r>
            <a:endParaRPr lang="en-US" dirty="0"/>
          </a:p>
        </p:txBody>
      </p:sp>
      <p:sp>
        <p:nvSpPr>
          <p:cNvPr id="5" name="TextBox 4">
            <a:extLst>
              <a:ext uri="{FF2B5EF4-FFF2-40B4-BE49-F238E27FC236}">
                <a16:creationId xmlns:a16="http://schemas.microsoft.com/office/drawing/2014/main" id="{50A9CD66-CDCA-C34E-B928-32B49D37DF02}"/>
              </a:ext>
            </a:extLst>
          </p:cNvPr>
          <p:cNvSpPr txBox="1"/>
          <p:nvPr/>
        </p:nvSpPr>
        <p:spPr>
          <a:xfrm>
            <a:off x="-8007718" y="2860675"/>
            <a:ext cx="7550517" cy="3786229"/>
          </a:xfrm>
          <a:prstGeom prst="rect">
            <a:avLst/>
          </a:prstGeom>
          <a:noFill/>
        </p:spPr>
        <p:txBody>
          <a:bodyPr wrap="square" rtlCol="0">
            <a:spAutoFit/>
          </a:bodyPr>
          <a:lstStyle/>
          <a:p>
            <a:r>
              <a:rPr lang="en-US" sz="2667" b="1" dirty="0"/>
              <a:t>Tips and tricks</a:t>
            </a:r>
          </a:p>
          <a:p>
            <a:r>
              <a:rPr lang="en-US" sz="2667" dirty="0"/>
              <a:t>Hit TAB to make bullets go to the next level</a:t>
            </a:r>
          </a:p>
          <a:p>
            <a:endParaRPr lang="en-US" sz="2667" dirty="0"/>
          </a:p>
          <a:p>
            <a:r>
              <a:rPr lang="en-US" sz="2667" dirty="0"/>
              <a:t>To copy a boxes text formatting to another box, do the following:</a:t>
            </a:r>
          </a:p>
          <a:p>
            <a:pPr marL="457200" indent="-457200">
              <a:buFont typeface="Arial" panose="020B0604020202020204" pitchFamily="34" charset="0"/>
              <a:buChar char="•"/>
            </a:pPr>
            <a:r>
              <a:rPr lang="en-US" sz="2667" dirty="0"/>
              <a:t>Select the box with the formatting you want to copy.</a:t>
            </a:r>
          </a:p>
          <a:p>
            <a:pPr marL="457200" indent="-457200">
              <a:buFont typeface="Arial" panose="020B0604020202020204" pitchFamily="34" charset="0"/>
              <a:buChar char="•"/>
            </a:pPr>
            <a:r>
              <a:rPr lang="en-US" sz="2667" dirty="0"/>
              <a:t>On the “Home” Ribbon menu select ”Format” (It is right beside “Paste”)</a:t>
            </a:r>
          </a:p>
        </p:txBody>
      </p:sp>
      <p:pic>
        <p:nvPicPr>
          <p:cNvPr id="7" name="Picture 6" descr="A picture containing object&#10;&#10;Description automatically generated">
            <a:extLst>
              <a:ext uri="{FF2B5EF4-FFF2-40B4-BE49-F238E27FC236}">
                <a16:creationId xmlns:a16="http://schemas.microsoft.com/office/drawing/2014/main" id="{780FE6AC-9590-1B4D-9180-E3787C12C09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56272" y="6858000"/>
            <a:ext cx="1638300" cy="850900"/>
          </a:xfrm>
          <a:prstGeom prst="rect">
            <a:avLst/>
          </a:prstGeom>
        </p:spPr>
      </p:pic>
      <p:sp>
        <p:nvSpPr>
          <p:cNvPr id="9" name="TextBox 8">
            <a:extLst>
              <a:ext uri="{FF2B5EF4-FFF2-40B4-BE49-F238E27FC236}">
                <a16:creationId xmlns:a16="http://schemas.microsoft.com/office/drawing/2014/main" id="{AABBDE34-6A8A-4745-AEA4-391AC508A654}"/>
              </a:ext>
            </a:extLst>
          </p:cNvPr>
          <p:cNvSpPr txBox="1"/>
          <p:nvPr/>
        </p:nvSpPr>
        <p:spPr>
          <a:xfrm>
            <a:off x="-8007718" y="7785966"/>
            <a:ext cx="7550517" cy="2965364"/>
          </a:xfrm>
          <a:prstGeom prst="rect">
            <a:avLst/>
          </a:prstGeom>
          <a:noFill/>
        </p:spPr>
        <p:txBody>
          <a:bodyPr wrap="square" rtlCol="0">
            <a:spAutoFit/>
          </a:bodyPr>
          <a:lstStyle/>
          <a:p>
            <a:pPr marL="457200" indent="-457200">
              <a:buFont typeface="Arial" panose="020B0604020202020204" pitchFamily="34" charset="0"/>
              <a:buChar char="•"/>
            </a:pPr>
            <a:r>
              <a:rPr lang="en-US" sz="2667" dirty="0"/>
              <a:t>Format will now be selected, with it selected, click the box you wish to copy the formatting to. This will now copy the formatting to the selected box</a:t>
            </a:r>
          </a:p>
          <a:p>
            <a:pPr marL="457200" indent="-457200">
              <a:buFont typeface="Arial" panose="020B0604020202020204" pitchFamily="34" charset="0"/>
              <a:buChar char="•"/>
            </a:pPr>
            <a:r>
              <a:rPr lang="en-US" sz="2667" dirty="0"/>
              <a:t>Make sure that the box receiving the formatting is already using a similar formatting with different level bullets, etc. </a:t>
            </a:r>
          </a:p>
        </p:txBody>
      </p:sp>
    </p:spTree>
    <p:extLst>
      <p:ext uri="{BB962C8B-B14F-4D97-AF65-F5344CB8AC3E}">
        <p14:creationId xmlns:p14="http://schemas.microsoft.com/office/powerpoint/2010/main" val="207169928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Transportation / Buildings - 4</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44" name="TextBox 43">
            <a:extLst>
              <a:ext uri="{FF2B5EF4-FFF2-40B4-BE49-F238E27FC236}">
                <a16:creationId xmlns:a16="http://schemas.microsoft.com/office/drawing/2014/main" id="{47EDA3BB-1696-7944-BC00-49F53202684B}"/>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at 3</a:t>
            </a:r>
          </a:p>
        </p:txBody>
      </p:sp>
      <p:sp>
        <p:nvSpPr>
          <p:cNvPr id="45" name="TextBox 44">
            <a:extLst>
              <a:ext uri="{FF2B5EF4-FFF2-40B4-BE49-F238E27FC236}">
                <a16:creationId xmlns:a16="http://schemas.microsoft.com/office/drawing/2014/main" id="{09208874-7474-5948-AF74-9E30F296F8EF}"/>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at 4</a:t>
            </a:r>
          </a:p>
        </p:txBody>
      </p:sp>
      <p:sp>
        <p:nvSpPr>
          <p:cNvPr id="46" name="TextBox 45">
            <a:extLst>
              <a:ext uri="{FF2B5EF4-FFF2-40B4-BE49-F238E27FC236}">
                <a16:creationId xmlns:a16="http://schemas.microsoft.com/office/drawing/2014/main" id="{39B4A803-EC3A-E442-87F4-5B7C86774FA9}"/>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Yacht</a:t>
            </a:r>
          </a:p>
        </p:txBody>
      </p:sp>
      <p:sp>
        <p:nvSpPr>
          <p:cNvPr id="47" name="TextBox 46">
            <a:extLst>
              <a:ext uri="{FF2B5EF4-FFF2-40B4-BE49-F238E27FC236}">
                <a16:creationId xmlns:a16="http://schemas.microsoft.com/office/drawing/2014/main" id="{07EF0714-074A-9F44-8562-975E09E4152D}"/>
              </a:ext>
            </a:extLst>
          </p:cNvPr>
          <p:cNvSpPr txBox="1"/>
          <p:nvPr/>
        </p:nvSpPr>
        <p:spPr>
          <a:xfrm>
            <a:off x="604152" y="5139692"/>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mper</a:t>
            </a:r>
          </a:p>
        </p:txBody>
      </p:sp>
      <p:sp>
        <p:nvSpPr>
          <p:cNvPr id="48" name="TextBox 47">
            <a:extLst>
              <a:ext uri="{FF2B5EF4-FFF2-40B4-BE49-F238E27FC236}">
                <a16:creationId xmlns:a16="http://schemas.microsoft.com/office/drawing/2014/main" id="{0BD697DF-39AB-A04D-BD90-5A387F6146C5}"/>
              </a:ext>
            </a:extLst>
          </p:cNvPr>
          <p:cNvSpPr txBox="1"/>
          <p:nvPr/>
        </p:nvSpPr>
        <p:spPr>
          <a:xfrm>
            <a:off x="4656404" y="5139692"/>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ractor</a:t>
            </a:r>
          </a:p>
        </p:txBody>
      </p:sp>
      <p:sp>
        <p:nvSpPr>
          <p:cNvPr id="49" name="TextBox 48">
            <a:extLst>
              <a:ext uri="{FF2B5EF4-FFF2-40B4-BE49-F238E27FC236}">
                <a16:creationId xmlns:a16="http://schemas.microsoft.com/office/drawing/2014/main" id="{C011495F-4265-3342-ABA0-C9F677302651}"/>
              </a:ext>
            </a:extLst>
          </p:cNvPr>
          <p:cNvSpPr txBox="1"/>
          <p:nvPr/>
        </p:nvSpPr>
        <p:spPr>
          <a:xfrm>
            <a:off x="761921"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icycle</a:t>
            </a:r>
          </a:p>
        </p:txBody>
      </p:sp>
      <p:sp>
        <p:nvSpPr>
          <p:cNvPr id="50" name="TextBox 49">
            <a:extLst>
              <a:ext uri="{FF2B5EF4-FFF2-40B4-BE49-F238E27FC236}">
                <a16:creationId xmlns:a16="http://schemas.microsoft.com/office/drawing/2014/main" id="{2D1C2B77-F21E-5741-AB46-2DBEB991FEB7}"/>
              </a:ext>
            </a:extLst>
          </p:cNvPr>
          <p:cNvSpPr txBox="1"/>
          <p:nvPr/>
        </p:nvSpPr>
        <p:spPr>
          <a:xfrm>
            <a:off x="5007774"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per Airplane</a:t>
            </a:r>
          </a:p>
        </p:txBody>
      </p:sp>
      <p:sp>
        <p:nvSpPr>
          <p:cNvPr id="51" name="TextBox 50">
            <a:extLst>
              <a:ext uri="{FF2B5EF4-FFF2-40B4-BE49-F238E27FC236}">
                <a16:creationId xmlns:a16="http://schemas.microsoft.com/office/drawing/2014/main" id="{322F9D14-A463-1849-A86B-A89E0EAF7AE1}"/>
              </a:ext>
            </a:extLst>
          </p:cNvPr>
          <p:cNvSpPr txBox="1"/>
          <p:nvPr/>
        </p:nvSpPr>
        <p:spPr>
          <a:xfrm>
            <a:off x="9326439" y="8511816"/>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irplane 1</a:t>
            </a:r>
          </a:p>
        </p:txBody>
      </p:sp>
      <p:sp>
        <p:nvSpPr>
          <p:cNvPr id="52" name="TextBox 51">
            <a:extLst>
              <a:ext uri="{FF2B5EF4-FFF2-40B4-BE49-F238E27FC236}">
                <a16:creationId xmlns:a16="http://schemas.microsoft.com/office/drawing/2014/main" id="{B10A9EB5-0BCB-B948-B23E-67C4C196D344}"/>
              </a:ext>
            </a:extLst>
          </p:cNvPr>
          <p:cNvSpPr txBox="1"/>
          <p:nvPr/>
        </p:nvSpPr>
        <p:spPr>
          <a:xfrm>
            <a:off x="13192546" y="8511816"/>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irplane 2</a:t>
            </a:r>
          </a:p>
        </p:txBody>
      </p:sp>
      <p:sp>
        <p:nvSpPr>
          <p:cNvPr id="53" name="TextBox 52">
            <a:extLst>
              <a:ext uri="{FF2B5EF4-FFF2-40B4-BE49-F238E27FC236}">
                <a16:creationId xmlns:a16="http://schemas.microsoft.com/office/drawing/2014/main" id="{D0A9D11F-3634-D740-A6CD-8552070A1B8C}"/>
              </a:ext>
            </a:extLst>
          </p:cNvPr>
          <p:cNvSpPr txBox="1"/>
          <p:nvPr/>
        </p:nvSpPr>
        <p:spPr>
          <a:xfrm>
            <a:off x="16597962" y="8511816"/>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irplane 3</a:t>
            </a:r>
          </a:p>
        </p:txBody>
      </p:sp>
      <p:sp>
        <p:nvSpPr>
          <p:cNvPr id="54" name="TextBox 53">
            <a:extLst>
              <a:ext uri="{FF2B5EF4-FFF2-40B4-BE49-F238E27FC236}">
                <a16:creationId xmlns:a16="http://schemas.microsoft.com/office/drawing/2014/main" id="{20FEFA98-302C-5A4A-950D-F95CDA9C8FA2}"/>
              </a:ext>
            </a:extLst>
          </p:cNvPr>
          <p:cNvSpPr txBox="1"/>
          <p:nvPr/>
        </p:nvSpPr>
        <p:spPr>
          <a:xfrm>
            <a:off x="20996482" y="8511816"/>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irplane 4</a:t>
            </a:r>
          </a:p>
        </p:txBody>
      </p:sp>
      <p:sp>
        <p:nvSpPr>
          <p:cNvPr id="55" name="TextBox 54">
            <a:extLst>
              <a:ext uri="{FF2B5EF4-FFF2-40B4-BE49-F238E27FC236}">
                <a16:creationId xmlns:a16="http://schemas.microsoft.com/office/drawing/2014/main" id="{0041E3C4-B47E-0444-B69E-3450EE6AAF3F}"/>
              </a:ext>
            </a:extLst>
          </p:cNvPr>
          <p:cNvSpPr txBox="1"/>
          <p:nvPr/>
        </p:nvSpPr>
        <p:spPr>
          <a:xfrm>
            <a:off x="4352619"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otor</a:t>
            </a:r>
          </a:p>
        </p:txBody>
      </p:sp>
      <p:sp>
        <p:nvSpPr>
          <p:cNvPr id="56" name="Freeform: Shape 26">
            <a:extLst>
              <a:ext uri="{FF2B5EF4-FFF2-40B4-BE49-F238E27FC236}">
                <a16:creationId xmlns:a16="http://schemas.microsoft.com/office/drawing/2014/main" id="{E7CDA6B0-4FD6-0C4B-AC11-75F02F967EAE}"/>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7" name="TextBox 56">
            <a:extLst>
              <a:ext uri="{FF2B5EF4-FFF2-40B4-BE49-F238E27FC236}">
                <a16:creationId xmlns:a16="http://schemas.microsoft.com/office/drawing/2014/main" id="{52C7A3F6-C6D4-FC4D-B24E-AEC3F0D7547A}"/>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ailboat</a:t>
            </a:r>
          </a:p>
        </p:txBody>
      </p:sp>
      <p:sp>
        <p:nvSpPr>
          <p:cNvPr id="58" name="TextBox 57">
            <a:extLst>
              <a:ext uri="{FF2B5EF4-FFF2-40B4-BE49-F238E27FC236}">
                <a16:creationId xmlns:a16="http://schemas.microsoft.com/office/drawing/2014/main" id="{95B535CD-2FF9-5D42-9728-B71660EBDA8C}"/>
              </a:ext>
            </a:extLst>
          </p:cNvPr>
          <p:cNvSpPr txBox="1"/>
          <p:nvPr/>
        </p:nvSpPr>
        <p:spPr>
          <a:xfrm>
            <a:off x="623479"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ube</a:t>
            </a:r>
          </a:p>
        </p:txBody>
      </p:sp>
      <p:sp>
        <p:nvSpPr>
          <p:cNvPr id="59" name="Freeform: Shape 1">
            <a:extLst>
              <a:ext uri="{FF2B5EF4-FFF2-40B4-BE49-F238E27FC236}">
                <a16:creationId xmlns:a16="http://schemas.microsoft.com/office/drawing/2014/main" id="{FF7FBF25-2D6B-0042-9E7B-8BB1E5CEE480}"/>
              </a:ext>
            </a:extLst>
          </p:cNvPr>
          <p:cNvSpPr/>
          <p:nvPr/>
        </p:nvSpPr>
        <p:spPr>
          <a:xfrm>
            <a:off x="13954780" y="6452321"/>
            <a:ext cx="1540080" cy="1677959"/>
          </a:xfrm>
          <a:custGeom>
            <a:avLst/>
            <a:gdLst/>
            <a:ahLst/>
            <a:cxnLst>
              <a:cxn ang="3cd4">
                <a:pos x="hc" y="t"/>
              </a:cxn>
              <a:cxn ang="cd2">
                <a:pos x="l" y="vc"/>
              </a:cxn>
              <a:cxn ang="cd4">
                <a:pos x="hc" y="b"/>
              </a:cxn>
              <a:cxn ang="0">
                <a:pos x="r" y="vc"/>
              </a:cxn>
            </a:cxnLst>
            <a:rect l="l" t="t" r="r" b="b"/>
            <a:pathLst>
              <a:path w="4279" h="4662">
                <a:moveTo>
                  <a:pt x="4184" y="3325"/>
                </a:moveTo>
                <a:cubicBezTo>
                  <a:pt x="4200" y="3341"/>
                  <a:pt x="4232" y="3325"/>
                  <a:pt x="4248" y="3310"/>
                </a:cubicBezTo>
                <a:cubicBezTo>
                  <a:pt x="4264" y="3310"/>
                  <a:pt x="4279" y="3278"/>
                  <a:pt x="4279" y="3262"/>
                </a:cubicBezTo>
                <a:cubicBezTo>
                  <a:pt x="4279" y="2657"/>
                  <a:pt x="4279" y="2657"/>
                  <a:pt x="4279" y="2657"/>
                </a:cubicBezTo>
                <a:cubicBezTo>
                  <a:pt x="4279" y="2625"/>
                  <a:pt x="4264" y="2610"/>
                  <a:pt x="4248" y="2594"/>
                </a:cubicBezTo>
                <a:cubicBezTo>
                  <a:pt x="2673" y="1416"/>
                  <a:pt x="2673" y="1416"/>
                  <a:pt x="2673" y="1416"/>
                </a:cubicBezTo>
                <a:cubicBezTo>
                  <a:pt x="2593" y="907"/>
                  <a:pt x="2450" y="541"/>
                  <a:pt x="2164" y="32"/>
                </a:cubicBezTo>
                <a:cubicBezTo>
                  <a:pt x="2164" y="16"/>
                  <a:pt x="2131" y="0"/>
                  <a:pt x="2100" y="0"/>
                </a:cubicBezTo>
                <a:cubicBezTo>
                  <a:pt x="2068" y="0"/>
                  <a:pt x="2052" y="16"/>
                  <a:pt x="2036" y="32"/>
                </a:cubicBezTo>
                <a:cubicBezTo>
                  <a:pt x="1734" y="557"/>
                  <a:pt x="1622" y="971"/>
                  <a:pt x="1559" y="1416"/>
                </a:cubicBezTo>
                <a:cubicBezTo>
                  <a:pt x="31" y="2594"/>
                  <a:pt x="31" y="2594"/>
                  <a:pt x="31" y="2594"/>
                </a:cubicBezTo>
                <a:cubicBezTo>
                  <a:pt x="0" y="2610"/>
                  <a:pt x="0" y="2641"/>
                  <a:pt x="0" y="2657"/>
                </a:cubicBezTo>
                <a:cubicBezTo>
                  <a:pt x="0" y="3262"/>
                  <a:pt x="0" y="3262"/>
                  <a:pt x="0" y="3262"/>
                </a:cubicBezTo>
                <a:cubicBezTo>
                  <a:pt x="0" y="3278"/>
                  <a:pt x="0" y="3310"/>
                  <a:pt x="31" y="3310"/>
                </a:cubicBezTo>
                <a:cubicBezTo>
                  <a:pt x="48" y="3325"/>
                  <a:pt x="63" y="3341"/>
                  <a:pt x="95" y="3325"/>
                </a:cubicBezTo>
                <a:cubicBezTo>
                  <a:pt x="1416" y="2959"/>
                  <a:pt x="1416" y="2959"/>
                  <a:pt x="1416" y="2959"/>
                </a:cubicBezTo>
                <a:cubicBezTo>
                  <a:pt x="1607" y="3882"/>
                  <a:pt x="1607" y="3882"/>
                  <a:pt x="1607" y="3882"/>
                </a:cubicBezTo>
                <a:cubicBezTo>
                  <a:pt x="1241" y="4550"/>
                  <a:pt x="1241" y="4550"/>
                  <a:pt x="1241" y="4550"/>
                </a:cubicBezTo>
                <a:cubicBezTo>
                  <a:pt x="1225" y="4567"/>
                  <a:pt x="1225" y="4614"/>
                  <a:pt x="1241" y="4630"/>
                </a:cubicBezTo>
                <a:cubicBezTo>
                  <a:pt x="1273" y="4662"/>
                  <a:pt x="1304" y="4662"/>
                  <a:pt x="1336" y="4662"/>
                </a:cubicBezTo>
                <a:cubicBezTo>
                  <a:pt x="1909" y="4503"/>
                  <a:pt x="1909" y="4503"/>
                  <a:pt x="1909" y="4503"/>
                </a:cubicBezTo>
                <a:cubicBezTo>
                  <a:pt x="2291" y="4503"/>
                  <a:pt x="2291" y="4503"/>
                  <a:pt x="2291" y="4503"/>
                </a:cubicBezTo>
                <a:cubicBezTo>
                  <a:pt x="2864" y="4662"/>
                  <a:pt x="2864" y="4662"/>
                  <a:pt x="2864" y="4662"/>
                </a:cubicBezTo>
                <a:cubicBezTo>
                  <a:pt x="2879" y="4662"/>
                  <a:pt x="2879" y="4662"/>
                  <a:pt x="2895" y="4662"/>
                </a:cubicBezTo>
                <a:cubicBezTo>
                  <a:pt x="2911" y="4662"/>
                  <a:pt x="2943" y="4646"/>
                  <a:pt x="2959" y="4630"/>
                </a:cubicBezTo>
                <a:cubicBezTo>
                  <a:pt x="2975" y="4614"/>
                  <a:pt x="2975" y="4567"/>
                  <a:pt x="2959" y="4550"/>
                </a:cubicBezTo>
                <a:cubicBezTo>
                  <a:pt x="2609" y="3914"/>
                  <a:pt x="2609" y="3914"/>
                  <a:pt x="2609" y="3914"/>
                </a:cubicBezTo>
                <a:cubicBezTo>
                  <a:pt x="2816" y="2959"/>
                  <a:pt x="2816" y="2959"/>
                  <a:pt x="2816" y="2959"/>
                </a:cubicBezTo>
                <a:close/>
                <a:moveTo>
                  <a:pt x="2704" y="2801"/>
                </a:moveTo>
                <a:cubicBezTo>
                  <a:pt x="2688" y="2816"/>
                  <a:pt x="2673" y="2832"/>
                  <a:pt x="2673" y="2848"/>
                </a:cubicBezTo>
                <a:cubicBezTo>
                  <a:pt x="2434" y="3898"/>
                  <a:pt x="2434" y="3898"/>
                  <a:pt x="2434" y="3898"/>
                </a:cubicBezTo>
                <a:cubicBezTo>
                  <a:pt x="2434" y="3914"/>
                  <a:pt x="2434" y="3946"/>
                  <a:pt x="2450" y="3962"/>
                </a:cubicBezTo>
                <a:cubicBezTo>
                  <a:pt x="2736" y="4455"/>
                  <a:pt x="2736" y="4455"/>
                  <a:pt x="2736" y="4455"/>
                </a:cubicBezTo>
                <a:cubicBezTo>
                  <a:pt x="2307" y="4344"/>
                  <a:pt x="2307" y="4344"/>
                  <a:pt x="2307" y="4344"/>
                </a:cubicBezTo>
                <a:lnTo>
                  <a:pt x="2291" y="4344"/>
                </a:lnTo>
                <a:cubicBezTo>
                  <a:pt x="1893" y="4344"/>
                  <a:pt x="1893" y="4344"/>
                  <a:pt x="1893" y="4344"/>
                </a:cubicBezTo>
                <a:lnTo>
                  <a:pt x="1877" y="4344"/>
                </a:lnTo>
                <a:cubicBezTo>
                  <a:pt x="1464" y="4455"/>
                  <a:pt x="1464" y="4455"/>
                  <a:pt x="1464" y="4455"/>
                </a:cubicBezTo>
                <a:cubicBezTo>
                  <a:pt x="1766" y="3930"/>
                  <a:pt x="1766" y="3930"/>
                  <a:pt x="1766" y="3930"/>
                </a:cubicBezTo>
                <a:cubicBezTo>
                  <a:pt x="1766" y="3914"/>
                  <a:pt x="1766" y="3898"/>
                  <a:pt x="1766" y="3882"/>
                </a:cubicBezTo>
                <a:cubicBezTo>
                  <a:pt x="1559" y="2848"/>
                  <a:pt x="1559" y="2848"/>
                  <a:pt x="1559" y="2848"/>
                </a:cubicBezTo>
                <a:cubicBezTo>
                  <a:pt x="1559" y="2816"/>
                  <a:pt x="1543" y="2801"/>
                  <a:pt x="1527" y="2785"/>
                </a:cubicBezTo>
                <a:cubicBezTo>
                  <a:pt x="1511" y="2785"/>
                  <a:pt x="1479" y="2768"/>
                  <a:pt x="1464" y="2785"/>
                </a:cubicBezTo>
                <a:cubicBezTo>
                  <a:pt x="159" y="3150"/>
                  <a:pt x="159" y="3150"/>
                  <a:pt x="159" y="3150"/>
                </a:cubicBezTo>
                <a:cubicBezTo>
                  <a:pt x="159" y="2705"/>
                  <a:pt x="159" y="2705"/>
                  <a:pt x="159" y="2705"/>
                </a:cubicBezTo>
                <a:cubicBezTo>
                  <a:pt x="1686" y="1528"/>
                  <a:pt x="1686" y="1528"/>
                  <a:pt x="1686" y="1528"/>
                </a:cubicBezTo>
                <a:cubicBezTo>
                  <a:pt x="1702" y="1512"/>
                  <a:pt x="1702" y="1496"/>
                  <a:pt x="1718" y="1480"/>
                </a:cubicBezTo>
                <a:cubicBezTo>
                  <a:pt x="1766" y="1066"/>
                  <a:pt x="1861" y="700"/>
                  <a:pt x="2100" y="239"/>
                </a:cubicBezTo>
                <a:cubicBezTo>
                  <a:pt x="2339" y="668"/>
                  <a:pt x="2450" y="1003"/>
                  <a:pt x="2530" y="1480"/>
                </a:cubicBezTo>
                <a:cubicBezTo>
                  <a:pt x="2530" y="1496"/>
                  <a:pt x="2545" y="1512"/>
                  <a:pt x="2561" y="1528"/>
                </a:cubicBezTo>
                <a:cubicBezTo>
                  <a:pt x="4121" y="2705"/>
                  <a:pt x="4121" y="2705"/>
                  <a:pt x="4121" y="2705"/>
                </a:cubicBezTo>
                <a:cubicBezTo>
                  <a:pt x="4121" y="3150"/>
                  <a:pt x="4121" y="3150"/>
                  <a:pt x="4121" y="3150"/>
                </a:cubicBezTo>
                <a:cubicBezTo>
                  <a:pt x="2768" y="2785"/>
                  <a:pt x="2768" y="2785"/>
                  <a:pt x="2768" y="2785"/>
                </a:cubicBezTo>
                <a:cubicBezTo>
                  <a:pt x="2752" y="2785"/>
                  <a:pt x="2736" y="2785"/>
                  <a:pt x="2704" y="280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Freeform: Shape 3">
            <a:extLst>
              <a:ext uri="{FF2B5EF4-FFF2-40B4-BE49-F238E27FC236}">
                <a16:creationId xmlns:a16="http://schemas.microsoft.com/office/drawing/2014/main" id="{18AC1E3E-439C-434C-BB42-DF760098C5A8}"/>
              </a:ext>
            </a:extLst>
          </p:cNvPr>
          <p:cNvSpPr/>
          <p:nvPr/>
        </p:nvSpPr>
        <p:spPr>
          <a:xfrm>
            <a:off x="1439327" y="3671769"/>
            <a:ext cx="1769760" cy="1345680"/>
          </a:xfrm>
          <a:custGeom>
            <a:avLst/>
            <a:gdLst/>
            <a:ahLst/>
            <a:cxnLst>
              <a:cxn ang="3cd4">
                <a:pos x="hc" y="t"/>
              </a:cxn>
              <a:cxn ang="cd2">
                <a:pos x="l" y="vc"/>
              </a:cxn>
              <a:cxn ang="cd4">
                <a:pos x="hc" y="b"/>
              </a:cxn>
              <a:cxn ang="0">
                <a:pos x="r" y="vc"/>
              </a:cxn>
            </a:cxnLst>
            <a:rect l="l" t="t" r="r" b="b"/>
            <a:pathLst>
              <a:path w="4917" h="3739">
                <a:moveTo>
                  <a:pt x="2355" y="494"/>
                </a:moveTo>
                <a:lnTo>
                  <a:pt x="1862" y="494"/>
                </a:lnTo>
                <a:cubicBezTo>
                  <a:pt x="1814" y="494"/>
                  <a:pt x="1782" y="525"/>
                  <a:pt x="1782" y="573"/>
                </a:cubicBezTo>
                <a:lnTo>
                  <a:pt x="1782" y="1369"/>
                </a:lnTo>
                <a:cubicBezTo>
                  <a:pt x="1782" y="1416"/>
                  <a:pt x="1814" y="1448"/>
                  <a:pt x="1862" y="1448"/>
                </a:cubicBezTo>
                <a:lnTo>
                  <a:pt x="3357" y="1448"/>
                </a:lnTo>
                <a:cubicBezTo>
                  <a:pt x="3389" y="1448"/>
                  <a:pt x="3405" y="1433"/>
                  <a:pt x="3421" y="1416"/>
                </a:cubicBezTo>
                <a:cubicBezTo>
                  <a:pt x="3437" y="1385"/>
                  <a:pt x="3437" y="1353"/>
                  <a:pt x="3421" y="1337"/>
                </a:cubicBezTo>
                <a:cubicBezTo>
                  <a:pt x="3230" y="924"/>
                  <a:pt x="2800" y="494"/>
                  <a:pt x="2355" y="494"/>
                </a:cubicBezTo>
                <a:close/>
                <a:moveTo>
                  <a:pt x="1941" y="1289"/>
                </a:moveTo>
                <a:lnTo>
                  <a:pt x="1941" y="653"/>
                </a:lnTo>
                <a:lnTo>
                  <a:pt x="2355" y="653"/>
                </a:lnTo>
                <a:cubicBezTo>
                  <a:pt x="2689" y="653"/>
                  <a:pt x="3023" y="955"/>
                  <a:pt x="3214" y="1289"/>
                </a:cubicBezTo>
                <a:close/>
                <a:moveTo>
                  <a:pt x="1369" y="494"/>
                </a:moveTo>
                <a:lnTo>
                  <a:pt x="780" y="494"/>
                </a:lnTo>
                <a:cubicBezTo>
                  <a:pt x="621" y="494"/>
                  <a:pt x="494" y="621"/>
                  <a:pt x="494" y="780"/>
                </a:cubicBezTo>
                <a:lnTo>
                  <a:pt x="494" y="1369"/>
                </a:lnTo>
                <a:cubicBezTo>
                  <a:pt x="494" y="1416"/>
                  <a:pt x="526" y="1448"/>
                  <a:pt x="573" y="1448"/>
                </a:cubicBezTo>
                <a:lnTo>
                  <a:pt x="1369" y="1448"/>
                </a:lnTo>
                <a:cubicBezTo>
                  <a:pt x="1417" y="1448"/>
                  <a:pt x="1448" y="1416"/>
                  <a:pt x="1448" y="1369"/>
                </a:cubicBezTo>
                <a:lnTo>
                  <a:pt x="1448" y="573"/>
                </a:lnTo>
                <a:cubicBezTo>
                  <a:pt x="1448" y="525"/>
                  <a:pt x="1417" y="494"/>
                  <a:pt x="1369" y="494"/>
                </a:cubicBezTo>
                <a:close/>
                <a:moveTo>
                  <a:pt x="1289" y="1289"/>
                </a:moveTo>
                <a:lnTo>
                  <a:pt x="653" y="1289"/>
                </a:lnTo>
                <a:lnTo>
                  <a:pt x="653" y="780"/>
                </a:lnTo>
                <a:cubicBezTo>
                  <a:pt x="653" y="716"/>
                  <a:pt x="717" y="653"/>
                  <a:pt x="780" y="653"/>
                </a:cubicBezTo>
                <a:lnTo>
                  <a:pt x="1289" y="653"/>
                </a:lnTo>
                <a:close/>
                <a:moveTo>
                  <a:pt x="4153" y="3135"/>
                </a:moveTo>
                <a:lnTo>
                  <a:pt x="4837" y="3135"/>
                </a:lnTo>
                <a:cubicBezTo>
                  <a:pt x="4885" y="3135"/>
                  <a:pt x="4917" y="3103"/>
                  <a:pt x="4917" y="3055"/>
                </a:cubicBezTo>
                <a:cubicBezTo>
                  <a:pt x="4917" y="3007"/>
                  <a:pt x="4885" y="2976"/>
                  <a:pt x="4837" y="2976"/>
                </a:cubicBezTo>
                <a:lnTo>
                  <a:pt x="4233" y="2976"/>
                </a:lnTo>
                <a:lnTo>
                  <a:pt x="4233" y="2355"/>
                </a:lnTo>
                <a:cubicBezTo>
                  <a:pt x="4233" y="1003"/>
                  <a:pt x="2991" y="0"/>
                  <a:pt x="2466" y="0"/>
                </a:cubicBezTo>
                <a:lnTo>
                  <a:pt x="669" y="0"/>
                </a:lnTo>
                <a:cubicBezTo>
                  <a:pt x="335" y="0"/>
                  <a:pt x="0" y="334"/>
                  <a:pt x="0" y="669"/>
                </a:cubicBezTo>
                <a:lnTo>
                  <a:pt x="0" y="2515"/>
                </a:lnTo>
                <a:cubicBezTo>
                  <a:pt x="0" y="2849"/>
                  <a:pt x="287" y="3135"/>
                  <a:pt x="621" y="3135"/>
                </a:cubicBezTo>
                <a:lnTo>
                  <a:pt x="1385" y="3135"/>
                </a:lnTo>
                <a:lnTo>
                  <a:pt x="1385" y="3151"/>
                </a:lnTo>
                <a:cubicBezTo>
                  <a:pt x="1385" y="3469"/>
                  <a:pt x="1639" y="3739"/>
                  <a:pt x="1957" y="3739"/>
                </a:cubicBezTo>
                <a:cubicBezTo>
                  <a:pt x="2275" y="3739"/>
                  <a:pt x="2546" y="3469"/>
                  <a:pt x="2546" y="3151"/>
                </a:cubicBezTo>
                <a:lnTo>
                  <a:pt x="2546" y="3135"/>
                </a:lnTo>
                <a:lnTo>
                  <a:pt x="3755" y="3135"/>
                </a:lnTo>
                <a:close/>
                <a:moveTo>
                  <a:pt x="1957" y="3580"/>
                </a:moveTo>
                <a:cubicBezTo>
                  <a:pt x="1735" y="3580"/>
                  <a:pt x="1544" y="3389"/>
                  <a:pt x="1544" y="3151"/>
                </a:cubicBezTo>
                <a:cubicBezTo>
                  <a:pt x="1544" y="2928"/>
                  <a:pt x="1735" y="2737"/>
                  <a:pt x="1957" y="2737"/>
                </a:cubicBezTo>
                <a:cubicBezTo>
                  <a:pt x="2196" y="2737"/>
                  <a:pt x="2387" y="2928"/>
                  <a:pt x="2387" y="3151"/>
                </a:cubicBezTo>
                <a:cubicBezTo>
                  <a:pt x="2387" y="3389"/>
                  <a:pt x="2196" y="3580"/>
                  <a:pt x="1957" y="3580"/>
                </a:cubicBezTo>
                <a:close/>
                <a:moveTo>
                  <a:pt x="1957" y="2578"/>
                </a:moveTo>
                <a:cubicBezTo>
                  <a:pt x="1703" y="2578"/>
                  <a:pt x="1496" y="2753"/>
                  <a:pt x="1417" y="2976"/>
                </a:cubicBezTo>
                <a:lnTo>
                  <a:pt x="621" y="2976"/>
                </a:lnTo>
                <a:cubicBezTo>
                  <a:pt x="366" y="2976"/>
                  <a:pt x="160" y="2769"/>
                  <a:pt x="160" y="2515"/>
                </a:cubicBezTo>
                <a:lnTo>
                  <a:pt x="160" y="669"/>
                </a:lnTo>
                <a:cubicBezTo>
                  <a:pt x="160" y="414"/>
                  <a:pt x="414" y="160"/>
                  <a:pt x="669" y="160"/>
                </a:cubicBezTo>
                <a:lnTo>
                  <a:pt x="2466" y="160"/>
                </a:lnTo>
                <a:cubicBezTo>
                  <a:pt x="2864" y="160"/>
                  <a:pt x="4073" y="1051"/>
                  <a:pt x="4073" y="2355"/>
                </a:cubicBezTo>
                <a:lnTo>
                  <a:pt x="4073" y="2976"/>
                </a:lnTo>
                <a:lnTo>
                  <a:pt x="3755" y="2976"/>
                </a:lnTo>
                <a:lnTo>
                  <a:pt x="2514" y="2976"/>
                </a:lnTo>
                <a:cubicBezTo>
                  <a:pt x="2435" y="2753"/>
                  <a:pt x="2212" y="2578"/>
                  <a:pt x="1957" y="257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Freeform: Shape 4">
            <a:extLst>
              <a:ext uri="{FF2B5EF4-FFF2-40B4-BE49-F238E27FC236}">
                <a16:creationId xmlns:a16="http://schemas.microsoft.com/office/drawing/2014/main" id="{3C21D562-B9A1-E74B-BFB2-16AD38A70593}"/>
              </a:ext>
            </a:extLst>
          </p:cNvPr>
          <p:cNvSpPr/>
          <p:nvPr/>
        </p:nvSpPr>
        <p:spPr>
          <a:xfrm>
            <a:off x="1542467" y="6755756"/>
            <a:ext cx="1769400" cy="1125360"/>
          </a:xfrm>
          <a:custGeom>
            <a:avLst/>
            <a:gdLst/>
            <a:ahLst/>
            <a:cxnLst>
              <a:cxn ang="3cd4">
                <a:pos x="hc" y="t"/>
              </a:cxn>
              <a:cxn ang="cd2">
                <a:pos x="l" y="vc"/>
              </a:cxn>
              <a:cxn ang="cd4">
                <a:pos x="hc" y="b"/>
              </a:cxn>
              <a:cxn ang="0">
                <a:pos x="r" y="vc"/>
              </a:cxn>
            </a:cxnLst>
            <a:rect l="l" t="t" r="r" b="b"/>
            <a:pathLst>
              <a:path w="4916" h="3127">
                <a:moveTo>
                  <a:pt x="970" y="3127"/>
                </a:moveTo>
                <a:cubicBezTo>
                  <a:pt x="1480" y="3127"/>
                  <a:pt x="1893" y="2745"/>
                  <a:pt x="1941" y="2236"/>
                </a:cubicBezTo>
                <a:cubicBezTo>
                  <a:pt x="2354" y="2236"/>
                  <a:pt x="2354" y="2236"/>
                  <a:pt x="2354" y="2236"/>
                </a:cubicBezTo>
                <a:cubicBezTo>
                  <a:pt x="2371" y="2236"/>
                  <a:pt x="2371" y="2236"/>
                  <a:pt x="2371" y="2236"/>
                </a:cubicBezTo>
                <a:cubicBezTo>
                  <a:pt x="2386" y="2236"/>
                  <a:pt x="2386" y="2236"/>
                  <a:pt x="2386" y="2236"/>
                </a:cubicBezTo>
                <a:cubicBezTo>
                  <a:pt x="2402" y="2236"/>
                  <a:pt x="2402" y="2236"/>
                  <a:pt x="2402" y="2236"/>
                </a:cubicBezTo>
                <a:lnTo>
                  <a:pt x="2402" y="2219"/>
                </a:lnTo>
                <a:cubicBezTo>
                  <a:pt x="2418" y="2219"/>
                  <a:pt x="2418" y="2219"/>
                  <a:pt x="2418" y="2204"/>
                </a:cubicBezTo>
                <a:cubicBezTo>
                  <a:pt x="3516" y="931"/>
                  <a:pt x="3516" y="931"/>
                  <a:pt x="3516" y="931"/>
                </a:cubicBezTo>
                <a:cubicBezTo>
                  <a:pt x="3532" y="1027"/>
                  <a:pt x="3563" y="1138"/>
                  <a:pt x="3595" y="1249"/>
                </a:cubicBezTo>
                <a:cubicBezTo>
                  <a:pt x="3229" y="1392"/>
                  <a:pt x="2975" y="1742"/>
                  <a:pt x="2975" y="2156"/>
                </a:cubicBezTo>
                <a:cubicBezTo>
                  <a:pt x="2975" y="2697"/>
                  <a:pt x="3405" y="3127"/>
                  <a:pt x="3945" y="3127"/>
                </a:cubicBezTo>
                <a:cubicBezTo>
                  <a:pt x="4486" y="3127"/>
                  <a:pt x="4916" y="2697"/>
                  <a:pt x="4916" y="2156"/>
                </a:cubicBezTo>
                <a:cubicBezTo>
                  <a:pt x="4916" y="1615"/>
                  <a:pt x="4486" y="1185"/>
                  <a:pt x="3945" y="1185"/>
                </a:cubicBezTo>
                <a:cubicBezTo>
                  <a:pt x="3882" y="1185"/>
                  <a:pt x="3818" y="1185"/>
                  <a:pt x="3739" y="1201"/>
                </a:cubicBezTo>
                <a:cubicBezTo>
                  <a:pt x="3580" y="581"/>
                  <a:pt x="3532" y="167"/>
                  <a:pt x="3532" y="167"/>
                </a:cubicBezTo>
                <a:cubicBezTo>
                  <a:pt x="3532" y="119"/>
                  <a:pt x="3500" y="88"/>
                  <a:pt x="3452" y="88"/>
                </a:cubicBezTo>
                <a:cubicBezTo>
                  <a:pt x="2991" y="88"/>
                  <a:pt x="2991" y="88"/>
                  <a:pt x="2911" y="24"/>
                </a:cubicBezTo>
                <a:cubicBezTo>
                  <a:pt x="2880" y="-8"/>
                  <a:pt x="2832" y="-8"/>
                  <a:pt x="2800" y="24"/>
                </a:cubicBezTo>
                <a:cubicBezTo>
                  <a:pt x="2768" y="56"/>
                  <a:pt x="2768" y="104"/>
                  <a:pt x="2800" y="136"/>
                </a:cubicBezTo>
                <a:cubicBezTo>
                  <a:pt x="2911" y="247"/>
                  <a:pt x="2943" y="247"/>
                  <a:pt x="3389" y="247"/>
                </a:cubicBezTo>
                <a:cubicBezTo>
                  <a:pt x="3389" y="342"/>
                  <a:pt x="3420" y="485"/>
                  <a:pt x="3468" y="692"/>
                </a:cubicBezTo>
                <a:cubicBezTo>
                  <a:pt x="1718" y="692"/>
                  <a:pt x="1718" y="692"/>
                  <a:pt x="1718" y="692"/>
                </a:cubicBezTo>
                <a:cubicBezTo>
                  <a:pt x="1591" y="438"/>
                  <a:pt x="1591" y="438"/>
                  <a:pt x="1591" y="438"/>
                </a:cubicBezTo>
                <a:cubicBezTo>
                  <a:pt x="2004" y="438"/>
                  <a:pt x="2036" y="294"/>
                  <a:pt x="2036" y="231"/>
                </a:cubicBezTo>
                <a:cubicBezTo>
                  <a:pt x="2036" y="88"/>
                  <a:pt x="1909" y="88"/>
                  <a:pt x="1845" y="88"/>
                </a:cubicBezTo>
                <a:cubicBezTo>
                  <a:pt x="1209" y="88"/>
                  <a:pt x="1209" y="88"/>
                  <a:pt x="1209" y="88"/>
                </a:cubicBezTo>
                <a:cubicBezTo>
                  <a:pt x="1018" y="88"/>
                  <a:pt x="986" y="215"/>
                  <a:pt x="986" y="310"/>
                </a:cubicBezTo>
                <a:cubicBezTo>
                  <a:pt x="986" y="374"/>
                  <a:pt x="1002" y="470"/>
                  <a:pt x="1066" y="517"/>
                </a:cubicBezTo>
                <a:cubicBezTo>
                  <a:pt x="1098" y="549"/>
                  <a:pt x="1129" y="549"/>
                  <a:pt x="1161" y="549"/>
                </a:cubicBezTo>
                <a:cubicBezTo>
                  <a:pt x="1225" y="549"/>
                  <a:pt x="1289" y="533"/>
                  <a:pt x="1352" y="501"/>
                </a:cubicBezTo>
                <a:cubicBezTo>
                  <a:pt x="1384" y="501"/>
                  <a:pt x="1400" y="485"/>
                  <a:pt x="1432" y="485"/>
                </a:cubicBezTo>
                <a:cubicBezTo>
                  <a:pt x="1575" y="772"/>
                  <a:pt x="1575" y="772"/>
                  <a:pt x="1575" y="772"/>
                </a:cubicBezTo>
                <a:cubicBezTo>
                  <a:pt x="1336" y="1249"/>
                  <a:pt x="1336" y="1249"/>
                  <a:pt x="1336" y="1249"/>
                </a:cubicBezTo>
                <a:cubicBezTo>
                  <a:pt x="1225" y="1217"/>
                  <a:pt x="1098" y="1185"/>
                  <a:pt x="970" y="1185"/>
                </a:cubicBezTo>
                <a:cubicBezTo>
                  <a:pt x="429" y="1185"/>
                  <a:pt x="0" y="1615"/>
                  <a:pt x="0" y="2156"/>
                </a:cubicBezTo>
                <a:cubicBezTo>
                  <a:pt x="0" y="2697"/>
                  <a:pt x="429" y="3127"/>
                  <a:pt x="970" y="3127"/>
                </a:cubicBezTo>
                <a:close/>
                <a:moveTo>
                  <a:pt x="3945" y="1345"/>
                </a:moveTo>
                <a:cubicBezTo>
                  <a:pt x="4391" y="1345"/>
                  <a:pt x="4757" y="1710"/>
                  <a:pt x="4757" y="2156"/>
                </a:cubicBezTo>
                <a:cubicBezTo>
                  <a:pt x="4757" y="2601"/>
                  <a:pt x="4391" y="2967"/>
                  <a:pt x="3945" y="2967"/>
                </a:cubicBezTo>
                <a:cubicBezTo>
                  <a:pt x="3500" y="2967"/>
                  <a:pt x="3134" y="2601"/>
                  <a:pt x="3134" y="2156"/>
                </a:cubicBezTo>
                <a:cubicBezTo>
                  <a:pt x="3134" y="1822"/>
                  <a:pt x="3341" y="1536"/>
                  <a:pt x="3627" y="1408"/>
                </a:cubicBezTo>
                <a:cubicBezTo>
                  <a:pt x="3691" y="1647"/>
                  <a:pt x="3771" y="1901"/>
                  <a:pt x="3866" y="2188"/>
                </a:cubicBezTo>
                <a:cubicBezTo>
                  <a:pt x="3882" y="2219"/>
                  <a:pt x="3914" y="2236"/>
                  <a:pt x="3945" y="2236"/>
                </a:cubicBezTo>
                <a:cubicBezTo>
                  <a:pt x="3962" y="2236"/>
                  <a:pt x="3962" y="2236"/>
                  <a:pt x="3977" y="2236"/>
                </a:cubicBezTo>
                <a:cubicBezTo>
                  <a:pt x="4009" y="2219"/>
                  <a:pt x="4041" y="2172"/>
                  <a:pt x="4025" y="2140"/>
                </a:cubicBezTo>
                <a:cubicBezTo>
                  <a:pt x="3929" y="1854"/>
                  <a:pt x="3850" y="1599"/>
                  <a:pt x="3786" y="1361"/>
                </a:cubicBezTo>
                <a:cubicBezTo>
                  <a:pt x="3834" y="1345"/>
                  <a:pt x="3898" y="1345"/>
                  <a:pt x="3945" y="1345"/>
                </a:cubicBezTo>
                <a:close/>
                <a:moveTo>
                  <a:pt x="1957" y="231"/>
                </a:moveTo>
                <a:close/>
                <a:moveTo>
                  <a:pt x="3372" y="851"/>
                </a:moveTo>
                <a:cubicBezTo>
                  <a:pt x="2371" y="2013"/>
                  <a:pt x="2371" y="2013"/>
                  <a:pt x="2371" y="2013"/>
                </a:cubicBezTo>
                <a:cubicBezTo>
                  <a:pt x="1798" y="851"/>
                  <a:pt x="1798" y="851"/>
                  <a:pt x="1798" y="851"/>
                </a:cubicBezTo>
                <a:close/>
                <a:moveTo>
                  <a:pt x="1671" y="947"/>
                </a:moveTo>
                <a:cubicBezTo>
                  <a:pt x="2227" y="2076"/>
                  <a:pt x="2227" y="2076"/>
                  <a:pt x="2227" y="2076"/>
                </a:cubicBezTo>
                <a:cubicBezTo>
                  <a:pt x="1941" y="2076"/>
                  <a:pt x="1941" y="2076"/>
                  <a:pt x="1941" y="2076"/>
                </a:cubicBezTo>
                <a:cubicBezTo>
                  <a:pt x="1909" y="1758"/>
                  <a:pt x="1734" y="1488"/>
                  <a:pt x="1480" y="1328"/>
                </a:cubicBezTo>
                <a:close/>
                <a:moveTo>
                  <a:pt x="1781" y="2076"/>
                </a:moveTo>
                <a:cubicBezTo>
                  <a:pt x="1098" y="2076"/>
                  <a:pt x="1098" y="2076"/>
                  <a:pt x="1098" y="2076"/>
                </a:cubicBezTo>
                <a:cubicBezTo>
                  <a:pt x="1400" y="1472"/>
                  <a:pt x="1400" y="1472"/>
                  <a:pt x="1400" y="1472"/>
                </a:cubicBezTo>
                <a:cubicBezTo>
                  <a:pt x="1607" y="1599"/>
                  <a:pt x="1750" y="1822"/>
                  <a:pt x="1781" y="2076"/>
                </a:cubicBezTo>
                <a:close/>
                <a:moveTo>
                  <a:pt x="970" y="1345"/>
                </a:moveTo>
                <a:cubicBezTo>
                  <a:pt x="1066" y="1345"/>
                  <a:pt x="1177" y="1361"/>
                  <a:pt x="1257" y="1392"/>
                </a:cubicBezTo>
                <a:cubicBezTo>
                  <a:pt x="907" y="2124"/>
                  <a:pt x="907" y="2124"/>
                  <a:pt x="907" y="2124"/>
                </a:cubicBezTo>
                <a:cubicBezTo>
                  <a:pt x="891" y="2140"/>
                  <a:pt x="891" y="2172"/>
                  <a:pt x="907" y="2204"/>
                </a:cubicBezTo>
                <a:cubicBezTo>
                  <a:pt x="923" y="2219"/>
                  <a:pt x="938" y="2236"/>
                  <a:pt x="970" y="2236"/>
                </a:cubicBezTo>
                <a:cubicBezTo>
                  <a:pt x="1781" y="2236"/>
                  <a:pt x="1781" y="2236"/>
                  <a:pt x="1781" y="2236"/>
                </a:cubicBezTo>
                <a:cubicBezTo>
                  <a:pt x="1734" y="2649"/>
                  <a:pt x="1400" y="2967"/>
                  <a:pt x="970" y="2967"/>
                </a:cubicBezTo>
                <a:cubicBezTo>
                  <a:pt x="525" y="2967"/>
                  <a:pt x="159" y="2601"/>
                  <a:pt x="159" y="2156"/>
                </a:cubicBezTo>
                <a:cubicBezTo>
                  <a:pt x="159" y="1710"/>
                  <a:pt x="525" y="1345"/>
                  <a:pt x="970" y="134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5">
            <a:extLst>
              <a:ext uri="{FF2B5EF4-FFF2-40B4-BE49-F238E27FC236}">
                <a16:creationId xmlns:a16="http://schemas.microsoft.com/office/drawing/2014/main" id="{CF235406-F252-8742-B04D-83443D9410EF}"/>
              </a:ext>
            </a:extLst>
          </p:cNvPr>
          <p:cNvSpPr/>
          <p:nvPr/>
        </p:nvSpPr>
        <p:spPr>
          <a:xfrm>
            <a:off x="5568347" y="3361299"/>
            <a:ext cx="1773360" cy="1591920"/>
          </a:xfrm>
          <a:custGeom>
            <a:avLst/>
            <a:gdLst/>
            <a:ahLst/>
            <a:cxnLst>
              <a:cxn ang="3cd4">
                <a:pos x="hc" y="t"/>
              </a:cxn>
              <a:cxn ang="cd2">
                <a:pos x="l" y="vc"/>
              </a:cxn>
              <a:cxn ang="cd4">
                <a:pos x="hc" y="b"/>
              </a:cxn>
              <a:cxn ang="0">
                <a:pos x="r" y="vc"/>
              </a:cxn>
            </a:cxnLst>
            <a:rect l="l" t="t" r="r" b="b"/>
            <a:pathLst>
              <a:path w="4927" h="4423">
                <a:moveTo>
                  <a:pt x="3850" y="3167"/>
                </a:moveTo>
                <a:cubicBezTo>
                  <a:pt x="3595" y="3167"/>
                  <a:pt x="3388" y="3389"/>
                  <a:pt x="3388" y="3644"/>
                </a:cubicBezTo>
                <a:cubicBezTo>
                  <a:pt x="3388" y="3914"/>
                  <a:pt x="3595" y="4121"/>
                  <a:pt x="3850" y="4121"/>
                </a:cubicBezTo>
                <a:cubicBezTo>
                  <a:pt x="4120" y="4121"/>
                  <a:pt x="4327" y="3914"/>
                  <a:pt x="4327" y="3644"/>
                </a:cubicBezTo>
                <a:cubicBezTo>
                  <a:pt x="4327" y="3389"/>
                  <a:pt x="4120" y="3167"/>
                  <a:pt x="3850" y="3167"/>
                </a:cubicBezTo>
                <a:close/>
                <a:moveTo>
                  <a:pt x="3850" y="3962"/>
                </a:moveTo>
                <a:cubicBezTo>
                  <a:pt x="3675" y="3962"/>
                  <a:pt x="3531" y="3819"/>
                  <a:pt x="3531" y="3644"/>
                </a:cubicBezTo>
                <a:cubicBezTo>
                  <a:pt x="3531" y="3468"/>
                  <a:pt x="3675" y="3325"/>
                  <a:pt x="3850" y="3325"/>
                </a:cubicBezTo>
                <a:cubicBezTo>
                  <a:pt x="4025" y="3325"/>
                  <a:pt x="4168" y="3468"/>
                  <a:pt x="4168" y="3644"/>
                </a:cubicBezTo>
                <a:cubicBezTo>
                  <a:pt x="4168" y="3819"/>
                  <a:pt x="4025" y="3962"/>
                  <a:pt x="3850" y="3962"/>
                </a:cubicBezTo>
                <a:close/>
                <a:moveTo>
                  <a:pt x="1177" y="3771"/>
                </a:moveTo>
                <a:cubicBezTo>
                  <a:pt x="1463" y="3771"/>
                  <a:pt x="1702" y="3548"/>
                  <a:pt x="1702" y="3246"/>
                </a:cubicBezTo>
                <a:cubicBezTo>
                  <a:pt x="1702" y="2959"/>
                  <a:pt x="1463" y="2721"/>
                  <a:pt x="1177" y="2721"/>
                </a:cubicBezTo>
                <a:cubicBezTo>
                  <a:pt x="891" y="2721"/>
                  <a:pt x="652" y="2959"/>
                  <a:pt x="652" y="3246"/>
                </a:cubicBezTo>
                <a:cubicBezTo>
                  <a:pt x="652" y="3548"/>
                  <a:pt x="891" y="3771"/>
                  <a:pt x="1177" y="3771"/>
                </a:cubicBezTo>
                <a:close/>
                <a:moveTo>
                  <a:pt x="1177" y="2880"/>
                </a:moveTo>
                <a:cubicBezTo>
                  <a:pt x="1384" y="2880"/>
                  <a:pt x="1543" y="3055"/>
                  <a:pt x="1543" y="3246"/>
                </a:cubicBezTo>
                <a:cubicBezTo>
                  <a:pt x="1543" y="3453"/>
                  <a:pt x="1384" y="3612"/>
                  <a:pt x="1177" y="3612"/>
                </a:cubicBezTo>
                <a:cubicBezTo>
                  <a:pt x="970" y="3612"/>
                  <a:pt x="811" y="3453"/>
                  <a:pt x="811" y="3246"/>
                </a:cubicBezTo>
                <a:cubicBezTo>
                  <a:pt x="811" y="3055"/>
                  <a:pt x="970" y="2880"/>
                  <a:pt x="1177" y="2880"/>
                </a:cubicBezTo>
                <a:close/>
                <a:moveTo>
                  <a:pt x="1177" y="4423"/>
                </a:moveTo>
                <a:cubicBezTo>
                  <a:pt x="1829" y="4423"/>
                  <a:pt x="2354" y="3898"/>
                  <a:pt x="2354" y="3246"/>
                </a:cubicBezTo>
                <a:cubicBezTo>
                  <a:pt x="2354" y="2610"/>
                  <a:pt x="1829" y="2085"/>
                  <a:pt x="1177" y="2085"/>
                </a:cubicBezTo>
                <a:cubicBezTo>
                  <a:pt x="524" y="2085"/>
                  <a:pt x="0" y="2610"/>
                  <a:pt x="0" y="3246"/>
                </a:cubicBezTo>
                <a:cubicBezTo>
                  <a:pt x="0" y="3898"/>
                  <a:pt x="524" y="4423"/>
                  <a:pt x="1177" y="4423"/>
                </a:cubicBezTo>
                <a:close/>
                <a:moveTo>
                  <a:pt x="1177" y="2244"/>
                </a:moveTo>
                <a:cubicBezTo>
                  <a:pt x="1734" y="2244"/>
                  <a:pt x="2195" y="2689"/>
                  <a:pt x="2195" y="3246"/>
                </a:cubicBezTo>
                <a:cubicBezTo>
                  <a:pt x="2195" y="3803"/>
                  <a:pt x="1734" y="4264"/>
                  <a:pt x="1177" y="4264"/>
                </a:cubicBezTo>
                <a:cubicBezTo>
                  <a:pt x="620" y="4264"/>
                  <a:pt x="158" y="3803"/>
                  <a:pt x="158" y="3246"/>
                </a:cubicBezTo>
                <a:cubicBezTo>
                  <a:pt x="158" y="2689"/>
                  <a:pt x="620" y="2244"/>
                  <a:pt x="1177" y="2244"/>
                </a:cubicBezTo>
                <a:close/>
                <a:moveTo>
                  <a:pt x="287" y="2132"/>
                </a:moveTo>
                <a:cubicBezTo>
                  <a:pt x="541" y="1910"/>
                  <a:pt x="876" y="1798"/>
                  <a:pt x="1210" y="1798"/>
                </a:cubicBezTo>
                <a:cubicBezTo>
                  <a:pt x="1989" y="1798"/>
                  <a:pt x="2626" y="2434"/>
                  <a:pt x="2626" y="3230"/>
                </a:cubicBezTo>
                <a:cubicBezTo>
                  <a:pt x="2626" y="3262"/>
                  <a:pt x="2673" y="3310"/>
                  <a:pt x="2705" y="3310"/>
                </a:cubicBezTo>
                <a:cubicBezTo>
                  <a:pt x="2753" y="3310"/>
                  <a:pt x="2785" y="3262"/>
                  <a:pt x="2785" y="3230"/>
                </a:cubicBezTo>
                <a:lnTo>
                  <a:pt x="2785" y="3134"/>
                </a:lnTo>
                <a:lnTo>
                  <a:pt x="3278" y="3134"/>
                </a:lnTo>
                <a:cubicBezTo>
                  <a:pt x="3150" y="3278"/>
                  <a:pt x="3087" y="3453"/>
                  <a:pt x="3087" y="3644"/>
                </a:cubicBezTo>
                <a:cubicBezTo>
                  <a:pt x="3087" y="4073"/>
                  <a:pt x="3437" y="4423"/>
                  <a:pt x="3851" y="4423"/>
                </a:cubicBezTo>
                <a:cubicBezTo>
                  <a:pt x="4280" y="4423"/>
                  <a:pt x="4630" y="4073"/>
                  <a:pt x="4630" y="3644"/>
                </a:cubicBezTo>
                <a:cubicBezTo>
                  <a:pt x="4630" y="3437"/>
                  <a:pt x="4551" y="3246"/>
                  <a:pt x="4392" y="3103"/>
                </a:cubicBezTo>
                <a:cubicBezTo>
                  <a:pt x="4503" y="3039"/>
                  <a:pt x="4598" y="2959"/>
                  <a:pt x="4630" y="2864"/>
                </a:cubicBezTo>
                <a:lnTo>
                  <a:pt x="4917" y="2068"/>
                </a:lnTo>
                <a:cubicBezTo>
                  <a:pt x="4932" y="2005"/>
                  <a:pt x="4932" y="1941"/>
                  <a:pt x="4901" y="1894"/>
                </a:cubicBezTo>
                <a:cubicBezTo>
                  <a:pt x="4853" y="1830"/>
                  <a:pt x="4758" y="1782"/>
                  <a:pt x="4662" y="1782"/>
                </a:cubicBezTo>
                <a:lnTo>
                  <a:pt x="3930" y="1782"/>
                </a:lnTo>
                <a:lnTo>
                  <a:pt x="3930" y="1162"/>
                </a:lnTo>
                <a:cubicBezTo>
                  <a:pt x="3930" y="923"/>
                  <a:pt x="4010" y="843"/>
                  <a:pt x="4058" y="843"/>
                </a:cubicBezTo>
                <a:cubicBezTo>
                  <a:pt x="4074" y="859"/>
                  <a:pt x="4089" y="843"/>
                  <a:pt x="4105" y="828"/>
                </a:cubicBezTo>
                <a:cubicBezTo>
                  <a:pt x="4121" y="812"/>
                  <a:pt x="4137" y="796"/>
                  <a:pt x="4137" y="764"/>
                </a:cubicBezTo>
                <a:lnTo>
                  <a:pt x="4137" y="573"/>
                </a:lnTo>
                <a:cubicBezTo>
                  <a:pt x="4137" y="525"/>
                  <a:pt x="4105" y="494"/>
                  <a:pt x="4058" y="494"/>
                </a:cubicBezTo>
                <a:cubicBezTo>
                  <a:pt x="3851" y="494"/>
                  <a:pt x="3389" y="557"/>
                  <a:pt x="3389" y="1146"/>
                </a:cubicBezTo>
                <a:lnTo>
                  <a:pt x="3389" y="1782"/>
                </a:lnTo>
                <a:lnTo>
                  <a:pt x="2832" y="1782"/>
                </a:lnTo>
                <a:lnTo>
                  <a:pt x="2419" y="255"/>
                </a:lnTo>
                <a:cubicBezTo>
                  <a:pt x="2387" y="96"/>
                  <a:pt x="2276" y="0"/>
                  <a:pt x="2149" y="0"/>
                </a:cubicBezTo>
                <a:lnTo>
                  <a:pt x="573" y="0"/>
                </a:lnTo>
                <a:cubicBezTo>
                  <a:pt x="430" y="0"/>
                  <a:pt x="303" y="128"/>
                  <a:pt x="303" y="271"/>
                </a:cubicBezTo>
                <a:lnTo>
                  <a:pt x="303" y="1925"/>
                </a:lnTo>
                <a:cubicBezTo>
                  <a:pt x="271" y="1941"/>
                  <a:pt x="223" y="1973"/>
                  <a:pt x="191" y="2005"/>
                </a:cubicBezTo>
                <a:cubicBezTo>
                  <a:pt x="159" y="2037"/>
                  <a:pt x="144" y="2085"/>
                  <a:pt x="176" y="2116"/>
                </a:cubicBezTo>
                <a:cubicBezTo>
                  <a:pt x="207" y="2148"/>
                  <a:pt x="255" y="2164"/>
                  <a:pt x="287" y="2132"/>
                </a:cubicBezTo>
                <a:close/>
                <a:moveTo>
                  <a:pt x="4471" y="3644"/>
                </a:moveTo>
                <a:cubicBezTo>
                  <a:pt x="4471" y="3994"/>
                  <a:pt x="4201" y="4264"/>
                  <a:pt x="3851" y="4264"/>
                </a:cubicBezTo>
                <a:cubicBezTo>
                  <a:pt x="3517" y="4264"/>
                  <a:pt x="3246" y="3994"/>
                  <a:pt x="3246" y="3644"/>
                </a:cubicBezTo>
                <a:cubicBezTo>
                  <a:pt x="3246" y="3453"/>
                  <a:pt x="3326" y="3278"/>
                  <a:pt x="3485" y="3167"/>
                </a:cubicBezTo>
                <a:cubicBezTo>
                  <a:pt x="3485" y="3150"/>
                  <a:pt x="3501" y="3150"/>
                  <a:pt x="3501" y="3134"/>
                </a:cubicBezTo>
                <a:lnTo>
                  <a:pt x="4201" y="3134"/>
                </a:lnTo>
                <a:lnTo>
                  <a:pt x="4217" y="3150"/>
                </a:lnTo>
                <a:cubicBezTo>
                  <a:pt x="4376" y="3262"/>
                  <a:pt x="4471" y="3453"/>
                  <a:pt x="4471" y="3644"/>
                </a:cubicBezTo>
                <a:close/>
                <a:moveTo>
                  <a:pt x="3532" y="1146"/>
                </a:moveTo>
                <a:cubicBezTo>
                  <a:pt x="3532" y="780"/>
                  <a:pt x="3755" y="668"/>
                  <a:pt x="3978" y="653"/>
                </a:cubicBezTo>
                <a:lnTo>
                  <a:pt x="3978" y="700"/>
                </a:lnTo>
                <a:cubicBezTo>
                  <a:pt x="3962" y="716"/>
                  <a:pt x="3930" y="732"/>
                  <a:pt x="3898" y="748"/>
                </a:cubicBezTo>
                <a:cubicBezTo>
                  <a:pt x="3819" y="828"/>
                  <a:pt x="3771" y="971"/>
                  <a:pt x="3771" y="1162"/>
                </a:cubicBezTo>
                <a:lnTo>
                  <a:pt x="3771" y="1782"/>
                </a:lnTo>
                <a:lnTo>
                  <a:pt x="3532" y="1782"/>
                </a:lnTo>
                <a:close/>
                <a:moveTo>
                  <a:pt x="462" y="271"/>
                </a:moveTo>
                <a:cubicBezTo>
                  <a:pt x="462" y="207"/>
                  <a:pt x="510" y="159"/>
                  <a:pt x="573" y="159"/>
                </a:cubicBezTo>
                <a:lnTo>
                  <a:pt x="2149" y="159"/>
                </a:lnTo>
                <a:cubicBezTo>
                  <a:pt x="2228" y="159"/>
                  <a:pt x="2244" y="255"/>
                  <a:pt x="2260" y="286"/>
                </a:cubicBezTo>
                <a:lnTo>
                  <a:pt x="2689" y="1877"/>
                </a:lnTo>
                <a:cubicBezTo>
                  <a:pt x="2705" y="1925"/>
                  <a:pt x="2737" y="1941"/>
                  <a:pt x="2769" y="1941"/>
                </a:cubicBezTo>
                <a:lnTo>
                  <a:pt x="4662" y="1941"/>
                </a:lnTo>
                <a:cubicBezTo>
                  <a:pt x="4694" y="1941"/>
                  <a:pt x="4741" y="1957"/>
                  <a:pt x="4758" y="1989"/>
                </a:cubicBezTo>
                <a:cubicBezTo>
                  <a:pt x="4774" y="1989"/>
                  <a:pt x="4774" y="2005"/>
                  <a:pt x="4774" y="2021"/>
                </a:cubicBezTo>
                <a:lnTo>
                  <a:pt x="4487" y="2801"/>
                </a:lnTo>
                <a:cubicBezTo>
                  <a:pt x="4455" y="2880"/>
                  <a:pt x="4328" y="2976"/>
                  <a:pt x="4249" y="2976"/>
                </a:cubicBezTo>
                <a:lnTo>
                  <a:pt x="2769" y="2976"/>
                </a:lnTo>
                <a:cubicBezTo>
                  <a:pt x="2658" y="2212"/>
                  <a:pt x="1989" y="1639"/>
                  <a:pt x="1210" y="1639"/>
                </a:cubicBezTo>
                <a:cubicBezTo>
                  <a:pt x="939" y="1639"/>
                  <a:pt x="685" y="1703"/>
                  <a:pt x="462" y="1830"/>
                </a:cubicBezTo>
                <a:close/>
                <a:moveTo>
                  <a:pt x="2322" y="1416"/>
                </a:moveTo>
                <a:cubicBezTo>
                  <a:pt x="2338" y="1400"/>
                  <a:pt x="2338" y="1368"/>
                  <a:pt x="2338" y="1353"/>
                </a:cubicBezTo>
                <a:lnTo>
                  <a:pt x="2100" y="446"/>
                </a:lnTo>
                <a:cubicBezTo>
                  <a:pt x="2084" y="414"/>
                  <a:pt x="2052" y="398"/>
                  <a:pt x="2020" y="398"/>
                </a:cubicBezTo>
                <a:lnTo>
                  <a:pt x="779" y="398"/>
                </a:lnTo>
                <a:cubicBezTo>
                  <a:pt x="731" y="398"/>
                  <a:pt x="700" y="430"/>
                  <a:pt x="700" y="477"/>
                </a:cubicBezTo>
                <a:lnTo>
                  <a:pt x="700" y="1368"/>
                </a:lnTo>
                <a:cubicBezTo>
                  <a:pt x="700" y="1416"/>
                  <a:pt x="731" y="1448"/>
                  <a:pt x="779" y="1448"/>
                </a:cubicBezTo>
                <a:lnTo>
                  <a:pt x="2259" y="1448"/>
                </a:lnTo>
                <a:cubicBezTo>
                  <a:pt x="2291" y="1448"/>
                  <a:pt x="2306" y="1432"/>
                  <a:pt x="2322" y="1416"/>
                </a:cubicBezTo>
                <a:close/>
                <a:moveTo>
                  <a:pt x="858" y="1289"/>
                </a:moveTo>
                <a:lnTo>
                  <a:pt x="858" y="557"/>
                </a:lnTo>
                <a:lnTo>
                  <a:pt x="1957" y="557"/>
                </a:lnTo>
                <a:lnTo>
                  <a:pt x="2163" y="128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0" name="Freeform: Shape 8">
            <a:extLst>
              <a:ext uri="{FF2B5EF4-FFF2-40B4-BE49-F238E27FC236}">
                <a16:creationId xmlns:a16="http://schemas.microsoft.com/office/drawing/2014/main" id="{040445A7-7A3B-8A4F-A6B4-87E5E44C91D7}"/>
              </a:ext>
            </a:extLst>
          </p:cNvPr>
          <p:cNvSpPr/>
          <p:nvPr/>
        </p:nvSpPr>
        <p:spPr>
          <a:xfrm>
            <a:off x="13873878" y="3695736"/>
            <a:ext cx="1773000" cy="1093680"/>
          </a:xfrm>
          <a:custGeom>
            <a:avLst/>
            <a:gdLst/>
            <a:ahLst/>
            <a:cxnLst>
              <a:cxn ang="3cd4">
                <a:pos x="hc" y="t"/>
              </a:cxn>
              <a:cxn ang="cd2">
                <a:pos x="l" y="vc"/>
              </a:cxn>
              <a:cxn ang="cd4">
                <a:pos x="hc" y="b"/>
              </a:cxn>
              <a:cxn ang="0">
                <a:pos x="r" y="vc"/>
              </a:cxn>
            </a:cxnLst>
            <a:rect l="l" t="t" r="r" b="b"/>
            <a:pathLst>
              <a:path w="4926" h="3039">
                <a:moveTo>
                  <a:pt x="4916" y="2895"/>
                </a:moveTo>
                <a:cubicBezTo>
                  <a:pt x="4916" y="2864"/>
                  <a:pt x="4869" y="2832"/>
                  <a:pt x="4821" y="2848"/>
                </a:cubicBezTo>
                <a:cubicBezTo>
                  <a:pt x="4773" y="2864"/>
                  <a:pt x="4726" y="2879"/>
                  <a:pt x="4662" y="2879"/>
                </a:cubicBezTo>
                <a:cubicBezTo>
                  <a:pt x="4518" y="2879"/>
                  <a:pt x="4312" y="2832"/>
                  <a:pt x="4169" y="2721"/>
                </a:cubicBezTo>
                <a:cubicBezTo>
                  <a:pt x="4136" y="2704"/>
                  <a:pt x="4089" y="2704"/>
                  <a:pt x="4073" y="2721"/>
                </a:cubicBezTo>
                <a:cubicBezTo>
                  <a:pt x="3930" y="2832"/>
                  <a:pt x="3707" y="2879"/>
                  <a:pt x="3564" y="2879"/>
                </a:cubicBezTo>
                <a:cubicBezTo>
                  <a:pt x="4153" y="2657"/>
                  <a:pt x="4741" y="2132"/>
                  <a:pt x="4916" y="1336"/>
                </a:cubicBezTo>
                <a:cubicBezTo>
                  <a:pt x="4932" y="1241"/>
                  <a:pt x="4932" y="1161"/>
                  <a:pt x="4884" y="1113"/>
                </a:cubicBezTo>
                <a:cubicBezTo>
                  <a:pt x="4821" y="1050"/>
                  <a:pt x="4726" y="1002"/>
                  <a:pt x="4646" y="1002"/>
                </a:cubicBezTo>
                <a:lnTo>
                  <a:pt x="3882" y="1002"/>
                </a:lnTo>
                <a:lnTo>
                  <a:pt x="3023" y="31"/>
                </a:lnTo>
                <a:cubicBezTo>
                  <a:pt x="3007" y="16"/>
                  <a:pt x="2991" y="0"/>
                  <a:pt x="2959" y="0"/>
                </a:cubicBezTo>
                <a:lnTo>
                  <a:pt x="2164" y="0"/>
                </a:lnTo>
                <a:cubicBezTo>
                  <a:pt x="2132" y="0"/>
                  <a:pt x="2100" y="31"/>
                  <a:pt x="2100" y="63"/>
                </a:cubicBezTo>
                <a:lnTo>
                  <a:pt x="1909" y="604"/>
                </a:lnTo>
                <a:lnTo>
                  <a:pt x="1511" y="604"/>
                </a:lnTo>
                <a:lnTo>
                  <a:pt x="1034" y="31"/>
                </a:lnTo>
                <a:cubicBezTo>
                  <a:pt x="1018" y="16"/>
                  <a:pt x="1002" y="0"/>
                  <a:pt x="971" y="0"/>
                </a:cubicBezTo>
                <a:lnTo>
                  <a:pt x="573" y="0"/>
                </a:lnTo>
                <a:cubicBezTo>
                  <a:pt x="557" y="0"/>
                  <a:pt x="525" y="16"/>
                  <a:pt x="509" y="31"/>
                </a:cubicBezTo>
                <a:cubicBezTo>
                  <a:pt x="493" y="63"/>
                  <a:pt x="493" y="95"/>
                  <a:pt x="509" y="111"/>
                </a:cubicBezTo>
                <a:lnTo>
                  <a:pt x="684" y="573"/>
                </a:lnTo>
                <a:lnTo>
                  <a:pt x="398" y="1002"/>
                </a:lnTo>
                <a:lnTo>
                  <a:pt x="287" y="1002"/>
                </a:lnTo>
                <a:cubicBezTo>
                  <a:pt x="143" y="1002"/>
                  <a:pt x="0" y="1130"/>
                  <a:pt x="0" y="1273"/>
                </a:cubicBezTo>
                <a:lnTo>
                  <a:pt x="0" y="1830"/>
                </a:lnTo>
                <a:cubicBezTo>
                  <a:pt x="0" y="2307"/>
                  <a:pt x="271" y="2641"/>
                  <a:pt x="541" y="2832"/>
                </a:cubicBezTo>
                <a:cubicBezTo>
                  <a:pt x="445" y="2864"/>
                  <a:pt x="350" y="2879"/>
                  <a:pt x="271" y="2879"/>
                </a:cubicBezTo>
                <a:cubicBezTo>
                  <a:pt x="207" y="2879"/>
                  <a:pt x="159" y="2879"/>
                  <a:pt x="96" y="2864"/>
                </a:cubicBezTo>
                <a:cubicBezTo>
                  <a:pt x="48" y="2864"/>
                  <a:pt x="16" y="2879"/>
                  <a:pt x="0" y="2927"/>
                </a:cubicBezTo>
                <a:cubicBezTo>
                  <a:pt x="0" y="2975"/>
                  <a:pt x="32" y="3007"/>
                  <a:pt x="64" y="3022"/>
                </a:cubicBezTo>
                <a:cubicBezTo>
                  <a:pt x="143" y="3022"/>
                  <a:pt x="207" y="3039"/>
                  <a:pt x="271" y="3039"/>
                </a:cubicBezTo>
                <a:cubicBezTo>
                  <a:pt x="430" y="3039"/>
                  <a:pt x="653" y="2991"/>
                  <a:pt x="811" y="2879"/>
                </a:cubicBezTo>
                <a:cubicBezTo>
                  <a:pt x="987" y="2991"/>
                  <a:pt x="1209" y="3039"/>
                  <a:pt x="1368" y="3039"/>
                </a:cubicBezTo>
                <a:cubicBezTo>
                  <a:pt x="1527" y="3039"/>
                  <a:pt x="1750" y="2991"/>
                  <a:pt x="1909" y="2879"/>
                </a:cubicBezTo>
                <a:cubicBezTo>
                  <a:pt x="2084" y="2991"/>
                  <a:pt x="2307" y="3039"/>
                  <a:pt x="2466" y="3039"/>
                </a:cubicBezTo>
                <a:cubicBezTo>
                  <a:pt x="2625" y="3039"/>
                  <a:pt x="2848" y="2991"/>
                  <a:pt x="3023" y="2879"/>
                </a:cubicBezTo>
                <a:cubicBezTo>
                  <a:pt x="3182" y="2991"/>
                  <a:pt x="3405" y="3039"/>
                  <a:pt x="3564" y="3039"/>
                </a:cubicBezTo>
                <a:cubicBezTo>
                  <a:pt x="3723" y="3039"/>
                  <a:pt x="3946" y="2991"/>
                  <a:pt x="4121" y="2879"/>
                </a:cubicBezTo>
                <a:cubicBezTo>
                  <a:pt x="4280" y="2991"/>
                  <a:pt x="4503" y="3039"/>
                  <a:pt x="4662" y="3039"/>
                </a:cubicBezTo>
                <a:cubicBezTo>
                  <a:pt x="4741" y="3039"/>
                  <a:pt x="4805" y="3022"/>
                  <a:pt x="4869" y="3007"/>
                </a:cubicBezTo>
                <a:cubicBezTo>
                  <a:pt x="4916" y="2991"/>
                  <a:pt x="4932" y="2943"/>
                  <a:pt x="4916" y="2895"/>
                </a:cubicBezTo>
                <a:close/>
                <a:moveTo>
                  <a:pt x="2227" y="159"/>
                </a:moveTo>
                <a:lnTo>
                  <a:pt x="2927" y="159"/>
                </a:lnTo>
                <a:lnTo>
                  <a:pt x="3309" y="604"/>
                </a:lnTo>
                <a:lnTo>
                  <a:pt x="2084" y="604"/>
                </a:lnTo>
                <a:close/>
                <a:moveTo>
                  <a:pt x="1973" y="764"/>
                </a:moveTo>
                <a:lnTo>
                  <a:pt x="3453" y="764"/>
                </a:lnTo>
                <a:lnTo>
                  <a:pt x="3691" y="1034"/>
                </a:lnTo>
                <a:lnTo>
                  <a:pt x="3644" y="1113"/>
                </a:lnTo>
                <a:cubicBezTo>
                  <a:pt x="3627" y="1098"/>
                  <a:pt x="3612" y="1098"/>
                  <a:pt x="3596" y="1098"/>
                </a:cubicBezTo>
                <a:lnTo>
                  <a:pt x="605" y="1098"/>
                </a:lnTo>
                <a:lnTo>
                  <a:pt x="573" y="1098"/>
                </a:lnTo>
                <a:lnTo>
                  <a:pt x="557" y="1050"/>
                </a:lnTo>
                <a:lnTo>
                  <a:pt x="748" y="764"/>
                </a:lnTo>
                <a:lnTo>
                  <a:pt x="764" y="764"/>
                </a:lnTo>
                <a:lnTo>
                  <a:pt x="1480" y="764"/>
                </a:lnTo>
                <a:close/>
                <a:moveTo>
                  <a:pt x="3548" y="1257"/>
                </a:moveTo>
                <a:lnTo>
                  <a:pt x="3309" y="1591"/>
                </a:lnTo>
                <a:lnTo>
                  <a:pt x="732" y="1591"/>
                </a:lnTo>
                <a:lnTo>
                  <a:pt x="620" y="1257"/>
                </a:lnTo>
                <a:close/>
                <a:moveTo>
                  <a:pt x="939" y="159"/>
                </a:moveTo>
                <a:lnTo>
                  <a:pt x="1305" y="604"/>
                </a:lnTo>
                <a:lnTo>
                  <a:pt x="859" y="604"/>
                </a:lnTo>
                <a:lnTo>
                  <a:pt x="859" y="557"/>
                </a:lnTo>
                <a:lnTo>
                  <a:pt x="700" y="159"/>
                </a:lnTo>
                <a:close/>
                <a:moveTo>
                  <a:pt x="2959" y="2721"/>
                </a:moveTo>
                <a:cubicBezTo>
                  <a:pt x="2816" y="2832"/>
                  <a:pt x="2609" y="2879"/>
                  <a:pt x="2466" y="2879"/>
                </a:cubicBezTo>
                <a:cubicBezTo>
                  <a:pt x="2323" y="2879"/>
                  <a:pt x="2100" y="2832"/>
                  <a:pt x="1957" y="2721"/>
                </a:cubicBezTo>
                <a:cubicBezTo>
                  <a:pt x="1941" y="2704"/>
                  <a:pt x="1893" y="2704"/>
                  <a:pt x="1862" y="2721"/>
                </a:cubicBezTo>
                <a:cubicBezTo>
                  <a:pt x="1718" y="2832"/>
                  <a:pt x="1511" y="2879"/>
                  <a:pt x="1368" y="2879"/>
                </a:cubicBezTo>
                <a:cubicBezTo>
                  <a:pt x="1225" y="2879"/>
                  <a:pt x="1002" y="2832"/>
                  <a:pt x="859" y="2721"/>
                </a:cubicBezTo>
                <a:cubicBezTo>
                  <a:pt x="843" y="2704"/>
                  <a:pt x="796" y="2704"/>
                  <a:pt x="764" y="2721"/>
                </a:cubicBezTo>
                <a:cubicBezTo>
                  <a:pt x="748" y="2736"/>
                  <a:pt x="732" y="2752"/>
                  <a:pt x="716" y="2752"/>
                </a:cubicBezTo>
                <a:cubicBezTo>
                  <a:pt x="445" y="2609"/>
                  <a:pt x="159" y="2291"/>
                  <a:pt x="159" y="1830"/>
                </a:cubicBezTo>
                <a:lnTo>
                  <a:pt x="159" y="1273"/>
                </a:lnTo>
                <a:cubicBezTo>
                  <a:pt x="159" y="1209"/>
                  <a:pt x="223" y="1161"/>
                  <a:pt x="287" y="1161"/>
                </a:cubicBezTo>
                <a:lnTo>
                  <a:pt x="414" y="1161"/>
                </a:lnTo>
                <a:lnTo>
                  <a:pt x="430" y="1161"/>
                </a:lnTo>
                <a:lnTo>
                  <a:pt x="605" y="1702"/>
                </a:lnTo>
                <a:cubicBezTo>
                  <a:pt x="620" y="1734"/>
                  <a:pt x="636" y="1750"/>
                  <a:pt x="684" y="1750"/>
                </a:cubicBezTo>
                <a:lnTo>
                  <a:pt x="3357" y="1750"/>
                </a:lnTo>
                <a:cubicBezTo>
                  <a:pt x="3389" y="1750"/>
                  <a:pt x="3405" y="1734"/>
                  <a:pt x="3421" y="1718"/>
                </a:cubicBezTo>
                <a:lnTo>
                  <a:pt x="3802" y="1161"/>
                </a:lnTo>
                <a:lnTo>
                  <a:pt x="4646" y="1161"/>
                </a:lnTo>
                <a:cubicBezTo>
                  <a:pt x="4678" y="1161"/>
                  <a:pt x="4741" y="1177"/>
                  <a:pt x="4757" y="1209"/>
                </a:cubicBezTo>
                <a:cubicBezTo>
                  <a:pt x="4773" y="1225"/>
                  <a:pt x="4773" y="1273"/>
                  <a:pt x="4757" y="1304"/>
                </a:cubicBezTo>
                <a:cubicBezTo>
                  <a:pt x="4566" y="2164"/>
                  <a:pt x="3835" y="2689"/>
                  <a:pt x="3230" y="2816"/>
                </a:cubicBezTo>
                <a:cubicBezTo>
                  <a:pt x="3166" y="2784"/>
                  <a:pt x="3118" y="2768"/>
                  <a:pt x="3071" y="2721"/>
                </a:cubicBezTo>
                <a:cubicBezTo>
                  <a:pt x="3039" y="2704"/>
                  <a:pt x="2991" y="2704"/>
                  <a:pt x="2959" y="2721"/>
                </a:cubicBezTo>
                <a:close/>
                <a:moveTo>
                  <a:pt x="4057" y="1670"/>
                </a:moveTo>
                <a:lnTo>
                  <a:pt x="4264" y="1670"/>
                </a:lnTo>
                <a:cubicBezTo>
                  <a:pt x="4296" y="1638"/>
                  <a:pt x="4359" y="1670"/>
                  <a:pt x="4359" y="1575"/>
                </a:cubicBezTo>
                <a:lnTo>
                  <a:pt x="4359" y="1448"/>
                </a:lnTo>
                <a:cubicBezTo>
                  <a:pt x="4333" y="1432"/>
                  <a:pt x="4344" y="1400"/>
                  <a:pt x="4280" y="1400"/>
                </a:cubicBezTo>
                <a:cubicBezTo>
                  <a:pt x="4232" y="1400"/>
                  <a:pt x="4237" y="1432"/>
                  <a:pt x="4216" y="1448"/>
                </a:cubicBezTo>
                <a:lnTo>
                  <a:pt x="4216" y="1527"/>
                </a:lnTo>
                <a:cubicBezTo>
                  <a:pt x="4195" y="1538"/>
                  <a:pt x="4216" y="1559"/>
                  <a:pt x="4153" y="1559"/>
                </a:cubicBezTo>
                <a:cubicBezTo>
                  <a:pt x="4089" y="1559"/>
                  <a:pt x="4110" y="1538"/>
                  <a:pt x="4089" y="1527"/>
                </a:cubicBezTo>
                <a:lnTo>
                  <a:pt x="4089" y="1448"/>
                </a:lnTo>
                <a:cubicBezTo>
                  <a:pt x="4068" y="1432"/>
                  <a:pt x="4089" y="1400"/>
                  <a:pt x="4025" y="1400"/>
                </a:cubicBezTo>
                <a:cubicBezTo>
                  <a:pt x="3962" y="1400"/>
                  <a:pt x="3983" y="1432"/>
                  <a:pt x="3962" y="1448"/>
                </a:cubicBezTo>
                <a:lnTo>
                  <a:pt x="3962" y="1575"/>
                </a:lnTo>
                <a:cubicBezTo>
                  <a:pt x="3962" y="1670"/>
                  <a:pt x="4025" y="1638"/>
                  <a:pt x="4057" y="167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0" name="Freeform: Shape 9">
            <a:extLst>
              <a:ext uri="{FF2B5EF4-FFF2-40B4-BE49-F238E27FC236}">
                <a16:creationId xmlns:a16="http://schemas.microsoft.com/office/drawing/2014/main" id="{B62D3B50-4C86-F44B-94DD-45771859A747}"/>
              </a:ext>
            </a:extLst>
          </p:cNvPr>
          <p:cNvSpPr/>
          <p:nvPr/>
        </p:nvSpPr>
        <p:spPr>
          <a:xfrm>
            <a:off x="17434594" y="3403417"/>
            <a:ext cx="1713600" cy="1471680"/>
          </a:xfrm>
          <a:custGeom>
            <a:avLst/>
            <a:gdLst/>
            <a:ahLst/>
            <a:cxnLst>
              <a:cxn ang="3cd4">
                <a:pos x="hc" y="t"/>
              </a:cxn>
              <a:cxn ang="cd2">
                <a:pos x="l" y="vc"/>
              </a:cxn>
              <a:cxn ang="cd4">
                <a:pos x="hc" y="b"/>
              </a:cxn>
              <a:cxn ang="0">
                <a:pos x="r" y="vc"/>
              </a:cxn>
            </a:cxnLst>
            <a:rect l="l" t="t" r="r" b="b"/>
            <a:pathLst>
              <a:path w="4761" h="4089">
                <a:moveTo>
                  <a:pt x="843" y="3771"/>
                </a:moveTo>
                <a:cubicBezTo>
                  <a:pt x="811" y="3755"/>
                  <a:pt x="764" y="3755"/>
                  <a:pt x="748" y="3771"/>
                </a:cubicBezTo>
                <a:cubicBezTo>
                  <a:pt x="605" y="3882"/>
                  <a:pt x="398" y="3930"/>
                  <a:pt x="255" y="3930"/>
                </a:cubicBezTo>
                <a:cubicBezTo>
                  <a:pt x="207" y="3930"/>
                  <a:pt x="159" y="3914"/>
                  <a:pt x="95" y="3914"/>
                </a:cubicBezTo>
                <a:cubicBezTo>
                  <a:pt x="48" y="3898"/>
                  <a:pt x="16" y="3930"/>
                  <a:pt x="0" y="3978"/>
                </a:cubicBezTo>
                <a:cubicBezTo>
                  <a:pt x="0" y="4025"/>
                  <a:pt x="32" y="4057"/>
                  <a:pt x="64" y="4073"/>
                </a:cubicBezTo>
                <a:cubicBezTo>
                  <a:pt x="143" y="4073"/>
                  <a:pt x="191" y="4089"/>
                  <a:pt x="255" y="4089"/>
                </a:cubicBezTo>
                <a:cubicBezTo>
                  <a:pt x="414" y="4089"/>
                  <a:pt x="620" y="4042"/>
                  <a:pt x="796" y="3930"/>
                </a:cubicBezTo>
                <a:cubicBezTo>
                  <a:pt x="955" y="4042"/>
                  <a:pt x="1162" y="4089"/>
                  <a:pt x="1320" y="4089"/>
                </a:cubicBezTo>
                <a:cubicBezTo>
                  <a:pt x="1480" y="4089"/>
                  <a:pt x="1686" y="4042"/>
                  <a:pt x="1846" y="3930"/>
                </a:cubicBezTo>
                <a:cubicBezTo>
                  <a:pt x="2020" y="4042"/>
                  <a:pt x="2228" y="4089"/>
                  <a:pt x="2387" y="4089"/>
                </a:cubicBezTo>
                <a:cubicBezTo>
                  <a:pt x="2530" y="4089"/>
                  <a:pt x="2753" y="4042"/>
                  <a:pt x="2911" y="3930"/>
                </a:cubicBezTo>
                <a:cubicBezTo>
                  <a:pt x="3071" y="4042"/>
                  <a:pt x="3293" y="4089"/>
                  <a:pt x="3437" y="4089"/>
                </a:cubicBezTo>
                <a:cubicBezTo>
                  <a:pt x="3596" y="4089"/>
                  <a:pt x="3802" y="4042"/>
                  <a:pt x="3978" y="3930"/>
                </a:cubicBezTo>
                <a:cubicBezTo>
                  <a:pt x="4137" y="4042"/>
                  <a:pt x="4344" y="4089"/>
                  <a:pt x="4502" y="4089"/>
                </a:cubicBezTo>
                <a:cubicBezTo>
                  <a:pt x="4566" y="4089"/>
                  <a:pt x="4646" y="4073"/>
                  <a:pt x="4710" y="4057"/>
                </a:cubicBezTo>
                <a:cubicBezTo>
                  <a:pt x="4741" y="4042"/>
                  <a:pt x="4773" y="3994"/>
                  <a:pt x="4757" y="3946"/>
                </a:cubicBezTo>
                <a:cubicBezTo>
                  <a:pt x="4741" y="3914"/>
                  <a:pt x="4693" y="3882"/>
                  <a:pt x="4646" y="3898"/>
                </a:cubicBezTo>
                <a:cubicBezTo>
                  <a:pt x="4598" y="3914"/>
                  <a:pt x="4550" y="3930"/>
                  <a:pt x="4502" y="3930"/>
                </a:cubicBezTo>
                <a:cubicBezTo>
                  <a:pt x="4359" y="3930"/>
                  <a:pt x="4153" y="3882"/>
                  <a:pt x="4025" y="3771"/>
                </a:cubicBezTo>
                <a:cubicBezTo>
                  <a:pt x="3993" y="3755"/>
                  <a:pt x="3946" y="3755"/>
                  <a:pt x="3914" y="3771"/>
                </a:cubicBezTo>
                <a:cubicBezTo>
                  <a:pt x="3787" y="3882"/>
                  <a:pt x="3580" y="3930"/>
                  <a:pt x="3437" y="3930"/>
                </a:cubicBezTo>
                <a:cubicBezTo>
                  <a:pt x="3389" y="3930"/>
                  <a:pt x="3341" y="3914"/>
                  <a:pt x="3293" y="3914"/>
                </a:cubicBezTo>
                <a:cubicBezTo>
                  <a:pt x="3596" y="3787"/>
                  <a:pt x="4010" y="3564"/>
                  <a:pt x="4359" y="3198"/>
                </a:cubicBezTo>
                <a:cubicBezTo>
                  <a:pt x="4423" y="3119"/>
                  <a:pt x="4502" y="3039"/>
                  <a:pt x="4471" y="2960"/>
                </a:cubicBezTo>
                <a:cubicBezTo>
                  <a:pt x="4423" y="2880"/>
                  <a:pt x="4328" y="2880"/>
                  <a:pt x="4296" y="2880"/>
                </a:cubicBezTo>
                <a:cubicBezTo>
                  <a:pt x="4089" y="2880"/>
                  <a:pt x="4089" y="2880"/>
                  <a:pt x="4089" y="2880"/>
                </a:cubicBezTo>
                <a:cubicBezTo>
                  <a:pt x="4105" y="2562"/>
                  <a:pt x="4041" y="1480"/>
                  <a:pt x="2721" y="319"/>
                </a:cubicBezTo>
                <a:cubicBezTo>
                  <a:pt x="2689" y="287"/>
                  <a:pt x="2657" y="287"/>
                  <a:pt x="2625" y="303"/>
                </a:cubicBezTo>
                <a:cubicBezTo>
                  <a:pt x="2593" y="319"/>
                  <a:pt x="2577" y="351"/>
                  <a:pt x="2593" y="382"/>
                </a:cubicBezTo>
                <a:cubicBezTo>
                  <a:pt x="2816" y="1560"/>
                  <a:pt x="2562" y="2212"/>
                  <a:pt x="2466" y="2434"/>
                </a:cubicBezTo>
                <a:cubicBezTo>
                  <a:pt x="2466" y="80"/>
                  <a:pt x="2466" y="80"/>
                  <a:pt x="2466" y="80"/>
                </a:cubicBezTo>
                <a:cubicBezTo>
                  <a:pt x="2466" y="48"/>
                  <a:pt x="2434" y="16"/>
                  <a:pt x="2387" y="0"/>
                </a:cubicBezTo>
                <a:cubicBezTo>
                  <a:pt x="2355" y="0"/>
                  <a:pt x="2323" y="16"/>
                  <a:pt x="2307" y="64"/>
                </a:cubicBezTo>
                <a:cubicBezTo>
                  <a:pt x="1782" y="1623"/>
                  <a:pt x="620" y="2307"/>
                  <a:pt x="620" y="2307"/>
                </a:cubicBezTo>
                <a:cubicBezTo>
                  <a:pt x="589" y="2323"/>
                  <a:pt x="573" y="2355"/>
                  <a:pt x="573" y="2387"/>
                </a:cubicBezTo>
                <a:cubicBezTo>
                  <a:pt x="589" y="2419"/>
                  <a:pt x="605" y="2451"/>
                  <a:pt x="637" y="2451"/>
                </a:cubicBezTo>
                <a:cubicBezTo>
                  <a:pt x="1925" y="2880"/>
                  <a:pt x="1925" y="2880"/>
                  <a:pt x="1925" y="2880"/>
                </a:cubicBezTo>
                <a:cubicBezTo>
                  <a:pt x="652" y="2880"/>
                  <a:pt x="652" y="2880"/>
                  <a:pt x="652" y="2880"/>
                </a:cubicBezTo>
                <a:cubicBezTo>
                  <a:pt x="509" y="2880"/>
                  <a:pt x="382" y="3007"/>
                  <a:pt x="382" y="3151"/>
                </a:cubicBezTo>
                <a:cubicBezTo>
                  <a:pt x="382" y="3501"/>
                  <a:pt x="939" y="3771"/>
                  <a:pt x="1337" y="3930"/>
                </a:cubicBezTo>
                <a:lnTo>
                  <a:pt x="1320" y="3930"/>
                </a:lnTo>
                <a:cubicBezTo>
                  <a:pt x="1177" y="3930"/>
                  <a:pt x="971" y="3882"/>
                  <a:pt x="843" y="3771"/>
                </a:cubicBezTo>
                <a:close/>
                <a:moveTo>
                  <a:pt x="2784" y="589"/>
                </a:moveTo>
                <a:cubicBezTo>
                  <a:pt x="3866" y="1623"/>
                  <a:pt x="3946" y="2562"/>
                  <a:pt x="3930" y="2864"/>
                </a:cubicBezTo>
                <a:cubicBezTo>
                  <a:pt x="2593" y="2530"/>
                  <a:pt x="2593" y="2530"/>
                  <a:pt x="2593" y="2530"/>
                </a:cubicBezTo>
                <a:cubicBezTo>
                  <a:pt x="2705" y="2291"/>
                  <a:pt x="2943" y="1687"/>
                  <a:pt x="2784" y="589"/>
                </a:cubicBezTo>
                <a:close/>
                <a:moveTo>
                  <a:pt x="2307" y="509"/>
                </a:moveTo>
                <a:cubicBezTo>
                  <a:pt x="2307" y="2833"/>
                  <a:pt x="2307" y="2833"/>
                  <a:pt x="2307" y="2833"/>
                </a:cubicBezTo>
                <a:cubicBezTo>
                  <a:pt x="843" y="2355"/>
                  <a:pt x="843" y="2355"/>
                  <a:pt x="843" y="2355"/>
                </a:cubicBezTo>
                <a:cubicBezTo>
                  <a:pt x="1146" y="2148"/>
                  <a:pt x="1846" y="1560"/>
                  <a:pt x="2307" y="509"/>
                </a:cubicBezTo>
                <a:close/>
                <a:moveTo>
                  <a:pt x="2466" y="2657"/>
                </a:moveTo>
                <a:cubicBezTo>
                  <a:pt x="3357" y="2880"/>
                  <a:pt x="3357" y="2880"/>
                  <a:pt x="3357" y="2880"/>
                </a:cubicBezTo>
                <a:cubicBezTo>
                  <a:pt x="2466" y="2880"/>
                  <a:pt x="2466" y="2880"/>
                  <a:pt x="2466" y="2880"/>
                </a:cubicBezTo>
                <a:close/>
                <a:moveTo>
                  <a:pt x="1639" y="3867"/>
                </a:moveTo>
                <a:cubicBezTo>
                  <a:pt x="1129" y="3707"/>
                  <a:pt x="541" y="3421"/>
                  <a:pt x="541" y="3151"/>
                </a:cubicBezTo>
                <a:cubicBezTo>
                  <a:pt x="541" y="3087"/>
                  <a:pt x="605" y="3039"/>
                  <a:pt x="652" y="3039"/>
                </a:cubicBezTo>
                <a:cubicBezTo>
                  <a:pt x="4280" y="3039"/>
                  <a:pt x="4280" y="3039"/>
                  <a:pt x="4280" y="3039"/>
                </a:cubicBezTo>
                <a:cubicBezTo>
                  <a:pt x="4264" y="3055"/>
                  <a:pt x="4248" y="3087"/>
                  <a:pt x="4232" y="3087"/>
                </a:cubicBezTo>
                <a:cubicBezTo>
                  <a:pt x="3834" y="3516"/>
                  <a:pt x="3325" y="3739"/>
                  <a:pt x="3039" y="3834"/>
                </a:cubicBezTo>
                <a:cubicBezTo>
                  <a:pt x="3007" y="3819"/>
                  <a:pt x="2991" y="3803"/>
                  <a:pt x="2959" y="3771"/>
                </a:cubicBezTo>
                <a:cubicBezTo>
                  <a:pt x="2928" y="3755"/>
                  <a:pt x="2896" y="3755"/>
                  <a:pt x="2864" y="3771"/>
                </a:cubicBezTo>
                <a:cubicBezTo>
                  <a:pt x="2721" y="3882"/>
                  <a:pt x="2514" y="3930"/>
                  <a:pt x="2387" y="3930"/>
                </a:cubicBezTo>
                <a:cubicBezTo>
                  <a:pt x="2243" y="3930"/>
                  <a:pt x="2037" y="3882"/>
                  <a:pt x="1893" y="3771"/>
                </a:cubicBezTo>
                <a:cubicBezTo>
                  <a:pt x="1877" y="3755"/>
                  <a:pt x="1830" y="3755"/>
                  <a:pt x="1798" y="3771"/>
                </a:cubicBezTo>
                <a:cubicBezTo>
                  <a:pt x="1750" y="3819"/>
                  <a:pt x="1702" y="3834"/>
                  <a:pt x="1655" y="3867"/>
                </a:cubicBezTo>
                <a:cubicBezTo>
                  <a:pt x="1639" y="3867"/>
                  <a:pt x="1639" y="3867"/>
                  <a:pt x="1639" y="386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1" name="Freeform: Shape 10">
            <a:extLst>
              <a:ext uri="{FF2B5EF4-FFF2-40B4-BE49-F238E27FC236}">
                <a16:creationId xmlns:a16="http://schemas.microsoft.com/office/drawing/2014/main" id="{74EC4257-ABF0-C048-B63C-B8B9FC3AC051}"/>
              </a:ext>
            </a:extLst>
          </p:cNvPr>
          <p:cNvSpPr/>
          <p:nvPr/>
        </p:nvSpPr>
        <p:spPr>
          <a:xfrm>
            <a:off x="21179194" y="3741456"/>
            <a:ext cx="1772280" cy="927359"/>
          </a:xfrm>
          <a:custGeom>
            <a:avLst/>
            <a:gdLst/>
            <a:ahLst/>
            <a:cxnLst>
              <a:cxn ang="3cd4">
                <a:pos x="hc" y="t"/>
              </a:cxn>
              <a:cxn ang="cd2">
                <a:pos x="l" y="vc"/>
              </a:cxn>
              <a:cxn ang="cd4">
                <a:pos x="hc" y="b"/>
              </a:cxn>
              <a:cxn ang="0">
                <a:pos x="r" y="vc"/>
              </a:cxn>
            </a:cxnLst>
            <a:rect l="l" t="t" r="r" b="b"/>
            <a:pathLst>
              <a:path w="4924" h="2577">
                <a:moveTo>
                  <a:pt x="815" y="2434"/>
                </a:moveTo>
                <a:cubicBezTo>
                  <a:pt x="974" y="2546"/>
                  <a:pt x="1197" y="2577"/>
                  <a:pt x="1356" y="2577"/>
                </a:cubicBezTo>
                <a:cubicBezTo>
                  <a:pt x="1515" y="2577"/>
                  <a:pt x="1738" y="2546"/>
                  <a:pt x="1913" y="2434"/>
                </a:cubicBezTo>
                <a:cubicBezTo>
                  <a:pt x="2072" y="2546"/>
                  <a:pt x="2295" y="2577"/>
                  <a:pt x="2454" y="2577"/>
                </a:cubicBezTo>
                <a:cubicBezTo>
                  <a:pt x="2613" y="2577"/>
                  <a:pt x="2836" y="2546"/>
                  <a:pt x="3011" y="2434"/>
                </a:cubicBezTo>
                <a:cubicBezTo>
                  <a:pt x="3186" y="2546"/>
                  <a:pt x="3392" y="2577"/>
                  <a:pt x="3552" y="2577"/>
                </a:cubicBezTo>
                <a:cubicBezTo>
                  <a:pt x="3711" y="2577"/>
                  <a:pt x="3934" y="2546"/>
                  <a:pt x="4109" y="2434"/>
                </a:cubicBezTo>
                <a:cubicBezTo>
                  <a:pt x="4283" y="2546"/>
                  <a:pt x="4506" y="2577"/>
                  <a:pt x="4665" y="2577"/>
                </a:cubicBezTo>
                <a:cubicBezTo>
                  <a:pt x="4729" y="2577"/>
                  <a:pt x="4809" y="2577"/>
                  <a:pt x="4872" y="2546"/>
                </a:cubicBezTo>
                <a:cubicBezTo>
                  <a:pt x="4904" y="2530"/>
                  <a:pt x="4936" y="2482"/>
                  <a:pt x="4920" y="2450"/>
                </a:cubicBezTo>
                <a:cubicBezTo>
                  <a:pt x="4904" y="2403"/>
                  <a:pt x="4856" y="2386"/>
                  <a:pt x="4809" y="2403"/>
                </a:cubicBezTo>
                <a:cubicBezTo>
                  <a:pt x="4761" y="2418"/>
                  <a:pt x="4713" y="2418"/>
                  <a:pt x="4665" y="2418"/>
                </a:cubicBezTo>
                <a:cubicBezTo>
                  <a:pt x="4522" y="2418"/>
                  <a:pt x="4300" y="2386"/>
                  <a:pt x="4156" y="2275"/>
                </a:cubicBezTo>
                <a:cubicBezTo>
                  <a:pt x="4125" y="2243"/>
                  <a:pt x="4092" y="2243"/>
                  <a:pt x="4061" y="2275"/>
                </a:cubicBezTo>
                <a:cubicBezTo>
                  <a:pt x="3965" y="2355"/>
                  <a:pt x="3822" y="2386"/>
                  <a:pt x="3695" y="2418"/>
                </a:cubicBezTo>
                <a:cubicBezTo>
                  <a:pt x="4109" y="2084"/>
                  <a:pt x="4443" y="1464"/>
                  <a:pt x="4713" y="971"/>
                </a:cubicBezTo>
                <a:cubicBezTo>
                  <a:pt x="4777" y="859"/>
                  <a:pt x="4825" y="748"/>
                  <a:pt x="4872" y="668"/>
                </a:cubicBezTo>
                <a:cubicBezTo>
                  <a:pt x="4936" y="557"/>
                  <a:pt x="4920" y="477"/>
                  <a:pt x="4888" y="446"/>
                </a:cubicBezTo>
                <a:cubicBezTo>
                  <a:pt x="4856" y="398"/>
                  <a:pt x="4777" y="366"/>
                  <a:pt x="4713" y="382"/>
                </a:cubicBezTo>
                <a:cubicBezTo>
                  <a:pt x="4697" y="382"/>
                  <a:pt x="4427" y="461"/>
                  <a:pt x="4029" y="557"/>
                </a:cubicBezTo>
                <a:lnTo>
                  <a:pt x="4013" y="557"/>
                </a:lnTo>
                <a:cubicBezTo>
                  <a:pt x="3965" y="541"/>
                  <a:pt x="2820" y="159"/>
                  <a:pt x="2454" y="207"/>
                </a:cubicBezTo>
                <a:lnTo>
                  <a:pt x="2263" y="239"/>
                </a:lnTo>
                <a:cubicBezTo>
                  <a:pt x="1849" y="286"/>
                  <a:pt x="1611" y="334"/>
                  <a:pt x="1452" y="350"/>
                </a:cubicBezTo>
                <a:lnTo>
                  <a:pt x="1436" y="350"/>
                </a:lnTo>
                <a:cubicBezTo>
                  <a:pt x="1054" y="127"/>
                  <a:pt x="958" y="80"/>
                  <a:pt x="927" y="48"/>
                </a:cubicBezTo>
                <a:cubicBezTo>
                  <a:pt x="879" y="16"/>
                  <a:pt x="863" y="0"/>
                  <a:pt x="783" y="0"/>
                </a:cubicBezTo>
                <a:lnTo>
                  <a:pt x="497" y="0"/>
                </a:lnTo>
                <a:cubicBezTo>
                  <a:pt x="433" y="0"/>
                  <a:pt x="401" y="32"/>
                  <a:pt x="386" y="64"/>
                </a:cubicBezTo>
                <a:cubicBezTo>
                  <a:pt x="354" y="127"/>
                  <a:pt x="401" y="191"/>
                  <a:pt x="418" y="207"/>
                </a:cubicBezTo>
                <a:cubicBezTo>
                  <a:pt x="625" y="393"/>
                  <a:pt x="449" y="239"/>
                  <a:pt x="1038" y="764"/>
                </a:cubicBezTo>
                <a:cubicBezTo>
                  <a:pt x="943" y="955"/>
                  <a:pt x="863" y="1193"/>
                  <a:pt x="863" y="1416"/>
                </a:cubicBezTo>
                <a:cubicBezTo>
                  <a:pt x="418" y="1655"/>
                  <a:pt x="195" y="2100"/>
                  <a:pt x="195" y="2323"/>
                </a:cubicBezTo>
                <a:lnTo>
                  <a:pt x="195" y="2418"/>
                </a:lnTo>
                <a:cubicBezTo>
                  <a:pt x="163" y="2418"/>
                  <a:pt x="131" y="2418"/>
                  <a:pt x="83" y="2403"/>
                </a:cubicBezTo>
                <a:cubicBezTo>
                  <a:pt x="52" y="2403"/>
                  <a:pt x="4" y="2434"/>
                  <a:pt x="4" y="2482"/>
                </a:cubicBezTo>
                <a:cubicBezTo>
                  <a:pt x="-12" y="2514"/>
                  <a:pt x="20" y="2562"/>
                  <a:pt x="67" y="2562"/>
                </a:cubicBezTo>
                <a:cubicBezTo>
                  <a:pt x="131" y="2577"/>
                  <a:pt x="195" y="2577"/>
                  <a:pt x="258" y="2577"/>
                </a:cubicBezTo>
                <a:cubicBezTo>
                  <a:pt x="418" y="2577"/>
                  <a:pt x="640" y="2546"/>
                  <a:pt x="815" y="2434"/>
                </a:cubicBezTo>
                <a:close/>
                <a:moveTo>
                  <a:pt x="609" y="159"/>
                </a:moveTo>
                <a:lnTo>
                  <a:pt x="783" y="159"/>
                </a:lnTo>
                <a:cubicBezTo>
                  <a:pt x="815" y="159"/>
                  <a:pt x="815" y="159"/>
                  <a:pt x="847" y="191"/>
                </a:cubicBezTo>
                <a:lnTo>
                  <a:pt x="863" y="191"/>
                </a:lnTo>
                <a:cubicBezTo>
                  <a:pt x="879" y="207"/>
                  <a:pt x="927" y="239"/>
                  <a:pt x="1245" y="414"/>
                </a:cubicBezTo>
                <a:cubicBezTo>
                  <a:pt x="1213" y="430"/>
                  <a:pt x="1213" y="446"/>
                  <a:pt x="1197" y="446"/>
                </a:cubicBezTo>
                <a:cubicBezTo>
                  <a:pt x="1181" y="477"/>
                  <a:pt x="1149" y="541"/>
                  <a:pt x="1101" y="604"/>
                </a:cubicBezTo>
                <a:cubicBezTo>
                  <a:pt x="847" y="382"/>
                  <a:pt x="688" y="239"/>
                  <a:pt x="609" y="159"/>
                </a:cubicBezTo>
                <a:close/>
                <a:moveTo>
                  <a:pt x="1324" y="557"/>
                </a:moveTo>
                <a:cubicBezTo>
                  <a:pt x="1420" y="509"/>
                  <a:pt x="2024" y="430"/>
                  <a:pt x="2295" y="398"/>
                </a:cubicBezTo>
                <a:lnTo>
                  <a:pt x="2470" y="366"/>
                </a:lnTo>
                <a:cubicBezTo>
                  <a:pt x="2692" y="334"/>
                  <a:pt x="3329" y="509"/>
                  <a:pt x="3727" y="637"/>
                </a:cubicBezTo>
                <a:cubicBezTo>
                  <a:pt x="2804" y="859"/>
                  <a:pt x="1515" y="1193"/>
                  <a:pt x="1181" y="1273"/>
                </a:cubicBezTo>
                <a:cubicBezTo>
                  <a:pt x="1133" y="1289"/>
                  <a:pt x="1070" y="1304"/>
                  <a:pt x="1022" y="1337"/>
                </a:cubicBezTo>
                <a:cubicBezTo>
                  <a:pt x="1054" y="1003"/>
                  <a:pt x="1261" y="637"/>
                  <a:pt x="1324" y="557"/>
                </a:cubicBezTo>
                <a:close/>
                <a:moveTo>
                  <a:pt x="1229" y="1432"/>
                </a:moveTo>
                <a:cubicBezTo>
                  <a:pt x="1770" y="1289"/>
                  <a:pt x="4713" y="541"/>
                  <a:pt x="4761" y="541"/>
                </a:cubicBezTo>
                <a:cubicBezTo>
                  <a:pt x="4756" y="557"/>
                  <a:pt x="4761" y="557"/>
                  <a:pt x="4745" y="589"/>
                </a:cubicBezTo>
                <a:cubicBezTo>
                  <a:pt x="4682" y="668"/>
                  <a:pt x="4634" y="780"/>
                  <a:pt x="4570" y="891"/>
                </a:cubicBezTo>
                <a:cubicBezTo>
                  <a:pt x="4283" y="1432"/>
                  <a:pt x="3886" y="2164"/>
                  <a:pt x="3409" y="2403"/>
                </a:cubicBezTo>
                <a:cubicBezTo>
                  <a:pt x="3297" y="2386"/>
                  <a:pt x="3154" y="2355"/>
                  <a:pt x="3058" y="2275"/>
                </a:cubicBezTo>
                <a:cubicBezTo>
                  <a:pt x="3027" y="2243"/>
                  <a:pt x="2995" y="2243"/>
                  <a:pt x="2963" y="2275"/>
                </a:cubicBezTo>
                <a:cubicBezTo>
                  <a:pt x="2820" y="2386"/>
                  <a:pt x="2597" y="2418"/>
                  <a:pt x="2454" y="2418"/>
                </a:cubicBezTo>
                <a:cubicBezTo>
                  <a:pt x="2311" y="2418"/>
                  <a:pt x="2104" y="2386"/>
                  <a:pt x="1961" y="2275"/>
                </a:cubicBezTo>
                <a:cubicBezTo>
                  <a:pt x="1929" y="2243"/>
                  <a:pt x="1897" y="2243"/>
                  <a:pt x="1865" y="2275"/>
                </a:cubicBezTo>
                <a:cubicBezTo>
                  <a:pt x="1722" y="2386"/>
                  <a:pt x="1500" y="2418"/>
                  <a:pt x="1356" y="2418"/>
                </a:cubicBezTo>
                <a:cubicBezTo>
                  <a:pt x="1213" y="2418"/>
                  <a:pt x="1006" y="2386"/>
                  <a:pt x="863" y="2275"/>
                </a:cubicBezTo>
                <a:cubicBezTo>
                  <a:pt x="831" y="2243"/>
                  <a:pt x="783" y="2243"/>
                  <a:pt x="767" y="2275"/>
                </a:cubicBezTo>
                <a:cubicBezTo>
                  <a:pt x="656" y="2355"/>
                  <a:pt x="497" y="2403"/>
                  <a:pt x="370" y="2418"/>
                </a:cubicBezTo>
                <a:cubicBezTo>
                  <a:pt x="370" y="2403"/>
                  <a:pt x="354" y="2403"/>
                  <a:pt x="354" y="2386"/>
                </a:cubicBezTo>
                <a:lnTo>
                  <a:pt x="354" y="2323"/>
                </a:lnTo>
                <a:cubicBezTo>
                  <a:pt x="354" y="2100"/>
                  <a:pt x="656" y="1591"/>
                  <a:pt x="1229" y="1432"/>
                </a:cubicBezTo>
                <a:close/>
                <a:moveTo>
                  <a:pt x="3027" y="1734"/>
                </a:moveTo>
                <a:cubicBezTo>
                  <a:pt x="3043" y="1734"/>
                  <a:pt x="3058" y="1718"/>
                  <a:pt x="3074" y="1718"/>
                </a:cubicBezTo>
                <a:cubicBezTo>
                  <a:pt x="3234" y="1686"/>
                  <a:pt x="3329" y="1543"/>
                  <a:pt x="3297" y="1400"/>
                </a:cubicBezTo>
                <a:cubicBezTo>
                  <a:pt x="3265" y="1241"/>
                  <a:pt x="3122" y="1146"/>
                  <a:pt x="2963" y="1177"/>
                </a:cubicBezTo>
                <a:cubicBezTo>
                  <a:pt x="2900" y="1193"/>
                  <a:pt x="2836" y="1241"/>
                  <a:pt x="2788" y="1289"/>
                </a:cubicBezTo>
                <a:cubicBezTo>
                  <a:pt x="2756" y="1352"/>
                  <a:pt x="2740" y="1432"/>
                  <a:pt x="2756" y="1512"/>
                </a:cubicBezTo>
                <a:cubicBezTo>
                  <a:pt x="2772" y="1639"/>
                  <a:pt x="2900" y="1734"/>
                  <a:pt x="3027" y="1734"/>
                </a:cubicBezTo>
                <a:close/>
                <a:moveTo>
                  <a:pt x="2915" y="1384"/>
                </a:moveTo>
                <a:cubicBezTo>
                  <a:pt x="2947" y="1352"/>
                  <a:pt x="2963" y="1337"/>
                  <a:pt x="2995" y="1337"/>
                </a:cubicBezTo>
                <a:lnTo>
                  <a:pt x="3027" y="1337"/>
                </a:lnTo>
                <a:cubicBezTo>
                  <a:pt x="3074" y="1337"/>
                  <a:pt x="3122" y="1368"/>
                  <a:pt x="3138" y="1432"/>
                </a:cubicBezTo>
                <a:cubicBezTo>
                  <a:pt x="3154" y="1495"/>
                  <a:pt x="3106" y="1559"/>
                  <a:pt x="3043" y="1559"/>
                </a:cubicBezTo>
                <a:cubicBezTo>
                  <a:pt x="2979" y="1575"/>
                  <a:pt x="2915" y="1543"/>
                  <a:pt x="2900" y="1480"/>
                </a:cubicBezTo>
                <a:cubicBezTo>
                  <a:pt x="2900" y="1448"/>
                  <a:pt x="2900" y="1416"/>
                  <a:pt x="2915" y="1384"/>
                </a:cubicBezTo>
                <a:close/>
                <a:moveTo>
                  <a:pt x="2215" y="1877"/>
                </a:moveTo>
                <a:cubicBezTo>
                  <a:pt x="2247" y="1909"/>
                  <a:pt x="2311" y="1925"/>
                  <a:pt x="2358" y="1925"/>
                </a:cubicBezTo>
                <a:lnTo>
                  <a:pt x="2422" y="1925"/>
                </a:lnTo>
                <a:cubicBezTo>
                  <a:pt x="2565" y="1894"/>
                  <a:pt x="2661" y="1734"/>
                  <a:pt x="2629" y="1591"/>
                </a:cubicBezTo>
                <a:cubicBezTo>
                  <a:pt x="2597" y="1448"/>
                  <a:pt x="2454" y="1352"/>
                  <a:pt x="2311" y="1368"/>
                </a:cubicBezTo>
                <a:cubicBezTo>
                  <a:pt x="2231" y="1384"/>
                  <a:pt x="2168" y="1432"/>
                  <a:pt x="2136" y="1495"/>
                </a:cubicBezTo>
                <a:cubicBezTo>
                  <a:pt x="2088" y="1559"/>
                  <a:pt x="2072" y="1639"/>
                  <a:pt x="2088" y="1703"/>
                </a:cubicBezTo>
                <a:cubicBezTo>
                  <a:pt x="2104" y="1782"/>
                  <a:pt x="2152" y="1846"/>
                  <a:pt x="2215" y="1877"/>
                </a:cubicBezTo>
                <a:close/>
                <a:moveTo>
                  <a:pt x="2263" y="1575"/>
                </a:moveTo>
                <a:cubicBezTo>
                  <a:pt x="2279" y="1559"/>
                  <a:pt x="2311" y="1543"/>
                  <a:pt x="2343" y="1527"/>
                </a:cubicBezTo>
                <a:lnTo>
                  <a:pt x="2358" y="1527"/>
                </a:lnTo>
                <a:cubicBezTo>
                  <a:pt x="2422" y="1527"/>
                  <a:pt x="2470" y="1575"/>
                  <a:pt x="2470" y="1623"/>
                </a:cubicBezTo>
                <a:cubicBezTo>
                  <a:pt x="2486" y="1686"/>
                  <a:pt x="2454" y="1750"/>
                  <a:pt x="2390" y="1766"/>
                </a:cubicBezTo>
                <a:cubicBezTo>
                  <a:pt x="2358" y="1766"/>
                  <a:pt x="2327" y="1766"/>
                  <a:pt x="2295" y="1750"/>
                </a:cubicBezTo>
                <a:cubicBezTo>
                  <a:pt x="2263" y="1734"/>
                  <a:pt x="2247" y="1703"/>
                  <a:pt x="2247" y="1671"/>
                </a:cubicBezTo>
                <a:cubicBezTo>
                  <a:pt x="2231" y="1639"/>
                  <a:pt x="2247" y="1607"/>
                  <a:pt x="2263" y="1575"/>
                </a:cubicBezTo>
                <a:close/>
                <a:moveTo>
                  <a:pt x="1690" y="2100"/>
                </a:moveTo>
                <a:cubicBezTo>
                  <a:pt x="1706" y="2100"/>
                  <a:pt x="1722" y="2100"/>
                  <a:pt x="1738" y="2084"/>
                </a:cubicBezTo>
                <a:cubicBezTo>
                  <a:pt x="1897" y="2052"/>
                  <a:pt x="1992" y="1909"/>
                  <a:pt x="1961" y="1766"/>
                </a:cubicBezTo>
                <a:cubicBezTo>
                  <a:pt x="1929" y="1607"/>
                  <a:pt x="1770" y="1512"/>
                  <a:pt x="1627" y="1543"/>
                </a:cubicBezTo>
                <a:cubicBezTo>
                  <a:pt x="1547" y="1559"/>
                  <a:pt x="1483" y="1607"/>
                  <a:pt x="1452" y="1671"/>
                </a:cubicBezTo>
                <a:cubicBezTo>
                  <a:pt x="1404" y="1734"/>
                  <a:pt x="1388" y="1798"/>
                  <a:pt x="1404" y="1877"/>
                </a:cubicBezTo>
                <a:cubicBezTo>
                  <a:pt x="1436" y="2005"/>
                  <a:pt x="1547" y="2100"/>
                  <a:pt x="1690" y="2100"/>
                </a:cubicBezTo>
                <a:close/>
                <a:moveTo>
                  <a:pt x="1579" y="1750"/>
                </a:moveTo>
                <a:cubicBezTo>
                  <a:pt x="1595" y="1734"/>
                  <a:pt x="1627" y="1703"/>
                  <a:pt x="1658" y="1703"/>
                </a:cubicBezTo>
                <a:lnTo>
                  <a:pt x="1690" y="1703"/>
                </a:lnTo>
                <a:cubicBezTo>
                  <a:pt x="1738" y="1703"/>
                  <a:pt x="1786" y="1734"/>
                  <a:pt x="1801" y="1798"/>
                </a:cubicBezTo>
                <a:cubicBezTo>
                  <a:pt x="1818" y="1861"/>
                  <a:pt x="1770" y="1925"/>
                  <a:pt x="1706" y="1941"/>
                </a:cubicBezTo>
                <a:cubicBezTo>
                  <a:pt x="1643" y="1957"/>
                  <a:pt x="1579" y="1909"/>
                  <a:pt x="1563" y="1846"/>
                </a:cubicBezTo>
                <a:cubicBezTo>
                  <a:pt x="1563" y="1814"/>
                  <a:pt x="1563" y="1782"/>
                  <a:pt x="1579" y="175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2" name="Freeform: Shape 11">
            <a:extLst>
              <a:ext uri="{FF2B5EF4-FFF2-40B4-BE49-F238E27FC236}">
                <a16:creationId xmlns:a16="http://schemas.microsoft.com/office/drawing/2014/main" id="{F950F7AB-566E-B449-BB3E-AA5F92F3ADCD}"/>
              </a:ext>
            </a:extLst>
          </p:cNvPr>
          <p:cNvSpPr/>
          <p:nvPr/>
        </p:nvSpPr>
        <p:spPr>
          <a:xfrm>
            <a:off x="17499045" y="6911320"/>
            <a:ext cx="1771920" cy="1161720"/>
          </a:xfrm>
          <a:custGeom>
            <a:avLst/>
            <a:gdLst/>
            <a:ahLst/>
            <a:cxnLst>
              <a:cxn ang="3cd4">
                <a:pos x="hc" y="t"/>
              </a:cxn>
              <a:cxn ang="cd2">
                <a:pos x="l" y="vc"/>
              </a:cxn>
              <a:cxn ang="cd4">
                <a:pos x="hc" y="b"/>
              </a:cxn>
              <a:cxn ang="0">
                <a:pos x="r" y="vc"/>
              </a:cxn>
            </a:cxnLst>
            <a:rect l="l" t="t" r="r" b="b"/>
            <a:pathLst>
              <a:path w="4923" h="3228">
                <a:moveTo>
                  <a:pt x="2235" y="1796"/>
                </a:moveTo>
                <a:cubicBezTo>
                  <a:pt x="2394" y="1716"/>
                  <a:pt x="2394" y="1716"/>
                  <a:pt x="2394" y="1716"/>
                </a:cubicBezTo>
                <a:cubicBezTo>
                  <a:pt x="2171" y="2973"/>
                  <a:pt x="2171" y="2973"/>
                  <a:pt x="2171" y="2973"/>
                </a:cubicBezTo>
                <a:cubicBezTo>
                  <a:pt x="2139" y="3053"/>
                  <a:pt x="2123" y="3148"/>
                  <a:pt x="2187" y="3212"/>
                </a:cubicBezTo>
                <a:cubicBezTo>
                  <a:pt x="2218" y="3228"/>
                  <a:pt x="2235" y="3228"/>
                  <a:pt x="2266" y="3228"/>
                </a:cubicBezTo>
                <a:cubicBezTo>
                  <a:pt x="2282" y="3228"/>
                  <a:pt x="2298" y="3228"/>
                  <a:pt x="2314" y="3212"/>
                </a:cubicBezTo>
                <a:cubicBezTo>
                  <a:pt x="2473" y="3148"/>
                  <a:pt x="2473" y="3148"/>
                  <a:pt x="2473" y="3148"/>
                </a:cubicBezTo>
                <a:cubicBezTo>
                  <a:pt x="2569" y="3101"/>
                  <a:pt x="2696" y="2973"/>
                  <a:pt x="2760" y="2830"/>
                </a:cubicBezTo>
                <a:cubicBezTo>
                  <a:pt x="3508" y="1223"/>
                  <a:pt x="3508" y="1223"/>
                  <a:pt x="3508" y="1223"/>
                </a:cubicBezTo>
                <a:cubicBezTo>
                  <a:pt x="4891" y="571"/>
                  <a:pt x="4971" y="428"/>
                  <a:pt x="4908" y="301"/>
                </a:cubicBezTo>
                <a:cubicBezTo>
                  <a:pt x="4812" y="62"/>
                  <a:pt x="4303" y="-129"/>
                  <a:pt x="3746" y="110"/>
                </a:cubicBezTo>
                <a:cubicBezTo>
                  <a:pt x="2728" y="571"/>
                  <a:pt x="2728" y="571"/>
                  <a:pt x="2728" y="571"/>
                </a:cubicBezTo>
                <a:cubicBezTo>
                  <a:pt x="1598" y="221"/>
                  <a:pt x="1598" y="221"/>
                  <a:pt x="1598" y="221"/>
                </a:cubicBezTo>
                <a:cubicBezTo>
                  <a:pt x="1455" y="173"/>
                  <a:pt x="1264" y="173"/>
                  <a:pt x="1169" y="221"/>
                </a:cubicBezTo>
                <a:cubicBezTo>
                  <a:pt x="1009" y="284"/>
                  <a:pt x="1009" y="284"/>
                  <a:pt x="1009" y="284"/>
                </a:cubicBezTo>
                <a:cubicBezTo>
                  <a:pt x="962" y="301"/>
                  <a:pt x="946" y="348"/>
                  <a:pt x="946" y="396"/>
                </a:cubicBezTo>
                <a:cubicBezTo>
                  <a:pt x="930" y="475"/>
                  <a:pt x="1026" y="539"/>
                  <a:pt x="1089" y="571"/>
                </a:cubicBezTo>
                <a:cubicBezTo>
                  <a:pt x="1789" y="984"/>
                  <a:pt x="1789" y="984"/>
                  <a:pt x="1789" y="984"/>
                </a:cubicBezTo>
                <a:cubicBezTo>
                  <a:pt x="946" y="1366"/>
                  <a:pt x="946" y="1366"/>
                  <a:pt x="946" y="1366"/>
                </a:cubicBezTo>
                <a:cubicBezTo>
                  <a:pt x="914" y="1382"/>
                  <a:pt x="882" y="1366"/>
                  <a:pt x="803" y="1303"/>
                </a:cubicBezTo>
                <a:cubicBezTo>
                  <a:pt x="675" y="1207"/>
                  <a:pt x="469" y="1064"/>
                  <a:pt x="405" y="1016"/>
                </a:cubicBezTo>
                <a:cubicBezTo>
                  <a:pt x="326" y="953"/>
                  <a:pt x="150" y="953"/>
                  <a:pt x="71" y="1016"/>
                </a:cubicBezTo>
                <a:cubicBezTo>
                  <a:pt x="7" y="1080"/>
                  <a:pt x="-25" y="1159"/>
                  <a:pt x="23" y="1239"/>
                </a:cubicBezTo>
                <a:cubicBezTo>
                  <a:pt x="373" y="2019"/>
                  <a:pt x="373" y="2019"/>
                  <a:pt x="373" y="2019"/>
                </a:cubicBezTo>
                <a:cubicBezTo>
                  <a:pt x="548" y="2432"/>
                  <a:pt x="1487" y="2130"/>
                  <a:pt x="2235" y="1796"/>
                </a:cubicBezTo>
                <a:close/>
                <a:moveTo>
                  <a:pt x="1169" y="428"/>
                </a:moveTo>
                <a:cubicBezTo>
                  <a:pt x="1153" y="428"/>
                  <a:pt x="1137" y="412"/>
                  <a:pt x="1137" y="412"/>
                </a:cubicBezTo>
                <a:cubicBezTo>
                  <a:pt x="1232" y="364"/>
                  <a:pt x="1232" y="364"/>
                  <a:pt x="1232" y="364"/>
                </a:cubicBezTo>
                <a:cubicBezTo>
                  <a:pt x="1280" y="332"/>
                  <a:pt x="1423" y="332"/>
                  <a:pt x="1550" y="380"/>
                </a:cubicBezTo>
                <a:cubicBezTo>
                  <a:pt x="2505" y="666"/>
                  <a:pt x="2505" y="666"/>
                  <a:pt x="2505" y="666"/>
                </a:cubicBezTo>
                <a:cubicBezTo>
                  <a:pt x="1964" y="905"/>
                  <a:pt x="1964" y="905"/>
                  <a:pt x="1964" y="905"/>
                </a:cubicBezTo>
                <a:close/>
                <a:moveTo>
                  <a:pt x="166" y="1144"/>
                </a:moveTo>
                <a:cubicBezTo>
                  <a:pt x="198" y="1128"/>
                  <a:pt x="278" y="1112"/>
                  <a:pt x="309" y="1144"/>
                </a:cubicBezTo>
                <a:cubicBezTo>
                  <a:pt x="373" y="1192"/>
                  <a:pt x="580" y="1335"/>
                  <a:pt x="707" y="1430"/>
                </a:cubicBezTo>
                <a:cubicBezTo>
                  <a:pt x="787" y="1493"/>
                  <a:pt x="882" y="1557"/>
                  <a:pt x="1009" y="1510"/>
                </a:cubicBezTo>
                <a:cubicBezTo>
                  <a:pt x="1980" y="1080"/>
                  <a:pt x="1980" y="1080"/>
                  <a:pt x="1980" y="1080"/>
                </a:cubicBezTo>
                <a:cubicBezTo>
                  <a:pt x="1980" y="1064"/>
                  <a:pt x="1996" y="1064"/>
                  <a:pt x="1996" y="1064"/>
                </a:cubicBezTo>
                <a:cubicBezTo>
                  <a:pt x="3809" y="253"/>
                  <a:pt x="3809" y="253"/>
                  <a:pt x="3809" y="253"/>
                </a:cubicBezTo>
                <a:cubicBezTo>
                  <a:pt x="4319" y="30"/>
                  <a:pt x="4685" y="221"/>
                  <a:pt x="4764" y="348"/>
                </a:cubicBezTo>
                <a:cubicBezTo>
                  <a:pt x="4717" y="412"/>
                  <a:pt x="4478" y="587"/>
                  <a:pt x="3412" y="1096"/>
                </a:cubicBezTo>
                <a:cubicBezTo>
                  <a:pt x="3396" y="1096"/>
                  <a:pt x="3380" y="1112"/>
                  <a:pt x="3364" y="1128"/>
                </a:cubicBezTo>
                <a:cubicBezTo>
                  <a:pt x="2617" y="2766"/>
                  <a:pt x="2617" y="2766"/>
                  <a:pt x="2617" y="2766"/>
                </a:cubicBezTo>
                <a:cubicBezTo>
                  <a:pt x="2569" y="2878"/>
                  <a:pt x="2457" y="2973"/>
                  <a:pt x="2409" y="3005"/>
                </a:cubicBezTo>
                <a:cubicBezTo>
                  <a:pt x="2314" y="3053"/>
                  <a:pt x="2314" y="3053"/>
                  <a:pt x="2314" y="3053"/>
                </a:cubicBezTo>
                <a:cubicBezTo>
                  <a:pt x="2314" y="3037"/>
                  <a:pt x="2314" y="3021"/>
                  <a:pt x="2314" y="3005"/>
                </a:cubicBezTo>
                <a:cubicBezTo>
                  <a:pt x="2585" y="1605"/>
                  <a:pt x="2585" y="1605"/>
                  <a:pt x="2585" y="1605"/>
                </a:cubicBezTo>
                <a:cubicBezTo>
                  <a:pt x="2585" y="1573"/>
                  <a:pt x="2585" y="1541"/>
                  <a:pt x="2553" y="1526"/>
                </a:cubicBezTo>
                <a:cubicBezTo>
                  <a:pt x="2537" y="1510"/>
                  <a:pt x="2521" y="1510"/>
                  <a:pt x="2505" y="1510"/>
                </a:cubicBezTo>
                <a:cubicBezTo>
                  <a:pt x="2489" y="1510"/>
                  <a:pt x="2489" y="1510"/>
                  <a:pt x="2473" y="1510"/>
                </a:cubicBezTo>
                <a:cubicBezTo>
                  <a:pt x="2171" y="1653"/>
                  <a:pt x="2171" y="1653"/>
                  <a:pt x="2171" y="1653"/>
                </a:cubicBezTo>
                <a:cubicBezTo>
                  <a:pt x="1073" y="2146"/>
                  <a:pt x="580" y="2130"/>
                  <a:pt x="516" y="1955"/>
                </a:cubicBezTo>
                <a:cubicBezTo>
                  <a:pt x="166" y="1175"/>
                  <a:pt x="166" y="1175"/>
                  <a:pt x="166" y="1175"/>
                </a:cubicBezTo>
                <a:cubicBezTo>
                  <a:pt x="150" y="1159"/>
                  <a:pt x="150" y="1159"/>
                  <a:pt x="166" y="114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Freeform: Shape 12">
            <a:extLst>
              <a:ext uri="{FF2B5EF4-FFF2-40B4-BE49-F238E27FC236}">
                <a16:creationId xmlns:a16="http://schemas.microsoft.com/office/drawing/2014/main" id="{6A1279AA-BC4D-6344-9CDE-FE04503077AE}"/>
              </a:ext>
            </a:extLst>
          </p:cNvPr>
          <p:cNvSpPr/>
          <p:nvPr/>
        </p:nvSpPr>
        <p:spPr>
          <a:xfrm>
            <a:off x="21366105" y="6674801"/>
            <a:ext cx="1770120" cy="1283760"/>
          </a:xfrm>
          <a:custGeom>
            <a:avLst/>
            <a:gdLst/>
            <a:ahLst/>
            <a:cxnLst>
              <a:cxn ang="3cd4">
                <a:pos x="hc" y="t"/>
              </a:cxn>
              <a:cxn ang="cd2">
                <a:pos x="l" y="vc"/>
              </a:cxn>
              <a:cxn ang="cd4">
                <a:pos x="hc" y="b"/>
              </a:cxn>
              <a:cxn ang="0">
                <a:pos x="r" y="vc"/>
              </a:cxn>
            </a:cxnLst>
            <a:rect l="l" t="t" r="r" b="b"/>
            <a:pathLst>
              <a:path w="4918" h="3567">
                <a:moveTo>
                  <a:pt x="1645" y="2294"/>
                </a:moveTo>
                <a:cubicBezTo>
                  <a:pt x="1851" y="2373"/>
                  <a:pt x="1851" y="2373"/>
                  <a:pt x="1851" y="2373"/>
                </a:cubicBezTo>
                <a:cubicBezTo>
                  <a:pt x="658" y="3169"/>
                  <a:pt x="658" y="3169"/>
                  <a:pt x="658" y="3169"/>
                </a:cubicBezTo>
                <a:cubicBezTo>
                  <a:pt x="595" y="3217"/>
                  <a:pt x="499" y="3280"/>
                  <a:pt x="499" y="3376"/>
                </a:cubicBezTo>
                <a:cubicBezTo>
                  <a:pt x="515" y="3423"/>
                  <a:pt x="547" y="3455"/>
                  <a:pt x="595" y="3471"/>
                </a:cubicBezTo>
                <a:cubicBezTo>
                  <a:pt x="769" y="3535"/>
                  <a:pt x="769" y="3535"/>
                  <a:pt x="769" y="3535"/>
                </a:cubicBezTo>
                <a:cubicBezTo>
                  <a:pt x="802" y="3551"/>
                  <a:pt x="865" y="3567"/>
                  <a:pt x="929" y="3567"/>
                </a:cubicBezTo>
                <a:cubicBezTo>
                  <a:pt x="1024" y="3567"/>
                  <a:pt x="1136" y="3551"/>
                  <a:pt x="1231" y="3519"/>
                </a:cubicBezTo>
                <a:cubicBezTo>
                  <a:pt x="3077" y="2851"/>
                  <a:pt x="3077" y="2851"/>
                  <a:pt x="3077" y="2851"/>
                </a:cubicBezTo>
                <a:cubicBezTo>
                  <a:pt x="3188" y="2883"/>
                  <a:pt x="3284" y="2914"/>
                  <a:pt x="3379" y="2962"/>
                </a:cubicBezTo>
                <a:cubicBezTo>
                  <a:pt x="3315" y="3010"/>
                  <a:pt x="3268" y="3105"/>
                  <a:pt x="3268" y="3185"/>
                </a:cubicBezTo>
                <a:cubicBezTo>
                  <a:pt x="3268" y="3376"/>
                  <a:pt x="3427" y="3519"/>
                  <a:pt x="3602" y="3519"/>
                </a:cubicBezTo>
                <a:cubicBezTo>
                  <a:pt x="3777" y="3519"/>
                  <a:pt x="3936" y="3376"/>
                  <a:pt x="3936" y="3185"/>
                </a:cubicBezTo>
                <a:cubicBezTo>
                  <a:pt x="3936" y="3169"/>
                  <a:pt x="3920" y="3153"/>
                  <a:pt x="3920" y="3153"/>
                </a:cubicBezTo>
                <a:cubicBezTo>
                  <a:pt x="4747" y="3407"/>
                  <a:pt x="4859" y="3360"/>
                  <a:pt x="4890" y="3249"/>
                </a:cubicBezTo>
                <a:cubicBezTo>
                  <a:pt x="4954" y="3121"/>
                  <a:pt x="4906" y="2914"/>
                  <a:pt x="4795" y="2723"/>
                </a:cubicBezTo>
                <a:cubicBezTo>
                  <a:pt x="4699" y="2564"/>
                  <a:pt x="4508" y="2341"/>
                  <a:pt x="4142" y="2198"/>
                </a:cubicBezTo>
                <a:cubicBezTo>
                  <a:pt x="4142" y="2198"/>
                  <a:pt x="3618" y="1992"/>
                  <a:pt x="2981" y="1737"/>
                </a:cubicBezTo>
                <a:cubicBezTo>
                  <a:pt x="2377" y="576"/>
                  <a:pt x="2377" y="576"/>
                  <a:pt x="2377" y="576"/>
                </a:cubicBezTo>
                <a:cubicBezTo>
                  <a:pt x="2297" y="432"/>
                  <a:pt x="2154" y="289"/>
                  <a:pt x="2042" y="241"/>
                </a:cubicBezTo>
                <a:cubicBezTo>
                  <a:pt x="1868" y="178"/>
                  <a:pt x="1868" y="178"/>
                  <a:pt x="1868" y="178"/>
                </a:cubicBezTo>
                <a:cubicBezTo>
                  <a:pt x="1836" y="162"/>
                  <a:pt x="1788" y="162"/>
                  <a:pt x="1740" y="194"/>
                </a:cubicBezTo>
                <a:cubicBezTo>
                  <a:pt x="1677" y="258"/>
                  <a:pt x="1708" y="369"/>
                  <a:pt x="1724" y="448"/>
                </a:cubicBezTo>
                <a:cubicBezTo>
                  <a:pt x="1947" y="1339"/>
                  <a:pt x="1947" y="1339"/>
                  <a:pt x="1947" y="1339"/>
                </a:cubicBezTo>
                <a:cubicBezTo>
                  <a:pt x="1422" y="1132"/>
                  <a:pt x="1008" y="973"/>
                  <a:pt x="977" y="958"/>
                </a:cubicBezTo>
                <a:cubicBezTo>
                  <a:pt x="929" y="941"/>
                  <a:pt x="913" y="910"/>
                  <a:pt x="897" y="798"/>
                </a:cubicBezTo>
                <a:cubicBezTo>
                  <a:pt x="881" y="623"/>
                  <a:pt x="833" y="353"/>
                  <a:pt x="833" y="258"/>
                </a:cubicBezTo>
                <a:cubicBezTo>
                  <a:pt x="817" y="146"/>
                  <a:pt x="690" y="19"/>
                  <a:pt x="563" y="3"/>
                </a:cubicBezTo>
                <a:cubicBezTo>
                  <a:pt x="468" y="-13"/>
                  <a:pt x="404" y="35"/>
                  <a:pt x="372" y="130"/>
                </a:cubicBezTo>
                <a:cubicBezTo>
                  <a:pt x="22" y="1021"/>
                  <a:pt x="22" y="1021"/>
                  <a:pt x="22" y="1021"/>
                </a:cubicBezTo>
                <a:cubicBezTo>
                  <a:pt x="-121" y="1371"/>
                  <a:pt x="451" y="1832"/>
                  <a:pt x="1645" y="2294"/>
                </a:cubicBezTo>
                <a:close/>
                <a:moveTo>
                  <a:pt x="3745" y="3105"/>
                </a:moveTo>
                <a:cubicBezTo>
                  <a:pt x="3761" y="3137"/>
                  <a:pt x="3777" y="3153"/>
                  <a:pt x="3777" y="3185"/>
                </a:cubicBezTo>
                <a:cubicBezTo>
                  <a:pt x="3777" y="3280"/>
                  <a:pt x="3697" y="3360"/>
                  <a:pt x="3602" y="3360"/>
                </a:cubicBezTo>
                <a:cubicBezTo>
                  <a:pt x="3506" y="3360"/>
                  <a:pt x="3427" y="3280"/>
                  <a:pt x="3427" y="3185"/>
                </a:cubicBezTo>
                <a:cubicBezTo>
                  <a:pt x="3427" y="3121"/>
                  <a:pt x="3474" y="3058"/>
                  <a:pt x="3538" y="3041"/>
                </a:cubicBezTo>
                <a:cubicBezTo>
                  <a:pt x="3538" y="3026"/>
                  <a:pt x="3554" y="3026"/>
                  <a:pt x="3554" y="3026"/>
                </a:cubicBezTo>
                <a:cubicBezTo>
                  <a:pt x="3618" y="3041"/>
                  <a:pt x="3681" y="3058"/>
                  <a:pt x="3745" y="3089"/>
                </a:cubicBezTo>
                <a:close/>
                <a:moveTo>
                  <a:pt x="1883" y="401"/>
                </a:moveTo>
                <a:cubicBezTo>
                  <a:pt x="1868" y="369"/>
                  <a:pt x="1868" y="353"/>
                  <a:pt x="1868" y="337"/>
                </a:cubicBezTo>
                <a:cubicBezTo>
                  <a:pt x="1995" y="385"/>
                  <a:pt x="1995" y="385"/>
                  <a:pt x="1995" y="385"/>
                </a:cubicBezTo>
                <a:cubicBezTo>
                  <a:pt x="2059" y="416"/>
                  <a:pt x="2170" y="528"/>
                  <a:pt x="2233" y="655"/>
                </a:cubicBezTo>
                <a:cubicBezTo>
                  <a:pt x="2759" y="1658"/>
                  <a:pt x="2759" y="1658"/>
                  <a:pt x="2759" y="1658"/>
                </a:cubicBezTo>
                <a:cubicBezTo>
                  <a:pt x="2551" y="1578"/>
                  <a:pt x="2329" y="1483"/>
                  <a:pt x="2122" y="1403"/>
                </a:cubicBezTo>
                <a:close/>
                <a:moveTo>
                  <a:pt x="165" y="1069"/>
                </a:moveTo>
                <a:cubicBezTo>
                  <a:pt x="515" y="178"/>
                  <a:pt x="515" y="178"/>
                  <a:pt x="515" y="178"/>
                </a:cubicBezTo>
                <a:cubicBezTo>
                  <a:pt x="515" y="162"/>
                  <a:pt x="531" y="162"/>
                  <a:pt x="547" y="162"/>
                </a:cubicBezTo>
                <a:cubicBezTo>
                  <a:pt x="595" y="162"/>
                  <a:pt x="658" y="241"/>
                  <a:pt x="674" y="289"/>
                </a:cubicBezTo>
                <a:cubicBezTo>
                  <a:pt x="674" y="369"/>
                  <a:pt x="722" y="639"/>
                  <a:pt x="738" y="814"/>
                </a:cubicBezTo>
                <a:cubicBezTo>
                  <a:pt x="754" y="926"/>
                  <a:pt x="786" y="1053"/>
                  <a:pt x="913" y="1101"/>
                </a:cubicBezTo>
                <a:cubicBezTo>
                  <a:pt x="960" y="1116"/>
                  <a:pt x="1438" y="1307"/>
                  <a:pt x="2027" y="1530"/>
                </a:cubicBezTo>
                <a:cubicBezTo>
                  <a:pt x="2027" y="1546"/>
                  <a:pt x="2027" y="1546"/>
                  <a:pt x="2027" y="1546"/>
                </a:cubicBezTo>
                <a:cubicBezTo>
                  <a:pt x="2950" y="1896"/>
                  <a:pt x="4095" y="2341"/>
                  <a:pt x="4095" y="2341"/>
                </a:cubicBezTo>
                <a:cubicBezTo>
                  <a:pt x="4413" y="2469"/>
                  <a:pt x="4572" y="2660"/>
                  <a:pt x="4668" y="2803"/>
                </a:cubicBezTo>
                <a:cubicBezTo>
                  <a:pt x="4747" y="2962"/>
                  <a:pt x="4779" y="3105"/>
                  <a:pt x="4747" y="3185"/>
                </a:cubicBezTo>
                <a:cubicBezTo>
                  <a:pt x="4684" y="3201"/>
                  <a:pt x="4365" y="3153"/>
                  <a:pt x="3108" y="2692"/>
                </a:cubicBezTo>
                <a:cubicBezTo>
                  <a:pt x="3093" y="2676"/>
                  <a:pt x="3077" y="2676"/>
                  <a:pt x="3061" y="2692"/>
                </a:cubicBezTo>
                <a:cubicBezTo>
                  <a:pt x="1183" y="3360"/>
                  <a:pt x="1183" y="3360"/>
                  <a:pt x="1183" y="3360"/>
                </a:cubicBezTo>
                <a:cubicBezTo>
                  <a:pt x="1040" y="3407"/>
                  <a:pt x="881" y="3423"/>
                  <a:pt x="817" y="3392"/>
                </a:cubicBezTo>
                <a:cubicBezTo>
                  <a:pt x="690" y="3344"/>
                  <a:pt x="690" y="3344"/>
                  <a:pt x="690" y="3344"/>
                </a:cubicBezTo>
                <a:cubicBezTo>
                  <a:pt x="706" y="3328"/>
                  <a:pt x="722" y="3328"/>
                  <a:pt x="754" y="3312"/>
                </a:cubicBezTo>
                <a:cubicBezTo>
                  <a:pt x="2059" y="2421"/>
                  <a:pt x="2059" y="2421"/>
                  <a:pt x="2059" y="2421"/>
                </a:cubicBezTo>
                <a:cubicBezTo>
                  <a:pt x="2090" y="2405"/>
                  <a:pt x="2106" y="2373"/>
                  <a:pt x="2090" y="2341"/>
                </a:cubicBezTo>
                <a:cubicBezTo>
                  <a:pt x="2090" y="2326"/>
                  <a:pt x="2074" y="2294"/>
                  <a:pt x="2042" y="2278"/>
                </a:cubicBezTo>
                <a:cubicBezTo>
                  <a:pt x="1708" y="2150"/>
                  <a:pt x="1708" y="2150"/>
                  <a:pt x="1708" y="2150"/>
                </a:cubicBezTo>
                <a:cubicBezTo>
                  <a:pt x="451" y="1658"/>
                  <a:pt x="86" y="1260"/>
                  <a:pt x="165" y="106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4" name="Freeform: Shape 13">
            <a:extLst>
              <a:ext uri="{FF2B5EF4-FFF2-40B4-BE49-F238E27FC236}">
                <a16:creationId xmlns:a16="http://schemas.microsoft.com/office/drawing/2014/main" id="{D92C9AD5-1942-094E-9F00-5C75BBAE103A}"/>
              </a:ext>
            </a:extLst>
          </p:cNvPr>
          <p:cNvSpPr/>
          <p:nvPr/>
        </p:nvSpPr>
        <p:spPr>
          <a:xfrm>
            <a:off x="9821375" y="6885761"/>
            <a:ext cx="1809719" cy="1164240"/>
          </a:xfrm>
          <a:custGeom>
            <a:avLst/>
            <a:gdLst/>
            <a:ahLst/>
            <a:cxnLst>
              <a:cxn ang="3cd4">
                <a:pos x="hc" y="t"/>
              </a:cxn>
              <a:cxn ang="cd2">
                <a:pos x="l" y="vc"/>
              </a:cxn>
              <a:cxn ang="cd4">
                <a:pos x="hc" y="b"/>
              </a:cxn>
              <a:cxn ang="0">
                <a:pos x="r" y="vc"/>
              </a:cxn>
            </a:cxnLst>
            <a:rect l="l" t="t" r="r" b="b"/>
            <a:pathLst>
              <a:path w="5028" h="3235">
                <a:moveTo>
                  <a:pt x="3055" y="2440"/>
                </a:moveTo>
                <a:cubicBezTo>
                  <a:pt x="3087" y="2440"/>
                  <a:pt x="3103" y="2440"/>
                  <a:pt x="3135" y="2440"/>
                </a:cubicBezTo>
                <a:cubicBezTo>
                  <a:pt x="3358" y="2694"/>
                  <a:pt x="3358" y="2694"/>
                  <a:pt x="3358" y="2694"/>
                </a:cubicBezTo>
                <a:cubicBezTo>
                  <a:pt x="3310" y="2758"/>
                  <a:pt x="3278" y="2821"/>
                  <a:pt x="3278" y="2917"/>
                </a:cubicBezTo>
                <a:cubicBezTo>
                  <a:pt x="3278" y="3092"/>
                  <a:pt x="3421" y="3235"/>
                  <a:pt x="3596" y="3235"/>
                </a:cubicBezTo>
                <a:cubicBezTo>
                  <a:pt x="3787" y="3235"/>
                  <a:pt x="3930" y="3092"/>
                  <a:pt x="3930" y="2917"/>
                </a:cubicBezTo>
                <a:cubicBezTo>
                  <a:pt x="3930" y="2726"/>
                  <a:pt x="3787" y="2583"/>
                  <a:pt x="3596" y="2583"/>
                </a:cubicBezTo>
                <a:cubicBezTo>
                  <a:pt x="3564" y="2583"/>
                  <a:pt x="3517" y="2599"/>
                  <a:pt x="3485" y="2599"/>
                </a:cubicBezTo>
                <a:cubicBezTo>
                  <a:pt x="3326" y="2440"/>
                  <a:pt x="3326" y="2440"/>
                  <a:pt x="3326" y="2440"/>
                </a:cubicBezTo>
                <a:cubicBezTo>
                  <a:pt x="4042" y="2376"/>
                  <a:pt x="4535" y="2137"/>
                  <a:pt x="4773" y="1883"/>
                </a:cubicBezTo>
                <a:cubicBezTo>
                  <a:pt x="4726" y="2265"/>
                  <a:pt x="4726" y="2265"/>
                  <a:pt x="4726" y="2265"/>
                </a:cubicBezTo>
                <a:cubicBezTo>
                  <a:pt x="4726" y="2312"/>
                  <a:pt x="4790" y="2360"/>
                  <a:pt x="4869" y="2360"/>
                </a:cubicBezTo>
                <a:cubicBezTo>
                  <a:pt x="4949" y="2360"/>
                  <a:pt x="5028" y="2312"/>
                  <a:pt x="5028" y="2265"/>
                </a:cubicBezTo>
                <a:cubicBezTo>
                  <a:pt x="4949" y="1564"/>
                  <a:pt x="4949" y="1564"/>
                  <a:pt x="4949" y="1564"/>
                </a:cubicBezTo>
                <a:cubicBezTo>
                  <a:pt x="5028" y="881"/>
                  <a:pt x="5028" y="881"/>
                  <a:pt x="5028" y="881"/>
                </a:cubicBezTo>
                <a:cubicBezTo>
                  <a:pt x="5028" y="817"/>
                  <a:pt x="4949" y="769"/>
                  <a:pt x="4869" y="769"/>
                </a:cubicBezTo>
                <a:cubicBezTo>
                  <a:pt x="4790" y="769"/>
                  <a:pt x="4726" y="817"/>
                  <a:pt x="4726" y="881"/>
                </a:cubicBezTo>
                <a:cubicBezTo>
                  <a:pt x="4790" y="1310"/>
                  <a:pt x="4790" y="1310"/>
                  <a:pt x="4790" y="1310"/>
                </a:cubicBezTo>
                <a:cubicBezTo>
                  <a:pt x="4535" y="1087"/>
                  <a:pt x="4026" y="928"/>
                  <a:pt x="3739" y="897"/>
                </a:cubicBezTo>
                <a:cubicBezTo>
                  <a:pt x="3739" y="642"/>
                  <a:pt x="3739" y="642"/>
                  <a:pt x="3739" y="642"/>
                </a:cubicBezTo>
                <a:cubicBezTo>
                  <a:pt x="3930" y="563"/>
                  <a:pt x="4026" y="451"/>
                  <a:pt x="4026" y="244"/>
                </a:cubicBezTo>
                <a:cubicBezTo>
                  <a:pt x="4026" y="164"/>
                  <a:pt x="4010" y="101"/>
                  <a:pt x="3962" y="53"/>
                </a:cubicBezTo>
                <a:cubicBezTo>
                  <a:pt x="3899" y="6"/>
                  <a:pt x="3835" y="-10"/>
                  <a:pt x="3739" y="6"/>
                </a:cubicBezTo>
                <a:cubicBezTo>
                  <a:pt x="3453" y="53"/>
                  <a:pt x="2690" y="149"/>
                  <a:pt x="1862" y="181"/>
                </a:cubicBezTo>
                <a:cubicBezTo>
                  <a:pt x="1846" y="181"/>
                  <a:pt x="1846" y="181"/>
                  <a:pt x="1846" y="181"/>
                </a:cubicBezTo>
                <a:cubicBezTo>
                  <a:pt x="1735" y="181"/>
                  <a:pt x="1591" y="196"/>
                  <a:pt x="1591" y="387"/>
                </a:cubicBezTo>
                <a:cubicBezTo>
                  <a:pt x="1591" y="515"/>
                  <a:pt x="1782" y="658"/>
                  <a:pt x="2181" y="721"/>
                </a:cubicBezTo>
                <a:cubicBezTo>
                  <a:pt x="2181" y="1103"/>
                  <a:pt x="2181" y="1103"/>
                  <a:pt x="2181" y="1103"/>
                </a:cubicBezTo>
                <a:cubicBezTo>
                  <a:pt x="1067" y="1215"/>
                  <a:pt x="1067" y="1215"/>
                  <a:pt x="1067" y="1215"/>
                </a:cubicBezTo>
                <a:cubicBezTo>
                  <a:pt x="796" y="753"/>
                  <a:pt x="796" y="753"/>
                  <a:pt x="796" y="753"/>
                </a:cubicBezTo>
                <a:cubicBezTo>
                  <a:pt x="717" y="642"/>
                  <a:pt x="590" y="578"/>
                  <a:pt x="462" y="578"/>
                </a:cubicBezTo>
                <a:cubicBezTo>
                  <a:pt x="80" y="578"/>
                  <a:pt x="80" y="578"/>
                  <a:pt x="80" y="578"/>
                </a:cubicBezTo>
                <a:cubicBezTo>
                  <a:pt x="48" y="578"/>
                  <a:pt x="33" y="594"/>
                  <a:pt x="17" y="610"/>
                </a:cubicBezTo>
                <a:cubicBezTo>
                  <a:pt x="0" y="626"/>
                  <a:pt x="0" y="658"/>
                  <a:pt x="0" y="674"/>
                </a:cubicBezTo>
                <a:cubicBezTo>
                  <a:pt x="287" y="1676"/>
                  <a:pt x="287" y="1676"/>
                  <a:pt x="287" y="1676"/>
                </a:cubicBezTo>
                <a:cubicBezTo>
                  <a:pt x="367" y="1946"/>
                  <a:pt x="1273" y="2440"/>
                  <a:pt x="3055" y="2440"/>
                </a:cubicBezTo>
                <a:close/>
                <a:moveTo>
                  <a:pt x="3772" y="2917"/>
                </a:moveTo>
                <a:cubicBezTo>
                  <a:pt x="3772" y="2997"/>
                  <a:pt x="3692" y="3076"/>
                  <a:pt x="3596" y="3076"/>
                </a:cubicBezTo>
                <a:cubicBezTo>
                  <a:pt x="3517" y="3076"/>
                  <a:pt x="3437" y="2997"/>
                  <a:pt x="3437" y="2917"/>
                </a:cubicBezTo>
                <a:cubicBezTo>
                  <a:pt x="3437" y="2821"/>
                  <a:pt x="3517" y="2742"/>
                  <a:pt x="3596" y="2742"/>
                </a:cubicBezTo>
                <a:cubicBezTo>
                  <a:pt x="3692" y="2742"/>
                  <a:pt x="3772" y="2821"/>
                  <a:pt x="3772" y="2917"/>
                </a:cubicBezTo>
                <a:close/>
                <a:moveTo>
                  <a:pt x="2339" y="737"/>
                </a:moveTo>
                <a:cubicBezTo>
                  <a:pt x="2467" y="753"/>
                  <a:pt x="2610" y="753"/>
                  <a:pt x="2769" y="753"/>
                </a:cubicBezTo>
                <a:cubicBezTo>
                  <a:pt x="3087" y="753"/>
                  <a:pt x="3358" y="737"/>
                  <a:pt x="3581" y="690"/>
                </a:cubicBezTo>
                <a:cubicBezTo>
                  <a:pt x="3581" y="960"/>
                  <a:pt x="3581" y="960"/>
                  <a:pt x="3581" y="960"/>
                </a:cubicBezTo>
                <a:cubicBezTo>
                  <a:pt x="3453" y="1183"/>
                  <a:pt x="3278" y="1310"/>
                  <a:pt x="2642" y="1310"/>
                </a:cubicBezTo>
                <a:cubicBezTo>
                  <a:pt x="2451" y="1310"/>
                  <a:pt x="2371" y="1199"/>
                  <a:pt x="2339" y="1151"/>
                </a:cubicBezTo>
                <a:close/>
                <a:moveTo>
                  <a:pt x="1751" y="387"/>
                </a:moveTo>
                <a:cubicBezTo>
                  <a:pt x="1751" y="355"/>
                  <a:pt x="1751" y="355"/>
                  <a:pt x="1751" y="355"/>
                </a:cubicBezTo>
                <a:cubicBezTo>
                  <a:pt x="1767" y="340"/>
                  <a:pt x="1814" y="340"/>
                  <a:pt x="1846" y="340"/>
                </a:cubicBezTo>
                <a:cubicBezTo>
                  <a:pt x="1862" y="340"/>
                  <a:pt x="1862" y="340"/>
                  <a:pt x="1862" y="340"/>
                </a:cubicBezTo>
                <a:cubicBezTo>
                  <a:pt x="2705" y="308"/>
                  <a:pt x="3469" y="212"/>
                  <a:pt x="3755" y="164"/>
                </a:cubicBezTo>
                <a:cubicBezTo>
                  <a:pt x="3803" y="164"/>
                  <a:pt x="3835" y="164"/>
                  <a:pt x="3851" y="181"/>
                </a:cubicBezTo>
                <a:cubicBezTo>
                  <a:pt x="3867" y="181"/>
                  <a:pt x="3867" y="212"/>
                  <a:pt x="3867" y="244"/>
                </a:cubicBezTo>
                <a:cubicBezTo>
                  <a:pt x="3867" y="499"/>
                  <a:pt x="3549" y="594"/>
                  <a:pt x="2769" y="594"/>
                </a:cubicBezTo>
                <a:cubicBezTo>
                  <a:pt x="2053" y="594"/>
                  <a:pt x="1767" y="435"/>
                  <a:pt x="1751" y="387"/>
                </a:cubicBezTo>
                <a:close/>
                <a:moveTo>
                  <a:pt x="191" y="737"/>
                </a:moveTo>
                <a:cubicBezTo>
                  <a:pt x="462" y="737"/>
                  <a:pt x="462" y="737"/>
                  <a:pt x="462" y="737"/>
                </a:cubicBezTo>
                <a:cubicBezTo>
                  <a:pt x="542" y="737"/>
                  <a:pt x="621" y="769"/>
                  <a:pt x="669" y="833"/>
                </a:cubicBezTo>
                <a:cubicBezTo>
                  <a:pt x="955" y="1326"/>
                  <a:pt x="955" y="1326"/>
                  <a:pt x="955" y="1326"/>
                </a:cubicBezTo>
                <a:cubicBezTo>
                  <a:pt x="971" y="1358"/>
                  <a:pt x="1003" y="1374"/>
                  <a:pt x="1035" y="1374"/>
                </a:cubicBezTo>
                <a:cubicBezTo>
                  <a:pt x="2228" y="1263"/>
                  <a:pt x="2228" y="1263"/>
                  <a:pt x="2228" y="1263"/>
                </a:cubicBezTo>
                <a:cubicBezTo>
                  <a:pt x="2276" y="1326"/>
                  <a:pt x="2403" y="1469"/>
                  <a:pt x="2642" y="1469"/>
                </a:cubicBezTo>
                <a:cubicBezTo>
                  <a:pt x="3246" y="1469"/>
                  <a:pt x="3533" y="1358"/>
                  <a:pt x="3708" y="1055"/>
                </a:cubicBezTo>
                <a:cubicBezTo>
                  <a:pt x="4073" y="1087"/>
                  <a:pt x="4758" y="1358"/>
                  <a:pt x="4758" y="1564"/>
                </a:cubicBezTo>
                <a:cubicBezTo>
                  <a:pt x="4758" y="1819"/>
                  <a:pt x="4169" y="2281"/>
                  <a:pt x="3055" y="2281"/>
                </a:cubicBezTo>
                <a:cubicBezTo>
                  <a:pt x="1273" y="2281"/>
                  <a:pt x="478" y="1772"/>
                  <a:pt x="446" y="164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5" name="Freeform: Shape 15">
            <a:extLst>
              <a:ext uri="{FF2B5EF4-FFF2-40B4-BE49-F238E27FC236}">
                <a16:creationId xmlns:a16="http://schemas.microsoft.com/office/drawing/2014/main" id="{7B87370D-A388-874A-BC04-7FA5F49A3F9C}"/>
              </a:ext>
            </a:extLst>
          </p:cNvPr>
          <p:cNvSpPr/>
          <p:nvPr/>
        </p:nvSpPr>
        <p:spPr>
          <a:xfrm>
            <a:off x="5538107" y="7094313"/>
            <a:ext cx="1803600" cy="1139760"/>
          </a:xfrm>
          <a:custGeom>
            <a:avLst/>
            <a:gdLst/>
            <a:ahLst/>
            <a:cxnLst>
              <a:cxn ang="3cd4">
                <a:pos x="hc" y="t"/>
              </a:cxn>
              <a:cxn ang="cd2">
                <a:pos x="l" y="vc"/>
              </a:cxn>
              <a:cxn ang="cd4">
                <a:pos x="hc" y="b"/>
              </a:cxn>
              <a:cxn ang="0">
                <a:pos x="r" y="vc"/>
              </a:cxn>
            </a:cxnLst>
            <a:rect l="l" t="t" r="r" b="b"/>
            <a:pathLst>
              <a:path w="5011" h="3167">
                <a:moveTo>
                  <a:pt x="5011" y="64"/>
                </a:moveTo>
                <a:lnTo>
                  <a:pt x="4996" y="48"/>
                </a:lnTo>
                <a:lnTo>
                  <a:pt x="4996" y="32"/>
                </a:lnTo>
                <a:cubicBezTo>
                  <a:pt x="4980" y="0"/>
                  <a:pt x="4948" y="0"/>
                  <a:pt x="4916" y="0"/>
                </a:cubicBezTo>
                <a:cubicBezTo>
                  <a:pt x="80" y="0"/>
                  <a:pt x="80" y="0"/>
                  <a:pt x="80" y="0"/>
                </a:cubicBezTo>
                <a:cubicBezTo>
                  <a:pt x="48" y="0"/>
                  <a:pt x="16" y="16"/>
                  <a:pt x="0" y="48"/>
                </a:cubicBezTo>
                <a:cubicBezTo>
                  <a:pt x="0" y="64"/>
                  <a:pt x="0" y="96"/>
                  <a:pt x="16" y="128"/>
                </a:cubicBezTo>
                <a:cubicBezTo>
                  <a:pt x="859" y="1146"/>
                  <a:pt x="859" y="1146"/>
                  <a:pt x="859" y="1146"/>
                </a:cubicBezTo>
                <a:cubicBezTo>
                  <a:pt x="748" y="2132"/>
                  <a:pt x="748" y="2132"/>
                  <a:pt x="748" y="2132"/>
                </a:cubicBezTo>
                <a:lnTo>
                  <a:pt x="748" y="2148"/>
                </a:lnTo>
                <a:lnTo>
                  <a:pt x="748" y="2164"/>
                </a:lnTo>
                <a:cubicBezTo>
                  <a:pt x="764" y="2164"/>
                  <a:pt x="764" y="2164"/>
                  <a:pt x="764" y="2180"/>
                </a:cubicBezTo>
                <a:cubicBezTo>
                  <a:pt x="764" y="2180"/>
                  <a:pt x="764" y="2196"/>
                  <a:pt x="780" y="2196"/>
                </a:cubicBezTo>
                <a:cubicBezTo>
                  <a:pt x="795" y="2196"/>
                  <a:pt x="795" y="2196"/>
                  <a:pt x="795" y="2212"/>
                </a:cubicBezTo>
                <a:cubicBezTo>
                  <a:pt x="811" y="2212"/>
                  <a:pt x="811" y="2212"/>
                  <a:pt x="811" y="2212"/>
                </a:cubicBezTo>
                <a:lnTo>
                  <a:pt x="827" y="2212"/>
                </a:lnTo>
                <a:lnTo>
                  <a:pt x="843" y="2212"/>
                </a:lnTo>
                <a:lnTo>
                  <a:pt x="859" y="2212"/>
                </a:lnTo>
                <a:cubicBezTo>
                  <a:pt x="1480" y="1973"/>
                  <a:pt x="1480" y="1973"/>
                  <a:pt x="1480" y="1973"/>
                </a:cubicBezTo>
                <a:cubicBezTo>
                  <a:pt x="2228" y="3119"/>
                  <a:pt x="2228" y="3119"/>
                  <a:pt x="2228" y="3119"/>
                </a:cubicBezTo>
                <a:cubicBezTo>
                  <a:pt x="2243" y="3150"/>
                  <a:pt x="2259" y="3167"/>
                  <a:pt x="2291" y="3167"/>
                </a:cubicBezTo>
                <a:cubicBezTo>
                  <a:pt x="2323" y="3167"/>
                  <a:pt x="2339" y="3150"/>
                  <a:pt x="2355" y="3135"/>
                </a:cubicBezTo>
                <a:cubicBezTo>
                  <a:pt x="4980" y="128"/>
                  <a:pt x="4980" y="128"/>
                  <a:pt x="4980" y="128"/>
                </a:cubicBezTo>
                <a:lnTo>
                  <a:pt x="4996" y="128"/>
                </a:lnTo>
                <a:lnTo>
                  <a:pt x="4996" y="112"/>
                </a:lnTo>
                <a:lnTo>
                  <a:pt x="4996" y="96"/>
                </a:lnTo>
                <a:lnTo>
                  <a:pt x="5011" y="96"/>
                </a:lnTo>
                <a:lnTo>
                  <a:pt x="5011" y="80"/>
                </a:lnTo>
                <a:close/>
                <a:moveTo>
                  <a:pt x="255" y="159"/>
                </a:moveTo>
                <a:cubicBezTo>
                  <a:pt x="4311" y="159"/>
                  <a:pt x="4311" y="159"/>
                  <a:pt x="4311" y="159"/>
                </a:cubicBezTo>
                <a:cubicBezTo>
                  <a:pt x="971" y="1034"/>
                  <a:pt x="971" y="1034"/>
                  <a:pt x="971" y="1034"/>
                </a:cubicBezTo>
                <a:close/>
                <a:moveTo>
                  <a:pt x="1273" y="1464"/>
                </a:moveTo>
                <a:cubicBezTo>
                  <a:pt x="1257" y="1464"/>
                  <a:pt x="1257" y="1464"/>
                  <a:pt x="1257" y="1464"/>
                </a:cubicBezTo>
                <a:lnTo>
                  <a:pt x="1257" y="1480"/>
                </a:lnTo>
                <a:lnTo>
                  <a:pt x="1241" y="1480"/>
                </a:lnTo>
                <a:cubicBezTo>
                  <a:pt x="938" y="1862"/>
                  <a:pt x="938" y="1862"/>
                  <a:pt x="938" y="1862"/>
                </a:cubicBezTo>
                <a:cubicBezTo>
                  <a:pt x="1002" y="1177"/>
                  <a:pt x="1002" y="1177"/>
                  <a:pt x="1002" y="1177"/>
                </a:cubicBezTo>
                <a:cubicBezTo>
                  <a:pt x="3739" y="462"/>
                  <a:pt x="3739" y="462"/>
                  <a:pt x="3739" y="462"/>
                </a:cubicBezTo>
                <a:close/>
                <a:moveTo>
                  <a:pt x="1066" y="1957"/>
                </a:moveTo>
                <a:cubicBezTo>
                  <a:pt x="1289" y="1671"/>
                  <a:pt x="1289" y="1671"/>
                  <a:pt x="1289" y="1671"/>
                </a:cubicBezTo>
                <a:cubicBezTo>
                  <a:pt x="1400" y="1830"/>
                  <a:pt x="1400" y="1830"/>
                  <a:pt x="1400" y="1830"/>
                </a:cubicBezTo>
                <a:close/>
                <a:moveTo>
                  <a:pt x="2307" y="2944"/>
                </a:moveTo>
                <a:cubicBezTo>
                  <a:pt x="1416" y="1576"/>
                  <a:pt x="1416" y="1576"/>
                  <a:pt x="1416" y="1576"/>
                </a:cubicBezTo>
                <a:cubicBezTo>
                  <a:pt x="4646" y="271"/>
                  <a:pt x="4646" y="271"/>
                  <a:pt x="4646" y="27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6" name="Freeform: Shape 16">
            <a:extLst>
              <a:ext uri="{FF2B5EF4-FFF2-40B4-BE49-F238E27FC236}">
                <a16:creationId xmlns:a16="http://schemas.microsoft.com/office/drawing/2014/main" id="{0B79128C-02ED-C348-8469-BDDA85C9F5CC}"/>
              </a:ext>
            </a:extLst>
          </p:cNvPr>
          <p:cNvSpPr/>
          <p:nvPr/>
        </p:nvSpPr>
        <p:spPr>
          <a:xfrm>
            <a:off x="1542467" y="9609720"/>
            <a:ext cx="1717920" cy="1717920"/>
          </a:xfrm>
          <a:custGeom>
            <a:avLst/>
            <a:gdLst/>
            <a:ahLst/>
            <a:cxnLst>
              <a:cxn ang="3cd4">
                <a:pos x="hc" y="t"/>
              </a:cxn>
              <a:cxn ang="cd2">
                <a:pos x="l" y="vc"/>
              </a:cxn>
              <a:cxn ang="cd4">
                <a:pos x="hc" y="b"/>
              </a:cxn>
              <a:cxn ang="0">
                <a:pos x="r" y="vc"/>
              </a:cxn>
            </a:cxnLst>
            <a:rect l="l" t="t" r="r" b="b"/>
            <a:pathLst>
              <a:path w="4773" h="4773">
                <a:moveTo>
                  <a:pt x="79" y="4773"/>
                </a:moveTo>
                <a:lnTo>
                  <a:pt x="3579" y="4773"/>
                </a:lnTo>
                <a:lnTo>
                  <a:pt x="3596" y="4773"/>
                </a:lnTo>
                <a:lnTo>
                  <a:pt x="3596" y="4757"/>
                </a:lnTo>
                <a:lnTo>
                  <a:pt x="3611" y="4757"/>
                </a:lnTo>
                <a:lnTo>
                  <a:pt x="3627" y="4757"/>
                </a:lnTo>
                <a:lnTo>
                  <a:pt x="3627" y="4741"/>
                </a:lnTo>
                <a:lnTo>
                  <a:pt x="4741" y="3469"/>
                </a:lnTo>
                <a:lnTo>
                  <a:pt x="4757" y="3469"/>
                </a:lnTo>
                <a:lnTo>
                  <a:pt x="4757" y="3453"/>
                </a:lnTo>
                <a:lnTo>
                  <a:pt x="4757" y="3437"/>
                </a:lnTo>
                <a:cubicBezTo>
                  <a:pt x="4757" y="3421"/>
                  <a:pt x="4768" y="3426"/>
                  <a:pt x="4773" y="3421"/>
                </a:cubicBezTo>
                <a:lnTo>
                  <a:pt x="4773" y="80"/>
                </a:lnTo>
                <a:cubicBezTo>
                  <a:pt x="4773" y="32"/>
                  <a:pt x="4725" y="0"/>
                  <a:pt x="4693" y="0"/>
                </a:cubicBezTo>
                <a:lnTo>
                  <a:pt x="1352" y="0"/>
                </a:lnTo>
                <a:lnTo>
                  <a:pt x="1336" y="0"/>
                </a:lnTo>
                <a:cubicBezTo>
                  <a:pt x="1320" y="0"/>
                  <a:pt x="1288" y="0"/>
                  <a:pt x="1273" y="32"/>
                </a:cubicBezTo>
                <a:lnTo>
                  <a:pt x="16" y="1289"/>
                </a:lnTo>
                <a:lnTo>
                  <a:pt x="16" y="1305"/>
                </a:lnTo>
                <a:lnTo>
                  <a:pt x="16" y="1321"/>
                </a:lnTo>
                <a:lnTo>
                  <a:pt x="0" y="1321"/>
                </a:lnTo>
                <a:lnTo>
                  <a:pt x="0" y="1336"/>
                </a:lnTo>
                <a:lnTo>
                  <a:pt x="0" y="1353"/>
                </a:lnTo>
                <a:lnTo>
                  <a:pt x="0" y="4694"/>
                </a:lnTo>
                <a:cubicBezTo>
                  <a:pt x="0" y="4726"/>
                  <a:pt x="32" y="4773"/>
                  <a:pt x="79" y="4773"/>
                </a:cubicBezTo>
                <a:close/>
                <a:moveTo>
                  <a:pt x="3500" y="4614"/>
                </a:moveTo>
                <a:lnTo>
                  <a:pt x="270" y="4614"/>
                </a:lnTo>
                <a:cubicBezTo>
                  <a:pt x="270" y="4582"/>
                  <a:pt x="270" y="4550"/>
                  <a:pt x="239" y="4535"/>
                </a:cubicBezTo>
                <a:cubicBezTo>
                  <a:pt x="223" y="4518"/>
                  <a:pt x="191" y="4503"/>
                  <a:pt x="159" y="4518"/>
                </a:cubicBezTo>
                <a:lnTo>
                  <a:pt x="159" y="1432"/>
                </a:lnTo>
                <a:lnTo>
                  <a:pt x="1273" y="1432"/>
                </a:lnTo>
                <a:cubicBezTo>
                  <a:pt x="1273" y="1480"/>
                  <a:pt x="1305" y="1512"/>
                  <a:pt x="1352" y="1512"/>
                </a:cubicBezTo>
                <a:cubicBezTo>
                  <a:pt x="1400" y="1512"/>
                  <a:pt x="1432" y="1480"/>
                  <a:pt x="1432" y="1432"/>
                </a:cubicBezTo>
                <a:lnTo>
                  <a:pt x="3500" y="1432"/>
                </a:lnTo>
                <a:lnTo>
                  <a:pt x="3500" y="3341"/>
                </a:lnTo>
                <a:cubicBezTo>
                  <a:pt x="3452" y="3341"/>
                  <a:pt x="3421" y="3373"/>
                  <a:pt x="3421" y="3421"/>
                </a:cubicBezTo>
                <a:cubicBezTo>
                  <a:pt x="3421" y="3469"/>
                  <a:pt x="3452" y="3500"/>
                  <a:pt x="3500" y="3500"/>
                </a:cubicBezTo>
                <a:close/>
                <a:moveTo>
                  <a:pt x="3659" y="1384"/>
                </a:moveTo>
                <a:lnTo>
                  <a:pt x="4614" y="302"/>
                </a:lnTo>
                <a:lnTo>
                  <a:pt x="4614" y="3341"/>
                </a:lnTo>
                <a:lnTo>
                  <a:pt x="3659" y="3341"/>
                </a:lnTo>
                <a:close/>
                <a:moveTo>
                  <a:pt x="3659" y="3500"/>
                </a:moveTo>
                <a:lnTo>
                  <a:pt x="4518" y="3500"/>
                </a:lnTo>
                <a:lnTo>
                  <a:pt x="3659" y="4471"/>
                </a:lnTo>
                <a:close/>
                <a:moveTo>
                  <a:pt x="1432" y="159"/>
                </a:moveTo>
                <a:lnTo>
                  <a:pt x="4518" y="159"/>
                </a:lnTo>
                <a:lnTo>
                  <a:pt x="3532" y="1273"/>
                </a:lnTo>
                <a:lnTo>
                  <a:pt x="1432" y="1273"/>
                </a:lnTo>
                <a:close/>
                <a:moveTo>
                  <a:pt x="1273" y="255"/>
                </a:moveTo>
                <a:lnTo>
                  <a:pt x="1273" y="1273"/>
                </a:lnTo>
                <a:lnTo>
                  <a:pt x="270" y="1273"/>
                </a:lnTo>
                <a:close/>
                <a:moveTo>
                  <a:pt x="875" y="3803"/>
                </a:moveTo>
                <a:lnTo>
                  <a:pt x="748" y="3930"/>
                </a:lnTo>
                <a:cubicBezTo>
                  <a:pt x="716" y="3946"/>
                  <a:pt x="716" y="4009"/>
                  <a:pt x="748" y="4041"/>
                </a:cubicBezTo>
                <a:cubicBezTo>
                  <a:pt x="763" y="4057"/>
                  <a:pt x="779" y="4057"/>
                  <a:pt x="811" y="4057"/>
                </a:cubicBezTo>
                <a:cubicBezTo>
                  <a:pt x="827" y="4057"/>
                  <a:pt x="843" y="4057"/>
                  <a:pt x="859" y="4041"/>
                </a:cubicBezTo>
                <a:lnTo>
                  <a:pt x="986" y="3914"/>
                </a:lnTo>
                <a:cubicBezTo>
                  <a:pt x="1018" y="3882"/>
                  <a:pt x="1018" y="3835"/>
                  <a:pt x="986" y="3803"/>
                </a:cubicBezTo>
                <a:cubicBezTo>
                  <a:pt x="954" y="3771"/>
                  <a:pt x="907" y="3771"/>
                  <a:pt x="875" y="3803"/>
                </a:cubicBezTo>
                <a:close/>
                <a:moveTo>
                  <a:pt x="509" y="4169"/>
                </a:moveTo>
                <a:lnTo>
                  <a:pt x="382" y="4296"/>
                </a:lnTo>
                <a:cubicBezTo>
                  <a:pt x="350" y="4327"/>
                  <a:pt x="350" y="4375"/>
                  <a:pt x="382" y="4407"/>
                </a:cubicBezTo>
                <a:cubicBezTo>
                  <a:pt x="397" y="4423"/>
                  <a:pt x="414" y="4423"/>
                  <a:pt x="429" y="4423"/>
                </a:cubicBezTo>
                <a:cubicBezTo>
                  <a:pt x="461" y="4423"/>
                  <a:pt x="477" y="4423"/>
                  <a:pt x="493" y="4407"/>
                </a:cubicBezTo>
                <a:lnTo>
                  <a:pt x="620" y="4280"/>
                </a:lnTo>
                <a:cubicBezTo>
                  <a:pt x="652" y="4248"/>
                  <a:pt x="652" y="4200"/>
                  <a:pt x="620" y="4169"/>
                </a:cubicBezTo>
                <a:cubicBezTo>
                  <a:pt x="588" y="4137"/>
                  <a:pt x="525" y="4137"/>
                  <a:pt x="509" y="4169"/>
                </a:cubicBezTo>
                <a:close/>
                <a:moveTo>
                  <a:pt x="1177" y="3499"/>
                </a:moveTo>
                <a:lnTo>
                  <a:pt x="1114" y="3547"/>
                </a:lnTo>
                <a:cubicBezTo>
                  <a:pt x="1082" y="3579"/>
                  <a:pt x="1082" y="3626"/>
                  <a:pt x="1114" y="3659"/>
                </a:cubicBezTo>
                <a:cubicBezTo>
                  <a:pt x="1130" y="3674"/>
                  <a:pt x="1145" y="3690"/>
                  <a:pt x="1177" y="3690"/>
                </a:cubicBezTo>
                <a:cubicBezTo>
                  <a:pt x="1193" y="3690"/>
                  <a:pt x="1209" y="3674"/>
                  <a:pt x="1225" y="3659"/>
                </a:cubicBezTo>
                <a:lnTo>
                  <a:pt x="1288" y="3611"/>
                </a:lnTo>
                <a:cubicBezTo>
                  <a:pt x="1320" y="3579"/>
                  <a:pt x="1320" y="3531"/>
                  <a:pt x="1288" y="3499"/>
                </a:cubicBezTo>
                <a:cubicBezTo>
                  <a:pt x="1257" y="3468"/>
                  <a:pt x="1209" y="3468"/>
                  <a:pt x="1177" y="3499"/>
                </a:cubicBezTo>
                <a:close/>
                <a:moveTo>
                  <a:pt x="2227" y="3341"/>
                </a:moveTo>
                <a:lnTo>
                  <a:pt x="2068" y="3341"/>
                </a:lnTo>
                <a:cubicBezTo>
                  <a:pt x="2020" y="3341"/>
                  <a:pt x="1988" y="3373"/>
                  <a:pt x="1988" y="3421"/>
                </a:cubicBezTo>
                <a:cubicBezTo>
                  <a:pt x="1988" y="3469"/>
                  <a:pt x="2020" y="3500"/>
                  <a:pt x="2068" y="3500"/>
                </a:cubicBezTo>
                <a:lnTo>
                  <a:pt x="2227" y="3500"/>
                </a:lnTo>
                <a:cubicBezTo>
                  <a:pt x="2275" y="3500"/>
                  <a:pt x="2307" y="3469"/>
                  <a:pt x="2307" y="3421"/>
                </a:cubicBezTo>
                <a:cubicBezTo>
                  <a:pt x="2307" y="3373"/>
                  <a:pt x="2275" y="3341"/>
                  <a:pt x="2227" y="3341"/>
                </a:cubicBezTo>
                <a:close/>
                <a:moveTo>
                  <a:pt x="1352" y="1671"/>
                </a:moveTo>
                <a:cubicBezTo>
                  <a:pt x="1305" y="1671"/>
                  <a:pt x="1273" y="1702"/>
                  <a:pt x="1273" y="1750"/>
                </a:cubicBezTo>
                <a:lnTo>
                  <a:pt x="1273" y="1909"/>
                </a:lnTo>
                <a:cubicBezTo>
                  <a:pt x="1273" y="1957"/>
                  <a:pt x="1305" y="1989"/>
                  <a:pt x="1352" y="1989"/>
                </a:cubicBezTo>
                <a:cubicBezTo>
                  <a:pt x="1400" y="1989"/>
                  <a:pt x="1432" y="1957"/>
                  <a:pt x="1432" y="1909"/>
                </a:cubicBezTo>
                <a:lnTo>
                  <a:pt x="1432" y="1750"/>
                </a:lnTo>
                <a:cubicBezTo>
                  <a:pt x="1432" y="1702"/>
                  <a:pt x="1400" y="1671"/>
                  <a:pt x="1352" y="1671"/>
                </a:cubicBezTo>
                <a:close/>
                <a:moveTo>
                  <a:pt x="3182" y="3341"/>
                </a:moveTo>
                <a:lnTo>
                  <a:pt x="3023" y="3341"/>
                </a:lnTo>
                <a:cubicBezTo>
                  <a:pt x="2975" y="3341"/>
                  <a:pt x="2943" y="3373"/>
                  <a:pt x="2943" y="3421"/>
                </a:cubicBezTo>
                <a:cubicBezTo>
                  <a:pt x="2943" y="3469"/>
                  <a:pt x="2975" y="3500"/>
                  <a:pt x="3023" y="3500"/>
                </a:cubicBezTo>
                <a:lnTo>
                  <a:pt x="3182" y="3500"/>
                </a:lnTo>
                <a:cubicBezTo>
                  <a:pt x="3214" y="3500"/>
                  <a:pt x="3261" y="3469"/>
                  <a:pt x="3261" y="3421"/>
                </a:cubicBezTo>
                <a:cubicBezTo>
                  <a:pt x="3261" y="3373"/>
                  <a:pt x="3214" y="3341"/>
                  <a:pt x="3182" y="3341"/>
                </a:cubicBezTo>
                <a:close/>
                <a:moveTo>
                  <a:pt x="1352" y="2625"/>
                </a:moveTo>
                <a:cubicBezTo>
                  <a:pt x="1305" y="2625"/>
                  <a:pt x="1273" y="2657"/>
                  <a:pt x="1273" y="2705"/>
                </a:cubicBezTo>
                <a:lnTo>
                  <a:pt x="1273" y="2864"/>
                </a:lnTo>
                <a:cubicBezTo>
                  <a:pt x="1273" y="2912"/>
                  <a:pt x="1305" y="2944"/>
                  <a:pt x="1352" y="2944"/>
                </a:cubicBezTo>
                <a:cubicBezTo>
                  <a:pt x="1400" y="2944"/>
                  <a:pt x="1432" y="2912"/>
                  <a:pt x="1432" y="2864"/>
                </a:cubicBezTo>
                <a:lnTo>
                  <a:pt x="1432" y="2705"/>
                </a:lnTo>
                <a:cubicBezTo>
                  <a:pt x="1432" y="2657"/>
                  <a:pt x="1400" y="2625"/>
                  <a:pt x="1352" y="2625"/>
                </a:cubicBezTo>
                <a:close/>
                <a:moveTo>
                  <a:pt x="1750" y="3341"/>
                </a:moveTo>
                <a:lnTo>
                  <a:pt x="1591" y="3341"/>
                </a:lnTo>
                <a:cubicBezTo>
                  <a:pt x="1543" y="3341"/>
                  <a:pt x="1511" y="3373"/>
                  <a:pt x="1511" y="3421"/>
                </a:cubicBezTo>
                <a:cubicBezTo>
                  <a:pt x="1511" y="3469"/>
                  <a:pt x="1543" y="3500"/>
                  <a:pt x="1591" y="3500"/>
                </a:cubicBezTo>
                <a:lnTo>
                  <a:pt x="1750" y="3500"/>
                </a:lnTo>
                <a:cubicBezTo>
                  <a:pt x="1797" y="3500"/>
                  <a:pt x="1830" y="3469"/>
                  <a:pt x="1830" y="3421"/>
                </a:cubicBezTo>
                <a:cubicBezTo>
                  <a:pt x="1830" y="3373"/>
                  <a:pt x="1797" y="3341"/>
                  <a:pt x="1750" y="3341"/>
                </a:cubicBezTo>
                <a:close/>
                <a:moveTo>
                  <a:pt x="2705" y="3341"/>
                </a:moveTo>
                <a:lnTo>
                  <a:pt x="2545" y="3341"/>
                </a:lnTo>
                <a:cubicBezTo>
                  <a:pt x="2498" y="3341"/>
                  <a:pt x="2466" y="3373"/>
                  <a:pt x="2466" y="3421"/>
                </a:cubicBezTo>
                <a:cubicBezTo>
                  <a:pt x="2466" y="3469"/>
                  <a:pt x="2498" y="3500"/>
                  <a:pt x="2545" y="3500"/>
                </a:cubicBezTo>
                <a:lnTo>
                  <a:pt x="2705" y="3500"/>
                </a:lnTo>
                <a:cubicBezTo>
                  <a:pt x="2752" y="3500"/>
                  <a:pt x="2784" y="3469"/>
                  <a:pt x="2784" y="3421"/>
                </a:cubicBezTo>
                <a:cubicBezTo>
                  <a:pt x="2784" y="3373"/>
                  <a:pt x="2752" y="3341"/>
                  <a:pt x="2705" y="3341"/>
                </a:cubicBezTo>
                <a:close/>
                <a:moveTo>
                  <a:pt x="1352" y="3103"/>
                </a:moveTo>
                <a:cubicBezTo>
                  <a:pt x="1305" y="3103"/>
                  <a:pt x="1273" y="3135"/>
                  <a:pt x="1273" y="3182"/>
                </a:cubicBezTo>
                <a:lnTo>
                  <a:pt x="1273" y="3341"/>
                </a:lnTo>
                <a:cubicBezTo>
                  <a:pt x="1273" y="3389"/>
                  <a:pt x="1305" y="3421"/>
                  <a:pt x="1352" y="3421"/>
                </a:cubicBezTo>
                <a:cubicBezTo>
                  <a:pt x="1400" y="3421"/>
                  <a:pt x="1432" y="3389"/>
                  <a:pt x="1432" y="3341"/>
                </a:cubicBezTo>
                <a:lnTo>
                  <a:pt x="1432" y="3182"/>
                </a:lnTo>
                <a:cubicBezTo>
                  <a:pt x="1432" y="3135"/>
                  <a:pt x="1400" y="3103"/>
                  <a:pt x="1352" y="3103"/>
                </a:cubicBezTo>
                <a:close/>
                <a:moveTo>
                  <a:pt x="1352" y="2148"/>
                </a:moveTo>
                <a:cubicBezTo>
                  <a:pt x="1305" y="2148"/>
                  <a:pt x="1273" y="2180"/>
                  <a:pt x="1273" y="2227"/>
                </a:cubicBezTo>
                <a:lnTo>
                  <a:pt x="1273" y="2387"/>
                </a:lnTo>
                <a:cubicBezTo>
                  <a:pt x="1273" y="2435"/>
                  <a:pt x="1305" y="2466"/>
                  <a:pt x="1352" y="2466"/>
                </a:cubicBezTo>
                <a:cubicBezTo>
                  <a:pt x="1400" y="2466"/>
                  <a:pt x="1432" y="2435"/>
                  <a:pt x="1432" y="2387"/>
                </a:cubicBezTo>
                <a:lnTo>
                  <a:pt x="1432" y="2227"/>
                </a:lnTo>
                <a:cubicBezTo>
                  <a:pt x="1432" y="2180"/>
                  <a:pt x="1400" y="2148"/>
                  <a:pt x="1352" y="214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7" name="Freeform: Shape 17">
            <a:extLst>
              <a:ext uri="{FF2B5EF4-FFF2-40B4-BE49-F238E27FC236}">
                <a16:creationId xmlns:a16="http://schemas.microsoft.com/office/drawing/2014/main" id="{E475D370-9EB8-2440-84A8-41B4880004B3}"/>
              </a:ext>
            </a:extLst>
          </p:cNvPr>
          <p:cNvSpPr/>
          <p:nvPr/>
        </p:nvSpPr>
        <p:spPr>
          <a:xfrm>
            <a:off x="10036294" y="3581257"/>
            <a:ext cx="1594800" cy="1334160"/>
          </a:xfrm>
          <a:custGeom>
            <a:avLst/>
            <a:gdLst/>
            <a:ahLst/>
            <a:cxnLst>
              <a:cxn ang="3cd4">
                <a:pos x="hc" y="t"/>
              </a:cxn>
              <a:cxn ang="cd2">
                <a:pos x="l" y="vc"/>
              </a:cxn>
              <a:cxn ang="cd4">
                <a:pos x="hc" y="b"/>
              </a:cxn>
              <a:cxn ang="0">
                <a:pos x="r" y="vc"/>
              </a:cxn>
            </a:cxnLst>
            <a:rect l="l" t="t" r="r" b="b"/>
            <a:pathLst>
              <a:path w="4431" h="3707">
                <a:moveTo>
                  <a:pt x="2704" y="954"/>
                </a:moveTo>
                <a:cubicBezTo>
                  <a:pt x="2975" y="954"/>
                  <a:pt x="3182" y="748"/>
                  <a:pt x="3182" y="477"/>
                </a:cubicBezTo>
                <a:cubicBezTo>
                  <a:pt x="3182" y="206"/>
                  <a:pt x="2975" y="0"/>
                  <a:pt x="2704" y="0"/>
                </a:cubicBezTo>
                <a:cubicBezTo>
                  <a:pt x="2450" y="0"/>
                  <a:pt x="2227" y="206"/>
                  <a:pt x="2227" y="477"/>
                </a:cubicBezTo>
                <a:cubicBezTo>
                  <a:pt x="2227" y="748"/>
                  <a:pt x="2450" y="954"/>
                  <a:pt x="2704" y="954"/>
                </a:cubicBezTo>
                <a:close/>
                <a:moveTo>
                  <a:pt x="2704" y="158"/>
                </a:moveTo>
                <a:cubicBezTo>
                  <a:pt x="2880" y="158"/>
                  <a:pt x="3023" y="302"/>
                  <a:pt x="3023" y="477"/>
                </a:cubicBezTo>
                <a:cubicBezTo>
                  <a:pt x="3023" y="652"/>
                  <a:pt x="2880" y="795"/>
                  <a:pt x="2704" y="795"/>
                </a:cubicBezTo>
                <a:cubicBezTo>
                  <a:pt x="2529" y="795"/>
                  <a:pt x="2386" y="652"/>
                  <a:pt x="2386" y="477"/>
                </a:cubicBezTo>
                <a:cubicBezTo>
                  <a:pt x="2386" y="302"/>
                  <a:pt x="2529" y="158"/>
                  <a:pt x="2704" y="158"/>
                </a:cubicBezTo>
                <a:close/>
                <a:moveTo>
                  <a:pt x="1575" y="1082"/>
                </a:moveTo>
                <a:lnTo>
                  <a:pt x="827" y="2306"/>
                </a:lnTo>
                <a:lnTo>
                  <a:pt x="270" y="2306"/>
                </a:lnTo>
                <a:cubicBezTo>
                  <a:pt x="127" y="2306"/>
                  <a:pt x="0" y="2418"/>
                  <a:pt x="0" y="2561"/>
                </a:cubicBezTo>
                <a:cubicBezTo>
                  <a:pt x="0" y="2863"/>
                  <a:pt x="318" y="3261"/>
                  <a:pt x="589" y="3468"/>
                </a:cubicBezTo>
                <a:cubicBezTo>
                  <a:pt x="477" y="3516"/>
                  <a:pt x="350" y="3548"/>
                  <a:pt x="254" y="3548"/>
                </a:cubicBezTo>
                <a:cubicBezTo>
                  <a:pt x="190" y="3548"/>
                  <a:pt x="143" y="3531"/>
                  <a:pt x="95" y="3531"/>
                </a:cubicBezTo>
                <a:cubicBezTo>
                  <a:pt x="47" y="3516"/>
                  <a:pt x="16" y="3548"/>
                  <a:pt x="16" y="3595"/>
                </a:cubicBezTo>
                <a:cubicBezTo>
                  <a:pt x="0" y="3643"/>
                  <a:pt x="32" y="3675"/>
                  <a:pt x="79" y="3691"/>
                </a:cubicBezTo>
                <a:cubicBezTo>
                  <a:pt x="143" y="3691"/>
                  <a:pt x="190" y="3707"/>
                  <a:pt x="254" y="3707"/>
                </a:cubicBezTo>
                <a:cubicBezTo>
                  <a:pt x="398" y="3707"/>
                  <a:pt x="589" y="3659"/>
                  <a:pt x="747" y="3563"/>
                </a:cubicBezTo>
                <a:cubicBezTo>
                  <a:pt x="890" y="3659"/>
                  <a:pt x="1098" y="3707"/>
                  <a:pt x="1241" y="3707"/>
                </a:cubicBezTo>
                <a:cubicBezTo>
                  <a:pt x="1384" y="3707"/>
                  <a:pt x="1575" y="3659"/>
                  <a:pt x="1734" y="3563"/>
                </a:cubicBezTo>
                <a:cubicBezTo>
                  <a:pt x="1877" y="3659"/>
                  <a:pt x="2084" y="3707"/>
                  <a:pt x="2227" y="3707"/>
                </a:cubicBezTo>
                <a:cubicBezTo>
                  <a:pt x="2371" y="3707"/>
                  <a:pt x="2561" y="3659"/>
                  <a:pt x="2720" y="3563"/>
                </a:cubicBezTo>
                <a:cubicBezTo>
                  <a:pt x="2863" y="3659"/>
                  <a:pt x="3071" y="3707"/>
                  <a:pt x="3214" y="3707"/>
                </a:cubicBezTo>
                <a:cubicBezTo>
                  <a:pt x="3341" y="3707"/>
                  <a:pt x="3548" y="3659"/>
                  <a:pt x="3691" y="3563"/>
                </a:cubicBezTo>
                <a:cubicBezTo>
                  <a:pt x="3850" y="3659"/>
                  <a:pt x="4041" y="3707"/>
                  <a:pt x="4184" y="3707"/>
                </a:cubicBezTo>
                <a:cubicBezTo>
                  <a:pt x="4263" y="3707"/>
                  <a:pt x="4327" y="3691"/>
                  <a:pt x="4375" y="3675"/>
                </a:cubicBezTo>
                <a:cubicBezTo>
                  <a:pt x="4423" y="3659"/>
                  <a:pt x="4439" y="3611"/>
                  <a:pt x="4423" y="3563"/>
                </a:cubicBezTo>
                <a:cubicBezTo>
                  <a:pt x="4423" y="3531"/>
                  <a:pt x="4375" y="3500"/>
                  <a:pt x="4327" y="3516"/>
                </a:cubicBezTo>
                <a:cubicBezTo>
                  <a:pt x="4280" y="3531"/>
                  <a:pt x="4248" y="3548"/>
                  <a:pt x="4184" y="3548"/>
                </a:cubicBezTo>
                <a:cubicBezTo>
                  <a:pt x="4072" y="3548"/>
                  <a:pt x="3866" y="3500"/>
                  <a:pt x="3754" y="3404"/>
                </a:cubicBezTo>
                <a:cubicBezTo>
                  <a:pt x="3723" y="3388"/>
                  <a:pt x="3707" y="3388"/>
                  <a:pt x="3675" y="3388"/>
                </a:cubicBezTo>
                <a:cubicBezTo>
                  <a:pt x="3977" y="3166"/>
                  <a:pt x="4263" y="2895"/>
                  <a:pt x="4391" y="2593"/>
                </a:cubicBezTo>
                <a:cubicBezTo>
                  <a:pt x="4423" y="2545"/>
                  <a:pt x="4454" y="2450"/>
                  <a:pt x="4407" y="2370"/>
                </a:cubicBezTo>
                <a:cubicBezTo>
                  <a:pt x="4359" y="2306"/>
                  <a:pt x="4280" y="2306"/>
                  <a:pt x="4216" y="2306"/>
                </a:cubicBezTo>
                <a:lnTo>
                  <a:pt x="3309" y="2306"/>
                </a:lnTo>
                <a:lnTo>
                  <a:pt x="3532" y="2100"/>
                </a:lnTo>
                <a:cubicBezTo>
                  <a:pt x="3659" y="2131"/>
                  <a:pt x="3802" y="2100"/>
                  <a:pt x="3866" y="1957"/>
                </a:cubicBezTo>
                <a:cubicBezTo>
                  <a:pt x="3945" y="1782"/>
                  <a:pt x="3850" y="1622"/>
                  <a:pt x="3707" y="1559"/>
                </a:cubicBezTo>
                <a:lnTo>
                  <a:pt x="2243" y="859"/>
                </a:lnTo>
                <a:cubicBezTo>
                  <a:pt x="1989" y="731"/>
                  <a:pt x="1750" y="811"/>
                  <a:pt x="1575" y="1082"/>
                </a:cubicBezTo>
                <a:close/>
                <a:moveTo>
                  <a:pt x="1686" y="3404"/>
                </a:moveTo>
                <a:cubicBezTo>
                  <a:pt x="1559" y="3500"/>
                  <a:pt x="1368" y="3548"/>
                  <a:pt x="1241" y="3548"/>
                </a:cubicBezTo>
                <a:cubicBezTo>
                  <a:pt x="1113" y="3548"/>
                  <a:pt x="954" y="3516"/>
                  <a:pt x="827" y="3436"/>
                </a:cubicBezTo>
                <a:lnTo>
                  <a:pt x="795" y="3404"/>
                </a:lnTo>
                <a:cubicBezTo>
                  <a:pt x="779" y="3404"/>
                  <a:pt x="779" y="3388"/>
                  <a:pt x="763" y="3388"/>
                </a:cubicBezTo>
                <a:cubicBezTo>
                  <a:pt x="525" y="3261"/>
                  <a:pt x="159" y="2848"/>
                  <a:pt x="159" y="2561"/>
                </a:cubicBezTo>
                <a:cubicBezTo>
                  <a:pt x="159" y="2513"/>
                  <a:pt x="207" y="2466"/>
                  <a:pt x="270" y="2466"/>
                </a:cubicBezTo>
                <a:lnTo>
                  <a:pt x="859" y="2466"/>
                </a:lnTo>
                <a:lnTo>
                  <a:pt x="875" y="2466"/>
                </a:lnTo>
                <a:lnTo>
                  <a:pt x="890" y="2466"/>
                </a:lnTo>
                <a:lnTo>
                  <a:pt x="2895" y="2466"/>
                </a:lnTo>
                <a:lnTo>
                  <a:pt x="1829" y="3436"/>
                </a:lnTo>
                <a:cubicBezTo>
                  <a:pt x="1814" y="3436"/>
                  <a:pt x="1798" y="3420"/>
                  <a:pt x="1781" y="3404"/>
                </a:cubicBezTo>
                <a:cubicBezTo>
                  <a:pt x="1750" y="3388"/>
                  <a:pt x="1702" y="3388"/>
                  <a:pt x="1686" y="3404"/>
                </a:cubicBezTo>
                <a:close/>
                <a:moveTo>
                  <a:pt x="4216" y="2466"/>
                </a:moveTo>
                <a:lnTo>
                  <a:pt x="4263" y="2466"/>
                </a:lnTo>
                <a:cubicBezTo>
                  <a:pt x="4258" y="2487"/>
                  <a:pt x="4263" y="2497"/>
                  <a:pt x="4248" y="2529"/>
                </a:cubicBezTo>
                <a:cubicBezTo>
                  <a:pt x="4105" y="2879"/>
                  <a:pt x="3675" y="3197"/>
                  <a:pt x="3325" y="3452"/>
                </a:cubicBezTo>
                <a:lnTo>
                  <a:pt x="3245" y="3516"/>
                </a:lnTo>
                <a:cubicBezTo>
                  <a:pt x="3245" y="3531"/>
                  <a:pt x="3229" y="3531"/>
                  <a:pt x="3229" y="3548"/>
                </a:cubicBezTo>
                <a:lnTo>
                  <a:pt x="3214" y="3548"/>
                </a:lnTo>
                <a:cubicBezTo>
                  <a:pt x="3086" y="3548"/>
                  <a:pt x="2895" y="3500"/>
                  <a:pt x="2768" y="3404"/>
                </a:cubicBezTo>
                <a:cubicBezTo>
                  <a:pt x="2736" y="3388"/>
                  <a:pt x="2689" y="3388"/>
                  <a:pt x="2657" y="3404"/>
                </a:cubicBezTo>
                <a:cubicBezTo>
                  <a:pt x="2545" y="3500"/>
                  <a:pt x="2338" y="3548"/>
                  <a:pt x="2227" y="3548"/>
                </a:cubicBezTo>
                <a:cubicBezTo>
                  <a:pt x="2163" y="3548"/>
                  <a:pt x="2068" y="3531"/>
                  <a:pt x="1989" y="3516"/>
                </a:cubicBezTo>
                <a:lnTo>
                  <a:pt x="3134" y="2466"/>
                </a:lnTo>
                <a:close/>
                <a:moveTo>
                  <a:pt x="2275" y="2306"/>
                </a:moveTo>
                <a:lnTo>
                  <a:pt x="2625" y="1734"/>
                </a:lnTo>
                <a:cubicBezTo>
                  <a:pt x="2832" y="1813"/>
                  <a:pt x="3198" y="1957"/>
                  <a:pt x="3357" y="2036"/>
                </a:cubicBezTo>
                <a:lnTo>
                  <a:pt x="3071" y="2306"/>
                </a:lnTo>
                <a:close/>
                <a:moveTo>
                  <a:pt x="3627" y="1702"/>
                </a:moveTo>
                <a:cubicBezTo>
                  <a:pt x="3675" y="1718"/>
                  <a:pt x="3771" y="1797"/>
                  <a:pt x="3723" y="1893"/>
                </a:cubicBezTo>
                <a:cubicBezTo>
                  <a:pt x="3675" y="2004"/>
                  <a:pt x="3585" y="1914"/>
                  <a:pt x="3516" y="1925"/>
                </a:cubicBezTo>
                <a:cubicBezTo>
                  <a:pt x="3436" y="1893"/>
                  <a:pt x="2657" y="1575"/>
                  <a:pt x="2625" y="1559"/>
                </a:cubicBezTo>
                <a:cubicBezTo>
                  <a:pt x="2593" y="1543"/>
                  <a:pt x="2545" y="1559"/>
                  <a:pt x="2529" y="1591"/>
                </a:cubicBezTo>
                <a:lnTo>
                  <a:pt x="2084" y="2306"/>
                </a:lnTo>
                <a:lnTo>
                  <a:pt x="1018" y="2306"/>
                </a:lnTo>
                <a:lnTo>
                  <a:pt x="1718" y="1177"/>
                </a:lnTo>
                <a:cubicBezTo>
                  <a:pt x="1845" y="970"/>
                  <a:pt x="1989" y="906"/>
                  <a:pt x="2180" y="100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8" name="Freeform: Shape 1">
            <a:extLst>
              <a:ext uri="{FF2B5EF4-FFF2-40B4-BE49-F238E27FC236}">
                <a16:creationId xmlns:a16="http://schemas.microsoft.com/office/drawing/2014/main" id="{935CBB46-C478-AF45-A3A3-40AB04AC5A8A}"/>
              </a:ext>
            </a:extLst>
          </p:cNvPr>
          <p:cNvSpPr/>
          <p:nvPr/>
        </p:nvSpPr>
        <p:spPr>
          <a:xfrm>
            <a:off x="5139073" y="9826052"/>
            <a:ext cx="1774800" cy="1379880"/>
          </a:xfrm>
          <a:custGeom>
            <a:avLst/>
            <a:gdLst/>
            <a:ahLst/>
            <a:cxnLst>
              <a:cxn ang="3cd4">
                <a:pos x="hc" y="t"/>
              </a:cxn>
              <a:cxn ang="cd2">
                <a:pos x="l" y="vc"/>
              </a:cxn>
              <a:cxn ang="cd4">
                <a:pos x="hc" y="b"/>
              </a:cxn>
              <a:cxn ang="0">
                <a:pos x="r" y="vc"/>
              </a:cxn>
            </a:cxnLst>
            <a:rect l="l" t="t" r="r" b="b"/>
            <a:pathLst>
              <a:path w="4931" h="3834">
                <a:moveTo>
                  <a:pt x="556" y="3166"/>
                </a:moveTo>
                <a:lnTo>
                  <a:pt x="556" y="2640"/>
                </a:lnTo>
                <a:lnTo>
                  <a:pt x="795" y="2640"/>
                </a:lnTo>
                <a:lnTo>
                  <a:pt x="795" y="2959"/>
                </a:lnTo>
                <a:cubicBezTo>
                  <a:pt x="795" y="3102"/>
                  <a:pt x="938" y="3245"/>
                  <a:pt x="1081" y="3245"/>
                </a:cubicBezTo>
                <a:lnTo>
                  <a:pt x="1336" y="3245"/>
                </a:lnTo>
                <a:lnTo>
                  <a:pt x="1781" y="3754"/>
                </a:lnTo>
                <a:cubicBezTo>
                  <a:pt x="1829" y="3802"/>
                  <a:pt x="1893" y="3834"/>
                  <a:pt x="1972" y="3834"/>
                </a:cubicBezTo>
                <a:lnTo>
                  <a:pt x="3245" y="3834"/>
                </a:lnTo>
                <a:cubicBezTo>
                  <a:pt x="3309" y="3834"/>
                  <a:pt x="3372" y="3802"/>
                  <a:pt x="3420" y="3754"/>
                </a:cubicBezTo>
                <a:lnTo>
                  <a:pt x="4152" y="3006"/>
                </a:lnTo>
                <a:cubicBezTo>
                  <a:pt x="4200" y="2959"/>
                  <a:pt x="4231" y="2895"/>
                  <a:pt x="4231" y="2831"/>
                </a:cubicBezTo>
                <a:lnTo>
                  <a:pt x="4231" y="2640"/>
                </a:lnTo>
                <a:lnTo>
                  <a:pt x="4375" y="2640"/>
                </a:lnTo>
                <a:lnTo>
                  <a:pt x="4375" y="3054"/>
                </a:lnTo>
                <a:cubicBezTo>
                  <a:pt x="4375" y="3102"/>
                  <a:pt x="4406" y="3134"/>
                  <a:pt x="4454" y="3134"/>
                </a:cubicBezTo>
                <a:lnTo>
                  <a:pt x="4852" y="3134"/>
                </a:lnTo>
                <a:cubicBezTo>
                  <a:pt x="4884" y="3134"/>
                  <a:pt x="4931" y="3102"/>
                  <a:pt x="4931" y="3054"/>
                </a:cubicBezTo>
                <a:lnTo>
                  <a:pt x="4931" y="1479"/>
                </a:lnTo>
                <a:cubicBezTo>
                  <a:pt x="4931" y="1431"/>
                  <a:pt x="4884" y="1400"/>
                  <a:pt x="4852" y="1400"/>
                </a:cubicBezTo>
                <a:lnTo>
                  <a:pt x="4454" y="1400"/>
                </a:lnTo>
                <a:cubicBezTo>
                  <a:pt x="4406" y="1400"/>
                  <a:pt x="4375" y="1431"/>
                  <a:pt x="4375" y="1479"/>
                </a:cubicBezTo>
                <a:lnTo>
                  <a:pt x="4375" y="1893"/>
                </a:lnTo>
                <a:lnTo>
                  <a:pt x="4231" y="1893"/>
                </a:lnTo>
                <a:lnTo>
                  <a:pt x="4231" y="1161"/>
                </a:lnTo>
                <a:cubicBezTo>
                  <a:pt x="4231" y="1018"/>
                  <a:pt x="4120" y="891"/>
                  <a:pt x="3977" y="891"/>
                </a:cubicBezTo>
                <a:lnTo>
                  <a:pt x="3038" y="891"/>
                </a:lnTo>
                <a:lnTo>
                  <a:pt x="3038" y="557"/>
                </a:lnTo>
                <a:lnTo>
                  <a:pt x="3452" y="557"/>
                </a:lnTo>
                <a:cubicBezTo>
                  <a:pt x="3500" y="557"/>
                  <a:pt x="3531" y="524"/>
                  <a:pt x="3531" y="477"/>
                </a:cubicBezTo>
                <a:lnTo>
                  <a:pt x="3531" y="79"/>
                </a:lnTo>
                <a:cubicBezTo>
                  <a:pt x="3531" y="31"/>
                  <a:pt x="3500" y="0"/>
                  <a:pt x="3452" y="0"/>
                </a:cubicBezTo>
                <a:lnTo>
                  <a:pt x="2068" y="0"/>
                </a:lnTo>
                <a:cubicBezTo>
                  <a:pt x="2020" y="0"/>
                  <a:pt x="1988" y="31"/>
                  <a:pt x="1988" y="79"/>
                </a:cubicBezTo>
                <a:lnTo>
                  <a:pt x="1988" y="477"/>
                </a:lnTo>
                <a:cubicBezTo>
                  <a:pt x="1988" y="524"/>
                  <a:pt x="2020" y="557"/>
                  <a:pt x="2068" y="557"/>
                </a:cubicBezTo>
                <a:lnTo>
                  <a:pt x="2481" y="557"/>
                </a:lnTo>
                <a:lnTo>
                  <a:pt x="2481" y="891"/>
                </a:lnTo>
                <a:lnTo>
                  <a:pt x="1972" y="891"/>
                </a:lnTo>
                <a:cubicBezTo>
                  <a:pt x="1893" y="891"/>
                  <a:pt x="1829" y="922"/>
                  <a:pt x="1781" y="970"/>
                </a:cubicBezTo>
                <a:lnTo>
                  <a:pt x="1336" y="1495"/>
                </a:lnTo>
                <a:lnTo>
                  <a:pt x="1081" y="1495"/>
                </a:lnTo>
                <a:cubicBezTo>
                  <a:pt x="938" y="1495"/>
                  <a:pt x="795" y="1622"/>
                  <a:pt x="795" y="1766"/>
                </a:cubicBezTo>
                <a:lnTo>
                  <a:pt x="795" y="2084"/>
                </a:lnTo>
                <a:lnTo>
                  <a:pt x="556" y="2084"/>
                </a:lnTo>
                <a:lnTo>
                  <a:pt x="556" y="1575"/>
                </a:lnTo>
                <a:cubicBezTo>
                  <a:pt x="556" y="1527"/>
                  <a:pt x="524" y="1495"/>
                  <a:pt x="477" y="1495"/>
                </a:cubicBezTo>
                <a:lnTo>
                  <a:pt x="79" y="1495"/>
                </a:lnTo>
                <a:cubicBezTo>
                  <a:pt x="31" y="1495"/>
                  <a:pt x="0" y="1527"/>
                  <a:pt x="0" y="1575"/>
                </a:cubicBezTo>
                <a:lnTo>
                  <a:pt x="0" y="3166"/>
                </a:lnTo>
                <a:cubicBezTo>
                  <a:pt x="0" y="3197"/>
                  <a:pt x="31" y="3245"/>
                  <a:pt x="79" y="3245"/>
                </a:cubicBezTo>
                <a:lnTo>
                  <a:pt x="477" y="3245"/>
                </a:lnTo>
                <a:cubicBezTo>
                  <a:pt x="524" y="3245"/>
                  <a:pt x="556" y="3197"/>
                  <a:pt x="556" y="3166"/>
                </a:cubicBezTo>
                <a:close/>
                <a:moveTo>
                  <a:pt x="2561" y="397"/>
                </a:moveTo>
                <a:lnTo>
                  <a:pt x="2147" y="397"/>
                </a:lnTo>
                <a:lnTo>
                  <a:pt x="2147" y="158"/>
                </a:lnTo>
                <a:lnTo>
                  <a:pt x="3372" y="158"/>
                </a:lnTo>
                <a:lnTo>
                  <a:pt x="3372" y="397"/>
                </a:lnTo>
                <a:lnTo>
                  <a:pt x="2959" y="397"/>
                </a:lnTo>
                <a:cubicBezTo>
                  <a:pt x="2911" y="397"/>
                  <a:pt x="2879" y="429"/>
                  <a:pt x="2879" y="477"/>
                </a:cubicBezTo>
                <a:lnTo>
                  <a:pt x="2879" y="891"/>
                </a:lnTo>
                <a:lnTo>
                  <a:pt x="2640" y="891"/>
                </a:lnTo>
                <a:lnTo>
                  <a:pt x="2640" y="477"/>
                </a:lnTo>
                <a:cubicBezTo>
                  <a:pt x="2640" y="429"/>
                  <a:pt x="2609" y="397"/>
                  <a:pt x="2561" y="397"/>
                </a:cubicBezTo>
                <a:close/>
                <a:moveTo>
                  <a:pt x="954" y="1766"/>
                </a:moveTo>
                <a:cubicBezTo>
                  <a:pt x="954" y="1718"/>
                  <a:pt x="1018" y="1654"/>
                  <a:pt x="1081" y="1654"/>
                </a:cubicBezTo>
                <a:lnTo>
                  <a:pt x="1368" y="1654"/>
                </a:lnTo>
                <a:cubicBezTo>
                  <a:pt x="1400" y="1654"/>
                  <a:pt x="1415" y="1638"/>
                  <a:pt x="1431" y="1622"/>
                </a:cubicBezTo>
                <a:lnTo>
                  <a:pt x="1893" y="1081"/>
                </a:lnTo>
                <a:cubicBezTo>
                  <a:pt x="1909" y="1066"/>
                  <a:pt x="1940" y="1049"/>
                  <a:pt x="1972" y="1049"/>
                </a:cubicBezTo>
                <a:lnTo>
                  <a:pt x="3977" y="1049"/>
                </a:lnTo>
                <a:cubicBezTo>
                  <a:pt x="4025" y="1049"/>
                  <a:pt x="4072" y="1097"/>
                  <a:pt x="4072" y="1161"/>
                </a:cubicBezTo>
                <a:lnTo>
                  <a:pt x="4072" y="1972"/>
                </a:lnTo>
                <a:cubicBezTo>
                  <a:pt x="4072" y="2004"/>
                  <a:pt x="4104" y="2052"/>
                  <a:pt x="4152" y="2052"/>
                </a:cubicBezTo>
                <a:lnTo>
                  <a:pt x="4454" y="2052"/>
                </a:lnTo>
                <a:cubicBezTo>
                  <a:pt x="4502" y="2052"/>
                  <a:pt x="4534" y="2004"/>
                  <a:pt x="4534" y="1972"/>
                </a:cubicBezTo>
                <a:lnTo>
                  <a:pt x="4534" y="1543"/>
                </a:lnTo>
                <a:lnTo>
                  <a:pt x="4773" y="1543"/>
                </a:lnTo>
                <a:lnTo>
                  <a:pt x="4773" y="2975"/>
                </a:lnTo>
                <a:lnTo>
                  <a:pt x="4534" y="2975"/>
                </a:lnTo>
                <a:lnTo>
                  <a:pt x="4534" y="2561"/>
                </a:lnTo>
                <a:cubicBezTo>
                  <a:pt x="4534" y="2513"/>
                  <a:pt x="4502" y="2482"/>
                  <a:pt x="4454" y="2482"/>
                </a:cubicBezTo>
                <a:lnTo>
                  <a:pt x="4152" y="2482"/>
                </a:lnTo>
                <a:cubicBezTo>
                  <a:pt x="4104" y="2482"/>
                  <a:pt x="4072" y="2513"/>
                  <a:pt x="4072" y="2561"/>
                </a:cubicBezTo>
                <a:lnTo>
                  <a:pt x="4072" y="2831"/>
                </a:lnTo>
                <a:cubicBezTo>
                  <a:pt x="4072" y="2863"/>
                  <a:pt x="4057" y="2879"/>
                  <a:pt x="4040" y="2895"/>
                </a:cubicBezTo>
                <a:lnTo>
                  <a:pt x="3309" y="3643"/>
                </a:lnTo>
                <a:cubicBezTo>
                  <a:pt x="3293" y="3659"/>
                  <a:pt x="3277" y="3675"/>
                  <a:pt x="3245" y="3675"/>
                </a:cubicBezTo>
                <a:lnTo>
                  <a:pt x="1972" y="3675"/>
                </a:lnTo>
                <a:cubicBezTo>
                  <a:pt x="1940" y="3675"/>
                  <a:pt x="1909" y="3659"/>
                  <a:pt x="1909" y="3643"/>
                </a:cubicBezTo>
                <a:lnTo>
                  <a:pt x="1431" y="3102"/>
                </a:lnTo>
                <a:cubicBezTo>
                  <a:pt x="1415" y="3086"/>
                  <a:pt x="1400" y="3086"/>
                  <a:pt x="1368" y="3086"/>
                </a:cubicBezTo>
                <a:lnTo>
                  <a:pt x="1081" y="3086"/>
                </a:lnTo>
                <a:cubicBezTo>
                  <a:pt x="1018" y="3086"/>
                  <a:pt x="954" y="3022"/>
                  <a:pt x="954" y="2959"/>
                </a:cubicBezTo>
                <a:close/>
                <a:moveTo>
                  <a:pt x="397" y="2561"/>
                </a:moveTo>
                <a:lnTo>
                  <a:pt x="397" y="3086"/>
                </a:lnTo>
                <a:lnTo>
                  <a:pt x="158" y="3086"/>
                </a:lnTo>
                <a:lnTo>
                  <a:pt x="158" y="1654"/>
                </a:lnTo>
                <a:lnTo>
                  <a:pt x="397" y="1654"/>
                </a:lnTo>
                <a:lnTo>
                  <a:pt x="397" y="2163"/>
                </a:lnTo>
                <a:cubicBezTo>
                  <a:pt x="397" y="2211"/>
                  <a:pt x="429" y="2243"/>
                  <a:pt x="477" y="2243"/>
                </a:cubicBezTo>
                <a:lnTo>
                  <a:pt x="795" y="2243"/>
                </a:lnTo>
                <a:lnTo>
                  <a:pt x="795" y="2482"/>
                </a:lnTo>
                <a:lnTo>
                  <a:pt x="477" y="2482"/>
                </a:lnTo>
                <a:cubicBezTo>
                  <a:pt x="429" y="2482"/>
                  <a:pt x="397" y="2513"/>
                  <a:pt x="397" y="2561"/>
                </a:cubicBezTo>
                <a:close/>
                <a:moveTo>
                  <a:pt x="2211" y="2545"/>
                </a:moveTo>
                <a:lnTo>
                  <a:pt x="2561" y="2545"/>
                </a:lnTo>
                <a:lnTo>
                  <a:pt x="2291" y="3325"/>
                </a:lnTo>
                <a:cubicBezTo>
                  <a:pt x="2275" y="3372"/>
                  <a:pt x="2291" y="3404"/>
                  <a:pt x="2322" y="3420"/>
                </a:cubicBezTo>
                <a:cubicBezTo>
                  <a:pt x="2338" y="3436"/>
                  <a:pt x="2354" y="3436"/>
                  <a:pt x="2370" y="3436"/>
                </a:cubicBezTo>
                <a:cubicBezTo>
                  <a:pt x="2386" y="3436"/>
                  <a:pt x="2418" y="3420"/>
                  <a:pt x="2434" y="3404"/>
                </a:cubicBezTo>
                <a:lnTo>
                  <a:pt x="3229" y="2306"/>
                </a:lnTo>
                <a:cubicBezTo>
                  <a:pt x="3245" y="2291"/>
                  <a:pt x="3245" y="2259"/>
                  <a:pt x="3229" y="2227"/>
                </a:cubicBezTo>
                <a:cubicBezTo>
                  <a:pt x="3213" y="2195"/>
                  <a:pt x="3197" y="2179"/>
                  <a:pt x="3166" y="2179"/>
                </a:cubicBezTo>
                <a:lnTo>
                  <a:pt x="2800" y="2179"/>
                </a:lnTo>
                <a:lnTo>
                  <a:pt x="3229" y="1511"/>
                </a:lnTo>
                <a:cubicBezTo>
                  <a:pt x="3245" y="1495"/>
                  <a:pt x="3245" y="1463"/>
                  <a:pt x="3229" y="1431"/>
                </a:cubicBezTo>
                <a:cubicBezTo>
                  <a:pt x="3213" y="1415"/>
                  <a:pt x="3182" y="1400"/>
                  <a:pt x="3166" y="1400"/>
                </a:cubicBezTo>
                <a:lnTo>
                  <a:pt x="2688" y="1400"/>
                </a:lnTo>
                <a:cubicBezTo>
                  <a:pt x="2640" y="1400"/>
                  <a:pt x="2609" y="1415"/>
                  <a:pt x="2577" y="1448"/>
                </a:cubicBezTo>
                <a:lnTo>
                  <a:pt x="2115" y="2386"/>
                </a:lnTo>
                <a:cubicBezTo>
                  <a:pt x="2100" y="2418"/>
                  <a:pt x="2100" y="2466"/>
                  <a:pt x="2115" y="2497"/>
                </a:cubicBezTo>
                <a:cubicBezTo>
                  <a:pt x="2147" y="2529"/>
                  <a:pt x="2179" y="2545"/>
                  <a:pt x="2211" y="2545"/>
                </a:cubicBezTo>
                <a:close/>
                <a:moveTo>
                  <a:pt x="2720" y="1543"/>
                </a:moveTo>
                <a:lnTo>
                  <a:pt x="3022" y="1543"/>
                </a:lnTo>
                <a:lnTo>
                  <a:pt x="2593" y="2227"/>
                </a:lnTo>
                <a:cubicBezTo>
                  <a:pt x="2577" y="2243"/>
                  <a:pt x="2577" y="2275"/>
                  <a:pt x="2593" y="2306"/>
                </a:cubicBezTo>
                <a:cubicBezTo>
                  <a:pt x="2609" y="2322"/>
                  <a:pt x="2640" y="2338"/>
                  <a:pt x="2657" y="2338"/>
                </a:cubicBezTo>
                <a:lnTo>
                  <a:pt x="3006" y="2338"/>
                </a:lnTo>
                <a:lnTo>
                  <a:pt x="2609" y="2895"/>
                </a:lnTo>
                <a:lnTo>
                  <a:pt x="2736" y="2482"/>
                </a:lnTo>
                <a:cubicBezTo>
                  <a:pt x="2752" y="2466"/>
                  <a:pt x="2736" y="2434"/>
                  <a:pt x="2736" y="2418"/>
                </a:cubicBezTo>
                <a:cubicBezTo>
                  <a:pt x="2720" y="2402"/>
                  <a:pt x="2688" y="2386"/>
                  <a:pt x="2657" y="2386"/>
                </a:cubicBezTo>
                <a:lnTo>
                  <a:pt x="2291" y="238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16918107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Transportation / Buildings - 5</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33" name="TextBox 32">
            <a:extLst>
              <a:ext uri="{FF2B5EF4-FFF2-40B4-BE49-F238E27FC236}">
                <a16:creationId xmlns:a16="http://schemas.microsoft.com/office/drawing/2014/main" id="{C1B62716-5EDA-6641-83DD-1EB2326DD0EC}"/>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iston</a:t>
            </a:r>
          </a:p>
        </p:txBody>
      </p:sp>
      <p:sp>
        <p:nvSpPr>
          <p:cNvPr id="34" name="TextBox 33">
            <a:extLst>
              <a:ext uri="{FF2B5EF4-FFF2-40B4-BE49-F238E27FC236}">
                <a16:creationId xmlns:a16="http://schemas.microsoft.com/office/drawing/2014/main" id="{A082AF1A-203E-9D45-8464-5E3F946C481D}"/>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parkplug</a:t>
            </a:r>
          </a:p>
        </p:txBody>
      </p:sp>
      <p:sp>
        <p:nvSpPr>
          <p:cNvPr id="35" name="TextBox 34">
            <a:extLst>
              <a:ext uri="{FF2B5EF4-FFF2-40B4-BE49-F238E27FC236}">
                <a16:creationId xmlns:a16="http://schemas.microsoft.com/office/drawing/2014/main" id="{382BBF21-8ABC-2849-BF17-00D58CF14112}"/>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ire</a:t>
            </a:r>
          </a:p>
        </p:txBody>
      </p:sp>
      <p:sp>
        <p:nvSpPr>
          <p:cNvPr id="36" name="TextBox 35">
            <a:extLst>
              <a:ext uri="{FF2B5EF4-FFF2-40B4-BE49-F238E27FC236}">
                <a16:creationId xmlns:a16="http://schemas.microsoft.com/office/drawing/2014/main" id="{39064611-2BA0-6547-B0F6-19CA4BE7A13C}"/>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atbelt</a:t>
            </a:r>
          </a:p>
        </p:txBody>
      </p:sp>
      <p:sp>
        <p:nvSpPr>
          <p:cNvPr id="37" name="TextBox 36">
            <a:extLst>
              <a:ext uri="{FF2B5EF4-FFF2-40B4-BE49-F238E27FC236}">
                <a16:creationId xmlns:a16="http://schemas.microsoft.com/office/drawing/2014/main" id="{CC81CE01-7136-D145-B7AE-4A76856C8B83}"/>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lanet</a:t>
            </a:r>
          </a:p>
        </p:txBody>
      </p:sp>
      <p:sp>
        <p:nvSpPr>
          <p:cNvPr id="38" name="TextBox 37">
            <a:extLst>
              <a:ext uri="{FF2B5EF4-FFF2-40B4-BE49-F238E27FC236}">
                <a16:creationId xmlns:a16="http://schemas.microsoft.com/office/drawing/2014/main" id="{31A7E842-7B2A-C74B-9126-923AA1F0E665}"/>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paceman</a:t>
            </a:r>
          </a:p>
        </p:txBody>
      </p:sp>
      <p:sp>
        <p:nvSpPr>
          <p:cNvPr id="39" name="TextBox 38">
            <a:extLst>
              <a:ext uri="{FF2B5EF4-FFF2-40B4-BE49-F238E27FC236}">
                <a16:creationId xmlns:a16="http://schemas.microsoft.com/office/drawing/2014/main" id="{897A17A1-8F3C-4447-9C93-CFBC6E320D56}"/>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ish</a:t>
            </a:r>
          </a:p>
        </p:txBody>
      </p:sp>
      <p:sp>
        <p:nvSpPr>
          <p:cNvPr id="40" name="TextBox 39">
            <a:extLst>
              <a:ext uri="{FF2B5EF4-FFF2-40B4-BE49-F238E27FC236}">
                <a16:creationId xmlns:a16="http://schemas.microsoft.com/office/drawing/2014/main" id="{BA53D0A5-FC4D-3441-8C48-E069C7F49D7F}"/>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ompass 1</a:t>
            </a:r>
          </a:p>
        </p:txBody>
      </p:sp>
      <p:sp>
        <p:nvSpPr>
          <p:cNvPr id="41" name="TextBox 40">
            <a:extLst>
              <a:ext uri="{FF2B5EF4-FFF2-40B4-BE49-F238E27FC236}">
                <a16:creationId xmlns:a16="http://schemas.microsoft.com/office/drawing/2014/main" id="{A120E3F8-B1A8-304C-9A7F-E41F2D3DCCE2}"/>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ompass 2</a:t>
            </a:r>
          </a:p>
        </p:txBody>
      </p:sp>
      <p:sp>
        <p:nvSpPr>
          <p:cNvPr id="42" name="TextBox 41">
            <a:extLst>
              <a:ext uri="{FF2B5EF4-FFF2-40B4-BE49-F238E27FC236}">
                <a16:creationId xmlns:a16="http://schemas.microsoft.com/office/drawing/2014/main" id="{3F5D7A13-5D1A-A043-8C72-0158AC48AE6B}"/>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urn</a:t>
            </a:r>
          </a:p>
        </p:txBody>
      </p:sp>
      <p:sp>
        <p:nvSpPr>
          <p:cNvPr id="63" name="TextBox 62">
            <a:extLst>
              <a:ext uri="{FF2B5EF4-FFF2-40B4-BE49-F238E27FC236}">
                <a16:creationId xmlns:a16="http://schemas.microsoft.com/office/drawing/2014/main" id="{F2D6648D-7189-1C45-B413-AE13FBB2C9C3}"/>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plit</a:t>
            </a:r>
          </a:p>
        </p:txBody>
      </p:sp>
      <p:sp>
        <p:nvSpPr>
          <p:cNvPr id="64" name="TextBox 63">
            <a:extLst>
              <a:ext uri="{FF2B5EF4-FFF2-40B4-BE49-F238E27FC236}">
                <a16:creationId xmlns:a16="http://schemas.microsoft.com/office/drawing/2014/main" id="{97700026-A3CF-414F-BCFA-EB984E893A17}"/>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ocation X</a:t>
            </a:r>
          </a:p>
        </p:txBody>
      </p:sp>
      <p:sp>
        <p:nvSpPr>
          <p:cNvPr id="65" name="TextBox 64">
            <a:extLst>
              <a:ext uri="{FF2B5EF4-FFF2-40B4-BE49-F238E27FC236}">
                <a16:creationId xmlns:a16="http://schemas.microsoft.com/office/drawing/2014/main" id="{D97FD02D-A6CB-5F48-88D6-62CDCA94A5B3}"/>
              </a:ext>
            </a:extLst>
          </p:cNvPr>
          <p:cNvSpPr txBox="1"/>
          <p:nvPr/>
        </p:nvSpPr>
        <p:spPr>
          <a:xfrm>
            <a:off x="9013116"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ocation Star</a:t>
            </a:r>
          </a:p>
        </p:txBody>
      </p:sp>
      <p:sp>
        <p:nvSpPr>
          <p:cNvPr id="66" name="TextBox 65">
            <a:extLst>
              <a:ext uri="{FF2B5EF4-FFF2-40B4-BE49-F238E27FC236}">
                <a16:creationId xmlns:a16="http://schemas.microsoft.com/office/drawing/2014/main" id="{987F62F0-5133-4846-A11D-6F5AE5A23C99}"/>
              </a:ext>
            </a:extLst>
          </p:cNvPr>
          <p:cNvSpPr txBox="1"/>
          <p:nvPr/>
        </p:nvSpPr>
        <p:spPr>
          <a:xfrm>
            <a:off x="16311124"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ocation 3</a:t>
            </a:r>
          </a:p>
        </p:txBody>
      </p:sp>
      <p:sp>
        <p:nvSpPr>
          <p:cNvPr id="67" name="Freeform: Shape 26">
            <a:extLst>
              <a:ext uri="{FF2B5EF4-FFF2-40B4-BE49-F238E27FC236}">
                <a16:creationId xmlns:a16="http://schemas.microsoft.com/office/drawing/2014/main" id="{FA482CAB-D54A-9D4D-B079-3A775562D967}"/>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8" name="TextBox 67">
            <a:extLst>
              <a:ext uri="{FF2B5EF4-FFF2-40B4-BE49-F238E27FC236}">
                <a16:creationId xmlns:a16="http://schemas.microsoft.com/office/drawing/2014/main" id="{8BF70E94-1A18-FB4E-9E5B-C8603D7BC3A3}"/>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rive</a:t>
            </a:r>
          </a:p>
        </p:txBody>
      </p:sp>
      <p:sp>
        <p:nvSpPr>
          <p:cNvPr id="69" name="TextBox 68">
            <a:extLst>
              <a:ext uri="{FF2B5EF4-FFF2-40B4-BE49-F238E27FC236}">
                <a16:creationId xmlns:a16="http://schemas.microsoft.com/office/drawing/2014/main" id="{97A33D8C-77D2-D945-B2F1-4EFB4E749CC8}"/>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rget</a:t>
            </a:r>
          </a:p>
        </p:txBody>
      </p:sp>
      <p:sp>
        <p:nvSpPr>
          <p:cNvPr id="70" name="TextBox 69">
            <a:extLst>
              <a:ext uri="{FF2B5EF4-FFF2-40B4-BE49-F238E27FC236}">
                <a16:creationId xmlns:a16="http://schemas.microsoft.com/office/drawing/2014/main" id="{9BC620FA-93AC-7C4E-92B4-87664EBBD01F}"/>
              </a:ext>
            </a:extLst>
          </p:cNvPr>
          <p:cNvSpPr txBox="1"/>
          <p:nvPr/>
        </p:nvSpPr>
        <p:spPr>
          <a:xfrm>
            <a:off x="12952936"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ocation 2</a:t>
            </a:r>
          </a:p>
        </p:txBody>
      </p:sp>
      <p:sp>
        <p:nvSpPr>
          <p:cNvPr id="71" name="Freeform: Shape 13">
            <a:extLst>
              <a:ext uri="{FF2B5EF4-FFF2-40B4-BE49-F238E27FC236}">
                <a16:creationId xmlns:a16="http://schemas.microsoft.com/office/drawing/2014/main" id="{4707BEC4-252B-4446-A227-EA947926A89D}"/>
              </a:ext>
            </a:extLst>
          </p:cNvPr>
          <p:cNvSpPr/>
          <p:nvPr/>
        </p:nvSpPr>
        <p:spPr>
          <a:xfrm>
            <a:off x="2283649" y="3606611"/>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2" name="Freeform: Shape 1">
            <a:extLst>
              <a:ext uri="{FF2B5EF4-FFF2-40B4-BE49-F238E27FC236}">
                <a16:creationId xmlns:a16="http://schemas.microsoft.com/office/drawing/2014/main" id="{427394CB-D881-C54F-B709-EE8F374C7A2D}"/>
              </a:ext>
            </a:extLst>
          </p:cNvPr>
          <p:cNvSpPr/>
          <p:nvPr/>
        </p:nvSpPr>
        <p:spPr>
          <a:xfrm>
            <a:off x="1909537" y="6573033"/>
            <a:ext cx="1437119" cy="1557719"/>
          </a:xfrm>
          <a:custGeom>
            <a:avLst/>
            <a:gdLst/>
            <a:ahLst/>
            <a:cxnLst>
              <a:cxn ang="3cd4">
                <a:pos x="hc" y="t"/>
              </a:cxn>
              <a:cxn ang="cd2">
                <a:pos x="l" y="vc"/>
              </a:cxn>
              <a:cxn ang="cd4">
                <a:pos x="hc" y="b"/>
              </a:cxn>
              <a:cxn ang="0">
                <a:pos x="r" y="vc"/>
              </a:cxn>
            </a:cxnLst>
            <a:rect l="l" t="t" r="r" b="b"/>
            <a:pathLst>
              <a:path w="3993" h="4328">
                <a:moveTo>
                  <a:pt x="2291" y="1273"/>
                </a:moveTo>
                <a:lnTo>
                  <a:pt x="2704" y="1273"/>
                </a:lnTo>
                <a:cubicBezTo>
                  <a:pt x="2848" y="1273"/>
                  <a:pt x="2848" y="1417"/>
                  <a:pt x="2848" y="1464"/>
                </a:cubicBezTo>
                <a:cubicBezTo>
                  <a:pt x="2848" y="1512"/>
                  <a:pt x="2895" y="1544"/>
                  <a:pt x="2927" y="1544"/>
                </a:cubicBezTo>
                <a:cubicBezTo>
                  <a:pt x="2975" y="1544"/>
                  <a:pt x="3007" y="1512"/>
                  <a:pt x="3007" y="1464"/>
                </a:cubicBezTo>
                <a:cubicBezTo>
                  <a:pt x="3007" y="1257"/>
                  <a:pt x="2895" y="1130"/>
                  <a:pt x="2721" y="1114"/>
                </a:cubicBezTo>
                <a:lnTo>
                  <a:pt x="2704" y="1114"/>
                </a:lnTo>
                <a:lnTo>
                  <a:pt x="2291" y="1114"/>
                </a:lnTo>
                <a:cubicBezTo>
                  <a:pt x="2243" y="1114"/>
                  <a:pt x="2212" y="1162"/>
                  <a:pt x="2212" y="1194"/>
                </a:cubicBezTo>
                <a:cubicBezTo>
                  <a:pt x="2212" y="1242"/>
                  <a:pt x="2243" y="1273"/>
                  <a:pt x="2291" y="1273"/>
                </a:cubicBezTo>
                <a:close/>
                <a:moveTo>
                  <a:pt x="3914" y="4328"/>
                </a:moveTo>
                <a:cubicBezTo>
                  <a:pt x="3961" y="4328"/>
                  <a:pt x="3993" y="4296"/>
                  <a:pt x="3993" y="4249"/>
                </a:cubicBezTo>
                <a:lnTo>
                  <a:pt x="3993" y="2833"/>
                </a:lnTo>
                <a:cubicBezTo>
                  <a:pt x="3993" y="2435"/>
                  <a:pt x="3659" y="2085"/>
                  <a:pt x="3246" y="2037"/>
                </a:cubicBezTo>
                <a:cubicBezTo>
                  <a:pt x="3261" y="2005"/>
                  <a:pt x="3277" y="1990"/>
                  <a:pt x="3277" y="1958"/>
                </a:cubicBezTo>
                <a:cubicBezTo>
                  <a:pt x="3293" y="1973"/>
                  <a:pt x="3325" y="1990"/>
                  <a:pt x="3357" y="1990"/>
                </a:cubicBezTo>
                <a:lnTo>
                  <a:pt x="3627" y="1990"/>
                </a:lnTo>
                <a:cubicBezTo>
                  <a:pt x="3675" y="1990"/>
                  <a:pt x="3707" y="1958"/>
                  <a:pt x="3707" y="1910"/>
                </a:cubicBezTo>
                <a:lnTo>
                  <a:pt x="3707" y="1703"/>
                </a:lnTo>
                <a:lnTo>
                  <a:pt x="3707" y="923"/>
                </a:lnTo>
                <a:lnTo>
                  <a:pt x="3707" y="557"/>
                </a:lnTo>
                <a:cubicBezTo>
                  <a:pt x="3707" y="526"/>
                  <a:pt x="3675" y="478"/>
                  <a:pt x="3627" y="478"/>
                </a:cubicBezTo>
                <a:cubicBezTo>
                  <a:pt x="3595" y="478"/>
                  <a:pt x="3548" y="526"/>
                  <a:pt x="3548" y="557"/>
                </a:cubicBezTo>
                <a:lnTo>
                  <a:pt x="3548" y="844"/>
                </a:lnTo>
                <a:lnTo>
                  <a:pt x="3357" y="844"/>
                </a:lnTo>
                <a:cubicBezTo>
                  <a:pt x="3325" y="844"/>
                  <a:pt x="3309" y="844"/>
                  <a:pt x="3293" y="860"/>
                </a:cubicBezTo>
                <a:cubicBezTo>
                  <a:pt x="3086" y="351"/>
                  <a:pt x="2577" y="0"/>
                  <a:pt x="2004" y="0"/>
                </a:cubicBezTo>
                <a:cubicBezTo>
                  <a:pt x="1416" y="0"/>
                  <a:pt x="922" y="351"/>
                  <a:pt x="700" y="860"/>
                </a:cubicBezTo>
                <a:cubicBezTo>
                  <a:pt x="700" y="844"/>
                  <a:pt x="668" y="844"/>
                  <a:pt x="652" y="844"/>
                </a:cubicBezTo>
                <a:lnTo>
                  <a:pt x="366" y="844"/>
                </a:lnTo>
                <a:cubicBezTo>
                  <a:pt x="318" y="844"/>
                  <a:pt x="286" y="876"/>
                  <a:pt x="286" y="923"/>
                </a:cubicBezTo>
                <a:lnTo>
                  <a:pt x="286" y="1910"/>
                </a:lnTo>
                <a:cubicBezTo>
                  <a:pt x="286" y="1958"/>
                  <a:pt x="318" y="1990"/>
                  <a:pt x="366" y="1990"/>
                </a:cubicBezTo>
                <a:lnTo>
                  <a:pt x="652" y="1990"/>
                </a:lnTo>
                <a:cubicBezTo>
                  <a:pt x="684" y="1990"/>
                  <a:pt x="700" y="1973"/>
                  <a:pt x="716" y="1958"/>
                </a:cubicBezTo>
                <a:cubicBezTo>
                  <a:pt x="731" y="1990"/>
                  <a:pt x="748" y="2005"/>
                  <a:pt x="748" y="2037"/>
                </a:cubicBezTo>
                <a:cubicBezTo>
                  <a:pt x="350" y="2085"/>
                  <a:pt x="0" y="2435"/>
                  <a:pt x="0" y="2833"/>
                </a:cubicBezTo>
                <a:lnTo>
                  <a:pt x="0" y="4249"/>
                </a:lnTo>
                <a:cubicBezTo>
                  <a:pt x="0" y="4296"/>
                  <a:pt x="48" y="4328"/>
                  <a:pt x="79" y="4328"/>
                </a:cubicBezTo>
                <a:cubicBezTo>
                  <a:pt x="127" y="4328"/>
                  <a:pt x="159" y="4296"/>
                  <a:pt x="159" y="4249"/>
                </a:cubicBezTo>
                <a:lnTo>
                  <a:pt x="159" y="2833"/>
                </a:lnTo>
                <a:cubicBezTo>
                  <a:pt x="159" y="2530"/>
                  <a:pt x="413" y="2260"/>
                  <a:pt x="716" y="2196"/>
                </a:cubicBezTo>
                <a:lnTo>
                  <a:pt x="716" y="2721"/>
                </a:lnTo>
                <a:cubicBezTo>
                  <a:pt x="716" y="2737"/>
                  <a:pt x="716" y="2753"/>
                  <a:pt x="731" y="2769"/>
                </a:cubicBezTo>
                <a:cubicBezTo>
                  <a:pt x="922" y="3055"/>
                  <a:pt x="1304" y="3230"/>
                  <a:pt x="1798" y="3262"/>
                </a:cubicBezTo>
                <a:cubicBezTo>
                  <a:pt x="1845" y="3278"/>
                  <a:pt x="1893" y="3278"/>
                  <a:pt x="1957" y="3278"/>
                </a:cubicBezTo>
                <a:cubicBezTo>
                  <a:pt x="2482" y="3278"/>
                  <a:pt x="2991" y="3087"/>
                  <a:pt x="3261" y="2785"/>
                </a:cubicBezTo>
                <a:cubicBezTo>
                  <a:pt x="3277" y="2769"/>
                  <a:pt x="3293" y="2753"/>
                  <a:pt x="3293" y="2721"/>
                </a:cubicBezTo>
                <a:lnTo>
                  <a:pt x="3293" y="2196"/>
                </a:lnTo>
                <a:cubicBezTo>
                  <a:pt x="3595" y="2260"/>
                  <a:pt x="3834" y="2530"/>
                  <a:pt x="3834" y="2833"/>
                </a:cubicBezTo>
                <a:lnTo>
                  <a:pt x="3834" y="4249"/>
                </a:lnTo>
                <a:cubicBezTo>
                  <a:pt x="3834" y="4296"/>
                  <a:pt x="3882" y="4328"/>
                  <a:pt x="3914" y="4328"/>
                </a:cubicBezTo>
                <a:close/>
                <a:moveTo>
                  <a:pt x="764" y="1401"/>
                </a:moveTo>
                <a:lnTo>
                  <a:pt x="764" y="1226"/>
                </a:lnTo>
                <a:cubicBezTo>
                  <a:pt x="843" y="1019"/>
                  <a:pt x="1050" y="860"/>
                  <a:pt x="1288" y="860"/>
                </a:cubicBezTo>
                <a:lnTo>
                  <a:pt x="2704" y="860"/>
                </a:lnTo>
                <a:cubicBezTo>
                  <a:pt x="2959" y="860"/>
                  <a:pt x="3182" y="1035"/>
                  <a:pt x="3230" y="1257"/>
                </a:cubicBezTo>
                <a:cubicBezTo>
                  <a:pt x="3246" y="1305"/>
                  <a:pt x="3246" y="1353"/>
                  <a:pt x="3246" y="1401"/>
                </a:cubicBezTo>
                <a:cubicBezTo>
                  <a:pt x="3246" y="2085"/>
                  <a:pt x="2689" y="2642"/>
                  <a:pt x="2004" y="2642"/>
                </a:cubicBezTo>
                <a:cubicBezTo>
                  <a:pt x="1321" y="2642"/>
                  <a:pt x="764" y="2085"/>
                  <a:pt x="764" y="1401"/>
                </a:cubicBezTo>
                <a:close/>
                <a:moveTo>
                  <a:pt x="3436" y="1003"/>
                </a:moveTo>
                <a:lnTo>
                  <a:pt x="3548" y="1003"/>
                </a:lnTo>
                <a:lnTo>
                  <a:pt x="3548" y="1703"/>
                </a:lnTo>
                <a:lnTo>
                  <a:pt x="3548" y="1830"/>
                </a:lnTo>
                <a:lnTo>
                  <a:pt x="3436" y="1830"/>
                </a:lnTo>
                <a:close/>
                <a:moveTo>
                  <a:pt x="2004" y="160"/>
                </a:moveTo>
                <a:cubicBezTo>
                  <a:pt x="2482" y="160"/>
                  <a:pt x="2895" y="414"/>
                  <a:pt x="3102" y="812"/>
                </a:cubicBezTo>
                <a:cubicBezTo>
                  <a:pt x="2991" y="733"/>
                  <a:pt x="2848" y="700"/>
                  <a:pt x="2704" y="700"/>
                </a:cubicBezTo>
                <a:lnTo>
                  <a:pt x="1288" y="700"/>
                </a:lnTo>
                <a:cubicBezTo>
                  <a:pt x="1145" y="700"/>
                  <a:pt x="1018" y="733"/>
                  <a:pt x="907" y="812"/>
                </a:cubicBezTo>
                <a:cubicBezTo>
                  <a:pt x="1113" y="414"/>
                  <a:pt x="1527" y="160"/>
                  <a:pt x="2004" y="160"/>
                </a:cubicBezTo>
                <a:close/>
                <a:moveTo>
                  <a:pt x="573" y="1830"/>
                </a:moveTo>
                <a:lnTo>
                  <a:pt x="445" y="1830"/>
                </a:lnTo>
                <a:lnTo>
                  <a:pt x="445" y="1003"/>
                </a:lnTo>
                <a:lnTo>
                  <a:pt x="573" y="1003"/>
                </a:lnTo>
                <a:close/>
                <a:moveTo>
                  <a:pt x="1798" y="3103"/>
                </a:moveTo>
                <a:cubicBezTo>
                  <a:pt x="1384" y="3087"/>
                  <a:pt x="1050" y="2928"/>
                  <a:pt x="875" y="2705"/>
                </a:cubicBezTo>
                <a:lnTo>
                  <a:pt x="875" y="2228"/>
                </a:lnTo>
                <a:cubicBezTo>
                  <a:pt x="1130" y="2578"/>
                  <a:pt x="1543" y="2801"/>
                  <a:pt x="2004" y="2801"/>
                </a:cubicBezTo>
                <a:cubicBezTo>
                  <a:pt x="2466" y="2801"/>
                  <a:pt x="2879" y="2578"/>
                  <a:pt x="3134" y="2228"/>
                </a:cubicBezTo>
                <a:lnTo>
                  <a:pt x="3134" y="2690"/>
                </a:lnTo>
                <a:cubicBezTo>
                  <a:pt x="2848" y="2992"/>
                  <a:pt x="2339" y="3151"/>
                  <a:pt x="1798" y="3103"/>
                </a:cubicBezTo>
                <a:close/>
                <a:moveTo>
                  <a:pt x="1193" y="3708"/>
                </a:moveTo>
                <a:cubicBezTo>
                  <a:pt x="1193" y="3469"/>
                  <a:pt x="1002" y="3262"/>
                  <a:pt x="764" y="3262"/>
                </a:cubicBezTo>
                <a:cubicBezTo>
                  <a:pt x="525" y="3262"/>
                  <a:pt x="318" y="3469"/>
                  <a:pt x="318" y="3708"/>
                </a:cubicBezTo>
                <a:cubicBezTo>
                  <a:pt x="318" y="3946"/>
                  <a:pt x="525" y="4137"/>
                  <a:pt x="764" y="4137"/>
                </a:cubicBezTo>
                <a:cubicBezTo>
                  <a:pt x="1002" y="4137"/>
                  <a:pt x="1193" y="3946"/>
                  <a:pt x="1193" y="3708"/>
                </a:cubicBezTo>
                <a:close/>
                <a:moveTo>
                  <a:pt x="477" y="3708"/>
                </a:moveTo>
                <a:cubicBezTo>
                  <a:pt x="477" y="3549"/>
                  <a:pt x="604" y="3421"/>
                  <a:pt x="764" y="3421"/>
                </a:cubicBezTo>
                <a:cubicBezTo>
                  <a:pt x="907" y="3421"/>
                  <a:pt x="1034" y="3549"/>
                  <a:pt x="1034" y="3708"/>
                </a:cubicBezTo>
                <a:cubicBezTo>
                  <a:pt x="1034" y="3851"/>
                  <a:pt x="907" y="3978"/>
                  <a:pt x="764" y="3978"/>
                </a:cubicBezTo>
                <a:cubicBezTo>
                  <a:pt x="604" y="3978"/>
                  <a:pt x="477" y="3851"/>
                  <a:pt x="477" y="3708"/>
                </a:cubicBezTo>
                <a:close/>
                <a:moveTo>
                  <a:pt x="3277" y="3692"/>
                </a:moveTo>
                <a:cubicBezTo>
                  <a:pt x="3325" y="3692"/>
                  <a:pt x="3357" y="3660"/>
                  <a:pt x="3357" y="3612"/>
                </a:cubicBezTo>
                <a:cubicBezTo>
                  <a:pt x="3357" y="3564"/>
                  <a:pt x="3325" y="3533"/>
                  <a:pt x="3277" y="3533"/>
                </a:cubicBezTo>
                <a:lnTo>
                  <a:pt x="2577" y="3533"/>
                </a:lnTo>
                <a:cubicBezTo>
                  <a:pt x="2530" y="3533"/>
                  <a:pt x="2498" y="3564"/>
                  <a:pt x="2498" y="3612"/>
                </a:cubicBezTo>
                <a:cubicBezTo>
                  <a:pt x="2498" y="3660"/>
                  <a:pt x="2530" y="3692"/>
                  <a:pt x="2577" y="369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3" name="Freeform: Shape 2">
            <a:extLst>
              <a:ext uri="{FF2B5EF4-FFF2-40B4-BE49-F238E27FC236}">
                <a16:creationId xmlns:a16="http://schemas.microsoft.com/office/drawing/2014/main" id="{D0C9DAF3-9BBB-A24B-BC84-6E56D9BDA666}"/>
              </a:ext>
            </a:extLst>
          </p:cNvPr>
          <p:cNvSpPr/>
          <p:nvPr/>
        </p:nvSpPr>
        <p:spPr>
          <a:xfrm>
            <a:off x="6118776" y="6407666"/>
            <a:ext cx="1106280" cy="1726560"/>
          </a:xfrm>
          <a:custGeom>
            <a:avLst/>
            <a:gdLst/>
            <a:ahLst/>
            <a:cxnLst>
              <a:cxn ang="3cd4">
                <a:pos x="hc" y="t"/>
              </a:cxn>
              <a:cxn ang="cd2">
                <a:pos x="l" y="vc"/>
              </a:cxn>
              <a:cxn ang="cd4">
                <a:pos x="hc" y="b"/>
              </a:cxn>
              <a:cxn ang="0">
                <a:pos x="r" y="vc"/>
              </a:cxn>
            </a:cxnLst>
            <a:rect l="l" t="t" r="r" b="b"/>
            <a:pathLst>
              <a:path w="3074" h="4797">
                <a:moveTo>
                  <a:pt x="807" y="2283"/>
                </a:moveTo>
                <a:cubicBezTo>
                  <a:pt x="11" y="4701"/>
                  <a:pt x="11" y="4701"/>
                  <a:pt x="11" y="4701"/>
                </a:cubicBezTo>
                <a:cubicBezTo>
                  <a:pt x="-4" y="4717"/>
                  <a:pt x="-4" y="4749"/>
                  <a:pt x="11" y="4765"/>
                </a:cubicBezTo>
                <a:cubicBezTo>
                  <a:pt x="27" y="4797"/>
                  <a:pt x="59" y="4797"/>
                  <a:pt x="75" y="4797"/>
                </a:cubicBezTo>
                <a:cubicBezTo>
                  <a:pt x="2859" y="4797"/>
                  <a:pt x="2859" y="4797"/>
                  <a:pt x="2859" y="4797"/>
                </a:cubicBezTo>
                <a:cubicBezTo>
                  <a:pt x="2891" y="4797"/>
                  <a:pt x="2907" y="4797"/>
                  <a:pt x="2923" y="4765"/>
                </a:cubicBezTo>
                <a:cubicBezTo>
                  <a:pt x="2939" y="4749"/>
                  <a:pt x="2939" y="4717"/>
                  <a:pt x="2939" y="4701"/>
                </a:cubicBezTo>
                <a:cubicBezTo>
                  <a:pt x="2350" y="2649"/>
                  <a:pt x="2350" y="2649"/>
                  <a:pt x="2350" y="2649"/>
                </a:cubicBezTo>
                <a:cubicBezTo>
                  <a:pt x="2621" y="2569"/>
                  <a:pt x="2859" y="2442"/>
                  <a:pt x="3050" y="2251"/>
                </a:cubicBezTo>
                <a:cubicBezTo>
                  <a:pt x="3082" y="2219"/>
                  <a:pt x="3082" y="2172"/>
                  <a:pt x="3050" y="2140"/>
                </a:cubicBezTo>
                <a:cubicBezTo>
                  <a:pt x="2112" y="1201"/>
                  <a:pt x="2112" y="1201"/>
                  <a:pt x="2112" y="1201"/>
                </a:cubicBezTo>
                <a:cubicBezTo>
                  <a:pt x="2127" y="1201"/>
                  <a:pt x="2127" y="1201"/>
                  <a:pt x="2127" y="1201"/>
                </a:cubicBezTo>
                <a:cubicBezTo>
                  <a:pt x="2700" y="628"/>
                  <a:pt x="2700" y="628"/>
                  <a:pt x="2700" y="628"/>
                </a:cubicBezTo>
                <a:cubicBezTo>
                  <a:pt x="2732" y="628"/>
                  <a:pt x="2764" y="628"/>
                  <a:pt x="2780" y="628"/>
                </a:cubicBezTo>
                <a:cubicBezTo>
                  <a:pt x="2827" y="628"/>
                  <a:pt x="2875" y="612"/>
                  <a:pt x="2923" y="581"/>
                </a:cubicBezTo>
                <a:cubicBezTo>
                  <a:pt x="3003" y="501"/>
                  <a:pt x="3003" y="373"/>
                  <a:pt x="2923" y="294"/>
                </a:cubicBezTo>
                <a:cubicBezTo>
                  <a:pt x="2875" y="262"/>
                  <a:pt x="2827" y="230"/>
                  <a:pt x="2780" y="230"/>
                </a:cubicBezTo>
                <a:cubicBezTo>
                  <a:pt x="2732" y="230"/>
                  <a:pt x="2684" y="262"/>
                  <a:pt x="2637" y="294"/>
                </a:cubicBezTo>
                <a:cubicBezTo>
                  <a:pt x="2589" y="358"/>
                  <a:pt x="2573" y="437"/>
                  <a:pt x="2589" y="517"/>
                </a:cubicBezTo>
                <a:cubicBezTo>
                  <a:pt x="2016" y="1090"/>
                  <a:pt x="2016" y="1090"/>
                  <a:pt x="2016" y="1090"/>
                </a:cubicBezTo>
                <a:lnTo>
                  <a:pt x="2016" y="1105"/>
                </a:lnTo>
                <a:cubicBezTo>
                  <a:pt x="934" y="24"/>
                  <a:pt x="934" y="24"/>
                  <a:pt x="934" y="24"/>
                </a:cubicBezTo>
                <a:cubicBezTo>
                  <a:pt x="918" y="-8"/>
                  <a:pt x="855" y="-8"/>
                  <a:pt x="823" y="24"/>
                </a:cubicBezTo>
                <a:cubicBezTo>
                  <a:pt x="552" y="310"/>
                  <a:pt x="378" y="708"/>
                  <a:pt x="378" y="1137"/>
                </a:cubicBezTo>
                <a:cubicBezTo>
                  <a:pt x="378" y="1551"/>
                  <a:pt x="536" y="1949"/>
                  <a:pt x="823" y="2251"/>
                </a:cubicBezTo>
                <a:lnTo>
                  <a:pt x="839" y="2251"/>
                </a:lnTo>
                <a:cubicBezTo>
                  <a:pt x="823" y="2267"/>
                  <a:pt x="807" y="2267"/>
                  <a:pt x="807" y="2283"/>
                </a:cubicBezTo>
                <a:close/>
                <a:moveTo>
                  <a:pt x="536" y="1137"/>
                </a:moveTo>
                <a:cubicBezTo>
                  <a:pt x="536" y="787"/>
                  <a:pt x="664" y="453"/>
                  <a:pt x="887" y="199"/>
                </a:cubicBezTo>
                <a:cubicBezTo>
                  <a:pt x="2875" y="2187"/>
                  <a:pt x="2875" y="2187"/>
                  <a:pt x="2875" y="2187"/>
                </a:cubicBezTo>
                <a:cubicBezTo>
                  <a:pt x="2621" y="2410"/>
                  <a:pt x="2287" y="2537"/>
                  <a:pt x="1952" y="2537"/>
                </a:cubicBezTo>
                <a:cubicBezTo>
                  <a:pt x="1936" y="2537"/>
                  <a:pt x="1936" y="2537"/>
                  <a:pt x="1936" y="2537"/>
                </a:cubicBezTo>
                <a:cubicBezTo>
                  <a:pt x="1555" y="2537"/>
                  <a:pt x="1205" y="2394"/>
                  <a:pt x="934" y="2140"/>
                </a:cubicBezTo>
                <a:cubicBezTo>
                  <a:pt x="679" y="1869"/>
                  <a:pt x="536" y="1519"/>
                  <a:pt x="536" y="1137"/>
                </a:cubicBezTo>
                <a:close/>
                <a:moveTo>
                  <a:pt x="1936" y="2696"/>
                </a:moveTo>
                <a:lnTo>
                  <a:pt x="1952" y="2696"/>
                </a:lnTo>
                <a:cubicBezTo>
                  <a:pt x="2032" y="2696"/>
                  <a:pt x="2112" y="2696"/>
                  <a:pt x="2191" y="2681"/>
                </a:cubicBezTo>
                <a:cubicBezTo>
                  <a:pt x="2748" y="4637"/>
                  <a:pt x="2748" y="4637"/>
                  <a:pt x="2748" y="4637"/>
                </a:cubicBezTo>
                <a:cubicBezTo>
                  <a:pt x="187" y="4637"/>
                  <a:pt x="187" y="4637"/>
                  <a:pt x="187" y="4637"/>
                </a:cubicBezTo>
                <a:cubicBezTo>
                  <a:pt x="950" y="2363"/>
                  <a:pt x="950" y="2363"/>
                  <a:pt x="950" y="2363"/>
                </a:cubicBezTo>
                <a:cubicBezTo>
                  <a:pt x="1221" y="2585"/>
                  <a:pt x="1570" y="2696"/>
                  <a:pt x="1936" y="269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4" name="Freeform: Shape 3">
            <a:extLst>
              <a:ext uri="{FF2B5EF4-FFF2-40B4-BE49-F238E27FC236}">
                <a16:creationId xmlns:a16="http://schemas.microsoft.com/office/drawing/2014/main" id="{B37C62EC-05C7-0941-A148-D0536273A57D}"/>
              </a:ext>
            </a:extLst>
          </p:cNvPr>
          <p:cNvSpPr/>
          <p:nvPr/>
        </p:nvSpPr>
        <p:spPr>
          <a:xfrm>
            <a:off x="9996481" y="6407666"/>
            <a:ext cx="1700639" cy="1700639"/>
          </a:xfrm>
          <a:custGeom>
            <a:avLst/>
            <a:gdLst/>
            <a:ahLst/>
            <a:cxnLst>
              <a:cxn ang="3cd4">
                <a:pos x="hc" y="t"/>
              </a:cxn>
              <a:cxn ang="cd2">
                <a:pos x="l" y="vc"/>
              </a:cxn>
              <a:cxn ang="cd4">
                <a:pos x="hc" y="b"/>
              </a:cxn>
              <a:cxn ang="0">
                <a:pos x="r" y="vc"/>
              </a:cxn>
            </a:cxnLst>
            <a:rect l="l" t="t" r="r" b="b"/>
            <a:pathLst>
              <a:path w="4725" h="4725">
                <a:moveTo>
                  <a:pt x="4725" y="2387"/>
                </a:moveTo>
                <a:cubicBezTo>
                  <a:pt x="4725" y="2355"/>
                  <a:pt x="4709" y="2323"/>
                  <a:pt x="4677" y="2307"/>
                </a:cubicBezTo>
                <a:lnTo>
                  <a:pt x="3532" y="1687"/>
                </a:lnTo>
                <a:lnTo>
                  <a:pt x="3691" y="1146"/>
                </a:lnTo>
                <a:cubicBezTo>
                  <a:pt x="3707" y="1114"/>
                  <a:pt x="3691" y="1082"/>
                  <a:pt x="3675" y="1066"/>
                </a:cubicBezTo>
                <a:cubicBezTo>
                  <a:pt x="3659" y="1050"/>
                  <a:pt x="3628" y="1034"/>
                  <a:pt x="3596" y="1050"/>
                </a:cubicBezTo>
                <a:lnTo>
                  <a:pt x="3039" y="1209"/>
                </a:lnTo>
                <a:lnTo>
                  <a:pt x="2418" y="48"/>
                </a:lnTo>
                <a:cubicBezTo>
                  <a:pt x="2402" y="16"/>
                  <a:pt x="2371" y="0"/>
                  <a:pt x="2339" y="0"/>
                </a:cubicBezTo>
                <a:cubicBezTo>
                  <a:pt x="2307" y="16"/>
                  <a:pt x="2291" y="16"/>
                  <a:pt x="2275" y="48"/>
                </a:cubicBezTo>
                <a:lnTo>
                  <a:pt x="1671" y="1209"/>
                </a:lnTo>
                <a:lnTo>
                  <a:pt x="1114" y="1050"/>
                </a:lnTo>
                <a:cubicBezTo>
                  <a:pt x="1082" y="1034"/>
                  <a:pt x="1066" y="1050"/>
                  <a:pt x="1034" y="1066"/>
                </a:cubicBezTo>
                <a:cubicBezTo>
                  <a:pt x="1018" y="1082"/>
                  <a:pt x="1002" y="1114"/>
                  <a:pt x="1018" y="1146"/>
                </a:cubicBezTo>
                <a:lnTo>
                  <a:pt x="1193" y="1687"/>
                </a:lnTo>
                <a:lnTo>
                  <a:pt x="32" y="2307"/>
                </a:lnTo>
                <a:cubicBezTo>
                  <a:pt x="16" y="2323"/>
                  <a:pt x="0" y="2355"/>
                  <a:pt x="0" y="2387"/>
                </a:cubicBezTo>
                <a:cubicBezTo>
                  <a:pt x="0" y="2418"/>
                  <a:pt x="16" y="2434"/>
                  <a:pt x="32" y="2450"/>
                </a:cubicBezTo>
                <a:lnTo>
                  <a:pt x="1193" y="3055"/>
                </a:lnTo>
                <a:lnTo>
                  <a:pt x="1034" y="3612"/>
                </a:lnTo>
                <a:cubicBezTo>
                  <a:pt x="1034" y="3643"/>
                  <a:pt x="1034" y="3660"/>
                  <a:pt x="1050" y="3691"/>
                </a:cubicBezTo>
                <a:cubicBezTo>
                  <a:pt x="1066" y="3707"/>
                  <a:pt x="1098" y="3707"/>
                  <a:pt x="1114" y="3707"/>
                </a:cubicBezTo>
                <a:lnTo>
                  <a:pt x="1129" y="3707"/>
                </a:lnTo>
                <a:lnTo>
                  <a:pt x="1671" y="3548"/>
                </a:lnTo>
                <a:lnTo>
                  <a:pt x="2275" y="4678"/>
                </a:lnTo>
                <a:cubicBezTo>
                  <a:pt x="2291" y="4709"/>
                  <a:pt x="2307" y="4725"/>
                  <a:pt x="2339" y="4725"/>
                </a:cubicBezTo>
                <a:cubicBezTo>
                  <a:pt x="2371" y="4725"/>
                  <a:pt x="2402" y="4709"/>
                  <a:pt x="2418" y="4694"/>
                </a:cubicBezTo>
                <a:lnTo>
                  <a:pt x="3039" y="3532"/>
                </a:lnTo>
                <a:lnTo>
                  <a:pt x="3580" y="3707"/>
                </a:lnTo>
                <a:lnTo>
                  <a:pt x="3611" y="3707"/>
                </a:lnTo>
                <a:cubicBezTo>
                  <a:pt x="3628" y="3707"/>
                  <a:pt x="3643" y="3707"/>
                  <a:pt x="3659" y="3691"/>
                </a:cubicBezTo>
                <a:cubicBezTo>
                  <a:pt x="3675" y="3675"/>
                  <a:pt x="3691" y="3643"/>
                  <a:pt x="3675" y="3612"/>
                </a:cubicBezTo>
                <a:lnTo>
                  <a:pt x="3516" y="3055"/>
                </a:lnTo>
                <a:lnTo>
                  <a:pt x="4677" y="2450"/>
                </a:lnTo>
                <a:cubicBezTo>
                  <a:pt x="4709" y="2434"/>
                  <a:pt x="4725" y="2418"/>
                  <a:pt x="4725" y="2387"/>
                </a:cubicBezTo>
                <a:close/>
                <a:moveTo>
                  <a:pt x="3500" y="1241"/>
                </a:moveTo>
                <a:lnTo>
                  <a:pt x="3389" y="1607"/>
                </a:lnTo>
                <a:lnTo>
                  <a:pt x="3214" y="1512"/>
                </a:lnTo>
                <a:lnTo>
                  <a:pt x="3118" y="1352"/>
                </a:lnTo>
                <a:close/>
                <a:moveTo>
                  <a:pt x="2339" y="3389"/>
                </a:moveTo>
                <a:cubicBezTo>
                  <a:pt x="1782" y="3389"/>
                  <a:pt x="1320" y="2927"/>
                  <a:pt x="1320" y="2370"/>
                </a:cubicBezTo>
                <a:cubicBezTo>
                  <a:pt x="1320" y="1814"/>
                  <a:pt x="1782" y="1352"/>
                  <a:pt x="2339" y="1352"/>
                </a:cubicBezTo>
                <a:cubicBezTo>
                  <a:pt x="2895" y="1352"/>
                  <a:pt x="3357" y="1814"/>
                  <a:pt x="3357" y="2370"/>
                </a:cubicBezTo>
                <a:cubicBezTo>
                  <a:pt x="3357" y="2927"/>
                  <a:pt x="2895" y="3389"/>
                  <a:pt x="2339" y="3389"/>
                </a:cubicBezTo>
                <a:close/>
                <a:moveTo>
                  <a:pt x="2959" y="1384"/>
                </a:moveTo>
                <a:close/>
                <a:moveTo>
                  <a:pt x="2339" y="255"/>
                </a:moveTo>
                <a:lnTo>
                  <a:pt x="2911" y="1289"/>
                </a:lnTo>
                <a:lnTo>
                  <a:pt x="2911" y="1336"/>
                </a:lnTo>
                <a:cubicBezTo>
                  <a:pt x="2911" y="1352"/>
                  <a:pt x="2928" y="1352"/>
                  <a:pt x="2943" y="1369"/>
                </a:cubicBezTo>
                <a:cubicBezTo>
                  <a:pt x="2768" y="1257"/>
                  <a:pt x="2562" y="1193"/>
                  <a:pt x="2339" y="1193"/>
                </a:cubicBezTo>
                <a:cubicBezTo>
                  <a:pt x="2195" y="1193"/>
                  <a:pt x="2052" y="1225"/>
                  <a:pt x="1909" y="1273"/>
                </a:cubicBezTo>
                <a:lnTo>
                  <a:pt x="1814" y="1257"/>
                </a:lnTo>
                <a:close/>
                <a:moveTo>
                  <a:pt x="1209" y="1241"/>
                </a:moveTo>
                <a:lnTo>
                  <a:pt x="1591" y="1352"/>
                </a:lnTo>
                <a:lnTo>
                  <a:pt x="1495" y="1512"/>
                </a:lnTo>
                <a:lnTo>
                  <a:pt x="1337" y="1607"/>
                </a:lnTo>
                <a:close/>
                <a:moveTo>
                  <a:pt x="1241" y="1846"/>
                </a:moveTo>
                <a:lnTo>
                  <a:pt x="1257" y="1909"/>
                </a:lnTo>
                <a:cubicBezTo>
                  <a:pt x="1193" y="2052"/>
                  <a:pt x="1161" y="2212"/>
                  <a:pt x="1161" y="2370"/>
                </a:cubicBezTo>
                <a:cubicBezTo>
                  <a:pt x="1161" y="2578"/>
                  <a:pt x="1209" y="2752"/>
                  <a:pt x="1304" y="2927"/>
                </a:cubicBezTo>
                <a:cubicBezTo>
                  <a:pt x="1289" y="2912"/>
                  <a:pt x="1289" y="2927"/>
                  <a:pt x="1273" y="2927"/>
                </a:cubicBezTo>
                <a:lnTo>
                  <a:pt x="238" y="2387"/>
                </a:lnTo>
                <a:close/>
                <a:moveTo>
                  <a:pt x="1225" y="3516"/>
                </a:moveTo>
                <a:lnTo>
                  <a:pt x="1337" y="3134"/>
                </a:lnTo>
                <a:lnTo>
                  <a:pt x="1495" y="3214"/>
                </a:lnTo>
                <a:lnTo>
                  <a:pt x="1591" y="3405"/>
                </a:lnTo>
                <a:close/>
                <a:moveTo>
                  <a:pt x="2339" y="4487"/>
                </a:moveTo>
                <a:lnTo>
                  <a:pt x="1814" y="3469"/>
                </a:lnTo>
                <a:lnTo>
                  <a:pt x="1814" y="3421"/>
                </a:lnTo>
                <a:cubicBezTo>
                  <a:pt x="1973" y="3500"/>
                  <a:pt x="2148" y="3548"/>
                  <a:pt x="2339" y="3548"/>
                </a:cubicBezTo>
                <a:cubicBezTo>
                  <a:pt x="2562" y="3548"/>
                  <a:pt x="2768" y="3484"/>
                  <a:pt x="2943" y="3373"/>
                </a:cubicBezTo>
                <a:close/>
                <a:moveTo>
                  <a:pt x="3484" y="3516"/>
                </a:moveTo>
                <a:lnTo>
                  <a:pt x="3118" y="3405"/>
                </a:lnTo>
                <a:lnTo>
                  <a:pt x="3214" y="3230"/>
                </a:lnTo>
                <a:lnTo>
                  <a:pt x="3373" y="3134"/>
                </a:lnTo>
                <a:close/>
                <a:moveTo>
                  <a:pt x="3437" y="2927"/>
                </a:moveTo>
                <a:lnTo>
                  <a:pt x="3405" y="2927"/>
                </a:lnTo>
                <a:cubicBezTo>
                  <a:pt x="3373" y="2927"/>
                  <a:pt x="3357" y="2943"/>
                  <a:pt x="3341" y="2975"/>
                </a:cubicBezTo>
                <a:cubicBezTo>
                  <a:pt x="3452" y="2800"/>
                  <a:pt x="3516" y="2593"/>
                  <a:pt x="3516" y="2370"/>
                </a:cubicBezTo>
                <a:cubicBezTo>
                  <a:pt x="3516" y="2148"/>
                  <a:pt x="3452" y="1941"/>
                  <a:pt x="3341" y="1750"/>
                </a:cubicBezTo>
                <a:lnTo>
                  <a:pt x="3357" y="1766"/>
                </a:lnTo>
                <a:cubicBezTo>
                  <a:pt x="3373" y="1798"/>
                  <a:pt x="3389" y="1798"/>
                  <a:pt x="3405" y="1814"/>
                </a:cubicBezTo>
                <a:lnTo>
                  <a:pt x="3437" y="1814"/>
                </a:lnTo>
                <a:lnTo>
                  <a:pt x="4471" y="2387"/>
                </a:lnTo>
                <a:close/>
                <a:moveTo>
                  <a:pt x="2625" y="1973"/>
                </a:moveTo>
                <a:lnTo>
                  <a:pt x="2546" y="2052"/>
                </a:lnTo>
                <a:cubicBezTo>
                  <a:pt x="2482" y="2021"/>
                  <a:pt x="2418" y="1989"/>
                  <a:pt x="2339" y="1989"/>
                </a:cubicBezTo>
                <a:cubicBezTo>
                  <a:pt x="2132" y="1989"/>
                  <a:pt x="1957" y="2164"/>
                  <a:pt x="1957" y="2370"/>
                </a:cubicBezTo>
                <a:cubicBezTo>
                  <a:pt x="1957" y="2450"/>
                  <a:pt x="1989" y="2514"/>
                  <a:pt x="2020" y="2578"/>
                </a:cubicBezTo>
                <a:lnTo>
                  <a:pt x="1925" y="2673"/>
                </a:lnTo>
                <a:cubicBezTo>
                  <a:pt x="1893" y="2705"/>
                  <a:pt x="1893" y="2752"/>
                  <a:pt x="1925" y="2784"/>
                </a:cubicBezTo>
                <a:cubicBezTo>
                  <a:pt x="1941" y="2800"/>
                  <a:pt x="1973" y="2800"/>
                  <a:pt x="1989" y="2800"/>
                </a:cubicBezTo>
                <a:cubicBezTo>
                  <a:pt x="2005" y="2800"/>
                  <a:pt x="2020" y="2800"/>
                  <a:pt x="2037" y="2784"/>
                </a:cubicBezTo>
                <a:lnTo>
                  <a:pt x="2132" y="2689"/>
                </a:lnTo>
                <a:cubicBezTo>
                  <a:pt x="2195" y="2721"/>
                  <a:pt x="2259" y="2752"/>
                  <a:pt x="2339" y="2752"/>
                </a:cubicBezTo>
                <a:cubicBezTo>
                  <a:pt x="2546" y="2752"/>
                  <a:pt x="2720" y="2578"/>
                  <a:pt x="2720" y="2370"/>
                </a:cubicBezTo>
                <a:cubicBezTo>
                  <a:pt x="2720" y="2291"/>
                  <a:pt x="2689" y="2227"/>
                  <a:pt x="2657" y="2164"/>
                </a:cubicBezTo>
                <a:lnTo>
                  <a:pt x="2752" y="2084"/>
                </a:lnTo>
                <a:cubicBezTo>
                  <a:pt x="2768" y="2052"/>
                  <a:pt x="2768" y="1989"/>
                  <a:pt x="2752" y="1973"/>
                </a:cubicBezTo>
                <a:cubicBezTo>
                  <a:pt x="2720" y="1941"/>
                  <a:pt x="2657" y="1941"/>
                  <a:pt x="2625" y="1973"/>
                </a:cubicBezTo>
                <a:close/>
                <a:moveTo>
                  <a:pt x="2116" y="2370"/>
                </a:moveTo>
                <a:cubicBezTo>
                  <a:pt x="2116" y="2259"/>
                  <a:pt x="2211" y="2148"/>
                  <a:pt x="2339" y="2148"/>
                </a:cubicBezTo>
                <a:cubicBezTo>
                  <a:pt x="2371" y="2148"/>
                  <a:pt x="2402" y="2164"/>
                  <a:pt x="2418" y="2180"/>
                </a:cubicBezTo>
                <a:lnTo>
                  <a:pt x="2132" y="2466"/>
                </a:lnTo>
                <a:cubicBezTo>
                  <a:pt x="2132" y="2434"/>
                  <a:pt x="2116" y="2403"/>
                  <a:pt x="2116" y="2370"/>
                </a:cubicBezTo>
                <a:close/>
                <a:moveTo>
                  <a:pt x="2562" y="2370"/>
                </a:moveTo>
                <a:cubicBezTo>
                  <a:pt x="2562" y="2498"/>
                  <a:pt x="2466" y="2593"/>
                  <a:pt x="2339" y="2593"/>
                </a:cubicBezTo>
                <a:cubicBezTo>
                  <a:pt x="2307" y="2593"/>
                  <a:pt x="2275" y="2578"/>
                  <a:pt x="2243" y="2578"/>
                </a:cubicBezTo>
                <a:lnTo>
                  <a:pt x="2546" y="2291"/>
                </a:lnTo>
                <a:cubicBezTo>
                  <a:pt x="2546" y="2307"/>
                  <a:pt x="2562" y="2339"/>
                  <a:pt x="2562" y="237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5" name="Freeform: Shape 4">
            <a:extLst>
              <a:ext uri="{FF2B5EF4-FFF2-40B4-BE49-F238E27FC236}">
                <a16:creationId xmlns:a16="http://schemas.microsoft.com/office/drawing/2014/main" id="{ED589CC1-338F-3C4E-BBC1-EA08152D4EAF}"/>
              </a:ext>
            </a:extLst>
          </p:cNvPr>
          <p:cNvSpPr/>
          <p:nvPr/>
        </p:nvSpPr>
        <p:spPr>
          <a:xfrm>
            <a:off x="10232838" y="9621241"/>
            <a:ext cx="1196640" cy="1700639"/>
          </a:xfrm>
          <a:custGeom>
            <a:avLst/>
            <a:gdLst/>
            <a:ahLst/>
            <a:cxnLst>
              <a:cxn ang="3cd4">
                <a:pos x="hc" y="t"/>
              </a:cxn>
              <a:cxn ang="cd2">
                <a:pos x="l" y="vc"/>
              </a:cxn>
              <a:cxn ang="cd4">
                <a:pos x="hc" y="b"/>
              </a:cxn>
              <a:cxn ang="0">
                <a:pos x="r" y="vc"/>
              </a:cxn>
            </a:cxnLst>
            <a:rect l="l" t="t" r="r" b="b"/>
            <a:pathLst>
              <a:path w="3325" h="4725">
                <a:moveTo>
                  <a:pt x="2354" y="1432"/>
                </a:moveTo>
                <a:lnTo>
                  <a:pt x="1877" y="1432"/>
                </a:lnTo>
                <a:lnTo>
                  <a:pt x="1734" y="987"/>
                </a:lnTo>
                <a:cubicBezTo>
                  <a:pt x="1718" y="923"/>
                  <a:pt x="1606" y="923"/>
                  <a:pt x="1591" y="987"/>
                </a:cubicBezTo>
                <a:lnTo>
                  <a:pt x="1431" y="1432"/>
                </a:lnTo>
                <a:lnTo>
                  <a:pt x="970" y="1432"/>
                </a:lnTo>
                <a:cubicBezTo>
                  <a:pt x="938" y="1432"/>
                  <a:pt x="906" y="1448"/>
                  <a:pt x="890" y="1479"/>
                </a:cubicBezTo>
                <a:cubicBezTo>
                  <a:pt x="875" y="1511"/>
                  <a:pt x="890" y="1559"/>
                  <a:pt x="922" y="1575"/>
                </a:cubicBezTo>
                <a:lnTo>
                  <a:pt x="1304" y="1861"/>
                </a:lnTo>
                <a:lnTo>
                  <a:pt x="1161" y="2307"/>
                </a:lnTo>
                <a:cubicBezTo>
                  <a:pt x="1145" y="2339"/>
                  <a:pt x="1161" y="2387"/>
                  <a:pt x="1177" y="2402"/>
                </a:cubicBezTo>
                <a:cubicBezTo>
                  <a:pt x="1193" y="2402"/>
                  <a:pt x="1209" y="2418"/>
                  <a:pt x="1224" y="2418"/>
                </a:cubicBezTo>
                <a:cubicBezTo>
                  <a:pt x="1240" y="2418"/>
                  <a:pt x="1257" y="2402"/>
                  <a:pt x="1272" y="2402"/>
                </a:cubicBezTo>
                <a:lnTo>
                  <a:pt x="1654" y="2116"/>
                </a:lnTo>
                <a:lnTo>
                  <a:pt x="2036" y="2402"/>
                </a:lnTo>
                <a:cubicBezTo>
                  <a:pt x="2068" y="2418"/>
                  <a:pt x="2115" y="2418"/>
                  <a:pt x="2131" y="2402"/>
                </a:cubicBezTo>
                <a:cubicBezTo>
                  <a:pt x="2163" y="2370"/>
                  <a:pt x="2179" y="2339"/>
                  <a:pt x="2163" y="2307"/>
                </a:cubicBezTo>
                <a:lnTo>
                  <a:pt x="2020" y="1861"/>
                </a:lnTo>
                <a:lnTo>
                  <a:pt x="2402" y="1575"/>
                </a:lnTo>
                <a:cubicBezTo>
                  <a:pt x="2434" y="1559"/>
                  <a:pt x="2434" y="1511"/>
                  <a:pt x="2434" y="1479"/>
                </a:cubicBezTo>
                <a:cubicBezTo>
                  <a:pt x="2418" y="1448"/>
                  <a:pt x="2386" y="1432"/>
                  <a:pt x="2354" y="1432"/>
                </a:cubicBezTo>
                <a:close/>
                <a:moveTo>
                  <a:pt x="1877" y="1766"/>
                </a:moveTo>
                <a:cubicBezTo>
                  <a:pt x="1845" y="1782"/>
                  <a:pt x="1845" y="1814"/>
                  <a:pt x="1845" y="1845"/>
                </a:cubicBezTo>
                <a:lnTo>
                  <a:pt x="1940" y="2132"/>
                </a:lnTo>
                <a:lnTo>
                  <a:pt x="1702" y="1957"/>
                </a:lnTo>
                <a:cubicBezTo>
                  <a:pt x="1686" y="1941"/>
                  <a:pt x="1638" y="1941"/>
                  <a:pt x="1606" y="1957"/>
                </a:cubicBezTo>
                <a:lnTo>
                  <a:pt x="1384" y="2132"/>
                </a:lnTo>
                <a:lnTo>
                  <a:pt x="1463" y="1845"/>
                </a:lnTo>
                <a:cubicBezTo>
                  <a:pt x="1479" y="1814"/>
                  <a:pt x="1463" y="1782"/>
                  <a:pt x="1447" y="1766"/>
                </a:cubicBezTo>
                <a:lnTo>
                  <a:pt x="1209" y="1591"/>
                </a:lnTo>
                <a:lnTo>
                  <a:pt x="1495" y="1591"/>
                </a:lnTo>
                <a:cubicBezTo>
                  <a:pt x="1527" y="1591"/>
                  <a:pt x="1558" y="1575"/>
                  <a:pt x="1575" y="1543"/>
                </a:cubicBezTo>
                <a:lnTo>
                  <a:pt x="1654" y="1273"/>
                </a:lnTo>
                <a:lnTo>
                  <a:pt x="1749" y="1543"/>
                </a:lnTo>
                <a:cubicBezTo>
                  <a:pt x="1766" y="1575"/>
                  <a:pt x="1797" y="1591"/>
                  <a:pt x="1829" y="1591"/>
                </a:cubicBezTo>
                <a:lnTo>
                  <a:pt x="2115" y="1591"/>
                </a:lnTo>
                <a:close/>
                <a:moveTo>
                  <a:pt x="1654" y="0"/>
                </a:moveTo>
                <a:cubicBezTo>
                  <a:pt x="747" y="0"/>
                  <a:pt x="0" y="748"/>
                  <a:pt x="0" y="1655"/>
                </a:cubicBezTo>
                <a:cubicBezTo>
                  <a:pt x="0" y="2561"/>
                  <a:pt x="1527" y="4614"/>
                  <a:pt x="1591" y="4693"/>
                </a:cubicBezTo>
                <a:cubicBezTo>
                  <a:pt x="1606" y="4709"/>
                  <a:pt x="1638" y="4725"/>
                  <a:pt x="1654" y="4725"/>
                </a:cubicBezTo>
                <a:cubicBezTo>
                  <a:pt x="1686" y="4725"/>
                  <a:pt x="1702" y="4709"/>
                  <a:pt x="1718" y="4693"/>
                </a:cubicBezTo>
                <a:cubicBezTo>
                  <a:pt x="1781" y="4614"/>
                  <a:pt x="3325" y="2578"/>
                  <a:pt x="3325" y="1655"/>
                </a:cubicBezTo>
                <a:cubicBezTo>
                  <a:pt x="3325" y="748"/>
                  <a:pt x="2577" y="0"/>
                  <a:pt x="1654" y="0"/>
                </a:cubicBezTo>
                <a:close/>
                <a:moveTo>
                  <a:pt x="1654" y="4518"/>
                </a:moveTo>
                <a:cubicBezTo>
                  <a:pt x="1368" y="4121"/>
                  <a:pt x="158" y="2402"/>
                  <a:pt x="158" y="1655"/>
                </a:cubicBezTo>
                <a:cubicBezTo>
                  <a:pt x="158" y="827"/>
                  <a:pt x="827" y="159"/>
                  <a:pt x="1654" y="159"/>
                </a:cubicBezTo>
                <a:cubicBezTo>
                  <a:pt x="2497" y="159"/>
                  <a:pt x="3166" y="827"/>
                  <a:pt x="3166" y="1655"/>
                </a:cubicBezTo>
                <a:cubicBezTo>
                  <a:pt x="3166" y="2418"/>
                  <a:pt x="1957" y="4121"/>
                  <a:pt x="1654" y="451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6" name="Freeform: Shape 5">
            <a:extLst>
              <a:ext uri="{FF2B5EF4-FFF2-40B4-BE49-F238E27FC236}">
                <a16:creationId xmlns:a16="http://schemas.microsoft.com/office/drawing/2014/main" id="{C1DA7C96-FEC0-F346-8E3E-3415777277CA}"/>
              </a:ext>
            </a:extLst>
          </p:cNvPr>
          <p:cNvSpPr/>
          <p:nvPr/>
        </p:nvSpPr>
        <p:spPr>
          <a:xfrm>
            <a:off x="6183863" y="9638521"/>
            <a:ext cx="1196640" cy="1700639"/>
          </a:xfrm>
          <a:custGeom>
            <a:avLst/>
            <a:gdLst/>
            <a:ahLst/>
            <a:cxnLst>
              <a:cxn ang="3cd4">
                <a:pos x="hc" y="t"/>
              </a:cxn>
              <a:cxn ang="cd2">
                <a:pos x="l" y="vc"/>
              </a:cxn>
              <a:cxn ang="cd4">
                <a:pos x="hc" y="b"/>
              </a:cxn>
              <a:cxn ang="0">
                <a:pos x="r" y="vc"/>
              </a:cxn>
            </a:cxnLst>
            <a:rect l="l" t="t" r="r" b="b"/>
            <a:pathLst>
              <a:path w="3325" h="4725">
                <a:moveTo>
                  <a:pt x="2212" y="1034"/>
                </a:moveTo>
                <a:cubicBezTo>
                  <a:pt x="2180" y="1002"/>
                  <a:pt x="2132" y="1002"/>
                  <a:pt x="2100" y="1034"/>
                </a:cubicBezTo>
                <a:lnTo>
                  <a:pt x="1670" y="1543"/>
                </a:lnTo>
                <a:lnTo>
                  <a:pt x="1225" y="1034"/>
                </a:lnTo>
                <a:cubicBezTo>
                  <a:pt x="1193" y="1002"/>
                  <a:pt x="1146" y="1002"/>
                  <a:pt x="1114" y="1034"/>
                </a:cubicBezTo>
                <a:cubicBezTo>
                  <a:pt x="1082" y="1050"/>
                  <a:pt x="1082" y="1097"/>
                  <a:pt x="1114" y="1145"/>
                </a:cubicBezTo>
                <a:lnTo>
                  <a:pt x="1559" y="1670"/>
                </a:lnTo>
                <a:lnTo>
                  <a:pt x="1114" y="2195"/>
                </a:lnTo>
                <a:cubicBezTo>
                  <a:pt x="1082" y="2227"/>
                  <a:pt x="1082" y="2275"/>
                  <a:pt x="1114" y="2307"/>
                </a:cubicBezTo>
                <a:cubicBezTo>
                  <a:pt x="1130" y="2322"/>
                  <a:pt x="1146" y="2322"/>
                  <a:pt x="1161" y="2322"/>
                </a:cubicBezTo>
                <a:cubicBezTo>
                  <a:pt x="1193" y="2322"/>
                  <a:pt x="1209" y="2322"/>
                  <a:pt x="1225" y="2307"/>
                </a:cubicBezTo>
                <a:lnTo>
                  <a:pt x="1670" y="1782"/>
                </a:lnTo>
                <a:lnTo>
                  <a:pt x="2100" y="2307"/>
                </a:lnTo>
                <a:cubicBezTo>
                  <a:pt x="2116" y="2322"/>
                  <a:pt x="2132" y="2322"/>
                  <a:pt x="2164" y="2322"/>
                </a:cubicBezTo>
                <a:cubicBezTo>
                  <a:pt x="2180" y="2322"/>
                  <a:pt x="2195" y="2322"/>
                  <a:pt x="2212" y="2307"/>
                </a:cubicBezTo>
                <a:cubicBezTo>
                  <a:pt x="2243" y="2275"/>
                  <a:pt x="2243" y="2227"/>
                  <a:pt x="2227" y="2195"/>
                </a:cubicBezTo>
                <a:lnTo>
                  <a:pt x="1766" y="1670"/>
                </a:lnTo>
                <a:lnTo>
                  <a:pt x="2227" y="1145"/>
                </a:lnTo>
                <a:cubicBezTo>
                  <a:pt x="2243" y="1097"/>
                  <a:pt x="2243" y="1050"/>
                  <a:pt x="2212" y="1034"/>
                </a:cubicBezTo>
                <a:close/>
                <a:moveTo>
                  <a:pt x="1655" y="0"/>
                </a:moveTo>
                <a:cubicBezTo>
                  <a:pt x="748" y="0"/>
                  <a:pt x="0" y="748"/>
                  <a:pt x="0" y="1654"/>
                </a:cubicBezTo>
                <a:cubicBezTo>
                  <a:pt x="0" y="2561"/>
                  <a:pt x="1527" y="4598"/>
                  <a:pt x="1591" y="4693"/>
                </a:cubicBezTo>
                <a:cubicBezTo>
                  <a:pt x="1607" y="4709"/>
                  <a:pt x="1639" y="4725"/>
                  <a:pt x="1655" y="4725"/>
                </a:cubicBezTo>
                <a:cubicBezTo>
                  <a:pt x="1686" y="4725"/>
                  <a:pt x="1703" y="4709"/>
                  <a:pt x="1718" y="4693"/>
                </a:cubicBezTo>
                <a:cubicBezTo>
                  <a:pt x="1782" y="4613"/>
                  <a:pt x="3325" y="2577"/>
                  <a:pt x="3325" y="1654"/>
                </a:cubicBezTo>
                <a:cubicBezTo>
                  <a:pt x="3325" y="748"/>
                  <a:pt x="2577" y="0"/>
                  <a:pt x="1655" y="0"/>
                </a:cubicBezTo>
                <a:close/>
                <a:moveTo>
                  <a:pt x="1655" y="4518"/>
                </a:moveTo>
                <a:cubicBezTo>
                  <a:pt x="1368" y="4104"/>
                  <a:pt x="159" y="2402"/>
                  <a:pt x="159" y="1654"/>
                </a:cubicBezTo>
                <a:cubicBezTo>
                  <a:pt x="159" y="827"/>
                  <a:pt x="827" y="159"/>
                  <a:pt x="1655" y="159"/>
                </a:cubicBezTo>
                <a:cubicBezTo>
                  <a:pt x="2498" y="159"/>
                  <a:pt x="3166" y="827"/>
                  <a:pt x="3166" y="1654"/>
                </a:cubicBezTo>
                <a:cubicBezTo>
                  <a:pt x="3166" y="2418"/>
                  <a:pt x="1957" y="4104"/>
                  <a:pt x="1655" y="451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7" name="Freeform: Shape 6">
            <a:extLst>
              <a:ext uri="{FF2B5EF4-FFF2-40B4-BE49-F238E27FC236}">
                <a16:creationId xmlns:a16="http://schemas.microsoft.com/office/drawing/2014/main" id="{9503FAF5-7159-C24C-894D-F8CB90C056B6}"/>
              </a:ext>
            </a:extLst>
          </p:cNvPr>
          <p:cNvSpPr/>
          <p:nvPr/>
        </p:nvSpPr>
        <p:spPr>
          <a:xfrm>
            <a:off x="17319109" y="6401369"/>
            <a:ext cx="1706400" cy="1700639"/>
          </a:xfrm>
          <a:custGeom>
            <a:avLst/>
            <a:gdLst/>
            <a:ahLst/>
            <a:cxnLst>
              <a:cxn ang="3cd4">
                <a:pos x="hc" y="t"/>
              </a:cxn>
              <a:cxn ang="cd2">
                <a:pos x="l" y="vc"/>
              </a:cxn>
              <a:cxn ang="cd4">
                <a:pos x="hc" y="b"/>
              </a:cxn>
              <a:cxn ang="0">
                <a:pos x="r" y="vc"/>
              </a:cxn>
            </a:cxnLst>
            <a:rect l="l" t="t" r="r" b="b"/>
            <a:pathLst>
              <a:path w="4741" h="4725">
                <a:moveTo>
                  <a:pt x="4088" y="748"/>
                </a:moveTo>
                <a:cubicBezTo>
                  <a:pt x="4518" y="334"/>
                  <a:pt x="4518" y="334"/>
                  <a:pt x="4518" y="334"/>
                </a:cubicBezTo>
                <a:cubicBezTo>
                  <a:pt x="4550" y="302"/>
                  <a:pt x="4550" y="254"/>
                  <a:pt x="4518" y="223"/>
                </a:cubicBezTo>
                <a:cubicBezTo>
                  <a:pt x="4486" y="191"/>
                  <a:pt x="4422" y="191"/>
                  <a:pt x="4407" y="223"/>
                </a:cubicBezTo>
                <a:cubicBezTo>
                  <a:pt x="3977" y="636"/>
                  <a:pt x="3977" y="636"/>
                  <a:pt x="3977" y="636"/>
                </a:cubicBezTo>
                <a:cubicBezTo>
                  <a:pt x="3564" y="254"/>
                  <a:pt x="2991" y="0"/>
                  <a:pt x="2370" y="0"/>
                </a:cubicBezTo>
                <a:cubicBezTo>
                  <a:pt x="1750" y="0"/>
                  <a:pt x="1177" y="254"/>
                  <a:pt x="763" y="636"/>
                </a:cubicBezTo>
                <a:cubicBezTo>
                  <a:pt x="334" y="223"/>
                  <a:pt x="334" y="223"/>
                  <a:pt x="334" y="223"/>
                </a:cubicBezTo>
                <a:cubicBezTo>
                  <a:pt x="318" y="191"/>
                  <a:pt x="254" y="191"/>
                  <a:pt x="222" y="223"/>
                </a:cubicBezTo>
                <a:cubicBezTo>
                  <a:pt x="191" y="254"/>
                  <a:pt x="191" y="302"/>
                  <a:pt x="222" y="334"/>
                </a:cubicBezTo>
                <a:cubicBezTo>
                  <a:pt x="652" y="748"/>
                  <a:pt x="652" y="748"/>
                  <a:pt x="652" y="748"/>
                </a:cubicBezTo>
                <a:cubicBezTo>
                  <a:pt x="254" y="1177"/>
                  <a:pt x="0" y="1750"/>
                  <a:pt x="0" y="2371"/>
                </a:cubicBezTo>
                <a:cubicBezTo>
                  <a:pt x="0" y="2991"/>
                  <a:pt x="254" y="3564"/>
                  <a:pt x="652" y="3978"/>
                </a:cubicBezTo>
                <a:cubicBezTo>
                  <a:pt x="222" y="4391"/>
                  <a:pt x="222" y="4391"/>
                  <a:pt x="222" y="4391"/>
                </a:cubicBezTo>
                <a:cubicBezTo>
                  <a:pt x="191" y="4423"/>
                  <a:pt x="191" y="4471"/>
                  <a:pt x="222" y="4502"/>
                </a:cubicBezTo>
                <a:cubicBezTo>
                  <a:pt x="239" y="4518"/>
                  <a:pt x="270" y="4535"/>
                  <a:pt x="286" y="4535"/>
                </a:cubicBezTo>
                <a:cubicBezTo>
                  <a:pt x="302" y="4535"/>
                  <a:pt x="334" y="4518"/>
                  <a:pt x="334" y="4502"/>
                </a:cubicBezTo>
                <a:cubicBezTo>
                  <a:pt x="763" y="4089"/>
                  <a:pt x="763" y="4089"/>
                  <a:pt x="763" y="4089"/>
                </a:cubicBezTo>
                <a:cubicBezTo>
                  <a:pt x="1177" y="4487"/>
                  <a:pt x="1750" y="4725"/>
                  <a:pt x="2370" y="4725"/>
                </a:cubicBezTo>
                <a:cubicBezTo>
                  <a:pt x="2991" y="4725"/>
                  <a:pt x="3564" y="4487"/>
                  <a:pt x="3977" y="4089"/>
                </a:cubicBezTo>
                <a:cubicBezTo>
                  <a:pt x="4407" y="4502"/>
                  <a:pt x="4407" y="4502"/>
                  <a:pt x="4407" y="4502"/>
                </a:cubicBezTo>
                <a:cubicBezTo>
                  <a:pt x="4407" y="4518"/>
                  <a:pt x="4439" y="4535"/>
                  <a:pt x="4455" y="4535"/>
                </a:cubicBezTo>
                <a:cubicBezTo>
                  <a:pt x="4470" y="4535"/>
                  <a:pt x="4502" y="4518"/>
                  <a:pt x="4518" y="4502"/>
                </a:cubicBezTo>
                <a:cubicBezTo>
                  <a:pt x="4550" y="4471"/>
                  <a:pt x="4550" y="4423"/>
                  <a:pt x="4518" y="4391"/>
                </a:cubicBezTo>
                <a:cubicBezTo>
                  <a:pt x="4088" y="3978"/>
                  <a:pt x="4088" y="3978"/>
                  <a:pt x="4088" y="3978"/>
                </a:cubicBezTo>
                <a:cubicBezTo>
                  <a:pt x="4486" y="3564"/>
                  <a:pt x="4741" y="2991"/>
                  <a:pt x="4741" y="2371"/>
                </a:cubicBezTo>
                <a:cubicBezTo>
                  <a:pt x="4741" y="1750"/>
                  <a:pt x="4486" y="1177"/>
                  <a:pt x="4088" y="748"/>
                </a:cubicBezTo>
                <a:close/>
                <a:moveTo>
                  <a:pt x="2370" y="159"/>
                </a:moveTo>
                <a:cubicBezTo>
                  <a:pt x="2943" y="159"/>
                  <a:pt x="3484" y="382"/>
                  <a:pt x="3866" y="748"/>
                </a:cubicBezTo>
                <a:cubicBezTo>
                  <a:pt x="3213" y="1416"/>
                  <a:pt x="3213" y="1416"/>
                  <a:pt x="3213" y="1416"/>
                </a:cubicBezTo>
                <a:cubicBezTo>
                  <a:pt x="2991" y="1225"/>
                  <a:pt x="2688" y="1098"/>
                  <a:pt x="2370" y="1098"/>
                </a:cubicBezTo>
                <a:cubicBezTo>
                  <a:pt x="2052" y="1098"/>
                  <a:pt x="1750" y="1225"/>
                  <a:pt x="1527" y="1416"/>
                </a:cubicBezTo>
                <a:cubicBezTo>
                  <a:pt x="875" y="748"/>
                  <a:pt x="875" y="748"/>
                  <a:pt x="875" y="748"/>
                </a:cubicBezTo>
                <a:cubicBezTo>
                  <a:pt x="1257" y="382"/>
                  <a:pt x="1797" y="159"/>
                  <a:pt x="2370" y="159"/>
                </a:cubicBezTo>
                <a:close/>
                <a:moveTo>
                  <a:pt x="2259" y="2371"/>
                </a:moveTo>
                <a:cubicBezTo>
                  <a:pt x="1527" y="3102"/>
                  <a:pt x="1527" y="3102"/>
                  <a:pt x="1527" y="3102"/>
                </a:cubicBezTo>
                <a:cubicBezTo>
                  <a:pt x="1368" y="2896"/>
                  <a:pt x="1257" y="2641"/>
                  <a:pt x="1257" y="2371"/>
                </a:cubicBezTo>
                <a:cubicBezTo>
                  <a:pt x="1257" y="2084"/>
                  <a:pt x="1368" y="1830"/>
                  <a:pt x="1527" y="1639"/>
                </a:cubicBezTo>
                <a:close/>
                <a:moveTo>
                  <a:pt x="1639" y="1527"/>
                </a:moveTo>
                <a:cubicBezTo>
                  <a:pt x="1845" y="1353"/>
                  <a:pt x="2100" y="1257"/>
                  <a:pt x="2370" y="1257"/>
                </a:cubicBezTo>
                <a:cubicBezTo>
                  <a:pt x="2641" y="1257"/>
                  <a:pt x="2895" y="1353"/>
                  <a:pt x="3102" y="1527"/>
                </a:cubicBezTo>
                <a:cubicBezTo>
                  <a:pt x="2370" y="2259"/>
                  <a:pt x="2370" y="2259"/>
                  <a:pt x="2370" y="2259"/>
                </a:cubicBezTo>
                <a:close/>
                <a:moveTo>
                  <a:pt x="2370" y="2482"/>
                </a:moveTo>
                <a:cubicBezTo>
                  <a:pt x="3102" y="3214"/>
                  <a:pt x="3102" y="3214"/>
                  <a:pt x="3102" y="3214"/>
                </a:cubicBezTo>
                <a:cubicBezTo>
                  <a:pt x="2895" y="3373"/>
                  <a:pt x="2641" y="3484"/>
                  <a:pt x="2370" y="3484"/>
                </a:cubicBezTo>
                <a:cubicBezTo>
                  <a:pt x="2100" y="3484"/>
                  <a:pt x="1845" y="3373"/>
                  <a:pt x="1639" y="3214"/>
                </a:cubicBezTo>
                <a:close/>
                <a:moveTo>
                  <a:pt x="2482" y="2371"/>
                </a:moveTo>
                <a:cubicBezTo>
                  <a:pt x="3213" y="1639"/>
                  <a:pt x="3213" y="1639"/>
                  <a:pt x="3213" y="1639"/>
                </a:cubicBezTo>
                <a:cubicBezTo>
                  <a:pt x="3373" y="1830"/>
                  <a:pt x="3484" y="2084"/>
                  <a:pt x="3484" y="2371"/>
                </a:cubicBezTo>
                <a:cubicBezTo>
                  <a:pt x="3484" y="2641"/>
                  <a:pt x="3373" y="2896"/>
                  <a:pt x="3213" y="3102"/>
                </a:cubicBezTo>
                <a:close/>
                <a:moveTo>
                  <a:pt x="159" y="2371"/>
                </a:moveTo>
                <a:cubicBezTo>
                  <a:pt x="159" y="1782"/>
                  <a:pt x="397" y="1257"/>
                  <a:pt x="763" y="859"/>
                </a:cubicBezTo>
                <a:cubicBezTo>
                  <a:pt x="1416" y="1527"/>
                  <a:pt x="1416" y="1527"/>
                  <a:pt x="1416" y="1527"/>
                </a:cubicBezTo>
                <a:cubicBezTo>
                  <a:pt x="1225" y="1750"/>
                  <a:pt x="1097" y="2053"/>
                  <a:pt x="1097" y="2371"/>
                </a:cubicBezTo>
                <a:cubicBezTo>
                  <a:pt x="1097" y="2689"/>
                  <a:pt x="1225" y="2991"/>
                  <a:pt x="1416" y="3214"/>
                </a:cubicBezTo>
                <a:cubicBezTo>
                  <a:pt x="763" y="3866"/>
                  <a:pt x="763" y="3866"/>
                  <a:pt x="763" y="3866"/>
                </a:cubicBezTo>
                <a:cubicBezTo>
                  <a:pt x="397" y="3468"/>
                  <a:pt x="159" y="2944"/>
                  <a:pt x="159" y="2371"/>
                </a:cubicBezTo>
                <a:close/>
                <a:moveTo>
                  <a:pt x="2370" y="4566"/>
                </a:moveTo>
                <a:cubicBezTo>
                  <a:pt x="1797" y="4566"/>
                  <a:pt x="1257" y="4344"/>
                  <a:pt x="875" y="3978"/>
                </a:cubicBezTo>
                <a:cubicBezTo>
                  <a:pt x="1527" y="3325"/>
                  <a:pt x="1527" y="3325"/>
                  <a:pt x="1527" y="3325"/>
                </a:cubicBezTo>
                <a:cubicBezTo>
                  <a:pt x="1750" y="3516"/>
                  <a:pt x="2052" y="3644"/>
                  <a:pt x="2370" y="3644"/>
                </a:cubicBezTo>
                <a:cubicBezTo>
                  <a:pt x="2688" y="3644"/>
                  <a:pt x="2991" y="3516"/>
                  <a:pt x="3213" y="3325"/>
                </a:cubicBezTo>
                <a:cubicBezTo>
                  <a:pt x="3866" y="3978"/>
                  <a:pt x="3866" y="3978"/>
                  <a:pt x="3866" y="3978"/>
                </a:cubicBezTo>
                <a:cubicBezTo>
                  <a:pt x="3484" y="4344"/>
                  <a:pt x="2943" y="4566"/>
                  <a:pt x="2370" y="4566"/>
                </a:cubicBezTo>
                <a:close/>
                <a:moveTo>
                  <a:pt x="3325" y="3214"/>
                </a:moveTo>
                <a:cubicBezTo>
                  <a:pt x="3516" y="2991"/>
                  <a:pt x="3643" y="2689"/>
                  <a:pt x="3643" y="2371"/>
                </a:cubicBezTo>
                <a:cubicBezTo>
                  <a:pt x="3643" y="2053"/>
                  <a:pt x="3516" y="1750"/>
                  <a:pt x="3325" y="1527"/>
                </a:cubicBezTo>
                <a:cubicBezTo>
                  <a:pt x="3977" y="859"/>
                  <a:pt x="3977" y="859"/>
                  <a:pt x="3977" y="859"/>
                </a:cubicBezTo>
                <a:cubicBezTo>
                  <a:pt x="4343" y="1257"/>
                  <a:pt x="4582" y="1782"/>
                  <a:pt x="4582" y="2371"/>
                </a:cubicBezTo>
                <a:cubicBezTo>
                  <a:pt x="4582" y="2944"/>
                  <a:pt x="4343" y="3468"/>
                  <a:pt x="3977" y="386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8" name="Freeform: Shape 7">
            <a:extLst>
              <a:ext uri="{FF2B5EF4-FFF2-40B4-BE49-F238E27FC236}">
                <a16:creationId xmlns:a16="http://schemas.microsoft.com/office/drawing/2014/main" id="{58C134A6-DE61-D241-B47F-9FDFB082BD43}"/>
              </a:ext>
            </a:extLst>
          </p:cNvPr>
          <p:cNvSpPr/>
          <p:nvPr/>
        </p:nvSpPr>
        <p:spPr>
          <a:xfrm>
            <a:off x="13917110" y="6424049"/>
            <a:ext cx="1717920" cy="1712519"/>
          </a:xfrm>
          <a:custGeom>
            <a:avLst/>
            <a:gdLst/>
            <a:ahLst/>
            <a:cxnLst>
              <a:cxn ang="3cd4">
                <a:pos x="hc" y="t"/>
              </a:cxn>
              <a:cxn ang="cd2">
                <a:pos x="l" y="vc"/>
              </a:cxn>
              <a:cxn ang="cd4">
                <a:pos x="hc" y="b"/>
              </a:cxn>
              <a:cxn ang="0">
                <a:pos x="r" y="vc"/>
              </a:cxn>
            </a:cxnLst>
            <a:rect l="l" t="t" r="r" b="b"/>
            <a:pathLst>
              <a:path w="4773" h="4758">
                <a:moveTo>
                  <a:pt x="2387" y="0"/>
                </a:moveTo>
                <a:cubicBezTo>
                  <a:pt x="1066" y="0"/>
                  <a:pt x="0" y="1067"/>
                  <a:pt x="0" y="2371"/>
                </a:cubicBezTo>
                <a:cubicBezTo>
                  <a:pt x="0" y="3692"/>
                  <a:pt x="1066" y="4758"/>
                  <a:pt x="2387" y="4758"/>
                </a:cubicBezTo>
                <a:cubicBezTo>
                  <a:pt x="3707" y="4758"/>
                  <a:pt x="4773" y="3692"/>
                  <a:pt x="4773" y="2371"/>
                </a:cubicBezTo>
                <a:cubicBezTo>
                  <a:pt x="4773" y="1067"/>
                  <a:pt x="3707" y="0"/>
                  <a:pt x="2387" y="0"/>
                </a:cubicBezTo>
                <a:close/>
                <a:moveTo>
                  <a:pt x="2387" y="4599"/>
                </a:moveTo>
                <a:cubicBezTo>
                  <a:pt x="1162" y="4599"/>
                  <a:pt x="159" y="3596"/>
                  <a:pt x="159" y="2371"/>
                </a:cubicBezTo>
                <a:cubicBezTo>
                  <a:pt x="159" y="1146"/>
                  <a:pt x="1162" y="160"/>
                  <a:pt x="2387" y="160"/>
                </a:cubicBezTo>
                <a:cubicBezTo>
                  <a:pt x="3612" y="160"/>
                  <a:pt x="4614" y="1146"/>
                  <a:pt x="4614" y="2371"/>
                </a:cubicBezTo>
                <a:cubicBezTo>
                  <a:pt x="4614" y="3596"/>
                  <a:pt x="3612" y="4599"/>
                  <a:pt x="2387" y="4599"/>
                </a:cubicBezTo>
                <a:close/>
                <a:moveTo>
                  <a:pt x="3707" y="971"/>
                </a:moveTo>
                <a:lnTo>
                  <a:pt x="2991" y="971"/>
                </a:lnTo>
                <a:cubicBezTo>
                  <a:pt x="2944" y="971"/>
                  <a:pt x="2912" y="1003"/>
                  <a:pt x="2912" y="1051"/>
                </a:cubicBezTo>
                <a:cubicBezTo>
                  <a:pt x="2912" y="1082"/>
                  <a:pt x="2944" y="1130"/>
                  <a:pt x="2991" y="1130"/>
                </a:cubicBezTo>
                <a:lnTo>
                  <a:pt x="3532" y="1130"/>
                </a:lnTo>
                <a:lnTo>
                  <a:pt x="3516" y="1130"/>
                </a:lnTo>
                <a:lnTo>
                  <a:pt x="2737" y="1926"/>
                </a:lnTo>
                <a:cubicBezTo>
                  <a:pt x="2641" y="1846"/>
                  <a:pt x="2514" y="1799"/>
                  <a:pt x="2387" y="1799"/>
                </a:cubicBezTo>
                <a:cubicBezTo>
                  <a:pt x="2068" y="1799"/>
                  <a:pt x="1814" y="2053"/>
                  <a:pt x="1814" y="2371"/>
                </a:cubicBezTo>
                <a:cubicBezTo>
                  <a:pt x="1814" y="2514"/>
                  <a:pt x="1862" y="2626"/>
                  <a:pt x="1925" y="2721"/>
                </a:cubicBezTo>
                <a:lnTo>
                  <a:pt x="1146" y="3533"/>
                </a:lnTo>
                <a:cubicBezTo>
                  <a:pt x="1114" y="3564"/>
                  <a:pt x="1114" y="3612"/>
                  <a:pt x="1146" y="3644"/>
                </a:cubicBezTo>
                <a:cubicBezTo>
                  <a:pt x="1162" y="3660"/>
                  <a:pt x="1177" y="3660"/>
                  <a:pt x="1194" y="3660"/>
                </a:cubicBezTo>
                <a:cubicBezTo>
                  <a:pt x="1210" y="3660"/>
                  <a:pt x="1241" y="3660"/>
                  <a:pt x="1257" y="3644"/>
                </a:cubicBezTo>
                <a:lnTo>
                  <a:pt x="2053" y="2833"/>
                </a:lnTo>
                <a:cubicBezTo>
                  <a:pt x="2148" y="2912"/>
                  <a:pt x="2259" y="2944"/>
                  <a:pt x="2387" y="2944"/>
                </a:cubicBezTo>
                <a:cubicBezTo>
                  <a:pt x="2705" y="2944"/>
                  <a:pt x="2959" y="2690"/>
                  <a:pt x="2959" y="2371"/>
                </a:cubicBezTo>
                <a:cubicBezTo>
                  <a:pt x="2959" y="2244"/>
                  <a:pt x="2928" y="2133"/>
                  <a:pt x="2848" y="2037"/>
                </a:cubicBezTo>
                <a:lnTo>
                  <a:pt x="3628" y="1257"/>
                </a:lnTo>
                <a:lnTo>
                  <a:pt x="3628" y="1767"/>
                </a:lnTo>
                <a:cubicBezTo>
                  <a:pt x="3628" y="1799"/>
                  <a:pt x="3659" y="1846"/>
                  <a:pt x="3707" y="1846"/>
                </a:cubicBezTo>
                <a:cubicBezTo>
                  <a:pt x="3739" y="1846"/>
                  <a:pt x="3787" y="1799"/>
                  <a:pt x="3787" y="1767"/>
                </a:cubicBezTo>
                <a:lnTo>
                  <a:pt x="3787" y="1051"/>
                </a:lnTo>
                <a:cubicBezTo>
                  <a:pt x="3787" y="1003"/>
                  <a:pt x="3739" y="971"/>
                  <a:pt x="3707" y="971"/>
                </a:cubicBezTo>
                <a:close/>
                <a:moveTo>
                  <a:pt x="1973" y="2371"/>
                </a:moveTo>
                <a:cubicBezTo>
                  <a:pt x="1973" y="2148"/>
                  <a:pt x="2164" y="1957"/>
                  <a:pt x="2387" y="1957"/>
                </a:cubicBezTo>
                <a:cubicBezTo>
                  <a:pt x="2482" y="1957"/>
                  <a:pt x="2562" y="1990"/>
                  <a:pt x="2625" y="2037"/>
                </a:cubicBezTo>
                <a:lnTo>
                  <a:pt x="2053" y="2610"/>
                </a:lnTo>
                <a:cubicBezTo>
                  <a:pt x="2005" y="2546"/>
                  <a:pt x="1973" y="2467"/>
                  <a:pt x="1973" y="2371"/>
                </a:cubicBezTo>
                <a:close/>
                <a:moveTo>
                  <a:pt x="2801" y="2371"/>
                </a:moveTo>
                <a:cubicBezTo>
                  <a:pt x="2801" y="2610"/>
                  <a:pt x="2610" y="2801"/>
                  <a:pt x="2387" y="2801"/>
                </a:cubicBezTo>
                <a:cubicBezTo>
                  <a:pt x="2307" y="2801"/>
                  <a:pt x="2228" y="2769"/>
                  <a:pt x="2164" y="2721"/>
                </a:cubicBezTo>
                <a:lnTo>
                  <a:pt x="2737" y="2148"/>
                </a:lnTo>
                <a:cubicBezTo>
                  <a:pt x="2785" y="2212"/>
                  <a:pt x="2801" y="2291"/>
                  <a:pt x="2801" y="237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9" name="Freeform: Shape 8">
            <a:extLst>
              <a:ext uri="{FF2B5EF4-FFF2-40B4-BE49-F238E27FC236}">
                <a16:creationId xmlns:a16="http://schemas.microsoft.com/office/drawing/2014/main" id="{CB0A2806-7737-7B42-834F-A12E8A46CFEB}"/>
              </a:ext>
            </a:extLst>
          </p:cNvPr>
          <p:cNvSpPr/>
          <p:nvPr/>
        </p:nvSpPr>
        <p:spPr>
          <a:xfrm>
            <a:off x="14196200" y="9587040"/>
            <a:ext cx="1202400" cy="1711800"/>
          </a:xfrm>
          <a:custGeom>
            <a:avLst/>
            <a:gdLst/>
            <a:ahLst/>
            <a:cxnLst>
              <a:cxn ang="3cd4">
                <a:pos x="hc" y="t"/>
              </a:cxn>
              <a:cxn ang="cd2">
                <a:pos x="l" y="vc"/>
              </a:cxn>
              <a:cxn ang="cd4">
                <a:pos x="hc" y="b"/>
              </a:cxn>
              <a:cxn ang="0">
                <a:pos x="r" y="vc"/>
              </a:cxn>
            </a:cxnLst>
            <a:rect l="l" t="t" r="r" b="b"/>
            <a:pathLst>
              <a:path w="3341" h="4756">
                <a:moveTo>
                  <a:pt x="1671" y="891"/>
                </a:moveTo>
                <a:cubicBezTo>
                  <a:pt x="1352" y="891"/>
                  <a:pt x="1098" y="1145"/>
                  <a:pt x="1098" y="1463"/>
                </a:cubicBezTo>
                <a:cubicBezTo>
                  <a:pt x="1098" y="1782"/>
                  <a:pt x="1352" y="2036"/>
                  <a:pt x="1671" y="2036"/>
                </a:cubicBezTo>
                <a:cubicBezTo>
                  <a:pt x="1989" y="2036"/>
                  <a:pt x="2243" y="1782"/>
                  <a:pt x="2243" y="1463"/>
                </a:cubicBezTo>
                <a:cubicBezTo>
                  <a:pt x="2243" y="1145"/>
                  <a:pt x="1989" y="891"/>
                  <a:pt x="1671" y="891"/>
                </a:cubicBezTo>
                <a:close/>
                <a:moveTo>
                  <a:pt x="1671" y="1877"/>
                </a:moveTo>
                <a:cubicBezTo>
                  <a:pt x="1432" y="1877"/>
                  <a:pt x="1257" y="1686"/>
                  <a:pt x="1257" y="1463"/>
                </a:cubicBezTo>
                <a:cubicBezTo>
                  <a:pt x="1257" y="1225"/>
                  <a:pt x="1432" y="1050"/>
                  <a:pt x="1671" y="1050"/>
                </a:cubicBezTo>
                <a:cubicBezTo>
                  <a:pt x="1894" y="1050"/>
                  <a:pt x="2084" y="1225"/>
                  <a:pt x="2084" y="1463"/>
                </a:cubicBezTo>
                <a:cubicBezTo>
                  <a:pt x="2084" y="1686"/>
                  <a:pt x="1894" y="1877"/>
                  <a:pt x="1671" y="1877"/>
                </a:cubicBezTo>
                <a:close/>
                <a:moveTo>
                  <a:pt x="1671" y="0"/>
                </a:moveTo>
                <a:cubicBezTo>
                  <a:pt x="748" y="0"/>
                  <a:pt x="0" y="747"/>
                  <a:pt x="0" y="1654"/>
                </a:cubicBezTo>
                <a:cubicBezTo>
                  <a:pt x="0" y="2243"/>
                  <a:pt x="366" y="2688"/>
                  <a:pt x="621" y="2959"/>
                </a:cubicBezTo>
                <a:cubicBezTo>
                  <a:pt x="1082" y="3420"/>
                  <a:pt x="1591" y="4534"/>
                  <a:pt x="1591" y="4677"/>
                </a:cubicBezTo>
                <a:cubicBezTo>
                  <a:pt x="1591" y="4709"/>
                  <a:pt x="1623" y="4756"/>
                  <a:pt x="1671" y="4756"/>
                </a:cubicBezTo>
                <a:cubicBezTo>
                  <a:pt x="1718" y="4756"/>
                  <a:pt x="1750" y="4709"/>
                  <a:pt x="1750" y="4677"/>
                </a:cubicBezTo>
                <a:cubicBezTo>
                  <a:pt x="1750" y="4534"/>
                  <a:pt x="2259" y="3420"/>
                  <a:pt x="2705" y="2959"/>
                </a:cubicBezTo>
                <a:cubicBezTo>
                  <a:pt x="2975" y="2688"/>
                  <a:pt x="3341" y="2243"/>
                  <a:pt x="3341" y="1654"/>
                </a:cubicBezTo>
                <a:cubicBezTo>
                  <a:pt x="3341" y="747"/>
                  <a:pt x="2594" y="0"/>
                  <a:pt x="1671" y="0"/>
                </a:cubicBezTo>
                <a:close/>
                <a:moveTo>
                  <a:pt x="2594" y="2847"/>
                </a:moveTo>
                <a:cubicBezTo>
                  <a:pt x="2243" y="3213"/>
                  <a:pt x="1846" y="3961"/>
                  <a:pt x="1671" y="4391"/>
                </a:cubicBezTo>
                <a:cubicBezTo>
                  <a:pt x="1495" y="3961"/>
                  <a:pt x="1098" y="3213"/>
                  <a:pt x="748" y="2847"/>
                </a:cubicBezTo>
                <a:cubicBezTo>
                  <a:pt x="350" y="2434"/>
                  <a:pt x="159" y="2068"/>
                  <a:pt x="159" y="1654"/>
                </a:cubicBezTo>
                <a:cubicBezTo>
                  <a:pt x="159" y="827"/>
                  <a:pt x="843" y="159"/>
                  <a:pt x="1671" y="159"/>
                </a:cubicBezTo>
                <a:cubicBezTo>
                  <a:pt x="2498" y="159"/>
                  <a:pt x="3182" y="827"/>
                  <a:pt x="3182" y="1654"/>
                </a:cubicBezTo>
                <a:cubicBezTo>
                  <a:pt x="3182" y="2068"/>
                  <a:pt x="2991" y="2434"/>
                  <a:pt x="2594" y="284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1" name="Freeform: Shape 9">
            <a:extLst>
              <a:ext uri="{FF2B5EF4-FFF2-40B4-BE49-F238E27FC236}">
                <a16:creationId xmlns:a16="http://schemas.microsoft.com/office/drawing/2014/main" id="{0E42CA42-D481-0241-8F01-DFA3AEF8C633}"/>
              </a:ext>
            </a:extLst>
          </p:cNvPr>
          <p:cNvSpPr/>
          <p:nvPr/>
        </p:nvSpPr>
        <p:spPr>
          <a:xfrm>
            <a:off x="10079135" y="3141748"/>
            <a:ext cx="1575000" cy="1769400"/>
          </a:xfrm>
          <a:custGeom>
            <a:avLst/>
            <a:gdLst/>
            <a:ahLst/>
            <a:cxnLst>
              <a:cxn ang="3cd4">
                <a:pos x="hc" y="t"/>
              </a:cxn>
              <a:cxn ang="cd2">
                <a:pos x="l" y="vc"/>
              </a:cxn>
              <a:cxn ang="cd4">
                <a:pos x="hc" y="b"/>
              </a:cxn>
              <a:cxn ang="0">
                <a:pos x="r" y="vc"/>
              </a:cxn>
            </a:cxnLst>
            <a:rect l="l" t="t" r="r" b="b"/>
            <a:pathLst>
              <a:path w="4376" h="4916">
                <a:moveTo>
                  <a:pt x="4312" y="1829"/>
                </a:moveTo>
                <a:cubicBezTo>
                  <a:pt x="4296" y="1686"/>
                  <a:pt x="4264" y="1559"/>
                  <a:pt x="4216" y="1432"/>
                </a:cubicBezTo>
                <a:cubicBezTo>
                  <a:pt x="4201" y="1368"/>
                  <a:pt x="4153" y="1336"/>
                  <a:pt x="4121" y="1320"/>
                </a:cubicBezTo>
                <a:lnTo>
                  <a:pt x="4089" y="1241"/>
                </a:lnTo>
                <a:cubicBezTo>
                  <a:pt x="4105" y="1193"/>
                  <a:pt x="4105" y="1129"/>
                  <a:pt x="4089" y="1066"/>
                </a:cubicBezTo>
                <a:cubicBezTo>
                  <a:pt x="4026" y="954"/>
                  <a:pt x="3978" y="843"/>
                  <a:pt x="3898" y="747"/>
                </a:cubicBezTo>
                <a:cubicBezTo>
                  <a:pt x="3867" y="684"/>
                  <a:pt x="3803" y="668"/>
                  <a:pt x="3755" y="668"/>
                </a:cubicBezTo>
                <a:cubicBezTo>
                  <a:pt x="3750" y="657"/>
                  <a:pt x="3739" y="652"/>
                  <a:pt x="3739" y="636"/>
                </a:cubicBezTo>
                <a:cubicBezTo>
                  <a:pt x="3755" y="572"/>
                  <a:pt x="3739" y="509"/>
                  <a:pt x="3692" y="461"/>
                </a:cubicBezTo>
                <a:cubicBezTo>
                  <a:pt x="3612" y="381"/>
                  <a:pt x="3533" y="302"/>
                  <a:pt x="3453" y="238"/>
                </a:cubicBezTo>
                <a:cubicBezTo>
                  <a:pt x="3437" y="238"/>
                  <a:pt x="3389" y="207"/>
                  <a:pt x="3278" y="223"/>
                </a:cubicBezTo>
                <a:cubicBezTo>
                  <a:pt x="3262" y="159"/>
                  <a:pt x="3230" y="111"/>
                  <a:pt x="3182" y="95"/>
                </a:cubicBezTo>
                <a:cubicBezTo>
                  <a:pt x="3087" y="47"/>
                  <a:pt x="2992" y="16"/>
                  <a:pt x="2896" y="16"/>
                </a:cubicBezTo>
                <a:cubicBezTo>
                  <a:pt x="2864" y="0"/>
                  <a:pt x="2737" y="0"/>
                  <a:pt x="2689" y="0"/>
                </a:cubicBezTo>
                <a:lnTo>
                  <a:pt x="2610" y="0"/>
                </a:lnTo>
                <a:lnTo>
                  <a:pt x="1798" y="0"/>
                </a:lnTo>
                <a:lnTo>
                  <a:pt x="1639" y="0"/>
                </a:lnTo>
                <a:lnTo>
                  <a:pt x="1544" y="0"/>
                </a:lnTo>
                <a:cubicBezTo>
                  <a:pt x="1448" y="16"/>
                  <a:pt x="1369" y="16"/>
                  <a:pt x="1273" y="63"/>
                </a:cubicBezTo>
                <a:cubicBezTo>
                  <a:pt x="1210" y="79"/>
                  <a:pt x="1178" y="143"/>
                  <a:pt x="1178" y="207"/>
                </a:cubicBezTo>
                <a:lnTo>
                  <a:pt x="1178" y="238"/>
                </a:lnTo>
                <a:lnTo>
                  <a:pt x="1098" y="238"/>
                </a:lnTo>
                <a:cubicBezTo>
                  <a:pt x="1019" y="238"/>
                  <a:pt x="939" y="238"/>
                  <a:pt x="876" y="270"/>
                </a:cubicBezTo>
                <a:cubicBezTo>
                  <a:pt x="828" y="318"/>
                  <a:pt x="812" y="318"/>
                  <a:pt x="796" y="350"/>
                </a:cubicBezTo>
                <a:cubicBezTo>
                  <a:pt x="780" y="366"/>
                  <a:pt x="764" y="381"/>
                  <a:pt x="748" y="398"/>
                </a:cubicBezTo>
                <a:cubicBezTo>
                  <a:pt x="700" y="429"/>
                  <a:pt x="685" y="493"/>
                  <a:pt x="700" y="541"/>
                </a:cubicBezTo>
                <a:cubicBezTo>
                  <a:pt x="700" y="572"/>
                  <a:pt x="716" y="589"/>
                  <a:pt x="716" y="604"/>
                </a:cubicBezTo>
                <a:cubicBezTo>
                  <a:pt x="700" y="636"/>
                  <a:pt x="669" y="668"/>
                  <a:pt x="653" y="684"/>
                </a:cubicBezTo>
                <a:cubicBezTo>
                  <a:pt x="605" y="684"/>
                  <a:pt x="510" y="668"/>
                  <a:pt x="462" y="747"/>
                </a:cubicBezTo>
                <a:cubicBezTo>
                  <a:pt x="398" y="827"/>
                  <a:pt x="382" y="859"/>
                  <a:pt x="351" y="923"/>
                </a:cubicBezTo>
                <a:cubicBezTo>
                  <a:pt x="351" y="938"/>
                  <a:pt x="334" y="970"/>
                  <a:pt x="319" y="1002"/>
                </a:cubicBezTo>
                <a:cubicBezTo>
                  <a:pt x="287" y="1050"/>
                  <a:pt x="287" y="1161"/>
                  <a:pt x="334" y="1209"/>
                </a:cubicBezTo>
                <a:cubicBezTo>
                  <a:pt x="334" y="1241"/>
                  <a:pt x="319" y="1272"/>
                  <a:pt x="303" y="1289"/>
                </a:cubicBezTo>
                <a:cubicBezTo>
                  <a:pt x="255" y="1289"/>
                  <a:pt x="191" y="1304"/>
                  <a:pt x="160" y="1400"/>
                </a:cubicBezTo>
                <a:cubicBezTo>
                  <a:pt x="112" y="1511"/>
                  <a:pt x="112" y="1559"/>
                  <a:pt x="80" y="1670"/>
                </a:cubicBezTo>
                <a:lnTo>
                  <a:pt x="80" y="1702"/>
                </a:lnTo>
                <a:cubicBezTo>
                  <a:pt x="64" y="1781"/>
                  <a:pt x="96" y="1861"/>
                  <a:pt x="144" y="1893"/>
                </a:cubicBezTo>
                <a:cubicBezTo>
                  <a:pt x="144" y="1941"/>
                  <a:pt x="128" y="2020"/>
                  <a:pt x="112" y="2068"/>
                </a:cubicBezTo>
                <a:cubicBezTo>
                  <a:pt x="64" y="2084"/>
                  <a:pt x="16" y="2132"/>
                  <a:pt x="16" y="2211"/>
                </a:cubicBezTo>
                <a:cubicBezTo>
                  <a:pt x="0" y="2291"/>
                  <a:pt x="0" y="2307"/>
                  <a:pt x="0" y="2354"/>
                </a:cubicBezTo>
                <a:lnTo>
                  <a:pt x="0" y="2418"/>
                </a:lnTo>
                <a:lnTo>
                  <a:pt x="0" y="2529"/>
                </a:lnTo>
                <a:cubicBezTo>
                  <a:pt x="16" y="2625"/>
                  <a:pt x="80" y="2704"/>
                  <a:pt x="128" y="2720"/>
                </a:cubicBezTo>
                <a:cubicBezTo>
                  <a:pt x="144" y="2736"/>
                  <a:pt x="144" y="2800"/>
                  <a:pt x="128" y="2832"/>
                </a:cubicBezTo>
                <a:cubicBezTo>
                  <a:pt x="112" y="2848"/>
                  <a:pt x="96" y="2863"/>
                  <a:pt x="80" y="2880"/>
                </a:cubicBezTo>
                <a:cubicBezTo>
                  <a:pt x="48" y="2927"/>
                  <a:pt x="33" y="2991"/>
                  <a:pt x="48" y="3038"/>
                </a:cubicBezTo>
                <a:lnTo>
                  <a:pt x="48" y="3071"/>
                </a:lnTo>
                <a:cubicBezTo>
                  <a:pt x="64" y="3182"/>
                  <a:pt x="64" y="3214"/>
                  <a:pt x="96" y="3325"/>
                </a:cubicBezTo>
                <a:cubicBezTo>
                  <a:pt x="112" y="3389"/>
                  <a:pt x="160" y="3436"/>
                  <a:pt x="223" y="3452"/>
                </a:cubicBezTo>
                <a:cubicBezTo>
                  <a:pt x="239" y="3484"/>
                  <a:pt x="271" y="3563"/>
                  <a:pt x="287" y="3611"/>
                </a:cubicBezTo>
                <a:cubicBezTo>
                  <a:pt x="282" y="3616"/>
                  <a:pt x="287" y="3627"/>
                  <a:pt x="271" y="3627"/>
                </a:cubicBezTo>
                <a:cubicBezTo>
                  <a:pt x="239" y="3691"/>
                  <a:pt x="255" y="3771"/>
                  <a:pt x="271" y="3834"/>
                </a:cubicBezTo>
                <a:cubicBezTo>
                  <a:pt x="287" y="3866"/>
                  <a:pt x="303" y="3882"/>
                  <a:pt x="303" y="3898"/>
                </a:cubicBezTo>
                <a:cubicBezTo>
                  <a:pt x="319" y="3929"/>
                  <a:pt x="319" y="3945"/>
                  <a:pt x="367" y="4009"/>
                </a:cubicBezTo>
                <a:cubicBezTo>
                  <a:pt x="398" y="4057"/>
                  <a:pt x="478" y="4105"/>
                  <a:pt x="494" y="4105"/>
                </a:cubicBezTo>
                <a:cubicBezTo>
                  <a:pt x="510" y="4120"/>
                  <a:pt x="557" y="4168"/>
                  <a:pt x="589" y="4200"/>
                </a:cubicBezTo>
                <a:lnTo>
                  <a:pt x="589" y="4216"/>
                </a:lnTo>
                <a:cubicBezTo>
                  <a:pt x="557" y="4263"/>
                  <a:pt x="573" y="4343"/>
                  <a:pt x="621" y="4375"/>
                </a:cubicBezTo>
                <a:lnTo>
                  <a:pt x="653" y="4423"/>
                </a:lnTo>
                <a:cubicBezTo>
                  <a:pt x="685" y="4471"/>
                  <a:pt x="685" y="4471"/>
                  <a:pt x="748" y="4534"/>
                </a:cubicBezTo>
                <a:cubicBezTo>
                  <a:pt x="812" y="4566"/>
                  <a:pt x="891" y="4582"/>
                  <a:pt x="939" y="4582"/>
                </a:cubicBezTo>
                <a:lnTo>
                  <a:pt x="955" y="4582"/>
                </a:lnTo>
                <a:cubicBezTo>
                  <a:pt x="971" y="4598"/>
                  <a:pt x="1003" y="4598"/>
                  <a:pt x="1034" y="4614"/>
                </a:cubicBezTo>
                <a:lnTo>
                  <a:pt x="1034" y="4629"/>
                </a:lnTo>
                <a:cubicBezTo>
                  <a:pt x="1019" y="4693"/>
                  <a:pt x="1082" y="4773"/>
                  <a:pt x="1114" y="4789"/>
                </a:cubicBezTo>
                <a:cubicBezTo>
                  <a:pt x="1210" y="4836"/>
                  <a:pt x="1305" y="4868"/>
                  <a:pt x="1401" y="4900"/>
                </a:cubicBezTo>
                <a:lnTo>
                  <a:pt x="1433" y="4900"/>
                </a:lnTo>
                <a:cubicBezTo>
                  <a:pt x="1448" y="4900"/>
                  <a:pt x="1496" y="4900"/>
                  <a:pt x="1544" y="4916"/>
                </a:cubicBezTo>
                <a:lnTo>
                  <a:pt x="1703" y="4916"/>
                </a:lnTo>
                <a:lnTo>
                  <a:pt x="2658" y="4916"/>
                </a:lnTo>
                <a:lnTo>
                  <a:pt x="2816" y="4916"/>
                </a:lnTo>
                <a:cubicBezTo>
                  <a:pt x="2928" y="4916"/>
                  <a:pt x="2976" y="4900"/>
                  <a:pt x="3024" y="4900"/>
                </a:cubicBezTo>
                <a:cubicBezTo>
                  <a:pt x="3039" y="4884"/>
                  <a:pt x="3087" y="4884"/>
                  <a:pt x="3151" y="4773"/>
                </a:cubicBezTo>
                <a:lnTo>
                  <a:pt x="3262" y="4773"/>
                </a:lnTo>
                <a:cubicBezTo>
                  <a:pt x="3278" y="4773"/>
                  <a:pt x="3310" y="4773"/>
                  <a:pt x="3326" y="4757"/>
                </a:cubicBezTo>
                <a:cubicBezTo>
                  <a:pt x="3405" y="4709"/>
                  <a:pt x="3501" y="4645"/>
                  <a:pt x="3580" y="4566"/>
                </a:cubicBezTo>
                <a:cubicBezTo>
                  <a:pt x="3628" y="4534"/>
                  <a:pt x="3644" y="4454"/>
                  <a:pt x="3628" y="4391"/>
                </a:cubicBezTo>
                <a:cubicBezTo>
                  <a:pt x="3644" y="4391"/>
                  <a:pt x="3644" y="4375"/>
                  <a:pt x="3660" y="4375"/>
                </a:cubicBezTo>
                <a:cubicBezTo>
                  <a:pt x="3707" y="4375"/>
                  <a:pt x="3771" y="4359"/>
                  <a:pt x="3803" y="4311"/>
                </a:cubicBezTo>
                <a:cubicBezTo>
                  <a:pt x="3883" y="4216"/>
                  <a:pt x="3946" y="4120"/>
                  <a:pt x="4010" y="4009"/>
                </a:cubicBezTo>
                <a:cubicBezTo>
                  <a:pt x="4042" y="3962"/>
                  <a:pt x="4042" y="3898"/>
                  <a:pt x="4010" y="3834"/>
                </a:cubicBezTo>
                <a:cubicBezTo>
                  <a:pt x="4026" y="3802"/>
                  <a:pt x="4042" y="3786"/>
                  <a:pt x="4042" y="3771"/>
                </a:cubicBezTo>
                <a:cubicBezTo>
                  <a:pt x="4089" y="3754"/>
                  <a:pt x="4137" y="3723"/>
                  <a:pt x="4169" y="3659"/>
                </a:cubicBezTo>
                <a:cubicBezTo>
                  <a:pt x="4201" y="3548"/>
                  <a:pt x="4249" y="3420"/>
                  <a:pt x="4280" y="3277"/>
                </a:cubicBezTo>
                <a:cubicBezTo>
                  <a:pt x="4296" y="3214"/>
                  <a:pt x="4280" y="3150"/>
                  <a:pt x="4249" y="3118"/>
                </a:cubicBezTo>
                <a:cubicBezTo>
                  <a:pt x="4249" y="3086"/>
                  <a:pt x="4264" y="3054"/>
                  <a:pt x="4264" y="3023"/>
                </a:cubicBezTo>
                <a:cubicBezTo>
                  <a:pt x="4312" y="2991"/>
                  <a:pt x="4344" y="2943"/>
                  <a:pt x="4344" y="2880"/>
                </a:cubicBezTo>
                <a:cubicBezTo>
                  <a:pt x="4360" y="2736"/>
                  <a:pt x="4376" y="2593"/>
                  <a:pt x="4376" y="2466"/>
                </a:cubicBezTo>
                <a:cubicBezTo>
                  <a:pt x="4376" y="2386"/>
                  <a:pt x="4376" y="2307"/>
                  <a:pt x="4360" y="2243"/>
                </a:cubicBezTo>
                <a:cubicBezTo>
                  <a:pt x="4360" y="2180"/>
                  <a:pt x="4344" y="2132"/>
                  <a:pt x="4312" y="2100"/>
                </a:cubicBezTo>
                <a:cubicBezTo>
                  <a:pt x="4296" y="2100"/>
                  <a:pt x="4296" y="2100"/>
                  <a:pt x="4280" y="2084"/>
                </a:cubicBezTo>
                <a:lnTo>
                  <a:pt x="4280" y="1989"/>
                </a:lnTo>
                <a:cubicBezTo>
                  <a:pt x="4312" y="1957"/>
                  <a:pt x="4328" y="1893"/>
                  <a:pt x="4312" y="1829"/>
                </a:cubicBezTo>
                <a:close/>
                <a:moveTo>
                  <a:pt x="1560" y="4757"/>
                </a:moveTo>
                <a:cubicBezTo>
                  <a:pt x="1512" y="4741"/>
                  <a:pt x="1448" y="4741"/>
                  <a:pt x="1433" y="4741"/>
                </a:cubicBezTo>
                <a:cubicBezTo>
                  <a:pt x="1369" y="4725"/>
                  <a:pt x="1305" y="4709"/>
                  <a:pt x="1242" y="4677"/>
                </a:cubicBezTo>
                <a:cubicBezTo>
                  <a:pt x="1257" y="4662"/>
                  <a:pt x="1257" y="4629"/>
                  <a:pt x="1257" y="4614"/>
                </a:cubicBezTo>
                <a:cubicBezTo>
                  <a:pt x="1273" y="4502"/>
                  <a:pt x="1034" y="4439"/>
                  <a:pt x="987" y="4439"/>
                </a:cubicBezTo>
                <a:cubicBezTo>
                  <a:pt x="971" y="4423"/>
                  <a:pt x="955" y="4423"/>
                  <a:pt x="939" y="4423"/>
                </a:cubicBezTo>
                <a:cubicBezTo>
                  <a:pt x="891" y="4423"/>
                  <a:pt x="886" y="4412"/>
                  <a:pt x="860" y="4407"/>
                </a:cubicBezTo>
                <a:cubicBezTo>
                  <a:pt x="796" y="4359"/>
                  <a:pt x="796" y="4359"/>
                  <a:pt x="764" y="4311"/>
                </a:cubicBezTo>
                <a:lnTo>
                  <a:pt x="748" y="4280"/>
                </a:lnTo>
                <a:cubicBezTo>
                  <a:pt x="764" y="4263"/>
                  <a:pt x="780" y="4248"/>
                  <a:pt x="780" y="4216"/>
                </a:cubicBezTo>
                <a:cubicBezTo>
                  <a:pt x="780" y="4136"/>
                  <a:pt x="589" y="3962"/>
                  <a:pt x="542" y="3962"/>
                </a:cubicBezTo>
                <a:lnTo>
                  <a:pt x="510" y="3929"/>
                </a:lnTo>
                <a:cubicBezTo>
                  <a:pt x="478" y="3866"/>
                  <a:pt x="462" y="3866"/>
                  <a:pt x="462" y="3834"/>
                </a:cubicBezTo>
                <a:cubicBezTo>
                  <a:pt x="446" y="3818"/>
                  <a:pt x="446" y="3802"/>
                  <a:pt x="430" y="3754"/>
                </a:cubicBezTo>
                <a:cubicBezTo>
                  <a:pt x="414" y="3754"/>
                  <a:pt x="414" y="3739"/>
                  <a:pt x="414" y="3723"/>
                </a:cubicBezTo>
                <a:cubicBezTo>
                  <a:pt x="430" y="3707"/>
                  <a:pt x="462" y="3691"/>
                  <a:pt x="462" y="3659"/>
                </a:cubicBezTo>
                <a:cubicBezTo>
                  <a:pt x="478" y="3580"/>
                  <a:pt x="367" y="3341"/>
                  <a:pt x="287" y="3309"/>
                </a:cubicBezTo>
                <a:cubicBezTo>
                  <a:pt x="271" y="3309"/>
                  <a:pt x="255" y="3293"/>
                  <a:pt x="255" y="3277"/>
                </a:cubicBezTo>
                <a:cubicBezTo>
                  <a:pt x="223" y="3182"/>
                  <a:pt x="223" y="3150"/>
                  <a:pt x="207" y="3054"/>
                </a:cubicBezTo>
                <a:lnTo>
                  <a:pt x="207" y="3007"/>
                </a:lnTo>
                <a:lnTo>
                  <a:pt x="207" y="2975"/>
                </a:lnTo>
                <a:cubicBezTo>
                  <a:pt x="239" y="2975"/>
                  <a:pt x="271" y="2959"/>
                  <a:pt x="287" y="2880"/>
                </a:cubicBezTo>
                <a:cubicBezTo>
                  <a:pt x="260" y="2784"/>
                  <a:pt x="334" y="2641"/>
                  <a:pt x="207" y="2593"/>
                </a:cubicBezTo>
                <a:cubicBezTo>
                  <a:pt x="191" y="2577"/>
                  <a:pt x="160" y="2545"/>
                  <a:pt x="160" y="2529"/>
                </a:cubicBezTo>
                <a:lnTo>
                  <a:pt x="160" y="2418"/>
                </a:lnTo>
                <a:lnTo>
                  <a:pt x="160" y="2354"/>
                </a:lnTo>
                <a:lnTo>
                  <a:pt x="160" y="2211"/>
                </a:lnTo>
                <a:cubicBezTo>
                  <a:pt x="239" y="2211"/>
                  <a:pt x="271" y="2116"/>
                  <a:pt x="271" y="2084"/>
                </a:cubicBezTo>
                <a:cubicBezTo>
                  <a:pt x="303" y="2004"/>
                  <a:pt x="334" y="1829"/>
                  <a:pt x="239" y="1781"/>
                </a:cubicBezTo>
                <a:cubicBezTo>
                  <a:pt x="239" y="1765"/>
                  <a:pt x="223" y="1766"/>
                  <a:pt x="239" y="1734"/>
                </a:cubicBezTo>
                <a:lnTo>
                  <a:pt x="239" y="1702"/>
                </a:lnTo>
                <a:cubicBezTo>
                  <a:pt x="255" y="1591"/>
                  <a:pt x="271" y="1559"/>
                  <a:pt x="303" y="1447"/>
                </a:cubicBezTo>
                <a:lnTo>
                  <a:pt x="334" y="1447"/>
                </a:lnTo>
                <a:cubicBezTo>
                  <a:pt x="430" y="1447"/>
                  <a:pt x="478" y="1289"/>
                  <a:pt x="494" y="1257"/>
                </a:cubicBezTo>
                <a:cubicBezTo>
                  <a:pt x="510" y="1193"/>
                  <a:pt x="494" y="1129"/>
                  <a:pt x="462" y="1113"/>
                </a:cubicBezTo>
                <a:lnTo>
                  <a:pt x="462" y="1066"/>
                </a:lnTo>
                <a:cubicBezTo>
                  <a:pt x="478" y="1034"/>
                  <a:pt x="494" y="1018"/>
                  <a:pt x="510" y="986"/>
                </a:cubicBezTo>
                <a:cubicBezTo>
                  <a:pt x="525" y="938"/>
                  <a:pt x="542" y="907"/>
                  <a:pt x="589" y="843"/>
                </a:cubicBezTo>
                <a:lnTo>
                  <a:pt x="637" y="843"/>
                </a:lnTo>
                <a:cubicBezTo>
                  <a:pt x="748" y="843"/>
                  <a:pt x="876" y="684"/>
                  <a:pt x="891" y="620"/>
                </a:cubicBezTo>
                <a:cubicBezTo>
                  <a:pt x="907" y="572"/>
                  <a:pt x="876" y="525"/>
                  <a:pt x="860" y="509"/>
                </a:cubicBezTo>
                <a:cubicBezTo>
                  <a:pt x="876" y="477"/>
                  <a:pt x="891" y="461"/>
                  <a:pt x="907" y="461"/>
                </a:cubicBezTo>
                <a:cubicBezTo>
                  <a:pt x="923" y="429"/>
                  <a:pt x="923" y="429"/>
                  <a:pt x="971" y="398"/>
                </a:cubicBezTo>
                <a:lnTo>
                  <a:pt x="1082" y="398"/>
                </a:lnTo>
                <a:cubicBezTo>
                  <a:pt x="1210" y="398"/>
                  <a:pt x="1337" y="366"/>
                  <a:pt x="1353" y="286"/>
                </a:cubicBezTo>
                <a:cubicBezTo>
                  <a:pt x="1369" y="254"/>
                  <a:pt x="1353" y="223"/>
                  <a:pt x="1337" y="207"/>
                </a:cubicBezTo>
                <a:cubicBezTo>
                  <a:pt x="1416" y="175"/>
                  <a:pt x="1480" y="175"/>
                  <a:pt x="1544" y="159"/>
                </a:cubicBezTo>
                <a:lnTo>
                  <a:pt x="1639" y="159"/>
                </a:lnTo>
                <a:lnTo>
                  <a:pt x="1814" y="159"/>
                </a:lnTo>
                <a:lnTo>
                  <a:pt x="2324" y="159"/>
                </a:lnTo>
                <a:cubicBezTo>
                  <a:pt x="2307" y="175"/>
                  <a:pt x="2276" y="190"/>
                  <a:pt x="2244" y="207"/>
                </a:cubicBezTo>
                <a:cubicBezTo>
                  <a:pt x="2228" y="223"/>
                  <a:pt x="2212" y="254"/>
                  <a:pt x="2212" y="286"/>
                </a:cubicBezTo>
                <a:cubicBezTo>
                  <a:pt x="2212" y="302"/>
                  <a:pt x="2212" y="302"/>
                  <a:pt x="2228" y="302"/>
                </a:cubicBezTo>
                <a:lnTo>
                  <a:pt x="2212" y="302"/>
                </a:lnTo>
                <a:lnTo>
                  <a:pt x="2196" y="302"/>
                </a:lnTo>
                <a:cubicBezTo>
                  <a:pt x="2180" y="286"/>
                  <a:pt x="2133" y="286"/>
                  <a:pt x="2116" y="302"/>
                </a:cubicBezTo>
                <a:cubicBezTo>
                  <a:pt x="2037" y="366"/>
                  <a:pt x="1958" y="445"/>
                  <a:pt x="1878" y="525"/>
                </a:cubicBezTo>
                <a:cubicBezTo>
                  <a:pt x="1862" y="541"/>
                  <a:pt x="1846" y="572"/>
                  <a:pt x="1862" y="604"/>
                </a:cubicBezTo>
                <a:cubicBezTo>
                  <a:pt x="1862" y="620"/>
                  <a:pt x="1862" y="620"/>
                  <a:pt x="1878" y="636"/>
                </a:cubicBezTo>
                <a:cubicBezTo>
                  <a:pt x="1878" y="652"/>
                  <a:pt x="1862" y="668"/>
                  <a:pt x="1846" y="668"/>
                </a:cubicBezTo>
                <a:cubicBezTo>
                  <a:pt x="1830" y="668"/>
                  <a:pt x="1830" y="652"/>
                  <a:pt x="1814" y="652"/>
                </a:cubicBezTo>
                <a:cubicBezTo>
                  <a:pt x="1782" y="652"/>
                  <a:pt x="1751" y="668"/>
                  <a:pt x="1735" y="684"/>
                </a:cubicBezTo>
                <a:cubicBezTo>
                  <a:pt x="1639" y="811"/>
                  <a:pt x="1560" y="938"/>
                  <a:pt x="1480" y="1098"/>
                </a:cubicBezTo>
                <a:cubicBezTo>
                  <a:pt x="1464" y="1113"/>
                  <a:pt x="1464" y="1145"/>
                  <a:pt x="1496" y="1177"/>
                </a:cubicBezTo>
                <a:cubicBezTo>
                  <a:pt x="1501" y="1182"/>
                  <a:pt x="1496" y="1193"/>
                  <a:pt x="1512" y="1193"/>
                </a:cubicBezTo>
                <a:cubicBezTo>
                  <a:pt x="1512" y="1225"/>
                  <a:pt x="1496" y="1241"/>
                  <a:pt x="1480" y="1272"/>
                </a:cubicBezTo>
                <a:lnTo>
                  <a:pt x="1448" y="1272"/>
                </a:lnTo>
                <a:cubicBezTo>
                  <a:pt x="1416" y="1272"/>
                  <a:pt x="1385" y="1289"/>
                  <a:pt x="1385" y="1320"/>
                </a:cubicBezTo>
                <a:cubicBezTo>
                  <a:pt x="1321" y="1480"/>
                  <a:pt x="1273" y="1638"/>
                  <a:pt x="1242" y="1814"/>
                </a:cubicBezTo>
                <a:cubicBezTo>
                  <a:pt x="1225" y="1845"/>
                  <a:pt x="1242" y="1877"/>
                  <a:pt x="1257" y="1893"/>
                </a:cubicBezTo>
                <a:cubicBezTo>
                  <a:pt x="1273" y="1893"/>
                  <a:pt x="1278" y="1904"/>
                  <a:pt x="1289" y="1909"/>
                </a:cubicBezTo>
                <a:cubicBezTo>
                  <a:pt x="1289" y="1925"/>
                  <a:pt x="1289" y="1972"/>
                  <a:pt x="1273" y="1989"/>
                </a:cubicBezTo>
                <a:cubicBezTo>
                  <a:pt x="1257" y="1989"/>
                  <a:pt x="1257" y="1989"/>
                  <a:pt x="1242" y="2004"/>
                </a:cubicBezTo>
                <a:cubicBezTo>
                  <a:pt x="1225" y="2004"/>
                  <a:pt x="1210" y="2036"/>
                  <a:pt x="1194" y="2052"/>
                </a:cubicBezTo>
                <a:cubicBezTo>
                  <a:pt x="1178" y="2195"/>
                  <a:pt x="1178" y="2338"/>
                  <a:pt x="1178" y="2466"/>
                </a:cubicBezTo>
                <a:lnTo>
                  <a:pt x="1178" y="2561"/>
                </a:lnTo>
                <a:cubicBezTo>
                  <a:pt x="1178" y="2593"/>
                  <a:pt x="1194" y="2609"/>
                  <a:pt x="1210" y="2625"/>
                </a:cubicBezTo>
                <a:cubicBezTo>
                  <a:pt x="1225" y="2641"/>
                  <a:pt x="1242" y="2641"/>
                  <a:pt x="1257" y="2641"/>
                </a:cubicBezTo>
                <a:cubicBezTo>
                  <a:pt x="1273" y="2672"/>
                  <a:pt x="1273" y="2720"/>
                  <a:pt x="1273" y="2736"/>
                </a:cubicBezTo>
                <a:cubicBezTo>
                  <a:pt x="1242" y="2736"/>
                  <a:pt x="1225" y="2736"/>
                  <a:pt x="1210" y="2768"/>
                </a:cubicBezTo>
                <a:cubicBezTo>
                  <a:pt x="1194" y="2784"/>
                  <a:pt x="1194" y="2800"/>
                  <a:pt x="1194" y="2816"/>
                </a:cubicBezTo>
                <a:cubicBezTo>
                  <a:pt x="1210" y="2991"/>
                  <a:pt x="1242" y="3166"/>
                  <a:pt x="1289" y="3325"/>
                </a:cubicBezTo>
                <a:cubicBezTo>
                  <a:pt x="1289" y="3357"/>
                  <a:pt x="1305" y="3372"/>
                  <a:pt x="1337" y="3389"/>
                </a:cubicBezTo>
                <a:lnTo>
                  <a:pt x="1369" y="3389"/>
                </a:lnTo>
                <a:cubicBezTo>
                  <a:pt x="1401" y="3405"/>
                  <a:pt x="1416" y="3452"/>
                  <a:pt x="1416" y="3468"/>
                </a:cubicBezTo>
                <a:cubicBezTo>
                  <a:pt x="1385" y="3468"/>
                  <a:pt x="1369" y="3484"/>
                  <a:pt x="1369" y="3516"/>
                </a:cubicBezTo>
                <a:cubicBezTo>
                  <a:pt x="1353" y="3532"/>
                  <a:pt x="1353" y="3548"/>
                  <a:pt x="1353" y="3563"/>
                </a:cubicBezTo>
                <a:cubicBezTo>
                  <a:pt x="1416" y="3707"/>
                  <a:pt x="1480" y="3850"/>
                  <a:pt x="1544" y="3977"/>
                </a:cubicBezTo>
                <a:cubicBezTo>
                  <a:pt x="1560" y="3993"/>
                  <a:pt x="1591" y="4009"/>
                  <a:pt x="1607" y="4009"/>
                </a:cubicBezTo>
                <a:lnTo>
                  <a:pt x="1639" y="4009"/>
                </a:lnTo>
                <a:cubicBezTo>
                  <a:pt x="1655" y="4025"/>
                  <a:pt x="1671" y="4041"/>
                  <a:pt x="1671" y="4057"/>
                </a:cubicBezTo>
                <a:cubicBezTo>
                  <a:pt x="1666" y="4068"/>
                  <a:pt x="1655" y="4072"/>
                  <a:pt x="1655" y="4089"/>
                </a:cubicBezTo>
                <a:cubicBezTo>
                  <a:pt x="1639" y="4105"/>
                  <a:pt x="1655" y="4136"/>
                  <a:pt x="1671" y="4152"/>
                </a:cubicBezTo>
                <a:cubicBezTo>
                  <a:pt x="1751" y="4280"/>
                  <a:pt x="1846" y="4375"/>
                  <a:pt x="1942" y="4486"/>
                </a:cubicBezTo>
                <a:cubicBezTo>
                  <a:pt x="1958" y="4502"/>
                  <a:pt x="1989" y="4502"/>
                  <a:pt x="2021" y="4502"/>
                </a:cubicBezTo>
                <a:lnTo>
                  <a:pt x="2037" y="4486"/>
                </a:lnTo>
                <a:cubicBezTo>
                  <a:pt x="2037" y="4502"/>
                  <a:pt x="2048" y="4497"/>
                  <a:pt x="2053" y="4502"/>
                </a:cubicBezTo>
                <a:lnTo>
                  <a:pt x="2053" y="4534"/>
                </a:lnTo>
                <a:cubicBezTo>
                  <a:pt x="2037" y="4550"/>
                  <a:pt x="2053" y="4582"/>
                  <a:pt x="2085" y="4598"/>
                </a:cubicBezTo>
                <a:cubicBezTo>
                  <a:pt x="2148" y="4662"/>
                  <a:pt x="2228" y="4709"/>
                  <a:pt x="2307" y="4757"/>
                </a:cubicBezTo>
                <a:lnTo>
                  <a:pt x="1703" y="4757"/>
                </a:lnTo>
                <a:close/>
                <a:moveTo>
                  <a:pt x="4185" y="2863"/>
                </a:moveTo>
                <a:cubicBezTo>
                  <a:pt x="4169" y="2863"/>
                  <a:pt x="4164" y="2874"/>
                  <a:pt x="4153" y="2880"/>
                </a:cubicBezTo>
                <a:cubicBezTo>
                  <a:pt x="4137" y="2895"/>
                  <a:pt x="4121" y="2911"/>
                  <a:pt x="4121" y="2943"/>
                </a:cubicBezTo>
                <a:cubicBezTo>
                  <a:pt x="4105" y="2991"/>
                  <a:pt x="4089" y="3054"/>
                  <a:pt x="4089" y="3118"/>
                </a:cubicBezTo>
                <a:cubicBezTo>
                  <a:pt x="4073" y="3150"/>
                  <a:pt x="4089" y="3198"/>
                  <a:pt x="4121" y="3214"/>
                </a:cubicBezTo>
                <a:lnTo>
                  <a:pt x="4121" y="3245"/>
                </a:lnTo>
                <a:cubicBezTo>
                  <a:pt x="4089" y="3372"/>
                  <a:pt x="4058" y="3484"/>
                  <a:pt x="4010" y="3611"/>
                </a:cubicBezTo>
                <a:lnTo>
                  <a:pt x="3994" y="3611"/>
                </a:lnTo>
                <a:lnTo>
                  <a:pt x="3978" y="3611"/>
                </a:lnTo>
                <a:cubicBezTo>
                  <a:pt x="3946" y="3611"/>
                  <a:pt x="3930" y="3627"/>
                  <a:pt x="3915" y="3659"/>
                </a:cubicBezTo>
                <a:cubicBezTo>
                  <a:pt x="3898" y="3707"/>
                  <a:pt x="3883" y="3723"/>
                  <a:pt x="3867" y="3771"/>
                </a:cubicBezTo>
                <a:lnTo>
                  <a:pt x="3851" y="3802"/>
                </a:lnTo>
                <a:cubicBezTo>
                  <a:pt x="3835" y="3834"/>
                  <a:pt x="3851" y="3866"/>
                  <a:pt x="3867" y="3898"/>
                </a:cubicBezTo>
                <a:lnTo>
                  <a:pt x="3867" y="3929"/>
                </a:lnTo>
                <a:cubicBezTo>
                  <a:pt x="3819" y="4041"/>
                  <a:pt x="3755" y="4120"/>
                  <a:pt x="3692" y="4216"/>
                </a:cubicBezTo>
                <a:cubicBezTo>
                  <a:pt x="3676" y="4216"/>
                  <a:pt x="3660" y="4205"/>
                  <a:pt x="3644" y="4200"/>
                </a:cubicBezTo>
                <a:lnTo>
                  <a:pt x="3644" y="4216"/>
                </a:lnTo>
                <a:lnTo>
                  <a:pt x="3644" y="4200"/>
                </a:lnTo>
                <a:cubicBezTo>
                  <a:pt x="3612" y="4200"/>
                  <a:pt x="3580" y="4216"/>
                  <a:pt x="3564" y="4232"/>
                </a:cubicBezTo>
                <a:cubicBezTo>
                  <a:pt x="3533" y="4280"/>
                  <a:pt x="3533" y="4280"/>
                  <a:pt x="3485" y="4311"/>
                </a:cubicBezTo>
                <a:cubicBezTo>
                  <a:pt x="3485" y="4327"/>
                  <a:pt x="3469" y="4343"/>
                  <a:pt x="3469" y="4375"/>
                </a:cubicBezTo>
                <a:cubicBezTo>
                  <a:pt x="3474" y="4386"/>
                  <a:pt x="3469" y="4391"/>
                  <a:pt x="3485" y="4407"/>
                </a:cubicBezTo>
                <a:cubicBezTo>
                  <a:pt x="3485" y="4423"/>
                  <a:pt x="3485" y="4439"/>
                  <a:pt x="3469" y="4454"/>
                </a:cubicBezTo>
                <a:cubicBezTo>
                  <a:pt x="3405" y="4518"/>
                  <a:pt x="3326" y="4566"/>
                  <a:pt x="3262" y="4614"/>
                </a:cubicBezTo>
                <a:lnTo>
                  <a:pt x="3103" y="4614"/>
                </a:lnTo>
                <a:cubicBezTo>
                  <a:pt x="3071" y="4614"/>
                  <a:pt x="3055" y="4629"/>
                  <a:pt x="3039" y="4662"/>
                </a:cubicBezTo>
                <a:cubicBezTo>
                  <a:pt x="3024" y="4693"/>
                  <a:pt x="2997" y="4715"/>
                  <a:pt x="2976" y="4741"/>
                </a:cubicBezTo>
                <a:cubicBezTo>
                  <a:pt x="2944" y="4757"/>
                  <a:pt x="2912" y="4757"/>
                  <a:pt x="2816" y="4773"/>
                </a:cubicBezTo>
                <a:lnTo>
                  <a:pt x="2673" y="4757"/>
                </a:lnTo>
                <a:cubicBezTo>
                  <a:pt x="2514" y="4709"/>
                  <a:pt x="2355" y="4614"/>
                  <a:pt x="2228" y="4518"/>
                </a:cubicBezTo>
                <a:lnTo>
                  <a:pt x="2228" y="4486"/>
                </a:lnTo>
                <a:cubicBezTo>
                  <a:pt x="2196" y="4407"/>
                  <a:pt x="2101" y="4327"/>
                  <a:pt x="2021" y="4327"/>
                </a:cubicBezTo>
                <a:lnTo>
                  <a:pt x="2005" y="4327"/>
                </a:lnTo>
                <a:cubicBezTo>
                  <a:pt x="1942" y="4263"/>
                  <a:pt x="1894" y="4184"/>
                  <a:pt x="1830" y="4120"/>
                </a:cubicBezTo>
                <a:cubicBezTo>
                  <a:pt x="1830" y="4105"/>
                  <a:pt x="1846" y="4089"/>
                  <a:pt x="1846" y="4072"/>
                </a:cubicBezTo>
                <a:cubicBezTo>
                  <a:pt x="1846" y="3993"/>
                  <a:pt x="1751" y="3866"/>
                  <a:pt x="1671" y="3850"/>
                </a:cubicBezTo>
                <a:lnTo>
                  <a:pt x="1655" y="3850"/>
                </a:lnTo>
                <a:cubicBezTo>
                  <a:pt x="1607" y="3754"/>
                  <a:pt x="1560" y="3659"/>
                  <a:pt x="1528" y="3580"/>
                </a:cubicBezTo>
                <a:cubicBezTo>
                  <a:pt x="1560" y="3548"/>
                  <a:pt x="1560" y="3516"/>
                  <a:pt x="1576" y="3484"/>
                </a:cubicBezTo>
                <a:cubicBezTo>
                  <a:pt x="1576" y="3389"/>
                  <a:pt x="1512" y="3277"/>
                  <a:pt x="1433" y="3229"/>
                </a:cubicBezTo>
                <a:lnTo>
                  <a:pt x="1416" y="3229"/>
                </a:lnTo>
                <a:cubicBezTo>
                  <a:pt x="1401" y="3118"/>
                  <a:pt x="1369" y="2991"/>
                  <a:pt x="1353" y="2863"/>
                </a:cubicBezTo>
                <a:cubicBezTo>
                  <a:pt x="1385" y="2848"/>
                  <a:pt x="1401" y="2816"/>
                  <a:pt x="1416" y="2784"/>
                </a:cubicBezTo>
                <a:cubicBezTo>
                  <a:pt x="1448" y="2704"/>
                  <a:pt x="1433" y="2577"/>
                  <a:pt x="1369" y="2514"/>
                </a:cubicBezTo>
                <a:cubicBezTo>
                  <a:pt x="1353" y="2514"/>
                  <a:pt x="1353" y="2498"/>
                  <a:pt x="1337" y="2498"/>
                </a:cubicBezTo>
                <a:lnTo>
                  <a:pt x="1337" y="2466"/>
                </a:lnTo>
                <a:cubicBezTo>
                  <a:pt x="1337" y="2354"/>
                  <a:pt x="1337" y="2243"/>
                  <a:pt x="1353" y="2132"/>
                </a:cubicBezTo>
                <a:cubicBezTo>
                  <a:pt x="1369" y="2132"/>
                  <a:pt x="1385" y="2116"/>
                  <a:pt x="1385" y="2100"/>
                </a:cubicBezTo>
                <a:cubicBezTo>
                  <a:pt x="1448" y="2036"/>
                  <a:pt x="1480" y="1877"/>
                  <a:pt x="1416" y="1798"/>
                </a:cubicBezTo>
                <a:cubicBezTo>
                  <a:pt x="1411" y="1792"/>
                  <a:pt x="1416" y="1781"/>
                  <a:pt x="1401" y="1781"/>
                </a:cubicBezTo>
                <a:cubicBezTo>
                  <a:pt x="1433" y="1670"/>
                  <a:pt x="1464" y="1543"/>
                  <a:pt x="1512" y="1447"/>
                </a:cubicBezTo>
                <a:cubicBezTo>
                  <a:pt x="1512" y="1432"/>
                  <a:pt x="1528" y="1432"/>
                  <a:pt x="1544" y="1432"/>
                </a:cubicBezTo>
                <a:cubicBezTo>
                  <a:pt x="1639" y="1368"/>
                  <a:pt x="1703" y="1193"/>
                  <a:pt x="1655" y="1113"/>
                </a:cubicBezTo>
                <a:lnTo>
                  <a:pt x="1655" y="1098"/>
                </a:lnTo>
                <a:cubicBezTo>
                  <a:pt x="1703" y="1018"/>
                  <a:pt x="1751" y="923"/>
                  <a:pt x="1814" y="843"/>
                </a:cubicBezTo>
                <a:lnTo>
                  <a:pt x="1846" y="843"/>
                </a:lnTo>
                <a:cubicBezTo>
                  <a:pt x="1942" y="827"/>
                  <a:pt x="2053" y="700"/>
                  <a:pt x="2053" y="604"/>
                </a:cubicBezTo>
                <a:cubicBezTo>
                  <a:pt x="2048" y="593"/>
                  <a:pt x="2037" y="589"/>
                  <a:pt x="2037" y="572"/>
                </a:cubicBezTo>
                <a:cubicBezTo>
                  <a:pt x="2085" y="541"/>
                  <a:pt x="2116" y="509"/>
                  <a:pt x="2148" y="477"/>
                </a:cubicBezTo>
                <a:cubicBezTo>
                  <a:pt x="2212" y="493"/>
                  <a:pt x="2276" y="461"/>
                  <a:pt x="2307" y="429"/>
                </a:cubicBezTo>
                <a:cubicBezTo>
                  <a:pt x="2371" y="381"/>
                  <a:pt x="2403" y="350"/>
                  <a:pt x="2403" y="302"/>
                </a:cubicBezTo>
                <a:cubicBezTo>
                  <a:pt x="2498" y="238"/>
                  <a:pt x="2594" y="190"/>
                  <a:pt x="2705" y="159"/>
                </a:cubicBezTo>
                <a:lnTo>
                  <a:pt x="2864" y="159"/>
                </a:lnTo>
                <a:cubicBezTo>
                  <a:pt x="2944" y="175"/>
                  <a:pt x="3039" y="207"/>
                  <a:pt x="3103" y="238"/>
                </a:cubicBezTo>
                <a:cubicBezTo>
                  <a:pt x="3119" y="238"/>
                  <a:pt x="3119" y="254"/>
                  <a:pt x="3119" y="270"/>
                </a:cubicBezTo>
                <a:cubicBezTo>
                  <a:pt x="3103" y="302"/>
                  <a:pt x="3119" y="334"/>
                  <a:pt x="3151" y="366"/>
                </a:cubicBezTo>
                <a:lnTo>
                  <a:pt x="3182" y="381"/>
                </a:lnTo>
                <a:lnTo>
                  <a:pt x="3230" y="381"/>
                </a:lnTo>
                <a:cubicBezTo>
                  <a:pt x="3294" y="381"/>
                  <a:pt x="3342" y="381"/>
                  <a:pt x="3358" y="366"/>
                </a:cubicBezTo>
                <a:cubicBezTo>
                  <a:pt x="3437" y="429"/>
                  <a:pt x="3501" y="493"/>
                  <a:pt x="3580" y="572"/>
                </a:cubicBezTo>
                <a:lnTo>
                  <a:pt x="3580" y="620"/>
                </a:lnTo>
                <a:cubicBezTo>
                  <a:pt x="3564" y="652"/>
                  <a:pt x="3564" y="684"/>
                  <a:pt x="3580" y="716"/>
                </a:cubicBezTo>
                <a:cubicBezTo>
                  <a:pt x="3612" y="747"/>
                  <a:pt x="3644" y="780"/>
                  <a:pt x="3644" y="795"/>
                </a:cubicBezTo>
                <a:cubicBezTo>
                  <a:pt x="3660" y="811"/>
                  <a:pt x="3692" y="827"/>
                  <a:pt x="3724" y="827"/>
                </a:cubicBezTo>
                <a:lnTo>
                  <a:pt x="3739" y="827"/>
                </a:lnTo>
                <a:lnTo>
                  <a:pt x="3771" y="827"/>
                </a:lnTo>
                <a:cubicBezTo>
                  <a:pt x="3835" y="923"/>
                  <a:pt x="3883" y="1018"/>
                  <a:pt x="3946" y="1129"/>
                </a:cubicBezTo>
                <a:lnTo>
                  <a:pt x="3946" y="1177"/>
                </a:lnTo>
                <a:cubicBezTo>
                  <a:pt x="3941" y="1182"/>
                  <a:pt x="3930" y="1177"/>
                  <a:pt x="3930" y="1193"/>
                </a:cubicBezTo>
                <a:cubicBezTo>
                  <a:pt x="3915" y="1209"/>
                  <a:pt x="3915" y="1241"/>
                  <a:pt x="3915" y="1272"/>
                </a:cubicBezTo>
                <a:lnTo>
                  <a:pt x="3978" y="1416"/>
                </a:lnTo>
                <a:cubicBezTo>
                  <a:pt x="3994" y="1432"/>
                  <a:pt x="4010" y="1447"/>
                  <a:pt x="4026" y="1463"/>
                </a:cubicBezTo>
                <a:cubicBezTo>
                  <a:pt x="4042" y="1463"/>
                  <a:pt x="4057" y="1474"/>
                  <a:pt x="4073" y="1480"/>
                </a:cubicBezTo>
                <a:cubicBezTo>
                  <a:pt x="4105" y="1591"/>
                  <a:pt x="4137" y="1718"/>
                  <a:pt x="4169" y="1845"/>
                </a:cubicBezTo>
                <a:cubicBezTo>
                  <a:pt x="4169" y="1861"/>
                  <a:pt x="4153" y="1877"/>
                  <a:pt x="4153" y="1893"/>
                </a:cubicBezTo>
                <a:cubicBezTo>
                  <a:pt x="4121" y="1909"/>
                  <a:pt x="4105" y="1941"/>
                  <a:pt x="4105" y="1972"/>
                </a:cubicBezTo>
                <a:cubicBezTo>
                  <a:pt x="4121" y="2036"/>
                  <a:pt x="4137" y="2100"/>
                  <a:pt x="4137" y="2163"/>
                </a:cubicBezTo>
                <a:cubicBezTo>
                  <a:pt x="4137" y="2180"/>
                  <a:pt x="4153" y="2211"/>
                  <a:pt x="4169" y="2211"/>
                </a:cubicBezTo>
                <a:cubicBezTo>
                  <a:pt x="4185" y="2227"/>
                  <a:pt x="4185" y="2227"/>
                  <a:pt x="4201" y="2227"/>
                </a:cubicBezTo>
                <a:lnTo>
                  <a:pt x="4201" y="2243"/>
                </a:lnTo>
                <a:cubicBezTo>
                  <a:pt x="4216" y="2323"/>
                  <a:pt x="4216" y="2386"/>
                  <a:pt x="4216" y="2466"/>
                </a:cubicBezTo>
                <a:cubicBezTo>
                  <a:pt x="4216" y="2593"/>
                  <a:pt x="4201" y="2720"/>
                  <a:pt x="4185" y="2863"/>
                </a:cubicBezTo>
                <a:close/>
                <a:moveTo>
                  <a:pt x="2833" y="875"/>
                </a:moveTo>
                <a:cubicBezTo>
                  <a:pt x="2291" y="875"/>
                  <a:pt x="1846" y="1591"/>
                  <a:pt x="1846" y="2466"/>
                </a:cubicBezTo>
                <a:cubicBezTo>
                  <a:pt x="1846" y="3341"/>
                  <a:pt x="2291" y="4057"/>
                  <a:pt x="2833" y="4057"/>
                </a:cubicBezTo>
                <a:cubicBezTo>
                  <a:pt x="3373" y="4057"/>
                  <a:pt x="3819" y="3341"/>
                  <a:pt x="3819" y="2466"/>
                </a:cubicBezTo>
                <a:cubicBezTo>
                  <a:pt x="3819" y="1591"/>
                  <a:pt x="3373" y="875"/>
                  <a:pt x="2833" y="875"/>
                </a:cubicBezTo>
                <a:close/>
                <a:moveTo>
                  <a:pt x="2833" y="3898"/>
                </a:moveTo>
                <a:cubicBezTo>
                  <a:pt x="2371" y="3898"/>
                  <a:pt x="2005" y="3261"/>
                  <a:pt x="2005" y="2466"/>
                </a:cubicBezTo>
                <a:cubicBezTo>
                  <a:pt x="2005" y="1670"/>
                  <a:pt x="2371" y="1034"/>
                  <a:pt x="2833" y="1034"/>
                </a:cubicBezTo>
                <a:cubicBezTo>
                  <a:pt x="3278" y="1034"/>
                  <a:pt x="3660" y="1670"/>
                  <a:pt x="3660" y="2466"/>
                </a:cubicBezTo>
                <a:cubicBezTo>
                  <a:pt x="3660" y="3261"/>
                  <a:pt x="3278" y="3898"/>
                  <a:pt x="2833" y="389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2" name="Freeform: Shape 10">
            <a:extLst>
              <a:ext uri="{FF2B5EF4-FFF2-40B4-BE49-F238E27FC236}">
                <a16:creationId xmlns:a16="http://schemas.microsoft.com/office/drawing/2014/main" id="{DC743C8D-BACD-924B-9B8C-9307B071869F}"/>
              </a:ext>
            </a:extLst>
          </p:cNvPr>
          <p:cNvSpPr/>
          <p:nvPr/>
        </p:nvSpPr>
        <p:spPr>
          <a:xfrm>
            <a:off x="14016399" y="3238948"/>
            <a:ext cx="1420560" cy="1614960"/>
          </a:xfrm>
          <a:custGeom>
            <a:avLst/>
            <a:gdLst/>
            <a:ahLst/>
            <a:cxnLst>
              <a:cxn ang="3cd4">
                <a:pos x="hc" y="t"/>
              </a:cxn>
              <a:cxn ang="cd2">
                <a:pos x="l" y="vc"/>
              </a:cxn>
              <a:cxn ang="cd4">
                <a:pos x="hc" y="b"/>
              </a:cxn>
              <a:cxn ang="0">
                <a:pos x="r" y="vc"/>
              </a:cxn>
            </a:cxnLst>
            <a:rect l="l" t="t" r="r" b="b"/>
            <a:pathLst>
              <a:path w="3947" h="4487">
                <a:moveTo>
                  <a:pt x="3072" y="891"/>
                </a:moveTo>
                <a:cubicBezTo>
                  <a:pt x="3072" y="398"/>
                  <a:pt x="2690" y="0"/>
                  <a:pt x="2197" y="0"/>
                </a:cubicBezTo>
                <a:cubicBezTo>
                  <a:pt x="1703" y="0"/>
                  <a:pt x="1306" y="398"/>
                  <a:pt x="1306" y="891"/>
                </a:cubicBezTo>
                <a:cubicBezTo>
                  <a:pt x="1306" y="1384"/>
                  <a:pt x="1703" y="1782"/>
                  <a:pt x="2197" y="1782"/>
                </a:cubicBezTo>
                <a:cubicBezTo>
                  <a:pt x="2690" y="1782"/>
                  <a:pt x="3072" y="1384"/>
                  <a:pt x="3072" y="891"/>
                </a:cubicBezTo>
                <a:close/>
                <a:moveTo>
                  <a:pt x="1465" y="891"/>
                </a:moveTo>
                <a:cubicBezTo>
                  <a:pt x="1465" y="493"/>
                  <a:pt x="1799" y="159"/>
                  <a:pt x="2197" y="159"/>
                </a:cubicBezTo>
                <a:cubicBezTo>
                  <a:pt x="2594" y="159"/>
                  <a:pt x="2913" y="493"/>
                  <a:pt x="2913" y="891"/>
                </a:cubicBezTo>
                <a:cubicBezTo>
                  <a:pt x="2913" y="1305"/>
                  <a:pt x="2594" y="1623"/>
                  <a:pt x="2197" y="1623"/>
                </a:cubicBezTo>
                <a:cubicBezTo>
                  <a:pt x="1799" y="1623"/>
                  <a:pt x="1465" y="1305"/>
                  <a:pt x="1465" y="891"/>
                </a:cubicBezTo>
                <a:close/>
                <a:moveTo>
                  <a:pt x="1051" y="2116"/>
                </a:moveTo>
                <a:cubicBezTo>
                  <a:pt x="844" y="2211"/>
                  <a:pt x="701" y="2387"/>
                  <a:pt x="653" y="2610"/>
                </a:cubicBezTo>
                <a:cubicBezTo>
                  <a:pt x="574" y="2944"/>
                  <a:pt x="462" y="4344"/>
                  <a:pt x="446" y="4407"/>
                </a:cubicBezTo>
                <a:cubicBezTo>
                  <a:pt x="446" y="4423"/>
                  <a:pt x="462" y="4455"/>
                  <a:pt x="479" y="4471"/>
                </a:cubicBezTo>
                <a:cubicBezTo>
                  <a:pt x="494" y="4487"/>
                  <a:pt x="510" y="4487"/>
                  <a:pt x="526" y="4487"/>
                </a:cubicBezTo>
                <a:lnTo>
                  <a:pt x="3326" y="4487"/>
                </a:lnTo>
                <a:cubicBezTo>
                  <a:pt x="3358" y="4487"/>
                  <a:pt x="3390" y="4471"/>
                  <a:pt x="3406" y="4439"/>
                </a:cubicBezTo>
                <a:cubicBezTo>
                  <a:pt x="3422" y="4423"/>
                  <a:pt x="3406" y="4375"/>
                  <a:pt x="3390" y="4359"/>
                </a:cubicBezTo>
                <a:lnTo>
                  <a:pt x="1258" y="2084"/>
                </a:lnTo>
                <a:lnTo>
                  <a:pt x="144" y="891"/>
                </a:lnTo>
                <a:cubicBezTo>
                  <a:pt x="112" y="859"/>
                  <a:pt x="65" y="859"/>
                  <a:pt x="33" y="891"/>
                </a:cubicBezTo>
                <a:cubicBezTo>
                  <a:pt x="1" y="923"/>
                  <a:pt x="-15" y="971"/>
                  <a:pt x="17" y="1002"/>
                </a:cubicBezTo>
                <a:lnTo>
                  <a:pt x="1067" y="2116"/>
                </a:lnTo>
                <a:close/>
                <a:moveTo>
                  <a:pt x="622" y="4328"/>
                </a:moveTo>
                <a:cubicBezTo>
                  <a:pt x="637" y="4025"/>
                  <a:pt x="733" y="2928"/>
                  <a:pt x="797" y="2641"/>
                </a:cubicBezTo>
                <a:cubicBezTo>
                  <a:pt x="844" y="2434"/>
                  <a:pt x="1003" y="2323"/>
                  <a:pt x="1115" y="2259"/>
                </a:cubicBezTo>
                <a:cubicBezTo>
                  <a:pt x="1131" y="2259"/>
                  <a:pt x="1162" y="2244"/>
                  <a:pt x="1179" y="2228"/>
                </a:cubicBezTo>
                <a:lnTo>
                  <a:pt x="3151" y="4328"/>
                </a:lnTo>
                <a:close/>
                <a:moveTo>
                  <a:pt x="335" y="637"/>
                </a:moveTo>
                <a:cubicBezTo>
                  <a:pt x="303" y="653"/>
                  <a:pt x="303" y="716"/>
                  <a:pt x="335" y="748"/>
                </a:cubicBezTo>
                <a:lnTo>
                  <a:pt x="1544" y="2053"/>
                </a:lnTo>
                <a:lnTo>
                  <a:pt x="3804" y="4471"/>
                </a:lnTo>
                <a:cubicBezTo>
                  <a:pt x="3819" y="4487"/>
                  <a:pt x="3835" y="4487"/>
                  <a:pt x="3851" y="4487"/>
                </a:cubicBezTo>
                <a:lnTo>
                  <a:pt x="3867" y="4487"/>
                </a:lnTo>
                <a:cubicBezTo>
                  <a:pt x="3883" y="4487"/>
                  <a:pt x="3899" y="4487"/>
                  <a:pt x="3915" y="4471"/>
                </a:cubicBezTo>
                <a:cubicBezTo>
                  <a:pt x="3931" y="4455"/>
                  <a:pt x="3947" y="4423"/>
                  <a:pt x="3947" y="4407"/>
                </a:cubicBezTo>
                <a:cubicBezTo>
                  <a:pt x="3931" y="4344"/>
                  <a:pt x="3804" y="2912"/>
                  <a:pt x="3740" y="2610"/>
                </a:cubicBezTo>
                <a:cubicBezTo>
                  <a:pt x="3692" y="2339"/>
                  <a:pt x="3501" y="2196"/>
                  <a:pt x="3358" y="2116"/>
                </a:cubicBezTo>
                <a:cubicBezTo>
                  <a:pt x="3056" y="1957"/>
                  <a:pt x="2738" y="1893"/>
                  <a:pt x="2197" y="1893"/>
                </a:cubicBezTo>
                <a:cubicBezTo>
                  <a:pt x="2006" y="1893"/>
                  <a:pt x="1735" y="1910"/>
                  <a:pt x="1640" y="1910"/>
                </a:cubicBezTo>
                <a:lnTo>
                  <a:pt x="446" y="637"/>
                </a:lnTo>
                <a:cubicBezTo>
                  <a:pt x="415" y="605"/>
                  <a:pt x="367" y="605"/>
                  <a:pt x="335" y="637"/>
                </a:cubicBezTo>
                <a:close/>
                <a:moveTo>
                  <a:pt x="2197" y="2053"/>
                </a:moveTo>
                <a:cubicBezTo>
                  <a:pt x="2706" y="2053"/>
                  <a:pt x="3008" y="2116"/>
                  <a:pt x="3279" y="2259"/>
                </a:cubicBezTo>
                <a:cubicBezTo>
                  <a:pt x="3406" y="2323"/>
                  <a:pt x="3549" y="2434"/>
                  <a:pt x="3581" y="2641"/>
                </a:cubicBezTo>
                <a:cubicBezTo>
                  <a:pt x="3628" y="2864"/>
                  <a:pt x="3724" y="3755"/>
                  <a:pt x="3756" y="4184"/>
                </a:cubicBezTo>
                <a:lnTo>
                  <a:pt x="1783" y="2068"/>
                </a:lnTo>
                <a:cubicBezTo>
                  <a:pt x="1894" y="2068"/>
                  <a:pt x="2070" y="2053"/>
                  <a:pt x="2197" y="205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3" name="Freeform: Shape 11">
            <a:extLst>
              <a:ext uri="{FF2B5EF4-FFF2-40B4-BE49-F238E27FC236}">
                <a16:creationId xmlns:a16="http://schemas.microsoft.com/office/drawing/2014/main" id="{925E2708-DD33-9E47-8696-13D516A2B991}"/>
              </a:ext>
            </a:extLst>
          </p:cNvPr>
          <p:cNvSpPr/>
          <p:nvPr/>
        </p:nvSpPr>
        <p:spPr>
          <a:xfrm>
            <a:off x="17487447" y="3141748"/>
            <a:ext cx="1621439" cy="1620360"/>
          </a:xfrm>
          <a:custGeom>
            <a:avLst/>
            <a:gdLst/>
            <a:ahLst/>
            <a:cxnLst>
              <a:cxn ang="3cd4">
                <a:pos x="hc" y="t"/>
              </a:cxn>
              <a:cxn ang="cd2">
                <a:pos x="l" y="vc"/>
              </a:cxn>
              <a:cxn ang="cd4">
                <a:pos x="hc" y="b"/>
              </a:cxn>
              <a:cxn ang="0">
                <a:pos x="r" y="vc"/>
              </a:cxn>
            </a:cxnLst>
            <a:rect l="l" t="t" r="r" b="b"/>
            <a:pathLst>
              <a:path w="4505" h="4502">
                <a:moveTo>
                  <a:pt x="1340" y="4423"/>
                </a:moveTo>
                <a:cubicBezTo>
                  <a:pt x="1340" y="4009"/>
                  <a:pt x="1754" y="3691"/>
                  <a:pt x="2247" y="3691"/>
                </a:cubicBezTo>
                <a:cubicBezTo>
                  <a:pt x="2756" y="3691"/>
                  <a:pt x="3170" y="4009"/>
                  <a:pt x="3170" y="4423"/>
                </a:cubicBezTo>
                <a:cubicBezTo>
                  <a:pt x="3170" y="4454"/>
                  <a:pt x="3202" y="4502"/>
                  <a:pt x="3250" y="4502"/>
                </a:cubicBezTo>
                <a:cubicBezTo>
                  <a:pt x="3297" y="4502"/>
                  <a:pt x="3329" y="4454"/>
                  <a:pt x="3329" y="4423"/>
                </a:cubicBezTo>
                <a:cubicBezTo>
                  <a:pt x="3329" y="3929"/>
                  <a:pt x="2852" y="3532"/>
                  <a:pt x="2247" y="3532"/>
                </a:cubicBezTo>
                <a:cubicBezTo>
                  <a:pt x="1659" y="3532"/>
                  <a:pt x="1181" y="3929"/>
                  <a:pt x="1181" y="4423"/>
                </a:cubicBezTo>
                <a:cubicBezTo>
                  <a:pt x="1181" y="4454"/>
                  <a:pt x="1213" y="4502"/>
                  <a:pt x="1261" y="4502"/>
                </a:cubicBezTo>
                <a:cubicBezTo>
                  <a:pt x="1292" y="4502"/>
                  <a:pt x="1340" y="4454"/>
                  <a:pt x="1340" y="4423"/>
                </a:cubicBezTo>
                <a:close/>
                <a:moveTo>
                  <a:pt x="2247" y="0"/>
                </a:moveTo>
                <a:cubicBezTo>
                  <a:pt x="1770" y="0"/>
                  <a:pt x="1372" y="398"/>
                  <a:pt x="1372" y="890"/>
                </a:cubicBezTo>
                <a:cubicBezTo>
                  <a:pt x="1372" y="1384"/>
                  <a:pt x="1770" y="1781"/>
                  <a:pt x="2247" y="1781"/>
                </a:cubicBezTo>
                <a:cubicBezTo>
                  <a:pt x="2740" y="1781"/>
                  <a:pt x="3138" y="1384"/>
                  <a:pt x="3138" y="890"/>
                </a:cubicBezTo>
                <a:cubicBezTo>
                  <a:pt x="3138" y="398"/>
                  <a:pt x="2740" y="0"/>
                  <a:pt x="2247" y="0"/>
                </a:cubicBezTo>
                <a:close/>
                <a:moveTo>
                  <a:pt x="2247" y="1623"/>
                </a:moveTo>
                <a:cubicBezTo>
                  <a:pt x="1849" y="1623"/>
                  <a:pt x="1531" y="1289"/>
                  <a:pt x="1531" y="890"/>
                </a:cubicBezTo>
                <a:cubicBezTo>
                  <a:pt x="1531" y="477"/>
                  <a:pt x="1849" y="159"/>
                  <a:pt x="2247" y="159"/>
                </a:cubicBezTo>
                <a:cubicBezTo>
                  <a:pt x="2661" y="159"/>
                  <a:pt x="2979" y="477"/>
                  <a:pt x="2979" y="890"/>
                </a:cubicBezTo>
                <a:cubicBezTo>
                  <a:pt x="2979" y="1289"/>
                  <a:pt x="2661" y="1623"/>
                  <a:pt x="2247" y="1623"/>
                </a:cubicBezTo>
                <a:close/>
                <a:moveTo>
                  <a:pt x="307" y="4454"/>
                </a:moveTo>
                <a:cubicBezTo>
                  <a:pt x="307" y="4486"/>
                  <a:pt x="339" y="4502"/>
                  <a:pt x="371" y="4502"/>
                </a:cubicBezTo>
                <a:lnTo>
                  <a:pt x="896" y="4502"/>
                </a:lnTo>
                <a:cubicBezTo>
                  <a:pt x="944" y="4502"/>
                  <a:pt x="975" y="4471"/>
                  <a:pt x="975" y="4423"/>
                </a:cubicBezTo>
                <a:cubicBezTo>
                  <a:pt x="975" y="3818"/>
                  <a:pt x="1548" y="3325"/>
                  <a:pt x="2248" y="3325"/>
                </a:cubicBezTo>
                <a:cubicBezTo>
                  <a:pt x="2964" y="3325"/>
                  <a:pt x="3537" y="3818"/>
                  <a:pt x="3537" y="4423"/>
                </a:cubicBezTo>
                <a:cubicBezTo>
                  <a:pt x="3537" y="4471"/>
                  <a:pt x="3569" y="4502"/>
                  <a:pt x="3617" y="4502"/>
                </a:cubicBezTo>
                <a:lnTo>
                  <a:pt x="4142" y="4502"/>
                </a:lnTo>
                <a:cubicBezTo>
                  <a:pt x="4157" y="4502"/>
                  <a:pt x="4189" y="4486"/>
                  <a:pt x="4205" y="4454"/>
                </a:cubicBezTo>
                <a:cubicBezTo>
                  <a:pt x="4285" y="4311"/>
                  <a:pt x="4380" y="4152"/>
                  <a:pt x="4460" y="4009"/>
                </a:cubicBezTo>
                <a:cubicBezTo>
                  <a:pt x="4523" y="3866"/>
                  <a:pt x="4523" y="3723"/>
                  <a:pt x="4444" y="3563"/>
                </a:cubicBezTo>
                <a:cubicBezTo>
                  <a:pt x="4380" y="3452"/>
                  <a:pt x="4237" y="3229"/>
                  <a:pt x="4094" y="3007"/>
                </a:cubicBezTo>
                <a:cubicBezTo>
                  <a:pt x="3983" y="2832"/>
                  <a:pt x="3871" y="2672"/>
                  <a:pt x="3808" y="2545"/>
                </a:cubicBezTo>
                <a:lnTo>
                  <a:pt x="3760" y="2481"/>
                </a:lnTo>
                <a:cubicBezTo>
                  <a:pt x="3648" y="2307"/>
                  <a:pt x="3553" y="2132"/>
                  <a:pt x="3410" y="2084"/>
                </a:cubicBezTo>
                <a:cubicBezTo>
                  <a:pt x="3092" y="1972"/>
                  <a:pt x="2774" y="1893"/>
                  <a:pt x="2248" y="1893"/>
                </a:cubicBezTo>
                <a:cubicBezTo>
                  <a:pt x="1787" y="1893"/>
                  <a:pt x="1437" y="1957"/>
                  <a:pt x="1103" y="2084"/>
                </a:cubicBezTo>
                <a:cubicBezTo>
                  <a:pt x="960" y="2132"/>
                  <a:pt x="880" y="2275"/>
                  <a:pt x="784" y="2434"/>
                </a:cubicBezTo>
                <a:cubicBezTo>
                  <a:pt x="753" y="2466"/>
                  <a:pt x="737" y="2514"/>
                  <a:pt x="705" y="2545"/>
                </a:cubicBezTo>
                <a:lnTo>
                  <a:pt x="578" y="2736"/>
                </a:lnTo>
                <a:cubicBezTo>
                  <a:pt x="387" y="3038"/>
                  <a:pt x="148" y="3405"/>
                  <a:pt x="69" y="3563"/>
                </a:cubicBezTo>
                <a:cubicBezTo>
                  <a:pt x="-11" y="3723"/>
                  <a:pt x="-27" y="3866"/>
                  <a:pt x="53" y="4009"/>
                </a:cubicBezTo>
                <a:cubicBezTo>
                  <a:pt x="116" y="4152"/>
                  <a:pt x="212" y="4311"/>
                  <a:pt x="307" y="4454"/>
                </a:cubicBezTo>
                <a:close/>
                <a:moveTo>
                  <a:pt x="212" y="3627"/>
                </a:moveTo>
                <a:cubicBezTo>
                  <a:pt x="292" y="3484"/>
                  <a:pt x="530" y="3118"/>
                  <a:pt x="721" y="2832"/>
                </a:cubicBezTo>
                <a:lnTo>
                  <a:pt x="848" y="2641"/>
                </a:lnTo>
                <a:cubicBezTo>
                  <a:pt x="864" y="2593"/>
                  <a:pt x="896" y="2561"/>
                  <a:pt x="912" y="2514"/>
                </a:cubicBezTo>
                <a:cubicBezTo>
                  <a:pt x="1007" y="2386"/>
                  <a:pt x="1071" y="2259"/>
                  <a:pt x="1166" y="2227"/>
                </a:cubicBezTo>
                <a:cubicBezTo>
                  <a:pt x="1389" y="2148"/>
                  <a:pt x="1692" y="2052"/>
                  <a:pt x="2248" y="2052"/>
                </a:cubicBezTo>
                <a:cubicBezTo>
                  <a:pt x="2757" y="2052"/>
                  <a:pt x="3060" y="2132"/>
                  <a:pt x="3346" y="2227"/>
                </a:cubicBezTo>
                <a:cubicBezTo>
                  <a:pt x="3457" y="2275"/>
                  <a:pt x="3537" y="2402"/>
                  <a:pt x="3632" y="2561"/>
                </a:cubicBezTo>
                <a:lnTo>
                  <a:pt x="3664" y="2625"/>
                </a:lnTo>
                <a:cubicBezTo>
                  <a:pt x="3728" y="2752"/>
                  <a:pt x="3839" y="2927"/>
                  <a:pt x="3951" y="3086"/>
                </a:cubicBezTo>
                <a:cubicBezTo>
                  <a:pt x="4094" y="3309"/>
                  <a:pt x="4237" y="3532"/>
                  <a:pt x="4301" y="3627"/>
                </a:cubicBezTo>
                <a:cubicBezTo>
                  <a:pt x="4365" y="3754"/>
                  <a:pt x="4365" y="3834"/>
                  <a:pt x="4317" y="3929"/>
                </a:cubicBezTo>
                <a:cubicBezTo>
                  <a:pt x="4253" y="4057"/>
                  <a:pt x="4174" y="4200"/>
                  <a:pt x="4094" y="4343"/>
                </a:cubicBezTo>
                <a:lnTo>
                  <a:pt x="3696" y="4343"/>
                </a:lnTo>
                <a:cubicBezTo>
                  <a:pt x="3648" y="3691"/>
                  <a:pt x="3012" y="3166"/>
                  <a:pt x="2248" y="3166"/>
                </a:cubicBezTo>
                <a:cubicBezTo>
                  <a:pt x="1484" y="3166"/>
                  <a:pt x="864" y="3691"/>
                  <a:pt x="816" y="4343"/>
                </a:cubicBezTo>
                <a:lnTo>
                  <a:pt x="419" y="4343"/>
                </a:lnTo>
                <a:cubicBezTo>
                  <a:pt x="339" y="4200"/>
                  <a:pt x="259" y="4057"/>
                  <a:pt x="196" y="3929"/>
                </a:cubicBezTo>
                <a:cubicBezTo>
                  <a:pt x="148" y="3834"/>
                  <a:pt x="148" y="3754"/>
                  <a:pt x="212" y="362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4" name="Freeform: Shape 12">
            <a:extLst>
              <a:ext uri="{FF2B5EF4-FFF2-40B4-BE49-F238E27FC236}">
                <a16:creationId xmlns:a16="http://schemas.microsoft.com/office/drawing/2014/main" id="{232411F6-4DB5-A143-88A4-369528B5DE8C}"/>
              </a:ext>
            </a:extLst>
          </p:cNvPr>
          <p:cNvSpPr/>
          <p:nvPr/>
        </p:nvSpPr>
        <p:spPr>
          <a:xfrm>
            <a:off x="1909537" y="9559680"/>
            <a:ext cx="1626119" cy="1767960"/>
          </a:xfrm>
          <a:custGeom>
            <a:avLst/>
            <a:gdLst/>
            <a:ahLst/>
            <a:cxnLst>
              <a:cxn ang="3cd4">
                <a:pos x="hc" y="t"/>
              </a:cxn>
              <a:cxn ang="cd2">
                <a:pos x="l" y="vc"/>
              </a:cxn>
              <a:cxn ang="cd4">
                <a:pos x="hc" y="b"/>
              </a:cxn>
              <a:cxn ang="0">
                <a:pos x="r" y="vc"/>
              </a:cxn>
            </a:cxnLst>
            <a:rect l="l" t="t" r="r" b="b"/>
            <a:pathLst>
              <a:path w="4518" h="4912">
                <a:moveTo>
                  <a:pt x="692" y="1364"/>
                </a:moveTo>
                <a:cubicBezTo>
                  <a:pt x="692" y="2207"/>
                  <a:pt x="1344" y="2892"/>
                  <a:pt x="2172" y="2939"/>
                </a:cubicBezTo>
                <a:cubicBezTo>
                  <a:pt x="2172" y="4832"/>
                  <a:pt x="2172" y="4832"/>
                  <a:pt x="2172" y="4832"/>
                </a:cubicBezTo>
                <a:cubicBezTo>
                  <a:pt x="2172" y="4880"/>
                  <a:pt x="2219" y="4912"/>
                  <a:pt x="2251" y="4912"/>
                </a:cubicBezTo>
                <a:cubicBezTo>
                  <a:pt x="2299" y="4912"/>
                  <a:pt x="2331" y="4880"/>
                  <a:pt x="2331" y="4832"/>
                </a:cubicBezTo>
                <a:cubicBezTo>
                  <a:pt x="2331" y="2939"/>
                  <a:pt x="2331" y="2939"/>
                  <a:pt x="2331" y="2939"/>
                </a:cubicBezTo>
                <a:cubicBezTo>
                  <a:pt x="3174" y="2892"/>
                  <a:pt x="3826" y="2207"/>
                  <a:pt x="3826" y="1364"/>
                </a:cubicBezTo>
                <a:cubicBezTo>
                  <a:pt x="3826" y="267"/>
                  <a:pt x="3826" y="267"/>
                  <a:pt x="3826" y="267"/>
                </a:cubicBezTo>
                <a:cubicBezTo>
                  <a:pt x="4383" y="823"/>
                  <a:pt x="4383" y="823"/>
                  <a:pt x="4383" y="823"/>
                </a:cubicBezTo>
                <a:cubicBezTo>
                  <a:pt x="4399" y="839"/>
                  <a:pt x="4415" y="855"/>
                  <a:pt x="4447" y="855"/>
                </a:cubicBezTo>
                <a:cubicBezTo>
                  <a:pt x="4463" y="855"/>
                  <a:pt x="4479" y="839"/>
                  <a:pt x="4495" y="823"/>
                </a:cubicBezTo>
                <a:cubicBezTo>
                  <a:pt x="4526" y="792"/>
                  <a:pt x="4526" y="744"/>
                  <a:pt x="4495" y="712"/>
                </a:cubicBezTo>
                <a:cubicBezTo>
                  <a:pt x="3810" y="12"/>
                  <a:pt x="3810" y="12"/>
                  <a:pt x="3810" y="12"/>
                </a:cubicBezTo>
                <a:cubicBezTo>
                  <a:pt x="3779" y="-4"/>
                  <a:pt x="3715" y="-4"/>
                  <a:pt x="3699" y="12"/>
                </a:cubicBezTo>
                <a:cubicBezTo>
                  <a:pt x="2999" y="712"/>
                  <a:pt x="2999" y="712"/>
                  <a:pt x="2999" y="712"/>
                </a:cubicBezTo>
                <a:cubicBezTo>
                  <a:pt x="2967" y="744"/>
                  <a:pt x="2967" y="792"/>
                  <a:pt x="2999" y="823"/>
                </a:cubicBezTo>
                <a:cubicBezTo>
                  <a:pt x="3031" y="855"/>
                  <a:pt x="3079" y="855"/>
                  <a:pt x="3110" y="823"/>
                </a:cubicBezTo>
                <a:cubicBezTo>
                  <a:pt x="3667" y="267"/>
                  <a:pt x="3667" y="267"/>
                  <a:pt x="3667" y="267"/>
                </a:cubicBezTo>
                <a:cubicBezTo>
                  <a:pt x="3667" y="1364"/>
                  <a:pt x="3667" y="1364"/>
                  <a:pt x="3667" y="1364"/>
                </a:cubicBezTo>
                <a:cubicBezTo>
                  <a:pt x="3667" y="2144"/>
                  <a:pt x="3031" y="2780"/>
                  <a:pt x="2251" y="2780"/>
                </a:cubicBezTo>
                <a:cubicBezTo>
                  <a:pt x="1488" y="2780"/>
                  <a:pt x="851" y="2144"/>
                  <a:pt x="851" y="1364"/>
                </a:cubicBezTo>
                <a:cubicBezTo>
                  <a:pt x="851" y="267"/>
                  <a:pt x="851" y="267"/>
                  <a:pt x="851" y="267"/>
                </a:cubicBezTo>
                <a:cubicBezTo>
                  <a:pt x="1408" y="823"/>
                  <a:pt x="1408" y="823"/>
                  <a:pt x="1408" y="823"/>
                </a:cubicBezTo>
                <a:cubicBezTo>
                  <a:pt x="1424" y="839"/>
                  <a:pt x="1440" y="855"/>
                  <a:pt x="1471" y="855"/>
                </a:cubicBezTo>
                <a:cubicBezTo>
                  <a:pt x="1488" y="855"/>
                  <a:pt x="1504" y="839"/>
                  <a:pt x="1519" y="823"/>
                </a:cubicBezTo>
                <a:cubicBezTo>
                  <a:pt x="1551" y="792"/>
                  <a:pt x="1551" y="744"/>
                  <a:pt x="1519" y="712"/>
                </a:cubicBezTo>
                <a:cubicBezTo>
                  <a:pt x="819" y="12"/>
                  <a:pt x="819" y="12"/>
                  <a:pt x="819" y="12"/>
                </a:cubicBezTo>
                <a:cubicBezTo>
                  <a:pt x="788" y="-4"/>
                  <a:pt x="740" y="-4"/>
                  <a:pt x="708" y="12"/>
                </a:cubicBezTo>
                <a:cubicBezTo>
                  <a:pt x="24" y="712"/>
                  <a:pt x="24" y="712"/>
                  <a:pt x="24" y="712"/>
                </a:cubicBezTo>
                <a:cubicBezTo>
                  <a:pt x="-8" y="744"/>
                  <a:pt x="-8" y="792"/>
                  <a:pt x="24" y="823"/>
                </a:cubicBezTo>
                <a:cubicBezTo>
                  <a:pt x="56" y="855"/>
                  <a:pt x="103" y="855"/>
                  <a:pt x="135" y="823"/>
                </a:cubicBezTo>
                <a:cubicBezTo>
                  <a:pt x="692" y="267"/>
                  <a:pt x="692" y="267"/>
                  <a:pt x="692" y="26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Freeform: Shape 13">
            <a:extLst>
              <a:ext uri="{FF2B5EF4-FFF2-40B4-BE49-F238E27FC236}">
                <a16:creationId xmlns:a16="http://schemas.microsoft.com/office/drawing/2014/main" id="{9154F26C-DAFE-DD48-AC35-693324CFEDED}"/>
              </a:ext>
            </a:extLst>
          </p:cNvPr>
          <p:cNvSpPr/>
          <p:nvPr/>
        </p:nvSpPr>
        <p:spPr>
          <a:xfrm>
            <a:off x="21102819" y="3399508"/>
            <a:ext cx="1924919" cy="1190880"/>
          </a:xfrm>
          <a:custGeom>
            <a:avLst/>
            <a:gdLst/>
            <a:ahLst/>
            <a:cxnLst>
              <a:cxn ang="3cd4">
                <a:pos x="hc" y="t"/>
              </a:cxn>
              <a:cxn ang="cd2">
                <a:pos x="l" y="vc"/>
              </a:cxn>
              <a:cxn ang="cd4">
                <a:pos x="hc" y="b"/>
              </a:cxn>
              <a:cxn ang="0">
                <a:pos x="r" y="vc"/>
              </a:cxn>
            </a:cxnLst>
            <a:rect l="l" t="t" r="r" b="b"/>
            <a:pathLst>
              <a:path w="5348" h="3309">
                <a:moveTo>
                  <a:pt x="2682" y="3309"/>
                </a:moveTo>
                <a:cubicBezTo>
                  <a:pt x="3557" y="3309"/>
                  <a:pt x="4288" y="2625"/>
                  <a:pt x="4336" y="1734"/>
                </a:cubicBezTo>
                <a:cubicBezTo>
                  <a:pt x="4495" y="1638"/>
                  <a:pt x="4639" y="1543"/>
                  <a:pt x="4750" y="1447"/>
                </a:cubicBezTo>
                <a:cubicBezTo>
                  <a:pt x="5084" y="1193"/>
                  <a:pt x="5450" y="827"/>
                  <a:pt x="5322" y="541"/>
                </a:cubicBezTo>
                <a:cubicBezTo>
                  <a:pt x="5164" y="143"/>
                  <a:pt x="4225" y="318"/>
                  <a:pt x="3779" y="413"/>
                </a:cubicBezTo>
                <a:cubicBezTo>
                  <a:pt x="3477" y="159"/>
                  <a:pt x="3095" y="0"/>
                  <a:pt x="2682" y="0"/>
                </a:cubicBezTo>
                <a:cubicBezTo>
                  <a:pt x="1791" y="0"/>
                  <a:pt x="1059" y="700"/>
                  <a:pt x="1027" y="1591"/>
                </a:cubicBezTo>
                <a:cubicBezTo>
                  <a:pt x="645" y="1829"/>
                  <a:pt x="-151" y="2386"/>
                  <a:pt x="25" y="2784"/>
                </a:cubicBezTo>
                <a:cubicBezTo>
                  <a:pt x="104" y="2959"/>
                  <a:pt x="327" y="3038"/>
                  <a:pt x="661" y="3038"/>
                </a:cubicBezTo>
                <a:cubicBezTo>
                  <a:pt x="915" y="3038"/>
                  <a:pt x="1234" y="2991"/>
                  <a:pt x="1584" y="2911"/>
                </a:cubicBezTo>
                <a:cubicBezTo>
                  <a:pt x="1886" y="3166"/>
                  <a:pt x="2268" y="3309"/>
                  <a:pt x="2682" y="3309"/>
                </a:cubicBezTo>
                <a:close/>
                <a:moveTo>
                  <a:pt x="2682" y="3150"/>
                </a:moveTo>
                <a:cubicBezTo>
                  <a:pt x="2348" y="3150"/>
                  <a:pt x="2029" y="3038"/>
                  <a:pt x="1775" y="2864"/>
                </a:cubicBezTo>
                <a:cubicBezTo>
                  <a:pt x="2173" y="2752"/>
                  <a:pt x="2602" y="2609"/>
                  <a:pt x="3000" y="2434"/>
                </a:cubicBezTo>
                <a:cubicBezTo>
                  <a:pt x="3430" y="2259"/>
                  <a:pt x="3827" y="2052"/>
                  <a:pt x="4161" y="1845"/>
                </a:cubicBezTo>
                <a:cubicBezTo>
                  <a:pt x="4066" y="2577"/>
                  <a:pt x="3445" y="3150"/>
                  <a:pt x="2682" y="3150"/>
                </a:cubicBezTo>
                <a:close/>
                <a:moveTo>
                  <a:pt x="5179" y="604"/>
                </a:moveTo>
                <a:cubicBezTo>
                  <a:pt x="5227" y="716"/>
                  <a:pt x="5116" y="954"/>
                  <a:pt x="4654" y="1320"/>
                </a:cubicBezTo>
                <a:cubicBezTo>
                  <a:pt x="4559" y="1400"/>
                  <a:pt x="4448" y="1479"/>
                  <a:pt x="4336" y="1559"/>
                </a:cubicBezTo>
                <a:cubicBezTo>
                  <a:pt x="4304" y="1161"/>
                  <a:pt x="4161" y="811"/>
                  <a:pt x="3907" y="541"/>
                </a:cubicBezTo>
                <a:cubicBezTo>
                  <a:pt x="4702" y="382"/>
                  <a:pt x="5116" y="445"/>
                  <a:pt x="5179" y="604"/>
                </a:cubicBezTo>
                <a:close/>
                <a:moveTo>
                  <a:pt x="2682" y="159"/>
                </a:moveTo>
                <a:cubicBezTo>
                  <a:pt x="3509" y="159"/>
                  <a:pt x="4177" y="827"/>
                  <a:pt x="4177" y="1655"/>
                </a:cubicBezTo>
                <a:cubicBezTo>
                  <a:pt x="3827" y="1877"/>
                  <a:pt x="3397" y="2100"/>
                  <a:pt x="2936" y="2291"/>
                </a:cubicBezTo>
                <a:cubicBezTo>
                  <a:pt x="2459" y="2482"/>
                  <a:pt x="2013" y="2641"/>
                  <a:pt x="1631" y="2736"/>
                </a:cubicBezTo>
                <a:cubicBezTo>
                  <a:pt x="1345" y="2466"/>
                  <a:pt x="1170" y="2084"/>
                  <a:pt x="1170" y="1655"/>
                </a:cubicBezTo>
                <a:cubicBezTo>
                  <a:pt x="1170" y="827"/>
                  <a:pt x="1854" y="159"/>
                  <a:pt x="2682" y="159"/>
                </a:cubicBezTo>
                <a:close/>
                <a:moveTo>
                  <a:pt x="168" y="2720"/>
                </a:moveTo>
                <a:cubicBezTo>
                  <a:pt x="104" y="2577"/>
                  <a:pt x="343" y="2227"/>
                  <a:pt x="1027" y="1765"/>
                </a:cubicBezTo>
                <a:cubicBezTo>
                  <a:pt x="1043" y="2164"/>
                  <a:pt x="1202" y="2513"/>
                  <a:pt x="1457" y="2784"/>
                </a:cubicBezTo>
                <a:cubicBezTo>
                  <a:pt x="740" y="2943"/>
                  <a:pt x="248" y="2911"/>
                  <a:pt x="168" y="272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6" name="Freeform: Shape 14">
            <a:extLst>
              <a:ext uri="{FF2B5EF4-FFF2-40B4-BE49-F238E27FC236}">
                <a16:creationId xmlns:a16="http://schemas.microsoft.com/office/drawing/2014/main" id="{22ADE59F-1AA8-6F48-BC6E-19F28BFF043D}"/>
              </a:ext>
            </a:extLst>
          </p:cNvPr>
          <p:cNvSpPr/>
          <p:nvPr/>
        </p:nvSpPr>
        <p:spPr>
          <a:xfrm>
            <a:off x="17566822" y="9735721"/>
            <a:ext cx="1197000" cy="1700639"/>
          </a:xfrm>
          <a:custGeom>
            <a:avLst/>
            <a:gdLst/>
            <a:ahLst/>
            <a:cxnLst>
              <a:cxn ang="3cd4">
                <a:pos x="hc" y="t"/>
              </a:cxn>
              <a:cxn ang="cd2">
                <a:pos x="l" y="vc"/>
              </a:cxn>
              <a:cxn ang="cd4">
                <a:pos x="hc" y="b"/>
              </a:cxn>
              <a:cxn ang="0">
                <a:pos x="r" y="vc"/>
              </a:cxn>
            </a:cxnLst>
            <a:rect l="l" t="t" r="r" b="b"/>
            <a:pathLst>
              <a:path w="3326" h="4725">
                <a:moveTo>
                  <a:pt x="1655" y="4725"/>
                </a:moveTo>
                <a:cubicBezTo>
                  <a:pt x="1687" y="4725"/>
                  <a:pt x="1719" y="4709"/>
                  <a:pt x="1719" y="4694"/>
                </a:cubicBezTo>
                <a:cubicBezTo>
                  <a:pt x="1798" y="4598"/>
                  <a:pt x="3326" y="2561"/>
                  <a:pt x="3326" y="1655"/>
                </a:cubicBezTo>
                <a:cubicBezTo>
                  <a:pt x="3326" y="732"/>
                  <a:pt x="2578" y="0"/>
                  <a:pt x="1655" y="0"/>
                </a:cubicBezTo>
                <a:cubicBezTo>
                  <a:pt x="748" y="0"/>
                  <a:pt x="0" y="732"/>
                  <a:pt x="0" y="1655"/>
                </a:cubicBezTo>
                <a:cubicBezTo>
                  <a:pt x="0" y="2546"/>
                  <a:pt x="1528" y="4598"/>
                  <a:pt x="1607" y="4694"/>
                </a:cubicBezTo>
                <a:cubicBezTo>
                  <a:pt x="1607" y="4709"/>
                  <a:pt x="1639" y="4725"/>
                  <a:pt x="1655" y="4725"/>
                </a:cubicBezTo>
                <a:close/>
                <a:moveTo>
                  <a:pt x="1655" y="159"/>
                </a:moveTo>
                <a:cubicBezTo>
                  <a:pt x="2498" y="159"/>
                  <a:pt x="3166" y="827"/>
                  <a:pt x="3166" y="1655"/>
                </a:cubicBezTo>
                <a:cubicBezTo>
                  <a:pt x="3166" y="2418"/>
                  <a:pt x="1957" y="4105"/>
                  <a:pt x="1671" y="4503"/>
                </a:cubicBezTo>
                <a:cubicBezTo>
                  <a:pt x="1368" y="4105"/>
                  <a:pt x="159" y="2403"/>
                  <a:pt x="159" y="1655"/>
                </a:cubicBezTo>
                <a:cubicBezTo>
                  <a:pt x="159" y="827"/>
                  <a:pt x="828" y="159"/>
                  <a:pt x="1655" y="159"/>
                </a:cubicBezTo>
                <a:close/>
                <a:moveTo>
                  <a:pt x="2435" y="1750"/>
                </a:moveTo>
                <a:cubicBezTo>
                  <a:pt x="2435" y="1352"/>
                  <a:pt x="2101" y="1018"/>
                  <a:pt x="1702" y="1018"/>
                </a:cubicBezTo>
                <a:cubicBezTo>
                  <a:pt x="1305" y="1018"/>
                  <a:pt x="971" y="1352"/>
                  <a:pt x="971" y="1750"/>
                </a:cubicBezTo>
                <a:cubicBezTo>
                  <a:pt x="971" y="2148"/>
                  <a:pt x="1305" y="2482"/>
                  <a:pt x="1702" y="2482"/>
                </a:cubicBezTo>
                <a:cubicBezTo>
                  <a:pt x="2101" y="2482"/>
                  <a:pt x="2435" y="2148"/>
                  <a:pt x="2435" y="1750"/>
                </a:cubicBezTo>
                <a:close/>
                <a:moveTo>
                  <a:pt x="1130" y="1750"/>
                </a:moveTo>
                <a:cubicBezTo>
                  <a:pt x="1130" y="1432"/>
                  <a:pt x="1384" y="1178"/>
                  <a:pt x="1702" y="1178"/>
                </a:cubicBezTo>
                <a:cubicBezTo>
                  <a:pt x="2005" y="1178"/>
                  <a:pt x="2275" y="1432"/>
                  <a:pt x="2275" y="1750"/>
                </a:cubicBezTo>
                <a:cubicBezTo>
                  <a:pt x="2275" y="2069"/>
                  <a:pt x="2005" y="2323"/>
                  <a:pt x="1702" y="2323"/>
                </a:cubicBezTo>
                <a:cubicBezTo>
                  <a:pt x="1384" y="2323"/>
                  <a:pt x="1130" y="2069"/>
                  <a:pt x="1130" y="175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7" name="Freeform: Shape 15">
            <a:extLst>
              <a:ext uri="{FF2B5EF4-FFF2-40B4-BE49-F238E27FC236}">
                <a16:creationId xmlns:a16="http://schemas.microsoft.com/office/drawing/2014/main" id="{2AE4CF93-1307-E546-A4A9-E951922403A8}"/>
              </a:ext>
            </a:extLst>
          </p:cNvPr>
          <p:cNvSpPr/>
          <p:nvPr/>
        </p:nvSpPr>
        <p:spPr>
          <a:xfrm>
            <a:off x="5994012" y="3382228"/>
            <a:ext cx="1557719" cy="1563119"/>
          </a:xfrm>
          <a:custGeom>
            <a:avLst/>
            <a:gdLst/>
            <a:ahLst/>
            <a:cxnLst>
              <a:cxn ang="3cd4">
                <a:pos x="hc" y="t"/>
              </a:cxn>
              <a:cxn ang="cd2">
                <a:pos x="l" y="vc"/>
              </a:cxn>
              <a:cxn ang="cd4">
                <a:pos x="hc" y="b"/>
              </a:cxn>
              <a:cxn ang="0">
                <a:pos x="r" y="vc"/>
              </a:cxn>
            </a:cxnLst>
            <a:rect l="l" t="t" r="r" b="b"/>
            <a:pathLst>
              <a:path w="4328" h="4343">
                <a:moveTo>
                  <a:pt x="684" y="4343"/>
                </a:moveTo>
                <a:cubicBezTo>
                  <a:pt x="844" y="4343"/>
                  <a:pt x="1003" y="4280"/>
                  <a:pt x="1114" y="4184"/>
                </a:cubicBezTo>
                <a:cubicBezTo>
                  <a:pt x="1130" y="4200"/>
                  <a:pt x="1130" y="4200"/>
                  <a:pt x="1130" y="4200"/>
                </a:cubicBezTo>
                <a:cubicBezTo>
                  <a:pt x="1146" y="4216"/>
                  <a:pt x="1178" y="4216"/>
                  <a:pt x="1194" y="4216"/>
                </a:cubicBezTo>
                <a:cubicBezTo>
                  <a:pt x="1209" y="4216"/>
                  <a:pt x="1226" y="4216"/>
                  <a:pt x="1241" y="4200"/>
                </a:cubicBezTo>
                <a:cubicBezTo>
                  <a:pt x="1735" y="3707"/>
                  <a:pt x="1735" y="3707"/>
                  <a:pt x="1735" y="3707"/>
                </a:cubicBezTo>
                <a:cubicBezTo>
                  <a:pt x="1751" y="3691"/>
                  <a:pt x="1766" y="3675"/>
                  <a:pt x="1766" y="3659"/>
                </a:cubicBezTo>
                <a:cubicBezTo>
                  <a:pt x="1766" y="3627"/>
                  <a:pt x="1751" y="3612"/>
                  <a:pt x="1735" y="3595"/>
                </a:cubicBezTo>
                <a:cubicBezTo>
                  <a:pt x="1623" y="3484"/>
                  <a:pt x="1623" y="3484"/>
                  <a:pt x="1623" y="3484"/>
                </a:cubicBezTo>
                <a:cubicBezTo>
                  <a:pt x="1862" y="3277"/>
                  <a:pt x="1862" y="3277"/>
                  <a:pt x="1862" y="3277"/>
                </a:cubicBezTo>
                <a:cubicBezTo>
                  <a:pt x="2308" y="3723"/>
                  <a:pt x="2308" y="3723"/>
                  <a:pt x="2308" y="3723"/>
                </a:cubicBezTo>
                <a:cubicBezTo>
                  <a:pt x="2355" y="3771"/>
                  <a:pt x="2419" y="3786"/>
                  <a:pt x="2498" y="3786"/>
                </a:cubicBezTo>
                <a:cubicBezTo>
                  <a:pt x="2562" y="3786"/>
                  <a:pt x="2626" y="3771"/>
                  <a:pt x="2673" y="3723"/>
                </a:cubicBezTo>
                <a:cubicBezTo>
                  <a:pt x="3182" y="3214"/>
                  <a:pt x="3182" y="3214"/>
                  <a:pt x="3182" y="3214"/>
                </a:cubicBezTo>
                <a:cubicBezTo>
                  <a:pt x="3246" y="3150"/>
                  <a:pt x="3262" y="3086"/>
                  <a:pt x="3262" y="3023"/>
                </a:cubicBezTo>
                <a:cubicBezTo>
                  <a:pt x="3262" y="2959"/>
                  <a:pt x="3246" y="2880"/>
                  <a:pt x="3182" y="2832"/>
                </a:cubicBezTo>
                <a:cubicBezTo>
                  <a:pt x="2991" y="2641"/>
                  <a:pt x="2991" y="2641"/>
                  <a:pt x="2991" y="2641"/>
                </a:cubicBezTo>
                <a:cubicBezTo>
                  <a:pt x="3437" y="2195"/>
                  <a:pt x="3580" y="1925"/>
                  <a:pt x="3596" y="1686"/>
                </a:cubicBezTo>
                <a:cubicBezTo>
                  <a:pt x="3708" y="1703"/>
                  <a:pt x="3819" y="1655"/>
                  <a:pt x="3914" y="1575"/>
                </a:cubicBezTo>
                <a:cubicBezTo>
                  <a:pt x="3978" y="1512"/>
                  <a:pt x="4010" y="1432"/>
                  <a:pt x="4010" y="1336"/>
                </a:cubicBezTo>
                <a:cubicBezTo>
                  <a:pt x="4010" y="1289"/>
                  <a:pt x="4010" y="1257"/>
                  <a:pt x="3994" y="1225"/>
                </a:cubicBezTo>
                <a:cubicBezTo>
                  <a:pt x="4089" y="1225"/>
                  <a:pt x="4169" y="1193"/>
                  <a:pt x="4233" y="1130"/>
                </a:cubicBezTo>
                <a:cubicBezTo>
                  <a:pt x="4296" y="1066"/>
                  <a:pt x="4328" y="970"/>
                  <a:pt x="4328" y="875"/>
                </a:cubicBezTo>
                <a:cubicBezTo>
                  <a:pt x="4328" y="779"/>
                  <a:pt x="4296" y="700"/>
                  <a:pt x="4233" y="621"/>
                </a:cubicBezTo>
                <a:cubicBezTo>
                  <a:pt x="3708" y="112"/>
                  <a:pt x="3708" y="112"/>
                  <a:pt x="3708" y="112"/>
                </a:cubicBezTo>
                <a:cubicBezTo>
                  <a:pt x="3644" y="48"/>
                  <a:pt x="3564" y="0"/>
                  <a:pt x="3469" y="0"/>
                </a:cubicBezTo>
                <a:cubicBezTo>
                  <a:pt x="3373" y="0"/>
                  <a:pt x="3278" y="48"/>
                  <a:pt x="3214" y="112"/>
                </a:cubicBezTo>
                <a:cubicBezTo>
                  <a:pt x="3151" y="175"/>
                  <a:pt x="3119" y="255"/>
                  <a:pt x="3103" y="350"/>
                </a:cubicBezTo>
                <a:cubicBezTo>
                  <a:pt x="2991" y="302"/>
                  <a:pt x="2848" y="334"/>
                  <a:pt x="2753" y="430"/>
                </a:cubicBezTo>
                <a:cubicBezTo>
                  <a:pt x="2673" y="509"/>
                  <a:pt x="2642" y="621"/>
                  <a:pt x="2657" y="732"/>
                </a:cubicBezTo>
                <a:cubicBezTo>
                  <a:pt x="2419" y="764"/>
                  <a:pt x="2148" y="907"/>
                  <a:pt x="1703" y="1352"/>
                </a:cubicBezTo>
                <a:cubicBezTo>
                  <a:pt x="1512" y="1146"/>
                  <a:pt x="1512" y="1146"/>
                  <a:pt x="1512" y="1146"/>
                </a:cubicBezTo>
                <a:cubicBezTo>
                  <a:pt x="1400" y="1050"/>
                  <a:pt x="1241" y="1050"/>
                  <a:pt x="1130" y="1146"/>
                </a:cubicBezTo>
                <a:cubicBezTo>
                  <a:pt x="621" y="1655"/>
                  <a:pt x="621" y="1655"/>
                  <a:pt x="621" y="1655"/>
                </a:cubicBezTo>
                <a:cubicBezTo>
                  <a:pt x="573" y="1718"/>
                  <a:pt x="541" y="1782"/>
                  <a:pt x="541" y="1846"/>
                </a:cubicBezTo>
                <a:cubicBezTo>
                  <a:pt x="541" y="1925"/>
                  <a:pt x="573" y="1989"/>
                  <a:pt x="621" y="2036"/>
                </a:cubicBezTo>
                <a:cubicBezTo>
                  <a:pt x="1035" y="2450"/>
                  <a:pt x="1035" y="2450"/>
                  <a:pt x="1035" y="2450"/>
                </a:cubicBezTo>
                <a:cubicBezTo>
                  <a:pt x="812" y="2673"/>
                  <a:pt x="812" y="2673"/>
                  <a:pt x="812" y="2673"/>
                </a:cubicBezTo>
                <a:cubicBezTo>
                  <a:pt x="748" y="2609"/>
                  <a:pt x="748" y="2609"/>
                  <a:pt x="748" y="2609"/>
                </a:cubicBezTo>
                <a:cubicBezTo>
                  <a:pt x="717" y="2577"/>
                  <a:pt x="669" y="2577"/>
                  <a:pt x="637" y="2609"/>
                </a:cubicBezTo>
                <a:cubicBezTo>
                  <a:pt x="144" y="3086"/>
                  <a:pt x="144" y="3086"/>
                  <a:pt x="144" y="3086"/>
                </a:cubicBezTo>
                <a:cubicBezTo>
                  <a:pt x="127" y="3103"/>
                  <a:pt x="112" y="3134"/>
                  <a:pt x="112" y="3150"/>
                </a:cubicBezTo>
                <a:cubicBezTo>
                  <a:pt x="112" y="3166"/>
                  <a:pt x="127" y="3198"/>
                  <a:pt x="144" y="3198"/>
                </a:cubicBezTo>
                <a:cubicBezTo>
                  <a:pt x="398" y="3468"/>
                  <a:pt x="398" y="3468"/>
                  <a:pt x="398" y="3468"/>
                </a:cubicBezTo>
                <a:cubicBezTo>
                  <a:pt x="398" y="3866"/>
                  <a:pt x="398" y="3866"/>
                  <a:pt x="398" y="3866"/>
                </a:cubicBezTo>
                <a:cubicBezTo>
                  <a:pt x="398" y="3914"/>
                  <a:pt x="430" y="3946"/>
                  <a:pt x="478" y="3946"/>
                </a:cubicBezTo>
                <a:cubicBezTo>
                  <a:pt x="875" y="3946"/>
                  <a:pt x="875" y="3946"/>
                  <a:pt x="875" y="3946"/>
                </a:cubicBezTo>
                <a:cubicBezTo>
                  <a:pt x="1003" y="4073"/>
                  <a:pt x="1003" y="4073"/>
                  <a:pt x="1003" y="4073"/>
                </a:cubicBezTo>
                <a:cubicBezTo>
                  <a:pt x="796" y="4232"/>
                  <a:pt x="494" y="4216"/>
                  <a:pt x="318" y="4025"/>
                </a:cubicBezTo>
                <a:cubicBezTo>
                  <a:pt x="207" y="3930"/>
                  <a:pt x="160" y="3786"/>
                  <a:pt x="160" y="3643"/>
                </a:cubicBezTo>
                <a:cubicBezTo>
                  <a:pt x="160" y="3595"/>
                  <a:pt x="127" y="3564"/>
                  <a:pt x="80" y="3564"/>
                </a:cubicBezTo>
                <a:cubicBezTo>
                  <a:pt x="32" y="3564"/>
                  <a:pt x="0" y="3595"/>
                  <a:pt x="0" y="3643"/>
                </a:cubicBezTo>
                <a:cubicBezTo>
                  <a:pt x="0" y="3834"/>
                  <a:pt x="64" y="4009"/>
                  <a:pt x="207" y="4137"/>
                </a:cubicBezTo>
                <a:cubicBezTo>
                  <a:pt x="335" y="4264"/>
                  <a:pt x="494" y="4343"/>
                  <a:pt x="684" y="4343"/>
                </a:cubicBezTo>
                <a:close/>
                <a:moveTo>
                  <a:pt x="2769" y="891"/>
                </a:moveTo>
                <a:cubicBezTo>
                  <a:pt x="2800" y="891"/>
                  <a:pt x="2817" y="875"/>
                  <a:pt x="2832" y="843"/>
                </a:cubicBezTo>
                <a:cubicBezTo>
                  <a:pt x="2848" y="827"/>
                  <a:pt x="2848" y="795"/>
                  <a:pt x="2832" y="764"/>
                </a:cubicBezTo>
                <a:cubicBezTo>
                  <a:pt x="2800" y="700"/>
                  <a:pt x="2817" y="604"/>
                  <a:pt x="2864" y="541"/>
                </a:cubicBezTo>
                <a:cubicBezTo>
                  <a:pt x="2944" y="477"/>
                  <a:pt x="3071" y="477"/>
                  <a:pt x="3151" y="541"/>
                </a:cubicBezTo>
                <a:cubicBezTo>
                  <a:pt x="3166" y="557"/>
                  <a:pt x="3199" y="589"/>
                  <a:pt x="3199" y="589"/>
                </a:cubicBezTo>
                <a:cubicBezTo>
                  <a:pt x="3230" y="621"/>
                  <a:pt x="3278" y="621"/>
                  <a:pt x="3309" y="589"/>
                </a:cubicBezTo>
                <a:cubicBezTo>
                  <a:pt x="3326" y="557"/>
                  <a:pt x="3342" y="509"/>
                  <a:pt x="3309" y="477"/>
                </a:cubicBezTo>
                <a:cubicBezTo>
                  <a:pt x="3246" y="398"/>
                  <a:pt x="3262" y="286"/>
                  <a:pt x="3326" y="222"/>
                </a:cubicBezTo>
                <a:cubicBezTo>
                  <a:pt x="3357" y="191"/>
                  <a:pt x="3405" y="159"/>
                  <a:pt x="3469" y="159"/>
                </a:cubicBezTo>
                <a:cubicBezTo>
                  <a:pt x="3517" y="159"/>
                  <a:pt x="3564" y="191"/>
                  <a:pt x="3596" y="222"/>
                </a:cubicBezTo>
                <a:cubicBezTo>
                  <a:pt x="4121" y="732"/>
                  <a:pt x="4121" y="732"/>
                  <a:pt x="4121" y="732"/>
                </a:cubicBezTo>
                <a:cubicBezTo>
                  <a:pt x="4153" y="779"/>
                  <a:pt x="4169" y="827"/>
                  <a:pt x="4169" y="875"/>
                </a:cubicBezTo>
                <a:cubicBezTo>
                  <a:pt x="4169" y="923"/>
                  <a:pt x="4153" y="970"/>
                  <a:pt x="4121" y="1018"/>
                </a:cubicBezTo>
                <a:cubicBezTo>
                  <a:pt x="4042" y="1082"/>
                  <a:pt x="3946" y="1098"/>
                  <a:pt x="3866" y="1034"/>
                </a:cubicBezTo>
                <a:cubicBezTo>
                  <a:pt x="3835" y="1002"/>
                  <a:pt x="3787" y="1002"/>
                  <a:pt x="3755" y="1034"/>
                </a:cubicBezTo>
                <a:cubicBezTo>
                  <a:pt x="3723" y="1066"/>
                  <a:pt x="3723" y="1113"/>
                  <a:pt x="3755" y="1146"/>
                </a:cubicBezTo>
                <a:cubicBezTo>
                  <a:pt x="3755" y="1146"/>
                  <a:pt x="3787" y="1177"/>
                  <a:pt x="3787" y="1193"/>
                </a:cubicBezTo>
                <a:cubicBezTo>
                  <a:pt x="3835" y="1225"/>
                  <a:pt x="3851" y="1273"/>
                  <a:pt x="3851" y="1336"/>
                </a:cubicBezTo>
                <a:cubicBezTo>
                  <a:pt x="3851" y="1384"/>
                  <a:pt x="3835" y="1432"/>
                  <a:pt x="3787" y="1464"/>
                </a:cubicBezTo>
                <a:cubicBezTo>
                  <a:pt x="3739" y="1527"/>
                  <a:pt x="3644" y="1543"/>
                  <a:pt x="3564" y="1495"/>
                </a:cubicBezTo>
                <a:cubicBezTo>
                  <a:pt x="3548" y="1495"/>
                  <a:pt x="3517" y="1495"/>
                  <a:pt x="3485" y="1512"/>
                </a:cubicBezTo>
                <a:cubicBezTo>
                  <a:pt x="3469" y="1527"/>
                  <a:pt x="3453" y="1543"/>
                  <a:pt x="3453" y="1575"/>
                </a:cubicBezTo>
                <a:cubicBezTo>
                  <a:pt x="3453" y="1813"/>
                  <a:pt x="3342" y="2052"/>
                  <a:pt x="2880" y="2530"/>
                </a:cubicBezTo>
                <a:cubicBezTo>
                  <a:pt x="1814" y="1464"/>
                  <a:pt x="1814" y="1464"/>
                  <a:pt x="1814" y="1464"/>
                </a:cubicBezTo>
                <a:cubicBezTo>
                  <a:pt x="2275" y="986"/>
                  <a:pt x="2530" y="891"/>
                  <a:pt x="2769" y="891"/>
                </a:cubicBezTo>
                <a:close/>
                <a:moveTo>
                  <a:pt x="700" y="1846"/>
                </a:moveTo>
                <a:cubicBezTo>
                  <a:pt x="700" y="1813"/>
                  <a:pt x="717" y="1798"/>
                  <a:pt x="732" y="1782"/>
                </a:cubicBezTo>
                <a:cubicBezTo>
                  <a:pt x="1241" y="1273"/>
                  <a:pt x="1241" y="1273"/>
                  <a:pt x="1241" y="1273"/>
                </a:cubicBezTo>
                <a:cubicBezTo>
                  <a:pt x="1273" y="1241"/>
                  <a:pt x="1289" y="1241"/>
                  <a:pt x="1321" y="1241"/>
                </a:cubicBezTo>
                <a:cubicBezTo>
                  <a:pt x="1353" y="1241"/>
                  <a:pt x="1369" y="1241"/>
                  <a:pt x="1400" y="1273"/>
                </a:cubicBezTo>
                <a:cubicBezTo>
                  <a:pt x="3071" y="2943"/>
                  <a:pt x="3071" y="2943"/>
                  <a:pt x="3071" y="2943"/>
                </a:cubicBezTo>
                <a:cubicBezTo>
                  <a:pt x="3103" y="2975"/>
                  <a:pt x="3103" y="2991"/>
                  <a:pt x="3103" y="3023"/>
                </a:cubicBezTo>
                <a:cubicBezTo>
                  <a:pt x="3103" y="3055"/>
                  <a:pt x="3103" y="3071"/>
                  <a:pt x="3071" y="3103"/>
                </a:cubicBezTo>
                <a:cubicBezTo>
                  <a:pt x="2562" y="3612"/>
                  <a:pt x="2562" y="3612"/>
                  <a:pt x="2562" y="3612"/>
                </a:cubicBezTo>
                <a:cubicBezTo>
                  <a:pt x="2530" y="3643"/>
                  <a:pt x="2466" y="3643"/>
                  <a:pt x="2419" y="3612"/>
                </a:cubicBezTo>
                <a:cubicBezTo>
                  <a:pt x="732" y="1925"/>
                  <a:pt x="732" y="1925"/>
                  <a:pt x="732" y="1925"/>
                </a:cubicBezTo>
                <a:cubicBezTo>
                  <a:pt x="717" y="1909"/>
                  <a:pt x="700" y="1877"/>
                  <a:pt x="700" y="1846"/>
                </a:cubicBezTo>
                <a:close/>
                <a:moveTo>
                  <a:pt x="1146" y="2561"/>
                </a:moveTo>
                <a:cubicBezTo>
                  <a:pt x="1751" y="3166"/>
                  <a:pt x="1751" y="3166"/>
                  <a:pt x="1751" y="3166"/>
                </a:cubicBezTo>
                <a:cubicBezTo>
                  <a:pt x="1512" y="3373"/>
                  <a:pt x="1512" y="3373"/>
                  <a:pt x="1512" y="3373"/>
                </a:cubicBezTo>
                <a:cubicBezTo>
                  <a:pt x="923" y="2784"/>
                  <a:pt x="923" y="2784"/>
                  <a:pt x="923" y="2784"/>
                </a:cubicBezTo>
                <a:close/>
                <a:moveTo>
                  <a:pt x="684" y="2768"/>
                </a:moveTo>
                <a:cubicBezTo>
                  <a:pt x="732" y="2816"/>
                  <a:pt x="732" y="2816"/>
                  <a:pt x="732" y="2816"/>
                </a:cubicBezTo>
                <a:lnTo>
                  <a:pt x="748" y="2832"/>
                </a:lnTo>
                <a:cubicBezTo>
                  <a:pt x="748" y="2848"/>
                  <a:pt x="764" y="2848"/>
                  <a:pt x="764" y="2848"/>
                </a:cubicBezTo>
                <a:cubicBezTo>
                  <a:pt x="1448" y="3532"/>
                  <a:pt x="1448" y="3532"/>
                  <a:pt x="1448" y="3532"/>
                </a:cubicBezTo>
                <a:lnTo>
                  <a:pt x="1448" y="3548"/>
                </a:lnTo>
                <a:cubicBezTo>
                  <a:pt x="1464" y="3548"/>
                  <a:pt x="1464" y="3564"/>
                  <a:pt x="1480" y="3564"/>
                </a:cubicBezTo>
                <a:cubicBezTo>
                  <a:pt x="1575" y="3659"/>
                  <a:pt x="1575" y="3659"/>
                  <a:pt x="1575" y="3659"/>
                </a:cubicBezTo>
                <a:cubicBezTo>
                  <a:pt x="1194" y="4025"/>
                  <a:pt x="1194" y="4025"/>
                  <a:pt x="1194" y="4025"/>
                </a:cubicBezTo>
                <a:cubicBezTo>
                  <a:pt x="303" y="3150"/>
                  <a:pt x="303" y="3150"/>
                  <a:pt x="303" y="315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8" name="Freeform: Shape 16">
            <a:extLst>
              <a:ext uri="{FF2B5EF4-FFF2-40B4-BE49-F238E27FC236}">
                <a16:creationId xmlns:a16="http://schemas.microsoft.com/office/drawing/2014/main" id="{C5E9870A-5DDB-AF48-BB18-E1F09043BA10}"/>
              </a:ext>
            </a:extLst>
          </p:cNvPr>
          <p:cNvSpPr/>
          <p:nvPr/>
        </p:nvSpPr>
        <p:spPr>
          <a:xfrm>
            <a:off x="2097891" y="3261987"/>
            <a:ext cx="1276200" cy="1769400"/>
          </a:xfrm>
          <a:custGeom>
            <a:avLst/>
            <a:gdLst/>
            <a:ahLst/>
            <a:cxnLst>
              <a:cxn ang="3cd4">
                <a:pos x="hc" y="t"/>
              </a:cxn>
              <a:cxn ang="cd2">
                <a:pos x="l" y="vc"/>
              </a:cxn>
              <a:cxn ang="cd4">
                <a:pos x="hc" y="b"/>
              </a:cxn>
              <a:cxn ang="0">
                <a:pos x="r" y="vc"/>
              </a:cxn>
            </a:cxnLst>
            <a:rect l="l" t="t" r="r" b="b"/>
            <a:pathLst>
              <a:path w="3546" h="4916">
                <a:moveTo>
                  <a:pt x="2543" y="1273"/>
                </a:moveTo>
                <a:cubicBezTo>
                  <a:pt x="2543" y="1066"/>
                  <a:pt x="2384" y="891"/>
                  <a:pt x="2177" y="891"/>
                </a:cubicBezTo>
                <a:cubicBezTo>
                  <a:pt x="1971" y="891"/>
                  <a:pt x="1795" y="1066"/>
                  <a:pt x="1795" y="1273"/>
                </a:cubicBezTo>
                <a:cubicBezTo>
                  <a:pt x="1795" y="1480"/>
                  <a:pt x="1971" y="1638"/>
                  <a:pt x="2177" y="1638"/>
                </a:cubicBezTo>
                <a:cubicBezTo>
                  <a:pt x="2384" y="1638"/>
                  <a:pt x="2543" y="1480"/>
                  <a:pt x="2543" y="1273"/>
                </a:cubicBezTo>
                <a:close/>
                <a:moveTo>
                  <a:pt x="1955" y="1273"/>
                </a:moveTo>
                <a:cubicBezTo>
                  <a:pt x="1955" y="1146"/>
                  <a:pt x="2050" y="1050"/>
                  <a:pt x="2177" y="1050"/>
                </a:cubicBezTo>
                <a:cubicBezTo>
                  <a:pt x="2289" y="1050"/>
                  <a:pt x="2384" y="1146"/>
                  <a:pt x="2384" y="1273"/>
                </a:cubicBezTo>
                <a:cubicBezTo>
                  <a:pt x="2384" y="1384"/>
                  <a:pt x="2289" y="1480"/>
                  <a:pt x="2177" y="1480"/>
                </a:cubicBezTo>
                <a:cubicBezTo>
                  <a:pt x="2050" y="1480"/>
                  <a:pt x="1955" y="1384"/>
                  <a:pt x="1955" y="1273"/>
                </a:cubicBezTo>
                <a:close/>
                <a:moveTo>
                  <a:pt x="666" y="3691"/>
                </a:moveTo>
                <a:cubicBezTo>
                  <a:pt x="538" y="4009"/>
                  <a:pt x="698" y="4375"/>
                  <a:pt x="1016" y="4502"/>
                </a:cubicBezTo>
                <a:cubicBezTo>
                  <a:pt x="1095" y="4534"/>
                  <a:pt x="1175" y="4550"/>
                  <a:pt x="1255" y="4550"/>
                </a:cubicBezTo>
                <a:cubicBezTo>
                  <a:pt x="1509" y="4550"/>
                  <a:pt x="1748" y="4391"/>
                  <a:pt x="1843" y="4152"/>
                </a:cubicBezTo>
                <a:cubicBezTo>
                  <a:pt x="1907" y="3993"/>
                  <a:pt x="1907" y="3834"/>
                  <a:pt x="1827" y="3675"/>
                </a:cubicBezTo>
                <a:cubicBezTo>
                  <a:pt x="1764" y="3516"/>
                  <a:pt x="1652" y="3405"/>
                  <a:pt x="1493" y="3341"/>
                </a:cubicBezTo>
                <a:cubicBezTo>
                  <a:pt x="1414" y="3309"/>
                  <a:pt x="1334" y="3293"/>
                  <a:pt x="1255" y="3293"/>
                </a:cubicBezTo>
                <a:cubicBezTo>
                  <a:pt x="1000" y="3293"/>
                  <a:pt x="761" y="3452"/>
                  <a:pt x="666" y="3691"/>
                </a:cubicBezTo>
                <a:close/>
                <a:moveTo>
                  <a:pt x="1684" y="3738"/>
                </a:moveTo>
                <a:cubicBezTo>
                  <a:pt x="1732" y="3850"/>
                  <a:pt x="1748" y="3977"/>
                  <a:pt x="1700" y="4105"/>
                </a:cubicBezTo>
                <a:cubicBezTo>
                  <a:pt x="1604" y="4328"/>
                  <a:pt x="1318" y="4455"/>
                  <a:pt x="1080" y="4359"/>
                </a:cubicBezTo>
                <a:cubicBezTo>
                  <a:pt x="841" y="4264"/>
                  <a:pt x="729" y="3993"/>
                  <a:pt x="825" y="3755"/>
                </a:cubicBezTo>
                <a:cubicBezTo>
                  <a:pt x="889" y="3564"/>
                  <a:pt x="1064" y="3452"/>
                  <a:pt x="1255" y="3452"/>
                </a:cubicBezTo>
                <a:cubicBezTo>
                  <a:pt x="1318" y="3452"/>
                  <a:pt x="1382" y="3468"/>
                  <a:pt x="1429" y="3484"/>
                </a:cubicBezTo>
                <a:cubicBezTo>
                  <a:pt x="1541" y="3532"/>
                  <a:pt x="1637" y="3628"/>
                  <a:pt x="1684" y="3738"/>
                </a:cubicBezTo>
                <a:close/>
                <a:moveTo>
                  <a:pt x="968" y="2975"/>
                </a:moveTo>
                <a:lnTo>
                  <a:pt x="920" y="2975"/>
                </a:lnTo>
                <a:cubicBezTo>
                  <a:pt x="904" y="2991"/>
                  <a:pt x="825" y="3023"/>
                  <a:pt x="761" y="3055"/>
                </a:cubicBezTo>
                <a:lnTo>
                  <a:pt x="634" y="2991"/>
                </a:lnTo>
                <a:cubicBezTo>
                  <a:pt x="570" y="2975"/>
                  <a:pt x="507" y="2959"/>
                  <a:pt x="459" y="2991"/>
                </a:cubicBezTo>
                <a:cubicBezTo>
                  <a:pt x="347" y="3038"/>
                  <a:pt x="300" y="3150"/>
                  <a:pt x="284" y="3166"/>
                </a:cubicBezTo>
                <a:cubicBezTo>
                  <a:pt x="199" y="3383"/>
                  <a:pt x="93" y="3643"/>
                  <a:pt x="29" y="3818"/>
                </a:cubicBezTo>
                <a:cubicBezTo>
                  <a:pt x="-50" y="3993"/>
                  <a:pt x="46" y="4120"/>
                  <a:pt x="157" y="4168"/>
                </a:cubicBezTo>
                <a:lnTo>
                  <a:pt x="300" y="4216"/>
                </a:lnTo>
                <a:cubicBezTo>
                  <a:pt x="316" y="4280"/>
                  <a:pt x="380" y="4407"/>
                  <a:pt x="523" y="4582"/>
                </a:cubicBezTo>
                <a:cubicBezTo>
                  <a:pt x="746" y="4852"/>
                  <a:pt x="1064" y="4916"/>
                  <a:pt x="1286" y="4916"/>
                </a:cubicBezTo>
                <a:lnTo>
                  <a:pt x="1382" y="4916"/>
                </a:lnTo>
                <a:cubicBezTo>
                  <a:pt x="1557" y="4900"/>
                  <a:pt x="1684" y="4837"/>
                  <a:pt x="1748" y="4789"/>
                </a:cubicBezTo>
                <a:cubicBezTo>
                  <a:pt x="1780" y="4805"/>
                  <a:pt x="1843" y="4837"/>
                  <a:pt x="1907" y="4852"/>
                </a:cubicBezTo>
                <a:cubicBezTo>
                  <a:pt x="1971" y="4884"/>
                  <a:pt x="2082" y="4900"/>
                  <a:pt x="2193" y="4741"/>
                </a:cubicBezTo>
                <a:cubicBezTo>
                  <a:pt x="2225" y="4677"/>
                  <a:pt x="2304" y="4518"/>
                  <a:pt x="2495" y="4009"/>
                </a:cubicBezTo>
                <a:cubicBezTo>
                  <a:pt x="2527" y="3914"/>
                  <a:pt x="2511" y="3850"/>
                  <a:pt x="2480" y="3802"/>
                </a:cubicBezTo>
                <a:cubicBezTo>
                  <a:pt x="2448" y="3707"/>
                  <a:pt x="2395" y="3717"/>
                  <a:pt x="2352" y="3675"/>
                </a:cubicBezTo>
                <a:lnTo>
                  <a:pt x="2209" y="3611"/>
                </a:lnTo>
                <a:cubicBezTo>
                  <a:pt x="2193" y="3580"/>
                  <a:pt x="2177" y="3532"/>
                  <a:pt x="2161" y="3500"/>
                </a:cubicBezTo>
                <a:cubicBezTo>
                  <a:pt x="2146" y="3468"/>
                  <a:pt x="2129" y="3420"/>
                  <a:pt x="2114" y="3405"/>
                </a:cubicBezTo>
                <a:cubicBezTo>
                  <a:pt x="2114" y="3373"/>
                  <a:pt x="2082" y="3229"/>
                  <a:pt x="2114" y="2927"/>
                </a:cubicBezTo>
                <a:cubicBezTo>
                  <a:pt x="2146" y="2593"/>
                  <a:pt x="2337" y="2100"/>
                  <a:pt x="2400" y="1941"/>
                </a:cubicBezTo>
                <a:cubicBezTo>
                  <a:pt x="3052" y="1973"/>
                  <a:pt x="3089" y="2036"/>
                  <a:pt x="3434" y="2084"/>
                </a:cubicBezTo>
                <a:lnTo>
                  <a:pt x="3466" y="2084"/>
                </a:lnTo>
                <a:cubicBezTo>
                  <a:pt x="3482" y="2084"/>
                  <a:pt x="3498" y="2068"/>
                  <a:pt x="3514" y="2068"/>
                </a:cubicBezTo>
                <a:cubicBezTo>
                  <a:pt x="3529" y="2052"/>
                  <a:pt x="3546" y="2020"/>
                  <a:pt x="3546" y="2004"/>
                </a:cubicBezTo>
                <a:lnTo>
                  <a:pt x="3546" y="668"/>
                </a:lnTo>
                <a:lnTo>
                  <a:pt x="3546" y="652"/>
                </a:lnTo>
                <a:lnTo>
                  <a:pt x="3546" y="620"/>
                </a:lnTo>
                <a:cubicBezTo>
                  <a:pt x="3529" y="223"/>
                  <a:pt x="2829" y="0"/>
                  <a:pt x="2177" y="0"/>
                </a:cubicBezTo>
                <a:cubicBezTo>
                  <a:pt x="1509" y="0"/>
                  <a:pt x="825" y="223"/>
                  <a:pt x="809" y="620"/>
                </a:cubicBezTo>
                <a:lnTo>
                  <a:pt x="809" y="652"/>
                </a:lnTo>
                <a:lnTo>
                  <a:pt x="809" y="668"/>
                </a:lnTo>
                <a:lnTo>
                  <a:pt x="809" y="2004"/>
                </a:lnTo>
                <a:cubicBezTo>
                  <a:pt x="809" y="2020"/>
                  <a:pt x="809" y="2052"/>
                  <a:pt x="841" y="2068"/>
                </a:cubicBezTo>
                <a:cubicBezTo>
                  <a:pt x="857" y="2084"/>
                  <a:pt x="873" y="2084"/>
                  <a:pt x="904" y="2084"/>
                </a:cubicBezTo>
                <a:cubicBezTo>
                  <a:pt x="1164" y="2042"/>
                  <a:pt x="1191" y="2004"/>
                  <a:pt x="1684" y="1957"/>
                </a:cubicBezTo>
                <a:cubicBezTo>
                  <a:pt x="1620" y="2100"/>
                  <a:pt x="1477" y="2370"/>
                  <a:pt x="1318" y="2593"/>
                </a:cubicBezTo>
                <a:cubicBezTo>
                  <a:pt x="1207" y="2784"/>
                  <a:pt x="1000" y="2943"/>
                  <a:pt x="968" y="2975"/>
                </a:cubicBezTo>
                <a:close/>
                <a:moveTo>
                  <a:pt x="2177" y="159"/>
                </a:moveTo>
                <a:cubicBezTo>
                  <a:pt x="2766" y="159"/>
                  <a:pt x="3307" y="350"/>
                  <a:pt x="3371" y="589"/>
                </a:cubicBezTo>
                <a:lnTo>
                  <a:pt x="968" y="589"/>
                </a:lnTo>
                <a:cubicBezTo>
                  <a:pt x="1032" y="350"/>
                  <a:pt x="1573" y="159"/>
                  <a:pt x="2177" y="159"/>
                </a:cubicBezTo>
                <a:close/>
                <a:moveTo>
                  <a:pt x="968" y="747"/>
                </a:moveTo>
                <a:lnTo>
                  <a:pt x="3386" y="747"/>
                </a:lnTo>
                <a:lnTo>
                  <a:pt x="3386" y="1893"/>
                </a:lnTo>
                <a:cubicBezTo>
                  <a:pt x="3228" y="1861"/>
                  <a:pt x="2861" y="1798"/>
                  <a:pt x="2352" y="1782"/>
                </a:cubicBezTo>
                <a:lnTo>
                  <a:pt x="2177" y="1782"/>
                </a:lnTo>
                <a:cubicBezTo>
                  <a:pt x="1573" y="1782"/>
                  <a:pt x="1143" y="1861"/>
                  <a:pt x="968" y="1893"/>
                </a:cubicBezTo>
                <a:close/>
                <a:moveTo>
                  <a:pt x="1859" y="1941"/>
                </a:moveTo>
                <a:lnTo>
                  <a:pt x="2177" y="1941"/>
                </a:lnTo>
                <a:lnTo>
                  <a:pt x="2241" y="1941"/>
                </a:lnTo>
                <a:cubicBezTo>
                  <a:pt x="2146" y="2147"/>
                  <a:pt x="1986" y="2577"/>
                  <a:pt x="1955" y="2911"/>
                </a:cubicBezTo>
                <a:cubicBezTo>
                  <a:pt x="1923" y="3309"/>
                  <a:pt x="1955" y="3452"/>
                  <a:pt x="1971" y="3484"/>
                </a:cubicBezTo>
                <a:cubicBezTo>
                  <a:pt x="1987" y="3511"/>
                  <a:pt x="2002" y="3532"/>
                  <a:pt x="2018" y="3564"/>
                </a:cubicBezTo>
                <a:cubicBezTo>
                  <a:pt x="2034" y="3595"/>
                  <a:pt x="2050" y="3659"/>
                  <a:pt x="2066" y="3691"/>
                </a:cubicBezTo>
                <a:cubicBezTo>
                  <a:pt x="2066" y="3723"/>
                  <a:pt x="2082" y="3738"/>
                  <a:pt x="2114" y="3755"/>
                </a:cubicBezTo>
                <a:lnTo>
                  <a:pt x="2289" y="3818"/>
                </a:lnTo>
                <a:cubicBezTo>
                  <a:pt x="2320" y="3834"/>
                  <a:pt x="2368" y="3866"/>
                  <a:pt x="2337" y="3961"/>
                </a:cubicBezTo>
                <a:cubicBezTo>
                  <a:pt x="2273" y="4137"/>
                  <a:pt x="2098" y="4582"/>
                  <a:pt x="2066" y="4646"/>
                </a:cubicBezTo>
                <a:lnTo>
                  <a:pt x="2066" y="4662"/>
                </a:lnTo>
                <a:cubicBezTo>
                  <a:pt x="2018" y="4709"/>
                  <a:pt x="1986" y="4709"/>
                  <a:pt x="1971" y="4709"/>
                </a:cubicBezTo>
                <a:cubicBezTo>
                  <a:pt x="1843" y="4662"/>
                  <a:pt x="1833" y="4656"/>
                  <a:pt x="1764" y="4629"/>
                </a:cubicBezTo>
                <a:cubicBezTo>
                  <a:pt x="1748" y="4614"/>
                  <a:pt x="1716" y="4629"/>
                  <a:pt x="1684" y="4646"/>
                </a:cubicBezTo>
                <a:cubicBezTo>
                  <a:pt x="1578" y="4683"/>
                  <a:pt x="1557" y="4741"/>
                  <a:pt x="1366" y="4757"/>
                </a:cubicBezTo>
                <a:cubicBezTo>
                  <a:pt x="1191" y="4773"/>
                  <a:pt x="857" y="4757"/>
                  <a:pt x="634" y="4486"/>
                </a:cubicBezTo>
                <a:cubicBezTo>
                  <a:pt x="459" y="4264"/>
                  <a:pt x="507" y="4263"/>
                  <a:pt x="443" y="4152"/>
                </a:cubicBezTo>
                <a:cubicBezTo>
                  <a:pt x="443" y="4120"/>
                  <a:pt x="411" y="4105"/>
                  <a:pt x="395" y="4089"/>
                </a:cubicBezTo>
                <a:lnTo>
                  <a:pt x="220" y="4009"/>
                </a:lnTo>
                <a:cubicBezTo>
                  <a:pt x="189" y="4009"/>
                  <a:pt x="125" y="3961"/>
                  <a:pt x="173" y="3882"/>
                </a:cubicBezTo>
                <a:cubicBezTo>
                  <a:pt x="236" y="3707"/>
                  <a:pt x="427" y="3246"/>
                  <a:pt x="443" y="3229"/>
                </a:cubicBezTo>
                <a:cubicBezTo>
                  <a:pt x="443" y="3214"/>
                  <a:pt x="475" y="3150"/>
                  <a:pt x="507" y="3134"/>
                </a:cubicBezTo>
                <a:cubicBezTo>
                  <a:pt x="523" y="3134"/>
                  <a:pt x="538" y="3134"/>
                  <a:pt x="570" y="3150"/>
                </a:cubicBezTo>
                <a:lnTo>
                  <a:pt x="746" y="3214"/>
                </a:lnTo>
                <a:cubicBezTo>
                  <a:pt x="761" y="3229"/>
                  <a:pt x="793" y="3229"/>
                  <a:pt x="809" y="3214"/>
                </a:cubicBezTo>
                <a:cubicBezTo>
                  <a:pt x="873" y="3182"/>
                  <a:pt x="952" y="3134"/>
                  <a:pt x="968" y="3134"/>
                </a:cubicBezTo>
                <a:cubicBezTo>
                  <a:pt x="1000" y="3118"/>
                  <a:pt x="1011" y="3123"/>
                  <a:pt x="1032" y="3118"/>
                </a:cubicBezTo>
                <a:cubicBezTo>
                  <a:pt x="1037" y="3113"/>
                  <a:pt x="1047" y="3118"/>
                  <a:pt x="1047" y="3102"/>
                </a:cubicBezTo>
                <a:cubicBezTo>
                  <a:pt x="1064" y="3102"/>
                  <a:pt x="1302" y="2911"/>
                  <a:pt x="1461" y="2689"/>
                </a:cubicBezTo>
                <a:cubicBezTo>
                  <a:pt x="1637" y="2418"/>
                  <a:pt x="1811" y="2068"/>
                  <a:pt x="1859" y="194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9" name="Freeform: Shape 17">
            <a:extLst>
              <a:ext uri="{FF2B5EF4-FFF2-40B4-BE49-F238E27FC236}">
                <a16:creationId xmlns:a16="http://schemas.microsoft.com/office/drawing/2014/main" id="{0CF31AA5-9D59-AD40-B51C-3FA0E8AB5A05}"/>
              </a:ext>
            </a:extLst>
          </p:cNvPr>
          <p:cNvSpPr/>
          <p:nvPr/>
        </p:nvSpPr>
        <p:spPr>
          <a:xfrm>
            <a:off x="21333939" y="6606585"/>
            <a:ext cx="1341360" cy="1565999"/>
          </a:xfrm>
          <a:custGeom>
            <a:avLst/>
            <a:gdLst/>
            <a:ahLst/>
            <a:cxnLst>
              <a:cxn ang="3cd4">
                <a:pos x="hc" y="t"/>
              </a:cxn>
              <a:cxn ang="cd2">
                <a:pos x="l" y="vc"/>
              </a:cxn>
              <a:cxn ang="cd4">
                <a:pos x="hc" y="b"/>
              </a:cxn>
              <a:cxn ang="0">
                <a:pos x="r" y="vc"/>
              </a:cxn>
            </a:cxnLst>
            <a:rect l="l" t="t" r="r" b="b"/>
            <a:pathLst>
              <a:path w="3727" h="4351">
                <a:moveTo>
                  <a:pt x="52" y="4192"/>
                </a:moveTo>
                <a:cubicBezTo>
                  <a:pt x="20" y="4208"/>
                  <a:pt x="-12" y="4240"/>
                  <a:pt x="4" y="4288"/>
                </a:cubicBezTo>
                <a:cubicBezTo>
                  <a:pt x="4" y="4319"/>
                  <a:pt x="36" y="4351"/>
                  <a:pt x="84" y="4351"/>
                </a:cubicBezTo>
                <a:lnTo>
                  <a:pt x="99" y="4351"/>
                </a:lnTo>
                <a:cubicBezTo>
                  <a:pt x="115" y="4335"/>
                  <a:pt x="1945" y="3890"/>
                  <a:pt x="1945" y="2044"/>
                </a:cubicBezTo>
                <a:lnTo>
                  <a:pt x="1945" y="262"/>
                </a:lnTo>
                <a:lnTo>
                  <a:pt x="2788" y="1122"/>
                </a:lnTo>
                <a:cubicBezTo>
                  <a:pt x="2820" y="1137"/>
                  <a:pt x="2868" y="1137"/>
                  <a:pt x="2900" y="1122"/>
                </a:cubicBezTo>
                <a:cubicBezTo>
                  <a:pt x="2931" y="1090"/>
                  <a:pt x="2931" y="1026"/>
                  <a:pt x="2900" y="994"/>
                </a:cubicBezTo>
                <a:lnTo>
                  <a:pt x="1913" y="24"/>
                </a:lnTo>
                <a:cubicBezTo>
                  <a:pt x="1881" y="-8"/>
                  <a:pt x="1834" y="-8"/>
                  <a:pt x="1802" y="24"/>
                </a:cubicBezTo>
                <a:lnTo>
                  <a:pt x="815" y="994"/>
                </a:lnTo>
                <a:cubicBezTo>
                  <a:pt x="800" y="1026"/>
                  <a:pt x="800" y="1090"/>
                  <a:pt x="815" y="1122"/>
                </a:cubicBezTo>
                <a:cubicBezTo>
                  <a:pt x="831" y="1122"/>
                  <a:pt x="863" y="1137"/>
                  <a:pt x="879" y="1137"/>
                </a:cubicBezTo>
                <a:cubicBezTo>
                  <a:pt x="895" y="1137"/>
                  <a:pt x="927" y="1122"/>
                  <a:pt x="943" y="1122"/>
                </a:cubicBezTo>
                <a:lnTo>
                  <a:pt x="1786" y="262"/>
                </a:lnTo>
                <a:lnTo>
                  <a:pt x="1786" y="2044"/>
                </a:lnTo>
                <a:cubicBezTo>
                  <a:pt x="1786" y="3762"/>
                  <a:pt x="131" y="4176"/>
                  <a:pt x="52" y="4192"/>
                </a:cubicBezTo>
                <a:close/>
                <a:moveTo>
                  <a:pt x="3648" y="2935"/>
                </a:moveTo>
                <a:cubicBezTo>
                  <a:pt x="3679" y="2935"/>
                  <a:pt x="3711" y="2919"/>
                  <a:pt x="3727" y="2888"/>
                </a:cubicBezTo>
                <a:cubicBezTo>
                  <a:pt x="3727" y="2840"/>
                  <a:pt x="3711" y="2792"/>
                  <a:pt x="3663" y="2776"/>
                </a:cubicBezTo>
                <a:cubicBezTo>
                  <a:pt x="3356" y="2623"/>
                  <a:pt x="3043" y="2585"/>
                  <a:pt x="2740" y="2315"/>
                </a:cubicBezTo>
                <a:cubicBezTo>
                  <a:pt x="2438" y="2044"/>
                  <a:pt x="2231" y="1822"/>
                  <a:pt x="2104" y="1488"/>
                </a:cubicBezTo>
                <a:cubicBezTo>
                  <a:pt x="2088" y="1456"/>
                  <a:pt x="2040" y="1440"/>
                  <a:pt x="1993" y="1456"/>
                </a:cubicBezTo>
                <a:cubicBezTo>
                  <a:pt x="1961" y="1471"/>
                  <a:pt x="1929" y="1519"/>
                  <a:pt x="1945" y="1551"/>
                </a:cubicBezTo>
                <a:cubicBezTo>
                  <a:pt x="2104" y="1917"/>
                  <a:pt x="2327" y="2156"/>
                  <a:pt x="2645" y="2442"/>
                </a:cubicBezTo>
                <a:cubicBezTo>
                  <a:pt x="2963" y="2728"/>
                  <a:pt x="3600" y="2919"/>
                  <a:pt x="3615" y="293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9" name="TextBox 98">
            <a:extLst>
              <a:ext uri="{FF2B5EF4-FFF2-40B4-BE49-F238E27FC236}">
                <a16:creationId xmlns:a16="http://schemas.microsoft.com/office/drawing/2014/main" id="{77FEDCF5-A30D-7749-9305-45551D2D48EB}"/>
              </a:ext>
            </a:extLst>
          </p:cNvPr>
          <p:cNvSpPr txBox="1"/>
          <p:nvPr/>
        </p:nvSpPr>
        <p:spPr>
          <a:xfrm>
            <a:off x="20447229" y="11608024"/>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ocation 4</a:t>
            </a:r>
          </a:p>
        </p:txBody>
      </p:sp>
      <p:sp>
        <p:nvSpPr>
          <p:cNvPr id="100" name="Freeform: Shape 13">
            <a:extLst>
              <a:ext uri="{FF2B5EF4-FFF2-40B4-BE49-F238E27FC236}">
                <a16:creationId xmlns:a16="http://schemas.microsoft.com/office/drawing/2014/main" id="{BDA516B6-5C53-8041-88D2-7A587FC6EDF0}"/>
              </a:ext>
            </a:extLst>
          </p:cNvPr>
          <p:cNvSpPr/>
          <p:nvPr/>
        </p:nvSpPr>
        <p:spPr>
          <a:xfrm>
            <a:off x="21678458" y="10049706"/>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1" name="Freeform: Shape 13">
            <a:extLst>
              <a:ext uri="{FF2B5EF4-FFF2-40B4-BE49-F238E27FC236}">
                <a16:creationId xmlns:a16="http://schemas.microsoft.com/office/drawing/2014/main" id="{17729C68-3D12-F343-A9C7-8AD7A3F178A9}"/>
              </a:ext>
            </a:extLst>
          </p:cNvPr>
          <p:cNvSpPr/>
          <p:nvPr/>
        </p:nvSpPr>
        <p:spPr>
          <a:xfrm>
            <a:off x="21102819" y="10165200"/>
            <a:ext cx="1866960" cy="1271160"/>
          </a:xfrm>
          <a:custGeom>
            <a:avLst/>
            <a:gdLst/>
            <a:ahLst/>
            <a:cxnLst>
              <a:cxn ang="3cd4">
                <a:pos x="hc" y="t"/>
              </a:cxn>
              <a:cxn ang="cd2">
                <a:pos x="l" y="vc"/>
              </a:cxn>
              <a:cxn ang="cd4">
                <a:pos x="hc" y="b"/>
              </a:cxn>
              <a:cxn ang="0">
                <a:pos x="r" y="vc"/>
              </a:cxn>
            </a:cxnLst>
            <a:rect l="l" t="t" r="r" b="b"/>
            <a:pathLst>
              <a:path w="5187" h="3532">
                <a:moveTo>
                  <a:pt x="2594" y="3532"/>
                </a:moveTo>
                <a:cubicBezTo>
                  <a:pt x="3866" y="3532"/>
                  <a:pt x="5187" y="3182"/>
                  <a:pt x="5187" y="2593"/>
                </a:cubicBezTo>
                <a:cubicBezTo>
                  <a:pt x="5187" y="2100"/>
                  <a:pt x="4248" y="1798"/>
                  <a:pt x="3469" y="1702"/>
                </a:cubicBezTo>
                <a:cubicBezTo>
                  <a:pt x="3421" y="1686"/>
                  <a:pt x="3373" y="1718"/>
                  <a:pt x="3373" y="1766"/>
                </a:cubicBezTo>
                <a:cubicBezTo>
                  <a:pt x="3373" y="1813"/>
                  <a:pt x="3405" y="1845"/>
                  <a:pt x="3437" y="1861"/>
                </a:cubicBezTo>
                <a:cubicBezTo>
                  <a:pt x="4360" y="1973"/>
                  <a:pt x="5028" y="2291"/>
                  <a:pt x="5028" y="2593"/>
                </a:cubicBezTo>
                <a:cubicBezTo>
                  <a:pt x="5028" y="2959"/>
                  <a:pt x="4025" y="3373"/>
                  <a:pt x="2594" y="3373"/>
                </a:cubicBezTo>
                <a:cubicBezTo>
                  <a:pt x="1146" y="3373"/>
                  <a:pt x="160" y="2959"/>
                  <a:pt x="160" y="2593"/>
                </a:cubicBezTo>
                <a:cubicBezTo>
                  <a:pt x="160" y="2275"/>
                  <a:pt x="796" y="1973"/>
                  <a:pt x="1734" y="1861"/>
                </a:cubicBezTo>
                <a:cubicBezTo>
                  <a:pt x="1782" y="1845"/>
                  <a:pt x="1814" y="1813"/>
                  <a:pt x="1798" y="1766"/>
                </a:cubicBezTo>
                <a:cubicBezTo>
                  <a:pt x="1798" y="1718"/>
                  <a:pt x="1751" y="1686"/>
                  <a:pt x="1718" y="1702"/>
                </a:cubicBezTo>
                <a:cubicBezTo>
                  <a:pt x="669" y="1830"/>
                  <a:pt x="0" y="2179"/>
                  <a:pt x="0" y="2593"/>
                </a:cubicBezTo>
                <a:cubicBezTo>
                  <a:pt x="0" y="3182"/>
                  <a:pt x="1305" y="3532"/>
                  <a:pt x="2594" y="3532"/>
                </a:cubicBezTo>
                <a:close/>
                <a:moveTo>
                  <a:pt x="2052" y="2402"/>
                </a:moveTo>
                <a:cubicBezTo>
                  <a:pt x="2100" y="2402"/>
                  <a:pt x="2132" y="2355"/>
                  <a:pt x="2116" y="2322"/>
                </a:cubicBezTo>
                <a:cubicBezTo>
                  <a:pt x="2116" y="2275"/>
                  <a:pt x="2085" y="2243"/>
                  <a:pt x="2037" y="2243"/>
                </a:cubicBezTo>
                <a:cubicBezTo>
                  <a:pt x="1751" y="2259"/>
                  <a:pt x="1273" y="2355"/>
                  <a:pt x="1273" y="2577"/>
                </a:cubicBezTo>
                <a:cubicBezTo>
                  <a:pt x="1273" y="2864"/>
                  <a:pt x="2100" y="2927"/>
                  <a:pt x="2594" y="2927"/>
                </a:cubicBezTo>
                <a:cubicBezTo>
                  <a:pt x="3071" y="2927"/>
                  <a:pt x="3898" y="2864"/>
                  <a:pt x="3898" y="2577"/>
                </a:cubicBezTo>
                <a:cubicBezTo>
                  <a:pt x="3898" y="2370"/>
                  <a:pt x="3500" y="2275"/>
                  <a:pt x="3166" y="2243"/>
                </a:cubicBezTo>
                <a:cubicBezTo>
                  <a:pt x="3119" y="2243"/>
                  <a:pt x="3071" y="2275"/>
                  <a:pt x="3071" y="2307"/>
                </a:cubicBezTo>
                <a:cubicBezTo>
                  <a:pt x="3071" y="2355"/>
                  <a:pt x="3103" y="2402"/>
                  <a:pt x="3134" y="2402"/>
                </a:cubicBezTo>
                <a:cubicBezTo>
                  <a:pt x="3564" y="2450"/>
                  <a:pt x="3723" y="2545"/>
                  <a:pt x="3739" y="2561"/>
                </a:cubicBezTo>
                <a:cubicBezTo>
                  <a:pt x="3707" y="2641"/>
                  <a:pt x="3294" y="2768"/>
                  <a:pt x="2594" y="2768"/>
                </a:cubicBezTo>
                <a:cubicBezTo>
                  <a:pt x="1878" y="2768"/>
                  <a:pt x="1464" y="2641"/>
                  <a:pt x="1432" y="2577"/>
                </a:cubicBezTo>
                <a:cubicBezTo>
                  <a:pt x="1448" y="2530"/>
                  <a:pt x="1655" y="2434"/>
                  <a:pt x="2052" y="2402"/>
                </a:cubicBezTo>
                <a:close/>
                <a:moveTo>
                  <a:pt x="2594" y="0"/>
                </a:moveTo>
                <a:cubicBezTo>
                  <a:pt x="2085" y="0"/>
                  <a:pt x="1671" y="413"/>
                  <a:pt x="1671" y="907"/>
                </a:cubicBezTo>
                <a:cubicBezTo>
                  <a:pt x="1671" y="1400"/>
                  <a:pt x="2482" y="2498"/>
                  <a:pt x="2530" y="2545"/>
                </a:cubicBezTo>
                <a:cubicBezTo>
                  <a:pt x="2546" y="2561"/>
                  <a:pt x="2562" y="2577"/>
                  <a:pt x="2594" y="2577"/>
                </a:cubicBezTo>
                <a:cubicBezTo>
                  <a:pt x="2609" y="2577"/>
                  <a:pt x="2642" y="2561"/>
                  <a:pt x="2657" y="2545"/>
                </a:cubicBezTo>
                <a:cubicBezTo>
                  <a:pt x="2689" y="2498"/>
                  <a:pt x="3500" y="1416"/>
                  <a:pt x="3500" y="907"/>
                </a:cubicBezTo>
                <a:cubicBezTo>
                  <a:pt x="3500" y="413"/>
                  <a:pt x="3087" y="0"/>
                  <a:pt x="2594" y="0"/>
                </a:cubicBezTo>
                <a:close/>
                <a:moveTo>
                  <a:pt x="2594" y="2355"/>
                </a:moveTo>
                <a:cubicBezTo>
                  <a:pt x="2323" y="2004"/>
                  <a:pt x="1830" y="1241"/>
                  <a:pt x="1830" y="907"/>
                </a:cubicBezTo>
                <a:cubicBezTo>
                  <a:pt x="1830" y="493"/>
                  <a:pt x="2164" y="159"/>
                  <a:pt x="2594" y="159"/>
                </a:cubicBezTo>
                <a:cubicBezTo>
                  <a:pt x="3007" y="159"/>
                  <a:pt x="3342" y="493"/>
                  <a:pt x="3342" y="907"/>
                </a:cubicBezTo>
                <a:cubicBezTo>
                  <a:pt x="3342" y="1257"/>
                  <a:pt x="2848" y="2004"/>
                  <a:pt x="2594" y="2355"/>
                </a:cubicBezTo>
                <a:close/>
                <a:moveTo>
                  <a:pt x="2609" y="541"/>
                </a:moveTo>
                <a:cubicBezTo>
                  <a:pt x="2371" y="541"/>
                  <a:pt x="2180" y="731"/>
                  <a:pt x="2180" y="970"/>
                </a:cubicBezTo>
                <a:cubicBezTo>
                  <a:pt x="2180" y="1193"/>
                  <a:pt x="2371" y="1384"/>
                  <a:pt x="2609" y="1384"/>
                </a:cubicBezTo>
                <a:cubicBezTo>
                  <a:pt x="2832" y="1384"/>
                  <a:pt x="3023" y="1193"/>
                  <a:pt x="3023" y="970"/>
                </a:cubicBezTo>
                <a:cubicBezTo>
                  <a:pt x="3023" y="731"/>
                  <a:pt x="2832" y="541"/>
                  <a:pt x="2609" y="541"/>
                </a:cubicBezTo>
                <a:close/>
                <a:moveTo>
                  <a:pt x="2609" y="1225"/>
                </a:moveTo>
                <a:cubicBezTo>
                  <a:pt x="2466" y="1225"/>
                  <a:pt x="2339" y="1113"/>
                  <a:pt x="2339" y="970"/>
                </a:cubicBezTo>
                <a:cubicBezTo>
                  <a:pt x="2339" y="827"/>
                  <a:pt x="2466" y="700"/>
                  <a:pt x="2609" y="700"/>
                </a:cubicBezTo>
                <a:cubicBezTo>
                  <a:pt x="2753" y="700"/>
                  <a:pt x="2864" y="827"/>
                  <a:pt x="2864" y="970"/>
                </a:cubicBezTo>
                <a:cubicBezTo>
                  <a:pt x="2864" y="1113"/>
                  <a:pt x="2753" y="1225"/>
                  <a:pt x="2609" y="122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401390793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Transportation / Buildings - 6</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44" name="TextBox 43">
            <a:extLst>
              <a:ext uri="{FF2B5EF4-FFF2-40B4-BE49-F238E27FC236}">
                <a16:creationId xmlns:a16="http://schemas.microsoft.com/office/drawing/2014/main" id="{AAF2CFB0-DFA3-B04E-8A6F-07BFC350E451}"/>
              </a:ext>
            </a:extLst>
          </p:cNvPr>
          <p:cNvSpPr txBox="1"/>
          <p:nvPr/>
        </p:nvSpPr>
        <p:spPr>
          <a:xfrm>
            <a:off x="1052420"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ocation 1</a:t>
            </a:r>
          </a:p>
        </p:txBody>
      </p:sp>
      <p:sp>
        <p:nvSpPr>
          <p:cNvPr id="45" name="TextBox 44">
            <a:extLst>
              <a:ext uri="{FF2B5EF4-FFF2-40B4-BE49-F238E27FC236}">
                <a16:creationId xmlns:a16="http://schemas.microsoft.com/office/drawing/2014/main" id="{8AB99C1A-118C-134D-9313-F9DBE4E468AF}"/>
              </a:ext>
            </a:extLst>
          </p:cNvPr>
          <p:cNvSpPr txBox="1"/>
          <p:nvPr/>
        </p:nvSpPr>
        <p:spPr>
          <a:xfrm>
            <a:off x="5104672"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ocation +</a:t>
            </a:r>
          </a:p>
        </p:txBody>
      </p:sp>
      <p:sp>
        <p:nvSpPr>
          <p:cNvPr id="46" name="TextBox 45">
            <a:extLst>
              <a:ext uri="{FF2B5EF4-FFF2-40B4-BE49-F238E27FC236}">
                <a16:creationId xmlns:a16="http://schemas.microsoft.com/office/drawing/2014/main" id="{6D66775C-B0EE-4145-8817-10A586C6A3D9}"/>
              </a:ext>
            </a:extLst>
          </p:cNvPr>
          <p:cNvSpPr txBox="1"/>
          <p:nvPr/>
        </p:nvSpPr>
        <p:spPr>
          <a:xfrm>
            <a:off x="9131868"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ocation –</a:t>
            </a:r>
          </a:p>
        </p:txBody>
      </p:sp>
      <p:sp>
        <p:nvSpPr>
          <p:cNvPr id="47" name="TextBox 46">
            <a:extLst>
              <a:ext uri="{FF2B5EF4-FFF2-40B4-BE49-F238E27FC236}">
                <a16:creationId xmlns:a16="http://schemas.microsoft.com/office/drawing/2014/main" id="{FC58FEC4-13AA-824E-B900-3E95C6C843BB}"/>
              </a:ext>
            </a:extLst>
          </p:cNvPr>
          <p:cNvSpPr txBox="1"/>
          <p:nvPr/>
        </p:nvSpPr>
        <p:spPr>
          <a:xfrm>
            <a:off x="16239808"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rker Dot</a:t>
            </a:r>
          </a:p>
        </p:txBody>
      </p:sp>
      <p:sp>
        <p:nvSpPr>
          <p:cNvPr id="48" name="TextBox 47">
            <a:extLst>
              <a:ext uri="{FF2B5EF4-FFF2-40B4-BE49-F238E27FC236}">
                <a16:creationId xmlns:a16="http://schemas.microsoft.com/office/drawing/2014/main" id="{6EBD9532-3CCC-804B-8C80-D44934E33BB6}"/>
              </a:ext>
            </a:extLst>
          </p:cNvPr>
          <p:cNvSpPr txBox="1"/>
          <p:nvPr/>
        </p:nvSpPr>
        <p:spPr>
          <a:xfrm>
            <a:off x="20129967" y="5156582"/>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rker +</a:t>
            </a:r>
          </a:p>
        </p:txBody>
      </p:sp>
      <p:sp>
        <p:nvSpPr>
          <p:cNvPr id="49" name="TextBox 48">
            <a:extLst>
              <a:ext uri="{FF2B5EF4-FFF2-40B4-BE49-F238E27FC236}">
                <a16:creationId xmlns:a16="http://schemas.microsoft.com/office/drawing/2014/main" id="{31CA8B91-F1A4-EC49-A422-D0E43C326A09}"/>
              </a:ext>
            </a:extLst>
          </p:cNvPr>
          <p:cNvSpPr txBox="1"/>
          <p:nvPr/>
        </p:nvSpPr>
        <p:spPr>
          <a:xfrm>
            <a:off x="1137398"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rker –</a:t>
            </a:r>
          </a:p>
        </p:txBody>
      </p:sp>
      <p:sp>
        <p:nvSpPr>
          <p:cNvPr id="50" name="TextBox 49">
            <a:extLst>
              <a:ext uri="{FF2B5EF4-FFF2-40B4-BE49-F238E27FC236}">
                <a16:creationId xmlns:a16="http://schemas.microsoft.com/office/drawing/2014/main" id="{2D282C92-DA7C-5E40-9EDC-F3011AD9E46B}"/>
              </a:ext>
            </a:extLst>
          </p:cNvPr>
          <p:cNvSpPr txBox="1"/>
          <p:nvPr/>
        </p:nvSpPr>
        <p:spPr>
          <a:xfrm>
            <a:off x="5189650"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rker 3</a:t>
            </a:r>
          </a:p>
        </p:txBody>
      </p:sp>
      <p:sp>
        <p:nvSpPr>
          <p:cNvPr id="51" name="TextBox 50">
            <a:extLst>
              <a:ext uri="{FF2B5EF4-FFF2-40B4-BE49-F238E27FC236}">
                <a16:creationId xmlns:a16="http://schemas.microsoft.com/office/drawing/2014/main" id="{CD820DF9-344F-2D46-BF1B-4DFA985399E0}"/>
              </a:ext>
            </a:extLst>
          </p:cNvPr>
          <p:cNvSpPr txBox="1"/>
          <p:nvPr/>
        </p:nvSpPr>
        <p:spPr>
          <a:xfrm>
            <a:off x="20411715" y="834524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unnel</a:t>
            </a:r>
          </a:p>
        </p:txBody>
      </p:sp>
      <p:sp>
        <p:nvSpPr>
          <p:cNvPr id="52" name="TextBox 51">
            <a:extLst>
              <a:ext uri="{FF2B5EF4-FFF2-40B4-BE49-F238E27FC236}">
                <a16:creationId xmlns:a16="http://schemas.microsoft.com/office/drawing/2014/main" id="{B184AA2B-2A33-2449-8271-792B648EB1B2}"/>
              </a:ext>
            </a:extLst>
          </p:cNvPr>
          <p:cNvSpPr txBox="1"/>
          <p:nvPr/>
        </p:nvSpPr>
        <p:spPr>
          <a:xfrm>
            <a:off x="1271767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rker</a:t>
            </a:r>
          </a:p>
        </p:txBody>
      </p:sp>
      <p:sp>
        <p:nvSpPr>
          <p:cNvPr id="53" name="TextBox 52">
            <a:extLst>
              <a:ext uri="{FF2B5EF4-FFF2-40B4-BE49-F238E27FC236}">
                <a16:creationId xmlns:a16="http://schemas.microsoft.com/office/drawing/2014/main" id="{084F732E-FD25-1A40-9CF0-6390825D7A65}"/>
              </a:ext>
            </a:extLst>
          </p:cNvPr>
          <p:cNvSpPr txBox="1"/>
          <p:nvPr/>
        </p:nvSpPr>
        <p:spPr>
          <a:xfrm>
            <a:off x="16497163" y="8345246"/>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rker X</a:t>
            </a:r>
          </a:p>
        </p:txBody>
      </p:sp>
      <p:sp>
        <p:nvSpPr>
          <p:cNvPr id="54" name="TextBox 53">
            <a:extLst>
              <a:ext uri="{FF2B5EF4-FFF2-40B4-BE49-F238E27FC236}">
                <a16:creationId xmlns:a16="http://schemas.microsoft.com/office/drawing/2014/main" id="{05C31FAB-CBB7-D149-B84C-88A06D9E2E76}"/>
              </a:ext>
            </a:extLst>
          </p:cNvPr>
          <p:cNvSpPr txBox="1"/>
          <p:nvPr/>
        </p:nvSpPr>
        <p:spPr>
          <a:xfrm>
            <a:off x="9237732" y="830106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rker Star</a:t>
            </a:r>
          </a:p>
        </p:txBody>
      </p:sp>
      <p:sp>
        <p:nvSpPr>
          <p:cNvPr id="55" name="Freeform: Shape 26">
            <a:extLst>
              <a:ext uri="{FF2B5EF4-FFF2-40B4-BE49-F238E27FC236}">
                <a16:creationId xmlns:a16="http://schemas.microsoft.com/office/drawing/2014/main" id="{CBD24465-4863-B144-8BA6-69FE4DC04A12}"/>
              </a:ext>
            </a:extLst>
          </p:cNvPr>
          <p:cNvSpPr/>
          <p:nvPr/>
        </p:nvSpPr>
        <p:spPr>
          <a:xfrm>
            <a:off x="6887003"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6" name="TextBox 55">
            <a:extLst>
              <a:ext uri="{FF2B5EF4-FFF2-40B4-BE49-F238E27FC236}">
                <a16:creationId xmlns:a16="http://schemas.microsoft.com/office/drawing/2014/main" id="{10B77BD6-0B0C-FE49-92CF-5D60C82A7E50}"/>
              </a:ext>
            </a:extLst>
          </p:cNvPr>
          <p:cNvSpPr txBox="1"/>
          <p:nvPr/>
        </p:nvSpPr>
        <p:spPr>
          <a:xfrm>
            <a:off x="12717676"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ocation 3</a:t>
            </a:r>
          </a:p>
        </p:txBody>
      </p:sp>
      <p:sp>
        <p:nvSpPr>
          <p:cNvPr id="57" name="Freeform: Shape 1">
            <a:extLst>
              <a:ext uri="{FF2B5EF4-FFF2-40B4-BE49-F238E27FC236}">
                <a16:creationId xmlns:a16="http://schemas.microsoft.com/office/drawing/2014/main" id="{B5B6B91C-E77C-B440-B88F-E6D5131AF28E}"/>
              </a:ext>
            </a:extLst>
          </p:cNvPr>
          <p:cNvSpPr/>
          <p:nvPr/>
        </p:nvSpPr>
        <p:spPr>
          <a:xfrm>
            <a:off x="10254150" y="6230051"/>
            <a:ext cx="973440" cy="1700639"/>
          </a:xfrm>
          <a:custGeom>
            <a:avLst/>
            <a:gdLst/>
            <a:ahLst/>
            <a:cxnLst>
              <a:cxn ang="3cd4">
                <a:pos x="hc" y="t"/>
              </a:cxn>
              <a:cxn ang="cd2">
                <a:pos x="l" y="vc"/>
              </a:cxn>
              <a:cxn ang="cd4">
                <a:pos x="hc" y="b"/>
              </a:cxn>
              <a:cxn ang="0">
                <a:pos x="r" y="vc"/>
              </a:cxn>
            </a:cxnLst>
            <a:rect l="l" t="t" r="r" b="b"/>
            <a:pathLst>
              <a:path w="2705" h="4725">
                <a:moveTo>
                  <a:pt x="79" y="0"/>
                </a:moveTo>
                <a:cubicBezTo>
                  <a:pt x="48" y="0"/>
                  <a:pt x="0" y="47"/>
                  <a:pt x="0" y="79"/>
                </a:cubicBezTo>
                <a:lnTo>
                  <a:pt x="0" y="4646"/>
                </a:lnTo>
                <a:cubicBezTo>
                  <a:pt x="0" y="4677"/>
                  <a:pt x="16" y="4709"/>
                  <a:pt x="48" y="4725"/>
                </a:cubicBezTo>
                <a:lnTo>
                  <a:pt x="79" y="4725"/>
                </a:lnTo>
                <a:lnTo>
                  <a:pt x="127" y="4725"/>
                </a:lnTo>
                <a:lnTo>
                  <a:pt x="2673" y="3134"/>
                </a:lnTo>
                <a:cubicBezTo>
                  <a:pt x="2688" y="3134"/>
                  <a:pt x="2705" y="3102"/>
                  <a:pt x="2705" y="3070"/>
                </a:cubicBezTo>
                <a:lnTo>
                  <a:pt x="2705" y="79"/>
                </a:lnTo>
                <a:cubicBezTo>
                  <a:pt x="2705" y="47"/>
                  <a:pt x="2673" y="0"/>
                  <a:pt x="2625" y="0"/>
                </a:cubicBezTo>
                <a:close/>
                <a:moveTo>
                  <a:pt x="2545" y="3023"/>
                </a:moveTo>
                <a:lnTo>
                  <a:pt x="159" y="4502"/>
                </a:lnTo>
                <a:lnTo>
                  <a:pt x="159" y="159"/>
                </a:lnTo>
                <a:lnTo>
                  <a:pt x="2545" y="159"/>
                </a:lnTo>
                <a:close/>
                <a:moveTo>
                  <a:pt x="573" y="1098"/>
                </a:moveTo>
                <a:lnTo>
                  <a:pt x="954" y="1384"/>
                </a:lnTo>
                <a:lnTo>
                  <a:pt x="811" y="1829"/>
                </a:lnTo>
                <a:cubicBezTo>
                  <a:pt x="796" y="1861"/>
                  <a:pt x="811" y="1909"/>
                  <a:pt x="843" y="1925"/>
                </a:cubicBezTo>
                <a:cubicBezTo>
                  <a:pt x="859" y="1925"/>
                  <a:pt x="875" y="1941"/>
                  <a:pt x="891" y="1941"/>
                </a:cubicBezTo>
                <a:cubicBezTo>
                  <a:pt x="907" y="1941"/>
                  <a:pt x="923" y="1925"/>
                  <a:pt x="939" y="1925"/>
                </a:cubicBezTo>
                <a:lnTo>
                  <a:pt x="1320" y="1655"/>
                </a:lnTo>
                <a:lnTo>
                  <a:pt x="1702" y="1925"/>
                </a:lnTo>
                <a:cubicBezTo>
                  <a:pt x="1734" y="1941"/>
                  <a:pt x="1766" y="1941"/>
                  <a:pt x="1798" y="1925"/>
                </a:cubicBezTo>
                <a:cubicBezTo>
                  <a:pt x="1814" y="1893"/>
                  <a:pt x="1830" y="1861"/>
                  <a:pt x="1814" y="1829"/>
                </a:cubicBezTo>
                <a:lnTo>
                  <a:pt x="1670" y="1384"/>
                </a:lnTo>
                <a:lnTo>
                  <a:pt x="2052" y="1098"/>
                </a:lnTo>
                <a:cubicBezTo>
                  <a:pt x="2084" y="1082"/>
                  <a:pt x="2100" y="1050"/>
                  <a:pt x="2084" y="1018"/>
                </a:cubicBezTo>
                <a:cubicBezTo>
                  <a:pt x="2068" y="986"/>
                  <a:pt x="2036" y="954"/>
                  <a:pt x="2005" y="954"/>
                </a:cubicBezTo>
                <a:lnTo>
                  <a:pt x="1543" y="954"/>
                </a:lnTo>
                <a:lnTo>
                  <a:pt x="1384" y="509"/>
                </a:lnTo>
                <a:cubicBezTo>
                  <a:pt x="1368" y="445"/>
                  <a:pt x="1257" y="445"/>
                  <a:pt x="1241" y="509"/>
                </a:cubicBezTo>
                <a:lnTo>
                  <a:pt x="1097" y="954"/>
                </a:lnTo>
                <a:lnTo>
                  <a:pt x="620" y="954"/>
                </a:lnTo>
                <a:cubicBezTo>
                  <a:pt x="588" y="954"/>
                  <a:pt x="557" y="986"/>
                  <a:pt x="541" y="1018"/>
                </a:cubicBezTo>
                <a:cubicBezTo>
                  <a:pt x="541" y="1050"/>
                  <a:pt x="541" y="1082"/>
                  <a:pt x="573" y="1098"/>
                </a:cubicBezTo>
                <a:close/>
                <a:moveTo>
                  <a:pt x="1145" y="1113"/>
                </a:moveTo>
                <a:cubicBezTo>
                  <a:pt x="1193" y="1113"/>
                  <a:pt x="1209" y="1098"/>
                  <a:pt x="1225" y="1065"/>
                </a:cubicBezTo>
                <a:lnTo>
                  <a:pt x="1320" y="795"/>
                </a:lnTo>
                <a:lnTo>
                  <a:pt x="1400" y="1065"/>
                </a:lnTo>
                <a:cubicBezTo>
                  <a:pt x="1416" y="1098"/>
                  <a:pt x="1448" y="1113"/>
                  <a:pt x="1479" y="1113"/>
                </a:cubicBezTo>
                <a:lnTo>
                  <a:pt x="1766" y="1113"/>
                </a:lnTo>
                <a:lnTo>
                  <a:pt x="1527" y="1288"/>
                </a:lnTo>
                <a:cubicBezTo>
                  <a:pt x="1511" y="1304"/>
                  <a:pt x="1496" y="1352"/>
                  <a:pt x="1511" y="1384"/>
                </a:cubicBezTo>
                <a:lnTo>
                  <a:pt x="1591" y="1655"/>
                </a:lnTo>
                <a:lnTo>
                  <a:pt x="1368" y="1479"/>
                </a:lnTo>
                <a:cubicBezTo>
                  <a:pt x="1336" y="1464"/>
                  <a:pt x="1288" y="1464"/>
                  <a:pt x="1273" y="1479"/>
                </a:cubicBezTo>
                <a:lnTo>
                  <a:pt x="1034" y="1655"/>
                </a:lnTo>
                <a:lnTo>
                  <a:pt x="1130" y="1384"/>
                </a:lnTo>
                <a:cubicBezTo>
                  <a:pt x="1130" y="1336"/>
                  <a:pt x="1130" y="1304"/>
                  <a:pt x="1097" y="1288"/>
                </a:cubicBezTo>
                <a:lnTo>
                  <a:pt x="859" y="1113"/>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8" name="Freeform: Shape 2">
            <a:extLst>
              <a:ext uri="{FF2B5EF4-FFF2-40B4-BE49-F238E27FC236}">
                <a16:creationId xmlns:a16="http://schemas.microsoft.com/office/drawing/2014/main" id="{F682FB18-32CD-9B46-9405-2679911830F3}"/>
              </a:ext>
            </a:extLst>
          </p:cNvPr>
          <p:cNvSpPr/>
          <p:nvPr/>
        </p:nvSpPr>
        <p:spPr>
          <a:xfrm>
            <a:off x="17656753" y="6285392"/>
            <a:ext cx="973440" cy="1700999"/>
          </a:xfrm>
          <a:custGeom>
            <a:avLst/>
            <a:gdLst/>
            <a:ahLst/>
            <a:cxnLst>
              <a:cxn ang="3cd4">
                <a:pos x="hc" y="t"/>
              </a:cxn>
              <a:cxn ang="cd2">
                <a:pos x="l" y="vc"/>
              </a:cxn>
              <a:cxn ang="cd4">
                <a:pos x="hc" y="b"/>
              </a:cxn>
              <a:cxn ang="0">
                <a:pos x="r" y="vc"/>
              </a:cxn>
            </a:cxnLst>
            <a:rect l="l" t="t" r="r" b="b"/>
            <a:pathLst>
              <a:path w="2705" h="4726">
                <a:moveTo>
                  <a:pt x="80" y="0"/>
                </a:moveTo>
                <a:cubicBezTo>
                  <a:pt x="48" y="0"/>
                  <a:pt x="0" y="33"/>
                  <a:pt x="0" y="80"/>
                </a:cubicBezTo>
                <a:lnTo>
                  <a:pt x="0" y="4646"/>
                </a:lnTo>
                <a:cubicBezTo>
                  <a:pt x="0" y="4678"/>
                  <a:pt x="16" y="4694"/>
                  <a:pt x="48" y="4710"/>
                </a:cubicBezTo>
                <a:cubicBezTo>
                  <a:pt x="64" y="4726"/>
                  <a:pt x="64" y="4726"/>
                  <a:pt x="80" y="4726"/>
                </a:cubicBezTo>
                <a:cubicBezTo>
                  <a:pt x="96" y="4726"/>
                  <a:pt x="112" y="4726"/>
                  <a:pt x="128" y="4710"/>
                </a:cubicBezTo>
                <a:lnTo>
                  <a:pt x="2673" y="3135"/>
                </a:lnTo>
                <a:cubicBezTo>
                  <a:pt x="2689" y="3119"/>
                  <a:pt x="2705" y="3103"/>
                  <a:pt x="2705" y="3071"/>
                </a:cubicBezTo>
                <a:lnTo>
                  <a:pt x="2705" y="80"/>
                </a:lnTo>
                <a:cubicBezTo>
                  <a:pt x="2705" y="33"/>
                  <a:pt x="2673" y="0"/>
                  <a:pt x="2625" y="0"/>
                </a:cubicBezTo>
                <a:close/>
                <a:moveTo>
                  <a:pt x="2546" y="3024"/>
                </a:moveTo>
                <a:lnTo>
                  <a:pt x="160" y="4503"/>
                </a:lnTo>
                <a:lnTo>
                  <a:pt x="160" y="160"/>
                </a:lnTo>
                <a:lnTo>
                  <a:pt x="2546" y="160"/>
                </a:lnTo>
                <a:close/>
                <a:moveTo>
                  <a:pt x="700" y="1989"/>
                </a:moveTo>
                <a:cubicBezTo>
                  <a:pt x="716" y="2005"/>
                  <a:pt x="732" y="2005"/>
                  <a:pt x="748" y="2005"/>
                </a:cubicBezTo>
                <a:cubicBezTo>
                  <a:pt x="780" y="2005"/>
                  <a:pt x="796" y="2005"/>
                  <a:pt x="812" y="1989"/>
                </a:cubicBezTo>
                <a:lnTo>
                  <a:pt x="1321" y="1480"/>
                </a:lnTo>
                <a:lnTo>
                  <a:pt x="1814" y="1989"/>
                </a:lnTo>
                <a:cubicBezTo>
                  <a:pt x="1830" y="2005"/>
                  <a:pt x="1862" y="2005"/>
                  <a:pt x="1878" y="2005"/>
                </a:cubicBezTo>
                <a:cubicBezTo>
                  <a:pt x="1894" y="2005"/>
                  <a:pt x="1910" y="2005"/>
                  <a:pt x="1925" y="1989"/>
                </a:cubicBezTo>
                <a:cubicBezTo>
                  <a:pt x="1957" y="1957"/>
                  <a:pt x="1957" y="1910"/>
                  <a:pt x="1925" y="1878"/>
                </a:cubicBezTo>
                <a:lnTo>
                  <a:pt x="1433" y="1369"/>
                </a:lnTo>
                <a:lnTo>
                  <a:pt x="1925" y="860"/>
                </a:lnTo>
                <a:cubicBezTo>
                  <a:pt x="1957" y="828"/>
                  <a:pt x="1957" y="780"/>
                  <a:pt x="1925" y="748"/>
                </a:cubicBezTo>
                <a:cubicBezTo>
                  <a:pt x="1894" y="716"/>
                  <a:pt x="1846" y="716"/>
                  <a:pt x="1814" y="748"/>
                </a:cubicBezTo>
                <a:lnTo>
                  <a:pt x="1321" y="1257"/>
                </a:lnTo>
                <a:lnTo>
                  <a:pt x="812" y="748"/>
                </a:lnTo>
                <a:cubicBezTo>
                  <a:pt x="780" y="716"/>
                  <a:pt x="732" y="716"/>
                  <a:pt x="700" y="748"/>
                </a:cubicBezTo>
                <a:cubicBezTo>
                  <a:pt x="669" y="780"/>
                  <a:pt x="669" y="828"/>
                  <a:pt x="700" y="860"/>
                </a:cubicBezTo>
                <a:lnTo>
                  <a:pt x="1210" y="1369"/>
                </a:lnTo>
                <a:lnTo>
                  <a:pt x="700" y="1878"/>
                </a:lnTo>
                <a:cubicBezTo>
                  <a:pt x="669" y="1910"/>
                  <a:pt x="669" y="1957"/>
                  <a:pt x="700" y="198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9" name="Freeform: Shape 3">
            <a:extLst>
              <a:ext uri="{FF2B5EF4-FFF2-40B4-BE49-F238E27FC236}">
                <a16:creationId xmlns:a16="http://schemas.microsoft.com/office/drawing/2014/main" id="{220DA64C-C694-3D4E-B09C-92E86FA72193}"/>
              </a:ext>
            </a:extLst>
          </p:cNvPr>
          <p:cNvSpPr/>
          <p:nvPr/>
        </p:nvSpPr>
        <p:spPr>
          <a:xfrm>
            <a:off x="6568947" y="6400200"/>
            <a:ext cx="973440" cy="1700639"/>
          </a:xfrm>
          <a:custGeom>
            <a:avLst/>
            <a:gdLst/>
            <a:ahLst/>
            <a:cxnLst>
              <a:cxn ang="3cd4">
                <a:pos x="hc" y="t"/>
              </a:cxn>
              <a:cxn ang="cd2">
                <a:pos x="l" y="vc"/>
              </a:cxn>
              <a:cxn ang="cd4">
                <a:pos x="hc" y="b"/>
              </a:cxn>
              <a:cxn ang="0">
                <a:pos x="r" y="vc"/>
              </a:cxn>
            </a:cxnLst>
            <a:rect l="l" t="t" r="r" b="b"/>
            <a:pathLst>
              <a:path w="2705" h="4725">
                <a:moveTo>
                  <a:pt x="80" y="0"/>
                </a:moveTo>
                <a:cubicBezTo>
                  <a:pt x="32" y="0"/>
                  <a:pt x="0" y="32"/>
                  <a:pt x="0" y="80"/>
                </a:cubicBezTo>
                <a:lnTo>
                  <a:pt x="0" y="4646"/>
                </a:lnTo>
                <a:cubicBezTo>
                  <a:pt x="0" y="4678"/>
                  <a:pt x="16" y="4694"/>
                  <a:pt x="32" y="4710"/>
                </a:cubicBezTo>
                <a:cubicBezTo>
                  <a:pt x="48" y="4725"/>
                  <a:pt x="64" y="4725"/>
                  <a:pt x="80" y="4725"/>
                </a:cubicBezTo>
                <a:cubicBezTo>
                  <a:pt x="96" y="4725"/>
                  <a:pt x="111" y="4710"/>
                  <a:pt x="128" y="4710"/>
                </a:cubicBezTo>
                <a:lnTo>
                  <a:pt x="2657" y="3134"/>
                </a:lnTo>
                <a:cubicBezTo>
                  <a:pt x="2689" y="3119"/>
                  <a:pt x="2705" y="3087"/>
                  <a:pt x="2705" y="3071"/>
                </a:cubicBezTo>
                <a:lnTo>
                  <a:pt x="2705" y="80"/>
                </a:lnTo>
                <a:cubicBezTo>
                  <a:pt x="2705" y="32"/>
                  <a:pt x="2657" y="0"/>
                  <a:pt x="2625" y="0"/>
                </a:cubicBezTo>
                <a:close/>
                <a:moveTo>
                  <a:pt x="2546" y="3023"/>
                </a:moveTo>
                <a:lnTo>
                  <a:pt x="159" y="4503"/>
                </a:lnTo>
                <a:lnTo>
                  <a:pt x="159" y="160"/>
                </a:lnTo>
                <a:lnTo>
                  <a:pt x="2546" y="160"/>
                </a:lnTo>
                <a:close/>
                <a:moveTo>
                  <a:pt x="1305" y="2148"/>
                </a:moveTo>
                <a:cubicBezTo>
                  <a:pt x="1623" y="2148"/>
                  <a:pt x="1862" y="1941"/>
                  <a:pt x="1862" y="1703"/>
                </a:cubicBezTo>
                <a:cubicBezTo>
                  <a:pt x="1862" y="1464"/>
                  <a:pt x="1639" y="1289"/>
                  <a:pt x="1353" y="1273"/>
                </a:cubicBezTo>
                <a:lnTo>
                  <a:pt x="1702" y="923"/>
                </a:lnTo>
                <a:cubicBezTo>
                  <a:pt x="1734" y="907"/>
                  <a:pt x="1734" y="875"/>
                  <a:pt x="1719" y="843"/>
                </a:cubicBezTo>
                <a:cubicBezTo>
                  <a:pt x="1702" y="812"/>
                  <a:pt x="1687" y="796"/>
                  <a:pt x="1655" y="796"/>
                </a:cubicBezTo>
                <a:lnTo>
                  <a:pt x="955" y="796"/>
                </a:lnTo>
                <a:cubicBezTo>
                  <a:pt x="907" y="796"/>
                  <a:pt x="875" y="828"/>
                  <a:pt x="875" y="875"/>
                </a:cubicBezTo>
                <a:cubicBezTo>
                  <a:pt x="875" y="907"/>
                  <a:pt x="907" y="955"/>
                  <a:pt x="955" y="955"/>
                </a:cubicBezTo>
                <a:lnTo>
                  <a:pt x="1448" y="955"/>
                </a:lnTo>
                <a:lnTo>
                  <a:pt x="1114" y="1289"/>
                </a:lnTo>
                <a:cubicBezTo>
                  <a:pt x="1082" y="1305"/>
                  <a:pt x="1082" y="1352"/>
                  <a:pt x="1098" y="1369"/>
                </a:cubicBezTo>
                <a:cubicBezTo>
                  <a:pt x="1098" y="1400"/>
                  <a:pt x="1130" y="1432"/>
                  <a:pt x="1162" y="1432"/>
                </a:cubicBezTo>
                <a:lnTo>
                  <a:pt x="1321" y="1432"/>
                </a:lnTo>
                <a:cubicBezTo>
                  <a:pt x="1528" y="1432"/>
                  <a:pt x="1702" y="1543"/>
                  <a:pt x="1702" y="1703"/>
                </a:cubicBezTo>
                <a:cubicBezTo>
                  <a:pt x="1702" y="1862"/>
                  <a:pt x="1528" y="1989"/>
                  <a:pt x="1305" y="1989"/>
                </a:cubicBezTo>
                <a:cubicBezTo>
                  <a:pt x="1098" y="1989"/>
                  <a:pt x="907" y="1862"/>
                  <a:pt x="907" y="1718"/>
                </a:cubicBezTo>
                <a:cubicBezTo>
                  <a:pt x="907" y="1671"/>
                  <a:pt x="875" y="1639"/>
                  <a:pt x="828" y="1639"/>
                </a:cubicBezTo>
                <a:cubicBezTo>
                  <a:pt x="780" y="1639"/>
                  <a:pt x="748" y="1671"/>
                  <a:pt x="748" y="1718"/>
                </a:cubicBezTo>
                <a:cubicBezTo>
                  <a:pt x="748" y="1957"/>
                  <a:pt x="1002" y="2148"/>
                  <a:pt x="1305" y="214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Freeform: Shape 4">
            <a:extLst>
              <a:ext uri="{FF2B5EF4-FFF2-40B4-BE49-F238E27FC236}">
                <a16:creationId xmlns:a16="http://schemas.microsoft.com/office/drawing/2014/main" id="{17335116-619D-474C-8673-C040E03BA960}"/>
              </a:ext>
            </a:extLst>
          </p:cNvPr>
          <p:cNvSpPr/>
          <p:nvPr/>
        </p:nvSpPr>
        <p:spPr>
          <a:xfrm>
            <a:off x="2311075" y="6417480"/>
            <a:ext cx="973440" cy="1700639"/>
          </a:xfrm>
          <a:custGeom>
            <a:avLst/>
            <a:gdLst/>
            <a:ahLst/>
            <a:cxnLst>
              <a:cxn ang="3cd4">
                <a:pos x="hc" y="t"/>
              </a:cxn>
              <a:cxn ang="cd2">
                <a:pos x="l" y="vc"/>
              </a:cxn>
              <a:cxn ang="cd4">
                <a:pos x="hc" y="b"/>
              </a:cxn>
              <a:cxn ang="0">
                <a:pos x="r" y="vc"/>
              </a:cxn>
            </a:cxnLst>
            <a:rect l="l" t="t" r="r" b="b"/>
            <a:pathLst>
              <a:path w="2705" h="4725">
                <a:moveTo>
                  <a:pt x="80" y="0"/>
                </a:moveTo>
                <a:cubicBezTo>
                  <a:pt x="48" y="0"/>
                  <a:pt x="0" y="32"/>
                  <a:pt x="0" y="79"/>
                </a:cubicBezTo>
                <a:lnTo>
                  <a:pt x="0" y="4646"/>
                </a:lnTo>
                <a:cubicBezTo>
                  <a:pt x="0" y="4677"/>
                  <a:pt x="16" y="4709"/>
                  <a:pt x="48" y="4709"/>
                </a:cubicBezTo>
                <a:cubicBezTo>
                  <a:pt x="64" y="4725"/>
                  <a:pt x="64" y="4725"/>
                  <a:pt x="80" y="4725"/>
                </a:cubicBezTo>
                <a:lnTo>
                  <a:pt x="128" y="4725"/>
                </a:lnTo>
                <a:lnTo>
                  <a:pt x="2658" y="3341"/>
                </a:lnTo>
                <a:cubicBezTo>
                  <a:pt x="2689" y="3325"/>
                  <a:pt x="2705" y="3294"/>
                  <a:pt x="2705" y="3277"/>
                </a:cubicBezTo>
                <a:lnTo>
                  <a:pt x="2705" y="79"/>
                </a:lnTo>
                <a:cubicBezTo>
                  <a:pt x="2705" y="32"/>
                  <a:pt x="2673" y="0"/>
                  <a:pt x="2625" y="0"/>
                </a:cubicBezTo>
                <a:close/>
                <a:moveTo>
                  <a:pt x="2546" y="3230"/>
                </a:moveTo>
                <a:lnTo>
                  <a:pt x="160" y="4519"/>
                </a:lnTo>
                <a:lnTo>
                  <a:pt x="160" y="159"/>
                </a:lnTo>
                <a:lnTo>
                  <a:pt x="2546" y="159"/>
                </a:lnTo>
                <a:close/>
                <a:moveTo>
                  <a:pt x="478" y="1591"/>
                </a:moveTo>
                <a:lnTo>
                  <a:pt x="2069" y="1591"/>
                </a:lnTo>
                <a:cubicBezTo>
                  <a:pt x="2116" y="1591"/>
                  <a:pt x="2148" y="1559"/>
                  <a:pt x="2148" y="1512"/>
                </a:cubicBezTo>
                <a:cubicBezTo>
                  <a:pt x="2148" y="1464"/>
                  <a:pt x="2116" y="1432"/>
                  <a:pt x="2069" y="1432"/>
                </a:cubicBezTo>
                <a:lnTo>
                  <a:pt x="478" y="1432"/>
                </a:lnTo>
                <a:cubicBezTo>
                  <a:pt x="446" y="1432"/>
                  <a:pt x="398" y="1464"/>
                  <a:pt x="398" y="1512"/>
                </a:cubicBezTo>
                <a:cubicBezTo>
                  <a:pt x="398" y="1559"/>
                  <a:pt x="446" y="1591"/>
                  <a:pt x="478" y="159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Freeform: Shape 5">
            <a:extLst>
              <a:ext uri="{FF2B5EF4-FFF2-40B4-BE49-F238E27FC236}">
                <a16:creationId xmlns:a16="http://schemas.microsoft.com/office/drawing/2014/main" id="{A8731BA6-939B-984D-BF50-AFE4EB9706A9}"/>
              </a:ext>
            </a:extLst>
          </p:cNvPr>
          <p:cNvSpPr/>
          <p:nvPr/>
        </p:nvSpPr>
        <p:spPr>
          <a:xfrm>
            <a:off x="21510357" y="3292626"/>
            <a:ext cx="1087920" cy="1700639"/>
          </a:xfrm>
          <a:custGeom>
            <a:avLst/>
            <a:gdLst/>
            <a:ahLst/>
            <a:cxnLst>
              <a:cxn ang="3cd4">
                <a:pos x="hc" y="t"/>
              </a:cxn>
              <a:cxn ang="cd2">
                <a:pos x="l" y="vc"/>
              </a:cxn>
              <a:cxn ang="cd4">
                <a:pos x="hc" y="b"/>
              </a:cxn>
              <a:cxn ang="0">
                <a:pos x="r" y="vc"/>
              </a:cxn>
            </a:cxnLst>
            <a:rect l="l" t="t" r="r" b="b"/>
            <a:pathLst>
              <a:path w="3023" h="4725">
                <a:moveTo>
                  <a:pt x="80" y="0"/>
                </a:moveTo>
                <a:cubicBezTo>
                  <a:pt x="32" y="0"/>
                  <a:pt x="0" y="32"/>
                  <a:pt x="0" y="80"/>
                </a:cubicBezTo>
                <a:lnTo>
                  <a:pt x="0" y="4645"/>
                </a:lnTo>
                <a:cubicBezTo>
                  <a:pt x="0" y="4677"/>
                  <a:pt x="16" y="4693"/>
                  <a:pt x="47" y="4709"/>
                </a:cubicBezTo>
                <a:cubicBezTo>
                  <a:pt x="47" y="4725"/>
                  <a:pt x="64" y="4725"/>
                  <a:pt x="80" y="4725"/>
                </a:cubicBezTo>
                <a:cubicBezTo>
                  <a:pt x="95" y="4725"/>
                  <a:pt x="111" y="4725"/>
                  <a:pt x="127" y="4709"/>
                </a:cubicBezTo>
                <a:lnTo>
                  <a:pt x="2975" y="3134"/>
                </a:lnTo>
                <a:cubicBezTo>
                  <a:pt x="3007" y="3118"/>
                  <a:pt x="3023" y="3102"/>
                  <a:pt x="3023" y="3071"/>
                </a:cubicBezTo>
                <a:lnTo>
                  <a:pt x="3023" y="80"/>
                </a:lnTo>
                <a:cubicBezTo>
                  <a:pt x="3023" y="32"/>
                  <a:pt x="2991" y="0"/>
                  <a:pt x="2943" y="0"/>
                </a:cubicBezTo>
                <a:close/>
                <a:moveTo>
                  <a:pt x="2864" y="3023"/>
                </a:moveTo>
                <a:lnTo>
                  <a:pt x="159" y="4502"/>
                </a:lnTo>
                <a:lnTo>
                  <a:pt x="159" y="159"/>
                </a:lnTo>
                <a:lnTo>
                  <a:pt x="2864" y="159"/>
                </a:lnTo>
                <a:close/>
                <a:moveTo>
                  <a:pt x="795" y="1591"/>
                </a:moveTo>
                <a:lnTo>
                  <a:pt x="1432" y="1591"/>
                </a:lnTo>
                <a:lnTo>
                  <a:pt x="1432" y="2227"/>
                </a:lnTo>
                <a:cubicBezTo>
                  <a:pt x="1432" y="2259"/>
                  <a:pt x="1464" y="2307"/>
                  <a:pt x="1511" y="2307"/>
                </a:cubicBezTo>
                <a:cubicBezTo>
                  <a:pt x="1559" y="2307"/>
                  <a:pt x="1591" y="2259"/>
                  <a:pt x="1591" y="2227"/>
                </a:cubicBezTo>
                <a:lnTo>
                  <a:pt x="1591" y="1591"/>
                </a:lnTo>
                <a:lnTo>
                  <a:pt x="2228" y="1591"/>
                </a:lnTo>
                <a:cubicBezTo>
                  <a:pt x="2275" y="1591"/>
                  <a:pt x="2307" y="1559"/>
                  <a:pt x="2307" y="1511"/>
                </a:cubicBezTo>
                <a:cubicBezTo>
                  <a:pt x="2307" y="1463"/>
                  <a:pt x="2275" y="1432"/>
                  <a:pt x="2228" y="1432"/>
                </a:cubicBezTo>
                <a:lnTo>
                  <a:pt x="1591" y="1432"/>
                </a:lnTo>
                <a:lnTo>
                  <a:pt x="1591" y="795"/>
                </a:lnTo>
                <a:cubicBezTo>
                  <a:pt x="1591" y="748"/>
                  <a:pt x="1559" y="716"/>
                  <a:pt x="1511" y="716"/>
                </a:cubicBezTo>
                <a:cubicBezTo>
                  <a:pt x="1464" y="716"/>
                  <a:pt x="1432" y="748"/>
                  <a:pt x="1432" y="795"/>
                </a:cubicBezTo>
                <a:lnTo>
                  <a:pt x="1432" y="1432"/>
                </a:lnTo>
                <a:lnTo>
                  <a:pt x="795" y="1432"/>
                </a:lnTo>
                <a:cubicBezTo>
                  <a:pt x="747" y="1432"/>
                  <a:pt x="716" y="1463"/>
                  <a:pt x="716" y="1511"/>
                </a:cubicBezTo>
                <a:cubicBezTo>
                  <a:pt x="716" y="1559"/>
                  <a:pt x="747" y="1591"/>
                  <a:pt x="795" y="159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6">
            <a:extLst>
              <a:ext uri="{FF2B5EF4-FFF2-40B4-BE49-F238E27FC236}">
                <a16:creationId xmlns:a16="http://schemas.microsoft.com/office/drawing/2014/main" id="{AC2F9ECF-9797-FB47-98C8-48A458220542}"/>
              </a:ext>
            </a:extLst>
          </p:cNvPr>
          <p:cNvSpPr/>
          <p:nvPr/>
        </p:nvSpPr>
        <p:spPr>
          <a:xfrm>
            <a:off x="13781809" y="6435929"/>
            <a:ext cx="910440" cy="1700639"/>
          </a:xfrm>
          <a:custGeom>
            <a:avLst/>
            <a:gdLst/>
            <a:ahLst/>
            <a:cxnLst>
              <a:cxn ang="3cd4">
                <a:pos x="hc" y="t"/>
              </a:cxn>
              <a:cxn ang="cd2">
                <a:pos x="l" y="vc"/>
              </a:cxn>
              <a:cxn ang="cd4">
                <a:pos x="hc" y="b"/>
              </a:cxn>
              <a:cxn ang="0">
                <a:pos x="r" y="vc"/>
              </a:cxn>
            </a:cxnLst>
            <a:rect l="l" t="t" r="r" b="b"/>
            <a:pathLst>
              <a:path w="2530" h="4725">
                <a:moveTo>
                  <a:pt x="80" y="0"/>
                </a:moveTo>
                <a:cubicBezTo>
                  <a:pt x="48" y="0"/>
                  <a:pt x="0" y="48"/>
                  <a:pt x="0" y="80"/>
                </a:cubicBezTo>
                <a:cubicBezTo>
                  <a:pt x="0" y="4646"/>
                  <a:pt x="0" y="4646"/>
                  <a:pt x="0" y="4646"/>
                </a:cubicBezTo>
                <a:cubicBezTo>
                  <a:pt x="0" y="4677"/>
                  <a:pt x="16" y="4709"/>
                  <a:pt x="48" y="4725"/>
                </a:cubicBezTo>
                <a:cubicBezTo>
                  <a:pt x="64" y="4725"/>
                  <a:pt x="64" y="4725"/>
                  <a:pt x="80" y="4725"/>
                </a:cubicBezTo>
                <a:cubicBezTo>
                  <a:pt x="95" y="4725"/>
                  <a:pt x="112" y="4725"/>
                  <a:pt x="127" y="4709"/>
                </a:cubicBezTo>
                <a:cubicBezTo>
                  <a:pt x="2482" y="3134"/>
                  <a:pt x="2482" y="3134"/>
                  <a:pt x="2482" y="3134"/>
                </a:cubicBezTo>
                <a:cubicBezTo>
                  <a:pt x="2514" y="3118"/>
                  <a:pt x="2530" y="3103"/>
                  <a:pt x="2530" y="3071"/>
                </a:cubicBezTo>
                <a:cubicBezTo>
                  <a:pt x="2530" y="80"/>
                  <a:pt x="2530" y="80"/>
                  <a:pt x="2530" y="80"/>
                </a:cubicBezTo>
                <a:cubicBezTo>
                  <a:pt x="2530" y="48"/>
                  <a:pt x="2482" y="0"/>
                  <a:pt x="2450" y="0"/>
                </a:cubicBezTo>
                <a:close/>
                <a:moveTo>
                  <a:pt x="2371" y="3039"/>
                </a:moveTo>
                <a:cubicBezTo>
                  <a:pt x="159" y="4503"/>
                  <a:pt x="159" y="4503"/>
                  <a:pt x="159" y="4503"/>
                </a:cubicBezTo>
                <a:cubicBezTo>
                  <a:pt x="159" y="159"/>
                  <a:pt x="159" y="159"/>
                  <a:pt x="159" y="159"/>
                </a:cubicBezTo>
                <a:cubicBezTo>
                  <a:pt x="2371" y="159"/>
                  <a:pt x="2371" y="159"/>
                  <a:pt x="2371" y="1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0" name="Freeform: Shape 7">
            <a:extLst>
              <a:ext uri="{FF2B5EF4-FFF2-40B4-BE49-F238E27FC236}">
                <a16:creationId xmlns:a16="http://schemas.microsoft.com/office/drawing/2014/main" id="{35CCEED5-B101-144E-BE9E-76CBA5553840}"/>
              </a:ext>
            </a:extLst>
          </p:cNvPr>
          <p:cNvSpPr/>
          <p:nvPr/>
        </p:nvSpPr>
        <p:spPr>
          <a:xfrm>
            <a:off x="13669353" y="3181709"/>
            <a:ext cx="1202400" cy="1700999"/>
          </a:xfrm>
          <a:custGeom>
            <a:avLst/>
            <a:gdLst/>
            <a:ahLst/>
            <a:cxnLst>
              <a:cxn ang="3cd4">
                <a:pos x="hc" y="t"/>
              </a:cxn>
              <a:cxn ang="cd2">
                <a:pos x="l" y="vc"/>
              </a:cxn>
              <a:cxn ang="cd4">
                <a:pos x="hc" y="b"/>
              </a:cxn>
              <a:cxn ang="0">
                <a:pos x="r" y="vc"/>
              </a:cxn>
            </a:cxnLst>
            <a:rect l="l" t="t" r="r" b="b"/>
            <a:pathLst>
              <a:path w="3341" h="4726">
                <a:moveTo>
                  <a:pt x="1703" y="1433"/>
                </a:moveTo>
                <a:lnTo>
                  <a:pt x="1989" y="1082"/>
                </a:lnTo>
                <a:cubicBezTo>
                  <a:pt x="2005" y="1051"/>
                  <a:pt x="2005" y="1019"/>
                  <a:pt x="1989" y="987"/>
                </a:cubicBezTo>
                <a:cubicBezTo>
                  <a:pt x="1989" y="971"/>
                  <a:pt x="1957" y="955"/>
                  <a:pt x="1925" y="955"/>
                </a:cubicBezTo>
                <a:lnTo>
                  <a:pt x="1416" y="955"/>
                </a:lnTo>
                <a:cubicBezTo>
                  <a:pt x="1369" y="955"/>
                  <a:pt x="1336" y="987"/>
                  <a:pt x="1336" y="1034"/>
                </a:cubicBezTo>
                <a:cubicBezTo>
                  <a:pt x="1336" y="1067"/>
                  <a:pt x="1369" y="1114"/>
                  <a:pt x="1416" y="1114"/>
                </a:cubicBezTo>
                <a:lnTo>
                  <a:pt x="1750" y="1114"/>
                </a:lnTo>
                <a:lnTo>
                  <a:pt x="1480" y="1448"/>
                </a:lnTo>
                <a:cubicBezTo>
                  <a:pt x="1464" y="1480"/>
                  <a:pt x="1448" y="1512"/>
                  <a:pt x="1464" y="1544"/>
                </a:cubicBezTo>
                <a:cubicBezTo>
                  <a:pt x="1480" y="1560"/>
                  <a:pt x="1512" y="1591"/>
                  <a:pt x="1543" y="1591"/>
                </a:cubicBezTo>
                <a:lnTo>
                  <a:pt x="1655" y="1591"/>
                </a:lnTo>
                <a:cubicBezTo>
                  <a:pt x="1814" y="1591"/>
                  <a:pt x="1957" y="1719"/>
                  <a:pt x="1957" y="1878"/>
                </a:cubicBezTo>
                <a:cubicBezTo>
                  <a:pt x="1957" y="2037"/>
                  <a:pt x="1830" y="2180"/>
                  <a:pt x="1670" y="2180"/>
                </a:cubicBezTo>
                <a:cubicBezTo>
                  <a:pt x="1512" y="2180"/>
                  <a:pt x="1369" y="2053"/>
                  <a:pt x="1369" y="1894"/>
                </a:cubicBezTo>
                <a:cubicBezTo>
                  <a:pt x="1369" y="1846"/>
                  <a:pt x="1336" y="1814"/>
                  <a:pt x="1289" y="1814"/>
                </a:cubicBezTo>
                <a:cubicBezTo>
                  <a:pt x="1257" y="1814"/>
                  <a:pt x="1209" y="1846"/>
                  <a:pt x="1209" y="1894"/>
                </a:cubicBezTo>
                <a:cubicBezTo>
                  <a:pt x="1209" y="2133"/>
                  <a:pt x="1416" y="2339"/>
                  <a:pt x="1670" y="2339"/>
                </a:cubicBezTo>
                <a:cubicBezTo>
                  <a:pt x="1909" y="2339"/>
                  <a:pt x="2116" y="2133"/>
                  <a:pt x="2116" y="1878"/>
                </a:cubicBezTo>
                <a:cubicBezTo>
                  <a:pt x="2116" y="1639"/>
                  <a:pt x="1925" y="1448"/>
                  <a:pt x="1703" y="1433"/>
                </a:cubicBezTo>
                <a:close/>
                <a:moveTo>
                  <a:pt x="1670" y="0"/>
                </a:moveTo>
                <a:cubicBezTo>
                  <a:pt x="748" y="0"/>
                  <a:pt x="0" y="733"/>
                  <a:pt x="0" y="1655"/>
                </a:cubicBezTo>
                <a:cubicBezTo>
                  <a:pt x="0" y="2562"/>
                  <a:pt x="1543" y="4598"/>
                  <a:pt x="1607" y="4694"/>
                </a:cubicBezTo>
                <a:cubicBezTo>
                  <a:pt x="1623" y="4710"/>
                  <a:pt x="1639" y="4726"/>
                  <a:pt x="1670" y="4726"/>
                </a:cubicBezTo>
                <a:cubicBezTo>
                  <a:pt x="1703" y="4726"/>
                  <a:pt x="1718" y="4710"/>
                  <a:pt x="1734" y="4694"/>
                </a:cubicBezTo>
                <a:cubicBezTo>
                  <a:pt x="1798" y="4598"/>
                  <a:pt x="3341" y="2562"/>
                  <a:pt x="3341" y="1655"/>
                </a:cubicBezTo>
                <a:cubicBezTo>
                  <a:pt x="3341" y="733"/>
                  <a:pt x="2593" y="0"/>
                  <a:pt x="1670" y="0"/>
                </a:cubicBezTo>
                <a:close/>
                <a:moveTo>
                  <a:pt x="1670" y="4503"/>
                </a:moveTo>
                <a:cubicBezTo>
                  <a:pt x="1384" y="4105"/>
                  <a:pt x="159" y="2403"/>
                  <a:pt x="159" y="1655"/>
                </a:cubicBezTo>
                <a:cubicBezTo>
                  <a:pt x="159" y="828"/>
                  <a:pt x="843" y="160"/>
                  <a:pt x="1670" y="160"/>
                </a:cubicBezTo>
                <a:cubicBezTo>
                  <a:pt x="2498" y="160"/>
                  <a:pt x="3182" y="828"/>
                  <a:pt x="3182" y="1655"/>
                </a:cubicBezTo>
                <a:cubicBezTo>
                  <a:pt x="3182" y="2419"/>
                  <a:pt x="1973" y="4105"/>
                  <a:pt x="1670" y="450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0" name="Freeform: Shape 8">
            <a:extLst>
              <a:ext uri="{FF2B5EF4-FFF2-40B4-BE49-F238E27FC236}">
                <a16:creationId xmlns:a16="http://schemas.microsoft.com/office/drawing/2014/main" id="{AE84556A-83DA-D144-B4C3-52F47F417E9E}"/>
              </a:ext>
            </a:extLst>
          </p:cNvPr>
          <p:cNvSpPr/>
          <p:nvPr/>
        </p:nvSpPr>
        <p:spPr>
          <a:xfrm>
            <a:off x="10201673" y="3193229"/>
            <a:ext cx="1202400" cy="1700999"/>
          </a:xfrm>
          <a:custGeom>
            <a:avLst/>
            <a:gdLst/>
            <a:ahLst/>
            <a:cxnLst>
              <a:cxn ang="3cd4">
                <a:pos x="hc" y="t"/>
              </a:cxn>
              <a:cxn ang="cd2">
                <a:pos x="l" y="vc"/>
              </a:cxn>
              <a:cxn ang="cd4">
                <a:pos x="hc" y="b"/>
              </a:cxn>
              <a:cxn ang="0">
                <a:pos x="r" y="vc"/>
              </a:cxn>
            </a:cxnLst>
            <a:rect l="l" t="t" r="r" b="b"/>
            <a:pathLst>
              <a:path w="3341" h="4726">
                <a:moveTo>
                  <a:pt x="1670" y="0"/>
                </a:moveTo>
                <a:cubicBezTo>
                  <a:pt x="747" y="0"/>
                  <a:pt x="0" y="748"/>
                  <a:pt x="0" y="1671"/>
                </a:cubicBezTo>
                <a:cubicBezTo>
                  <a:pt x="0" y="2562"/>
                  <a:pt x="1543" y="4614"/>
                  <a:pt x="1606" y="4694"/>
                </a:cubicBezTo>
                <a:cubicBezTo>
                  <a:pt x="1623" y="4726"/>
                  <a:pt x="1638" y="4726"/>
                  <a:pt x="1670" y="4726"/>
                </a:cubicBezTo>
                <a:cubicBezTo>
                  <a:pt x="1702" y="4726"/>
                  <a:pt x="1718" y="4726"/>
                  <a:pt x="1734" y="4710"/>
                </a:cubicBezTo>
                <a:cubicBezTo>
                  <a:pt x="1797" y="4614"/>
                  <a:pt x="3341" y="2578"/>
                  <a:pt x="3341" y="1671"/>
                </a:cubicBezTo>
                <a:cubicBezTo>
                  <a:pt x="3341" y="748"/>
                  <a:pt x="2593" y="0"/>
                  <a:pt x="1670" y="0"/>
                </a:cubicBezTo>
                <a:close/>
                <a:moveTo>
                  <a:pt x="1670" y="4519"/>
                </a:moveTo>
                <a:cubicBezTo>
                  <a:pt x="1384" y="4121"/>
                  <a:pt x="159" y="2419"/>
                  <a:pt x="159" y="1671"/>
                </a:cubicBezTo>
                <a:cubicBezTo>
                  <a:pt x="159" y="844"/>
                  <a:pt x="843" y="159"/>
                  <a:pt x="1670" y="159"/>
                </a:cubicBezTo>
                <a:cubicBezTo>
                  <a:pt x="2497" y="159"/>
                  <a:pt x="3182" y="844"/>
                  <a:pt x="3182" y="1671"/>
                </a:cubicBezTo>
                <a:cubicBezTo>
                  <a:pt x="3182" y="2419"/>
                  <a:pt x="1972" y="4121"/>
                  <a:pt x="1670" y="4519"/>
                </a:cubicBezTo>
                <a:close/>
                <a:moveTo>
                  <a:pt x="2370" y="1591"/>
                </a:moveTo>
                <a:lnTo>
                  <a:pt x="938" y="1591"/>
                </a:lnTo>
                <a:cubicBezTo>
                  <a:pt x="891" y="1591"/>
                  <a:pt x="859" y="1639"/>
                  <a:pt x="859" y="1671"/>
                </a:cubicBezTo>
                <a:cubicBezTo>
                  <a:pt x="859" y="1719"/>
                  <a:pt x="891" y="1750"/>
                  <a:pt x="938" y="1750"/>
                </a:cubicBezTo>
                <a:lnTo>
                  <a:pt x="2370" y="1750"/>
                </a:lnTo>
                <a:cubicBezTo>
                  <a:pt x="2418" y="1750"/>
                  <a:pt x="2450" y="1719"/>
                  <a:pt x="2450" y="1671"/>
                </a:cubicBezTo>
                <a:cubicBezTo>
                  <a:pt x="2450" y="1639"/>
                  <a:pt x="2418" y="1591"/>
                  <a:pt x="2370" y="159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1" name="Freeform: Shape 9">
            <a:extLst>
              <a:ext uri="{FF2B5EF4-FFF2-40B4-BE49-F238E27FC236}">
                <a16:creationId xmlns:a16="http://schemas.microsoft.com/office/drawing/2014/main" id="{931577F8-DE94-AE4F-A106-15AD4A76D3DD}"/>
              </a:ext>
            </a:extLst>
          </p:cNvPr>
          <p:cNvSpPr/>
          <p:nvPr/>
        </p:nvSpPr>
        <p:spPr>
          <a:xfrm>
            <a:off x="6252972" y="3210509"/>
            <a:ext cx="1202400" cy="1700639"/>
          </a:xfrm>
          <a:custGeom>
            <a:avLst/>
            <a:gdLst/>
            <a:ahLst/>
            <a:cxnLst>
              <a:cxn ang="3cd4">
                <a:pos x="hc" y="t"/>
              </a:cxn>
              <a:cxn ang="cd2">
                <a:pos x="l" y="vc"/>
              </a:cxn>
              <a:cxn ang="cd4">
                <a:pos x="hc" y="b"/>
              </a:cxn>
              <a:cxn ang="0">
                <a:pos x="r" y="vc"/>
              </a:cxn>
            </a:cxnLst>
            <a:rect l="l" t="t" r="r" b="b"/>
            <a:pathLst>
              <a:path w="3341" h="4725">
                <a:moveTo>
                  <a:pt x="2371" y="1591"/>
                </a:moveTo>
                <a:lnTo>
                  <a:pt x="1734" y="1591"/>
                </a:lnTo>
                <a:lnTo>
                  <a:pt x="1734" y="954"/>
                </a:lnTo>
                <a:cubicBezTo>
                  <a:pt x="1734" y="907"/>
                  <a:pt x="1703" y="875"/>
                  <a:pt x="1655" y="875"/>
                </a:cubicBezTo>
                <a:cubicBezTo>
                  <a:pt x="1607" y="875"/>
                  <a:pt x="1575" y="907"/>
                  <a:pt x="1575" y="954"/>
                </a:cubicBezTo>
                <a:lnTo>
                  <a:pt x="1575" y="1591"/>
                </a:lnTo>
                <a:lnTo>
                  <a:pt x="939" y="1591"/>
                </a:lnTo>
                <a:cubicBezTo>
                  <a:pt x="891" y="1591"/>
                  <a:pt x="859" y="1623"/>
                  <a:pt x="859" y="1671"/>
                </a:cubicBezTo>
                <a:cubicBezTo>
                  <a:pt x="859" y="1718"/>
                  <a:pt x="891" y="1750"/>
                  <a:pt x="939" y="1750"/>
                </a:cubicBezTo>
                <a:lnTo>
                  <a:pt x="1575" y="1750"/>
                </a:lnTo>
                <a:lnTo>
                  <a:pt x="1575" y="2387"/>
                </a:lnTo>
                <a:cubicBezTo>
                  <a:pt x="1575" y="2434"/>
                  <a:pt x="1607" y="2466"/>
                  <a:pt x="1655" y="2466"/>
                </a:cubicBezTo>
                <a:cubicBezTo>
                  <a:pt x="1703" y="2466"/>
                  <a:pt x="1734" y="2434"/>
                  <a:pt x="1734" y="2387"/>
                </a:cubicBezTo>
                <a:lnTo>
                  <a:pt x="1734" y="1750"/>
                </a:lnTo>
                <a:lnTo>
                  <a:pt x="2371" y="1750"/>
                </a:lnTo>
                <a:cubicBezTo>
                  <a:pt x="2418" y="1750"/>
                  <a:pt x="2450" y="1718"/>
                  <a:pt x="2450" y="1671"/>
                </a:cubicBezTo>
                <a:cubicBezTo>
                  <a:pt x="2450" y="1623"/>
                  <a:pt x="2418" y="1591"/>
                  <a:pt x="2371" y="1591"/>
                </a:cubicBezTo>
                <a:close/>
                <a:moveTo>
                  <a:pt x="1671" y="0"/>
                </a:moveTo>
                <a:cubicBezTo>
                  <a:pt x="748" y="0"/>
                  <a:pt x="0" y="748"/>
                  <a:pt x="0" y="1654"/>
                </a:cubicBezTo>
                <a:cubicBezTo>
                  <a:pt x="0" y="2562"/>
                  <a:pt x="1543" y="4614"/>
                  <a:pt x="1607" y="4693"/>
                </a:cubicBezTo>
                <a:cubicBezTo>
                  <a:pt x="1623" y="4725"/>
                  <a:pt x="1639" y="4725"/>
                  <a:pt x="1671" y="4725"/>
                </a:cubicBezTo>
                <a:cubicBezTo>
                  <a:pt x="1703" y="4725"/>
                  <a:pt x="1718" y="4725"/>
                  <a:pt x="1734" y="4693"/>
                </a:cubicBezTo>
                <a:cubicBezTo>
                  <a:pt x="1798" y="4614"/>
                  <a:pt x="3341" y="2578"/>
                  <a:pt x="3341" y="1654"/>
                </a:cubicBezTo>
                <a:cubicBezTo>
                  <a:pt x="3341" y="748"/>
                  <a:pt x="2594" y="0"/>
                  <a:pt x="1671" y="0"/>
                </a:cubicBezTo>
                <a:close/>
                <a:moveTo>
                  <a:pt x="1671" y="4518"/>
                </a:moveTo>
                <a:cubicBezTo>
                  <a:pt x="1384" y="4121"/>
                  <a:pt x="159" y="2418"/>
                  <a:pt x="159" y="1654"/>
                </a:cubicBezTo>
                <a:cubicBezTo>
                  <a:pt x="159" y="827"/>
                  <a:pt x="843" y="159"/>
                  <a:pt x="1671" y="159"/>
                </a:cubicBezTo>
                <a:cubicBezTo>
                  <a:pt x="2498" y="159"/>
                  <a:pt x="3182" y="827"/>
                  <a:pt x="3182" y="1654"/>
                </a:cubicBezTo>
                <a:cubicBezTo>
                  <a:pt x="3182" y="2418"/>
                  <a:pt x="1973" y="4121"/>
                  <a:pt x="1671" y="451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2" name="Freeform: Shape 10">
            <a:extLst>
              <a:ext uri="{FF2B5EF4-FFF2-40B4-BE49-F238E27FC236}">
                <a16:creationId xmlns:a16="http://schemas.microsoft.com/office/drawing/2014/main" id="{90ACB085-CB7F-E549-87A1-C655BF9D4F39}"/>
              </a:ext>
            </a:extLst>
          </p:cNvPr>
          <p:cNvSpPr/>
          <p:nvPr/>
        </p:nvSpPr>
        <p:spPr>
          <a:xfrm>
            <a:off x="2085036" y="3292626"/>
            <a:ext cx="1202400" cy="1700639"/>
          </a:xfrm>
          <a:custGeom>
            <a:avLst/>
            <a:gdLst/>
            <a:ahLst/>
            <a:cxnLst>
              <a:cxn ang="3cd4">
                <a:pos x="hc" y="t"/>
              </a:cxn>
              <a:cxn ang="cd2">
                <a:pos x="l" y="vc"/>
              </a:cxn>
              <a:cxn ang="cd4">
                <a:pos x="hc" y="b"/>
              </a:cxn>
              <a:cxn ang="0">
                <a:pos x="r" y="vc"/>
              </a:cxn>
            </a:cxnLst>
            <a:rect l="l" t="t" r="r" b="b"/>
            <a:pathLst>
              <a:path w="3341" h="4725">
                <a:moveTo>
                  <a:pt x="1670" y="0"/>
                </a:moveTo>
                <a:cubicBezTo>
                  <a:pt x="748" y="0"/>
                  <a:pt x="0" y="748"/>
                  <a:pt x="0" y="1654"/>
                </a:cubicBezTo>
                <a:cubicBezTo>
                  <a:pt x="0" y="2561"/>
                  <a:pt x="1543" y="4614"/>
                  <a:pt x="1606" y="4693"/>
                </a:cubicBezTo>
                <a:cubicBezTo>
                  <a:pt x="1623" y="4709"/>
                  <a:pt x="1638" y="4725"/>
                  <a:pt x="1670" y="4725"/>
                </a:cubicBezTo>
                <a:cubicBezTo>
                  <a:pt x="1702" y="4725"/>
                  <a:pt x="1718" y="4709"/>
                  <a:pt x="1734" y="4693"/>
                </a:cubicBezTo>
                <a:cubicBezTo>
                  <a:pt x="1797" y="4614"/>
                  <a:pt x="3341" y="2577"/>
                  <a:pt x="3341" y="1654"/>
                </a:cubicBezTo>
                <a:cubicBezTo>
                  <a:pt x="3341" y="748"/>
                  <a:pt x="2593" y="0"/>
                  <a:pt x="1670" y="0"/>
                </a:cubicBezTo>
                <a:close/>
                <a:moveTo>
                  <a:pt x="1670" y="4518"/>
                </a:moveTo>
                <a:cubicBezTo>
                  <a:pt x="1384" y="4105"/>
                  <a:pt x="159" y="2402"/>
                  <a:pt x="159" y="1654"/>
                </a:cubicBezTo>
                <a:cubicBezTo>
                  <a:pt x="159" y="827"/>
                  <a:pt x="843" y="159"/>
                  <a:pt x="1670" y="159"/>
                </a:cubicBezTo>
                <a:cubicBezTo>
                  <a:pt x="2497" y="159"/>
                  <a:pt x="3182" y="827"/>
                  <a:pt x="3182" y="1654"/>
                </a:cubicBezTo>
                <a:cubicBezTo>
                  <a:pt x="3182" y="2418"/>
                  <a:pt x="1972" y="4121"/>
                  <a:pt x="1670" y="451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Freeform: Shape 11">
            <a:extLst>
              <a:ext uri="{FF2B5EF4-FFF2-40B4-BE49-F238E27FC236}">
                <a16:creationId xmlns:a16="http://schemas.microsoft.com/office/drawing/2014/main" id="{CA003EC4-CD14-214A-AFD9-6A443682433A}"/>
              </a:ext>
            </a:extLst>
          </p:cNvPr>
          <p:cNvSpPr/>
          <p:nvPr/>
        </p:nvSpPr>
        <p:spPr>
          <a:xfrm>
            <a:off x="17656753" y="3101428"/>
            <a:ext cx="1082160" cy="1700999"/>
          </a:xfrm>
          <a:custGeom>
            <a:avLst/>
            <a:gdLst/>
            <a:ahLst/>
            <a:cxnLst>
              <a:cxn ang="3cd4">
                <a:pos x="hc" y="t"/>
              </a:cxn>
              <a:cxn ang="cd2">
                <a:pos x="l" y="vc"/>
              </a:cxn>
              <a:cxn ang="cd4">
                <a:pos x="hc" y="b"/>
              </a:cxn>
              <a:cxn ang="0">
                <a:pos x="r" y="vc"/>
              </a:cxn>
            </a:cxnLst>
            <a:rect l="l" t="t" r="r" b="b"/>
            <a:pathLst>
              <a:path w="3007" h="4726">
                <a:moveTo>
                  <a:pt x="1559" y="1989"/>
                </a:moveTo>
                <a:cubicBezTo>
                  <a:pt x="1926" y="1989"/>
                  <a:pt x="2227" y="1687"/>
                  <a:pt x="2227" y="1305"/>
                </a:cubicBezTo>
                <a:cubicBezTo>
                  <a:pt x="2227" y="939"/>
                  <a:pt x="1926" y="636"/>
                  <a:pt x="1559" y="636"/>
                </a:cubicBezTo>
                <a:cubicBezTo>
                  <a:pt x="1178" y="636"/>
                  <a:pt x="875" y="939"/>
                  <a:pt x="875" y="1305"/>
                </a:cubicBezTo>
                <a:cubicBezTo>
                  <a:pt x="875" y="1687"/>
                  <a:pt x="1178" y="1989"/>
                  <a:pt x="1559" y="1989"/>
                </a:cubicBezTo>
                <a:close/>
                <a:moveTo>
                  <a:pt x="1559" y="796"/>
                </a:moveTo>
                <a:cubicBezTo>
                  <a:pt x="1846" y="796"/>
                  <a:pt x="2069" y="1018"/>
                  <a:pt x="2069" y="1305"/>
                </a:cubicBezTo>
                <a:cubicBezTo>
                  <a:pt x="2069" y="1591"/>
                  <a:pt x="1846" y="1830"/>
                  <a:pt x="1559" y="1830"/>
                </a:cubicBezTo>
                <a:cubicBezTo>
                  <a:pt x="1273" y="1830"/>
                  <a:pt x="1035" y="1591"/>
                  <a:pt x="1035" y="1305"/>
                </a:cubicBezTo>
                <a:cubicBezTo>
                  <a:pt x="1035" y="1018"/>
                  <a:pt x="1273" y="796"/>
                  <a:pt x="1559" y="796"/>
                </a:cubicBezTo>
                <a:close/>
                <a:moveTo>
                  <a:pt x="80" y="0"/>
                </a:moveTo>
                <a:cubicBezTo>
                  <a:pt x="32" y="0"/>
                  <a:pt x="0" y="48"/>
                  <a:pt x="0" y="80"/>
                </a:cubicBezTo>
                <a:lnTo>
                  <a:pt x="0" y="4646"/>
                </a:lnTo>
                <a:cubicBezTo>
                  <a:pt x="0" y="4678"/>
                  <a:pt x="16" y="4709"/>
                  <a:pt x="32" y="4726"/>
                </a:cubicBezTo>
                <a:lnTo>
                  <a:pt x="80" y="4726"/>
                </a:lnTo>
                <a:lnTo>
                  <a:pt x="112" y="4726"/>
                </a:lnTo>
                <a:lnTo>
                  <a:pt x="2975" y="3150"/>
                </a:lnTo>
                <a:cubicBezTo>
                  <a:pt x="2991" y="3135"/>
                  <a:pt x="3007" y="3103"/>
                  <a:pt x="3007" y="3071"/>
                </a:cubicBezTo>
                <a:lnTo>
                  <a:pt x="3007" y="80"/>
                </a:lnTo>
                <a:cubicBezTo>
                  <a:pt x="3007" y="48"/>
                  <a:pt x="2975" y="0"/>
                  <a:pt x="2928" y="0"/>
                </a:cubicBezTo>
                <a:close/>
                <a:moveTo>
                  <a:pt x="2848" y="3023"/>
                </a:moveTo>
                <a:lnTo>
                  <a:pt x="159" y="4518"/>
                </a:lnTo>
                <a:lnTo>
                  <a:pt x="159" y="159"/>
                </a:lnTo>
                <a:lnTo>
                  <a:pt x="2848" y="15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4" name="Freeform: Shape 12">
            <a:extLst>
              <a:ext uri="{FF2B5EF4-FFF2-40B4-BE49-F238E27FC236}">
                <a16:creationId xmlns:a16="http://schemas.microsoft.com/office/drawing/2014/main" id="{11BBB858-FB44-4747-8E4D-C68577DA2F25}"/>
              </a:ext>
            </a:extLst>
          </p:cNvPr>
          <p:cNvSpPr/>
          <p:nvPr/>
        </p:nvSpPr>
        <p:spPr>
          <a:xfrm>
            <a:off x="21330947" y="6464010"/>
            <a:ext cx="1586520" cy="1614960"/>
          </a:xfrm>
          <a:custGeom>
            <a:avLst/>
            <a:gdLst/>
            <a:ahLst/>
            <a:cxnLst>
              <a:cxn ang="3cd4">
                <a:pos x="hc" y="t"/>
              </a:cxn>
              <a:cxn ang="cd2">
                <a:pos x="l" y="vc"/>
              </a:cxn>
              <a:cxn ang="cd4">
                <a:pos x="hc" y="b"/>
              </a:cxn>
              <a:cxn ang="0">
                <a:pos x="r" y="vc"/>
              </a:cxn>
            </a:cxnLst>
            <a:rect l="l" t="t" r="r" b="b"/>
            <a:pathLst>
              <a:path w="4408" h="4487">
                <a:moveTo>
                  <a:pt x="112" y="4487"/>
                </a:moveTo>
                <a:lnTo>
                  <a:pt x="128" y="4487"/>
                </a:lnTo>
                <a:lnTo>
                  <a:pt x="128" y="4471"/>
                </a:lnTo>
                <a:lnTo>
                  <a:pt x="1814" y="3230"/>
                </a:lnTo>
                <a:lnTo>
                  <a:pt x="1830" y="3214"/>
                </a:lnTo>
                <a:lnTo>
                  <a:pt x="1830" y="3198"/>
                </a:lnTo>
                <a:cubicBezTo>
                  <a:pt x="1835" y="3193"/>
                  <a:pt x="1830" y="3182"/>
                  <a:pt x="1846" y="3182"/>
                </a:cubicBezTo>
                <a:lnTo>
                  <a:pt x="1846" y="3166"/>
                </a:lnTo>
                <a:lnTo>
                  <a:pt x="1846" y="2291"/>
                </a:lnTo>
                <a:cubicBezTo>
                  <a:pt x="1846" y="1893"/>
                  <a:pt x="2164" y="1575"/>
                  <a:pt x="2562" y="1575"/>
                </a:cubicBezTo>
                <a:cubicBezTo>
                  <a:pt x="2960" y="1575"/>
                  <a:pt x="3278" y="1893"/>
                  <a:pt x="3278" y="2291"/>
                </a:cubicBezTo>
                <a:lnTo>
                  <a:pt x="3278" y="3166"/>
                </a:lnTo>
                <a:lnTo>
                  <a:pt x="3278" y="3182"/>
                </a:lnTo>
                <a:lnTo>
                  <a:pt x="3278" y="3198"/>
                </a:lnTo>
                <a:lnTo>
                  <a:pt x="3278" y="3214"/>
                </a:lnTo>
                <a:lnTo>
                  <a:pt x="3294" y="3214"/>
                </a:lnTo>
                <a:lnTo>
                  <a:pt x="3294" y="3230"/>
                </a:lnTo>
                <a:lnTo>
                  <a:pt x="4264" y="4455"/>
                </a:lnTo>
                <a:lnTo>
                  <a:pt x="4264" y="4471"/>
                </a:lnTo>
                <a:lnTo>
                  <a:pt x="4281" y="4471"/>
                </a:lnTo>
                <a:cubicBezTo>
                  <a:pt x="4286" y="4476"/>
                  <a:pt x="4281" y="4487"/>
                  <a:pt x="4296" y="4487"/>
                </a:cubicBezTo>
                <a:lnTo>
                  <a:pt x="4312" y="4487"/>
                </a:lnTo>
                <a:lnTo>
                  <a:pt x="4328" y="4487"/>
                </a:lnTo>
                <a:lnTo>
                  <a:pt x="4344" y="4487"/>
                </a:lnTo>
                <a:lnTo>
                  <a:pt x="4360" y="4487"/>
                </a:lnTo>
                <a:lnTo>
                  <a:pt x="4376" y="4487"/>
                </a:lnTo>
                <a:lnTo>
                  <a:pt x="4376" y="4471"/>
                </a:lnTo>
                <a:lnTo>
                  <a:pt x="4392" y="4471"/>
                </a:lnTo>
                <a:lnTo>
                  <a:pt x="4392" y="4455"/>
                </a:lnTo>
                <a:cubicBezTo>
                  <a:pt x="4392" y="4439"/>
                  <a:pt x="4403" y="4444"/>
                  <a:pt x="4408" y="4439"/>
                </a:cubicBezTo>
                <a:lnTo>
                  <a:pt x="4408" y="4423"/>
                </a:lnTo>
                <a:lnTo>
                  <a:pt x="4408" y="4407"/>
                </a:lnTo>
                <a:lnTo>
                  <a:pt x="4408" y="2180"/>
                </a:lnTo>
                <a:cubicBezTo>
                  <a:pt x="4408" y="971"/>
                  <a:pt x="3421" y="0"/>
                  <a:pt x="2228" y="0"/>
                </a:cubicBezTo>
                <a:lnTo>
                  <a:pt x="2180" y="0"/>
                </a:lnTo>
                <a:cubicBezTo>
                  <a:pt x="971" y="0"/>
                  <a:pt x="0" y="971"/>
                  <a:pt x="0" y="2180"/>
                </a:cubicBezTo>
                <a:lnTo>
                  <a:pt x="0" y="4407"/>
                </a:lnTo>
                <a:lnTo>
                  <a:pt x="0" y="4423"/>
                </a:lnTo>
                <a:lnTo>
                  <a:pt x="0" y="4439"/>
                </a:lnTo>
                <a:cubicBezTo>
                  <a:pt x="0" y="4455"/>
                  <a:pt x="0" y="4455"/>
                  <a:pt x="17" y="4455"/>
                </a:cubicBezTo>
                <a:lnTo>
                  <a:pt x="17" y="4471"/>
                </a:lnTo>
                <a:lnTo>
                  <a:pt x="33" y="4471"/>
                </a:lnTo>
                <a:lnTo>
                  <a:pt x="33" y="4487"/>
                </a:lnTo>
                <a:lnTo>
                  <a:pt x="48" y="4487"/>
                </a:lnTo>
                <a:lnTo>
                  <a:pt x="64" y="4487"/>
                </a:lnTo>
                <a:lnTo>
                  <a:pt x="80" y="4487"/>
                </a:lnTo>
                <a:lnTo>
                  <a:pt x="96" y="4487"/>
                </a:lnTo>
                <a:close/>
                <a:moveTo>
                  <a:pt x="2180" y="159"/>
                </a:moveTo>
                <a:lnTo>
                  <a:pt x="2228" y="159"/>
                </a:lnTo>
                <a:cubicBezTo>
                  <a:pt x="3342" y="159"/>
                  <a:pt x="4249" y="1066"/>
                  <a:pt x="4249" y="2180"/>
                </a:cubicBezTo>
                <a:lnTo>
                  <a:pt x="4249" y="4184"/>
                </a:lnTo>
                <a:lnTo>
                  <a:pt x="3437" y="3150"/>
                </a:lnTo>
                <a:lnTo>
                  <a:pt x="3437" y="2291"/>
                </a:lnTo>
                <a:cubicBezTo>
                  <a:pt x="3437" y="1798"/>
                  <a:pt x="3039" y="1416"/>
                  <a:pt x="2562" y="1416"/>
                </a:cubicBezTo>
                <a:cubicBezTo>
                  <a:pt x="2069" y="1416"/>
                  <a:pt x="1687" y="1798"/>
                  <a:pt x="1687" y="2291"/>
                </a:cubicBezTo>
                <a:lnTo>
                  <a:pt x="1687" y="3134"/>
                </a:lnTo>
                <a:lnTo>
                  <a:pt x="160" y="4248"/>
                </a:lnTo>
                <a:lnTo>
                  <a:pt x="160" y="2180"/>
                </a:lnTo>
                <a:cubicBezTo>
                  <a:pt x="160" y="1066"/>
                  <a:pt x="1067" y="159"/>
                  <a:pt x="2180" y="159"/>
                </a:cubicBezTo>
                <a:close/>
                <a:moveTo>
                  <a:pt x="2578" y="3516"/>
                </a:moveTo>
                <a:cubicBezTo>
                  <a:pt x="2610" y="3516"/>
                  <a:pt x="2642" y="3484"/>
                  <a:pt x="2658" y="3453"/>
                </a:cubicBezTo>
                <a:lnTo>
                  <a:pt x="2705" y="3182"/>
                </a:lnTo>
                <a:cubicBezTo>
                  <a:pt x="2705" y="3166"/>
                  <a:pt x="2690" y="3134"/>
                  <a:pt x="2690" y="3119"/>
                </a:cubicBezTo>
                <a:cubicBezTo>
                  <a:pt x="2673" y="3102"/>
                  <a:pt x="2642" y="3087"/>
                  <a:pt x="2626" y="3087"/>
                </a:cubicBezTo>
                <a:lnTo>
                  <a:pt x="2435" y="3087"/>
                </a:lnTo>
                <a:cubicBezTo>
                  <a:pt x="2403" y="3087"/>
                  <a:pt x="2371" y="3119"/>
                  <a:pt x="2355" y="3166"/>
                </a:cubicBezTo>
                <a:lnTo>
                  <a:pt x="2324" y="3421"/>
                </a:lnTo>
                <a:cubicBezTo>
                  <a:pt x="2308" y="3453"/>
                  <a:pt x="2324" y="3468"/>
                  <a:pt x="2339" y="3484"/>
                </a:cubicBezTo>
                <a:cubicBezTo>
                  <a:pt x="2355" y="3500"/>
                  <a:pt x="2371" y="3516"/>
                  <a:pt x="2403" y="3516"/>
                </a:cubicBezTo>
                <a:close/>
                <a:moveTo>
                  <a:pt x="2212" y="4041"/>
                </a:moveTo>
                <a:lnTo>
                  <a:pt x="2164" y="4407"/>
                </a:lnTo>
                <a:cubicBezTo>
                  <a:pt x="2148" y="4423"/>
                  <a:pt x="2164" y="4439"/>
                  <a:pt x="2180" y="4471"/>
                </a:cubicBezTo>
                <a:cubicBezTo>
                  <a:pt x="2196" y="4487"/>
                  <a:pt x="2212" y="4487"/>
                  <a:pt x="2228" y="4487"/>
                </a:cubicBezTo>
                <a:lnTo>
                  <a:pt x="2419" y="4487"/>
                </a:lnTo>
                <a:cubicBezTo>
                  <a:pt x="2451" y="4487"/>
                  <a:pt x="2482" y="4471"/>
                  <a:pt x="2499" y="4423"/>
                </a:cubicBezTo>
                <a:lnTo>
                  <a:pt x="2546" y="4073"/>
                </a:lnTo>
                <a:cubicBezTo>
                  <a:pt x="2562" y="4041"/>
                  <a:pt x="2546" y="4025"/>
                  <a:pt x="2530" y="4010"/>
                </a:cubicBezTo>
                <a:cubicBezTo>
                  <a:pt x="2514" y="3993"/>
                  <a:pt x="2499" y="3978"/>
                  <a:pt x="2467" y="3978"/>
                </a:cubicBezTo>
                <a:lnTo>
                  <a:pt x="2291" y="3978"/>
                </a:lnTo>
                <a:cubicBezTo>
                  <a:pt x="2260" y="3978"/>
                  <a:pt x="2228" y="4010"/>
                  <a:pt x="2212" y="4041"/>
                </a:cubicBezTo>
                <a:close/>
                <a:moveTo>
                  <a:pt x="2291" y="3596"/>
                </a:moveTo>
                <a:lnTo>
                  <a:pt x="2244" y="3866"/>
                </a:lnTo>
                <a:cubicBezTo>
                  <a:pt x="2244" y="3898"/>
                  <a:pt x="2244" y="3914"/>
                  <a:pt x="2260" y="3930"/>
                </a:cubicBezTo>
                <a:cubicBezTo>
                  <a:pt x="2276" y="3946"/>
                  <a:pt x="2308" y="3962"/>
                  <a:pt x="2324" y="3962"/>
                </a:cubicBezTo>
                <a:lnTo>
                  <a:pt x="2499" y="3962"/>
                </a:lnTo>
                <a:cubicBezTo>
                  <a:pt x="2546" y="3962"/>
                  <a:pt x="2578" y="3930"/>
                  <a:pt x="2578" y="3898"/>
                </a:cubicBezTo>
                <a:lnTo>
                  <a:pt x="2626" y="3628"/>
                </a:lnTo>
                <a:cubicBezTo>
                  <a:pt x="2626" y="3611"/>
                  <a:pt x="2626" y="3580"/>
                  <a:pt x="2610" y="3564"/>
                </a:cubicBezTo>
                <a:cubicBezTo>
                  <a:pt x="2594" y="3548"/>
                  <a:pt x="2578" y="3532"/>
                  <a:pt x="2546" y="3532"/>
                </a:cubicBezTo>
                <a:lnTo>
                  <a:pt x="2371" y="3532"/>
                </a:lnTo>
                <a:cubicBezTo>
                  <a:pt x="2324" y="3532"/>
                  <a:pt x="2291" y="3564"/>
                  <a:pt x="2291" y="359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5" name="TextBox 94">
            <a:extLst>
              <a:ext uri="{FF2B5EF4-FFF2-40B4-BE49-F238E27FC236}">
                <a16:creationId xmlns:a16="http://schemas.microsoft.com/office/drawing/2014/main" id="{1FC163BD-0AE2-F344-A65C-7B61DFC5B49C}"/>
              </a:ext>
            </a:extLst>
          </p:cNvPr>
          <p:cNvSpPr txBox="1"/>
          <p:nvPr/>
        </p:nvSpPr>
        <p:spPr>
          <a:xfrm>
            <a:off x="5189650" y="11698457"/>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North</a:t>
            </a:r>
          </a:p>
        </p:txBody>
      </p:sp>
      <p:sp>
        <p:nvSpPr>
          <p:cNvPr id="96" name="TextBox 95">
            <a:extLst>
              <a:ext uri="{FF2B5EF4-FFF2-40B4-BE49-F238E27FC236}">
                <a16:creationId xmlns:a16="http://schemas.microsoft.com/office/drawing/2014/main" id="{81AEB573-19D3-D744-B50D-62502819371E}"/>
              </a:ext>
            </a:extLst>
          </p:cNvPr>
          <p:cNvSpPr txBox="1"/>
          <p:nvPr/>
        </p:nvSpPr>
        <p:spPr>
          <a:xfrm>
            <a:off x="12297590" y="11698457"/>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outh</a:t>
            </a:r>
          </a:p>
        </p:txBody>
      </p:sp>
      <p:sp>
        <p:nvSpPr>
          <p:cNvPr id="97" name="TextBox 96">
            <a:extLst>
              <a:ext uri="{FF2B5EF4-FFF2-40B4-BE49-F238E27FC236}">
                <a16:creationId xmlns:a16="http://schemas.microsoft.com/office/drawing/2014/main" id="{4452C811-0504-0A41-8F2F-16AD24A98EA4}"/>
              </a:ext>
            </a:extLst>
          </p:cNvPr>
          <p:cNvSpPr txBox="1"/>
          <p:nvPr/>
        </p:nvSpPr>
        <p:spPr>
          <a:xfrm>
            <a:off x="8775458" y="11698457"/>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ast</a:t>
            </a:r>
          </a:p>
        </p:txBody>
      </p:sp>
      <p:sp>
        <p:nvSpPr>
          <p:cNvPr id="98" name="Freeform: Shape 2">
            <a:extLst>
              <a:ext uri="{FF2B5EF4-FFF2-40B4-BE49-F238E27FC236}">
                <a16:creationId xmlns:a16="http://schemas.microsoft.com/office/drawing/2014/main" id="{182399C4-872C-9E4E-B248-10802004D403}"/>
              </a:ext>
            </a:extLst>
          </p:cNvPr>
          <p:cNvSpPr/>
          <p:nvPr/>
        </p:nvSpPr>
        <p:spPr>
          <a:xfrm>
            <a:off x="13441307" y="9790236"/>
            <a:ext cx="1597680" cy="1672199"/>
          </a:xfrm>
          <a:custGeom>
            <a:avLst/>
            <a:gdLst/>
            <a:ahLst/>
            <a:cxnLst>
              <a:cxn ang="3cd4">
                <a:pos x="hc" y="t"/>
              </a:cxn>
              <a:cxn ang="cd2">
                <a:pos x="l" y="vc"/>
              </a:cxn>
              <a:cxn ang="cd4">
                <a:pos x="hc" y="b"/>
              </a:cxn>
              <a:cxn ang="0">
                <a:pos x="r" y="vc"/>
              </a:cxn>
            </a:cxnLst>
            <a:rect l="l" t="t" r="r" b="b"/>
            <a:pathLst>
              <a:path w="4439" h="4646">
                <a:moveTo>
                  <a:pt x="80" y="2291"/>
                </a:moveTo>
                <a:cubicBezTo>
                  <a:pt x="366" y="2291"/>
                  <a:pt x="366" y="2291"/>
                  <a:pt x="366" y="2291"/>
                </a:cubicBezTo>
                <a:cubicBezTo>
                  <a:pt x="430" y="3167"/>
                  <a:pt x="1082" y="3882"/>
                  <a:pt x="1941" y="4026"/>
                </a:cubicBezTo>
                <a:cubicBezTo>
                  <a:pt x="2164" y="4598"/>
                  <a:pt x="2164" y="4598"/>
                  <a:pt x="2164" y="4598"/>
                </a:cubicBezTo>
                <a:cubicBezTo>
                  <a:pt x="2180" y="4630"/>
                  <a:pt x="2211" y="4646"/>
                  <a:pt x="2244" y="4646"/>
                </a:cubicBezTo>
                <a:cubicBezTo>
                  <a:pt x="2275" y="4646"/>
                  <a:pt x="2307" y="4630"/>
                  <a:pt x="2307" y="4598"/>
                </a:cubicBezTo>
                <a:cubicBezTo>
                  <a:pt x="2545" y="4026"/>
                  <a:pt x="2545" y="4026"/>
                  <a:pt x="2545" y="4026"/>
                </a:cubicBezTo>
                <a:cubicBezTo>
                  <a:pt x="3389" y="3882"/>
                  <a:pt x="4041" y="3151"/>
                  <a:pt x="4089" y="2291"/>
                </a:cubicBezTo>
                <a:cubicBezTo>
                  <a:pt x="4359" y="2291"/>
                  <a:pt x="4359" y="2291"/>
                  <a:pt x="4359" y="2291"/>
                </a:cubicBezTo>
                <a:cubicBezTo>
                  <a:pt x="4407" y="2291"/>
                  <a:pt x="4439" y="2260"/>
                  <a:pt x="4439" y="2228"/>
                </a:cubicBezTo>
                <a:cubicBezTo>
                  <a:pt x="4439" y="2180"/>
                  <a:pt x="4407" y="2148"/>
                  <a:pt x="4359" y="2148"/>
                </a:cubicBezTo>
                <a:cubicBezTo>
                  <a:pt x="4105" y="2148"/>
                  <a:pt x="4105" y="2148"/>
                  <a:pt x="4105" y="2148"/>
                </a:cubicBezTo>
                <a:cubicBezTo>
                  <a:pt x="4073" y="1146"/>
                  <a:pt x="3293" y="351"/>
                  <a:pt x="2307" y="319"/>
                </a:cubicBezTo>
                <a:cubicBezTo>
                  <a:pt x="2307" y="80"/>
                  <a:pt x="2307" y="80"/>
                  <a:pt x="2307" y="80"/>
                </a:cubicBezTo>
                <a:cubicBezTo>
                  <a:pt x="2307" y="32"/>
                  <a:pt x="2259" y="0"/>
                  <a:pt x="2227" y="0"/>
                </a:cubicBezTo>
                <a:cubicBezTo>
                  <a:pt x="2180" y="0"/>
                  <a:pt x="2148" y="32"/>
                  <a:pt x="2148" y="80"/>
                </a:cubicBezTo>
                <a:cubicBezTo>
                  <a:pt x="2148" y="319"/>
                  <a:pt x="2148" y="319"/>
                  <a:pt x="2148" y="319"/>
                </a:cubicBezTo>
                <a:cubicBezTo>
                  <a:pt x="1162" y="366"/>
                  <a:pt x="382" y="1162"/>
                  <a:pt x="366" y="2148"/>
                </a:cubicBezTo>
                <a:cubicBezTo>
                  <a:pt x="80" y="2148"/>
                  <a:pt x="80" y="2148"/>
                  <a:pt x="80" y="2148"/>
                </a:cubicBezTo>
                <a:cubicBezTo>
                  <a:pt x="32" y="2148"/>
                  <a:pt x="0" y="2180"/>
                  <a:pt x="0" y="2228"/>
                </a:cubicBezTo>
                <a:cubicBezTo>
                  <a:pt x="0" y="2260"/>
                  <a:pt x="32" y="2291"/>
                  <a:pt x="80" y="2291"/>
                </a:cubicBezTo>
                <a:close/>
                <a:moveTo>
                  <a:pt x="2244" y="4344"/>
                </a:moveTo>
                <a:cubicBezTo>
                  <a:pt x="1989" y="3739"/>
                  <a:pt x="1989" y="3739"/>
                  <a:pt x="1989" y="3739"/>
                </a:cubicBezTo>
                <a:cubicBezTo>
                  <a:pt x="2211" y="3835"/>
                  <a:pt x="2211" y="3835"/>
                  <a:pt x="2211" y="3835"/>
                </a:cubicBezTo>
                <a:cubicBezTo>
                  <a:pt x="2227" y="3851"/>
                  <a:pt x="2259" y="3851"/>
                  <a:pt x="2275" y="3835"/>
                </a:cubicBezTo>
                <a:cubicBezTo>
                  <a:pt x="2482" y="3739"/>
                  <a:pt x="2482" y="3739"/>
                  <a:pt x="2482" y="3739"/>
                </a:cubicBezTo>
                <a:close/>
                <a:moveTo>
                  <a:pt x="2148" y="478"/>
                </a:moveTo>
                <a:cubicBezTo>
                  <a:pt x="2148" y="716"/>
                  <a:pt x="2148" y="716"/>
                  <a:pt x="2148" y="716"/>
                </a:cubicBezTo>
                <a:cubicBezTo>
                  <a:pt x="2148" y="748"/>
                  <a:pt x="2180" y="796"/>
                  <a:pt x="2227" y="796"/>
                </a:cubicBezTo>
                <a:cubicBezTo>
                  <a:pt x="2259" y="796"/>
                  <a:pt x="2307" y="748"/>
                  <a:pt x="2307" y="716"/>
                </a:cubicBezTo>
                <a:cubicBezTo>
                  <a:pt x="2307" y="478"/>
                  <a:pt x="2307" y="478"/>
                  <a:pt x="2307" y="478"/>
                </a:cubicBezTo>
                <a:cubicBezTo>
                  <a:pt x="3198" y="510"/>
                  <a:pt x="3914" y="1242"/>
                  <a:pt x="3946" y="2148"/>
                </a:cubicBezTo>
                <a:cubicBezTo>
                  <a:pt x="3723" y="2148"/>
                  <a:pt x="3723" y="2148"/>
                  <a:pt x="3723" y="2148"/>
                </a:cubicBezTo>
                <a:cubicBezTo>
                  <a:pt x="3691" y="2148"/>
                  <a:pt x="3644" y="2180"/>
                  <a:pt x="3644" y="2228"/>
                </a:cubicBezTo>
                <a:cubicBezTo>
                  <a:pt x="3644" y="2260"/>
                  <a:pt x="3691" y="2291"/>
                  <a:pt x="3723" y="2291"/>
                </a:cubicBezTo>
                <a:cubicBezTo>
                  <a:pt x="3930" y="2291"/>
                  <a:pt x="3930" y="2291"/>
                  <a:pt x="3930" y="2291"/>
                </a:cubicBezTo>
                <a:cubicBezTo>
                  <a:pt x="3882" y="3039"/>
                  <a:pt x="3341" y="3676"/>
                  <a:pt x="2609" y="3851"/>
                </a:cubicBezTo>
                <a:cubicBezTo>
                  <a:pt x="2705" y="3596"/>
                  <a:pt x="2705" y="3596"/>
                  <a:pt x="2705" y="3596"/>
                </a:cubicBezTo>
                <a:cubicBezTo>
                  <a:pt x="2721" y="3564"/>
                  <a:pt x="2721" y="3533"/>
                  <a:pt x="2689" y="3516"/>
                </a:cubicBezTo>
                <a:cubicBezTo>
                  <a:pt x="2673" y="3485"/>
                  <a:pt x="2625" y="3485"/>
                  <a:pt x="2593" y="3501"/>
                </a:cubicBezTo>
                <a:cubicBezTo>
                  <a:pt x="2244" y="3676"/>
                  <a:pt x="2244" y="3676"/>
                  <a:pt x="2244" y="3676"/>
                </a:cubicBezTo>
                <a:cubicBezTo>
                  <a:pt x="1877" y="3501"/>
                  <a:pt x="1877" y="3501"/>
                  <a:pt x="1877" y="3501"/>
                </a:cubicBezTo>
                <a:cubicBezTo>
                  <a:pt x="1845" y="3485"/>
                  <a:pt x="1814" y="3485"/>
                  <a:pt x="1782" y="3516"/>
                </a:cubicBezTo>
                <a:cubicBezTo>
                  <a:pt x="1766" y="3533"/>
                  <a:pt x="1750" y="3564"/>
                  <a:pt x="1766" y="3596"/>
                </a:cubicBezTo>
                <a:cubicBezTo>
                  <a:pt x="1862" y="3851"/>
                  <a:pt x="1862" y="3851"/>
                  <a:pt x="1862" y="3851"/>
                </a:cubicBezTo>
                <a:cubicBezTo>
                  <a:pt x="1130" y="3692"/>
                  <a:pt x="589" y="3055"/>
                  <a:pt x="525" y="2291"/>
                </a:cubicBezTo>
                <a:cubicBezTo>
                  <a:pt x="716" y="2291"/>
                  <a:pt x="716" y="2291"/>
                  <a:pt x="716" y="2291"/>
                </a:cubicBezTo>
                <a:cubicBezTo>
                  <a:pt x="764" y="2291"/>
                  <a:pt x="796" y="2260"/>
                  <a:pt x="796" y="2228"/>
                </a:cubicBezTo>
                <a:cubicBezTo>
                  <a:pt x="796" y="2180"/>
                  <a:pt x="764" y="2148"/>
                  <a:pt x="716" y="2148"/>
                </a:cubicBezTo>
                <a:cubicBezTo>
                  <a:pt x="525" y="2148"/>
                  <a:pt x="525" y="2148"/>
                  <a:pt x="525" y="2148"/>
                </a:cubicBezTo>
                <a:cubicBezTo>
                  <a:pt x="541" y="1242"/>
                  <a:pt x="1257" y="525"/>
                  <a:pt x="2148" y="47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2" name="Freeform: Shape 3">
            <a:extLst>
              <a:ext uri="{FF2B5EF4-FFF2-40B4-BE49-F238E27FC236}">
                <a16:creationId xmlns:a16="http://schemas.microsoft.com/office/drawing/2014/main" id="{9181AB26-A074-2D4A-9BBD-2465DBE924B9}"/>
              </a:ext>
            </a:extLst>
          </p:cNvPr>
          <p:cNvSpPr/>
          <p:nvPr/>
        </p:nvSpPr>
        <p:spPr>
          <a:xfrm>
            <a:off x="9540108" y="9779075"/>
            <a:ext cx="1712160" cy="1545839"/>
          </a:xfrm>
          <a:custGeom>
            <a:avLst/>
            <a:gdLst/>
            <a:ahLst/>
            <a:cxnLst>
              <a:cxn ang="3cd4">
                <a:pos x="hc" y="t"/>
              </a:cxn>
              <a:cxn ang="cd2">
                <a:pos x="l" y="vc"/>
              </a:cxn>
              <a:cxn ang="cd4">
                <a:pos x="hc" y="b"/>
              </a:cxn>
              <a:cxn ang="0">
                <a:pos x="r" y="vc"/>
              </a:cxn>
            </a:cxnLst>
            <a:rect l="l" t="t" r="r" b="b"/>
            <a:pathLst>
              <a:path w="4757" h="4295">
                <a:moveTo>
                  <a:pt x="2148" y="4089"/>
                </a:moveTo>
                <a:cubicBezTo>
                  <a:pt x="2148" y="4216"/>
                  <a:pt x="2148" y="4216"/>
                  <a:pt x="2148" y="4216"/>
                </a:cubicBezTo>
                <a:cubicBezTo>
                  <a:pt x="2148" y="4247"/>
                  <a:pt x="2180" y="4295"/>
                  <a:pt x="2227" y="4295"/>
                </a:cubicBezTo>
                <a:cubicBezTo>
                  <a:pt x="2259" y="4295"/>
                  <a:pt x="2307" y="4247"/>
                  <a:pt x="2307" y="4216"/>
                </a:cubicBezTo>
                <a:cubicBezTo>
                  <a:pt x="2307" y="4089"/>
                  <a:pt x="2307" y="4089"/>
                  <a:pt x="2307" y="4089"/>
                </a:cubicBezTo>
                <a:cubicBezTo>
                  <a:pt x="3198" y="4089"/>
                  <a:pt x="3977" y="3420"/>
                  <a:pt x="4120" y="2529"/>
                </a:cubicBezTo>
                <a:cubicBezTo>
                  <a:pt x="4693" y="2307"/>
                  <a:pt x="4693" y="2307"/>
                  <a:pt x="4693" y="2307"/>
                </a:cubicBezTo>
                <a:cubicBezTo>
                  <a:pt x="4725" y="2291"/>
                  <a:pt x="4757" y="2259"/>
                  <a:pt x="4757" y="2227"/>
                </a:cubicBezTo>
                <a:cubicBezTo>
                  <a:pt x="4757" y="2195"/>
                  <a:pt x="4725" y="2164"/>
                  <a:pt x="4693" y="2164"/>
                </a:cubicBezTo>
                <a:cubicBezTo>
                  <a:pt x="4137" y="1925"/>
                  <a:pt x="4137" y="1925"/>
                  <a:pt x="4137" y="1925"/>
                </a:cubicBezTo>
                <a:cubicBezTo>
                  <a:pt x="3993" y="1034"/>
                  <a:pt x="3214" y="365"/>
                  <a:pt x="2307" y="365"/>
                </a:cubicBezTo>
                <a:cubicBezTo>
                  <a:pt x="2307" y="79"/>
                  <a:pt x="2307" y="79"/>
                  <a:pt x="2307" y="79"/>
                </a:cubicBezTo>
                <a:cubicBezTo>
                  <a:pt x="2307" y="31"/>
                  <a:pt x="2259" y="0"/>
                  <a:pt x="2227" y="0"/>
                </a:cubicBezTo>
                <a:cubicBezTo>
                  <a:pt x="2180" y="0"/>
                  <a:pt x="2148" y="31"/>
                  <a:pt x="2148" y="79"/>
                </a:cubicBezTo>
                <a:cubicBezTo>
                  <a:pt x="2148" y="365"/>
                  <a:pt x="2148" y="365"/>
                  <a:pt x="2148" y="365"/>
                </a:cubicBezTo>
                <a:cubicBezTo>
                  <a:pt x="1209" y="445"/>
                  <a:pt x="461" y="1209"/>
                  <a:pt x="429" y="2147"/>
                </a:cubicBezTo>
                <a:cubicBezTo>
                  <a:pt x="79" y="2147"/>
                  <a:pt x="79" y="2147"/>
                  <a:pt x="79" y="2147"/>
                </a:cubicBezTo>
                <a:cubicBezTo>
                  <a:pt x="32" y="2147"/>
                  <a:pt x="0" y="2179"/>
                  <a:pt x="0" y="2227"/>
                </a:cubicBezTo>
                <a:cubicBezTo>
                  <a:pt x="0" y="2259"/>
                  <a:pt x="32" y="2307"/>
                  <a:pt x="79" y="2307"/>
                </a:cubicBezTo>
                <a:cubicBezTo>
                  <a:pt x="429" y="2307"/>
                  <a:pt x="429" y="2307"/>
                  <a:pt x="429" y="2307"/>
                </a:cubicBezTo>
                <a:cubicBezTo>
                  <a:pt x="461" y="3245"/>
                  <a:pt x="1209" y="4009"/>
                  <a:pt x="2148" y="4089"/>
                </a:cubicBezTo>
                <a:close/>
                <a:moveTo>
                  <a:pt x="3850" y="2482"/>
                </a:moveTo>
                <a:cubicBezTo>
                  <a:pt x="3946" y="2275"/>
                  <a:pt x="3946" y="2275"/>
                  <a:pt x="3946" y="2275"/>
                </a:cubicBezTo>
                <a:cubicBezTo>
                  <a:pt x="3962" y="2243"/>
                  <a:pt x="3962" y="2227"/>
                  <a:pt x="3946" y="2195"/>
                </a:cubicBezTo>
                <a:cubicBezTo>
                  <a:pt x="3850" y="1988"/>
                  <a:pt x="3850" y="1988"/>
                  <a:pt x="3850" y="1988"/>
                </a:cubicBezTo>
                <a:cubicBezTo>
                  <a:pt x="4455" y="2227"/>
                  <a:pt x="4455" y="2227"/>
                  <a:pt x="4455" y="2227"/>
                </a:cubicBezTo>
                <a:close/>
                <a:moveTo>
                  <a:pt x="2148" y="525"/>
                </a:moveTo>
                <a:cubicBezTo>
                  <a:pt x="2148" y="716"/>
                  <a:pt x="2148" y="716"/>
                  <a:pt x="2148" y="716"/>
                </a:cubicBezTo>
                <a:cubicBezTo>
                  <a:pt x="2148" y="764"/>
                  <a:pt x="2180" y="795"/>
                  <a:pt x="2227" y="795"/>
                </a:cubicBezTo>
                <a:cubicBezTo>
                  <a:pt x="2259" y="795"/>
                  <a:pt x="2307" y="764"/>
                  <a:pt x="2307" y="716"/>
                </a:cubicBezTo>
                <a:cubicBezTo>
                  <a:pt x="2307" y="525"/>
                  <a:pt x="2307" y="525"/>
                  <a:pt x="2307" y="525"/>
                </a:cubicBezTo>
                <a:cubicBezTo>
                  <a:pt x="3102" y="525"/>
                  <a:pt x="3786" y="1098"/>
                  <a:pt x="3962" y="1861"/>
                </a:cubicBezTo>
                <a:cubicBezTo>
                  <a:pt x="3707" y="1765"/>
                  <a:pt x="3707" y="1765"/>
                  <a:pt x="3707" y="1765"/>
                </a:cubicBezTo>
                <a:cubicBezTo>
                  <a:pt x="3675" y="1750"/>
                  <a:pt x="3643" y="1765"/>
                  <a:pt x="3628" y="1782"/>
                </a:cubicBezTo>
                <a:cubicBezTo>
                  <a:pt x="3595" y="1813"/>
                  <a:pt x="3595" y="1845"/>
                  <a:pt x="3611" y="1877"/>
                </a:cubicBezTo>
                <a:cubicBezTo>
                  <a:pt x="3786" y="2227"/>
                  <a:pt x="3786" y="2227"/>
                  <a:pt x="3786" y="2227"/>
                </a:cubicBezTo>
                <a:cubicBezTo>
                  <a:pt x="3611" y="2593"/>
                  <a:pt x="3611" y="2593"/>
                  <a:pt x="3611" y="2593"/>
                </a:cubicBezTo>
                <a:cubicBezTo>
                  <a:pt x="3595" y="2625"/>
                  <a:pt x="3595" y="2656"/>
                  <a:pt x="3628" y="2689"/>
                </a:cubicBezTo>
                <a:cubicBezTo>
                  <a:pt x="3628" y="2704"/>
                  <a:pt x="3659" y="2704"/>
                  <a:pt x="3675" y="2704"/>
                </a:cubicBezTo>
                <a:cubicBezTo>
                  <a:pt x="3691" y="2704"/>
                  <a:pt x="3691" y="2704"/>
                  <a:pt x="3707" y="2704"/>
                </a:cubicBezTo>
                <a:cubicBezTo>
                  <a:pt x="3946" y="2609"/>
                  <a:pt x="3946" y="2609"/>
                  <a:pt x="3946" y="2609"/>
                </a:cubicBezTo>
                <a:cubicBezTo>
                  <a:pt x="3786" y="3373"/>
                  <a:pt x="3086" y="3929"/>
                  <a:pt x="2307" y="3929"/>
                </a:cubicBezTo>
                <a:cubicBezTo>
                  <a:pt x="2307" y="3738"/>
                  <a:pt x="2307" y="3738"/>
                  <a:pt x="2307" y="3738"/>
                </a:cubicBezTo>
                <a:cubicBezTo>
                  <a:pt x="2307" y="3691"/>
                  <a:pt x="2259" y="3659"/>
                  <a:pt x="2227" y="3659"/>
                </a:cubicBezTo>
                <a:cubicBezTo>
                  <a:pt x="2180" y="3659"/>
                  <a:pt x="2148" y="3691"/>
                  <a:pt x="2148" y="3738"/>
                </a:cubicBezTo>
                <a:cubicBezTo>
                  <a:pt x="2148" y="3929"/>
                  <a:pt x="2148" y="3929"/>
                  <a:pt x="2148" y="3929"/>
                </a:cubicBezTo>
                <a:cubicBezTo>
                  <a:pt x="1289" y="3850"/>
                  <a:pt x="620" y="3166"/>
                  <a:pt x="589" y="2307"/>
                </a:cubicBezTo>
                <a:cubicBezTo>
                  <a:pt x="716" y="2307"/>
                  <a:pt x="716" y="2307"/>
                  <a:pt x="716" y="2307"/>
                </a:cubicBezTo>
                <a:cubicBezTo>
                  <a:pt x="764" y="2307"/>
                  <a:pt x="795" y="2259"/>
                  <a:pt x="795" y="2227"/>
                </a:cubicBezTo>
                <a:cubicBezTo>
                  <a:pt x="795" y="2179"/>
                  <a:pt x="764" y="2147"/>
                  <a:pt x="716" y="2147"/>
                </a:cubicBezTo>
                <a:cubicBezTo>
                  <a:pt x="589" y="2147"/>
                  <a:pt x="589" y="2147"/>
                  <a:pt x="589" y="2147"/>
                </a:cubicBezTo>
                <a:cubicBezTo>
                  <a:pt x="620" y="1288"/>
                  <a:pt x="1289" y="604"/>
                  <a:pt x="2148" y="52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3" name="Freeform: Shape 4">
            <a:extLst>
              <a:ext uri="{FF2B5EF4-FFF2-40B4-BE49-F238E27FC236}">
                <a16:creationId xmlns:a16="http://schemas.microsoft.com/office/drawing/2014/main" id="{68FB1158-7003-0547-8EF5-62F2EAFB7F68}"/>
              </a:ext>
            </a:extLst>
          </p:cNvPr>
          <p:cNvSpPr/>
          <p:nvPr/>
        </p:nvSpPr>
        <p:spPr>
          <a:xfrm>
            <a:off x="6103460" y="9710316"/>
            <a:ext cx="1597680" cy="1683360"/>
          </a:xfrm>
          <a:custGeom>
            <a:avLst/>
            <a:gdLst/>
            <a:ahLst/>
            <a:cxnLst>
              <a:cxn ang="3cd4">
                <a:pos x="hc" y="t"/>
              </a:cxn>
              <a:cxn ang="cd2">
                <a:pos x="l" y="vc"/>
              </a:cxn>
              <a:cxn ang="cd4">
                <a:pos x="hc" y="b"/>
              </a:cxn>
              <a:cxn ang="0">
                <a:pos x="r" y="vc"/>
              </a:cxn>
            </a:cxnLst>
            <a:rect l="l" t="t" r="r" b="b"/>
            <a:pathLst>
              <a:path w="4439" h="4677">
                <a:moveTo>
                  <a:pt x="0" y="2466"/>
                </a:moveTo>
                <a:cubicBezTo>
                  <a:pt x="0" y="2498"/>
                  <a:pt x="32" y="2546"/>
                  <a:pt x="80" y="2546"/>
                </a:cubicBezTo>
                <a:cubicBezTo>
                  <a:pt x="366" y="2546"/>
                  <a:pt x="366" y="2546"/>
                  <a:pt x="366" y="2546"/>
                </a:cubicBezTo>
                <a:cubicBezTo>
                  <a:pt x="414" y="3500"/>
                  <a:pt x="1178" y="4280"/>
                  <a:pt x="2148" y="4327"/>
                </a:cubicBezTo>
                <a:cubicBezTo>
                  <a:pt x="2148" y="4614"/>
                  <a:pt x="2148" y="4614"/>
                  <a:pt x="2148" y="4614"/>
                </a:cubicBezTo>
                <a:cubicBezTo>
                  <a:pt x="2148" y="4646"/>
                  <a:pt x="2180" y="4677"/>
                  <a:pt x="2228" y="4677"/>
                </a:cubicBezTo>
                <a:cubicBezTo>
                  <a:pt x="2260" y="4677"/>
                  <a:pt x="2307" y="4646"/>
                  <a:pt x="2307" y="4614"/>
                </a:cubicBezTo>
                <a:cubicBezTo>
                  <a:pt x="2307" y="4327"/>
                  <a:pt x="2307" y="4327"/>
                  <a:pt x="2307" y="4327"/>
                </a:cubicBezTo>
                <a:cubicBezTo>
                  <a:pt x="3278" y="4295"/>
                  <a:pt x="4058" y="3516"/>
                  <a:pt x="4105" y="2546"/>
                </a:cubicBezTo>
                <a:cubicBezTo>
                  <a:pt x="4360" y="2546"/>
                  <a:pt x="4360" y="2546"/>
                  <a:pt x="4360" y="2546"/>
                </a:cubicBezTo>
                <a:cubicBezTo>
                  <a:pt x="4407" y="2546"/>
                  <a:pt x="4439" y="2498"/>
                  <a:pt x="4439" y="2466"/>
                </a:cubicBezTo>
                <a:cubicBezTo>
                  <a:pt x="4439" y="2418"/>
                  <a:pt x="4407" y="2386"/>
                  <a:pt x="4360" y="2386"/>
                </a:cubicBezTo>
                <a:cubicBezTo>
                  <a:pt x="4105" y="2386"/>
                  <a:pt x="4105" y="2386"/>
                  <a:pt x="4105" y="2386"/>
                </a:cubicBezTo>
                <a:cubicBezTo>
                  <a:pt x="4058" y="1511"/>
                  <a:pt x="3405" y="764"/>
                  <a:pt x="2546" y="620"/>
                </a:cubicBezTo>
                <a:cubicBezTo>
                  <a:pt x="2307" y="47"/>
                  <a:pt x="2307" y="47"/>
                  <a:pt x="2307" y="47"/>
                </a:cubicBezTo>
                <a:cubicBezTo>
                  <a:pt x="2291" y="-16"/>
                  <a:pt x="2196" y="-16"/>
                  <a:pt x="2164" y="47"/>
                </a:cubicBezTo>
                <a:cubicBezTo>
                  <a:pt x="1942" y="620"/>
                  <a:pt x="1942" y="620"/>
                  <a:pt x="1942" y="620"/>
                </a:cubicBezTo>
                <a:cubicBezTo>
                  <a:pt x="1067" y="764"/>
                  <a:pt x="414" y="1495"/>
                  <a:pt x="366" y="2386"/>
                </a:cubicBezTo>
                <a:cubicBezTo>
                  <a:pt x="80" y="2386"/>
                  <a:pt x="80" y="2386"/>
                  <a:pt x="80" y="2386"/>
                </a:cubicBezTo>
                <a:cubicBezTo>
                  <a:pt x="32" y="2386"/>
                  <a:pt x="0" y="2418"/>
                  <a:pt x="0" y="2466"/>
                </a:cubicBezTo>
                <a:close/>
                <a:moveTo>
                  <a:pt x="2244" y="286"/>
                </a:moveTo>
                <a:cubicBezTo>
                  <a:pt x="2482" y="907"/>
                  <a:pt x="2482" y="907"/>
                  <a:pt x="2482" y="907"/>
                </a:cubicBezTo>
                <a:cubicBezTo>
                  <a:pt x="2276" y="795"/>
                  <a:pt x="2276" y="795"/>
                  <a:pt x="2276" y="795"/>
                </a:cubicBezTo>
                <a:cubicBezTo>
                  <a:pt x="2260" y="795"/>
                  <a:pt x="2260" y="795"/>
                  <a:pt x="2244" y="795"/>
                </a:cubicBezTo>
                <a:cubicBezTo>
                  <a:pt x="2228" y="795"/>
                  <a:pt x="2212" y="795"/>
                  <a:pt x="2212" y="795"/>
                </a:cubicBezTo>
                <a:cubicBezTo>
                  <a:pt x="1989" y="907"/>
                  <a:pt x="1989" y="907"/>
                  <a:pt x="1989" y="907"/>
                </a:cubicBezTo>
                <a:close/>
                <a:moveTo>
                  <a:pt x="1862" y="795"/>
                </a:moveTo>
                <a:cubicBezTo>
                  <a:pt x="1767" y="1050"/>
                  <a:pt x="1767" y="1050"/>
                  <a:pt x="1767" y="1050"/>
                </a:cubicBezTo>
                <a:cubicBezTo>
                  <a:pt x="1751" y="1066"/>
                  <a:pt x="1767" y="1113"/>
                  <a:pt x="1798" y="1129"/>
                </a:cubicBezTo>
                <a:cubicBezTo>
                  <a:pt x="1814" y="1145"/>
                  <a:pt x="1846" y="1161"/>
                  <a:pt x="1878" y="1145"/>
                </a:cubicBezTo>
                <a:cubicBezTo>
                  <a:pt x="2244" y="955"/>
                  <a:pt x="2244" y="955"/>
                  <a:pt x="2244" y="955"/>
                </a:cubicBezTo>
                <a:cubicBezTo>
                  <a:pt x="2610" y="1145"/>
                  <a:pt x="2610" y="1145"/>
                  <a:pt x="2610" y="1145"/>
                </a:cubicBezTo>
                <a:cubicBezTo>
                  <a:pt x="2610" y="1145"/>
                  <a:pt x="2625" y="1145"/>
                  <a:pt x="2642" y="1145"/>
                </a:cubicBezTo>
                <a:cubicBezTo>
                  <a:pt x="2658" y="1145"/>
                  <a:pt x="2673" y="1145"/>
                  <a:pt x="2689" y="1129"/>
                </a:cubicBezTo>
                <a:cubicBezTo>
                  <a:pt x="2721" y="1113"/>
                  <a:pt x="2721" y="1066"/>
                  <a:pt x="2705" y="1050"/>
                </a:cubicBezTo>
                <a:cubicBezTo>
                  <a:pt x="2610" y="795"/>
                  <a:pt x="2610" y="795"/>
                  <a:pt x="2610" y="795"/>
                </a:cubicBezTo>
                <a:cubicBezTo>
                  <a:pt x="3358" y="970"/>
                  <a:pt x="3898" y="1622"/>
                  <a:pt x="3946" y="2386"/>
                </a:cubicBezTo>
                <a:cubicBezTo>
                  <a:pt x="3739" y="2386"/>
                  <a:pt x="3739" y="2386"/>
                  <a:pt x="3739" y="2386"/>
                </a:cubicBezTo>
                <a:cubicBezTo>
                  <a:pt x="3692" y="2386"/>
                  <a:pt x="3660" y="2418"/>
                  <a:pt x="3660" y="2466"/>
                </a:cubicBezTo>
                <a:cubicBezTo>
                  <a:pt x="3660" y="2498"/>
                  <a:pt x="3692" y="2546"/>
                  <a:pt x="3739" y="2546"/>
                </a:cubicBezTo>
                <a:cubicBezTo>
                  <a:pt x="3946" y="2546"/>
                  <a:pt x="3946" y="2546"/>
                  <a:pt x="3946" y="2546"/>
                </a:cubicBezTo>
                <a:cubicBezTo>
                  <a:pt x="3898" y="3420"/>
                  <a:pt x="3182" y="4137"/>
                  <a:pt x="2307" y="4168"/>
                </a:cubicBezTo>
                <a:cubicBezTo>
                  <a:pt x="2307" y="3977"/>
                  <a:pt x="2307" y="3977"/>
                  <a:pt x="2307" y="3977"/>
                </a:cubicBezTo>
                <a:cubicBezTo>
                  <a:pt x="2307" y="3929"/>
                  <a:pt x="2260" y="3898"/>
                  <a:pt x="2228" y="3898"/>
                </a:cubicBezTo>
                <a:cubicBezTo>
                  <a:pt x="2180" y="3898"/>
                  <a:pt x="2148" y="3929"/>
                  <a:pt x="2148" y="3977"/>
                </a:cubicBezTo>
                <a:cubicBezTo>
                  <a:pt x="2148" y="4168"/>
                  <a:pt x="2148" y="4168"/>
                  <a:pt x="2148" y="4168"/>
                </a:cubicBezTo>
                <a:cubicBezTo>
                  <a:pt x="1273" y="4120"/>
                  <a:pt x="573" y="3420"/>
                  <a:pt x="525" y="2546"/>
                </a:cubicBezTo>
                <a:cubicBezTo>
                  <a:pt x="716" y="2546"/>
                  <a:pt x="716" y="2546"/>
                  <a:pt x="716" y="2546"/>
                </a:cubicBezTo>
                <a:cubicBezTo>
                  <a:pt x="764" y="2546"/>
                  <a:pt x="796" y="2498"/>
                  <a:pt x="796" y="2466"/>
                </a:cubicBezTo>
                <a:cubicBezTo>
                  <a:pt x="796" y="2418"/>
                  <a:pt x="764" y="2386"/>
                  <a:pt x="716" y="2386"/>
                </a:cubicBezTo>
                <a:cubicBezTo>
                  <a:pt x="525" y="2386"/>
                  <a:pt x="525" y="2386"/>
                  <a:pt x="525" y="2386"/>
                </a:cubicBezTo>
                <a:cubicBezTo>
                  <a:pt x="573" y="1607"/>
                  <a:pt x="1114" y="955"/>
                  <a:pt x="1862" y="79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4" name="TextBox 103">
            <a:extLst>
              <a:ext uri="{FF2B5EF4-FFF2-40B4-BE49-F238E27FC236}">
                <a16:creationId xmlns:a16="http://schemas.microsoft.com/office/drawing/2014/main" id="{AAFD5B62-07C6-D043-A81B-A7EABF7C2120}"/>
              </a:ext>
            </a:extLst>
          </p:cNvPr>
          <p:cNvSpPr txBox="1"/>
          <p:nvPr/>
        </p:nvSpPr>
        <p:spPr>
          <a:xfrm>
            <a:off x="776511" y="11657695"/>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est</a:t>
            </a:r>
          </a:p>
        </p:txBody>
      </p:sp>
      <p:sp>
        <p:nvSpPr>
          <p:cNvPr id="105" name="Freeform: Shape 1">
            <a:extLst>
              <a:ext uri="{FF2B5EF4-FFF2-40B4-BE49-F238E27FC236}">
                <a16:creationId xmlns:a16="http://schemas.microsoft.com/office/drawing/2014/main" id="{3BD2AE35-0592-2040-A157-0D7D6746AAAE}"/>
              </a:ext>
            </a:extLst>
          </p:cNvPr>
          <p:cNvSpPr/>
          <p:nvPr/>
        </p:nvSpPr>
        <p:spPr>
          <a:xfrm>
            <a:off x="1767381" y="9953923"/>
            <a:ext cx="1683719" cy="1546200"/>
          </a:xfrm>
          <a:custGeom>
            <a:avLst/>
            <a:gdLst/>
            <a:ahLst/>
            <a:cxnLst>
              <a:cxn ang="3cd4">
                <a:pos x="hc" y="t"/>
              </a:cxn>
              <a:cxn ang="cd2">
                <a:pos x="l" y="vc"/>
              </a:cxn>
              <a:cxn ang="cd4">
                <a:pos x="hc" y="b"/>
              </a:cxn>
              <a:cxn ang="0">
                <a:pos x="r" y="vc"/>
              </a:cxn>
            </a:cxnLst>
            <a:rect l="l" t="t" r="r" b="b"/>
            <a:pathLst>
              <a:path w="4678" h="4296">
                <a:moveTo>
                  <a:pt x="2387" y="4089"/>
                </a:moveTo>
                <a:cubicBezTo>
                  <a:pt x="2387" y="4216"/>
                  <a:pt x="2387" y="4216"/>
                  <a:pt x="2387" y="4216"/>
                </a:cubicBezTo>
                <a:cubicBezTo>
                  <a:pt x="2387" y="4264"/>
                  <a:pt x="2418" y="4296"/>
                  <a:pt x="2450" y="4296"/>
                </a:cubicBezTo>
                <a:cubicBezTo>
                  <a:pt x="2498" y="4296"/>
                  <a:pt x="2530" y="4264"/>
                  <a:pt x="2530" y="4216"/>
                </a:cubicBezTo>
                <a:cubicBezTo>
                  <a:pt x="2530" y="4089"/>
                  <a:pt x="2530" y="4089"/>
                  <a:pt x="2530" y="4089"/>
                </a:cubicBezTo>
                <a:cubicBezTo>
                  <a:pt x="3517" y="4058"/>
                  <a:pt x="4296" y="3278"/>
                  <a:pt x="4328" y="2307"/>
                </a:cubicBezTo>
                <a:cubicBezTo>
                  <a:pt x="4598" y="2307"/>
                  <a:pt x="4598" y="2307"/>
                  <a:pt x="4598" y="2307"/>
                </a:cubicBezTo>
                <a:cubicBezTo>
                  <a:pt x="4646" y="2307"/>
                  <a:pt x="4678" y="2276"/>
                  <a:pt x="4678" y="2228"/>
                </a:cubicBezTo>
                <a:cubicBezTo>
                  <a:pt x="4678" y="2180"/>
                  <a:pt x="4646" y="2148"/>
                  <a:pt x="4598" y="2148"/>
                </a:cubicBezTo>
                <a:cubicBezTo>
                  <a:pt x="4328" y="2148"/>
                  <a:pt x="4328" y="2148"/>
                  <a:pt x="4328" y="2148"/>
                </a:cubicBezTo>
                <a:cubicBezTo>
                  <a:pt x="4296" y="1178"/>
                  <a:pt x="3500" y="398"/>
                  <a:pt x="2530" y="366"/>
                </a:cubicBezTo>
                <a:cubicBezTo>
                  <a:pt x="2530" y="80"/>
                  <a:pt x="2530" y="80"/>
                  <a:pt x="2530" y="80"/>
                </a:cubicBezTo>
                <a:cubicBezTo>
                  <a:pt x="2530" y="32"/>
                  <a:pt x="2498" y="0"/>
                  <a:pt x="2450" y="0"/>
                </a:cubicBezTo>
                <a:cubicBezTo>
                  <a:pt x="2418" y="0"/>
                  <a:pt x="2387" y="32"/>
                  <a:pt x="2387" y="80"/>
                </a:cubicBezTo>
                <a:cubicBezTo>
                  <a:pt x="2387" y="366"/>
                  <a:pt x="2387" y="366"/>
                  <a:pt x="2387" y="366"/>
                </a:cubicBezTo>
                <a:cubicBezTo>
                  <a:pt x="1496" y="414"/>
                  <a:pt x="764" y="1067"/>
                  <a:pt x="621" y="1942"/>
                </a:cubicBezTo>
                <a:cubicBezTo>
                  <a:pt x="48" y="2164"/>
                  <a:pt x="48" y="2164"/>
                  <a:pt x="48" y="2164"/>
                </a:cubicBezTo>
                <a:cubicBezTo>
                  <a:pt x="32" y="2180"/>
                  <a:pt x="0" y="2212"/>
                  <a:pt x="0" y="2244"/>
                </a:cubicBezTo>
                <a:cubicBezTo>
                  <a:pt x="0" y="2276"/>
                  <a:pt x="32" y="2291"/>
                  <a:pt x="48" y="2307"/>
                </a:cubicBezTo>
                <a:cubicBezTo>
                  <a:pt x="621" y="2546"/>
                  <a:pt x="621" y="2546"/>
                  <a:pt x="621" y="2546"/>
                </a:cubicBezTo>
                <a:cubicBezTo>
                  <a:pt x="764" y="3405"/>
                  <a:pt x="1512" y="4058"/>
                  <a:pt x="2387" y="4089"/>
                </a:cubicBezTo>
                <a:close/>
                <a:moveTo>
                  <a:pt x="2387" y="525"/>
                </a:moveTo>
                <a:cubicBezTo>
                  <a:pt x="2387" y="716"/>
                  <a:pt x="2387" y="716"/>
                  <a:pt x="2387" y="716"/>
                </a:cubicBezTo>
                <a:cubicBezTo>
                  <a:pt x="2387" y="764"/>
                  <a:pt x="2418" y="796"/>
                  <a:pt x="2450" y="796"/>
                </a:cubicBezTo>
                <a:cubicBezTo>
                  <a:pt x="2498" y="796"/>
                  <a:pt x="2530" y="764"/>
                  <a:pt x="2530" y="716"/>
                </a:cubicBezTo>
                <a:cubicBezTo>
                  <a:pt x="2530" y="525"/>
                  <a:pt x="2530" y="525"/>
                  <a:pt x="2530" y="525"/>
                </a:cubicBezTo>
                <a:cubicBezTo>
                  <a:pt x="3421" y="557"/>
                  <a:pt x="4137" y="1273"/>
                  <a:pt x="4169" y="2148"/>
                </a:cubicBezTo>
                <a:cubicBezTo>
                  <a:pt x="3962" y="2148"/>
                  <a:pt x="3962" y="2148"/>
                  <a:pt x="3962" y="2148"/>
                </a:cubicBezTo>
                <a:cubicBezTo>
                  <a:pt x="3930" y="2148"/>
                  <a:pt x="3882" y="2180"/>
                  <a:pt x="3882" y="2228"/>
                </a:cubicBezTo>
                <a:cubicBezTo>
                  <a:pt x="3882" y="2276"/>
                  <a:pt x="3930" y="2307"/>
                  <a:pt x="3962" y="2307"/>
                </a:cubicBezTo>
                <a:cubicBezTo>
                  <a:pt x="4169" y="2307"/>
                  <a:pt x="4169" y="2307"/>
                  <a:pt x="4169" y="2307"/>
                </a:cubicBezTo>
                <a:cubicBezTo>
                  <a:pt x="4137" y="3182"/>
                  <a:pt x="3421" y="3898"/>
                  <a:pt x="2530" y="3930"/>
                </a:cubicBezTo>
                <a:cubicBezTo>
                  <a:pt x="2530" y="3739"/>
                  <a:pt x="2530" y="3739"/>
                  <a:pt x="2530" y="3739"/>
                </a:cubicBezTo>
                <a:cubicBezTo>
                  <a:pt x="2530" y="3692"/>
                  <a:pt x="2498" y="3660"/>
                  <a:pt x="2450" y="3660"/>
                </a:cubicBezTo>
                <a:cubicBezTo>
                  <a:pt x="2418" y="3660"/>
                  <a:pt x="2387" y="3692"/>
                  <a:pt x="2387" y="3739"/>
                </a:cubicBezTo>
                <a:cubicBezTo>
                  <a:pt x="2387" y="3930"/>
                  <a:pt x="2387" y="3930"/>
                  <a:pt x="2387" y="3930"/>
                </a:cubicBezTo>
                <a:cubicBezTo>
                  <a:pt x="1623" y="3898"/>
                  <a:pt x="971" y="3342"/>
                  <a:pt x="796" y="2610"/>
                </a:cubicBezTo>
                <a:cubicBezTo>
                  <a:pt x="1050" y="2705"/>
                  <a:pt x="1050" y="2705"/>
                  <a:pt x="1050" y="2705"/>
                </a:cubicBezTo>
                <a:cubicBezTo>
                  <a:pt x="1050" y="2705"/>
                  <a:pt x="1066" y="2721"/>
                  <a:pt x="1082" y="2721"/>
                </a:cubicBezTo>
                <a:cubicBezTo>
                  <a:pt x="1098" y="2721"/>
                  <a:pt x="1114" y="2705"/>
                  <a:pt x="1130" y="2689"/>
                </a:cubicBezTo>
                <a:cubicBezTo>
                  <a:pt x="1162" y="2658"/>
                  <a:pt x="1162" y="2625"/>
                  <a:pt x="1146" y="2594"/>
                </a:cubicBezTo>
                <a:cubicBezTo>
                  <a:pt x="971" y="2244"/>
                  <a:pt x="971" y="2244"/>
                  <a:pt x="971" y="2244"/>
                </a:cubicBezTo>
                <a:cubicBezTo>
                  <a:pt x="1146" y="1878"/>
                  <a:pt x="1146" y="1878"/>
                  <a:pt x="1146" y="1878"/>
                </a:cubicBezTo>
                <a:cubicBezTo>
                  <a:pt x="1162" y="1846"/>
                  <a:pt x="1162" y="1814"/>
                  <a:pt x="1130" y="1782"/>
                </a:cubicBezTo>
                <a:cubicBezTo>
                  <a:pt x="1114" y="1767"/>
                  <a:pt x="1082" y="1751"/>
                  <a:pt x="1050" y="1767"/>
                </a:cubicBezTo>
                <a:cubicBezTo>
                  <a:pt x="796" y="1862"/>
                  <a:pt x="796" y="1862"/>
                  <a:pt x="796" y="1862"/>
                </a:cubicBezTo>
                <a:cubicBezTo>
                  <a:pt x="955" y="1114"/>
                  <a:pt x="1607" y="573"/>
                  <a:pt x="2387" y="525"/>
                </a:cubicBezTo>
                <a:close/>
                <a:moveTo>
                  <a:pt x="907" y="1989"/>
                </a:moveTo>
                <a:cubicBezTo>
                  <a:pt x="812" y="2196"/>
                  <a:pt x="812" y="2196"/>
                  <a:pt x="812" y="2196"/>
                </a:cubicBezTo>
                <a:cubicBezTo>
                  <a:pt x="796" y="2228"/>
                  <a:pt x="796" y="2244"/>
                  <a:pt x="812" y="2276"/>
                </a:cubicBezTo>
                <a:cubicBezTo>
                  <a:pt x="907" y="2482"/>
                  <a:pt x="907" y="2482"/>
                  <a:pt x="907" y="2482"/>
                </a:cubicBezTo>
                <a:cubicBezTo>
                  <a:pt x="302" y="2244"/>
                  <a:pt x="302" y="2244"/>
                  <a:pt x="302" y="224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07752263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Transportation / Buildings - 7</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37" name="TextBox 36">
            <a:extLst>
              <a:ext uri="{FF2B5EF4-FFF2-40B4-BE49-F238E27FC236}">
                <a16:creationId xmlns:a16="http://schemas.microsoft.com/office/drawing/2014/main" id="{AA28DCD5-DA08-6048-BEC6-51680D76A559}"/>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ome 1</a:t>
            </a:r>
          </a:p>
        </p:txBody>
      </p:sp>
      <p:sp>
        <p:nvSpPr>
          <p:cNvPr id="38" name="TextBox 37">
            <a:extLst>
              <a:ext uri="{FF2B5EF4-FFF2-40B4-BE49-F238E27FC236}">
                <a16:creationId xmlns:a16="http://schemas.microsoft.com/office/drawing/2014/main" id="{2E48186D-6CC2-EF4C-AE1A-11B7CA2D4DFD}"/>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ome 2</a:t>
            </a:r>
          </a:p>
        </p:txBody>
      </p:sp>
      <p:sp>
        <p:nvSpPr>
          <p:cNvPr id="39" name="TextBox 38">
            <a:extLst>
              <a:ext uri="{FF2B5EF4-FFF2-40B4-BE49-F238E27FC236}">
                <a16:creationId xmlns:a16="http://schemas.microsoft.com/office/drawing/2014/main" id="{F5CDD350-BE70-D642-8A77-3CBB4B2A4B83}"/>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ome 3</a:t>
            </a:r>
          </a:p>
        </p:txBody>
      </p:sp>
      <p:sp>
        <p:nvSpPr>
          <p:cNvPr id="40" name="TextBox 39">
            <a:extLst>
              <a:ext uri="{FF2B5EF4-FFF2-40B4-BE49-F238E27FC236}">
                <a16:creationId xmlns:a16="http://schemas.microsoft.com/office/drawing/2014/main" id="{41DAED80-EDD2-7F42-8F80-C44421197E43}"/>
              </a:ext>
            </a:extLst>
          </p:cNvPr>
          <p:cNvSpPr txBox="1"/>
          <p:nvPr/>
        </p:nvSpPr>
        <p:spPr>
          <a:xfrm>
            <a:off x="20572486" y="4780469"/>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oof</a:t>
            </a:r>
          </a:p>
        </p:txBody>
      </p:sp>
      <p:sp>
        <p:nvSpPr>
          <p:cNvPr id="41" name="TextBox 40">
            <a:extLst>
              <a:ext uri="{FF2B5EF4-FFF2-40B4-BE49-F238E27FC236}">
                <a16:creationId xmlns:a16="http://schemas.microsoft.com/office/drawing/2014/main" id="{2E870EF8-8B53-0041-A52F-BD442A11BB31}"/>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Office</a:t>
            </a:r>
          </a:p>
        </p:txBody>
      </p:sp>
      <p:sp>
        <p:nvSpPr>
          <p:cNvPr id="42" name="TextBox 41">
            <a:extLst>
              <a:ext uri="{FF2B5EF4-FFF2-40B4-BE49-F238E27FC236}">
                <a16:creationId xmlns:a16="http://schemas.microsoft.com/office/drawing/2014/main" id="{477A661A-E6E5-804D-9BBB-5EF3A0CFFBC9}"/>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hin </a:t>
            </a:r>
            <a:r>
              <a:rPr lang="en-US" sz="2800" dirty="0" err="1"/>
              <a:t>Bld</a:t>
            </a:r>
            <a:endParaRPr lang="en-US" sz="2800" dirty="0"/>
          </a:p>
        </p:txBody>
      </p:sp>
      <p:sp>
        <p:nvSpPr>
          <p:cNvPr id="63" name="TextBox 62">
            <a:extLst>
              <a:ext uri="{FF2B5EF4-FFF2-40B4-BE49-F238E27FC236}">
                <a16:creationId xmlns:a16="http://schemas.microsoft.com/office/drawing/2014/main" id="{6DD7E45B-5F30-9541-BB7A-CE025C874C42}"/>
              </a:ext>
            </a:extLst>
          </p:cNvPr>
          <p:cNvSpPr txBox="1"/>
          <p:nvPr/>
        </p:nvSpPr>
        <p:spPr>
          <a:xfrm>
            <a:off x="9013116"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quare </a:t>
            </a:r>
            <a:r>
              <a:rPr lang="en-US" sz="2800" dirty="0" err="1"/>
              <a:t>Bld</a:t>
            </a:r>
            <a:endParaRPr lang="en-US" sz="2800" dirty="0"/>
          </a:p>
        </p:txBody>
      </p:sp>
      <p:sp>
        <p:nvSpPr>
          <p:cNvPr id="64" name="TextBox 63">
            <a:extLst>
              <a:ext uri="{FF2B5EF4-FFF2-40B4-BE49-F238E27FC236}">
                <a16:creationId xmlns:a16="http://schemas.microsoft.com/office/drawing/2014/main" id="{17ACF15F-A6D9-8C4E-AAD2-A89A5F0969DF}"/>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err="1"/>
              <a:t>Gov</a:t>
            </a:r>
            <a:r>
              <a:rPr lang="en-US" sz="2800" dirty="0"/>
              <a:t> </a:t>
            </a:r>
            <a:r>
              <a:rPr lang="en-US" sz="2800" dirty="0" err="1"/>
              <a:t>Bild</a:t>
            </a:r>
            <a:endParaRPr lang="en-US" sz="2800" dirty="0"/>
          </a:p>
        </p:txBody>
      </p:sp>
      <p:sp>
        <p:nvSpPr>
          <p:cNvPr id="65" name="TextBox 64">
            <a:extLst>
              <a:ext uri="{FF2B5EF4-FFF2-40B4-BE49-F238E27FC236}">
                <a16:creationId xmlns:a16="http://schemas.microsoft.com/office/drawing/2014/main" id="{38630759-14D5-3448-9F25-ED878EC71B62}"/>
              </a:ext>
            </a:extLst>
          </p:cNvPr>
          <p:cNvSpPr txBox="1"/>
          <p:nvPr/>
        </p:nvSpPr>
        <p:spPr>
          <a:xfrm>
            <a:off x="20182842" y="8145208"/>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err="1"/>
              <a:t>Bld</a:t>
            </a:r>
            <a:r>
              <a:rPr lang="en-US" sz="2800" dirty="0"/>
              <a:t> 2</a:t>
            </a:r>
          </a:p>
        </p:txBody>
      </p:sp>
      <p:sp>
        <p:nvSpPr>
          <p:cNvPr id="66" name="TextBox 65">
            <a:extLst>
              <a:ext uri="{FF2B5EF4-FFF2-40B4-BE49-F238E27FC236}">
                <a16:creationId xmlns:a16="http://schemas.microsoft.com/office/drawing/2014/main" id="{72FE625E-E039-754F-AE05-AEB74AF24F9A}"/>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ome 4</a:t>
            </a:r>
          </a:p>
        </p:txBody>
      </p:sp>
      <p:sp>
        <p:nvSpPr>
          <p:cNvPr id="67" name="TextBox 66">
            <a:extLst>
              <a:ext uri="{FF2B5EF4-FFF2-40B4-BE49-F238E27FC236}">
                <a16:creationId xmlns:a16="http://schemas.microsoft.com/office/drawing/2014/main" id="{89DEDB7E-EE6C-5E49-BB86-483214939756}"/>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lant</a:t>
            </a:r>
          </a:p>
        </p:txBody>
      </p:sp>
      <p:sp>
        <p:nvSpPr>
          <p:cNvPr id="68" name="Freeform: Shape 8">
            <a:extLst>
              <a:ext uri="{FF2B5EF4-FFF2-40B4-BE49-F238E27FC236}">
                <a16:creationId xmlns:a16="http://schemas.microsoft.com/office/drawing/2014/main" id="{2EACE527-28ED-4A43-8A54-F9D8DF34B91D}"/>
              </a:ext>
            </a:extLst>
          </p:cNvPr>
          <p:cNvSpPr/>
          <p:nvPr/>
        </p:nvSpPr>
        <p:spPr>
          <a:xfrm>
            <a:off x="21240619" y="3387852"/>
            <a:ext cx="1702440" cy="772920"/>
          </a:xfrm>
          <a:custGeom>
            <a:avLst/>
            <a:gdLst/>
            <a:ahLst/>
            <a:cxnLst>
              <a:cxn ang="3cd4">
                <a:pos x="hc" y="t"/>
              </a:cxn>
              <a:cxn ang="cd2">
                <a:pos x="l" y="vc"/>
              </a:cxn>
              <a:cxn ang="cd4">
                <a:pos x="hc" y="b"/>
              </a:cxn>
              <a:cxn ang="0">
                <a:pos x="r" y="vc"/>
              </a:cxn>
            </a:cxnLst>
            <a:rect l="l" t="t" r="r" b="b"/>
            <a:pathLst>
              <a:path w="4730" h="2148">
                <a:moveTo>
                  <a:pt x="3749" y="1170"/>
                </a:moveTo>
                <a:cubicBezTo>
                  <a:pt x="3749" y="168"/>
                  <a:pt x="3749" y="168"/>
                  <a:pt x="3749" y="168"/>
                </a:cubicBezTo>
                <a:cubicBezTo>
                  <a:pt x="3749" y="120"/>
                  <a:pt x="3717" y="88"/>
                  <a:pt x="3670" y="88"/>
                </a:cubicBezTo>
                <a:cubicBezTo>
                  <a:pt x="3033" y="88"/>
                  <a:pt x="3033" y="88"/>
                  <a:pt x="3033" y="88"/>
                </a:cubicBezTo>
                <a:cubicBezTo>
                  <a:pt x="3001" y="88"/>
                  <a:pt x="2954" y="120"/>
                  <a:pt x="2954" y="168"/>
                </a:cubicBezTo>
                <a:cubicBezTo>
                  <a:pt x="2954" y="517"/>
                  <a:pt x="2954" y="517"/>
                  <a:pt x="2954" y="517"/>
                </a:cubicBezTo>
                <a:cubicBezTo>
                  <a:pt x="2398" y="25"/>
                  <a:pt x="2398" y="25"/>
                  <a:pt x="2398" y="25"/>
                </a:cubicBezTo>
                <a:cubicBezTo>
                  <a:pt x="2382" y="-8"/>
                  <a:pt x="2334" y="-8"/>
                  <a:pt x="2302" y="25"/>
                </a:cubicBezTo>
                <a:cubicBezTo>
                  <a:pt x="27" y="2013"/>
                  <a:pt x="27" y="2013"/>
                  <a:pt x="27" y="2013"/>
                </a:cubicBezTo>
                <a:cubicBezTo>
                  <a:pt x="-5" y="2029"/>
                  <a:pt x="-5" y="2093"/>
                  <a:pt x="11" y="2125"/>
                </a:cubicBezTo>
                <a:cubicBezTo>
                  <a:pt x="43" y="2156"/>
                  <a:pt x="91" y="2156"/>
                  <a:pt x="138" y="2125"/>
                </a:cubicBezTo>
                <a:cubicBezTo>
                  <a:pt x="2350" y="183"/>
                  <a:pt x="2350" y="183"/>
                  <a:pt x="2350" y="183"/>
                </a:cubicBezTo>
                <a:cubicBezTo>
                  <a:pt x="2985" y="740"/>
                  <a:pt x="2985" y="740"/>
                  <a:pt x="2985" y="740"/>
                </a:cubicBezTo>
                <a:cubicBezTo>
                  <a:pt x="3017" y="772"/>
                  <a:pt x="3049" y="772"/>
                  <a:pt x="3065" y="756"/>
                </a:cubicBezTo>
                <a:cubicBezTo>
                  <a:pt x="3097" y="740"/>
                  <a:pt x="3113" y="725"/>
                  <a:pt x="3113" y="693"/>
                </a:cubicBezTo>
                <a:cubicBezTo>
                  <a:pt x="3113" y="247"/>
                  <a:pt x="3113" y="247"/>
                  <a:pt x="3113" y="247"/>
                </a:cubicBezTo>
                <a:cubicBezTo>
                  <a:pt x="3590" y="247"/>
                  <a:pt x="3590" y="247"/>
                  <a:pt x="3590" y="247"/>
                </a:cubicBezTo>
                <a:cubicBezTo>
                  <a:pt x="3590" y="1202"/>
                  <a:pt x="3590" y="1202"/>
                  <a:pt x="3590" y="1202"/>
                </a:cubicBezTo>
                <a:cubicBezTo>
                  <a:pt x="3590" y="1234"/>
                  <a:pt x="3606" y="1250"/>
                  <a:pt x="3622" y="1265"/>
                </a:cubicBezTo>
                <a:cubicBezTo>
                  <a:pt x="4608" y="2125"/>
                  <a:pt x="4608" y="2125"/>
                  <a:pt x="4608" y="2125"/>
                </a:cubicBezTo>
                <a:cubicBezTo>
                  <a:pt x="4624" y="2140"/>
                  <a:pt x="4640" y="2140"/>
                  <a:pt x="4656" y="2140"/>
                </a:cubicBezTo>
                <a:cubicBezTo>
                  <a:pt x="4672" y="2140"/>
                  <a:pt x="4704" y="2140"/>
                  <a:pt x="4719" y="2125"/>
                </a:cubicBezTo>
                <a:cubicBezTo>
                  <a:pt x="4736" y="2093"/>
                  <a:pt x="4736" y="2029"/>
                  <a:pt x="4704" y="201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9" name="Freeform: Shape 9">
            <a:extLst>
              <a:ext uri="{FF2B5EF4-FFF2-40B4-BE49-F238E27FC236}">
                <a16:creationId xmlns:a16="http://schemas.microsoft.com/office/drawing/2014/main" id="{9645591C-7A57-2240-B50D-1AE0DB5C396E}"/>
              </a:ext>
            </a:extLst>
          </p:cNvPr>
          <p:cNvSpPr/>
          <p:nvPr/>
        </p:nvSpPr>
        <p:spPr>
          <a:xfrm>
            <a:off x="21719779" y="5821835"/>
            <a:ext cx="744120" cy="1689479"/>
          </a:xfrm>
          <a:custGeom>
            <a:avLst/>
            <a:gdLst/>
            <a:ahLst/>
            <a:cxnLst>
              <a:cxn ang="3cd4">
                <a:pos x="hc" y="t"/>
              </a:cxn>
              <a:cxn ang="cd2">
                <a:pos x="l" y="vc"/>
              </a:cxn>
              <a:cxn ang="cd4">
                <a:pos x="hc" y="b"/>
              </a:cxn>
              <a:cxn ang="0">
                <a:pos x="r" y="vc"/>
              </a:cxn>
            </a:cxnLst>
            <a:rect l="l" t="t" r="r" b="b"/>
            <a:pathLst>
              <a:path w="2068" h="4694">
                <a:moveTo>
                  <a:pt x="239" y="636"/>
                </a:moveTo>
                <a:lnTo>
                  <a:pt x="239" y="4535"/>
                </a:lnTo>
                <a:lnTo>
                  <a:pt x="80" y="4535"/>
                </a:lnTo>
                <a:cubicBezTo>
                  <a:pt x="48" y="4535"/>
                  <a:pt x="0" y="4566"/>
                  <a:pt x="0" y="4614"/>
                </a:cubicBezTo>
                <a:cubicBezTo>
                  <a:pt x="0" y="4662"/>
                  <a:pt x="48" y="4694"/>
                  <a:pt x="80" y="4694"/>
                </a:cubicBezTo>
                <a:lnTo>
                  <a:pt x="318" y="4694"/>
                </a:lnTo>
                <a:lnTo>
                  <a:pt x="1750" y="4694"/>
                </a:lnTo>
                <a:lnTo>
                  <a:pt x="1989" y="4694"/>
                </a:lnTo>
                <a:cubicBezTo>
                  <a:pt x="2037" y="4694"/>
                  <a:pt x="2068" y="4662"/>
                  <a:pt x="2068" y="4614"/>
                </a:cubicBezTo>
                <a:cubicBezTo>
                  <a:pt x="2068" y="4566"/>
                  <a:pt x="2037" y="4535"/>
                  <a:pt x="1989" y="4535"/>
                </a:cubicBezTo>
                <a:lnTo>
                  <a:pt x="1830" y="4535"/>
                </a:lnTo>
                <a:lnTo>
                  <a:pt x="1830" y="636"/>
                </a:lnTo>
                <a:cubicBezTo>
                  <a:pt x="1830" y="605"/>
                  <a:pt x="1798" y="557"/>
                  <a:pt x="1750" y="557"/>
                </a:cubicBezTo>
                <a:lnTo>
                  <a:pt x="1512" y="557"/>
                </a:lnTo>
                <a:lnTo>
                  <a:pt x="1512" y="239"/>
                </a:lnTo>
                <a:cubicBezTo>
                  <a:pt x="1512" y="207"/>
                  <a:pt x="1480" y="159"/>
                  <a:pt x="1432" y="159"/>
                </a:cubicBezTo>
                <a:cubicBezTo>
                  <a:pt x="1400" y="159"/>
                  <a:pt x="1353" y="207"/>
                  <a:pt x="1353" y="239"/>
                </a:cubicBezTo>
                <a:lnTo>
                  <a:pt x="1353" y="557"/>
                </a:lnTo>
                <a:lnTo>
                  <a:pt x="875" y="557"/>
                </a:lnTo>
                <a:lnTo>
                  <a:pt x="875" y="80"/>
                </a:lnTo>
                <a:cubicBezTo>
                  <a:pt x="875" y="48"/>
                  <a:pt x="843" y="0"/>
                  <a:pt x="796" y="0"/>
                </a:cubicBezTo>
                <a:cubicBezTo>
                  <a:pt x="764" y="0"/>
                  <a:pt x="716" y="48"/>
                  <a:pt x="716" y="80"/>
                </a:cubicBezTo>
                <a:lnTo>
                  <a:pt x="716" y="557"/>
                </a:lnTo>
                <a:lnTo>
                  <a:pt x="318" y="557"/>
                </a:lnTo>
                <a:cubicBezTo>
                  <a:pt x="286" y="557"/>
                  <a:pt x="239" y="605"/>
                  <a:pt x="239" y="636"/>
                </a:cubicBezTo>
                <a:close/>
                <a:moveTo>
                  <a:pt x="398" y="716"/>
                </a:moveTo>
                <a:lnTo>
                  <a:pt x="1671" y="716"/>
                </a:lnTo>
                <a:lnTo>
                  <a:pt x="1671" y="4535"/>
                </a:lnTo>
                <a:lnTo>
                  <a:pt x="398" y="4535"/>
                </a:lnTo>
                <a:close/>
                <a:moveTo>
                  <a:pt x="875" y="1193"/>
                </a:moveTo>
                <a:lnTo>
                  <a:pt x="716" y="1193"/>
                </a:lnTo>
                <a:cubicBezTo>
                  <a:pt x="685" y="1193"/>
                  <a:pt x="637" y="1241"/>
                  <a:pt x="637" y="1273"/>
                </a:cubicBezTo>
                <a:cubicBezTo>
                  <a:pt x="637" y="1321"/>
                  <a:pt x="685" y="1353"/>
                  <a:pt x="716" y="1353"/>
                </a:cubicBezTo>
                <a:lnTo>
                  <a:pt x="875" y="1353"/>
                </a:lnTo>
                <a:cubicBezTo>
                  <a:pt x="923" y="1353"/>
                  <a:pt x="955" y="1321"/>
                  <a:pt x="955" y="1273"/>
                </a:cubicBezTo>
                <a:cubicBezTo>
                  <a:pt x="955" y="1241"/>
                  <a:pt x="923" y="1193"/>
                  <a:pt x="875" y="1193"/>
                </a:cubicBezTo>
                <a:close/>
                <a:moveTo>
                  <a:pt x="1353" y="1193"/>
                </a:moveTo>
                <a:lnTo>
                  <a:pt x="1194" y="1193"/>
                </a:lnTo>
                <a:cubicBezTo>
                  <a:pt x="1162" y="1193"/>
                  <a:pt x="1114" y="1241"/>
                  <a:pt x="1114" y="1273"/>
                </a:cubicBezTo>
                <a:cubicBezTo>
                  <a:pt x="1114" y="1321"/>
                  <a:pt x="1162" y="1353"/>
                  <a:pt x="1194" y="1353"/>
                </a:cubicBezTo>
                <a:lnTo>
                  <a:pt x="1353" y="1353"/>
                </a:lnTo>
                <a:cubicBezTo>
                  <a:pt x="1400" y="1353"/>
                  <a:pt x="1432" y="1321"/>
                  <a:pt x="1432" y="1273"/>
                </a:cubicBezTo>
                <a:cubicBezTo>
                  <a:pt x="1432" y="1241"/>
                  <a:pt x="1400" y="1193"/>
                  <a:pt x="1353" y="1193"/>
                </a:cubicBezTo>
                <a:close/>
                <a:moveTo>
                  <a:pt x="875" y="1671"/>
                </a:moveTo>
                <a:lnTo>
                  <a:pt x="716" y="1671"/>
                </a:lnTo>
                <a:cubicBezTo>
                  <a:pt x="685" y="1671"/>
                  <a:pt x="637" y="1718"/>
                  <a:pt x="637" y="1750"/>
                </a:cubicBezTo>
                <a:cubicBezTo>
                  <a:pt x="637" y="1798"/>
                  <a:pt x="685" y="1830"/>
                  <a:pt x="716" y="1830"/>
                </a:cubicBezTo>
                <a:lnTo>
                  <a:pt x="875" y="1830"/>
                </a:lnTo>
                <a:cubicBezTo>
                  <a:pt x="923" y="1830"/>
                  <a:pt x="955" y="1798"/>
                  <a:pt x="955" y="1750"/>
                </a:cubicBezTo>
                <a:cubicBezTo>
                  <a:pt x="955" y="1718"/>
                  <a:pt x="923" y="1671"/>
                  <a:pt x="875" y="1671"/>
                </a:cubicBezTo>
                <a:close/>
                <a:moveTo>
                  <a:pt x="1353" y="1671"/>
                </a:moveTo>
                <a:lnTo>
                  <a:pt x="1194" y="1671"/>
                </a:lnTo>
                <a:cubicBezTo>
                  <a:pt x="1162" y="1671"/>
                  <a:pt x="1114" y="1718"/>
                  <a:pt x="1114" y="1750"/>
                </a:cubicBezTo>
                <a:cubicBezTo>
                  <a:pt x="1114" y="1798"/>
                  <a:pt x="1162" y="1830"/>
                  <a:pt x="1194" y="1830"/>
                </a:cubicBezTo>
                <a:lnTo>
                  <a:pt x="1353" y="1830"/>
                </a:lnTo>
                <a:cubicBezTo>
                  <a:pt x="1400" y="1830"/>
                  <a:pt x="1432" y="1798"/>
                  <a:pt x="1432" y="1750"/>
                </a:cubicBezTo>
                <a:cubicBezTo>
                  <a:pt x="1432" y="1718"/>
                  <a:pt x="1400" y="1671"/>
                  <a:pt x="1353" y="1671"/>
                </a:cubicBezTo>
                <a:close/>
                <a:moveTo>
                  <a:pt x="875" y="2148"/>
                </a:moveTo>
                <a:lnTo>
                  <a:pt x="716" y="2148"/>
                </a:lnTo>
                <a:cubicBezTo>
                  <a:pt x="685" y="2148"/>
                  <a:pt x="637" y="2180"/>
                  <a:pt x="637" y="2227"/>
                </a:cubicBezTo>
                <a:cubicBezTo>
                  <a:pt x="637" y="2275"/>
                  <a:pt x="685" y="2307"/>
                  <a:pt x="716" y="2307"/>
                </a:cubicBezTo>
                <a:lnTo>
                  <a:pt x="875" y="2307"/>
                </a:lnTo>
                <a:cubicBezTo>
                  <a:pt x="923" y="2307"/>
                  <a:pt x="955" y="2275"/>
                  <a:pt x="955" y="2227"/>
                </a:cubicBezTo>
                <a:cubicBezTo>
                  <a:pt x="955" y="2180"/>
                  <a:pt x="923" y="2148"/>
                  <a:pt x="875" y="2148"/>
                </a:cubicBezTo>
                <a:close/>
                <a:moveTo>
                  <a:pt x="1353" y="2148"/>
                </a:moveTo>
                <a:lnTo>
                  <a:pt x="1194" y="2148"/>
                </a:lnTo>
                <a:cubicBezTo>
                  <a:pt x="1162" y="2148"/>
                  <a:pt x="1114" y="2180"/>
                  <a:pt x="1114" y="2227"/>
                </a:cubicBezTo>
                <a:cubicBezTo>
                  <a:pt x="1114" y="2275"/>
                  <a:pt x="1162" y="2307"/>
                  <a:pt x="1194" y="2307"/>
                </a:cubicBezTo>
                <a:lnTo>
                  <a:pt x="1353" y="2307"/>
                </a:lnTo>
                <a:cubicBezTo>
                  <a:pt x="1400" y="2307"/>
                  <a:pt x="1432" y="2275"/>
                  <a:pt x="1432" y="2227"/>
                </a:cubicBezTo>
                <a:cubicBezTo>
                  <a:pt x="1432" y="2180"/>
                  <a:pt x="1400" y="2148"/>
                  <a:pt x="1353" y="2148"/>
                </a:cubicBezTo>
                <a:close/>
                <a:moveTo>
                  <a:pt x="875" y="2626"/>
                </a:moveTo>
                <a:lnTo>
                  <a:pt x="716" y="2626"/>
                </a:lnTo>
                <a:cubicBezTo>
                  <a:pt x="685" y="2626"/>
                  <a:pt x="637" y="2657"/>
                  <a:pt x="637" y="2705"/>
                </a:cubicBezTo>
                <a:cubicBezTo>
                  <a:pt x="637" y="2753"/>
                  <a:pt x="685" y="2784"/>
                  <a:pt x="716" y="2784"/>
                </a:cubicBezTo>
                <a:lnTo>
                  <a:pt x="875" y="2784"/>
                </a:lnTo>
                <a:cubicBezTo>
                  <a:pt x="923" y="2784"/>
                  <a:pt x="955" y="2753"/>
                  <a:pt x="955" y="2705"/>
                </a:cubicBezTo>
                <a:cubicBezTo>
                  <a:pt x="955" y="2657"/>
                  <a:pt x="923" y="2626"/>
                  <a:pt x="875" y="2626"/>
                </a:cubicBezTo>
                <a:close/>
                <a:moveTo>
                  <a:pt x="1353" y="2626"/>
                </a:moveTo>
                <a:lnTo>
                  <a:pt x="1194" y="2626"/>
                </a:lnTo>
                <a:cubicBezTo>
                  <a:pt x="1162" y="2626"/>
                  <a:pt x="1114" y="2657"/>
                  <a:pt x="1114" y="2705"/>
                </a:cubicBezTo>
                <a:cubicBezTo>
                  <a:pt x="1114" y="2753"/>
                  <a:pt x="1162" y="2784"/>
                  <a:pt x="1194" y="2784"/>
                </a:cubicBezTo>
                <a:lnTo>
                  <a:pt x="1353" y="2784"/>
                </a:lnTo>
                <a:cubicBezTo>
                  <a:pt x="1400" y="2784"/>
                  <a:pt x="1432" y="2753"/>
                  <a:pt x="1432" y="2705"/>
                </a:cubicBezTo>
                <a:cubicBezTo>
                  <a:pt x="1432" y="2657"/>
                  <a:pt x="1400" y="2626"/>
                  <a:pt x="1353" y="2626"/>
                </a:cubicBezTo>
                <a:close/>
                <a:moveTo>
                  <a:pt x="875" y="3103"/>
                </a:moveTo>
                <a:lnTo>
                  <a:pt x="716" y="3103"/>
                </a:lnTo>
                <a:cubicBezTo>
                  <a:pt x="685" y="3103"/>
                  <a:pt x="637" y="3135"/>
                  <a:pt x="637" y="3182"/>
                </a:cubicBezTo>
                <a:cubicBezTo>
                  <a:pt x="637" y="3230"/>
                  <a:pt x="685" y="3262"/>
                  <a:pt x="716" y="3262"/>
                </a:cubicBezTo>
                <a:lnTo>
                  <a:pt x="875" y="3262"/>
                </a:lnTo>
                <a:cubicBezTo>
                  <a:pt x="923" y="3262"/>
                  <a:pt x="955" y="3230"/>
                  <a:pt x="955" y="3182"/>
                </a:cubicBezTo>
                <a:cubicBezTo>
                  <a:pt x="955" y="3135"/>
                  <a:pt x="923" y="3103"/>
                  <a:pt x="875" y="3103"/>
                </a:cubicBezTo>
                <a:close/>
                <a:moveTo>
                  <a:pt x="1353" y="3103"/>
                </a:moveTo>
                <a:lnTo>
                  <a:pt x="1194" y="3103"/>
                </a:lnTo>
                <a:cubicBezTo>
                  <a:pt x="1162" y="3103"/>
                  <a:pt x="1114" y="3135"/>
                  <a:pt x="1114" y="3182"/>
                </a:cubicBezTo>
                <a:cubicBezTo>
                  <a:pt x="1114" y="3230"/>
                  <a:pt x="1162" y="3262"/>
                  <a:pt x="1194" y="3262"/>
                </a:cubicBezTo>
                <a:lnTo>
                  <a:pt x="1353" y="3262"/>
                </a:lnTo>
                <a:cubicBezTo>
                  <a:pt x="1400" y="3262"/>
                  <a:pt x="1432" y="3230"/>
                  <a:pt x="1432" y="3182"/>
                </a:cubicBezTo>
                <a:cubicBezTo>
                  <a:pt x="1432" y="3135"/>
                  <a:pt x="1400" y="3103"/>
                  <a:pt x="1353" y="3103"/>
                </a:cubicBezTo>
                <a:close/>
                <a:moveTo>
                  <a:pt x="875" y="3580"/>
                </a:moveTo>
                <a:lnTo>
                  <a:pt x="716" y="3580"/>
                </a:lnTo>
                <a:cubicBezTo>
                  <a:pt x="685" y="3580"/>
                  <a:pt x="637" y="3612"/>
                  <a:pt x="637" y="3660"/>
                </a:cubicBezTo>
                <a:cubicBezTo>
                  <a:pt x="637" y="3707"/>
                  <a:pt x="685" y="3739"/>
                  <a:pt x="716" y="3739"/>
                </a:cubicBezTo>
                <a:lnTo>
                  <a:pt x="875" y="3739"/>
                </a:lnTo>
                <a:cubicBezTo>
                  <a:pt x="923" y="3739"/>
                  <a:pt x="955" y="3707"/>
                  <a:pt x="955" y="3660"/>
                </a:cubicBezTo>
                <a:cubicBezTo>
                  <a:pt x="955" y="3612"/>
                  <a:pt x="923" y="3580"/>
                  <a:pt x="875" y="3580"/>
                </a:cubicBezTo>
                <a:close/>
                <a:moveTo>
                  <a:pt x="1353" y="3580"/>
                </a:moveTo>
                <a:lnTo>
                  <a:pt x="1194" y="3580"/>
                </a:lnTo>
                <a:cubicBezTo>
                  <a:pt x="1162" y="3580"/>
                  <a:pt x="1114" y="3612"/>
                  <a:pt x="1114" y="3660"/>
                </a:cubicBezTo>
                <a:cubicBezTo>
                  <a:pt x="1114" y="3707"/>
                  <a:pt x="1162" y="3739"/>
                  <a:pt x="1194" y="3739"/>
                </a:cubicBezTo>
                <a:lnTo>
                  <a:pt x="1353" y="3739"/>
                </a:lnTo>
                <a:cubicBezTo>
                  <a:pt x="1400" y="3739"/>
                  <a:pt x="1432" y="3707"/>
                  <a:pt x="1432" y="3660"/>
                </a:cubicBezTo>
                <a:cubicBezTo>
                  <a:pt x="1432" y="3612"/>
                  <a:pt x="1400" y="3580"/>
                  <a:pt x="1353" y="3580"/>
                </a:cubicBezTo>
                <a:close/>
                <a:moveTo>
                  <a:pt x="875" y="4057"/>
                </a:moveTo>
                <a:lnTo>
                  <a:pt x="716" y="4057"/>
                </a:lnTo>
                <a:cubicBezTo>
                  <a:pt x="685" y="4057"/>
                  <a:pt x="637" y="4089"/>
                  <a:pt x="637" y="4137"/>
                </a:cubicBezTo>
                <a:cubicBezTo>
                  <a:pt x="637" y="4185"/>
                  <a:pt x="685" y="4217"/>
                  <a:pt x="716" y="4217"/>
                </a:cubicBezTo>
                <a:lnTo>
                  <a:pt x="875" y="4217"/>
                </a:lnTo>
                <a:cubicBezTo>
                  <a:pt x="923" y="4217"/>
                  <a:pt x="955" y="4185"/>
                  <a:pt x="955" y="4137"/>
                </a:cubicBezTo>
                <a:cubicBezTo>
                  <a:pt x="955" y="4089"/>
                  <a:pt x="923" y="4057"/>
                  <a:pt x="875" y="4057"/>
                </a:cubicBezTo>
                <a:close/>
                <a:moveTo>
                  <a:pt x="1353" y="4057"/>
                </a:moveTo>
                <a:lnTo>
                  <a:pt x="1194" y="4057"/>
                </a:lnTo>
                <a:cubicBezTo>
                  <a:pt x="1162" y="4057"/>
                  <a:pt x="1114" y="4089"/>
                  <a:pt x="1114" y="4137"/>
                </a:cubicBezTo>
                <a:cubicBezTo>
                  <a:pt x="1114" y="4185"/>
                  <a:pt x="1162" y="4217"/>
                  <a:pt x="1194" y="4217"/>
                </a:cubicBezTo>
                <a:lnTo>
                  <a:pt x="1353" y="4217"/>
                </a:lnTo>
                <a:cubicBezTo>
                  <a:pt x="1400" y="4217"/>
                  <a:pt x="1432" y="4185"/>
                  <a:pt x="1432" y="4137"/>
                </a:cubicBezTo>
                <a:cubicBezTo>
                  <a:pt x="1432" y="4089"/>
                  <a:pt x="1400" y="4057"/>
                  <a:pt x="1353" y="405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0" name="Freeform: Shape 10">
            <a:extLst>
              <a:ext uri="{FF2B5EF4-FFF2-40B4-BE49-F238E27FC236}">
                <a16:creationId xmlns:a16="http://schemas.microsoft.com/office/drawing/2014/main" id="{FFB09430-D881-8B4D-90FF-700523B00AF4}"/>
              </a:ext>
            </a:extLst>
          </p:cNvPr>
          <p:cNvSpPr/>
          <p:nvPr/>
        </p:nvSpPr>
        <p:spPr>
          <a:xfrm>
            <a:off x="2103290" y="9589380"/>
            <a:ext cx="1259639" cy="1717920"/>
          </a:xfrm>
          <a:custGeom>
            <a:avLst/>
            <a:gdLst/>
            <a:ahLst/>
            <a:cxnLst>
              <a:cxn ang="3cd4">
                <a:pos x="hc" y="t"/>
              </a:cxn>
              <a:cxn ang="cd2">
                <a:pos x="l" y="vc"/>
              </a:cxn>
              <a:cxn ang="cd4">
                <a:pos x="hc" y="b"/>
              </a:cxn>
              <a:cxn ang="0">
                <a:pos x="r" y="vc"/>
              </a:cxn>
            </a:cxnLst>
            <a:rect l="l" t="t" r="r" b="b"/>
            <a:pathLst>
              <a:path w="3500" h="4773">
                <a:moveTo>
                  <a:pt x="2943" y="0"/>
                </a:moveTo>
                <a:lnTo>
                  <a:pt x="556" y="0"/>
                </a:lnTo>
                <a:cubicBezTo>
                  <a:pt x="509" y="0"/>
                  <a:pt x="477" y="32"/>
                  <a:pt x="477" y="80"/>
                </a:cubicBezTo>
                <a:lnTo>
                  <a:pt x="477" y="637"/>
                </a:lnTo>
                <a:lnTo>
                  <a:pt x="79" y="637"/>
                </a:lnTo>
                <a:cubicBezTo>
                  <a:pt x="31" y="637"/>
                  <a:pt x="0" y="668"/>
                  <a:pt x="0" y="716"/>
                </a:cubicBezTo>
                <a:lnTo>
                  <a:pt x="0" y="4693"/>
                </a:lnTo>
                <a:cubicBezTo>
                  <a:pt x="0" y="4725"/>
                  <a:pt x="31" y="4773"/>
                  <a:pt x="79" y="4773"/>
                </a:cubicBezTo>
                <a:lnTo>
                  <a:pt x="3420" y="4773"/>
                </a:lnTo>
                <a:cubicBezTo>
                  <a:pt x="3452" y="4773"/>
                  <a:pt x="3500" y="4725"/>
                  <a:pt x="3500" y="4693"/>
                </a:cubicBezTo>
                <a:lnTo>
                  <a:pt x="3500" y="716"/>
                </a:lnTo>
                <a:cubicBezTo>
                  <a:pt x="3500" y="668"/>
                  <a:pt x="3452" y="637"/>
                  <a:pt x="3420" y="637"/>
                </a:cubicBezTo>
                <a:lnTo>
                  <a:pt x="3022" y="637"/>
                </a:lnTo>
                <a:lnTo>
                  <a:pt x="3022" y="80"/>
                </a:lnTo>
                <a:cubicBezTo>
                  <a:pt x="3022" y="32"/>
                  <a:pt x="2974" y="0"/>
                  <a:pt x="2943" y="0"/>
                </a:cubicBezTo>
                <a:close/>
                <a:moveTo>
                  <a:pt x="636" y="159"/>
                </a:moveTo>
                <a:lnTo>
                  <a:pt x="2863" y="159"/>
                </a:lnTo>
                <a:lnTo>
                  <a:pt x="2863" y="637"/>
                </a:lnTo>
                <a:lnTo>
                  <a:pt x="636" y="637"/>
                </a:lnTo>
                <a:close/>
                <a:moveTo>
                  <a:pt x="3340" y="4614"/>
                </a:moveTo>
                <a:lnTo>
                  <a:pt x="158" y="4614"/>
                </a:lnTo>
                <a:lnTo>
                  <a:pt x="158" y="795"/>
                </a:lnTo>
                <a:lnTo>
                  <a:pt x="556" y="795"/>
                </a:lnTo>
                <a:lnTo>
                  <a:pt x="2943" y="795"/>
                </a:lnTo>
                <a:lnTo>
                  <a:pt x="3340" y="795"/>
                </a:lnTo>
                <a:close/>
                <a:moveTo>
                  <a:pt x="1511" y="1114"/>
                </a:moveTo>
                <a:lnTo>
                  <a:pt x="556" y="1114"/>
                </a:lnTo>
                <a:cubicBezTo>
                  <a:pt x="509" y="1114"/>
                  <a:pt x="477" y="1146"/>
                  <a:pt x="477" y="1193"/>
                </a:cubicBezTo>
                <a:lnTo>
                  <a:pt x="477" y="1989"/>
                </a:lnTo>
                <a:cubicBezTo>
                  <a:pt x="477" y="2037"/>
                  <a:pt x="509" y="2068"/>
                  <a:pt x="556" y="2068"/>
                </a:cubicBezTo>
                <a:lnTo>
                  <a:pt x="1511" y="2068"/>
                </a:lnTo>
                <a:cubicBezTo>
                  <a:pt x="1558" y="2068"/>
                  <a:pt x="1591" y="2037"/>
                  <a:pt x="1591" y="1989"/>
                </a:cubicBezTo>
                <a:lnTo>
                  <a:pt x="1591" y="1193"/>
                </a:lnTo>
                <a:cubicBezTo>
                  <a:pt x="1591" y="1146"/>
                  <a:pt x="1558" y="1114"/>
                  <a:pt x="1511" y="1114"/>
                </a:cubicBezTo>
                <a:close/>
                <a:moveTo>
                  <a:pt x="1431" y="1909"/>
                </a:moveTo>
                <a:lnTo>
                  <a:pt x="636" y="1909"/>
                </a:lnTo>
                <a:lnTo>
                  <a:pt x="636" y="1273"/>
                </a:lnTo>
                <a:lnTo>
                  <a:pt x="1431" y="1273"/>
                </a:lnTo>
                <a:close/>
                <a:moveTo>
                  <a:pt x="1988" y="1114"/>
                </a:moveTo>
                <a:cubicBezTo>
                  <a:pt x="1940" y="1114"/>
                  <a:pt x="1909" y="1146"/>
                  <a:pt x="1909" y="1193"/>
                </a:cubicBezTo>
                <a:lnTo>
                  <a:pt x="1909" y="1989"/>
                </a:lnTo>
                <a:cubicBezTo>
                  <a:pt x="1909" y="2037"/>
                  <a:pt x="1940" y="2068"/>
                  <a:pt x="1988" y="2068"/>
                </a:cubicBezTo>
                <a:lnTo>
                  <a:pt x="2943" y="2068"/>
                </a:lnTo>
                <a:cubicBezTo>
                  <a:pt x="2974" y="2068"/>
                  <a:pt x="3022" y="2037"/>
                  <a:pt x="3022" y="1989"/>
                </a:cubicBezTo>
                <a:lnTo>
                  <a:pt x="3022" y="1193"/>
                </a:lnTo>
                <a:cubicBezTo>
                  <a:pt x="3022" y="1146"/>
                  <a:pt x="2974" y="1114"/>
                  <a:pt x="2943" y="1114"/>
                </a:cubicBezTo>
                <a:close/>
                <a:moveTo>
                  <a:pt x="2863" y="1909"/>
                </a:moveTo>
                <a:lnTo>
                  <a:pt x="2068" y="1909"/>
                </a:lnTo>
                <a:lnTo>
                  <a:pt x="2068" y="1273"/>
                </a:lnTo>
                <a:lnTo>
                  <a:pt x="2863" y="1273"/>
                </a:lnTo>
                <a:close/>
                <a:moveTo>
                  <a:pt x="1511" y="2228"/>
                </a:moveTo>
                <a:lnTo>
                  <a:pt x="556" y="2228"/>
                </a:lnTo>
                <a:cubicBezTo>
                  <a:pt x="509" y="2228"/>
                  <a:pt x="477" y="2259"/>
                  <a:pt x="477" y="2307"/>
                </a:cubicBezTo>
                <a:lnTo>
                  <a:pt x="477" y="3102"/>
                </a:lnTo>
                <a:cubicBezTo>
                  <a:pt x="477" y="3150"/>
                  <a:pt x="509" y="3182"/>
                  <a:pt x="556" y="3182"/>
                </a:cubicBezTo>
                <a:lnTo>
                  <a:pt x="1511" y="3182"/>
                </a:lnTo>
                <a:cubicBezTo>
                  <a:pt x="1558" y="3182"/>
                  <a:pt x="1591" y="3150"/>
                  <a:pt x="1591" y="3102"/>
                </a:cubicBezTo>
                <a:lnTo>
                  <a:pt x="1591" y="2307"/>
                </a:lnTo>
                <a:cubicBezTo>
                  <a:pt x="1591" y="2259"/>
                  <a:pt x="1558" y="2228"/>
                  <a:pt x="1511" y="2228"/>
                </a:cubicBezTo>
                <a:close/>
                <a:moveTo>
                  <a:pt x="1431" y="3023"/>
                </a:moveTo>
                <a:lnTo>
                  <a:pt x="636" y="3023"/>
                </a:lnTo>
                <a:lnTo>
                  <a:pt x="636" y="2386"/>
                </a:lnTo>
                <a:lnTo>
                  <a:pt x="1431" y="2386"/>
                </a:lnTo>
                <a:close/>
                <a:moveTo>
                  <a:pt x="2943" y="2228"/>
                </a:moveTo>
                <a:lnTo>
                  <a:pt x="1988" y="2228"/>
                </a:lnTo>
                <a:cubicBezTo>
                  <a:pt x="1940" y="2228"/>
                  <a:pt x="1909" y="2259"/>
                  <a:pt x="1909" y="2307"/>
                </a:cubicBezTo>
                <a:lnTo>
                  <a:pt x="1909" y="3102"/>
                </a:lnTo>
                <a:cubicBezTo>
                  <a:pt x="1909" y="3150"/>
                  <a:pt x="1940" y="3182"/>
                  <a:pt x="1988" y="3182"/>
                </a:cubicBezTo>
                <a:lnTo>
                  <a:pt x="2943" y="3182"/>
                </a:lnTo>
                <a:cubicBezTo>
                  <a:pt x="2974" y="3182"/>
                  <a:pt x="3022" y="3150"/>
                  <a:pt x="3022" y="3102"/>
                </a:cubicBezTo>
                <a:lnTo>
                  <a:pt x="3022" y="2307"/>
                </a:lnTo>
                <a:cubicBezTo>
                  <a:pt x="3022" y="2259"/>
                  <a:pt x="2974" y="2228"/>
                  <a:pt x="2943" y="2228"/>
                </a:cubicBezTo>
                <a:close/>
                <a:moveTo>
                  <a:pt x="2863" y="3023"/>
                </a:moveTo>
                <a:lnTo>
                  <a:pt x="2068" y="3023"/>
                </a:lnTo>
                <a:lnTo>
                  <a:pt x="2068" y="2386"/>
                </a:lnTo>
                <a:lnTo>
                  <a:pt x="2863" y="2386"/>
                </a:lnTo>
                <a:close/>
                <a:moveTo>
                  <a:pt x="1511" y="3341"/>
                </a:moveTo>
                <a:lnTo>
                  <a:pt x="556" y="3341"/>
                </a:lnTo>
                <a:cubicBezTo>
                  <a:pt x="509" y="3341"/>
                  <a:pt x="477" y="3373"/>
                  <a:pt x="477" y="3420"/>
                </a:cubicBezTo>
                <a:lnTo>
                  <a:pt x="477" y="4216"/>
                </a:lnTo>
                <a:cubicBezTo>
                  <a:pt x="477" y="4264"/>
                  <a:pt x="509" y="4296"/>
                  <a:pt x="556" y="4296"/>
                </a:cubicBezTo>
                <a:lnTo>
                  <a:pt x="1511" y="4296"/>
                </a:lnTo>
                <a:cubicBezTo>
                  <a:pt x="1558" y="4296"/>
                  <a:pt x="1591" y="4264"/>
                  <a:pt x="1591" y="4216"/>
                </a:cubicBezTo>
                <a:lnTo>
                  <a:pt x="1591" y="3420"/>
                </a:lnTo>
                <a:cubicBezTo>
                  <a:pt x="1591" y="3373"/>
                  <a:pt x="1558" y="3341"/>
                  <a:pt x="1511" y="3341"/>
                </a:cubicBezTo>
                <a:close/>
                <a:moveTo>
                  <a:pt x="1431" y="4137"/>
                </a:moveTo>
                <a:lnTo>
                  <a:pt x="636" y="4137"/>
                </a:lnTo>
                <a:lnTo>
                  <a:pt x="636" y="3500"/>
                </a:lnTo>
                <a:lnTo>
                  <a:pt x="1431" y="3500"/>
                </a:lnTo>
                <a:close/>
                <a:moveTo>
                  <a:pt x="2943" y="3341"/>
                </a:moveTo>
                <a:lnTo>
                  <a:pt x="1988" y="3341"/>
                </a:lnTo>
                <a:cubicBezTo>
                  <a:pt x="1940" y="3341"/>
                  <a:pt x="1909" y="3373"/>
                  <a:pt x="1909" y="3420"/>
                </a:cubicBezTo>
                <a:lnTo>
                  <a:pt x="1909" y="4216"/>
                </a:lnTo>
                <a:cubicBezTo>
                  <a:pt x="1909" y="4264"/>
                  <a:pt x="1940" y="4296"/>
                  <a:pt x="1988" y="4296"/>
                </a:cubicBezTo>
                <a:lnTo>
                  <a:pt x="2943" y="4296"/>
                </a:lnTo>
                <a:cubicBezTo>
                  <a:pt x="2974" y="4296"/>
                  <a:pt x="3022" y="4264"/>
                  <a:pt x="3022" y="4216"/>
                </a:cubicBezTo>
                <a:lnTo>
                  <a:pt x="3022" y="3420"/>
                </a:lnTo>
                <a:cubicBezTo>
                  <a:pt x="3022" y="3373"/>
                  <a:pt x="2974" y="3341"/>
                  <a:pt x="2943" y="3341"/>
                </a:cubicBezTo>
                <a:close/>
                <a:moveTo>
                  <a:pt x="2863" y="4137"/>
                </a:moveTo>
                <a:lnTo>
                  <a:pt x="2068" y="4137"/>
                </a:lnTo>
                <a:lnTo>
                  <a:pt x="2068" y="3500"/>
                </a:lnTo>
                <a:lnTo>
                  <a:pt x="2863" y="3500"/>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1" name="Freeform: Shape 11">
            <a:extLst>
              <a:ext uri="{FF2B5EF4-FFF2-40B4-BE49-F238E27FC236}">
                <a16:creationId xmlns:a16="http://schemas.microsoft.com/office/drawing/2014/main" id="{DD883E7F-7A46-894A-B1A8-5F39F29E5797}"/>
              </a:ext>
            </a:extLst>
          </p:cNvPr>
          <p:cNvSpPr/>
          <p:nvPr/>
        </p:nvSpPr>
        <p:spPr>
          <a:xfrm>
            <a:off x="17425576" y="6503324"/>
            <a:ext cx="1700999" cy="1717920"/>
          </a:xfrm>
          <a:custGeom>
            <a:avLst/>
            <a:gdLst/>
            <a:ahLst/>
            <a:cxnLst>
              <a:cxn ang="3cd4">
                <a:pos x="hc" y="t"/>
              </a:cxn>
              <a:cxn ang="cd2">
                <a:pos x="l" y="vc"/>
              </a:cxn>
              <a:cxn ang="cd4">
                <a:pos x="hc" y="b"/>
              </a:cxn>
              <a:cxn ang="0">
                <a:pos x="r" y="vc"/>
              </a:cxn>
            </a:cxnLst>
            <a:rect l="l" t="t" r="r" b="b"/>
            <a:pathLst>
              <a:path w="4726" h="4773">
                <a:moveTo>
                  <a:pt x="3761" y="80"/>
                </a:moveTo>
                <a:cubicBezTo>
                  <a:pt x="3761" y="32"/>
                  <a:pt x="3729" y="0"/>
                  <a:pt x="3681" y="0"/>
                </a:cubicBezTo>
                <a:lnTo>
                  <a:pt x="3044" y="0"/>
                </a:lnTo>
                <a:cubicBezTo>
                  <a:pt x="2997" y="0"/>
                  <a:pt x="2965" y="32"/>
                  <a:pt x="2965" y="80"/>
                </a:cubicBezTo>
                <a:lnTo>
                  <a:pt x="2965" y="525"/>
                </a:lnTo>
                <a:lnTo>
                  <a:pt x="2408" y="64"/>
                </a:lnTo>
                <a:cubicBezTo>
                  <a:pt x="2376" y="32"/>
                  <a:pt x="2328" y="32"/>
                  <a:pt x="2313" y="64"/>
                </a:cubicBezTo>
                <a:lnTo>
                  <a:pt x="37" y="2084"/>
                </a:lnTo>
                <a:cubicBezTo>
                  <a:pt x="6" y="2116"/>
                  <a:pt x="-10" y="2148"/>
                  <a:pt x="6" y="2180"/>
                </a:cubicBezTo>
                <a:cubicBezTo>
                  <a:pt x="22" y="2211"/>
                  <a:pt x="53" y="2228"/>
                  <a:pt x="85" y="2228"/>
                </a:cubicBezTo>
                <a:lnTo>
                  <a:pt x="737" y="2228"/>
                </a:lnTo>
                <a:lnTo>
                  <a:pt x="737" y="4693"/>
                </a:lnTo>
                <a:cubicBezTo>
                  <a:pt x="737" y="4725"/>
                  <a:pt x="785" y="4773"/>
                  <a:pt x="817" y="4773"/>
                </a:cubicBezTo>
                <a:lnTo>
                  <a:pt x="1931" y="4773"/>
                </a:lnTo>
                <a:lnTo>
                  <a:pt x="2885" y="4773"/>
                </a:lnTo>
                <a:lnTo>
                  <a:pt x="3840" y="4773"/>
                </a:lnTo>
                <a:cubicBezTo>
                  <a:pt x="3888" y="4773"/>
                  <a:pt x="3919" y="4725"/>
                  <a:pt x="3919" y="4693"/>
                </a:cubicBezTo>
                <a:lnTo>
                  <a:pt x="3919" y="2228"/>
                </a:lnTo>
                <a:lnTo>
                  <a:pt x="4652" y="2228"/>
                </a:lnTo>
                <a:cubicBezTo>
                  <a:pt x="4683" y="2228"/>
                  <a:pt x="4715" y="2211"/>
                  <a:pt x="4715" y="2180"/>
                </a:cubicBezTo>
                <a:cubicBezTo>
                  <a:pt x="4731" y="2148"/>
                  <a:pt x="4731" y="2116"/>
                  <a:pt x="4699" y="2084"/>
                </a:cubicBezTo>
                <a:lnTo>
                  <a:pt x="3761" y="1177"/>
                </a:lnTo>
                <a:close/>
                <a:moveTo>
                  <a:pt x="2010" y="4614"/>
                </a:moveTo>
                <a:lnTo>
                  <a:pt x="2010" y="3182"/>
                </a:lnTo>
                <a:lnTo>
                  <a:pt x="2806" y="3182"/>
                </a:lnTo>
                <a:lnTo>
                  <a:pt x="2806" y="4614"/>
                </a:lnTo>
                <a:close/>
                <a:moveTo>
                  <a:pt x="4461" y="2068"/>
                </a:moveTo>
                <a:lnTo>
                  <a:pt x="3840" y="2068"/>
                </a:lnTo>
                <a:cubicBezTo>
                  <a:pt x="3792" y="2068"/>
                  <a:pt x="3761" y="2100"/>
                  <a:pt x="3761" y="2148"/>
                </a:cubicBezTo>
                <a:lnTo>
                  <a:pt x="3761" y="4614"/>
                </a:lnTo>
                <a:lnTo>
                  <a:pt x="2965" y="4614"/>
                </a:lnTo>
                <a:lnTo>
                  <a:pt x="2965" y="3102"/>
                </a:lnTo>
                <a:cubicBezTo>
                  <a:pt x="2965" y="3055"/>
                  <a:pt x="2933" y="3023"/>
                  <a:pt x="2885" y="3023"/>
                </a:cubicBezTo>
                <a:lnTo>
                  <a:pt x="1931" y="3023"/>
                </a:lnTo>
                <a:cubicBezTo>
                  <a:pt x="1899" y="3023"/>
                  <a:pt x="1851" y="3055"/>
                  <a:pt x="1851" y="3102"/>
                </a:cubicBezTo>
                <a:lnTo>
                  <a:pt x="1851" y="4614"/>
                </a:lnTo>
                <a:lnTo>
                  <a:pt x="897" y="4614"/>
                </a:lnTo>
                <a:lnTo>
                  <a:pt x="897" y="2148"/>
                </a:lnTo>
                <a:cubicBezTo>
                  <a:pt x="897" y="2100"/>
                  <a:pt x="865" y="2068"/>
                  <a:pt x="817" y="2068"/>
                </a:cubicBezTo>
                <a:lnTo>
                  <a:pt x="292" y="2068"/>
                </a:lnTo>
                <a:lnTo>
                  <a:pt x="2361" y="223"/>
                </a:lnTo>
                <a:lnTo>
                  <a:pt x="2997" y="748"/>
                </a:lnTo>
                <a:cubicBezTo>
                  <a:pt x="3013" y="764"/>
                  <a:pt x="3061" y="780"/>
                  <a:pt x="3076" y="764"/>
                </a:cubicBezTo>
                <a:cubicBezTo>
                  <a:pt x="3108" y="748"/>
                  <a:pt x="3124" y="716"/>
                  <a:pt x="3124" y="684"/>
                </a:cubicBezTo>
                <a:lnTo>
                  <a:pt x="3124" y="159"/>
                </a:lnTo>
                <a:lnTo>
                  <a:pt x="3601" y="159"/>
                </a:lnTo>
                <a:lnTo>
                  <a:pt x="3601" y="1209"/>
                </a:lnTo>
                <a:cubicBezTo>
                  <a:pt x="3601" y="1225"/>
                  <a:pt x="3617" y="1241"/>
                  <a:pt x="3633" y="1257"/>
                </a:cubicBezTo>
                <a:close/>
                <a:moveTo>
                  <a:pt x="2361" y="1480"/>
                </a:moveTo>
                <a:cubicBezTo>
                  <a:pt x="2090" y="1480"/>
                  <a:pt x="1867" y="1702"/>
                  <a:pt x="1867" y="1973"/>
                </a:cubicBezTo>
                <a:cubicBezTo>
                  <a:pt x="1867" y="2259"/>
                  <a:pt x="2090" y="2482"/>
                  <a:pt x="2361" y="2482"/>
                </a:cubicBezTo>
                <a:cubicBezTo>
                  <a:pt x="2647" y="2482"/>
                  <a:pt x="2870" y="2259"/>
                  <a:pt x="2870" y="1973"/>
                </a:cubicBezTo>
                <a:cubicBezTo>
                  <a:pt x="2870" y="1702"/>
                  <a:pt x="2647" y="1480"/>
                  <a:pt x="2361" y="1480"/>
                </a:cubicBezTo>
                <a:close/>
                <a:moveTo>
                  <a:pt x="2361" y="2323"/>
                </a:moveTo>
                <a:cubicBezTo>
                  <a:pt x="2185" y="2323"/>
                  <a:pt x="2026" y="2164"/>
                  <a:pt x="2026" y="1973"/>
                </a:cubicBezTo>
                <a:cubicBezTo>
                  <a:pt x="2026" y="1782"/>
                  <a:pt x="2185" y="1638"/>
                  <a:pt x="2361" y="1638"/>
                </a:cubicBezTo>
                <a:cubicBezTo>
                  <a:pt x="2551" y="1638"/>
                  <a:pt x="2710" y="1782"/>
                  <a:pt x="2710" y="1973"/>
                </a:cubicBezTo>
                <a:cubicBezTo>
                  <a:pt x="2710" y="2164"/>
                  <a:pt x="2551" y="2323"/>
                  <a:pt x="2361" y="232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2" name="Freeform: Shape 12">
            <a:extLst>
              <a:ext uri="{FF2B5EF4-FFF2-40B4-BE49-F238E27FC236}">
                <a16:creationId xmlns:a16="http://schemas.microsoft.com/office/drawing/2014/main" id="{4846354C-6C4E-E540-BC62-250E4AD3E347}"/>
              </a:ext>
            </a:extLst>
          </p:cNvPr>
          <p:cNvSpPr/>
          <p:nvPr/>
        </p:nvSpPr>
        <p:spPr>
          <a:xfrm>
            <a:off x="14031370" y="6427288"/>
            <a:ext cx="1557719" cy="1717920"/>
          </a:xfrm>
          <a:custGeom>
            <a:avLst/>
            <a:gdLst/>
            <a:ahLst/>
            <a:cxnLst>
              <a:cxn ang="3cd4">
                <a:pos x="hc" y="t"/>
              </a:cxn>
              <a:cxn ang="cd2">
                <a:pos x="l" y="vc"/>
              </a:cxn>
              <a:cxn ang="cd4">
                <a:pos x="hc" y="b"/>
              </a:cxn>
              <a:cxn ang="0">
                <a:pos x="r" y="vc"/>
              </a:cxn>
            </a:cxnLst>
            <a:rect l="l" t="t" r="r" b="b"/>
            <a:pathLst>
              <a:path w="4328" h="4773">
                <a:moveTo>
                  <a:pt x="3475" y="0"/>
                </a:moveTo>
                <a:lnTo>
                  <a:pt x="2839" y="0"/>
                </a:lnTo>
                <a:cubicBezTo>
                  <a:pt x="2807" y="0"/>
                  <a:pt x="2759" y="32"/>
                  <a:pt x="2759" y="80"/>
                </a:cubicBezTo>
                <a:lnTo>
                  <a:pt x="2759" y="620"/>
                </a:lnTo>
                <a:lnTo>
                  <a:pt x="2218" y="111"/>
                </a:lnTo>
                <a:cubicBezTo>
                  <a:pt x="2186" y="80"/>
                  <a:pt x="2139" y="80"/>
                  <a:pt x="2107" y="111"/>
                </a:cubicBezTo>
                <a:lnTo>
                  <a:pt x="23" y="2084"/>
                </a:lnTo>
                <a:cubicBezTo>
                  <a:pt x="7" y="2116"/>
                  <a:pt x="-9" y="2148"/>
                  <a:pt x="7" y="2180"/>
                </a:cubicBezTo>
                <a:cubicBezTo>
                  <a:pt x="23" y="2211"/>
                  <a:pt x="55" y="2228"/>
                  <a:pt x="86" y="2228"/>
                </a:cubicBezTo>
                <a:lnTo>
                  <a:pt x="612" y="2228"/>
                </a:lnTo>
                <a:lnTo>
                  <a:pt x="994" y="4709"/>
                </a:lnTo>
                <a:cubicBezTo>
                  <a:pt x="994" y="4741"/>
                  <a:pt x="1041" y="4773"/>
                  <a:pt x="1073" y="4773"/>
                </a:cubicBezTo>
                <a:lnTo>
                  <a:pt x="3252" y="4773"/>
                </a:lnTo>
                <a:cubicBezTo>
                  <a:pt x="3300" y="4773"/>
                  <a:pt x="3332" y="4741"/>
                  <a:pt x="3332" y="4709"/>
                </a:cubicBezTo>
                <a:lnTo>
                  <a:pt x="3730" y="2228"/>
                </a:lnTo>
                <a:lnTo>
                  <a:pt x="4255" y="2228"/>
                </a:lnTo>
                <a:cubicBezTo>
                  <a:pt x="4287" y="2228"/>
                  <a:pt x="4319" y="2211"/>
                  <a:pt x="4319" y="2180"/>
                </a:cubicBezTo>
                <a:cubicBezTo>
                  <a:pt x="4334" y="2148"/>
                  <a:pt x="4334" y="2116"/>
                  <a:pt x="4303" y="2084"/>
                </a:cubicBezTo>
                <a:lnTo>
                  <a:pt x="3555" y="1384"/>
                </a:lnTo>
                <a:lnTo>
                  <a:pt x="3555" y="80"/>
                </a:lnTo>
                <a:cubicBezTo>
                  <a:pt x="3555" y="32"/>
                  <a:pt x="3523" y="0"/>
                  <a:pt x="3475" y="0"/>
                </a:cubicBezTo>
                <a:close/>
                <a:moveTo>
                  <a:pt x="2919" y="159"/>
                </a:moveTo>
                <a:lnTo>
                  <a:pt x="3396" y="159"/>
                </a:lnTo>
                <a:lnTo>
                  <a:pt x="3396" y="1225"/>
                </a:lnTo>
                <a:lnTo>
                  <a:pt x="2919" y="780"/>
                </a:lnTo>
                <a:close/>
                <a:moveTo>
                  <a:pt x="3189" y="4614"/>
                </a:moveTo>
                <a:lnTo>
                  <a:pt x="1137" y="4614"/>
                </a:lnTo>
                <a:lnTo>
                  <a:pt x="771" y="2228"/>
                </a:lnTo>
                <a:lnTo>
                  <a:pt x="3555" y="2228"/>
                </a:lnTo>
                <a:close/>
                <a:moveTo>
                  <a:pt x="3650" y="2068"/>
                </a:moveTo>
                <a:lnTo>
                  <a:pt x="675" y="2068"/>
                </a:lnTo>
                <a:lnTo>
                  <a:pt x="277" y="2068"/>
                </a:lnTo>
                <a:lnTo>
                  <a:pt x="2171" y="270"/>
                </a:lnTo>
                <a:lnTo>
                  <a:pt x="3412" y="1448"/>
                </a:lnTo>
                <a:cubicBezTo>
                  <a:pt x="3412" y="1480"/>
                  <a:pt x="3443" y="1511"/>
                  <a:pt x="3459" y="1511"/>
                </a:cubicBezTo>
                <a:lnTo>
                  <a:pt x="4048" y="2068"/>
                </a:lnTo>
                <a:close/>
                <a:moveTo>
                  <a:pt x="2170" y="3866"/>
                </a:moveTo>
                <a:cubicBezTo>
                  <a:pt x="2551" y="3866"/>
                  <a:pt x="2870" y="3548"/>
                  <a:pt x="2870" y="3166"/>
                </a:cubicBezTo>
                <a:cubicBezTo>
                  <a:pt x="2870" y="2768"/>
                  <a:pt x="2551" y="2450"/>
                  <a:pt x="2170" y="2450"/>
                </a:cubicBezTo>
                <a:cubicBezTo>
                  <a:pt x="1772" y="2450"/>
                  <a:pt x="1454" y="2768"/>
                  <a:pt x="1454" y="3166"/>
                </a:cubicBezTo>
                <a:cubicBezTo>
                  <a:pt x="1454" y="3548"/>
                  <a:pt x="1772" y="3866"/>
                  <a:pt x="2170" y="3866"/>
                </a:cubicBezTo>
                <a:close/>
                <a:moveTo>
                  <a:pt x="2170" y="2609"/>
                </a:moveTo>
                <a:cubicBezTo>
                  <a:pt x="2472" y="2609"/>
                  <a:pt x="2711" y="2848"/>
                  <a:pt x="2711" y="3166"/>
                </a:cubicBezTo>
                <a:cubicBezTo>
                  <a:pt x="2711" y="3468"/>
                  <a:pt x="2472" y="3707"/>
                  <a:pt x="2170" y="3707"/>
                </a:cubicBezTo>
                <a:cubicBezTo>
                  <a:pt x="1851" y="3707"/>
                  <a:pt x="1613" y="3468"/>
                  <a:pt x="1613" y="3166"/>
                </a:cubicBezTo>
                <a:cubicBezTo>
                  <a:pt x="1613" y="2848"/>
                  <a:pt x="1851" y="2609"/>
                  <a:pt x="2170" y="26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3" name="Freeform: Shape 13">
            <a:extLst>
              <a:ext uri="{FF2B5EF4-FFF2-40B4-BE49-F238E27FC236}">
                <a16:creationId xmlns:a16="http://schemas.microsoft.com/office/drawing/2014/main" id="{3C93A94E-588F-C743-A56F-16D4A01D000C}"/>
              </a:ext>
            </a:extLst>
          </p:cNvPr>
          <p:cNvSpPr/>
          <p:nvPr/>
        </p:nvSpPr>
        <p:spPr>
          <a:xfrm>
            <a:off x="10115850" y="6395033"/>
            <a:ext cx="1699919" cy="1717920"/>
          </a:xfrm>
          <a:custGeom>
            <a:avLst/>
            <a:gdLst/>
            <a:ahLst/>
            <a:cxnLst>
              <a:cxn ang="3cd4">
                <a:pos x="hc" y="t"/>
              </a:cxn>
              <a:cxn ang="cd2">
                <a:pos x="l" y="vc"/>
              </a:cxn>
              <a:cxn ang="cd4">
                <a:pos x="hc" y="b"/>
              </a:cxn>
              <a:cxn ang="0">
                <a:pos x="r" y="vc"/>
              </a:cxn>
            </a:cxnLst>
            <a:rect l="l" t="t" r="r" b="b"/>
            <a:pathLst>
              <a:path w="4723" h="4773">
                <a:moveTo>
                  <a:pt x="4717" y="2180"/>
                </a:moveTo>
                <a:cubicBezTo>
                  <a:pt x="4733" y="2148"/>
                  <a:pt x="4717" y="2116"/>
                  <a:pt x="4701" y="2084"/>
                </a:cubicBezTo>
                <a:lnTo>
                  <a:pt x="3762" y="1273"/>
                </a:lnTo>
                <a:lnTo>
                  <a:pt x="3762" y="80"/>
                </a:lnTo>
                <a:cubicBezTo>
                  <a:pt x="3762" y="32"/>
                  <a:pt x="3715" y="0"/>
                  <a:pt x="3683" y="0"/>
                </a:cubicBezTo>
                <a:lnTo>
                  <a:pt x="3046" y="0"/>
                </a:lnTo>
                <a:cubicBezTo>
                  <a:pt x="2998" y="0"/>
                  <a:pt x="2967" y="32"/>
                  <a:pt x="2967" y="80"/>
                </a:cubicBezTo>
                <a:lnTo>
                  <a:pt x="2967" y="573"/>
                </a:lnTo>
                <a:lnTo>
                  <a:pt x="2410" y="95"/>
                </a:lnTo>
                <a:cubicBezTo>
                  <a:pt x="2378" y="80"/>
                  <a:pt x="2346" y="80"/>
                  <a:pt x="2315" y="95"/>
                </a:cubicBezTo>
                <a:lnTo>
                  <a:pt x="24" y="2084"/>
                </a:lnTo>
                <a:cubicBezTo>
                  <a:pt x="7" y="2116"/>
                  <a:pt x="-9" y="2148"/>
                  <a:pt x="7" y="2180"/>
                </a:cubicBezTo>
                <a:cubicBezTo>
                  <a:pt x="24" y="2211"/>
                  <a:pt x="39" y="2228"/>
                  <a:pt x="71" y="2228"/>
                </a:cubicBezTo>
                <a:lnTo>
                  <a:pt x="739" y="2228"/>
                </a:lnTo>
                <a:lnTo>
                  <a:pt x="739" y="4693"/>
                </a:lnTo>
                <a:cubicBezTo>
                  <a:pt x="739" y="4725"/>
                  <a:pt x="771" y="4773"/>
                  <a:pt x="819" y="4773"/>
                </a:cubicBezTo>
                <a:lnTo>
                  <a:pt x="2569" y="4773"/>
                </a:lnTo>
                <a:lnTo>
                  <a:pt x="3364" y="4773"/>
                </a:lnTo>
                <a:lnTo>
                  <a:pt x="3842" y="4773"/>
                </a:lnTo>
                <a:cubicBezTo>
                  <a:pt x="3874" y="4773"/>
                  <a:pt x="3921" y="4725"/>
                  <a:pt x="3921" y="4693"/>
                </a:cubicBezTo>
                <a:lnTo>
                  <a:pt x="3921" y="2228"/>
                </a:lnTo>
                <a:lnTo>
                  <a:pt x="4637" y="2228"/>
                </a:lnTo>
                <a:cubicBezTo>
                  <a:pt x="4685" y="2228"/>
                  <a:pt x="4701" y="2211"/>
                  <a:pt x="4717" y="2180"/>
                </a:cubicBezTo>
                <a:close/>
                <a:moveTo>
                  <a:pt x="3126" y="159"/>
                </a:moveTo>
                <a:lnTo>
                  <a:pt x="3603" y="159"/>
                </a:lnTo>
                <a:lnTo>
                  <a:pt x="3603" y="1129"/>
                </a:lnTo>
                <a:lnTo>
                  <a:pt x="3126" y="716"/>
                </a:lnTo>
                <a:close/>
                <a:moveTo>
                  <a:pt x="2649" y="4614"/>
                </a:moveTo>
                <a:lnTo>
                  <a:pt x="2649" y="3182"/>
                </a:lnTo>
                <a:lnTo>
                  <a:pt x="3285" y="3182"/>
                </a:lnTo>
                <a:lnTo>
                  <a:pt x="3285" y="4614"/>
                </a:lnTo>
                <a:close/>
                <a:moveTo>
                  <a:pt x="3762" y="4614"/>
                </a:moveTo>
                <a:lnTo>
                  <a:pt x="3444" y="4614"/>
                </a:lnTo>
                <a:lnTo>
                  <a:pt x="3444" y="3102"/>
                </a:lnTo>
                <a:cubicBezTo>
                  <a:pt x="3444" y="3055"/>
                  <a:pt x="3396" y="3023"/>
                  <a:pt x="3364" y="3023"/>
                </a:cubicBezTo>
                <a:lnTo>
                  <a:pt x="2569" y="3023"/>
                </a:lnTo>
                <a:cubicBezTo>
                  <a:pt x="2521" y="3023"/>
                  <a:pt x="2489" y="3055"/>
                  <a:pt x="2489" y="3102"/>
                </a:cubicBezTo>
                <a:lnTo>
                  <a:pt x="2489" y="4614"/>
                </a:lnTo>
                <a:lnTo>
                  <a:pt x="898" y="4614"/>
                </a:lnTo>
                <a:lnTo>
                  <a:pt x="898" y="2228"/>
                </a:lnTo>
                <a:lnTo>
                  <a:pt x="3762" y="2228"/>
                </a:lnTo>
                <a:close/>
                <a:moveTo>
                  <a:pt x="3842" y="2068"/>
                </a:moveTo>
                <a:lnTo>
                  <a:pt x="819" y="2068"/>
                </a:lnTo>
                <a:lnTo>
                  <a:pt x="294" y="2068"/>
                </a:lnTo>
                <a:lnTo>
                  <a:pt x="2362" y="270"/>
                </a:lnTo>
                <a:lnTo>
                  <a:pt x="2967" y="795"/>
                </a:lnTo>
                <a:cubicBezTo>
                  <a:pt x="2967" y="843"/>
                  <a:pt x="2998" y="875"/>
                  <a:pt x="3046" y="875"/>
                </a:cubicBezTo>
                <a:lnTo>
                  <a:pt x="3062" y="875"/>
                </a:lnTo>
                <a:lnTo>
                  <a:pt x="4430" y="2068"/>
                </a:lnTo>
                <a:close/>
                <a:moveTo>
                  <a:pt x="1295" y="3819"/>
                </a:moveTo>
                <a:lnTo>
                  <a:pt x="1932" y="3819"/>
                </a:lnTo>
                <a:cubicBezTo>
                  <a:pt x="1979" y="3819"/>
                  <a:pt x="2011" y="3786"/>
                  <a:pt x="2011" y="3739"/>
                </a:cubicBezTo>
                <a:lnTo>
                  <a:pt x="2011" y="2625"/>
                </a:lnTo>
                <a:cubicBezTo>
                  <a:pt x="2011" y="2577"/>
                  <a:pt x="1979" y="2546"/>
                  <a:pt x="1932" y="2546"/>
                </a:cubicBezTo>
                <a:lnTo>
                  <a:pt x="1295" y="2546"/>
                </a:lnTo>
                <a:cubicBezTo>
                  <a:pt x="1247" y="2546"/>
                  <a:pt x="1215" y="2577"/>
                  <a:pt x="1215" y="2625"/>
                </a:cubicBezTo>
                <a:lnTo>
                  <a:pt x="1215" y="3739"/>
                </a:lnTo>
                <a:cubicBezTo>
                  <a:pt x="1215" y="3786"/>
                  <a:pt x="1247" y="3819"/>
                  <a:pt x="1295" y="3819"/>
                </a:cubicBezTo>
                <a:close/>
                <a:moveTo>
                  <a:pt x="1375" y="2705"/>
                </a:moveTo>
                <a:lnTo>
                  <a:pt x="1852" y="2705"/>
                </a:lnTo>
                <a:lnTo>
                  <a:pt x="1852" y="3659"/>
                </a:lnTo>
                <a:lnTo>
                  <a:pt x="1375" y="365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4" name="Freeform: Shape 14">
            <a:extLst>
              <a:ext uri="{FF2B5EF4-FFF2-40B4-BE49-F238E27FC236}">
                <a16:creationId xmlns:a16="http://schemas.microsoft.com/office/drawing/2014/main" id="{0C65536C-FE10-3F4C-AEB2-75D09D614D7A}"/>
              </a:ext>
            </a:extLst>
          </p:cNvPr>
          <p:cNvSpPr/>
          <p:nvPr/>
        </p:nvSpPr>
        <p:spPr>
          <a:xfrm>
            <a:off x="5824761" y="6427288"/>
            <a:ext cx="1702800" cy="1717920"/>
          </a:xfrm>
          <a:custGeom>
            <a:avLst/>
            <a:gdLst/>
            <a:ahLst/>
            <a:cxnLst>
              <a:cxn ang="3cd4">
                <a:pos x="hc" y="t"/>
              </a:cxn>
              <a:cxn ang="cd2">
                <a:pos x="l" y="vc"/>
              </a:cxn>
              <a:cxn ang="cd4">
                <a:pos x="hc" y="b"/>
              </a:cxn>
              <a:cxn ang="0">
                <a:pos x="r" y="vc"/>
              </a:cxn>
            </a:cxnLst>
            <a:rect l="l" t="t" r="r" b="b"/>
            <a:pathLst>
              <a:path w="4731" h="4773">
                <a:moveTo>
                  <a:pt x="3920" y="1337"/>
                </a:moveTo>
                <a:cubicBezTo>
                  <a:pt x="3920" y="80"/>
                  <a:pt x="3920" y="80"/>
                  <a:pt x="3920" y="80"/>
                </a:cubicBezTo>
                <a:cubicBezTo>
                  <a:pt x="3920" y="32"/>
                  <a:pt x="3888" y="0"/>
                  <a:pt x="3840" y="0"/>
                </a:cubicBezTo>
                <a:cubicBezTo>
                  <a:pt x="3045" y="0"/>
                  <a:pt x="3045" y="0"/>
                  <a:pt x="3045" y="0"/>
                </a:cubicBezTo>
                <a:cubicBezTo>
                  <a:pt x="2997" y="0"/>
                  <a:pt x="2965" y="32"/>
                  <a:pt x="2965" y="80"/>
                </a:cubicBezTo>
                <a:cubicBezTo>
                  <a:pt x="2965" y="525"/>
                  <a:pt x="2965" y="525"/>
                  <a:pt x="2965" y="525"/>
                </a:cubicBezTo>
                <a:cubicBezTo>
                  <a:pt x="2408" y="64"/>
                  <a:pt x="2408" y="64"/>
                  <a:pt x="2408" y="64"/>
                </a:cubicBezTo>
                <a:cubicBezTo>
                  <a:pt x="2376" y="32"/>
                  <a:pt x="2329" y="32"/>
                  <a:pt x="2312" y="64"/>
                </a:cubicBezTo>
                <a:cubicBezTo>
                  <a:pt x="38" y="2084"/>
                  <a:pt x="38" y="2084"/>
                  <a:pt x="38" y="2084"/>
                </a:cubicBezTo>
                <a:cubicBezTo>
                  <a:pt x="6" y="2116"/>
                  <a:pt x="-10" y="2148"/>
                  <a:pt x="6" y="2180"/>
                </a:cubicBezTo>
                <a:cubicBezTo>
                  <a:pt x="21" y="2211"/>
                  <a:pt x="53" y="2228"/>
                  <a:pt x="85" y="2228"/>
                </a:cubicBezTo>
                <a:cubicBezTo>
                  <a:pt x="420" y="2228"/>
                  <a:pt x="420" y="2228"/>
                  <a:pt x="420" y="2228"/>
                </a:cubicBezTo>
                <a:cubicBezTo>
                  <a:pt x="420" y="4693"/>
                  <a:pt x="420" y="4693"/>
                  <a:pt x="420" y="4693"/>
                </a:cubicBezTo>
                <a:cubicBezTo>
                  <a:pt x="420" y="4725"/>
                  <a:pt x="467" y="4773"/>
                  <a:pt x="499" y="4773"/>
                </a:cubicBezTo>
                <a:cubicBezTo>
                  <a:pt x="1931" y="4773"/>
                  <a:pt x="1931" y="4773"/>
                  <a:pt x="1931" y="4773"/>
                </a:cubicBezTo>
                <a:cubicBezTo>
                  <a:pt x="1978" y="4773"/>
                  <a:pt x="2011" y="4725"/>
                  <a:pt x="2011" y="4693"/>
                </a:cubicBezTo>
                <a:cubicBezTo>
                  <a:pt x="2011" y="3341"/>
                  <a:pt x="2011" y="3341"/>
                  <a:pt x="2011" y="3341"/>
                </a:cubicBezTo>
                <a:cubicBezTo>
                  <a:pt x="2806" y="3341"/>
                  <a:pt x="2806" y="3341"/>
                  <a:pt x="2806" y="3341"/>
                </a:cubicBezTo>
                <a:cubicBezTo>
                  <a:pt x="2806" y="4693"/>
                  <a:pt x="2806" y="4693"/>
                  <a:pt x="2806" y="4693"/>
                </a:cubicBezTo>
                <a:cubicBezTo>
                  <a:pt x="2806" y="4725"/>
                  <a:pt x="2838" y="4773"/>
                  <a:pt x="2885" y="4773"/>
                </a:cubicBezTo>
                <a:cubicBezTo>
                  <a:pt x="4317" y="4773"/>
                  <a:pt x="4317" y="4773"/>
                  <a:pt x="4317" y="4773"/>
                </a:cubicBezTo>
                <a:cubicBezTo>
                  <a:pt x="4365" y="4773"/>
                  <a:pt x="4397" y="4725"/>
                  <a:pt x="4397" y="4693"/>
                </a:cubicBezTo>
                <a:cubicBezTo>
                  <a:pt x="4397" y="2228"/>
                  <a:pt x="4397" y="2228"/>
                  <a:pt x="4397" y="2228"/>
                </a:cubicBezTo>
                <a:cubicBezTo>
                  <a:pt x="4651" y="2228"/>
                  <a:pt x="4651" y="2228"/>
                  <a:pt x="4651" y="2228"/>
                </a:cubicBezTo>
                <a:cubicBezTo>
                  <a:pt x="4683" y="2228"/>
                  <a:pt x="4715" y="2211"/>
                  <a:pt x="4731" y="2180"/>
                </a:cubicBezTo>
                <a:cubicBezTo>
                  <a:pt x="4731" y="2148"/>
                  <a:pt x="4731" y="2116"/>
                  <a:pt x="4699" y="2084"/>
                </a:cubicBezTo>
                <a:close/>
                <a:moveTo>
                  <a:pt x="4317" y="2068"/>
                </a:moveTo>
                <a:cubicBezTo>
                  <a:pt x="4270" y="2068"/>
                  <a:pt x="4238" y="2100"/>
                  <a:pt x="4238" y="2148"/>
                </a:cubicBezTo>
                <a:cubicBezTo>
                  <a:pt x="4238" y="4614"/>
                  <a:pt x="4238" y="4614"/>
                  <a:pt x="4238" y="4614"/>
                </a:cubicBezTo>
                <a:cubicBezTo>
                  <a:pt x="2965" y="4614"/>
                  <a:pt x="2965" y="4614"/>
                  <a:pt x="2965" y="4614"/>
                </a:cubicBezTo>
                <a:cubicBezTo>
                  <a:pt x="2965" y="3262"/>
                  <a:pt x="2965" y="3262"/>
                  <a:pt x="2965" y="3262"/>
                </a:cubicBezTo>
                <a:cubicBezTo>
                  <a:pt x="2965" y="3214"/>
                  <a:pt x="2933" y="3182"/>
                  <a:pt x="2885" y="3182"/>
                </a:cubicBezTo>
                <a:cubicBezTo>
                  <a:pt x="1931" y="3182"/>
                  <a:pt x="1931" y="3182"/>
                  <a:pt x="1931" y="3182"/>
                </a:cubicBezTo>
                <a:cubicBezTo>
                  <a:pt x="1899" y="3182"/>
                  <a:pt x="1851" y="3214"/>
                  <a:pt x="1851" y="3262"/>
                </a:cubicBezTo>
                <a:cubicBezTo>
                  <a:pt x="1851" y="4614"/>
                  <a:pt x="1851" y="4614"/>
                  <a:pt x="1851" y="4614"/>
                </a:cubicBezTo>
                <a:cubicBezTo>
                  <a:pt x="578" y="4614"/>
                  <a:pt x="578" y="4614"/>
                  <a:pt x="578" y="4614"/>
                </a:cubicBezTo>
                <a:cubicBezTo>
                  <a:pt x="578" y="2148"/>
                  <a:pt x="578" y="2148"/>
                  <a:pt x="578" y="2148"/>
                </a:cubicBezTo>
                <a:cubicBezTo>
                  <a:pt x="578" y="2100"/>
                  <a:pt x="547" y="2068"/>
                  <a:pt x="499" y="2068"/>
                </a:cubicBezTo>
                <a:cubicBezTo>
                  <a:pt x="292" y="2068"/>
                  <a:pt x="292" y="2068"/>
                  <a:pt x="292" y="2068"/>
                </a:cubicBezTo>
                <a:cubicBezTo>
                  <a:pt x="2360" y="223"/>
                  <a:pt x="2360" y="223"/>
                  <a:pt x="2360" y="223"/>
                </a:cubicBezTo>
                <a:cubicBezTo>
                  <a:pt x="2997" y="748"/>
                  <a:pt x="2997" y="748"/>
                  <a:pt x="2997" y="748"/>
                </a:cubicBezTo>
                <a:cubicBezTo>
                  <a:pt x="3029" y="764"/>
                  <a:pt x="3060" y="780"/>
                  <a:pt x="3076" y="764"/>
                </a:cubicBezTo>
                <a:cubicBezTo>
                  <a:pt x="3108" y="748"/>
                  <a:pt x="3124" y="716"/>
                  <a:pt x="3124" y="684"/>
                </a:cubicBezTo>
                <a:cubicBezTo>
                  <a:pt x="3124" y="159"/>
                  <a:pt x="3124" y="159"/>
                  <a:pt x="3124" y="159"/>
                </a:cubicBezTo>
                <a:cubicBezTo>
                  <a:pt x="3760" y="159"/>
                  <a:pt x="3760" y="159"/>
                  <a:pt x="3760" y="159"/>
                </a:cubicBezTo>
                <a:cubicBezTo>
                  <a:pt x="3760" y="1368"/>
                  <a:pt x="3760" y="1368"/>
                  <a:pt x="3760" y="1368"/>
                </a:cubicBezTo>
                <a:cubicBezTo>
                  <a:pt x="3760" y="1400"/>
                  <a:pt x="3776" y="1416"/>
                  <a:pt x="3792" y="1432"/>
                </a:cubicBezTo>
                <a:cubicBezTo>
                  <a:pt x="4445" y="2068"/>
                  <a:pt x="4445" y="2068"/>
                  <a:pt x="4445" y="206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5" name="Freeform: Shape 15">
            <a:extLst>
              <a:ext uri="{FF2B5EF4-FFF2-40B4-BE49-F238E27FC236}">
                <a16:creationId xmlns:a16="http://schemas.microsoft.com/office/drawing/2014/main" id="{EC3AB94C-6887-6442-8733-7C9E5B918DCD}"/>
              </a:ext>
            </a:extLst>
          </p:cNvPr>
          <p:cNvSpPr/>
          <p:nvPr/>
        </p:nvSpPr>
        <p:spPr>
          <a:xfrm>
            <a:off x="17499580" y="9453122"/>
            <a:ext cx="1717920" cy="1673999"/>
          </a:xfrm>
          <a:custGeom>
            <a:avLst/>
            <a:gdLst/>
            <a:ahLst/>
            <a:cxnLst>
              <a:cxn ang="3cd4">
                <a:pos x="hc" y="t"/>
              </a:cxn>
              <a:cxn ang="cd2">
                <a:pos x="l" y="vc"/>
              </a:cxn>
              <a:cxn ang="cd4">
                <a:pos x="hc" y="b"/>
              </a:cxn>
              <a:cxn ang="0">
                <a:pos x="r" y="vc"/>
              </a:cxn>
            </a:cxnLst>
            <a:rect l="l" t="t" r="r" b="b"/>
            <a:pathLst>
              <a:path w="4773" h="4651">
                <a:moveTo>
                  <a:pt x="4407" y="1167"/>
                </a:moveTo>
                <a:lnTo>
                  <a:pt x="3611" y="1167"/>
                </a:lnTo>
                <a:cubicBezTo>
                  <a:pt x="3563" y="1167"/>
                  <a:pt x="3532" y="1199"/>
                  <a:pt x="3532" y="1231"/>
                </a:cubicBezTo>
                <a:lnTo>
                  <a:pt x="3293" y="3792"/>
                </a:lnTo>
                <a:lnTo>
                  <a:pt x="1702" y="2885"/>
                </a:lnTo>
                <a:cubicBezTo>
                  <a:pt x="1686" y="2869"/>
                  <a:pt x="1654" y="2869"/>
                  <a:pt x="1623" y="2885"/>
                </a:cubicBezTo>
                <a:cubicBezTo>
                  <a:pt x="1607" y="2901"/>
                  <a:pt x="1591" y="2917"/>
                  <a:pt x="1591" y="2949"/>
                </a:cubicBezTo>
                <a:lnTo>
                  <a:pt x="1591" y="3712"/>
                </a:lnTo>
                <a:lnTo>
                  <a:pt x="111" y="2885"/>
                </a:lnTo>
                <a:cubicBezTo>
                  <a:pt x="95" y="2869"/>
                  <a:pt x="63" y="2869"/>
                  <a:pt x="32" y="2885"/>
                </a:cubicBezTo>
                <a:cubicBezTo>
                  <a:pt x="16" y="2901"/>
                  <a:pt x="0" y="2917"/>
                  <a:pt x="0" y="2949"/>
                </a:cubicBezTo>
                <a:lnTo>
                  <a:pt x="0" y="4572"/>
                </a:lnTo>
                <a:cubicBezTo>
                  <a:pt x="0" y="4620"/>
                  <a:pt x="32" y="4651"/>
                  <a:pt x="80" y="4651"/>
                </a:cubicBezTo>
                <a:lnTo>
                  <a:pt x="1671" y="4651"/>
                </a:lnTo>
                <a:lnTo>
                  <a:pt x="3309" y="4651"/>
                </a:lnTo>
                <a:lnTo>
                  <a:pt x="4693" y="4651"/>
                </a:lnTo>
                <a:cubicBezTo>
                  <a:pt x="4725" y="4651"/>
                  <a:pt x="4741" y="4651"/>
                  <a:pt x="4757" y="4635"/>
                </a:cubicBezTo>
                <a:cubicBezTo>
                  <a:pt x="4773" y="4620"/>
                  <a:pt x="4773" y="4588"/>
                  <a:pt x="4773" y="4572"/>
                </a:cubicBezTo>
                <a:lnTo>
                  <a:pt x="4471" y="1231"/>
                </a:lnTo>
                <a:cubicBezTo>
                  <a:pt x="4471" y="1199"/>
                  <a:pt x="4439" y="1167"/>
                  <a:pt x="4407" y="1167"/>
                </a:cubicBezTo>
                <a:close/>
                <a:moveTo>
                  <a:pt x="159" y="3092"/>
                </a:moveTo>
                <a:lnTo>
                  <a:pt x="1591" y="3903"/>
                </a:lnTo>
                <a:lnTo>
                  <a:pt x="1591" y="4492"/>
                </a:lnTo>
                <a:lnTo>
                  <a:pt x="159" y="4492"/>
                </a:lnTo>
                <a:close/>
                <a:moveTo>
                  <a:pt x="1750" y="3856"/>
                </a:moveTo>
                <a:lnTo>
                  <a:pt x="1750" y="3092"/>
                </a:lnTo>
                <a:lnTo>
                  <a:pt x="3277" y="3967"/>
                </a:lnTo>
                <a:lnTo>
                  <a:pt x="3229" y="4492"/>
                </a:lnTo>
                <a:lnTo>
                  <a:pt x="1750" y="4492"/>
                </a:lnTo>
                <a:close/>
                <a:moveTo>
                  <a:pt x="3389" y="4492"/>
                </a:moveTo>
                <a:lnTo>
                  <a:pt x="3452" y="3920"/>
                </a:lnTo>
                <a:lnTo>
                  <a:pt x="3675" y="1326"/>
                </a:lnTo>
                <a:lnTo>
                  <a:pt x="4327" y="1326"/>
                </a:lnTo>
                <a:lnTo>
                  <a:pt x="4614" y="4492"/>
                </a:lnTo>
                <a:close/>
                <a:moveTo>
                  <a:pt x="3915" y="6"/>
                </a:moveTo>
                <a:cubicBezTo>
                  <a:pt x="3883" y="-10"/>
                  <a:pt x="3835" y="6"/>
                  <a:pt x="3803" y="38"/>
                </a:cubicBezTo>
                <a:cubicBezTo>
                  <a:pt x="3787" y="85"/>
                  <a:pt x="3803" y="133"/>
                  <a:pt x="3835" y="149"/>
                </a:cubicBezTo>
                <a:cubicBezTo>
                  <a:pt x="3883" y="165"/>
                  <a:pt x="3851" y="260"/>
                  <a:pt x="3803" y="372"/>
                </a:cubicBezTo>
                <a:cubicBezTo>
                  <a:pt x="3755" y="515"/>
                  <a:pt x="3676" y="721"/>
                  <a:pt x="3835" y="801"/>
                </a:cubicBezTo>
                <a:cubicBezTo>
                  <a:pt x="3851" y="817"/>
                  <a:pt x="3867" y="817"/>
                  <a:pt x="3883" y="817"/>
                </a:cubicBezTo>
                <a:cubicBezTo>
                  <a:pt x="3899" y="817"/>
                  <a:pt x="3931" y="801"/>
                  <a:pt x="3946" y="769"/>
                </a:cubicBezTo>
                <a:cubicBezTo>
                  <a:pt x="3963" y="738"/>
                  <a:pt x="3946" y="690"/>
                  <a:pt x="3915" y="658"/>
                </a:cubicBezTo>
                <a:cubicBezTo>
                  <a:pt x="3883" y="642"/>
                  <a:pt x="3915" y="547"/>
                  <a:pt x="3946" y="435"/>
                </a:cubicBezTo>
                <a:cubicBezTo>
                  <a:pt x="4010" y="292"/>
                  <a:pt x="4074" y="101"/>
                  <a:pt x="3915" y="6"/>
                </a:cubicBezTo>
                <a:close/>
                <a:moveTo>
                  <a:pt x="4423" y="341"/>
                </a:moveTo>
                <a:cubicBezTo>
                  <a:pt x="4423" y="293"/>
                  <a:pt x="4375" y="261"/>
                  <a:pt x="4327" y="230"/>
                </a:cubicBezTo>
                <a:cubicBezTo>
                  <a:pt x="4296" y="213"/>
                  <a:pt x="4248" y="230"/>
                  <a:pt x="4216" y="261"/>
                </a:cubicBezTo>
                <a:cubicBezTo>
                  <a:pt x="4200" y="309"/>
                  <a:pt x="4216" y="357"/>
                  <a:pt x="4263" y="373"/>
                </a:cubicBezTo>
                <a:lnTo>
                  <a:pt x="4280" y="388"/>
                </a:lnTo>
                <a:cubicBezTo>
                  <a:pt x="4280" y="404"/>
                  <a:pt x="4248" y="452"/>
                  <a:pt x="4232" y="468"/>
                </a:cubicBezTo>
                <a:cubicBezTo>
                  <a:pt x="4184" y="531"/>
                  <a:pt x="4136" y="611"/>
                  <a:pt x="4152" y="691"/>
                </a:cubicBezTo>
                <a:cubicBezTo>
                  <a:pt x="4168" y="739"/>
                  <a:pt x="4200" y="770"/>
                  <a:pt x="4263" y="802"/>
                </a:cubicBezTo>
                <a:cubicBezTo>
                  <a:pt x="4263" y="818"/>
                  <a:pt x="4280" y="818"/>
                  <a:pt x="4296" y="818"/>
                </a:cubicBezTo>
                <a:cubicBezTo>
                  <a:pt x="4327" y="818"/>
                  <a:pt x="4343" y="802"/>
                  <a:pt x="4359" y="770"/>
                </a:cubicBezTo>
                <a:cubicBezTo>
                  <a:pt x="4391" y="739"/>
                  <a:pt x="4375" y="691"/>
                  <a:pt x="4327" y="659"/>
                </a:cubicBezTo>
                <a:lnTo>
                  <a:pt x="4311" y="659"/>
                </a:lnTo>
                <a:cubicBezTo>
                  <a:pt x="4311" y="643"/>
                  <a:pt x="4343" y="579"/>
                  <a:pt x="4359" y="564"/>
                </a:cubicBezTo>
                <a:cubicBezTo>
                  <a:pt x="4407" y="500"/>
                  <a:pt x="4454" y="420"/>
                  <a:pt x="4423" y="34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6" name="Freeform: Shape 16">
            <a:extLst>
              <a:ext uri="{FF2B5EF4-FFF2-40B4-BE49-F238E27FC236}">
                <a16:creationId xmlns:a16="http://schemas.microsoft.com/office/drawing/2014/main" id="{0777EB76-C958-8944-882E-CC708DBDCDDF}"/>
              </a:ext>
            </a:extLst>
          </p:cNvPr>
          <p:cNvSpPr/>
          <p:nvPr/>
        </p:nvSpPr>
        <p:spPr>
          <a:xfrm>
            <a:off x="10007279" y="10027320"/>
            <a:ext cx="1712160" cy="1260000"/>
          </a:xfrm>
          <a:custGeom>
            <a:avLst/>
            <a:gdLst/>
            <a:ahLst/>
            <a:cxnLst>
              <a:cxn ang="3cd4">
                <a:pos x="hc" y="t"/>
              </a:cxn>
              <a:cxn ang="cd2">
                <a:pos x="l" y="vc"/>
              </a:cxn>
              <a:cxn ang="cd4">
                <a:pos x="hc" y="b"/>
              </a:cxn>
              <a:cxn ang="0">
                <a:pos x="r" y="vc"/>
              </a:cxn>
            </a:cxnLst>
            <a:rect l="l" t="t" r="r" b="b"/>
            <a:pathLst>
              <a:path w="4757" h="3501">
                <a:moveTo>
                  <a:pt x="1034" y="2546"/>
                </a:moveTo>
                <a:lnTo>
                  <a:pt x="1670" y="2546"/>
                </a:lnTo>
                <a:cubicBezTo>
                  <a:pt x="1702" y="2546"/>
                  <a:pt x="1750" y="2514"/>
                  <a:pt x="1750" y="2466"/>
                </a:cubicBezTo>
                <a:lnTo>
                  <a:pt x="1750" y="1671"/>
                </a:lnTo>
                <a:cubicBezTo>
                  <a:pt x="1750" y="1623"/>
                  <a:pt x="1702" y="1591"/>
                  <a:pt x="1670" y="1591"/>
                </a:cubicBezTo>
                <a:lnTo>
                  <a:pt x="1034" y="1591"/>
                </a:lnTo>
                <a:cubicBezTo>
                  <a:pt x="986" y="1591"/>
                  <a:pt x="954" y="1623"/>
                  <a:pt x="954" y="1671"/>
                </a:cubicBezTo>
                <a:lnTo>
                  <a:pt x="954" y="2466"/>
                </a:lnTo>
                <a:cubicBezTo>
                  <a:pt x="954" y="2514"/>
                  <a:pt x="986" y="2546"/>
                  <a:pt x="1034" y="2546"/>
                </a:cubicBezTo>
                <a:close/>
                <a:moveTo>
                  <a:pt x="1113" y="1751"/>
                </a:moveTo>
                <a:lnTo>
                  <a:pt x="1591" y="1751"/>
                </a:lnTo>
                <a:lnTo>
                  <a:pt x="1591" y="2387"/>
                </a:lnTo>
                <a:lnTo>
                  <a:pt x="1113" y="2387"/>
                </a:lnTo>
                <a:close/>
                <a:moveTo>
                  <a:pt x="3102" y="2546"/>
                </a:moveTo>
                <a:lnTo>
                  <a:pt x="3723" y="2546"/>
                </a:lnTo>
                <a:cubicBezTo>
                  <a:pt x="3770" y="2546"/>
                  <a:pt x="3802" y="2514"/>
                  <a:pt x="3802" y="2466"/>
                </a:cubicBezTo>
                <a:lnTo>
                  <a:pt x="3802" y="1671"/>
                </a:lnTo>
                <a:cubicBezTo>
                  <a:pt x="3802" y="1623"/>
                  <a:pt x="3770" y="1591"/>
                  <a:pt x="3723" y="1591"/>
                </a:cubicBezTo>
                <a:lnTo>
                  <a:pt x="3102" y="1591"/>
                </a:lnTo>
                <a:cubicBezTo>
                  <a:pt x="3054" y="1591"/>
                  <a:pt x="3023" y="1623"/>
                  <a:pt x="3023" y="1671"/>
                </a:cubicBezTo>
                <a:lnTo>
                  <a:pt x="3023" y="2466"/>
                </a:lnTo>
                <a:cubicBezTo>
                  <a:pt x="3023" y="2514"/>
                  <a:pt x="3054" y="2546"/>
                  <a:pt x="3102" y="2546"/>
                </a:cubicBezTo>
                <a:close/>
                <a:moveTo>
                  <a:pt x="3182" y="1751"/>
                </a:moveTo>
                <a:lnTo>
                  <a:pt x="3659" y="1751"/>
                </a:lnTo>
                <a:lnTo>
                  <a:pt x="3659" y="2387"/>
                </a:lnTo>
                <a:lnTo>
                  <a:pt x="3182" y="2387"/>
                </a:lnTo>
                <a:close/>
                <a:moveTo>
                  <a:pt x="4677" y="478"/>
                </a:moveTo>
                <a:lnTo>
                  <a:pt x="3961" y="478"/>
                </a:lnTo>
                <a:lnTo>
                  <a:pt x="3961" y="80"/>
                </a:lnTo>
                <a:cubicBezTo>
                  <a:pt x="3961" y="32"/>
                  <a:pt x="3929" y="0"/>
                  <a:pt x="3882" y="0"/>
                </a:cubicBezTo>
                <a:lnTo>
                  <a:pt x="875" y="0"/>
                </a:lnTo>
                <a:cubicBezTo>
                  <a:pt x="827" y="0"/>
                  <a:pt x="795" y="32"/>
                  <a:pt x="795" y="80"/>
                </a:cubicBezTo>
                <a:lnTo>
                  <a:pt x="795" y="478"/>
                </a:lnTo>
                <a:lnTo>
                  <a:pt x="79" y="478"/>
                </a:lnTo>
                <a:cubicBezTo>
                  <a:pt x="32" y="478"/>
                  <a:pt x="0" y="509"/>
                  <a:pt x="0" y="557"/>
                </a:cubicBezTo>
                <a:lnTo>
                  <a:pt x="0" y="1194"/>
                </a:lnTo>
                <a:cubicBezTo>
                  <a:pt x="0" y="1242"/>
                  <a:pt x="32" y="1273"/>
                  <a:pt x="79" y="1273"/>
                </a:cubicBezTo>
                <a:lnTo>
                  <a:pt x="636" y="1273"/>
                </a:lnTo>
                <a:lnTo>
                  <a:pt x="636" y="3421"/>
                </a:lnTo>
                <a:cubicBezTo>
                  <a:pt x="636" y="3469"/>
                  <a:pt x="668" y="3501"/>
                  <a:pt x="715" y="3501"/>
                </a:cubicBezTo>
                <a:lnTo>
                  <a:pt x="1988" y="3501"/>
                </a:lnTo>
                <a:lnTo>
                  <a:pt x="2784" y="3501"/>
                </a:lnTo>
                <a:lnTo>
                  <a:pt x="4041" y="3501"/>
                </a:lnTo>
                <a:cubicBezTo>
                  <a:pt x="4088" y="3501"/>
                  <a:pt x="4120" y="3469"/>
                  <a:pt x="4120" y="3421"/>
                </a:cubicBezTo>
                <a:lnTo>
                  <a:pt x="4120" y="1273"/>
                </a:lnTo>
                <a:lnTo>
                  <a:pt x="4677" y="1273"/>
                </a:lnTo>
                <a:cubicBezTo>
                  <a:pt x="4725" y="1273"/>
                  <a:pt x="4757" y="1242"/>
                  <a:pt x="4757" y="1194"/>
                </a:cubicBezTo>
                <a:lnTo>
                  <a:pt x="4757" y="557"/>
                </a:lnTo>
                <a:cubicBezTo>
                  <a:pt x="4757" y="509"/>
                  <a:pt x="4725" y="478"/>
                  <a:pt x="4677" y="478"/>
                </a:cubicBezTo>
                <a:close/>
                <a:moveTo>
                  <a:pt x="954" y="160"/>
                </a:moveTo>
                <a:lnTo>
                  <a:pt x="3802" y="160"/>
                </a:lnTo>
                <a:lnTo>
                  <a:pt x="3802" y="478"/>
                </a:lnTo>
                <a:lnTo>
                  <a:pt x="954" y="478"/>
                </a:lnTo>
                <a:close/>
                <a:moveTo>
                  <a:pt x="2068" y="3342"/>
                </a:moveTo>
                <a:lnTo>
                  <a:pt x="2068" y="2069"/>
                </a:lnTo>
                <a:lnTo>
                  <a:pt x="2704" y="2069"/>
                </a:lnTo>
                <a:lnTo>
                  <a:pt x="2704" y="3342"/>
                </a:lnTo>
                <a:close/>
                <a:moveTo>
                  <a:pt x="3961" y="3342"/>
                </a:moveTo>
                <a:lnTo>
                  <a:pt x="2863" y="3342"/>
                </a:lnTo>
                <a:lnTo>
                  <a:pt x="2863" y="1989"/>
                </a:lnTo>
                <a:cubicBezTo>
                  <a:pt x="2863" y="1942"/>
                  <a:pt x="2815" y="1910"/>
                  <a:pt x="2784" y="1910"/>
                </a:cubicBezTo>
                <a:lnTo>
                  <a:pt x="1988" y="1910"/>
                </a:lnTo>
                <a:cubicBezTo>
                  <a:pt x="1941" y="1910"/>
                  <a:pt x="1909" y="1942"/>
                  <a:pt x="1909" y="1989"/>
                </a:cubicBezTo>
                <a:lnTo>
                  <a:pt x="1909" y="3342"/>
                </a:lnTo>
                <a:lnTo>
                  <a:pt x="795" y="3342"/>
                </a:lnTo>
                <a:lnTo>
                  <a:pt x="795" y="1273"/>
                </a:lnTo>
                <a:lnTo>
                  <a:pt x="3961" y="1273"/>
                </a:lnTo>
                <a:close/>
                <a:moveTo>
                  <a:pt x="4597" y="1114"/>
                </a:moveTo>
                <a:lnTo>
                  <a:pt x="4041" y="1114"/>
                </a:lnTo>
                <a:lnTo>
                  <a:pt x="715" y="1114"/>
                </a:lnTo>
                <a:lnTo>
                  <a:pt x="159" y="1114"/>
                </a:lnTo>
                <a:lnTo>
                  <a:pt x="159" y="637"/>
                </a:lnTo>
                <a:lnTo>
                  <a:pt x="875" y="637"/>
                </a:lnTo>
                <a:lnTo>
                  <a:pt x="3882" y="637"/>
                </a:lnTo>
                <a:lnTo>
                  <a:pt x="4597" y="637"/>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7" name="Freeform: Shape 17">
            <a:extLst>
              <a:ext uri="{FF2B5EF4-FFF2-40B4-BE49-F238E27FC236}">
                <a16:creationId xmlns:a16="http://schemas.microsoft.com/office/drawing/2014/main" id="{61BEDB28-B5CA-6F42-B198-B3E1047E28CE}"/>
              </a:ext>
            </a:extLst>
          </p:cNvPr>
          <p:cNvSpPr/>
          <p:nvPr/>
        </p:nvSpPr>
        <p:spPr>
          <a:xfrm>
            <a:off x="6354395" y="9598438"/>
            <a:ext cx="915840" cy="1717920"/>
          </a:xfrm>
          <a:custGeom>
            <a:avLst/>
            <a:gdLst/>
            <a:ahLst/>
            <a:cxnLst>
              <a:cxn ang="3cd4">
                <a:pos x="hc" y="t"/>
              </a:cxn>
              <a:cxn ang="cd2">
                <a:pos x="l" y="vc"/>
              </a:cxn>
              <a:cxn ang="cd4">
                <a:pos x="hc" y="b"/>
              </a:cxn>
              <a:cxn ang="0">
                <a:pos x="r" y="vc"/>
              </a:cxn>
            </a:cxnLst>
            <a:rect l="l" t="t" r="r" b="b"/>
            <a:pathLst>
              <a:path w="2545" h="4773">
                <a:moveTo>
                  <a:pt x="0" y="239"/>
                </a:moveTo>
                <a:lnTo>
                  <a:pt x="0" y="4693"/>
                </a:lnTo>
                <a:cubicBezTo>
                  <a:pt x="0" y="4725"/>
                  <a:pt x="31" y="4773"/>
                  <a:pt x="79" y="4773"/>
                </a:cubicBezTo>
                <a:lnTo>
                  <a:pt x="875" y="4773"/>
                </a:lnTo>
                <a:lnTo>
                  <a:pt x="1670" y="4773"/>
                </a:lnTo>
                <a:lnTo>
                  <a:pt x="2466" y="4773"/>
                </a:lnTo>
                <a:cubicBezTo>
                  <a:pt x="2513" y="4773"/>
                  <a:pt x="2545" y="4725"/>
                  <a:pt x="2545" y="4693"/>
                </a:cubicBezTo>
                <a:lnTo>
                  <a:pt x="2545" y="239"/>
                </a:lnTo>
                <a:cubicBezTo>
                  <a:pt x="2545" y="191"/>
                  <a:pt x="2513" y="159"/>
                  <a:pt x="2466" y="159"/>
                </a:cubicBezTo>
                <a:lnTo>
                  <a:pt x="79" y="159"/>
                </a:lnTo>
                <a:cubicBezTo>
                  <a:pt x="31" y="159"/>
                  <a:pt x="0" y="191"/>
                  <a:pt x="0" y="239"/>
                </a:cubicBezTo>
                <a:close/>
                <a:moveTo>
                  <a:pt x="954" y="4614"/>
                </a:moveTo>
                <a:lnTo>
                  <a:pt x="954" y="3500"/>
                </a:lnTo>
                <a:lnTo>
                  <a:pt x="1591" y="3500"/>
                </a:lnTo>
                <a:lnTo>
                  <a:pt x="1591" y="4614"/>
                </a:lnTo>
                <a:close/>
                <a:moveTo>
                  <a:pt x="159" y="318"/>
                </a:moveTo>
                <a:lnTo>
                  <a:pt x="2386" y="318"/>
                </a:lnTo>
                <a:lnTo>
                  <a:pt x="2386" y="4614"/>
                </a:lnTo>
                <a:lnTo>
                  <a:pt x="1750" y="4614"/>
                </a:lnTo>
                <a:lnTo>
                  <a:pt x="1750" y="3421"/>
                </a:lnTo>
                <a:cubicBezTo>
                  <a:pt x="1750" y="3373"/>
                  <a:pt x="1718" y="3341"/>
                  <a:pt x="1670" y="3341"/>
                </a:cubicBezTo>
                <a:lnTo>
                  <a:pt x="875" y="3341"/>
                </a:lnTo>
                <a:cubicBezTo>
                  <a:pt x="827" y="3341"/>
                  <a:pt x="795" y="3373"/>
                  <a:pt x="795" y="3421"/>
                </a:cubicBezTo>
                <a:lnTo>
                  <a:pt x="795" y="4614"/>
                </a:lnTo>
                <a:lnTo>
                  <a:pt x="159" y="4614"/>
                </a:lnTo>
                <a:close/>
                <a:moveTo>
                  <a:pt x="1750" y="159"/>
                </a:moveTo>
                <a:cubicBezTo>
                  <a:pt x="1798" y="159"/>
                  <a:pt x="1830" y="127"/>
                  <a:pt x="1830" y="79"/>
                </a:cubicBezTo>
                <a:cubicBezTo>
                  <a:pt x="1830" y="32"/>
                  <a:pt x="1798" y="0"/>
                  <a:pt x="1750" y="0"/>
                </a:cubicBezTo>
                <a:lnTo>
                  <a:pt x="795" y="0"/>
                </a:lnTo>
                <a:cubicBezTo>
                  <a:pt x="748" y="0"/>
                  <a:pt x="716" y="32"/>
                  <a:pt x="716" y="79"/>
                </a:cubicBezTo>
                <a:cubicBezTo>
                  <a:pt x="716" y="127"/>
                  <a:pt x="748" y="159"/>
                  <a:pt x="795" y="159"/>
                </a:cubicBezTo>
                <a:close/>
                <a:moveTo>
                  <a:pt x="557" y="1750"/>
                </a:moveTo>
                <a:lnTo>
                  <a:pt x="1034" y="1750"/>
                </a:lnTo>
                <a:cubicBezTo>
                  <a:pt x="1082" y="1750"/>
                  <a:pt x="1113" y="1718"/>
                  <a:pt x="1113" y="1670"/>
                </a:cubicBezTo>
                <a:lnTo>
                  <a:pt x="1113" y="875"/>
                </a:lnTo>
                <a:cubicBezTo>
                  <a:pt x="1113" y="827"/>
                  <a:pt x="1082" y="796"/>
                  <a:pt x="1034" y="796"/>
                </a:cubicBezTo>
                <a:lnTo>
                  <a:pt x="557" y="796"/>
                </a:lnTo>
                <a:cubicBezTo>
                  <a:pt x="509" y="796"/>
                  <a:pt x="477" y="827"/>
                  <a:pt x="477" y="875"/>
                </a:cubicBezTo>
                <a:lnTo>
                  <a:pt x="477" y="1670"/>
                </a:lnTo>
                <a:cubicBezTo>
                  <a:pt x="477" y="1718"/>
                  <a:pt x="509" y="1750"/>
                  <a:pt x="557" y="1750"/>
                </a:cubicBezTo>
                <a:close/>
                <a:moveTo>
                  <a:pt x="636" y="955"/>
                </a:moveTo>
                <a:lnTo>
                  <a:pt x="954" y="955"/>
                </a:lnTo>
                <a:lnTo>
                  <a:pt x="954" y="1591"/>
                </a:lnTo>
                <a:lnTo>
                  <a:pt x="636" y="1591"/>
                </a:lnTo>
                <a:close/>
                <a:moveTo>
                  <a:pt x="1511" y="1750"/>
                </a:moveTo>
                <a:lnTo>
                  <a:pt x="1988" y="1750"/>
                </a:lnTo>
                <a:cubicBezTo>
                  <a:pt x="2036" y="1750"/>
                  <a:pt x="2068" y="1718"/>
                  <a:pt x="2068" y="1670"/>
                </a:cubicBezTo>
                <a:lnTo>
                  <a:pt x="2068" y="875"/>
                </a:lnTo>
                <a:cubicBezTo>
                  <a:pt x="2068" y="827"/>
                  <a:pt x="2036" y="796"/>
                  <a:pt x="1988" y="796"/>
                </a:cubicBezTo>
                <a:lnTo>
                  <a:pt x="1511" y="796"/>
                </a:lnTo>
                <a:cubicBezTo>
                  <a:pt x="1464" y="796"/>
                  <a:pt x="1431" y="827"/>
                  <a:pt x="1431" y="875"/>
                </a:cubicBezTo>
                <a:lnTo>
                  <a:pt x="1431" y="1670"/>
                </a:lnTo>
                <a:cubicBezTo>
                  <a:pt x="1431" y="1718"/>
                  <a:pt x="1464" y="1750"/>
                  <a:pt x="1511" y="1750"/>
                </a:cubicBezTo>
                <a:close/>
                <a:moveTo>
                  <a:pt x="1591" y="955"/>
                </a:moveTo>
                <a:lnTo>
                  <a:pt x="1909" y="955"/>
                </a:lnTo>
                <a:lnTo>
                  <a:pt x="1909" y="1591"/>
                </a:lnTo>
                <a:lnTo>
                  <a:pt x="1591" y="1591"/>
                </a:lnTo>
                <a:close/>
                <a:moveTo>
                  <a:pt x="1034" y="3023"/>
                </a:moveTo>
                <a:cubicBezTo>
                  <a:pt x="1082" y="3023"/>
                  <a:pt x="1113" y="2991"/>
                  <a:pt x="1113" y="2943"/>
                </a:cubicBezTo>
                <a:lnTo>
                  <a:pt x="1113" y="2148"/>
                </a:lnTo>
                <a:cubicBezTo>
                  <a:pt x="1113" y="2100"/>
                  <a:pt x="1082" y="2068"/>
                  <a:pt x="1034" y="2068"/>
                </a:cubicBezTo>
                <a:lnTo>
                  <a:pt x="557" y="2068"/>
                </a:lnTo>
                <a:cubicBezTo>
                  <a:pt x="509" y="2068"/>
                  <a:pt x="477" y="2100"/>
                  <a:pt x="477" y="2148"/>
                </a:cubicBezTo>
                <a:lnTo>
                  <a:pt x="477" y="2943"/>
                </a:lnTo>
                <a:cubicBezTo>
                  <a:pt x="477" y="2991"/>
                  <a:pt x="509" y="3023"/>
                  <a:pt x="557" y="3023"/>
                </a:cubicBezTo>
                <a:close/>
                <a:moveTo>
                  <a:pt x="636" y="2227"/>
                </a:moveTo>
                <a:lnTo>
                  <a:pt x="954" y="2227"/>
                </a:lnTo>
                <a:lnTo>
                  <a:pt x="954" y="2864"/>
                </a:lnTo>
                <a:lnTo>
                  <a:pt x="636" y="2864"/>
                </a:lnTo>
                <a:close/>
                <a:moveTo>
                  <a:pt x="1511" y="3023"/>
                </a:moveTo>
                <a:lnTo>
                  <a:pt x="1988" y="3023"/>
                </a:lnTo>
                <a:cubicBezTo>
                  <a:pt x="2036" y="3023"/>
                  <a:pt x="2068" y="2991"/>
                  <a:pt x="2068" y="2943"/>
                </a:cubicBezTo>
                <a:lnTo>
                  <a:pt x="2068" y="2148"/>
                </a:lnTo>
                <a:cubicBezTo>
                  <a:pt x="2068" y="2100"/>
                  <a:pt x="2036" y="2068"/>
                  <a:pt x="1988" y="2068"/>
                </a:cubicBezTo>
                <a:lnTo>
                  <a:pt x="1511" y="2068"/>
                </a:lnTo>
                <a:cubicBezTo>
                  <a:pt x="1464" y="2068"/>
                  <a:pt x="1431" y="2100"/>
                  <a:pt x="1431" y="2148"/>
                </a:cubicBezTo>
                <a:lnTo>
                  <a:pt x="1431" y="2943"/>
                </a:lnTo>
                <a:cubicBezTo>
                  <a:pt x="1431" y="2991"/>
                  <a:pt x="1464" y="3023"/>
                  <a:pt x="1511" y="3023"/>
                </a:cubicBezTo>
                <a:close/>
                <a:moveTo>
                  <a:pt x="1591" y="2227"/>
                </a:moveTo>
                <a:lnTo>
                  <a:pt x="1909" y="2227"/>
                </a:lnTo>
                <a:lnTo>
                  <a:pt x="1909" y="2864"/>
                </a:lnTo>
                <a:lnTo>
                  <a:pt x="1591" y="2864"/>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8" name="Freeform: Shape 18">
            <a:extLst>
              <a:ext uri="{FF2B5EF4-FFF2-40B4-BE49-F238E27FC236}">
                <a16:creationId xmlns:a16="http://schemas.microsoft.com/office/drawing/2014/main" id="{3E681348-2D2B-0E49-87CD-00DB240FDECD}"/>
              </a:ext>
            </a:extLst>
          </p:cNvPr>
          <p:cNvSpPr/>
          <p:nvPr/>
        </p:nvSpPr>
        <p:spPr>
          <a:xfrm>
            <a:off x="14005384" y="9775682"/>
            <a:ext cx="1638000" cy="1568879"/>
          </a:xfrm>
          <a:custGeom>
            <a:avLst/>
            <a:gdLst/>
            <a:ahLst/>
            <a:cxnLst>
              <a:cxn ang="3cd4">
                <a:pos x="hc" y="t"/>
              </a:cxn>
              <a:cxn ang="cd2">
                <a:pos x="l" y="vc"/>
              </a:cxn>
              <a:cxn ang="cd4">
                <a:pos x="hc" y="b"/>
              </a:cxn>
              <a:cxn ang="0">
                <a:pos x="r" y="vc"/>
              </a:cxn>
            </a:cxnLst>
            <a:rect l="l" t="t" r="r" b="b"/>
            <a:pathLst>
              <a:path w="4551" h="4359">
                <a:moveTo>
                  <a:pt x="4280" y="2593"/>
                </a:moveTo>
                <a:lnTo>
                  <a:pt x="4169" y="2593"/>
                </a:lnTo>
                <a:cubicBezTo>
                  <a:pt x="4025" y="1702"/>
                  <a:pt x="3453" y="971"/>
                  <a:pt x="2705" y="764"/>
                </a:cubicBezTo>
                <a:lnTo>
                  <a:pt x="2705" y="271"/>
                </a:lnTo>
                <a:cubicBezTo>
                  <a:pt x="2689" y="111"/>
                  <a:pt x="2514" y="0"/>
                  <a:pt x="2291" y="0"/>
                </a:cubicBezTo>
                <a:cubicBezTo>
                  <a:pt x="2069" y="0"/>
                  <a:pt x="1878" y="111"/>
                  <a:pt x="1862" y="271"/>
                </a:cubicBezTo>
                <a:lnTo>
                  <a:pt x="1862" y="764"/>
                </a:lnTo>
                <a:cubicBezTo>
                  <a:pt x="1098" y="955"/>
                  <a:pt x="509" y="1687"/>
                  <a:pt x="382" y="2593"/>
                </a:cubicBezTo>
                <a:lnTo>
                  <a:pt x="271" y="2593"/>
                </a:lnTo>
                <a:cubicBezTo>
                  <a:pt x="223" y="2593"/>
                  <a:pt x="191" y="2641"/>
                  <a:pt x="191" y="2673"/>
                </a:cubicBezTo>
                <a:lnTo>
                  <a:pt x="191" y="3675"/>
                </a:lnTo>
                <a:lnTo>
                  <a:pt x="80" y="3675"/>
                </a:lnTo>
                <a:cubicBezTo>
                  <a:pt x="32" y="3675"/>
                  <a:pt x="0" y="3707"/>
                  <a:pt x="0" y="3755"/>
                </a:cubicBezTo>
                <a:lnTo>
                  <a:pt x="0" y="4280"/>
                </a:lnTo>
                <a:cubicBezTo>
                  <a:pt x="0" y="4328"/>
                  <a:pt x="32" y="4359"/>
                  <a:pt x="80" y="4359"/>
                </a:cubicBezTo>
                <a:lnTo>
                  <a:pt x="4471" y="4359"/>
                </a:lnTo>
                <a:cubicBezTo>
                  <a:pt x="4503" y="4359"/>
                  <a:pt x="4551" y="4328"/>
                  <a:pt x="4551" y="4280"/>
                </a:cubicBezTo>
                <a:lnTo>
                  <a:pt x="4551" y="3755"/>
                </a:lnTo>
                <a:cubicBezTo>
                  <a:pt x="4551" y="3707"/>
                  <a:pt x="4503" y="3675"/>
                  <a:pt x="4471" y="3675"/>
                </a:cubicBezTo>
                <a:lnTo>
                  <a:pt x="4360" y="3675"/>
                </a:lnTo>
                <a:lnTo>
                  <a:pt x="4360" y="2673"/>
                </a:lnTo>
                <a:cubicBezTo>
                  <a:pt x="4360" y="2641"/>
                  <a:pt x="4312" y="2593"/>
                  <a:pt x="4280" y="2593"/>
                </a:cubicBezTo>
                <a:close/>
                <a:moveTo>
                  <a:pt x="4391" y="3835"/>
                </a:moveTo>
                <a:lnTo>
                  <a:pt x="4391" y="4201"/>
                </a:lnTo>
                <a:lnTo>
                  <a:pt x="160" y="4201"/>
                </a:lnTo>
                <a:lnTo>
                  <a:pt x="160" y="3835"/>
                </a:lnTo>
                <a:lnTo>
                  <a:pt x="271" y="3835"/>
                </a:lnTo>
                <a:cubicBezTo>
                  <a:pt x="318" y="3835"/>
                  <a:pt x="350" y="3802"/>
                  <a:pt x="350" y="3755"/>
                </a:cubicBezTo>
                <a:lnTo>
                  <a:pt x="350" y="2753"/>
                </a:lnTo>
                <a:lnTo>
                  <a:pt x="446" y="2753"/>
                </a:lnTo>
                <a:cubicBezTo>
                  <a:pt x="478" y="2753"/>
                  <a:pt x="525" y="2737"/>
                  <a:pt x="525" y="2689"/>
                </a:cubicBezTo>
                <a:cubicBezTo>
                  <a:pt x="637" y="1782"/>
                  <a:pt x="1209" y="1050"/>
                  <a:pt x="1957" y="891"/>
                </a:cubicBezTo>
                <a:cubicBezTo>
                  <a:pt x="2005" y="891"/>
                  <a:pt x="2021" y="859"/>
                  <a:pt x="2021" y="828"/>
                </a:cubicBezTo>
                <a:lnTo>
                  <a:pt x="2021" y="286"/>
                </a:lnTo>
                <a:cubicBezTo>
                  <a:pt x="2037" y="223"/>
                  <a:pt x="2132" y="159"/>
                  <a:pt x="2291" y="159"/>
                </a:cubicBezTo>
                <a:cubicBezTo>
                  <a:pt x="2434" y="159"/>
                  <a:pt x="2546" y="223"/>
                  <a:pt x="2546" y="271"/>
                </a:cubicBezTo>
                <a:lnTo>
                  <a:pt x="2546" y="828"/>
                </a:lnTo>
                <a:cubicBezTo>
                  <a:pt x="2546" y="859"/>
                  <a:pt x="2578" y="891"/>
                  <a:pt x="2609" y="907"/>
                </a:cubicBezTo>
                <a:cubicBezTo>
                  <a:pt x="3342" y="1082"/>
                  <a:pt x="3914" y="1798"/>
                  <a:pt x="4025" y="2689"/>
                </a:cubicBezTo>
                <a:cubicBezTo>
                  <a:pt x="4025" y="2737"/>
                  <a:pt x="4057" y="2753"/>
                  <a:pt x="4089" y="2753"/>
                </a:cubicBezTo>
                <a:lnTo>
                  <a:pt x="4200" y="2753"/>
                </a:lnTo>
                <a:lnTo>
                  <a:pt x="4200" y="3755"/>
                </a:lnTo>
                <a:cubicBezTo>
                  <a:pt x="4200" y="3802"/>
                  <a:pt x="4233" y="3835"/>
                  <a:pt x="4280" y="3835"/>
                </a:cubicBezTo>
                <a:close/>
                <a:moveTo>
                  <a:pt x="3676" y="2944"/>
                </a:moveTo>
                <a:cubicBezTo>
                  <a:pt x="3643" y="2944"/>
                  <a:pt x="3596" y="2991"/>
                  <a:pt x="3596" y="3023"/>
                </a:cubicBezTo>
                <a:lnTo>
                  <a:pt x="3596" y="3723"/>
                </a:lnTo>
                <a:cubicBezTo>
                  <a:pt x="3596" y="3755"/>
                  <a:pt x="3643" y="3802"/>
                  <a:pt x="3676" y="3802"/>
                </a:cubicBezTo>
                <a:cubicBezTo>
                  <a:pt x="3723" y="3802"/>
                  <a:pt x="3755" y="3755"/>
                  <a:pt x="3755" y="3723"/>
                </a:cubicBezTo>
                <a:lnTo>
                  <a:pt x="3755" y="3023"/>
                </a:lnTo>
                <a:cubicBezTo>
                  <a:pt x="3755" y="2991"/>
                  <a:pt x="3723" y="2944"/>
                  <a:pt x="3676" y="2944"/>
                </a:cubicBezTo>
                <a:close/>
                <a:moveTo>
                  <a:pt x="3119" y="2944"/>
                </a:moveTo>
                <a:cubicBezTo>
                  <a:pt x="3071" y="2944"/>
                  <a:pt x="3039" y="2991"/>
                  <a:pt x="3039" y="3023"/>
                </a:cubicBezTo>
                <a:lnTo>
                  <a:pt x="3039" y="3723"/>
                </a:lnTo>
                <a:cubicBezTo>
                  <a:pt x="3039" y="3755"/>
                  <a:pt x="3071" y="3802"/>
                  <a:pt x="3119" y="3802"/>
                </a:cubicBezTo>
                <a:cubicBezTo>
                  <a:pt x="3151" y="3802"/>
                  <a:pt x="3198" y="3755"/>
                  <a:pt x="3198" y="3723"/>
                </a:cubicBezTo>
                <a:lnTo>
                  <a:pt x="3198" y="3023"/>
                </a:lnTo>
                <a:cubicBezTo>
                  <a:pt x="3198" y="2991"/>
                  <a:pt x="3151" y="2944"/>
                  <a:pt x="3119" y="2944"/>
                </a:cubicBezTo>
                <a:close/>
                <a:moveTo>
                  <a:pt x="2546" y="2944"/>
                </a:moveTo>
                <a:cubicBezTo>
                  <a:pt x="2498" y="2944"/>
                  <a:pt x="2466" y="2991"/>
                  <a:pt x="2466" y="3023"/>
                </a:cubicBezTo>
                <a:lnTo>
                  <a:pt x="2466" y="3723"/>
                </a:lnTo>
                <a:cubicBezTo>
                  <a:pt x="2466" y="3755"/>
                  <a:pt x="2498" y="3802"/>
                  <a:pt x="2546" y="3802"/>
                </a:cubicBezTo>
                <a:cubicBezTo>
                  <a:pt x="2594" y="3802"/>
                  <a:pt x="2625" y="3755"/>
                  <a:pt x="2625" y="3723"/>
                </a:cubicBezTo>
                <a:lnTo>
                  <a:pt x="2625" y="3023"/>
                </a:lnTo>
                <a:cubicBezTo>
                  <a:pt x="2625" y="2991"/>
                  <a:pt x="2594" y="2944"/>
                  <a:pt x="2546" y="2944"/>
                </a:cubicBezTo>
                <a:close/>
                <a:moveTo>
                  <a:pt x="1973" y="2944"/>
                </a:moveTo>
                <a:cubicBezTo>
                  <a:pt x="1941" y="2944"/>
                  <a:pt x="1894" y="2991"/>
                  <a:pt x="1894" y="3023"/>
                </a:cubicBezTo>
                <a:lnTo>
                  <a:pt x="1894" y="3723"/>
                </a:lnTo>
                <a:cubicBezTo>
                  <a:pt x="1894" y="3755"/>
                  <a:pt x="1941" y="3802"/>
                  <a:pt x="1973" y="3802"/>
                </a:cubicBezTo>
                <a:cubicBezTo>
                  <a:pt x="2021" y="3802"/>
                  <a:pt x="2052" y="3755"/>
                  <a:pt x="2052" y="3723"/>
                </a:cubicBezTo>
                <a:lnTo>
                  <a:pt x="2052" y="3023"/>
                </a:lnTo>
                <a:cubicBezTo>
                  <a:pt x="2052" y="2991"/>
                  <a:pt x="2021" y="2944"/>
                  <a:pt x="1973" y="2944"/>
                </a:cubicBezTo>
                <a:close/>
                <a:moveTo>
                  <a:pt x="1416" y="2944"/>
                </a:moveTo>
                <a:cubicBezTo>
                  <a:pt x="1369" y="2944"/>
                  <a:pt x="1337" y="2991"/>
                  <a:pt x="1337" y="3023"/>
                </a:cubicBezTo>
                <a:lnTo>
                  <a:pt x="1337" y="3723"/>
                </a:lnTo>
                <a:cubicBezTo>
                  <a:pt x="1337" y="3755"/>
                  <a:pt x="1369" y="3802"/>
                  <a:pt x="1416" y="3802"/>
                </a:cubicBezTo>
                <a:cubicBezTo>
                  <a:pt x="1448" y="3802"/>
                  <a:pt x="1496" y="3755"/>
                  <a:pt x="1496" y="3723"/>
                </a:cubicBezTo>
                <a:lnTo>
                  <a:pt x="1496" y="3023"/>
                </a:lnTo>
                <a:cubicBezTo>
                  <a:pt x="1496" y="2991"/>
                  <a:pt x="1448" y="2944"/>
                  <a:pt x="1416" y="2944"/>
                </a:cubicBezTo>
                <a:close/>
                <a:moveTo>
                  <a:pt x="843" y="2944"/>
                </a:moveTo>
                <a:cubicBezTo>
                  <a:pt x="796" y="2944"/>
                  <a:pt x="764" y="2991"/>
                  <a:pt x="764" y="3023"/>
                </a:cubicBezTo>
                <a:lnTo>
                  <a:pt x="764" y="3723"/>
                </a:lnTo>
                <a:cubicBezTo>
                  <a:pt x="764" y="3755"/>
                  <a:pt x="796" y="3802"/>
                  <a:pt x="843" y="3802"/>
                </a:cubicBezTo>
                <a:cubicBezTo>
                  <a:pt x="891" y="3802"/>
                  <a:pt x="923" y="3755"/>
                  <a:pt x="923" y="3723"/>
                </a:cubicBezTo>
                <a:lnTo>
                  <a:pt x="923" y="3023"/>
                </a:lnTo>
                <a:cubicBezTo>
                  <a:pt x="923" y="2991"/>
                  <a:pt x="891" y="2944"/>
                  <a:pt x="843" y="294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9" name="TextBox 78">
            <a:extLst>
              <a:ext uri="{FF2B5EF4-FFF2-40B4-BE49-F238E27FC236}">
                <a16:creationId xmlns:a16="http://schemas.microsoft.com/office/drawing/2014/main" id="{B9D1B948-09CC-6A4B-954D-7C67899EF489}"/>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err="1"/>
              <a:t>Gov</a:t>
            </a:r>
            <a:r>
              <a:rPr lang="en-US" sz="2800" dirty="0"/>
              <a:t> </a:t>
            </a:r>
            <a:r>
              <a:rPr lang="en-US" sz="2800" dirty="0" err="1"/>
              <a:t>Bld</a:t>
            </a:r>
            <a:r>
              <a:rPr lang="en-US" sz="2800" dirty="0"/>
              <a:t> 2</a:t>
            </a:r>
          </a:p>
        </p:txBody>
      </p:sp>
      <p:sp>
        <p:nvSpPr>
          <p:cNvPr id="81" name="TextBox 80">
            <a:extLst>
              <a:ext uri="{FF2B5EF4-FFF2-40B4-BE49-F238E27FC236}">
                <a16:creationId xmlns:a16="http://schemas.microsoft.com/office/drawing/2014/main" id="{6BFDF3AC-2A26-EF48-A5A5-B7AA140F0206}"/>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d </a:t>
            </a:r>
            <a:r>
              <a:rPr lang="en-US" sz="2800" dirty="0" err="1"/>
              <a:t>Bld</a:t>
            </a:r>
            <a:endParaRPr lang="en-US" sz="2800" dirty="0"/>
          </a:p>
        </p:txBody>
      </p:sp>
      <p:sp>
        <p:nvSpPr>
          <p:cNvPr id="82" name="TextBox 81">
            <a:extLst>
              <a:ext uri="{FF2B5EF4-FFF2-40B4-BE49-F238E27FC236}">
                <a16:creationId xmlns:a16="http://schemas.microsoft.com/office/drawing/2014/main" id="{60888CC6-CB72-EF4B-9E72-2D681D7AB0F0}"/>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err="1"/>
              <a:t>Bld</a:t>
            </a:r>
            <a:r>
              <a:rPr lang="en-US" sz="2800" dirty="0"/>
              <a:t> 2</a:t>
            </a:r>
          </a:p>
        </p:txBody>
      </p:sp>
      <p:sp>
        <p:nvSpPr>
          <p:cNvPr id="83" name="TextBox 82">
            <a:extLst>
              <a:ext uri="{FF2B5EF4-FFF2-40B4-BE49-F238E27FC236}">
                <a16:creationId xmlns:a16="http://schemas.microsoft.com/office/drawing/2014/main" id="{27161D14-20FB-4D48-B34B-A2242BD4B0F1}"/>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err="1"/>
              <a:t>Bld</a:t>
            </a:r>
            <a:r>
              <a:rPr lang="en-US" sz="2800" dirty="0"/>
              <a:t> 3</a:t>
            </a:r>
          </a:p>
        </p:txBody>
      </p:sp>
      <p:sp>
        <p:nvSpPr>
          <p:cNvPr id="84" name="Freeform: Shape 26">
            <a:extLst>
              <a:ext uri="{FF2B5EF4-FFF2-40B4-BE49-F238E27FC236}">
                <a16:creationId xmlns:a16="http://schemas.microsoft.com/office/drawing/2014/main" id="{A819C7F3-7975-F542-998D-C9AA2ACEB3BD}"/>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TextBox 84">
            <a:extLst>
              <a:ext uri="{FF2B5EF4-FFF2-40B4-BE49-F238E27FC236}">
                <a16:creationId xmlns:a16="http://schemas.microsoft.com/office/drawing/2014/main" id="{26DCF832-8DA2-3046-9D7E-5F6263B994A2}"/>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arage</a:t>
            </a:r>
          </a:p>
        </p:txBody>
      </p:sp>
      <p:sp>
        <p:nvSpPr>
          <p:cNvPr id="86" name="Freeform: Shape 13">
            <a:extLst>
              <a:ext uri="{FF2B5EF4-FFF2-40B4-BE49-F238E27FC236}">
                <a16:creationId xmlns:a16="http://schemas.microsoft.com/office/drawing/2014/main" id="{0AF8F554-68A6-4D4A-A962-DD8D9F7D4F68}"/>
              </a:ext>
            </a:extLst>
          </p:cNvPr>
          <p:cNvSpPr/>
          <p:nvPr/>
        </p:nvSpPr>
        <p:spPr>
          <a:xfrm>
            <a:off x="2283649" y="3606611"/>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7" name="Freeform: Shape 10">
            <a:extLst>
              <a:ext uri="{FF2B5EF4-FFF2-40B4-BE49-F238E27FC236}">
                <a16:creationId xmlns:a16="http://schemas.microsoft.com/office/drawing/2014/main" id="{3A3C7E90-6C6F-D944-A6C5-330D16E3C917}"/>
              </a:ext>
            </a:extLst>
          </p:cNvPr>
          <p:cNvSpPr/>
          <p:nvPr/>
        </p:nvSpPr>
        <p:spPr>
          <a:xfrm>
            <a:off x="17405003" y="3274980"/>
            <a:ext cx="1702800" cy="1699200"/>
          </a:xfrm>
          <a:custGeom>
            <a:avLst/>
            <a:gdLst/>
            <a:ahLst/>
            <a:cxnLst>
              <a:cxn ang="3cd4">
                <a:pos x="hc" y="t"/>
              </a:cxn>
              <a:cxn ang="cd2">
                <a:pos x="l" y="vc"/>
              </a:cxn>
              <a:cxn ang="cd4">
                <a:pos x="hc" y="b"/>
              </a:cxn>
              <a:cxn ang="0">
                <a:pos x="r" y="vc"/>
              </a:cxn>
            </a:cxnLst>
            <a:rect l="l" t="t" r="r" b="b"/>
            <a:pathLst>
              <a:path w="4731" h="4721">
                <a:moveTo>
                  <a:pt x="0" y="1492"/>
                </a:moveTo>
                <a:cubicBezTo>
                  <a:pt x="16" y="1524"/>
                  <a:pt x="48" y="1556"/>
                  <a:pt x="79" y="1556"/>
                </a:cubicBezTo>
                <a:lnTo>
                  <a:pt x="270" y="1556"/>
                </a:lnTo>
                <a:lnTo>
                  <a:pt x="270" y="4642"/>
                </a:lnTo>
                <a:cubicBezTo>
                  <a:pt x="270" y="4690"/>
                  <a:pt x="302" y="4721"/>
                  <a:pt x="350" y="4721"/>
                </a:cubicBezTo>
                <a:lnTo>
                  <a:pt x="986" y="4721"/>
                </a:lnTo>
                <a:lnTo>
                  <a:pt x="3850" y="4721"/>
                </a:lnTo>
                <a:lnTo>
                  <a:pt x="4470" y="4721"/>
                </a:lnTo>
                <a:cubicBezTo>
                  <a:pt x="4518" y="4721"/>
                  <a:pt x="4550" y="4690"/>
                  <a:pt x="4550" y="4642"/>
                </a:cubicBezTo>
                <a:lnTo>
                  <a:pt x="4550" y="1556"/>
                </a:lnTo>
                <a:lnTo>
                  <a:pt x="4646" y="1556"/>
                </a:lnTo>
                <a:cubicBezTo>
                  <a:pt x="4693" y="1556"/>
                  <a:pt x="4709" y="1524"/>
                  <a:pt x="4725" y="1492"/>
                </a:cubicBezTo>
                <a:cubicBezTo>
                  <a:pt x="4741" y="1460"/>
                  <a:pt x="4725" y="1412"/>
                  <a:pt x="4693" y="1396"/>
                </a:cubicBezTo>
                <a:lnTo>
                  <a:pt x="2402" y="12"/>
                </a:lnTo>
                <a:cubicBezTo>
                  <a:pt x="2386" y="-4"/>
                  <a:pt x="2355" y="-4"/>
                  <a:pt x="2323" y="12"/>
                </a:cubicBezTo>
                <a:lnTo>
                  <a:pt x="48" y="1396"/>
                </a:lnTo>
                <a:cubicBezTo>
                  <a:pt x="16" y="1412"/>
                  <a:pt x="0" y="1460"/>
                  <a:pt x="0" y="1492"/>
                </a:cubicBezTo>
                <a:close/>
                <a:moveTo>
                  <a:pt x="1066" y="4563"/>
                </a:moveTo>
                <a:lnTo>
                  <a:pt x="1066" y="2176"/>
                </a:lnTo>
                <a:lnTo>
                  <a:pt x="3770" y="2176"/>
                </a:lnTo>
                <a:lnTo>
                  <a:pt x="3770" y="4563"/>
                </a:lnTo>
                <a:close/>
                <a:moveTo>
                  <a:pt x="4391" y="4563"/>
                </a:moveTo>
                <a:lnTo>
                  <a:pt x="3914" y="4563"/>
                </a:lnTo>
                <a:lnTo>
                  <a:pt x="3914" y="2096"/>
                </a:lnTo>
                <a:cubicBezTo>
                  <a:pt x="3914" y="2065"/>
                  <a:pt x="3882" y="2033"/>
                  <a:pt x="3850" y="2033"/>
                </a:cubicBezTo>
                <a:lnTo>
                  <a:pt x="986" y="2033"/>
                </a:lnTo>
                <a:cubicBezTo>
                  <a:pt x="939" y="2033"/>
                  <a:pt x="907" y="2065"/>
                  <a:pt x="907" y="2096"/>
                </a:cubicBezTo>
                <a:lnTo>
                  <a:pt x="907" y="4563"/>
                </a:lnTo>
                <a:lnTo>
                  <a:pt x="430" y="4563"/>
                </a:lnTo>
                <a:lnTo>
                  <a:pt x="430" y="1556"/>
                </a:lnTo>
                <a:lnTo>
                  <a:pt x="4391" y="1556"/>
                </a:lnTo>
                <a:close/>
                <a:moveTo>
                  <a:pt x="2370" y="171"/>
                </a:moveTo>
                <a:lnTo>
                  <a:pt x="4359" y="1396"/>
                </a:lnTo>
                <a:lnTo>
                  <a:pt x="366" y="1396"/>
                </a:lnTo>
                <a:close/>
                <a:moveTo>
                  <a:pt x="3612" y="2653"/>
                </a:moveTo>
                <a:lnTo>
                  <a:pt x="1225" y="2653"/>
                </a:lnTo>
                <a:cubicBezTo>
                  <a:pt x="1177" y="2653"/>
                  <a:pt x="1145" y="2701"/>
                  <a:pt x="1145" y="2733"/>
                </a:cubicBezTo>
                <a:cubicBezTo>
                  <a:pt x="1145" y="2781"/>
                  <a:pt x="1177" y="2812"/>
                  <a:pt x="1225" y="2812"/>
                </a:cubicBezTo>
                <a:lnTo>
                  <a:pt x="3612" y="2812"/>
                </a:lnTo>
                <a:cubicBezTo>
                  <a:pt x="3643" y="2812"/>
                  <a:pt x="3691" y="2781"/>
                  <a:pt x="3691" y="2733"/>
                </a:cubicBezTo>
                <a:cubicBezTo>
                  <a:pt x="3691" y="2701"/>
                  <a:pt x="3643" y="2653"/>
                  <a:pt x="3612" y="2653"/>
                </a:cubicBezTo>
                <a:close/>
                <a:moveTo>
                  <a:pt x="3612" y="3290"/>
                </a:moveTo>
                <a:lnTo>
                  <a:pt x="1225" y="3290"/>
                </a:lnTo>
                <a:cubicBezTo>
                  <a:pt x="1177" y="3290"/>
                  <a:pt x="1145" y="3338"/>
                  <a:pt x="1145" y="3369"/>
                </a:cubicBezTo>
                <a:cubicBezTo>
                  <a:pt x="1145" y="3417"/>
                  <a:pt x="1177" y="3449"/>
                  <a:pt x="1225" y="3449"/>
                </a:cubicBezTo>
                <a:lnTo>
                  <a:pt x="3612" y="3449"/>
                </a:lnTo>
                <a:cubicBezTo>
                  <a:pt x="3643" y="3449"/>
                  <a:pt x="3691" y="3417"/>
                  <a:pt x="3691" y="3369"/>
                </a:cubicBezTo>
                <a:cubicBezTo>
                  <a:pt x="3691" y="3338"/>
                  <a:pt x="3643" y="3290"/>
                  <a:pt x="3612" y="3290"/>
                </a:cubicBezTo>
                <a:close/>
                <a:moveTo>
                  <a:pt x="3612" y="3926"/>
                </a:moveTo>
                <a:lnTo>
                  <a:pt x="1225" y="3926"/>
                </a:lnTo>
                <a:cubicBezTo>
                  <a:pt x="1177" y="3926"/>
                  <a:pt x="1145" y="3974"/>
                  <a:pt x="1145" y="4006"/>
                </a:cubicBezTo>
                <a:cubicBezTo>
                  <a:pt x="1145" y="4053"/>
                  <a:pt x="1177" y="4085"/>
                  <a:pt x="1225" y="4085"/>
                </a:cubicBezTo>
                <a:lnTo>
                  <a:pt x="3612" y="4085"/>
                </a:lnTo>
                <a:cubicBezTo>
                  <a:pt x="3643" y="4085"/>
                  <a:pt x="3691" y="4053"/>
                  <a:pt x="3691" y="4006"/>
                </a:cubicBezTo>
                <a:cubicBezTo>
                  <a:pt x="3691" y="3974"/>
                  <a:pt x="3643" y="3926"/>
                  <a:pt x="3612" y="392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8" name="Freeform: Shape 11">
            <a:extLst>
              <a:ext uri="{FF2B5EF4-FFF2-40B4-BE49-F238E27FC236}">
                <a16:creationId xmlns:a16="http://schemas.microsoft.com/office/drawing/2014/main" id="{98801108-F500-FC41-A779-92B29F32E000}"/>
              </a:ext>
            </a:extLst>
          </p:cNvPr>
          <p:cNvSpPr/>
          <p:nvPr/>
        </p:nvSpPr>
        <p:spPr>
          <a:xfrm>
            <a:off x="13992046" y="3268140"/>
            <a:ext cx="1660679" cy="1717560"/>
          </a:xfrm>
          <a:custGeom>
            <a:avLst/>
            <a:gdLst/>
            <a:ahLst/>
            <a:cxnLst>
              <a:cxn ang="3cd4">
                <a:pos x="hc" y="t"/>
              </a:cxn>
              <a:cxn ang="cd2">
                <a:pos x="l" y="vc"/>
              </a:cxn>
              <a:cxn ang="cd4">
                <a:pos x="hc" y="b"/>
              </a:cxn>
              <a:cxn ang="0">
                <a:pos x="r" y="vc"/>
              </a:cxn>
            </a:cxnLst>
            <a:rect l="l" t="t" r="r" b="b"/>
            <a:pathLst>
              <a:path w="4614" h="4772">
                <a:moveTo>
                  <a:pt x="159" y="3738"/>
                </a:moveTo>
                <a:lnTo>
                  <a:pt x="159" y="4136"/>
                </a:lnTo>
                <a:lnTo>
                  <a:pt x="79" y="4136"/>
                </a:lnTo>
                <a:cubicBezTo>
                  <a:pt x="48" y="4136"/>
                  <a:pt x="0" y="4168"/>
                  <a:pt x="0" y="4216"/>
                </a:cubicBezTo>
                <a:lnTo>
                  <a:pt x="0" y="4693"/>
                </a:lnTo>
                <a:cubicBezTo>
                  <a:pt x="0" y="4725"/>
                  <a:pt x="48" y="4772"/>
                  <a:pt x="79" y="4772"/>
                </a:cubicBezTo>
                <a:lnTo>
                  <a:pt x="4534" y="4772"/>
                </a:lnTo>
                <a:cubicBezTo>
                  <a:pt x="4582" y="4772"/>
                  <a:pt x="4614" y="4725"/>
                  <a:pt x="4614" y="4693"/>
                </a:cubicBezTo>
                <a:lnTo>
                  <a:pt x="4614" y="4216"/>
                </a:lnTo>
                <a:cubicBezTo>
                  <a:pt x="4614" y="4168"/>
                  <a:pt x="4582" y="4136"/>
                  <a:pt x="4534" y="4136"/>
                </a:cubicBezTo>
                <a:lnTo>
                  <a:pt x="4455" y="4136"/>
                </a:lnTo>
                <a:lnTo>
                  <a:pt x="4455" y="3738"/>
                </a:lnTo>
                <a:cubicBezTo>
                  <a:pt x="4455" y="3691"/>
                  <a:pt x="4423" y="3659"/>
                  <a:pt x="4375" y="3659"/>
                </a:cubicBezTo>
                <a:lnTo>
                  <a:pt x="239" y="3659"/>
                </a:lnTo>
                <a:cubicBezTo>
                  <a:pt x="207" y="3659"/>
                  <a:pt x="159" y="3691"/>
                  <a:pt x="159" y="3738"/>
                </a:cubicBezTo>
                <a:close/>
                <a:moveTo>
                  <a:pt x="4455" y="4613"/>
                </a:moveTo>
                <a:lnTo>
                  <a:pt x="159" y="4613"/>
                </a:lnTo>
                <a:lnTo>
                  <a:pt x="159" y="4295"/>
                </a:lnTo>
                <a:lnTo>
                  <a:pt x="239" y="4295"/>
                </a:lnTo>
                <a:lnTo>
                  <a:pt x="4375" y="4295"/>
                </a:lnTo>
                <a:lnTo>
                  <a:pt x="4455" y="4295"/>
                </a:lnTo>
                <a:close/>
                <a:moveTo>
                  <a:pt x="318" y="3818"/>
                </a:moveTo>
                <a:lnTo>
                  <a:pt x="4296" y="3818"/>
                </a:lnTo>
                <a:lnTo>
                  <a:pt x="4296" y="4136"/>
                </a:lnTo>
                <a:lnTo>
                  <a:pt x="318" y="4136"/>
                </a:lnTo>
                <a:close/>
                <a:moveTo>
                  <a:pt x="477" y="3420"/>
                </a:moveTo>
                <a:cubicBezTo>
                  <a:pt x="477" y="3452"/>
                  <a:pt x="525" y="3500"/>
                  <a:pt x="557" y="3500"/>
                </a:cubicBezTo>
                <a:lnTo>
                  <a:pt x="1193" y="3500"/>
                </a:lnTo>
                <a:cubicBezTo>
                  <a:pt x="1241" y="3500"/>
                  <a:pt x="1273" y="3452"/>
                  <a:pt x="1273" y="3420"/>
                </a:cubicBezTo>
                <a:lnTo>
                  <a:pt x="1273" y="2306"/>
                </a:lnTo>
                <a:cubicBezTo>
                  <a:pt x="1273" y="2258"/>
                  <a:pt x="1241" y="2227"/>
                  <a:pt x="1193" y="2227"/>
                </a:cubicBezTo>
                <a:lnTo>
                  <a:pt x="557" y="2227"/>
                </a:lnTo>
                <a:cubicBezTo>
                  <a:pt x="525" y="2227"/>
                  <a:pt x="477" y="2258"/>
                  <a:pt x="477" y="2306"/>
                </a:cubicBezTo>
                <a:close/>
                <a:moveTo>
                  <a:pt x="636" y="2386"/>
                </a:moveTo>
                <a:lnTo>
                  <a:pt x="1114" y="2386"/>
                </a:lnTo>
                <a:lnTo>
                  <a:pt x="1114" y="3340"/>
                </a:lnTo>
                <a:lnTo>
                  <a:pt x="636" y="3340"/>
                </a:lnTo>
                <a:close/>
                <a:moveTo>
                  <a:pt x="3421" y="2227"/>
                </a:moveTo>
                <a:cubicBezTo>
                  <a:pt x="3373" y="2227"/>
                  <a:pt x="3341" y="2258"/>
                  <a:pt x="3341" y="2306"/>
                </a:cubicBezTo>
                <a:lnTo>
                  <a:pt x="3341" y="3420"/>
                </a:lnTo>
                <a:cubicBezTo>
                  <a:pt x="3341" y="3452"/>
                  <a:pt x="3373" y="3500"/>
                  <a:pt x="3421" y="3500"/>
                </a:cubicBezTo>
                <a:lnTo>
                  <a:pt x="4057" y="3500"/>
                </a:lnTo>
                <a:cubicBezTo>
                  <a:pt x="4105" y="3500"/>
                  <a:pt x="4136" y="3452"/>
                  <a:pt x="4136" y="3420"/>
                </a:cubicBezTo>
                <a:lnTo>
                  <a:pt x="4136" y="2306"/>
                </a:lnTo>
                <a:cubicBezTo>
                  <a:pt x="4136" y="2258"/>
                  <a:pt x="4105" y="2227"/>
                  <a:pt x="4057" y="2227"/>
                </a:cubicBezTo>
                <a:close/>
                <a:moveTo>
                  <a:pt x="3978" y="3340"/>
                </a:moveTo>
                <a:lnTo>
                  <a:pt x="3500" y="3340"/>
                </a:lnTo>
                <a:lnTo>
                  <a:pt x="3500" y="2386"/>
                </a:lnTo>
                <a:lnTo>
                  <a:pt x="3978" y="2386"/>
                </a:lnTo>
                <a:close/>
                <a:moveTo>
                  <a:pt x="1988" y="2227"/>
                </a:moveTo>
                <a:cubicBezTo>
                  <a:pt x="1941" y="2227"/>
                  <a:pt x="1909" y="2258"/>
                  <a:pt x="1909" y="2306"/>
                </a:cubicBezTo>
                <a:lnTo>
                  <a:pt x="1909" y="3420"/>
                </a:lnTo>
                <a:cubicBezTo>
                  <a:pt x="1909" y="3452"/>
                  <a:pt x="1941" y="3500"/>
                  <a:pt x="1988" y="3500"/>
                </a:cubicBezTo>
                <a:lnTo>
                  <a:pt x="2625" y="3500"/>
                </a:lnTo>
                <a:cubicBezTo>
                  <a:pt x="2673" y="3500"/>
                  <a:pt x="2705" y="3452"/>
                  <a:pt x="2705" y="3420"/>
                </a:cubicBezTo>
                <a:lnTo>
                  <a:pt x="2705" y="2306"/>
                </a:lnTo>
                <a:cubicBezTo>
                  <a:pt x="2705" y="2258"/>
                  <a:pt x="2673" y="2227"/>
                  <a:pt x="2625" y="2227"/>
                </a:cubicBezTo>
                <a:close/>
                <a:moveTo>
                  <a:pt x="2545" y="3340"/>
                </a:moveTo>
                <a:lnTo>
                  <a:pt x="2068" y="3340"/>
                </a:lnTo>
                <a:lnTo>
                  <a:pt x="2068" y="2386"/>
                </a:lnTo>
                <a:lnTo>
                  <a:pt x="2545" y="2386"/>
                </a:lnTo>
                <a:close/>
                <a:moveTo>
                  <a:pt x="2227" y="0"/>
                </a:moveTo>
                <a:cubicBezTo>
                  <a:pt x="1273" y="0"/>
                  <a:pt x="493" y="811"/>
                  <a:pt x="493" y="1829"/>
                </a:cubicBezTo>
                <a:cubicBezTo>
                  <a:pt x="493" y="1877"/>
                  <a:pt x="525" y="1909"/>
                  <a:pt x="573" y="1909"/>
                </a:cubicBezTo>
                <a:lnTo>
                  <a:pt x="4057" y="1909"/>
                </a:lnTo>
                <a:cubicBezTo>
                  <a:pt x="4089" y="1909"/>
                  <a:pt x="4136" y="1877"/>
                  <a:pt x="4136" y="1829"/>
                </a:cubicBezTo>
                <a:cubicBezTo>
                  <a:pt x="4136" y="858"/>
                  <a:pt x="3246" y="0"/>
                  <a:pt x="2227" y="0"/>
                </a:cubicBezTo>
                <a:close/>
                <a:moveTo>
                  <a:pt x="652" y="1749"/>
                </a:moveTo>
                <a:cubicBezTo>
                  <a:pt x="700" y="858"/>
                  <a:pt x="1384" y="158"/>
                  <a:pt x="2227" y="158"/>
                </a:cubicBezTo>
                <a:cubicBezTo>
                  <a:pt x="3118" y="158"/>
                  <a:pt x="3914" y="906"/>
                  <a:pt x="3961" y="174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9" name="Freeform: Shape 12">
            <a:extLst>
              <a:ext uri="{FF2B5EF4-FFF2-40B4-BE49-F238E27FC236}">
                <a16:creationId xmlns:a16="http://schemas.microsoft.com/office/drawing/2014/main" id="{82D1D433-22D0-D344-999B-BC42F2761109}"/>
              </a:ext>
            </a:extLst>
          </p:cNvPr>
          <p:cNvSpPr/>
          <p:nvPr/>
        </p:nvSpPr>
        <p:spPr>
          <a:xfrm>
            <a:off x="10167986" y="3268140"/>
            <a:ext cx="1253880" cy="1712160"/>
          </a:xfrm>
          <a:custGeom>
            <a:avLst/>
            <a:gdLst/>
            <a:ahLst/>
            <a:cxnLst>
              <a:cxn ang="3cd4">
                <a:pos x="hc" y="t"/>
              </a:cxn>
              <a:cxn ang="cd2">
                <a:pos x="l" y="vc"/>
              </a:cxn>
              <a:cxn ang="cd4">
                <a:pos x="hc" y="b"/>
              </a:cxn>
              <a:cxn ang="0">
                <a:pos x="r" y="vc"/>
              </a:cxn>
            </a:cxnLst>
            <a:rect l="l" t="t" r="r" b="b"/>
            <a:pathLst>
              <a:path w="3484" h="4757">
                <a:moveTo>
                  <a:pt x="2927" y="0"/>
                </a:moveTo>
                <a:lnTo>
                  <a:pt x="700" y="0"/>
                </a:lnTo>
                <a:cubicBezTo>
                  <a:pt x="668" y="0"/>
                  <a:pt x="621" y="31"/>
                  <a:pt x="621" y="79"/>
                </a:cubicBezTo>
                <a:lnTo>
                  <a:pt x="621" y="795"/>
                </a:lnTo>
                <a:lnTo>
                  <a:pt x="80" y="795"/>
                </a:lnTo>
                <a:cubicBezTo>
                  <a:pt x="32" y="795"/>
                  <a:pt x="0" y="827"/>
                  <a:pt x="0" y="875"/>
                </a:cubicBezTo>
                <a:lnTo>
                  <a:pt x="0" y="4677"/>
                </a:lnTo>
                <a:cubicBezTo>
                  <a:pt x="0" y="4725"/>
                  <a:pt x="32" y="4757"/>
                  <a:pt x="80" y="4757"/>
                </a:cubicBezTo>
                <a:lnTo>
                  <a:pt x="1336" y="4757"/>
                </a:lnTo>
                <a:lnTo>
                  <a:pt x="2132" y="4757"/>
                </a:lnTo>
                <a:lnTo>
                  <a:pt x="3405" y="4757"/>
                </a:lnTo>
                <a:cubicBezTo>
                  <a:pt x="3453" y="4757"/>
                  <a:pt x="3484" y="4725"/>
                  <a:pt x="3484" y="4677"/>
                </a:cubicBezTo>
                <a:lnTo>
                  <a:pt x="3484" y="875"/>
                </a:lnTo>
                <a:cubicBezTo>
                  <a:pt x="3484" y="827"/>
                  <a:pt x="3453" y="795"/>
                  <a:pt x="3405" y="795"/>
                </a:cubicBezTo>
                <a:lnTo>
                  <a:pt x="3007" y="795"/>
                </a:lnTo>
                <a:lnTo>
                  <a:pt x="3007" y="79"/>
                </a:lnTo>
                <a:cubicBezTo>
                  <a:pt x="3007" y="31"/>
                  <a:pt x="2975" y="0"/>
                  <a:pt x="2927" y="0"/>
                </a:cubicBezTo>
                <a:close/>
                <a:moveTo>
                  <a:pt x="780" y="158"/>
                </a:moveTo>
                <a:lnTo>
                  <a:pt x="2848" y="158"/>
                </a:lnTo>
                <a:lnTo>
                  <a:pt x="2848" y="795"/>
                </a:lnTo>
                <a:lnTo>
                  <a:pt x="780" y="795"/>
                </a:lnTo>
                <a:close/>
                <a:moveTo>
                  <a:pt x="1416" y="4597"/>
                </a:moveTo>
                <a:lnTo>
                  <a:pt x="1416" y="4136"/>
                </a:lnTo>
                <a:lnTo>
                  <a:pt x="2053" y="4136"/>
                </a:lnTo>
                <a:lnTo>
                  <a:pt x="2053" y="4597"/>
                </a:lnTo>
                <a:close/>
                <a:moveTo>
                  <a:pt x="3326" y="4597"/>
                </a:moveTo>
                <a:lnTo>
                  <a:pt x="2212" y="4597"/>
                </a:lnTo>
                <a:lnTo>
                  <a:pt x="2212" y="4057"/>
                </a:lnTo>
                <a:cubicBezTo>
                  <a:pt x="2212" y="4009"/>
                  <a:pt x="2180" y="3977"/>
                  <a:pt x="2132" y="3977"/>
                </a:cubicBezTo>
                <a:lnTo>
                  <a:pt x="1336" y="3977"/>
                </a:lnTo>
                <a:cubicBezTo>
                  <a:pt x="1305" y="3977"/>
                  <a:pt x="1257" y="4009"/>
                  <a:pt x="1257" y="4057"/>
                </a:cubicBezTo>
                <a:lnTo>
                  <a:pt x="1257" y="4597"/>
                </a:lnTo>
                <a:lnTo>
                  <a:pt x="159" y="4597"/>
                </a:lnTo>
                <a:lnTo>
                  <a:pt x="159" y="954"/>
                </a:lnTo>
                <a:lnTo>
                  <a:pt x="700" y="954"/>
                </a:lnTo>
                <a:lnTo>
                  <a:pt x="2927" y="954"/>
                </a:lnTo>
                <a:lnTo>
                  <a:pt x="3326" y="954"/>
                </a:lnTo>
                <a:close/>
                <a:moveTo>
                  <a:pt x="939" y="1431"/>
                </a:moveTo>
                <a:lnTo>
                  <a:pt x="621" y="1431"/>
                </a:lnTo>
                <a:cubicBezTo>
                  <a:pt x="589" y="1431"/>
                  <a:pt x="541" y="1463"/>
                  <a:pt x="541" y="1511"/>
                </a:cubicBezTo>
                <a:cubicBezTo>
                  <a:pt x="541" y="1558"/>
                  <a:pt x="589" y="1591"/>
                  <a:pt x="621" y="1591"/>
                </a:cubicBezTo>
                <a:lnTo>
                  <a:pt x="939" y="1591"/>
                </a:lnTo>
                <a:cubicBezTo>
                  <a:pt x="987" y="1591"/>
                  <a:pt x="1018" y="1558"/>
                  <a:pt x="1018" y="1511"/>
                </a:cubicBezTo>
                <a:cubicBezTo>
                  <a:pt x="1018" y="1463"/>
                  <a:pt x="987" y="1431"/>
                  <a:pt x="939" y="1431"/>
                </a:cubicBezTo>
                <a:close/>
                <a:moveTo>
                  <a:pt x="1893" y="1431"/>
                </a:moveTo>
                <a:lnTo>
                  <a:pt x="1575" y="1431"/>
                </a:lnTo>
                <a:cubicBezTo>
                  <a:pt x="1544" y="1431"/>
                  <a:pt x="1496" y="1463"/>
                  <a:pt x="1496" y="1511"/>
                </a:cubicBezTo>
                <a:cubicBezTo>
                  <a:pt x="1496" y="1558"/>
                  <a:pt x="1544" y="1591"/>
                  <a:pt x="1575" y="1591"/>
                </a:cubicBezTo>
                <a:lnTo>
                  <a:pt x="1893" y="1591"/>
                </a:lnTo>
                <a:cubicBezTo>
                  <a:pt x="1941" y="1591"/>
                  <a:pt x="1973" y="1558"/>
                  <a:pt x="1973" y="1511"/>
                </a:cubicBezTo>
                <a:cubicBezTo>
                  <a:pt x="1973" y="1463"/>
                  <a:pt x="1941" y="1431"/>
                  <a:pt x="1893" y="1431"/>
                </a:cubicBezTo>
                <a:close/>
                <a:moveTo>
                  <a:pt x="1575" y="477"/>
                </a:moveTo>
                <a:lnTo>
                  <a:pt x="1098" y="477"/>
                </a:lnTo>
                <a:cubicBezTo>
                  <a:pt x="1066" y="477"/>
                  <a:pt x="1018" y="509"/>
                  <a:pt x="1018" y="556"/>
                </a:cubicBezTo>
                <a:cubicBezTo>
                  <a:pt x="1018" y="604"/>
                  <a:pt x="1066" y="636"/>
                  <a:pt x="1098" y="636"/>
                </a:cubicBezTo>
                <a:lnTo>
                  <a:pt x="1575" y="636"/>
                </a:lnTo>
                <a:cubicBezTo>
                  <a:pt x="1623" y="636"/>
                  <a:pt x="1655" y="604"/>
                  <a:pt x="1655" y="556"/>
                </a:cubicBezTo>
                <a:cubicBezTo>
                  <a:pt x="1655" y="509"/>
                  <a:pt x="1623" y="477"/>
                  <a:pt x="1575" y="477"/>
                </a:cubicBezTo>
                <a:close/>
                <a:moveTo>
                  <a:pt x="2530" y="477"/>
                </a:moveTo>
                <a:lnTo>
                  <a:pt x="2053" y="477"/>
                </a:lnTo>
                <a:cubicBezTo>
                  <a:pt x="2021" y="477"/>
                  <a:pt x="1973" y="509"/>
                  <a:pt x="1973" y="556"/>
                </a:cubicBezTo>
                <a:cubicBezTo>
                  <a:pt x="1973" y="604"/>
                  <a:pt x="2021" y="636"/>
                  <a:pt x="2053" y="636"/>
                </a:cubicBezTo>
                <a:lnTo>
                  <a:pt x="2530" y="636"/>
                </a:lnTo>
                <a:cubicBezTo>
                  <a:pt x="2578" y="636"/>
                  <a:pt x="2609" y="604"/>
                  <a:pt x="2609" y="556"/>
                </a:cubicBezTo>
                <a:cubicBezTo>
                  <a:pt x="2609" y="509"/>
                  <a:pt x="2578" y="477"/>
                  <a:pt x="2530" y="477"/>
                </a:cubicBezTo>
                <a:close/>
                <a:moveTo>
                  <a:pt x="2848" y="1431"/>
                </a:moveTo>
                <a:lnTo>
                  <a:pt x="2530" y="1431"/>
                </a:lnTo>
                <a:cubicBezTo>
                  <a:pt x="2498" y="1431"/>
                  <a:pt x="2450" y="1463"/>
                  <a:pt x="2450" y="1511"/>
                </a:cubicBezTo>
                <a:cubicBezTo>
                  <a:pt x="2450" y="1558"/>
                  <a:pt x="2498" y="1591"/>
                  <a:pt x="2530" y="1591"/>
                </a:cubicBezTo>
                <a:lnTo>
                  <a:pt x="2848" y="1591"/>
                </a:lnTo>
                <a:cubicBezTo>
                  <a:pt x="2896" y="1591"/>
                  <a:pt x="2927" y="1558"/>
                  <a:pt x="2927" y="1511"/>
                </a:cubicBezTo>
                <a:cubicBezTo>
                  <a:pt x="2927" y="1463"/>
                  <a:pt x="2896" y="1431"/>
                  <a:pt x="2848" y="1431"/>
                </a:cubicBezTo>
                <a:close/>
                <a:moveTo>
                  <a:pt x="939" y="1749"/>
                </a:moveTo>
                <a:lnTo>
                  <a:pt x="621" y="1749"/>
                </a:lnTo>
                <a:cubicBezTo>
                  <a:pt x="589" y="1749"/>
                  <a:pt x="541" y="1781"/>
                  <a:pt x="541" y="1829"/>
                </a:cubicBezTo>
                <a:cubicBezTo>
                  <a:pt x="541" y="1877"/>
                  <a:pt x="589" y="1909"/>
                  <a:pt x="621" y="1909"/>
                </a:cubicBezTo>
                <a:lnTo>
                  <a:pt x="939" y="1909"/>
                </a:lnTo>
                <a:cubicBezTo>
                  <a:pt x="987" y="1909"/>
                  <a:pt x="1018" y="1877"/>
                  <a:pt x="1018" y="1829"/>
                </a:cubicBezTo>
                <a:cubicBezTo>
                  <a:pt x="1018" y="1781"/>
                  <a:pt x="987" y="1749"/>
                  <a:pt x="939" y="1749"/>
                </a:cubicBezTo>
                <a:close/>
                <a:moveTo>
                  <a:pt x="1893" y="1749"/>
                </a:moveTo>
                <a:lnTo>
                  <a:pt x="1575" y="1749"/>
                </a:lnTo>
                <a:cubicBezTo>
                  <a:pt x="1544" y="1749"/>
                  <a:pt x="1496" y="1781"/>
                  <a:pt x="1496" y="1829"/>
                </a:cubicBezTo>
                <a:cubicBezTo>
                  <a:pt x="1496" y="1877"/>
                  <a:pt x="1544" y="1909"/>
                  <a:pt x="1575" y="1909"/>
                </a:cubicBezTo>
                <a:lnTo>
                  <a:pt x="1893" y="1909"/>
                </a:lnTo>
                <a:cubicBezTo>
                  <a:pt x="1941" y="1909"/>
                  <a:pt x="1973" y="1877"/>
                  <a:pt x="1973" y="1829"/>
                </a:cubicBezTo>
                <a:cubicBezTo>
                  <a:pt x="1973" y="1781"/>
                  <a:pt x="1941" y="1749"/>
                  <a:pt x="1893" y="1749"/>
                </a:cubicBezTo>
                <a:close/>
                <a:moveTo>
                  <a:pt x="2848" y="1749"/>
                </a:moveTo>
                <a:lnTo>
                  <a:pt x="2530" y="1749"/>
                </a:lnTo>
                <a:cubicBezTo>
                  <a:pt x="2498" y="1749"/>
                  <a:pt x="2450" y="1781"/>
                  <a:pt x="2450" y="1829"/>
                </a:cubicBezTo>
                <a:cubicBezTo>
                  <a:pt x="2450" y="1877"/>
                  <a:pt x="2498" y="1909"/>
                  <a:pt x="2530" y="1909"/>
                </a:cubicBezTo>
                <a:lnTo>
                  <a:pt x="2848" y="1909"/>
                </a:lnTo>
                <a:cubicBezTo>
                  <a:pt x="2896" y="1909"/>
                  <a:pt x="2927" y="1877"/>
                  <a:pt x="2927" y="1829"/>
                </a:cubicBezTo>
                <a:cubicBezTo>
                  <a:pt x="2927" y="1781"/>
                  <a:pt x="2896" y="1749"/>
                  <a:pt x="2848" y="1749"/>
                </a:cubicBezTo>
                <a:close/>
                <a:moveTo>
                  <a:pt x="939" y="2068"/>
                </a:moveTo>
                <a:lnTo>
                  <a:pt x="621" y="2068"/>
                </a:lnTo>
                <a:cubicBezTo>
                  <a:pt x="589" y="2068"/>
                  <a:pt x="541" y="2100"/>
                  <a:pt x="541" y="2147"/>
                </a:cubicBezTo>
                <a:cubicBezTo>
                  <a:pt x="541" y="2179"/>
                  <a:pt x="589" y="2227"/>
                  <a:pt x="621" y="2227"/>
                </a:cubicBezTo>
                <a:lnTo>
                  <a:pt x="939" y="2227"/>
                </a:lnTo>
                <a:cubicBezTo>
                  <a:pt x="987" y="2227"/>
                  <a:pt x="1018" y="2179"/>
                  <a:pt x="1018" y="2147"/>
                </a:cubicBezTo>
                <a:cubicBezTo>
                  <a:pt x="1018" y="2100"/>
                  <a:pt x="987" y="2068"/>
                  <a:pt x="939" y="2068"/>
                </a:cubicBezTo>
                <a:close/>
                <a:moveTo>
                  <a:pt x="1893" y="2068"/>
                </a:moveTo>
                <a:lnTo>
                  <a:pt x="1575" y="2068"/>
                </a:lnTo>
                <a:cubicBezTo>
                  <a:pt x="1544" y="2068"/>
                  <a:pt x="1496" y="2100"/>
                  <a:pt x="1496" y="2147"/>
                </a:cubicBezTo>
                <a:cubicBezTo>
                  <a:pt x="1496" y="2179"/>
                  <a:pt x="1544" y="2227"/>
                  <a:pt x="1575" y="2227"/>
                </a:cubicBezTo>
                <a:lnTo>
                  <a:pt x="1893" y="2227"/>
                </a:lnTo>
                <a:cubicBezTo>
                  <a:pt x="1941" y="2227"/>
                  <a:pt x="1973" y="2179"/>
                  <a:pt x="1973" y="2147"/>
                </a:cubicBezTo>
                <a:cubicBezTo>
                  <a:pt x="1973" y="2100"/>
                  <a:pt x="1941" y="2068"/>
                  <a:pt x="1893" y="2068"/>
                </a:cubicBezTo>
                <a:close/>
                <a:moveTo>
                  <a:pt x="2848" y="2068"/>
                </a:moveTo>
                <a:lnTo>
                  <a:pt x="2530" y="2068"/>
                </a:lnTo>
                <a:cubicBezTo>
                  <a:pt x="2498" y="2068"/>
                  <a:pt x="2450" y="2100"/>
                  <a:pt x="2450" y="2147"/>
                </a:cubicBezTo>
                <a:cubicBezTo>
                  <a:pt x="2450" y="2179"/>
                  <a:pt x="2498" y="2227"/>
                  <a:pt x="2530" y="2227"/>
                </a:cubicBezTo>
                <a:lnTo>
                  <a:pt x="2848" y="2227"/>
                </a:lnTo>
                <a:cubicBezTo>
                  <a:pt x="2896" y="2227"/>
                  <a:pt x="2927" y="2179"/>
                  <a:pt x="2927" y="2147"/>
                </a:cubicBezTo>
                <a:cubicBezTo>
                  <a:pt x="2927" y="2100"/>
                  <a:pt x="2896" y="2068"/>
                  <a:pt x="2848" y="2068"/>
                </a:cubicBezTo>
                <a:close/>
                <a:moveTo>
                  <a:pt x="939" y="2386"/>
                </a:moveTo>
                <a:lnTo>
                  <a:pt x="621" y="2386"/>
                </a:lnTo>
                <a:cubicBezTo>
                  <a:pt x="589" y="2386"/>
                  <a:pt x="541" y="2418"/>
                  <a:pt x="541" y="2466"/>
                </a:cubicBezTo>
                <a:cubicBezTo>
                  <a:pt x="541" y="2497"/>
                  <a:pt x="589" y="2545"/>
                  <a:pt x="621" y="2545"/>
                </a:cubicBezTo>
                <a:lnTo>
                  <a:pt x="939" y="2545"/>
                </a:lnTo>
                <a:cubicBezTo>
                  <a:pt x="987" y="2545"/>
                  <a:pt x="1018" y="2497"/>
                  <a:pt x="1018" y="2466"/>
                </a:cubicBezTo>
                <a:cubicBezTo>
                  <a:pt x="1018" y="2418"/>
                  <a:pt x="987" y="2386"/>
                  <a:pt x="939" y="2386"/>
                </a:cubicBezTo>
                <a:close/>
                <a:moveTo>
                  <a:pt x="1893" y="2386"/>
                </a:moveTo>
                <a:lnTo>
                  <a:pt x="1575" y="2386"/>
                </a:lnTo>
                <a:cubicBezTo>
                  <a:pt x="1544" y="2386"/>
                  <a:pt x="1496" y="2418"/>
                  <a:pt x="1496" y="2466"/>
                </a:cubicBezTo>
                <a:cubicBezTo>
                  <a:pt x="1496" y="2497"/>
                  <a:pt x="1544" y="2545"/>
                  <a:pt x="1575" y="2545"/>
                </a:cubicBezTo>
                <a:lnTo>
                  <a:pt x="1893" y="2545"/>
                </a:lnTo>
                <a:cubicBezTo>
                  <a:pt x="1941" y="2545"/>
                  <a:pt x="1973" y="2497"/>
                  <a:pt x="1973" y="2466"/>
                </a:cubicBezTo>
                <a:cubicBezTo>
                  <a:pt x="1973" y="2418"/>
                  <a:pt x="1941" y="2386"/>
                  <a:pt x="1893" y="2386"/>
                </a:cubicBezTo>
                <a:close/>
                <a:moveTo>
                  <a:pt x="2848" y="2386"/>
                </a:moveTo>
                <a:lnTo>
                  <a:pt x="2530" y="2386"/>
                </a:lnTo>
                <a:cubicBezTo>
                  <a:pt x="2498" y="2386"/>
                  <a:pt x="2450" y="2418"/>
                  <a:pt x="2450" y="2466"/>
                </a:cubicBezTo>
                <a:cubicBezTo>
                  <a:pt x="2450" y="2497"/>
                  <a:pt x="2498" y="2545"/>
                  <a:pt x="2530" y="2545"/>
                </a:cubicBezTo>
                <a:lnTo>
                  <a:pt x="2848" y="2545"/>
                </a:lnTo>
                <a:cubicBezTo>
                  <a:pt x="2896" y="2545"/>
                  <a:pt x="2927" y="2497"/>
                  <a:pt x="2927" y="2466"/>
                </a:cubicBezTo>
                <a:cubicBezTo>
                  <a:pt x="2927" y="2418"/>
                  <a:pt x="2896" y="2386"/>
                  <a:pt x="2848" y="2386"/>
                </a:cubicBezTo>
                <a:close/>
                <a:moveTo>
                  <a:pt x="939" y="2704"/>
                </a:moveTo>
                <a:lnTo>
                  <a:pt x="621" y="2704"/>
                </a:lnTo>
                <a:cubicBezTo>
                  <a:pt x="589" y="2704"/>
                  <a:pt x="541" y="2736"/>
                  <a:pt x="541" y="2784"/>
                </a:cubicBezTo>
                <a:cubicBezTo>
                  <a:pt x="541" y="2815"/>
                  <a:pt x="589" y="2863"/>
                  <a:pt x="621" y="2863"/>
                </a:cubicBezTo>
                <a:lnTo>
                  <a:pt x="939" y="2863"/>
                </a:lnTo>
                <a:cubicBezTo>
                  <a:pt x="987" y="2863"/>
                  <a:pt x="1018" y="2815"/>
                  <a:pt x="1018" y="2784"/>
                </a:cubicBezTo>
                <a:cubicBezTo>
                  <a:pt x="1018" y="2736"/>
                  <a:pt x="987" y="2704"/>
                  <a:pt x="939" y="2704"/>
                </a:cubicBezTo>
                <a:close/>
                <a:moveTo>
                  <a:pt x="1893" y="2704"/>
                </a:moveTo>
                <a:lnTo>
                  <a:pt x="1575" y="2704"/>
                </a:lnTo>
                <a:cubicBezTo>
                  <a:pt x="1544" y="2704"/>
                  <a:pt x="1496" y="2736"/>
                  <a:pt x="1496" y="2784"/>
                </a:cubicBezTo>
                <a:cubicBezTo>
                  <a:pt x="1496" y="2815"/>
                  <a:pt x="1544" y="2863"/>
                  <a:pt x="1575" y="2863"/>
                </a:cubicBezTo>
                <a:lnTo>
                  <a:pt x="1893" y="2863"/>
                </a:lnTo>
                <a:cubicBezTo>
                  <a:pt x="1941" y="2863"/>
                  <a:pt x="1973" y="2815"/>
                  <a:pt x="1973" y="2784"/>
                </a:cubicBezTo>
                <a:cubicBezTo>
                  <a:pt x="1973" y="2736"/>
                  <a:pt x="1941" y="2704"/>
                  <a:pt x="1893" y="2704"/>
                </a:cubicBezTo>
                <a:close/>
                <a:moveTo>
                  <a:pt x="2848" y="2704"/>
                </a:moveTo>
                <a:lnTo>
                  <a:pt x="2530" y="2704"/>
                </a:lnTo>
                <a:cubicBezTo>
                  <a:pt x="2498" y="2704"/>
                  <a:pt x="2450" y="2736"/>
                  <a:pt x="2450" y="2784"/>
                </a:cubicBezTo>
                <a:cubicBezTo>
                  <a:pt x="2450" y="2815"/>
                  <a:pt x="2498" y="2863"/>
                  <a:pt x="2530" y="2863"/>
                </a:cubicBezTo>
                <a:lnTo>
                  <a:pt x="2848" y="2863"/>
                </a:lnTo>
                <a:cubicBezTo>
                  <a:pt x="2896" y="2863"/>
                  <a:pt x="2927" y="2815"/>
                  <a:pt x="2927" y="2784"/>
                </a:cubicBezTo>
                <a:cubicBezTo>
                  <a:pt x="2927" y="2736"/>
                  <a:pt x="2896" y="2704"/>
                  <a:pt x="2848" y="2704"/>
                </a:cubicBezTo>
                <a:close/>
                <a:moveTo>
                  <a:pt x="939" y="3022"/>
                </a:moveTo>
                <a:lnTo>
                  <a:pt x="621" y="3022"/>
                </a:lnTo>
                <a:cubicBezTo>
                  <a:pt x="589" y="3022"/>
                  <a:pt x="541" y="3054"/>
                  <a:pt x="541" y="3102"/>
                </a:cubicBezTo>
                <a:cubicBezTo>
                  <a:pt x="541" y="3134"/>
                  <a:pt x="589" y="3181"/>
                  <a:pt x="621" y="3181"/>
                </a:cubicBezTo>
                <a:lnTo>
                  <a:pt x="939" y="3181"/>
                </a:lnTo>
                <a:cubicBezTo>
                  <a:pt x="987" y="3181"/>
                  <a:pt x="1018" y="3134"/>
                  <a:pt x="1018" y="3102"/>
                </a:cubicBezTo>
                <a:cubicBezTo>
                  <a:pt x="1018" y="3054"/>
                  <a:pt x="987" y="3022"/>
                  <a:pt x="939" y="3022"/>
                </a:cubicBezTo>
                <a:close/>
                <a:moveTo>
                  <a:pt x="1893" y="3022"/>
                </a:moveTo>
                <a:lnTo>
                  <a:pt x="1575" y="3022"/>
                </a:lnTo>
                <a:cubicBezTo>
                  <a:pt x="1544" y="3022"/>
                  <a:pt x="1496" y="3054"/>
                  <a:pt x="1496" y="3102"/>
                </a:cubicBezTo>
                <a:cubicBezTo>
                  <a:pt x="1496" y="3134"/>
                  <a:pt x="1544" y="3181"/>
                  <a:pt x="1575" y="3181"/>
                </a:cubicBezTo>
                <a:lnTo>
                  <a:pt x="1893" y="3181"/>
                </a:lnTo>
                <a:cubicBezTo>
                  <a:pt x="1941" y="3181"/>
                  <a:pt x="1973" y="3134"/>
                  <a:pt x="1973" y="3102"/>
                </a:cubicBezTo>
                <a:cubicBezTo>
                  <a:pt x="1973" y="3054"/>
                  <a:pt x="1941" y="3022"/>
                  <a:pt x="1893" y="3022"/>
                </a:cubicBezTo>
                <a:close/>
                <a:moveTo>
                  <a:pt x="2848" y="3022"/>
                </a:moveTo>
                <a:lnTo>
                  <a:pt x="2530" y="3022"/>
                </a:lnTo>
                <a:cubicBezTo>
                  <a:pt x="2498" y="3022"/>
                  <a:pt x="2450" y="3054"/>
                  <a:pt x="2450" y="3102"/>
                </a:cubicBezTo>
                <a:cubicBezTo>
                  <a:pt x="2450" y="3134"/>
                  <a:pt x="2498" y="3181"/>
                  <a:pt x="2530" y="3181"/>
                </a:cubicBezTo>
                <a:lnTo>
                  <a:pt x="2848" y="3181"/>
                </a:lnTo>
                <a:cubicBezTo>
                  <a:pt x="2896" y="3181"/>
                  <a:pt x="2927" y="3134"/>
                  <a:pt x="2927" y="3102"/>
                </a:cubicBezTo>
                <a:cubicBezTo>
                  <a:pt x="2927" y="3054"/>
                  <a:pt x="2896" y="3022"/>
                  <a:pt x="2848" y="3022"/>
                </a:cubicBezTo>
                <a:close/>
                <a:moveTo>
                  <a:pt x="939" y="3340"/>
                </a:moveTo>
                <a:lnTo>
                  <a:pt x="621" y="3340"/>
                </a:lnTo>
                <a:cubicBezTo>
                  <a:pt x="589" y="3340"/>
                  <a:pt x="541" y="3372"/>
                  <a:pt x="541" y="3420"/>
                </a:cubicBezTo>
                <a:cubicBezTo>
                  <a:pt x="541" y="3452"/>
                  <a:pt x="589" y="3500"/>
                  <a:pt x="621" y="3500"/>
                </a:cubicBezTo>
                <a:lnTo>
                  <a:pt x="939" y="3500"/>
                </a:lnTo>
                <a:cubicBezTo>
                  <a:pt x="987" y="3500"/>
                  <a:pt x="1018" y="3452"/>
                  <a:pt x="1018" y="3420"/>
                </a:cubicBezTo>
                <a:cubicBezTo>
                  <a:pt x="1018" y="3372"/>
                  <a:pt x="987" y="3340"/>
                  <a:pt x="939" y="3340"/>
                </a:cubicBezTo>
                <a:close/>
                <a:moveTo>
                  <a:pt x="1893" y="3340"/>
                </a:moveTo>
                <a:lnTo>
                  <a:pt x="1575" y="3340"/>
                </a:lnTo>
                <a:cubicBezTo>
                  <a:pt x="1544" y="3340"/>
                  <a:pt x="1496" y="3372"/>
                  <a:pt x="1496" y="3420"/>
                </a:cubicBezTo>
                <a:cubicBezTo>
                  <a:pt x="1496" y="3452"/>
                  <a:pt x="1544" y="3500"/>
                  <a:pt x="1575" y="3500"/>
                </a:cubicBezTo>
                <a:lnTo>
                  <a:pt x="1893" y="3500"/>
                </a:lnTo>
                <a:cubicBezTo>
                  <a:pt x="1941" y="3500"/>
                  <a:pt x="1973" y="3452"/>
                  <a:pt x="1973" y="3420"/>
                </a:cubicBezTo>
                <a:cubicBezTo>
                  <a:pt x="1973" y="3372"/>
                  <a:pt x="1941" y="3340"/>
                  <a:pt x="1893" y="3340"/>
                </a:cubicBezTo>
                <a:close/>
                <a:moveTo>
                  <a:pt x="2848" y="3340"/>
                </a:moveTo>
                <a:lnTo>
                  <a:pt x="2530" y="3340"/>
                </a:lnTo>
                <a:cubicBezTo>
                  <a:pt x="2498" y="3340"/>
                  <a:pt x="2450" y="3372"/>
                  <a:pt x="2450" y="3420"/>
                </a:cubicBezTo>
                <a:cubicBezTo>
                  <a:pt x="2450" y="3452"/>
                  <a:pt x="2498" y="3500"/>
                  <a:pt x="2530" y="3500"/>
                </a:cubicBezTo>
                <a:lnTo>
                  <a:pt x="2848" y="3500"/>
                </a:lnTo>
                <a:cubicBezTo>
                  <a:pt x="2896" y="3500"/>
                  <a:pt x="2927" y="3452"/>
                  <a:pt x="2927" y="3420"/>
                </a:cubicBezTo>
                <a:cubicBezTo>
                  <a:pt x="2927" y="3372"/>
                  <a:pt x="2896" y="3340"/>
                  <a:pt x="2848" y="33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9" name="Freeform: Shape 13">
            <a:extLst>
              <a:ext uri="{FF2B5EF4-FFF2-40B4-BE49-F238E27FC236}">
                <a16:creationId xmlns:a16="http://schemas.microsoft.com/office/drawing/2014/main" id="{0DA9A3F6-4FF0-1141-8250-DD5F91238F09}"/>
              </a:ext>
            </a:extLst>
          </p:cNvPr>
          <p:cNvSpPr/>
          <p:nvPr/>
        </p:nvSpPr>
        <p:spPr>
          <a:xfrm>
            <a:off x="5909390" y="3269580"/>
            <a:ext cx="1654919" cy="1710720"/>
          </a:xfrm>
          <a:custGeom>
            <a:avLst/>
            <a:gdLst/>
            <a:ahLst/>
            <a:cxnLst>
              <a:cxn ang="3cd4">
                <a:pos x="hc" y="t"/>
              </a:cxn>
              <a:cxn ang="cd2">
                <a:pos x="l" y="vc"/>
              </a:cxn>
              <a:cxn ang="cd4">
                <a:pos x="hc" y="b"/>
              </a:cxn>
              <a:cxn ang="0">
                <a:pos x="r" y="vc"/>
              </a:cxn>
            </a:cxnLst>
            <a:rect l="l" t="t" r="r" b="b"/>
            <a:pathLst>
              <a:path w="4598" h="4753">
                <a:moveTo>
                  <a:pt x="48" y="1682"/>
                </a:moveTo>
                <a:cubicBezTo>
                  <a:pt x="63" y="1714"/>
                  <a:pt x="95" y="1745"/>
                  <a:pt x="127" y="1745"/>
                </a:cubicBezTo>
                <a:lnTo>
                  <a:pt x="4502" y="1745"/>
                </a:lnTo>
                <a:cubicBezTo>
                  <a:pt x="4534" y="1745"/>
                  <a:pt x="4566" y="1714"/>
                  <a:pt x="4582" y="1682"/>
                </a:cubicBezTo>
                <a:cubicBezTo>
                  <a:pt x="4582" y="1650"/>
                  <a:pt x="4582" y="1618"/>
                  <a:pt x="4550" y="1602"/>
                </a:cubicBezTo>
                <a:lnTo>
                  <a:pt x="2354" y="11"/>
                </a:lnTo>
                <a:cubicBezTo>
                  <a:pt x="2339" y="-4"/>
                  <a:pt x="2291" y="-4"/>
                  <a:pt x="2275" y="11"/>
                </a:cubicBezTo>
                <a:lnTo>
                  <a:pt x="79" y="1602"/>
                </a:lnTo>
                <a:cubicBezTo>
                  <a:pt x="48" y="1618"/>
                  <a:pt x="48" y="1650"/>
                  <a:pt x="48" y="1682"/>
                </a:cubicBezTo>
                <a:close/>
                <a:moveTo>
                  <a:pt x="2322" y="171"/>
                </a:moveTo>
                <a:lnTo>
                  <a:pt x="4264" y="1587"/>
                </a:lnTo>
                <a:lnTo>
                  <a:pt x="366" y="1587"/>
                </a:lnTo>
                <a:close/>
                <a:moveTo>
                  <a:pt x="4518" y="4132"/>
                </a:moveTo>
                <a:lnTo>
                  <a:pt x="79" y="4132"/>
                </a:lnTo>
                <a:cubicBezTo>
                  <a:pt x="31" y="4132"/>
                  <a:pt x="0" y="4164"/>
                  <a:pt x="0" y="4212"/>
                </a:cubicBezTo>
                <a:lnTo>
                  <a:pt x="0" y="4673"/>
                </a:lnTo>
                <a:cubicBezTo>
                  <a:pt x="0" y="4721"/>
                  <a:pt x="31" y="4753"/>
                  <a:pt x="79" y="4753"/>
                </a:cubicBezTo>
                <a:lnTo>
                  <a:pt x="4518" y="4753"/>
                </a:lnTo>
                <a:cubicBezTo>
                  <a:pt x="4566" y="4753"/>
                  <a:pt x="4598" y="4721"/>
                  <a:pt x="4598" y="4673"/>
                </a:cubicBezTo>
                <a:lnTo>
                  <a:pt x="4598" y="4212"/>
                </a:lnTo>
                <a:cubicBezTo>
                  <a:pt x="4598" y="4164"/>
                  <a:pt x="4566" y="4132"/>
                  <a:pt x="4518" y="4132"/>
                </a:cubicBezTo>
                <a:close/>
                <a:moveTo>
                  <a:pt x="4439" y="4593"/>
                </a:moveTo>
                <a:lnTo>
                  <a:pt x="159" y="4593"/>
                </a:lnTo>
                <a:lnTo>
                  <a:pt x="159" y="4291"/>
                </a:lnTo>
                <a:lnTo>
                  <a:pt x="4439" y="4291"/>
                </a:lnTo>
                <a:close/>
                <a:moveTo>
                  <a:pt x="239" y="2064"/>
                </a:moveTo>
                <a:cubicBezTo>
                  <a:pt x="191" y="2064"/>
                  <a:pt x="159" y="2096"/>
                  <a:pt x="159" y="2143"/>
                </a:cubicBezTo>
                <a:lnTo>
                  <a:pt x="159" y="3893"/>
                </a:lnTo>
                <a:cubicBezTo>
                  <a:pt x="159" y="3925"/>
                  <a:pt x="191" y="3973"/>
                  <a:pt x="239" y="3973"/>
                </a:cubicBezTo>
                <a:lnTo>
                  <a:pt x="875" y="3973"/>
                </a:lnTo>
                <a:cubicBezTo>
                  <a:pt x="922" y="3973"/>
                  <a:pt x="954" y="3925"/>
                  <a:pt x="954" y="3893"/>
                </a:cubicBezTo>
                <a:lnTo>
                  <a:pt x="954" y="2143"/>
                </a:lnTo>
                <a:cubicBezTo>
                  <a:pt x="954" y="2096"/>
                  <a:pt x="922" y="2064"/>
                  <a:pt x="875" y="2064"/>
                </a:cubicBezTo>
                <a:close/>
                <a:moveTo>
                  <a:pt x="795" y="3814"/>
                </a:moveTo>
                <a:lnTo>
                  <a:pt x="318" y="3814"/>
                </a:lnTo>
                <a:lnTo>
                  <a:pt x="318" y="2223"/>
                </a:lnTo>
                <a:lnTo>
                  <a:pt x="795" y="2223"/>
                </a:lnTo>
                <a:close/>
                <a:moveTo>
                  <a:pt x="3739" y="2064"/>
                </a:moveTo>
                <a:cubicBezTo>
                  <a:pt x="3691" y="2064"/>
                  <a:pt x="3659" y="2096"/>
                  <a:pt x="3659" y="2143"/>
                </a:cubicBezTo>
                <a:lnTo>
                  <a:pt x="3659" y="3893"/>
                </a:lnTo>
                <a:cubicBezTo>
                  <a:pt x="3659" y="3925"/>
                  <a:pt x="3691" y="3973"/>
                  <a:pt x="3739" y="3973"/>
                </a:cubicBezTo>
                <a:lnTo>
                  <a:pt x="4359" y="3973"/>
                </a:lnTo>
                <a:cubicBezTo>
                  <a:pt x="4407" y="3973"/>
                  <a:pt x="4439" y="3925"/>
                  <a:pt x="4439" y="3893"/>
                </a:cubicBezTo>
                <a:lnTo>
                  <a:pt x="4439" y="2143"/>
                </a:lnTo>
                <a:cubicBezTo>
                  <a:pt x="4439" y="2096"/>
                  <a:pt x="4407" y="2064"/>
                  <a:pt x="4359" y="2064"/>
                </a:cubicBezTo>
                <a:close/>
                <a:moveTo>
                  <a:pt x="4279" y="3814"/>
                </a:moveTo>
                <a:lnTo>
                  <a:pt x="3818" y="3814"/>
                </a:lnTo>
                <a:lnTo>
                  <a:pt x="3818" y="2223"/>
                </a:lnTo>
                <a:lnTo>
                  <a:pt x="4279" y="2223"/>
                </a:lnTo>
                <a:close/>
                <a:moveTo>
                  <a:pt x="2752" y="1969"/>
                </a:moveTo>
                <a:cubicBezTo>
                  <a:pt x="2657" y="1969"/>
                  <a:pt x="2434" y="1985"/>
                  <a:pt x="2307" y="2081"/>
                </a:cubicBezTo>
                <a:cubicBezTo>
                  <a:pt x="2164" y="1985"/>
                  <a:pt x="1957" y="1969"/>
                  <a:pt x="1861" y="1969"/>
                </a:cubicBezTo>
                <a:cubicBezTo>
                  <a:pt x="1654" y="1954"/>
                  <a:pt x="1400" y="1985"/>
                  <a:pt x="1288" y="2097"/>
                </a:cubicBezTo>
                <a:cubicBezTo>
                  <a:pt x="1273" y="2112"/>
                  <a:pt x="1273" y="2128"/>
                  <a:pt x="1273" y="2160"/>
                </a:cubicBezTo>
                <a:lnTo>
                  <a:pt x="1273" y="3846"/>
                </a:lnTo>
                <a:cubicBezTo>
                  <a:pt x="1273" y="3879"/>
                  <a:pt x="1288" y="3910"/>
                  <a:pt x="1320" y="3910"/>
                </a:cubicBezTo>
                <a:cubicBezTo>
                  <a:pt x="1352" y="3926"/>
                  <a:pt x="1384" y="3926"/>
                  <a:pt x="1400" y="3894"/>
                </a:cubicBezTo>
                <a:cubicBezTo>
                  <a:pt x="1527" y="3783"/>
                  <a:pt x="1988" y="3863"/>
                  <a:pt x="2275" y="3958"/>
                </a:cubicBezTo>
                <a:cubicBezTo>
                  <a:pt x="2291" y="3958"/>
                  <a:pt x="2296" y="3968"/>
                  <a:pt x="2307" y="3974"/>
                </a:cubicBezTo>
                <a:cubicBezTo>
                  <a:pt x="2322" y="3974"/>
                  <a:pt x="2322" y="3974"/>
                  <a:pt x="2339" y="3958"/>
                </a:cubicBezTo>
                <a:cubicBezTo>
                  <a:pt x="2545" y="3894"/>
                  <a:pt x="3070" y="3767"/>
                  <a:pt x="3198" y="3894"/>
                </a:cubicBezTo>
                <a:cubicBezTo>
                  <a:pt x="3213" y="3926"/>
                  <a:pt x="3261" y="3926"/>
                  <a:pt x="3277" y="3910"/>
                </a:cubicBezTo>
                <a:cubicBezTo>
                  <a:pt x="3309" y="3910"/>
                  <a:pt x="3341" y="3879"/>
                  <a:pt x="3341" y="3846"/>
                </a:cubicBezTo>
                <a:lnTo>
                  <a:pt x="3341" y="2160"/>
                </a:lnTo>
                <a:cubicBezTo>
                  <a:pt x="3341" y="2128"/>
                  <a:pt x="3325" y="2112"/>
                  <a:pt x="3309" y="2097"/>
                </a:cubicBezTo>
                <a:cubicBezTo>
                  <a:pt x="3198" y="1985"/>
                  <a:pt x="2943" y="1954"/>
                  <a:pt x="2752" y="1969"/>
                </a:cubicBezTo>
                <a:close/>
                <a:moveTo>
                  <a:pt x="3182" y="2192"/>
                </a:moveTo>
                <a:lnTo>
                  <a:pt x="3182" y="3703"/>
                </a:lnTo>
                <a:cubicBezTo>
                  <a:pt x="2895" y="3624"/>
                  <a:pt x="2434" y="3767"/>
                  <a:pt x="2307" y="3799"/>
                </a:cubicBezTo>
                <a:cubicBezTo>
                  <a:pt x="2195" y="3767"/>
                  <a:pt x="1893" y="3688"/>
                  <a:pt x="1639" y="3688"/>
                </a:cubicBezTo>
                <a:cubicBezTo>
                  <a:pt x="1559" y="3688"/>
                  <a:pt x="1495" y="3688"/>
                  <a:pt x="1431" y="3703"/>
                </a:cubicBezTo>
                <a:lnTo>
                  <a:pt x="1431" y="2192"/>
                </a:lnTo>
                <a:cubicBezTo>
                  <a:pt x="1495" y="2144"/>
                  <a:pt x="1654" y="2112"/>
                  <a:pt x="1845" y="2128"/>
                </a:cubicBezTo>
                <a:cubicBezTo>
                  <a:pt x="2004" y="2128"/>
                  <a:pt x="2164" y="2160"/>
                  <a:pt x="2227" y="2208"/>
                </a:cubicBezTo>
                <a:lnTo>
                  <a:pt x="2227" y="3146"/>
                </a:lnTo>
                <a:cubicBezTo>
                  <a:pt x="2227" y="3194"/>
                  <a:pt x="2259" y="3226"/>
                  <a:pt x="2307" y="3226"/>
                </a:cubicBezTo>
                <a:cubicBezTo>
                  <a:pt x="2339" y="3226"/>
                  <a:pt x="2386" y="3194"/>
                  <a:pt x="2386" y="3146"/>
                </a:cubicBezTo>
                <a:lnTo>
                  <a:pt x="2386" y="2208"/>
                </a:lnTo>
                <a:cubicBezTo>
                  <a:pt x="2450" y="2160"/>
                  <a:pt x="2593" y="2128"/>
                  <a:pt x="2752" y="2128"/>
                </a:cubicBezTo>
                <a:cubicBezTo>
                  <a:pt x="2959" y="2112"/>
                  <a:pt x="3102" y="2144"/>
                  <a:pt x="3182" y="219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0" name="Freeform: Shape 14">
            <a:extLst>
              <a:ext uri="{FF2B5EF4-FFF2-40B4-BE49-F238E27FC236}">
                <a16:creationId xmlns:a16="http://schemas.microsoft.com/office/drawing/2014/main" id="{DC512572-33BE-D140-9718-39124CA61241}"/>
              </a:ext>
            </a:extLst>
          </p:cNvPr>
          <p:cNvSpPr/>
          <p:nvPr/>
        </p:nvSpPr>
        <p:spPr>
          <a:xfrm>
            <a:off x="1728889" y="3269580"/>
            <a:ext cx="1662840" cy="1710720"/>
          </a:xfrm>
          <a:custGeom>
            <a:avLst/>
            <a:gdLst/>
            <a:ahLst/>
            <a:cxnLst>
              <a:cxn ang="3cd4">
                <a:pos x="hc" y="t"/>
              </a:cxn>
              <a:cxn ang="cd2">
                <a:pos x="l" y="vc"/>
              </a:cxn>
              <a:cxn ang="cd4">
                <a:pos x="hc" y="b"/>
              </a:cxn>
              <a:cxn ang="0">
                <a:pos x="r" y="vc"/>
              </a:cxn>
            </a:cxnLst>
            <a:rect l="l" t="t" r="r" b="b"/>
            <a:pathLst>
              <a:path w="4620" h="4753">
                <a:moveTo>
                  <a:pt x="4582" y="1602"/>
                </a:moveTo>
                <a:lnTo>
                  <a:pt x="2307" y="11"/>
                </a:lnTo>
                <a:cubicBezTo>
                  <a:pt x="2275" y="-4"/>
                  <a:pt x="2228" y="-4"/>
                  <a:pt x="2212" y="11"/>
                </a:cubicBezTo>
                <a:lnTo>
                  <a:pt x="32" y="1602"/>
                </a:lnTo>
                <a:cubicBezTo>
                  <a:pt x="0" y="1618"/>
                  <a:pt x="0" y="1650"/>
                  <a:pt x="0" y="1682"/>
                </a:cubicBezTo>
                <a:cubicBezTo>
                  <a:pt x="16" y="1714"/>
                  <a:pt x="48" y="1745"/>
                  <a:pt x="80" y="1745"/>
                </a:cubicBezTo>
                <a:lnTo>
                  <a:pt x="4534" y="1745"/>
                </a:lnTo>
                <a:cubicBezTo>
                  <a:pt x="4566" y="1745"/>
                  <a:pt x="4598" y="1714"/>
                  <a:pt x="4614" y="1682"/>
                </a:cubicBezTo>
                <a:cubicBezTo>
                  <a:pt x="4630" y="1650"/>
                  <a:pt x="4614" y="1618"/>
                  <a:pt x="4582" y="1602"/>
                </a:cubicBezTo>
                <a:close/>
                <a:moveTo>
                  <a:pt x="318" y="1587"/>
                </a:moveTo>
                <a:lnTo>
                  <a:pt x="2260" y="171"/>
                </a:lnTo>
                <a:lnTo>
                  <a:pt x="4280" y="1587"/>
                </a:lnTo>
                <a:close/>
                <a:moveTo>
                  <a:pt x="4598" y="4673"/>
                </a:moveTo>
                <a:lnTo>
                  <a:pt x="4598" y="4212"/>
                </a:lnTo>
                <a:cubicBezTo>
                  <a:pt x="4598" y="4164"/>
                  <a:pt x="4566" y="4132"/>
                  <a:pt x="4519" y="4132"/>
                </a:cubicBezTo>
                <a:lnTo>
                  <a:pt x="4439" y="4132"/>
                </a:lnTo>
                <a:lnTo>
                  <a:pt x="4439" y="3734"/>
                </a:lnTo>
                <a:cubicBezTo>
                  <a:pt x="4439" y="3687"/>
                  <a:pt x="4407" y="3655"/>
                  <a:pt x="4360" y="3655"/>
                </a:cubicBezTo>
                <a:lnTo>
                  <a:pt x="239" y="3655"/>
                </a:lnTo>
                <a:cubicBezTo>
                  <a:pt x="191" y="3655"/>
                  <a:pt x="159" y="3687"/>
                  <a:pt x="159" y="3734"/>
                </a:cubicBezTo>
                <a:lnTo>
                  <a:pt x="159" y="4132"/>
                </a:lnTo>
                <a:lnTo>
                  <a:pt x="80" y="4132"/>
                </a:lnTo>
                <a:cubicBezTo>
                  <a:pt x="32" y="4132"/>
                  <a:pt x="0" y="4164"/>
                  <a:pt x="0" y="4212"/>
                </a:cubicBezTo>
                <a:lnTo>
                  <a:pt x="0" y="4673"/>
                </a:lnTo>
                <a:cubicBezTo>
                  <a:pt x="0" y="4721"/>
                  <a:pt x="32" y="4753"/>
                  <a:pt x="80" y="4753"/>
                </a:cubicBezTo>
                <a:lnTo>
                  <a:pt x="4519" y="4753"/>
                </a:lnTo>
                <a:cubicBezTo>
                  <a:pt x="4566" y="4753"/>
                  <a:pt x="4598" y="4721"/>
                  <a:pt x="4598" y="4673"/>
                </a:cubicBezTo>
                <a:close/>
                <a:moveTo>
                  <a:pt x="318" y="3814"/>
                </a:moveTo>
                <a:lnTo>
                  <a:pt x="4280" y="3814"/>
                </a:lnTo>
                <a:lnTo>
                  <a:pt x="4280" y="4132"/>
                </a:lnTo>
                <a:lnTo>
                  <a:pt x="318" y="4132"/>
                </a:lnTo>
                <a:close/>
                <a:moveTo>
                  <a:pt x="4439" y="4593"/>
                </a:moveTo>
                <a:lnTo>
                  <a:pt x="159" y="4593"/>
                </a:lnTo>
                <a:lnTo>
                  <a:pt x="159" y="4291"/>
                </a:lnTo>
                <a:lnTo>
                  <a:pt x="239" y="4291"/>
                </a:lnTo>
                <a:lnTo>
                  <a:pt x="4360" y="4291"/>
                </a:lnTo>
                <a:lnTo>
                  <a:pt x="4439" y="4291"/>
                </a:lnTo>
                <a:close/>
                <a:moveTo>
                  <a:pt x="1193" y="3496"/>
                </a:moveTo>
                <a:cubicBezTo>
                  <a:pt x="1225" y="3496"/>
                  <a:pt x="1273" y="3448"/>
                  <a:pt x="1273" y="3416"/>
                </a:cubicBezTo>
                <a:lnTo>
                  <a:pt x="1273" y="2143"/>
                </a:lnTo>
                <a:cubicBezTo>
                  <a:pt x="1273" y="2096"/>
                  <a:pt x="1225" y="2064"/>
                  <a:pt x="1193" y="2064"/>
                </a:cubicBezTo>
                <a:lnTo>
                  <a:pt x="557" y="2064"/>
                </a:lnTo>
                <a:cubicBezTo>
                  <a:pt x="509" y="2064"/>
                  <a:pt x="478" y="2096"/>
                  <a:pt x="478" y="2143"/>
                </a:cubicBezTo>
                <a:lnTo>
                  <a:pt x="478" y="3416"/>
                </a:lnTo>
                <a:cubicBezTo>
                  <a:pt x="478" y="3448"/>
                  <a:pt x="509" y="3496"/>
                  <a:pt x="557" y="3496"/>
                </a:cubicBezTo>
                <a:close/>
                <a:moveTo>
                  <a:pt x="637" y="2223"/>
                </a:moveTo>
                <a:lnTo>
                  <a:pt x="1114" y="2223"/>
                </a:lnTo>
                <a:lnTo>
                  <a:pt x="1114" y="3336"/>
                </a:lnTo>
                <a:lnTo>
                  <a:pt x="637" y="3336"/>
                </a:lnTo>
                <a:close/>
                <a:moveTo>
                  <a:pt x="4042" y="3496"/>
                </a:moveTo>
                <a:cubicBezTo>
                  <a:pt x="4089" y="3496"/>
                  <a:pt x="4121" y="3448"/>
                  <a:pt x="4121" y="3416"/>
                </a:cubicBezTo>
                <a:lnTo>
                  <a:pt x="4121" y="2143"/>
                </a:lnTo>
                <a:cubicBezTo>
                  <a:pt x="4121" y="2096"/>
                  <a:pt x="4089" y="2064"/>
                  <a:pt x="4042" y="2064"/>
                </a:cubicBezTo>
                <a:lnTo>
                  <a:pt x="3405" y="2064"/>
                </a:lnTo>
                <a:cubicBezTo>
                  <a:pt x="3373" y="2064"/>
                  <a:pt x="3325" y="2096"/>
                  <a:pt x="3325" y="2143"/>
                </a:cubicBezTo>
                <a:lnTo>
                  <a:pt x="3325" y="3416"/>
                </a:lnTo>
                <a:cubicBezTo>
                  <a:pt x="3325" y="3448"/>
                  <a:pt x="3373" y="3496"/>
                  <a:pt x="3405" y="3496"/>
                </a:cubicBezTo>
                <a:close/>
                <a:moveTo>
                  <a:pt x="3485" y="2223"/>
                </a:moveTo>
                <a:lnTo>
                  <a:pt x="3962" y="2223"/>
                </a:lnTo>
                <a:lnTo>
                  <a:pt x="3962" y="3336"/>
                </a:lnTo>
                <a:lnTo>
                  <a:pt x="3485" y="3336"/>
                </a:lnTo>
                <a:close/>
                <a:moveTo>
                  <a:pt x="2609" y="3496"/>
                </a:moveTo>
                <a:cubicBezTo>
                  <a:pt x="2657" y="3496"/>
                  <a:pt x="2689" y="3448"/>
                  <a:pt x="2689" y="3416"/>
                </a:cubicBezTo>
                <a:lnTo>
                  <a:pt x="2689" y="2143"/>
                </a:lnTo>
                <a:cubicBezTo>
                  <a:pt x="2689" y="2096"/>
                  <a:pt x="2657" y="2064"/>
                  <a:pt x="2609" y="2064"/>
                </a:cubicBezTo>
                <a:lnTo>
                  <a:pt x="1989" y="2064"/>
                </a:lnTo>
                <a:cubicBezTo>
                  <a:pt x="1941" y="2064"/>
                  <a:pt x="1909" y="2096"/>
                  <a:pt x="1909" y="2143"/>
                </a:cubicBezTo>
                <a:lnTo>
                  <a:pt x="1909" y="3416"/>
                </a:lnTo>
                <a:cubicBezTo>
                  <a:pt x="1909" y="3448"/>
                  <a:pt x="1941" y="3496"/>
                  <a:pt x="1989" y="3496"/>
                </a:cubicBezTo>
                <a:close/>
                <a:moveTo>
                  <a:pt x="2069" y="2223"/>
                </a:moveTo>
                <a:lnTo>
                  <a:pt x="2546" y="2223"/>
                </a:lnTo>
                <a:lnTo>
                  <a:pt x="2546" y="3336"/>
                </a:lnTo>
                <a:lnTo>
                  <a:pt x="2069" y="333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1" name="TextBox 100">
            <a:extLst>
              <a:ext uri="{FF2B5EF4-FFF2-40B4-BE49-F238E27FC236}">
                <a16:creationId xmlns:a16="http://schemas.microsoft.com/office/drawing/2014/main" id="{DE2AA1C3-7C89-874E-9F00-2F70933CF9A8}"/>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ospital</a:t>
            </a:r>
          </a:p>
        </p:txBody>
      </p:sp>
      <p:sp>
        <p:nvSpPr>
          <p:cNvPr id="106" name="Freeform: Shape 16">
            <a:extLst>
              <a:ext uri="{FF2B5EF4-FFF2-40B4-BE49-F238E27FC236}">
                <a16:creationId xmlns:a16="http://schemas.microsoft.com/office/drawing/2014/main" id="{5D1A455F-67BC-EF40-BAF5-C09A41DF4DA2}"/>
              </a:ext>
            </a:extLst>
          </p:cNvPr>
          <p:cNvSpPr/>
          <p:nvPr/>
        </p:nvSpPr>
        <p:spPr>
          <a:xfrm>
            <a:off x="1728889" y="6567739"/>
            <a:ext cx="1712160" cy="1546200"/>
          </a:xfrm>
          <a:custGeom>
            <a:avLst/>
            <a:gdLst/>
            <a:ahLst/>
            <a:cxnLst>
              <a:cxn ang="3cd4">
                <a:pos x="hc" y="t"/>
              </a:cxn>
              <a:cxn ang="cd2">
                <a:pos x="l" y="vc"/>
              </a:cxn>
              <a:cxn ang="cd4">
                <a:pos x="hc" y="b"/>
              </a:cxn>
              <a:cxn ang="0">
                <a:pos x="r" y="vc"/>
              </a:cxn>
            </a:cxnLst>
            <a:rect l="l" t="t" r="r" b="b"/>
            <a:pathLst>
              <a:path w="4757" h="4296">
                <a:moveTo>
                  <a:pt x="1193" y="1273"/>
                </a:moveTo>
                <a:lnTo>
                  <a:pt x="557" y="1273"/>
                </a:lnTo>
                <a:cubicBezTo>
                  <a:pt x="509" y="1273"/>
                  <a:pt x="477" y="1305"/>
                  <a:pt x="477" y="1352"/>
                </a:cubicBezTo>
                <a:lnTo>
                  <a:pt x="477" y="1989"/>
                </a:lnTo>
                <a:cubicBezTo>
                  <a:pt x="477" y="2021"/>
                  <a:pt x="509" y="2069"/>
                  <a:pt x="557" y="2069"/>
                </a:cubicBezTo>
                <a:lnTo>
                  <a:pt x="1193" y="2069"/>
                </a:lnTo>
                <a:cubicBezTo>
                  <a:pt x="1241" y="2069"/>
                  <a:pt x="1272" y="2021"/>
                  <a:pt x="1272" y="1989"/>
                </a:cubicBezTo>
                <a:lnTo>
                  <a:pt x="1272" y="1352"/>
                </a:lnTo>
                <a:cubicBezTo>
                  <a:pt x="1272" y="1305"/>
                  <a:pt x="1241" y="1273"/>
                  <a:pt x="1193" y="1273"/>
                </a:cubicBezTo>
                <a:close/>
                <a:moveTo>
                  <a:pt x="1113" y="1909"/>
                </a:moveTo>
                <a:lnTo>
                  <a:pt x="636" y="1909"/>
                </a:lnTo>
                <a:lnTo>
                  <a:pt x="636" y="1432"/>
                </a:lnTo>
                <a:lnTo>
                  <a:pt x="1113" y="1432"/>
                </a:lnTo>
                <a:close/>
                <a:moveTo>
                  <a:pt x="2148" y="1273"/>
                </a:moveTo>
                <a:lnTo>
                  <a:pt x="1511" y="1273"/>
                </a:lnTo>
                <a:cubicBezTo>
                  <a:pt x="1463" y="1273"/>
                  <a:pt x="1432" y="1305"/>
                  <a:pt x="1432" y="1352"/>
                </a:cubicBezTo>
                <a:lnTo>
                  <a:pt x="1432" y="1989"/>
                </a:lnTo>
                <a:cubicBezTo>
                  <a:pt x="1432" y="2021"/>
                  <a:pt x="1463" y="2069"/>
                  <a:pt x="1511" y="2069"/>
                </a:cubicBezTo>
                <a:lnTo>
                  <a:pt x="2148" y="2069"/>
                </a:lnTo>
                <a:cubicBezTo>
                  <a:pt x="2179" y="2069"/>
                  <a:pt x="2227" y="2021"/>
                  <a:pt x="2227" y="1989"/>
                </a:cubicBezTo>
                <a:lnTo>
                  <a:pt x="2227" y="1352"/>
                </a:lnTo>
                <a:cubicBezTo>
                  <a:pt x="2227" y="1305"/>
                  <a:pt x="2179" y="1273"/>
                  <a:pt x="2148" y="1273"/>
                </a:cubicBezTo>
                <a:close/>
                <a:moveTo>
                  <a:pt x="2068" y="1909"/>
                </a:moveTo>
                <a:lnTo>
                  <a:pt x="1591" y="1909"/>
                </a:lnTo>
                <a:lnTo>
                  <a:pt x="1591" y="1432"/>
                </a:lnTo>
                <a:lnTo>
                  <a:pt x="2068" y="1432"/>
                </a:lnTo>
                <a:close/>
                <a:moveTo>
                  <a:pt x="2545" y="1352"/>
                </a:moveTo>
                <a:lnTo>
                  <a:pt x="2545" y="1989"/>
                </a:lnTo>
                <a:cubicBezTo>
                  <a:pt x="2545" y="2021"/>
                  <a:pt x="2577" y="2069"/>
                  <a:pt x="2625" y="2069"/>
                </a:cubicBezTo>
                <a:lnTo>
                  <a:pt x="3261" y="2069"/>
                </a:lnTo>
                <a:cubicBezTo>
                  <a:pt x="3293" y="2069"/>
                  <a:pt x="3341" y="2021"/>
                  <a:pt x="3341" y="1989"/>
                </a:cubicBezTo>
                <a:lnTo>
                  <a:pt x="3341" y="1352"/>
                </a:lnTo>
                <a:cubicBezTo>
                  <a:pt x="3341" y="1305"/>
                  <a:pt x="3293" y="1273"/>
                  <a:pt x="3261" y="1273"/>
                </a:cubicBezTo>
                <a:lnTo>
                  <a:pt x="2625" y="1273"/>
                </a:lnTo>
                <a:cubicBezTo>
                  <a:pt x="2577" y="1273"/>
                  <a:pt x="2545" y="1305"/>
                  <a:pt x="2545" y="1352"/>
                </a:cubicBezTo>
                <a:close/>
                <a:moveTo>
                  <a:pt x="2704" y="1432"/>
                </a:moveTo>
                <a:lnTo>
                  <a:pt x="3182" y="1432"/>
                </a:lnTo>
                <a:lnTo>
                  <a:pt x="3182" y="1909"/>
                </a:lnTo>
                <a:lnTo>
                  <a:pt x="2704" y="1909"/>
                </a:lnTo>
                <a:close/>
                <a:moveTo>
                  <a:pt x="3579" y="2069"/>
                </a:moveTo>
                <a:lnTo>
                  <a:pt x="4200" y="2069"/>
                </a:lnTo>
                <a:cubicBezTo>
                  <a:pt x="4248" y="2069"/>
                  <a:pt x="4279" y="2021"/>
                  <a:pt x="4279" y="1989"/>
                </a:cubicBezTo>
                <a:lnTo>
                  <a:pt x="4279" y="1352"/>
                </a:lnTo>
                <a:cubicBezTo>
                  <a:pt x="4279" y="1305"/>
                  <a:pt x="4248" y="1273"/>
                  <a:pt x="4200" y="1273"/>
                </a:cubicBezTo>
                <a:lnTo>
                  <a:pt x="3579" y="1273"/>
                </a:lnTo>
                <a:cubicBezTo>
                  <a:pt x="3532" y="1273"/>
                  <a:pt x="3500" y="1305"/>
                  <a:pt x="3500" y="1352"/>
                </a:cubicBezTo>
                <a:lnTo>
                  <a:pt x="3500" y="1989"/>
                </a:lnTo>
                <a:cubicBezTo>
                  <a:pt x="3500" y="2021"/>
                  <a:pt x="3532" y="2069"/>
                  <a:pt x="3579" y="2069"/>
                </a:cubicBezTo>
                <a:close/>
                <a:moveTo>
                  <a:pt x="3659" y="1432"/>
                </a:moveTo>
                <a:lnTo>
                  <a:pt x="4120" y="1432"/>
                </a:lnTo>
                <a:lnTo>
                  <a:pt x="4120" y="1909"/>
                </a:lnTo>
                <a:lnTo>
                  <a:pt x="3659" y="1909"/>
                </a:lnTo>
                <a:close/>
                <a:moveTo>
                  <a:pt x="1193" y="2227"/>
                </a:moveTo>
                <a:lnTo>
                  <a:pt x="557" y="2227"/>
                </a:lnTo>
                <a:cubicBezTo>
                  <a:pt x="509" y="2227"/>
                  <a:pt x="477" y="2260"/>
                  <a:pt x="477" y="2307"/>
                </a:cubicBezTo>
                <a:lnTo>
                  <a:pt x="477" y="2943"/>
                </a:lnTo>
                <a:cubicBezTo>
                  <a:pt x="477" y="2975"/>
                  <a:pt x="509" y="3023"/>
                  <a:pt x="557" y="3023"/>
                </a:cubicBezTo>
                <a:lnTo>
                  <a:pt x="1193" y="3023"/>
                </a:lnTo>
                <a:cubicBezTo>
                  <a:pt x="1241" y="3023"/>
                  <a:pt x="1272" y="2975"/>
                  <a:pt x="1272" y="2943"/>
                </a:cubicBezTo>
                <a:lnTo>
                  <a:pt x="1272" y="2307"/>
                </a:lnTo>
                <a:cubicBezTo>
                  <a:pt x="1272" y="2260"/>
                  <a:pt x="1241" y="2227"/>
                  <a:pt x="1193" y="2227"/>
                </a:cubicBezTo>
                <a:close/>
                <a:moveTo>
                  <a:pt x="1113" y="2864"/>
                </a:moveTo>
                <a:lnTo>
                  <a:pt x="636" y="2864"/>
                </a:lnTo>
                <a:lnTo>
                  <a:pt x="636" y="2387"/>
                </a:lnTo>
                <a:lnTo>
                  <a:pt x="1113" y="2387"/>
                </a:lnTo>
                <a:close/>
                <a:moveTo>
                  <a:pt x="2148" y="2227"/>
                </a:moveTo>
                <a:lnTo>
                  <a:pt x="1511" y="2227"/>
                </a:lnTo>
                <a:cubicBezTo>
                  <a:pt x="1463" y="2227"/>
                  <a:pt x="1432" y="2260"/>
                  <a:pt x="1432" y="2307"/>
                </a:cubicBezTo>
                <a:lnTo>
                  <a:pt x="1432" y="2943"/>
                </a:lnTo>
                <a:cubicBezTo>
                  <a:pt x="1432" y="2975"/>
                  <a:pt x="1463" y="3023"/>
                  <a:pt x="1511" y="3023"/>
                </a:cubicBezTo>
                <a:lnTo>
                  <a:pt x="2148" y="3023"/>
                </a:lnTo>
                <a:cubicBezTo>
                  <a:pt x="2179" y="3023"/>
                  <a:pt x="2227" y="2975"/>
                  <a:pt x="2227" y="2943"/>
                </a:cubicBezTo>
                <a:lnTo>
                  <a:pt x="2227" y="2307"/>
                </a:lnTo>
                <a:cubicBezTo>
                  <a:pt x="2227" y="2260"/>
                  <a:pt x="2179" y="2227"/>
                  <a:pt x="2148" y="2227"/>
                </a:cubicBezTo>
                <a:close/>
                <a:moveTo>
                  <a:pt x="2068" y="2864"/>
                </a:moveTo>
                <a:lnTo>
                  <a:pt x="1591" y="2864"/>
                </a:lnTo>
                <a:lnTo>
                  <a:pt x="1591" y="2387"/>
                </a:lnTo>
                <a:lnTo>
                  <a:pt x="2068" y="2387"/>
                </a:lnTo>
                <a:close/>
                <a:moveTo>
                  <a:pt x="3261" y="2227"/>
                </a:moveTo>
                <a:lnTo>
                  <a:pt x="2625" y="2227"/>
                </a:lnTo>
                <a:cubicBezTo>
                  <a:pt x="2577" y="2227"/>
                  <a:pt x="2545" y="2260"/>
                  <a:pt x="2545" y="2307"/>
                </a:cubicBezTo>
                <a:lnTo>
                  <a:pt x="2545" y="2943"/>
                </a:lnTo>
                <a:cubicBezTo>
                  <a:pt x="2545" y="2975"/>
                  <a:pt x="2577" y="3023"/>
                  <a:pt x="2625" y="3023"/>
                </a:cubicBezTo>
                <a:lnTo>
                  <a:pt x="3261" y="3023"/>
                </a:lnTo>
                <a:cubicBezTo>
                  <a:pt x="3293" y="3023"/>
                  <a:pt x="3341" y="2975"/>
                  <a:pt x="3341" y="2943"/>
                </a:cubicBezTo>
                <a:lnTo>
                  <a:pt x="3341" y="2307"/>
                </a:lnTo>
                <a:cubicBezTo>
                  <a:pt x="3341" y="2260"/>
                  <a:pt x="3293" y="2227"/>
                  <a:pt x="3261" y="2227"/>
                </a:cubicBezTo>
                <a:close/>
                <a:moveTo>
                  <a:pt x="3182" y="2864"/>
                </a:moveTo>
                <a:lnTo>
                  <a:pt x="2704" y="2864"/>
                </a:lnTo>
                <a:lnTo>
                  <a:pt x="2704" y="2387"/>
                </a:lnTo>
                <a:lnTo>
                  <a:pt x="3182" y="2387"/>
                </a:lnTo>
                <a:close/>
                <a:moveTo>
                  <a:pt x="3579" y="3023"/>
                </a:moveTo>
                <a:lnTo>
                  <a:pt x="4200" y="3023"/>
                </a:lnTo>
                <a:cubicBezTo>
                  <a:pt x="4248" y="3023"/>
                  <a:pt x="4279" y="2975"/>
                  <a:pt x="4279" y="2943"/>
                </a:cubicBezTo>
                <a:lnTo>
                  <a:pt x="4279" y="2307"/>
                </a:lnTo>
                <a:cubicBezTo>
                  <a:pt x="4279" y="2260"/>
                  <a:pt x="4248" y="2227"/>
                  <a:pt x="4200" y="2227"/>
                </a:cubicBezTo>
                <a:lnTo>
                  <a:pt x="3579" y="2227"/>
                </a:lnTo>
                <a:cubicBezTo>
                  <a:pt x="3532" y="2227"/>
                  <a:pt x="3500" y="2260"/>
                  <a:pt x="3500" y="2307"/>
                </a:cubicBezTo>
                <a:lnTo>
                  <a:pt x="3500" y="2943"/>
                </a:lnTo>
                <a:cubicBezTo>
                  <a:pt x="3500" y="2975"/>
                  <a:pt x="3532" y="3023"/>
                  <a:pt x="3579" y="3023"/>
                </a:cubicBezTo>
                <a:close/>
                <a:moveTo>
                  <a:pt x="3659" y="2387"/>
                </a:moveTo>
                <a:lnTo>
                  <a:pt x="4120" y="2387"/>
                </a:lnTo>
                <a:lnTo>
                  <a:pt x="4120" y="2864"/>
                </a:lnTo>
                <a:lnTo>
                  <a:pt x="3659" y="2864"/>
                </a:lnTo>
                <a:close/>
                <a:moveTo>
                  <a:pt x="2545" y="796"/>
                </a:moveTo>
                <a:cubicBezTo>
                  <a:pt x="2545" y="843"/>
                  <a:pt x="2577" y="875"/>
                  <a:pt x="2625" y="875"/>
                </a:cubicBezTo>
                <a:cubicBezTo>
                  <a:pt x="2657" y="875"/>
                  <a:pt x="2704" y="843"/>
                  <a:pt x="2704" y="796"/>
                </a:cubicBezTo>
                <a:lnTo>
                  <a:pt x="2704" y="318"/>
                </a:lnTo>
                <a:cubicBezTo>
                  <a:pt x="2704" y="270"/>
                  <a:pt x="2657" y="239"/>
                  <a:pt x="2625" y="239"/>
                </a:cubicBezTo>
                <a:cubicBezTo>
                  <a:pt x="2577" y="239"/>
                  <a:pt x="2545" y="270"/>
                  <a:pt x="2545" y="318"/>
                </a:cubicBezTo>
                <a:lnTo>
                  <a:pt x="2545" y="478"/>
                </a:lnTo>
                <a:lnTo>
                  <a:pt x="2227" y="478"/>
                </a:lnTo>
                <a:lnTo>
                  <a:pt x="2227" y="318"/>
                </a:lnTo>
                <a:cubicBezTo>
                  <a:pt x="2227" y="270"/>
                  <a:pt x="2179" y="239"/>
                  <a:pt x="2148" y="239"/>
                </a:cubicBezTo>
                <a:cubicBezTo>
                  <a:pt x="2100" y="239"/>
                  <a:pt x="2068" y="270"/>
                  <a:pt x="2068" y="318"/>
                </a:cubicBezTo>
                <a:lnTo>
                  <a:pt x="2068" y="796"/>
                </a:lnTo>
                <a:cubicBezTo>
                  <a:pt x="2068" y="843"/>
                  <a:pt x="2100" y="875"/>
                  <a:pt x="2148" y="875"/>
                </a:cubicBezTo>
                <a:cubicBezTo>
                  <a:pt x="2179" y="875"/>
                  <a:pt x="2227" y="843"/>
                  <a:pt x="2227" y="796"/>
                </a:cubicBezTo>
                <a:lnTo>
                  <a:pt x="2227" y="636"/>
                </a:lnTo>
                <a:lnTo>
                  <a:pt x="2545" y="636"/>
                </a:lnTo>
                <a:close/>
                <a:moveTo>
                  <a:pt x="4677" y="796"/>
                </a:moveTo>
                <a:lnTo>
                  <a:pt x="3182" y="796"/>
                </a:lnTo>
                <a:lnTo>
                  <a:pt x="3182" y="79"/>
                </a:lnTo>
                <a:cubicBezTo>
                  <a:pt x="3182" y="32"/>
                  <a:pt x="3134" y="0"/>
                  <a:pt x="3102" y="0"/>
                </a:cubicBezTo>
                <a:lnTo>
                  <a:pt x="1670" y="0"/>
                </a:lnTo>
                <a:cubicBezTo>
                  <a:pt x="1623" y="0"/>
                  <a:pt x="1591" y="32"/>
                  <a:pt x="1591" y="79"/>
                </a:cubicBezTo>
                <a:lnTo>
                  <a:pt x="1591" y="796"/>
                </a:lnTo>
                <a:lnTo>
                  <a:pt x="79" y="796"/>
                </a:lnTo>
                <a:cubicBezTo>
                  <a:pt x="32" y="796"/>
                  <a:pt x="0" y="827"/>
                  <a:pt x="0" y="875"/>
                </a:cubicBezTo>
                <a:lnTo>
                  <a:pt x="0" y="4216"/>
                </a:lnTo>
                <a:cubicBezTo>
                  <a:pt x="0" y="4248"/>
                  <a:pt x="32" y="4296"/>
                  <a:pt x="79" y="4296"/>
                </a:cubicBezTo>
                <a:lnTo>
                  <a:pt x="4677" y="4296"/>
                </a:lnTo>
                <a:cubicBezTo>
                  <a:pt x="4725" y="4296"/>
                  <a:pt x="4757" y="4248"/>
                  <a:pt x="4757" y="4216"/>
                </a:cubicBezTo>
                <a:lnTo>
                  <a:pt x="4757" y="875"/>
                </a:lnTo>
                <a:cubicBezTo>
                  <a:pt x="4757" y="827"/>
                  <a:pt x="4725" y="796"/>
                  <a:pt x="4677" y="796"/>
                </a:cubicBezTo>
                <a:close/>
                <a:moveTo>
                  <a:pt x="2863" y="4137"/>
                </a:moveTo>
                <a:lnTo>
                  <a:pt x="1909" y="4137"/>
                </a:lnTo>
                <a:lnTo>
                  <a:pt x="1909" y="3500"/>
                </a:lnTo>
                <a:lnTo>
                  <a:pt x="2863" y="3500"/>
                </a:lnTo>
                <a:close/>
                <a:moveTo>
                  <a:pt x="4597" y="4137"/>
                </a:moveTo>
                <a:lnTo>
                  <a:pt x="3023" y="4137"/>
                </a:lnTo>
                <a:lnTo>
                  <a:pt x="3023" y="3421"/>
                </a:lnTo>
                <a:cubicBezTo>
                  <a:pt x="3023" y="3373"/>
                  <a:pt x="2975" y="3341"/>
                  <a:pt x="2943" y="3341"/>
                </a:cubicBezTo>
                <a:lnTo>
                  <a:pt x="1829" y="3341"/>
                </a:lnTo>
                <a:cubicBezTo>
                  <a:pt x="1781" y="3341"/>
                  <a:pt x="1750" y="3373"/>
                  <a:pt x="1750" y="3421"/>
                </a:cubicBezTo>
                <a:lnTo>
                  <a:pt x="1750" y="4137"/>
                </a:lnTo>
                <a:lnTo>
                  <a:pt x="159" y="4137"/>
                </a:lnTo>
                <a:lnTo>
                  <a:pt x="159" y="955"/>
                </a:lnTo>
                <a:lnTo>
                  <a:pt x="1670" y="955"/>
                </a:lnTo>
                <a:cubicBezTo>
                  <a:pt x="1702" y="955"/>
                  <a:pt x="1750" y="923"/>
                  <a:pt x="1750" y="875"/>
                </a:cubicBezTo>
                <a:lnTo>
                  <a:pt x="1750" y="159"/>
                </a:lnTo>
                <a:lnTo>
                  <a:pt x="3023" y="159"/>
                </a:lnTo>
                <a:lnTo>
                  <a:pt x="3023" y="875"/>
                </a:lnTo>
                <a:cubicBezTo>
                  <a:pt x="3023" y="923"/>
                  <a:pt x="3054" y="955"/>
                  <a:pt x="3102" y="955"/>
                </a:cubicBezTo>
                <a:lnTo>
                  <a:pt x="4597" y="955"/>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7" name="TextBox 106">
            <a:extLst>
              <a:ext uri="{FF2B5EF4-FFF2-40B4-BE49-F238E27FC236}">
                <a16:creationId xmlns:a16="http://schemas.microsoft.com/office/drawing/2014/main" id="{24FA372D-741F-CD4D-B384-1522FCBB5136}"/>
              </a:ext>
            </a:extLst>
          </p:cNvPr>
          <p:cNvSpPr txBox="1"/>
          <p:nvPr/>
        </p:nvSpPr>
        <p:spPr>
          <a:xfrm>
            <a:off x="20326576" y="11657695"/>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err="1"/>
              <a:t>Bld</a:t>
            </a:r>
            <a:r>
              <a:rPr lang="en-US" sz="2800" dirty="0"/>
              <a:t> 4</a:t>
            </a:r>
          </a:p>
        </p:txBody>
      </p:sp>
      <p:sp>
        <p:nvSpPr>
          <p:cNvPr id="108" name="Freeform: Shape 15">
            <a:extLst>
              <a:ext uri="{FF2B5EF4-FFF2-40B4-BE49-F238E27FC236}">
                <a16:creationId xmlns:a16="http://schemas.microsoft.com/office/drawing/2014/main" id="{9098A66B-4DF6-9549-B238-1B52BC8DAA5B}"/>
              </a:ext>
            </a:extLst>
          </p:cNvPr>
          <p:cNvSpPr/>
          <p:nvPr/>
        </p:nvSpPr>
        <p:spPr>
          <a:xfrm>
            <a:off x="21835787" y="9853998"/>
            <a:ext cx="744120" cy="1699200"/>
          </a:xfrm>
          <a:custGeom>
            <a:avLst/>
            <a:gdLst/>
            <a:ahLst/>
            <a:cxnLst>
              <a:cxn ang="3cd4">
                <a:pos x="hc" y="t"/>
              </a:cxn>
              <a:cxn ang="cd2">
                <a:pos x="l" y="vc"/>
              </a:cxn>
              <a:cxn ang="cd4">
                <a:pos x="hc" y="b"/>
              </a:cxn>
              <a:cxn ang="0">
                <a:pos x="r" y="vc"/>
              </a:cxn>
            </a:cxnLst>
            <a:rect l="l" t="t" r="r" b="b"/>
            <a:pathLst>
              <a:path w="2068" h="4721">
                <a:moveTo>
                  <a:pt x="80" y="4561"/>
                </a:moveTo>
                <a:cubicBezTo>
                  <a:pt x="32" y="4561"/>
                  <a:pt x="0" y="4593"/>
                  <a:pt x="0" y="4641"/>
                </a:cubicBezTo>
                <a:cubicBezTo>
                  <a:pt x="0" y="4689"/>
                  <a:pt x="32" y="4721"/>
                  <a:pt x="80" y="4721"/>
                </a:cubicBezTo>
                <a:lnTo>
                  <a:pt x="319" y="4721"/>
                </a:lnTo>
                <a:lnTo>
                  <a:pt x="1750" y="4721"/>
                </a:lnTo>
                <a:lnTo>
                  <a:pt x="1989" y="4721"/>
                </a:lnTo>
                <a:cubicBezTo>
                  <a:pt x="2037" y="4721"/>
                  <a:pt x="2068" y="4689"/>
                  <a:pt x="2068" y="4641"/>
                </a:cubicBezTo>
                <a:cubicBezTo>
                  <a:pt x="2068" y="4593"/>
                  <a:pt x="2037" y="4561"/>
                  <a:pt x="1989" y="4561"/>
                </a:cubicBezTo>
                <a:lnTo>
                  <a:pt x="1830" y="4561"/>
                </a:lnTo>
                <a:lnTo>
                  <a:pt x="1830" y="759"/>
                </a:lnTo>
                <a:lnTo>
                  <a:pt x="1957" y="759"/>
                </a:lnTo>
                <a:cubicBezTo>
                  <a:pt x="2005" y="759"/>
                  <a:pt x="2021" y="727"/>
                  <a:pt x="2037" y="696"/>
                </a:cubicBezTo>
                <a:cubicBezTo>
                  <a:pt x="2053" y="664"/>
                  <a:pt x="2037" y="632"/>
                  <a:pt x="2005" y="616"/>
                </a:cubicBezTo>
                <a:lnTo>
                  <a:pt x="1114" y="11"/>
                </a:lnTo>
                <a:cubicBezTo>
                  <a:pt x="1082" y="-4"/>
                  <a:pt x="1050" y="-4"/>
                  <a:pt x="1019" y="11"/>
                </a:cubicBezTo>
                <a:lnTo>
                  <a:pt x="128" y="616"/>
                </a:lnTo>
                <a:cubicBezTo>
                  <a:pt x="96" y="632"/>
                  <a:pt x="96" y="664"/>
                  <a:pt x="96" y="696"/>
                </a:cubicBezTo>
                <a:cubicBezTo>
                  <a:pt x="111" y="727"/>
                  <a:pt x="143" y="759"/>
                  <a:pt x="175" y="759"/>
                </a:cubicBezTo>
                <a:lnTo>
                  <a:pt x="239" y="759"/>
                </a:lnTo>
                <a:lnTo>
                  <a:pt x="239" y="4561"/>
                </a:lnTo>
                <a:close/>
                <a:moveTo>
                  <a:pt x="1066" y="170"/>
                </a:moveTo>
                <a:lnTo>
                  <a:pt x="1702" y="600"/>
                </a:lnTo>
                <a:lnTo>
                  <a:pt x="446" y="600"/>
                </a:lnTo>
                <a:close/>
                <a:moveTo>
                  <a:pt x="398" y="759"/>
                </a:moveTo>
                <a:lnTo>
                  <a:pt x="1671" y="759"/>
                </a:lnTo>
                <a:lnTo>
                  <a:pt x="1671" y="4561"/>
                </a:lnTo>
                <a:lnTo>
                  <a:pt x="398" y="4561"/>
                </a:lnTo>
                <a:close/>
                <a:moveTo>
                  <a:pt x="796" y="1157"/>
                </a:moveTo>
                <a:cubicBezTo>
                  <a:pt x="748" y="1157"/>
                  <a:pt x="716" y="1188"/>
                  <a:pt x="716" y="1236"/>
                </a:cubicBezTo>
                <a:lnTo>
                  <a:pt x="716" y="1396"/>
                </a:lnTo>
                <a:cubicBezTo>
                  <a:pt x="716" y="1427"/>
                  <a:pt x="748" y="1475"/>
                  <a:pt x="796" y="1475"/>
                </a:cubicBezTo>
                <a:cubicBezTo>
                  <a:pt x="843" y="1475"/>
                  <a:pt x="875" y="1427"/>
                  <a:pt x="875" y="1396"/>
                </a:cubicBezTo>
                <a:lnTo>
                  <a:pt x="875" y="1236"/>
                </a:lnTo>
                <a:cubicBezTo>
                  <a:pt x="875" y="1188"/>
                  <a:pt x="843" y="1157"/>
                  <a:pt x="796" y="1157"/>
                </a:cubicBezTo>
                <a:close/>
                <a:moveTo>
                  <a:pt x="1273" y="1157"/>
                </a:moveTo>
                <a:cubicBezTo>
                  <a:pt x="1225" y="1157"/>
                  <a:pt x="1193" y="1188"/>
                  <a:pt x="1193" y="1236"/>
                </a:cubicBezTo>
                <a:lnTo>
                  <a:pt x="1193" y="1396"/>
                </a:lnTo>
                <a:cubicBezTo>
                  <a:pt x="1193" y="1427"/>
                  <a:pt x="1225" y="1475"/>
                  <a:pt x="1273" y="1475"/>
                </a:cubicBezTo>
                <a:cubicBezTo>
                  <a:pt x="1320" y="1475"/>
                  <a:pt x="1353" y="1427"/>
                  <a:pt x="1353" y="1396"/>
                </a:cubicBezTo>
                <a:lnTo>
                  <a:pt x="1353" y="1236"/>
                </a:lnTo>
                <a:cubicBezTo>
                  <a:pt x="1353" y="1188"/>
                  <a:pt x="1320" y="1157"/>
                  <a:pt x="1273" y="1157"/>
                </a:cubicBezTo>
                <a:close/>
                <a:moveTo>
                  <a:pt x="796" y="1793"/>
                </a:moveTo>
                <a:cubicBezTo>
                  <a:pt x="748" y="1793"/>
                  <a:pt x="716" y="1825"/>
                  <a:pt x="716" y="1873"/>
                </a:cubicBezTo>
                <a:lnTo>
                  <a:pt x="716" y="2032"/>
                </a:lnTo>
                <a:cubicBezTo>
                  <a:pt x="716" y="2064"/>
                  <a:pt x="748" y="2096"/>
                  <a:pt x="796" y="2096"/>
                </a:cubicBezTo>
                <a:cubicBezTo>
                  <a:pt x="843" y="2096"/>
                  <a:pt x="875" y="2064"/>
                  <a:pt x="875" y="2032"/>
                </a:cubicBezTo>
                <a:lnTo>
                  <a:pt x="875" y="1873"/>
                </a:lnTo>
                <a:cubicBezTo>
                  <a:pt x="875" y="1825"/>
                  <a:pt x="843" y="1793"/>
                  <a:pt x="796" y="1793"/>
                </a:cubicBezTo>
                <a:close/>
                <a:moveTo>
                  <a:pt x="1273" y="1793"/>
                </a:moveTo>
                <a:cubicBezTo>
                  <a:pt x="1225" y="1793"/>
                  <a:pt x="1193" y="1825"/>
                  <a:pt x="1193" y="1873"/>
                </a:cubicBezTo>
                <a:lnTo>
                  <a:pt x="1193" y="2032"/>
                </a:lnTo>
                <a:cubicBezTo>
                  <a:pt x="1193" y="2064"/>
                  <a:pt x="1225" y="2096"/>
                  <a:pt x="1273" y="2096"/>
                </a:cubicBezTo>
                <a:cubicBezTo>
                  <a:pt x="1320" y="2096"/>
                  <a:pt x="1353" y="2064"/>
                  <a:pt x="1353" y="2032"/>
                </a:cubicBezTo>
                <a:lnTo>
                  <a:pt x="1353" y="1873"/>
                </a:lnTo>
                <a:cubicBezTo>
                  <a:pt x="1353" y="1825"/>
                  <a:pt x="1320" y="1793"/>
                  <a:pt x="1273" y="1793"/>
                </a:cubicBezTo>
                <a:close/>
                <a:moveTo>
                  <a:pt x="796" y="2414"/>
                </a:moveTo>
                <a:cubicBezTo>
                  <a:pt x="748" y="2414"/>
                  <a:pt x="716" y="2461"/>
                  <a:pt x="716" y="2493"/>
                </a:cubicBezTo>
                <a:lnTo>
                  <a:pt x="716" y="2652"/>
                </a:lnTo>
                <a:cubicBezTo>
                  <a:pt x="716" y="2700"/>
                  <a:pt x="748" y="2732"/>
                  <a:pt x="796" y="2732"/>
                </a:cubicBezTo>
                <a:cubicBezTo>
                  <a:pt x="843" y="2732"/>
                  <a:pt x="875" y="2700"/>
                  <a:pt x="875" y="2652"/>
                </a:cubicBezTo>
                <a:lnTo>
                  <a:pt x="875" y="2493"/>
                </a:lnTo>
                <a:cubicBezTo>
                  <a:pt x="875" y="2461"/>
                  <a:pt x="843" y="2414"/>
                  <a:pt x="796" y="2414"/>
                </a:cubicBezTo>
                <a:close/>
                <a:moveTo>
                  <a:pt x="1273" y="2414"/>
                </a:moveTo>
                <a:cubicBezTo>
                  <a:pt x="1225" y="2414"/>
                  <a:pt x="1193" y="2461"/>
                  <a:pt x="1193" y="2493"/>
                </a:cubicBezTo>
                <a:lnTo>
                  <a:pt x="1193" y="2652"/>
                </a:lnTo>
                <a:cubicBezTo>
                  <a:pt x="1193" y="2700"/>
                  <a:pt x="1225" y="2732"/>
                  <a:pt x="1273" y="2732"/>
                </a:cubicBezTo>
                <a:cubicBezTo>
                  <a:pt x="1320" y="2732"/>
                  <a:pt x="1353" y="2700"/>
                  <a:pt x="1353" y="2652"/>
                </a:cubicBezTo>
                <a:lnTo>
                  <a:pt x="1353" y="2493"/>
                </a:lnTo>
                <a:cubicBezTo>
                  <a:pt x="1353" y="2461"/>
                  <a:pt x="1320" y="2414"/>
                  <a:pt x="1273" y="2414"/>
                </a:cubicBezTo>
                <a:close/>
                <a:moveTo>
                  <a:pt x="796" y="3050"/>
                </a:moveTo>
                <a:cubicBezTo>
                  <a:pt x="748" y="3050"/>
                  <a:pt x="716" y="3098"/>
                  <a:pt x="716" y="3130"/>
                </a:cubicBezTo>
                <a:lnTo>
                  <a:pt x="716" y="3289"/>
                </a:lnTo>
                <a:cubicBezTo>
                  <a:pt x="716" y="3336"/>
                  <a:pt x="748" y="3369"/>
                  <a:pt x="796" y="3369"/>
                </a:cubicBezTo>
                <a:cubicBezTo>
                  <a:pt x="843" y="3369"/>
                  <a:pt x="875" y="3336"/>
                  <a:pt x="875" y="3289"/>
                </a:cubicBezTo>
                <a:lnTo>
                  <a:pt x="875" y="3130"/>
                </a:lnTo>
                <a:cubicBezTo>
                  <a:pt x="875" y="3098"/>
                  <a:pt x="843" y="3050"/>
                  <a:pt x="796" y="3050"/>
                </a:cubicBezTo>
                <a:close/>
                <a:moveTo>
                  <a:pt x="1273" y="3050"/>
                </a:moveTo>
                <a:cubicBezTo>
                  <a:pt x="1225" y="3050"/>
                  <a:pt x="1193" y="3098"/>
                  <a:pt x="1193" y="3130"/>
                </a:cubicBezTo>
                <a:lnTo>
                  <a:pt x="1193" y="3289"/>
                </a:lnTo>
                <a:cubicBezTo>
                  <a:pt x="1193" y="3336"/>
                  <a:pt x="1225" y="3369"/>
                  <a:pt x="1273" y="3369"/>
                </a:cubicBezTo>
                <a:cubicBezTo>
                  <a:pt x="1320" y="3369"/>
                  <a:pt x="1353" y="3336"/>
                  <a:pt x="1353" y="3289"/>
                </a:cubicBezTo>
                <a:lnTo>
                  <a:pt x="1353" y="3130"/>
                </a:lnTo>
                <a:cubicBezTo>
                  <a:pt x="1353" y="3098"/>
                  <a:pt x="1320" y="3050"/>
                  <a:pt x="1273" y="3050"/>
                </a:cubicBezTo>
                <a:close/>
                <a:moveTo>
                  <a:pt x="796" y="3687"/>
                </a:moveTo>
                <a:cubicBezTo>
                  <a:pt x="748" y="3687"/>
                  <a:pt x="716" y="3734"/>
                  <a:pt x="716" y="3766"/>
                </a:cubicBezTo>
                <a:lnTo>
                  <a:pt x="716" y="3925"/>
                </a:lnTo>
                <a:cubicBezTo>
                  <a:pt x="716" y="3973"/>
                  <a:pt x="748" y="4005"/>
                  <a:pt x="796" y="4005"/>
                </a:cubicBezTo>
                <a:cubicBezTo>
                  <a:pt x="843" y="4005"/>
                  <a:pt x="875" y="3973"/>
                  <a:pt x="875" y="3925"/>
                </a:cubicBezTo>
                <a:lnTo>
                  <a:pt x="875" y="3766"/>
                </a:lnTo>
                <a:cubicBezTo>
                  <a:pt x="875" y="3734"/>
                  <a:pt x="843" y="3687"/>
                  <a:pt x="796" y="3687"/>
                </a:cubicBezTo>
                <a:close/>
                <a:moveTo>
                  <a:pt x="1273" y="3687"/>
                </a:moveTo>
                <a:cubicBezTo>
                  <a:pt x="1225" y="3687"/>
                  <a:pt x="1193" y="3734"/>
                  <a:pt x="1193" y="3766"/>
                </a:cubicBezTo>
                <a:lnTo>
                  <a:pt x="1193" y="3925"/>
                </a:lnTo>
                <a:cubicBezTo>
                  <a:pt x="1193" y="3973"/>
                  <a:pt x="1225" y="4005"/>
                  <a:pt x="1273" y="4005"/>
                </a:cubicBezTo>
                <a:cubicBezTo>
                  <a:pt x="1320" y="4005"/>
                  <a:pt x="1353" y="3973"/>
                  <a:pt x="1353" y="3925"/>
                </a:cubicBezTo>
                <a:lnTo>
                  <a:pt x="1353" y="3766"/>
                </a:lnTo>
                <a:cubicBezTo>
                  <a:pt x="1353" y="3734"/>
                  <a:pt x="1320" y="3687"/>
                  <a:pt x="1273" y="368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209150507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Transportation / Buildings - 8</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44" name="TextBox 43">
            <a:extLst>
              <a:ext uri="{FF2B5EF4-FFF2-40B4-BE49-F238E27FC236}">
                <a16:creationId xmlns:a16="http://schemas.microsoft.com/office/drawing/2014/main" id="{05B638F9-6406-884E-9751-FD78F51277D9}"/>
              </a:ext>
            </a:extLst>
          </p:cNvPr>
          <p:cNvSpPr txBox="1"/>
          <p:nvPr/>
        </p:nvSpPr>
        <p:spPr>
          <a:xfrm>
            <a:off x="12460817" y="516974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olden</a:t>
            </a:r>
          </a:p>
        </p:txBody>
      </p:sp>
      <p:sp>
        <p:nvSpPr>
          <p:cNvPr id="45" name="TextBox 44">
            <a:extLst>
              <a:ext uri="{FF2B5EF4-FFF2-40B4-BE49-F238E27FC236}">
                <a16:creationId xmlns:a16="http://schemas.microsoft.com/office/drawing/2014/main" id="{CE075C65-A6EA-9D4A-BBEC-BB5168883113}"/>
              </a:ext>
            </a:extLst>
          </p:cNvPr>
          <p:cNvSpPr txBox="1"/>
          <p:nvPr/>
        </p:nvSpPr>
        <p:spPr>
          <a:xfrm>
            <a:off x="865465" y="5157590"/>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ric</a:t>
            </a:r>
          </a:p>
        </p:txBody>
      </p:sp>
      <p:sp>
        <p:nvSpPr>
          <p:cNvPr id="46" name="TextBox 45">
            <a:extLst>
              <a:ext uri="{FF2B5EF4-FFF2-40B4-BE49-F238E27FC236}">
                <a16:creationId xmlns:a16="http://schemas.microsoft.com/office/drawing/2014/main" id="{D5353ADA-A5E5-1F45-91CE-FE32A6A0156F}"/>
              </a:ext>
            </a:extLst>
          </p:cNvPr>
          <p:cNvSpPr txBox="1"/>
          <p:nvPr/>
        </p:nvSpPr>
        <p:spPr>
          <a:xfrm>
            <a:off x="9136905" y="5157590"/>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err="1"/>
              <a:t>Bld</a:t>
            </a:r>
            <a:r>
              <a:rPr lang="en-US" sz="2800" dirty="0"/>
              <a:t> 5</a:t>
            </a:r>
          </a:p>
        </p:txBody>
      </p:sp>
      <p:sp>
        <p:nvSpPr>
          <p:cNvPr id="47" name="TextBox 46">
            <a:extLst>
              <a:ext uri="{FF2B5EF4-FFF2-40B4-BE49-F238E27FC236}">
                <a16:creationId xmlns:a16="http://schemas.microsoft.com/office/drawing/2014/main" id="{CEB48E85-2D66-1542-AFCE-D6F1B6E605DE}"/>
              </a:ext>
            </a:extLst>
          </p:cNvPr>
          <p:cNvSpPr txBox="1"/>
          <p:nvPr/>
        </p:nvSpPr>
        <p:spPr>
          <a:xfrm>
            <a:off x="5012383" y="5157590"/>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conic</a:t>
            </a:r>
          </a:p>
        </p:txBody>
      </p:sp>
      <p:sp>
        <p:nvSpPr>
          <p:cNvPr id="48" name="Freeform: Shape 3">
            <a:extLst>
              <a:ext uri="{FF2B5EF4-FFF2-40B4-BE49-F238E27FC236}">
                <a16:creationId xmlns:a16="http://schemas.microsoft.com/office/drawing/2014/main" id="{85F1AD89-E4FC-7944-8EFF-11E8AC03E259}"/>
              </a:ext>
            </a:extLst>
          </p:cNvPr>
          <p:cNvSpPr/>
          <p:nvPr/>
        </p:nvSpPr>
        <p:spPr>
          <a:xfrm>
            <a:off x="9707966" y="3547574"/>
            <a:ext cx="1769400" cy="1505519"/>
          </a:xfrm>
          <a:custGeom>
            <a:avLst/>
            <a:gdLst/>
            <a:ahLst/>
            <a:cxnLst>
              <a:cxn ang="3cd4">
                <a:pos x="hc" y="t"/>
              </a:cxn>
              <a:cxn ang="cd2">
                <a:pos x="l" y="vc"/>
              </a:cxn>
              <a:cxn ang="cd4">
                <a:pos x="hc" y="b"/>
              </a:cxn>
              <a:cxn ang="0">
                <a:pos x="r" y="vc"/>
              </a:cxn>
            </a:cxnLst>
            <a:rect l="l" t="t" r="r" b="b"/>
            <a:pathLst>
              <a:path w="4916" h="4183">
                <a:moveTo>
                  <a:pt x="4837" y="4025"/>
                </a:moveTo>
                <a:cubicBezTo>
                  <a:pt x="4678" y="4025"/>
                  <a:pt x="4678" y="4025"/>
                  <a:pt x="4678" y="4025"/>
                </a:cubicBezTo>
                <a:cubicBezTo>
                  <a:pt x="4678" y="2036"/>
                  <a:pt x="4678" y="2036"/>
                  <a:pt x="4678" y="2036"/>
                </a:cubicBezTo>
                <a:cubicBezTo>
                  <a:pt x="4678" y="2004"/>
                  <a:pt x="4646" y="1956"/>
                  <a:pt x="4598" y="1956"/>
                </a:cubicBezTo>
                <a:cubicBezTo>
                  <a:pt x="4200" y="1956"/>
                  <a:pt x="4200" y="1956"/>
                  <a:pt x="4200" y="1956"/>
                </a:cubicBezTo>
                <a:cubicBezTo>
                  <a:pt x="4200" y="1718"/>
                  <a:pt x="4200" y="1718"/>
                  <a:pt x="4200" y="1718"/>
                </a:cubicBezTo>
                <a:cubicBezTo>
                  <a:pt x="4200" y="1686"/>
                  <a:pt x="4169" y="1638"/>
                  <a:pt x="4121" y="1638"/>
                </a:cubicBezTo>
                <a:cubicBezTo>
                  <a:pt x="3882" y="1638"/>
                  <a:pt x="3882" y="1638"/>
                  <a:pt x="3882" y="1638"/>
                </a:cubicBezTo>
                <a:cubicBezTo>
                  <a:pt x="3882" y="1574"/>
                  <a:pt x="3882" y="1574"/>
                  <a:pt x="3882" y="1574"/>
                </a:cubicBezTo>
                <a:lnTo>
                  <a:pt x="3882" y="1558"/>
                </a:lnTo>
                <a:cubicBezTo>
                  <a:pt x="3882" y="206"/>
                  <a:pt x="3039" y="0"/>
                  <a:pt x="2530" y="0"/>
                </a:cubicBezTo>
                <a:cubicBezTo>
                  <a:pt x="2037" y="0"/>
                  <a:pt x="1178" y="206"/>
                  <a:pt x="1178" y="1558"/>
                </a:cubicBezTo>
                <a:cubicBezTo>
                  <a:pt x="1178" y="1574"/>
                  <a:pt x="1178" y="1574"/>
                  <a:pt x="1193" y="1591"/>
                </a:cubicBezTo>
                <a:cubicBezTo>
                  <a:pt x="1193" y="1638"/>
                  <a:pt x="1193" y="1638"/>
                  <a:pt x="1193" y="1638"/>
                </a:cubicBezTo>
                <a:cubicBezTo>
                  <a:pt x="955" y="1638"/>
                  <a:pt x="955" y="1638"/>
                  <a:pt x="955" y="1638"/>
                </a:cubicBezTo>
                <a:cubicBezTo>
                  <a:pt x="907" y="1638"/>
                  <a:pt x="875" y="1686"/>
                  <a:pt x="875" y="1718"/>
                </a:cubicBezTo>
                <a:cubicBezTo>
                  <a:pt x="875" y="1956"/>
                  <a:pt x="875" y="1956"/>
                  <a:pt x="875" y="1956"/>
                </a:cubicBezTo>
                <a:cubicBezTo>
                  <a:pt x="478" y="1956"/>
                  <a:pt x="478" y="1956"/>
                  <a:pt x="478" y="1956"/>
                </a:cubicBezTo>
                <a:cubicBezTo>
                  <a:pt x="430" y="1956"/>
                  <a:pt x="398" y="2004"/>
                  <a:pt x="398" y="2036"/>
                </a:cubicBezTo>
                <a:cubicBezTo>
                  <a:pt x="398" y="4025"/>
                  <a:pt x="398" y="4025"/>
                  <a:pt x="398" y="4025"/>
                </a:cubicBezTo>
                <a:cubicBezTo>
                  <a:pt x="80" y="4025"/>
                  <a:pt x="80" y="4025"/>
                  <a:pt x="80" y="4025"/>
                </a:cubicBezTo>
                <a:cubicBezTo>
                  <a:pt x="32" y="4025"/>
                  <a:pt x="0" y="4056"/>
                  <a:pt x="0" y="4104"/>
                </a:cubicBezTo>
                <a:cubicBezTo>
                  <a:pt x="0" y="4152"/>
                  <a:pt x="32" y="4183"/>
                  <a:pt x="80" y="4183"/>
                </a:cubicBezTo>
                <a:cubicBezTo>
                  <a:pt x="478" y="4183"/>
                  <a:pt x="478" y="4183"/>
                  <a:pt x="478" y="4183"/>
                </a:cubicBezTo>
                <a:cubicBezTo>
                  <a:pt x="955" y="4183"/>
                  <a:pt x="955" y="4183"/>
                  <a:pt x="955" y="4183"/>
                </a:cubicBezTo>
                <a:cubicBezTo>
                  <a:pt x="1257" y="4183"/>
                  <a:pt x="1257" y="4183"/>
                  <a:pt x="1257" y="4183"/>
                </a:cubicBezTo>
                <a:cubicBezTo>
                  <a:pt x="1734" y="4183"/>
                  <a:pt x="1734" y="4183"/>
                  <a:pt x="1734" y="4183"/>
                </a:cubicBezTo>
                <a:cubicBezTo>
                  <a:pt x="3325" y="4183"/>
                  <a:pt x="3325" y="4183"/>
                  <a:pt x="3325" y="4183"/>
                </a:cubicBezTo>
                <a:cubicBezTo>
                  <a:pt x="3803" y="4183"/>
                  <a:pt x="3803" y="4183"/>
                  <a:pt x="3803" y="4183"/>
                </a:cubicBezTo>
                <a:cubicBezTo>
                  <a:pt x="4121" y="4183"/>
                  <a:pt x="4121" y="4183"/>
                  <a:pt x="4121" y="4183"/>
                </a:cubicBezTo>
                <a:cubicBezTo>
                  <a:pt x="4598" y="4183"/>
                  <a:pt x="4598" y="4183"/>
                  <a:pt x="4598" y="4183"/>
                </a:cubicBezTo>
                <a:cubicBezTo>
                  <a:pt x="4837" y="4183"/>
                  <a:pt x="4837" y="4183"/>
                  <a:pt x="4837" y="4183"/>
                </a:cubicBezTo>
                <a:cubicBezTo>
                  <a:pt x="4885" y="4183"/>
                  <a:pt x="4916" y="4152"/>
                  <a:pt x="4916" y="4104"/>
                </a:cubicBezTo>
                <a:cubicBezTo>
                  <a:pt x="4916" y="4056"/>
                  <a:pt x="4885" y="4025"/>
                  <a:pt x="4837" y="4025"/>
                </a:cubicBezTo>
                <a:close/>
                <a:moveTo>
                  <a:pt x="2530" y="158"/>
                </a:moveTo>
                <a:cubicBezTo>
                  <a:pt x="3309" y="158"/>
                  <a:pt x="3707" y="604"/>
                  <a:pt x="3723" y="1479"/>
                </a:cubicBezTo>
                <a:cubicBezTo>
                  <a:pt x="1337" y="1479"/>
                  <a:pt x="1337" y="1479"/>
                  <a:pt x="1337" y="1479"/>
                </a:cubicBezTo>
                <a:cubicBezTo>
                  <a:pt x="1369" y="604"/>
                  <a:pt x="1766" y="158"/>
                  <a:pt x="2530" y="158"/>
                </a:cubicBezTo>
                <a:close/>
                <a:moveTo>
                  <a:pt x="557" y="2115"/>
                </a:moveTo>
                <a:cubicBezTo>
                  <a:pt x="875" y="2115"/>
                  <a:pt x="875" y="2115"/>
                  <a:pt x="875" y="2115"/>
                </a:cubicBezTo>
                <a:cubicBezTo>
                  <a:pt x="875" y="4025"/>
                  <a:pt x="875" y="4025"/>
                  <a:pt x="875" y="4025"/>
                </a:cubicBezTo>
                <a:cubicBezTo>
                  <a:pt x="557" y="4025"/>
                  <a:pt x="557" y="4025"/>
                  <a:pt x="557" y="4025"/>
                </a:cubicBezTo>
                <a:close/>
                <a:moveTo>
                  <a:pt x="1034" y="2036"/>
                </a:moveTo>
                <a:cubicBezTo>
                  <a:pt x="1034" y="1797"/>
                  <a:pt x="1034" y="1797"/>
                  <a:pt x="1034" y="1797"/>
                </a:cubicBezTo>
                <a:cubicBezTo>
                  <a:pt x="1193" y="1797"/>
                  <a:pt x="1193" y="1797"/>
                  <a:pt x="1193" y="1797"/>
                </a:cubicBezTo>
                <a:cubicBezTo>
                  <a:pt x="1193" y="4025"/>
                  <a:pt x="1193" y="4025"/>
                  <a:pt x="1193" y="4025"/>
                </a:cubicBezTo>
                <a:cubicBezTo>
                  <a:pt x="1034" y="4025"/>
                  <a:pt x="1034" y="4025"/>
                  <a:pt x="1034" y="4025"/>
                </a:cubicBezTo>
                <a:close/>
                <a:moveTo>
                  <a:pt x="1337" y="1718"/>
                </a:moveTo>
                <a:cubicBezTo>
                  <a:pt x="1337" y="1638"/>
                  <a:pt x="1337" y="1638"/>
                  <a:pt x="1337" y="1638"/>
                </a:cubicBezTo>
                <a:cubicBezTo>
                  <a:pt x="3723" y="1638"/>
                  <a:pt x="3723" y="1638"/>
                  <a:pt x="3723" y="1638"/>
                </a:cubicBezTo>
                <a:cubicBezTo>
                  <a:pt x="3723" y="1718"/>
                  <a:pt x="3723" y="1718"/>
                  <a:pt x="3723" y="1718"/>
                </a:cubicBezTo>
                <a:cubicBezTo>
                  <a:pt x="3723" y="4025"/>
                  <a:pt x="3723" y="4025"/>
                  <a:pt x="3723" y="4025"/>
                </a:cubicBezTo>
                <a:cubicBezTo>
                  <a:pt x="3405" y="4025"/>
                  <a:pt x="3405" y="4025"/>
                  <a:pt x="3405" y="4025"/>
                </a:cubicBezTo>
                <a:cubicBezTo>
                  <a:pt x="3405" y="2513"/>
                  <a:pt x="3405" y="2513"/>
                  <a:pt x="3405" y="2513"/>
                </a:cubicBezTo>
                <a:cubicBezTo>
                  <a:pt x="3405" y="2481"/>
                  <a:pt x="3373" y="2434"/>
                  <a:pt x="3325" y="2434"/>
                </a:cubicBezTo>
                <a:cubicBezTo>
                  <a:pt x="1734" y="2434"/>
                  <a:pt x="1734" y="2434"/>
                  <a:pt x="1734" y="2434"/>
                </a:cubicBezTo>
                <a:cubicBezTo>
                  <a:pt x="1703" y="2434"/>
                  <a:pt x="1655" y="2481"/>
                  <a:pt x="1655" y="2513"/>
                </a:cubicBezTo>
                <a:cubicBezTo>
                  <a:pt x="1655" y="4025"/>
                  <a:pt x="1655" y="4025"/>
                  <a:pt x="1655" y="4025"/>
                </a:cubicBezTo>
                <a:cubicBezTo>
                  <a:pt x="1337" y="4025"/>
                  <a:pt x="1337" y="4025"/>
                  <a:pt x="1337" y="4025"/>
                </a:cubicBezTo>
                <a:close/>
                <a:moveTo>
                  <a:pt x="1814" y="4025"/>
                </a:moveTo>
                <a:cubicBezTo>
                  <a:pt x="1814" y="2592"/>
                  <a:pt x="1814" y="2592"/>
                  <a:pt x="1814" y="2592"/>
                </a:cubicBezTo>
                <a:cubicBezTo>
                  <a:pt x="3246" y="2592"/>
                  <a:pt x="3246" y="2592"/>
                  <a:pt x="3246" y="2592"/>
                </a:cubicBezTo>
                <a:cubicBezTo>
                  <a:pt x="3246" y="4025"/>
                  <a:pt x="3246" y="4025"/>
                  <a:pt x="3246" y="4025"/>
                </a:cubicBezTo>
                <a:close/>
                <a:moveTo>
                  <a:pt x="3882" y="1797"/>
                </a:moveTo>
                <a:cubicBezTo>
                  <a:pt x="4042" y="1797"/>
                  <a:pt x="4042" y="1797"/>
                  <a:pt x="4042" y="1797"/>
                </a:cubicBezTo>
                <a:cubicBezTo>
                  <a:pt x="4042" y="2036"/>
                  <a:pt x="4042" y="2036"/>
                  <a:pt x="4042" y="2036"/>
                </a:cubicBezTo>
                <a:cubicBezTo>
                  <a:pt x="4042" y="4025"/>
                  <a:pt x="4042" y="4025"/>
                  <a:pt x="4042" y="4025"/>
                </a:cubicBezTo>
                <a:cubicBezTo>
                  <a:pt x="3882" y="4025"/>
                  <a:pt x="3882" y="4025"/>
                  <a:pt x="3882" y="4025"/>
                </a:cubicBezTo>
                <a:close/>
                <a:moveTo>
                  <a:pt x="4200" y="4025"/>
                </a:moveTo>
                <a:cubicBezTo>
                  <a:pt x="4200" y="2115"/>
                  <a:pt x="4200" y="2115"/>
                  <a:pt x="4200" y="2115"/>
                </a:cubicBezTo>
                <a:cubicBezTo>
                  <a:pt x="4519" y="2115"/>
                  <a:pt x="4519" y="2115"/>
                  <a:pt x="4519" y="2115"/>
                </a:cubicBezTo>
                <a:cubicBezTo>
                  <a:pt x="4519" y="4025"/>
                  <a:pt x="4519" y="4025"/>
                  <a:pt x="4519" y="402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9" name="Freeform: Shape 4">
            <a:extLst>
              <a:ext uri="{FF2B5EF4-FFF2-40B4-BE49-F238E27FC236}">
                <a16:creationId xmlns:a16="http://schemas.microsoft.com/office/drawing/2014/main" id="{763961B8-9910-5E4D-8134-46CB4F2D7281}"/>
              </a:ext>
            </a:extLst>
          </p:cNvPr>
          <p:cNvSpPr/>
          <p:nvPr/>
        </p:nvSpPr>
        <p:spPr>
          <a:xfrm>
            <a:off x="6047722" y="3317893"/>
            <a:ext cx="1546200" cy="1712160"/>
          </a:xfrm>
          <a:custGeom>
            <a:avLst/>
            <a:gdLst/>
            <a:ahLst/>
            <a:cxnLst>
              <a:cxn ang="3cd4">
                <a:pos x="hc" y="t"/>
              </a:cxn>
              <a:cxn ang="cd2">
                <a:pos x="l" y="vc"/>
              </a:cxn>
              <a:cxn ang="cd4">
                <a:pos x="hc" y="b"/>
              </a:cxn>
              <a:cxn ang="0">
                <a:pos x="r" y="vc"/>
              </a:cxn>
            </a:cxnLst>
            <a:rect l="l" t="t" r="r" b="b"/>
            <a:pathLst>
              <a:path w="4296" h="4757">
                <a:moveTo>
                  <a:pt x="716" y="4757"/>
                </a:moveTo>
                <a:lnTo>
                  <a:pt x="3580" y="4757"/>
                </a:lnTo>
                <a:cubicBezTo>
                  <a:pt x="3628" y="4757"/>
                  <a:pt x="3660" y="4725"/>
                  <a:pt x="3660" y="4678"/>
                </a:cubicBezTo>
                <a:lnTo>
                  <a:pt x="3660" y="1273"/>
                </a:lnTo>
                <a:cubicBezTo>
                  <a:pt x="4026" y="1257"/>
                  <a:pt x="4296" y="970"/>
                  <a:pt x="4296" y="620"/>
                </a:cubicBezTo>
                <a:cubicBezTo>
                  <a:pt x="4296" y="270"/>
                  <a:pt x="4010" y="0"/>
                  <a:pt x="3628" y="0"/>
                </a:cubicBezTo>
                <a:lnTo>
                  <a:pt x="668" y="0"/>
                </a:lnTo>
                <a:cubicBezTo>
                  <a:pt x="287" y="0"/>
                  <a:pt x="0" y="270"/>
                  <a:pt x="0" y="620"/>
                </a:cubicBezTo>
                <a:cubicBezTo>
                  <a:pt x="0" y="970"/>
                  <a:pt x="271" y="1257"/>
                  <a:pt x="637" y="1273"/>
                </a:cubicBezTo>
                <a:lnTo>
                  <a:pt x="637" y="4678"/>
                </a:lnTo>
                <a:cubicBezTo>
                  <a:pt x="637" y="4725"/>
                  <a:pt x="668" y="4757"/>
                  <a:pt x="716" y="4757"/>
                </a:cubicBezTo>
                <a:close/>
                <a:moveTo>
                  <a:pt x="3501" y="4598"/>
                </a:moveTo>
                <a:lnTo>
                  <a:pt x="796" y="4598"/>
                </a:lnTo>
                <a:lnTo>
                  <a:pt x="796" y="1273"/>
                </a:lnTo>
                <a:lnTo>
                  <a:pt x="796" y="1257"/>
                </a:lnTo>
                <a:cubicBezTo>
                  <a:pt x="987" y="1225"/>
                  <a:pt x="1130" y="1098"/>
                  <a:pt x="1225" y="923"/>
                </a:cubicBezTo>
                <a:cubicBezTo>
                  <a:pt x="1241" y="939"/>
                  <a:pt x="1257" y="954"/>
                  <a:pt x="1273" y="954"/>
                </a:cubicBezTo>
                <a:lnTo>
                  <a:pt x="3023" y="954"/>
                </a:lnTo>
                <a:cubicBezTo>
                  <a:pt x="3039" y="954"/>
                  <a:pt x="3055" y="939"/>
                  <a:pt x="3071" y="923"/>
                </a:cubicBezTo>
                <a:cubicBezTo>
                  <a:pt x="3166" y="1098"/>
                  <a:pt x="3310" y="1225"/>
                  <a:pt x="3501" y="1257"/>
                </a:cubicBezTo>
                <a:lnTo>
                  <a:pt x="3501" y="1273"/>
                </a:lnTo>
                <a:close/>
                <a:moveTo>
                  <a:pt x="159" y="620"/>
                </a:moveTo>
                <a:cubicBezTo>
                  <a:pt x="159" y="350"/>
                  <a:pt x="366" y="159"/>
                  <a:pt x="668" y="159"/>
                </a:cubicBezTo>
                <a:lnTo>
                  <a:pt x="3628" y="159"/>
                </a:lnTo>
                <a:cubicBezTo>
                  <a:pt x="3914" y="159"/>
                  <a:pt x="4137" y="350"/>
                  <a:pt x="4137" y="620"/>
                </a:cubicBezTo>
                <a:cubicBezTo>
                  <a:pt x="4137" y="907"/>
                  <a:pt x="3914" y="1114"/>
                  <a:pt x="3628" y="1114"/>
                </a:cubicBezTo>
                <a:cubicBezTo>
                  <a:pt x="3357" y="1114"/>
                  <a:pt x="3150" y="891"/>
                  <a:pt x="3150" y="588"/>
                </a:cubicBezTo>
                <a:cubicBezTo>
                  <a:pt x="3150" y="541"/>
                  <a:pt x="3103" y="509"/>
                  <a:pt x="3071" y="509"/>
                </a:cubicBezTo>
                <a:cubicBezTo>
                  <a:pt x="3023" y="509"/>
                  <a:pt x="2992" y="541"/>
                  <a:pt x="2992" y="588"/>
                </a:cubicBezTo>
                <a:cubicBezTo>
                  <a:pt x="2992" y="652"/>
                  <a:pt x="2992" y="732"/>
                  <a:pt x="3023" y="796"/>
                </a:cubicBezTo>
                <a:lnTo>
                  <a:pt x="1273" y="796"/>
                </a:lnTo>
                <a:cubicBezTo>
                  <a:pt x="1305" y="732"/>
                  <a:pt x="1305" y="652"/>
                  <a:pt x="1305" y="588"/>
                </a:cubicBezTo>
                <a:cubicBezTo>
                  <a:pt x="1305" y="541"/>
                  <a:pt x="1273" y="509"/>
                  <a:pt x="1225" y="509"/>
                </a:cubicBezTo>
                <a:cubicBezTo>
                  <a:pt x="1178" y="509"/>
                  <a:pt x="1146" y="541"/>
                  <a:pt x="1146" y="588"/>
                </a:cubicBezTo>
                <a:cubicBezTo>
                  <a:pt x="1146" y="891"/>
                  <a:pt x="939" y="1114"/>
                  <a:pt x="668" y="1114"/>
                </a:cubicBezTo>
                <a:cubicBezTo>
                  <a:pt x="382" y="1114"/>
                  <a:pt x="159" y="907"/>
                  <a:pt x="159" y="620"/>
                </a:cubicBezTo>
                <a:close/>
                <a:moveTo>
                  <a:pt x="1193" y="1352"/>
                </a:moveTo>
                <a:cubicBezTo>
                  <a:pt x="1146" y="1352"/>
                  <a:pt x="1114" y="1384"/>
                  <a:pt x="1114" y="1432"/>
                </a:cubicBezTo>
                <a:lnTo>
                  <a:pt x="1114" y="4121"/>
                </a:lnTo>
                <a:cubicBezTo>
                  <a:pt x="1114" y="4169"/>
                  <a:pt x="1146" y="4200"/>
                  <a:pt x="1193" y="4200"/>
                </a:cubicBezTo>
                <a:cubicBezTo>
                  <a:pt x="1241" y="4200"/>
                  <a:pt x="1273" y="4169"/>
                  <a:pt x="1273" y="4121"/>
                </a:cubicBezTo>
                <a:lnTo>
                  <a:pt x="1273" y="1432"/>
                </a:lnTo>
                <a:cubicBezTo>
                  <a:pt x="1273" y="1384"/>
                  <a:pt x="1241" y="1352"/>
                  <a:pt x="1193" y="1352"/>
                </a:cubicBezTo>
                <a:close/>
                <a:moveTo>
                  <a:pt x="3103" y="1352"/>
                </a:moveTo>
                <a:cubicBezTo>
                  <a:pt x="3055" y="1352"/>
                  <a:pt x="3023" y="1384"/>
                  <a:pt x="3023" y="1432"/>
                </a:cubicBezTo>
                <a:lnTo>
                  <a:pt x="3023" y="4121"/>
                </a:lnTo>
                <a:cubicBezTo>
                  <a:pt x="3023" y="4169"/>
                  <a:pt x="3055" y="4200"/>
                  <a:pt x="3103" y="4200"/>
                </a:cubicBezTo>
                <a:cubicBezTo>
                  <a:pt x="3150" y="4200"/>
                  <a:pt x="3182" y="4169"/>
                  <a:pt x="3182" y="4121"/>
                </a:cubicBezTo>
                <a:lnTo>
                  <a:pt x="3182" y="1432"/>
                </a:lnTo>
                <a:cubicBezTo>
                  <a:pt x="3182" y="1384"/>
                  <a:pt x="3150" y="1352"/>
                  <a:pt x="3103" y="1352"/>
                </a:cubicBezTo>
                <a:close/>
                <a:moveTo>
                  <a:pt x="2466" y="1352"/>
                </a:moveTo>
                <a:cubicBezTo>
                  <a:pt x="2419" y="1352"/>
                  <a:pt x="2387" y="1384"/>
                  <a:pt x="2387" y="1432"/>
                </a:cubicBezTo>
                <a:lnTo>
                  <a:pt x="2387" y="4121"/>
                </a:lnTo>
                <a:cubicBezTo>
                  <a:pt x="2387" y="4169"/>
                  <a:pt x="2419" y="4200"/>
                  <a:pt x="2466" y="4200"/>
                </a:cubicBezTo>
                <a:cubicBezTo>
                  <a:pt x="2514" y="4200"/>
                  <a:pt x="2546" y="4169"/>
                  <a:pt x="2546" y="4121"/>
                </a:cubicBezTo>
                <a:lnTo>
                  <a:pt x="2546" y="1432"/>
                </a:lnTo>
                <a:cubicBezTo>
                  <a:pt x="2546" y="1384"/>
                  <a:pt x="2514" y="1352"/>
                  <a:pt x="2466" y="1352"/>
                </a:cubicBezTo>
                <a:close/>
                <a:moveTo>
                  <a:pt x="1830" y="1352"/>
                </a:moveTo>
                <a:cubicBezTo>
                  <a:pt x="1782" y="1352"/>
                  <a:pt x="1750" y="1384"/>
                  <a:pt x="1750" y="1432"/>
                </a:cubicBezTo>
                <a:lnTo>
                  <a:pt x="1750" y="4121"/>
                </a:lnTo>
                <a:cubicBezTo>
                  <a:pt x="1750" y="4169"/>
                  <a:pt x="1782" y="4200"/>
                  <a:pt x="1830" y="4200"/>
                </a:cubicBezTo>
                <a:cubicBezTo>
                  <a:pt x="1878" y="4200"/>
                  <a:pt x="1910" y="4169"/>
                  <a:pt x="1910" y="4121"/>
                </a:cubicBezTo>
                <a:lnTo>
                  <a:pt x="1910" y="1432"/>
                </a:lnTo>
                <a:cubicBezTo>
                  <a:pt x="1910" y="1384"/>
                  <a:pt x="1878" y="1352"/>
                  <a:pt x="1830" y="135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0" name="Freeform: Shape 5">
            <a:extLst>
              <a:ext uri="{FF2B5EF4-FFF2-40B4-BE49-F238E27FC236}">
                <a16:creationId xmlns:a16="http://schemas.microsoft.com/office/drawing/2014/main" id="{17FB5FE9-7D3F-994A-90FA-AD5863F8F0C2}"/>
              </a:ext>
            </a:extLst>
          </p:cNvPr>
          <p:cNvSpPr/>
          <p:nvPr/>
        </p:nvSpPr>
        <p:spPr>
          <a:xfrm>
            <a:off x="1760671" y="3329413"/>
            <a:ext cx="1540080" cy="1689119"/>
          </a:xfrm>
          <a:custGeom>
            <a:avLst/>
            <a:gdLst/>
            <a:ahLst/>
            <a:cxnLst>
              <a:cxn ang="3cd4">
                <a:pos x="hc" y="t"/>
              </a:cxn>
              <a:cxn ang="cd2">
                <a:pos x="l" y="vc"/>
              </a:cxn>
              <a:cxn ang="cd4">
                <a:pos x="hc" y="b"/>
              </a:cxn>
              <a:cxn ang="0">
                <a:pos x="r" y="vc"/>
              </a:cxn>
            </a:cxnLst>
            <a:rect l="l" t="t" r="r" b="b"/>
            <a:pathLst>
              <a:path w="4279" h="4693">
                <a:moveTo>
                  <a:pt x="3404" y="4693"/>
                </a:moveTo>
                <a:cubicBezTo>
                  <a:pt x="3452" y="4693"/>
                  <a:pt x="3484" y="4646"/>
                  <a:pt x="3484" y="4614"/>
                </a:cubicBezTo>
                <a:lnTo>
                  <a:pt x="3484" y="1670"/>
                </a:lnTo>
                <a:cubicBezTo>
                  <a:pt x="3484" y="1623"/>
                  <a:pt x="3452" y="1591"/>
                  <a:pt x="3404" y="1591"/>
                </a:cubicBezTo>
                <a:lnTo>
                  <a:pt x="874" y="1591"/>
                </a:lnTo>
                <a:cubicBezTo>
                  <a:pt x="827" y="1591"/>
                  <a:pt x="795" y="1623"/>
                  <a:pt x="795" y="1670"/>
                </a:cubicBezTo>
                <a:lnTo>
                  <a:pt x="795" y="4614"/>
                </a:lnTo>
                <a:cubicBezTo>
                  <a:pt x="795" y="4646"/>
                  <a:pt x="827" y="4693"/>
                  <a:pt x="874" y="4693"/>
                </a:cubicBezTo>
                <a:cubicBezTo>
                  <a:pt x="906" y="4693"/>
                  <a:pt x="954" y="4646"/>
                  <a:pt x="954" y="4614"/>
                </a:cubicBezTo>
                <a:lnTo>
                  <a:pt x="954" y="1750"/>
                </a:lnTo>
                <a:lnTo>
                  <a:pt x="3325" y="1750"/>
                </a:lnTo>
                <a:lnTo>
                  <a:pt x="3325" y="4614"/>
                </a:lnTo>
                <a:cubicBezTo>
                  <a:pt x="3325" y="4646"/>
                  <a:pt x="3356" y="4693"/>
                  <a:pt x="3404" y="4693"/>
                </a:cubicBezTo>
                <a:close/>
                <a:moveTo>
                  <a:pt x="1574" y="4614"/>
                </a:moveTo>
                <a:lnTo>
                  <a:pt x="1574" y="2227"/>
                </a:lnTo>
                <a:cubicBezTo>
                  <a:pt x="1574" y="2179"/>
                  <a:pt x="1543" y="2147"/>
                  <a:pt x="1495" y="2147"/>
                </a:cubicBezTo>
                <a:cubicBezTo>
                  <a:pt x="1463" y="2147"/>
                  <a:pt x="1415" y="2179"/>
                  <a:pt x="1415" y="2227"/>
                </a:cubicBezTo>
                <a:lnTo>
                  <a:pt x="1415" y="4614"/>
                </a:lnTo>
                <a:cubicBezTo>
                  <a:pt x="1415" y="4646"/>
                  <a:pt x="1463" y="4693"/>
                  <a:pt x="1495" y="4693"/>
                </a:cubicBezTo>
                <a:cubicBezTo>
                  <a:pt x="1543" y="4693"/>
                  <a:pt x="1574" y="4646"/>
                  <a:pt x="1574" y="4614"/>
                </a:cubicBezTo>
                <a:close/>
                <a:moveTo>
                  <a:pt x="2847" y="4614"/>
                </a:moveTo>
                <a:lnTo>
                  <a:pt x="2847" y="2227"/>
                </a:lnTo>
                <a:cubicBezTo>
                  <a:pt x="2847" y="2179"/>
                  <a:pt x="2816" y="2147"/>
                  <a:pt x="2768" y="2147"/>
                </a:cubicBezTo>
                <a:cubicBezTo>
                  <a:pt x="2736" y="2147"/>
                  <a:pt x="2688" y="2179"/>
                  <a:pt x="2688" y="2227"/>
                </a:cubicBezTo>
                <a:lnTo>
                  <a:pt x="2688" y="4614"/>
                </a:lnTo>
                <a:cubicBezTo>
                  <a:pt x="2688" y="4646"/>
                  <a:pt x="2736" y="4693"/>
                  <a:pt x="2768" y="4693"/>
                </a:cubicBezTo>
                <a:cubicBezTo>
                  <a:pt x="2816" y="4693"/>
                  <a:pt x="2847" y="4646"/>
                  <a:pt x="2847" y="4614"/>
                </a:cubicBezTo>
                <a:close/>
                <a:moveTo>
                  <a:pt x="2131" y="4693"/>
                </a:moveTo>
                <a:cubicBezTo>
                  <a:pt x="2179" y="4693"/>
                  <a:pt x="2211" y="4646"/>
                  <a:pt x="2211" y="4614"/>
                </a:cubicBezTo>
                <a:lnTo>
                  <a:pt x="2211" y="2227"/>
                </a:lnTo>
                <a:cubicBezTo>
                  <a:pt x="2211" y="2179"/>
                  <a:pt x="2179" y="2147"/>
                  <a:pt x="2131" y="2147"/>
                </a:cubicBezTo>
                <a:cubicBezTo>
                  <a:pt x="2100" y="2147"/>
                  <a:pt x="2052" y="2179"/>
                  <a:pt x="2052" y="2227"/>
                </a:cubicBezTo>
                <a:lnTo>
                  <a:pt x="2052" y="4614"/>
                </a:lnTo>
                <a:cubicBezTo>
                  <a:pt x="2052" y="4646"/>
                  <a:pt x="2100" y="4693"/>
                  <a:pt x="2131" y="4693"/>
                </a:cubicBezTo>
                <a:close/>
                <a:moveTo>
                  <a:pt x="4200" y="0"/>
                </a:moveTo>
                <a:lnTo>
                  <a:pt x="79" y="0"/>
                </a:lnTo>
                <a:cubicBezTo>
                  <a:pt x="31" y="0"/>
                  <a:pt x="0" y="32"/>
                  <a:pt x="0" y="79"/>
                </a:cubicBezTo>
                <a:lnTo>
                  <a:pt x="0" y="716"/>
                </a:lnTo>
                <a:cubicBezTo>
                  <a:pt x="0" y="764"/>
                  <a:pt x="31" y="795"/>
                  <a:pt x="79" y="795"/>
                </a:cubicBezTo>
                <a:lnTo>
                  <a:pt x="636" y="795"/>
                </a:lnTo>
                <a:lnTo>
                  <a:pt x="636" y="1352"/>
                </a:lnTo>
                <a:cubicBezTo>
                  <a:pt x="636" y="1400"/>
                  <a:pt x="668" y="1432"/>
                  <a:pt x="715" y="1432"/>
                </a:cubicBezTo>
                <a:lnTo>
                  <a:pt x="3563" y="1432"/>
                </a:lnTo>
                <a:cubicBezTo>
                  <a:pt x="3611" y="1432"/>
                  <a:pt x="3643" y="1400"/>
                  <a:pt x="3643" y="1352"/>
                </a:cubicBezTo>
                <a:lnTo>
                  <a:pt x="3643" y="795"/>
                </a:lnTo>
                <a:lnTo>
                  <a:pt x="4200" y="795"/>
                </a:lnTo>
                <a:cubicBezTo>
                  <a:pt x="4247" y="795"/>
                  <a:pt x="4279" y="764"/>
                  <a:pt x="4279" y="716"/>
                </a:cubicBezTo>
                <a:lnTo>
                  <a:pt x="4279" y="79"/>
                </a:lnTo>
                <a:cubicBezTo>
                  <a:pt x="4279" y="32"/>
                  <a:pt x="4247" y="0"/>
                  <a:pt x="4200" y="0"/>
                </a:cubicBezTo>
                <a:close/>
                <a:moveTo>
                  <a:pt x="3484" y="1273"/>
                </a:moveTo>
                <a:lnTo>
                  <a:pt x="795" y="1273"/>
                </a:lnTo>
                <a:lnTo>
                  <a:pt x="795" y="795"/>
                </a:lnTo>
                <a:lnTo>
                  <a:pt x="3484" y="795"/>
                </a:lnTo>
                <a:close/>
                <a:moveTo>
                  <a:pt x="4120" y="636"/>
                </a:moveTo>
                <a:lnTo>
                  <a:pt x="3643" y="636"/>
                </a:lnTo>
                <a:lnTo>
                  <a:pt x="3563" y="636"/>
                </a:lnTo>
                <a:lnTo>
                  <a:pt x="715" y="636"/>
                </a:lnTo>
                <a:lnTo>
                  <a:pt x="636" y="636"/>
                </a:lnTo>
                <a:lnTo>
                  <a:pt x="158" y="636"/>
                </a:lnTo>
                <a:lnTo>
                  <a:pt x="158" y="159"/>
                </a:lnTo>
                <a:lnTo>
                  <a:pt x="4120" y="15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1" name="Freeform: Shape 18">
            <a:extLst>
              <a:ext uri="{FF2B5EF4-FFF2-40B4-BE49-F238E27FC236}">
                <a16:creationId xmlns:a16="http://schemas.microsoft.com/office/drawing/2014/main" id="{C3E05777-312D-F947-956F-EBB787DDCB63}"/>
              </a:ext>
            </a:extLst>
          </p:cNvPr>
          <p:cNvSpPr/>
          <p:nvPr/>
        </p:nvSpPr>
        <p:spPr>
          <a:xfrm>
            <a:off x="13076601" y="3821452"/>
            <a:ext cx="1935720" cy="791280"/>
          </a:xfrm>
          <a:custGeom>
            <a:avLst/>
            <a:gdLst/>
            <a:ahLst/>
            <a:cxnLst>
              <a:cxn ang="3cd4">
                <a:pos x="hc" y="t"/>
              </a:cxn>
              <a:cxn ang="cd2">
                <a:pos x="l" y="vc"/>
              </a:cxn>
              <a:cxn ang="cd4">
                <a:pos x="hc" y="b"/>
              </a:cxn>
              <a:cxn ang="0">
                <a:pos x="r" y="vc"/>
              </a:cxn>
            </a:cxnLst>
            <a:rect l="l" t="t" r="r" b="b"/>
            <a:pathLst>
              <a:path w="5378" h="2199">
                <a:moveTo>
                  <a:pt x="5298" y="1324"/>
                </a:moveTo>
                <a:cubicBezTo>
                  <a:pt x="5091" y="1324"/>
                  <a:pt x="5091" y="1324"/>
                  <a:pt x="5091" y="1324"/>
                </a:cubicBezTo>
                <a:cubicBezTo>
                  <a:pt x="4948" y="1308"/>
                  <a:pt x="4836" y="1260"/>
                  <a:pt x="4726" y="1213"/>
                </a:cubicBezTo>
                <a:cubicBezTo>
                  <a:pt x="4582" y="1149"/>
                  <a:pt x="4423" y="1005"/>
                  <a:pt x="4296" y="846"/>
                </a:cubicBezTo>
                <a:cubicBezTo>
                  <a:pt x="4153" y="656"/>
                  <a:pt x="4073" y="544"/>
                  <a:pt x="4073" y="353"/>
                </a:cubicBezTo>
                <a:cubicBezTo>
                  <a:pt x="4073" y="83"/>
                  <a:pt x="4073" y="83"/>
                  <a:pt x="4073" y="83"/>
                </a:cubicBezTo>
                <a:cubicBezTo>
                  <a:pt x="4073" y="35"/>
                  <a:pt x="4025" y="3"/>
                  <a:pt x="3993" y="3"/>
                </a:cubicBezTo>
                <a:cubicBezTo>
                  <a:pt x="3946" y="-13"/>
                  <a:pt x="3914" y="35"/>
                  <a:pt x="3914" y="67"/>
                </a:cubicBezTo>
                <a:cubicBezTo>
                  <a:pt x="3898" y="369"/>
                  <a:pt x="3898" y="369"/>
                  <a:pt x="3898" y="369"/>
                </a:cubicBezTo>
                <a:cubicBezTo>
                  <a:pt x="3898" y="513"/>
                  <a:pt x="3644" y="910"/>
                  <a:pt x="3373" y="1117"/>
                </a:cubicBezTo>
                <a:cubicBezTo>
                  <a:pt x="3182" y="1260"/>
                  <a:pt x="2975" y="1324"/>
                  <a:pt x="2736" y="1324"/>
                </a:cubicBezTo>
                <a:cubicBezTo>
                  <a:pt x="2657" y="1324"/>
                  <a:pt x="2657" y="1324"/>
                  <a:pt x="2657" y="1324"/>
                </a:cubicBezTo>
                <a:cubicBezTo>
                  <a:pt x="2418" y="1324"/>
                  <a:pt x="2211" y="1260"/>
                  <a:pt x="2021" y="1117"/>
                </a:cubicBezTo>
                <a:cubicBezTo>
                  <a:pt x="1750" y="910"/>
                  <a:pt x="1480" y="513"/>
                  <a:pt x="1496" y="353"/>
                </a:cubicBezTo>
                <a:cubicBezTo>
                  <a:pt x="1480" y="67"/>
                  <a:pt x="1480" y="67"/>
                  <a:pt x="1480" y="67"/>
                </a:cubicBezTo>
                <a:cubicBezTo>
                  <a:pt x="1480" y="35"/>
                  <a:pt x="1448" y="3"/>
                  <a:pt x="1400" y="3"/>
                </a:cubicBezTo>
                <a:cubicBezTo>
                  <a:pt x="1368" y="3"/>
                  <a:pt x="1321" y="35"/>
                  <a:pt x="1321" y="83"/>
                </a:cubicBezTo>
                <a:cubicBezTo>
                  <a:pt x="1321" y="353"/>
                  <a:pt x="1321" y="353"/>
                  <a:pt x="1321" y="353"/>
                </a:cubicBezTo>
                <a:cubicBezTo>
                  <a:pt x="1321" y="544"/>
                  <a:pt x="1241" y="640"/>
                  <a:pt x="1098" y="846"/>
                </a:cubicBezTo>
                <a:cubicBezTo>
                  <a:pt x="954" y="1005"/>
                  <a:pt x="811" y="1149"/>
                  <a:pt x="668" y="1213"/>
                </a:cubicBezTo>
                <a:cubicBezTo>
                  <a:pt x="557" y="1260"/>
                  <a:pt x="445" y="1308"/>
                  <a:pt x="302" y="1324"/>
                </a:cubicBezTo>
                <a:cubicBezTo>
                  <a:pt x="80" y="1324"/>
                  <a:pt x="80" y="1324"/>
                  <a:pt x="80" y="1324"/>
                </a:cubicBezTo>
                <a:cubicBezTo>
                  <a:pt x="32" y="1324"/>
                  <a:pt x="0" y="1356"/>
                  <a:pt x="0" y="1403"/>
                </a:cubicBezTo>
                <a:cubicBezTo>
                  <a:pt x="0" y="1451"/>
                  <a:pt x="32" y="1483"/>
                  <a:pt x="80" y="1483"/>
                </a:cubicBezTo>
                <a:cubicBezTo>
                  <a:pt x="1336" y="1483"/>
                  <a:pt x="1336" y="1483"/>
                  <a:pt x="1336" y="1483"/>
                </a:cubicBezTo>
                <a:cubicBezTo>
                  <a:pt x="1336" y="2119"/>
                  <a:pt x="1336" y="2119"/>
                  <a:pt x="1336" y="2119"/>
                </a:cubicBezTo>
                <a:cubicBezTo>
                  <a:pt x="1336" y="2167"/>
                  <a:pt x="1368" y="2199"/>
                  <a:pt x="1416" y="2199"/>
                </a:cubicBezTo>
                <a:cubicBezTo>
                  <a:pt x="1448" y="2199"/>
                  <a:pt x="1496" y="2167"/>
                  <a:pt x="1496" y="2119"/>
                </a:cubicBezTo>
                <a:cubicBezTo>
                  <a:pt x="1496" y="1483"/>
                  <a:pt x="1496" y="1483"/>
                  <a:pt x="1496" y="1483"/>
                </a:cubicBezTo>
                <a:cubicBezTo>
                  <a:pt x="3898" y="1483"/>
                  <a:pt x="3898" y="1483"/>
                  <a:pt x="3898" y="1483"/>
                </a:cubicBezTo>
                <a:cubicBezTo>
                  <a:pt x="3898" y="2119"/>
                  <a:pt x="3898" y="2119"/>
                  <a:pt x="3898" y="2119"/>
                </a:cubicBezTo>
                <a:cubicBezTo>
                  <a:pt x="3898" y="2167"/>
                  <a:pt x="3946" y="2199"/>
                  <a:pt x="3978" y="2199"/>
                </a:cubicBezTo>
                <a:cubicBezTo>
                  <a:pt x="4025" y="2199"/>
                  <a:pt x="4057" y="2167"/>
                  <a:pt x="4057" y="2119"/>
                </a:cubicBezTo>
                <a:cubicBezTo>
                  <a:pt x="4057" y="1483"/>
                  <a:pt x="4057" y="1483"/>
                  <a:pt x="4057" y="1483"/>
                </a:cubicBezTo>
                <a:cubicBezTo>
                  <a:pt x="5298" y="1483"/>
                  <a:pt x="5298" y="1483"/>
                  <a:pt x="5298" y="1483"/>
                </a:cubicBezTo>
                <a:cubicBezTo>
                  <a:pt x="5346" y="1483"/>
                  <a:pt x="5378" y="1451"/>
                  <a:pt x="5378" y="1403"/>
                </a:cubicBezTo>
                <a:cubicBezTo>
                  <a:pt x="5378" y="1356"/>
                  <a:pt x="5346" y="1324"/>
                  <a:pt x="5298" y="1324"/>
                </a:cubicBezTo>
                <a:close/>
                <a:moveTo>
                  <a:pt x="780" y="1324"/>
                </a:moveTo>
                <a:cubicBezTo>
                  <a:pt x="939" y="1244"/>
                  <a:pt x="1082" y="1117"/>
                  <a:pt x="1225" y="942"/>
                </a:cubicBezTo>
                <a:cubicBezTo>
                  <a:pt x="1257" y="894"/>
                  <a:pt x="1305" y="846"/>
                  <a:pt x="1336" y="799"/>
                </a:cubicBezTo>
                <a:cubicBezTo>
                  <a:pt x="1336" y="1324"/>
                  <a:pt x="1336" y="1324"/>
                  <a:pt x="1336" y="1324"/>
                </a:cubicBezTo>
                <a:close/>
                <a:moveTo>
                  <a:pt x="1496" y="1324"/>
                </a:moveTo>
                <a:cubicBezTo>
                  <a:pt x="1496" y="767"/>
                  <a:pt x="1496" y="767"/>
                  <a:pt x="1496" y="767"/>
                </a:cubicBezTo>
                <a:cubicBezTo>
                  <a:pt x="1607" y="942"/>
                  <a:pt x="1766" y="1133"/>
                  <a:pt x="1925" y="1244"/>
                </a:cubicBezTo>
                <a:cubicBezTo>
                  <a:pt x="1973" y="1276"/>
                  <a:pt x="2005" y="1308"/>
                  <a:pt x="2053" y="1324"/>
                </a:cubicBezTo>
                <a:close/>
                <a:moveTo>
                  <a:pt x="3341" y="1324"/>
                </a:moveTo>
                <a:cubicBezTo>
                  <a:pt x="3389" y="1308"/>
                  <a:pt x="3421" y="1276"/>
                  <a:pt x="3468" y="1244"/>
                </a:cubicBezTo>
                <a:cubicBezTo>
                  <a:pt x="3627" y="1133"/>
                  <a:pt x="3787" y="942"/>
                  <a:pt x="3898" y="767"/>
                </a:cubicBezTo>
                <a:cubicBezTo>
                  <a:pt x="3898" y="1324"/>
                  <a:pt x="3898" y="1324"/>
                  <a:pt x="3898" y="1324"/>
                </a:cubicBezTo>
                <a:close/>
                <a:moveTo>
                  <a:pt x="4057" y="799"/>
                </a:moveTo>
                <a:cubicBezTo>
                  <a:pt x="4105" y="846"/>
                  <a:pt x="4136" y="894"/>
                  <a:pt x="4169" y="942"/>
                </a:cubicBezTo>
                <a:cubicBezTo>
                  <a:pt x="4312" y="1117"/>
                  <a:pt x="4455" y="1244"/>
                  <a:pt x="4614" y="1324"/>
                </a:cubicBezTo>
                <a:cubicBezTo>
                  <a:pt x="4057" y="1324"/>
                  <a:pt x="4057" y="1324"/>
                  <a:pt x="4057" y="132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2" name="TextBox 51">
            <a:extLst>
              <a:ext uri="{FF2B5EF4-FFF2-40B4-BE49-F238E27FC236}">
                <a16:creationId xmlns:a16="http://schemas.microsoft.com/office/drawing/2014/main" id="{564CC7ED-CBEE-6E48-A582-ED9E2EC9F2DF}"/>
              </a:ext>
            </a:extLst>
          </p:cNvPr>
          <p:cNvSpPr txBox="1"/>
          <p:nvPr/>
        </p:nvSpPr>
        <p:spPr>
          <a:xfrm>
            <a:off x="13406874" y="8599573"/>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ondon Eye</a:t>
            </a:r>
          </a:p>
        </p:txBody>
      </p:sp>
      <p:sp>
        <p:nvSpPr>
          <p:cNvPr id="53" name="TextBox 52">
            <a:extLst>
              <a:ext uri="{FF2B5EF4-FFF2-40B4-BE49-F238E27FC236}">
                <a16:creationId xmlns:a16="http://schemas.microsoft.com/office/drawing/2014/main" id="{A4F38ED7-8FA1-0247-B641-9EEFB09FEBD2}"/>
              </a:ext>
            </a:extLst>
          </p:cNvPr>
          <p:cNvSpPr txBox="1"/>
          <p:nvPr/>
        </p:nvSpPr>
        <p:spPr>
          <a:xfrm>
            <a:off x="20117720" y="8599573"/>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yramid</a:t>
            </a:r>
          </a:p>
        </p:txBody>
      </p:sp>
      <p:sp>
        <p:nvSpPr>
          <p:cNvPr id="54" name="TextBox 53">
            <a:extLst>
              <a:ext uri="{FF2B5EF4-FFF2-40B4-BE49-F238E27FC236}">
                <a16:creationId xmlns:a16="http://schemas.microsoft.com/office/drawing/2014/main" id="{FC065E19-925A-0041-9719-6C43E6F23274}"/>
              </a:ext>
            </a:extLst>
          </p:cNvPr>
          <p:cNvSpPr txBox="1"/>
          <p:nvPr/>
        </p:nvSpPr>
        <p:spPr>
          <a:xfrm>
            <a:off x="16028318" y="5164929"/>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Kremlin</a:t>
            </a:r>
          </a:p>
        </p:txBody>
      </p:sp>
      <p:sp>
        <p:nvSpPr>
          <p:cNvPr id="55" name="TextBox 54">
            <a:extLst>
              <a:ext uri="{FF2B5EF4-FFF2-40B4-BE49-F238E27FC236}">
                <a16:creationId xmlns:a16="http://schemas.microsoft.com/office/drawing/2014/main" id="{26336E7F-71CC-C54F-95B2-2B2641B7AE3F}"/>
              </a:ext>
            </a:extLst>
          </p:cNvPr>
          <p:cNvSpPr txBox="1"/>
          <p:nvPr/>
        </p:nvSpPr>
        <p:spPr>
          <a:xfrm>
            <a:off x="16388580" y="8599573"/>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uggenheim</a:t>
            </a:r>
          </a:p>
        </p:txBody>
      </p:sp>
      <p:sp>
        <p:nvSpPr>
          <p:cNvPr id="56" name="Freeform: Shape 15">
            <a:extLst>
              <a:ext uri="{FF2B5EF4-FFF2-40B4-BE49-F238E27FC236}">
                <a16:creationId xmlns:a16="http://schemas.microsoft.com/office/drawing/2014/main" id="{2B3962D8-8697-794C-901E-C9D15090AE1D}"/>
              </a:ext>
            </a:extLst>
          </p:cNvPr>
          <p:cNvSpPr/>
          <p:nvPr/>
        </p:nvSpPr>
        <p:spPr>
          <a:xfrm>
            <a:off x="21223737" y="6819079"/>
            <a:ext cx="1777680" cy="1146600"/>
          </a:xfrm>
          <a:custGeom>
            <a:avLst/>
            <a:gdLst/>
            <a:ahLst/>
            <a:cxnLst>
              <a:cxn ang="3cd4">
                <a:pos x="hc" y="t"/>
              </a:cxn>
              <a:cxn ang="cd2">
                <a:pos x="l" y="vc"/>
              </a:cxn>
              <a:cxn ang="cd4">
                <a:pos x="hc" y="b"/>
              </a:cxn>
              <a:cxn ang="0">
                <a:pos x="r" y="vc"/>
              </a:cxn>
            </a:cxnLst>
            <a:rect l="l" t="t" r="r" b="b"/>
            <a:pathLst>
              <a:path w="4939" h="3186">
                <a:moveTo>
                  <a:pt x="3607" y="131"/>
                </a:moveTo>
                <a:cubicBezTo>
                  <a:pt x="3591" y="115"/>
                  <a:pt x="3575" y="100"/>
                  <a:pt x="3543" y="100"/>
                </a:cubicBezTo>
                <a:cubicBezTo>
                  <a:pt x="3512" y="100"/>
                  <a:pt x="3480" y="115"/>
                  <a:pt x="3464" y="131"/>
                </a:cubicBezTo>
                <a:cubicBezTo>
                  <a:pt x="2700" y="1436"/>
                  <a:pt x="2700" y="1436"/>
                  <a:pt x="2700" y="1436"/>
                </a:cubicBezTo>
                <a:cubicBezTo>
                  <a:pt x="1889" y="36"/>
                  <a:pt x="1889" y="36"/>
                  <a:pt x="1889" y="36"/>
                </a:cubicBezTo>
                <a:cubicBezTo>
                  <a:pt x="1873" y="-12"/>
                  <a:pt x="1778" y="-12"/>
                  <a:pt x="1761" y="36"/>
                </a:cubicBezTo>
                <a:cubicBezTo>
                  <a:pt x="11" y="3059"/>
                  <a:pt x="11" y="3059"/>
                  <a:pt x="11" y="3059"/>
                </a:cubicBezTo>
                <a:cubicBezTo>
                  <a:pt x="-4" y="3091"/>
                  <a:pt x="-4" y="3106"/>
                  <a:pt x="11" y="3139"/>
                </a:cubicBezTo>
                <a:cubicBezTo>
                  <a:pt x="27" y="3170"/>
                  <a:pt x="59" y="3186"/>
                  <a:pt x="75" y="3186"/>
                </a:cubicBezTo>
                <a:cubicBezTo>
                  <a:pt x="3575" y="3186"/>
                  <a:pt x="3575" y="3186"/>
                  <a:pt x="3575" y="3186"/>
                </a:cubicBezTo>
                <a:cubicBezTo>
                  <a:pt x="3591" y="3186"/>
                  <a:pt x="3623" y="3170"/>
                  <a:pt x="3639" y="3139"/>
                </a:cubicBezTo>
                <a:cubicBezTo>
                  <a:pt x="3655" y="3106"/>
                  <a:pt x="3655" y="3091"/>
                  <a:pt x="3639" y="3059"/>
                </a:cubicBezTo>
                <a:cubicBezTo>
                  <a:pt x="3336" y="2549"/>
                  <a:pt x="3336" y="2549"/>
                  <a:pt x="3336" y="2549"/>
                </a:cubicBezTo>
                <a:cubicBezTo>
                  <a:pt x="4864" y="2549"/>
                  <a:pt x="4864" y="2549"/>
                  <a:pt x="4864" y="2549"/>
                </a:cubicBezTo>
                <a:cubicBezTo>
                  <a:pt x="4896" y="2549"/>
                  <a:pt x="4912" y="2534"/>
                  <a:pt x="4927" y="2502"/>
                </a:cubicBezTo>
                <a:cubicBezTo>
                  <a:pt x="4943" y="2486"/>
                  <a:pt x="4943" y="2454"/>
                  <a:pt x="4927" y="2422"/>
                </a:cubicBezTo>
                <a:close/>
                <a:moveTo>
                  <a:pt x="218" y="3027"/>
                </a:moveTo>
                <a:cubicBezTo>
                  <a:pt x="1825" y="243"/>
                  <a:pt x="1825" y="243"/>
                  <a:pt x="1825" y="243"/>
                </a:cubicBezTo>
                <a:cubicBezTo>
                  <a:pt x="2621" y="1627"/>
                  <a:pt x="2621" y="1627"/>
                  <a:pt x="2621" y="1627"/>
                </a:cubicBezTo>
                <a:cubicBezTo>
                  <a:pt x="2636" y="1627"/>
                  <a:pt x="2636" y="1643"/>
                  <a:pt x="2636" y="1659"/>
                </a:cubicBezTo>
                <a:cubicBezTo>
                  <a:pt x="3432" y="3027"/>
                  <a:pt x="3432" y="3027"/>
                  <a:pt x="3432" y="3027"/>
                </a:cubicBezTo>
                <a:close/>
                <a:moveTo>
                  <a:pt x="3305" y="2391"/>
                </a:moveTo>
                <a:cubicBezTo>
                  <a:pt x="3289" y="2391"/>
                  <a:pt x="3273" y="2391"/>
                  <a:pt x="3257" y="2391"/>
                </a:cubicBezTo>
                <a:cubicBezTo>
                  <a:pt x="2796" y="1595"/>
                  <a:pt x="2796" y="1595"/>
                  <a:pt x="2796" y="1595"/>
                </a:cubicBezTo>
                <a:cubicBezTo>
                  <a:pt x="3543" y="338"/>
                  <a:pt x="3543" y="338"/>
                  <a:pt x="3543" y="338"/>
                </a:cubicBezTo>
                <a:cubicBezTo>
                  <a:pt x="4721" y="2391"/>
                  <a:pt x="4721" y="2391"/>
                  <a:pt x="4721" y="239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7" name="Freeform: Shape 16">
            <a:extLst>
              <a:ext uri="{FF2B5EF4-FFF2-40B4-BE49-F238E27FC236}">
                <a16:creationId xmlns:a16="http://schemas.microsoft.com/office/drawing/2014/main" id="{DA36892F-BFE8-BB49-91FE-CA9762E6F3FB}"/>
              </a:ext>
            </a:extLst>
          </p:cNvPr>
          <p:cNvSpPr/>
          <p:nvPr/>
        </p:nvSpPr>
        <p:spPr>
          <a:xfrm>
            <a:off x="17440817" y="6877759"/>
            <a:ext cx="1712160" cy="1191240"/>
          </a:xfrm>
          <a:custGeom>
            <a:avLst/>
            <a:gdLst/>
            <a:ahLst/>
            <a:cxnLst>
              <a:cxn ang="3cd4">
                <a:pos x="hc" y="t"/>
              </a:cxn>
              <a:cxn ang="cd2">
                <a:pos x="l" y="vc"/>
              </a:cxn>
              <a:cxn ang="cd4">
                <a:pos x="hc" y="b"/>
              </a:cxn>
              <a:cxn ang="0">
                <a:pos x="r" y="vc"/>
              </a:cxn>
            </a:cxnLst>
            <a:rect l="l" t="t" r="r" b="b"/>
            <a:pathLst>
              <a:path w="4757" h="3310">
                <a:moveTo>
                  <a:pt x="4757" y="3230"/>
                </a:moveTo>
                <a:cubicBezTo>
                  <a:pt x="4757" y="2339"/>
                  <a:pt x="4757" y="2339"/>
                  <a:pt x="4757" y="2339"/>
                </a:cubicBezTo>
                <a:cubicBezTo>
                  <a:pt x="4757" y="1894"/>
                  <a:pt x="4423" y="1575"/>
                  <a:pt x="3962" y="1575"/>
                </a:cubicBezTo>
                <a:cubicBezTo>
                  <a:pt x="2880" y="1575"/>
                  <a:pt x="2880" y="1575"/>
                  <a:pt x="2880" y="1575"/>
                </a:cubicBezTo>
                <a:cubicBezTo>
                  <a:pt x="2863" y="1575"/>
                  <a:pt x="2848" y="1575"/>
                  <a:pt x="2832" y="1575"/>
                </a:cubicBezTo>
                <a:cubicBezTo>
                  <a:pt x="2784" y="1543"/>
                  <a:pt x="2736" y="1480"/>
                  <a:pt x="2720" y="1416"/>
                </a:cubicBezTo>
                <a:cubicBezTo>
                  <a:pt x="2705" y="1368"/>
                  <a:pt x="2705" y="1368"/>
                  <a:pt x="2705" y="1368"/>
                </a:cubicBezTo>
                <a:cubicBezTo>
                  <a:pt x="2689" y="1337"/>
                  <a:pt x="2689" y="1337"/>
                  <a:pt x="2689" y="1337"/>
                </a:cubicBezTo>
                <a:cubicBezTo>
                  <a:pt x="2562" y="1003"/>
                  <a:pt x="2275" y="350"/>
                  <a:pt x="2036" y="32"/>
                </a:cubicBezTo>
                <a:cubicBezTo>
                  <a:pt x="2036" y="16"/>
                  <a:pt x="2036" y="16"/>
                  <a:pt x="2036" y="16"/>
                </a:cubicBezTo>
                <a:lnTo>
                  <a:pt x="2020" y="16"/>
                </a:lnTo>
                <a:lnTo>
                  <a:pt x="2020" y="0"/>
                </a:lnTo>
                <a:cubicBezTo>
                  <a:pt x="2005" y="0"/>
                  <a:pt x="2005" y="0"/>
                  <a:pt x="2005" y="0"/>
                </a:cubicBezTo>
                <a:cubicBezTo>
                  <a:pt x="1989" y="0"/>
                  <a:pt x="1989" y="0"/>
                  <a:pt x="1989" y="0"/>
                </a:cubicBezTo>
                <a:lnTo>
                  <a:pt x="1973" y="0"/>
                </a:lnTo>
                <a:cubicBezTo>
                  <a:pt x="1193" y="0"/>
                  <a:pt x="557" y="175"/>
                  <a:pt x="32" y="573"/>
                </a:cubicBezTo>
                <a:cubicBezTo>
                  <a:pt x="16" y="589"/>
                  <a:pt x="0" y="605"/>
                  <a:pt x="0" y="637"/>
                </a:cubicBezTo>
                <a:cubicBezTo>
                  <a:pt x="0" y="3230"/>
                  <a:pt x="0" y="3230"/>
                  <a:pt x="0" y="3230"/>
                </a:cubicBezTo>
                <a:cubicBezTo>
                  <a:pt x="0" y="3277"/>
                  <a:pt x="32" y="3310"/>
                  <a:pt x="80" y="3310"/>
                </a:cubicBezTo>
                <a:cubicBezTo>
                  <a:pt x="4677" y="3310"/>
                  <a:pt x="4677" y="3310"/>
                  <a:pt x="4677" y="3310"/>
                </a:cubicBezTo>
                <a:cubicBezTo>
                  <a:pt x="4725" y="3310"/>
                  <a:pt x="4757" y="3277"/>
                  <a:pt x="4757" y="3230"/>
                </a:cubicBezTo>
                <a:close/>
                <a:moveTo>
                  <a:pt x="4598" y="2339"/>
                </a:moveTo>
                <a:cubicBezTo>
                  <a:pt x="4598" y="2498"/>
                  <a:pt x="4598" y="2498"/>
                  <a:pt x="4598" y="2498"/>
                </a:cubicBezTo>
                <a:cubicBezTo>
                  <a:pt x="3802" y="2259"/>
                  <a:pt x="954" y="2259"/>
                  <a:pt x="159" y="2498"/>
                </a:cubicBezTo>
                <a:cubicBezTo>
                  <a:pt x="159" y="2021"/>
                  <a:pt x="159" y="2021"/>
                  <a:pt x="159" y="2021"/>
                </a:cubicBezTo>
                <a:cubicBezTo>
                  <a:pt x="1082" y="1734"/>
                  <a:pt x="2577" y="1719"/>
                  <a:pt x="2880" y="1719"/>
                </a:cubicBezTo>
                <a:cubicBezTo>
                  <a:pt x="3962" y="1719"/>
                  <a:pt x="3962" y="1719"/>
                  <a:pt x="3962" y="1719"/>
                </a:cubicBezTo>
                <a:cubicBezTo>
                  <a:pt x="4327" y="1719"/>
                  <a:pt x="4598" y="1989"/>
                  <a:pt x="4598" y="2339"/>
                </a:cubicBezTo>
                <a:close/>
                <a:moveTo>
                  <a:pt x="2609" y="1368"/>
                </a:moveTo>
                <a:cubicBezTo>
                  <a:pt x="2545" y="1416"/>
                  <a:pt x="2545" y="1416"/>
                  <a:pt x="2545" y="1416"/>
                </a:cubicBezTo>
                <a:cubicBezTo>
                  <a:pt x="2562" y="1464"/>
                  <a:pt x="2562" y="1464"/>
                  <a:pt x="2562" y="1464"/>
                </a:cubicBezTo>
                <a:cubicBezTo>
                  <a:pt x="2577" y="1496"/>
                  <a:pt x="2593" y="1543"/>
                  <a:pt x="2625" y="1575"/>
                </a:cubicBezTo>
                <a:cubicBezTo>
                  <a:pt x="2084" y="1575"/>
                  <a:pt x="939" y="1623"/>
                  <a:pt x="159" y="1846"/>
                </a:cubicBezTo>
                <a:cubicBezTo>
                  <a:pt x="159" y="1543"/>
                  <a:pt x="159" y="1543"/>
                  <a:pt x="159" y="1543"/>
                </a:cubicBezTo>
                <a:lnTo>
                  <a:pt x="175" y="1528"/>
                </a:lnTo>
                <a:cubicBezTo>
                  <a:pt x="461" y="1305"/>
                  <a:pt x="1448" y="1066"/>
                  <a:pt x="2402" y="1082"/>
                </a:cubicBezTo>
                <a:cubicBezTo>
                  <a:pt x="2466" y="1194"/>
                  <a:pt x="2514" y="1305"/>
                  <a:pt x="2545" y="1385"/>
                </a:cubicBezTo>
                <a:close/>
                <a:moveTo>
                  <a:pt x="1941" y="159"/>
                </a:moveTo>
                <a:cubicBezTo>
                  <a:pt x="2068" y="334"/>
                  <a:pt x="2211" y="637"/>
                  <a:pt x="2339" y="923"/>
                </a:cubicBezTo>
                <a:cubicBezTo>
                  <a:pt x="1416" y="923"/>
                  <a:pt x="525" y="1130"/>
                  <a:pt x="159" y="1352"/>
                </a:cubicBezTo>
                <a:cubicBezTo>
                  <a:pt x="159" y="668"/>
                  <a:pt x="159" y="668"/>
                  <a:pt x="159" y="668"/>
                </a:cubicBezTo>
                <a:cubicBezTo>
                  <a:pt x="636" y="334"/>
                  <a:pt x="1225" y="159"/>
                  <a:pt x="1941" y="159"/>
                </a:cubicBezTo>
                <a:close/>
                <a:moveTo>
                  <a:pt x="159" y="3150"/>
                </a:moveTo>
                <a:cubicBezTo>
                  <a:pt x="159" y="2673"/>
                  <a:pt x="159" y="2673"/>
                  <a:pt x="159" y="2673"/>
                </a:cubicBezTo>
                <a:cubicBezTo>
                  <a:pt x="827" y="2419"/>
                  <a:pt x="3930" y="2419"/>
                  <a:pt x="4598" y="2673"/>
                </a:cubicBezTo>
                <a:cubicBezTo>
                  <a:pt x="4598" y="3150"/>
                  <a:pt x="4598" y="3150"/>
                  <a:pt x="4598" y="315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8" name="Freeform: Shape 17">
            <a:extLst>
              <a:ext uri="{FF2B5EF4-FFF2-40B4-BE49-F238E27FC236}">
                <a16:creationId xmlns:a16="http://schemas.microsoft.com/office/drawing/2014/main" id="{A154232B-C12C-BC41-B9CF-3C7345764F97}"/>
              </a:ext>
            </a:extLst>
          </p:cNvPr>
          <p:cNvSpPr/>
          <p:nvPr/>
        </p:nvSpPr>
        <p:spPr>
          <a:xfrm>
            <a:off x="17086293" y="3317893"/>
            <a:ext cx="1488960" cy="1735199"/>
          </a:xfrm>
          <a:custGeom>
            <a:avLst/>
            <a:gdLst/>
            <a:ahLst/>
            <a:cxnLst>
              <a:cxn ang="3cd4">
                <a:pos x="hc" y="t"/>
              </a:cxn>
              <a:cxn ang="cd2">
                <a:pos x="l" y="vc"/>
              </a:cxn>
              <a:cxn ang="cd4">
                <a:pos x="hc" y="b"/>
              </a:cxn>
              <a:cxn ang="0">
                <a:pos x="r" y="vc"/>
              </a:cxn>
            </a:cxnLst>
            <a:rect l="l" t="t" r="r" b="b"/>
            <a:pathLst>
              <a:path w="4137" h="4821">
                <a:moveTo>
                  <a:pt x="80" y="3389"/>
                </a:moveTo>
                <a:cubicBezTo>
                  <a:pt x="32" y="3389"/>
                  <a:pt x="0" y="3421"/>
                  <a:pt x="0" y="3469"/>
                </a:cubicBezTo>
                <a:cubicBezTo>
                  <a:pt x="0" y="4742"/>
                  <a:pt x="0" y="4742"/>
                  <a:pt x="0" y="4742"/>
                </a:cubicBezTo>
                <a:cubicBezTo>
                  <a:pt x="0" y="4773"/>
                  <a:pt x="32" y="4821"/>
                  <a:pt x="80" y="4821"/>
                </a:cubicBezTo>
                <a:cubicBezTo>
                  <a:pt x="4057" y="4821"/>
                  <a:pt x="4057" y="4821"/>
                  <a:pt x="4057" y="4821"/>
                </a:cubicBezTo>
                <a:cubicBezTo>
                  <a:pt x="4089" y="4821"/>
                  <a:pt x="4137" y="4773"/>
                  <a:pt x="4137" y="4742"/>
                </a:cubicBezTo>
                <a:cubicBezTo>
                  <a:pt x="4137" y="3469"/>
                  <a:pt x="4137" y="3469"/>
                  <a:pt x="4137" y="3469"/>
                </a:cubicBezTo>
                <a:cubicBezTo>
                  <a:pt x="4137" y="3421"/>
                  <a:pt x="4089" y="3389"/>
                  <a:pt x="4057" y="3389"/>
                </a:cubicBezTo>
                <a:cubicBezTo>
                  <a:pt x="3978" y="3389"/>
                  <a:pt x="3978" y="3389"/>
                  <a:pt x="3978" y="3389"/>
                </a:cubicBezTo>
                <a:cubicBezTo>
                  <a:pt x="3978" y="2515"/>
                  <a:pt x="3978" y="2515"/>
                  <a:pt x="3978" y="2515"/>
                </a:cubicBezTo>
                <a:cubicBezTo>
                  <a:pt x="3978" y="2498"/>
                  <a:pt x="3962" y="2498"/>
                  <a:pt x="3962" y="2482"/>
                </a:cubicBezTo>
                <a:cubicBezTo>
                  <a:pt x="4025" y="2403"/>
                  <a:pt x="4057" y="2339"/>
                  <a:pt x="4057" y="2260"/>
                </a:cubicBezTo>
                <a:cubicBezTo>
                  <a:pt x="4057" y="2085"/>
                  <a:pt x="3914" y="1958"/>
                  <a:pt x="3787" y="1830"/>
                </a:cubicBezTo>
                <a:cubicBezTo>
                  <a:pt x="3676" y="1751"/>
                  <a:pt x="3564" y="1639"/>
                  <a:pt x="3564" y="1560"/>
                </a:cubicBezTo>
                <a:cubicBezTo>
                  <a:pt x="3564" y="1512"/>
                  <a:pt x="3532" y="1480"/>
                  <a:pt x="3485" y="1480"/>
                </a:cubicBezTo>
                <a:cubicBezTo>
                  <a:pt x="3453" y="1480"/>
                  <a:pt x="3405" y="1512"/>
                  <a:pt x="3405" y="1560"/>
                </a:cubicBezTo>
                <a:cubicBezTo>
                  <a:pt x="3405" y="1655"/>
                  <a:pt x="3309" y="1751"/>
                  <a:pt x="3198" y="1846"/>
                </a:cubicBezTo>
                <a:cubicBezTo>
                  <a:pt x="3071" y="1973"/>
                  <a:pt x="2928" y="2101"/>
                  <a:pt x="2928" y="2276"/>
                </a:cubicBezTo>
                <a:cubicBezTo>
                  <a:pt x="2928" y="2355"/>
                  <a:pt x="2960" y="2435"/>
                  <a:pt x="3023" y="2515"/>
                </a:cubicBezTo>
                <a:cubicBezTo>
                  <a:pt x="3023" y="3389"/>
                  <a:pt x="3023" y="3389"/>
                  <a:pt x="3023" y="3389"/>
                </a:cubicBezTo>
                <a:cubicBezTo>
                  <a:pt x="2705" y="3389"/>
                  <a:pt x="2705" y="3389"/>
                  <a:pt x="2705" y="3389"/>
                </a:cubicBezTo>
                <a:cubicBezTo>
                  <a:pt x="2705" y="2260"/>
                  <a:pt x="2705" y="2260"/>
                  <a:pt x="2705" y="2260"/>
                </a:cubicBezTo>
                <a:cubicBezTo>
                  <a:pt x="2705" y="2244"/>
                  <a:pt x="2689" y="2244"/>
                  <a:pt x="2689" y="2228"/>
                </a:cubicBezTo>
                <a:cubicBezTo>
                  <a:pt x="2928" y="1925"/>
                  <a:pt x="2689" y="1639"/>
                  <a:pt x="2498" y="1416"/>
                </a:cubicBezTo>
                <a:cubicBezTo>
                  <a:pt x="2403" y="1289"/>
                  <a:pt x="2307" y="1178"/>
                  <a:pt x="2307" y="1082"/>
                </a:cubicBezTo>
                <a:cubicBezTo>
                  <a:pt x="2307" y="1035"/>
                  <a:pt x="2275" y="1003"/>
                  <a:pt x="2228" y="1003"/>
                </a:cubicBezTo>
                <a:cubicBezTo>
                  <a:pt x="2212" y="1003"/>
                  <a:pt x="2212" y="1003"/>
                  <a:pt x="2196" y="1003"/>
                </a:cubicBezTo>
                <a:cubicBezTo>
                  <a:pt x="1909" y="64"/>
                  <a:pt x="1909" y="64"/>
                  <a:pt x="1909" y="64"/>
                </a:cubicBezTo>
                <a:cubicBezTo>
                  <a:pt x="1909" y="16"/>
                  <a:pt x="1878" y="0"/>
                  <a:pt x="1830" y="0"/>
                </a:cubicBezTo>
                <a:cubicBezTo>
                  <a:pt x="1798" y="0"/>
                  <a:pt x="1766" y="33"/>
                  <a:pt x="1766" y="64"/>
                </a:cubicBezTo>
                <a:cubicBezTo>
                  <a:pt x="1400" y="1353"/>
                  <a:pt x="1400" y="1353"/>
                  <a:pt x="1400" y="1353"/>
                </a:cubicBezTo>
                <a:cubicBezTo>
                  <a:pt x="1400" y="1385"/>
                  <a:pt x="1400" y="1401"/>
                  <a:pt x="1432" y="1433"/>
                </a:cubicBezTo>
                <a:cubicBezTo>
                  <a:pt x="1432" y="2276"/>
                  <a:pt x="1432" y="2276"/>
                  <a:pt x="1432" y="2276"/>
                </a:cubicBezTo>
                <a:cubicBezTo>
                  <a:pt x="1416" y="2276"/>
                  <a:pt x="1416" y="2276"/>
                  <a:pt x="1416" y="2276"/>
                </a:cubicBezTo>
                <a:cubicBezTo>
                  <a:pt x="1369" y="2276"/>
                  <a:pt x="1337" y="2307"/>
                  <a:pt x="1337" y="2355"/>
                </a:cubicBezTo>
                <a:cubicBezTo>
                  <a:pt x="1321" y="2387"/>
                  <a:pt x="1257" y="2435"/>
                  <a:pt x="1209" y="2482"/>
                </a:cubicBezTo>
                <a:cubicBezTo>
                  <a:pt x="1178" y="2515"/>
                  <a:pt x="1146" y="2546"/>
                  <a:pt x="1114" y="2578"/>
                </a:cubicBezTo>
                <a:cubicBezTo>
                  <a:pt x="1114" y="2387"/>
                  <a:pt x="1114" y="2387"/>
                  <a:pt x="1114" y="2387"/>
                </a:cubicBezTo>
                <a:cubicBezTo>
                  <a:pt x="1114" y="2371"/>
                  <a:pt x="1114" y="2371"/>
                  <a:pt x="1114" y="2355"/>
                </a:cubicBezTo>
                <a:cubicBezTo>
                  <a:pt x="1161" y="2292"/>
                  <a:pt x="1194" y="2196"/>
                  <a:pt x="1194" y="2116"/>
                </a:cubicBezTo>
                <a:cubicBezTo>
                  <a:pt x="1194" y="1894"/>
                  <a:pt x="1003" y="1687"/>
                  <a:pt x="860" y="1544"/>
                </a:cubicBezTo>
                <a:cubicBezTo>
                  <a:pt x="796" y="1496"/>
                  <a:pt x="716" y="1416"/>
                  <a:pt x="716" y="1401"/>
                </a:cubicBezTo>
                <a:cubicBezTo>
                  <a:pt x="716" y="1353"/>
                  <a:pt x="684" y="1321"/>
                  <a:pt x="637" y="1321"/>
                </a:cubicBezTo>
                <a:cubicBezTo>
                  <a:pt x="589" y="1321"/>
                  <a:pt x="557" y="1353"/>
                  <a:pt x="557" y="1401"/>
                </a:cubicBezTo>
                <a:cubicBezTo>
                  <a:pt x="541" y="1433"/>
                  <a:pt x="461" y="1496"/>
                  <a:pt x="414" y="1544"/>
                </a:cubicBezTo>
                <a:cubicBezTo>
                  <a:pt x="239" y="1687"/>
                  <a:pt x="48" y="1862"/>
                  <a:pt x="32" y="2101"/>
                </a:cubicBezTo>
                <a:cubicBezTo>
                  <a:pt x="32" y="2196"/>
                  <a:pt x="80" y="2292"/>
                  <a:pt x="160" y="2387"/>
                </a:cubicBezTo>
                <a:cubicBezTo>
                  <a:pt x="160" y="3389"/>
                  <a:pt x="160" y="3389"/>
                  <a:pt x="160" y="3389"/>
                </a:cubicBezTo>
                <a:close/>
                <a:moveTo>
                  <a:pt x="3978" y="4662"/>
                </a:moveTo>
                <a:cubicBezTo>
                  <a:pt x="160" y="4662"/>
                  <a:pt x="160" y="4662"/>
                  <a:pt x="160" y="4662"/>
                </a:cubicBezTo>
                <a:cubicBezTo>
                  <a:pt x="160" y="3549"/>
                  <a:pt x="160" y="3549"/>
                  <a:pt x="160" y="3549"/>
                </a:cubicBezTo>
                <a:cubicBezTo>
                  <a:pt x="239" y="3549"/>
                  <a:pt x="239" y="3549"/>
                  <a:pt x="239" y="3549"/>
                </a:cubicBezTo>
                <a:cubicBezTo>
                  <a:pt x="1034" y="3549"/>
                  <a:pt x="1034" y="3549"/>
                  <a:pt x="1034" y="3549"/>
                </a:cubicBezTo>
                <a:cubicBezTo>
                  <a:pt x="1830" y="3549"/>
                  <a:pt x="1830" y="3549"/>
                  <a:pt x="1830" y="3549"/>
                </a:cubicBezTo>
                <a:cubicBezTo>
                  <a:pt x="2625" y="3549"/>
                  <a:pt x="2625" y="3549"/>
                  <a:pt x="2625" y="3549"/>
                </a:cubicBezTo>
                <a:cubicBezTo>
                  <a:pt x="3103" y="3549"/>
                  <a:pt x="3103" y="3549"/>
                  <a:pt x="3103" y="3549"/>
                </a:cubicBezTo>
                <a:cubicBezTo>
                  <a:pt x="3898" y="3549"/>
                  <a:pt x="3898" y="3549"/>
                  <a:pt x="3898" y="3549"/>
                </a:cubicBezTo>
                <a:cubicBezTo>
                  <a:pt x="3978" y="3549"/>
                  <a:pt x="3978" y="3549"/>
                  <a:pt x="3978" y="3549"/>
                </a:cubicBezTo>
                <a:close/>
                <a:moveTo>
                  <a:pt x="1114" y="3071"/>
                </a:moveTo>
                <a:cubicBezTo>
                  <a:pt x="1751" y="3071"/>
                  <a:pt x="1751" y="3071"/>
                  <a:pt x="1751" y="3071"/>
                </a:cubicBezTo>
                <a:cubicBezTo>
                  <a:pt x="1751" y="3389"/>
                  <a:pt x="1751" y="3389"/>
                  <a:pt x="1751" y="3389"/>
                </a:cubicBezTo>
                <a:cubicBezTo>
                  <a:pt x="1114" y="3389"/>
                  <a:pt x="1114" y="3389"/>
                  <a:pt x="1114" y="3389"/>
                </a:cubicBezTo>
                <a:close/>
                <a:moveTo>
                  <a:pt x="1751" y="2228"/>
                </a:moveTo>
                <a:cubicBezTo>
                  <a:pt x="1751" y="2244"/>
                  <a:pt x="1751" y="2260"/>
                  <a:pt x="1751" y="2260"/>
                </a:cubicBezTo>
                <a:cubicBezTo>
                  <a:pt x="1751" y="2610"/>
                  <a:pt x="1751" y="2610"/>
                  <a:pt x="1751" y="2610"/>
                </a:cubicBezTo>
                <a:cubicBezTo>
                  <a:pt x="1703" y="2562"/>
                  <a:pt x="1655" y="2515"/>
                  <a:pt x="1607" y="2482"/>
                </a:cubicBezTo>
                <a:cubicBezTo>
                  <a:pt x="1607" y="2467"/>
                  <a:pt x="1591" y="2467"/>
                  <a:pt x="1591" y="2451"/>
                </a:cubicBezTo>
                <a:lnTo>
                  <a:pt x="1591" y="2435"/>
                </a:lnTo>
                <a:cubicBezTo>
                  <a:pt x="1591" y="1480"/>
                  <a:pt x="1591" y="1480"/>
                  <a:pt x="1591" y="1480"/>
                </a:cubicBezTo>
                <a:cubicBezTo>
                  <a:pt x="1894" y="1480"/>
                  <a:pt x="1894" y="1480"/>
                  <a:pt x="1894" y="1480"/>
                </a:cubicBezTo>
                <a:cubicBezTo>
                  <a:pt x="1734" y="1687"/>
                  <a:pt x="1543" y="1958"/>
                  <a:pt x="1751" y="2228"/>
                </a:cubicBezTo>
                <a:close/>
                <a:moveTo>
                  <a:pt x="3309" y="1958"/>
                </a:moveTo>
                <a:cubicBezTo>
                  <a:pt x="3373" y="1894"/>
                  <a:pt x="3437" y="1830"/>
                  <a:pt x="3485" y="1767"/>
                </a:cubicBezTo>
                <a:cubicBezTo>
                  <a:pt x="3548" y="1830"/>
                  <a:pt x="3612" y="1894"/>
                  <a:pt x="3676" y="1958"/>
                </a:cubicBezTo>
                <a:cubicBezTo>
                  <a:pt x="3787" y="2053"/>
                  <a:pt x="3898" y="2148"/>
                  <a:pt x="3898" y="2260"/>
                </a:cubicBezTo>
                <a:cubicBezTo>
                  <a:pt x="3898" y="2307"/>
                  <a:pt x="3866" y="2371"/>
                  <a:pt x="3803" y="2435"/>
                </a:cubicBezTo>
                <a:cubicBezTo>
                  <a:pt x="3166" y="2435"/>
                  <a:pt x="3166" y="2435"/>
                  <a:pt x="3166" y="2435"/>
                </a:cubicBezTo>
                <a:cubicBezTo>
                  <a:pt x="3119" y="2371"/>
                  <a:pt x="3087" y="2324"/>
                  <a:pt x="3087" y="2276"/>
                </a:cubicBezTo>
                <a:cubicBezTo>
                  <a:pt x="3087" y="2164"/>
                  <a:pt x="3198" y="2069"/>
                  <a:pt x="3309" y="1958"/>
                </a:cubicBezTo>
                <a:close/>
                <a:moveTo>
                  <a:pt x="3182" y="2594"/>
                </a:moveTo>
                <a:cubicBezTo>
                  <a:pt x="3819" y="2594"/>
                  <a:pt x="3819" y="2594"/>
                  <a:pt x="3819" y="2594"/>
                </a:cubicBezTo>
                <a:cubicBezTo>
                  <a:pt x="3819" y="3389"/>
                  <a:pt x="3819" y="3389"/>
                  <a:pt x="3819" y="3389"/>
                </a:cubicBezTo>
                <a:cubicBezTo>
                  <a:pt x="3182" y="3389"/>
                  <a:pt x="3182" y="3389"/>
                  <a:pt x="3182" y="3389"/>
                </a:cubicBezTo>
                <a:close/>
                <a:moveTo>
                  <a:pt x="1909" y="3389"/>
                </a:moveTo>
                <a:cubicBezTo>
                  <a:pt x="1909" y="2339"/>
                  <a:pt x="1909" y="2339"/>
                  <a:pt x="1909" y="2339"/>
                </a:cubicBezTo>
                <a:cubicBezTo>
                  <a:pt x="2546" y="2339"/>
                  <a:pt x="2546" y="2339"/>
                  <a:pt x="2546" y="2339"/>
                </a:cubicBezTo>
                <a:cubicBezTo>
                  <a:pt x="2546" y="3389"/>
                  <a:pt x="2546" y="3389"/>
                  <a:pt x="2546" y="3389"/>
                </a:cubicBezTo>
                <a:close/>
                <a:moveTo>
                  <a:pt x="2387" y="1512"/>
                </a:moveTo>
                <a:cubicBezTo>
                  <a:pt x="2609" y="1782"/>
                  <a:pt x="2721" y="1973"/>
                  <a:pt x="2530" y="2164"/>
                </a:cubicBezTo>
                <a:cubicBezTo>
                  <a:pt x="2514" y="2180"/>
                  <a:pt x="2514" y="2180"/>
                  <a:pt x="2514" y="2180"/>
                </a:cubicBezTo>
                <a:cubicBezTo>
                  <a:pt x="1925" y="2180"/>
                  <a:pt x="1925" y="2180"/>
                  <a:pt x="1925" y="2180"/>
                </a:cubicBezTo>
                <a:cubicBezTo>
                  <a:pt x="1718" y="1989"/>
                  <a:pt x="1846" y="1798"/>
                  <a:pt x="2069" y="1512"/>
                </a:cubicBezTo>
                <a:cubicBezTo>
                  <a:pt x="2085" y="1496"/>
                  <a:pt x="2100" y="1480"/>
                  <a:pt x="2116" y="1464"/>
                </a:cubicBezTo>
                <a:cubicBezTo>
                  <a:pt x="2132" y="1448"/>
                  <a:pt x="2132" y="1448"/>
                  <a:pt x="2132" y="1433"/>
                </a:cubicBezTo>
                <a:cubicBezTo>
                  <a:pt x="2164" y="1385"/>
                  <a:pt x="2196" y="1353"/>
                  <a:pt x="2228" y="1305"/>
                </a:cubicBezTo>
                <a:cubicBezTo>
                  <a:pt x="2275" y="1385"/>
                  <a:pt x="2323" y="1448"/>
                  <a:pt x="2387" y="1512"/>
                </a:cubicBezTo>
                <a:close/>
                <a:moveTo>
                  <a:pt x="1846" y="367"/>
                </a:moveTo>
                <a:cubicBezTo>
                  <a:pt x="2100" y="1225"/>
                  <a:pt x="2100" y="1225"/>
                  <a:pt x="2100" y="1225"/>
                </a:cubicBezTo>
                <a:cubicBezTo>
                  <a:pt x="2069" y="1258"/>
                  <a:pt x="2052" y="1289"/>
                  <a:pt x="2021" y="1321"/>
                </a:cubicBezTo>
                <a:cubicBezTo>
                  <a:pt x="1575" y="1321"/>
                  <a:pt x="1575" y="1321"/>
                  <a:pt x="1575" y="1321"/>
                </a:cubicBezTo>
                <a:close/>
                <a:moveTo>
                  <a:pt x="1321" y="2594"/>
                </a:moveTo>
                <a:cubicBezTo>
                  <a:pt x="1352" y="2562"/>
                  <a:pt x="1384" y="2546"/>
                  <a:pt x="1416" y="2515"/>
                </a:cubicBezTo>
                <a:cubicBezTo>
                  <a:pt x="1432" y="2546"/>
                  <a:pt x="1480" y="2562"/>
                  <a:pt x="1512" y="2594"/>
                </a:cubicBezTo>
                <a:cubicBezTo>
                  <a:pt x="1575" y="2658"/>
                  <a:pt x="1655" y="2737"/>
                  <a:pt x="1655" y="2785"/>
                </a:cubicBezTo>
                <a:cubicBezTo>
                  <a:pt x="1655" y="2816"/>
                  <a:pt x="1623" y="2849"/>
                  <a:pt x="1607" y="2864"/>
                </a:cubicBezTo>
                <a:cubicBezTo>
                  <a:pt x="1591" y="2880"/>
                  <a:pt x="1575" y="2896"/>
                  <a:pt x="1575" y="2912"/>
                </a:cubicBezTo>
                <a:cubicBezTo>
                  <a:pt x="1241" y="2912"/>
                  <a:pt x="1241" y="2912"/>
                  <a:pt x="1241" y="2912"/>
                </a:cubicBezTo>
                <a:cubicBezTo>
                  <a:pt x="1241" y="2896"/>
                  <a:pt x="1225" y="2896"/>
                  <a:pt x="1225" y="2880"/>
                </a:cubicBezTo>
                <a:cubicBezTo>
                  <a:pt x="1178" y="2849"/>
                  <a:pt x="1161" y="2816"/>
                  <a:pt x="1161" y="2801"/>
                </a:cubicBezTo>
                <a:cubicBezTo>
                  <a:pt x="1161" y="2737"/>
                  <a:pt x="1241" y="2658"/>
                  <a:pt x="1321" y="2594"/>
                </a:cubicBezTo>
                <a:close/>
                <a:moveTo>
                  <a:pt x="509" y="1671"/>
                </a:moveTo>
                <a:cubicBezTo>
                  <a:pt x="557" y="1624"/>
                  <a:pt x="605" y="1591"/>
                  <a:pt x="637" y="1560"/>
                </a:cubicBezTo>
                <a:cubicBezTo>
                  <a:pt x="669" y="1591"/>
                  <a:pt x="700" y="1624"/>
                  <a:pt x="748" y="1655"/>
                </a:cubicBezTo>
                <a:cubicBezTo>
                  <a:pt x="875" y="1798"/>
                  <a:pt x="1034" y="1958"/>
                  <a:pt x="1034" y="2116"/>
                </a:cubicBezTo>
                <a:cubicBezTo>
                  <a:pt x="1034" y="2180"/>
                  <a:pt x="1018" y="2244"/>
                  <a:pt x="955" y="2307"/>
                </a:cubicBezTo>
                <a:cubicBezTo>
                  <a:pt x="303" y="2307"/>
                  <a:pt x="303" y="2307"/>
                  <a:pt x="303" y="2307"/>
                </a:cubicBezTo>
                <a:cubicBezTo>
                  <a:pt x="303" y="2292"/>
                  <a:pt x="303" y="2292"/>
                  <a:pt x="287" y="2292"/>
                </a:cubicBezTo>
                <a:cubicBezTo>
                  <a:pt x="223" y="2228"/>
                  <a:pt x="191" y="2164"/>
                  <a:pt x="191" y="2101"/>
                </a:cubicBezTo>
                <a:cubicBezTo>
                  <a:pt x="191" y="1942"/>
                  <a:pt x="382" y="1782"/>
                  <a:pt x="509" y="1671"/>
                </a:cubicBezTo>
                <a:close/>
                <a:moveTo>
                  <a:pt x="318" y="2467"/>
                </a:moveTo>
                <a:cubicBezTo>
                  <a:pt x="955" y="2467"/>
                  <a:pt x="955" y="2467"/>
                  <a:pt x="955" y="2467"/>
                </a:cubicBezTo>
                <a:cubicBezTo>
                  <a:pt x="955" y="3389"/>
                  <a:pt x="955" y="3389"/>
                  <a:pt x="955" y="3389"/>
                </a:cubicBezTo>
                <a:cubicBezTo>
                  <a:pt x="318" y="3389"/>
                  <a:pt x="318" y="3389"/>
                  <a:pt x="318" y="338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9" name="Freeform: Shape 18">
            <a:extLst>
              <a:ext uri="{FF2B5EF4-FFF2-40B4-BE49-F238E27FC236}">
                <a16:creationId xmlns:a16="http://schemas.microsoft.com/office/drawing/2014/main" id="{049B4FE3-1683-4245-B5C2-D79C14EC556C}"/>
              </a:ext>
            </a:extLst>
          </p:cNvPr>
          <p:cNvSpPr/>
          <p:nvPr/>
        </p:nvSpPr>
        <p:spPr>
          <a:xfrm>
            <a:off x="14000743" y="6677239"/>
            <a:ext cx="1557359" cy="1609200"/>
          </a:xfrm>
          <a:custGeom>
            <a:avLst/>
            <a:gdLst/>
            <a:ahLst/>
            <a:cxnLst>
              <a:cxn ang="3cd4">
                <a:pos x="hc" y="t"/>
              </a:cxn>
              <a:cxn ang="cd2">
                <a:pos x="l" y="vc"/>
              </a:cxn>
              <a:cxn ang="cd4">
                <a:pos x="hc" y="b"/>
              </a:cxn>
              <a:cxn ang="0">
                <a:pos x="r" y="vc"/>
              </a:cxn>
            </a:cxnLst>
            <a:rect l="l" t="t" r="r" b="b"/>
            <a:pathLst>
              <a:path w="4327" h="4471">
                <a:moveTo>
                  <a:pt x="398" y="2864"/>
                </a:moveTo>
                <a:cubicBezTo>
                  <a:pt x="445" y="2864"/>
                  <a:pt x="477" y="2833"/>
                  <a:pt x="477" y="2785"/>
                </a:cubicBezTo>
                <a:cubicBezTo>
                  <a:pt x="477" y="2721"/>
                  <a:pt x="477" y="2721"/>
                  <a:pt x="477" y="2721"/>
                </a:cubicBezTo>
                <a:cubicBezTo>
                  <a:pt x="541" y="2928"/>
                  <a:pt x="652" y="3119"/>
                  <a:pt x="780" y="3294"/>
                </a:cubicBezTo>
                <a:cubicBezTo>
                  <a:pt x="557" y="3294"/>
                  <a:pt x="557" y="3294"/>
                  <a:pt x="557" y="3294"/>
                </a:cubicBezTo>
                <a:cubicBezTo>
                  <a:pt x="525" y="3294"/>
                  <a:pt x="477" y="3325"/>
                  <a:pt x="477" y="3373"/>
                </a:cubicBezTo>
                <a:cubicBezTo>
                  <a:pt x="477" y="3691"/>
                  <a:pt x="477" y="3691"/>
                  <a:pt x="477" y="3691"/>
                </a:cubicBezTo>
                <a:cubicBezTo>
                  <a:pt x="477" y="3739"/>
                  <a:pt x="525" y="3771"/>
                  <a:pt x="557" y="3771"/>
                </a:cubicBezTo>
                <a:cubicBezTo>
                  <a:pt x="875" y="3771"/>
                  <a:pt x="875" y="3771"/>
                  <a:pt x="875" y="3771"/>
                </a:cubicBezTo>
                <a:cubicBezTo>
                  <a:pt x="923" y="3771"/>
                  <a:pt x="954" y="3739"/>
                  <a:pt x="954" y="3691"/>
                </a:cubicBezTo>
                <a:cubicBezTo>
                  <a:pt x="954" y="3485"/>
                  <a:pt x="954" y="3485"/>
                  <a:pt x="954" y="3485"/>
                </a:cubicBezTo>
                <a:cubicBezTo>
                  <a:pt x="1050" y="3580"/>
                  <a:pt x="1145" y="3660"/>
                  <a:pt x="1257" y="3723"/>
                </a:cubicBezTo>
                <a:cubicBezTo>
                  <a:pt x="907" y="4360"/>
                  <a:pt x="907" y="4360"/>
                  <a:pt x="907" y="4360"/>
                </a:cubicBezTo>
                <a:cubicBezTo>
                  <a:pt x="1050" y="4439"/>
                  <a:pt x="1050" y="4439"/>
                  <a:pt x="1050" y="4439"/>
                </a:cubicBezTo>
                <a:cubicBezTo>
                  <a:pt x="1400" y="3803"/>
                  <a:pt x="1400" y="3803"/>
                  <a:pt x="1400" y="3803"/>
                </a:cubicBezTo>
                <a:cubicBezTo>
                  <a:pt x="1575" y="3882"/>
                  <a:pt x="1750" y="3946"/>
                  <a:pt x="1957" y="3962"/>
                </a:cubicBezTo>
                <a:cubicBezTo>
                  <a:pt x="1941" y="3978"/>
                  <a:pt x="1941" y="3994"/>
                  <a:pt x="1941" y="4010"/>
                </a:cubicBezTo>
                <a:cubicBezTo>
                  <a:pt x="1941" y="4328"/>
                  <a:pt x="1941" y="4328"/>
                  <a:pt x="1941" y="4328"/>
                </a:cubicBezTo>
                <a:cubicBezTo>
                  <a:pt x="1941" y="4376"/>
                  <a:pt x="1973" y="4407"/>
                  <a:pt x="2020" y="4407"/>
                </a:cubicBezTo>
                <a:cubicBezTo>
                  <a:pt x="2339" y="4407"/>
                  <a:pt x="2339" y="4407"/>
                  <a:pt x="2339" y="4407"/>
                </a:cubicBezTo>
                <a:cubicBezTo>
                  <a:pt x="2371" y="4407"/>
                  <a:pt x="2418" y="4376"/>
                  <a:pt x="2418" y="4328"/>
                </a:cubicBezTo>
                <a:cubicBezTo>
                  <a:pt x="2418" y="4010"/>
                  <a:pt x="2418" y="4010"/>
                  <a:pt x="2418" y="4010"/>
                </a:cubicBezTo>
                <a:cubicBezTo>
                  <a:pt x="2418" y="3994"/>
                  <a:pt x="2402" y="3978"/>
                  <a:pt x="2387" y="3962"/>
                </a:cubicBezTo>
                <a:cubicBezTo>
                  <a:pt x="2593" y="3946"/>
                  <a:pt x="2784" y="3882"/>
                  <a:pt x="2959" y="3803"/>
                </a:cubicBezTo>
                <a:cubicBezTo>
                  <a:pt x="3309" y="4439"/>
                  <a:pt x="3309" y="4439"/>
                  <a:pt x="3309" y="4439"/>
                </a:cubicBezTo>
                <a:cubicBezTo>
                  <a:pt x="3325" y="4455"/>
                  <a:pt x="3341" y="4471"/>
                  <a:pt x="3373" y="4471"/>
                </a:cubicBezTo>
                <a:cubicBezTo>
                  <a:pt x="3389" y="4471"/>
                  <a:pt x="3405" y="4471"/>
                  <a:pt x="3421" y="4471"/>
                </a:cubicBezTo>
                <a:cubicBezTo>
                  <a:pt x="3453" y="4439"/>
                  <a:pt x="3468" y="4391"/>
                  <a:pt x="3453" y="4360"/>
                </a:cubicBezTo>
                <a:cubicBezTo>
                  <a:pt x="3102" y="3723"/>
                  <a:pt x="3102" y="3723"/>
                  <a:pt x="3102" y="3723"/>
                </a:cubicBezTo>
                <a:cubicBezTo>
                  <a:pt x="3198" y="3660"/>
                  <a:pt x="3293" y="3580"/>
                  <a:pt x="3373" y="3500"/>
                </a:cubicBezTo>
                <a:cubicBezTo>
                  <a:pt x="3373" y="3691"/>
                  <a:pt x="3373" y="3691"/>
                  <a:pt x="3373" y="3691"/>
                </a:cubicBezTo>
                <a:cubicBezTo>
                  <a:pt x="3373" y="3739"/>
                  <a:pt x="3421" y="3771"/>
                  <a:pt x="3453" y="3771"/>
                </a:cubicBezTo>
                <a:cubicBezTo>
                  <a:pt x="3771" y="3771"/>
                  <a:pt x="3771" y="3771"/>
                  <a:pt x="3771" y="3771"/>
                </a:cubicBezTo>
                <a:cubicBezTo>
                  <a:pt x="3818" y="3771"/>
                  <a:pt x="3850" y="3739"/>
                  <a:pt x="3850" y="3691"/>
                </a:cubicBezTo>
                <a:cubicBezTo>
                  <a:pt x="3850" y="3373"/>
                  <a:pt x="3850" y="3373"/>
                  <a:pt x="3850" y="3373"/>
                </a:cubicBezTo>
                <a:cubicBezTo>
                  <a:pt x="3850" y="3325"/>
                  <a:pt x="3818" y="3294"/>
                  <a:pt x="3771" y="3294"/>
                </a:cubicBezTo>
                <a:cubicBezTo>
                  <a:pt x="3564" y="3294"/>
                  <a:pt x="3564" y="3294"/>
                  <a:pt x="3564" y="3294"/>
                </a:cubicBezTo>
                <a:cubicBezTo>
                  <a:pt x="3691" y="3134"/>
                  <a:pt x="3787" y="2943"/>
                  <a:pt x="3850" y="2753"/>
                </a:cubicBezTo>
                <a:cubicBezTo>
                  <a:pt x="3850" y="2785"/>
                  <a:pt x="3850" y="2785"/>
                  <a:pt x="3850" y="2785"/>
                </a:cubicBezTo>
                <a:cubicBezTo>
                  <a:pt x="3850" y="2833"/>
                  <a:pt x="3898" y="2864"/>
                  <a:pt x="3930" y="2864"/>
                </a:cubicBezTo>
                <a:cubicBezTo>
                  <a:pt x="4248" y="2864"/>
                  <a:pt x="4248" y="2864"/>
                  <a:pt x="4248" y="2864"/>
                </a:cubicBezTo>
                <a:cubicBezTo>
                  <a:pt x="4296" y="2864"/>
                  <a:pt x="4327" y="2833"/>
                  <a:pt x="4327" y="2785"/>
                </a:cubicBezTo>
                <a:cubicBezTo>
                  <a:pt x="4327" y="2466"/>
                  <a:pt x="4327" y="2466"/>
                  <a:pt x="4327" y="2466"/>
                </a:cubicBezTo>
                <a:cubicBezTo>
                  <a:pt x="4327" y="2419"/>
                  <a:pt x="4296" y="2387"/>
                  <a:pt x="4248" y="2387"/>
                </a:cubicBezTo>
                <a:cubicBezTo>
                  <a:pt x="3930" y="2387"/>
                  <a:pt x="3930" y="2387"/>
                  <a:pt x="3930" y="2387"/>
                </a:cubicBezTo>
                <a:cubicBezTo>
                  <a:pt x="3945" y="2339"/>
                  <a:pt x="3945" y="2276"/>
                  <a:pt x="3945" y="2212"/>
                </a:cubicBezTo>
                <a:cubicBezTo>
                  <a:pt x="3945" y="2053"/>
                  <a:pt x="3914" y="1894"/>
                  <a:pt x="3882" y="1751"/>
                </a:cubicBezTo>
                <a:cubicBezTo>
                  <a:pt x="4184" y="1751"/>
                  <a:pt x="4184" y="1751"/>
                  <a:pt x="4184" y="1751"/>
                </a:cubicBezTo>
                <a:cubicBezTo>
                  <a:pt x="4232" y="1751"/>
                  <a:pt x="4264" y="1719"/>
                  <a:pt x="4264" y="1671"/>
                </a:cubicBezTo>
                <a:cubicBezTo>
                  <a:pt x="4264" y="1352"/>
                  <a:pt x="4264" y="1352"/>
                  <a:pt x="4264" y="1352"/>
                </a:cubicBezTo>
                <a:cubicBezTo>
                  <a:pt x="4264" y="1321"/>
                  <a:pt x="4232" y="1273"/>
                  <a:pt x="4184" y="1273"/>
                </a:cubicBezTo>
                <a:cubicBezTo>
                  <a:pt x="3866" y="1273"/>
                  <a:pt x="3866" y="1273"/>
                  <a:pt x="3866" y="1273"/>
                </a:cubicBezTo>
                <a:cubicBezTo>
                  <a:pt x="3818" y="1273"/>
                  <a:pt x="3787" y="1321"/>
                  <a:pt x="3787" y="1352"/>
                </a:cubicBezTo>
                <a:cubicBezTo>
                  <a:pt x="3787" y="1480"/>
                  <a:pt x="3787" y="1480"/>
                  <a:pt x="3787" y="1480"/>
                </a:cubicBezTo>
                <a:cubicBezTo>
                  <a:pt x="3691" y="1273"/>
                  <a:pt x="3548" y="1082"/>
                  <a:pt x="3389" y="923"/>
                </a:cubicBezTo>
                <a:cubicBezTo>
                  <a:pt x="3580" y="923"/>
                  <a:pt x="3580" y="923"/>
                  <a:pt x="3580" y="923"/>
                </a:cubicBezTo>
                <a:cubicBezTo>
                  <a:pt x="3627" y="923"/>
                  <a:pt x="3659" y="891"/>
                  <a:pt x="3659" y="843"/>
                </a:cubicBezTo>
                <a:cubicBezTo>
                  <a:pt x="3659" y="525"/>
                  <a:pt x="3659" y="525"/>
                  <a:pt x="3659" y="525"/>
                </a:cubicBezTo>
                <a:cubicBezTo>
                  <a:pt x="3659" y="494"/>
                  <a:pt x="3627" y="446"/>
                  <a:pt x="3580" y="446"/>
                </a:cubicBezTo>
                <a:cubicBezTo>
                  <a:pt x="3262" y="446"/>
                  <a:pt x="3262" y="446"/>
                  <a:pt x="3262" y="446"/>
                </a:cubicBezTo>
                <a:cubicBezTo>
                  <a:pt x="3214" y="446"/>
                  <a:pt x="3182" y="494"/>
                  <a:pt x="3182" y="525"/>
                </a:cubicBezTo>
                <a:cubicBezTo>
                  <a:pt x="3182" y="764"/>
                  <a:pt x="3182" y="764"/>
                  <a:pt x="3182" y="764"/>
                </a:cubicBezTo>
                <a:cubicBezTo>
                  <a:pt x="2959" y="605"/>
                  <a:pt x="2689" y="494"/>
                  <a:pt x="2387" y="462"/>
                </a:cubicBezTo>
                <a:cubicBezTo>
                  <a:pt x="2402" y="446"/>
                  <a:pt x="2418" y="430"/>
                  <a:pt x="2418" y="398"/>
                </a:cubicBezTo>
                <a:cubicBezTo>
                  <a:pt x="2418" y="80"/>
                  <a:pt x="2418" y="80"/>
                  <a:pt x="2418" y="80"/>
                </a:cubicBezTo>
                <a:cubicBezTo>
                  <a:pt x="2418" y="48"/>
                  <a:pt x="2371" y="0"/>
                  <a:pt x="2339" y="0"/>
                </a:cubicBezTo>
                <a:cubicBezTo>
                  <a:pt x="2020" y="0"/>
                  <a:pt x="2020" y="0"/>
                  <a:pt x="2020" y="0"/>
                </a:cubicBezTo>
                <a:cubicBezTo>
                  <a:pt x="1973" y="0"/>
                  <a:pt x="1941" y="48"/>
                  <a:pt x="1941" y="80"/>
                </a:cubicBezTo>
                <a:cubicBezTo>
                  <a:pt x="1941" y="398"/>
                  <a:pt x="1941" y="398"/>
                  <a:pt x="1941" y="398"/>
                </a:cubicBezTo>
                <a:cubicBezTo>
                  <a:pt x="1941" y="430"/>
                  <a:pt x="1941" y="446"/>
                  <a:pt x="1957" y="462"/>
                </a:cubicBezTo>
                <a:cubicBezTo>
                  <a:pt x="1671" y="494"/>
                  <a:pt x="1384" y="605"/>
                  <a:pt x="1162" y="764"/>
                </a:cubicBezTo>
                <a:cubicBezTo>
                  <a:pt x="1162" y="525"/>
                  <a:pt x="1162" y="525"/>
                  <a:pt x="1162" y="525"/>
                </a:cubicBezTo>
                <a:cubicBezTo>
                  <a:pt x="1162" y="494"/>
                  <a:pt x="1130" y="446"/>
                  <a:pt x="1082" y="446"/>
                </a:cubicBezTo>
                <a:cubicBezTo>
                  <a:pt x="763" y="446"/>
                  <a:pt x="763" y="446"/>
                  <a:pt x="763" y="446"/>
                </a:cubicBezTo>
                <a:cubicBezTo>
                  <a:pt x="716" y="446"/>
                  <a:pt x="684" y="494"/>
                  <a:pt x="684" y="525"/>
                </a:cubicBezTo>
                <a:cubicBezTo>
                  <a:pt x="684" y="843"/>
                  <a:pt x="684" y="843"/>
                  <a:pt x="684" y="843"/>
                </a:cubicBezTo>
                <a:cubicBezTo>
                  <a:pt x="684" y="891"/>
                  <a:pt x="716" y="923"/>
                  <a:pt x="763" y="923"/>
                </a:cubicBezTo>
                <a:cubicBezTo>
                  <a:pt x="954" y="923"/>
                  <a:pt x="954" y="923"/>
                  <a:pt x="954" y="923"/>
                </a:cubicBezTo>
                <a:cubicBezTo>
                  <a:pt x="811" y="1082"/>
                  <a:pt x="684" y="1257"/>
                  <a:pt x="589" y="1448"/>
                </a:cubicBezTo>
                <a:cubicBezTo>
                  <a:pt x="589" y="1352"/>
                  <a:pt x="589" y="1352"/>
                  <a:pt x="589" y="1352"/>
                </a:cubicBezTo>
                <a:cubicBezTo>
                  <a:pt x="589" y="1321"/>
                  <a:pt x="541" y="1273"/>
                  <a:pt x="509" y="1273"/>
                </a:cubicBezTo>
                <a:cubicBezTo>
                  <a:pt x="191" y="1273"/>
                  <a:pt x="191" y="1273"/>
                  <a:pt x="191" y="1273"/>
                </a:cubicBezTo>
                <a:cubicBezTo>
                  <a:pt x="143" y="1273"/>
                  <a:pt x="111" y="1321"/>
                  <a:pt x="111" y="1352"/>
                </a:cubicBezTo>
                <a:cubicBezTo>
                  <a:pt x="111" y="1671"/>
                  <a:pt x="111" y="1671"/>
                  <a:pt x="111" y="1671"/>
                </a:cubicBezTo>
                <a:cubicBezTo>
                  <a:pt x="111" y="1719"/>
                  <a:pt x="143" y="1751"/>
                  <a:pt x="191" y="1751"/>
                </a:cubicBezTo>
                <a:cubicBezTo>
                  <a:pt x="462" y="1751"/>
                  <a:pt x="462" y="1751"/>
                  <a:pt x="462" y="1751"/>
                </a:cubicBezTo>
                <a:cubicBezTo>
                  <a:pt x="429" y="1894"/>
                  <a:pt x="414" y="2053"/>
                  <a:pt x="414" y="2212"/>
                </a:cubicBezTo>
                <a:cubicBezTo>
                  <a:pt x="414" y="2276"/>
                  <a:pt x="414" y="2339"/>
                  <a:pt x="414" y="2387"/>
                </a:cubicBezTo>
                <a:lnTo>
                  <a:pt x="398" y="2387"/>
                </a:lnTo>
                <a:cubicBezTo>
                  <a:pt x="80" y="2387"/>
                  <a:pt x="80" y="2387"/>
                  <a:pt x="80" y="2387"/>
                </a:cubicBezTo>
                <a:cubicBezTo>
                  <a:pt x="48" y="2387"/>
                  <a:pt x="0" y="2419"/>
                  <a:pt x="0" y="2466"/>
                </a:cubicBezTo>
                <a:cubicBezTo>
                  <a:pt x="0" y="2785"/>
                  <a:pt x="0" y="2785"/>
                  <a:pt x="0" y="2785"/>
                </a:cubicBezTo>
                <a:cubicBezTo>
                  <a:pt x="0" y="2833"/>
                  <a:pt x="48" y="2864"/>
                  <a:pt x="80" y="2864"/>
                </a:cubicBezTo>
                <a:close/>
                <a:moveTo>
                  <a:pt x="4009" y="2546"/>
                </a:moveTo>
                <a:cubicBezTo>
                  <a:pt x="4168" y="2546"/>
                  <a:pt x="4168" y="2546"/>
                  <a:pt x="4168" y="2546"/>
                </a:cubicBezTo>
                <a:cubicBezTo>
                  <a:pt x="4168" y="2705"/>
                  <a:pt x="4168" y="2705"/>
                  <a:pt x="4168" y="2705"/>
                </a:cubicBezTo>
                <a:cubicBezTo>
                  <a:pt x="4009" y="2705"/>
                  <a:pt x="4009" y="2705"/>
                  <a:pt x="4009" y="2705"/>
                </a:cubicBezTo>
                <a:close/>
                <a:moveTo>
                  <a:pt x="3945" y="1432"/>
                </a:moveTo>
                <a:cubicBezTo>
                  <a:pt x="4105" y="1432"/>
                  <a:pt x="4105" y="1432"/>
                  <a:pt x="4105" y="1432"/>
                </a:cubicBezTo>
                <a:cubicBezTo>
                  <a:pt x="4105" y="1591"/>
                  <a:pt x="4105" y="1591"/>
                  <a:pt x="4105" y="1591"/>
                </a:cubicBezTo>
                <a:cubicBezTo>
                  <a:pt x="3945" y="1591"/>
                  <a:pt x="3945" y="1591"/>
                  <a:pt x="3945" y="1591"/>
                </a:cubicBezTo>
                <a:close/>
                <a:moveTo>
                  <a:pt x="3341" y="605"/>
                </a:moveTo>
                <a:cubicBezTo>
                  <a:pt x="3500" y="605"/>
                  <a:pt x="3500" y="605"/>
                  <a:pt x="3500" y="605"/>
                </a:cubicBezTo>
                <a:cubicBezTo>
                  <a:pt x="3500" y="764"/>
                  <a:pt x="3500" y="764"/>
                  <a:pt x="3500" y="764"/>
                </a:cubicBezTo>
                <a:cubicBezTo>
                  <a:pt x="3341" y="764"/>
                  <a:pt x="3341" y="764"/>
                  <a:pt x="3341" y="764"/>
                </a:cubicBezTo>
                <a:close/>
                <a:moveTo>
                  <a:pt x="843" y="605"/>
                </a:moveTo>
                <a:cubicBezTo>
                  <a:pt x="1002" y="605"/>
                  <a:pt x="1002" y="605"/>
                  <a:pt x="1002" y="605"/>
                </a:cubicBezTo>
                <a:cubicBezTo>
                  <a:pt x="1002" y="764"/>
                  <a:pt x="1002" y="764"/>
                  <a:pt x="1002" y="764"/>
                </a:cubicBezTo>
                <a:cubicBezTo>
                  <a:pt x="843" y="764"/>
                  <a:pt x="843" y="764"/>
                  <a:pt x="843" y="764"/>
                </a:cubicBezTo>
                <a:close/>
                <a:moveTo>
                  <a:pt x="429" y="1591"/>
                </a:moveTo>
                <a:cubicBezTo>
                  <a:pt x="271" y="1591"/>
                  <a:pt x="271" y="1591"/>
                  <a:pt x="271" y="1591"/>
                </a:cubicBezTo>
                <a:cubicBezTo>
                  <a:pt x="271" y="1432"/>
                  <a:pt x="271" y="1432"/>
                  <a:pt x="271" y="1432"/>
                </a:cubicBezTo>
                <a:cubicBezTo>
                  <a:pt x="429" y="1432"/>
                  <a:pt x="429" y="1432"/>
                  <a:pt x="429" y="1432"/>
                </a:cubicBezTo>
                <a:close/>
                <a:moveTo>
                  <a:pt x="796" y="3612"/>
                </a:moveTo>
                <a:cubicBezTo>
                  <a:pt x="636" y="3612"/>
                  <a:pt x="636" y="3612"/>
                  <a:pt x="636" y="3612"/>
                </a:cubicBezTo>
                <a:cubicBezTo>
                  <a:pt x="636" y="3453"/>
                  <a:pt x="636" y="3453"/>
                  <a:pt x="636" y="3453"/>
                </a:cubicBezTo>
                <a:cubicBezTo>
                  <a:pt x="796" y="3453"/>
                  <a:pt x="796" y="3453"/>
                  <a:pt x="796" y="3453"/>
                </a:cubicBezTo>
                <a:close/>
                <a:moveTo>
                  <a:pt x="2259" y="4248"/>
                </a:moveTo>
                <a:cubicBezTo>
                  <a:pt x="2100" y="4248"/>
                  <a:pt x="2100" y="4248"/>
                  <a:pt x="2100" y="4248"/>
                </a:cubicBezTo>
                <a:cubicBezTo>
                  <a:pt x="2100" y="4089"/>
                  <a:pt x="2100" y="4089"/>
                  <a:pt x="2100" y="4089"/>
                </a:cubicBezTo>
                <a:cubicBezTo>
                  <a:pt x="2259" y="4089"/>
                  <a:pt x="2259" y="4089"/>
                  <a:pt x="2259" y="4089"/>
                </a:cubicBezTo>
                <a:close/>
                <a:moveTo>
                  <a:pt x="2180" y="3819"/>
                </a:moveTo>
                <a:cubicBezTo>
                  <a:pt x="1925" y="3819"/>
                  <a:pt x="1686" y="3755"/>
                  <a:pt x="1464" y="3660"/>
                </a:cubicBezTo>
                <a:cubicBezTo>
                  <a:pt x="1686" y="3278"/>
                  <a:pt x="1686" y="3278"/>
                  <a:pt x="1686" y="3278"/>
                </a:cubicBezTo>
                <a:cubicBezTo>
                  <a:pt x="1830" y="3342"/>
                  <a:pt x="2005" y="3389"/>
                  <a:pt x="2180" y="3389"/>
                </a:cubicBezTo>
                <a:cubicBezTo>
                  <a:pt x="2354" y="3389"/>
                  <a:pt x="2514" y="3342"/>
                  <a:pt x="2673" y="3278"/>
                </a:cubicBezTo>
                <a:cubicBezTo>
                  <a:pt x="2880" y="3660"/>
                  <a:pt x="2880" y="3660"/>
                  <a:pt x="2880" y="3660"/>
                </a:cubicBezTo>
                <a:cubicBezTo>
                  <a:pt x="2673" y="3755"/>
                  <a:pt x="2434" y="3819"/>
                  <a:pt x="2180" y="3819"/>
                </a:cubicBezTo>
                <a:close/>
                <a:moveTo>
                  <a:pt x="2180" y="2371"/>
                </a:moveTo>
                <a:cubicBezTo>
                  <a:pt x="2593" y="3134"/>
                  <a:pt x="2593" y="3134"/>
                  <a:pt x="2593" y="3134"/>
                </a:cubicBezTo>
                <a:cubicBezTo>
                  <a:pt x="2466" y="3198"/>
                  <a:pt x="2323" y="3230"/>
                  <a:pt x="2180" y="3230"/>
                </a:cubicBezTo>
                <a:cubicBezTo>
                  <a:pt x="2020" y="3230"/>
                  <a:pt x="1893" y="3198"/>
                  <a:pt x="1766" y="3134"/>
                </a:cubicBezTo>
                <a:close/>
                <a:moveTo>
                  <a:pt x="1623" y="3055"/>
                </a:moveTo>
                <a:cubicBezTo>
                  <a:pt x="1353" y="2880"/>
                  <a:pt x="1162" y="2562"/>
                  <a:pt x="1162" y="2212"/>
                </a:cubicBezTo>
                <a:cubicBezTo>
                  <a:pt x="1162" y="1655"/>
                  <a:pt x="1623" y="1194"/>
                  <a:pt x="2180" y="1194"/>
                </a:cubicBezTo>
                <a:cubicBezTo>
                  <a:pt x="2736" y="1194"/>
                  <a:pt x="3182" y="1655"/>
                  <a:pt x="3182" y="2212"/>
                </a:cubicBezTo>
                <a:cubicBezTo>
                  <a:pt x="3182" y="2562"/>
                  <a:pt x="3007" y="2880"/>
                  <a:pt x="2736" y="3055"/>
                </a:cubicBezTo>
                <a:cubicBezTo>
                  <a:pt x="2243" y="2180"/>
                  <a:pt x="2243" y="2180"/>
                  <a:pt x="2243" y="2180"/>
                </a:cubicBezTo>
                <a:cubicBezTo>
                  <a:pt x="2211" y="2116"/>
                  <a:pt x="2132" y="2116"/>
                  <a:pt x="2100" y="2180"/>
                </a:cubicBezTo>
                <a:close/>
                <a:moveTo>
                  <a:pt x="3691" y="3612"/>
                </a:moveTo>
                <a:cubicBezTo>
                  <a:pt x="3532" y="3612"/>
                  <a:pt x="3532" y="3612"/>
                  <a:pt x="3532" y="3612"/>
                </a:cubicBezTo>
                <a:cubicBezTo>
                  <a:pt x="3532" y="3453"/>
                  <a:pt x="3532" y="3453"/>
                  <a:pt x="3532" y="3453"/>
                </a:cubicBezTo>
                <a:cubicBezTo>
                  <a:pt x="3691" y="3453"/>
                  <a:pt x="3691" y="3453"/>
                  <a:pt x="3691" y="3453"/>
                </a:cubicBezTo>
                <a:close/>
                <a:moveTo>
                  <a:pt x="2100" y="160"/>
                </a:moveTo>
                <a:cubicBezTo>
                  <a:pt x="2259" y="160"/>
                  <a:pt x="2259" y="160"/>
                  <a:pt x="2259" y="160"/>
                </a:cubicBezTo>
                <a:cubicBezTo>
                  <a:pt x="2259" y="318"/>
                  <a:pt x="2259" y="318"/>
                  <a:pt x="2259" y="318"/>
                </a:cubicBezTo>
                <a:cubicBezTo>
                  <a:pt x="2100" y="318"/>
                  <a:pt x="2100" y="318"/>
                  <a:pt x="2100" y="318"/>
                </a:cubicBezTo>
                <a:close/>
                <a:moveTo>
                  <a:pt x="2180" y="605"/>
                </a:moveTo>
                <a:cubicBezTo>
                  <a:pt x="3055" y="605"/>
                  <a:pt x="3787" y="1321"/>
                  <a:pt x="3787" y="2212"/>
                </a:cubicBezTo>
                <a:cubicBezTo>
                  <a:pt x="3787" y="2785"/>
                  <a:pt x="3484" y="3294"/>
                  <a:pt x="3023" y="3580"/>
                </a:cubicBezTo>
                <a:cubicBezTo>
                  <a:pt x="2800" y="3198"/>
                  <a:pt x="2800" y="3198"/>
                  <a:pt x="2800" y="3198"/>
                </a:cubicBezTo>
                <a:cubicBezTo>
                  <a:pt x="3134" y="2991"/>
                  <a:pt x="3341" y="2625"/>
                  <a:pt x="3341" y="2212"/>
                </a:cubicBezTo>
                <a:cubicBezTo>
                  <a:pt x="3341" y="1560"/>
                  <a:pt x="2816" y="1034"/>
                  <a:pt x="2180" y="1034"/>
                </a:cubicBezTo>
                <a:cubicBezTo>
                  <a:pt x="1527" y="1034"/>
                  <a:pt x="1002" y="1560"/>
                  <a:pt x="1002" y="2212"/>
                </a:cubicBezTo>
                <a:cubicBezTo>
                  <a:pt x="1002" y="2625"/>
                  <a:pt x="1225" y="2991"/>
                  <a:pt x="1543" y="3198"/>
                </a:cubicBezTo>
                <a:cubicBezTo>
                  <a:pt x="1336" y="3580"/>
                  <a:pt x="1336" y="3580"/>
                  <a:pt x="1336" y="3580"/>
                </a:cubicBezTo>
                <a:cubicBezTo>
                  <a:pt x="875" y="3294"/>
                  <a:pt x="573" y="2785"/>
                  <a:pt x="573" y="2212"/>
                </a:cubicBezTo>
                <a:cubicBezTo>
                  <a:pt x="573" y="1321"/>
                  <a:pt x="1289" y="605"/>
                  <a:pt x="2180" y="605"/>
                </a:cubicBezTo>
                <a:close/>
                <a:moveTo>
                  <a:pt x="159" y="2546"/>
                </a:moveTo>
                <a:cubicBezTo>
                  <a:pt x="318" y="2546"/>
                  <a:pt x="318" y="2546"/>
                  <a:pt x="318" y="2546"/>
                </a:cubicBezTo>
                <a:cubicBezTo>
                  <a:pt x="318" y="2705"/>
                  <a:pt x="318" y="2705"/>
                  <a:pt x="318" y="2705"/>
                </a:cubicBezTo>
                <a:cubicBezTo>
                  <a:pt x="159" y="2705"/>
                  <a:pt x="159" y="2705"/>
                  <a:pt x="159" y="270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TextBox 59">
            <a:extLst>
              <a:ext uri="{FF2B5EF4-FFF2-40B4-BE49-F238E27FC236}">
                <a16:creationId xmlns:a16="http://schemas.microsoft.com/office/drawing/2014/main" id="{D3AFA4FA-A657-0B43-BCAD-FD3E5E8A98F7}"/>
              </a:ext>
            </a:extLst>
          </p:cNvPr>
          <p:cNvSpPr txBox="1"/>
          <p:nvPr/>
        </p:nvSpPr>
        <p:spPr>
          <a:xfrm>
            <a:off x="1052420" y="85223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un Pyramid</a:t>
            </a:r>
          </a:p>
        </p:txBody>
      </p:sp>
      <p:sp>
        <p:nvSpPr>
          <p:cNvPr id="61" name="TextBox 60">
            <a:extLst>
              <a:ext uri="{FF2B5EF4-FFF2-40B4-BE49-F238E27FC236}">
                <a16:creationId xmlns:a16="http://schemas.microsoft.com/office/drawing/2014/main" id="{33B3F6D7-98B9-484E-B1D7-F6279430BD13}"/>
              </a:ext>
            </a:extLst>
          </p:cNvPr>
          <p:cNvSpPr txBox="1"/>
          <p:nvPr/>
        </p:nvSpPr>
        <p:spPr>
          <a:xfrm>
            <a:off x="5032286" y="85223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orii</a:t>
            </a:r>
          </a:p>
        </p:txBody>
      </p:sp>
      <p:sp>
        <p:nvSpPr>
          <p:cNvPr id="62" name="TextBox 61">
            <a:extLst>
              <a:ext uri="{FF2B5EF4-FFF2-40B4-BE49-F238E27FC236}">
                <a16:creationId xmlns:a16="http://schemas.microsoft.com/office/drawing/2014/main" id="{0DB292D8-F2A0-8342-811B-66C9725E507D}"/>
              </a:ext>
            </a:extLst>
          </p:cNvPr>
          <p:cNvSpPr txBox="1"/>
          <p:nvPr/>
        </p:nvSpPr>
        <p:spPr>
          <a:xfrm>
            <a:off x="9084538" y="85223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ondon Bridge</a:t>
            </a:r>
          </a:p>
        </p:txBody>
      </p:sp>
      <p:sp>
        <p:nvSpPr>
          <p:cNvPr id="80" name="Freeform: Shape 26">
            <a:extLst>
              <a:ext uri="{FF2B5EF4-FFF2-40B4-BE49-F238E27FC236}">
                <a16:creationId xmlns:a16="http://schemas.microsoft.com/office/drawing/2014/main" id="{F218026D-7103-7F40-B788-E3514131E298}"/>
              </a:ext>
            </a:extLst>
          </p:cNvPr>
          <p:cNvSpPr/>
          <p:nvPr/>
        </p:nvSpPr>
        <p:spPr>
          <a:xfrm>
            <a:off x="6633281" y="73790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0" name="Freeform: Shape 5">
            <a:extLst>
              <a:ext uri="{FF2B5EF4-FFF2-40B4-BE49-F238E27FC236}">
                <a16:creationId xmlns:a16="http://schemas.microsoft.com/office/drawing/2014/main" id="{30B1D47F-2883-A342-9C3D-F678C7DB78EA}"/>
              </a:ext>
            </a:extLst>
          </p:cNvPr>
          <p:cNvSpPr/>
          <p:nvPr/>
        </p:nvSpPr>
        <p:spPr>
          <a:xfrm>
            <a:off x="9816138" y="6974385"/>
            <a:ext cx="2030040" cy="1051920"/>
          </a:xfrm>
          <a:custGeom>
            <a:avLst/>
            <a:gdLst/>
            <a:ahLst/>
            <a:cxnLst>
              <a:cxn ang="3cd4">
                <a:pos x="hc" y="t"/>
              </a:cxn>
              <a:cxn ang="cd2">
                <a:pos x="l" y="vc"/>
              </a:cxn>
              <a:cxn ang="cd4">
                <a:pos x="hc" y="b"/>
              </a:cxn>
              <a:cxn ang="0">
                <a:pos x="r" y="vc"/>
              </a:cxn>
            </a:cxnLst>
            <a:rect l="l" t="t" r="r" b="b"/>
            <a:pathLst>
              <a:path w="5640" h="2923">
                <a:moveTo>
                  <a:pt x="5541" y="1873"/>
                </a:moveTo>
                <a:cubicBezTo>
                  <a:pt x="5556" y="1889"/>
                  <a:pt x="5556" y="1889"/>
                  <a:pt x="5556" y="1889"/>
                </a:cubicBezTo>
                <a:cubicBezTo>
                  <a:pt x="5604" y="1889"/>
                  <a:pt x="5636" y="1857"/>
                  <a:pt x="5636" y="1825"/>
                </a:cubicBezTo>
                <a:cubicBezTo>
                  <a:pt x="5652" y="1778"/>
                  <a:pt x="5620" y="1730"/>
                  <a:pt x="5588" y="1730"/>
                </a:cubicBezTo>
                <a:cubicBezTo>
                  <a:pt x="5350" y="1666"/>
                  <a:pt x="5095" y="1221"/>
                  <a:pt x="5095" y="982"/>
                </a:cubicBezTo>
                <a:cubicBezTo>
                  <a:pt x="5095" y="839"/>
                  <a:pt x="5095" y="839"/>
                  <a:pt x="5095" y="839"/>
                </a:cubicBezTo>
                <a:cubicBezTo>
                  <a:pt x="5095" y="425"/>
                  <a:pt x="5095" y="425"/>
                  <a:pt x="5095" y="425"/>
                </a:cubicBezTo>
                <a:cubicBezTo>
                  <a:pt x="5095" y="409"/>
                  <a:pt x="5079" y="393"/>
                  <a:pt x="5063" y="377"/>
                </a:cubicBezTo>
                <a:cubicBezTo>
                  <a:pt x="4634" y="11"/>
                  <a:pt x="4634" y="11"/>
                  <a:pt x="4634" y="11"/>
                </a:cubicBezTo>
                <a:cubicBezTo>
                  <a:pt x="4618" y="-4"/>
                  <a:pt x="4570" y="-4"/>
                  <a:pt x="4538" y="11"/>
                </a:cubicBezTo>
                <a:cubicBezTo>
                  <a:pt x="4108" y="377"/>
                  <a:pt x="4108" y="377"/>
                  <a:pt x="4108" y="377"/>
                </a:cubicBezTo>
                <a:cubicBezTo>
                  <a:pt x="4093" y="393"/>
                  <a:pt x="4077" y="409"/>
                  <a:pt x="4077" y="425"/>
                </a:cubicBezTo>
                <a:cubicBezTo>
                  <a:pt x="4077" y="839"/>
                  <a:pt x="4077" y="839"/>
                  <a:pt x="4077" y="839"/>
                </a:cubicBezTo>
                <a:cubicBezTo>
                  <a:pt x="4077" y="950"/>
                  <a:pt x="4077" y="950"/>
                  <a:pt x="4077" y="950"/>
                </a:cubicBezTo>
                <a:cubicBezTo>
                  <a:pt x="1579" y="950"/>
                  <a:pt x="1579" y="950"/>
                  <a:pt x="1579" y="950"/>
                </a:cubicBezTo>
                <a:cubicBezTo>
                  <a:pt x="1579" y="839"/>
                  <a:pt x="1579" y="839"/>
                  <a:pt x="1579" y="839"/>
                </a:cubicBezTo>
                <a:cubicBezTo>
                  <a:pt x="1579" y="425"/>
                  <a:pt x="1579" y="425"/>
                  <a:pt x="1579" y="425"/>
                </a:cubicBezTo>
                <a:cubicBezTo>
                  <a:pt x="1579" y="409"/>
                  <a:pt x="1563" y="393"/>
                  <a:pt x="1547" y="377"/>
                </a:cubicBezTo>
                <a:cubicBezTo>
                  <a:pt x="1117" y="11"/>
                  <a:pt x="1117" y="11"/>
                  <a:pt x="1117" y="11"/>
                </a:cubicBezTo>
                <a:cubicBezTo>
                  <a:pt x="1086" y="-4"/>
                  <a:pt x="1038" y="-4"/>
                  <a:pt x="1006" y="11"/>
                </a:cubicBezTo>
                <a:cubicBezTo>
                  <a:pt x="577" y="377"/>
                  <a:pt x="577" y="377"/>
                  <a:pt x="577" y="377"/>
                </a:cubicBezTo>
                <a:cubicBezTo>
                  <a:pt x="561" y="393"/>
                  <a:pt x="561" y="409"/>
                  <a:pt x="561" y="425"/>
                </a:cubicBezTo>
                <a:cubicBezTo>
                  <a:pt x="561" y="839"/>
                  <a:pt x="561" y="839"/>
                  <a:pt x="561" y="839"/>
                </a:cubicBezTo>
                <a:cubicBezTo>
                  <a:pt x="561" y="982"/>
                  <a:pt x="561" y="982"/>
                  <a:pt x="561" y="982"/>
                </a:cubicBezTo>
                <a:cubicBezTo>
                  <a:pt x="561" y="1221"/>
                  <a:pt x="290" y="1666"/>
                  <a:pt x="67" y="1730"/>
                </a:cubicBezTo>
                <a:cubicBezTo>
                  <a:pt x="20" y="1730"/>
                  <a:pt x="-12" y="1778"/>
                  <a:pt x="4" y="1825"/>
                </a:cubicBezTo>
                <a:cubicBezTo>
                  <a:pt x="20" y="1857"/>
                  <a:pt x="52" y="1889"/>
                  <a:pt x="83" y="1889"/>
                </a:cubicBezTo>
                <a:cubicBezTo>
                  <a:pt x="83" y="1889"/>
                  <a:pt x="99" y="1889"/>
                  <a:pt x="99" y="1873"/>
                </a:cubicBezTo>
                <a:cubicBezTo>
                  <a:pt x="274" y="1825"/>
                  <a:pt x="449" y="1666"/>
                  <a:pt x="561" y="1459"/>
                </a:cubicBezTo>
                <a:cubicBezTo>
                  <a:pt x="561" y="2000"/>
                  <a:pt x="561" y="2000"/>
                  <a:pt x="561" y="2000"/>
                </a:cubicBezTo>
                <a:cubicBezTo>
                  <a:pt x="115" y="2000"/>
                  <a:pt x="115" y="2000"/>
                  <a:pt x="115" y="2000"/>
                </a:cubicBezTo>
                <a:cubicBezTo>
                  <a:pt x="67" y="2000"/>
                  <a:pt x="35" y="2032"/>
                  <a:pt x="35" y="2080"/>
                </a:cubicBezTo>
                <a:cubicBezTo>
                  <a:pt x="35" y="2127"/>
                  <a:pt x="67" y="2159"/>
                  <a:pt x="115" y="2159"/>
                </a:cubicBezTo>
                <a:cubicBezTo>
                  <a:pt x="561" y="2159"/>
                  <a:pt x="561" y="2159"/>
                  <a:pt x="561" y="2159"/>
                </a:cubicBezTo>
                <a:cubicBezTo>
                  <a:pt x="561" y="2844"/>
                  <a:pt x="561" y="2844"/>
                  <a:pt x="561" y="2844"/>
                </a:cubicBezTo>
                <a:cubicBezTo>
                  <a:pt x="561" y="2875"/>
                  <a:pt x="592" y="2923"/>
                  <a:pt x="640" y="2923"/>
                </a:cubicBezTo>
                <a:cubicBezTo>
                  <a:pt x="1499" y="2923"/>
                  <a:pt x="1499" y="2923"/>
                  <a:pt x="1499" y="2923"/>
                </a:cubicBezTo>
                <a:cubicBezTo>
                  <a:pt x="1531" y="2923"/>
                  <a:pt x="1579" y="2875"/>
                  <a:pt x="1579" y="2844"/>
                </a:cubicBezTo>
                <a:cubicBezTo>
                  <a:pt x="1579" y="2557"/>
                  <a:pt x="1579" y="2557"/>
                  <a:pt x="1579" y="2557"/>
                </a:cubicBezTo>
                <a:cubicBezTo>
                  <a:pt x="2136" y="2366"/>
                  <a:pt x="3536" y="2382"/>
                  <a:pt x="4077" y="2573"/>
                </a:cubicBezTo>
                <a:cubicBezTo>
                  <a:pt x="4077" y="2844"/>
                  <a:pt x="4077" y="2844"/>
                  <a:pt x="4077" y="2844"/>
                </a:cubicBezTo>
                <a:cubicBezTo>
                  <a:pt x="4077" y="2875"/>
                  <a:pt x="4108" y="2923"/>
                  <a:pt x="4156" y="2923"/>
                </a:cubicBezTo>
                <a:cubicBezTo>
                  <a:pt x="5016" y="2923"/>
                  <a:pt x="5016" y="2923"/>
                  <a:pt x="5016" y="2923"/>
                </a:cubicBezTo>
                <a:cubicBezTo>
                  <a:pt x="5063" y="2923"/>
                  <a:pt x="5095" y="2875"/>
                  <a:pt x="5095" y="2844"/>
                </a:cubicBezTo>
                <a:cubicBezTo>
                  <a:pt x="5095" y="2159"/>
                  <a:pt x="5095" y="2159"/>
                  <a:pt x="5095" y="2159"/>
                </a:cubicBezTo>
                <a:cubicBezTo>
                  <a:pt x="5541" y="2159"/>
                  <a:pt x="5541" y="2159"/>
                  <a:pt x="5541" y="2159"/>
                </a:cubicBezTo>
                <a:cubicBezTo>
                  <a:pt x="5588" y="2159"/>
                  <a:pt x="5620" y="2127"/>
                  <a:pt x="5620" y="2080"/>
                </a:cubicBezTo>
                <a:cubicBezTo>
                  <a:pt x="5620" y="2032"/>
                  <a:pt x="5588" y="2000"/>
                  <a:pt x="5541" y="2000"/>
                </a:cubicBezTo>
                <a:cubicBezTo>
                  <a:pt x="5095" y="2000"/>
                  <a:pt x="5095" y="2000"/>
                  <a:pt x="5095" y="2000"/>
                </a:cubicBezTo>
                <a:cubicBezTo>
                  <a:pt x="5095" y="1475"/>
                  <a:pt x="5095" y="1475"/>
                  <a:pt x="5095" y="1475"/>
                </a:cubicBezTo>
                <a:cubicBezTo>
                  <a:pt x="5207" y="1666"/>
                  <a:pt x="5365" y="1841"/>
                  <a:pt x="5541" y="1873"/>
                </a:cubicBezTo>
                <a:close/>
                <a:moveTo>
                  <a:pt x="4236" y="473"/>
                </a:moveTo>
                <a:cubicBezTo>
                  <a:pt x="4586" y="171"/>
                  <a:pt x="4586" y="171"/>
                  <a:pt x="4586" y="171"/>
                </a:cubicBezTo>
                <a:cubicBezTo>
                  <a:pt x="4936" y="473"/>
                  <a:pt x="4936" y="473"/>
                  <a:pt x="4936" y="473"/>
                </a:cubicBezTo>
                <a:cubicBezTo>
                  <a:pt x="4936" y="759"/>
                  <a:pt x="4936" y="759"/>
                  <a:pt x="4936" y="759"/>
                </a:cubicBezTo>
                <a:cubicBezTo>
                  <a:pt x="4236" y="759"/>
                  <a:pt x="4236" y="759"/>
                  <a:pt x="4236" y="759"/>
                </a:cubicBezTo>
                <a:close/>
                <a:moveTo>
                  <a:pt x="1579" y="1396"/>
                </a:moveTo>
                <a:cubicBezTo>
                  <a:pt x="4077" y="1396"/>
                  <a:pt x="4077" y="1396"/>
                  <a:pt x="4077" y="1396"/>
                </a:cubicBezTo>
                <a:cubicBezTo>
                  <a:pt x="4077" y="2000"/>
                  <a:pt x="4077" y="2000"/>
                  <a:pt x="4077" y="2000"/>
                </a:cubicBezTo>
                <a:cubicBezTo>
                  <a:pt x="1579" y="2000"/>
                  <a:pt x="1579" y="2000"/>
                  <a:pt x="1579" y="2000"/>
                </a:cubicBezTo>
                <a:close/>
                <a:moveTo>
                  <a:pt x="4077" y="1109"/>
                </a:moveTo>
                <a:cubicBezTo>
                  <a:pt x="4077" y="1236"/>
                  <a:pt x="4077" y="1236"/>
                  <a:pt x="4077" y="1236"/>
                </a:cubicBezTo>
                <a:cubicBezTo>
                  <a:pt x="1579" y="1236"/>
                  <a:pt x="1579" y="1236"/>
                  <a:pt x="1579" y="1236"/>
                </a:cubicBezTo>
                <a:cubicBezTo>
                  <a:pt x="1579" y="1109"/>
                  <a:pt x="1579" y="1109"/>
                  <a:pt x="1579" y="1109"/>
                </a:cubicBezTo>
                <a:close/>
                <a:moveTo>
                  <a:pt x="720" y="473"/>
                </a:moveTo>
                <a:cubicBezTo>
                  <a:pt x="1070" y="171"/>
                  <a:pt x="1070" y="171"/>
                  <a:pt x="1070" y="171"/>
                </a:cubicBezTo>
                <a:cubicBezTo>
                  <a:pt x="1420" y="473"/>
                  <a:pt x="1420" y="473"/>
                  <a:pt x="1420" y="473"/>
                </a:cubicBezTo>
                <a:cubicBezTo>
                  <a:pt x="1420" y="759"/>
                  <a:pt x="1420" y="759"/>
                  <a:pt x="1420" y="759"/>
                </a:cubicBezTo>
                <a:cubicBezTo>
                  <a:pt x="720" y="759"/>
                  <a:pt x="720" y="759"/>
                  <a:pt x="720" y="759"/>
                </a:cubicBezTo>
                <a:close/>
                <a:moveTo>
                  <a:pt x="720" y="2764"/>
                </a:moveTo>
                <a:cubicBezTo>
                  <a:pt x="720" y="918"/>
                  <a:pt x="720" y="918"/>
                  <a:pt x="720" y="918"/>
                </a:cubicBezTo>
                <a:cubicBezTo>
                  <a:pt x="1420" y="918"/>
                  <a:pt x="1420" y="918"/>
                  <a:pt x="1420" y="918"/>
                </a:cubicBezTo>
                <a:cubicBezTo>
                  <a:pt x="1420" y="2446"/>
                  <a:pt x="1420" y="2446"/>
                  <a:pt x="1420" y="2446"/>
                </a:cubicBezTo>
                <a:cubicBezTo>
                  <a:pt x="1372" y="2462"/>
                  <a:pt x="1356" y="2509"/>
                  <a:pt x="1372" y="2541"/>
                </a:cubicBezTo>
                <a:cubicBezTo>
                  <a:pt x="1388" y="2557"/>
                  <a:pt x="1404" y="2573"/>
                  <a:pt x="1420" y="2573"/>
                </a:cubicBezTo>
                <a:cubicBezTo>
                  <a:pt x="1420" y="2764"/>
                  <a:pt x="1420" y="2764"/>
                  <a:pt x="1420" y="2764"/>
                </a:cubicBezTo>
                <a:close/>
                <a:moveTo>
                  <a:pt x="1579" y="2382"/>
                </a:moveTo>
                <a:cubicBezTo>
                  <a:pt x="1579" y="2159"/>
                  <a:pt x="1579" y="2159"/>
                  <a:pt x="1579" y="2159"/>
                </a:cubicBezTo>
                <a:cubicBezTo>
                  <a:pt x="4077" y="2159"/>
                  <a:pt x="4077" y="2159"/>
                  <a:pt x="4077" y="2159"/>
                </a:cubicBezTo>
                <a:cubicBezTo>
                  <a:pt x="4077" y="2414"/>
                  <a:pt x="4077" y="2414"/>
                  <a:pt x="4077" y="2414"/>
                </a:cubicBezTo>
                <a:cubicBezTo>
                  <a:pt x="3472" y="2223"/>
                  <a:pt x="2183" y="2207"/>
                  <a:pt x="1579" y="2382"/>
                </a:cubicBezTo>
                <a:close/>
                <a:moveTo>
                  <a:pt x="4936" y="2764"/>
                </a:moveTo>
                <a:cubicBezTo>
                  <a:pt x="4236" y="2764"/>
                  <a:pt x="4236" y="2764"/>
                  <a:pt x="4236" y="2764"/>
                </a:cubicBezTo>
                <a:cubicBezTo>
                  <a:pt x="4236" y="2589"/>
                  <a:pt x="4236" y="2589"/>
                  <a:pt x="4236" y="2589"/>
                </a:cubicBezTo>
                <a:cubicBezTo>
                  <a:pt x="4252" y="2589"/>
                  <a:pt x="4252" y="2573"/>
                  <a:pt x="4268" y="2557"/>
                </a:cubicBezTo>
                <a:cubicBezTo>
                  <a:pt x="4284" y="2525"/>
                  <a:pt x="4268" y="2493"/>
                  <a:pt x="4236" y="2462"/>
                </a:cubicBezTo>
                <a:cubicBezTo>
                  <a:pt x="4236" y="918"/>
                  <a:pt x="4236" y="918"/>
                  <a:pt x="4236" y="918"/>
                </a:cubicBezTo>
                <a:cubicBezTo>
                  <a:pt x="4936" y="918"/>
                  <a:pt x="4936" y="918"/>
                  <a:pt x="4936" y="91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1" name="Freeform: Shape 6">
            <a:extLst>
              <a:ext uri="{FF2B5EF4-FFF2-40B4-BE49-F238E27FC236}">
                <a16:creationId xmlns:a16="http://schemas.microsoft.com/office/drawing/2014/main" id="{9DDF1E70-B8F5-8549-9E7F-EEEE827929CB}"/>
              </a:ext>
            </a:extLst>
          </p:cNvPr>
          <p:cNvSpPr/>
          <p:nvPr/>
        </p:nvSpPr>
        <p:spPr>
          <a:xfrm>
            <a:off x="5926657" y="6714474"/>
            <a:ext cx="1559880" cy="1631880"/>
          </a:xfrm>
          <a:custGeom>
            <a:avLst/>
            <a:gdLst/>
            <a:ahLst/>
            <a:cxnLst>
              <a:cxn ang="3cd4">
                <a:pos x="hc" y="t"/>
              </a:cxn>
              <a:cxn ang="cd2">
                <a:pos x="l" y="vc"/>
              </a:cxn>
              <a:cxn ang="cd4">
                <a:pos x="hc" y="b"/>
              </a:cxn>
              <a:cxn ang="0">
                <a:pos x="r" y="vc"/>
              </a:cxn>
            </a:cxnLst>
            <a:rect l="l" t="t" r="r" b="b"/>
            <a:pathLst>
              <a:path w="4334" h="4534">
                <a:moveTo>
                  <a:pt x="11" y="48"/>
                </a:moveTo>
                <a:cubicBezTo>
                  <a:pt x="-5" y="80"/>
                  <a:pt x="-5" y="112"/>
                  <a:pt x="27" y="127"/>
                </a:cubicBezTo>
                <a:cubicBezTo>
                  <a:pt x="775" y="1146"/>
                  <a:pt x="775" y="1146"/>
                  <a:pt x="775" y="1146"/>
                </a:cubicBezTo>
                <a:cubicBezTo>
                  <a:pt x="775" y="1527"/>
                  <a:pt x="775" y="1527"/>
                  <a:pt x="775" y="1527"/>
                </a:cubicBezTo>
                <a:cubicBezTo>
                  <a:pt x="377" y="1527"/>
                  <a:pt x="377" y="1527"/>
                  <a:pt x="377" y="1527"/>
                </a:cubicBezTo>
                <a:cubicBezTo>
                  <a:pt x="329" y="1527"/>
                  <a:pt x="298" y="1560"/>
                  <a:pt x="298" y="1607"/>
                </a:cubicBezTo>
                <a:cubicBezTo>
                  <a:pt x="298" y="2243"/>
                  <a:pt x="298" y="2243"/>
                  <a:pt x="298" y="2243"/>
                </a:cubicBezTo>
                <a:cubicBezTo>
                  <a:pt x="298" y="2275"/>
                  <a:pt x="329" y="2323"/>
                  <a:pt x="377" y="2323"/>
                </a:cubicBezTo>
                <a:cubicBezTo>
                  <a:pt x="775" y="2323"/>
                  <a:pt x="775" y="2323"/>
                  <a:pt x="775" y="2323"/>
                </a:cubicBezTo>
                <a:cubicBezTo>
                  <a:pt x="775" y="4455"/>
                  <a:pt x="775" y="4455"/>
                  <a:pt x="775" y="4455"/>
                </a:cubicBezTo>
                <a:cubicBezTo>
                  <a:pt x="775" y="4503"/>
                  <a:pt x="807" y="4534"/>
                  <a:pt x="854" y="4534"/>
                </a:cubicBezTo>
                <a:cubicBezTo>
                  <a:pt x="1491" y="4534"/>
                  <a:pt x="1491" y="4534"/>
                  <a:pt x="1491" y="4534"/>
                </a:cubicBezTo>
                <a:cubicBezTo>
                  <a:pt x="1539" y="4534"/>
                  <a:pt x="1571" y="4503"/>
                  <a:pt x="1571" y="4455"/>
                </a:cubicBezTo>
                <a:cubicBezTo>
                  <a:pt x="1571" y="2323"/>
                  <a:pt x="1571" y="2323"/>
                  <a:pt x="1571" y="2323"/>
                </a:cubicBezTo>
                <a:cubicBezTo>
                  <a:pt x="2843" y="2323"/>
                  <a:pt x="2843" y="2323"/>
                  <a:pt x="2843" y="2323"/>
                </a:cubicBezTo>
                <a:cubicBezTo>
                  <a:pt x="2843" y="4455"/>
                  <a:pt x="2843" y="4455"/>
                  <a:pt x="2843" y="4455"/>
                </a:cubicBezTo>
                <a:cubicBezTo>
                  <a:pt x="2843" y="4503"/>
                  <a:pt x="2875" y="4534"/>
                  <a:pt x="2922" y="4534"/>
                </a:cubicBezTo>
                <a:cubicBezTo>
                  <a:pt x="3558" y="4534"/>
                  <a:pt x="3558" y="4534"/>
                  <a:pt x="3558" y="4534"/>
                </a:cubicBezTo>
                <a:cubicBezTo>
                  <a:pt x="3590" y="4534"/>
                  <a:pt x="3638" y="4503"/>
                  <a:pt x="3638" y="4455"/>
                </a:cubicBezTo>
                <a:cubicBezTo>
                  <a:pt x="3638" y="2323"/>
                  <a:pt x="3638" y="2323"/>
                  <a:pt x="3638" y="2323"/>
                </a:cubicBezTo>
                <a:cubicBezTo>
                  <a:pt x="4035" y="2323"/>
                  <a:pt x="4035" y="2323"/>
                  <a:pt x="4035" y="2323"/>
                </a:cubicBezTo>
                <a:cubicBezTo>
                  <a:pt x="4067" y="2323"/>
                  <a:pt x="4115" y="2275"/>
                  <a:pt x="4115" y="2243"/>
                </a:cubicBezTo>
                <a:cubicBezTo>
                  <a:pt x="4115" y="1607"/>
                  <a:pt x="4115" y="1607"/>
                  <a:pt x="4115" y="1607"/>
                </a:cubicBezTo>
                <a:cubicBezTo>
                  <a:pt x="4115" y="1560"/>
                  <a:pt x="4067" y="1527"/>
                  <a:pt x="4035" y="1527"/>
                </a:cubicBezTo>
                <a:cubicBezTo>
                  <a:pt x="3638" y="1527"/>
                  <a:pt x="3638" y="1527"/>
                  <a:pt x="3638" y="1527"/>
                </a:cubicBezTo>
                <a:cubicBezTo>
                  <a:pt x="3638" y="1146"/>
                  <a:pt x="3638" y="1146"/>
                  <a:pt x="3638" y="1146"/>
                </a:cubicBezTo>
                <a:cubicBezTo>
                  <a:pt x="4322" y="127"/>
                  <a:pt x="4322" y="127"/>
                  <a:pt x="4322" y="127"/>
                </a:cubicBezTo>
                <a:cubicBezTo>
                  <a:pt x="4338" y="112"/>
                  <a:pt x="4338" y="64"/>
                  <a:pt x="4322" y="48"/>
                </a:cubicBezTo>
                <a:cubicBezTo>
                  <a:pt x="4306" y="16"/>
                  <a:pt x="4274" y="0"/>
                  <a:pt x="4243" y="0"/>
                </a:cubicBezTo>
                <a:cubicBezTo>
                  <a:pt x="4226" y="16"/>
                  <a:pt x="2859" y="159"/>
                  <a:pt x="2175" y="159"/>
                </a:cubicBezTo>
                <a:cubicBezTo>
                  <a:pt x="1491" y="159"/>
                  <a:pt x="107" y="16"/>
                  <a:pt x="91" y="0"/>
                </a:cubicBezTo>
                <a:cubicBezTo>
                  <a:pt x="59" y="0"/>
                  <a:pt x="27" y="16"/>
                  <a:pt x="11" y="48"/>
                </a:cubicBezTo>
                <a:close/>
                <a:moveTo>
                  <a:pt x="3161" y="1527"/>
                </a:moveTo>
                <a:cubicBezTo>
                  <a:pt x="2843" y="1527"/>
                  <a:pt x="2843" y="1527"/>
                  <a:pt x="2843" y="1527"/>
                </a:cubicBezTo>
                <a:cubicBezTo>
                  <a:pt x="2843" y="1209"/>
                  <a:pt x="2843" y="1209"/>
                  <a:pt x="2843" y="1209"/>
                </a:cubicBezTo>
                <a:cubicBezTo>
                  <a:pt x="3161" y="1209"/>
                  <a:pt x="3161" y="1209"/>
                  <a:pt x="3161" y="1209"/>
                </a:cubicBezTo>
                <a:close/>
                <a:moveTo>
                  <a:pt x="2684" y="1527"/>
                </a:moveTo>
                <a:cubicBezTo>
                  <a:pt x="2525" y="1527"/>
                  <a:pt x="2525" y="1527"/>
                  <a:pt x="2525" y="1527"/>
                </a:cubicBezTo>
                <a:cubicBezTo>
                  <a:pt x="2525" y="1209"/>
                  <a:pt x="2525" y="1209"/>
                  <a:pt x="2525" y="1209"/>
                </a:cubicBezTo>
                <a:cubicBezTo>
                  <a:pt x="2684" y="1209"/>
                  <a:pt x="2684" y="1209"/>
                  <a:pt x="2684" y="1209"/>
                </a:cubicBezTo>
                <a:close/>
                <a:moveTo>
                  <a:pt x="2366" y="1527"/>
                </a:moveTo>
                <a:cubicBezTo>
                  <a:pt x="2048" y="1527"/>
                  <a:pt x="2048" y="1527"/>
                  <a:pt x="2048" y="1527"/>
                </a:cubicBezTo>
                <a:cubicBezTo>
                  <a:pt x="2048" y="1209"/>
                  <a:pt x="2048" y="1209"/>
                  <a:pt x="2048" y="1209"/>
                </a:cubicBezTo>
                <a:cubicBezTo>
                  <a:pt x="2366" y="1209"/>
                  <a:pt x="2366" y="1209"/>
                  <a:pt x="2366" y="1209"/>
                </a:cubicBezTo>
                <a:close/>
                <a:moveTo>
                  <a:pt x="1889" y="1527"/>
                </a:moveTo>
                <a:cubicBezTo>
                  <a:pt x="1730" y="1527"/>
                  <a:pt x="1730" y="1527"/>
                  <a:pt x="1730" y="1527"/>
                </a:cubicBezTo>
                <a:cubicBezTo>
                  <a:pt x="1730" y="1209"/>
                  <a:pt x="1730" y="1209"/>
                  <a:pt x="1730" y="1209"/>
                </a:cubicBezTo>
                <a:cubicBezTo>
                  <a:pt x="1889" y="1209"/>
                  <a:pt x="1889" y="1209"/>
                  <a:pt x="1889" y="1209"/>
                </a:cubicBezTo>
                <a:close/>
                <a:moveTo>
                  <a:pt x="1571" y="1527"/>
                </a:moveTo>
                <a:cubicBezTo>
                  <a:pt x="1252" y="1527"/>
                  <a:pt x="1252" y="1527"/>
                  <a:pt x="1252" y="1527"/>
                </a:cubicBezTo>
                <a:cubicBezTo>
                  <a:pt x="1252" y="1209"/>
                  <a:pt x="1252" y="1209"/>
                  <a:pt x="1252" y="1209"/>
                </a:cubicBezTo>
                <a:cubicBezTo>
                  <a:pt x="1571" y="1209"/>
                  <a:pt x="1571" y="1209"/>
                  <a:pt x="1571" y="1209"/>
                </a:cubicBezTo>
                <a:close/>
                <a:moveTo>
                  <a:pt x="1093" y="1527"/>
                </a:moveTo>
                <a:cubicBezTo>
                  <a:pt x="934" y="1527"/>
                  <a:pt x="934" y="1527"/>
                  <a:pt x="934" y="1527"/>
                </a:cubicBezTo>
                <a:cubicBezTo>
                  <a:pt x="934" y="1209"/>
                  <a:pt x="934" y="1209"/>
                  <a:pt x="934" y="1209"/>
                </a:cubicBezTo>
                <a:cubicBezTo>
                  <a:pt x="1093" y="1209"/>
                  <a:pt x="1093" y="1209"/>
                  <a:pt x="1093" y="1209"/>
                </a:cubicBezTo>
                <a:close/>
                <a:moveTo>
                  <a:pt x="1411" y="4375"/>
                </a:moveTo>
                <a:cubicBezTo>
                  <a:pt x="934" y="4375"/>
                  <a:pt x="934" y="4375"/>
                  <a:pt x="934" y="4375"/>
                </a:cubicBezTo>
                <a:cubicBezTo>
                  <a:pt x="934" y="2323"/>
                  <a:pt x="934" y="2323"/>
                  <a:pt x="934" y="2323"/>
                </a:cubicBezTo>
                <a:cubicBezTo>
                  <a:pt x="1411" y="2323"/>
                  <a:pt x="1411" y="2323"/>
                  <a:pt x="1411" y="2323"/>
                </a:cubicBezTo>
                <a:close/>
                <a:moveTo>
                  <a:pt x="3479" y="4375"/>
                </a:moveTo>
                <a:cubicBezTo>
                  <a:pt x="3001" y="4375"/>
                  <a:pt x="3001" y="4375"/>
                  <a:pt x="3001" y="4375"/>
                </a:cubicBezTo>
                <a:cubicBezTo>
                  <a:pt x="3001" y="2323"/>
                  <a:pt x="3001" y="2323"/>
                  <a:pt x="3001" y="2323"/>
                </a:cubicBezTo>
                <a:cubicBezTo>
                  <a:pt x="3479" y="2323"/>
                  <a:pt x="3479" y="2323"/>
                  <a:pt x="3479" y="2323"/>
                </a:cubicBezTo>
                <a:close/>
                <a:moveTo>
                  <a:pt x="3956" y="2164"/>
                </a:moveTo>
                <a:cubicBezTo>
                  <a:pt x="3558" y="2164"/>
                  <a:pt x="3558" y="2164"/>
                  <a:pt x="3558" y="2164"/>
                </a:cubicBezTo>
                <a:cubicBezTo>
                  <a:pt x="2922" y="2164"/>
                  <a:pt x="2922" y="2164"/>
                  <a:pt x="2922" y="2164"/>
                </a:cubicBezTo>
                <a:cubicBezTo>
                  <a:pt x="1491" y="2164"/>
                  <a:pt x="1491" y="2164"/>
                  <a:pt x="1491" y="2164"/>
                </a:cubicBezTo>
                <a:cubicBezTo>
                  <a:pt x="854" y="2164"/>
                  <a:pt x="854" y="2164"/>
                  <a:pt x="854" y="2164"/>
                </a:cubicBezTo>
                <a:cubicBezTo>
                  <a:pt x="457" y="2164"/>
                  <a:pt x="457" y="2164"/>
                  <a:pt x="457" y="2164"/>
                </a:cubicBezTo>
                <a:cubicBezTo>
                  <a:pt x="457" y="1687"/>
                  <a:pt x="457" y="1687"/>
                  <a:pt x="457" y="1687"/>
                </a:cubicBezTo>
                <a:cubicBezTo>
                  <a:pt x="854" y="1687"/>
                  <a:pt x="854" y="1687"/>
                  <a:pt x="854" y="1687"/>
                </a:cubicBezTo>
                <a:cubicBezTo>
                  <a:pt x="3558" y="1687"/>
                  <a:pt x="3558" y="1687"/>
                  <a:pt x="3558" y="1687"/>
                </a:cubicBezTo>
                <a:cubicBezTo>
                  <a:pt x="3956" y="1687"/>
                  <a:pt x="3956" y="1687"/>
                  <a:pt x="3956" y="1687"/>
                </a:cubicBezTo>
                <a:close/>
                <a:moveTo>
                  <a:pt x="3320" y="1527"/>
                </a:moveTo>
                <a:cubicBezTo>
                  <a:pt x="3320" y="1209"/>
                  <a:pt x="3320" y="1209"/>
                  <a:pt x="3320" y="1209"/>
                </a:cubicBezTo>
                <a:cubicBezTo>
                  <a:pt x="3479" y="1209"/>
                  <a:pt x="3479" y="1209"/>
                  <a:pt x="3479" y="1209"/>
                </a:cubicBezTo>
                <a:cubicBezTo>
                  <a:pt x="3479" y="1527"/>
                  <a:pt x="3479" y="1527"/>
                  <a:pt x="3479" y="1527"/>
                </a:cubicBezTo>
                <a:close/>
                <a:moveTo>
                  <a:pt x="2175" y="318"/>
                </a:moveTo>
                <a:cubicBezTo>
                  <a:pt x="2716" y="318"/>
                  <a:pt x="3701" y="223"/>
                  <a:pt x="4083" y="175"/>
                </a:cubicBezTo>
                <a:cubicBezTo>
                  <a:pt x="3510" y="1050"/>
                  <a:pt x="3510" y="1050"/>
                  <a:pt x="3510" y="1050"/>
                </a:cubicBezTo>
                <a:cubicBezTo>
                  <a:pt x="886" y="1050"/>
                  <a:pt x="886" y="1050"/>
                  <a:pt x="886" y="1050"/>
                </a:cubicBezTo>
                <a:cubicBezTo>
                  <a:pt x="250" y="175"/>
                  <a:pt x="250" y="175"/>
                  <a:pt x="250" y="175"/>
                </a:cubicBezTo>
                <a:cubicBezTo>
                  <a:pt x="663" y="223"/>
                  <a:pt x="1634" y="318"/>
                  <a:pt x="2175" y="31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2" name="Freeform: Shape 7">
            <a:extLst>
              <a:ext uri="{FF2B5EF4-FFF2-40B4-BE49-F238E27FC236}">
                <a16:creationId xmlns:a16="http://schemas.microsoft.com/office/drawing/2014/main" id="{D0F51D5C-65F1-4E47-BEAE-8EEEEB260D73}"/>
              </a:ext>
            </a:extLst>
          </p:cNvPr>
          <p:cNvSpPr/>
          <p:nvPr/>
        </p:nvSpPr>
        <p:spPr>
          <a:xfrm>
            <a:off x="1708010" y="7127812"/>
            <a:ext cx="1654919" cy="1202400"/>
          </a:xfrm>
          <a:custGeom>
            <a:avLst/>
            <a:gdLst/>
            <a:ahLst/>
            <a:cxnLst>
              <a:cxn ang="3cd4">
                <a:pos x="hc" y="t"/>
              </a:cxn>
              <a:cxn ang="cd2">
                <a:pos x="l" y="vc"/>
              </a:cxn>
              <a:cxn ang="cd4">
                <a:pos x="hc" y="b"/>
              </a:cxn>
              <a:cxn ang="0">
                <a:pos x="r" y="vc"/>
              </a:cxn>
            </a:cxnLst>
            <a:rect l="l" t="t" r="r" b="b"/>
            <a:pathLst>
              <a:path w="4598" h="3341">
                <a:moveTo>
                  <a:pt x="4519" y="3341"/>
                </a:moveTo>
                <a:cubicBezTo>
                  <a:pt x="4567" y="3341"/>
                  <a:pt x="4598" y="3293"/>
                  <a:pt x="4598" y="3261"/>
                </a:cubicBezTo>
                <a:lnTo>
                  <a:pt x="4598" y="2625"/>
                </a:lnTo>
                <a:cubicBezTo>
                  <a:pt x="4598" y="2577"/>
                  <a:pt x="4567" y="2546"/>
                  <a:pt x="4519" y="2546"/>
                </a:cubicBezTo>
                <a:lnTo>
                  <a:pt x="4280" y="2546"/>
                </a:lnTo>
                <a:lnTo>
                  <a:pt x="4280" y="1989"/>
                </a:lnTo>
                <a:cubicBezTo>
                  <a:pt x="4280" y="1941"/>
                  <a:pt x="4249" y="1909"/>
                  <a:pt x="4201" y="1909"/>
                </a:cubicBezTo>
                <a:lnTo>
                  <a:pt x="3803" y="1909"/>
                </a:lnTo>
                <a:lnTo>
                  <a:pt x="3803" y="1352"/>
                </a:lnTo>
                <a:cubicBezTo>
                  <a:pt x="3803" y="1304"/>
                  <a:pt x="3771" y="1273"/>
                  <a:pt x="3724" y="1273"/>
                </a:cubicBezTo>
                <a:lnTo>
                  <a:pt x="3501" y="1273"/>
                </a:lnTo>
                <a:lnTo>
                  <a:pt x="3501" y="716"/>
                </a:lnTo>
                <a:cubicBezTo>
                  <a:pt x="3501" y="668"/>
                  <a:pt x="3453" y="636"/>
                  <a:pt x="3421" y="636"/>
                </a:cubicBezTo>
                <a:lnTo>
                  <a:pt x="3024" y="636"/>
                </a:lnTo>
                <a:lnTo>
                  <a:pt x="3024" y="159"/>
                </a:lnTo>
                <a:lnTo>
                  <a:pt x="3342" y="159"/>
                </a:lnTo>
                <a:cubicBezTo>
                  <a:pt x="3373" y="159"/>
                  <a:pt x="3421" y="127"/>
                  <a:pt x="3421" y="79"/>
                </a:cubicBezTo>
                <a:cubicBezTo>
                  <a:pt x="3421" y="32"/>
                  <a:pt x="3373" y="0"/>
                  <a:pt x="3342" y="0"/>
                </a:cubicBezTo>
                <a:lnTo>
                  <a:pt x="2944" y="0"/>
                </a:lnTo>
                <a:lnTo>
                  <a:pt x="1671" y="0"/>
                </a:lnTo>
                <a:lnTo>
                  <a:pt x="1273" y="0"/>
                </a:lnTo>
                <a:cubicBezTo>
                  <a:pt x="1225" y="0"/>
                  <a:pt x="1194" y="32"/>
                  <a:pt x="1194" y="79"/>
                </a:cubicBezTo>
                <a:cubicBezTo>
                  <a:pt x="1194" y="127"/>
                  <a:pt x="1225" y="159"/>
                  <a:pt x="1273" y="159"/>
                </a:cubicBezTo>
                <a:lnTo>
                  <a:pt x="1591" y="159"/>
                </a:lnTo>
                <a:lnTo>
                  <a:pt x="1591" y="636"/>
                </a:lnTo>
                <a:lnTo>
                  <a:pt x="1194" y="636"/>
                </a:lnTo>
                <a:cubicBezTo>
                  <a:pt x="1146" y="636"/>
                  <a:pt x="1114" y="668"/>
                  <a:pt x="1114" y="716"/>
                </a:cubicBezTo>
                <a:lnTo>
                  <a:pt x="1114" y="1273"/>
                </a:lnTo>
                <a:lnTo>
                  <a:pt x="876" y="1273"/>
                </a:lnTo>
                <a:cubicBezTo>
                  <a:pt x="828" y="1273"/>
                  <a:pt x="796" y="1304"/>
                  <a:pt x="796" y="1352"/>
                </a:cubicBezTo>
                <a:lnTo>
                  <a:pt x="796" y="1909"/>
                </a:lnTo>
                <a:lnTo>
                  <a:pt x="398" y="1909"/>
                </a:lnTo>
                <a:cubicBezTo>
                  <a:pt x="351" y="1909"/>
                  <a:pt x="319" y="1941"/>
                  <a:pt x="319" y="1989"/>
                </a:cubicBezTo>
                <a:lnTo>
                  <a:pt x="319" y="2546"/>
                </a:lnTo>
                <a:lnTo>
                  <a:pt x="80" y="2546"/>
                </a:lnTo>
                <a:cubicBezTo>
                  <a:pt x="33" y="2546"/>
                  <a:pt x="0" y="2577"/>
                  <a:pt x="0" y="2625"/>
                </a:cubicBezTo>
                <a:lnTo>
                  <a:pt x="0" y="3261"/>
                </a:lnTo>
                <a:cubicBezTo>
                  <a:pt x="0" y="3293"/>
                  <a:pt x="33" y="3341"/>
                  <a:pt x="80" y="3341"/>
                </a:cubicBezTo>
                <a:close/>
                <a:moveTo>
                  <a:pt x="1910" y="795"/>
                </a:moveTo>
                <a:lnTo>
                  <a:pt x="1989" y="795"/>
                </a:lnTo>
                <a:lnTo>
                  <a:pt x="2626" y="795"/>
                </a:lnTo>
                <a:lnTo>
                  <a:pt x="2705" y="795"/>
                </a:lnTo>
                <a:lnTo>
                  <a:pt x="2705" y="3182"/>
                </a:lnTo>
                <a:lnTo>
                  <a:pt x="1910" y="3182"/>
                </a:lnTo>
                <a:close/>
                <a:moveTo>
                  <a:pt x="2546" y="636"/>
                </a:moveTo>
                <a:lnTo>
                  <a:pt x="2069" y="636"/>
                </a:lnTo>
                <a:lnTo>
                  <a:pt x="2069" y="477"/>
                </a:lnTo>
                <a:lnTo>
                  <a:pt x="2546" y="477"/>
                </a:lnTo>
                <a:close/>
                <a:moveTo>
                  <a:pt x="4439" y="3182"/>
                </a:moveTo>
                <a:lnTo>
                  <a:pt x="2864" y="3182"/>
                </a:lnTo>
                <a:lnTo>
                  <a:pt x="2864" y="2704"/>
                </a:lnTo>
                <a:lnTo>
                  <a:pt x="4201" y="2704"/>
                </a:lnTo>
                <a:lnTo>
                  <a:pt x="4439" y="2704"/>
                </a:lnTo>
                <a:close/>
                <a:moveTo>
                  <a:pt x="4121" y="2546"/>
                </a:moveTo>
                <a:lnTo>
                  <a:pt x="2864" y="2546"/>
                </a:lnTo>
                <a:lnTo>
                  <a:pt x="2864" y="2068"/>
                </a:lnTo>
                <a:lnTo>
                  <a:pt x="3724" y="2068"/>
                </a:lnTo>
                <a:lnTo>
                  <a:pt x="4121" y="2068"/>
                </a:lnTo>
                <a:close/>
                <a:moveTo>
                  <a:pt x="3660" y="1909"/>
                </a:moveTo>
                <a:lnTo>
                  <a:pt x="2864" y="1909"/>
                </a:lnTo>
                <a:lnTo>
                  <a:pt x="2864" y="1432"/>
                </a:lnTo>
                <a:lnTo>
                  <a:pt x="3421" y="1432"/>
                </a:lnTo>
                <a:lnTo>
                  <a:pt x="3660" y="1432"/>
                </a:lnTo>
                <a:close/>
                <a:moveTo>
                  <a:pt x="3342" y="1273"/>
                </a:moveTo>
                <a:lnTo>
                  <a:pt x="2864" y="1273"/>
                </a:lnTo>
                <a:lnTo>
                  <a:pt x="2864" y="795"/>
                </a:lnTo>
                <a:lnTo>
                  <a:pt x="2944" y="795"/>
                </a:lnTo>
                <a:lnTo>
                  <a:pt x="3342" y="795"/>
                </a:lnTo>
                <a:close/>
                <a:moveTo>
                  <a:pt x="1751" y="159"/>
                </a:moveTo>
                <a:lnTo>
                  <a:pt x="2864" y="159"/>
                </a:lnTo>
                <a:lnTo>
                  <a:pt x="2864" y="636"/>
                </a:lnTo>
                <a:lnTo>
                  <a:pt x="2705" y="636"/>
                </a:lnTo>
                <a:lnTo>
                  <a:pt x="2705" y="398"/>
                </a:lnTo>
                <a:cubicBezTo>
                  <a:pt x="2705" y="350"/>
                  <a:pt x="2658" y="318"/>
                  <a:pt x="2626" y="318"/>
                </a:cubicBezTo>
                <a:lnTo>
                  <a:pt x="1989" y="318"/>
                </a:lnTo>
                <a:cubicBezTo>
                  <a:pt x="1942" y="318"/>
                  <a:pt x="1910" y="350"/>
                  <a:pt x="1910" y="398"/>
                </a:cubicBezTo>
                <a:lnTo>
                  <a:pt x="1910" y="636"/>
                </a:lnTo>
                <a:lnTo>
                  <a:pt x="1751" y="636"/>
                </a:lnTo>
                <a:close/>
                <a:moveTo>
                  <a:pt x="1273" y="795"/>
                </a:moveTo>
                <a:lnTo>
                  <a:pt x="1671" y="795"/>
                </a:lnTo>
                <a:lnTo>
                  <a:pt x="1751" y="795"/>
                </a:lnTo>
                <a:lnTo>
                  <a:pt x="1751" y="1273"/>
                </a:lnTo>
                <a:lnTo>
                  <a:pt x="1273" y="1273"/>
                </a:lnTo>
                <a:close/>
                <a:moveTo>
                  <a:pt x="955" y="1432"/>
                </a:moveTo>
                <a:lnTo>
                  <a:pt x="1194" y="1432"/>
                </a:lnTo>
                <a:lnTo>
                  <a:pt x="1751" y="1432"/>
                </a:lnTo>
                <a:lnTo>
                  <a:pt x="1751" y="1909"/>
                </a:lnTo>
                <a:lnTo>
                  <a:pt x="955" y="1909"/>
                </a:lnTo>
                <a:close/>
                <a:moveTo>
                  <a:pt x="478" y="2068"/>
                </a:moveTo>
                <a:lnTo>
                  <a:pt x="876" y="2068"/>
                </a:lnTo>
                <a:lnTo>
                  <a:pt x="1751" y="2068"/>
                </a:lnTo>
                <a:lnTo>
                  <a:pt x="1751" y="2546"/>
                </a:lnTo>
                <a:lnTo>
                  <a:pt x="478" y="2546"/>
                </a:lnTo>
                <a:close/>
                <a:moveTo>
                  <a:pt x="160" y="2704"/>
                </a:moveTo>
                <a:lnTo>
                  <a:pt x="398" y="2704"/>
                </a:lnTo>
                <a:lnTo>
                  <a:pt x="1751" y="2704"/>
                </a:lnTo>
                <a:lnTo>
                  <a:pt x="1751" y="3182"/>
                </a:lnTo>
                <a:lnTo>
                  <a:pt x="160" y="3182"/>
                </a:lnTo>
                <a:close/>
                <a:moveTo>
                  <a:pt x="2069" y="2386"/>
                </a:moveTo>
                <a:lnTo>
                  <a:pt x="2546" y="2386"/>
                </a:lnTo>
                <a:cubicBezTo>
                  <a:pt x="2578" y="2386"/>
                  <a:pt x="2626" y="2355"/>
                  <a:pt x="2626" y="2307"/>
                </a:cubicBezTo>
                <a:cubicBezTo>
                  <a:pt x="2626" y="2259"/>
                  <a:pt x="2578" y="2227"/>
                  <a:pt x="2546" y="2227"/>
                </a:cubicBezTo>
                <a:lnTo>
                  <a:pt x="2069" y="2227"/>
                </a:lnTo>
                <a:cubicBezTo>
                  <a:pt x="2021" y="2227"/>
                  <a:pt x="1989" y="2259"/>
                  <a:pt x="1989" y="2307"/>
                </a:cubicBezTo>
                <a:cubicBezTo>
                  <a:pt x="1989" y="2355"/>
                  <a:pt x="2021" y="2386"/>
                  <a:pt x="2069" y="2386"/>
                </a:cubicBezTo>
                <a:close/>
                <a:moveTo>
                  <a:pt x="2069" y="3023"/>
                </a:moveTo>
                <a:lnTo>
                  <a:pt x="2546" y="3023"/>
                </a:lnTo>
                <a:cubicBezTo>
                  <a:pt x="2578" y="3023"/>
                  <a:pt x="2626" y="2975"/>
                  <a:pt x="2626" y="2943"/>
                </a:cubicBezTo>
                <a:cubicBezTo>
                  <a:pt x="2626" y="2895"/>
                  <a:pt x="2578" y="2864"/>
                  <a:pt x="2546" y="2864"/>
                </a:cubicBezTo>
                <a:lnTo>
                  <a:pt x="2069" y="2864"/>
                </a:lnTo>
                <a:cubicBezTo>
                  <a:pt x="2021" y="2864"/>
                  <a:pt x="1989" y="2895"/>
                  <a:pt x="1989" y="2943"/>
                </a:cubicBezTo>
                <a:cubicBezTo>
                  <a:pt x="1989" y="2975"/>
                  <a:pt x="2021" y="3023"/>
                  <a:pt x="2069" y="3023"/>
                </a:cubicBezTo>
                <a:close/>
                <a:moveTo>
                  <a:pt x="2069" y="2704"/>
                </a:moveTo>
                <a:lnTo>
                  <a:pt x="2546" y="2704"/>
                </a:lnTo>
                <a:cubicBezTo>
                  <a:pt x="2578" y="2704"/>
                  <a:pt x="2626" y="2673"/>
                  <a:pt x="2626" y="2625"/>
                </a:cubicBezTo>
                <a:cubicBezTo>
                  <a:pt x="2626" y="2577"/>
                  <a:pt x="2578" y="2546"/>
                  <a:pt x="2546" y="2546"/>
                </a:cubicBezTo>
                <a:lnTo>
                  <a:pt x="2069" y="2546"/>
                </a:lnTo>
                <a:cubicBezTo>
                  <a:pt x="2021" y="2546"/>
                  <a:pt x="1989" y="2577"/>
                  <a:pt x="1989" y="2625"/>
                </a:cubicBezTo>
                <a:cubicBezTo>
                  <a:pt x="1989" y="2673"/>
                  <a:pt x="2021" y="2704"/>
                  <a:pt x="2069" y="2704"/>
                </a:cubicBezTo>
                <a:close/>
                <a:moveTo>
                  <a:pt x="2069" y="2068"/>
                </a:moveTo>
                <a:lnTo>
                  <a:pt x="2546" y="2068"/>
                </a:lnTo>
                <a:cubicBezTo>
                  <a:pt x="2578" y="2068"/>
                  <a:pt x="2626" y="2036"/>
                  <a:pt x="2626" y="1989"/>
                </a:cubicBezTo>
                <a:cubicBezTo>
                  <a:pt x="2626" y="1941"/>
                  <a:pt x="2578" y="1909"/>
                  <a:pt x="2546" y="1909"/>
                </a:cubicBezTo>
                <a:lnTo>
                  <a:pt x="2069" y="1909"/>
                </a:lnTo>
                <a:cubicBezTo>
                  <a:pt x="2021" y="1909"/>
                  <a:pt x="1989" y="1941"/>
                  <a:pt x="1989" y="1989"/>
                </a:cubicBezTo>
                <a:cubicBezTo>
                  <a:pt x="1989" y="2036"/>
                  <a:pt x="2021" y="2068"/>
                  <a:pt x="2069" y="2068"/>
                </a:cubicBezTo>
                <a:close/>
                <a:moveTo>
                  <a:pt x="2069" y="1750"/>
                </a:moveTo>
                <a:lnTo>
                  <a:pt x="2546" y="1750"/>
                </a:lnTo>
                <a:cubicBezTo>
                  <a:pt x="2578" y="1750"/>
                  <a:pt x="2626" y="1718"/>
                  <a:pt x="2626" y="1670"/>
                </a:cubicBezTo>
                <a:cubicBezTo>
                  <a:pt x="2626" y="1623"/>
                  <a:pt x="2578" y="1591"/>
                  <a:pt x="2546" y="1591"/>
                </a:cubicBezTo>
                <a:lnTo>
                  <a:pt x="2069" y="1591"/>
                </a:lnTo>
                <a:cubicBezTo>
                  <a:pt x="2021" y="1591"/>
                  <a:pt x="1989" y="1623"/>
                  <a:pt x="1989" y="1670"/>
                </a:cubicBezTo>
                <a:cubicBezTo>
                  <a:pt x="1989" y="1718"/>
                  <a:pt x="2021" y="1750"/>
                  <a:pt x="2069" y="1750"/>
                </a:cubicBezTo>
                <a:close/>
                <a:moveTo>
                  <a:pt x="2069" y="1432"/>
                </a:moveTo>
                <a:lnTo>
                  <a:pt x="2546" y="1432"/>
                </a:lnTo>
                <a:cubicBezTo>
                  <a:pt x="2578" y="1432"/>
                  <a:pt x="2626" y="1400"/>
                  <a:pt x="2626" y="1352"/>
                </a:cubicBezTo>
                <a:cubicBezTo>
                  <a:pt x="2626" y="1304"/>
                  <a:pt x="2578" y="1273"/>
                  <a:pt x="2546" y="1273"/>
                </a:cubicBezTo>
                <a:lnTo>
                  <a:pt x="2069" y="1273"/>
                </a:lnTo>
                <a:cubicBezTo>
                  <a:pt x="2021" y="1273"/>
                  <a:pt x="1989" y="1304"/>
                  <a:pt x="1989" y="1352"/>
                </a:cubicBezTo>
                <a:cubicBezTo>
                  <a:pt x="1989" y="1400"/>
                  <a:pt x="2021" y="1432"/>
                  <a:pt x="2069" y="1432"/>
                </a:cubicBezTo>
                <a:close/>
                <a:moveTo>
                  <a:pt x="2069" y="1113"/>
                </a:moveTo>
                <a:lnTo>
                  <a:pt x="2546" y="1113"/>
                </a:lnTo>
                <a:cubicBezTo>
                  <a:pt x="2578" y="1113"/>
                  <a:pt x="2626" y="1082"/>
                  <a:pt x="2626" y="1034"/>
                </a:cubicBezTo>
                <a:cubicBezTo>
                  <a:pt x="2626" y="986"/>
                  <a:pt x="2578" y="955"/>
                  <a:pt x="2546" y="955"/>
                </a:cubicBezTo>
                <a:lnTo>
                  <a:pt x="2069" y="955"/>
                </a:lnTo>
                <a:cubicBezTo>
                  <a:pt x="2021" y="955"/>
                  <a:pt x="1989" y="986"/>
                  <a:pt x="1989" y="1034"/>
                </a:cubicBezTo>
                <a:cubicBezTo>
                  <a:pt x="1989" y="1082"/>
                  <a:pt x="2021" y="1113"/>
                  <a:pt x="2069" y="111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TextBox 92">
            <a:extLst>
              <a:ext uri="{FF2B5EF4-FFF2-40B4-BE49-F238E27FC236}">
                <a16:creationId xmlns:a16="http://schemas.microsoft.com/office/drawing/2014/main" id="{4F39F682-1172-F04A-92C4-9B2A8F56B6A3}"/>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Opera House</a:t>
            </a:r>
          </a:p>
        </p:txBody>
      </p:sp>
      <p:sp>
        <p:nvSpPr>
          <p:cNvPr id="94" name="TextBox 93">
            <a:extLst>
              <a:ext uri="{FF2B5EF4-FFF2-40B4-BE49-F238E27FC236}">
                <a16:creationId xmlns:a16="http://schemas.microsoft.com/office/drawing/2014/main" id="{BFA79CED-8830-5647-B40F-18D069A926AB}"/>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pace Needle</a:t>
            </a:r>
          </a:p>
        </p:txBody>
      </p:sp>
      <p:sp>
        <p:nvSpPr>
          <p:cNvPr id="95" name="TextBox 94">
            <a:extLst>
              <a:ext uri="{FF2B5EF4-FFF2-40B4-BE49-F238E27FC236}">
                <a16:creationId xmlns:a16="http://schemas.microsoft.com/office/drawing/2014/main" id="{22AD73D0-D895-ED4E-84CB-F1B911F10A5B}"/>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iffel</a:t>
            </a:r>
          </a:p>
        </p:txBody>
      </p:sp>
      <p:sp>
        <p:nvSpPr>
          <p:cNvPr id="96" name="TextBox 95">
            <a:extLst>
              <a:ext uri="{FF2B5EF4-FFF2-40B4-BE49-F238E27FC236}">
                <a16:creationId xmlns:a16="http://schemas.microsoft.com/office/drawing/2014/main" id="{08C797FB-73F0-DF4A-B507-5F1773D13CB0}"/>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ig Ben</a:t>
            </a:r>
          </a:p>
        </p:txBody>
      </p:sp>
      <p:sp>
        <p:nvSpPr>
          <p:cNvPr id="97" name="TextBox 96">
            <a:extLst>
              <a:ext uri="{FF2B5EF4-FFF2-40B4-BE49-F238E27FC236}">
                <a16:creationId xmlns:a16="http://schemas.microsoft.com/office/drawing/2014/main" id="{A1732A84-B3C5-5745-8D87-946B190BFC78}"/>
              </a:ext>
            </a:extLst>
          </p:cNvPr>
          <p:cNvSpPr txBox="1"/>
          <p:nvPr/>
        </p:nvSpPr>
        <p:spPr>
          <a:xfrm>
            <a:off x="20182842" y="5164929"/>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eaning Tower</a:t>
            </a:r>
          </a:p>
        </p:txBody>
      </p:sp>
      <p:sp>
        <p:nvSpPr>
          <p:cNvPr id="98" name="TextBox 97">
            <a:extLst>
              <a:ext uri="{FF2B5EF4-FFF2-40B4-BE49-F238E27FC236}">
                <a16:creationId xmlns:a16="http://schemas.microsoft.com/office/drawing/2014/main" id="{2B8C2C7B-95CB-6942-B928-59B3F033D313}"/>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hite House</a:t>
            </a:r>
          </a:p>
        </p:txBody>
      </p:sp>
      <p:sp>
        <p:nvSpPr>
          <p:cNvPr id="102" name="Freeform: Shape 2">
            <a:extLst>
              <a:ext uri="{FF2B5EF4-FFF2-40B4-BE49-F238E27FC236}">
                <a16:creationId xmlns:a16="http://schemas.microsoft.com/office/drawing/2014/main" id="{FBCA05CD-3C5D-4E4F-9EF7-19381A3FF3CC}"/>
              </a:ext>
            </a:extLst>
          </p:cNvPr>
          <p:cNvSpPr/>
          <p:nvPr/>
        </p:nvSpPr>
        <p:spPr>
          <a:xfrm>
            <a:off x="14573140" y="9608518"/>
            <a:ext cx="514800" cy="1717920"/>
          </a:xfrm>
          <a:custGeom>
            <a:avLst/>
            <a:gdLst/>
            <a:ahLst/>
            <a:cxnLst>
              <a:cxn ang="3cd4">
                <a:pos x="hc" y="t"/>
              </a:cxn>
              <a:cxn ang="cd2">
                <a:pos x="l" y="vc"/>
              </a:cxn>
              <a:cxn ang="cd4">
                <a:pos x="hc" y="b"/>
              </a:cxn>
              <a:cxn ang="0">
                <a:pos x="r" y="vc"/>
              </a:cxn>
            </a:cxnLst>
            <a:rect l="l" t="t" r="r" b="b"/>
            <a:pathLst>
              <a:path w="1431" h="4773">
                <a:moveTo>
                  <a:pt x="1272" y="1353"/>
                </a:moveTo>
                <a:lnTo>
                  <a:pt x="1272" y="1034"/>
                </a:lnTo>
                <a:cubicBezTo>
                  <a:pt x="1272" y="986"/>
                  <a:pt x="1224" y="954"/>
                  <a:pt x="1193" y="954"/>
                </a:cubicBezTo>
                <a:lnTo>
                  <a:pt x="1113" y="954"/>
                </a:lnTo>
                <a:lnTo>
                  <a:pt x="1113" y="684"/>
                </a:lnTo>
                <a:cubicBezTo>
                  <a:pt x="1113" y="668"/>
                  <a:pt x="1113" y="653"/>
                  <a:pt x="1097" y="636"/>
                </a:cubicBezTo>
                <a:lnTo>
                  <a:pt x="779" y="48"/>
                </a:lnTo>
                <a:cubicBezTo>
                  <a:pt x="763" y="16"/>
                  <a:pt x="747" y="0"/>
                  <a:pt x="715" y="0"/>
                </a:cubicBezTo>
                <a:cubicBezTo>
                  <a:pt x="684" y="0"/>
                  <a:pt x="652" y="16"/>
                  <a:pt x="636" y="48"/>
                </a:cubicBezTo>
                <a:lnTo>
                  <a:pt x="318" y="636"/>
                </a:lnTo>
                <a:lnTo>
                  <a:pt x="318" y="684"/>
                </a:lnTo>
                <a:lnTo>
                  <a:pt x="318" y="954"/>
                </a:lnTo>
                <a:lnTo>
                  <a:pt x="238" y="954"/>
                </a:lnTo>
                <a:cubicBezTo>
                  <a:pt x="190" y="954"/>
                  <a:pt x="158" y="986"/>
                  <a:pt x="158" y="1034"/>
                </a:cubicBezTo>
                <a:lnTo>
                  <a:pt x="158" y="1353"/>
                </a:lnTo>
                <a:lnTo>
                  <a:pt x="15" y="1559"/>
                </a:lnTo>
                <a:cubicBezTo>
                  <a:pt x="0" y="1559"/>
                  <a:pt x="0" y="1575"/>
                  <a:pt x="0" y="1591"/>
                </a:cubicBezTo>
                <a:lnTo>
                  <a:pt x="0" y="2562"/>
                </a:lnTo>
                <a:cubicBezTo>
                  <a:pt x="0" y="2577"/>
                  <a:pt x="0" y="2593"/>
                  <a:pt x="15" y="2609"/>
                </a:cubicBezTo>
                <a:lnTo>
                  <a:pt x="158" y="2784"/>
                </a:lnTo>
                <a:lnTo>
                  <a:pt x="158" y="4693"/>
                </a:lnTo>
                <a:cubicBezTo>
                  <a:pt x="158" y="4725"/>
                  <a:pt x="190" y="4773"/>
                  <a:pt x="238" y="4773"/>
                </a:cubicBezTo>
                <a:lnTo>
                  <a:pt x="1193" y="4773"/>
                </a:lnTo>
                <a:cubicBezTo>
                  <a:pt x="1224" y="4773"/>
                  <a:pt x="1272" y="4725"/>
                  <a:pt x="1272" y="4693"/>
                </a:cubicBezTo>
                <a:lnTo>
                  <a:pt x="1272" y="2768"/>
                </a:lnTo>
                <a:lnTo>
                  <a:pt x="1415" y="2593"/>
                </a:lnTo>
                <a:cubicBezTo>
                  <a:pt x="1415" y="2577"/>
                  <a:pt x="1431" y="2562"/>
                  <a:pt x="1431" y="2545"/>
                </a:cubicBezTo>
                <a:lnTo>
                  <a:pt x="1431" y="1559"/>
                </a:lnTo>
                <a:cubicBezTo>
                  <a:pt x="1431" y="1543"/>
                  <a:pt x="1415" y="1527"/>
                  <a:pt x="1400" y="1511"/>
                </a:cubicBezTo>
                <a:close/>
                <a:moveTo>
                  <a:pt x="477" y="700"/>
                </a:moveTo>
                <a:lnTo>
                  <a:pt x="715" y="254"/>
                </a:lnTo>
                <a:lnTo>
                  <a:pt x="954" y="700"/>
                </a:lnTo>
                <a:lnTo>
                  <a:pt x="954" y="954"/>
                </a:lnTo>
                <a:lnTo>
                  <a:pt x="477" y="954"/>
                </a:lnTo>
                <a:close/>
                <a:moveTo>
                  <a:pt x="1113" y="2864"/>
                </a:moveTo>
                <a:lnTo>
                  <a:pt x="1113" y="3341"/>
                </a:lnTo>
                <a:lnTo>
                  <a:pt x="318" y="3341"/>
                </a:lnTo>
                <a:lnTo>
                  <a:pt x="318" y="2864"/>
                </a:lnTo>
                <a:close/>
                <a:moveTo>
                  <a:pt x="318" y="3500"/>
                </a:moveTo>
                <a:lnTo>
                  <a:pt x="1113" y="3500"/>
                </a:lnTo>
                <a:lnTo>
                  <a:pt x="1113" y="3978"/>
                </a:lnTo>
                <a:lnTo>
                  <a:pt x="318" y="3978"/>
                </a:lnTo>
                <a:close/>
                <a:moveTo>
                  <a:pt x="1113" y="4614"/>
                </a:moveTo>
                <a:lnTo>
                  <a:pt x="318" y="4614"/>
                </a:lnTo>
                <a:lnTo>
                  <a:pt x="318" y="4136"/>
                </a:lnTo>
                <a:lnTo>
                  <a:pt x="1113" y="4136"/>
                </a:lnTo>
                <a:close/>
                <a:moveTo>
                  <a:pt x="1272" y="2514"/>
                </a:moveTo>
                <a:lnTo>
                  <a:pt x="1129" y="2705"/>
                </a:lnTo>
                <a:lnTo>
                  <a:pt x="1113" y="2705"/>
                </a:lnTo>
                <a:lnTo>
                  <a:pt x="318" y="2705"/>
                </a:lnTo>
                <a:lnTo>
                  <a:pt x="286" y="2705"/>
                </a:lnTo>
                <a:lnTo>
                  <a:pt x="158" y="2530"/>
                </a:lnTo>
                <a:lnTo>
                  <a:pt x="158" y="1623"/>
                </a:lnTo>
                <a:lnTo>
                  <a:pt x="302" y="1416"/>
                </a:lnTo>
                <a:cubicBezTo>
                  <a:pt x="318" y="1400"/>
                  <a:pt x="318" y="1384"/>
                  <a:pt x="318" y="1368"/>
                </a:cubicBezTo>
                <a:lnTo>
                  <a:pt x="318" y="1114"/>
                </a:lnTo>
                <a:lnTo>
                  <a:pt x="397" y="1114"/>
                </a:lnTo>
                <a:lnTo>
                  <a:pt x="1034" y="1114"/>
                </a:lnTo>
                <a:lnTo>
                  <a:pt x="1113" y="1114"/>
                </a:lnTo>
                <a:lnTo>
                  <a:pt x="1113" y="1384"/>
                </a:lnTo>
                <a:cubicBezTo>
                  <a:pt x="1113" y="1416"/>
                  <a:pt x="1113" y="1432"/>
                  <a:pt x="1129" y="1448"/>
                </a:cubicBezTo>
                <a:lnTo>
                  <a:pt x="1272" y="1591"/>
                </a:lnTo>
                <a:close/>
                <a:moveTo>
                  <a:pt x="684" y="1607"/>
                </a:moveTo>
                <a:cubicBezTo>
                  <a:pt x="477" y="1607"/>
                  <a:pt x="318" y="1766"/>
                  <a:pt x="318" y="1973"/>
                </a:cubicBezTo>
                <a:cubicBezTo>
                  <a:pt x="318" y="2180"/>
                  <a:pt x="477" y="2355"/>
                  <a:pt x="684" y="2355"/>
                </a:cubicBezTo>
                <a:cubicBezTo>
                  <a:pt x="891" y="2355"/>
                  <a:pt x="1066" y="2180"/>
                  <a:pt x="1066" y="1973"/>
                </a:cubicBezTo>
                <a:cubicBezTo>
                  <a:pt x="1066" y="1766"/>
                  <a:pt x="891" y="1607"/>
                  <a:pt x="684" y="1607"/>
                </a:cubicBezTo>
                <a:close/>
                <a:moveTo>
                  <a:pt x="684" y="2196"/>
                </a:moveTo>
                <a:cubicBezTo>
                  <a:pt x="572" y="2196"/>
                  <a:pt x="477" y="2100"/>
                  <a:pt x="477" y="1973"/>
                </a:cubicBezTo>
                <a:cubicBezTo>
                  <a:pt x="477" y="1862"/>
                  <a:pt x="572" y="1766"/>
                  <a:pt x="684" y="1766"/>
                </a:cubicBezTo>
                <a:cubicBezTo>
                  <a:pt x="811" y="1766"/>
                  <a:pt x="906" y="1862"/>
                  <a:pt x="906" y="1973"/>
                </a:cubicBezTo>
                <a:cubicBezTo>
                  <a:pt x="906" y="2100"/>
                  <a:pt x="811" y="2196"/>
                  <a:pt x="684" y="219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3" name="Freeform: Shape 3">
            <a:extLst>
              <a:ext uri="{FF2B5EF4-FFF2-40B4-BE49-F238E27FC236}">
                <a16:creationId xmlns:a16="http://schemas.microsoft.com/office/drawing/2014/main" id="{D0485E30-53BF-6341-9BA7-1066EB4D331B}"/>
              </a:ext>
            </a:extLst>
          </p:cNvPr>
          <p:cNvSpPr/>
          <p:nvPr/>
        </p:nvSpPr>
        <p:spPr>
          <a:xfrm>
            <a:off x="10287926" y="9634979"/>
            <a:ext cx="1035359" cy="1641960"/>
          </a:xfrm>
          <a:custGeom>
            <a:avLst/>
            <a:gdLst/>
            <a:ahLst/>
            <a:cxnLst>
              <a:cxn ang="3cd4">
                <a:pos x="hc" y="t"/>
              </a:cxn>
              <a:cxn ang="cd2">
                <a:pos x="l" y="vc"/>
              </a:cxn>
              <a:cxn ang="cd4">
                <a:pos x="hc" y="b"/>
              </a:cxn>
              <a:cxn ang="0">
                <a:pos x="r" y="vc"/>
              </a:cxn>
            </a:cxnLst>
            <a:rect l="l" t="t" r="r" b="b"/>
            <a:pathLst>
              <a:path w="2877" h="4562">
                <a:moveTo>
                  <a:pt x="2139" y="3305"/>
                </a:moveTo>
                <a:cubicBezTo>
                  <a:pt x="2521" y="3305"/>
                  <a:pt x="2521" y="3305"/>
                  <a:pt x="2521" y="3305"/>
                </a:cubicBezTo>
                <a:cubicBezTo>
                  <a:pt x="2568" y="3305"/>
                  <a:pt x="2600" y="3257"/>
                  <a:pt x="2600" y="3225"/>
                </a:cubicBezTo>
                <a:cubicBezTo>
                  <a:pt x="2600" y="2907"/>
                  <a:pt x="2600" y="2907"/>
                  <a:pt x="2600" y="2907"/>
                </a:cubicBezTo>
                <a:cubicBezTo>
                  <a:pt x="2600" y="2859"/>
                  <a:pt x="2568" y="2827"/>
                  <a:pt x="2521" y="2827"/>
                </a:cubicBezTo>
                <a:cubicBezTo>
                  <a:pt x="1964" y="2827"/>
                  <a:pt x="1964" y="2827"/>
                  <a:pt x="1964" y="2827"/>
                </a:cubicBezTo>
                <a:cubicBezTo>
                  <a:pt x="1900" y="2621"/>
                  <a:pt x="1853" y="2414"/>
                  <a:pt x="1805" y="2191"/>
                </a:cubicBezTo>
                <a:cubicBezTo>
                  <a:pt x="1853" y="2175"/>
                  <a:pt x="1884" y="2144"/>
                  <a:pt x="1884" y="2111"/>
                </a:cubicBezTo>
                <a:cubicBezTo>
                  <a:pt x="1884" y="2064"/>
                  <a:pt x="1853" y="2032"/>
                  <a:pt x="1805" y="2032"/>
                </a:cubicBezTo>
                <a:cubicBezTo>
                  <a:pt x="1789" y="2032"/>
                  <a:pt x="1789" y="2032"/>
                  <a:pt x="1789" y="2032"/>
                </a:cubicBezTo>
                <a:cubicBezTo>
                  <a:pt x="1725" y="1634"/>
                  <a:pt x="1677" y="1205"/>
                  <a:pt x="1677" y="759"/>
                </a:cubicBezTo>
                <a:cubicBezTo>
                  <a:pt x="1725" y="759"/>
                  <a:pt x="1725" y="759"/>
                  <a:pt x="1725" y="759"/>
                </a:cubicBezTo>
                <a:cubicBezTo>
                  <a:pt x="1773" y="759"/>
                  <a:pt x="1805" y="727"/>
                  <a:pt x="1805" y="680"/>
                </a:cubicBezTo>
                <a:cubicBezTo>
                  <a:pt x="1805" y="282"/>
                  <a:pt x="1805" y="282"/>
                  <a:pt x="1805" y="282"/>
                </a:cubicBezTo>
                <a:cubicBezTo>
                  <a:pt x="1805" y="250"/>
                  <a:pt x="1789" y="234"/>
                  <a:pt x="1773" y="218"/>
                </a:cubicBezTo>
                <a:cubicBezTo>
                  <a:pt x="1455" y="11"/>
                  <a:pt x="1455" y="11"/>
                  <a:pt x="1455" y="11"/>
                </a:cubicBezTo>
                <a:cubicBezTo>
                  <a:pt x="1423" y="-4"/>
                  <a:pt x="1391" y="-4"/>
                  <a:pt x="1359" y="11"/>
                </a:cubicBezTo>
                <a:cubicBezTo>
                  <a:pt x="1041" y="218"/>
                  <a:pt x="1041" y="218"/>
                  <a:pt x="1041" y="218"/>
                </a:cubicBezTo>
                <a:cubicBezTo>
                  <a:pt x="1025" y="234"/>
                  <a:pt x="1009" y="250"/>
                  <a:pt x="1009" y="282"/>
                </a:cubicBezTo>
                <a:cubicBezTo>
                  <a:pt x="1009" y="680"/>
                  <a:pt x="1009" y="680"/>
                  <a:pt x="1009" y="680"/>
                </a:cubicBezTo>
                <a:cubicBezTo>
                  <a:pt x="1009" y="727"/>
                  <a:pt x="1041" y="759"/>
                  <a:pt x="1089" y="759"/>
                </a:cubicBezTo>
                <a:cubicBezTo>
                  <a:pt x="1200" y="759"/>
                  <a:pt x="1200" y="759"/>
                  <a:pt x="1200" y="759"/>
                </a:cubicBezTo>
                <a:cubicBezTo>
                  <a:pt x="1200" y="1205"/>
                  <a:pt x="1168" y="1634"/>
                  <a:pt x="1089" y="2032"/>
                </a:cubicBezTo>
                <a:cubicBezTo>
                  <a:pt x="1009" y="2032"/>
                  <a:pt x="1009" y="2032"/>
                  <a:pt x="1009" y="2032"/>
                </a:cubicBezTo>
                <a:cubicBezTo>
                  <a:pt x="962" y="2032"/>
                  <a:pt x="930" y="2064"/>
                  <a:pt x="930" y="2111"/>
                </a:cubicBezTo>
                <a:cubicBezTo>
                  <a:pt x="930" y="2144"/>
                  <a:pt x="962" y="2191"/>
                  <a:pt x="1009" y="2191"/>
                </a:cubicBezTo>
                <a:cubicBezTo>
                  <a:pt x="1073" y="2191"/>
                  <a:pt x="1073" y="2191"/>
                  <a:pt x="1073" y="2191"/>
                </a:cubicBezTo>
                <a:cubicBezTo>
                  <a:pt x="1025" y="2414"/>
                  <a:pt x="977" y="2621"/>
                  <a:pt x="914" y="2827"/>
                </a:cubicBezTo>
                <a:cubicBezTo>
                  <a:pt x="293" y="2827"/>
                  <a:pt x="293" y="2827"/>
                  <a:pt x="293" y="2827"/>
                </a:cubicBezTo>
                <a:cubicBezTo>
                  <a:pt x="246" y="2827"/>
                  <a:pt x="214" y="2859"/>
                  <a:pt x="214" y="2907"/>
                </a:cubicBezTo>
                <a:cubicBezTo>
                  <a:pt x="214" y="3225"/>
                  <a:pt x="214" y="3225"/>
                  <a:pt x="214" y="3225"/>
                </a:cubicBezTo>
                <a:cubicBezTo>
                  <a:pt x="214" y="3257"/>
                  <a:pt x="246" y="3305"/>
                  <a:pt x="293" y="3305"/>
                </a:cubicBezTo>
                <a:cubicBezTo>
                  <a:pt x="739" y="3305"/>
                  <a:pt x="739" y="3305"/>
                  <a:pt x="739" y="3305"/>
                </a:cubicBezTo>
                <a:cubicBezTo>
                  <a:pt x="564" y="3766"/>
                  <a:pt x="309" y="4148"/>
                  <a:pt x="23" y="4435"/>
                </a:cubicBezTo>
                <a:cubicBezTo>
                  <a:pt x="7" y="4450"/>
                  <a:pt x="-9" y="4482"/>
                  <a:pt x="7" y="4514"/>
                </a:cubicBezTo>
                <a:cubicBezTo>
                  <a:pt x="23" y="4546"/>
                  <a:pt x="55" y="4562"/>
                  <a:pt x="86" y="4562"/>
                </a:cubicBezTo>
                <a:cubicBezTo>
                  <a:pt x="771" y="4562"/>
                  <a:pt x="771" y="4562"/>
                  <a:pt x="771" y="4562"/>
                </a:cubicBezTo>
                <a:cubicBezTo>
                  <a:pt x="819" y="4562"/>
                  <a:pt x="850" y="4530"/>
                  <a:pt x="850" y="4482"/>
                </a:cubicBezTo>
                <a:cubicBezTo>
                  <a:pt x="850" y="4244"/>
                  <a:pt x="850" y="4244"/>
                  <a:pt x="850" y="4244"/>
                </a:cubicBezTo>
                <a:cubicBezTo>
                  <a:pt x="850" y="3909"/>
                  <a:pt x="1137" y="3623"/>
                  <a:pt x="1487" y="3623"/>
                </a:cubicBezTo>
                <a:cubicBezTo>
                  <a:pt x="1837" y="3623"/>
                  <a:pt x="2123" y="3909"/>
                  <a:pt x="2123" y="4244"/>
                </a:cubicBezTo>
                <a:cubicBezTo>
                  <a:pt x="2123" y="4482"/>
                  <a:pt x="2123" y="4482"/>
                  <a:pt x="2123" y="4482"/>
                </a:cubicBezTo>
                <a:cubicBezTo>
                  <a:pt x="2123" y="4530"/>
                  <a:pt x="2155" y="4562"/>
                  <a:pt x="2202" y="4562"/>
                </a:cubicBezTo>
                <a:cubicBezTo>
                  <a:pt x="2791" y="4562"/>
                  <a:pt x="2791" y="4562"/>
                  <a:pt x="2791" y="4562"/>
                </a:cubicBezTo>
                <a:cubicBezTo>
                  <a:pt x="2823" y="4562"/>
                  <a:pt x="2855" y="4546"/>
                  <a:pt x="2871" y="4514"/>
                </a:cubicBezTo>
                <a:cubicBezTo>
                  <a:pt x="2887" y="4482"/>
                  <a:pt x="2871" y="4450"/>
                  <a:pt x="2855" y="4435"/>
                </a:cubicBezTo>
                <a:cubicBezTo>
                  <a:pt x="2568" y="4148"/>
                  <a:pt x="2330" y="3766"/>
                  <a:pt x="2139" y="3305"/>
                </a:cubicBezTo>
                <a:close/>
                <a:moveTo>
                  <a:pt x="2441" y="2987"/>
                </a:moveTo>
                <a:cubicBezTo>
                  <a:pt x="2441" y="3145"/>
                  <a:pt x="2441" y="3145"/>
                  <a:pt x="2441" y="3145"/>
                </a:cubicBezTo>
                <a:cubicBezTo>
                  <a:pt x="2075" y="3145"/>
                  <a:pt x="2075" y="3145"/>
                  <a:pt x="2075" y="3145"/>
                </a:cubicBezTo>
                <a:cubicBezTo>
                  <a:pt x="2059" y="3082"/>
                  <a:pt x="2028" y="3034"/>
                  <a:pt x="2011" y="2987"/>
                </a:cubicBezTo>
                <a:close/>
                <a:moveTo>
                  <a:pt x="1900" y="3145"/>
                </a:moveTo>
                <a:cubicBezTo>
                  <a:pt x="977" y="3145"/>
                  <a:pt x="977" y="3145"/>
                  <a:pt x="977" y="3145"/>
                </a:cubicBezTo>
                <a:cubicBezTo>
                  <a:pt x="993" y="3082"/>
                  <a:pt x="1009" y="3034"/>
                  <a:pt x="1025" y="2987"/>
                </a:cubicBezTo>
                <a:cubicBezTo>
                  <a:pt x="1853" y="2987"/>
                  <a:pt x="1853" y="2987"/>
                  <a:pt x="1853" y="2987"/>
                </a:cubicBezTo>
                <a:cubicBezTo>
                  <a:pt x="1868" y="3034"/>
                  <a:pt x="1884" y="3082"/>
                  <a:pt x="1900" y="3145"/>
                </a:cubicBezTo>
                <a:close/>
                <a:moveTo>
                  <a:pt x="1168" y="330"/>
                </a:moveTo>
                <a:cubicBezTo>
                  <a:pt x="1407" y="171"/>
                  <a:pt x="1407" y="171"/>
                  <a:pt x="1407" y="171"/>
                </a:cubicBezTo>
                <a:cubicBezTo>
                  <a:pt x="1646" y="330"/>
                  <a:pt x="1646" y="330"/>
                  <a:pt x="1646" y="330"/>
                </a:cubicBezTo>
                <a:cubicBezTo>
                  <a:pt x="1646" y="600"/>
                  <a:pt x="1646" y="600"/>
                  <a:pt x="1646" y="600"/>
                </a:cubicBezTo>
                <a:cubicBezTo>
                  <a:pt x="1168" y="600"/>
                  <a:pt x="1168" y="600"/>
                  <a:pt x="1168" y="600"/>
                </a:cubicBezTo>
                <a:close/>
                <a:moveTo>
                  <a:pt x="1359" y="759"/>
                </a:moveTo>
                <a:cubicBezTo>
                  <a:pt x="1519" y="759"/>
                  <a:pt x="1519" y="759"/>
                  <a:pt x="1519" y="759"/>
                </a:cubicBezTo>
                <a:cubicBezTo>
                  <a:pt x="1519" y="1205"/>
                  <a:pt x="1566" y="1618"/>
                  <a:pt x="1630" y="2032"/>
                </a:cubicBezTo>
                <a:cubicBezTo>
                  <a:pt x="1248" y="2032"/>
                  <a:pt x="1248" y="2032"/>
                  <a:pt x="1248" y="2032"/>
                </a:cubicBezTo>
                <a:cubicBezTo>
                  <a:pt x="1328" y="1618"/>
                  <a:pt x="1359" y="1205"/>
                  <a:pt x="1359" y="759"/>
                </a:cubicBezTo>
                <a:close/>
                <a:moveTo>
                  <a:pt x="1232" y="2191"/>
                </a:moveTo>
                <a:cubicBezTo>
                  <a:pt x="1646" y="2191"/>
                  <a:pt x="1646" y="2191"/>
                  <a:pt x="1646" y="2191"/>
                </a:cubicBezTo>
                <a:cubicBezTo>
                  <a:pt x="1693" y="2414"/>
                  <a:pt x="1741" y="2621"/>
                  <a:pt x="1805" y="2827"/>
                </a:cubicBezTo>
                <a:cubicBezTo>
                  <a:pt x="1073" y="2827"/>
                  <a:pt x="1073" y="2827"/>
                  <a:pt x="1073" y="2827"/>
                </a:cubicBezTo>
                <a:cubicBezTo>
                  <a:pt x="1137" y="2621"/>
                  <a:pt x="1184" y="2414"/>
                  <a:pt x="1232" y="2191"/>
                </a:cubicBezTo>
                <a:close/>
                <a:moveTo>
                  <a:pt x="373" y="3145"/>
                </a:moveTo>
                <a:cubicBezTo>
                  <a:pt x="373" y="2987"/>
                  <a:pt x="373" y="2987"/>
                  <a:pt x="373" y="2987"/>
                </a:cubicBezTo>
                <a:cubicBezTo>
                  <a:pt x="866" y="2987"/>
                  <a:pt x="866" y="2987"/>
                  <a:pt x="866" y="2987"/>
                </a:cubicBezTo>
                <a:cubicBezTo>
                  <a:pt x="850" y="3034"/>
                  <a:pt x="834" y="3082"/>
                  <a:pt x="802" y="3145"/>
                </a:cubicBezTo>
                <a:close/>
                <a:moveTo>
                  <a:pt x="2282" y="4402"/>
                </a:moveTo>
                <a:cubicBezTo>
                  <a:pt x="2282" y="4244"/>
                  <a:pt x="2282" y="4244"/>
                  <a:pt x="2282" y="4244"/>
                </a:cubicBezTo>
                <a:cubicBezTo>
                  <a:pt x="2282" y="3814"/>
                  <a:pt x="1916" y="3464"/>
                  <a:pt x="1487" y="3464"/>
                </a:cubicBezTo>
                <a:cubicBezTo>
                  <a:pt x="1041" y="3464"/>
                  <a:pt x="691" y="3814"/>
                  <a:pt x="691" y="4244"/>
                </a:cubicBezTo>
                <a:cubicBezTo>
                  <a:pt x="691" y="4402"/>
                  <a:pt x="691" y="4402"/>
                  <a:pt x="691" y="4402"/>
                </a:cubicBezTo>
                <a:cubicBezTo>
                  <a:pt x="262" y="4402"/>
                  <a:pt x="262" y="4402"/>
                  <a:pt x="262" y="4402"/>
                </a:cubicBezTo>
                <a:cubicBezTo>
                  <a:pt x="532" y="4116"/>
                  <a:pt x="739" y="3735"/>
                  <a:pt x="914" y="3305"/>
                </a:cubicBezTo>
                <a:cubicBezTo>
                  <a:pt x="1964" y="3305"/>
                  <a:pt x="1964" y="3305"/>
                  <a:pt x="1964" y="3305"/>
                </a:cubicBezTo>
                <a:cubicBezTo>
                  <a:pt x="2139" y="3735"/>
                  <a:pt x="2362" y="4116"/>
                  <a:pt x="2616" y="440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4" name="Freeform: Shape 4">
            <a:extLst>
              <a:ext uri="{FF2B5EF4-FFF2-40B4-BE49-F238E27FC236}">
                <a16:creationId xmlns:a16="http://schemas.microsoft.com/office/drawing/2014/main" id="{79019872-115B-2A4F-9E5E-9F18BAA66D65}"/>
              </a:ext>
            </a:extLst>
          </p:cNvPr>
          <p:cNvSpPr/>
          <p:nvPr/>
        </p:nvSpPr>
        <p:spPr>
          <a:xfrm>
            <a:off x="6357266" y="9598438"/>
            <a:ext cx="967680" cy="1672199"/>
          </a:xfrm>
          <a:custGeom>
            <a:avLst/>
            <a:gdLst/>
            <a:ahLst/>
            <a:cxnLst>
              <a:cxn ang="3cd4">
                <a:pos x="hc" y="t"/>
              </a:cxn>
              <a:cxn ang="cd2">
                <a:pos x="l" y="vc"/>
              </a:cxn>
              <a:cxn ang="cd4">
                <a:pos x="hc" y="b"/>
              </a:cxn>
              <a:cxn ang="0">
                <a:pos x="r" y="vc"/>
              </a:cxn>
            </a:cxnLst>
            <a:rect l="l" t="t" r="r" b="b"/>
            <a:pathLst>
              <a:path w="2689" h="4646">
                <a:moveTo>
                  <a:pt x="2609" y="1353"/>
                </a:moveTo>
                <a:cubicBezTo>
                  <a:pt x="2450" y="1353"/>
                  <a:pt x="2450" y="1353"/>
                  <a:pt x="2450" y="1353"/>
                </a:cubicBezTo>
                <a:cubicBezTo>
                  <a:pt x="2450" y="955"/>
                  <a:pt x="2450" y="955"/>
                  <a:pt x="2450" y="955"/>
                </a:cubicBezTo>
                <a:cubicBezTo>
                  <a:pt x="2450" y="908"/>
                  <a:pt x="2418" y="876"/>
                  <a:pt x="2371" y="876"/>
                </a:cubicBezTo>
                <a:cubicBezTo>
                  <a:pt x="1814" y="876"/>
                  <a:pt x="1814" y="876"/>
                  <a:pt x="1814" y="876"/>
                </a:cubicBezTo>
                <a:cubicBezTo>
                  <a:pt x="1814" y="637"/>
                  <a:pt x="1814" y="637"/>
                  <a:pt x="1814" y="637"/>
                </a:cubicBezTo>
                <a:cubicBezTo>
                  <a:pt x="1814" y="590"/>
                  <a:pt x="1782" y="557"/>
                  <a:pt x="1734" y="557"/>
                </a:cubicBezTo>
                <a:cubicBezTo>
                  <a:pt x="1495" y="557"/>
                  <a:pt x="1495" y="557"/>
                  <a:pt x="1495" y="557"/>
                </a:cubicBezTo>
                <a:cubicBezTo>
                  <a:pt x="1495" y="80"/>
                  <a:pt x="1495" y="80"/>
                  <a:pt x="1495" y="80"/>
                </a:cubicBezTo>
                <a:cubicBezTo>
                  <a:pt x="1495" y="33"/>
                  <a:pt x="1464" y="0"/>
                  <a:pt x="1416" y="0"/>
                </a:cubicBezTo>
                <a:cubicBezTo>
                  <a:pt x="1384" y="0"/>
                  <a:pt x="1337" y="33"/>
                  <a:pt x="1337" y="80"/>
                </a:cubicBezTo>
                <a:cubicBezTo>
                  <a:pt x="1337" y="557"/>
                  <a:pt x="1337" y="557"/>
                  <a:pt x="1337" y="557"/>
                </a:cubicBezTo>
                <a:cubicBezTo>
                  <a:pt x="938" y="557"/>
                  <a:pt x="938" y="557"/>
                  <a:pt x="938" y="557"/>
                </a:cubicBezTo>
                <a:cubicBezTo>
                  <a:pt x="907" y="557"/>
                  <a:pt x="859" y="590"/>
                  <a:pt x="859" y="637"/>
                </a:cubicBezTo>
                <a:cubicBezTo>
                  <a:pt x="859" y="876"/>
                  <a:pt x="859" y="876"/>
                  <a:pt x="859" y="876"/>
                </a:cubicBezTo>
                <a:cubicBezTo>
                  <a:pt x="302" y="876"/>
                  <a:pt x="302" y="876"/>
                  <a:pt x="302" y="876"/>
                </a:cubicBezTo>
                <a:cubicBezTo>
                  <a:pt x="270" y="876"/>
                  <a:pt x="223" y="908"/>
                  <a:pt x="223" y="955"/>
                </a:cubicBezTo>
                <a:cubicBezTo>
                  <a:pt x="223" y="1353"/>
                  <a:pt x="223" y="1353"/>
                  <a:pt x="223" y="1353"/>
                </a:cubicBezTo>
                <a:cubicBezTo>
                  <a:pt x="79" y="1353"/>
                  <a:pt x="79" y="1353"/>
                  <a:pt x="79" y="1353"/>
                </a:cubicBezTo>
                <a:cubicBezTo>
                  <a:pt x="32" y="1353"/>
                  <a:pt x="0" y="1385"/>
                  <a:pt x="0" y="1433"/>
                </a:cubicBezTo>
                <a:cubicBezTo>
                  <a:pt x="0" y="1464"/>
                  <a:pt x="32" y="1512"/>
                  <a:pt x="79" y="1512"/>
                </a:cubicBezTo>
                <a:cubicBezTo>
                  <a:pt x="223" y="1512"/>
                  <a:pt x="223" y="1512"/>
                  <a:pt x="223" y="1512"/>
                </a:cubicBezTo>
                <a:cubicBezTo>
                  <a:pt x="223" y="2069"/>
                  <a:pt x="223" y="2069"/>
                  <a:pt x="223" y="2069"/>
                </a:cubicBezTo>
                <a:cubicBezTo>
                  <a:pt x="223" y="2101"/>
                  <a:pt x="270" y="2148"/>
                  <a:pt x="302" y="2148"/>
                </a:cubicBezTo>
                <a:cubicBezTo>
                  <a:pt x="827" y="2148"/>
                  <a:pt x="827" y="2148"/>
                  <a:pt x="827" y="2148"/>
                </a:cubicBezTo>
                <a:cubicBezTo>
                  <a:pt x="827" y="2705"/>
                  <a:pt x="732" y="3946"/>
                  <a:pt x="477" y="4535"/>
                </a:cubicBezTo>
                <a:cubicBezTo>
                  <a:pt x="461" y="4583"/>
                  <a:pt x="493" y="4630"/>
                  <a:pt x="525" y="4646"/>
                </a:cubicBezTo>
                <a:cubicBezTo>
                  <a:pt x="541" y="4646"/>
                  <a:pt x="541" y="4646"/>
                  <a:pt x="557" y="4646"/>
                </a:cubicBezTo>
                <a:cubicBezTo>
                  <a:pt x="589" y="4646"/>
                  <a:pt x="620" y="4630"/>
                  <a:pt x="636" y="4599"/>
                </a:cubicBezTo>
                <a:cubicBezTo>
                  <a:pt x="907" y="3930"/>
                  <a:pt x="986" y="2594"/>
                  <a:pt x="986" y="2148"/>
                </a:cubicBezTo>
                <a:cubicBezTo>
                  <a:pt x="1670" y="2148"/>
                  <a:pt x="1670" y="2148"/>
                  <a:pt x="1670" y="2148"/>
                </a:cubicBezTo>
                <a:cubicBezTo>
                  <a:pt x="1670" y="2594"/>
                  <a:pt x="1750" y="3930"/>
                  <a:pt x="2020" y="4599"/>
                </a:cubicBezTo>
                <a:cubicBezTo>
                  <a:pt x="2037" y="4630"/>
                  <a:pt x="2068" y="4646"/>
                  <a:pt x="2100" y="4646"/>
                </a:cubicBezTo>
                <a:cubicBezTo>
                  <a:pt x="2116" y="4646"/>
                  <a:pt x="2116" y="4646"/>
                  <a:pt x="2132" y="4646"/>
                </a:cubicBezTo>
                <a:cubicBezTo>
                  <a:pt x="2164" y="4630"/>
                  <a:pt x="2195" y="4583"/>
                  <a:pt x="2180" y="4535"/>
                </a:cubicBezTo>
                <a:cubicBezTo>
                  <a:pt x="1925" y="3946"/>
                  <a:pt x="1829" y="2705"/>
                  <a:pt x="1829" y="2148"/>
                </a:cubicBezTo>
                <a:cubicBezTo>
                  <a:pt x="2371" y="2148"/>
                  <a:pt x="2371" y="2148"/>
                  <a:pt x="2371" y="2148"/>
                </a:cubicBezTo>
                <a:cubicBezTo>
                  <a:pt x="2418" y="2148"/>
                  <a:pt x="2450" y="2101"/>
                  <a:pt x="2450" y="2069"/>
                </a:cubicBezTo>
                <a:cubicBezTo>
                  <a:pt x="2450" y="1512"/>
                  <a:pt x="2450" y="1512"/>
                  <a:pt x="2450" y="1512"/>
                </a:cubicBezTo>
                <a:cubicBezTo>
                  <a:pt x="2609" y="1512"/>
                  <a:pt x="2609" y="1512"/>
                  <a:pt x="2609" y="1512"/>
                </a:cubicBezTo>
                <a:cubicBezTo>
                  <a:pt x="2657" y="1512"/>
                  <a:pt x="2689" y="1464"/>
                  <a:pt x="2689" y="1433"/>
                </a:cubicBezTo>
                <a:cubicBezTo>
                  <a:pt x="2689" y="1385"/>
                  <a:pt x="2657" y="1353"/>
                  <a:pt x="2609" y="1353"/>
                </a:cubicBezTo>
                <a:close/>
                <a:moveTo>
                  <a:pt x="1018" y="717"/>
                </a:moveTo>
                <a:cubicBezTo>
                  <a:pt x="1655" y="717"/>
                  <a:pt x="1655" y="717"/>
                  <a:pt x="1655" y="717"/>
                </a:cubicBezTo>
                <a:cubicBezTo>
                  <a:pt x="1655" y="876"/>
                  <a:pt x="1655" y="876"/>
                  <a:pt x="1655" y="876"/>
                </a:cubicBezTo>
                <a:cubicBezTo>
                  <a:pt x="1018" y="876"/>
                  <a:pt x="1018" y="876"/>
                  <a:pt x="1018" y="876"/>
                </a:cubicBezTo>
                <a:close/>
                <a:moveTo>
                  <a:pt x="382" y="1035"/>
                </a:moveTo>
                <a:cubicBezTo>
                  <a:pt x="938" y="1035"/>
                  <a:pt x="938" y="1035"/>
                  <a:pt x="938" y="1035"/>
                </a:cubicBezTo>
                <a:cubicBezTo>
                  <a:pt x="1734" y="1035"/>
                  <a:pt x="1734" y="1035"/>
                  <a:pt x="1734" y="1035"/>
                </a:cubicBezTo>
                <a:cubicBezTo>
                  <a:pt x="2291" y="1035"/>
                  <a:pt x="2291" y="1035"/>
                  <a:pt x="2291" y="1035"/>
                </a:cubicBezTo>
                <a:cubicBezTo>
                  <a:pt x="2291" y="1353"/>
                  <a:pt x="2291" y="1353"/>
                  <a:pt x="2291" y="1353"/>
                </a:cubicBezTo>
                <a:cubicBezTo>
                  <a:pt x="382" y="1353"/>
                  <a:pt x="382" y="1353"/>
                  <a:pt x="382" y="1353"/>
                </a:cubicBezTo>
                <a:close/>
                <a:moveTo>
                  <a:pt x="2291" y="1990"/>
                </a:moveTo>
                <a:cubicBezTo>
                  <a:pt x="382" y="1990"/>
                  <a:pt x="382" y="1990"/>
                  <a:pt x="382" y="1990"/>
                </a:cubicBezTo>
                <a:cubicBezTo>
                  <a:pt x="382" y="1512"/>
                  <a:pt x="382" y="1512"/>
                  <a:pt x="382" y="1512"/>
                </a:cubicBezTo>
                <a:cubicBezTo>
                  <a:pt x="2291" y="1512"/>
                  <a:pt x="2291" y="1512"/>
                  <a:pt x="2291" y="151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5" name="Freeform: Shape 5">
            <a:extLst>
              <a:ext uri="{FF2B5EF4-FFF2-40B4-BE49-F238E27FC236}">
                <a16:creationId xmlns:a16="http://schemas.microsoft.com/office/drawing/2014/main" id="{0BDD7F37-AC2D-8245-8823-F4FFB5068598}"/>
              </a:ext>
            </a:extLst>
          </p:cNvPr>
          <p:cNvSpPr/>
          <p:nvPr/>
        </p:nvSpPr>
        <p:spPr>
          <a:xfrm>
            <a:off x="1894360" y="10455959"/>
            <a:ext cx="1654919" cy="870479"/>
          </a:xfrm>
          <a:custGeom>
            <a:avLst/>
            <a:gdLst/>
            <a:ahLst/>
            <a:cxnLst>
              <a:cxn ang="3cd4">
                <a:pos x="hc" y="t"/>
              </a:cxn>
              <a:cxn ang="cd2">
                <a:pos x="l" y="vc"/>
              </a:cxn>
              <a:cxn ang="cd4">
                <a:pos x="hc" y="b"/>
              </a:cxn>
              <a:cxn ang="0">
                <a:pos x="r" y="vc"/>
              </a:cxn>
            </a:cxnLst>
            <a:rect l="l" t="t" r="r" b="b"/>
            <a:pathLst>
              <a:path w="4598" h="2419">
                <a:moveTo>
                  <a:pt x="4518" y="1782"/>
                </a:moveTo>
                <a:cubicBezTo>
                  <a:pt x="3930" y="1782"/>
                  <a:pt x="3930" y="1782"/>
                  <a:pt x="3930" y="1782"/>
                </a:cubicBezTo>
                <a:cubicBezTo>
                  <a:pt x="4041" y="1544"/>
                  <a:pt x="4295" y="1019"/>
                  <a:pt x="4375" y="907"/>
                </a:cubicBezTo>
                <a:cubicBezTo>
                  <a:pt x="4375" y="891"/>
                  <a:pt x="4375" y="859"/>
                  <a:pt x="4375" y="844"/>
                </a:cubicBezTo>
                <a:cubicBezTo>
                  <a:pt x="4359" y="828"/>
                  <a:pt x="4343" y="796"/>
                  <a:pt x="4327" y="796"/>
                </a:cubicBezTo>
                <a:cubicBezTo>
                  <a:pt x="4041" y="700"/>
                  <a:pt x="3388" y="796"/>
                  <a:pt x="3055" y="1019"/>
                </a:cubicBezTo>
                <a:cubicBezTo>
                  <a:pt x="2530" y="64"/>
                  <a:pt x="1639" y="0"/>
                  <a:pt x="1607" y="0"/>
                </a:cubicBezTo>
                <a:cubicBezTo>
                  <a:pt x="1575" y="0"/>
                  <a:pt x="1543" y="0"/>
                  <a:pt x="1527" y="32"/>
                </a:cubicBezTo>
                <a:cubicBezTo>
                  <a:pt x="1511" y="48"/>
                  <a:pt x="1511" y="64"/>
                  <a:pt x="1511" y="96"/>
                </a:cubicBezTo>
                <a:cubicBezTo>
                  <a:pt x="1639" y="668"/>
                  <a:pt x="1639" y="668"/>
                  <a:pt x="1639" y="668"/>
                </a:cubicBezTo>
                <a:cubicBezTo>
                  <a:pt x="1368" y="541"/>
                  <a:pt x="1082" y="494"/>
                  <a:pt x="1066" y="494"/>
                </a:cubicBezTo>
                <a:cubicBezTo>
                  <a:pt x="1050" y="477"/>
                  <a:pt x="1018" y="494"/>
                  <a:pt x="1002" y="510"/>
                </a:cubicBezTo>
                <a:cubicBezTo>
                  <a:pt x="986" y="525"/>
                  <a:pt x="986" y="557"/>
                  <a:pt x="986" y="573"/>
                </a:cubicBezTo>
                <a:cubicBezTo>
                  <a:pt x="1018" y="876"/>
                  <a:pt x="1018" y="876"/>
                  <a:pt x="1018" y="876"/>
                </a:cubicBezTo>
                <a:cubicBezTo>
                  <a:pt x="636" y="748"/>
                  <a:pt x="318" y="828"/>
                  <a:pt x="302" y="844"/>
                </a:cubicBezTo>
                <a:cubicBezTo>
                  <a:pt x="286" y="844"/>
                  <a:pt x="270" y="859"/>
                  <a:pt x="254" y="876"/>
                </a:cubicBezTo>
                <a:cubicBezTo>
                  <a:pt x="254" y="891"/>
                  <a:pt x="254" y="923"/>
                  <a:pt x="254" y="939"/>
                </a:cubicBezTo>
                <a:cubicBezTo>
                  <a:pt x="540" y="1782"/>
                  <a:pt x="540" y="1782"/>
                  <a:pt x="540" y="1782"/>
                </a:cubicBezTo>
                <a:cubicBezTo>
                  <a:pt x="79" y="1782"/>
                  <a:pt x="79" y="1782"/>
                  <a:pt x="79" y="1782"/>
                </a:cubicBezTo>
                <a:cubicBezTo>
                  <a:pt x="31" y="1782"/>
                  <a:pt x="0" y="1814"/>
                  <a:pt x="0" y="1862"/>
                </a:cubicBezTo>
                <a:cubicBezTo>
                  <a:pt x="0" y="2339"/>
                  <a:pt x="0" y="2339"/>
                  <a:pt x="0" y="2339"/>
                </a:cubicBezTo>
                <a:cubicBezTo>
                  <a:pt x="0" y="2387"/>
                  <a:pt x="31" y="2419"/>
                  <a:pt x="79" y="2419"/>
                </a:cubicBezTo>
                <a:cubicBezTo>
                  <a:pt x="4518" y="2419"/>
                  <a:pt x="4518" y="2419"/>
                  <a:pt x="4518" y="2419"/>
                </a:cubicBezTo>
                <a:cubicBezTo>
                  <a:pt x="4566" y="2419"/>
                  <a:pt x="4598" y="2387"/>
                  <a:pt x="4598" y="2339"/>
                </a:cubicBezTo>
                <a:cubicBezTo>
                  <a:pt x="4598" y="1862"/>
                  <a:pt x="4598" y="1862"/>
                  <a:pt x="4598" y="1862"/>
                </a:cubicBezTo>
                <a:cubicBezTo>
                  <a:pt x="4598" y="1814"/>
                  <a:pt x="4566" y="1782"/>
                  <a:pt x="4518" y="1782"/>
                </a:cubicBezTo>
                <a:close/>
                <a:moveTo>
                  <a:pt x="2959" y="1178"/>
                </a:moveTo>
                <a:cubicBezTo>
                  <a:pt x="2975" y="1210"/>
                  <a:pt x="2991" y="1225"/>
                  <a:pt x="3022" y="1225"/>
                </a:cubicBezTo>
                <a:cubicBezTo>
                  <a:pt x="3039" y="1225"/>
                  <a:pt x="3070" y="1225"/>
                  <a:pt x="3086" y="1210"/>
                </a:cubicBezTo>
                <a:cubicBezTo>
                  <a:pt x="3309" y="1003"/>
                  <a:pt x="3882" y="876"/>
                  <a:pt x="4184" y="923"/>
                </a:cubicBezTo>
                <a:cubicBezTo>
                  <a:pt x="4057" y="1146"/>
                  <a:pt x="3834" y="1639"/>
                  <a:pt x="3755" y="1782"/>
                </a:cubicBezTo>
                <a:cubicBezTo>
                  <a:pt x="2036" y="1782"/>
                  <a:pt x="2036" y="1782"/>
                  <a:pt x="2036" y="1782"/>
                </a:cubicBezTo>
                <a:cubicBezTo>
                  <a:pt x="1702" y="176"/>
                  <a:pt x="1702" y="176"/>
                  <a:pt x="1702" y="176"/>
                </a:cubicBezTo>
                <a:cubicBezTo>
                  <a:pt x="1941" y="223"/>
                  <a:pt x="2577" y="414"/>
                  <a:pt x="2959" y="1178"/>
                </a:cubicBezTo>
                <a:close/>
                <a:moveTo>
                  <a:pt x="1686" y="876"/>
                </a:moveTo>
                <a:cubicBezTo>
                  <a:pt x="1877" y="1782"/>
                  <a:pt x="1877" y="1782"/>
                  <a:pt x="1877" y="1782"/>
                </a:cubicBezTo>
                <a:cubicBezTo>
                  <a:pt x="1304" y="1782"/>
                  <a:pt x="1304" y="1782"/>
                  <a:pt x="1304" y="1782"/>
                </a:cubicBezTo>
                <a:cubicBezTo>
                  <a:pt x="1161" y="668"/>
                  <a:pt x="1161" y="668"/>
                  <a:pt x="1161" y="668"/>
                </a:cubicBezTo>
                <a:cubicBezTo>
                  <a:pt x="1288" y="700"/>
                  <a:pt x="1511" y="764"/>
                  <a:pt x="1686" y="876"/>
                </a:cubicBezTo>
                <a:close/>
                <a:moveTo>
                  <a:pt x="429" y="971"/>
                </a:moveTo>
                <a:cubicBezTo>
                  <a:pt x="557" y="955"/>
                  <a:pt x="779" y="939"/>
                  <a:pt x="1050" y="1050"/>
                </a:cubicBezTo>
                <a:cubicBezTo>
                  <a:pt x="1145" y="1782"/>
                  <a:pt x="1145" y="1782"/>
                  <a:pt x="1145" y="1782"/>
                </a:cubicBezTo>
                <a:cubicBezTo>
                  <a:pt x="700" y="1782"/>
                  <a:pt x="700" y="1782"/>
                  <a:pt x="700" y="1782"/>
                </a:cubicBezTo>
                <a:close/>
                <a:moveTo>
                  <a:pt x="4439" y="2259"/>
                </a:moveTo>
                <a:cubicBezTo>
                  <a:pt x="159" y="2259"/>
                  <a:pt x="159" y="2259"/>
                  <a:pt x="159" y="2259"/>
                </a:cubicBezTo>
                <a:cubicBezTo>
                  <a:pt x="159" y="1941"/>
                  <a:pt x="159" y="1941"/>
                  <a:pt x="159" y="1941"/>
                </a:cubicBezTo>
                <a:cubicBezTo>
                  <a:pt x="4439" y="1941"/>
                  <a:pt x="4439" y="1941"/>
                  <a:pt x="4439" y="194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9" name="Freeform: Shape 8">
            <a:extLst>
              <a:ext uri="{FF2B5EF4-FFF2-40B4-BE49-F238E27FC236}">
                <a16:creationId xmlns:a16="http://schemas.microsoft.com/office/drawing/2014/main" id="{51995E32-7C95-5A42-BCB0-C432152A1625}"/>
              </a:ext>
            </a:extLst>
          </p:cNvPr>
          <p:cNvSpPr/>
          <p:nvPr/>
        </p:nvSpPr>
        <p:spPr>
          <a:xfrm>
            <a:off x="21845158" y="2984711"/>
            <a:ext cx="612360" cy="1695960"/>
          </a:xfrm>
          <a:custGeom>
            <a:avLst/>
            <a:gdLst/>
            <a:ahLst/>
            <a:cxnLst>
              <a:cxn ang="3cd4">
                <a:pos x="hc" y="t"/>
              </a:cxn>
              <a:cxn ang="cd2">
                <a:pos x="l" y="vc"/>
              </a:cxn>
              <a:cxn ang="cd4">
                <a:pos x="hc" y="b"/>
              </a:cxn>
              <a:cxn ang="0">
                <a:pos x="r" y="vc"/>
              </a:cxn>
            </a:cxnLst>
            <a:rect l="l" t="t" r="r" b="b"/>
            <a:pathLst>
              <a:path w="1702" h="4712">
                <a:moveTo>
                  <a:pt x="1639" y="1737"/>
                </a:moveTo>
                <a:cubicBezTo>
                  <a:pt x="1687" y="1355"/>
                  <a:pt x="1687" y="1355"/>
                  <a:pt x="1687" y="1355"/>
                </a:cubicBezTo>
                <a:cubicBezTo>
                  <a:pt x="1687" y="1339"/>
                  <a:pt x="1687" y="1308"/>
                  <a:pt x="1670" y="1292"/>
                </a:cubicBezTo>
                <a:cubicBezTo>
                  <a:pt x="1655" y="1275"/>
                  <a:pt x="1639" y="1275"/>
                  <a:pt x="1607" y="1260"/>
                </a:cubicBezTo>
                <a:cubicBezTo>
                  <a:pt x="1527" y="1260"/>
                  <a:pt x="1527" y="1260"/>
                  <a:pt x="1527" y="1260"/>
                </a:cubicBezTo>
                <a:cubicBezTo>
                  <a:pt x="1607" y="671"/>
                  <a:pt x="1607" y="671"/>
                  <a:pt x="1607" y="671"/>
                </a:cubicBezTo>
                <a:cubicBezTo>
                  <a:pt x="1607" y="623"/>
                  <a:pt x="1575" y="575"/>
                  <a:pt x="1527" y="575"/>
                </a:cubicBezTo>
                <a:cubicBezTo>
                  <a:pt x="1225" y="544"/>
                  <a:pt x="1225" y="544"/>
                  <a:pt x="1225" y="544"/>
                </a:cubicBezTo>
                <a:cubicBezTo>
                  <a:pt x="1273" y="83"/>
                  <a:pt x="1273" y="83"/>
                  <a:pt x="1273" y="83"/>
                </a:cubicBezTo>
                <a:cubicBezTo>
                  <a:pt x="1288" y="51"/>
                  <a:pt x="1257" y="3"/>
                  <a:pt x="1209" y="3"/>
                </a:cubicBezTo>
                <a:cubicBezTo>
                  <a:pt x="1161" y="-13"/>
                  <a:pt x="1130" y="35"/>
                  <a:pt x="1114" y="66"/>
                </a:cubicBezTo>
                <a:cubicBezTo>
                  <a:pt x="1066" y="512"/>
                  <a:pt x="1066" y="512"/>
                  <a:pt x="1066" y="512"/>
                </a:cubicBezTo>
                <a:cubicBezTo>
                  <a:pt x="732" y="480"/>
                  <a:pt x="732" y="480"/>
                  <a:pt x="732" y="480"/>
                </a:cubicBezTo>
                <a:cubicBezTo>
                  <a:pt x="716" y="480"/>
                  <a:pt x="700" y="480"/>
                  <a:pt x="684" y="496"/>
                </a:cubicBezTo>
                <a:cubicBezTo>
                  <a:pt x="668" y="512"/>
                  <a:pt x="652" y="528"/>
                  <a:pt x="652" y="544"/>
                </a:cubicBezTo>
                <a:cubicBezTo>
                  <a:pt x="573" y="1148"/>
                  <a:pt x="573" y="1148"/>
                  <a:pt x="573" y="1148"/>
                </a:cubicBezTo>
                <a:cubicBezTo>
                  <a:pt x="509" y="1132"/>
                  <a:pt x="509" y="1132"/>
                  <a:pt x="509" y="1132"/>
                </a:cubicBezTo>
                <a:cubicBezTo>
                  <a:pt x="461" y="1132"/>
                  <a:pt x="414" y="1165"/>
                  <a:pt x="414" y="1212"/>
                </a:cubicBezTo>
                <a:cubicBezTo>
                  <a:pt x="366" y="1578"/>
                  <a:pt x="366" y="1578"/>
                  <a:pt x="366" y="1578"/>
                </a:cubicBezTo>
                <a:cubicBezTo>
                  <a:pt x="318" y="1578"/>
                  <a:pt x="287" y="1610"/>
                  <a:pt x="270" y="1657"/>
                </a:cubicBezTo>
                <a:cubicBezTo>
                  <a:pt x="270" y="1689"/>
                  <a:pt x="302" y="1737"/>
                  <a:pt x="350" y="1737"/>
                </a:cubicBezTo>
                <a:cubicBezTo>
                  <a:pt x="318" y="2071"/>
                  <a:pt x="318" y="2071"/>
                  <a:pt x="318" y="2071"/>
                </a:cubicBezTo>
                <a:cubicBezTo>
                  <a:pt x="302" y="2071"/>
                  <a:pt x="302" y="2071"/>
                  <a:pt x="302" y="2071"/>
                </a:cubicBezTo>
                <a:cubicBezTo>
                  <a:pt x="254" y="2055"/>
                  <a:pt x="223" y="2103"/>
                  <a:pt x="223" y="2135"/>
                </a:cubicBezTo>
                <a:cubicBezTo>
                  <a:pt x="207" y="2183"/>
                  <a:pt x="239" y="2214"/>
                  <a:pt x="287" y="2230"/>
                </a:cubicBezTo>
                <a:cubicBezTo>
                  <a:pt x="254" y="2565"/>
                  <a:pt x="254" y="2565"/>
                  <a:pt x="254" y="2565"/>
                </a:cubicBezTo>
                <a:cubicBezTo>
                  <a:pt x="239" y="2565"/>
                  <a:pt x="239" y="2565"/>
                  <a:pt x="239" y="2565"/>
                </a:cubicBezTo>
                <a:cubicBezTo>
                  <a:pt x="207" y="2548"/>
                  <a:pt x="159" y="2580"/>
                  <a:pt x="159" y="2628"/>
                </a:cubicBezTo>
                <a:cubicBezTo>
                  <a:pt x="159" y="2676"/>
                  <a:pt x="175" y="2708"/>
                  <a:pt x="223" y="2708"/>
                </a:cubicBezTo>
                <a:cubicBezTo>
                  <a:pt x="239" y="2723"/>
                  <a:pt x="239" y="2723"/>
                  <a:pt x="239" y="2723"/>
                </a:cubicBezTo>
                <a:cubicBezTo>
                  <a:pt x="191" y="3042"/>
                  <a:pt x="191" y="3042"/>
                  <a:pt x="191" y="3042"/>
                </a:cubicBezTo>
                <a:cubicBezTo>
                  <a:pt x="143" y="3042"/>
                  <a:pt x="111" y="3074"/>
                  <a:pt x="96" y="3105"/>
                </a:cubicBezTo>
                <a:cubicBezTo>
                  <a:pt x="96" y="3153"/>
                  <a:pt x="127" y="3201"/>
                  <a:pt x="159" y="3201"/>
                </a:cubicBezTo>
                <a:cubicBezTo>
                  <a:pt x="175" y="3201"/>
                  <a:pt x="175" y="3201"/>
                  <a:pt x="175" y="3201"/>
                </a:cubicBezTo>
                <a:cubicBezTo>
                  <a:pt x="143" y="3535"/>
                  <a:pt x="143" y="3535"/>
                  <a:pt x="143" y="3535"/>
                </a:cubicBezTo>
                <a:cubicBezTo>
                  <a:pt x="127" y="3535"/>
                  <a:pt x="127" y="3535"/>
                  <a:pt x="127" y="3535"/>
                </a:cubicBezTo>
                <a:cubicBezTo>
                  <a:pt x="79" y="3519"/>
                  <a:pt x="48" y="3551"/>
                  <a:pt x="32" y="3599"/>
                </a:cubicBezTo>
                <a:cubicBezTo>
                  <a:pt x="32" y="3646"/>
                  <a:pt x="64" y="3678"/>
                  <a:pt x="111" y="3694"/>
                </a:cubicBezTo>
                <a:cubicBezTo>
                  <a:pt x="79" y="4060"/>
                  <a:pt x="79" y="4060"/>
                  <a:pt x="79" y="4060"/>
                </a:cubicBezTo>
                <a:cubicBezTo>
                  <a:pt x="64" y="4076"/>
                  <a:pt x="64" y="4092"/>
                  <a:pt x="64" y="4092"/>
                </a:cubicBezTo>
                <a:cubicBezTo>
                  <a:pt x="64" y="4108"/>
                  <a:pt x="64" y="4124"/>
                  <a:pt x="64" y="4139"/>
                </a:cubicBezTo>
                <a:cubicBezTo>
                  <a:pt x="0" y="4617"/>
                  <a:pt x="0" y="4617"/>
                  <a:pt x="0" y="4617"/>
                </a:cubicBezTo>
                <a:cubicBezTo>
                  <a:pt x="0" y="4648"/>
                  <a:pt x="16" y="4665"/>
                  <a:pt x="32" y="4680"/>
                </a:cubicBezTo>
                <a:cubicBezTo>
                  <a:pt x="32" y="4696"/>
                  <a:pt x="64" y="4712"/>
                  <a:pt x="79" y="4712"/>
                </a:cubicBezTo>
                <a:cubicBezTo>
                  <a:pt x="1209" y="4712"/>
                  <a:pt x="1209" y="4712"/>
                  <a:pt x="1209" y="4712"/>
                </a:cubicBezTo>
                <a:cubicBezTo>
                  <a:pt x="1241" y="4712"/>
                  <a:pt x="1288" y="4680"/>
                  <a:pt x="1288" y="4648"/>
                </a:cubicBezTo>
                <a:cubicBezTo>
                  <a:pt x="1384" y="3853"/>
                  <a:pt x="1384" y="3853"/>
                  <a:pt x="1384" y="3853"/>
                </a:cubicBezTo>
                <a:cubicBezTo>
                  <a:pt x="1432" y="3853"/>
                  <a:pt x="1464" y="3821"/>
                  <a:pt x="1464" y="3774"/>
                </a:cubicBezTo>
                <a:cubicBezTo>
                  <a:pt x="1479" y="3742"/>
                  <a:pt x="1448" y="3694"/>
                  <a:pt x="1400" y="3694"/>
                </a:cubicBezTo>
                <a:cubicBezTo>
                  <a:pt x="1448" y="3360"/>
                  <a:pt x="1448" y="3360"/>
                  <a:pt x="1448" y="3360"/>
                </a:cubicBezTo>
                <a:cubicBezTo>
                  <a:pt x="1479" y="3360"/>
                  <a:pt x="1527" y="3328"/>
                  <a:pt x="1527" y="3296"/>
                </a:cubicBezTo>
                <a:cubicBezTo>
                  <a:pt x="1527" y="3248"/>
                  <a:pt x="1496" y="3217"/>
                  <a:pt x="1464" y="3201"/>
                </a:cubicBezTo>
                <a:cubicBezTo>
                  <a:pt x="1496" y="2883"/>
                  <a:pt x="1496" y="2883"/>
                  <a:pt x="1496" y="2883"/>
                </a:cubicBezTo>
                <a:lnTo>
                  <a:pt x="1511" y="2883"/>
                </a:lnTo>
                <a:cubicBezTo>
                  <a:pt x="1543" y="2883"/>
                  <a:pt x="1575" y="2851"/>
                  <a:pt x="1591" y="2803"/>
                </a:cubicBezTo>
                <a:cubicBezTo>
                  <a:pt x="1591" y="2771"/>
                  <a:pt x="1559" y="2723"/>
                  <a:pt x="1511" y="2723"/>
                </a:cubicBezTo>
                <a:cubicBezTo>
                  <a:pt x="1559" y="2389"/>
                  <a:pt x="1559" y="2389"/>
                  <a:pt x="1559" y="2389"/>
                </a:cubicBezTo>
                <a:cubicBezTo>
                  <a:pt x="1607" y="2389"/>
                  <a:pt x="1639" y="2357"/>
                  <a:pt x="1639" y="2326"/>
                </a:cubicBezTo>
                <a:cubicBezTo>
                  <a:pt x="1655" y="2278"/>
                  <a:pt x="1623" y="2230"/>
                  <a:pt x="1575" y="2230"/>
                </a:cubicBezTo>
                <a:cubicBezTo>
                  <a:pt x="1623" y="1896"/>
                  <a:pt x="1623" y="1896"/>
                  <a:pt x="1623" y="1896"/>
                </a:cubicBezTo>
                <a:cubicBezTo>
                  <a:pt x="1670" y="1896"/>
                  <a:pt x="1702" y="1880"/>
                  <a:pt x="1702" y="1832"/>
                </a:cubicBezTo>
                <a:cubicBezTo>
                  <a:pt x="1702" y="1785"/>
                  <a:pt x="1670" y="1753"/>
                  <a:pt x="1639" y="1737"/>
                </a:cubicBezTo>
                <a:close/>
                <a:moveTo>
                  <a:pt x="796" y="639"/>
                </a:moveTo>
                <a:cubicBezTo>
                  <a:pt x="1432" y="719"/>
                  <a:pt x="1432" y="719"/>
                  <a:pt x="1432" y="719"/>
                </a:cubicBezTo>
                <a:cubicBezTo>
                  <a:pt x="1368" y="1212"/>
                  <a:pt x="1368" y="1212"/>
                  <a:pt x="1368" y="1212"/>
                </a:cubicBezTo>
                <a:cubicBezTo>
                  <a:pt x="732" y="1132"/>
                  <a:pt x="732" y="1132"/>
                  <a:pt x="732" y="1132"/>
                </a:cubicBezTo>
                <a:close/>
                <a:moveTo>
                  <a:pt x="557" y="1308"/>
                </a:moveTo>
                <a:cubicBezTo>
                  <a:pt x="1511" y="1419"/>
                  <a:pt x="1511" y="1419"/>
                  <a:pt x="1511" y="1419"/>
                </a:cubicBezTo>
                <a:cubicBezTo>
                  <a:pt x="1479" y="1721"/>
                  <a:pt x="1479" y="1721"/>
                  <a:pt x="1479" y="1721"/>
                </a:cubicBezTo>
                <a:cubicBezTo>
                  <a:pt x="525" y="1610"/>
                  <a:pt x="525" y="1610"/>
                  <a:pt x="525" y="1610"/>
                </a:cubicBezTo>
                <a:close/>
                <a:moveTo>
                  <a:pt x="509" y="1769"/>
                </a:moveTo>
                <a:cubicBezTo>
                  <a:pt x="1464" y="1880"/>
                  <a:pt x="1464" y="1880"/>
                  <a:pt x="1464" y="1880"/>
                </a:cubicBezTo>
                <a:cubicBezTo>
                  <a:pt x="1416" y="2214"/>
                  <a:pt x="1416" y="2214"/>
                  <a:pt x="1416" y="2214"/>
                </a:cubicBezTo>
                <a:cubicBezTo>
                  <a:pt x="461" y="2087"/>
                  <a:pt x="461" y="2087"/>
                  <a:pt x="461" y="2087"/>
                </a:cubicBezTo>
                <a:close/>
                <a:moveTo>
                  <a:pt x="445" y="2246"/>
                </a:moveTo>
                <a:cubicBezTo>
                  <a:pt x="1400" y="2374"/>
                  <a:pt x="1400" y="2374"/>
                  <a:pt x="1400" y="2374"/>
                </a:cubicBezTo>
                <a:cubicBezTo>
                  <a:pt x="1368" y="2692"/>
                  <a:pt x="1368" y="2692"/>
                  <a:pt x="1368" y="2692"/>
                </a:cubicBezTo>
                <a:cubicBezTo>
                  <a:pt x="414" y="2580"/>
                  <a:pt x="414" y="2580"/>
                  <a:pt x="414" y="2580"/>
                </a:cubicBezTo>
                <a:close/>
                <a:moveTo>
                  <a:pt x="398" y="2739"/>
                </a:moveTo>
                <a:cubicBezTo>
                  <a:pt x="1336" y="2851"/>
                  <a:pt x="1336" y="2851"/>
                  <a:pt x="1336" y="2851"/>
                </a:cubicBezTo>
                <a:cubicBezTo>
                  <a:pt x="1305" y="3185"/>
                  <a:pt x="1305" y="3185"/>
                  <a:pt x="1305" y="3185"/>
                </a:cubicBezTo>
                <a:cubicBezTo>
                  <a:pt x="350" y="3057"/>
                  <a:pt x="350" y="3057"/>
                  <a:pt x="350" y="3057"/>
                </a:cubicBezTo>
                <a:close/>
                <a:moveTo>
                  <a:pt x="334" y="3217"/>
                </a:moveTo>
                <a:cubicBezTo>
                  <a:pt x="1288" y="3344"/>
                  <a:pt x="1288" y="3344"/>
                  <a:pt x="1288" y="3344"/>
                </a:cubicBezTo>
                <a:cubicBezTo>
                  <a:pt x="1241" y="3678"/>
                  <a:pt x="1241" y="3678"/>
                  <a:pt x="1241" y="3678"/>
                </a:cubicBezTo>
                <a:cubicBezTo>
                  <a:pt x="287" y="3551"/>
                  <a:pt x="287" y="3551"/>
                  <a:pt x="287" y="3551"/>
                </a:cubicBezTo>
                <a:close/>
                <a:moveTo>
                  <a:pt x="1225" y="3837"/>
                </a:moveTo>
                <a:cubicBezTo>
                  <a:pt x="1177" y="4156"/>
                  <a:pt x="1177" y="4156"/>
                  <a:pt x="1177" y="4156"/>
                </a:cubicBezTo>
                <a:cubicBezTo>
                  <a:pt x="239" y="4044"/>
                  <a:pt x="239" y="4044"/>
                  <a:pt x="239" y="4044"/>
                </a:cubicBezTo>
                <a:cubicBezTo>
                  <a:pt x="270" y="3710"/>
                  <a:pt x="270" y="3710"/>
                  <a:pt x="270" y="3710"/>
                </a:cubicBezTo>
                <a:close/>
                <a:moveTo>
                  <a:pt x="175" y="4553"/>
                </a:moveTo>
                <a:cubicBezTo>
                  <a:pt x="223" y="4203"/>
                  <a:pt x="223" y="4203"/>
                  <a:pt x="223" y="4203"/>
                </a:cubicBezTo>
                <a:cubicBezTo>
                  <a:pt x="1161" y="4314"/>
                  <a:pt x="1161" y="4314"/>
                  <a:pt x="1161" y="4314"/>
                </a:cubicBezTo>
                <a:cubicBezTo>
                  <a:pt x="1130" y="4553"/>
                  <a:pt x="1130" y="4553"/>
                  <a:pt x="1130" y="455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0" name="Freeform: Shape 9">
            <a:extLst>
              <a:ext uri="{FF2B5EF4-FFF2-40B4-BE49-F238E27FC236}">
                <a16:creationId xmlns:a16="http://schemas.microsoft.com/office/drawing/2014/main" id="{F08AAA13-2F2A-A145-A44B-904E01173B78}"/>
              </a:ext>
            </a:extLst>
          </p:cNvPr>
          <p:cNvSpPr/>
          <p:nvPr/>
        </p:nvSpPr>
        <p:spPr>
          <a:xfrm>
            <a:off x="17210503" y="10096677"/>
            <a:ext cx="2068200" cy="1248480"/>
          </a:xfrm>
          <a:custGeom>
            <a:avLst/>
            <a:gdLst/>
            <a:ahLst/>
            <a:cxnLst>
              <a:cxn ang="3cd4">
                <a:pos x="hc" y="t"/>
              </a:cxn>
              <a:cxn ang="cd2">
                <a:pos x="l" y="vc"/>
              </a:cxn>
              <a:cxn ang="cd4">
                <a:pos x="hc" y="b"/>
              </a:cxn>
              <a:cxn ang="0">
                <a:pos x="r" y="vc"/>
              </a:cxn>
            </a:cxnLst>
            <a:rect l="l" t="t" r="r" b="b"/>
            <a:pathLst>
              <a:path w="5746" h="3469">
                <a:moveTo>
                  <a:pt x="5644" y="3134"/>
                </a:moveTo>
                <a:lnTo>
                  <a:pt x="5644" y="2100"/>
                </a:lnTo>
                <a:lnTo>
                  <a:pt x="5739" y="1846"/>
                </a:lnTo>
                <a:cubicBezTo>
                  <a:pt x="5755" y="1830"/>
                  <a:pt x="5739" y="1798"/>
                  <a:pt x="5739" y="1782"/>
                </a:cubicBezTo>
                <a:cubicBezTo>
                  <a:pt x="5724" y="1751"/>
                  <a:pt x="5692" y="1751"/>
                  <a:pt x="5660" y="1751"/>
                </a:cubicBezTo>
                <a:lnTo>
                  <a:pt x="3957" y="1751"/>
                </a:lnTo>
                <a:lnTo>
                  <a:pt x="3957" y="1543"/>
                </a:lnTo>
                <a:lnTo>
                  <a:pt x="4005" y="1543"/>
                </a:lnTo>
                <a:cubicBezTo>
                  <a:pt x="4037" y="1543"/>
                  <a:pt x="4069" y="1512"/>
                  <a:pt x="4085" y="1480"/>
                </a:cubicBezTo>
                <a:cubicBezTo>
                  <a:pt x="4085" y="1448"/>
                  <a:pt x="4069" y="1400"/>
                  <a:pt x="4037" y="1385"/>
                </a:cubicBezTo>
                <a:lnTo>
                  <a:pt x="2876" y="875"/>
                </a:lnTo>
                <a:lnTo>
                  <a:pt x="2876" y="700"/>
                </a:lnTo>
                <a:lnTo>
                  <a:pt x="3512" y="700"/>
                </a:lnTo>
                <a:cubicBezTo>
                  <a:pt x="3560" y="700"/>
                  <a:pt x="3591" y="669"/>
                  <a:pt x="3591" y="621"/>
                </a:cubicBezTo>
                <a:lnTo>
                  <a:pt x="3591" y="255"/>
                </a:lnTo>
                <a:cubicBezTo>
                  <a:pt x="3591" y="207"/>
                  <a:pt x="3560" y="175"/>
                  <a:pt x="3512" y="175"/>
                </a:cubicBezTo>
                <a:lnTo>
                  <a:pt x="2876" y="175"/>
                </a:lnTo>
                <a:lnTo>
                  <a:pt x="2876" y="80"/>
                </a:lnTo>
                <a:cubicBezTo>
                  <a:pt x="2876" y="32"/>
                  <a:pt x="2828" y="0"/>
                  <a:pt x="2796" y="0"/>
                </a:cubicBezTo>
                <a:cubicBezTo>
                  <a:pt x="2748" y="0"/>
                  <a:pt x="2716" y="32"/>
                  <a:pt x="2716" y="80"/>
                </a:cubicBezTo>
                <a:lnTo>
                  <a:pt x="2716" y="255"/>
                </a:lnTo>
                <a:lnTo>
                  <a:pt x="2716" y="621"/>
                </a:lnTo>
                <a:lnTo>
                  <a:pt x="2716" y="891"/>
                </a:lnTo>
                <a:lnTo>
                  <a:pt x="1714" y="1385"/>
                </a:lnTo>
                <a:cubicBezTo>
                  <a:pt x="1682" y="1400"/>
                  <a:pt x="1666" y="1448"/>
                  <a:pt x="1666" y="1480"/>
                </a:cubicBezTo>
                <a:cubicBezTo>
                  <a:pt x="1682" y="1512"/>
                  <a:pt x="1714" y="1543"/>
                  <a:pt x="1746" y="1543"/>
                </a:cubicBezTo>
                <a:lnTo>
                  <a:pt x="1857" y="1543"/>
                </a:lnTo>
                <a:lnTo>
                  <a:pt x="1857" y="1751"/>
                </a:lnTo>
                <a:lnTo>
                  <a:pt x="75" y="1751"/>
                </a:lnTo>
                <a:cubicBezTo>
                  <a:pt x="60" y="1751"/>
                  <a:pt x="28" y="1766"/>
                  <a:pt x="12" y="1782"/>
                </a:cubicBezTo>
                <a:cubicBezTo>
                  <a:pt x="-4" y="1814"/>
                  <a:pt x="-4" y="1846"/>
                  <a:pt x="12" y="1862"/>
                </a:cubicBezTo>
                <a:lnTo>
                  <a:pt x="171" y="2116"/>
                </a:lnTo>
                <a:lnTo>
                  <a:pt x="171" y="3103"/>
                </a:lnTo>
                <a:lnTo>
                  <a:pt x="12" y="3357"/>
                </a:lnTo>
                <a:cubicBezTo>
                  <a:pt x="-4" y="3373"/>
                  <a:pt x="-4" y="3405"/>
                  <a:pt x="12" y="3437"/>
                </a:cubicBezTo>
                <a:cubicBezTo>
                  <a:pt x="28" y="3453"/>
                  <a:pt x="60" y="3469"/>
                  <a:pt x="75" y="3469"/>
                </a:cubicBezTo>
                <a:lnTo>
                  <a:pt x="5660" y="3469"/>
                </a:lnTo>
                <a:cubicBezTo>
                  <a:pt x="5692" y="3469"/>
                  <a:pt x="5724" y="3453"/>
                  <a:pt x="5739" y="3437"/>
                </a:cubicBezTo>
                <a:cubicBezTo>
                  <a:pt x="5739" y="3421"/>
                  <a:pt x="5755" y="3389"/>
                  <a:pt x="5739" y="3357"/>
                </a:cubicBezTo>
                <a:close/>
                <a:moveTo>
                  <a:pt x="3067" y="3310"/>
                </a:moveTo>
                <a:lnTo>
                  <a:pt x="2748" y="3310"/>
                </a:lnTo>
                <a:lnTo>
                  <a:pt x="2748" y="2944"/>
                </a:lnTo>
                <a:cubicBezTo>
                  <a:pt x="2748" y="2896"/>
                  <a:pt x="2844" y="2833"/>
                  <a:pt x="2907" y="2833"/>
                </a:cubicBezTo>
                <a:cubicBezTo>
                  <a:pt x="2971" y="2833"/>
                  <a:pt x="3067" y="2896"/>
                  <a:pt x="3067" y="2944"/>
                </a:cubicBezTo>
                <a:close/>
                <a:moveTo>
                  <a:pt x="2907" y="2673"/>
                </a:moveTo>
                <a:cubicBezTo>
                  <a:pt x="2780" y="2673"/>
                  <a:pt x="2589" y="2785"/>
                  <a:pt x="2589" y="2944"/>
                </a:cubicBezTo>
                <a:lnTo>
                  <a:pt x="2589" y="3310"/>
                </a:lnTo>
                <a:lnTo>
                  <a:pt x="2510" y="3310"/>
                </a:lnTo>
                <a:lnTo>
                  <a:pt x="2510" y="1782"/>
                </a:lnTo>
                <a:lnTo>
                  <a:pt x="3305" y="1782"/>
                </a:lnTo>
                <a:lnTo>
                  <a:pt x="3305" y="3310"/>
                </a:lnTo>
                <a:lnTo>
                  <a:pt x="3225" y="3310"/>
                </a:lnTo>
                <a:lnTo>
                  <a:pt x="3225" y="2944"/>
                </a:lnTo>
                <a:cubicBezTo>
                  <a:pt x="3225" y="2785"/>
                  <a:pt x="3034" y="2673"/>
                  <a:pt x="2907" y="2673"/>
                </a:cubicBezTo>
                <a:close/>
                <a:moveTo>
                  <a:pt x="2016" y="1782"/>
                </a:moveTo>
                <a:lnTo>
                  <a:pt x="2351" y="1782"/>
                </a:lnTo>
                <a:lnTo>
                  <a:pt x="2351" y="3310"/>
                </a:lnTo>
                <a:lnTo>
                  <a:pt x="2016" y="3310"/>
                </a:lnTo>
                <a:close/>
                <a:moveTo>
                  <a:pt x="3464" y="1782"/>
                </a:moveTo>
                <a:lnTo>
                  <a:pt x="3798" y="1782"/>
                </a:lnTo>
                <a:lnTo>
                  <a:pt x="3798" y="3310"/>
                </a:lnTo>
                <a:lnTo>
                  <a:pt x="3464" y="3310"/>
                </a:lnTo>
                <a:close/>
                <a:moveTo>
                  <a:pt x="3433" y="334"/>
                </a:moveTo>
                <a:lnTo>
                  <a:pt x="3433" y="542"/>
                </a:lnTo>
                <a:lnTo>
                  <a:pt x="2876" y="542"/>
                </a:lnTo>
                <a:lnTo>
                  <a:pt x="2876" y="334"/>
                </a:lnTo>
                <a:close/>
                <a:moveTo>
                  <a:pt x="2796" y="1019"/>
                </a:moveTo>
                <a:lnTo>
                  <a:pt x="3623" y="1385"/>
                </a:lnTo>
                <a:lnTo>
                  <a:pt x="2080" y="1385"/>
                </a:lnTo>
                <a:close/>
                <a:moveTo>
                  <a:pt x="3798" y="1543"/>
                </a:moveTo>
                <a:lnTo>
                  <a:pt x="3798" y="1623"/>
                </a:lnTo>
                <a:lnTo>
                  <a:pt x="2016" y="1623"/>
                </a:lnTo>
                <a:lnTo>
                  <a:pt x="2016" y="1543"/>
                </a:lnTo>
                <a:close/>
                <a:moveTo>
                  <a:pt x="314" y="2053"/>
                </a:moveTo>
                <a:lnTo>
                  <a:pt x="218" y="1910"/>
                </a:lnTo>
                <a:lnTo>
                  <a:pt x="1857" y="1910"/>
                </a:lnTo>
                <a:lnTo>
                  <a:pt x="1857" y="3310"/>
                </a:lnTo>
                <a:lnTo>
                  <a:pt x="234" y="3310"/>
                </a:lnTo>
                <a:lnTo>
                  <a:pt x="314" y="3182"/>
                </a:lnTo>
                <a:cubicBezTo>
                  <a:pt x="330" y="3167"/>
                  <a:pt x="330" y="3151"/>
                  <a:pt x="330" y="3134"/>
                </a:cubicBezTo>
                <a:lnTo>
                  <a:pt x="330" y="2100"/>
                </a:lnTo>
                <a:cubicBezTo>
                  <a:pt x="330" y="2085"/>
                  <a:pt x="330" y="2069"/>
                  <a:pt x="314" y="2053"/>
                </a:cubicBezTo>
                <a:close/>
                <a:moveTo>
                  <a:pt x="5485" y="3167"/>
                </a:moveTo>
                <a:lnTo>
                  <a:pt x="5548" y="3310"/>
                </a:lnTo>
                <a:lnTo>
                  <a:pt x="3957" y="3310"/>
                </a:lnTo>
                <a:lnTo>
                  <a:pt x="3957" y="1910"/>
                </a:lnTo>
                <a:lnTo>
                  <a:pt x="5548" y="1910"/>
                </a:lnTo>
                <a:lnTo>
                  <a:pt x="5485" y="2053"/>
                </a:lnTo>
                <a:lnTo>
                  <a:pt x="5485" y="2085"/>
                </a:lnTo>
                <a:lnTo>
                  <a:pt x="5485" y="3151"/>
                </a:lnTo>
                <a:close/>
                <a:moveTo>
                  <a:pt x="616" y="3119"/>
                </a:moveTo>
                <a:lnTo>
                  <a:pt x="982" y="3119"/>
                </a:lnTo>
                <a:cubicBezTo>
                  <a:pt x="1014" y="3119"/>
                  <a:pt x="1062" y="3071"/>
                  <a:pt x="1062" y="3039"/>
                </a:cubicBezTo>
                <a:lnTo>
                  <a:pt x="1062" y="2785"/>
                </a:lnTo>
                <a:cubicBezTo>
                  <a:pt x="1062" y="2753"/>
                  <a:pt x="1014" y="2705"/>
                  <a:pt x="982" y="2705"/>
                </a:cubicBezTo>
                <a:lnTo>
                  <a:pt x="616" y="2705"/>
                </a:lnTo>
                <a:cubicBezTo>
                  <a:pt x="569" y="2705"/>
                  <a:pt x="537" y="2753"/>
                  <a:pt x="537" y="2785"/>
                </a:cubicBezTo>
                <a:lnTo>
                  <a:pt x="537" y="3039"/>
                </a:lnTo>
                <a:cubicBezTo>
                  <a:pt x="537" y="3071"/>
                  <a:pt x="569" y="3119"/>
                  <a:pt x="616" y="3119"/>
                </a:cubicBezTo>
                <a:close/>
                <a:moveTo>
                  <a:pt x="696" y="2864"/>
                </a:moveTo>
                <a:lnTo>
                  <a:pt x="903" y="2864"/>
                </a:lnTo>
                <a:lnTo>
                  <a:pt x="903" y="2960"/>
                </a:lnTo>
                <a:lnTo>
                  <a:pt x="696" y="2960"/>
                </a:lnTo>
                <a:close/>
                <a:moveTo>
                  <a:pt x="616" y="2514"/>
                </a:moveTo>
                <a:lnTo>
                  <a:pt x="982" y="2514"/>
                </a:lnTo>
                <a:cubicBezTo>
                  <a:pt x="1014" y="2514"/>
                  <a:pt x="1062" y="2466"/>
                  <a:pt x="1062" y="2434"/>
                </a:cubicBezTo>
                <a:lnTo>
                  <a:pt x="1062" y="2180"/>
                </a:lnTo>
                <a:cubicBezTo>
                  <a:pt x="1062" y="2148"/>
                  <a:pt x="1014" y="2100"/>
                  <a:pt x="982" y="2100"/>
                </a:cubicBezTo>
                <a:lnTo>
                  <a:pt x="616" y="2100"/>
                </a:lnTo>
                <a:cubicBezTo>
                  <a:pt x="569" y="2100"/>
                  <a:pt x="537" y="2148"/>
                  <a:pt x="537" y="2180"/>
                </a:cubicBezTo>
                <a:lnTo>
                  <a:pt x="537" y="2434"/>
                </a:lnTo>
                <a:cubicBezTo>
                  <a:pt x="537" y="2466"/>
                  <a:pt x="569" y="2514"/>
                  <a:pt x="616" y="2514"/>
                </a:cubicBezTo>
                <a:close/>
                <a:moveTo>
                  <a:pt x="696" y="2260"/>
                </a:moveTo>
                <a:lnTo>
                  <a:pt x="903" y="2260"/>
                </a:lnTo>
                <a:lnTo>
                  <a:pt x="903" y="2355"/>
                </a:lnTo>
                <a:lnTo>
                  <a:pt x="696" y="2355"/>
                </a:lnTo>
                <a:close/>
                <a:moveTo>
                  <a:pt x="1221" y="3119"/>
                </a:moveTo>
                <a:lnTo>
                  <a:pt x="1587" y="3119"/>
                </a:lnTo>
                <a:cubicBezTo>
                  <a:pt x="1619" y="3119"/>
                  <a:pt x="1666" y="3071"/>
                  <a:pt x="1666" y="3039"/>
                </a:cubicBezTo>
                <a:lnTo>
                  <a:pt x="1666" y="2785"/>
                </a:lnTo>
                <a:cubicBezTo>
                  <a:pt x="1666" y="2753"/>
                  <a:pt x="1619" y="2705"/>
                  <a:pt x="1587" y="2705"/>
                </a:cubicBezTo>
                <a:lnTo>
                  <a:pt x="1221" y="2705"/>
                </a:lnTo>
                <a:cubicBezTo>
                  <a:pt x="1173" y="2705"/>
                  <a:pt x="1142" y="2753"/>
                  <a:pt x="1142" y="2785"/>
                </a:cubicBezTo>
                <a:lnTo>
                  <a:pt x="1142" y="3039"/>
                </a:lnTo>
                <a:cubicBezTo>
                  <a:pt x="1142" y="3071"/>
                  <a:pt x="1173" y="3119"/>
                  <a:pt x="1221" y="3119"/>
                </a:cubicBezTo>
                <a:close/>
                <a:moveTo>
                  <a:pt x="1300" y="2864"/>
                </a:moveTo>
                <a:lnTo>
                  <a:pt x="1507" y="2864"/>
                </a:lnTo>
                <a:lnTo>
                  <a:pt x="1507" y="2960"/>
                </a:lnTo>
                <a:lnTo>
                  <a:pt x="1300" y="2960"/>
                </a:lnTo>
                <a:close/>
                <a:moveTo>
                  <a:pt x="1221" y="2514"/>
                </a:moveTo>
                <a:lnTo>
                  <a:pt x="1587" y="2514"/>
                </a:lnTo>
                <a:cubicBezTo>
                  <a:pt x="1619" y="2514"/>
                  <a:pt x="1666" y="2466"/>
                  <a:pt x="1666" y="2434"/>
                </a:cubicBezTo>
                <a:lnTo>
                  <a:pt x="1666" y="2180"/>
                </a:lnTo>
                <a:cubicBezTo>
                  <a:pt x="1666" y="2148"/>
                  <a:pt x="1619" y="2100"/>
                  <a:pt x="1587" y="2100"/>
                </a:cubicBezTo>
                <a:lnTo>
                  <a:pt x="1221" y="2100"/>
                </a:lnTo>
                <a:cubicBezTo>
                  <a:pt x="1173" y="2100"/>
                  <a:pt x="1142" y="2148"/>
                  <a:pt x="1142" y="2180"/>
                </a:cubicBezTo>
                <a:lnTo>
                  <a:pt x="1142" y="2434"/>
                </a:lnTo>
                <a:cubicBezTo>
                  <a:pt x="1142" y="2466"/>
                  <a:pt x="1173" y="2514"/>
                  <a:pt x="1221" y="2514"/>
                </a:cubicBezTo>
                <a:close/>
                <a:moveTo>
                  <a:pt x="1300" y="2260"/>
                </a:moveTo>
                <a:lnTo>
                  <a:pt x="1507" y="2260"/>
                </a:lnTo>
                <a:lnTo>
                  <a:pt x="1507" y="2355"/>
                </a:lnTo>
                <a:lnTo>
                  <a:pt x="1300" y="2355"/>
                </a:lnTo>
                <a:close/>
                <a:moveTo>
                  <a:pt x="4594" y="2705"/>
                </a:moveTo>
                <a:lnTo>
                  <a:pt x="4244" y="2705"/>
                </a:lnTo>
                <a:cubicBezTo>
                  <a:pt x="4196" y="2705"/>
                  <a:pt x="4164" y="2753"/>
                  <a:pt x="4164" y="2785"/>
                </a:cubicBezTo>
                <a:lnTo>
                  <a:pt x="4164" y="3039"/>
                </a:lnTo>
                <a:cubicBezTo>
                  <a:pt x="4164" y="3071"/>
                  <a:pt x="4196" y="3119"/>
                  <a:pt x="4244" y="3119"/>
                </a:cubicBezTo>
                <a:lnTo>
                  <a:pt x="4594" y="3119"/>
                </a:lnTo>
                <a:cubicBezTo>
                  <a:pt x="4642" y="3119"/>
                  <a:pt x="4673" y="3071"/>
                  <a:pt x="4673" y="3039"/>
                </a:cubicBezTo>
                <a:lnTo>
                  <a:pt x="4673" y="2785"/>
                </a:lnTo>
                <a:cubicBezTo>
                  <a:pt x="4673" y="2753"/>
                  <a:pt x="4642" y="2705"/>
                  <a:pt x="4594" y="2705"/>
                </a:cubicBezTo>
                <a:close/>
                <a:moveTo>
                  <a:pt x="4514" y="2960"/>
                </a:moveTo>
                <a:lnTo>
                  <a:pt x="4324" y="2960"/>
                </a:lnTo>
                <a:lnTo>
                  <a:pt x="4324" y="2864"/>
                </a:lnTo>
                <a:lnTo>
                  <a:pt x="4514" y="2864"/>
                </a:lnTo>
                <a:close/>
                <a:moveTo>
                  <a:pt x="4594" y="2100"/>
                </a:moveTo>
                <a:lnTo>
                  <a:pt x="4244" y="2100"/>
                </a:lnTo>
                <a:cubicBezTo>
                  <a:pt x="4196" y="2100"/>
                  <a:pt x="4164" y="2148"/>
                  <a:pt x="4164" y="2180"/>
                </a:cubicBezTo>
                <a:lnTo>
                  <a:pt x="4164" y="2434"/>
                </a:lnTo>
                <a:cubicBezTo>
                  <a:pt x="4164" y="2466"/>
                  <a:pt x="4196" y="2514"/>
                  <a:pt x="4244" y="2514"/>
                </a:cubicBezTo>
                <a:lnTo>
                  <a:pt x="4594" y="2514"/>
                </a:lnTo>
                <a:cubicBezTo>
                  <a:pt x="4642" y="2514"/>
                  <a:pt x="4673" y="2466"/>
                  <a:pt x="4673" y="2434"/>
                </a:cubicBezTo>
                <a:lnTo>
                  <a:pt x="4673" y="2180"/>
                </a:lnTo>
                <a:cubicBezTo>
                  <a:pt x="4673" y="2148"/>
                  <a:pt x="4642" y="2100"/>
                  <a:pt x="4594" y="2100"/>
                </a:cubicBezTo>
                <a:close/>
                <a:moveTo>
                  <a:pt x="4514" y="2355"/>
                </a:moveTo>
                <a:lnTo>
                  <a:pt x="4324" y="2355"/>
                </a:lnTo>
                <a:lnTo>
                  <a:pt x="4324" y="2260"/>
                </a:lnTo>
                <a:lnTo>
                  <a:pt x="4514" y="2260"/>
                </a:lnTo>
                <a:close/>
                <a:moveTo>
                  <a:pt x="5198" y="2705"/>
                </a:moveTo>
                <a:lnTo>
                  <a:pt x="4848" y="2705"/>
                </a:lnTo>
                <a:cubicBezTo>
                  <a:pt x="4801" y="2705"/>
                  <a:pt x="4769" y="2753"/>
                  <a:pt x="4769" y="2785"/>
                </a:cubicBezTo>
                <a:lnTo>
                  <a:pt x="4769" y="3039"/>
                </a:lnTo>
                <a:cubicBezTo>
                  <a:pt x="4769" y="3071"/>
                  <a:pt x="4801" y="3119"/>
                  <a:pt x="4848" y="3119"/>
                </a:cubicBezTo>
                <a:lnTo>
                  <a:pt x="5198" y="3119"/>
                </a:lnTo>
                <a:cubicBezTo>
                  <a:pt x="5246" y="3119"/>
                  <a:pt x="5278" y="3071"/>
                  <a:pt x="5278" y="3039"/>
                </a:cubicBezTo>
                <a:lnTo>
                  <a:pt x="5278" y="2785"/>
                </a:lnTo>
                <a:cubicBezTo>
                  <a:pt x="5278" y="2753"/>
                  <a:pt x="5246" y="2705"/>
                  <a:pt x="5198" y="2705"/>
                </a:cubicBezTo>
                <a:close/>
                <a:moveTo>
                  <a:pt x="5119" y="2960"/>
                </a:moveTo>
                <a:lnTo>
                  <a:pt x="4928" y="2960"/>
                </a:lnTo>
                <a:lnTo>
                  <a:pt x="4928" y="2864"/>
                </a:lnTo>
                <a:lnTo>
                  <a:pt x="5119" y="2864"/>
                </a:lnTo>
                <a:close/>
                <a:moveTo>
                  <a:pt x="5198" y="2100"/>
                </a:moveTo>
                <a:lnTo>
                  <a:pt x="4848" y="2100"/>
                </a:lnTo>
                <a:cubicBezTo>
                  <a:pt x="4801" y="2100"/>
                  <a:pt x="4769" y="2148"/>
                  <a:pt x="4769" y="2180"/>
                </a:cubicBezTo>
                <a:lnTo>
                  <a:pt x="4769" y="2434"/>
                </a:lnTo>
                <a:cubicBezTo>
                  <a:pt x="4769" y="2466"/>
                  <a:pt x="4801" y="2514"/>
                  <a:pt x="4848" y="2514"/>
                </a:cubicBezTo>
                <a:lnTo>
                  <a:pt x="5198" y="2514"/>
                </a:lnTo>
                <a:cubicBezTo>
                  <a:pt x="5246" y="2514"/>
                  <a:pt x="5278" y="2466"/>
                  <a:pt x="5278" y="2434"/>
                </a:cubicBezTo>
                <a:lnTo>
                  <a:pt x="5278" y="2180"/>
                </a:lnTo>
                <a:cubicBezTo>
                  <a:pt x="5278" y="2148"/>
                  <a:pt x="5246" y="2100"/>
                  <a:pt x="5198" y="2100"/>
                </a:cubicBezTo>
                <a:close/>
                <a:moveTo>
                  <a:pt x="5119" y="2355"/>
                </a:moveTo>
                <a:lnTo>
                  <a:pt x="4928" y="2355"/>
                </a:lnTo>
                <a:lnTo>
                  <a:pt x="4928" y="2260"/>
                </a:lnTo>
                <a:lnTo>
                  <a:pt x="5119" y="2260"/>
                </a:lnTo>
                <a:close/>
                <a:moveTo>
                  <a:pt x="3225" y="2069"/>
                </a:moveTo>
                <a:cubicBezTo>
                  <a:pt x="3225" y="2021"/>
                  <a:pt x="3194" y="1989"/>
                  <a:pt x="3146" y="1989"/>
                </a:cubicBezTo>
                <a:lnTo>
                  <a:pt x="2669" y="1989"/>
                </a:lnTo>
                <a:cubicBezTo>
                  <a:pt x="2621" y="1989"/>
                  <a:pt x="2589" y="2021"/>
                  <a:pt x="2589" y="2069"/>
                </a:cubicBezTo>
                <a:lnTo>
                  <a:pt x="2589" y="2434"/>
                </a:lnTo>
                <a:cubicBezTo>
                  <a:pt x="2589" y="2466"/>
                  <a:pt x="2621" y="2514"/>
                  <a:pt x="2669" y="2514"/>
                </a:cubicBezTo>
                <a:lnTo>
                  <a:pt x="3146" y="2514"/>
                </a:lnTo>
                <a:cubicBezTo>
                  <a:pt x="3194" y="2514"/>
                  <a:pt x="3225" y="2466"/>
                  <a:pt x="3225" y="2434"/>
                </a:cubicBezTo>
                <a:close/>
                <a:moveTo>
                  <a:pt x="3067" y="2355"/>
                </a:moveTo>
                <a:lnTo>
                  <a:pt x="2748" y="2355"/>
                </a:lnTo>
                <a:lnTo>
                  <a:pt x="2748" y="2148"/>
                </a:lnTo>
                <a:lnTo>
                  <a:pt x="3067" y="2148"/>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1" name="TextBox 110">
            <a:extLst>
              <a:ext uri="{FF2B5EF4-FFF2-40B4-BE49-F238E27FC236}">
                <a16:creationId xmlns:a16="http://schemas.microsoft.com/office/drawing/2014/main" id="{66187BC1-453D-2343-80C7-6542E564C839}"/>
              </a:ext>
            </a:extLst>
          </p:cNvPr>
          <p:cNvSpPr txBox="1"/>
          <p:nvPr/>
        </p:nvSpPr>
        <p:spPr>
          <a:xfrm>
            <a:off x="20674464" y="11657695"/>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mpire St</a:t>
            </a:r>
          </a:p>
        </p:txBody>
      </p:sp>
      <p:sp>
        <p:nvSpPr>
          <p:cNvPr id="112" name="Freeform: Shape 6">
            <a:extLst>
              <a:ext uri="{FF2B5EF4-FFF2-40B4-BE49-F238E27FC236}">
                <a16:creationId xmlns:a16="http://schemas.microsoft.com/office/drawing/2014/main" id="{81DE43FF-6C5F-EA43-82DC-AF3E6FD2780B}"/>
              </a:ext>
            </a:extLst>
          </p:cNvPr>
          <p:cNvSpPr/>
          <p:nvPr/>
        </p:nvSpPr>
        <p:spPr>
          <a:xfrm>
            <a:off x="21670714" y="9836668"/>
            <a:ext cx="973440" cy="1683360"/>
          </a:xfrm>
          <a:custGeom>
            <a:avLst/>
            <a:gdLst/>
            <a:ahLst/>
            <a:cxnLst>
              <a:cxn ang="3cd4">
                <a:pos x="hc" y="t"/>
              </a:cxn>
              <a:cxn ang="cd2">
                <a:pos x="l" y="vc"/>
              </a:cxn>
              <a:cxn ang="cd4">
                <a:pos x="hc" y="b"/>
              </a:cxn>
              <a:cxn ang="0">
                <a:pos x="r" y="vc"/>
              </a:cxn>
            </a:cxnLst>
            <a:rect l="l" t="t" r="r" b="b"/>
            <a:pathLst>
              <a:path w="2705" h="4677">
                <a:moveTo>
                  <a:pt x="2625" y="3564"/>
                </a:moveTo>
                <a:cubicBezTo>
                  <a:pt x="2386" y="3564"/>
                  <a:pt x="2386" y="3564"/>
                  <a:pt x="2386" y="3564"/>
                </a:cubicBezTo>
                <a:cubicBezTo>
                  <a:pt x="2386" y="3166"/>
                  <a:pt x="2386" y="3166"/>
                  <a:pt x="2386" y="3166"/>
                </a:cubicBezTo>
                <a:cubicBezTo>
                  <a:pt x="2386" y="3134"/>
                  <a:pt x="2354" y="3086"/>
                  <a:pt x="2307" y="3086"/>
                </a:cubicBezTo>
                <a:cubicBezTo>
                  <a:pt x="2068" y="3086"/>
                  <a:pt x="2068" y="3086"/>
                  <a:pt x="2068" y="3086"/>
                </a:cubicBezTo>
                <a:cubicBezTo>
                  <a:pt x="2068" y="1750"/>
                  <a:pt x="2068" y="1750"/>
                  <a:pt x="2068" y="1750"/>
                </a:cubicBezTo>
                <a:cubicBezTo>
                  <a:pt x="2068" y="1448"/>
                  <a:pt x="1654" y="986"/>
                  <a:pt x="1432" y="891"/>
                </a:cubicBezTo>
                <a:cubicBezTo>
                  <a:pt x="1432" y="875"/>
                  <a:pt x="1432" y="875"/>
                  <a:pt x="1432" y="875"/>
                </a:cubicBezTo>
                <a:cubicBezTo>
                  <a:pt x="1432" y="79"/>
                  <a:pt x="1432" y="79"/>
                  <a:pt x="1432" y="79"/>
                </a:cubicBezTo>
                <a:cubicBezTo>
                  <a:pt x="1432" y="32"/>
                  <a:pt x="1400" y="0"/>
                  <a:pt x="1352" y="0"/>
                </a:cubicBezTo>
                <a:cubicBezTo>
                  <a:pt x="1305" y="0"/>
                  <a:pt x="1273" y="32"/>
                  <a:pt x="1273" y="79"/>
                </a:cubicBezTo>
                <a:cubicBezTo>
                  <a:pt x="1273" y="875"/>
                  <a:pt x="1273" y="875"/>
                  <a:pt x="1273" y="875"/>
                </a:cubicBezTo>
                <a:lnTo>
                  <a:pt x="1273" y="891"/>
                </a:lnTo>
                <a:cubicBezTo>
                  <a:pt x="1050" y="986"/>
                  <a:pt x="636" y="1448"/>
                  <a:pt x="636" y="1750"/>
                </a:cubicBezTo>
                <a:cubicBezTo>
                  <a:pt x="636" y="3086"/>
                  <a:pt x="636" y="3086"/>
                  <a:pt x="636" y="3086"/>
                </a:cubicBezTo>
                <a:cubicBezTo>
                  <a:pt x="397" y="3086"/>
                  <a:pt x="397" y="3086"/>
                  <a:pt x="397" y="3086"/>
                </a:cubicBezTo>
                <a:cubicBezTo>
                  <a:pt x="350" y="3086"/>
                  <a:pt x="318" y="3134"/>
                  <a:pt x="318" y="3166"/>
                </a:cubicBezTo>
                <a:cubicBezTo>
                  <a:pt x="318" y="3564"/>
                  <a:pt x="318" y="3564"/>
                  <a:pt x="318" y="3564"/>
                </a:cubicBezTo>
                <a:cubicBezTo>
                  <a:pt x="79" y="3564"/>
                  <a:pt x="79" y="3564"/>
                  <a:pt x="79" y="3564"/>
                </a:cubicBezTo>
                <a:cubicBezTo>
                  <a:pt x="32" y="3564"/>
                  <a:pt x="0" y="3611"/>
                  <a:pt x="0" y="3643"/>
                </a:cubicBezTo>
                <a:cubicBezTo>
                  <a:pt x="0" y="4598"/>
                  <a:pt x="0" y="4598"/>
                  <a:pt x="0" y="4598"/>
                </a:cubicBezTo>
                <a:cubicBezTo>
                  <a:pt x="0" y="4645"/>
                  <a:pt x="32" y="4677"/>
                  <a:pt x="79" y="4677"/>
                </a:cubicBezTo>
                <a:cubicBezTo>
                  <a:pt x="397" y="4677"/>
                  <a:pt x="397" y="4677"/>
                  <a:pt x="397" y="4677"/>
                </a:cubicBezTo>
                <a:cubicBezTo>
                  <a:pt x="716" y="4677"/>
                  <a:pt x="716" y="4677"/>
                  <a:pt x="716" y="4677"/>
                </a:cubicBezTo>
                <a:cubicBezTo>
                  <a:pt x="1988" y="4677"/>
                  <a:pt x="1988" y="4677"/>
                  <a:pt x="1988" y="4677"/>
                </a:cubicBezTo>
                <a:cubicBezTo>
                  <a:pt x="2307" y="4677"/>
                  <a:pt x="2307" y="4677"/>
                  <a:pt x="2307" y="4677"/>
                </a:cubicBezTo>
                <a:cubicBezTo>
                  <a:pt x="2625" y="4677"/>
                  <a:pt x="2625" y="4677"/>
                  <a:pt x="2625" y="4677"/>
                </a:cubicBezTo>
                <a:cubicBezTo>
                  <a:pt x="2673" y="4677"/>
                  <a:pt x="2705" y="4645"/>
                  <a:pt x="2705" y="4598"/>
                </a:cubicBezTo>
                <a:cubicBezTo>
                  <a:pt x="2705" y="3643"/>
                  <a:pt x="2705" y="3643"/>
                  <a:pt x="2705" y="3643"/>
                </a:cubicBezTo>
                <a:cubicBezTo>
                  <a:pt x="2705" y="3611"/>
                  <a:pt x="2673" y="3564"/>
                  <a:pt x="2625" y="3564"/>
                </a:cubicBezTo>
                <a:close/>
                <a:moveTo>
                  <a:pt x="1352" y="1034"/>
                </a:moveTo>
                <a:cubicBezTo>
                  <a:pt x="1448" y="1034"/>
                  <a:pt x="1829" y="1400"/>
                  <a:pt x="1893" y="1670"/>
                </a:cubicBezTo>
                <a:cubicBezTo>
                  <a:pt x="811" y="1670"/>
                  <a:pt x="811" y="1670"/>
                  <a:pt x="811" y="1670"/>
                </a:cubicBezTo>
                <a:cubicBezTo>
                  <a:pt x="875" y="1400"/>
                  <a:pt x="1257" y="1034"/>
                  <a:pt x="1352" y="1034"/>
                </a:cubicBezTo>
                <a:close/>
                <a:moveTo>
                  <a:pt x="159" y="3723"/>
                </a:moveTo>
                <a:cubicBezTo>
                  <a:pt x="318" y="3723"/>
                  <a:pt x="318" y="3723"/>
                  <a:pt x="318" y="3723"/>
                </a:cubicBezTo>
                <a:cubicBezTo>
                  <a:pt x="318" y="4518"/>
                  <a:pt x="318" y="4518"/>
                  <a:pt x="318" y="4518"/>
                </a:cubicBezTo>
                <a:cubicBezTo>
                  <a:pt x="159" y="4518"/>
                  <a:pt x="159" y="4518"/>
                  <a:pt x="159" y="4518"/>
                </a:cubicBezTo>
                <a:close/>
                <a:moveTo>
                  <a:pt x="477" y="3245"/>
                </a:moveTo>
                <a:cubicBezTo>
                  <a:pt x="636" y="3245"/>
                  <a:pt x="636" y="3245"/>
                  <a:pt x="636" y="3245"/>
                </a:cubicBezTo>
                <a:cubicBezTo>
                  <a:pt x="636" y="4518"/>
                  <a:pt x="636" y="4518"/>
                  <a:pt x="636" y="4518"/>
                </a:cubicBezTo>
                <a:cubicBezTo>
                  <a:pt x="477" y="4518"/>
                  <a:pt x="477" y="4518"/>
                  <a:pt x="477" y="4518"/>
                </a:cubicBezTo>
                <a:close/>
                <a:moveTo>
                  <a:pt x="795" y="4518"/>
                </a:moveTo>
                <a:cubicBezTo>
                  <a:pt x="795" y="1814"/>
                  <a:pt x="795" y="1814"/>
                  <a:pt x="795" y="1814"/>
                </a:cubicBezTo>
                <a:cubicBezTo>
                  <a:pt x="1909" y="1814"/>
                  <a:pt x="1909" y="1814"/>
                  <a:pt x="1909" y="1814"/>
                </a:cubicBezTo>
                <a:cubicBezTo>
                  <a:pt x="1909" y="4518"/>
                  <a:pt x="1909" y="4518"/>
                  <a:pt x="1909" y="4518"/>
                </a:cubicBezTo>
                <a:close/>
                <a:moveTo>
                  <a:pt x="2068" y="4518"/>
                </a:moveTo>
                <a:cubicBezTo>
                  <a:pt x="2068" y="3245"/>
                  <a:pt x="2068" y="3245"/>
                  <a:pt x="2068" y="3245"/>
                </a:cubicBezTo>
                <a:cubicBezTo>
                  <a:pt x="2227" y="3245"/>
                  <a:pt x="2227" y="3245"/>
                  <a:pt x="2227" y="3245"/>
                </a:cubicBezTo>
                <a:cubicBezTo>
                  <a:pt x="2227" y="4518"/>
                  <a:pt x="2227" y="4518"/>
                  <a:pt x="2227" y="4518"/>
                </a:cubicBezTo>
                <a:close/>
                <a:moveTo>
                  <a:pt x="2545" y="4518"/>
                </a:moveTo>
                <a:cubicBezTo>
                  <a:pt x="2386" y="4518"/>
                  <a:pt x="2386" y="4518"/>
                  <a:pt x="2386" y="4518"/>
                </a:cubicBezTo>
                <a:cubicBezTo>
                  <a:pt x="2386" y="3723"/>
                  <a:pt x="2386" y="3723"/>
                  <a:pt x="2386" y="3723"/>
                </a:cubicBezTo>
                <a:cubicBezTo>
                  <a:pt x="2545" y="3723"/>
                  <a:pt x="2545" y="3723"/>
                  <a:pt x="2545" y="372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04133660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Transportation / Buildings - 9</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41" name="TextBox 40">
            <a:extLst>
              <a:ext uri="{FF2B5EF4-FFF2-40B4-BE49-F238E27FC236}">
                <a16:creationId xmlns:a16="http://schemas.microsoft.com/office/drawing/2014/main" id="{F5CA08B3-890D-214E-961B-AC628E8F710C}"/>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earl</a:t>
            </a:r>
          </a:p>
        </p:txBody>
      </p:sp>
      <p:sp>
        <p:nvSpPr>
          <p:cNvPr id="42" name="TextBox 41">
            <a:extLst>
              <a:ext uri="{FF2B5EF4-FFF2-40B4-BE49-F238E27FC236}">
                <a16:creationId xmlns:a16="http://schemas.microsoft.com/office/drawing/2014/main" id="{89B2A222-0174-F445-B2E1-7A10E6E7FD71}"/>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goda</a:t>
            </a:r>
          </a:p>
        </p:txBody>
      </p:sp>
      <p:sp>
        <p:nvSpPr>
          <p:cNvPr id="63" name="TextBox 62">
            <a:extLst>
              <a:ext uri="{FF2B5EF4-FFF2-40B4-BE49-F238E27FC236}">
                <a16:creationId xmlns:a16="http://schemas.microsoft.com/office/drawing/2014/main" id="{2994EBE8-481E-824C-BF6C-0E44FB3F65E6}"/>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ighthouse</a:t>
            </a:r>
          </a:p>
        </p:txBody>
      </p:sp>
      <p:sp>
        <p:nvSpPr>
          <p:cNvPr id="64" name="TextBox 63">
            <a:extLst>
              <a:ext uri="{FF2B5EF4-FFF2-40B4-BE49-F238E27FC236}">
                <a16:creationId xmlns:a16="http://schemas.microsoft.com/office/drawing/2014/main" id="{2B8B2425-6B35-E942-AF00-F38976E0571A}"/>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entagon</a:t>
            </a:r>
          </a:p>
        </p:txBody>
      </p:sp>
      <p:sp>
        <p:nvSpPr>
          <p:cNvPr id="65" name="TextBox 64">
            <a:extLst>
              <a:ext uri="{FF2B5EF4-FFF2-40B4-BE49-F238E27FC236}">
                <a16:creationId xmlns:a16="http://schemas.microsoft.com/office/drawing/2014/main" id="{B223B7DB-6B1E-4742-8FD5-7D18B5EC522E}"/>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etronas</a:t>
            </a:r>
          </a:p>
        </p:txBody>
      </p:sp>
      <p:sp>
        <p:nvSpPr>
          <p:cNvPr id="66" name="TextBox 65">
            <a:extLst>
              <a:ext uri="{FF2B5EF4-FFF2-40B4-BE49-F238E27FC236}">
                <a16:creationId xmlns:a16="http://schemas.microsoft.com/office/drawing/2014/main" id="{5C03D79B-870B-FC4E-B7CF-056DE5881C33}"/>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hurch</a:t>
            </a:r>
          </a:p>
        </p:txBody>
      </p:sp>
      <p:sp>
        <p:nvSpPr>
          <p:cNvPr id="67" name="TextBox 66">
            <a:extLst>
              <a:ext uri="{FF2B5EF4-FFF2-40B4-BE49-F238E27FC236}">
                <a16:creationId xmlns:a16="http://schemas.microsoft.com/office/drawing/2014/main" id="{375B9830-1118-814F-B6DC-5DEFD32940C3}"/>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ower</a:t>
            </a:r>
          </a:p>
        </p:txBody>
      </p:sp>
      <p:sp>
        <p:nvSpPr>
          <p:cNvPr id="68" name="TextBox 67">
            <a:extLst>
              <a:ext uri="{FF2B5EF4-FFF2-40B4-BE49-F238E27FC236}">
                <a16:creationId xmlns:a16="http://schemas.microsoft.com/office/drawing/2014/main" id="{B0E30BE5-7FB0-954A-B86F-CD130ABC98D1}"/>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e</a:t>
            </a:r>
          </a:p>
        </p:txBody>
      </p:sp>
      <p:sp>
        <p:nvSpPr>
          <p:cNvPr id="69" name="TextBox 68">
            <a:extLst>
              <a:ext uri="{FF2B5EF4-FFF2-40B4-BE49-F238E27FC236}">
                <a16:creationId xmlns:a16="http://schemas.microsoft.com/office/drawing/2014/main" id="{6EB4B1E5-7EF4-F44E-A137-840553E63CEF}"/>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stle</a:t>
            </a:r>
          </a:p>
        </p:txBody>
      </p:sp>
      <p:sp>
        <p:nvSpPr>
          <p:cNvPr id="70" name="Freeform: Shape 26">
            <a:extLst>
              <a:ext uri="{FF2B5EF4-FFF2-40B4-BE49-F238E27FC236}">
                <a16:creationId xmlns:a16="http://schemas.microsoft.com/office/drawing/2014/main" id="{DBB5E8FE-EC28-CF4B-998C-B4F70B91FCD6}"/>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1" name="TextBox 70">
            <a:extLst>
              <a:ext uri="{FF2B5EF4-FFF2-40B4-BE49-F238E27FC236}">
                <a16:creationId xmlns:a16="http://schemas.microsoft.com/office/drawing/2014/main" id="{48B2064B-7E84-6B45-8AE2-0754213DEC65}"/>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err="1"/>
              <a:t>Bld</a:t>
            </a:r>
            <a:r>
              <a:rPr lang="en-US" sz="2800" dirty="0"/>
              <a:t> Side 1</a:t>
            </a:r>
          </a:p>
        </p:txBody>
      </p:sp>
      <p:sp>
        <p:nvSpPr>
          <p:cNvPr id="72" name="TextBox 71">
            <a:extLst>
              <a:ext uri="{FF2B5EF4-FFF2-40B4-BE49-F238E27FC236}">
                <a16:creationId xmlns:a16="http://schemas.microsoft.com/office/drawing/2014/main" id="{A311E09E-5AD0-E342-9893-AD4604A96B32}"/>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j Mahal</a:t>
            </a:r>
          </a:p>
        </p:txBody>
      </p:sp>
      <p:sp>
        <p:nvSpPr>
          <p:cNvPr id="73" name="Freeform: Shape 13">
            <a:extLst>
              <a:ext uri="{FF2B5EF4-FFF2-40B4-BE49-F238E27FC236}">
                <a16:creationId xmlns:a16="http://schemas.microsoft.com/office/drawing/2014/main" id="{438F75EC-1FBD-884A-A3B9-8E5CF8E7B9B5}"/>
              </a:ext>
            </a:extLst>
          </p:cNvPr>
          <p:cNvSpPr/>
          <p:nvPr/>
        </p:nvSpPr>
        <p:spPr>
          <a:xfrm>
            <a:off x="2283649" y="3606611"/>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4" name="Freeform: Shape 1">
            <a:extLst>
              <a:ext uri="{FF2B5EF4-FFF2-40B4-BE49-F238E27FC236}">
                <a16:creationId xmlns:a16="http://schemas.microsoft.com/office/drawing/2014/main" id="{2EE70500-3A8E-8244-AEBC-3BC74F568F2B}"/>
              </a:ext>
            </a:extLst>
          </p:cNvPr>
          <p:cNvSpPr/>
          <p:nvPr/>
        </p:nvSpPr>
        <p:spPr>
          <a:xfrm>
            <a:off x="2240528" y="3355312"/>
            <a:ext cx="629640" cy="1637640"/>
          </a:xfrm>
          <a:custGeom>
            <a:avLst/>
            <a:gdLst/>
            <a:ahLst/>
            <a:cxnLst>
              <a:cxn ang="3cd4">
                <a:pos x="hc" y="t"/>
              </a:cxn>
              <a:cxn ang="cd2">
                <a:pos x="l" y="vc"/>
              </a:cxn>
              <a:cxn ang="cd4">
                <a:pos x="hc" y="b"/>
              </a:cxn>
              <a:cxn ang="0">
                <a:pos x="r" y="vc"/>
              </a:cxn>
            </a:cxnLst>
            <a:rect l="l" t="t" r="r" b="b"/>
            <a:pathLst>
              <a:path w="1750" h="4550">
                <a:moveTo>
                  <a:pt x="1464" y="1671"/>
                </a:moveTo>
                <a:cubicBezTo>
                  <a:pt x="1671" y="1671"/>
                  <a:pt x="1671" y="1671"/>
                  <a:pt x="1671" y="1671"/>
                </a:cubicBezTo>
                <a:cubicBezTo>
                  <a:pt x="1719" y="1671"/>
                  <a:pt x="1750" y="1623"/>
                  <a:pt x="1750" y="1591"/>
                </a:cubicBezTo>
                <a:cubicBezTo>
                  <a:pt x="1750" y="1543"/>
                  <a:pt x="1719" y="1511"/>
                  <a:pt x="1671" y="1511"/>
                </a:cubicBezTo>
                <a:cubicBezTo>
                  <a:pt x="1512" y="1511"/>
                  <a:pt x="1512" y="1511"/>
                  <a:pt x="1512" y="1511"/>
                </a:cubicBezTo>
                <a:cubicBezTo>
                  <a:pt x="1528" y="1464"/>
                  <a:pt x="1528" y="1432"/>
                  <a:pt x="1528" y="1384"/>
                </a:cubicBezTo>
                <a:cubicBezTo>
                  <a:pt x="1528" y="1050"/>
                  <a:pt x="1273" y="764"/>
                  <a:pt x="939" y="716"/>
                </a:cubicBezTo>
                <a:cubicBezTo>
                  <a:pt x="939" y="80"/>
                  <a:pt x="939" y="80"/>
                  <a:pt x="939" y="80"/>
                </a:cubicBezTo>
                <a:cubicBezTo>
                  <a:pt x="939" y="32"/>
                  <a:pt x="891" y="0"/>
                  <a:pt x="859" y="0"/>
                </a:cubicBezTo>
                <a:cubicBezTo>
                  <a:pt x="812" y="0"/>
                  <a:pt x="780" y="32"/>
                  <a:pt x="780" y="80"/>
                </a:cubicBezTo>
                <a:cubicBezTo>
                  <a:pt x="780" y="716"/>
                  <a:pt x="780" y="716"/>
                  <a:pt x="780" y="716"/>
                </a:cubicBezTo>
                <a:cubicBezTo>
                  <a:pt x="446" y="764"/>
                  <a:pt x="175" y="1050"/>
                  <a:pt x="175" y="1384"/>
                </a:cubicBezTo>
                <a:cubicBezTo>
                  <a:pt x="175" y="1432"/>
                  <a:pt x="175" y="1464"/>
                  <a:pt x="191" y="1511"/>
                </a:cubicBezTo>
                <a:cubicBezTo>
                  <a:pt x="80" y="1511"/>
                  <a:pt x="80" y="1511"/>
                  <a:pt x="80" y="1511"/>
                </a:cubicBezTo>
                <a:cubicBezTo>
                  <a:pt x="32" y="1511"/>
                  <a:pt x="0" y="1543"/>
                  <a:pt x="0" y="1591"/>
                </a:cubicBezTo>
                <a:cubicBezTo>
                  <a:pt x="0" y="1623"/>
                  <a:pt x="32" y="1671"/>
                  <a:pt x="80" y="1671"/>
                </a:cubicBezTo>
                <a:cubicBezTo>
                  <a:pt x="239" y="1671"/>
                  <a:pt x="239" y="1671"/>
                  <a:pt x="239" y="1671"/>
                </a:cubicBezTo>
                <a:cubicBezTo>
                  <a:pt x="318" y="1846"/>
                  <a:pt x="477" y="1989"/>
                  <a:pt x="668" y="2037"/>
                </a:cubicBezTo>
                <a:cubicBezTo>
                  <a:pt x="668" y="2148"/>
                  <a:pt x="668" y="2148"/>
                  <a:pt x="668" y="2148"/>
                </a:cubicBezTo>
                <a:cubicBezTo>
                  <a:pt x="557" y="2148"/>
                  <a:pt x="557" y="2148"/>
                  <a:pt x="557" y="2148"/>
                </a:cubicBezTo>
                <a:cubicBezTo>
                  <a:pt x="509" y="2148"/>
                  <a:pt x="477" y="2180"/>
                  <a:pt x="477" y="2211"/>
                </a:cubicBezTo>
                <a:cubicBezTo>
                  <a:pt x="477" y="2259"/>
                  <a:pt x="509" y="2291"/>
                  <a:pt x="557" y="2291"/>
                </a:cubicBezTo>
                <a:cubicBezTo>
                  <a:pt x="652" y="2291"/>
                  <a:pt x="652" y="2291"/>
                  <a:pt x="652" y="2291"/>
                </a:cubicBezTo>
                <a:cubicBezTo>
                  <a:pt x="461" y="4455"/>
                  <a:pt x="461" y="4455"/>
                  <a:pt x="461" y="4455"/>
                </a:cubicBezTo>
                <a:cubicBezTo>
                  <a:pt x="461" y="4502"/>
                  <a:pt x="494" y="4534"/>
                  <a:pt x="541" y="4550"/>
                </a:cubicBezTo>
                <a:cubicBezTo>
                  <a:pt x="589" y="4550"/>
                  <a:pt x="621" y="4519"/>
                  <a:pt x="621" y="4471"/>
                </a:cubicBezTo>
                <a:cubicBezTo>
                  <a:pt x="812" y="2291"/>
                  <a:pt x="812" y="2291"/>
                  <a:pt x="812" y="2291"/>
                </a:cubicBezTo>
                <a:cubicBezTo>
                  <a:pt x="907" y="2291"/>
                  <a:pt x="907" y="2291"/>
                  <a:pt x="907" y="2291"/>
                </a:cubicBezTo>
                <a:cubicBezTo>
                  <a:pt x="1082" y="4471"/>
                  <a:pt x="1082" y="4471"/>
                  <a:pt x="1082" y="4471"/>
                </a:cubicBezTo>
                <a:cubicBezTo>
                  <a:pt x="1082" y="4519"/>
                  <a:pt x="1114" y="4550"/>
                  <a:pt x="1162" y="4550"/>
                </a:cubicBezTo>
                <a:cubicBezTo>
                  <a:pt x="1209" y="4534"/>
                  <a:pt x="1241" y="4502"/>
                  <a:pt x="1241" y="4455"/>
                </a:cubicBezTo>
                <a:cubicBezTo>
                  <a:pt x="1066" y="2291"/>
                  <a:pt x="1066" y="2291"/>
                  <a:pt x="1066" y="2291"/>
                </a:cubicBezTo>
                <a:cubicBezTo>
                  <a:pt x="1194" y="2291"/>
                  <a:pt x="1194" y="2291"/>
                  <a:pt x="1194" y="2291"/>
                </a:cubicBezTo>
                <a:cubicBezTo>
                  <a:pt x="1241" y="2291"/>
                  <a:pt x="1273" y="2259"/>
                  <a:pt x="1273" y="2211"/>
                </a:cubicBezTo>
                <a:cubicBezTo>
                  <a:pt x="1273" y="2180"/>
                  <a:pt x="1241" y="2148"/>
                  <a:pt x="1194" y="2148"/>
                </a:cubicBezTo>
                <a:cubicBezTo>
                  <a:pt x="1050" y="2148"/>
                  <a:pt x="1050" y="2148"/>
                  <a:pt x="1050" y="2148"/>
                </a:cubicBezTo>
                <a:cubicBezTo>
                  <a:pt x="1034" y="2037"/>
                  <a:pt x="1034" y="2037"/>
                  <a:pt x="1034" y="2037"/>
                </a:cubicBezTo>
                <a:cubicBezTo>
                  <a:pt x="1225" y="1989"/>
                  <a:pt x="1385" y="1846"/>
                  <a:pt x="1464" y="1671"/>
                </a:cubicBezTo>
                <a:close/>
                <a:moveTo>
                  <a:pt x="334" y="1384"/>
                </a:moveTo>
                <a:cubicBezTo>
                  <a:pt x="334" y="1098"/>
                  <a:pt x="573" y="875"/>
                  <a:pt x="859" y="875"/>
                </a:cubicBezTo>
                <a:cubicBezTo>
                  <a:pt x="1146" y="875"/>
                  <a:pt x="1368" y="1098"/>
                  <a:pt x="1368" y="1384"/>
                </a:cubicBezTo>
                <a:cubicBezTo>
                  <a:pt x="1368" y="1432"/>
                  <a:pt x="1368" y="1464"/>
                  <a:pt x="1352" y="1511"/>
                </a:cubicBezTo>
                <a:cubicBezTo>
                  <a:pt x="350" y="1511"/>
                  <a:pt x="350" y="1511"/>
                  <a:pt x="350" y="1511"/>
                </a:cubicBezTo>
                <a:cubicBezTo>
                  <a:pt x="350" y="1464"/>
                  <a:pt x="334" y="1432"/>
                  <a:pt x="334" y="1384"/>
                </a:cubicBezTo>
                <a:close/>
                <a:moveTo>
                  <a:pt x="414" y="1671"/>
                </a:moveTo>
                <a:cubicBezTo>
                  <a:pt x="1289" y="1671"/>
                  <a:pt x="1289" y="1671"/>
                  <a:pt x="1289" y="1671"/>
                </a:cubicBezTo>
                <a:cubicBezTo>
                  <a:pt x="1209" y="1782"/>
                  <a:pt x="1098" y="1877"/>
                  <a:pt x="939" y="1893"/>
                </a:cubicBezTo>
                <a:cubicBezTo>
                  <a:pt x="907" y="1909"/>
                  <a:pt x="875" y="1909"/>
                  <a:pt x="859" y="1909"/>
                </a:cubicBezTo>
                <a:cubicBezTo>
                  <a:pt x="668" y="1909"/>
                  <a:pt x="509" y="1814"/>
                  <a:pt x="414" y="1671"/>
                </a:cubicBezTo>
                <a:close/>
                <a:moveTo>
                  <a:pt x="891" y="2148"/>
                </a:moveTo>
                <a:cubicBezTo>
                  <a:pt x="828" y="2148"/>
                  <a:pt x="828" y="2148"/>
                  <a:pt x="828" y="2148"/>
                </a:cubicBezTo>
                <a:cubicBezTo>
                  <a:pt x="828" y="2068"/>
                  <a:pt x="828" y="2068"/>
                  <a:pt x="828" y="2068"/>
                </a:cubicBezTo>
                <a:cubicBezTo>
                  <a:pt x="828" y="2068"/>
                  <a:pt x="843" y="2068"/>
                  <a:pt x="859" y="2068"/>
                </a:cubicBezTo>
                <a:lnTo>
                  <a:pt x="875" y="2068"/>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5" name="Freeform: Shape 7">
            <a:extLst>
              <a:ext uri="{FF2B5EF4-FFF2-40B4-BE49-F238E27FC236}">
                <a16:creationId xmlns:a16="http://schemas.microsoft.com/office/drawing/2014/main" id="{5F063F37-9E6B-2C44-B84F-3423A18F0707}"/>
              </a:ext>
            </a:extLst>
          </p:cNvPr>
          <p:cNvSpPr/>
          <p:nvPr/>
        </p:nvSpPr>
        <p:spPr>
          <a:xfrm>
            <a:off x="17108263" y="6890641"/>
            <a:ext cx="2170440" cy="1316880"/>
          </a:xfrm>
          <a:custGeom>
            <a:avLst/>
            <a:gdLst/>
            <a:ahLst/>
            <a:cxnLst>
              <a:cxn ang="3cd4">
                <a:pos x="hc" y="t"/>
              </a:cxn>
              <a:cxn ang="cd2">
                <a:pos x="l" y="vc"/>
              </a:cxn>
              <a:cxn ang="cd4">
                <a:pos x="hc" y="b"/>
              </a:cxn>
              <a:cxn ang="0">
                <a:pos x="r" y="vc"/>
              </a:cxn>
            </a:cxnLst>
            <a:rect l="l" t="t" r="r" b="b"/>
            <a:pathLst>
              <a:path w="6030" h="3659">
                <a:moveTo>
                  <a:pt x="4853" y="1639"/>
                </a:moveTo>
                <a:lnTo>
                  <a:pt x="3787" y="1479"/>
                </a:lnTo>
                <a:lnTo>
                  <a:pt x="3787" y="1336"/>
                </a:lnTo>
                <a:lnTo>
                  <a:pt x="3787" y="1273"/>
                </a:lnTo>
                <a:lnTo>
                  <a:pt x="3787" y="1209"/>
                </a:lnTo>
                <a:cubicBezTo>
                  <a:pt x="3787" y="827"/>
                  <a:pt x="3485" y="477"/>
                  <a:pt x="3087" y="445"/>
                </a:cubicBezTo>
                <a:lnTo>
                  <a:pt x="3087" y="79"/>
                </a:lnTo>
                <a:cubicBezTo>
                  <a:pt x="3087" y="32"/>
                  <a:pt x="3055" y="0"/>
                  <a:pt x="3007" y="0"/>
                </a:cubicBezTo>
                <a:cubicBezTo>
                  <a:pt x="2976" y="0"/>
                  <a:pt x="2928" y="32"/>
                  <a:pt x="2928" y="79"/>
                </a:cubicBezTo>
                <a:lnTo>
                  <a:pt x="2928" y="445"/>
                </a:lnTo>
                <a:cubicBezTo>
                  <a:pt x="2546" y="477"/>
                  <a:pt x="2228" y="796"/>
                  <a:pt x="2228" y="1177"/>
                </a:cubicBezTo>
                <a:lnTo>
                  <a:pt x="2228" y="1273"/>
                </a:lnTo>
                <a:lnTo>
                  <a:pt x="2228" y="1336"/>
                </a:lnTo>
                <a:lnTo>
                  <a:pt x="2228" y="1479"/>
                </a:lnTo>
                <a:lnTo>
                  <a:pt x="1178" y="1639"/>
                </a:lnTo>
                <a:cubicBezTo>
                  <a:pt x="1146" y="1654"/>
                  <a:pt x="1114" y="1687"/>
                  <a:pt x="1114" y="1718"/>
                </a:cubicBezTo>
                <a:lnTo>
                  <a:pt x="1114" y="3516"/>
                </a:lnTo>
                <a:cubicBezTo>
                  <a:pt x="1114" y="3548"/>
                  <a:pt x="1146" y="3596"/>
                  <a:pt x="1194" y="3596"/>
                </a:cubicBezTo>
                <a:lnTo>
                  <a:pt x="1607" y="3596"/>
                </a:lnTo>
                <a:lnTo>
                  <a:pt x="2037" y="3596"/>
                </a:lnTo>
                <a:lnTo>
                  <a:pt x="2307" y="3596"/>
                </a:lnTo>
                <a:lnTo>
                  <a:pt x="3707" y="3596"/>
                </a:lnTo>
                <a:lnTo>
                  <a:pt x="3994" y="3596"/>
                </a:lnTo>
                <a:lnTo>
                  <a:pt x="4407" y="3596"/>
                </a:lnTo>
                <a:lnTo>
                  <a:pt x="4837" y="3596"/>
                </a:lnTo>
                <a:cubicBezTo>
                  <a:pt x="4885" y="3596"/>
                  <a:pt x="4917" y="3548"/>
                  <a:pt x="4917" y="3516"/>
                </a:cubicBezTo>
                <a:lnTo>
                  <a:pt x="4917" y="1718"/>
                </a:lnTo>
                <a:cubicBezTo>
                  <a:pt x="4917" y="1687"/>
                  <a:pt x="4885" y="1654"/>
                  <a:pt x="4853" y="1639"/>
                </a:cubicBezTo>
                <a:close/>
                <a:moveTo>
                  <a:pt x="2387" y="1352"/>
                </a:moveTo>
                <a:lnTo>
                  <a:pt x="3628" y="1352"/>
                </a:lnTo>
                <a:lnTo>
                  <a:pt x="3628" y="1464"/>
                </a:lnTo>
                <a:lnTo>
                  <a:pt x="2387" y="1464"/>
                </a:lnTo>
                <a:close/>
                <a:moveTo>
                  <a:pt x="3007" y="588"/>
                </a:moveTo>
                <a:cubicBezTo>
                  <a:pt x="3341" y="588"/>
                  <a:pt x="3612" y="875"/>
                  <a:pt x="3628" y="1193"/>
                </a:cubicBezTo>
                <a:lnTo>
                  <a:pt x="2387" y="1193"/>
                </a:lnTo>
                <a:lnTo>
                  <a:pt x="2387" y="1177"/>
                </a:lnTo>
                <a:cubicBezTo>
                  <a:pt x="2387" y="859"/>
                  <a:pt x="2673" y="588"/>
                  <a:pt x="3007" y="588"/>
                </a:cubicBezTo>
                <a:close/>
                <a:moveTo>
                  <a:pt x="1273" y="1798"/>
                </a:moveTo>
                <a:lnTo>
                  <a:pt x="2228" y="1639"/>
                </a:lnTo>
                <a:lnTo>
                  <a:pt x="2228" y="3436"/>
                </a:lnTo>
                <a:lnTo>
                  <a:pt x="2116" y="3436"/>
                </a:lnTo>
                <a:lnTo>
                  <a:pt x="2116" y="3134"/>
                </a:lnTo>
                <a:cubicBezTo>
                  <a:pt x="2116" y="2975"/>
                  <a:pt x="1989" y="2848"/>
                  <a:pt x="1830" y="2848"/>
                </a:cubicBezTo>
                <a:cubicBezTo>
                  <a:pt x="1671" y="2848"/>
                  <a:pt x="1528" y="2975"/>
                  <a:pt x="1528" y="3150"/>
                </a:cubicBezTo>
                <a:lnTo>
                  <a:pt x="1528" y="3436"/>
                </a:lnTo>
                <a:lnTo>
                  <a:pt x="1273" y="3436"/>
                </a:lnTo>
                <a:close/>
                <a:moveTo>
                  <a:pt x="1687" y="3436"/>
                </a:moveTo>
                <a:lnTo>
                  <a:pt x="1687" y="3150"/>
                </a:lnTo>
                <a:cubicBezTo>
                  <a:pt x="1687" y="3070"/>
                  <a:pt x="1750" y="3007"/>
                  <a:pt x="1830" y="3007"/>
                </a:cubicBezTo>
                <a:cubicBezTo>
                  <a:pt x="1894" y="3007"/>
                  <a:pt x="1958" y="3055"/>
                  <a:pt x="1958" y="3134"/>
                </a:cubicBezTo>
                <a:lnTo>
                  <a:pt x="1958" y="3436"/>
                </a:lnTo>
                <a:close/>
                <a:moveTo>
                  <a:pt x="2387" y="1623"/>
                </a:moveTo>
                <a:lnTo>
                  <a:pt x="3628" y="1623"/>
                </a:lnTo>
                <a:lnTo>
                  <a:pt x="3628" y="3436"/>
                </a:lnTo>
                <a:lnTo>
                  <a:pt x="3516" y="3436"/>
                </a:lnTo>
                <a:lnTo>
                  <a:pt x="3516" y="2307"/>
                </a:lnTo>
                <a:cubicBezTo>
                  <a:pt x="3516" y="2084"/>
                  <a:pt x="3326" y="1893"/>
                  <a:pt x="3119" y="1893"/>
                </a:cubicBezTo>
                <a:lnTo>
                  <a:pt x="2912" y="1893"/>
                </a:lnTo>
                <a:cubicBezTo>
                  <a:pt x="2689" y="1893"/>
                  <a:pt x="2514" y="2084"/>
                  <a:pt x="2514" y="2307"/>
                </a:cubicBezTo>
                <a:lnTo>
                  <a:pt x="2514" y="3436"/>
                </a:lnTo>
                <a:lnTo>
                  <a:pt x="2387" y="3436"/>
                </a:lnTo>
                <a:close/>
                <a:moveTo>
                  <a:pt x="3358" y="3436"/>
                </a:moveTo>
                <a:lnTo>
                  <a:pt x="2673" y="3436"/>
                </a:lnTo>
                <a:lnTo>
                  <a:pt x="2673" y="2307"/>
                </a:lnTo>
                <a:cubicBezTo>
                  <a:pt x="2673" y="2164"/>
                  <a:pt x="2785" y="2052"/>
                  <a:pt x="2912" y="2052"/>
                </a:cubicBezTo>
                <a:lnTo>
                  <a:pt x="3119" y="2052"/>
                </a:lnTo>
                <a:cubicBezTo>
                  <a:pt x="3246" y="2052"/>
                  <a:pt x="3358" y="2164"/>
                  <a:pt x="3358" y="2307"/>
                </a:cubicBezTo>
                <a:close/>
                <a:moveTo>
                  <a:pt x="4073" y="3436"/>
                </a:moveTo>
                <a:lnTo>
                  <a:pt x="4073" y="3150"/>
                </a:lnTo>
                <a:cubicBezTo>
                  <a:pt x="4073" y="3070"/>
                  <a:pt x="4137" y="3007"/>
                  <a:pt x="4201" y="3007"/>
                </a:cubicBezTo>
                <a:cubicBezTo>
                  <a:pt x="4280" y="3007"/>
                  <a:pt x="4328" y="3055"/>
                  <a:pt x="4328" y="3134"/>
                </a:cubicBezTo>
                <a:lnTo>
                  <a:pt x="4328" y="3436"/>
                </a:lnTo>
                <a:close/>
                <a:moveTo>
                  <a:pt x="4758" y="3436"/>
                </a:moveTo>
                <a:lnTo>
                  <a:pt x="4487" y="3436"/>
                </a:lnTo>
                <a:lnTo>
                  <a:pt x="4487" y="3134"/>
                </a:lnTo>
                <a:cubicBezTo>
                  <a:pt x="4487" y="2975"/>
                  <a:pt x="4376" y="2848"/>
                  <a:pt x="4201" y="2848"/>
                </a:cubicBezTo>
                <a:cubicBezTo>
                  <a:pt x="4041" y="2848"/>
                  <a:pt x="3914" y="2975"/>
                  <a:pt x="3914" y="3150"/>
                </a:cubicBezTo>
                <a:lnTo>
                  <a:pt x="3914" y="3436"/>
                </a:lnTo>
                <a:lnTo>
                  <a:pt x="3787" y="3436"/>
                </a:lnTo>
                <a:lnTo>
                  <a:pt x="3787" y="1639"/>
                </a:lnTo>
                <a:lnTo>
                  <a:pt x="4758" y="1798"/>
                </a:lnTo>
                <a:close/>
                <a:moveTo>
                  <a:pt x="1607" y="2466"/>
                </a:moveTo>
                <a:lnTo>
                  <a:pt x="2037" y="2466"/>
                </a:lnTo>
                <a:cubicBezTo>
                  <a:pt x="2085" y="2466"/>
                  <a:pt x="2116" y="2434"/>
                  <a:pt x="2116" y="2387"/>
                </a:cubicBezTo>
                <a:lnTo>
                  <a:pt x="2116" y="2084"/>
                </a:lnTo>
                <a:cubicBezTo>
                  <a:pt x="2116" y="1925"/>
                  <a:pt x="1989" y="1798"/>
                  <a:pt x="1830" y="1798"/>
                </a:cubicBezTo>
                <a:cubicBezTo>
                  <a:pt x="1671" y="1798"/>
                  <a:pt x="1528" y="1925"/>
                  <a:pt x="1528" y="2100"/>
                </a:cubicBezTo>
                <a:lnTo>
                  <a:pt x="1528" y="2387"/>
                </a:lnTo>
                <a:cubicBezTo>
                  <a:pt x="1528" y="2434"/>
                  <a:pt x="1576" y="2466"/>
                  <a:pt x="1607" y="2466"/>
                </a:cubicBezTo>
                <a:close/>
                <a:moveTo>
                  <a:pt x="1687" y="2100"/>
                </a:moveTo>
                <a:cubicBezTo>
                  <a:pt x="1687" y="2020"/>
                  <a:pt x="1750" y="1957"/>
                  <a:pt x="1830" y="1957"/>
                </a:cubicBezTo>
                <a:cubicBezTo>
                  <a:pt x="1894" y="1957"/>
                  <a:pt x="1958" y="2005"/>
                  <a:pt x="1958" y="2084"/>
                </a:cubicBezTo>
                <a:lnTo>
                  <a:pt x="1958" y="2307"/>
                </a:lnTo>
                <a:lnTo>
                  <a:pt x="1687" y="2307"/>
                </a:lnTo>
                <a:close/>
                <a:moveTo>
                  <a:pt x="3994" y="2466"/>
                </a:moveTo>
                <a:lnTo>
                  <a:pt x="4407" y="2466"/>
                </a:lnTo>
                <a:cubicBezTo>
                  <a:pt x="4455" y="2466"/>
                  <a:pt x="4487" y="2434"/>
                  <a:pt x="4487" y="2387"/>
                </a:cubicBezTo>
                <a:lnTo>
                  <a:pt x="4487" y="2084"/>
                </a:lnTo>
                <a:cubicBezTo>
                  <a:pt x="4487" y="1925"/>
                  <a:pt x="4376" y="1798"/>
                  <a:pt x="4201" y="1798"/>
                </a:cubicBezTo>
                <a:cubicBezTo>
                  <a:pt x="4041" y="1798"/>
                  <a:pt x="3914" y="1925"/>
                  <a:pt x="3914" y="2100"/>
                </a:cubicBezTo>
                <a:lnTo>
                  <a:pt x="3914" y="2387"/>
                </a:lnTo>
                <a:cubicBezTo>
                  <a:pt x="3914" y="2434"/>
                  <a:pt x="3946" y="2466"/>
                  <a:pt x="3994" y="2466"/>
                </a:cubicBezTo>
                <a:close/>
                <a:moveTo>
                  <a:pt x="4073" y="2100"/>
                </a:moveTo>
                <a:cubicBezTo>
                  <a:pt x="4073" y="2020"/>
                  <a:pt x="4137" y="1957"/>
                  <a:pt x="4201" y="1957"/>
                </a:cubicBezTo>
                <a:cubicBezTo>
                  <a:pt x="4280" y="1957"/>
                  <a:pt x="4328" y="2005"/>
                  <a:pt x="4328" y="2084"/>
                </a:cubicBezTo>
                <a:lnTo>
                  <a:pt x="4328" y="2307"/>
                </a:lnTo>
                <a:lnTo>
                  <a:pt x="4073" y="2307"/>
                </a:lnTo>
                <a:close/>
                <a:moveTo>
                  <a:pt x="5251" y="1400"/>
                </a:moveTo>
                <a:cubicBezTo>
                  <a:pt x="5203" y="1400"/>
                  <a:pt x="5171" y="1432"/>
                  <a:pt x="5171" y="1479"/>
                </a:cubicBezTo>
                <a:lnTo>
                  <a:pt x="5171" y="2466"/>
                </a:lnTo>
                <a:lnTo>
                  <a:pt x="5171" y="2879"/>
                </a:lnTo>
                <a:lnTo>
                  <a:pt x="5171" y="3579"/>
                </a:lnTo>
                <a:cubicBezTo>
                  <a:pt x="5171" y="3627"/>
                  <a:pt x="5203" y="3659"/>
                  <a:pt x="5251" y="3659"/>
                </a:cubicBezTo>
                <a:cubicBezTo>
                  <a:pt x="5298" y="3659"/>
                  <a:pt x="5330" y="3627"/>
                  <a:pt x="5330" y="3579"/>
                </a:cubicBezTo>
                <a:lnTo>
                  <a:pt x="5330" y="2879"/>
                </a:lnTo>
                <a:lnTo>
                  <a:pt x="5330" y="2466"/>
                </a:lnTo>
                <a:lnTo>
                  <a:pt x="5330" y="1479"/>
                </a:lnTo>
                <a:cubicBezTo>
                  <a:pt x="5330" y="1432"/>
                  <a:pt x="5298" y="1400"/>
                  <a:pt x="5251" y="1400"/>
                </a:cubicBezTo>
                <a:close/>
                <a:moveTo>
                  <a:pt x="5951" y="700"/>
                </a:moveTo>
                <a:cubicBezTo>
                  <a:pt x="5903" y="700"/>
                  <a:pt x="5871" y="732"/>
                  <a:pt x="5871" y="779"/>
                </a:cubicBezTo>
                <a:lnTo>
                  <a:pt x="5871" y="1766"/>
                </a:lnTo>
                <a:lnTo>
                  <a:pt x="5871" y="2879"/>
                </a:lnTo>
                <a:lnTo>
                  <a:pt x="5871" y="3579"/>
                </a:lnTo>
                <a:cubicBezTo>
                  <a:pt x="5871" y="3627"/>
                  <a:pt x="5903" y="3659"/>
                  <a:pt x="5951" y="3659"/>
                </a:cubicBezTo>
                <a:cubicBezTo>
                  <a:pt x="5998" y="3659"/>
                  <a:pt x="6030" y="3627"/>
                  <a:pt x="6030" y="3579"/>
                </a:cubicBezTo>
                <a:lnTo>
                  <a:pt x="6030" y="2879"/>
                </a:lnTo>
                <a:lnTo>
                  <a:pt x="6030" y="1766"/>
                </a:lnTo>
                <a:lnTo>
                  <a:pt x="6030" y="779"/>
                </a:lnTo>
                <a:cubicBezTo>
                  <a:pt x="6030" y="732"/>
                  <a:pt x="5998" y="700"/>
                  <a:pt x="5951" y="700"/>
                </a:cubicBezTo>
                <a:close/>
                <a:moveTo>
                  <a:pt x="780" y="1400"/>
                </a:moveTo>
                <a:cubicBezTo>
                  <a:pt x="732" y="1400"/>
                  <a:pt x="700" y="1432"/>
                  <a:pt x="700" y="1479"/>
                </a:cubicBezTo>
                <a:lnTo>
                  <a:pt x="700" y="2466"/>
                </a:lnTo>
                <a:lnTo>
                  <a:pt x="700" y="2879"/>
                </a:lnTo>
                <a:lnTo>
                  <a:pt x="700" y="3579"/>
                </a:lnTo>
                <a:cubicBezTo>
                  <a:pt x="700" y="3627"/>
                  <a:pt x="732" y="3659"/>
                  <a:pt x="780" y="3659"/>
                </a:cubicBezTo>
                <a:cubicBezTo>
                  <a:pt x="812" y="3659"/>
                  <a:pt x="859" y="3627"/>
                  <a:pt x="859" y="3579"/>
                </a:cubicBezTo>
                <a:lnTo>
                  <a:pt x="859" y="2879"/>
                </a:lnTo>
                <a:lnTo>
                  <a:pt x="859" y="2466"/>
                </a:lnTo>
                <a:lnTo>
                  <a:pt x="859" y="1479"/>
                </a:lnTo>
                <a:cubicBezTo>
                  <a:pt x="859" y="1432"/>
                  <a:pt x="812" y="1400"/>
                  <a:pt x="780" y="1400"/>
                </a:cubicBezTo>
                <a:close/>
                <a:moveTo>
                  <a:pt x="80" y="700"/>
                </a:moveTo>
                <a:cubicBezTo>
                  <a:pt x="32" y="700"/>
                  <a:pt x="0" y="732"/>
                  <a:pt x="0" y="779"/>
                </a:cubicBezTo>
                <a:lnTo>
                  <a:pt x="0" y="1766"/>
                </a:lnTo>
                <a:lnTo>
                  <a:pt x="0" y="2879"/>
                </a:lnTo>
                <a:lnTo>
                  <a:pt x="0" y="3579"/>
                </a:lnTo>
                <a:cubicBezTo>
                  <a:pt x="0" y="3627"/>
                  <a:pt x="32" y="3659"/>
                  <a:pt x="80" y="3659"/>
                </a:cubicBezTo>
                <a:cubicBezTo>
                  <a:pt x="112" y="3659"/>
                  <a:pt x="159" y="3627"/>
                  <a:pt x="159" y="3579"/>
                </a:cubicBezTo>
                <a:lnTo>
                  <a:pt x="159" y="2879"/>
                </a:lnTo>
                <a:lnTo>
                  <a:pt x="159" y="1766"/>
                </a:lnTo>
                <a:lnTo>
                  <a:pt x="159" y="779"/>
                </a:lnTo>
                <a:cubicBezTo>
                  <a:pt x="159" y="732"/>
                  <a:pt x="112" y="700"/>
                  <a:pt x="80" y="70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6" name="Freeform: Shape 10">
            <a:extLst>
              <a:ext uri="{FF2B5EF4-FFF2-40B4-BE49-F238E27FC236}">
                <a16:creationId xmlns:a16="http://schemas.microsoft.com/office/drawing/2014/main" id="{A9543903-5C59-B946-92A2-A30AA6CE002F}"/>
              </a:ext>
            </a:extLst>
          </p:cNvPr>
          <p:cNvSpPr/>
          <p:nvPr/>
        </p:nvSpPr>
        <p:spPr>
          <a:xfrm>
            <a:off x="21482876" y="3329128"/>
            <a:ext cx="1145160" cy="1740960"/>
          </a:xfrm>
          <a:custGeom>
            <a:avLst/>
            <a:gdLst/>
            <a:ahLst/>
            <a:cxnLst>
              <a:cxn ang="3cd4">
                <a:pos x="hc" y="t"/>
              </a:cxn>
              <a:cxn ang="cd2">
                <a:pos x="l" y="vc"/>
              </a:cxn>
              <a:cxn ang="cd4">
                <a:pos x="hc" y="b"/>
              </a:cxn>
              <a:cxn ang="0">
                <a:pos x="r" y="vc"/>
              </a:cxn>
            </a:cxnLst>
            <a:rect l="l" t="t" r="r" b="b"/>
            <a:pathLst>
              <a:path w="3182" h="4837">
                <a:moveTo>
                  <a:pt x="3103" y="2307"/>
                </a:moveTo>
                <a:cubicBezTo>
                  <a:pt x="3024" y="2307"/>
                  <a:pt x="3024" y="2307"/>
                  <a:pt x="3024" y="2307"/>
                </a:cubicBezTo>
                <a:cubicBezTo>
                  <a:pt x="3024" y="1591"/>
                  <a:pt x="3024" y="1591"/>
                  <a:pt x="3024" y="1591"/>
                </a:cubicBezTo>
                <a:cubicBezTo>
                  <a:pt x="3024" y="1543"/>
                  <a:pt x="2976" y="1511"/>
                  <a:pt x="2944" y="1511"/>
                </a:cubicBezTo>
                <a:cubicBezTo>
                  <a:pt x="2944" y="1193"/>
                  <a:pt x="2944" y="1193"/>
                  <a:pt x="2944" y="1193"/>
                </a:cubicBezTo>
                <a:cubicBezTo>
                  <a:pt x="2944" y="1145"/>
                  <a:pt x="2896" y="1113"/>
                  <a:pt x="2864" y="1113"/>
                </a:cubicBezTo>
                <a:cubicBezTo>
                  <a:pt x="2705" y="1113"/>
                  <a:pt x="2705" y="1113"/>
                  <a:pt x="2705" y="1113"/>
                </a:cubicBezTo>
                <a:cubicBezTo>
                  <a:pt x="2705" y="79"/>
                  <a:pt x="2705" y="79"/>
                  <a:pt x="2705" y="79"/>
                </a:cubicBezTo>
                <a:cubicBezTo>
                  <a:pt x="2705" y="31"/>
                  <a:pt x="2657" y="0"/>
                  <a:pt x="2625" y="0"/>
                </a:cubicBezTo>
                <a:cubicBezTo>
                  <a:pt x="2578" y="0"/>
                  <a:pt x="2546" y="31"/>
                  <a:pt x="2546" y="79"/>
                </a:cubicBezTo>
                <a:cubicBezTo>
                  <a:pt x="2546" y="1113"/>
                  <a:pt x="2546" y="1113"/>
                  <a:pt x="2546" y="1113"/>
                </a:cubicBezTo>
                <a:cubicBezTo>
                  <a:pt x="2228" y="1113"/>
                  <a:pt x="2228" y="1113"/>
                  <a:pt x="2228" y="1113"/>
                </a:cubicBezTo>
                <a:cubicBezTo>
                  <a:pt x="2180" y="1113"/>
                  <a:pt x="2148" y="1145"/>
                  <a:pt x="2148" y="1193"/>
                </a:cubicBezTo>
                <a:cubicBezTo>
                  <a:pt x="2148" y="1511"/>
                  <a:pt x="2148" y="1511"/>
                  <a:pt x="2148" y="1511"/>
                </a:cubicBezTo>
                <a:cubicBezTo>
                  <a:pt x="2100" y="1511"/>
                  <a:pt x="2069" y="1543"/>
                  <a:pt x="2069" y="1591"/>
                </a:cubicBezTo>
                <a:cubicBezTo>
                  <a:pt x="2069" y="2307"/>
                  <a:pt x="2069" y="2307"/>
                  <a:pt x="2069" y="2307"/>
                </a:cubicBezTo>
                <a:cubicBezTo>
                  <a:pt x="1989" y="2307"/>
                  <a:pt x="1989" y="2307"/>
                  <a:pt x="1989" y="2307"/>
                </a:cubicBezTo>
                <a:cubicBezTo>
                  <a:pt x="1942" y="2307"/>
                  <a:pt x="1910" y="2338"/>
                  <a:pt x="1910" y="2386"/>
                </a:cubicBezTo>
                <a:cubicBezTo>
                  <a:pt x="1910" y="3102"/>
                  <a:pt x="1910" y="3102"/>
                  <a:pt x="1910" y="3102"/>
                </a:cubicBezTo>
                <a:cubicBezTo>
                  <a:pt x="1273" y="3102"/>
                  <a:pt x="1273" y="3102"/>
                  <a:pt x="1273" y="3102"/>
                </a:cubicBezTo>
                <a:cubicBezTo>
                  <a:pt x="1273" y="2386"/>
                  <a:pt x="1273" y="2386"/>
                  <a:pt x="1273" y="2386"/>
                </a:cubicBezTo>
                <a:cubicBezTo>
                  <a:pt x="1273" y="2338"/>
                  <a:pt x="1242" y="2307"/>
                  <a:pt x="1194" y="2307"/>
                </a:cubicBezTo>
                <a:cubicBezTo>
                  <a:pt x="1114" y="2307"/>
                  <a:pt x="1114" y="2307"/>
                  <a:pt x="1114" y="2307"/>
                </a:cubicBezTo>
                <a:cubicBezTo>
                  <a:pt x="1114" y="1591"/>
                  <a:pt x="1114" y="1591"/>
                  <a:pt x="1114" y="1591"/>
                </a:cubicBezTo>
                <a:cubicBezTo>
                  <a:pt x="1114" y="1543"/>
                  <a:pt x="1082" y="1511"/>
                  <a:pt x="1034" y="1511"/>
                </a:cubicBezTo>
                <a:cubicBezTo>
                  <a:pt x="1034" y="1193"/>
                  <a:pt x="1034" y="1193"/>
                  <a:pt x="1034" y="1193"/>
                </a:cubicBezTo>
                <a:cubicBezTo>
                  <a:pt x="1034" y="1145"/>
                  <a:pt x="1003" y="1113"/>
                  <a:pt x="955" y="1113"/>
                </a:cubicBezTo>
                <a:cubicBezTo>
                  <a:pt x="637" y="1113"/>
                  <a:pt x="637" y="1113"/>
                  <a:pt x="637" y="1113"/>
                </a:cubicBezTo>
                <a:cubicBezTo>
                  <a:pt x="637" y="79"/>
                  <a:pt x="637" y="79"/>
                  <a:pt x="637" y="79"/>
                </a:cubicBezTo>
                <a:cubicBezTo>
                  <a:pt x="637" y="31"/>
                  <a:pt x="605" y="0"/>
                  <a:pt x="557" y="0"/>
                </a:cubicBezTo>
                <a:cubicBezTo>
                  <a:pt x="509" y="0"/>
                  <a:pt x="478" y="31"/>
                  <a:pt x="478" y="79"/>
                </a:cubicBezTo>
                <a:cubicBezTo>
                  <a:pt x="478" y="1113"/>
                  <a:pt x="478" y="1113"/>
                  <a:pt x="478" y="1113"/>
                </a:cubicBezTo>
                <a:cubicBezTo>
                  <a:pt x="319" y="1113"/>
                  <a:pt x="319" y="1113"/>
                  <a:pt x="319" y="1113"/>
                </a:cubicBezTo>
                <a:cubicBezTo>
                  <a:pt x="271" y="1113"/>
                  <a:pt x="239" y="1145"/>
                  <a:pt x="239" y="1193"/>
                </a:cubicBezTo>
                <a:cubicBezTo>
                  <a:pt x="239" y="1511"/>
                  <a:pt x="239" y="1511"/>
                  <a:pt x="239" y="1511"/>
                </a:cubicBezTo>
                <a:cubicBezTo>
                  <a:pt x="191" y="1511"/>
                  <a:pt x="160" y="1543"/>
                  <a:pt x="160" y="1591"/>
                </a:cubicBezTo>
                <a:cubicBezTo>
                  <a:pt x="160" y="2307"/>
                  <a:pt x="160" y="2307"/>
                  <a:pt x="160" y="2307"/>
                </a:cubicBezTo>
                <a:cubicBezTo>
                  <a:pt x="80" y="2307"/>
                  <a:pt x="80" y="2307"/>
                  <a:pt x="80" y="2307"/>
                </a:cubicBezTo>
                <a:cubicBezTo>
                  <a:pt x="32" y="2307"/>
                  <a:pt x="0" y="2338"/>
                  <a:pt x="0" y="2386"/>
                </a:cubicBezTo>
                <a:cubicBezTo>
                  <a:pt x="0" y="4757"/>
                  <a:pt x="0" y="4757"/>
                  <a:pt x="0" y="4757"/>
                </a:cubicBezTo>
                <a:cubicBezTo>
                  <a:pt x="0" y="4804"/>
                  <a:pt x="32" y="4837"/>
                  <a:pt x="80" y="4837"/>
                </a:cubicBezTo>
                <a:cubicBezTo>
                  <a:pt x="1194" y="4837"/>
                  <a:pt x="1194" y="4837"/>
                  <a:pt x="1194" y="4837"/>
                </a:cubicBezTo>
                <a:cubicBezTo>
                  <a:pt x="1242" y="4837"/>
                  <a:pt x="1273" y="4804"/>
                  <a:pt x="1273" y="4757"/>
                </a:cubicBezTo>
                <a:cubicBezTo>
                  <a:pt x="1273" y="3261"/>
                  <a:pt x="1273" y="3261"/>
                  <a:pt x="1273" y="3261"/>
                </a:cubicBezTo>
                <a:cubicBezTo>
                  <a:pt x="1910" y="3261"/>
                  <a:pt x="1910" y="3261"/>
                  <a:pt x="1910" y="3261"/>
                </a:cubicBezTo>
                <a:cubicBezTo>
                  <a:pt x="1910" y="4757"/>
                  <a:pt x="1910" y="4757"/>
                  <a:pt x="1910" y="4757"/>
                </a:cubicBezTo>
                <a:cubicBezTo>
                  <a:pt x="1910" y="4804"/>
                  <a:pt x="1942" y="4837"/>
                  <a:pt x="1989" y="4837"/>
                </a:cubicBezTo>
                <a:cubicBezTo>
                  <a:pt x="3103" y="4837"/>
                  <a:pt x="3103" y="4837"/>
                  <a:pt x="3103" y="4837"/>
                </a:cubicBezTo>
                <a:cubicBezTo>
                  <a:pt x="3135" y="4837"/>
                  <a:pt x="3182" y="4804"/>
                  <a:pt x="3182" y="4757"/>
                </a:cubicBezTo>
                <a:cubicBezTo>
                  <a:pt x="3182" y="2386"/>
                  <a:pt x="3182" y="2386"/>
                  <a:pt x="3182" y="2386"/>
                </a:cubicBezTo>
                <a:cubicBezTo>
                  <a:pt x="3182" y="2338"/>
                  <a:pt x="3135" y="2307"/>
                  <a:pt x="3103" y="2307"/>
                </a:cubicBezTo>
                <a:close/>
                <a:moveTo>
                  <a:pt x="319" y="1750"/>
                </a:moveTo>
                <a:cubicBezTo>
                  <a:pt x="955" y="1750"/>
                  <a:pt x="955" y="1750"/>
                  <a:pt x="955" y="1750"/>
                </a:cubicBezTo>
                <a:cubicBezTo>
                  <a:pt x="955" y="2307"/>
                  <a:pt x="955" y="2307"/>
                  <a:pt x="955" y="2307"/>
                </a:cubicBezTo>
                <a:cubicBezTo>
                  <a:pt x="319" y="2307"/>
                  <a:pt x="319" y="2307"/>
                  <a:pt x="319" y="2307"/>
                </a:cubicBezTo>
                <a:close/>
                <a:moveTo>
                  <a:pt x="1114" y="4677"/>
                </a:moveTo>
                <a:cubicBezTo>
                  <a:pt x="955" y="4677"/>
                  <a:pt x="955" y="4677"/>
                  <a:pt x="955" y="4677"/>
                </a:cubicBezTo>
                <a:cubicBezTo>
                  <a:pt x="955" y="3102"/>
                  <a:pt x="955" y="3102"/>
                  <a:pt x="955" y="3102"/>
                </a:cubicBezTo>
                <a:cubicBezTo>
                  <a:pt x="955" y="3055"/>
                  <a:pt x="923" y="3023"/>
                  <a:pt x="876" y="3023"/>
                </a:cubicBezTo>
                <a:cubicBezTo>
                  <a:pt x="828" y="3023"/>
                  <a:pt x="796" y="3055"/>
                  <a:pt x="796" y="3102"/>
                </a:cubicBezTo>
                <a:cubicBezTo>
                  <a:pt x="796" y="4677"/>
                  <a:pt x="796" y="4677"/>
                  <a:pt x="796" y="4677"/>
                </a:cubicBezTo>
                <a:cubicBezTo>
                  <a:pt x="160" y="4677"/>
                  <a:pt x="160" y="4677"/>
                  <a:pt x="160" y="4677"/>
                </a:cubicBezTo>
                <a:cubicBezTo>
                  <a:pt x="160" y="2466"/>
                  <a:pt x="160" y="2466"/>
                  <a:pt x="160" y="2466"/>
                </a:cubicBezTo>
                <a:cubicBezTo>
                  <a:pt x="239" y="2466"/>
                  <a:pt x="239" y="2466"/>
                  <a:pt x="239" y="2466"/>
                </a:cubicBezTo>
                <a:cubicBezTo>
                  <a:pt x="1034" y="2466"/>
                  <a:pt x="1034" y="2466"/>
                  <a:pt x="1034" y="2466"/>
                </a:cubicBezTo>
                <a:cubicBezTo>
                  <a:pt x="1114" y="2466"/>
                  <a:pt x="1114" y="2466"/>
                  <a:pt x="1114" y="2466"/>
                </a:cubicBezTo>
                <a:close/>
                <a:moveTo>
                  <a:pt x="2228" y="1750"/>
                </a:moveTo>
                <a:cubicBezTo>
                  <a:pt x="2864" y="1750"/>
                  <a:pt x="2864" y="1750"/>
                  <a:pt x="2864" y="1750"/>
                </a:cubicBezTo>
                <a:cubicBezTo>
                  <a:pt x="2864" y="2307"/>
                  <a:pt x="2864" y="2307"/>
                  <a:pt x="2864" y="2307"/>
                </a:cubicBezTo>
                <a:cubicBezTo>
                  <a:pt x="2228" y="2307"/>
                  <a:pt x="2228" y="2307"/>
                  <a:pt x="2228" y="2307"/>
                </a:cubicBezTo>
                <a:close/>
                <a:moveTo>
                  <a:pt x="3024" y="4677"/>
                </a:moveTo>
                <a:cubicBezTo>
                  <a:pt x="2387" y="4677"/>
                  <a:pt x="2387" y="4677"/>
                  <a:pt x="2387" y="4677"/>
                </a:cubicBezTo>
                <a:cubicBezTo>
                  <a:pt x="2387" y="3102"/>
                  <a:pt x="2387" y="3102"/>
                  <a:pt x="2387" y="3102"/>
                </a:cubicBezTo>
                <a:cubicBezTo>
                  <a:pt x="2387" y="3055"/>
                  <a:pt x="2339" y="3023"/>
                  <a:pt x="2307" y="3023"/>
                </a:cubicBezTo>
                <a:cubicBezTo>
                  <a:pt x="2260" y="3023"/>
                  <a:pt x="2228" y="3055"/>
                  <a:pt x="2228" y="3102"/>
                </a:cubicBezTo>
                <a:cubicBezTo>
                  <a:pt x="2228" y="4677"/>
                  <a:pt x="2228" y="4677"/>
                  <a:pt x="2228" y="4677"/>
                </a:cubicBezTo>
                <a:cubicBezTo>
                  <a:pt x="2069" y="4677"/>
                  <a:pt x="2069" y="4677"/>
                  <a:pt x="2069" y="4677"/>
                </a:cubicBezTo>
                <a:cubicBezTo>
                  <a:pt x="2069" y="2466"/>
                  <a:pt x="2069" y="2466"/>
                  <a:pt x="2069" y="2466"/>
                </a:cubicBezTo>
                <a:cubicBezTo>
                  <a:pt x="2148" y="2466"/>
                  <a:pt x="2148" y="2466"/>
                  <a:pt x="2148" y="2466"/>
                </a:cubicBezTo>
                <a:cubicBezTo>
                  <a:pt x="2944" y="2466"/>
                  <a:pt x="2944" y="2466"/>
                  <a:pt x="2944" y="2466"/>
                </a:cubicBezTo>
                <a:cubicBezTo>
                  <a:pt x="3024" y="2466"/>
                  <a:pt x="3024" y="2466"/>
                  <a:pt x="3024" y="246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7" name="Freeform: Shape 11">
            <a:extLst>
              <a:ext uri="{FF2B5EF4-FFF2-40B4-BE49-F238E27FC236}">
                <a16:creationId xmlns:a16="http://schemas.microsoft.com/office/drawing/2014/main" id="{7AF9541F-9DB8-B44E-892B-234FCE2DDFCA}"/>
              </a:ext>
            </a:extLst>
          </p:cNvPr>
          <p:cNvSpPr/>
          <p:nvPr/>
        </p:nvSpPr>
        <p:spPr>
          <a:xfrm>
            <a:off x="17272966" y="3873448"/>
            <a:ext cx="1762199" cy="1196640"/>
          </a:xfrm>
          <a:custGeom>
            <a:avLst/>
            <a:gdLst/>
            <a:ahLst/>
            <a:cxnLst>
              <a:cxn ang="3cd4">
                <a:pos x="hc" y="t"/>
              </a:cxn>
              <a:cxn ang="cd2">
                <a:pos x="l" y="vc"/>
              </a:cxn>
              <a:cxn ang="cd4">
                <a:pos x="hc" y="b"/>
              </a:cxn>
              <a:cxn ang="0">
                <a:pos x="r" y="vc"/>
              </a:cxn>
            </a:cxnLst>
            <a:rect l="l" t="t" r="r" b="b"/>
            <a:pathLst>
              <a:path w="4896" h="3325">
                <a:moveTo>
                  <a:pt x="4817" y="1956"/>
                </a:moveTo>
                <a:cubicBezTo>
                  <a:pt x="3544" y="1956"/>
                  <a:pt x="3544" y="1956"/>
                  <a:pt x="3544" y="1956"/>
                </a:cubicBezTo>
                <a:cubicBezTo>
                  <a:pt x="3544" y="1495"/>
                  <a:pt x="3544" y="1495"/>
                  <a:pt x="3544" y="1495"/>
                </a:cubicBezTo>
                <a:cubicBezTo>
                  <a:pt x="3544" y="1447"/>
                  <a:pt x="3512" y="1415"/>
                  <a:pt x="3464" y="1415"/>
                </a:cubicBezTo>
                <a:cubicBezTo>
                  <a:pt x="3417" y="1415"/>
                  <a:pt x="3417" y="1415"/>
                  <a:pt x="3417" y="1415"/>
                </a:cubicBezTo>
                <a:cubicBezTo>
                  <a:pt x="3417" y="1081"/>
                  <a:pt x="3417" y="1081"/>
                  <a:pt x="3417" y="1081"/>
                </a:cubicBezTo>
                <a:cubicBezTo>
                  <a:pt x="3417" y="795"/>
                  <a:pt x="3178" y="540"/>
                  <a:pt x="2875" y="492"/>
                </a:cubicBezTo>
                <a:cubicBezTo>
                  <a:pt x="2875" y="63"/>
                  <a:pt x="2875" y="63"/>
                  <a:pt x="2875" y="63"/>
                </a:cubicBezTo>
                <a:cubicBezTo>
                  <a:pt x="2875" y="31"/>
                  <a:pt x="2844" y="0"/>
                  <a:pt x="2796" y="0"/>
                </a:cubicBezTo>
                <a:cubicBezTo>
                  <a:pt x="2748" y="0"/>
                  <a:pt x="2717" y="31"/>
                  <a:pt x="2717" y="63"/>
                </a:cubicBezTo>
                <a:cubicBezTo>
                  <a:pt x="2717" y="492"/>
                  <a:pt x="2717" y="492"/>
                  <a:pt x="2717" y="492"/>
                </a:cubicBezTo>
                <a:cubicBezTo>
                  <a:pt x="2430" y="524"/>
                  <a:pt x="2191" y="779"/>
                  <a:pt x="2175" y="1065"/>
                </a:cubicBezTo>
                <a:lnTo>
                  <a:pt x="2175" y="1081"/>
                </a:lnTo>
                <a:cubicBezTo>
                  <a:pt x="2175" y="1415"/>
                  <a:pt x="2175" y="1415"/>
                  <a:pt x="2175" y="1415"/>
                </a:cubicBezTo>
                <a:cubicBezTo>
                  <a:pt x="2127" y="1415"/>
                  <a:pt x="2127" y="1415"/>
                  <a:pt x="2127" y="1415"/>
                </a:cubicBezTo>
                <a:cubicBezTo>
                  <a:pt x="2080" y="1415"/>
                  <a:pt x="2048" y="1447"/>
                  <a:pt x="2048" y="1495"/>
                </a:cubicBezTo>
                <a:cubicBezTo>
                  <a:pt x="2048" y="1956"/>
                  <a:pt x="2048" y="1956"/>
                  <a:pt x="2048" y="1956"/>
                </a:cubicBezTo>
                <a:cubicBezTo>
                  <a:pt x="584" y="1956"/>
                  <a:pt x="584" y="1956"/>
                  <a:pt x="584" y="1956"/>
                </a:cubicBezTo>
                <a:cubicBezTo>
                  <a:pt x="584" y="1574"/>
                  <a:pt x="584" y="1574"/>
                  <a:pt x="584" y="1574"/>
                </a:cubicBezTo>
                <a:cubicBezTo>
                  <a:pt x="696" y="1574"/>
                  <a:pt x="696" y="1574"/>
                  <a:pt x="696" y="1574"/>
                </a:cubicBezTo>
                <a:cubicBezTo>
                  <a:pt x="727" y="1574"/>
                  <a:pt x="759" y="1558"/>
                  <a:pt x="775" y="1527"/>
                </a:cubicBezTo>
                <a:cubicBezTo>
                  <a:pt x="791" y="1511"/>
                  <a:pt x="791" y="1479"/>
                  <a:pt x="775" y="1447"/>
                </a:cubicBezTo>
                <a:cubicBezTo>
                  <a:pt x="457" y="906"/>
                  <a:pt x="457" y="906"/>
                  <a:pt x="457" y="906"/>
                </a:cubicBezTo>
                <a:cubicBezTo>
                  <a:pt x="425" y="858"/>
                  <a:pt x="346" y="858"/>
                  <a:pt x="314" y="906"/>
                </a:cubicBezTo>
                <a:cubicBezTo>
                  <a:pt x="12" y="1447"/>
                  <a:pt x="12" y="1447"/>
                  <a:pt x="12" y="1447"/>
                </a:cubicBezTo>
                <a:cubicBezTo>
                  <a:pt x="-4" y="1479"/>
                  <a:pt x="-4" y="1511"/>
                  <a:pt x="12" y="1527"/>
                </a:cubicBezTo>
                <a:cubicBezTo>
                  <a:pt x="12" y="1558"/>
                  <a:pt x="44" y="1574"/>
                  <a:pt x="75" y="1574"/>
                </a:cubicBezTo>
                <a:cubicBezTo>
                  <a:pt x="155" y="1574"/>
                  <a:pt x="155" y="1574"/>
                  <a:pt x="155" y="1574"/>
                </a:cubicBezTo>
                <a:cubicBezTo>
                  <a:pt x="155" y="1956"/>
                  <a:pt x="155" y="1956"/>
                  <a:pt x="155" y="1956"/>
                </a:cubicBezTo>
                <a:cubicBezTo>
                  <a:pt x="91" y="1956"/>
                  <a:pt x="91" y="1956"/>
                  <a:pt x="91" y="1956"/>
                </a:cubicBezTo>
                <a:cubicBezTo>
                  <a:pt x="59" y="1956"/>
                  <a:pt x="12" y="1988"/>
                  <a:pt x="12" y="2036"/>
                </a:cubicBezTo>
                <a:cubicBezTo>
                  <a:pt x="12" y="3245"/>
                  <a:pt x="12" y="3245"/>
                  <a:pt x="12" y="3245"/>
                </a:cubicBezTo>
                <a:cubicBezTo>
                  <a:pt x="12" y="3293"/>
                  <a:pt x="59" y="3325"/>
                  <a:pt x="91" y="3325"/>
                </a:cubicBezTo>
                <a:cubicBezTo>
                  <a:pt x="4817" y="3325"/>
                  <a:pt x="4817" y="3325"/>
                  <a:pt x="4817" y="3325"/>
                </a:cubicBezTo>
                <a:cubicBezTo>
                  <a:pt x="4864" y="3325"/>
                  <a:pt x="4896" y="3293"/>
                  <a:pt x="4896" y="3245"/>
                </a:cubicBezTo>
                <a:cubicBezTo>
                  <a:pt x="4896" y="2036"/>
                  <a:pt x="4896" y="2036"/>
                  <a:pt x="4896" y="2036"/>
                </a:cubicBezTo>
                <a:cubicBezTo>
                  <a:pt x="4896" y="1988"/>
                  <a:pt x="4864" y="1956"/>
                  <a:pt x="4817" y="1956"/>
                </a:cubicBezTo>
                <a:close/>
                <a:moveTo>
                  <a:pt x="4737" y="2625"/>
                </a:moveTo>
                <a:cubicBezTo>
                  <a:pt x="3687" y="2625"/>
                  <a:pt x="3687" y="2625"/>
                  <a:pt x="3687" y="2625"/>
                </a:cubicBezTo>
                <a:cubicBezTo>
                  <a:pt x="3687" y="2115"/>
                  <a:pt x="3687" y="2115"/>
                  <a:pt x="3687" y="2115"/>
                </a:cubicBezTo>
                <a:cubicBezTo>
                  <a:pt x="4737" y="2115"/>
                  <a:pt x="4737" y="2115"/>
                  <a:pt x="4737" y="2115"/>
                </a:cubicBezTo>
                <a:close/>
                <a:moveTo>
                  <a:pt x="2478" y="2783"/>
                </a:moveTo>
                <a:cubicBezTo>
                  <a:pt x="2987" y="2783"/>
                  <a:pt x="2987" y="2783"/>
                  <a:pt x="2987" y="2783"/>
                </a:cubicBezTo>
                <a:cubicBezTo>
                  <a:pt x="2987" y="3165"/>
                  <a:pt x="2987" y="3165"/>
                  <a:pt x="2987" y="3165"/>
                </a:cubicBezTo>
                <a:cubicBezTo>
                  <a:pt x="2478" y="3165"/>
                  <a:pt x="2478" y="3165"/>
                  <a:pt x="2478" y="3165"/>
                </a:cubicBezTo>
                <a:close/>
                <a:moveTo>
                  <a:pt x="2318" y="3165"/>
                </a:moveTo>
                <a:cubicBezTo>
                  <a:pt x="2064" y="3165"/>
                  <a:pt x="2064" y="3165"/>
                  <a:pt x="2064" y="3165"/>
                </a:cubicBezTo>
                <a:cubicBezTo>
                  <a:pt x="2064" y="2783"/>
                  <a:pt x="2064" y="2783"/>
                  <a:pt x="2064" y="2783"/>
                </a:cubicBezTo>
                <a:cubicBezTo>
                  <a:pt x="2318" y="2783"/>
                  <a:pt x="2318" y="2783"/>
                  <a:pt x="2318" y="2783"/>
                </a:cubicBezTo>
                <a:close/>
                <a:moveTo>
                  <a:pt x="3146" y="2783"/>
                </a:moveTo>
                <a:cubicBezTo>
                  <a:pt x="3528" y="2783"/>
                  <a:pt x="3528" y="2783"/>
                  <a:pt x="3528" y="2783"/>
                </a:cubicBezTo>
                <a:cubicBezTo>
                  <a:pt x="3528" y="3165"/>
                  <a:pt x="3528" y="3165"/>
                  <a:pt x="3528" y="3165"/>
                </a:cubicBezTo>
                <a:cubicBezTo>
                  <a:pt x="3146" y="3165"/>
                  <a:pt x="3146" y="3165"/>
                  <a:pt x="3146" y="3165"/>
                </a:cubicBezTo>
                <a:close/>
                <a:moveTo>
                  <a:pt x="2064" y="2625"/>
                </a:moveTo>
                <a:cubicBezTo>
                  <a:pt x="2064" y="2115"/>
                  <a:pt x="2064" y="2115"/>
                  <a:pt x="2064" y="2115"/>
                </a:cubicBezTo>
                <a:cubicBezTo>
                  <a:pt x="2127" y="2115"/>
                  <a:pt x="2127" y="2115"/>
                  <a:pt x="2127" y="2115"/>
                </a:cubicBezTo>
                <a:cubicBezTo>
                  <a:pt x="3464" y="2115"/>
                  <a:pt x="3464" y="2115"/>
                  <a:pt x="3464" y="2115"/>
                </a:cubicBezTo>
                <a:cubicBezTo>
                  <a:pt x="3528" y="2115"/>
                  <a:pt x="3528" y="2115"/>
                  <a:pt x="3528" y="2115"/>
                </a:cubicBezTo>
                <a:cubicBezTo>
                  <a:pt x="3528" y="2625"/>
                  <a:pt x="3528" y="2625"/>
                  <a:pt x="3528" y="2625"/>
                </a:cubicBezTo>
                <a:close/>
                <a:moveTo>
                  <a:pt x="171" y="2115"/>
                </a:moveTo>
                <a:cubicBezTo>
                  <a:pt x="1905" y="2115"/>
                  <a:pt x="1905" y="2115"/>
                  <a:pt x="1905" y="2115"/>
                </a:cubicBezTo>
                <a:cubicBezTo>
                  <a:pt x="1905" y="2625"/>
                  <a:pt x="1905" y="2625"/>
                  <a:pt x="1905" y="2625"/>
                </a:cubicBezTo>
                <a:cubicBezTo>
                  <a:pt x="171" y="2625"/>
                  <a:pt x="171" y="2625"/>
                  <a:pt x="171" y="2625"/>
                </a:cubicBezTo>
                <a:close/>
                <a:moveTo>
                  <a:pt x="2796" y="652"/>
                </a:moveTo>
                <a:cubicBezTo>
                  <a:pt x="3003" y="652"/>
                  <a:pt x="3209" y="811"/>
                  <a:pt x="3241" y="1002"/>
                </a:cubicBezTo>
                <a:cubicBezTo>
                  <a:pt x="2350" y="1002"/>
                  <a:pt x="2350" y="1002"/>
                  <a:pt x="2350" y="1002"/>
                </a:cubicBezTo>
                <a:cubicBezTo>
                  <a:pt x="2382" y="811"/>
                  <a:pt x="2589" y="652"/>
                  <a:pt x="2796" y="652"/>
                </a:cubicBezTo>
                <a:close/>
                <a:moveTo>
                  <a:pt x="2335" y="1161"/>
                </a:moveTo>
                <a:cubicBezTo>
                  <a:pt x="3257" y="1161"/>
                  <a:pt x="3257" y="1161"/>
                  <a:pt x="3257" y="1161"/>
                </a:cubicBezTo>
                <a:cubicBezTo>
                  <a:pt x="3257" y="1415"/>
                  <a:pt x="3257" y="1415"/>
                  <a:pt x="3257" y="1415"/>
                </a:cubicBezTo>
                <a:cubicBezTo>
                  <a:pt x="2335" y="1415"/>
                  <a:pt x="2335" y="1415"/>
                  <a:pt x="2335" y="1415"/>
                </a:cubicBezTo>
                <a:close/>
                <a:moveTo>
                  <a:pt x="2207" y="1574"/>
                </a:moveTo>
                <a:cubicBezTo>
                  <a:pt x="2255" y="1574"/>
                  <a:pt x="2255" y="1574"/>
                  <a:pt x="2255" y="1574"/>
                </a:cubicBezTo>
                <a:cubicBezTo>
                  <a:pt x="3337" y="1574"/>
                  <a:pt x="3337" y="1574"/>
                  <a:pt x="3337" y="1574"/>
                </a:cubicBezTo>
                <a:cubicBezTo>
                  <a:pt x="3385" y="1574"/>
                  <a:pt x="3385" y="1574"/>
                  <a:pt x="3385" y="1574"/>
                </a:cubicBezTo>
                <a:cubicBezTo>
                  <a:pt x="3385" y="1956"/>
                  <a:pt x="3385" y="1956"/>
                  <a:pt x="3385" y="1956"/>
                </a:cubicBezTo>
                <a:cubicBezTo>
                  <a:pt x="2207" y="1956"/>
                  <a:pt x="2207" y="1956"/>
                  <a:pt x="2207" y="1956"/>
                </a:cubicBezTo>
                <a:close/>
                <a:moveTo>
                  <a:pt x="393" y="1097"/>
                </a:moveTo>
                <a:cubicBezTo>
                  <a:pt x="569" y="1415"/>
                  <a:pt x="569" y="1415"/>
                  <a:pt x="569" y="1415"/>
                </a:cubicBezTo>
                <a:cubicBezTo>
                  <a:pt x="218" y="1415"/>
                  <a:pt x="218" y="1415"/>
                  <a:pt x="218" y="1415"/>
                </a:cubicBezTo>
                <a:close/>
                <a:moveTo>
                  <a:pt x="314" y="1574"/>
                </a:moveTo>
                <a:cubicBezTo>
                  <a:pt x="425" y="1574"/>
                  <a:pt x="425" y="1574"/>
                  <a:pt x="425" y="1574"/>
                </a:cubicBezTo>
                <a:cubicBezTo>
                  <a:pt x="425" y="1956"/>
                  <a:pt x="425" y="1956"/>
                  <a:pt x="425" y="1956"/>
                </a:cubicBezTo>
                <a:cubicBezTo>
                  <a:pt x="314" y="1956"/>
                  <a:pt x="314" y="1956"/>
                  <a:pt x="314" y="1956"/>
                </a:cubicBezTo>
                <a:close/>
                <a:moveTo>
                  <a:pt x="171" y="2783"/>
                </a:moveTo>
                <a:cubicBezTo>
                  <a:pt x="1905" y="2783"/>
                  <a:pt x="1905" y="2783"/>
                  <a:pt x="1905" y="2783"/>
                </a:cubicBezTo>
                <a:cubicBezTo>
                  <a:pt x="1905" y="3165"/>
                  <a:pt x="1905" y="3165"/>
                  <a:pt x="1905" y="3165"/>
                </a:cubicBezTo>
                <a:cubicBezTo>
                  <a:pt x="171" y="3165"/>
                  <a:pt x="171" y="3165"/>
                  <a:pt x="171" y="3165"/>
                </a:cubicBezTo>
                <a:close/>
                <a:moveTo>
                  <a:pt x="3687" y="3165"/>
                </a:moveTo>
                <a:cubicBezTo>
                  <a:pt x="3687" y="2783"/>
                  <a:pt x="3687" y="2783"/>
                  <a:pt x="3687" y="2783"/>
                </a:cubicBezTo>
                <a:cubicBezTo>
                  <a:pt x="4737" y="2783"/>
                  <a:pt x="4737" y="2783"/>
                  <a:pt x="4737" y="2783"/>
                </a:cubicBezTo>
                <a:cubicBezTo>
                  <a:pt x="4737" y="3165"/>
                  <a:pt x="4737" y="3165"/>
                  <a:pt x="4737" y="316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8" name="Freeform: Shape 12">
            <a:extLst>
              <a:ext uri="{FF2B5EF4-FFF2-40B4-BE49-F238E27FC236}">
                <a16:creationId xmlns:a16="http://schemas.microsoft.com/office/drawing/2014/main" id="{61591FAB-4191-7C45-B35F-94D7ED46B8C7}"/>
              </a:ext>
            </a:extLst>
          </p:cNvPr>
          <p:cNvSpPr/>
          <p:nvPr/>
        </p:nvSpPr>
        <p:spPr>
          <a:xfrm>
            <a:off x="13966513" y="3346672"/>
            <a:ext cx="1702800" cy="1646280"/>
          </a:xfrm>
          <a:custGeom>
            <a:avLst/>
            <a:gdLst/>
            <a:ahLst/>
            <a:cxnLst>
              <a:cxn ang="3cd4">
                <a:pos x="hc" y="t"/>
              </a:cxn>
              <a:cxn ang="cd2">
                <a:pos x="l" y="vc"/>
              </a:cxn>
              <a:cxn ang="cd4">
                <a:pos x="hc" y="b"/>
              </a:cxn>
              <a:cxn ang="0">
                <a:pos x="r" y="vc"/>
              </a:cxn>
            </a:cxnLst>
            <a:rect l="l" t="t" r="r" b="b"/>
            <a:pathLst>
              <a:path w="4731" h="4574">
                <a:moveTo>
                  <a:pt x="4699" y="1758"/>
                </a:moveTo>
                <a:lnTo>
                  <a:pt x="2408" y="24"/>
                </a:lnTo>
                <a:cubicBezTo>
                  <a:pt x="2392" y="-8"/>
                  <a:pt x="2344" y="-8"/>
                  <a:pt x="2313" y="24"/>
                </a:cubicBezTo>
                <a:lnTo>
                  <a:pt x="37" y="1774"/>
                </a:lnTo>
                <a:cubicBezTo>
                  <a:pt x="6" y="1790"/>
                  <a:pt x="-10" y="1821"/>
                  <a:pt x="6" y="1854"/>
                </a:cubicBezTo>
                <a:lnTo>
                  <a:pt x="880" y="4511"/>
                </a:lnTo>
                <a:cubicBezTo>
                  <a:pt x="897" y="4542"/>
                  <a:pt x="928" y="4574"/>
                  <a:pt x="960" y="4574"/>
                </a:cubicBezTo>
                <a:lnTo>
                  <a:pt x="3776" y="4574"/>
                </a:lnTo>
                <a:cubicBezTo>
                  <a:pt x="3808" y="4574"/>
                  <a:pt x="3840" y="4542"/>
                  <a:pt x="3856" y="4511"/>
                </a:cubicBezTo>
                <a:lnTo>
                  <a:pt x="4731" y="1838"/>
                </a:lnTo>
                <a:cubicBezTo>
                  <a:pt x="4731" y="1806"/>
                  <a:pt x="4731" y="1774"/>
                  <a:pt x="4699" y="1758"/>
                </a:cubicBezTo>
                <a:close/>
                <a:moveTo>
                  <a:pt x="3713" y="4415"/>
                </a:moveTo>
                <a:lnTo>
                  <a:pt x="1008" y="4415"/>
                </a:lnTo>
                <a:lnTo>
                  <a:pt x="180" y="1854"/>
                </a:lnTo>
                <a:lnTo>
                  <a:pt x="2361" y="183"/>
                </a:lnTo>
                <a:lnTo>
                  <a:pt x="4556" y="1838"/>
                </a:lnTo>
                <a:close/>
                <a:moveTo>
                  <a:pt x="2313" y="533"/>
                </a:moveTo>
                <a:lnTo>
                  <a:pt x="579" y="1854"/>
                </a:lnTo>
                <a:cubicBezTo>
                  <a:pt x="562" y="1869"/>
                  <a:pt x="547" y="1901"/>
                  <a:pt x="547" y="1933"/>
                </a:cubicBezTo>
                <a:lnTo>
                  <a:pt x="1215" y="4033"/>
                </a:lnTo>
                <a:cubicBezTo>
                  <a:pt x="1231" y="4065"/>
                  <a:pt x="1262" y="4097"/>
                  <a:pt x="1294" y="4097"/>
                </a:cubicBezTo>
                <a:lnTo>
                  <a:pt x="3442" y="4097"/>
                </a:lnTo>
                <a:cubicBezTo>
                  <a:pt x="3474" y="4097"/>
                  <a:pt x="3506" y="4065"/>
                  <a:pt x="3522" y="4033"/>
                </a:cubicBezTo>
                <a:lnTo>
                  <a:pt x="4174" y="1917"/>
                </a:lnTo>
                <a:cubicBezTo>
                  <a:pt x="4190" y="1885"/>
                  <a:pt x="4174" y="1854"/>
                  <a:pt x="4142" y="1821"/>
                </a:cubicBezTo>
                <a:lnTo>
                  <a:pt x="2408" y="533"/>
                </a:lnTo>
                <a:cubicBezTo>
                  <a:pt x="2392" y="517"/>
                  <a:pt x="2344" y="517"/>
                  <a:pt x="2313" y="533"/>
                </a:cubicBezTo>
                <a:close/>
                <a:moveTo>
                  <a:pt x="4015" y="1917"/>
                </a:moveTo>
                <a:lnTo>
                  <a:pt x="3379" y="3938"/>
                </a:lnTo>
                <a:lnTo>
                  <a:pt x="1358" y="3938"/>
                </a:lnTo>
                <a:lnTo>
                  <a:pt x="722" y="1949"/>
                </a:lnTo>
                <a:lnTo>
                  <a:pt x="2361" y="708"/>
                </a:lnTo>
                <a:close/>
                <a:moveTo>
                  <a:pt x="1056" y="2156"/>
                </a:moveTo>
                <a:lnTo>
                  <a:pt x="1533" y="3556"/>
                </a:lnTo>
                <a:cubicBezTo>
                  <a:pt x="1549" y="3603"/>
                  <a:pt x="1565" y="3620"/>
                  <a:pt x="1613" y="3620"/>
                </a:cubicBezTo>
                <a:lnTo>
                  <a:pt x="3124" y="3620"/>
                </a:lnTo>
                <a:cubicBezTo>
                  <a:pt x="3156" y="3620"/>
                  <a:pt x="3188" y="3603"/>
                  <a:pt x="3204" y="3556"/>
                </a:cubicBezTo>
                <a:lnTo>
                  <a:pt x="3665" y="2156"/>
                </a:lnTo>
                <a:cubicBezTo>
                  <a:pt x="3681" y="2124"/>
                  <a:pt x="3665" y="2092"/>
                  <a:pt x="3649" y="2060"/>
                </a:cubicBezTo>
                <a:lnTo>
                  <a:pt x="2408" y="1090"/>
                </a:lnTo>
                <a:cubicBezTo>
                  <a:pt x="2392" y="1074"/>
                  <a:pt x="2344" y="1074"/>
                  <a:pt x="2313" y="1090"/>
                </a:cubicBezTo>
                <a:lnTo>
                  <a:pt x="1088" y="2060"/>
                </a:lnTo>
                <a:cubicBezTo>
                  <a:pt x="1056" y="2092"/>
                  <a:pt x="1056" y="2124"/>
                  <a:pt x="1056" y="2156"/>
                </a:cubicBezTo>
                <a:close/>
                <a:moveTo>
                  <a:pt x="2361" y="1249"/>
                </a:moveTo>
                <a:lnTo>
                  <a:pt x="3506" y="2156"/>
                </a:lnTo>
                <a:lnTo>
                  <a:pt x="3076" y="3460"/>
                </a:lnTo>
                <a:lnTo>
                  <a:pt x="1660" y="3460"/>
                </a:lnTo>
                <a:lnTo>
                  <a:pt x="1231" y="2156"/>
                </a:lnTo>
                <a:close/>
                <a:moveTo>
                  <a:pt x="1931" y="3142"/>
                </a:moveTo>
                <a:lnTo>
                  <a:pt x="2790" y="3142"/>
                </a:lnTo>
                <a:cubicBezTo>
                  <a:pt x="2838" y="3142"/>
                  <a:pt x="2853" y="3126"/>
                  <a:pt x="2870" y="3078"/>
                </a:cubicBezTo>
                <a:lnTo>
                  <a:pt x="3140" y="2251"/>
                </a:lnTo>
                <a:cubicBezTo>
                  <a:pt x="3140" y="2220"/>
                  <a:pt x="3140" y="2172"/>
                  <a:pt x="3108" y="2156"/>
                </a:cubicBezTo>
                <a:lnTo>
                  <a:pt x="2408" y="1631"/>
                </a:lnTo>
                <a:cubicBezTo>
                  <a:pt x="2392" y="1599"/>
                  <a:pt x="2344" y="1599"/>
                  <a:pt x="2313" y="1631"/>
                </a:cubicBezTo>
                <a:lnTo>
                  <a:pt x="1628" y="2156"/>
                </a:lnTo>
                <a:cubicBezTo>
                  <a:pt x="1597" y="2172"/>
                  <a:pt x="1581" y="2203"/>
                  <a:pt x="1597" y="2235"/>
                </a:cubicBezTo>
                <a:lnTo>
                  <a:pt x="1867" y="3078"/>
                </a:lnTo>
                <a:cubicBezTo>
                  <a:pt x="1867" y="3126"/>
                  <a:pt x="1899" y="3142"/>
                  <a:pt x="1931" y="3142"/>
                </a:cubicBezTo>
                <a:close/>
                <a:moveTo>
                  <a:pt x="2361" y="1790"/>
                </a:moveTo>
                <a:lnTo>
                  <a:pt x="2965" y="2251"/>
                </a:lnTo>
                <a:lnTo>
                  <a:pt x="2742" y="2983"/>
                </a:lnTo>
                <a:lnTo>
                  <a:pt x="1994" y="2983"/>
                </a:lnTo>
                <a:lnTo>
                  <a:pt x="1771" y="2235"/>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9" name="Freeform: Shape 13">
            <a:extLst>
              <a:ext uri="{FF2B5EF4-FFF2-40B4-BE49-F238E27FC236}">
                <a16:creationId xmlns:a16="http://schemas.microsoft.com/office/drawing/2014/main" id="{E54016D9-7748-F24E-BDB0-9A88ABCACC1C}"/>
              </a:ext>
            </a:extLst>
          </p:cNvPr>
          <p:cNvSpPr/>
          <p:nvPr/>
        </p:nvSpPr>
        <p:spPr>
          <a:xfrm>
            <a:off x="10444466" y="3308748"/>
            <a:ext cx="700920" cy="1703880"/>
          </a:xfrm>
          <a:custGeom>
            <a:avLst/>
            <a:gdLst/>
            <a:ahLst/>
            <a:cxnLst>
              <a:cxn ang="3cd4">
                <a:pos x="hc" y="t"/>
              </a:cxn>
              <a:cxn ang="cd2">
                <a:pos x="l" y="vc"/>
              </a:cxn>
              <a:cxn ang="cd4">
                <a:pos x="hc" y="b"/>
              </a:cxn>
              <a:cxn ang="0">
                <a:pos x="r" y="vc"/>
              </a:cxn>
            </a:cxnLst>
            <a:rect l="l" t="t" r="r" b="b"/>
            <a:pathLst>
              <a:path w="1948" h="4734">
                <a:moveTo>
                  <a:pt x="23" y="4702"/>
                </a:moveTo>
                <a:cubicBezTo>
                  <a:pt x="39" y="4718"/>
                  <a:pt x="55" y="4734"/>
                  <a:pt x="87" y="4734"/>
                </a:cubicBezTo>
                <a:cubicBezTo>
                  <a:pt x="1869" y="4734"/>
                  <a:pt x="1869" y="4734"/>
                  <a:pt x="1869" y="4734"/>
                </a:cubicBezTo>
                <a:cubicBezTo>
                  <a:pt x="1884" y="4734"/>
                  <a:pt x="1916" y="4718"/>
                  <a:pt x="1932" y="4702"/>
                </a:cubicBezTo>
                <a:cubicBezTo>
                  <a:pt x="1948" y="4686"/>
                  <a:pt x="1948" y="4670"/>
                  <a:pt x="1948" y="4638"/>
                </a:cubicBezTo>
                <a:cubicBezTo>
                  <a:pt x="1550" y="1552"/>
                  <a:pt x="1550" y="1552"/>
                  <a:pt x="1550" y="1552"/>
                </a:cubicBezTo>
                <a:cubicBezTo>
                  <a:pt x="1598" y="1536"/>
                  <a:pt x="1614" y="1504"/>
                  <a:pt x="1614" y="1472"/>
                </a:cubicBezTo>
                <a:cubicBezTo>
                  <a:pt x="1614" y="1074"/>
                  <a:pt x="1614" y="1074"/>
                  <a:pt x="1614" y="1074"/>
                </a:cubicBezTo>
                <a:cubicBezTo>
                  <a:pt x="1773" y="1074"/>
                  <a:pt x="1773" y="1074"/>
                  <a:pt x="1773" y="1074"/>
                </a:cubicBezTo>
                <a:cubicBezTo>
                  <a:pt x="1821" y="1074"/>
                  <a:pt x="1853" y="1043"/>
                  <a:pt x="1853" y="995"/>
                </a:cubicBezTo>
                <a:cubicBezTo>
                  <a:pt x="1853" y="947"/>
                  <a:pt x="1821" y="915"/>
                  <a:pt x="1773" y="915"/>
                </a:cubicBezTo>
                <a:cubicBezTo>
                  <a:pt x="1614" y="915"/>
                  <a:pt x="1614" y="915"/>
                  <a:pt x="1614" y="915"/>
                </a:cubicBezTo>
                <a:cubicBezTo>
                  <a:pt x="1614" y="756"/>
                  <a:pt x="1614" y="756"/>
                  <a:pt x="1614" y="756"/>
                </a:cubicBezTo>
                <a:cubicBezTo>
                  <a:pt x="1678" y="756"/>
                  <a:pt x="1678" y="756"/>
                  <a:pt x="1678" y="756"/>
                </a:cubicBezTo>
                <a:cubicBezTo>
                  <a:pt x="1710" y="756"/>
                  <a:pt x="1741" y="740"/>
                  <a:pt x="1741" y="709"/>
                </a:cubicBezTo>
                <a:cubicBezTo>
                  <a:pt x="1757" y="676"/>
                  <a:pt x="1741" y="645"/>
                  <a:pt x="1726" y="613"/>
                </a:cubicBezTo>
                <a:cubicBezTo>
                  <a:pt x="1025" y="24"/>
                  <a:pt x="1025" y="24"/>
                  <a:pt x="1025" y="24"/>
                </a:cubicBezTo>
                <a:cubicBezTo>
                  <a:pt x="993" y="-8"/>
                  <a:pt x="946" y="-8"/>
                  <a:pt x="914" y="24"/>
                </a:cubicBezTo>
                <a:cubicBezTo>
                  <a:pt x="214" y="613"/>
                  <a:pt x="214" y="613"/>
                  <a:pt x="214" y="613"/>
                </a:cubicBezTo>
                <a:cubicBezTo>
                  <a:pt x="198" y="645"/>
                  <a:pt x="182" y="676"/>
                  <a:pt x="198" y="709"/>
                </a:cubicBezTo>
                <a:cubicBezTo>
                  <a:pt x="214" y="740"/>
                  <a:pt x="246" y="756"/>
                  <a:pt x="278" y="756"/>
                </a:cubicBezTo>
                <a:cubicBezTo>
                  <a:pt x="341" y="756"/>
                  <a:pt x="341" y="756"/>
                  <a:pt x="341" y="756"/>
                </a:cubicBezTo>
                <a:cubicBezTo>
                  <a:pt x="341" y="915"/>
                  <a:pt x="341" y="915"/>
                  <a:pt x="341" y="915"/>
                </a:cubicBezTo>
                <a:cubicBezTo>
                  <a:pt x="182" y="915"/>
                  <a:pt x="182" y="915"/>
                  <a:pt x="182" y="915"/>
                </a:cubicBezTo>
                <a:cubicBezTo>
                  <a:pt x="135" y="915"/>
                  <a:pt x="102" y="947"/>
                  <a:pt x="102" y="995"/>
                </a:cubicBezTo>
                <a:cubicBezTo>
                  <a:pt x="102" y="1043"/>
                  <a:pt x="135" y="1074"/>
                  <a:pt x="182" y="1074"/>
                </a:cubicBezTo>
                <a:cubicBezTo>
                  <a:pt x="341" y="1074"/>
                  <a:pt x="341" y="1074"/>
                  <a:pt x="341" y="1074"/>
                </a:cubicBezTo>
                <a:cubicBezTo>
                  <a:pt x="341" y="1472"/>
                  <a:pt x="341" y="1472"/>
                  <a:pt x="341" y="1472"/>
                </a:cubicBezTo>
                <a:cubicBezTo>
                  <a:pt x="341" y="1504"/>
                  <a:pt x="357" y="1536"/>
                  <a:pt x="389" y="1536"/>
                </a:cubicBezTo>
                <a:cubicBezTo>
                  <a:pt x="7" y="4638"/>
                  <a:pt x="7" y="4638"/>
                  <a:pt x="7" y="4638"/>
                </a:cubicBezTo>
                <a:cubicBezTo>
                  <a:pt x="-9" y="4670"/>
                  <a:pt x="7" y="4686"/>
                  <a:pt x="23" y="4702"/>
                </a:cubicBezTo>
                <a:close/>
                <a:moveTo>
                  <a:pt x="421" y="2618"/>
                </a:moveTo>
                <a:cubicBezTo>
                  <a:pt x="1455" y="2013"/>
                  <a:pt x="1455" y="2013"/>
                  <a:pt x="1455" y="2013"/>
                </a:cubicBezTo>
                <a:cubicBezTo>
                  <a:pt x="1503" y="2395"/>
                  <a:pt x="1503" y="2395"/>
                  <a:pt x="1503" y="2395"/>
                </a:cubicBezTo>
                <a:cubicBezTo>
                  <a:pt x="357" y="3111"/>
                  <a:pt x="357" y="3111"/>
                  <a:pt x="357" y="3111"/>
                </a:cubicBezTo>
                <a:close/>
                <a:moveTo>
                  <a:pt x="1439" y="1838"/>
                </a:moveTo>
                <a:cubicBezTo>
                  <a:pt x="437" y="2411"/>
                  <a:pt x="437" y="2411"/>
                  <a:pt x="437" y="2411"/>
                </a:cubicBezTo>
                <a:cubicBezTo>
                  <a:pt x="548" y="1552"/>
                  <a:pt x="548" y="1552"/>
                  <a:pt x="548" y="1552"/>
                </a:cubicBezTo>
                <a:cubicBezTo>
                  <a:pt x="1392" y="1552"/>
                  <a:pt x="1392" y="1552"/>
                  <a:pt x="1392" y="1552"/>
                </a:cubicBezTo>
                <a:close/>
                <a:moveTo>
                  <a:pt x="325" y="3302"/>
                </a:moveTo>
                <a:cubicBezTo>
                  <a:pt x="341" y="3302"/>
                  <a:pt x="341" y="3286"/>
                  <a:pt x="357" y="3286"/>
                </a:cubicBezTo>
                <a:cubicBezTo>
                  <a:pt x="1519" y="2570"/>
                  <a:pt x="1519" y="2570"/>
                  <a:pt x="1519" y="2570"/>
                </a:cubicBezTo>
                <a:cubicBezTo>
                  <a:pt x="1566" y="2936"/>
                  <a:pt x="1566" y="2936"/>
                  <a:pt x="1566" y="2936"/>
                </a:cubicBezTo>
                <a:lnTo>
                  <a:pt x="1550" y="2936"/>
                </a:lnTo>
                <a:cubicBezTo>
                  <a:pt x="278" y="3715"/>
                  <a:pt x="278" y="3715"/>
                  <a:pt x="278" y="3715"/>
                </a:cubicBezTo>
                <a:close/>
                <a:moveTo>
                  <a:pt x="166" y="4574"/>
                </a:moveTo>
                <a:cubicBezTo>
                  <a:pt x="246" y="3906"/>
                  <a:pt x="246" y="3906"/>
                  <a:pt x="246" y="3906"/>
                </a:cubicBezTo>
                <a:cubicBezTo>
                  <a:pt x="262" y="3906"/>
                  <a:pt x="262" y="3906"/>
                  <a:pt x="278" y="3906"/>
                </a:cubicBezTo>
                <a:cubicBezTo>
                  <a:pt x="1598" y="3111"/>
                  <a:pt x="1598" y="3111"/>
                  <a:pt x="1598" y="3111"/>
                </a:cubicBezTo>
                <a:cubicBezTo>
                  <a:pt x="1773" y="4574"/>
                  <a:pt x="1773" y="4574"/>
                  <a:pt x="1773" y="4574"/>
                </a:cubicBezTo>
                <a:close/>
                <a:moveTo>
                  <a:pt x="978" y="183"/>
                </a:moveTo>
                <a:cubicBezTo>
                  <a:pt x="1455" y="597"/>
                  <a:pt x="1455" y="597"/>
                  <a:pt x="1455" y="597"/>
                </a:cubicBezTo>
                <a:cubicBezTo>
                  <a:pt x="484" y="597"/>
                  <a:pt x="484" y="597"/>
                  <a:pt x="484" y="597"/>
                </a:cubicBezTo>
                <a:close/>
                <a:moveTo>
                  <a:pt x="501" y="756"/>
                </a:moveTo>
                <a:cubicBezTo>
                  <a:pt x="1455" y="756"/>
                  <a:pt x="1455" y="756"/>
                  <a:pt x="1455" y="756"/>
                </a:cubicBezTo>
                <a:cubicBezTo>
                  <a:pt x="1455" y="915"/>
                  <a:pt x="1455" y="915"/>
                  <a:pt x="1455" y="915"/>
                </a:cubicBezTo>
                <a:cubicBezTo>
                  <a:pt x="501" y="915"/>
                  <a:pt x="501" y="915"/>
                  <a:pt x="501" y="915"/>
                </a:cubicBezTo>
                <a:close/>
                <a:moveTo>
                  <a:pt x="1455" y="1074"/>
                </a:moveTo>
                <a:cubicBezTo>
                  <a:pt x="1455" y="1392"/>
                  <a:pt x="1455" y="1392"/>
                  <a:pt x="1455" y="1392"/>
                </a:cubicBezTo>
                <a:cubicBezTo>
                  <a:pt x="501" y="1392"/>
                  <a:pt x="501" y="1392"/>
                  <a:pt x="501" y="1392"/>
                </a:cubicBezTo>
                <a:cubicBezTo>
                  <a:pt x="501" y="1074"/>
                  <a:pt x="501" y="1074"/>
                  <a:pt x="501" y="107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1" name="Freeform: Shape 14">
            <a:extLst>
              <a:ext uri="{FF2B5EF4-FFF2-40B4-BE49-F238E27FC236}">
                <a16:creationId xmlns:a16="http://schemas.microsoft.com/office/drawing/2014/main" id="{80B18586-B358-7947-A842-3115FD68289D}"/>
              </a:ext>
            </a:extLst>
          </p:cNvPr>
          <p:cNvSpPr/>
          <p:nvPr/>
        </p:nvSpPr>
        <p:spPr>
          <a:xfrm>
            <a:off x="5958548" y="3320128"/>
            <a:ext cx="1703520" cy="1703880"/>
          </a:xfrm>
          <a:custGeom>
            <a:avLst/>
            <a:gdLst/>
            <a:ahLst/>
            <a:cxnLst>
              <a:cxn ang="3cd4">
                <a:pos x="hc" y="t"/>
              </a:cxn>
              <a:cxn ang="cd2">
                <a:pos x="l" y="vc"/>
              </a:cxn>
              <a:cxn ang="cd4">
                <a:pos x="hc" y="b"/>
              </a:cxn>
              <a:cxn ang="0">
                <a:pos x="r" y="vc"/>
              </a:cxn>
            </a:cxnLst>
            <a:rect l="l" t="t" r="r" b="b"/>
            <a:pathLst>
              <a:path w="4733" h="4734">
                <a:moveTo>
                  <a:pt x="4117" y="3015"/>
                </a:moveTo>
                <a:cubicBezTo>
                  <a:pt x="4102" y="3000"/>
                  <a:pt x="4085" y="2983"/>
                  <a:pt x="4054" y="2983"/>
                </a:cubicBezTo>
                <a:cubicBezTo>
                  <a:pt x="3926" y="2983"/>
                  <a:pt x="3926" y="2983"/>
                  <a:pt x="3926" y="2983"/>
                </a:cubicBezTo>
                <a:cubicBezTo>
                  <a:pt x="3926" y="2665"/>
                  <a:pt x="3926" y="2665"/>
                  <a:pt x="3926" y="2665"/>
                </a:cubicBezTo>
                <a:cubicBezTo>
                  <a:pt x="4260" y="2665"/>
                  <a:pt x="4260" y="2665"/>
                  <a:pt x="4260" y="2665"/>
                </a:cubicBezTo>
                <a:cubicBezTo>
                  <a:pt x="4276" y="2665"/>
                  <a:pt x="4308" y="2649"/>
                  <a:pt x="4324" y="2618"/>
                </a:cubicBezTo>
                <a:cubicBezTo>
                  <a:pt x="4340" y="2586"/>
                  <a:pt x="4340" y="2554"/>
                  <a:pt x="4324" y="2538"/>
                </a:cubicBezTo>
                <a:cubicBezTo>
                  <a:pt x="3720" y="1743"/>
                  <a:pt x="3720" y="1743"/>
                  <a:pt x="3720" y="1743"/>
                </a:cubicBezTo>
                <a:cubicBezTo>
                  <a:pt x="3703" y="1727"/>
                  <a:pt x="3688" y="1711"/>
                  <a:pt x="3656" y="1711"/>
                </a:cubicBezTo>
                <a:cubicBezTo>
                  <a:pt x="3608" y="1711"/>
                  <a:pt x="3608" y="1711"/>
                  <a:pt x="3608" y="1711"/>
                </a:cubicBezTo>
                <a:cubicBezTo>
                  <a:pt x="3608" y="1392"/>
                  <a:pt x="3608" y="1392"/>
                  <a:pt x="3608" y="1392"/>
                </a:cubicBezTo>
                <a:cubicBezTo>
                  <a:pt x="3863" y="1392"/>
                  <a:pt x="3863" y="1392"/>
                  <a:pt x="3863" y="1392"/>
                </a:cubicBezTo>
                <a:cubicBezTo>
                  <a:pt x="3894" y="1392"/>
                  <a:pt x="3926" y="1377"/>
                  <a:pt x="3926" y="1345"/>
                </a:cubicBezTo>
                <a:cubicBezTo>
                  <a:pt x="3942" y="1313"/>
                  <a:pt x="3926" y="1281"/>
                  <a:pt x="3911" y="1249"/>
                </a:cubicBezTo>
                <a:cubicBezTo>
                  <a:pt x="2415" y="24"/>
                  <a:pt x="2415" y="24"/>
                  <a:pt x="2415" y="24"/>
                </a:cubicBezTo>
                <a:cubicBezTo>
                  <a:pt x="2383" y="-8"/>
                  <a:pt x="2351" y="-8"/>
                  <a:pt x="2320" y="24"/>
                </a:cubicBezTo>
                <a:cubicBezTo>
                  <a:pt x="824" y="1249"/>
                  <a:pt x="824" y="1249"/>
                  <a:pt x="824" y="1249"/>
                </a:cubicBezTo>
                <a:cubicBezTo>
                  <a:pt x="808" y="1281"/>
                  <a:pt x="792" y="1313"/>
                  <a:pt x="808" y="1345"/>
                </a:cubicBezTo>
                <a:cubicBezTo>
                  <a:pt x="808" y="1377"/>
                  <a:pt x="840" y="1392"/>
                  <a:pt x="872" y="1392"/>
                </a:cubicBezTo>
                <a:cubicBezTo>
                  <a:pt x="1221" y="1392"/>
                  <a:pt x="1221" y="1392"/>
                  <a:pt x="1221" y="1392"/>
                </a:cubicBezTo>
                <a:cubicBezTo>
                  <a:pt x="1221" y="1711"/>
                  <a:pt x="1221" y="1711"/>
                  <a:pt x="1221" y="1711"/>
                </a:cubicBezTo>
                <a:cubicBezTo>
                  <a:pt x="1078" y="1711"/>
                  <a:pt x="1078" y="1711"/>
                  <a:pt x="1078" y="1711"/>
                </a:cubicBezTo>
                <a:cubicBezTo>
                  <a:pt x="1047" y="1711"/>
                  <a:pt x="1030" y="1727"/>
                  <a:pt x="1015" y="1743"/>
                </a:cubicBezTo>
                <a:cubicBezTo>
                  <a:pt x="410" y="2538"/>
                  <a:pt x="410" y="2538"/>
                  <a:pt x="410" y="2538"/>
                </a:cubicBezTo>
                <a:cubicBezTo>
                  <a:pt x="394" y="2554"/>
                  <a:pt x="394" y="2586"/>
                  <a:pt x="410" y="2618"/>
                </a:cubicBezTo>
                <a:cubicBezTo>
                  <a:pt x="426" y="2649"/>
                  <a:pt x="458" y="2665"/>
                  <a:pt x="474" y="2665"/>
                </a:cubicBezTo>
                <a:cubicBezTo>
                  <a:pt x="744" y="2665"/>
                  <a:pt x="744" y="2665"/>
                  <a:pt x="744" y="2665"/>
                </a:cubicBezTo>
                <a:cubicBezTo>
                  <a:pt x="744" y="2983"/>
                  <a:pt x="744" y="2983"/>
                  <a:pt x="744" y="2983"/>
                </a:cubicBezTo>
                <a:cubicBezTo>
                  <a:pt x="681" y="2983"/>
                  <a:pt x="681" y="2983"/>
                  <a:pt x="681" y="2983"/>
                </a:cubicBezTo>
                <a:cubicBezTo>
                  <a:pt x="649" y="2983"/>
                  <a:pt x="633" y="3000"/>
                  <a:pt x="617" y="3015"/>
                </a:cubicBezTo>
                <a:cubicBezTo>
                  <a:pt x="12" y="3811"/>
                  <a:pt x="12" y="3811"/>
                  <a:pt x="12" y="3811"/>
                </a:cubicBezTo>
                <a:cubicBezTo>
                  <a:pt x="-4" y="3827"/>
                  <a:pt x="-4" y="3858"/>
                  <a:pt x="12" y="3891"/>
                </a:cubicBezTo>
                <a:cubicBezTo>
                  <a:pt x="29" y="3922"/>
                  <a:pt x="60" y="3938"/>
                  <a:pt x="76" y="3938"/>
                </a:cubicBezTo>
                <a:cubicBezTo>
                  <a:pt x="585" y="3938"/>
                  <a:pt x="585" y="3938"/>
                  <a:pt x="585" y="3938"/>
                </a:cubicBezTo>
                <a:cubicBezTo>
                  <a:pt x="585" y="4654"/>
                  <a:pt x="585" y="4654"/>
                  <a:pt x="585" y="4654"/>
                </a:cubicBezTo>
                <a:cubicBezTo>
                  <a:pt x="585" y="4686"/>
                  <a:pt x="617" y="4734"/>
                  <a:pt x="665" y="4734"/>
                </a:cubicBezTo>
                <a:cubicBezTo>
                  <a:pt x="4006" y="4734"/>
                  <a:pt x="4006" y="4734"/>
                  <a:pt x="4006" y="4734"/>
                </a:cubicBezTo>
                <a:cubicBezTo>
                  <a:pt x="4038" y="4734"/>
                  <a:pt x="4085" y="4686"/>
                  <a:pt x="4085" y="4654"/>
                </a:cubicBezTo>
                <a:cubicBezTo>
                  <a:pt x="4085" y="3938"/>
                  <a:pt x="4085" y="3938"/>
                  <a:pt x="4085" y="3938"/>
                </a:cubicBezTo>
                <a:cubicBezTo>
                  <a:pt x="4642" y="3938"/>
                  <a:pt x="4642" y="3938"/>
                  <a:pt x="4642" y="3938"/>
                </a:cubicBezTo>
                <a:cubicBezTo>
                  <a:pt x="4674" y="3938"/>
                  <a:pt x="4706" y="3922"/>
                  <a:pt x="4722" y="3891"/>
                </a:cubicBezTo>
                <a:cubicBezTo>
                  <a:pt x="4738" y="3858"/>
                  <a:pt x="4738" y="3827"/>
                  <a:pt x="4706" y="3811"/>
                </a:cubicBezTo>
                <a:close/>
                <a:moveTo>
                  <a:pt x="1094" y="1233"/>
                </a:moveTo>
                <a:cubicBezTo>
                  <a:pt x="2367" y="183"/>
                  <a:pt x="2367" y="183"/>
                  <a:pt x="2367" y="183"/>
                </a:cubicBezTo>
                <a:cubicBezTo>
                  <a:pt x="3640" y="1233"/>
                  <a:pt x="3640" y="1233"/>
                  <a:pt x="3640" y="1233"/>
                </a:cubicBezTo>
                <a:close/>
                <a:moveTo>
                  <a:pt x="1381" y="1392"/>
                </a:moveTo>
                <a:cubicBezTo>
                  <a:pt x="3449" y="1392"/>
                  <a:pt x="3449" y="1392"/>
                  <a:pt x="3449" y="1392"/>
                </a:cubicBezTo>
                <a:cubicBezTo>
                  <a:pt x="3449" y="1711"/>
                  <a:pt x="3449" y="1711"/>
                  <a:pt x="3449" y="1711"/>
                </a:cubicBezTo>
                <a:cubicBezTo>
                  <a:pt x="1381" y="1711"/>
                  <a:pt x="1381" y="1711"/>
                  <a:pt x="1381" y="1711"/>
                </a:cubicBezTo>
                <a:close/>
                <a:moveTo>
                  <a:pt x="633" y="2506"/>
                </a:moveTo>
                <a:cubicBezTo>
                  <a:pt x="1110" y="1870"/>
                  <a:pt x="1110" y="1870"/>
                  <a:pt x="1110" y="1870"/>
                </a:cubicBezTo>
                <a:cubicBezTo>
                  <a:pt x="3624" y="1870"/>
                  <a:pt x="3624" y="1870"/>
                  <a:pt x="3624" y="1870"/>
                </a:cubicBezTo>
                <a:cubicBezTo>
                  <a:pt x="4102" y="2506"/>
                  <a:pt x="4102" y="2506"/>
                  <a:pt x="4102" y="2506"/>
                </a:cubicBezTo>
                <a:close/>
                <a:moveTo>
                  <a:pt x="903" y="2983"/>
                </a:moveTo>
                <a:cubicBezTo>
                  <a:pt x="903" y="2665"/>
                  <a:pt x="903" y="2665"/>
                  <a:pt x="903" y="2665"/>
                </a:cubicBezTo>
                <a:cubicBezTo>
                  <a:pt x="3767" y="2665"/>
                  <a:pt x="3767" y="2665"/>
                  <a:pt x="3767" y="2665"/>
                </a:cubicBezTo>
                <a:cubicBezTo>
                  <a:pt x="3767" y="2983"/>
                  <a:pt x="3767" y="2983"/>
                  <a:pt x="3767" y="2983"/>
                </a:cubicBezTo>
                <a:cubicBezTo>
                  <a:pt x="903" y="2983"/>
                  <a:pt x="903" y="2983"/>
                  <a:pt x="903" y="2983"/>
                </a:cubicBezTo>
                <a:close/>
                <a:moveTo>
                  <a:pt x="744" y="3938"/>
                </a:moveTo>
                <a:cubicBezTo>
                  <a:pt x="1858" y="3938"/>
                  <a:pt x="1858" y="3938"/>
                  <a:pt x="1858" y="3938"/>
                </a:cubicBezTo>
                <a:cubicBezTo>
                  <a:pt x="1858" y="4574"/>
                  <a:pt x="1858" y="4574"/>
                  <a:pt x="1858" y="4574"/>
                </a:cubicBezTo>
                <a:cubicBezTo>
                  <a:pt x="744" y="4574"/>
                  <a:pt x="744" y="4574"/>
                  <a:pt x="744" y="4574"/>
                </a:cubicBezTo>
                <a:close/>
                <a:moveTo>
                  <a:pt x="2812" y="4574"/>
                </a:moveTo>
                <a:cubicBezTo>
                  <a:pt x="2017" y="4574"/>
                  <a:pt x="2017" y="4574"/>
                  <a:pt x="2017" y="4574"/>
                </a:cubicBezTo>
                <a:cubicBezTo>
                  <a:pt x="2017" y="3938"/>
                  <a:pt x="2017" y="3938"/>
                  <a:pt x="2017" y="3938"/>
                </a:cubicBezTo>
                <a:cubicBezTo>
                  <a:pt x="2812" y="3938"/>
                  <a:pt x="2812" y="3938"/>
                  <a:pt x="2812" y="3938"/>
                </a:cubicBezTo>
                <a:cubicBezTo>
                  <a:pt x="2812" y="4574"/>
                  <a:pt x="2812" y="4574"/>
                  <a:pt x="2812" y="4574"/>
                </a:cubicBezTo>
                <a:close/>
                <a:moveTo>
                  <a:pt x="3926" y="4574"/>
                </a:moveTo>
                <a:cubicBezTo>
                  <a:pt x="2972" y="4574"/>
                  <a:pt x="2972" y="4574"/>
                  <a:pt x="2972" y="4574"/>
                </a:cubicBezTo>
                <a:cubicBezTo>
                  <a:pt x="2972" y="3938"/>
                  <a:pt x="2972" y="3938"/>
                  <a:pt x="2972" y="3938"/>
                </a:cubicBezTo>
                <a:cubicBezTo>
                  <a:pt x="3926" y="3938"/>
                  <a:pt x="3926" y="3938"/>
                  <a:pt x="3926" y="3938"/>
                </a:cubicBezTo>
                <a:close/>
                <a:moveTo>
                  <a:pt x="4006" y="3779"/>
                </a:moveTo>
                <a:cubicBezTo>
                  <a:pt x="665" y="3779"/>
                  <a:pt x="665" y="3779"/>
                  <a:pt x="665" y="3779"/>
                </a:cubicBezTo>
                <a:cubicBezTo>
                  <a:pt x="235" y="3779"/>
                  <a:pt x="235" y="3779"/>
                  <a:pt x="235" y="3779"/>
                </a:cubicBezTo>
                <a:cubicBezTo>
                  <a:pt x="712" y="3143"/>
                  <a:pt x="712" y="3143"/>
                  <a:pt x="712" y="3143"/>
                </a:cubicBezTo>
                <a:cubicBezTo>
                  <a:pt x="4022" y="3143"/>
                  <a:pt x="4022" y="3143"/>
                  <a:pt x="4022" y="3143"/>
                </a:cubicBezTo>
                <a:cubicBezTo>
                  <a:pt x="4483" y="3779"/>
                  <a:pt x="4483" y="3779"/>
                  <a:pt x="4483" y="377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2" name="Freeform: Shape 15">
            <a:extLst>
              <a:ext uri="{FF2B5EF4-FFF2-40B4-BE49-F238E27FC236}">
                <a16:creationId xmlns:a16="http://schemas.microsoft.com/office/drawing/2014/main" id="{872A1E57-37B9-5B41-BA69-C354265DBCF8}"/>
              </a:ext>
            </a:extLst>
          </p:cNvPr>
          <p:cNvSpPr/>
          <p:nvPr/>
        </p:nvSpPr>
        <p:spPr>
          <a:xfrm>
            <a:off x="14074272" y="6741961"/>
            <a:ext cx="1316880" cy="1465560"/>
          </a:xfrm>
          <a:custGeom>
            <a:avLst/>
            <a:gdLst/>
            <a:ahLst/>
            <a:cxnLst>
              <a:cxn ang="3cd4">
                <a:pos x="hc" y="t"/>
              </a:cxn>
              <a:cxn ang="cd2">
                <a:pos x="l" y="vc"/>
              </a:cxn>
              <a:cxn ang="cd4">
                <a:pos x="hc" y="b"/>
              </a:cxn>
              <a:cxn ang="0">
                <a:pos x="r" y="vc"/>
              </a:cxn>
            </a:cxnLst>
            <a:rect l="l" t="t" r="r" b="b"/>
            <a:pathLst>
              <a:path w="3659" h="4072">
                <a:moveTo>
                  <a:pt x="3579" y="0"/>
                </a:moveTo>
                <a:lnTo>
                  <a:pt x="3039" y="0"/>
                </a:lnTo>
                <a:cubicBezTo>
                  <a:pt x="3006" y="0"/>
                  <a:pt x="2959" y="32"/>
                  <a:pt x="2959" y="79"/>
                </a:cubicBezTo>
                <a:lnTo>
                  <a:pt x="2959" y="541"/>
                </a:lnTo>
                <a:lnTo>
                  <a:pt x="2720" y="541"/>
                </a:lnTo>
                <a:lnTo>
                  <a:pt x="2720" y="79"/>
                </a:lnTo>
                <a:cubicBezTo>
                  <a:pt x="2720" y="32"/>
                  <a:pt x="2688" y="0"/>
                  <a:pt x="2641" y="0"/>
                </a:cubicBezTo>
                <a:lnTo>
                  <a:pt x="2100" y="0"/>
                </a:lnTo>
                <a:cubicBezTo>
                  <a:pt x="2052" y="0"/>
                  <a:pt x="2020" y="32"/>
                  <a:pt x="2020" y="79"/>
                </a:cubicBezTo>
                <a:lnTo>
                  <a:pt x="2020" y="541"/>
                </a:lnTo>
                <a:lnTo>
                  <a:pt x="1638" y="541"/>
                </a:lnTo>
                <a:lnTo>
                  <a:pt x="1638" y="79"/>
                </a:lnTo>
                <a:cubicBezTo>
                  <a:pt x="1638" y="32"/>
                  <a:pt x="1606" y="0"/>
                  <a:pt x="1559" y="0"/>
                </a:cubicBezTo>
                <a:lnTo>
                  <a:pt x="1018" y="0"/>
                </a:lnTo>
                <a:cubicBezTo>
                  <a:pt x="970" y="0"/>
                  <a:pt x="938" y="32"/>
                  <a:pt x="938" y="79"/>
                </a:cubicBezTo>
                <a:lnTo>
                  <a:pt x="938" y="541"/>
                </a:lnTo>
                <a:lnTo>
                  <a:pt x="700" y="541"/>
                </a:lnTo>
                <a:lnTo>
                  <a:pt x="700" y="79"/>
                </a:lnTo>
                <a:cubicBezTo>
                  <a:pt x="700" y="32"/>
                  <a:pt x="652" y="0"/>
                  <a:pt x="620" y="0"/>
                </a:cubicBezTo>
                <a:lnTo>
                  <a:pt x="79" y="0"/>
                </a:lnTo>
                <a:cubicBezTo>
                  <a:pt x="32" y="0"/>
                  <a:pt x="0" y="32"/>
                  <a:pt x="0" y="79"/>
                </a:cubicBezTo>
                <a:lnTo>
                  <a:pt x="0" y="890"/>
                </a:lnTo>
                <a:cubicBezTo>
                  <a:pt x="0" y="938"/>
                  <a:pt x="32" y="970"/>
                  <a:pt x="79" y="970"/>
                </a:cubicBezTo>
                <a:lnTo>
                  <a:pt x="397" y="970"/>
                </a:lnTo>
                <a:lnTo>
                  <a:pt x="397" y="3102"/>
                </a:lnTo>
                <a:lnTo>
                  <a:pt x="111" y="3977"/>
                </a:lnTo>
                <a:cubicBezTo>
                  <a:pt x="111" y="3993"/>
                  <a:pt x="111" y="4025"/>
                  <a:pt x="127" y="4041"/>
                </a:cubicBezTo>
                <a:cubicBezTo>
                  <a:pt x="143" y="4057"/>
                  <a:pt x="159" y="4072"/>
                  <a:pt x="190" y="4072"/>
                </a:cubicBezTo>
                <a:lnTo>
                  <a:pt x="3388" y="4072"/>
                </a:lnTo>
                <a:cubicBezTo>
                  <a:pt x="3420" y="4072"/>
                  <a:pt x="3452" y="4057"/>
                  <a:pt x="3468" y="4041"/>
                </a:cubicBezTo>
                <a:cubicBezTo>
                  <a:pt x="3468" y="4025"/>
                  <a:pt x="3484" y="3993"/>
                  <a:pt x="3468" y="3961"/>
                </a:cubicBezTo>
                <a:lnTo>
                  <a:pt x="3118" y="3102"/>
                </a:lnTo>
                <a:lnTo>
                  <a:pt x="3118" y="970"/>
                </a:lnTo>
                <a:lnTo>
                  <a:pt x="3579" y="970"/>
                </a:lnTo>
                <a:cubicBezTo>
                  <a:pt x="3627" y="970"/>
                  <a:pt x="3659" y="938"/>
                  <a:pt x="3659" y="890"/>
                </a:cubicBezTo>
                <a:lnTo>
                  <a:pt x="3659" y="79"/>
                </a:lnTo>
                <a:cubicBezTo>
                  <a:pt x="3659" y="32"/>
                  <a:pt x="3627" y="0"/>
                  <a:pt x="3579" y="0"/>
                </a:cubicBezTo>
                <a:close/>
                <a:moveTo>
                  <a:pt x="3500" y="811"/>
                </a:moveTo>
                <a:lnTo>
                  <a:pt x="3039" y="811"/>
                </a:lnTo>
                <a:cubicBezTo>
                  <a:pt x="3006" y="811"/>
                  <a:pt x="2959" y="843"/>
                  <a:pt x="2959" y="890"/>
                </a:cubicBezTo>
                <a:lnTo>
                  <a:pt x="2959" y="3118"/>
                </a:lnTo>
                <a:cubicBezTo>
                  <a:pt x="2959" y="3134"/>
                  <a:pt x="2975" y="3134"/>
                  <a:pt x="2975" y="3150"/>
                </a:cubicBezTo>
                <a:lnTo>
                  <a:pt x="3277" y="3914"/>
                </a:lnTo>
                <a:lnTo>
                  <a:pt x="302" y="3914"/>
                </a:lnTo>
                <a:lnTo>
                  <a:pt x="557" y="3150"/>
                </a:lnTo>
                <a:lnTo>
                  <a:pt x="557" y="3118"/>
                </a:lnTo>
                <a:lnTo>
                  <a:pt x="557" y="890"/>
                </a:lnTo>
                <a:cubicBezTo>
                  <a:pt x="557" y="843"/>
                  <a:pt x="524" y="811"/>
                  <a:pt x="477" y="811"/>
                </a:cubicBezTo>
                <a:lnTo>
                  <a:pt x="159" y="811"/>
                </a:lnTo>
                <a:lnTo>
                  <a:pt x="159" y="159"/>
                </a:lnTo>
                <a:lnTo>
                  <a:pt x="541" y="159"/>
                </a:lnTo>
                <a:lnTo>
                  <a:pt x="541" y="620"/>
                </a:lnTo>
                <a:cubicBezTo>
                  <a:pt x="541" y="668"/>
                  <a:pt x="572" y="700"/>
                  <a:pt x="620" y="700"/>
                </a:cubicBezTo>
                <a:lnTo>
                  <a:pt x="1018" y="700"/>
                </a:lnTo>
                <a:cubicBezTo>
                  <a:pt x="1066" y="700"/>
                  <a:pt x="1097" y="668"/>
                  <a:pt x="1097" y="620"/>
                </a:cubicBezTo>
                <a:lnTo>
                  <a:pt x="1097" y="159"/>
                </a:lnTo>
                <a:lnTo>
                  <a:pt x="1479" y="159"/>
                </a:lnTo>
                <a:lnTo>
                  <a:pt x="1479" y="620"/>
                </a:lnTo>
                <a:cubicBezTo>
                  <a:pt x="1479" y="668"/>
                  <a:pt x="1511" y="700"/>
                  <a:pt x="1559" y="700"/>
                </a:cubicBezTo>
                <a:lnTo>
                  <a:pt x="2100" y="700"/>
                </a:lnTo>
                <a:cubicBezTo>
                  <a:pt x="2148" y="700"/>
                  <a:pt x="2179" y="668"/>
                  <a:pt x="2179" y="620"/>
                </a:cubicBezTo>
                <a:lnTo>
                  <a:pt x="2179" y="159"/>
                </a:lnTo>
                <a:lnTo>
                  <a:pt x="2561" y="159"/>
                </a:lnTo>
                <a:lnTo>
                  <a:pt x="2561" y="620"/>
                </a:lnTo>
                <a:cubicBezTo>
                  <a:pt x="2561" y="668"/>
                  <a:pt x="2593" y="700"/>
                  <a:pt x="2641" y="700"/>
                </a:cubicBezTo>
                <a:lnTo>
                  <a:pt x="3039" y="700"/>
                </a:lnTo>
                <a:cubicBezTo>
                  <a:pt x="3086" y="700"/>
                  <a:pt x="3118" y="668"/>
                  <a:pt x="3118" y="620"/>
                </a:cubicBezTo>
                <a:lnTo>
                  <a:pt x="3118" y="159"/>
                </a:lnTo>
                <a:lnTo>
                  <a:pt x="3500" y="159"/>
                </a:lnTo>
                <a:close/>
                <a:moveTo>
                  <a:pt x="1829" y="1257"/>
                </a:moveTo>
                <a:cubicBezTo>
                  <a:pt x="1559" y="1257"/>
                  <a:pt x="1352" y="1479"/>
                  <a:pt x="1352" y="1766"/>
                </a:cubicBezTo>
                <a:lnTo>
                  <a:pt x="1352" y="2784"/>
                </a:lnTo>
                <a:cubicBezTo>
                  <a:pt x="1352" y="2832"/>
                  <a:pt x="1384" y="2863"/>
                  <a:pt x="1432" y="2863"/>
                </a:cubicBezTo>
                <a:lnTo>
                  <a:pt x="2243" y="2863"/>
                </a:lnTo>
                <a:cubicBezTo>
                  <a:pt x="2275" y="2863"/>
                  <a:pt x="2306" y="2832"/>
                  <a:pt x="2306" y="2784"/>
                </a:cubicBezTo>
                <a:lnTo>
                  <a:pt x="2306" y="1766"/>
                </a:lnTo>
                <a:cubicBezTo>
                  <a:pt x="2306" y="1479"/>
                  <a:pt x="2100" y="1257"/>
                  <a:pt x="1829" y="1257"/>
                </a:cubicBezTo>
                <a:close/>
                <a:moveTo>
                  <a:pt x="2163" y="2704"/>
                </a:moveTo>
                <a:lnTo>
                  <a:pt x="1511" y="2704"/>
                </a:lnTo>
                <a:lnTo>
                  <a:pt x="1511" y="1766"/>
                </a:lnTo>
                <a:cubicBezTo>
                  <a:pt x="1511" y="1559"/>
                  <a:pt x="1638" y="1415"/>
                  <a:pt x="1829" y="1415"/>
                </a:cubicBezTo>
                <a:cubicBezTo>
                  <a:pt x="2020" y="1415"/>
                  <a:pt x="2163" y="1559"/>
                  <a:pt x="2163" y="176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3" name="Freeform: Shape 16">
            <a:extLst>
              <a:ext uri="{FF2B5EF4-FFF2-40B4-BE49-F238E27FC236}">
                <a16:creationId xmlns:a16="http://schemas.microsoft.com/office/drawing/2014/main" id="{3B60B653-6CC9-4D48-B107-E268A9054953}"/>
              </a:ext>
            </a:extLst>
          </p:cNvPr>
          <p:cNvSpPr/>
          <p:nvPr/>
        </p:nvSpPr>
        <p:spPr>
          <a:xfrm>
            <a:off x="10087706" y="6517462"/>
            <a:ext cx="1465920" cy="1465560"/>
          </a:xfrm>
          <a:custGeom>
            <a:avLst/>
            <a:gdLst/>
            <a:ahLst/>
            <a:cxnLst>
              <a:cxn ang="3cd4">
                <a:pos x="hc" y="t"/>
              </a:cxn>
              <a:cxn ang="cd2">
                <a:pos x="l" y="vc"/>
              </a:cxn>
              <a:cxn ang="cd4">
                <a:pos x="hc" y="b"/>
              </a:cxn>
              <a:cxn ang="0">
                <a:pos x="r" y="vc"/>
              </a:cxn>
            </a:cxnLst>
            <a:rect l="l" t="t" r="r" b="b"/>
            <a:pathLst>
              <a:path w="4073" h="4072">
                <a:moveTo>
                  <a:pt x="3660" y="63"/>
                </a:moveTo>
                <a:cubicBezTo>
                  <a:pt x="3660" y="32"/>
                  <a:pt x="3628" y="0"/>
                  <a:pt x="3596" y="0"/>
                </a:cubicBezTo>
                <a:lnTo>
                  <a:pt x="541" y="0"/>
                </a:lnTo>
                <a:cubicBezTo>
                  <a:pt x="509" y="0"/>
                  <a:pt x="478" y="15"/>
                  <a:pt x="478" y="47"/>
                </a:cubicBezTo>
                <a:lnTo>
                  <a:pt x="16" y="1241"/>
                </a:lnTo>
                <a:cubicBezTo>
                  <a:pt x="0" y="1241"/>
                  <a:pt x="5" y="1252"/>
                  <a:pt x="0" y="1257"/>
                </a:cubicBezTo>
                <a:lnTo>
                  <a:pt x="0" y="1352"/>
                </a:lnTo>
                <a:cubicBezTo>
                  <a:pt x="0" y="1575"/>
                  <a:pt x="175" y="1766"/>
                  <a:pt x="366" y="1766"/>
                </a:cubicBezTo>
                <a:lnTo>
                  <a:pt x="414" y="1766"/>
                </a:lnTo>
                <a:lnTo>
                  <a:pt x="414" y="3993"/>
                </a:lnTo>
                <a:cubicBezTo>
                  <a:pt x="414" y="4041"/>
                  <a:pt x="446" y="4072"/>
                  <a:pt x="494" y="4072"/>
                </a:cubicBezTo>
                <a:lnTo>
                  <a:pt x="3723" y="4072"/>
                </a:lnTo>
                <a:cubicBezTo>
                  <a:pt x="3771" y="4072"/>
                  <a:pt x="3803" y="4041"/>
                  <a:pt x="3803" y="3993"/>
                </a:cubicBezTo>
                <a:lnTo>
                  <a:pt x="3803" y="1750"/>
                </a:lnTo>
                <a:cubicBezTo>
                  <a:pt x="3978" y="1702"/>
                  <a:pt x="4073" y="1559"/>
                  <a:pt x="4073" y="1352"/>
                </a:cubicBezTo>
                <a:lnTo>
                  <a:pt x="4073" y="1257"/>
                </a:lnTo>
                <a:lnTo>
                  <a:pt x="4073" y="1241"/>
                </a:lnTo>
                <a:close/>
                <a:moveTo>
                  <a:pt x="573" y="3914"/>
                </a:moveTo>
                <a:lnTo>
                  <a:pt x="573" y="1702"/>
                </a:lnTo>
                <a:cubicBezTo>
                  <a:pt x="621" y="1686"/>
                  <a:pt x="669" y="1638"/>
                  <a:pt x="700" y="1591"/>
                </a:cubicBezTo>
                <a:cubicBezTo>
                  <a:pt x="780" y="1702"/>
                  <a:pt x="907" y="1766"/>
                  <a:pt x="1051" y="1766"/>
                </a:cubicBezTo>
                <a:cubicBezTo>
                  <a:pt x="1194" y="1766"/>
                  <a:pt x="1321" y="1702"/>
                  <a:pt x="1400" y="1591"/>
                </a:cubicBezTo>
                <a:cubicBezTo>
                  <a:pt x="1464" y="1702"/>
                  <a:pt x="1591" y="1766"/>
                  <a:pt x="1734" y="1766"/>
                </a:cubicBezTo>
                <a:cubicBezTo>
                  <a:pt x="1878" y="1766"/>
                  <a:pt x="1989" y="1702"/>
                  <a:pt x="2069" y="1591"/>
                </a:cubicBezTo>
                <a:cubicBezTo>
                  <a:pt x="2148" y="1702"/>
                  <a:pt x="2275" y="1766"/>
                  <a:pt x="2403" y="1766"/>
                </a:cubicBezTo>
                <a:cubicBezTo>
                  <a:pt x="2546" y="1766"/>
                  <a:pt x="2673" y="1702"/>
                  <a:pt x="2752" y="1591"/>
                </a:cubicBezTo>
                <a:cubicBezTo>
                  <a:pt x="2816" y="1702"/>
                  <a:pt x="2943" y="1766"/>
                  <a:pt x="3087" y="1766"/>
                </a:cubicBezTo>
                <a:cubicBezTo>
                  <a:pt x="3214" y="1766"/>
                  <a:pt x="3342" y="1702"/>
                  <a:pt x="3405" y="1606"/>
                </a:cubicBezTo>
                <a:cubicBezTo>
                  <a:pt x="3469" y="1686"/>
                  <a:pt x="3548" y="1750"/>
                  <a:pt x="3643" y="1766"/>
                </a:cubicBezTo>
                <a:lnTo>
                  <a:pt x="3643" y="3914"/>
                </a:lnTo>
                <a:close/>
                <a:moveTo>
                  <a:pt x="3914" y="1352"/>
                </a:moveTo>
                <a:cubicBezTo>
                  <a:pt x="3914" y="1447"/>
                  <a:pt x="3882" y="1543"/>
                  <a:pt x="3787" y="1591"/>
                </a:cubicBezTo>
                <a:cubicBezTo>
                  <a:pt x="3787" y="1575"/>
                  <a:pt x="3755" y="1559"/>
                  <a:pt x="3723" y="1559"/>
                </a:cubicBezTo>
                <a:cubicBezTo>
                  <a:pt x="3691" y="1559"/>
                  <a:pt x="3676" y="1575"/>
                  <a:pt x="3660" y="1606"/>
                </a:cubicBezTo>
                <a:cubicBezTo>
                  <a:pt x="3548" y="1575"/>
                  <a:pt x="3500" y="1463"/>
                  <a:pt x="3500" y="1352"/>
                </a:cubicBezTo>
                <a:cubicBezTo>
                  <a:pt x="3500" y="1304"/>
                  <a:pt x="3469" y="1272"/>
                  <a:pt x="3421" y="1272"/>
                </a:cubicBezTo>
                <a:cubicBezTo>
                  <a:pt x="3373" y="1272"/>
                  <a:pt x="3342" y="1304"/>
                  <a:pt x="3342" y="1352"/>
                </a:cubicBezTo>
                <a:cubicBezTo>
                  <a:pt x="3342" y="1495"/>
                  <a:pt x="3230" y="1606"/>
                  <a:pt x="3087" y="1606"/>
                </a:cubicBezTo>
                <a:cubicBezTo>
                  <a:pt x="2943" y="1606"/>
                  <a:pt x="2832" y="1495"/>
                  <a:pt x="2832" y="1352"/>
                </a:cubicBezTo>
                <a:cubicBezTo>
                  <a:pt x="2832" y="1304"/>
                  <a:pt x="2785" y="1272"/>
                  <a:pt x="2752" y="1272"/>
                </a:cubicBezTo>
                <a:cubicBezTo>
                  <a:pt x="2705" y="1272"/>
                  <a:pt x="2673" y="1304"/>
                  <a:pt x="2673" y="1352"/>
                </a:cubicBezTo>
                <a:cubicBezTo>
                  <a:pt x="2673" y="1495"/>
                  <a:pt x="2546" y="1606"/>
                  <a:pt x="2403" y="1606"/>
                </a:cubicBezTo>
                <a:cubicBezTo>
                  <a:pt x="2260" y="1606"/>
                  <a:pt x="2148" y="1495"/>
                  <a:pt x="2148" y="1352"/>
                </a:cubicBezTo>
                <a:cubicBezTo>
                  <a:pt x="2148" y="1304"/>
                  <a:pt x="2116" y="1272"/>
                  <a:pt x="2069" y="1272"/>
                </a:cubicBezTo>
                <a:cubicBezTo>
                  <a:pt x="2021" y="1272"/>
                  <a:pt x="1989" y="1304"/>
                  <a:pt x="1989" y="1352"/>
                </a:cubicBezTo>
                <a:cubicBezTo>
                  <a:pt x="1989" y="1495"/>
                  <a:pt x="1878" y="1606"/>
                  <a:pt x="1734" y="1606"/>
                </a:cubicBezTo>
                <a:cubicBezTo>
                  <a:pt x="1591" y="1606"/>
                  <a:pt x="1480" y="1495"/>
                  <a:pt x="1480" y="1352"/>
                </a:cubicBezTo>
                <a:cubicBezTo>
                  <a:pt x="1480" y="1304"/>
                  <a:pt x="1432" y="1272"/>
                  <a:pt x="1400" y="1272"/>
                </a:cubicBezTo>
                <a:cubicBezTo>
                  <a:pt x="1352" y="1272"/>
                  <a:pt x="1321" y="1304"/>
                  <a:pt x="1321" y="1352"/>
                </a:cubicBezTo>
                <a:cubicBezTo>
                  <a:pt x="1321" y="1495"/>
                  <a:pt x="1194" y="1606"/>
                  <a:pt x="1051" y="1606"/>
                </a:cubicBezTo>
                <a:cubicBezTo>
                  <a:pt x="907" y="1606"/>
                  <a:pt x="796" y="1495"/>
                  <a:pt x="796" y="1352"/>
                </a:cubicBezTo>
                <a:cubicBezTo>
                  <a:pt x="796" y="1304"/>
                  <a:pt x="748" y="1272"/>
                  <a:pt x="716" y="1272"/>
                </a:cubicBezTo>
                <a:cubicBezTo>
                  <a:pt x="669" y="1272"/>
                  <a:pt x="637" y="1304"/>
                  <a:pt x="637" y="1352"/>
                </a:cubicBezTo>
                <a:cubicBezTo>
                  <a:pt x="637" y="1432"/>
                  <a:pt x="589" y="1511"/>
                  <a:pt x="509" y="1559"/>
                </a:cubicBezTo>
                <a:lnTo>
                  <a:pt x="494" y="1559"/>
                </a:lnTo>
                <a:cubicBezTo>
                  <a:pt x="461" y="1559"/>
                  <a:pt x="430" y="1575"/>
                  <a:pt x="414" y="1606"/>
                </a:cubicBezTo>
                <a:lnTo>
                  <a:pt x="366" y="1606"/>
                </a:lnTo>
                <a:cubicBezTo>
                  <a:pt x="271" y="1606"/>
                  <a:pt x="160" y="1495"/>
                  <a:pt x="160" y="1352"/>
                </a:cubicBezTo>
                <a:lnTo>
                  <a:pt x="160" y="1272"/>
                </a:lnTo>
                <a:lnTo>
                  <a:pt x="605" y="159"/>
                </a:lnTo>
                <a:lnTo>
                  <a:pt x="3532" y="159"/>
                </a:lnTo>
                <a:lnTo>
                  <a:pt x="3914" y="1272"/>
                </a:lnTo>
                <a:close/>
                <a:moveTo>
                  <a:pt x="2069" y="2863"/>
                </a:moveTo>
                <a:lnTo>
                  <a:pt x="2052" y="2863"/>
                </a:lnTo>
                <a:lnTo>
                  <a:pt x="2052" y="2848"/>
                </a:lnTo>
                <a:lnTo>
                  <a:pt x="2052" y="2625"/>
                </a:lnTo>
                <a:cubicBezTo>
                  <a:pt x="2052" y="2593"/>
                  <a:pt x="2037" y="2561"/>
                  <a:pt x="2005" y="2545"/>
                </a:cubicBezTo>
                <a:cubicBezTo>
                  <a:pt x="1957" y="2529"/>
                  <a:pt x="1846" y="2434"/>
                  <a:pt x="1846" y="2370"/>
                </a:cubicBezTo>
                <a:cubicBezTo>
                  <a:pt x="1846" y="2275"/>
                  <a:pt x="1957" y="2211"/>
                  <a:pt x="2052" y="2211"/>
                </a:cubicBezTo>
                <a:cubicBezTo>
                  <a:pt x="2148" y="2211"/>
                  <a:pt x="2196" y="2291"/>
                  <a:pt x="2196" y="2370"/>
                </a:cubicBezTo>
                <a:cubicBezTo>
                  <a:pt x="2196" y="2418"/>
                  <a:pt x="2228" y="2450"/>
                  <a:pt x="2275" y="2450"/>
                </a:cubicBezTo>
                <a:cubicBezTo>
                  <a:pt x="2307" y="2450"/>
                  <a:pt x="2355" y="2418"/>
                  <a:pt x="2355" y="2370"/>
                </a:cubicBezTo>
                <a:cubicBezTo>
                  <a:pt x="2355" y="2179"/>
                  <a:pt x="2228" y="2052"/>
                  <a:pt x="2052" y="2052"/>
                </a:cubicBezTo>
                <a:cubicBezTo>
                  <a:pt x="1878" y="2052"/>
                  <a:pt x="1687" y="2179"/>
                  <a:pt x="1687" y="2370"/>
                </a:cubicBezTo>
                <a:cubicBezTo>
                  <a:pt x="1687" y="2514"/>
                  <a:pt x="1830" y="2625"/>
                  <a:pt x="1894" y="2672"/>
                </a:cubicBezTo>
                <a:lnTo>
                  <a:pt x="1894" y="2848"/>
                </a:lnTo>
                <a:lnTo>
                  <a:pt x="1894" y="2863"/>
                </a:lnTo>
                <a:cubicBezTo>
                  <a:pt x="1337" y="2911"/>
                  <a:pt x="923" y="3197"/>
                  <a:pt x="923" y="3563"/>
                </a:cubicBezTo>
                <a:cubicBezTo>
                  <a:pt x="923" y="3595"/>
                  <a:pt x="955" y="3627"/>
                  <a:pt x="1003" y="3627"/>
                </a:cubicBezTo>
                <a:cubicBezTo>
                  <a:pt x="1051" y="3627"/>
                  <a:pt x="1082" y="3595"/>
                  <a:pt x="1082" y="3563"/>
                </a:cubicBezTo>
                <a:cubicBezTo>
                  <a:pt x="1082" y="3261"/>
                  <a:pt x="1528" y="3023"/>
                  <a:pt x="2069" y="3023"/>
                </a:cubicBezTo>
                <a:cubicBezTo>
                  <a:pt x="2609" y="3023"/>
                  <a:pt x="3055" y="3261"/>
                  <a:pt x="3055" y="3563"/>
                </a:cubicBezTo>
                <a:cubicBezTo>
                  <a:pt x="3055" y="3595"/>
                  <a:pt x="3103" y="3627"/>
                  <a:pt x="3134" y="3627"/>
                </a:cubicBezTo>
                <a:cubicBezTo>
                  <a:pt x="3182" y="3627"/>
                  <a:pt x="3214" y="3595"/>
                  <a:pt x="3214" y="3563"/>
                </a:cubicBezTo>
                <a:cubicBezTo>
                  <a:pt x="3214" y="3166"/>
                  <a:pt x="2721" y="2863"/>
                  <a:pt x="2069" y="28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4" name="Freeform: Shape 17">
            <a:extLst>
              <a:ext uri="{FF2B5EF4-FFF2-40B4-BE49-F238E27FC236}">
                <a16:creationId xmlns:a16="http://schemas.microsoft.com/office/drawing/2014/main" id="{5BFFA2DA-61C9-CD4C-BC7A-A79705DBC5EB}"/>
              </a:ext>
            </a:extLst>
          </p:cNvPr>
          <p:cNvSpPr/>
          <p:nvPr/>
        </p:nvSpPr>
        <p:spPr>
          <a:xfrm>
            <a:off x="6526286" y="6374314"/>
            <a:ext cx="629640" cy="1683719"/>
          </a:xfrm>
          <a:custGeom>
            <a:avLst/>
            <a:gdLst/>
            <a:ahLst/>
            <a:cxnLst>
              <a:cxn ang="3cd4">
                <a:pos x="hc" y="t"/>
              </a:cxn>
              <a:cxn ang="cd2">
                <a:pos x="l" y="vc"/>
              </a:cxn>
              <a:cxn ang="cd4">
                <a:pos x="hc" y="b"/>
              </a:cxn>
              <a:cxn ang="0">
                <a:pos x="r" y="vc"/>
              </a:cxn>
            </a:cxnLst>
            <a:rect l="l" t="t" r="r" b="b"/>
            <a:pathLst>
              <a:path w="1750" h="4678">
                <a:moveTo>
                  <a:pt x="1671" y="3898"/>
                </a:moveTo>
                <a:cubicBezTo>
                  <a:pt x="1591" y="3898"/>
                  <a:pt x="1591" y="3898"/>
                  <a:pt x="1591" y="3898"/>
                </a:cubicBezTo>
                <a:cubicBezTo>
                  <a:pt x="1591" y="1353"/>
                  <a:pt x="1591" y="1353"/>
                  <a:pt x="1591" y="1353"/>
                </a:cubicBezTo>
                <a:cubicBezTo>
                  <a:pt x="1591" y="1114"/>
                  <a:pt x="1591" y="1114"/>
                  <a:pt x="1591" y="1114"/>
                </a:cubicBezTo>
                <a:cubicBezTo>
                  <a:pt x="1591" y="764"/>
                  <a:pt x="1289" y="446"/>
                  <a:pt x="955" y="414"/>
                </a:cubicBezTo>
                <a:cubicBezTo>
                  <a:pt x="955" y="398"/>
                  <a:pt x="955" y="398"/>
                  <a:pt x="955" y="398"/>
                </a:cubicBezTo>
                <a:cubicBezTo>
                  <a:pt x="955" y="80"/>
                  <a:pt x="955" y="80"/>
                  <a:pt x="955" y="80"/>
                </a:cubicBezTo>
                <a:cubicBezTo>
                  <a:pt x="955" y="32"/>
                  <a:pt x="907" y="0"/>
                  <a:pt x="875" y="0"/>
                </a:cubicBezTo>
                <a:cubicBezTo>
                  <a:pt x="827" y="0"/>
                  <a:pt x="795" y="32"/>
                  <a:pt x="795" y="80"/>
                </a:cubicBezTo>
                <a:cubicBezTo>
                  <a:pt x="795" y="398"/>
                  <a:pt x="795" y="398"/>
                  <a:pt x="795" y="398"/>
                </a:cubicBezTo>
                <a:lnTo>
                  <a:pt x="795" y="414"/>
                </a:lnTo>
                <a:cubicBezTo>
                  <a:pt x="446" y="446"/>
                  <a:pt x="159" y="764"/>
                  <a:pt x="159" y="1114"/>
                </a:cubicBezTo>
                <a:cubicBezTo>
                  <a:pt x="159" y="1353"/>
                  <a:pt x="159" y="1353"/>
                  <a:pt x="159" y="1353"/>
                </a:cubicBezTo>
                <a:cubicBezTo>
                  <a:pt x="159" y="3898"/>
                  <a:pt x="159" y="3898"/>
                  <a:pt x="159" y="3898"/>
                </a:cubicBezTo>
                <a:cubicBezTo>
                  <a:pt x="80" y="3898"/>
                  <a:pt x="80" y="3898"/>
                  <a:pt x="80" y="3898"/>
                </a:cubicBezTo>
                <a:cubicBezTo>
                  <a:pt x="32" y="3898"/>
                  <a:pt x="0" y="3930"/>
                  <a:pt x="0" y="3978"/>
                </a:cubicBezTo>
                <a:cubicBezTo>
                  <a:pt x="0" y="4598"/>
                  <a:pt x="0" y="4598"/>
                  <a:pt x="0" y="4598"/>
                </a:cubicBezTo>
                <a:cubicBezTo>
                  <a:pt x="0" y="4646"/>
                  <a:pt x="32" y="4678"/>
                  <a:pt x="80" y="4678"/>
                </a:cubicBezTo>
                <a:cubicBezTo>
                  <a:pt x="1671" y="4678"/>
                  <a:pt x="1671" y="4678"/>
                  <a:pt x="1671" y="4678"/>
                </a:cubicBezTo>
                <a:cubicBezTo>
                  <a:pt x="1703" y="4678"/>
                  <a:pt x="1750" y="4646"/>
                  <a:pt x="1750" y="4598"/>
                </a:cubicBezTo>
                <a:cubicBezTo>
                  <a:pt x="1750" y="3978"/>
                  <a:pt x="1750" y="3978"/>
                  <a:pt x="1750" y="3978"/>
                </a:cubicBezTo>
                <a:cubicBezTo>
                  <a:pt x="1750" y="3930"/>
                  <a:pt x="1703" y="3898"/>
                  <a:pt x="1671" y="3898"/>
                </a:cubicBezTo>
                <a:close/>
                <a:moveTo>
                  <a:pt x="318" y="1114"/>
                </a:moveTo>
                <a:cubicBezTo>
                  <a:pt x="318" y="827"/>
                  <a:pt x="589" y="557"/>
                  <a:pt x="875" y="557"/>
                </a:cubicBezTo>
                <a:cubicBezTo>
                  <a:pt x="1161" y="557"/>
                  <a:pt x="1432" y="827"/>
                  <a:pt x="1432" y="1114"/>
                </a:cubicBezTo>
                <a:cubicBezTo>
                  <a:pt x="1432" y="1193"/>
                  <a:pt x="1432" y="1193"/>
                  <a:pt x="1432" y="1193"/>
                </a:cubicBezTo>
                <a:cubicBezTo>
                  <a:pt x="318" y="1193"/>
                  <a:pt x="318" y="1193"/>
                  <a:pt x="318" y="1193"/>
                </a:cubicBezTo>
                <a:close/>
                <a:moveTo>
                  <a:pt x="1591" y="4519"/>
                </a:moveTo>
                <a:cubicBezTo>
                  <a:pt x="159" y="4519"/>
                  <a:pt x="159" y="4519"/>
                  <a:pt x="159" y="4519"/>
                </a:cubicBezTo>
                <a:cubicBezTo>
                  <a:pt x="159" y="4057"/>
                  <a:pt x="159" y="4057"/>
                  <a:pt x="159" y="4057"/>
                </a:cubicBezTo>
                <a:cubicBezTo>
                  <a:pt x="239" y="4057"/>
                  <a:pt x="239" y="4057"/>
                  <a:pt x="239" y="4057"/>
                </a:cubicBezTo>
                <a:cubicBezTo>
                  <a:pt x="270" y="4057"/>
                  <a:pt x="318" y="4009"/>
                  <a:pt x="318" y="3978"/>
                </a:cubicBezTo>
                <a:cubicBezTo>
                  <a:pt x="318" y="1353"/>
                  <a:pt x="318" y="1353"/>
                  <a:pt x="318" y="1353"/>
                </a:cubicBezTo>
                <a:cubicBezTo>
                  <a:pt x="637" y="1353"/>
                  <a:pt x="637" y="1353"/>
                  <a:pt x="637" y="1353"/>
                </a:cubicBezTo>
                <a:cubicBezTo>
                  <a:pt x="637" y="3421"/>
                  <a:pt x="637" y="3421"/>
                  <a:pt x="637" y="3421"/>
                </a:cubicBezTo>
                <a:cubicBezTo>
                  <a:pt x="637" y="3453"/>
                  <a:pt x="668" y="3500"/>
                  <a:pt x="716" y="3500"/>
                </a:cubicBezTo>
                <a:cubicBezTo>
                  <a:pt x="748" y="3500"/>
                  <a:pt x="795" y="3453"/>
                  <a:pt x="795" y="3421"/>
                </a:cubicBezTo>
                <a:cubicBezTo>
                  <a:pt x="795" y="1353"/>
                  <a:pt x="795" y="1353"/>
                  <a:pt x="795" y="1353"/>
                </a:cubicBezTo>
                <a:cubicBezTo>
                  <a:pt x="955" y="1353"/>
                  <a:pt x="955" y="1353"/>
                  <a:pt x="955" y="1353"/>
                </a:cubicBezTo>
                <a:cubicBezTo>
                  <a:pt x="955" y="3421"/>
                  <a:pt x="955" y="3421"/>
                  <a:pt x="955" y="3421"/>
                </a:cubicBezTo>
                <a:cubicBezTo>
                  <a:pt x="955" y="3453"/>
                  <a:pt x="986" y="3500"/>
                  <a:pt x="1034" y="3500"/>
                </a:cubicBezTo>
                <a:cubicBezTo>
                  <a:pt x="1066" y="3500"/>
                  <a:pt x="1114" y="3453"/>
                  <a:pt x="1114" y="3421"/>
                </a:cubicBezTo>
                <a:cubicBezTo>
                  <a:pt x="1114" y="1353"/>
                  <a:pt x="1114" y="1353"/>
                  <a:pt x="1114" y="1353"/>
                </a:cubicBezTo>
                <a:cubicBezTo>
                  <a:pt x="1432" y="1353"/>
                  <a:pt x="1432" y="1353"/>
                  <a:pt x="1432" y="1353"/>
                </a:cubicBezTo>
                <a:cubicBezTo>
                  <a:pt x="1432" y="3978"/>
                  <a:pt x="1432" y="3978"/>
                  <a:pt x="1432" y="3978"/>
                </a:cubicBezTo>
                <a:cubicBezTo>
                  <a:pt x="1432" y="4009"/>
                  <a:pt x="1464" y="4057"/>
                  <a:pt x="1512" y="4057"/>
                </a:cubicBezTo>
                <a:cubicBezTo>
                  <a:pt x="1591" y="4057"/>
                  <a:pt x="1591" y="4057"/>
                  <a:pt x="1591" y="405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Freeform: Shape 18">
            <a:extLst>
              <a:ext uri="{FF2B5EF4-FFF2-40B4-BE49-F238E27FC236}">
                <a16:creationId xmlns:a16="http://schemas.microsoft.com/office/drawing/2014/main" id="{727831CA-0F9D-9B43-AC1A-3F4C2467BF55}"/>
              </a:ext>
            </a:extLst>
          </p:cNvPr>
          <p:cNvSpPr/>
          <p:nvPr/>
        </p:nvSpPr>
        <p:spPr>
          <a:xfrm>
            <a:off x="1829919" y="6648525"/>
            <a:ext cx="1465920" cy="1462680"/>
          </a:xfrm>
          <a:custGeom>
            <a:avLst/>
            <a:gdLst/>
            <a:ahLst/>
            <a:cxnLst>
              <a:cxn ang="3cd4">
                <a:pos x="hc" y="t"/>
              </a:cxn>
              <a:cxn ang="cd2">
                <a:pos x="l" y="vc"/>
              </a:cxn>
              <a:cxn ang="cd4">
                <a:pos x="hc" y="b"/>
              </a:cxn>
              <a:cxn ang="0">
                <a:pos x="r" y="vc"/>
              </a:cxn>
            </a:cxnLst>
            <a:rect l="l" t="t" r="r" b="b"/>
            <a:pathLst>
              <a:path w="4073" h="4064">
                <a:moveTo>
                  <a:pt x="80" y="4064"/>
                </a:moveTo>
                <a:lnTo>
                  <a:pt x="1161" y="4064"/>
                </a:lnTo>
                <a:lnTo>
                  <a:pt x="2912" y="4064"/>
                </a:lnTo>
                <a:lnTo>
                  <a:pt x="3994" y="4064"/>
                </a:lnTo>
                <a:cubicBezTo>
                  <a:pt x="4041" y="4064"/>
                  <a:pt x="4073" y="4033"/>
                  <a:pt x="4073" y="3985"/>
                </a:cubicBezTo>
                <a:lnTo>
                  <a:pt x="4073" y="2092"/>
                </a:lnTo>
                <a:cubicBezTo>
                  <a:pt x="4073" y="2060"/>
                  <a:pt x="4041" y="2012"/>
                  <a:pt x="3994" y="2012"/>
                </a:cubicBezTo>
                <a:lnTo>
                  <a:pt x="2721" y="2012"/>
                </a:lnTo>
                <a:lnTo>
                  <a:pt x="2721" y="962"/>
                </a:lnTo>
                <a:lnTo>
                  <a:pt x="2943" y="962"/>
                </a:lnTo>
                <a:cubicBezTo>
                  <a:pt x="2975" y="962"/>
                  <a:pt x="3007" y="946"/>
                  <a:pt x="3007" y="915"/>
                </a:cubicBezTo>
                <a:cubicBezTo>
                  <a:pt x="3023" y="882"/>
                  <a:pt x="3023" y="851"/>
                  <a:pt x="2991" y="819"/>
                </a:cubicBezTo>
                <a:lnTo>
                  <a:pt x="2132" y="24"/>
                </a:lnTo>
                <a:cubicBezTo>
                  <a:pt x="2100" y="-8"/>
                  <a:pt x="2052" y="-8"/>
                  <a:pt x="2021" y="24"/>
                </a:cubicBezTo>
                <a:lnTo>
                  <a:pt x="1161" y="819"/>
                </a:lnTo>
                <a:cubicBezTo>
                  <a:pt x="1130" y="851"/>
                  <a:pt x="1130" y="882"/>
                  <a:pt x="1130" y="915"/>
                </a:cubicBezTo>
                <a:cubicBezTo>
                  <a:pt x="1146" y="946"/>
                  <a:pt x="1177" y="962"/>
                  <a:pt x="1209" y="962"/>
                </a:cubicBezTo>
                <a:lnTo>
                  <a:pt x="1352" y="962"/>
                </a:lnTo>
                <a:lnTo>
                  <a:pt x="1352" y="2012"/>
                </a:lnTo>
                <a:lnTo>
                  <a:pt x="80" y="2012"/>
                </a:lnTo>
                <a:cubicBezTo>
                  <a:pt x="32" y="2012"/>
                  <a:pt x="0" y="2060"/>
                  <a:pt x="0" y="2092"/>
                </a:cubicBezTo>
                <a:lnTo>
                  <a:pt x="0" y="3985"/>
                </a:lnTo>
                <a:cubicBezTo>
                  <a:pt x="0" y="4033"/>
                  <a:pt x="32" y="4064"/>
                  <a:pt x="80" y="4064"/>
                </a:cubicBezTo>
                <a:close/>
                <a:moveTo>
                  <a:pt x="1241" y="3906"/>
                </a:moveTo>
                <a:lnTo>
                  <a:pt x="1241" y="2855"/>
                </a:lnTo>
                <a:lnTo>
                  <a:pt x="2832" y="2855"/>
                </a:lnTo>
                <a:lnTo>
                  <a:pt x="2832" y="3906"/>
                </a:lnTo>
                <a:close/>
                <a:moveTo>
                  <a:pt x="2068" y="182"/>
                </a:moveTo>
                <a:lnTo>
                  <a:pt x="2737" y="803"/>
                </a:lnTo>
                <a:lnTo>
                  <a:pt x="2641" y="803"/>
                </a:lnTo>
                <a:lnTo>
                  <a:pt x="1432" y="803"/>
                </a:lnTo>
                <a:lnTo>
                  <a:pt x="1416" y="803"/>
                </a:lnTo>
                <a:close/>
                <a:moveTo>
                  <a:pt x="1512" y="962"/>
                </a:moveTo>
                <a:lnTo>
                  <a:pt x="2562" y="962"/>
                </a:lnTo>
                <a:lnTo>
                  <a:pt x="2562" y="2012"/>
                </a:lnTo>
                <a:lnTo>
                  <a:pt x="1512" y="2012"/>
                </a:lnTo>
                <a:close/>
                <a:moveTo>
                  <a:pt x="159" y="2171"/>
                </a:moveTo>
                <a:lnTo>
                  <a:pt x="1432" y="2171"/>
                </a:lnTo>
                <a:lnTo>
                  <a:pt x="2641" y="2171"/>
                </a:lnTo>
                <a:lnTo>
                  <a:pt x="3914" y="2171"/>
                </a:lnTo>
                <a:lnTo>
                  <a:pt x="3914" y="3906"/>
                </a:lnTo>
                <a:lnTo>
                  <a:pt x="2991" y="3906"/>
                </a:lnTo>
                <a:lnTo>
                  <a:pt x="2991" y="2776"/>
                </a:lnTo>
                <a:cubicBezTo>
                  <a:pt x="2991" y="2728"/>
                  <a:pt x="2959" y="2696"/>
                  <a:pt x="2912" y="2696"/>
                </a:cubicBezTo>
                <a:lnTo>
                  <a:pt x="1161" y="2696"/>
                </a:lnTo>
                <a:cubicBezTo>
                  <a:pt x="1114" y="2696"/>
                  <a:pt x="1082" y="2728"/>
                  <a:pt x="1082" y="2776"/>
                </a:cubicBezTo>
                <a:lnTo>
                  <a:pt x="1082" y="3906"/>
                </a:lnTo>
                <a:lnTo>
                  <a:pt x="159" y="3906"/>
                </a:lnTo>
                <a:close/>
                <a:moveTo>
                  <a:pt x="2068" y="1105"/>
                </a:moveTo>
                <a:cubicBezTo>
                  <a:pt x="1925" y="1105"/>
                  <a:pt x="1814" y="1216"/>
                  <a:pt x="1814" y="1360"/>
                </a:cubicBezTo>
                <a:cubicBezTo>
                  <a:pt x="1814" y="1487"/>
                  <a:pt x="1925" y="1598"/>
                  <a:pt x="2068" y="1598"/>
                </a:cubicBezTo>
                <a:cubicBezTo>
                  <a:pt x="2195" y="1598"/>
                  <a:pt x="2307" y="1487"/>
                  <a:pt x="2307" y="1360"/>
                </a:cubicBezTo>
                <a:cubicBezTo>
                  <a:pt x="2307" y="1216"/>
                  <a:pt x="2195" y="1105"/>
                  <a:pt x="2068" y="1105"/>
                </a:cubicBezTo>
                <a:close/>
                <a:moveTo>
                  <a:pt x="2068" y="1439"/>
                </a:moveTo>
                <a:cubicBezTo>
                  <a:pt x="2021" y="1439"/>
                  <a:pt x="1973" y="1407"/>
                  <a:pt x="1973" y="1360"/>
                </a:cubicBezTo>
                <a:cubicBezTo>
                  <a:pt x="1973" y="1312"/>
                  <a:pt x="2021" y="1264"/>
                  <a:pt x="2068" y="1264"/>
                </a:cubicBezTo>
                <a:cubicBezTo>
                  <a:pt x="2116" y="1264"/>
                  <a:pt x="2148" y="1312"/>
                  <a:pt x="2148" y="1360"/>
                </a:cubicBezTo>
                <a:cubicBezTo>
                  <a:pt x="2148" y="1407"/>
                  <a:pt x="2116" y="1439"/>
                  <a:pt x="2068" y="143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46474401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Strategy and measurement - 1</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28" name="TextBox 27">
            <a:extLst>
              <a:ext uri="{FF2B5EF4-FFF2-40B4-BE49-F238E27FC236}">
                <a16:creationId xmlns:a16="http://schemas.microsoft.com/office/drawing/2014/main" id="{2A16A454-D8AF-9342-BA8D-624B52984C84}"/>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King</a:t>
            </a:r>
          </a:p>
        </p:txBody>
      </p:sp>
      <p:sp>
        <p:nvSpPr>
          <p:cNvPr id="29" name="TextBox 28">
            <a:extLst>
              <a:ext uri="{FF2B5EF4-FFF2-40B4-BE49-F238E27FC236}">
                <a16:creationId xmlns:a16="http://schemas.microsoft.com/office/drawing/2014/main" id="{87A6B121-29A3-6C46-B8D4-20AF404FB4A5}"/>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heckmate</a:t>
            </a:r>
          </a:p>
        </p:txBody>
      </p:sp>
      <p:sp>
        <p:nvSpPr>
          <p:cNvPr id="30" name="TextBox 29">
            <a:extLst>
              <a:ext uri="{FF2B5EF4-FFF2-40B4-BE49-F238E27FC236}">
                <a16:creationId xmlns:a16="http://schemas.microsoft.com/office/drawing/2014/main" id="{93518780-B4E8-C84F-8EE4-7BA3725D2E9B}"/>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ook</a:t>
            </a:r>
          </a:p>
        </p:txBody>
      </p:sp>
      <p:sp>
        <p:nvSpPr>
          <p:cNvPr id="31" name="TextBox 30">
            <a:extLst>
              <a:ext uri="{FF2B5EF4-FFF2-40B4-BE49-F238E27FC236}">
                <a16:creationId xmlns:a16="http://schemas.microsoft.com/office/drawing/2014/main" id="{481DC46A-DDDD-9448-864B-243D4EBD668F}"/>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ishop</a:t>
            </a:r>
          </a:p>
        </p:txBody>
      </p:sp>
      <p:sp>
        <p:nvSpPr>
          <p:cNvPr id="32" name="TextBox 31">
            <a:extLst>
              <a:ext uri="{FF2B5EF4-FFF2-40B4-BE49-F238E27FC236}">
                <a16:creationId xmlns:a16="http://schemas.microsoft.com/office/drawing/2014/main" id="{8860C4B2-3073-6D47-B857-9AF0E1F128F3}"/>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wn</a:t>
            </a:r>
          </a:p>
        </p:txBody>
      </p:sp>
      <p:sp>
        <p:nvSpPr>
          <p:cNvPr id="33" name="TextBox 32">
            <a:extLst>
              <a:ext uri="{FF2B5EF4-FFF2-40B4-BE49-F238E27FC236}">
                <a16:creationId xmlns:a16="http://schemas.microsoft.com/office/drawing/2014/main" id="{6668DE8F-D919-8C47-9982-B6FA6B3C1155}"/>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imer</a:t>
            </a:r>
          </a:p>
        </p:txBody>
      </p:sp>
      <p:sp>
        <p:nvSpPr>
          <p:cNvPr id="34" name="TextBox 33">
            <a:extLst>
              <a:ext uri="{FF2B5EF4-FFF2-40B4-BE49-F238E27FC236}">
                <a16:creationId xmlns:a16="http://schemas.microsoft.com/office/drawing/2014/main" id="{24C2EB55-94AE-1145-A625-82947E69FBB1}"/>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ard</a:t>
            </a:r>
          </a:p>
        </p:txBody>
      </p:sp>
      <p:sp>
        <p:nvSpPr>
          <p:cNvPr id="35" name="TextBox 34">
            <a:extLst>
              <a:ext uri="{FF2B5EF4-FFF2-40B4-BE49-F238E27FC236}">
                <a16:creationId xmlns:a16="http://schemas.microsoft.com/office/drawing/2014/main" id="{9F64E1F3-F63B-E248-B8B8-AFD9CA7933D6}"/>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lay</a:t>
            </a:r>
          </a:p>
        </p:txBody>
      </p:sp>
      <p:sp>
        <p:nvSpPr>
          <p:cNvPr id="36" name="TextBox 35">
            <a:extLst>
              <a:ext uri="{FF2B5EF4-FFF2-40B4-BE49-F238E27FC236}">
                <a16:creationId xmlns:a16="http://schemas.microsoft.com/office/drawing/2014/main" id="{C260E9A5-CA12-0B4A-B34E-7AE0E66DC8D1}"/>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dea</a:t>
            </a:r>
          </a:p>
        </p:txBody>
      </p:sp>
      <p:sp>
        <p:nvSpPr>
          <p:cNvPr id="37" name="TextBox 36">
            <a:extLst>
              <a:ext uri="{FF2B5EF4-FFF2-40B4-BE49-F238E27FC236}">
                <a16:creationId xmlns:a16="http://schemas.microsoft.com/office/drawing/2014/main" id="{891D8285-F6B9-374B-B935-792EF10B5BEC}"/>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issors</a:t>
            </a:r>
          </a:p>
        </p:txBody>
      </p:sp>
      <p:sp>
        <p:nvSpPr>
          <p:cNvPr id="38" name="TextBox 37">
            <a:extLst>
              <a:ext uri="{FF2B5EF4-FFF2-40B4-BE49-F238E27FC236}">
                <a16:creationId xmlns:a16="http://schemas.microsoft.com/office/drawing/2014/main" id="{3F5B6A72-2869-B94E-A7CA-E0A6CEF36596}"/>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lette</a:t>
            </a:r>
          </a:p>
        </p:txBody>
      </p:sp>
      <p:sp>
        <p:nvSpPr>
          <p:cNvPr id="39" name="TextBox 38">
            <a:extLst>
              <a:ext uri="{FF2B5EF4-FFF2-40B4-BE49-F238E27FC236}">
                <a16:creationId xmlns:a16="http://schemas.microsoft.com/office/drawing/2014/main" id="{E07E4E76-21A3-A14A-B0FB-A2018B7C521F}"/>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Venn</a:t>
            </a:r>
          </a:p>
        </p:txBody>
      </p:sp>
      <p:sp>
        <p:nvSpPr>
          <p:cNvPr id="40" name="TextBox 39">
            <a:extLst>
              <a:ext uri="{FF2B5EF4-FFF2-40B4-BE49-F238E27FC236}">
                <a16:creationId xmlns:a16="http://schemas.microsoft.com/office/drawing/2014/main" id="{E67383C7-6C44-8748-B151-C45B5FCE3BFC}"/>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inpoint</a:t>
            </a:r>
          </a:p>
        </p:txBody>
      </p:sp>
      <p:sp>
        <p:nvSpPr>
          <p:cNvPr id="44" name="TextBox 43">
            <a:extLst>
              <a:ext uri="{FF2B5EF4-FFF2-40B4-BE49-F238E27FC236}">
                <a16:creationId xmlns:a16="http://schemas.microsoft.com/office/drawing/2014/main" id="{0E315FA3-4E26-CC4B-B58A-527BFAC5CD66}"/>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urve</a:t>
            </a:r>
          </a:p>
        </p:txBody>
      </p:sp>
      <p:sp>
        <p:nvSpPr>
          <p:cNvPr id="45" name="TextBox 44">
            <a:extLst>
              <a:ext uri="{FF2B5EF4-FFF2-40B4-BE49-F238E27FC236}">
                <a16:creationId xmlns:a16="http://schemas.microsoft.com/office/drawing/2014/main" id="{2C925CC5-711F-E34D-AFBC-BCDD5A445678}"/>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urve 2</a:t>
            </a:r>
          </a:p>
        </p:txBody>
      </p:sp>
      <p:sp>
        <p:nvSpPr>
          <p:cNvPr id="46" name="Freeform: Shape 26">
            <a:extLst>
              <a:ext uri="{FF2B5EF4-FFF2-40B4-BE49-F238E27FC236}">
                <a16:creationId xmlns:a16="http://schemas.microsoft.com/office/drawing/2014/main" id="{6998DED4-3C00-5241-9F89-13E2CC889600}"/>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7" name="TextBox 46">
            <a:extLst>
              <a:ext uri="{FF2B5EF4-FFF2-40B4-BE49-F238E27FC236}">
                <a16:creationId xmlns:a16="http://schemas.microsoft.com/office/drawing/2014/main" id="{C50A5DFC-7A65-304F-B99E-73E026CC0EAD}"/>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Knight</a:t>
            </a:r>
          </a:p>
        </p:txBody>
      </p:sp>
      <p:sp>
        <p:nvSpPr>
          <p:cNvPr id="48" name="TextBox 47">
            <a:extLst>
              <a:ext uri="{FF2B5EF4-FFF2-40B4-BE49-F238E27FC236}">
                <a16:creationId xmlns:a16="http://schemas.microsoft.com/office/drawing/2014/main" id="{9DF6818F-CEFE-7044-BE84-66E80E2A2A7C}"/>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rush</a:t>
            </a:r>
          </a:p>
        </p:txBody>
      </p:sp>
      <p:sp>
        <p:nvSpPr>
          <p:cNvPr id="49" name="TextBox 48">
            <a:extLst>
              <a:ext uri="{FF2B5EF4-FFF2-40B4-BE49-F238E27FC236}">
                <a16:creationId xmlns:a16="http://schemas.microsoft.com/office/drawing/2014/main" id="{635A9CAC-E50F-7043-9113-28CDD8F6CE42}"/>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urve 1</a:t>
            </a:r>
          </a:p>
        </p:txBody>
      </p:sp>
      <p:sp>
        <p:nvSpPr>
          <p:cNvPr id="50" name="Freeform: Shape 13">
            <a:extLst>
              <a:ext uri="{FF2B5EF4-FFF2-40B4-BE49-F238E27FC236}">
                <a16:creationId xmlns:a16="http://schemas.microsoft.com/office/drawing/2014/main" id="{A9A4E503-7CD6-4841-9DFD-F38DAE869318}"/>
              </a:ext>
            </a:extLst>
          </p:cNvPr>
          <p:cNvSpPr/>
          <p:nvPr/>
        </p:nvSpPr>
        <p:spPr>
          <a:xfrm>
            <a:off x="2283649" y="3606611"/>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1" name="Freeform: Shape 1">
            <a:extLst>
              <a:ext uri="{FF2B5EF4-FFF2-40B4-BE49-F238E27FC236}">
                <a16:creationId xmlns:a16="http://schemas.microsoft.com/office/drawing/2014/main" id="{54DDAFE9-FEA9-9745-B7A3-A89C0A173D1D}"/>
              </a:ext>
            </a:extLst>
          </p:cNvPr>
          <p:cNvSpPr/>
          <p:nvPr/>
        </p:nvSpPr>
        <p:spPr>
          <a:xfrm>
            <a:off x="10087706" y="6471929"/>
            <a:ext cx="1522800" cy="1525680"/>
          </a:xfrm>
          <a:custGeom>
            <a:avLst/>
            <a:gdLst/>
            <a:ahLst/>
            <a:cxnLst>
              <a:cxn ang="3cd4">
                <a:pos x="hc" y="t"/>
              </a:cxn>
              <a:cxn ang="cd2">
                <a:pos x="l" y="vc"/>
              </a:cxn>
              <a:cxn ang="cd4">
                <a:pos x="hc" y="b"/>
              </a:cxn>
              <a:cxn ang="0">
                <a:pos x="r" y="vc"/>
              </a:cxn>
            </a:cxnLst>
            <a:rect l="l" t="t" r="r" b="b"/>
            <a:pathLst>
              <a:path w="4231" h="4239">
                <a:moveTo>
                  <a:pt x="23" y="1376"/>
                </a:moveTo>
                <a:cubicBezTo>
                  <a:pt x="39" y="1392"/>
                  <a:pt x="55" y="1392"/>
                  <a:pt x="71" y="1392"/>
                </a:cubicBezTo>
                <a:cubicBezTo>
                  <a:pt x="103" y="1392"/>
                  <a:pt x="119" y="1392"/>
                  <a:pt x="135" y="1376"/>
                </a:cubicBezTo>
                <a:lnTo>
                  <a:pt x="691" y="803"/>
                </a:lnTo>
                <a:lnTo>
                  <a:pt x="1248" y="1376"/>
                </a:lnTo>
                <a:cubicBezTo>
                  <a:pt x="1264" y="1392"/>
                  <a:pt x="1296" y="1392"/>
                  <a:pt x="1312" y="1392"/>
                </a:cubicBezTo>
                <a:cubicBezTo>
                  <a:pt x="1328" y="1392"/>
                  <a:pt x="1359" y="1392"/>
                  <a:pt x="1376" y="1376"/>
                </a:cubicBezTo>
                <a:cubicBezTo>
                  <a:pt x="1391" y="1344"/>
                  <a:pt x="1391" y="1281"/>
                  <a:pt x="1376" y="1265"/>
                </a:cubicBezTo>
                <a:lnTo>
                  <a:pt x="803" y="692"/>
                </a:lnTo>
                <a:lnTo>
                  <a:pt x="1376" y="135"/>
                </a:lnTo>
                <a:cubicBezTo>
                  <a:pt x="1391" y="103"/>
                  <a:pt x="1391" y="56"/>
                  <a:pt x="1376" y="24"/>
                </a:cubicBezTo>
                <a:cubicBezTo>
                  <a:pt x="1343" y="-8"/>
                  <a:pt x="1280" y="-8"/>
                  <a:pt x="1248" y="24"/>
                </a:cubicBezTo>
                <a:lnTo>
                  <a:pt x="691" y="581"/>
                </a:lnTo>
                <a:lnTo>
                  <a:pt x="135" y="24"/>
                </a:lnTo>
                <a:cubicBezTo>
                  <a:pt x="103" y="-8"/>
                  <a:pt x="55" y="-8"/>
                  <a:pt x="23" y="24"/>
                </a:cubicBezTo>
                <a:cubicBezTo>
                  <a:pt x="-8" y="56"/>
                  <a:pt x="-8" y="103"/>
                  <a:pt x="23" y="135"/>
                </a:cubicBezTo>
                <a:lnTo>
                  <a:pt x="580" y="692"/>
                </a:lnTo>
                <a:lnTo>
                  <a:pt x="23" y="1265"/>
                </a:lnTo>
                <a:cubicBezTo>
                  <a:pt x="-8" y="1281"/>
                  <a:pt x="-8" y="1344"/>
                  <a:pt x="23" y="1376"/>
                </a:cubicBezTo>
                <a:close/>
                <a:moveTo>
                  <a:pt x="4095" y="2855"/>
                </a:moveTo>
                <a:lnTo>
                  <a:pt x="3539" y="3428"/>
                </a:lnTo>
                <a:lnTo>
                  <a:pt x="2966" y="2855"/>
                </a:lnTo>
                <a:cubicBezTo>
                  <a:pt x="2934" y="2823"/>
                  <a:pt x="2886" y="2823"/>
                  <a:pt x="2855" y="2855"/>
                </a:cubicBezTo>
                <a:cubicBezTo>
                  <a:pt x="2823" y="2887"/>
                  <a:pt x="2823" y="2951"/>
                  <a:pt x="2855" y="2966"/>
                </a:cubicBezTo>
                <a:lnTo>
                  <a:pt x="3427" y="3539"/>
                </a:lnTo>
                <a:lnTo>
                  <a:pt x="2855" y="4096"/>
                </a:lnTo>
                <a:cubicBezTo>
                  <a:pt x="2823" y="4128"/>
                  <a:pt x="2823" y="4175"/>
                  <a:pt x="2855" y="4207"/>
                </a:cubicBezTo>
                <a:cubicBezTo>
                  <a:pt x="2870" y="4223"/>
                  <a:pt x="2902" y="4239"/>
                  <a:pt x="2918" y="4239"/>
                </a:cubicBezTo>
                <a:cubicBezTo>
                  <a:pt x="2934" y="4239"/>
                  <a:pt x="2950" y="4223"/>
                  <a:pt x="2966" y="4207"/>
                </a:cubicBezTo>
                <a:lnTo>
                  <a:pt x="3539" y="3650"/>
                </a:lnTo>
                <a:lnTo>
                  <a:pt x="4095" y="4207"/>
                </a:lnTo>
                <a:cubicBezTo>
                  <a:pt x="4111" y="4223"/>
                  <a:pt x="4127" y="4239"/>
                  <a:pt x="4159" y="4239"/>
                </a:cubicBezTo>
                <a:cubicBezTo>
                  <a:pt x="4175" y="4239"/>
                  <a:pt x="4191" y="4223"/>
                  <a:pt x="4206" y="4207"/>
                </a:cubicBezTo>
                <a:cubicBezTo>
                  <a:pt x="4239" y="4175"/>
                  <a:pt x="4239" y="4128"/>
                  <a:pt x="4206" y="4096"/>
                </a:cubicBezTo>
                <a:lnTo>
                  <a:pt x="3650" y="3539"/>
                </a:lnTo>
                <a:lnTo>
                  <a:pt x="4206" y="2966"/>
                </a:lnTo>
                <a:cubicBezTo>
                  <a:pt x="4239" y="2951"/>
                  <a:pt x="4239" y="2887"/>
                  <a:pt x="4206" y="2855"/>
                </a:cubicBezTo>
                <a:cubicBezTo>
                  <a:pt x="4175" y="2823"/>
                  <a:pt x="4127" y="2823"/>
                  <a:pt x="4095" y="2855"/>
                </a:cubicBezTo>
                <a:close/>
                <a:moveTo>
                  <a:pt x="2918" y="867"/>
                </a:moveTo>
                <a:cubicBezTo>
                  <a:pt x="2934" y="867"/>
                  <a:pt x="2966" y="851"/>
                  <a:pt x="2982" y="835"/>
                </a:cubicBezTo>
                <a:lnTo>
                  <a:pt x="3411" y="342"/>
                </a:lnTo>
                <a:lnTo>
                  <a:pt x="3411" y="1980"/>
                </a:lnTo>
                <a:lnTo>
                  <a:pt x="803" y="1980"/>
                </a:lnTo>
                <a:cubicBezTo>
                  <a:pt x="755" y="1980"/>
                  <a:pt x="723" y="2012"/>
                  <a:pt x="723" y="2060"/>
                </a:cubicBezTo>
                <a:lnTo>
                  <a:pt x="723" y="2839"/>
                </a:lnTo>
                <a:cubicBezTo>
                  <a:pt x="405" y="2871"/>
                  <a:pt x="167" y="3126"/>
                  <a:pt x="167" y="3444"/>
                </a:cubicBezTo>
                <a:cubicBezTo>
                  <a:pt x="167" y="3778"/>
                  <a:pt x="437" y="4048"/>
                  <a:pt x="771" y="4048"/>
                </a:cubicBezTo>
                <a:cubicBezTo>
                  <a:pt x="1121" y="4048"/>
                  <a:pt x="1391" y="3778"/>
                  <a:pt x="1391" y="3444"/>
                </a:cubicBezTo>
                <a:cubicBezTo>
                  <a:pt x="1391" y="3141"/>
                  <a:pt x="1168" y="2887"/>
                  <a:pt x="882" y="2839"/>
                </a:cubicBezTo>
                <a:lnTo>
                  <a:pt x="882" y="2139"/>
                </a:lnTo>
                <a:lnTo>
                  <a:pt x="3491" y="2139"/>
                </a:lnTo>
                <a:cubicBezTo>
                  <a:pt x="3539" y="2139"/>
                  <a:pt x="3570" y="2108"/>
                  <a:pt x="3570" y="2060"/>
                </a:cubicBezTo>
                <a:lnTo>
                  <a:pt x="3570" y="342"/>
                </a:lnTo>
                <a:lnTo>
                  <a:pt x="4016" y="835"/>
                </a:lnTo>
                <a:cubicBezTo>
                  <a:pt x="4031" y="851"/>
                  <a:pt x="4063" y="867"/>
                  <a:pt x="4079" y="867"/>
                </a:cubicBezTo>
                <a:cubicBezTo>
                  <a:pt x="4095" y="867"/>
                  <a:pt x="4111" y="851"/>
                  <a:pt x="4127" y="835"/>
                </a:cubicBezTo>
                <a:cubicBezTo>
                  <a:pt x="4159" y="803"/>
                  <a:pt x="4159" y="756"/>
                  <a:pt x="4143" y="724"/>
                </a:cubicBezTo>
                <a:lnTo>
                  <a:pt x="3554" y="88"/>
                </a:lnTo>
                <a:lnTo>
                  <a:pt x="3539" y="72"/>
                </a:lnTo>
                <a:lnTo>
                  <a:pt x="3522" y="72"/>
                </a:lnTo>
                <a:lnTo>
                  <a:pt x="3507" y="56"/>
                </a:lnTo>
                <a:lnTo>
                  <a:pt x="3491" y="56"/>
                </a:lnTo>
                <a:cubicBezTo>
                  <a:pt x="3475" y="56"/>
                  <a:pt x="3475" y="56"/>
                  <a:pt x="3475" y="72"/>
                </a:cubicBezTo>
                <a:lnTo>
                  <a:pt x="3459" y="72"/>
                </a:lnTo>
                <a:cubicBezTo>
                  <a:pt x="3443" y="72"/>
                  <a:pt x="3443" y="72"/>
                  <a:pt x="3443" y="88"/>
                </a:cubicBezTo>
                <a:lnTo>
                  <a:pt x="2855" y="724"/>
                </a:lnTo>
                <a:cubicBezTo>
                  <a:pt x="2823" y="756"/>
                  <a:pt x="2839" y="803"/>
                  <a:pt x="2870" y="835"/>
                </a:cubicBezTo>
                <a:cubicBezTo>
                  <a:pt x="2870" y="851"/>
                  <a:pt x="2902" y="867"/>
                  <a:pt x="2918" y="867"/>
                </a:cubicBezTo>
                <a:close/>
                <a:moveTo>
                  <a:pt x="1232" y="3444"/>
                </a:moveTo>
                <a:cubicBezTo>
                  <a:pt x="1232" y="3698"/>
                  <a:pt x="1025" y="3905"/>
                  <a:pt x="771" y="3905"/>
                </a:cubicBezTo>
                <a:cubicBezTo>
                  <a:pt x="532" y="3905"/>
                  <a:pt x="325" y="3698"/>
                  <a:pt x="325" y="3444"/>
                </a:cubicBezTo>
                <a:cubicBezTo>
                  <a:pt x="325" y="3189"/>
                  <a:pt x="532" y="2998"/>
                  <a:pt x="771" y="2998"/>
                </a:cubicBezTo>
                <a:cubicBezTo>
                  <a:pt x="1025" y="2998"/>
                  <a:pt x="1232" y="3189"/>
                  <a:pt x="1232" y="344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2" name="Freeform: Shape 2">
            <a:extLst>
              <a:ext uri="{FF2B5EF4-FFF2-40B4-BE49-F238E27FC236}">
                <a16:creationId xmlns:a16="http://schemas.microsoft.com/office/drawing/2014/main" id="{11763C3C-76C7-A944-B4A9-8A05E44A9A15}"/>
              </a:ext>
            </a:extLst>
          </p:cNvPr>
          <p:cNvSpPr/>
          <p:nvPr/>
        </p:nvSpPr>
        <p:spPr>
          <a:xfrm>
            <a:off x="6091046" y="6595127"/>
            <a:ext cx="1500119" cy="1493999"/>
          </a:xfrm>
          <a:custGeom>
            <a:avLst/>
            <a:gdLst/>
            <a:ahLst/>
            <a:cxnLst>
              <a:cxn ang="3cd4">
                <a:pos x="hc" y="t"/>
              </a:cxn>
              <a:cxn ang="cd2">
                <a:pos x="l" y="vc"/>
              </a:cxn>
              <a:cxn ang="cd4">
                <a:pos x="hc" y="b"/>
              </a:cxn>
              <a:cxn ang="0">
                <a:pos x="r" y="vc"/>
              </a:cxn>
            </a:cxnLst>
            <a:rect l="l" t="t" r="r" b="b"/>
            <a:pathLst>
              <a:path w="4168" h="4151">
                <a:moveTo>
                  <a:pt x="3802" y="286"/>
                </a:moveTo>
                <a:lnTo>
                  <a:pt x="2943" y="286"/>
                </a:lnTo>
                <a:lnTo>
                  <a:pt x="2084" y="286"/>
                </a:lnTo>
                <a:lnTo>
                  <a:pt x="1225" y="286"/>
                </a:lnTo>
                <a:lnTo>
                  <a:pt x="366" y="286"/>
                </a:lnTo>
                <a:cubicBezTo>
                  <a:pt x="319" y="286"/>
                  <a:pt x="287" y="318"/>
                  <a:pt x="287" y="366"/>
                </a:cubicBezTo>
                <a:lnTo>
                  <a:pt x="287" y="1225"/>
                </a:lnTo>
                <a:lnTo>
                  <a:pt x="287" y="2068"/>
                </a:lnTo>
                <a:lnTo>
                  <a:pt x="287" y="2926"/>
                </a:lnTo>
                <a:lnTo>
                  <a:pt x="287" y="3785"/>
                </a:lnTo>
                <a:cubicBezTo>
                  <a:pt x="287" y="3833"/>
                  <a:pt x="319" y="3865"/>
                  <a:pt x="366" y="3865"/>
                </a:cubicBezTo>
                <a:lnTo>
                  <a:pt x="1225" y="3865"/>
                </a:lnTo>
                <a:lnTo>
                  <a:pt x="2084" y="3865"/>
                </a:lnTo>
                <a:lnTo>
                  <a:pt x="2943" y="3865"/>
                </a:lnTo>
                <a:lnTo>
                  <a:pt x="3802" y="3865"/>
                </a:lnTo>
                <a:cubicBezTo>
                  <a:pt x="3834" y="3865"/>
                  <a:pt x="3881" y="3833"/>
                  <a:pt x="3881" y="3785"/>
                </a:cubicBezTo>
                <a:lnTo>
                  <a:pt x="3881" y="2926"/>
                </a:lnTo>
                <a:lnTo>
                  <a:pt x="3881" y="2068"/>
                </a:lnTo>
                <a:lnTo>
                  <a:pt x="3881" y="1225"/>
                </a:lnTo>
                <a:lnTo>
                  <a:pt x="3881" y="366"/>
                </a:lnTo>
                <a:cubicBezTo>
                  <a:pt x="3881" y="318"/>
                  <a:pt x="3834" y="286"/>
                  <a:pt x="3802" y="286"/>
                </a:cubicBezTo>
                <a:close/>
                <a:moveTo>
                  <a:pt x="1146" y="3706"/>
                </a:moveTo>
                <a:lnTo>
                  <a:pt x="446" y="3706"/>
                </a:lnTo>
                <a:lnTo>
                  <a:pt x="446" y="3006"/>
                </a:lnTo>
                <a:lnTo>
                  <a:pt x="1146" y="3006"/>
                </a:lnTo>
                <a:close/>
                <a:moveTo>
                  <a:pt x="1146" y="2847"/>
                </a:moveTo>
                <a:lnTo>
                  <a:pt x="446" y="2847"/>
                </a:lnTo>
                <a:lnTo>
                  <a:pt x="446" y="2147"/>
                </a:lnTo>
                <a:lnTo>
                  <a:pt x="1146" y="2147"/>
                </a:lnTo>
                <a:close/>
                <a:moveTo>
                  <a:pt x="1146" y="2004"/>
                </a:moveTo>
                <a:lnTo>
                  <a:pt x="446" y="2004"/>
                </a:lnTo>
                <a:lnTo>
                  <a:pt x="446" y="1304"/>
                </a:lnTo>
                <a:lnTo>
                  <a:pt x="1146" y="1304"/>
                </a:lnTo>
                <a:close/>
                <a:moveTo>
                  <a:pt x="1146" y="1145"/>
                </a:moveTo>
                <a:lnTo>
                  <a:pt x="446" y="1145"/>
                </a:lnTo>
                <a:lnTo>
                  <a:pt x="446" y="445"/>
                </a:lnTo>
                <a:lnTo>
                  <a:pt x="1146" y="445"/>
                </a:lnTo>
                <a:close/>
                <a:moveTo>
                  <a:pt x="2004" y="3706"/>
                </a:moveTo>
                <a:lnTo>
                  <a:pt x="1304" y="3706"/>
                </a:lnTo>
                <a:lnTo>
                  <a:pt x="1304" y="3006"/>
                </a:lnTo>
                <a:lnTo>
                  <a:pt x="2004" y="3006"/>
                </a:lnTo>
                <a:close/>
                <a:moveTo>
                  <a:pt x="2004" y="2847"/>
                </a:moveTo>
                <a:lnTo>
                  <a:pt x="1304" y="2847"/>
                </a:lnTo>
                <a:lnTo>
                  <a:pt x="1304" y="2147"/>
                </a:lnTo>
                <a:lnTo>
                  <a:pt x="2004" y="2147"/>
                </a:lnTo>
                <a:close/>
                <a:moveTo>
                  <a:pt x="2004" y="2004"/>
                </a:moveTo>
                <a:lnTo>
                  <a:pt x="1304" y="2004"/>
                </a:lnTo>
                <a:lnTo>
                  <a:pt x="1304" y="1304"/>
                </a:lnTo>
                <a:lnTo>
                  <a:pt x="2004" y="1304"/>
                </a:lnTo>
                <a:close/>
                <a:moveTo>
                  <a:pt x="2004" y="1145"/>
                </a:moveTo>
                <a:lnTo>
                  <a:pt x="1304" y="1145"/>
                </a:lnTo>
                <a:lnTo>
                  <a:pt x="1304" y="445"/>
                </a:lnTo>
                <a:lnTo>
                  <a:pt x="2004" y="445"/>
                </a:lnTo>
                <a:close/>
                <a:moveTo>
                  <a:pt x="2864" y="3706"/>
                </a:moveTo>
                <a:lnTo>
                  <a:pt x="2164" y="3706"/>
                </a:lnTo>
                <a:lnTo>
                  <a:pt x="2164" y="3006"/>
                </a:lnTo>
                <a:lnTo>
                  <a:pt x="2864" y="3006"/>
                </a:lnTo>
                <a:close/>
                <a:moveTo>
                  <a:pt x="2864" y="2847"/>
                </a:moveTo>
                <a:lnTo>
                  <a:pt x="2164" y="2847"/>
                </a:lnTo>
                <a:lnTo>
                  <a:pt x="2164" y="2147"/>
                </a:lnTo>
                <a:lnTo>
                  <a:pt x="2864" y="2147"/>
                </a:lnTo>
                <a:close/>
                <a:moveTo>
                  <a:pt x="2864" y="2004"/>
                </a:moveTo>
                <a:lnTo>
                  <a:pt x="2164" y="2004"/>
                </a:lnTo>
                <a:lnTo>
                  <a:pt x="2164" y="1304"/>
                </a:lnTo>
                <a:lnTo>
                  <a:pt x="2864" y="1304"/>
                </a:lnTo>
                <a:close/>
                <a:moveTo>
                  <a:pt x="2864" y="1145"/>
                </a:moveTo>
                <a:lnTo>
                  <a:pt x="2164" y="1145"/>
                </a:lnTo>
                <a:lnTo>
                  <a:pt x="2164" y="445"/>
                </a:lnTo>
                <a:lnTo>
                  <a:pt x="2864" y="445"/>
                </a:lnTo>
                <a:close/>
                <a:moveTo>
                  <a:pt x="3722" y="3706"/>
                </a:moveTo>
                <a:lnTo>
                  <a:pt x="3022" y="3706"/>
                </a:lnTo>
                <a:lnTo>
                  <a:pt x="3022" y="3006"/>
                </a:lnTo>
                <a:lnTo>
                  <a:pt x="3722" y="3006"/>
                </a:lnTo>
                <a:close/>
                <a:moveTo>
                  <a:pt x="3722" y="2847"/>
                </a:moveTo>
                <a:lnTo>
                  <a:pt x="3022" y="2847"/>
                </a:lnTo>
                <a:lnTo>
                  <a:pt x="3022" y="2147"/>
                </a:lnTo>
                <a:lnTo>
                  <a:pt x="3722" y="2147"/>
                </a:lnTo>
                <a:close/>
                <a:moveTo>
                  <a:pt x="3722" y="2004"/>
                </a:moveTo>
                <a:lnTo>
                  <a:pt x="3022" y="2004"/>
                </a:lnTo>
                <a:lnTo>
                  <a:pt x="3022" y="1304"/>
                </a:lnTo>
                <a:lnTo>
                  <a:pt x="3722" y="1304"/>
                </a:lnTo>
                <a:close/>
                <a:moveTo>
                  <a:pt x="3722" y="1145"/>
                </a:moveTo>
                <a:lnTo>
                  <a:pt x="3022" y="1145"/>
                </a:lnTo>
                <a:lnTo>
                  <a:pt x="3022" y="445"/>
                </a:lnTo>
                <a:lnTo>
                  <a:pt x="3722" y="445"/>
                </a:lnTo>
                <a:close/>
                <a:moveTo>
                  <a:pt x="80" y="4151"/>
                </a:moveTo>
                <a:lnTo>
                  <a:pt x="4088" y="4151"/>
                </a:lnTo>
                <a:cubicBezTo>
                  <a:pt x="4120" y="4151"/>
                  <a:pt x="4168" y="4119"/>
                  <a:pt x="4168" y="4072"/>
                </a:cubicBezTo>
                <a:lnTo>
                  <a:pt x="4168" y="80"/>
                </a:lnTo>
                <a:cubicBezTo>
                  <a:pt x="4168" y="32"/>
                  <a:pt x="4120" y="0"/>
                  <a:pt x="4088" y="0"/>
                </a:cubicBezTo>
                <a:lnTo>
                  <a:pt x="80" y="0"/>
                </a:lnTo>
                <a:cubicBezTo>
                  <a:pt x="32" y="0"/>
                  <a:pt x="0" y="32"/>
                  <a:pt x="0" y="80"/>
                </a:cubicBezTo>
                <a:lnTo>
                  <a:pt x="0" y="4072"/>
                </a:lnTo>
                <a:cubicBezTo>
                  <a:pt x="0" y="4119"/>
                  <a:pt x="32" y="4151"/>
                  <a:pt x="80" y="4151"/>
                </a:cubicBezTo>
                <a:close/>
                <a:moveTo>
                  <a:pt x="159" y="159"/>
                </a:moveTo>
                <a:lnTo>
                  <a:pt x="4009" y="159"/>
                </a:lnTo>
                <a:lnTo>
                  <a:pt x="4009" y="3992"/>
                </a:lnTo>
                <a:lnTo>
                  <a:pt x="159" y="3992"/>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3" name="Freeform: Shape 3">
            <a:extLst>
              <a:ext uri="{FF2B5EF4-FFF2-40B4-BE49-F238E27FC236}">
                <a16:creationId xmlns:a16="http://schemas.microsoft.com/office/drawing/2014/main" id="{095993E9-DA62-3E44-9567-9DEBF34302C6}"/>
              </a:ext>
            </a:extLst>
          </p:cNvPr>
          <p:cNvSpPr/>
          <p:nvPr/>
        </p:nvSpPr>
        <p:spPr>
          <a:xfrm>
            <a:off x="21431576" y="3365388"/>
            <a:ext cx="1247760" cy="1654560"/>
          </a:xfrm>
          <a:custGeom>
            <a:avLst/>
            <a:gdLst/>
            <a:ahLst/>
            <a:cxnLst>
              <a:cxn ang="3cd4">
                <a:pos x="hc" y="t"/>
              </a:cxn>
              <a:cxn ang="cd2">
                <a:pos x="l" y="vc"/>
              </a:cxn>
              <a:cxn ang="cd4">
                <a:pos x="hc" y="b"/>
              </a:cxn>
              <a:cxn ang="0">
                <a:pos x="r" y="vc"/>
              </a:cxn>
            </a:cxnLst>
            <a:rect l="l" t="t" r="r" b="b"/>
            <a:pathLst>
              <a:path w="3467" h="4597">
                <a:moveTo>
                  <a:pt x="79" y="4597"/>
                </a:moveTo>
                <a:cubicBezTo>
                  <a:pt x="3388" y="4597"/>
                  <a:pt x="3388" y="4597"/>
                  <a:pt x="3388" y="4597"/>
                </a:cubicBezTo>
                <a:cubicBezTo>
                  <a:pt x="3435" y="4597"/>
                  <a:pt x="3467" y="4565"/>
                  <a:pt x="3467" y="4517"/>
                </a:cubicBezTo>
                <a:cubicBezTo>
                  <a:pt x="3467" y="4485"/>
                  <a:pt x="3435" y="4438"/>
                  <a:pt x="3388" y="4438"/>
                </a:cubicBezTo>
                <a:cubicBezTo>
                  <a:pt x="3038" y="4438"/>
                  <a:pt x="3038" y="4438"/>
                  <a:pt x="3038" y="4438"/>
                </a:cubicBezTo>
                <a:cubicBezTo>
                  <a:pt x="3038" y="4199"/>
                  <a:pt x="3038" y="4199"/>
                  <a:pt x="3038" y="4199"/>
                </a:cubicBezTo>
                <a:cubicBezTo>
                  <a:pt x="3038" y="4167"/>
                  <a:pt x="3006" y="4120"/>
                  <a:pt x="2958" y="4120"/>
                </a:cubicBezTo>
                <a:cubicBezTo>
                  <a:pt x="2608" y="4120"/>
                  <a:pt x="2608" y="4120"/>
                  <a:pt x="2608" y="4120"/>
                </a:cubicBezTo>
                <a:cubicBezTo>
                  <a:pt x="2258" y="2370"/>
                  <a:pt x="2258" y="2370"/>
                  <a:pt x="2258" y="2370"/>
                </a:cubicBezTo>
                <a:cubicBezTo>
                  <a:pt x="2767" y="2370"/>
                  <a:pt x="2767" y="2370"/>
                  <a:pt x="2767" y="2370"/>
                </a:cubicBezTo>
                <a:cubicBezTo>
                  <a:pt x="2815" y="2370"/>
                  <a:pt x="2847" y="2339"/>
                  <a:pt x="2847" y="2291"/>
                </a:cubicBezTo>
                <a:cubicBezTo>
                  <a:pt x="2847" y="1670"/>
                  <a:pt x="2847" y="1670"/>
                  <a:pt x="2847" y="1670"/>
                </a:cubicBezTo>
                <a:cubicBezTo>
                  <a:pt x="2847" y="1622"/>
                  <a:pt x="2815" y="1591"/>
                  <a:pt x="2767" y="1591"/>
                </a:cubicBezTo>
                <a:cubicBezTo>
                  <a:pt x="2258" y="1591"/>
                  <a:pt x="2258" y="1591"/>
                  <a:pt x="2258" y="1591"/>
                </a:cubicBezTo>
                <a:cubicBezTo>
                  <a:pt x="2481" y="1432"/>
                  <a:pt x="2624" y="1161"/>
                  <a:pt x="2624" y="875"/>
                </a:cubicBezTo>
                <a:cubicBezTo>
                  <a:pt x="2624" y="382"/>
                  <a:pt x="2242" y="0"/>
                  <a:pt x="1749" y="0"/>
                </a:cubicBezTo>
                <a:cubicBezTo>
                  <a:pt x="1272" y="0"/>
                  <a:pt x="891" y="382"/>
                  <a:pt x="891" y="875"/>
                </a:cubicBezTo>
                <a:cubicBezTo>
                  <a:pt x="891" y="1161"/>
                  <a:pt x="1034" y="1432"/>
                  <a:pt x="1256" y="1591"/>
                </a:cubicBezTo>
                <a:cubicBezTo>
                  <a:pt x="700" y="1591"/>
                  <a:pt x="700" y="1591"/>
                  <a:pt x="700" y="1591"/>
                </a:cubicBezTo>
                <a:cubicBezTo>
                  <a:pt x="668" y="1591"/>
                  <a:pt x="620" y="1622"/>
                  <a:pt x="620" y="1670"/>
                </a:cubicBezTo>
                <a:cubicBezTo>
                  <a:pt x="620" y="2291"/>
                  <a:pt x="620" y="2291"/>
                  <a:pt x="620" y="2291"/>
                </a:cubicBezTo>
                <a:cubicBezTo>
                  <a:pt x="620" y="2339"/>
                  <a:pt x="668" y="2370"/>
                  <a:pt x="700" y="2370"/>
                </a:cubicBezTo>
                <a:cubicBezTo>
                  <a:pt x="1256" y="2370"/>
                  <a:pt x="1256" y="2370"/>
                  <a:pt x="1256" y="2370"/>
                </a:cubicBezTo>
                <a:cubicBezTo>
                  <a:pt x="891" y="4120"/>
                  <a:pt x="891" y="4120"/>
                  <a:pt x="891" y="4120"/>
                </a:cubicBezTo>
                <a:cubicBezTo>
                  <a:pt x="525" y="4120"/>
                  <a:pt x="525" y="4120"/>
                  <a:pt x="525" y="4120"/>
                </a:cubicBezTo>
                <a:cubicBezTo>
                  <a:pt x="477" y="4120"/>
                  <a:pt x="445" y="4167"/>
                  <a:pt x="445" y="4199"/>
                </a:cubicBezTo>
                <a:cubicBezTo>
                  <a:pt x="445" y="4438"/>
                  <a:pt x="445" y="4438"/>
                  <a:pt x="445" y="4438"/>
                </a:cubicBezTo>
                <a:cubicBezTo>
                  <a:pt x="79" y="4438"/>
                  <a:pt x="79" y="4438"/>
                  <a:pt x="79" y="4438"/>
                </a:cubicBezTo>
                <a:cubicBezTo>
                  <a:pt x="48" y="4438"/>
                  <a:pt x="0" y="4485"/>
                  <a:pt x="0" y="4517"/>
                </a:cubicBezTo>
                <a:cubicBezTo>
                  <a:pt x="0" y="4565"/>
                  <a:pt x="48" y="4597"/>
                  <a:pt x="79" y="4597"/>
                </a:cubicBezTo>
                <a:close/>
                <a:moveTo>
                  <a:pt x="1049" y="875"/>
                </a:moveTo>
                <a:cubicBezTo>
                  <a:pt x="1049" y="477"/>
                  <a:pt x="1367" y="159"/>
                  <a:pt x="1749" y="159"/>
                </a:cubicBezTo>
                <a:cubicBezTo>
                  <a:pt x="2147" y="159"/>
                  <a:pt x="2465" y="477"/>
                  <a:pt x="2465" y="875"/>
                </a:cubicBezTo>
                <a:cubicBezTo>
                  <a:pt x="2465" y="1257"/>
                  <a:pt x="2147" y="1591"/>
                  <a:pt x="1749" y="1591"/>
                </a:cubicBezTo>
                <a:cubicBezTo>
                  <a:pt x="1367" y="1591"/>
                  <a:pt x="1049" y="1257"/>
                  <a:pt x="1049" y="875"/>
                </a:cubicBezTo>
                <a:close/>
                <a:moveTo>
                  <a:pt x="779" y="2227"/>
                </a:moveTo>
                <a:cubicBezTo>
                  <a:pt x="779" y="1750"/>
                  <a:pt x="779" y="1750"/>
                  <a:pt x="779" y="1750"/>
                </a:cubicBezTo>
                <a:cubicBezTo>
                  <a:pt x="2688" y="1750"/>
                  <a:pt x="2688" y="1750"/>
                  <a:pt x="2688" y="1750"/>
                </a:cubicBezTo>
                <a:cubicBezTo>
                  <a:pt x="2688" y="2227"/>
                  <a:pt x="2688" y="2227"/>
                  <a:pt x="2688" y="2227"/>
                </a:cubicBezTo>
                <a:cubicBezTo>
                  <a:pt x="2147" y="2227"/>
                  <a:pt x="2147" y="2227"/>
                  <a:pt x="2147" y="2227"/>
                </a:cubicBezTo>
                <a:cubicBezTo>
                  <a:pt x="1367" y="2227"/>
                  <a:pt x="1367" y="2227"/>
                  <a:pt x="1367" y="2227"/>
                </a:cubicBezTo>
                <a:close/>
                <a:moveTo>
                  <a:pt x="1431" y="2370"/>
                </a:moveTo>
                <a:cubicBezTo>
                  <a:pt x="2084" y="2370"/>
                  <a:pt x="2084" y="2370"/>
                  <a:pt x="2084" y="2370"/>
                </a:cubicBezTo>
                <a:cubicBezTo>
                  <a:pt x="2449" y="4120"/>
                  <a:pt x="2449" y="4120"/>
                  <a:pt x="2449" y="4120"/>
                </a:cubicBezTo>
                <a:cubicBezTo>
                  <a:pt x="1066" y="4120"/>
                  <a:pt x="1066" y="4120"/>
                  <a:pt x="1066" y="4120"/>
                </a:cubicBezTo>
                <a:close/>
                <a:moveTo>
                  <a:pt x="604" y="4279"/>
                </a:moveTo>
                <a:cubicBezTo>
                  <a:pt x="970" y="4279"/>
                  <a:pt x="970" y="4279"/>
                  <a:pt x="970" y="4279"/>
                </a:cubicBezTo>
                <a:cubicBezTo>
                  <a:pt x="2545" y="4279"/>
                  <a:pt x="2545" y="4279"/>
                  <a:pt x="2545" y="4279"/>
                </a:cubicBezTo>
                <a:cubicBezTo>
                  <a:pt x="2879" y="4279"/>
                  <a:pt x="2879" y="4279"/>
                  <a:pt x="2879" y="4279"/>
                </a:cubicBezTo>
                <a:cubicBezTo>
                  <a:pt x="2879" y="4438"/>
                  <a:pt x="2879" y="4438"/>
                  <a:pt x="2879" y="4438"/>
                </a:cubicBezTo>
                <a:cubicBezTo>
                  <a:pt x="604" y="4438"/>
                  <a:pt x="604" y="4438"/>
                  <a:pt x="604" y="443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4" name="Freeform: Shape 4">
            <a:extLst>
              <a:ext uri="{FF2B5EF4-FFF2-40B4-BE49-F238E27FC236}">
                <a16:creationId xmlns:a16="http://schemas.microsoft.com/office/drawing/2014/main" id="{A0976BAB-AF2E-4E40-9BF6-7D41EA143165}"/>
              </a:ext>
            </a:extLst>
          </p:cNvPr>
          <p:cNvSpPr/>
          <p:nvPr/>
        </p:nvSpPr>
        <p:spPr>
          <a:xfrm>
            <a:off x="17456563" y="3366829"/>
            <a:ext cx="1473839" cy="1653119"/>
          </a:xfrm>
          <a:custGeom>
            <a:avLst/>
            <a:gdLst/>
            <a:ahLst/>
            <a:cxnLst>
              <a:cxn ang="3cd4">
                <a:pos x="hc" y="t"/>
              </a:cxn>
              <a:cxn ang="cd2">
                <a:pos x="l" y="vc"/>
              </a:cxn>
              <a:cxn ang="cd4">
                <a:pos x="hc" y="b"/>
              </a:cxn>
              <a:cxn ang="0">
                <a:pos x="r" y="vc"/>
              </a:cxn>
            </a:cxnLst>
            <a:rect l="l" t="t" r="r" b="b"/>
            <a:pathLst>
              <a:path w="4095" h="4593">
                <a:moveTo>
                  <a:pt x="214" y="2318"/>
                </a:moveTo>
                <a:cubicBezTo>
                  <a:pt x="278" y="2414"/>
                  <a:pt x="389" y="2478"/>
                  <a:pt x="501" y="2478"/>
                </a:cubicBezTo>
                <a:cubicBezTo>
                  <a:pt x="548" y="2478"/>
                  <a:pt x="580" y="2462"/>
                  <a:pt x="612" y="2462"/>
                </a:cubicBezTo>
                <a:cubicBezTo>
                  <a:pt x="1900" y="2032"/>
                  <a:pt x="1900" y="2032"/>
                  <a:pt x="1900" y="2032"/>
                </a:cubicBezTo>
                <a:cubicBezTo>
                  <a:pt x="1868" y="2430"/>
                  <a:pt x="1678" y="2557"/>
                  <a:pt x="1471" y="2700"/>
                </a:cubicBezTo>
                <a:cubicBezTo>
                  <a:pt x="1201" y="2891"/>
                  <a:pt x="914" y="3098"/>
                  <a:pt x="898" y="3798"/>
                </a:cubicBezTo>
                <a:cubicBezTo>
                  <a:pt x="883" y="3798"/>
                  <a:pt x="883" y="3798"/>
                  <a:pt x="883" y="3798"/>
                </a:cubicBezTo>
                <a:cubicBezTo>
                  <a:pt x="835" y="3798"/>
                  <a:pt x="803" y="3829"/>
                  <a:pt x="803" y="3877"/>
                </a:cubicBezTo>
                <a:cubicBezTo>
                  <a:pt x="803" y="4116"/>
                  <a:pt x="803" y="4116"/>
                  <a:pt x="803" y="4116"/>
                </a:cubicBezTo>
                <a:cubicBezTo>
                  <a:pt x="739" y="4116"/>
                  <a:pt x="739" y="4116"/>
                  <a:pt x="739" y="4116"/>
                </a:cubicBezTo>
                <a:cubicBezTo>
                  <a:pt x="707" y="4116"/>
                  <a:pt x="692" y="4116"/>
                  <a:pt x="675" y="4132"/>
                </a:cubicBezTo>
                <a:cubicBezTo>
                  <a:pt x="660" y="4148"/>
                  <a:pt x="660" y="4180"/>
                  <a:pt x="660" y="4195"/>
                </a:cubicBezTo>
                <a:cubicBezTo>
                  <a:pt x="660" y="4434"/>
                  <a:pt x="660" y="4434"/>
                  <a:pt x="660" y="4434"/>
                </a:cubicBezTo>
                <a:cubicBezTo>
                  <a:pt x="405" y="4434"/>
                  <a:pt x="405" y="4434"/>
                  <a:pt x="405" y="4434"/>
                </a:cubicBezTo>
                <a:cubicBezTo>
                  <a:pt x="357" y="4434"/>
                  <a:pt x="326" y="4466"/>
                  <a:pt x="326" y="4513"/>
                </a:cubicBezTo>
                <a:cubicBezTo>
                  <a:pt x="326" y="4561"/>
                  <a:pt x="357" y="4593"/>
                  <a:pt x="405" y="4593"/>
                </a:cubicBezTo>
                <a:cubicBezTo>
                  <a:pt x="4016" y="4593"/>
                  <a:pt x="4016" y="4593"/>
                  <a:pt x="4016" y="4593"/>
                </a:cubicBezTo>
                <a:cubicBezTo>
                  <a:pt x="4064" y="4593"/>
                  <a:pt x="4095" y="4561"/>
                  <a:pt x="4095" y="4513"/>
                </a:cubicBezTo>
                <a:cubicBezTo>
                  <a:pt x="4095" y="4466"/>
                  <a:pt x="4064" y="4434"/>
                  <a:pt x="4016" y="4434"/>
                </a:cubicBezTo>
                <a:cubicBezTo>
                  <a:pt x="3809" y="4434"/>
                  <a:pt x="3809" y="4434"/>
                  <a:pt x="3809" y="4434"/>
                </a:cubicBezTo>
                <a:cubicBezTo>
                  <a:pt x="3809" y="4195"/>
                  <a:pt x="3809" y="4195"/>
                  <a:pt x="3809" y="4195"/>
                </a:cubicBezTo>
                <a:cubicBezTo>
                  <a:pt x="3809" y="4180"/>
                  <a:pt x="3793" y="4148"/>
                  <a:pt x="3777" y="4132"/>
                </a:cubicBezTo>
                <a:cubicBezTo>
                  <a:pt x="3761" y="4116"/>
                  <a:pt x="3746" y="4116"/>
                  <a:pt x="3729" y="4116"/>
                </a:cubicBezTo>
                <a:cubicBezTo>
                  <a:pt x="3650" y="4116"/>
                  <a:pt x="3650" y="4116"/>
                  <a:pt x="3650" y="4116"/>
                </a:cubicBezTo>
                <a:cubicBezTo>
                  <a:pt x="3650" y="3877"/>
                  <a:pt x="3650" y="3877"/>
                  <a:pt x="3650" y="3877"/>
                </a:cubicBezTo>
                <a:lnTo>
                  <a:pt x="3650" y="3861"/>
                </a:lnTo>
                <a:lnTo>
                  <a:pt x="3650" y="3845"/>
                </a:lnTo>
                <a:lnTo>
                  <a:pt x="3650" y="3829"/>
                </a:lnTo>
                <a:lnTo>
                  <a:pt x="3634" y="3829"/>
                </a:lnTo>
                <a:lnTo>
                  <a:pt x="3634" y="3814"/>
                </a:lnTo>
                <a:cubicBezTo>
                  <a:pt x="3364" y="3575"/>
                  <a:pt x="3364" y="3575"/>
                  <a:pt x="3364" y="3575"/>
                </a:cubicBezTo>
                <a:cubicBezTo>
                  <a:pt x="3555" y="3384"/>
                  <a:pt x="3555" y="3384"/>
                  <a:pt x="3555" y="3384"/>
                </a:cubicBezTo>
                <a:cubicBezTo>
                  <a:pt x="3570" y="3368"/>
                  <a:pt x="3586" y="3336"/>
                  <a:pt x="3586" y="3320"/>
                </a:cubicBezTo>
                <a:cubicBezTo>
                  <a:pt x="3586" y="3305"/>
                  <a:pt x="3570" y="3273"/>
                  <a:pt x="3555" y="3257"/>
                </a:cubicBezTo>
                <a:cubicBezTo>
                  <a:pt x="3348" y="3066"/>
                  <a:pt x="3348" y="3066"/>
                  <a:pt x="3348" y="3066"/>
                </a:cubicBezTo>
                <a:cubicBezTo>
                  <a:pt x="3555" y="2859"/>
                  <a:pt x="3555" y="2859"/>
                  <a:pt x="3555" y="2859"/>
                </a:cubicBezTo>
                <a:cubicBezTo>
                  <a:pt x="3570" y="2844"/>
                  <a:pt x="3586" y="2827"/>
                  <a:pt x="3586" y="2796"/>
                </a:cubicBezTo>
                <a:cubicBezTo>
                  <a:pt x="3586" y="2780"/>
                  <a:pt x="3570" y="2764"/>
                  <a:pt x="3555" y="2748"/>
                </a:cubicBezTo>
                <a:cubicBezTo>
                  <a:pt x="3332" y="2557"/>
                  <a:pt x="3332" y="2557"/>
                  <a:pt x="3332" y="2557"/>
                </a:cubicBezTo>
                <a:cubicBezTo>
                  <a:pt x="3538" y="2350"/>
                  <a:pt x="3538" y="2350"/>
                  <a:pt x="3538" y="2350"/>
                </a:cubicBezTo>
                <a:cubicBezTo>
                  <a:pt x="3555" y="2335"/>
                  <a:pt x="3570" y="2302"/>
                  <a:pt x="3555" y="2287"/>
                </a:cubicBezTo>
                <a:cubicBezTo>
                  <a:pt x="3555" y="2271"/>
                  <a:pt x="3555" y="2239"/>
                  <a:pt x="3538" y="2223"/>
                </a:cubicBezTo>
                <a:cubicBezTo>
                  <a:pt x="3316" y="2048"/>
                  <a:pt x="3316" y="2048"/>
                  <a:pt x="3316" y="2048"/>
                </a:cubicBezTo>
                <a:cubicBezTo>
                  <a:pt x="3507" y="1826"/>
                  <a:pt x="3507" y="1826"/>
                  <a:pt x="3507" y="1826"/>
                </a:cubicBezTo>
                <a:cubicBezTo>
                  <a:pt x="3523" y="1809"/>
                  <a:pt x="3523" y="1793"/>
                  <a:pt x="3523" y="1762"/>
                </a:cubicBezTo>
                <a:cubicBezTo>
                  <a:pt x="3523" y="1746"/>
                  <a:pt x="3507" y="1730"/>
                  <a:pt x="3491" y="1714"/>
                </a:cubicBezTo>
                <a:cubicBezTo>
                  <a:pt x="3268" y="1539"/>
                  <a:pt x="3268" y="1539"/>
                  <a:pt x="3268" y="1539"/>
                </a:cubicBezTo>
                <a:cubicBezTo>
                  <a:pt x="3443" y="1300"/>
                  <a:pt x="3443" y="1300"/>
                  <a:pt x="3443" y="1300"/>
                </a:cubicBezTo>
                <a:cubicBezTo>
                  <a:pt x="3459" y="1284"/>
                  <a:pt x="3459" y="1253"/>
                  <a:pt x="3459" y="1237"/>
                </a:cubicBezTo>
                <a:cubicBezTo>
                  <a:pt x="3443" y="1221"/>
                  <a:pt x="3443" y="1189"/>
                  <a:pt x="3411" y="1189"/>
                </a:cubicBezTo>
                <a:cubicBezTo>
                  <a:pt x="3157" y="1030"/>
                  <a:pt x="3157" y="1030"/>
                  <a:pt x="3157" y="1030"/>
                </a:cubicBezTo>
                <a:cubicBezTo>
                  <a:pt x="3284" y="760"/>
                  <a:pt x="3284" y="760"/>
                  <a:pt x="3284" y="760"/>
                </a:cubicBezTo>
                <a:cubicBezTo>
                  <a:pt x="3284" y="744"/>
                  <a:pt x="3284" y="712"/>
                  <a:pt x="3268" y="696"/>
                </a:cubicBezTo>
                <a:cubicBezTo>
                  <a:pt x="3252" y="664"/>
                  <a:pt x="3237" y="648"/>
                  <a:pt x="3205" y="648"/>
                </a:cubicBezTo>
                <a:cubicBezTo>
                  <a:pt x="2886" y="617"/>
                  <a:pt x="2886" y="617"/>
                  <a:pt x="2886" y="617"/>
                </a:cubicBezTo>
                <a:cubicBezTo>
                  <a:pt x="2648" y="251"/>
                  <a:pt x="2648" y="251"/>
                  <a:pt x="2648" y="251"/>
                </a:cubicBezTo>
                <a:cubicBezTo>
                  <a:pt x="2632" y="203"/>
                  <a:pt x="2584" y="203"/>
                  <a:pt x="2537" y="219"/>
                </a:cubicBezTo>
                <a:cubicBezTo>
                  <a:pt x="2202" y="410"/>
                  <a:pt x="2202" y="410"/>
                  <a:pt x="2202" y="410"/>
                </a:cubicBezTo>
                <a:cubicBezTo>
                  <a:pt x="1678" y="12"/>
                  <a:pt x="1678" y="12"/>
                  <a:pt x="1678" y="12"/>
                </a:cubicBezTo>
                <a:cubicBezTo>
                  <a:pt x="1646" y="-4"/>
                  <a:pt x="1630" y="-4"/>
                  <a:pt x="1598" y="12"/>
                </a:cubicBezTo>
                <a:cubicBezTo>
                  <a:pt x="1566" y="12"/>
                  <a:pt x="1550" y="44"/>
                  <a:pt x="1550" y="76"/>
                </a:cubicBezTo>
                <a:cubicBezTo>
                  <a:pt x="1502" y="617"/>
                  <a:pt x="1502" y="617"/>
                  <a:pt x="1502" y="617"/>
                </a:cubicBezTo>
                <a:cubicBezTo>
                  <a:pt x="119" y="1698"/>
                  <a:pt x="119" y="1698"/>
                  <a:pt x="119" y="1698"/>
                </a:cubicBezTo>
                <a:cubicBezTo>
                  <a:pt x="-8" y="1793"/>
                  <a:pt x="-40" y="1969"/>
                  <a:pt x="55" y="2096"/>
                </a:cubicBezTo>
                <a:close/>
                <a:moveTo>
                  <a:pt x="3650" y="4275"/>
                </a:moveTo>
                <a:cubicBezTo>
                  <a:pt x="3650" y="4434"/>
                  <a:pt x="3650" y="4434"/>
                  <a:pt x="3650" y="4434"/>
                </a:cubicBezTo>
                <a:cubicBezTo>
                  <a:pt x="819" y="4434"/>
                  <a:pt x="819" y="4434"/>
                  <a:pt x="819" y="4434"/>
                </a:cubicBezTo>
                <a:cubicBezTo>
                  <a:pt x="819" y="4275"/>
                  <a:pt x="819" y="4275"/>
                  <a:pt x="819" y="4275"/>
                </a:cubicBezTo>
                <a:close/>
                <a:moveTo>
                  <a:pt x="3491" y="4116"/>
                </a:moveTo>
                <a:cubicBezTo>
                  <a:pt x="962" y="4116"/>
                  <a:pt x="962" y="4116"/>
                  <a:pt x="962" y="4116"/>
                </a:cubicBezTo>
                <a:cubicBezTo>
                  <a:pt x="962" y="3957"/>
                  <a:pt x="962" y="3957"/>
                  <a:pt x="962" y="3957"/>
                </a:cubicBezTo>
                <a:cubicBezTo>
                  <a:pt x="3491" y="3957"/>
                  <a:pt x="3491" y="3957"/>
                  <a:pt x="3491" y="3957"/>
                </a:cubicBezTo>
                <a:close/>
                <a:moveTo>
                  <a:pt x="214" y="1826"/>
                </a:moveTo>
                <a:cubicBezTo>
                  <a:pt x="1630" y="728"/>
                  <a:pt x="1630" y="728"/>
                  <a:pt x="1630" y="728"/>
                </a:cubicBezTo>
                <a:cubicBezTo>
                  <a:pt x="1646" y="712"/>
                  <a:pt x="1662" y="696"/>
                  <a:pt x="1662" y="664"/>
                </a:cubicBezTo>
                <a:cubicBezTo>
                  <a:pt x="1693" y="235"/>
                  <a:pt x="1693" y="235"/>
                  <a:pt x="1693" y="235"/>
                </a:cubicBezTo>
                <a:cubicBezTo>
                  <a:pt x="2139" y="569"/>
                  <a:pt x="2139" y="569"/>
                  <a:pt x="2139" y="569"/>
                </a:cubicBezTo>
                <a:cubicBezTo>
                  <a:pt x="2171" y="600"/>
                  <a:pt x="2202" y="600"/>
                  <a:pt x="2234" y="585"/>
                </a:cubicBezTo>
                <a:cubicBezTo>
                  <a:pt x="2552" y="394"/>
                  <a:pt x="2552" y="394"/>
                  <a:pt x="2552" y="394"/>
                </a:cubicBezTo>
                <a:cubicBezTo>
                  <a:pt x="2775" y="744"/>
                  <a:pt x="2775" y="744"/>
                  <a:pt x="2775" y="744"/>
                </a:cubicBezTo>
                <a:cubicBezTo>
                  <a:pt x="2791" y="760"/>
                  <a:pt x="2807" y="776"/>
                  <a:pt x="2839" y="776"/>
                </a:cubicBezTo>
                <a:cubicBezTo>
                  <a:pt x="3093" y="791"/>
                  <a:pt x="3093" y="791"/>
                  <a:pt x="3093" y="791"/>
                </a:cubicBezTo>
                <a:cubicBezTo>
                  <a:pt x="2982" y="1046"/>
                  <a:pt x="2982" y="1046"/>
                  <a:pt x="2982" y="1046"/>
                </a:cubicBezTo>
                <a:cubicBezTo>
                  <a:pt x="2966" y="1078"/>
                  <a:pt x="2982" y="1126"/>
                  <a:pt x="3014" y="1141"/>
                </a:cubicBezTo>
                <a:cubicBezTo>
                  <a:pt x="3252" y="1284"/>
                  <a:pt x="3252" y="1284"/>
                  <a:pt x="3252" y="1284"/>
                </a:cubicBezTo>
                <a:cubicBezTo>
                  <a:pt x="3093" y="1507"/>
                  <a:pt x="3093" y="1507"/>
                  <a:pt x="3093" y="1507"/>
                </a:cubicBezTo>
                <a:cubicBezTo>
                  <a:pt x="3077" y="1523"/>
                  <a:pt x="3077" y="1539"/>
                  <a:pt x="3077" y="1555"/>
                </a:cubicBezTo>
                <a:cubicBezTo>
                  <a:pt x="3077" y="1587"/>
                  <a:pt x="3093" y="1603"/>
                  <a:pt x="3109" y="1618"/>
                </a:cubicBezTo>
                <a:cubicBezTo>
                  <a:pt x="3332" y="1778"/>
                  <a:pt x="3332" y="1778"/>
                  <a:pt x="3332" y="1778"/>
                </a:cubicBezTo>
                <a:cubicBezTo>
                  <a:pt x="3141" y="2000"/>
                  <a:pt x="3141" y="2000"/>
                  <a:pt x="3141" y="2000"/>
                </a:cubicBezTo>
                <a:cubicBezTo>
                  <a:pt x="3125" y="2016"/>
                  <a:pt x="3125" y="2032"/>
                  <a:pt x="3125" y="2048"/>
                </a:cubicBezTo>
                <a:cubicBezTo>
                  <a:pt x="3125" y="2080"/>
                  <a:pt x="3125" y="2096"/>
                  <a:pt x="3141" y="2112"/>
                </a:cubicBezTo>
                <a:cubicBezTo>
                  <a:pt x="3364" y="2302"/>
                  <a:pt x="3364" y="2302"/>
                  <a:pt x="3364" y="2302"/>
                </a:cubicBezTo>
                <a:cubicBezTo>
                  <a:pt x="3173" y="2493"/>
                  <a:pt x="3173" y="2493"/>
                  <a:pt x="3173" y="2493"/>
                </a:cubicBezTo>
                <a:cubicBezTo>
                  <a:pt x="3157" y="2509"/>
                  <a:pt x="3141" y="2541"/>
                  <a:pt x="3141" y="2557"/>
                </a:cubicBezTo>
                <a:cubicBezTo>
                  <a:pt x="3141" y="2573"/>
                  <a:pt x="3157" y="2605"/>
                  <a:pt x="3173" y="2621"/>
                </a:cubicBezTo>
                <a:cubicBezTo>
                  <a:pt x="3380" y="2811"/>
                  <a:pt x="3380" y="2811"/>
                  <a:pt x="3380" y="2811"/>
                </a:cubicBezTo>
                <a:cubicBezTo>
                  <a:pt x="3173" y="3002"/>
                  <a:pt x="3173" y="3002"/>
                  <a:pt x="3173" y="3002"/>
                </a:cubicBezTo>
                <a:cubicBezTo>
                  <a:pt x="3157" y="3018"/>
                  <a:pt x="3157" y="3050"/>
                  <a:pt x="3157" y="3066"/>
                </a:cubicBezTo>
                <a:cubicBezTo>
                  <a:pt x="3157" y="3082"/>
                  <a:pt x="3173" y="3114"/>
                  <a:pt x="3189" y="3130"/>
                </a:cubicBezTo>
                <a:cubicBezTo>
                  <a:pt x="3395" y="3320"/>
                  <a:pt x="3395" y="3320"/>
                  <a:pt x="3395" y="3320"/>
                </a:cubicBezTo>
                <a:cubicBezTo>
                  <a:pt x="3189" y="3527"/>
                  <a:pt x="3189" y="3527"/>
                  <a:pt x="3189" y="3527"/>
                </a:cubicBezTo>
                <a:cubicBezTo>
                  <a:pt x="3173" y="3543"/>
                  <a:pt x="3157" y="3559"/>
                  <a:pt x="3157" y="3575"/>
                </a:cubicBezTo>
                <a:cubicBezTo>
                  <a:pt x="3157" y="3607"/>
                  <a:pt x="3173" y="3623"/>
                  <a:pt x="3189" y="3639"/>
                </a:cubicBezTo>
                <a:cubicBezTo>
                  <a:pt x="3364" y="3798"/>
                  <a:pt x="3364" y="3798"/>
                  <a:pt x="3364" y="3798"/>
                </a:cubicBezTo>
                <a:cubicBezTo>
                  <a:pt x="1057" y="3798"/>
                  <a:pt x="1057" y="3798"/>
                  <a:pt x="1057" y="3798"/>
                </a:cubicBezTo>
                <a:cubicBezTo>
                  <a:pt x="1073" y="3193"/>
                  <a:pt x="1312" y="3018"/>
                  <a:pt x="1566" y="2844"/>
                </a:cubicBezTo>
                <a:cubicBezTo>
                  <a:pt x="1805" y="2668"/>
                  <a:pt x="2044" y="2493"/>
                  <a:pt x="2059" y="1984"/>
                </a:cubicBezTo>
                <a:cubicBezTo>
                  <a:pt x="2250" y="1921"/>
                  <a:pt x="2250" y="1921"/>
                  <a:pt x="2250" y="1921"/>
                </a:cubicBezTo>
                <a:cubicBezTo>
                  <a:pt x="2282" y="1905"/>
                  <a:pt x="2314" y="1857"/>
                  <a:pt x="2298" y="1826"/>
                </a:cubicBezTo>
                <a:cubicBezTo>
                  <a:pt x="2282" y="1778"/>
                  <a:pt x="2234" y="1762"/>
                  <a:pt x="2202" y="1778"/>
                </a:cubicBezTo>
                <a:cubicBezTo>
                  <a:pt x="548" y="2302"/>
                  <a:pt x="548" y="2302"/>
                  <a:pt x="548" y="2302"/>
                </a:cubicBezTo>
                <a:cubicBezTo>
                  <a:pt x="484" y="2335"/>
                  <a:pt x="389" y="2302"/>
                  <a:pt x="341" y="2239"/>
                </a:cubicBezTo>
                <a:cubicBezTo>
                  <a:pt x="183" y="2000"/>
                  <a:pt x="183" y="2000"/>
                  <a:pt x="183" y="2000"/>
                </a:cubicBezTo>
                <a:cubicBezTo>
                  <a:pt x="151" y="1953"/>
                  <a:pt x="151" y="1873"/>
                  <a:pt x="214" y="182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5" name="Freeform: Shape 5">
            <a:extLst>
              <a:ext uri="{FF2B5EF4-FFF2-40B4-BE49-F238E27FC236}">
                <a16:creationId xmlns:a16="http://schemas.microsoft.com/office/drawing/2014/main" id="{8BD9197F-B90C-0D45-86FF-3195F552B0CD}"/>
              </a:ext>
            </a:extLst>
          </p:cNvPr>
          <p:cNvSpPr/>
          <p:nvPr/>
        </p:nvSpPr>
        <p:spPr>
          <a:xfrm>
            <a:off x="10053242" y="3388429"/>
            <a:ext cx="1465560" cy="1608480"/>
          </a:xfrm>
          <a:custGeom>
            <a:avLst/>
            <a:gdLst/>
            <a:ahLst/>
            <a:cxnLst>
              <a:cxn ang="3cd4">
                <a:pos x="hc" y="t"/>
              </a:cxn>
              <a:cxn ang="cd2">
                <a:pos x="l" y="vc"/>
              </a:cxn>
              <a:cxn ang="cd4">
                <a:pos x="hc" y="b"/>
              </a:cxn>
              <a:cxn ang="0">
                <a:pos x="r" y="vc"/>
              </a:cxn>
            </a:cxnLst>
            <a:rect l="l" t="t" r="r" b="b"/>
            <a:pathLst>
              <a:path w="4072" h="4469">
                <a:moveTo>
                  <a:pt x="79" y="938"/>
                </a:moveTo>
                <a:cubicBezTo>
                  <a:pt x="302" y="938"/>
                  <a:pt x="302" y="938"/>
                  <a:pt x="302" y="938"/>
                </a:cubicBezTo>
                <a:cubicBezTo>
                  <a:pt x="302" y="1463"/>
                  <a:pt x="302" y="1463"/>
                  <a:pt x="302" y="1463"/>
                </a:cubicBezTo>
                <a:cubicBezTo>
                  <a:pt x="302" y="1511"/>
                  <a:pt x="334" y="1543"/>
                  <a:pt x="382" y="1543"/>
                </a:cubicBezTo>
                <a:cubicBezTo>
                  <a:pt x="731" y="1543"/>
                  <a:pt x="731" y="1543"/>
                  <a:pt x="731" y="1543"/>
                </a:cubicBezTo>
                <a:cubicBezTo>
                  <a:pt x="731" y="1781"/>
                  <a:pt x="731" y="1781"/>
                  <a:pt x="731" y="1781"/>
                </a:cubicBezTo>
                <a:cubicBezTo>
                  <a:pt x="731" y="1813"/>
                  <a:pt x="763" y="1861"/>
                  <a:pt x="811" y="1861"/>
                </a:cubicBezTo>
                <a:cubicBezTo>
                  <a:pt x="874" y="1861"/>
                  <a:pt x="874" y="1861"/>
                  <a:pt x="874" y="1861"/>
                </a:cubicBezTo>
                <a:cubicBezTo>
                  <a:pt x="874" y="3690"/>
                  <a:pt x="874" y="3690"/>
                  <a:pt x="874" y="3690"/>
                </a:cubicBezTo>
                <a:cubicBezTo>
                  <a:pt x="843" y="3690"/>
                  <a:pt x="843" y="3690"/>
                  <a:pt x="843" y="3690"/>
                </a:cubicBezTo>
                <a:cubicBezTo>
                  <a:pt x="827" y="3690"/>
                  <a:pt x="795" y="3706"/>
                  <a:pt x="779" y="3706"/>
                </a:cubicBezTo>
                <a:cubicBezTo>
                  <a:pt x="763" y="3722"/>
                  <a:pt x="763" y="3754"/>
                  <a:pt x="763" y="3769"/>
                </a:cubicBezTo>
                <a:cubicBezTo>
                  <a:pt x="763" y="3992"/>
                  <a:pt x="763" y="3992"/>
                  <a:pt x="763" y="3992"/>
                </a:cubicBezTo>
                <a:cubicBezTo>
                  <a:pt x="700" y="3992"/>
                  <a:pt x="700" y="3992"/>
                  <a:pt x="700" y="3992"/>
                </a:cubicBezTo>
                <a:cubicBezTo>
                  <a:pt x="652" y="3992"/>
                  <a:pt x="620" y="4040"/>
                  <a:pt x="620" y="4072"/>
                </a:cubicBezTo>
                <a:cubicBezTo>
                  <a:pt x="620" y="4310"/>
                  <a:pt x="620" y="4310"/>
                  <a:pt x="620" y="4310"/>
                </a:cubicBezTo>
                <a:cubicBezTo>
                  <a:pt x="445" y="4310"/>
                  <a:pt x="445" y="4310"/>
                  <a:pt x="445" y="4310"/>
                </a:cubicBezTo>
                <a:cubicBezTo>
                  <a:pt x="397" y="4310"/>
                  <a:pt x="365" y="4342"/>
                  <a:pt x="365" y="4390"/>
                </a:cubicBezTo>
                <a:cubicBezTo>
                  <a:pt x="365" y="4421"/>
                  <a:pt x="397" y="4469"/>
                  <a:pt x="445" y="4469"/>
                </a:cubicBezTo>
                <a:cubicBezTo>
                  <a:pt x="3626" y="4469"/>
                  <a:pt x="3626" y="4469"/>
                  <a:pt x="3626" y="4469"/>
                </a:cubicBezTo>
                <a:cubicBezTo>
                  <a:pt x="3674" y="4469"/>
                  <a:pt x="3706" y="4421"/>
                  <a:pt x="3706" y="4390"/>
                </a:cubicBezTo>
                <a:cubicBezTo>
                  <a:pt x="3706" y="4342"/>
                  <a:pt x="3674" y="4310"/>
                  <a:pt x="3626" y="4310"/>
                </a:cubicBezTo>
                <a:cubicBezTo>
                  <a:pt x="3451" y="4310"/>
                  <a:pt x="3451" y="4310"/>
                  <a:pt x="3451" y="4310"/>
                </a:cubicBezTo>
                <a:cubicBezTo>
                  <a:pt x="3451" y="4072"/>
                  <a:pt x="3451" y="4072"/>
                  <a:pt x="3451" y="4072"/>
                </a:cubicBezTo>
                <a:cubicBezTo>
                  <a:pt x="3451" y="4056"/>
                  <a:pt x="3451" y="4040"/>
                  <a:pt x="3436" y="4024"/>
                </a:cubicBezTo>
                <a:cubicBezTo>
                  <a:pt x="3419" y="4008"/>
                  <a:pt x="3404" y="3992"/>
                  <a:pt x="3372" y="3992"/>
                </a:cubicBezTo>
                <a:cubicBezTo>
                  <a:pt x="3308" y="3992"/>
                  <a:pt x="3308" y="3992"/>
                  <a:pt x="3308" y="3992"/>
                </a:cubicBezTo>
                <a:cubicBezTo>
                  <a:pt x="3308" y="3769"/>
                  <a:pt x="3308" y="3769"/>
                  <a:pt x="3308" y="3769"/>
                </a:cubicBezTo>
                <a:cubicBezTo>
                  <a:pt x="3308" y="3722"/>
                  <a:pt x="3276" y="3690"/>
                  <a:pt x="3228" y="3690"/>
                </a:cubicBezTo>
                <a:cubicBezTo>
                  <a:pt x="3197" y="3690"/>
                  <a:pt x="3197" y="3690"/>
                  <a:pt x="3197" y="3690"/>
                </a:cubicBezTo>
                <a:cubicBezTo>
                  <a:pt x="3197" y="1861"/>
                  <a:pt x="3197" y="1861"/>
                  <a:pt x="3197" y="1861"/>
                </a:cubicBezTo>
                <a:cubicBezTo>
                  <a:pt x="3261" y="1861"/>
                  <a:pt x="3261" y="1861"/>
                  <a:pt x="3261" y="1861"/>
                </a:cubicBezTo>
                <a:cubicBezTo>
                  <a:pt x="3308" y="1861"/>
                  <a:pt x="3340" y="1813"/>
                  <a:pt x="3340" y="1781"/>
                </a:cubicBezTo>
                <a:cubicBezTo>
                  <a:pt x="3340" y="1543"/>
                  <a:pt x="3340" y="1543"/>
                  <a:pt x="3340" y="1543"/>
                </a:cubicBezTo>
                <a:cubicBezTo>
                  <a:pt x="3706" y="1543"/>
                  <a:pt x="3706" y="1543"/>
                  <a:pt x="3706" y="1543"/>
                </a:cubicBezTo>
                <a:cubicBezTo>
                  <a:pt x="3737" y="1543"/>
                  <a:pt x="3785" y="1511"/>
                  <a:pt x="3785" y="1463"/>
                </a:cubicBezTo>
                <a:cubicBezTo>
                  <a:pt x="3785" y="938"/>
                  <a:pt x="3785" y="938"/>
                  <a:pt x="3785" y="938"/>
                </a:cubicBezTo>
                <a:cubicBezTo>
                  <a:pt x="3992" y="938"/>
                  <a:pt x="3992" y="938"/>
                  <a:pt x="3992" y="938"/>
                </a:cubicBezTo>
                <a:cubicBezTo>
                  <a:pt x="4024" y="938"/>
                  <a:pt x="4072" y="891"/>
                  <a:pt x="4072" y="859"/>
                </a:cubicBezTo>
                <a:cubicBezTo>
                  <a:pt x="4072" y="79"/>
                  <a:pt x="4072" y="79"/>
                  <a:pt x="4072" y="79"/>
                </a:cubicBezTo>
                <a:cubicBezTo>
                  <a:pt x="4072" y="48"/>
                  <a:pt x="4024" y="0"/>
                  <a:pt x="3992" y="0"/>
                </a:cubicBezTo>
                <a:cubicBezTo>
                  <a:pt x="3118" y="0"/>
                  <a:pt x="3118" y="0"/>
                  <a:pt x="3118" y="0"/>
                </a:cubicBezTo>
                <a:cubicBezTo>
                  <a:pt x="3070" y="0"/>
                  <a:pt x="3038" y="48"/>
                  <a:pt x="3038" y="79"/>
                </a:cubicBezTo>
                <a:cubicBezTo>
                  <a:pt x="3038" y="779"/>
                  <a:pt x="3038" y="779"/>
                  <a:pt x="3038" y="779"/>
                </a:cubicBezTo>
                <a:cubicBezTo>
                  <a:pt x="2624" y="779"/>
                  <a:pt x="2624" y="779"/>
                  <a:pt x="2624" y="779"/>
                </a:cubicBezTo>
                <a:cubicBezTo>
                  <a:pt x="2624" y="79"/>
                  <a:pt x="2624" y="79"/>
                  <a:pt x="2624" y="79"/>
                </a:cubicBezTo>
                <a:cubicBezTo>
                  <a:pt x="2624" y="48"/>
                  <a:pt x="2592" y="0"/>
                  <a:pt x="2545" y="0"/>
                </a:cubicBezTo>
                <a:cubicBezTo>
                  <a:pt x="1527" y="0"/>
                  <a:pt x="1527" y="0"/>
                  <a:pt x="1527" y="0"/>
                </a:cubicBezTo>
                <a:cubicBezTo>
                  <a:pt x="1495" y="0"/>
                  <a:pt x="1447" y="48"/>
                  <a:pt x="1447" y="79"/>
                </a:cubicBezTo>
                <a:cubicBezTo>
                  <a:pt x="1447" y="779"/>
                  <a:pt x="1447" y="779"/>
                  <a:pt x="1447" y="779"/>
                </a:cubicBezTo>
                <a:cubicBezTo>
                  <a:pt x="1034" y="779"/>
                  <a:pt x="1034" y="779"/>
                  <a:pt x="1034" y="779"/>
                </a:cubicBezTo>
                <a:cubicBezTo>
                  <a:pt x="1034" y="79"/>
                  <a:pt x="1034" y="79"/>
                  <a:pt x="1034" y="79"/>
                </a:cubicBezTo>
                <a:cubicBezTo>
                  <a:pt x="1034" y="48"/>
                  <a:pt x="1002" y="0"/>
                  <a:pt x="954" y="0"/>
                </a:cubicBezTo>
                <a:cubicBezTo>
                  <a:pt x="79" y="0"/>
                  <a:pt x="79" y="0"/>
                  <a:pt x="79" y="0"/>
                </a:cubicBezTo>
                <a:cubicBezTo>
                  <a:pt x="47" y="0"/>
                  <a:pt x="0" y="48"/>
                  <a:pt x="0" y="79"/>
                </a:cubicBezTo>
                <a:cubicBezTo>
                  <a:pt x="0" y="859"/>
                  <a:pt x="0" y="859"/>
                  <a:pt x="0" y="859"/>
                </a:cubicBezTo>
                <a:cubicBezTo>
                  <a:pt x="0" y="891"/>
                  <a:pt x="47" y="938"/>
                  <a:pt x="79" y="938"/>
                </a:cubicBezTo>
                <a:close/>
                <a:moveTo>
                  <a:pt x="3292" y="4151"/>
                </a:moveTo>
                <a:cubicBezTo>
                  <a:pt x="3292" y="4310"/>
                  <a:pt x="3292" y="4310"/>
                  <a:pt x="3292" y="4310"/>
                </a:cubicBezTo>
                <a:cubicBezTo>
                  <a:pt x="779" y="4310"/>
                  <a:pt x="779" y="4310"/>
                  <a:pt x="779" y="4310"/>
                </a:cubicBezTo>
                <a:cubicBezTo>
                  <a:pt x="779" y="4151"/>
                  <a:pt x="779" y="4151"/>
                  <a:pt x="779" y="4151"/>
                </a:cubicBezTo>
                <a:close/>
                <a:moveTo>
                  <a:pt x="3118" y="3849"/>
                </a:moveTo>
                <a:cubicBezTo>
                  <a:pt x="3149" y="3849"/>
                  <a:pt x="3149" y="3849"/>
                  <a:pt x="3149" y="3849"/>
                </a:cubicBezTo>
                <a:cubicBezTo>
                  <a:pt x="3149" y="3992"/>
                  <a:pt x="3149" y="3992"/>
                  <a:pt x="3149" y="3992"/>
                </a:cubicBezTo>
                <a:cubicBezTo>
                  <a:pt x="922" y="3992"/>
                  <a:pt x="922" y="3992"/>
                  <a:pt x="922" y="3992"/>
                </a:cubicBezTo>
                <a:cubicBezTo>
                  <a:pt x="922" y="3849"/>
                  <a:pt x="922" y="3849"/>
                  <a:pt x="922" y="3849"/>
                </a:cubicBezTo>
                <a:cubicBezTo>
                  <a:pt x="954" y="3849"/>
                  <a:pt x="954" y="3849"/>
                  <a:pt x="954" y="3849"/>
                </a:cubicBezTo>
                <a:close/>
                <a:moveTo>
                  <a:pt x="1034" y="3690"/>
                </a:moveTo>
                <a:cubicBezTo>
                  <a:pt x="1034" y="1861"/>
                  <a:pt x="1034" y="1861"/>
                  <a:pt x="1034" y="1861"/>
                </a:cubicBezTo>
                <a:cubicBezTo>
                  <a:pt x="3038" y="1861"/>
                  <a:pt x="3038" y="1861"/>
                  <a:pt x="3038" y="1861"/>
                </a:cubicBezTo>
                <a:cubicBezTo>
                  <a:pt x="3038" y="3690"/>
                  <a:pt x="3038" y="3690"/>
                  <a:pt x="3038" y="3690"/>
                </a:cubicBezTo>
                <a:close/>
                <a:moveTo>
                  <a:pt x="3118" y="1702"/>
                </a:moveTo>
                <a:cubicBezTo>
                  <a:pt x="954" y="1702"/>
                  <a:pt x="954" y="1702"/>
                  <a:pt x="954" y="1702"/>
                </a:cubicBezTo>
                <a:cubicBezTo>
                  <a:pt x="891" y="1702"/>
                  <a:pt x="891" y="1702"/>
                  <a:pt x="891" y="1702"/>
                </a:cubicBezTo>
                <a:cubicBezTo>
                  <a:pt x="891" y="1543"/>
                  <a:pt x="891" y="1543"/>
                  <a:pt x="891" y="1543"/>
                </a:cubicBezTo>
                <a:cubicBezTo>
                  <a:pt x="3181" y="1543"/>
                  <a:pt x="3181" y="1543"/>
                  <a:pt x="3181" y="1543"/>
                </a:cubicBezTo>
                <a:cubicBezTo>
                  <a:pt x="3181" y="1702"/>
                  <a:pt x="3181" y="1702"/>
                  <a:pt x="3181" y="1702"/>
                </a:cubicBezTo>
                <a:close/>
                <a:moveTo>
                  <a:pt x="159" y="159"/>
                </a:moveTo>
                <a:cubicBezTo>
                  <a:pt x="874" y="159"/>
                  <a:pt x="874" y="159"/>
                  <a:pt x="874" y="159"/>
                </a:cubicBezTo>
                <a:cubicBezTo>
                  <a:pt x="874" y="859"/>
                  <a:pt x="874" y="859"/>
                  <a:pt x="874" y="859"/>
                </a:cubicBezTo>
                <a:cubicBezTo>
                  <a:pt x="874" y="891"/>
                  <a:pt x="906" y="938"/>
                  <a:pt x="954" y="938"/>
                </a:cubicBezTo>
                <a:cubicBezTo>
                  <a:pt x="1527" y="938"/>
                  <a:pt x="1527" y="938"/>
                  <a:pt x="1527" y="938"/>
                </a:cubicBezTo>
                <a:cubicBezTo>
                  <a:pt x="1574" y="938"/>
                  <a:pt x="1606" y="891"/>
                  <a:pt x="1606" y="859"/>
                </a:cubicBezTo>
                <a:cubicBezTo>
                  <a:pt x="1606" y="159"/>
                  <a:pt x="1606" y="159"/>
                  <a:pt x="1606" y="159"/>
                </a:cubicBezTo>
                <a:cubicBezTo>
                  <a:pt x="2465" y="159"/>
                  <a:pt x="2465" y="159"/>
                  <a:pt x="2465" y="159"/>
                </a:cubicBezTo>
                <a:cubicBezTo>
                  <a:pt x="2465" y="859"/>
                  <a:pt x="2465" y="859"/>
                  <a:pt x="2465" y="859"/>
                </a:cubicBezTo>
                <a:cubicBezTo>
                  <a:pt x="2465" y="891"/>
                  <a:pt x="2497" y="938"/>
                  <a:pt x="2545" y="938"/>
                </a:cubicBezTo>
                <a:cubicBezTo>
                  <a:pt x="3118" y="938"/>
                  <a:pt x="3118" y="938"/>
                  <a:pt x="3118" y="938"/>
                </a:cubicBezTo>
                <a:cubicBezTo>
                  <a:pt x="3165" y="938"/>
                  <a:pt x="3197" y="891"/>
                  <a:pt x="3197" y="859"/>
                </a:cubicBezTo>
                <a:cubicBezTo>
                  <a:pt x="3197" y="159"/>
                  <a:pt x="3197" y="159"/>
                  <a:pt x="3197" y="159"/>
                </a:cubicBezTo>
                <a:cubicBezTo>
                  <a:pt x="3913" y="159"/>
                  <a:pt x="3913" y="159"/>
                  <a:pt x="3913" y="159"/>
                </a:cubicBezTo>
                <a:cubicBezTo>
                  <a:pt x="3913" y="779"/>
                  <a:pt x="3913" y="779"/>
                  <a:pt x="3913" y="779"/>
                </a:cubicBezTo>
                <a:cubicBezTo>
                  <a:pt x="3706" y="779"/>
                  <a:pt x="3706" y="779"/>
                  <a:pt x="3706" y="779"/>
                </a:cubicBezTo>
                <a:cubicBezTo>
                  <a:pt x="3658" y="779"/>
                  <a:pt x="3626" y="811"/>
                  <a:pt x="3626" y="859"/>
                </a:cubicBezTo>
                <a:cubicBezTo>
                  <a:pt x="3626" y="1384"/>
                  <a:pt x="3626" y="1384"/>
                  <a:pt x="3626" y="1384"/>
                </a:cubicBezTo>
                <a:cubicBezTo>
                  <a:pt x="3261" y="1384"/>
                  <a:pt x="3261" y="1384"/>
                  <a:pt x="3261" y="1384"/>
                </a:cubicBezTo>
                <a:cubicBezTo>
                  <a:pt x="811" y="1384"/>
                  <a:pt x="811" y="1384"/>
                  <a:pt x="811" y="1384"/>
                </a:cubicBezTo>
                <a:cubicBezTo>
                  <a:pt x="461" y="1384"/>
                  <a:pt x="461" y="1384"/>
                  <a:pt x="461" y="1384"/>
                </a:cubicBezTo>
                <a:cubicBezTo>
                  <a:pt x="461" y="859"/>
                  <a:pt x="461" y="859"/>
                  <a:pt x="461" y="859"/>
                </a:cubicBezTo>
                <a:cubicBezTo>
                  <a:pt x="461" y="811"/>
                  <a:pt x="413" y="779"/>
                  <a:pt x="382" y="779"/>
                </a:cubicBezTo>
                <a:cubicBezTo>
                  <a:pt x="159" y="779"/>
                  <a:pt x="159" y="779"/>
                  <a:pt x="159" y="77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6" name="Freeform: Shape 7">
            <a:extLst>
              <a:ext uri="{FF2B5EF4-FFF2-40B4-BE49-F238E27FC236}">
                <a16:creationId xmlns:a16="http://schemas.microsoft.com/office/drawing/2014/main" id="{7D141D1A-E345-B840-98C2-ACB5B4375134}"/>
              </a:ext>
            </a:extLst>
          </p:cNvPr>
          <p:cNvSpPr/>
          <p:nvPr/>
        </p:nvSpPr>
        <p:spPr>
          <a:xfrm>
            <a:off x="17558479" y="6495721"/>
            <a:ext cx="1202039" cy="1711800"/>
          </a:xfrm>
          <a:custGeom>
            <a:avLst/>
            <a:gdLst/>
            <a:ahLst/>
            <a:cxnLst>
              <a:cxn ang="3cd4">
                <a:pos x="hc" y="t"/>
              </a:cxn>
              <a:cxn ang="cd2">
                <a:pos x="l" y="vc"/>
              </a:cxn>
              <a:cxn ang="cd4">
                <a:pos x="hc" y="b"/>
              </a:cxn>
              <a:cxn ang="0">
                <a:pos x="r" y="vc"/>
              </a:cxn>
            </a:cxnLst>
            <a:rect l="l" t="t" r="r" b="b"/>
            <a:pathLst>
              <a:path w="3340" h="4756">
                <a:moveTo>
                  <a:pt x="1702" y="1050"/>
                </a:moveTo>
                <a:cubicBezTo>
                  <a:pt x="1861" y="1050"/>
                  <a:pt x="1988" y="922"/>
                  <a:pt x="1988" y="764"/>
                </a:cubicBezTo>
                <a:cubicBezTo>
                  <a:pt x="1988" y="620"/>
                  <a:pt x="1861" y="493"/>
                  <a:pt x="1702" y="493"/>
                </a:cubicBezTo>
                <a:cubicBezTo>
                  <a:pt x="1543" y="493"/>
                  <a:pt x="1432" y="620"/>
                  <a:pt x="1432" y="764"/>
                </a:cubicBezTo>
                <a:cubicBezTo>
                  <a:pt x="1432" y="922"/>
                  <a:pt x="1543" y="1050"/>
                  <a:pt x="1702" y="1050"/>
                </a:cubicBezTo>
                <a:close/>
                <a:moveTo>
                  <a:pt x="1702" y="652"/>
                </a:moveTo>
                <a:cubicBezTo>
                  <a:pt x="1766" y="652"/>
                  <a:pt x="1829" y="700"/>
                  <a:pt x="1829" y="764"/>
                </a:cubicBezTo>
                <a:cubicBezTo>
                  <a:pt x="1829" y="827"/>
                  <a:pt x="1766" y="891"/>
                  <a:pt x="1702" y="891"/>
                </a:cubicBezTo>
                <a:cubicBezTo>
                  <a:pt x="1638" y="891"/>
                  <a:pt x="1590" y="827"/>
                  <a:pt x="1590" y="764"/>
                </a:cubicBezTo>
                <a:cubicBezTo>
                  <a:pt x="1590" y="700"/>
                  <a:pt x="1638" y="652"/>
                  <a:pt x="1702" y="652"/>
                </a:cubicBezTo>
                <a:close/>
                <a:moveTo>
                  <a:pt x="0" y="3404"/>
                </a:moveTo>
                <a:lnTo>
                  <a:pt x="0" y="4676"/>
                </a:lnTo>
                <a:cubicBezTo>
                  <a:pt x="0" y="4724"/>
                  <a:pt x="32" y="4756"/>
                  <a:pt x="79" y="4756"/>
                </a:cubicBezTo>
                <a:lnTo>
                  <a:pt x="3260" y="4756"/>
                </a:lnTo>
                <a:cubicBezTo>
                  <a:pt x="3292" y="4756"/>
                  <a:pt x="3340" y="4724"/>
                  <a:pt x="3340" y="4676"/>
                </a:cubicBezTo>
                <a:lnTo>
                  <a:pt x="3340" y="3404"/>
                </a:lnTo>
                <a:lnTo>
                  <a:pt x="3340" y="2783"/>
                </a:lnTo>
                <a:cubicBezTo>
                  <a:pt x="3340" y="2434"/>
                  <a:pt x="3133" y="2386"/>
                  <a:pt x="2959" y="2338"/>
                </a:cubicBezTo>
                <a:cubicBezTo>
                  <a:pt x="2911" y="2338"/>
                  <a:pt x="2847" y="2322"/>
                  <a:pt x="2799" y="2306"/>
                </a:cubicBezTo>
                <a:cubicBezTo>
                  <a:pt x="2306" y="2115"/>
                  <a:pt x="2290" y="1972"/>
                  <a:pt x="2290" y="716"/>
                </a:cubicBezTo>
                <a:cubicBezTo>
                  <a:pt x="2290" y="302"/>
                  <a:pt x="2052" y="0"/>
                  <a:pt x="1733" y="0"/>
                </a:cubicBezTo>
                <a:lnTo>
                  <a:pt x="1654" y="0"/>
                </a:lnTo>
                <a:cubicBezTo>
                  <a:pt x="1336" y="0"/>
                  <a:pt x="1081" y="318"/>
                  <a:pt x="1081" y="716"/>
                </a:cubicBezTo>
                <a:cubicBezTo>
                  <a:pt x="1081" y="1988"/>
                  <a:pt x="1018" y="2179"/>
                  <a:pt x="557" y="2306"/>
                </a:cubicBezTo>
                <a:cubicBezTo>
                  <a:pt x="509" y="2306"/>
                  <a:pt x="477" y="2322"/>
                  <a:pt x="429" y="2322"/>
                </a:cubicBezTo>
                <a:cubicBezTo>
                  <a:pt x="223" y="2370"/>
                  <a:pt x="0" y="2417"/>
                  <a:pt x="0" y="2783"/>
                </a:cubicBezTo>
                <a:lnTo>
                  <a:pt x="0" y="3086"/>
                </a:lnTo>
                <a:close/>
                <a:moveTo>
                  <a:pt x="1272" y="4597"/>
                </a:moveTo>
                <a:lnTo>
                  <a:pt x="795" y="4597"/>
                </a:lnTo>
                <a:lnTo>
                  <a:pt x="795" y="3483"/>
                </a:lnTo>
                <a:lnTo>
                  <a:pt x="1272" y="3483"/>
                </a:lnTo>
                <a:close/>
                <a:moveTo>
                  <a:pt x="1909" y="4597"/>
                </a:moveTo>
                <a:lnTo>
                  <a:pt x="1432" y="4597"/>
                </a:lnTo>
                <a:lnTo>
                  <a:pt x="1432" y="3483"/>
                </a:lnTo>
                <a:lnTo>
                  <a:pt x="1909" y="3483"/>
                </a:lnTo>
                <a:close/>
                <a:moveTo>
                  <a:pt x="2545" y="4597"/>
                </a:moveTo>
                <a:lnTo>
                  <a:pt x="2068" y="4597"/>
                </a:lnTo>
                <a:lnTo>
                  <a:pt x="2068" y="3483"/>
                </a:lnTo>
                <a:lnTo>
                  <a:pt x="2545" y="3483"/>
                </a:lnTo>
                <a:close/>
                <a:moveTo>
                  <a:pt x="3181" y="4597"/>
                </a:moveTo>
                <a:lnTo>
                  <a:pt x="2704" y="4597"/>
                </a:lnTo>
                <a:lnTo>
                  <a:pt x="2704" y="3483"/>
                </a:lnTo>
                <a:lnTo>
                  <a:pt x="3181" y="3483"/>
                </a:lnTo>
                <a:close/>
                <a:moveTo>
                  <a:pt x="461" y="2481"/>
                </a:moveTo>
                <a:cubicBezTo>
                  <a:pt x="509" y="2481"/>
                  <a:pt x="557" y="2465"/>
                  <a:pt x="588" y="2449"/>
                </a:cubicBezTo>
                <a:cubicBezTo>
                  <a:pt x="1177" y="2291"/>
                  <a:pt x="1224" y="1988"/>
                  <a:pt x="1224" y="716"/>
                </a:cubicBezTo>
                <a:cubicBezTo>
                  <a:pt x="1224" y="413"/>
                  <a:pt x="1432" y="159"/>
                  <a:pt x="1654" y="159"/>
                </a:cubicBezTo>
                <a:lnTo>
                  <a:pt x="1733" y="159"/>
                </a:lnTo>
                <a:cubicBezTo>
                  <a:pt x="1956" y="159"/>
                  <a:pt x="2131" y="398"/>
                  <a:pt x="2131" y="716"/>
                </a:cubicBezTo>
                <a:cubicBezTo>
                  <a:pt x="2131" y="1972"/>
                  <a:pt x="2131" y="2227"/>
                  <a:pt x="2736" y="2449"/>
                </a:cubicBezTo>
                <a:cubicBezTo>
                  <a:pt x="2799" y="2481"/>
                  <a:pt x="2863" y="2481"/>
                  <a:pt x="2926" y="2497"/>
                </a:cubicBezTo>
                <a:cubicBezTo>
                  <a:pt x="3102" y="2545"/>
                  <a:pt x="3181" y="2561"/>
                  <a:pt x="3181" y="2783"/>
                </a:cubicBezTo>
                <a:lnTo>
                  <a:pt x="3181" y="3006"/>
                </a:lnTo>
                <a:lnTo>
                  <a:pt x="159" y="3006"/>
                </a:lnTo>
                <a:lnTo>
                  <a:pt x="159" y="2783"/>
                </a:lnTo>
                <a:cubicBezTo>
                  <a:pt x="159" y="2545"/>
                  <a:pt x="254" y="2529"/>
                  <a:pt x="461" y="2481"/>
                </a:cubicBezTo>
                <a:close/>
                <a:moveTo>
                  <a:pt x="159" y="3165"/>
                </a:moveTo>
                <a:lnTo>
                  <a:pt x="3181" y="3165"/>
                </a:lnTo>
                <a:lnTo>
                  <a:pt x="3181" y="3324"/>
                </a:lnTo>
                <a:lnTo>
                  <a:pt x="159" y="3324"/>
                </a:lnTo>
                <a:close/>
                <a:moveTo>
                  <a:pt x="636" y="3483"/>
                </a:moveTo>
                <a:lnTo>
                  <a:pt x="636" y="4597"/>
                </a:lnTo>
                <a:lnTo>
                  <a:pt x="159" y="4597"/>
                </a:lnTo>
                <a:lnTo>
                  <a:pt x="159" y="3483"/>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7" name="Freeform: Shape 8">
            <a:extLst>
              <a:ext uri="{FF2B5EF4-FFF2-40B4-BE49-F238E27FC236}">
                <a16:creationId xmlns:a16="http://schemas.microsoft.com/office/drawing/2014/main" id="{FD29EA7F-6FC1-6C4A-A84E-A25261E346E1}"/>
              </a:ext>
            </a:extLst>
          </p:cNvPr>
          <p:cNvSpPr/>
          <p:nvPr/>
        </p:nvSpPr>
        <p:spPr>
          <a:xfrm>
            <a:off x="21153836" y="9998399"/>
            <a:ext cx="1803240" cy="1158480"/>
          </a:xfrm>
          <a:custGeom>
            <a:avLst/>
            <a:gdLst/>
            <a:ahLst/>
            <a:cxnLst>
              <a:cxn ang="3cd4">
                <a:pos x="hc" y="t"/>
              </a:cxn>
              <a:cxn ang="cd2">
                <a:pos x="l" y="vc"/>
              </a:cxn>
              <a:cxn ang="cd4">
                <a:pos x="hc" y="b"/>
              </a:cxn>
              <a:cxn ang="0">
                <a:pos x="r" y="vc"/>
              </a:cxn>
            </a:cxnLst>
            <a:rect l="l" t="t" r="r" b="b"/>
            <a:pathLst>
              <a:path w="5010" h="3219">
                <a:moveTo>
                  <a:pt x="318" y="970"/>
                </a:moveTo>
                <a:cubicBezTo>
                  <a:pt x="461" y="970"/>
                  <a:pt x="588" y="874"/>
                  <a:pt x="620" y="731"/>
                </a:cubicBezTo>
                <a:lnTo>
                  <a:pt x="1384" y="731"/>
                </a:lnTo>
                <a:cubicBezTo>
                  <a:pt x="620" y="1081"/>
                  <a:pt x="111" y="1845"/>
                  <a:pt x="111" y="2719"/>
                </a:cubicBezTo>
                <a:cubicBezTo>
                  <a:pt x="111" y="2767"/>
                  <a:pt x="143" y="2799"/>
                  <a:pt x="191" y="2799"/>
                </a:cubicBezTo>
                <a:cubicBezTo>
                  <a:pt x="223" y="2799"/>
                  <a:pt x="270" y="2767"/>
                  <a:pt x="270" y="2719"/>
                </a:cubicBezTo>
                <a:cubicBezTo>
                  <a:pt x="270" y="1749"/>
                  <a:pt x="954" y="906"/>
                  <a:pt x="1909" y="731"/>
                </a:cubicBezTo>
                <a:lnTo>
                  <a:pt x="1941" y="731"/>
                </a:lnTo>
                <a:lnTo>
                  <a:pt x="1956" y="731"/>
                </a:lnTo>
                <a:lnTo>
                  <a:pt x="1956" y="1224"/>
                </a:lnTo>
                <a:cubicBezTo>
                  <a:pt x="1956" y="1272"/>
                  <a:pt x="1988" y="1304"/>
                  <a:pt x="2036" y="1304"/>
                </a:cubicBezTo>
                <a:lnTo>
                  <a:pt x="3165" y="1304"/>
                </a:lnTo>
                <a:cubicBezTo>
                  <a:pt x="3213" y="1304"/>
                  <a:pt x="3245" y="1272"/>
                  <a:pt x="3245" y="1224"/>
                </a:cubicBezTo>
                <a:lnTo>
                  <a:pt x="3245" y="763"/>
                </a:lnTo>
                <a:cubicBezTo>
                  <a:pt x="4151" y="986"/>
                  <a:pt x="4787" y="1797"/>
                  <a:pt x="4787" y="2719"/>
                </a:cubicBezTo>
                <a:cubicBezTo>
                  <a:pt x="4787" y="2767"/>
                  <a:pt x="4819" y="2799"/>
                  <a:pt x="4867" y="2799"/>
                </a:cubicBezTo>
                <a:cubicBezTo>
                  <a:pt x="4915" y="2799"/>
                  <a:pt x="4947" y="2767"/>
                  <a:pt x="4947" y="2719"/>
                </a:cubicBezTo>
                <a:cubicBezTo>
                  <a:pt x="4947" y="1860"/>
                  <a:pt x="4422" y="1081"/>
                  <a:pt x="3658" y="731"/>
                </a:cubicBezTo>
                <a:lnTo>
                  <a:pt x="4390" y="731"/>
                </a:lnTo>
                <a:cubicBezTo>
                  <a:pt x="4422" y="874"/>
                  <a:pt x="4549" y="970"/>
                  <a:pt x="4692" y="970"/>
                </a:cubicBezTo>
                <a:cubicBezTo>
                  <a:pt x="4867" y="970"/>
                  <a:pt x="5010" y="827"/>
                  <a:pt x="5010" y="652"/>
                </a:cubicBezTo>
                <a:cubicBezTo>
                  <a:pt x="5010" y="477"/>
                  <a:pt x="4867" y="334"/>
                  <a:pt x="4692" y="334"/>
                </a:cubicBezTo>
                <a:cubicBezTo>
                  <a:pt x="4549" y="334"/>
                  <a:pt x="4422" y="445"/>
                  <a:pt x="4390" y="572"/>
                </a:cubicBezTo>
                <a:lnTo>
                  <a:pt x="3245" y="572"/>
                </a:lnTo>
                <a:lnTo>
                  <a:pt x="3245" y="79"/>
                </a:lnTo>
                <a:cubicBezTo>
                  <a:pt x="3245" y="31"/>
                  <a:pt x="3213" y="0"/>
                  <a:pt x="3165" y="0"/>
                </a:cubicBezTo>
                <a:lnTo>
                  <a:pt x="2036" y="0"/>
                </a:lnTo>
                <a:cubicBezTo>
                  <a:pt x="1988" y="0"/>
                  <a:pt x="1956" y="31"/>
                  <a:pt x="1956" y="79"/>
                </a:cubicBezTo>
                <a:lnTo>
                  <a:pt x="1956" y="572"/>
                </a:lnTo>
                <a:lnTo>
                  <a:pt x="1909" y="572"/>
                </a:lnTo>
                <a:lnTo>
                  <a:pt x="1893" y="572"/>
                </a:lnTo>
                <a:lnTo>
                  <a:pt x="620" y="572"/>
                </a:lnTo>
                <a:cubicBezTo>
                  <a:pt x="588" y="445"/>
                  <a:pt x="461" y="334"/>
                  <a:pt x="318" y="334"/>
                </a:cubicBezTo>
                <a:cubicBezTo>
                  <a:pt x="143" y="334"/>
                  <a:pt x="0" y="477"/>
                  <a:pt x="0" y="652"/>
                </a:cubicBezTo>
                <a:cubicBezTo>
                  <a:pt x="0" y="827"/>
                  <a:pt x="143" y="970"/>
                  <a:pt x="318" y="970"/>
                </a:cubicBezTo>
                <a:close/>
                <a:moveTo>
                  <a:pt x="4692" y="492"/>
                </a:moveTo>
                <a:cubicBezTo>
                  <a:pt x="4787" y="492"/>
                  <a:pt x="4851" y="572"/>
                  <a:pt x="4851" y="652"/>
                </a:cubicBezTo>
                <a:cubicBezTo>
                  <a:pt x="4851" y="747"/>
                  <a:pt x="4787" y="810"/>
                  <a:pt x="4692" y="810"/>
                </a:cubicBezTo>
                <a:cubicBezTo>
                  <a:pt x="4613" y="810"/>
                  <a:pt x="4533" y="747"/>
                  <a:pt x="4533" y="652"/>
                </a:cubicBezTo>
                <a:cubicBezTo>
                  <a:pt x="4533" y="572"/>
                  <a:pt x="4613" y="492"/>
                  <a:pt x="4692" y="492"/>
                </a:cubicBezTo>
                <a:close/>
                <a:moveTo>
                  <a:pt x="2099" y="158"/>
                </a:moveTo>
                <a:lnTo>
                  <a:pt x="3086" y="158"/>
                </a:lnTo>
                <a:lnTo>
                  <a:pt x="3086" y="1144"/>
                </a:lnTo>
                <a:lnTo>
                  <a:pt x="2099" y="1144"/>
                </a:lnTo>
                <a:close/>
                <a:moveTo>
                  <a:pt x="318" y="492"/>
                </a:moveTo>
                <a:cubicBezTo>
                  <a:pt x="414" y="492"/>
                  <a:pt x="477" y="572"/>
                  <a:pt x="477" y="652"/>
                </a:cubicBezTo>
                <a:cubicBezTo>
                  <a:pt x="477" y="747"/>
                  <a:pt x="414" y="810"/>
                  <a:pt x="318" y="810"/>
                </a:cubicBezTo>
                <a:cubicBezTo>
                  <a:pt x="239" y="810"/>
                  <a:pt x="159" y="747"/>
                  <a:pt x="159" y="652"/>
                </a:cubicBezTo>
                <a:cubicBezTo>
                  <a:pt x="159" y="572"/>
                  <a:pt x="239" y="492"/>
                  <a:pt x="318" y="492"/>
                </a:cubicBezTo>
                <a:close/>
                <a:moveTo>
                  <a:pt x="2069" y="3212"/>
                </a:moveTo>
                <a:lnTo>
                  <a:pt x="2594" y="3021"/>
                </a:lnTo>
                <a:lnTo>
                  <a:pt x="3134" y="3212"/>
                </a:lnTo>
                <a:lnTo>
                  <a:pt x="3150" y="3212"/>
                </a:lnTo>
                <a:cubicBezTo>
                  <a:pt x="3182" y="3212"/>
                  <a:pt x="3198" y="3212"/>
                  <a:pt x="3214" y="3197"/>
                </a:cubicBezTo>
                <a:cubicBezTo>
                  <a:pt x="3230" y="3164"/>
                  <a:pt x="3246" y="3133"/>
                  <a:pt x="3230" y="3117"/>
                </a:cubicBezTo>
                <a:lnTo>
                  <a:pt x="2673" y="1765"/>
                </a:lnTo>
                <a:cubicBezTo>
                  <a:pt x="2657" y="1717"/>
                  <a:pt x="2546" y="1717"/>
                  <a:pt x="2530" y="1765"/>
                </a:cubicBezTo>
                <a:lnTo>
                  <a:pt x="1973" y="3117"/>
                </a:lnTo>
                <a:cubicBezTo>
                  <a:pt x="1957" y="3133"/>
                  <a:pt x="1957" y="3164"/>
                  <a:pt x="1989" y="3197"/>
                </a:cubicBezTo>
                <a:cubicBezTo>
                  <a:pt x="2005" y="3212"/>
                  <a:pt x="2037" y="3228"/>
                  <a:pt x="2069" y="3212"/>
                </a:cubicBezTo>
                <a:close/>
                <a:moveTo>
                  <a:pt x="2594" y="2004"/>
                </a:moveTo>
                <a:lnTo>
                  <a:pt x="3023" y="3006"/>
                </a:lnTo>
                <a:lnTo>
                  <a:pt x="2625" y="2863"/>
                </a:lnTo>
                <a:lnTo>
                  <a:pt x="2594" y="2863"/>
                </a:lnTo>
                <a:lnTo>
                  <a:pt x="2578" y="2863"/>
                </a:lnTo>
                <a:lnTo>
                  <a:pt x="2180" y="300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8" name="Freeform: Shape 9">
            <a:extLst>
              <a:ext uri="{FF2B5EF4-FFF2-40B4-BE49-F238E27FC236}">
                <a16:creationId xmlns:a16="http://schemas.microsoft.com/office/drawing/2014/main" id="{5CC79FAD-8A56-5949-B725-1D1C6DCA1623}"/>
              </a:ext>
            </a:extLst>
          </p:cNvPr>
          <p:cNvSpPr/>
          <p:nvPr/>
        </p:nvSpPr>
        <p:spPr>
          <a:xfrm>
            <a:off x="17740112" y="9752159"/>
            <a:ext cx="1156320" cy="1654200"/>
          </a:xfrm>
          <a:custGeom>
            <a:avLst/>
            <a:gdLst/>
            <a:ahLst/>
            <a:cxnLst>
              <a:cxn ang="3cd4">
                <a:pos x="hc" y="t"/>
              </a:cxn>
              <a:cxn ang="cd2">
                <a:pos x="l" y="vc"/>
              </a:cxn>
              <a:cxn ang="cd4">
                <a:pos x="hc" y="b"/>
              </a:cxn>
              <a:cxn ang="0">
                <a:pos x="r" y="vc"/>
              </a:cxn>
            </a:cxnLst>
            <a:rect l="l" t="t" r="r" b="b"/>
            <a:pathLst>
              <a:path w="3213" h="4596">
                <a:moveTo>
                  <a:pt x="2418" y="938"/>
                </a:moveTo>
                <a:cubicBezTo>
                  <a:pt x="3133" y="938"/>
                  <a:pt x="3133" y="938"/>
                  <a:pt x="3133" y="938"/>
                </a:cubicBezTo>
                <a:cubicBezTo>
                  <a:pt x="3181" y="938"/>
                  <a:pt x="3213" y="890"/>
                  <a:pt x="3213" y="858"/>
                </a:cubicBezTo>
                <a:cubicBezTo>
                  <a:pt x="3213" y="127"/>
                  <a:pt x="3213" y="127"/>
                  <a:pt x="3213" y="127"/>
                </a:cubicBezTo>
                <a:cubicBezTo>
                  <a:pt x="3213" y="79"/>
                  <a:pt x="3181" y="47"/>
                  <a:pt x="3133" y="47"/>
                </a:cubicBezTo>
                <a:cubicBezTo>
                  <a:pt x="2418" y="47"/>
                  <a:pt x="2418" y="47"/>
                  <a:pt x="2418" y="47"/>
                </a:cubicBezTo>
                <a:cubicBezTo>
                  <a:pt x="2370" y="47"/>
                  <a:pt x="2338" y="79"/>
                  <a:pt x="2338" y="127"/>
                </a:cubicBezTo>
                <a:cubicBezTo>
                  <a:pt x="2338" y="461"/>
                  <a:pt x="2338" y="461"/>
                  <a:pt x="2338" y="461"/>
                </a:cubicBezTo>
                <a:cubicBezTo>
                  <a:pt x="1574" y="476"/>
                  <a:pt x="970" y="875"/>
                  <a:pt x="700" y="1494"/>
                </a:cubicBezTo>
                <a:cubicBezTo>
                  <a:pt x="700" y="604"/>
                  <a:pt x="700" y="604"/>
                  <a:pt x="700" y="604"/>
                </a:cubicBezTo>
                <a:cubicBezTo>
                  <a:pt x="827" y="572"/>
                  <a:pt x="922" y="445"/>
                  <a:pt x="922" y="302"/>
                </a:cubicBezTo>
                <a:cubicBezTo>
                  <a:pt x="922" y="143"/>
                  <a:pt x="779" y="0"/>
                  <a:pt x="620" y="0"/>
                </a:cubicBezTo>
                <a:cubicBezTo>
                  <a:pt x="445" y="0"/>
                  <a:pt x="302" y="143"/>
                  <a:pt x="302" y="302"/>
                </a:cubicBezTo>
                <a:cubicBezTo>
                  <a:pt x="302" y="445"/>
                  <a:pt x="397" y="572"/>
                  <a:pt x="541" y="604"/>
                </a:cubicBezTo>
                <a:cubicBezTo>
                  <a:pt x="541" y="1670"/>
                  <a:pt x="541" y="1670"/>
                  <a:pt x="541" y="1670"/>
                </a:cubicBezTo>
                <a:cubicBezTo>
                  <a:pt x="79" y="1670"/>
                  <a:pt x="79" y="1670"/>
                  <a:pt x="79" y="1670"/>
                </a:cubicBezTo>
                <a:cubicBezTo>
                  <a:pt x="32" y="1670"/>
                  <a:pt x="0" y="1717"/>
                  <a:pt x="0" y="1749"/>
                </a:cubicBezTo>
                <a:cubicBezTo>
                  <a:pt x="0" y="2831"/>
                  <a:pt x="0" y="2831"/>
                  <a:pt x="0" y="2831"/>
                </a:cubicBezTo>
                <a:cubicBezTo>
                  <a:pt x="0" y="2878"/>
                  <a:pt x="32" y="2910"/>
                  <a:pt x="79" y="2910"/>
                </a:cubicBezTo>
                <a:cubicBezTo>
                  <a:pt x="541" y="2910"/>
                  <a:pt x="541" y="2910"/>
                  <a:pt x="541" y="2910"/>
                </a:cubicBezTo>
                <a:cubicBezTo>
                  <a:pt x="541" y="2926"/>
                  <a:pt x="541" y="2926"/>
                  <a:pt x="541" y="2926"/>
                </a:cubicBezTo>
                <a:cubicBezTo>
                  <a:pt x="541" y="3992"/>
                  <a:pt x="541" y="3992"/>
                  <a:pt x="541" y="3992"/>
                </a:cubicBezTo>
                <a:cubicBezTo>
                  <a:pt x="397" y="4024"/>
                  <a:pt x="302" y="4151"/>
                  <a:pt x="302" y="4278"/>
                </a:cubicBezTo>
                <a:cubicBezTo>
                  <a:pt x="302" y="4453"/>
                  <a:pt x="445" y="4596"/>
                  <a:pt x="620" y="4596"/>
                </a:cubicBezTo>
                <a:cubicBezTo>
                  <a:pt x="779" y="4596"/>
                  <a:pt x="922" y="4453"/>
                  <a:pt x="922" y="4278"/>
                </a:cubicBezTo>
                <a:cubicBezTo>
                  <a:pt x="922" y="4151"/>
                  <a:pt x="827" y="4024"/>
                  <a:pt x="700" y="3992"/>
                </a:cubicBezTo>
                <a:cubicBezTo>
                  <a:pt x="700" y="3101"/>
                  <a:pt x="700" y="3101"/>
                  <a:pt x="700" y="3101"/>
                </a:cubicBezTo>
                <a:cubicBezTo>
                  <a:pt x="970" y="3721"/>
                  <a:pt x="1574" y="4119"/>
                  <a:pt x="2338" y="4135"/>
                </a:cubicBezTo>
                <a:cubicBezTo>
                  <a:pt x="2338" y="4469"/>
                  <a:pt x="2338" y="4469"/>
                  <a:pt x="2338" y="4469"/>
                </a:cubicBezTo>
                <a:cubicBezTo>
                  <a:pt x="2338" y="4501"/>
                  <a:pt x="2370" y="4533"/>
                  <a:pt x="2418" y="4533"/>
                </a:cubicBezTo>
                <a:cubicBezTo>
                  <a:pt x="3133" y="4533"/>
                  <a:pt x="3133" y="4533"/>
                  <a:pt x="3133" y="4533"/>
                </a:cubicBezTo>
                <a:cubicBezTo>
                  <a:pt x="3181" y="4533"/>
                  <a:pt x="3213" y="4501"/>
                  <a:pt x="3213" y="4469"/>
                </a:cubicBezTo>
                <a:cubicBezTo>
                  <a:pt x="3213" y="3738"/>
                  <a:pt x="3213" y="3738"/>
                  <a:pt x="3213" y="3738"/>
                </a:cubicBezTo>
                <a:cubicBezTo>
                  <a:pt x="3213" y="3690"/>
                  <a:pt x="3181" y="3658"/>
                  <a:pt x="3133" y="3658"/>
                </a:cubicBezTo>
                <a:cubicBezTo>
                  <a:pt x="2418" y="3658"/>
                  <a:pt x="2418" y="3658"/>
                  <a:pt x="2418" y="3658"/>
                </a:cubicBezTo>
                <a:cubicBezTo>
                  <a:pt x="2370" y="3658"/>
                  <a:pt x="2338" y="3690"/>
                  <a:pt x="2338" y="3738"/>
                </a:cubicBezTo>
                <a:cubicBezTo>
                  <a:pt x="2338" y="3976"/>
                  <a:pt x="2338" y="3976"/>
                  <a:pt x="2338" y="3976"/>
                </a:cubicBezTo>
                <a:cubicBezTo>
                  <a:pt x="1606" y="3960"/>
                  <a:pt x="1002" y="3547"/>
                  <a:pt x="795" y="2910"/>
                </a:cubicBezTo>
                <a:cubicBezTo>
                  <a:pt x="1161" y="2910"/>
                  <a:pt x="1161" y="2910"/>
                  <a:pt x="1161" y="2910"/>
                </a:cubicBezTo>
                <a:cubicBezTo>
                  <a:pt x="1193" y="2910"/>
                  <a:pt x="1240" y="2878"/>
                  <a:pt x="1240" y="2831"/>
                </a:cubicBezTo>
                <a:cubicBezTo>
                  <a:pt x="1240" y="1749"/>
                  <a:pt x="1240" y="1749"/>
                  <a:pt x="1240" y="1749"/>
                </a:cubicBezTo>
                <a:cubicBezTo>
                  <a:pt x="1240" y="1717"/>
                  <a:pt x="1193" y="1670"/>
                  <a:pt x="1161" y="1670"/>
                </a:cubicBezTo>
                <a:cubicBezTo>
                  <a:pt x="795" y="1670"/>
                  <a:pt x="795" y="1670"/>
                  <a:pt x="795" y="1670"/>
                </a:cubicBezTo>
                <a:cubicBezTo>
                  <a:pt x="1002" y="1033"/>
                  <a:pt x="1606" y="636"/>
                  <a:pt x="2338" y="620"/>
                </a:cubicBezTo>
                <a:cubicBezTo>
                  <a:pt x="2338" y="858"/>
                  <a:pt x="2338" y="858"/>
                  <a:pt x="2338" y="858"/>
                </a:cubicBezTo>
                <a:cubicBezTo>
                  <a:pt x="2338" y="890"/>
                  <a:pt x="2370" y="938"/>
                  <a:pt x="2418" y="938"/>
                </a:cubicBezTo>
                <a:close/>
                <a:moveTo>
                  <a:pt x="2497" y="206"/>
                </a:moveTo>
                <a:cubicBezTo>
                  <a:pt x="3054" y="206"/>
                  <a:pt x="3054" y="206"/>
                  <a:pt x="3054" y="206"/>
                </a:cubicBezTo>
                <a:cubicBezTo>
                  <a:pt x="3054" y="779"/>
                  <a:pt x="3054" y="779"/>
                  <a:pt x="3054" y="779"/>
                </a:cubicBezTo>
                <a:cubicBezTo>
                  <a:pt x="2497" y="779"/>
                  <a:pt x="2497" y="779"/>
                  <a:pt x="2497" y="779"/>
                </a:cubicBezTo>
                <a:close/>
                <a:moveTo>
                  <a:pt x="2497" y="3817"/>
                </a:moveTo>
                <a:cubicBezTo>
                  <a:pt x="3054" y="3817"/>
                  <a:pt x="3054" y="3817"/>
                  <a:pt x="3054" y="3817"/>
                </a:cubicBezTo>
                <a:cubicBezTo>
                  <a:pt x="3054" y="4390"/>
                  <a:pt x="3054" y="4390"/>
                  <a:pt x="3054" y="4390"/>
                </a:cubicBezTo>
                <a:cubicBezTo>
                  <a:pt x="2497" y="4390"/>
                  <a:pt x="2497" y="4390"/>
                  <a:pt x="2497" y="4390"/>
                </a:cubicBezTo>
                <a:close/>
                <a:moveTo>
                  <a:pt x="461" y="302"/>
                </a:moveTo>
                <a:cubicBezTo>
                  <a:pt x="461" y="222"/>
                  <a:pt x="541" y="158"/>
                  <a:pt x="620" y="158"/>
                </a:cubicBezTo>
                <a:cubicBezTo>
                  <a:pt x="700" y="158"/>
                  <a:pt x="763" y="222"/>
                  <a:pt x="763" y="302"/>
                </a:cubicBezTo>
                <a:cubicBezTo>
                  <a:pt x="763" y="381"/>
                  <a:pt x="700" y="445"/>
                  <a:pt x="620" y="445"/>
                </a:cubicBezTo>
                <a:cubicBezTo>
                  <a:pt x="541" y="445"/>
                  <a:pt x="461" y="381"/>
                  <a:pt x="461" y="302"/>
                </a:cubicBezTo>
                <a:close/>
                <a:moveTo>
                  <a:pt x="763" y="4278"/>
                </a:moveTo>
                <a:cubicBezTo>
                  <a:pt x="763" y="4374"/>
                  <a:pt x="700" y="4437"/>
                  <a:pt x="620" y="4437"/>
                </a:cubicBezTo>
                <a:cubicBezTo>
                  <a:pt x="541" y="4437"/>
                  <a:pt x="461" y="4374"/>
                  <a:pt x="461" y="4278"/>
                </a:cubicBezTo>
                <a:cubicBezTo>
                  <a:pt x="461" y="4199"/>
                  <a:pt x="541" y="4135"/>
                  <a:pt x="620" y="4135"/>
                </a:cubicBezTo>
                <a:cubicBezTo>
                  <a:pt x="700" y="4135"/>
                  <a:pt x="763" y="4199"/>
                  <a:pt x="763" y="4278"/>
                </a:cubicBezTo>
                <a:close/>
                <a:moveTo>
                  <a:pt x="1082" y="1828"/>
                </a:moveTo>
                <a:cubicBezTo>
                  <a:pt x="1082" y="2751"/>
                  <a:pt x="1082" y="2751"/>
                  <a:pt x="1082" y="2751"/>
                </a:cubicBezTo>
                <a:cubicBezTo>
                  <a:pt x="684" y="2751"/>
                  <a:pt x="684" y="2751"/>
                  <a:pt x="684" y="2751"/>
                </a:cubicBezTo>
                <a:cubicBezTo>
                  <a:pt x="159" y="2751"/>
                  <a:pt x="159" y="2751"/>
                  <a:pt x="159" y="2751"/>
                </a:cubicBezTo>
                <a:cubicBezTo>
                  <a:pt x="159" y="1828"/>
                  <a:pt x="159" y="1828"/>
                  <a:pt x="159" y="182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9" name="Freeform: Shape 10">
            <a:extLst>
              <a:ext uri="{FF2B5EF4-FFF2-40B4-BE49-F238E27FC236}">
                <a16:creationId xmlns:a16="http://schemas.microsoft.com/office/drawing/2014/main" id="{917E41F6-DCF7-B842-8976-8862B1809B8F}"/>
              </a:ext>
            </a:extLst>
          </p:cNvPr>
          <p:cNvSpPr/>
          <p:nvPr/>
        </p:nvSpPr>
        <p:spPr>
          <a:xfrm>
            <a:off x="13998579" y="10067159"/>
            <a:ext cx="1700280" cy="1024199"/>
          </a:xfrm>
          <a:custGeom>
            <a:avLst/>
            <a:gdLst/>
            <a:ahLst/>
            <a:cxnLst>
              <a:cxn ang="3cd4">
                <a:pos x="hc" y="t"/>
              </a:cxn>
              <a:cxn ang="cd2">
                <a:pos x="l" y="vc"/>
              </a:cxn>
              <a:cxn ang="cd4">
                <a:pos x="hc" y="b"/>
              </a:cxn>
              <a:cxn ang="0">
                <a:pos x="r" y="vc"/>
              </a:cxn>
            </a:cxnLst>
            <a:rect l="l" t="t" r="r" b="b"/>
            <a:pathLst>
              <a:path w="4724" h="2846">
                <a:moveTo>
                  <a:pt x="0" y="2767"/>
                </a:moveTo>
                <a:cubicBezTo>
                  <a:pt x="0" y="2815"/>
                  <a:pt x="32" y="2846"/>
                  <a:pt x="80" y="2846"/>
                </a:cubicBezTo>
                <a:cubicBezTo>
                  <a:pt x="128" y="2846"/>
                  <a:pt x="160" y="2815"/>
                  <a:pt x="160" y="2767"/>
                </a:cubicBezTo>
                <a:cubicBezTo>
                  <a:pt x="160" y="1701"/>
                  <a:pt x="843" y="842"/>
                  <a:pt x="1830" y="619"/>
                </a:cubicBezTo>
                <a:cubicBezTo>
                  <a:pt x="1830" y="858"/>
                  <a:pt x="1830" y="858"/>
                  <a:pt x="1830" y="858"/>
                </a:cubicBezTo>
                <a:cubicBezTo>
                  <a:pt x="1830" y="906"/>
                  <a:pt x="1861" y="938"/>
                  <a:pt x="1909" y="938"/>
                </a:cubicBezTo>
                <a:cubicBezTo>
                  <a:pt x="2705" y="938"/>
                  <a:pt x="2705" y="938"/>
                  <a:pt x="2705" y="938"/>
                </a:cubicBezTo>
                <a:cubicBezTo>
                  <a:pt x="2736" y="938"/>
                  <a:pt x="2784" y="906"/>
                  <a:pt x="2784" y="858"/>
                </a:cubicBezTo>
                <a:cubicBezTo>
                  <a:pt x="2784" y="604"/>
                  <a:pt x="2784" y="604"/>
                  <a:pt x="2784" y="604"/>
                </a:cubicBezTo>
                <a:cubicBezTo>
                  <a:pt x="3818" y="810"/>
                  <a:pt x="4565" y="1717"/>
                  <a:pt x="4565" y="2767"/>
                </a:cubicBezTo>
                <a:cubicBezTo>
                  <a:pt x="4565" y="2815"/>
                  <a:pt x="4597" y="2846"/>
                  <a:pt x="4645" y="2846"/>
                </a:cubicBezTo>
                <a:cubicBezTo>
                  <a:pt x="4693" y="2846"/>
                  <a:pt x="4724" y="2815"/>
                  <a:pt x="4724" y="2767"/>
                </a:cubicBezTo>
                <a:cubicBezTo>
                  <a:pt x="4724" y="1654"/>
                  <a:pt x="3961" y="715"/>
                  <a:pt x="2879" y="461"/>
                </a:cubicBezTo>
                <a:cubicBezTo>
                  <a:pt x="3881" y="461"/>
                  <a:pt x="3881" y="461"/>
                  <a:pt x="3881" y="461"/>
                </a:cubicBezTo>
                <a:cubicBezTo>
                  <a:pt x="3913" y="588"/>
                  <a:pt x="4024" y="667"/>
                  <a:pt x="4152" y="667"/>
                </a:cubicBezTo>
                <a:cubicBezTo>
                  <a:pt x="4311" y="667"/>
                  <a:pt x="4422" y="540"/>
                  <a:pt x="4422" y="381"/>
                </a:cubicBezTo>
                <a:cubicBezTo>
                  <a:pt x="4422" y="238"/>
                  <a:pt x="4311" y="110"/>
                  <a:pt x="4152" y="110"/>
                </a:cubicBezTo>
                <a:cubicBezTo>
                  <a:pt x="4024" y="110"/>
                  <a:pt x="3913" y="190"/>
                  <a:pt x="3881" y="301"/>
                </a:cubicBezTo>
                <a:cubicBezTo>
                  <a:pt x="2784" y="301"/>
                  <a:pt x="2784" y="301"/>
                  <a:pt x="2784" y="301"/>
                </a:cubicBezTo>
                <a:cubicBezTo>
                  <a:pt x="2784" y="63"/>
                  <a:pt x="2784" y="63"/>
                  <a:pt x="2784" y="63"/>
                </a:cubicBezTo>
                <a:cubicBezTo>
                  <a:pt x="2784" y="31"/>
                  <a:pt x="2736" y="0"/>
                  <a:pt x="2705" y="0"/>
                </a:cubicBezTo>
                <a:cubicBezTo>
                  <a:pt x="1909" y="0"/>
                  <a:pt x="1909" y="0"/>
                  <a:pt x="1909" y="0"/>
                </a:cubicBezTo>
                <a:cubicBezTo>
                  <a:pt x="1861" y="0"/>
                  <a:pt x="1830" y="31"/>
                  <a:pt x="1830" y="63"/>
                </a:cubicBezTo>
                <a:cubicBezTo>
                  <a:pt x="1830" y="301"/>
                  <a:pt x="1830" y="301"/>
                  <a:pt x="1830" y="301"/>
                </a:cubicBezTo>
                <a:cubicBezTo>
                  <a:pt x="843" y="301"/>
                  <a:pt x="843" y="301"/>
                  <a:pt x="843" y="301"/>
                </a:cubicBezTo>
                <a:cubicBezTo>
                  <a:pt x="812" y="190"/>
                  <a:pt x="700" y="110"/>
                  <a:pt x="573" y="110"/>
                </a:cubicBezTo>
                <a:cubicBezTo>
                  <a:pt x="430" y="110"/>
                  <a:pt x="303" y="238"/>
                  <a:pt x="303" y="381"/>
                </a:cubicBezTo>
                <a:cubicBezTo>
                  <a:pt x="303" y="540"/>
                  <a:pt x="430" y="667"/>
                  <a:pt x="573" y="667"/>
                </a:cubicBezTo>
                <a:cubicBezTo>
                  <a:pt x="700" y="667"/>
                  <a:pt x="812" y="588"/>
                  <a:pt x="843" y="461"/>
                </a:cubicBezTo>
                <a:cubicBezTo>
                  <a:pt x="1782" y="461"/>
                  <a:pt x="1782" y="461"/>
                  <a:pt x="1782" y="461"/>
                </a:cubicBezTo>
                <a:cubicBezTo>
                  <a:pt x="716" y="699"/>
                  <a:pt x="0" y="1637"/>
                  <a:pt x="0" y="2767"/>
                </a:cubicBezTo>
                <a:close/>
                <a:moveTo>
                  <a:pt x="4152" y="270"/>
                </a:moveTo>
                <a:cubicBezTo>
                  <a:pt x="4215" y="270"/>
                  <a:pt x="4263" y="318"/>
                  <a:pt x="4263" y="381"/>
                </a:cubicBezTo>
                <a:cubicBezTo>
                  <a:pt x="4263" y="461"/>
                  <a:pt x="4215" y="508"/>
                  <a:pt x="4152" y="508"/>
                </a:cubicBezTo>
                <a:cubicBezTo>
                  <a:pt x="4088" y="508"/>
                  <a:pt x="4024" y="461"/>
                  <a:pt x="4024" y="381"/>
                </a:cubicBezTo>
                <a:cubicBezTo>
                  <a:pt x="4024" y="318"/>
                  <a:pt x="4088" y="270"/>
                  <a:pt x="4152" y="270"/>
                </a:cubicBezTo>
                <a:close/>
                <a:moveTo>
                  <a:pt x="1988" y="143"/>
                </a:moveTo>
                <a:cubicBezTo>
                  <a:pt x="2625" y="143"/>
                  <a:pt x="2625" y="143"/>
                  <a:pt x="2625" y="143"/>
                </a:cubicBezTo>
                <a:cubicBezTo>
                  <a:pt x="2625" y="779"/>
                  <a:pt x="2625" y="779"/>
                  <a:pt x="2625" y="779"/>
                </a:cubicBezTo>
                <a:cubicBezTo>
                  <a:pt x="1988" y="779"/>
                  <a:pt x="1988" y="779"/>
                  <a:pt x="1988" y="779"/>
                </a:cubicBezTo>
                <a:close/>
                <a:moveTo>
                  <a:pt x="573" y="508"/>
                </a:moveTo>
                <a:cubicBezTo>
                  <a:pt x="509" y="508"/>
                  <a:pt x="461" y="461"/>
                  <a:pt x="461" y="381"/>
                </a:cubicBezTo>
                <a:cubicBezTo>
                  <a:pt x="461" y="318"/>
                  <a:pt x="509" y="270"/>
                  <a:pt x="573" y="270"/>
                </a:cubicBezTo>
                <a:cubicBezTo>
                  <a:pt x="637" y="270"/>
                  <a:pt x="700" y="318"/>
                  <a:pt x="700" y="381"/>
                </a:cubicBezTo>
                <a:cubicBezTo>
                  <a:pt x="700" y="461"/>
                  <a:pt x="637" y="508"/>
                  <a:pt x="573" y="50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Freeform: Shape 11">
            <a:extLst>
              <a:ext uri="{FF2B5EF4-FFF2-40B4-BE49-F238E27FC236}">
                <a16:creationId xmlns:a16="http://schemas.microsoft.com/office/drawing/2014/main" id="{4697A0E2-66BA-244D-901D-63C52897B9A9}"/>
              </a:ext>
            </a:extLst>
          </p:cNvPr>
          <p:cNvSpPr/>
          <p:nvPr/>
        </p:nvSpPr>
        <p:spPr>
          <a:xfrm>
            <a:off x="9866501" y="10304759"/>
            <a:ext cx="1843199" cy="551880"/>
          </a:xfrm>
          <a:custGeom>
            <a:avLst/>
            <a:gdLst/>
            <a:ahLst/>
            <a:cxnLst>
              <a:cxn ang="3cd4">
                <a:pos x="hc" y="t"/>
              </a:cxn>
              <a:cxn ang="cd2">
                <a:pos x="l" y="vc"/>
              </a:cxn>
              <a:cxn ang="cd4">
                <a:pos x="hc" y="b"/>
              </a:cxn>
              <a:cxn ang="0">
                <a:pos x="r" y="vc"/>
              </a:cxn>
            </a:cxnLst>
            <a:rect l="l" t="t" r="r" b="b"/>
            <a:pathLst>
              <a:path w="5121" h="1534">
                <a:moveTo>
                  <a:pt x="318" y="1089"/>
                </a:moveTo>
                <a:cubicBezTo>
                  <a:pt x="461" y="1089"/>
                  <a:pt x="588" y="977"/>
                  <a:pt x="620" y="834"/>
                </a:cubicBezTo>
                <a:cubicBezTo>
                  <a:pt x="1845" y="834"/>
                  <a:pt x="1845" y="834"/>
                  <a:pt x="1845" y="834"/>
                </a:cubicBezTo>
                <a:cubicBezTo>
                  <a:pt x="2512" y="1503"/>
                  <a:pt x="2512" y="1503"/>
                  <a:pt x="2512" y="1503"/>
                </a:cubicBezTo>
                <a:cubicBezTo>
                  <a:pt x="2529" y="1518"/>
                  <a:pt x="2545" y="1534"/>
                  <a:pt x="2576" y="1534"/>
                </a:cubicBezTo>
                <a:cubicBezTo>
                  <a:pt x="2592" y="1534"/>
                  <a:pt x="2608" y="1518"/>
                  <a:pt x="2624" y="1503"/>
                </a:cubicBezTo>
                <a:cubicBezTo>
                  <a:pt x="3292" y="834"/>
                  <a:pt x="3292" y="834"/>
                  <a:pt x="3292" y="834"/>
                </a:cubicBezTo>
                <a:cubicBezTo>
                  <a:pt x="4485" y="834"/>
                  <a:pt x="4485" y="834"/>
                  <a:pt x="4485" y="834"/>
                </a:cubicBezTo>
                <a:cubicBezTo>
                  <a:pt x="4517" y="977"/>
                  <a:pt x="4644" y="1089"/>
                  <a:pt x="4787" y="1089"/>
                </a:cubicBezTo>
                <a:cubicBezTo>
                  <a:pt x="4962" y="1089"/>
                  <a:pt x="5121" y="946"/>
                  <a:pt x="5121" y="755"/>
                </a:cubicBezTo>
                <a:cubicBezTo>
                  <a:pt x="5121" y="580"/>
                  <a:pt x="4962" y="437"/>
                  <a:pt x="4787" y="437"/>
                </a:cubicBezTo>
                <a:cubicBezTo>
                  <a:pt x="4644" y="437"/>
                  <a:pt x="4517" y="548"/>
                  <a:pt x="4485" y="676"/>
                </a:cubicBezTo>
                <a:cubicBezTo>
                  <a:pt x="3292" y="676"/>
                  <a:pt x="3292" y="676"/>
                  <a:pt x="3292" y="676"/>
                </a:cubicBezTo>
                <a:cubicBezTo>
                  <a:pt x="2624" y="23"/>
                  <a:pt x="2624" y="23"/>
                  <a:pt x="2624" y="23"/>
                </a:cubicBezTo>
                <a:cubicBezTo>
                  <a:pt x="2592" y="-8"/>
                  <a:pt x="2545" y="-8"/>
                  <a:pt x="2512" y="23"/>
                </a:cubicBezTo>
                <a:cubicBezTo>
                  <a:pt x="1845" y="676"/>
                  <a:pt x="1845" y="676"/>
                  <a:pt x="1845" y="676"/>
                </a:cubicBezTo>
                <a:cubicBezTo>
                  <a:pt x="620" y="676"/>
                  <a:pt x="620" y="676"/>
                  <a:pt x="620" y="676"/>
                </a:cubicBezTo>
                <a:cubicBezTo>
                  <a:pt x="588" y="548"/>
                  <a:pt x="461" y="437"/>
                  <a:pt x="318" y="437"/>
                </a:cubicBezTo>
                <a:cubicBezTo>
                  <a:pt x="143" y="437"/>
                  <a:pt x="0" y="580"/>
                  <a:pt x="0" y="755"/>
                </a:cubicBezTo>
                <a:cubicBezTo>
                  <a:pt x="0" y="946"/>
                  <a:pt x="143" y="1089"/>
                  <a:pt x="318" y="1089"/>
                </a:cubicBezTo>
                <a:close/>
                <a:moveTo>
                  <a:pt x="4787" y="596"/>
                </a:moveTo>
                <a:cubicBezTo>
                  <a:pt x="4883" y="596"/>
                  <a:pt x="4962" y="676"/>
                  <a:pt x="4962" y="755"/>
                </a:cubicBezTo>
                <a:cubicBezTo>
                  <a:pt x="4962" y="850"/>
                  <a:pt x="4883" y="930"/>
                  <a:pt x="4787" y="930"/>
                </a:cubicBezTo>
                <a:cubicBezTo>
                  <a:pt x="4708" y="930"/>
                  <a:pt x="4628" y="850"/>
                  <a:pt x="4628" y="755"/>
                </a:cubicBezTo>
                <a:cubicBezTo>
                  <a:pt x="4628" y="676"/>
                  <a:pt x="4708" y="596"/>
                  <a:pt x="4787" y="596"/>
                </a:cubicBezTo>
                <a:close/>
                <a:moveTo>
                  <a:pt x="2576" y="182"/>
                </a:moveTo>
                <a:cubicBezTo>
                  <a:pt x="3149" y="755"/>
                  <a:pt x="3149" y="755"/>
                  <a:pt x="3149" y="755"/>
                </a:cubicBezTo>
                <a:cubicBezTo>
                  <a:pt x="2576" y="1343"/>
                  <a:pt x="2576" y="1343"/>
                  <a:pt x="2576" y="1343"/>
                </a:cubicBezTo>
                <a:cubicBezTo>
                  <a:pt x="1988" y="755"/>
                  <a:pt x="1988" y="755"/>
                  <a:pt x="1988" y="755"/>
                </a:cubicBezTo>
                <a:close/>
                <a:moveTo>
                  <a:pt x="318" y="596"/>
                </a:moveTo>
                <a:cubicBezTo>
                  <a:pt x="397" y="596"/>
                  <a:pt x="477" y="676"/>
                  <a:pt x="477" y="755"/>
                </a:cubicBezTo>
                <a:cubicBezTo>
                  <a:pt x="477" y="850"/>
                  <a:pt x="397" y="930"/>
                  <a:pt x="318" y="930"/>
                </a:cubicBezTo>
                <a:cubicBezTo>
                  <a:pt x="222" y="930"/>
                  <a:pt x="143" y="850"/>
                  <a:pt x="143" y="755"/>
                </a:cubicBezTo>
                <a:cubicBezTo>
                  <a:pt x="143" y="676"/>
                  <a:pt x="222" y="596"/>
                  <a:pt x="318" y="59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Freeform: Shape 12">
            <a:extLst>
              <a:ext uri="{FF2B5EF4-FFF2-40B4-BE49-F238E27FC236}">
                <a16:creationId xmlns:a16="http://schemas.microsoft.com/office/drawing/2014/main" id="{A81B7A1B-92C3-D04A-93E9-086D34A31665}"/>
              </a:ext>
            </a:extLst>
          </p:cNvPr>
          <p:cNvSpPr/>
          <p:nvPr/>
        </p:nvSpPr>
        <p:spPr>
          <a:xfrm>
            <a:off x="6008465" y="9860879"/>
            <a:ext cx="1625760" cy="1436759"/>
          </a:xfrm>
          <a:custGeom>
            <a:avLst/>
            <a:gdLst/>
            <a:ahLst/>
            <a:cxnLst>
              <a:cxn ang="3cd4">
                <a:pos x="hc" y="t"/>
              </a:cxn>
              <a:cxn ang="cd2">
                <a:pos x="l" y="vc"/>
              </a:cxn>
              <a:cxn ang="cd4">
                <a:pos x="hc" y="b"/>
              </a:cxn>
              <a:cxn ang="0">
                <a:pos x="r" y="vc"/>
              </a:cxn>
            </a:cxnLst>
            <a:rect l="l" t="t" r="r" b="b"/>
            <a:pathLst>
              <a:path w="4517" h="3992">
                <a:moveTo>
                  <a:pt x="906" y="2640"/>
                </a:moveTo>
                <a:cubicBezTo>
                  <a:pt x="906" y="3388"/>
                  <a:pt x="1511" y="3992"/>
                  <a:pt x="2258" y="3992"/>
                </a:cubicBezTo>
                <a:cubicBezTo>
                  <a:pt x="3021" y="3992"/>
                  <a:pt x="3626" y="3388"/>
                  <a:pt x="3626" y="2640"/>
                </a:cubicBezTo>
                <a:cubicBezTo>
                  <a:pt x="4151" y="2449"/>
                  <a:pt x="4517" y="1940"/>
                  <a:pt x="4517" y="1352"/>
                </a:cubicBezTo>
                <a:cubicBezTo>
                  <a:pt x="4517" y="604"/>
                  <a:pt x="3912" y="0"/>
                  <a:pt x="3165" y="0"/>
                </a:cubicBezTo>
                <a:cubicBezTo>
                  <a:pt x="2815" y="0"/>
                  <a:pt x="2512" y="127"/>
                  <a:pt x="2258" y="334"/>
                </a:cubicBezTo>
                <a:cubicBezTo>
                  <a:pt x="2020" y="127"/>
                  <a:pt x="1717" y="0"/>
                  <a:pt x="1367" y="0"/>
                </a:cubicBezTo>
                <a:cubicBezTo>
                  <a:pt x="620" y="0"/>
                  <a:pt x="0" y="604"/>
                  <a:pt x="0" y="1352"/>
                </a:cubicBezTo>
                <a:cubicBezTo>
                  <a:pt x="0" y="1940"/>
                  <a:pt x="381" y="2449"/>
                  <a:pt x="906" y="2640"/>
                </a:cubicBezTo>
                <a:close/>
                <a:moveTo>
                  <a:pt x="2258" y="3833"/>
                </a:moveTo>
                <a:cubicBezTo>
                  <a:pt x="1622" y="3833"/>
                  <a:pt x="1081" y="3324"/>
                  <a:pt x="1065" y="2672"/>
                </a:cubicBezTo>
                <a:cubicBezTo>
                  <a:pt x="1161" y="2704"/>
                  <a:pt x="1256" y="2719"/>
                  <a:pt x="1367" y="2719"/>
                </a:cubicBezTo>
                <a:cubicBezTo>
                  <a:pt x="1717" y="2719"/>
                  <a:pt x="2020" y="2592"/>
                  <a:pt x="2258" y="2370"/>
                </a:cubicBezTo>
                <a:cubicBezTo>
                  <a:pt x="2512" y="2592"/>
                  <a:pt x="2815" y="2719"/>
                  <a:pt x="3165" y="2719"/>
                </a:cubicBezTo>
                <a:cubicBezTo>
                  <a:pt x="3260" y="2719"/>
                  <a:pt x="3372" y="2704"/>
                  <a:pt x="3467" y="2672"/>
                </a:cubicBezTo>
                <a:cubicBezTo>
                  <a:pt x="3435" y="3324"/>
                  <a:pt x="2910" y="3833"/>
                  <a:pt x="2258" y="3833"/>
                </a:cubicBezTo>
                <a:close/>
                <a:moveTo>
                  <a:pt x="2258" y="2147"/>
                </a:moveTo>
                <a:cubicBezTo>
                  <a:pt x="2099" y="1972"/>
                  <a:pt x="1988" y="1733"/>
                  <a:pt x="1972" y="1463"/>
                </a:cubicBezTo>
                <a:cubicBezTo>
                  <a:pt x="2067" y="1447"/>
                  <a:pt x="2163" y="1431"/>
                  <a:pt x="2258" y="1431"/>
                </a:cubicBezTo>
                <a:cubicBezTo>
                  <a:pt x="2369" y="1431"/>
                  <a:pt x="2465" y="1447"/>
                  <a:pt x="2560" y="1463"/>
                </a:cubicBezTo>
                <a:cubicBezTo>
                  <a:pt x="2545" y="1733"/>
                  <a:pt x="2433" y="1972"/>
                  <a:pt x="2258" y="2147"/>
                </a:cubicBezTo>
                <a:close/>
                <a:moveTo>
                  <a:pt x="2720" y="1526"/>
                </a:moveTo>
                <a:cubicBezTo>
                  <a:pt x="3117" y="1686"/>
                  <a:pt x="3419" y="2067"/>
                  <a:pt x="3467" y="2513"/>
                </a:cubicBezTo>
                <a:cubicBezTo>
                  <a:pt x="3372" y="2544"/>
                  <a:pt x="3260" y="2561"/>
                  <a:pt x="3165" y="2561"/>
                </a:cubicBezTo>
                <a:cubicBezTo>
                  <a:pt x="2863" y="2561"/>
                  <a:pt x="2592" y="2449"/>
                  <a:pt x="2385" y="2258"/>
                </a:cubicBezTo>
                <a:cubicBezTo>
                  <a:pt x="2560" y="2067"/>
                  <a:pt x="2688" y="1797"/>
                  <a:pt x="2720" y="1526"/>
                </a:cubicBezTo>
                <a:close/>
                <a:moveTo>
                  <a:pt x="2147" y="2258"/>
                </a:moveTo>
                <a:cubicBezTo>
                  <a:pt x="1940" y="2449"/>
                  <a:pt x="1670" y="2561"/>
                  <a:pt x="1367" y="2561"/>
                </a:cubicBezTo>
                <a:cubicBezTo>
                  <a:pt x="1272" y="2561"/>
                  <a:pt x="1161" y="2544"/>
                  <a:pt x="1065" y="2513"/>
                </a:cubicBezTo>
                <a:cubicBezTo>
                  <a:pt x="1113" y="2067"/>
                  <a:pt x="1415" y="1686"/>
                  <a:pt x="1813" y="1526"/>
                </a:cubicBezTo>
                <a:cubicBezTo>
                  <a:pt x="1845" y="1797"/>
                  <a:pt x="1972" y="2067"/>
                  <a:pt x="2147" y="2258"/>
                </a:cubicBezTo>
                <a:close/>
                <a:moveTo>
                  <a:pt x="3165" y="143"/>
                </a:moveTo>
                <a:cubicBezTo>
                  <a:pt x="3833" y="143"/>
                  <a:pt x="4358" y="683"/>
                  <a:pt x="4358" y="1352"/>
                </a:cubicBezTo>
                <a:cubicBezTo>
                  <a:pt x="4358" y="1861"/>
                  <a:pt x="4056" y="2290"/>
                  <a:pt x="3610" y="2465"/>
                </a:cubicBezTo>
                <a:cubicBezTo>
                  <a:pt x="3547" y="1956"/>
                  <a:pt x="3197" y="1526"/>
                  <a:pt x="2735" y="1352"/>
                </a:cubicBezTo>
                <a:cubicBezTo>
                  <a:pt x="2735" y="1002"/>
                  <a:pt x="2592" y="683"/>
                  <a:pt x="2385" y="445"/>
                </a:cubicBezTo>
                <a:cubicBezTo>
                  <a:pt x="2592" y="254"/>
                  <a:pt x="2863" y="143"/>
                  <a:pt x="3165" y="143"/>
                </a:cubicBezTo>
                <a:close/>
                <a:moveTo>
                  <a:pt x="2576" y="1304"/>
                </a:moveTo>
                <a:cubicBezTo>
                  <a:pt x="2465" y="1288"/>
                  <a:pt x="2369" y="1272"/>
                  <a:pt x="2258" y="1272"/>
                </a:cubicBezTo>
                <a:cubicBezTo>
                  <a:pt x="2163" y="1272"/>
                  <a:pt x="2051" y="1288"/>
                  <a:pt x="1956" y="1304"/>
                </a:cubicBezTo>
                <a:cubicBezTo>
                  <a:pt x="1972" y="1017"/>
                  <a:pt x="2083" y="763"/>
                  <a:pt x="2258" y="556"/>
                </a:cubicBezTo>
                <a:cubicBezTo>
                  <a:pt x="2449" y="763"/>
                  <a:pt x="2560" y="1017"/>
                  <a:pt x="2576" y="1304"/>
                </a:cubicBezTo>
                <a:close/>
                <a:moveTo>
                  <a:pt x="1367" y="143"/>
                </a:moveTo>
                <a:cubicBezTo>
                  <a:pt x="1670" y="143"/>
                  <a:pt x="1940" y="254"/>
                  <a:pt x="2147" y="445"/>
                </a:cubicBezTo>
                <a:cubicBezTo>
                  <a:pt x="1940" y="683"/>
                  <a:pt x="1797" y="1002"/>
                  <a:pt x="1797" y="1352"/>
                </a:cubicBezTo>
                <a:cubicBezTo>
                  <a:pt x="1336" y="1526"/>
                  <a:pt x="985" y="1956"/>
                  <a:pt x="922" y="2465"/>
                </a:cubicBezTo>
                <a:cubicBezTo>
                  <a:pt x="477" y="2290"/>
                  <a:pt x="158" y="1861"/>
                  <a:pt x="158" y="1352"/>
                </a:cubicBezTo>
                <a:cubicBezTo>
                  <a:pt x="158" y="683"/>
                  <a:pt x="699" y="143"/>
                  <a:pt x="1367" y="14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13">
            <a:extLst>
              <a:ext uri="{FF2B5EF4-FFF2-40B4-BE49-F238E27FC236}">
                <a16:creationId xmlns:a16="http://schemas.microsoft.com/office/drawing/2014/main" id="{2D32D9DA-AB35-DC46-ACA8-BAD4EE2B0593}"/>
              </a:ext>
            </a:extLst>
          </p:cNvPr>
          <p:cNvSpPr/>
          <p:nvPr/>
        </p:nvSpPr>
        <p:spPr>
          <a:xfrm>
            <a:off x="21358620" y="6741961"/>
            <a:ext cx="1356840" cy="1414080"/>
          </a:xfrm>
          <a:custGeom>
            <a:avLst/>
            <a:gdLst/>
            <a:ahLst/>
            <a:cxnLst>
              <a:cxn ang="3cd4">
                <a:pos x="hc" y="t"/>
              </a:cxn>
              <a:cxn ang="cd2">
                <a:pos x="l" y="vc"/>
              </a:cxn>
              <a:cxn ang="cd4">
                <a:pos x="hc" y="b"/>
              </a:cxn>
              <a:cxn ang="0">
                <a:pos x="r" y="vc"/>
              </a:cxn>
            </a:cxnLst>
            <a:rect l="l" t="t" r="r" b="b"/>
            <a:pathLst>
              <a:path w="3770" h="3929">
                <a:moveTo>
                  <a:pt x="732" y="2450"/>
                </a:moveTo>
                <a:cubicBezTo>
                  <a:pt x="334" y="2450"/>
                  <a:pt x="0" y="2784"/>
                  <a:pt x="0" y="3197"/>
                </a:cubicBezTo>
                <a:cubicBezTo>
                  <a:pt x="0" y="3595"/>
                  <a:pt x="334" y="3929"/>
                  <a:pt x="732" y="3929"/>
                </a:cubicBezTo>
                <a:cubicBezTo>
                  <a:pt x="1145" y="3929"/>
                  <a:pt x="1463" y="3595"/>
                  <a:pt x="1463" y="3197"/>
                </a:cubicBezTo>
                <a:cubicBezTo>
                  <a:pt x="1463" y="3086"/>
                  <a:pt x="1447" y="2975"/>
                  <a:pt x="1400" y="2879"/>
                </a:cubicBezTo>
                <a:cubicBezTo>
                  <a:pt x="1527" y="2688"/>
                  <a:pt x="1575" y="2625"/>
                  <a:pt x="1607" y="2593"/>
                </a:cubicBezTo>
                <a:cubicBezTo>
                  <a:pt x="1622" y="2577"/>
                  <a:pt x="1638" y="2577"/>
                  <a:pt x="1654" y="2561"/>
                </a:cubicBezTo>
                <a:cubicBezTo>
                  <a:pt x="1798" y="2625"/>
                  <a:pt x="1972" y="2641"/>
                  <a:pt x="2116" y="2561"/>
                </a:cubicBezTo>
                <a:cubicBezTo>
                  <a:pt x="2131" y="2577"/>
                  <a:pt x="2147" y="2577"/>
                  <a:pt x="2147" y="2593"/>
                </a:cubicBezTo>
                <a:cubicBezTo>
                  <a:pt x="2179" y="2625"/>
                  <a:pt x="2243" y="2688"/>
                  <a:pt x="2370" y="2879"/>
                </a:cubicBezTo>
                <a:cubicBezTo>
                  <a:pt x="2322" y="2975"/>
                  <a:pt x="2290" y="3086"/>
                  <a:pt x="2290" y="3197"/>
                </a:cubicBezTo>
                <a:cubicBezTo>
                  <a:pt x="2290" y="3595"/>
                  <a:pt x="2625" y="3929"/>
                  <a:pt x="3038" y="3929"/>
                </a:cubicBezTo>
                <a:cubicBezTo>
                  <a:pt x="3435" y="3929"/>
                  <a:pt x="3770" y="3595"/>
                  <a:pt x="3770" y="3197"/>
                </a:cubicBezTo>
                <a:cubicBezTo>
                  <a:pt x="3770" y="2784"/>
                  <a:pt x="3435" y="2450"/>
                  <a:pt x="3038" y="2450"/>
                </a:cubicBezTo>
                <a:cubicBezTo>
                  <a:pt x="2943" y="2450"/>
                  <a:pt x="2863" y="2466"/>
                  <a:pt x="2783" y="2498"/>
                </a:cubicBezTo>
                <a:lnTo>
                  <a:pt x="2338" y="2036"/>
                </a:lnTo>
                <a:lnTo>
                  <a:pt x="3261" y="446"/>
                </a:lnTo>
                <a:cubicBezTo>
                  <a:pt x="3277" y="430"/>
                  <a:pt x="3277" y="414"/>
                  <a:pt x="3277" y="398"/>
                </a:cubicBezTo>
                <a:cubicBezTo>
                  <a:pt x="3277" y="207"/>
                  <a:pt x="3102" y="33"/>
                  <a:pt x="3086" y="16"/>
                </a:cubicBezTo>
                <a:cubicBezTo>
                  <a:pt x="3070" y="0"/>
                  <a:pt x="3054" y="0"/>
                  <a:pt x="3022" y="0"/>
                </a:cubicBezTo>
                <a:cubicBezTo>
                  <a:pt x="3006" y="0"/>
                  <a:pt x="2974" y="16"/>
                  <a:pt x="2974" y="33"/>
                </a:cubicBezTo>
                <a:lnTo>
                  <a:pt x="1877" y="1448"/>
                </a:lnTo>
                <a:lnTo>
                  <a:pt x="795" y="33"/>
                </a:lnTo>
                <a:cubicBezTo>
                  <a:pt x="780" y="16"/>
                  <a:pt x="763" y="0"/>
                  <a:pt x="748" y="0"/>
                </a:cubicBezTo>
                <a:cubicBezTo>
                  <a:pt x="716" y="0"/>
                  <a:pt x="700" y="0"/>
                  <a:pt x="684" y="16"/>
                </a:cubicBezTo>
                <a:cubicBezTo>
                  <a:pt x="668" y="33"/>
                  <a:pt x="493" y="207"/>
                  <a:pt x="493" y="398"/>
                </a:cubicBezTo>
                <a:cubicBezTo>
                  <a:pt x="493" y="414"/>
                  <a:pt x="493" y="430"/>
                  <a:pt x="509" y="446"/>
                </a:cubicBezTo>
                <a:lnTo>
                  <a:pt x="1416" y="2052"/>
                </a:lnTo>
                <a:lnTo>
                  <a:pt x="986" y="2498"/>
                </a:lnTo>
                <a:cubicBezTo>
                  <a:pt x="907" y="2466"/>
                  <a:pt x="827" y="2450"/>
                  <a:pt x="732" y="2450"/>
                </a:cubicBezTo>
                <a:close/>
                <a:moveTo>
                  <a:pt x="1066" y="2657"/>
                </a:moveTo>
                <a:lnTo>
                  <a:pt x="1575" y="2116"/>
                </a:lnTo>
                <a:cubicBezTo>
                  <a:pt x="1607" y="2084"/>
                  <a:pt x="1607" y="2052"/>
                  <a:pt x="1590" y="2021"/>
                </a:cubicBezTo>
                <a:lnTo>
                  <a:pt x="652" y="382"/>
                </a:lnTo>
                <a:cubicBezTo>
                  <a:pt x="652" y="319"/>
                  <a:pt x="700" y="255"/>
                  <a:pt x="732" y="207"/>
                </a:cubicBezTo>
                <a:lnTo>
                  <a:pt x="1813" y="1639"/>
                </a:lnTo>
                <a:cubicBezTo>
                  <a:pt x="1829" y="1655"/>
                  <a:pt x="1861" y="1670"/>
                  <a:pt x="1877" y="1670"/>
                </a:cubicBezTo>
                <a:cubicBezTo>
                  <a:pt x="1909" y="1670"/>
                  <a:pt x="1925" y="1655"/>
                  <a:pt x="1941" y="1639"/>
                </a:cubicBezTo>
                <a:lnTo>
                  <a:pt x="3038" y="207"/>
                </a:lnTo>
                <a:cubicBezTo>
                  <a:pt x="3070" y="255"/>
                  <a:pt x="3102" y="319"/>
                  <a:pt x="3117" y="382"/>
                </a:cubicBezTo>
                <a:lnTo>
                  <a:pt x="2163" y="2004"/>
                </a:lnTo>
                <a:cubicBezTo>
                  <a:pt x="2147" y="2036"/>
                  <a:pt x="2147" y="2068"/>
                  <a:pt x="2179" y="2100"/>
                </a:cubicBezTo>
                <a:lnTo>
                  <a:pt x="2704" y="2657"/>
                </a:lnTo>
                <a:cubicBezTo>
                  <a:pt x="2736" y="2673"/>
                  <a:pt x="2768" y="2688"/>
                  <a:pt x="2799" y="2673"/>
                </a:cubicBezTo>
                <a:cubicBezTo>
                  <a:pt x="2879" y="2641"/>
                  <a:pt x="2959" y="2609"/>
                  <a:pt x="3038" y="2609"/>
                </a:cubicBezTo>
                <a:cubicBezTo>
                  <a:pt x="3356" y="2609"/>
                  <a:pt x="3611" y="2879"/>
                  <a:pt x="3611" y="3197"/>
                </a:cubicBezTo>
                <a:cubicBezTo>
                  <a:pt x="3611" y="3515"/>
                  <a:pt x="3356" y="3770"/>
                  <a:pt x="3038" y="3770"/>
                </a:cubicBezTo>
                <a:cubicBezTo>
                  <a:pt x="2720" y="3770"/>
                  <a:pt x="2450" y="3515"/>
                  <a:pt x="2450" y="3197"/>
                </a:cubicBezTo>
                <a:cubicBezTo>
                  <a:pt x="2450" y="3102"/>
                  <a:pt x="2481" y="3007"/>
                  <a:pt x="2529" y="2911"/>
                </a:cubicBezTo>
                <a:cubicBezTo>
                  <a:pt x="2545" y="2879"/>
                  <a:pt x="2545" y="2848"/>
                  <a:pt x="2529" y="2832"/>
                </a:cubicBezTo>
                <a:cubicBezTo>
                  <a:pt x="2402" y="2641"/>
                  <a:pt x="2322" y="2530"/>
                  <a:pt x="2274" y="2482"/>
                </a:cubicBezTo>
                <a:cubicBezTo>
                  <a:pt x="2243" y="2450"/>
                  <a:pt x="2211" y="2434"/>
                  <a:pt x="2163" y="2402"/>
                </a:cubicBezTo>
                <a:cubicBezTo>
                  <a:pt x="2147" y="2402"/>
                  <a:pt x="2131" y="2387"/>
                  <a:pt x="2116" y="2387"/>
                </a:cubicBezTo>
                <a:cubicBezTo>
                  <a:pt x="2105" y="2392"/>
                  <a:pt x="2099" y="2402"/>
                  <a:pt x="2084" y="2402"/>
                </a:cubicBezTo>
                <a:cubicBezTo>
                  <a:pt x="1956" y="2482"/>
                  <a:pt x="1813" y="2482"/>
                  <a:pt x="1686" y="2402"/>
                </a:cubicBezTo>
                <a:cubicBezTo>
                  <a:pt x="1654" y="2387"/>
                  <a:pt x="1622" y="2387"/>
                  <a:pt x="1607" y="2402"/>
                </a:cubicBezTo>
                <a:cubicBezTo>
                  <a:pt x="1559" y="2434"/>
                  <a:pt x="1527" y="2450"/>
                  <a:pt x="1495" y="2482"/>
                </a:cubicBezTo>
                <a:cubicBezTo>
                  <a:pt x="1447" y="2530"/>
                  <a:pt x="1368" y="2657"/>
                  <a:pt x="1241" y="2832"/>
                </a:cubicBezTo>
                <a:cubicBezTo>
                  <a:pt x="1225" y="2848"/>
                  <a:pt x="1225" y="2879"/>
                  <a:pt x="1241" y="2911"/>
                </a:cubicBezTo>
                <a:cubicBezTo>
                  <a:pt x="1289" y="3007"/>
                  <a:pt x="1304" y="3102"/>
                  <a:pt x="1304" y="3197"/>
                </a:cubicBezTo>
                <a:cubicBezTo>
                  <a:pt x="1304" y="3515"/>
                  <a:pt x="1050" y="3770"/>
                  <a:pt x="732" y="3770"/>
                </a:cubicBezTo>
                <a:cubicBezTo>
                  <a:pt x="414" y="3770"/>
                  <a:pt x="159" y="3515"/>
                  <a:pt x="159" y="3197"/>
                </a:cubicBezTo>
                <a:cubicBezTo>
                  <a:pt x="159" y="2879"/>
                  <a:pt x="414" y="2609"/>
                  <a:pt x="732" y="2609"/>
                </a:cubicBezTo>
                <a:cubicBezTo>
                  <a:pt x="811" y="2609"/>
                  <a:pt x="891" y="2641"/>
                  <a:pt x="970" y="2673"/>
                </a:cubicBezTo>
                <a:cubicBezTo>
                  <a:pt x="1002" y="2688"/>
                  <a:pt x="1034" y="2673"/>
                  <a:pt x="1066" y="2657"/>
                </a:cubicBezTo>
                <a:close/>
                <a:moveTo>
                  <a:pt x="350" y="3197"/>
                </a:moveTo>
                <a:cubicBezTo>
                  <a:pt x="350" y="3420"/>
                  <a:pt x="541" y="3595"/>
                  <a:pt x="763" y="3595"/>
                </a:cubicBezTo>
                <a:cubicBezTo>
                  <a:pt x="986" y="3595"/>
                  <a:pt x="1177" y="3420"/>
                  <a:pt x="1177" y="3197"/>
                </a:cubicBezTo>
                <a:cubicBezTo>
                  <a:pt x="1177" y="2975"/>
                  <a:pt x="986" y="2784"/>
                  <a:pt x="763" y="2784"/>
                </a:cubicBezTo>
                <a:cubicBezTo>
                  <a:pt x="541" y="2784"/>
                  <a:pt x="350" y="2975"/>
                  <a:pt x="350" y="3197"/>
                </a:cubicBezTo>
                <a:close/>
                <a:moveTo>
                  <a:pt x="1018" y="3197"/>
                </a:moveTo>
                <a:cubicBezTo>
                  <a:pt x="1018" y="3325"/>
                  <a:pt x="907" y="3436"/>
                  <a:pt x="763" y="3436"/>
                </a:cubicBezTo>
                <a:cubicBezTo>
                  <a:pt x="620" y="3436"/>
                  <a:pt x="509" y="3325"/>
                  <a:pt x="509" y="3197"/>
                </a:cubicBezTo>
                <a:cubicBezTo>
                  <a:pt x="509" y="3054"/>
                  <a:pt x="620" y="2943"/>
                  <a:pt x="763" y="2943"/>
                </a:cubicBezTo>
                <a:cubicBezTo>
                  <a:pt x="907" y="2943"/>
                  <a:pt x="1018" y="3054"/>
                  <a:pt x="1018" y="3197"/>
                </a:cubicBezTo>
                <a:close/>
                <a:moveTo>
                  <a:pt x="3054" y="3595"/>
                </a:moveTo>
                <a:cubicBezTo>
                  <a:pt x="3277" y="3595"/>
                  <a:pt x="3468" y="3420"/>
                  <a:pt x="3468" y="3197"/>
                </a:cubicBezTo>
                <a:cubicBezTo>
                  <a:pt x="3468" y="2975"/>
                  <a:pt x="3277" y="2784"/>
                  <a:pt x="3054" y="2784"/>
                </a:cubicBezTo>
                <a:cubicBezTo>
                  <a:pt x="2831" y="2784"/>
                  <a:pt x="2656" y="2975"/>
                  <a:pt x="2656" y="3197"/>
                </a:cubicBezTo>
                <a:cubicBezTo>
                  <a:pt x="2656" y="3420"/>
                  <a:pt x="2831" y="3595"/>
                  <a:pt x="3054" y="3595"/>
                </a:cubicBezTo>
                <a:close/>
                <a:moveTo>
                  <a:pt x="3054" y="2943"/>
                </a:moveTo>
                <a:cubicBezTo>
                  <a:pt x="3197" y="2943"/>
                  <a:pt x="3308" y="3054"/>
                  <a:pt x="3308" y="3197"/>
                </a:cubicBezTo>
                <a:cubicBezTo>
                  <a:pt x="3308" y="3325"/>
                  <a:pt x="3197" y="3436"/>
                  <a:pt x="3054" y="3436"/>
                </a:cubicBezTo>
                <a:cubicBezTo>
                  <a:pt x="2927" y="3436"/>
                  <a:pt x="2816" y="3325"/>
                  <a:pt x="2816" y="3197"/>
                </a:cubicBezTo>
                <a:cubicBezTo>
                  <a:pt x="2816" y="3054"/>
                  <a:pt x="2927" y="2943"/>
                  <a:pt x="3054" y="294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0" name="Freeform: Shape 14">
            <a:extLst>
              <a:ext uri="{FF2B5EF4-FFF2-40B4-BE49-F238E27FC236}">
                <a16:creationId xmlns:a16="http://schemas.microsoft.com/office/drawing/2014/main" id="{CFA0DB78-682D-E943-AE79-E1F73419F443}"/>
              </a:ext>
            </a:extLst>
          </p:cNvPr>
          <p:cNvSpPr/>
          <p:nvPr/>
        </p:nvSpPr>
        <p:spPr>
          <a:xfrm>
            <a:off x="1795560" y="3348109"/>
            <a:ext cx="1617120" cy="1689119"/>
          </a:xfrm>
          <a:custGeom>
            <a:avLst/>
            <a:gdLst/>
            <a:ahLst/>
            <a:cxnLst>
              <a:cxn ang="3cd4">
                <a:pos x="hc" y="t"/>
              </a:cxn>
              <a:cxn ang="cd2">
                <a:pos x="l" y="vc"/>
              </a:cxn>
              <a:cxn ang="cd4">
                <a:pos x="hc" y="b"/>
              </a:cxn>
              <a:cxn ang="0">
                <a:pos x="r" y="vc"/>
              </a:cxn>
            </a:cxnLst>
            <a:rect l="l" t="t" r="r" b="b"/>
            <a:pathLst>
              <a:path w="4493" h="4693">
                <a:moveTo>
                  <a:pt x="4046" y="4613"/>
                </a:moveTo>
                <a:cubicBezTo>
                  <a:pt x="4046" y="4565"/>
                  <a:pt x="4013" y="4533"/>
                  <a:pt x="3966" y="4533"/>
                </a:cubicBezTo>
                <a:lnTo>
                  <a:pt x="483" y="4533"/>
                </a:lnTo>
                <a:cubicBezTo>
                  <a:pt x="435" y="4533"/>
                  <a:pt x="403" y="4565"/>
                  <a:pt x="403" y="4613"/>
                </a:cubicBezTo>
                <a:cubicBezTo>
                  <a:pt x="403" y="4661"/>
                  <a:pt x="435" y="4693"/>
                  <a:pt x="483" y="4693"/>
                </a:cubicBezTo>
                <a:lnTo>
                  <a:pt x="3966" y="4693"/>
                </a:lnTo>
                <a:cubicBezTo>
                  <a:pt x="4013" y="4693"/>
                  <a:pt x="4046" y="4661"/>
                  <a:pt x="4046" y="4613"/>
                </a:cubicBezTo>
                <a:close/>
                <a:moveTo>
                  <a:pt x="3966" y="4215"/>
                </a:moveTo>
                <a:lnTo>
                  <a:pt x="483" y="4215"/>
                </a:lnTo>
                <a:cubicBezTo>
                  <a:pt x="435" y="4215"/>
                  <a:pt x="403" y="4247"/>
                  <a:pt x="403" y="4295"/>
                </a:cubicBezTo>
                <a:cubicBezTo>
                  <a:pt x="403" y="4343"/>
                  <a:pt x="435" y="4375"/>
                  <a:pt x="483" y="4375"/>
                </a:cubicBezTo>
                <a:lnTo>
                  <a:pt x="3966" y="4375"/>
                </a:lnTo>
                <a:cubicBezTo>
                  <a:pt x="4013" y="4375"/>
                  <a:pt x="4046" y="4343"/>
                  <a:pt x="4046" y="4295"/>
                </a:cubicBezTo>
                <a:cubicBezTo>
                  <a:pt x="4046" y="4247"/>
                  <a:pt x="4013" y="4215"/>
                  <a:pt x="3966" y="4215"/>
                </a:cubicBezTo>
                <a:close/>
                <a:moveTo>
                  <a:pt x="420" y="3929"/>
                </a:moveTo>
                <a:cubicBezTo>
                  <a:pt x="404" y="3945"/>
                  <a:pt x="388" y="3977"/>
                  <a:pt x="404" y="4009"/>
                </a:cubicBezTo>
                <a:cubicBezTo>
                  <a:pt x="420" y="4041"/>
                  <a:pt x="452" y="4056"/>
                  <a:pt x="484" y="4056"/>
                </a:cubicBezTo>
                <a:lnTo>
                  <a:pt x="3967" y="4056"/>
                </a:lnTo>
                <a:cubicBezTo>
                  <a:pt x="3999" y="4056"/>
                  <a:pt x="4030" y="4041"/>
                  <a:pt x="4047" y="4009"/>
                </a:cubicBezTo>
                <a:cubicBezTo>
                  <a:pt x="4062" y="3977"/>
                  <a:pt x="4047" y="3945"/>
                  <a:pt x="4030" y="3929"/>
                </a:cubicBezTo>
                <a:cubicBezTo>
                  <a:pt x="4014" y="3897"/>
                  <a:pt x="3617" y="3388"/>
                  <a:pt x="4301" y="2402"/>
                </a:cubicBezTo>
                <a:cubicBezTo>
                  <a:pt x="4619" y="1941"/>
                  <a:pt x="4476" y="1623"/>
                  <a:pt x="4348" y="1464"/>
                </a:cubicBezTo>
                <a:cubicBezTo>
                  <a:pt x="4078" y="1114"/>
                  <a:pt x="3458" y="955"/>
                  <a:pt x="2933" y="1114"/>
                </a:cubicBezTo>
                <a:cubicBezTo>
                  <a:pt x="2821" y="875"/>
                  <a:pt x="2583" y="716"/>
                  <a:pt x="2329" y="684"/>
                </a:cubicBezTo>
                <a:lnTo>
                  <a:pt x="2329" y="398"/>
                </a:lnTo>
                <a:lnTo>
                  <a:pt x="2488" y="398"/>
                </a:lnTo>
                <a:cubicBezTo>
                  <a:pt x="2520" y="398"/>
                  <a:pt x="2567" y="366"/>
                  <a:pt x="2567" y="319"/>
                </a:cubicBezTo>
                <a:cubicBezTo>
                  <a:pt x="2567" y="271"/>
                  <a:pt x="2520" y="239"/>
                  <a:pt x="2488" y="239"/>
                </a:cubicBezTo>
                <a:lnTo>
                  <a:pt x="2329" y="239"/>
                </a:lnTo>
                <a:lnTo>
                  <a:pt x="2329" y="80"/>
                </a:lnTo>
                <a:cubicBezTo>
                  <a:pt x="2329" y="32"/>
                  <a:pt x="2281" y="0"/>
                  <a:pt x="2249" y="0"/>
                </a:cubicBezTo>
                <a:cubicBezTo>
                  <a:pt x="2201" y="0"/>
                  <a:pt x="2169" y="32"/>
                  <a:pt x="2169" y="80"/>
                </a:cubicBezTo>
                <a:lnTo>
                  <a:pt x="2169" y="239"/>
                </a:lnTo>
                <a:lnTo>
                  <a:pt x="2011" y="239"/>
                </a:lnTo>
                <a:cubicBezTo>
                  <a:pt x="1963" y="239"/>
                  <a:pt x="1931" y="271"/>
                  <a:pt x="1931" y="319"/>
                </a:cubicBezTo>
                <a:cubicBezTo>
                  <a:pt x="1931" y="366"/>
                  <a:pt x="1963" y="398"/>
                  <a:pt x="2011" y="398"/>
                </a:cubicBezTo>
                <a:lnTo>
                  <a:pt x="2169" y="398"/>
                </a:lnTo>
                <a:lnTo>
                  <a:pt x="2169" y="684"/>
                </a:lnTo>
                <a:cubicBezTo>
                  <a:pt x="1899" y="716"/>
                  <a:pt x="1660" y="875"/>
                  <a:pt x="1549" y="1114"/>
                </a:cubicBezTo>
                <a:cubicBezTo>
                  <a:pt x="1040" y="955"/>
                  <a:pt x="404" y="1114"/>
                  <a:pt x="133" y="1464"/>
                </a:cubicBezTo>
                <a:cubicBezTo>
                  <a:pt x="22" y="1623"/>
                  <a:pt x="-121" y="1941"/>
                  <a:pt x="181" y="2402"/>
                </a:cubicBezTo>
                <a:cubicBezTo>
                  <a:pt x="865" y="3388"/>
                  <a:pt x="436" y="3897"/>
                  <a:pt x="420" y="3929"/>
                </a:cubicBezTo>
                <a:close/>
                <a:moveTo>
                  <a:pt x="2249" y="843"/>
                </a:moveTo>
                <a:cubicBezTo>
                  <a:pt x="2472" y="843"/>
                  <a:pt x="2678" y="971"/>
                  <a:pt x="2790" y="1178"/>
                </a:cubicBezTo>
                <a:cubicBezTo>
                  <a:pt x="2535" y="1305"/>
                  <a:pt x="2345" y="1512"/>
                  <a:pt x="2249" y="1782"/>
                </a:cubicBezTo>
                <a:cubicBezTo>
                  <a:pt x="2154" y="1512"/>
                  <a:pt x="1963" y="1305"/>
                  <a:pt x="1692" y="1178"/>
                </a:cubicBezTo>
                <a:cubicBezTo>
                  <a:pt x="1803" y="971"/>
                  <a:pt x="2011" y="843"/>
                  <a:pt x="2249" y="843"/>
                </a:cubicBezTo>
                <a:close/>
                <a:moveTo>
                  <a:pt x="261" y="1559"/>
                </a:moveTo>
                <a:cubicBezTo>
                  <a:pt x="499" y="1257"/>
                  <a:pt x="1056" y="1114"/>
                  <a:pt x="1517" y="1273"/>
                </a:cubicBezTo>
                <a:cubicBezTo>
                  <a:pt x="1533" y="1273"/>
                  <a:pt x="1549" y="1289"/>
                  <a:pt x="1565" y="1289"/>
                </a:cubicBezTo>
                <a:cubicBezTo>
                  <a:pt x="1820" y="1384"/>
                  <a:pt x="2169" y="1639"/>
                  <a:pt x="2169" y="2259"/>
                </a:cubicBezTo>
                <a:cubicBezTo>
                  <a:pt x="2169" y="2291"/>
                  <a:pt x="2201" y="2339"/>
                  <a:pt x="2249" y="2339"/>
                </a:cubicBezTo>
                <a:cubicBezTo>
                  <a:pt x="2281" y="2339"/>
                  <a:pt x="2329" y="2291"/>
                  <a:pt x="2329" y="2259"/>
                </a:cubicBezTo>
                <a:cubicBezTo>
                  <a:pt x="2329" y="1591"/>
                  <a:pt x="2726" y="1352"/>
                  <a:pt x="2981" y="1273"/>
                </a:cubicBezTo>
                <a:cubicBezTo>
                  <a:pt x="3426" y="1114"/>
                  <a:pt x="3999" y="1257"/>
                  <a:pt x="4221" y="1559"/>
                </a:cubicBezTo>
                <a:cubicBezTo>
                  <a:pt x="4380" y="1766"/>
                  <a:pt x="4365" y="2036"/>
                  <a:pt x="4174" y="2307"/>
                </a:cubicBezTo>
                <a:cubicBezTo>
                  <a:pt x="3617" y="3118"/>
                  <a:pt x="3728" y="3659"/>
                  <a:pt x="3839" y="3897"/>
                </a:cubicBezTo>
                <a:lnTo>
                  <a:pt x="627" y="3897"/>
                </a:lnTo>
                <a:cubicBezTo>
                  <a:pt x="738" y="3659"/>
                  <a:pt x="881" y="3118"/>
                  <a:pt x="309" y="2307"/>
                </a:cubicBezTo>
                <a:cubicBezTo>
                  <a:pt x="118" y="2036"/>
                  <a:pt x="102" y="1766"/>
                  <a:pt x="261" y="15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6" name="Freeform: Shape 15">
            <a:extLst>
              <a:ext uri="{FF2B5EF4-FFF2-40B4-BE49-F238E27FC236}">
                <a16:creationId xmlns:a16="http://schemas.microsoft.com/office/drawing/2014/main" id="{E62AFC1A-5890-D74E-A6CB-6C3CB9B4E3A2}"/>
              </a:ext>
            </a:extLst>
          </p:cNvPr>
          <p:cNvSpPr/>
          <p:nvPr/>
        </p:nvSpPr>
        <p:spPr>
          <a:xfrm>
            <a:off x="5853665" y="3370788"/>
            <a:ext cx="1780560" cy="1643399"/>
          </a:xfrm>
          <a:custGeom>
            <a:avLst/>
            <a:gdLst/>
            <a:ahLst/>
            <a:cxnLst>
              <a:cxn ang="3cd4">
                <a:pos x="hc" y="t"/>
              </a:cxn>
              <a:cxn ang="cd2">
                <a:pos x="l" y="vc"/>
              </a:cxn>
              <a:cxn ang="cd4">
                <a:pos x="hc" y="b"/>
              </a:cxn>
              <a:cxn ang="0">
                <a:pos x="r" y="vc"/>
              </a:cxn>
            </a:cxnLst>
            <a:rect l="l" t="t" r="r" b="b"/>
            <a:pathLst>
              <a:path w="4947" h="4566">
                <a:moveTo>
                  <a:pt x="4152" y="4566"/>
                </a:moveTo>
                <a:lnTo>
                  <a:pt x="4168" y="4566"/>
                </a:lnTo>
                <a:cubicBezTo>
                  <a:pt x="4200" y="4566"/>
                  <a:pt x="4232" y="4550"/>
                  <a:pt x="4247" y="4502"/>
                </a:cubicBezTo>
                <a:lnTo>
                  <a:pt x="4947" y="1083"/>
                </a:lnTo>
                <a:cubicBezTo>
                  <a:pt x="4947" y="1035"/>
                  <a:pt x="4915" y="1003"/>
                  <a:pt x="4884" y="987"/>
                </a:cubicBezTo>
                <a:cubicBezTo>
                  <a:pt x="4836" y="987"/>
                  <a:pt x="4788" y="1003"/>
                  <a:pt x="4788" y="1051"/>
                </a:cubicBezTo>
                <a:lnTo>
                  <a:pt x="4088" y="4470"/>
                </a:lnTo>
                <a:cubicBezTo>
                  <a:pt x="4072" y="4518"/>
                  <a:pt x="4104" y="4566"/>
                  <a:pt x="4152" y="4566"/>
                </a:cubicBezTo>
                <a:close/>
                <a:moveTo>
                  <a:pt x="3834" y="4502"/>
                </a:moveTo>
                <a:lnTo>
                  <a:pt x="3850" y="4502"/>
                </a:lnTo>
                <a:cubicBezTo>
                  <a:pt x="3897" y="4502"/>
                  <a:pt x="3929" y="4487"/>
                  <a:pt x="3929" y="4439"/>
                </a:cubicBezTo>
                <a:lnTo>
                  <a:pt x="4629" y="1019"/>
                </a:lnTo>
                <a:cubicBezTo>
                  <a:pt x="4645" y="971"/>
                  <a:pt x="4613" y="940"/>
                  <a:pt x="4566" y="924"/>
                </a:cubicBezTo>
                <a:cubicBezTo>
                  <a:pt x="4518" y="924"/>
                  <a:pt x="4486" y="940"/>
                  <a:pt x="4470" y="987"/>
                </a:cubicBezTo>
                <a:lnTo>
                  <a:pt x="3770" y="4407"/>
                </a:lnTo>
                <a:cubicBezTo>
                  <a:pt x="3770" y="4455"/>
                  <a:pt x="3802" y="4502"/>
                  <a:pt x="3834" y="4502"/>
                </a:cubicBezTo>
                <a:close/>
                <a:moveTo>
                  <a:pt x="191" y="2116"/>
                </a:moveTo>
                <a:cubicBezTo>
                  <a:pt x="176" y="2164"/>
                  <a:pt x="207" y="2212"/>
                  <a:pt x="255" y="2212"/>
                </a:cubicBezTo>
                <a:lnTo>
                  <a:pt x="271" y="2212"/>
                </a:lnTo>
                <a:cubicBezTo>
                  <a:pt x="303" y="2212"/>
                  <a:pt x="334" y="2196"/>
                  <a:pt x="351" y="2148"/>
                </a:cubicBezTo>
                <a:lnTo>
                  <a:pt x="382" y="2005"/>
                </a:lnTo>
                <a:lnTo>
                  <a:pt x="669" y="2053"/>
                </a:lnTo>
                <a:cubicBezTo>
                  <a:pt x="637" y="2324"/>
                  <a:pt x="748" y="2578"/>
                  <a:pt x="955" y="2737"/>
                </a:cubicBezTo>
                <a:cubicBezTo>
                  <a:pt x="685" y="3214"/>
                  <a:pt x="716" y="3866"/>
                  <a:pt x="1018" y="4200"/>
                </a:cubicBezTo>
                <a:cubicBezTo>
                  <a:pt x="1146" y="4343"/>
                  <a:pt x="1432" y="4550"/>
                  <a:pt x="1941" y="4343"/>
                </a:cubicBezTo>
                <a:cubicBezTo>
                  <a:pt x="3039" y="3866"/>
                  <a:pt x="3468" y="4391"/>
                  <a:pt x="3484" y="4407"/>
                </a:cubicBezTo>
                <a:cubicBezTo>
                  <a:pt x="3500" y="4423"/>
                  <a:pt x="3516" y="4439"/>
                  <a:pt x="3548" y="4439"/>
                </a:cubicBezTo>
                <a:lnTo>
                  <a:pt x="3563" y="4439"/>
                </a:lnTo>
                <a:cubicBezTo>
                  <a:pt x="3595" y="4439"/>
                  <a:pt x="3611" y="4407"/>
                  <a:pt x="3627" y="4375"/>
                </a:cubicBezTo>
                <a:lnTo>
                  <a:pt x="4311" y="955"/>
                </a:lnTo>
                <a:cubicBezTo>
                  <a:pt x="4327" y="924"/>
                  <a:pt x="4311" y="892"/>
                  <a:pt x="4295" y="876"/>
                </a:cubicBezTo>
                <a:cubicBezTo>
                  <a:pt x="4263" y="860"/>
                  <a:pt x="4232" y="860"/>
                  <a:pt x="4200" y="876"/>
                </a:cubicBezTo>
                <a:cubicBezTo>
                  <a:pt x="4184" y="876"/>
                  <a:pt x="3595" y="1162"/>
                  <a:pt x="2768" y="303"/>
                </a:cubicBezTo>
                <a:cubicBezTo>
                  <a:pt x="2387" y="-94"/>
                  <a:pt x="2036" y="-15"/>
                  <a:pt x="1861" y="65"/>
                </a:cubicBezTo>
                <a:cubicBezTo>
                  <a:pt x="1448" y="256"/>
                  <a:pt x="1178" y="844"/>
                  <a:pt x="1241" y="1385"/>
                </a:cubicBezTo>
                <a:cubicBezTo>
                  <a:pt x="971" y="1449"/>
                  <a:pt x="780" y="1639"/>
                  <a:pt x="685" y="1894"/>
                </a:cubicBezTo>
                <a:lnTo>
                  <a:pt x="414" y="1846"/>
                </a:lnTo>
                <a:lnTo>
                  <a:pt x="446" y="1687"/>
                </a:lnTo>
                <a:cubicBezTo>
                  <a:pt x="446" y="1639"/>
                  <a:pt x="430" y="1607"/>
                  <a:pt x="382" y="1592"/>
                </a:cubicBezTo>
                <a:cubicBezTo>
                  <a:pt x="334" y="1592"/>
                  <a:pt x="287" y="1607"/>
                  <a:pt x="287" y="1655"/>
                </a:cubicBezTo>
                <a:lnTo>
                  <a:pt x="255" y="1815"/>
                </a:lnTo>
                <a:lnTo>
                  <a:pt x="96" y="1782"/>
                </a:lnTo>
                <a:cubicBezTo>
                  <a:pt x="48" y="1767"/>
                  <a:pt x="16" y="1798"/>
                  <a:pt x="0" y="1846"/>
                </a:cubicBezTo>
                <a:cubicBezTo>
                  <a:pt x="0" y="1878"/>
                  <a:pt x="16" y="1925"/>
                  <a:pt x="64" y="1942"/>
                </a:cubicBezTo>
                <a:lnTo>
                  <a:pt x="223" y="1973"/>
                </a:lnTo>
                <a:close/>
                <a:moveTo>
                  <a:pt x="1925" y="208"/>
                </a:moveTo>
                <a:cubicBezTo>
                  <a:pt x="2164" y="97"/>
                  <a:pt x="2418" y="160"/>
                  <a:pt x="2641" y="415"/>
                </a:cubicBezTo>
                <a:cubicBezTo>
                  <a:pt x="3341" y="1115"/>
                  <a:pt x="3881" y="1115"/>
                  <a:pt x="4136" y="1051"/>
                </a:cubicBezTo>
                <a:lnTo>
                  <a:pt x="3500" y="4200"/>
                </a:lnTo>
                <a:cubicBezTo>
                  <a:pt x="3293" y="4041"/>
                  <a:pt x="2784" y="3803"/>
                  <a:pt x="1878" y="4200"/>
                </a:cubicBezTo>
                <a:cubicBezTo>
                  <a:pt x="1559" y="4327"/>
                  <a:pt x="1305" y="4296"/>
                  <a:pt x="1130" y="4089"/>
                </a:cubicBezTo>
                <a:cubicBezTo>
                  <a:pt x="875" y="3803"/>
                  <a:pt x="860" y="3230"/>
                  <a:pt x="1098" y="2816"/>
                </a:cubicBezTo>
                <a:cubicBezTo>
                  <a:pt x="1114" y="2800"/>
                  <a:pt x="1114" y="2785"/>
                  <a:pt x="1130" y="2769"/>
                </a:cubicBezTo>
                <a:cubicBezTo>
                  <a:pt x="1257" y="2578"/>
                  <a:pt x="1496" y="2339"/>
                  <a:pt x="1925" y="2339"/>
                </a:cubicBezTo>
                <a:cubicBezTo>
                  <a:pt x="2005" y="2339"/>
                  <a:pt x="2100" y="2355"/>
                  <a:pt x="2196" y="2371"/>
                </a:cubicBezTo>
                <a:cubicBezTo>
                  <a:pt x="2227" y="2371"/>
                  <a:pt x="2275" y="2355"/>
                  <a:pt x="2291" y="2307"/>
                </a:cubicBezTo>
                <a:lnTo>
                  <a:pt x="2291" y="2291"/>
                </a:lnTo>
                <a:cubicBezTo>
                  <a:pt x="2291" y="2260"/>
                  <a:pt x="2259" y="2212"/>
                  <a:pt x="2227" y="2212"/>
                </a:cubicBezTo>
                <a:cubicBezTo>
                  <a:pt x="1575" y="2085"/>
                  <a:pt x="1432" y="1624"/>
                  <a:pt x="1400" y="1369"/>
                </a:cubicBezTo>
                <a:cubicBezTo>
                  <a:pt x="1337" y="908"/>
                  <a:pt x="1575" y="383"/>
                  <a:pt x="1925" y="208"/>
                </a:cubicBezTo>
                <a:close/>
                <a:moveTo>
                  <a:pt x="828" y="2005"/>
                </a:moveTo>
                <a:cubicBezTo>
                  <a:pt x="875" y="1782"/>
                  <a:pt x="1050" y="1607"/>
                  <a:pt x="1257" y="1544"/>
                </a:cubicBezTo>
                <a:cubicBezTo>
                  <a:pt x="1337" y="1815"/>
                  <a:pt x="1496" y="2037"/>
                  <a:pt x="1734" y="2196"/>
                </a:cubicBezTo>
                <a:cubicBezTo>
                  <a:pt x="1464" y="2244"/>
                  <a:pt x="1225" y="2387"/>
                  <a:pt x="1050" y="2610"/>
                </a:cubicBezTo>
                <a:cubicBezTo>
                  <a:pt x="875" y="2467"/>
                  <a:pt x="780" y="2228"/>
                  <a:pt x="828" y="200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7" name="Freeform: Shape 16">
            <a:extLst>
              <a:ext uri="{FF2B5EF4-FFF2-40B4-BE49-F238E27FC236}">
                <a16:creationId xmlns:a16="http://schemas.microsoft.com/office/drawing/2014/main" id="{E943AEC0-1553-8944-8EAD-35A80527EBEE}"/>
              </a:ext>
            </a:extLst>
          </p:cNvPr>
          <p:cNvSpPr/>
          <p:nvPr/>
        </p:nvSpPr>
        <p:spPr>
          <a:xfrm>
            <a:off x="1695120" y="6926992"/>
            <a:ext cx="1717560" cy="1196640"/>
          </a:xfrm>
          <a:custGeom>
            <a:avLst/>
            <a:gdLst/>
            <a:ahLst/>
            <a:cxnLst>
              <a:cxn ang="3cd4">
                <a:pos x="hc" y="t"/>
              </a:cxn>
              <a:cxn ang="cd2">
                <a:pos x="l" y="vc"/>
              </a:cxn>
              <a:cxn ang="cd4">
                <a:pos x="hc" y="b"/>
              </a:cxn>
              <a:cxn ang="0">
                <a:pos x="r" y="vc"/>
              </a:cxn>
            </a:cxnLst>
            <a:rect l="l" t="t" r="r" b="b"/>
            <a:pathLst>
              <a:path w="4772" h="3325">
                <a:moveTo>
                  <a:pt x="1400" y="1209"/>
                </a:moveTo>
                <a:cubicBezTo>
                  <a:pt x="971" y="1209"/>
                  <a:pt x="621" y="1559"/>
                  <a:pt x="621" y="1973"/>
                </a:cubicBezTo>
                <a:cubicBezTo>
                  <a:pt x="621" y="2402"/>
                  <a:pt x="971" y="2752"/>
                  <a:pt x="1400" y="2752"/>
                </a:cubicBezTo>
                <a:cubicBezTo>
                  <a:pt x="1814" y="2752"/>
                  <a:pt x="2163" y="2402"/>
                  <a:pt x="2163" y="1973"/>
                </a:cubicBezTo>
                <a:cubicBezTo>
                  <a:pt x="2163" y="1559"/>
                  <a:pt x="1814" y="1209"/>
                  <a:pt x="1400" y="1209"/>
                </a:cubicBezTo>
                <a:close/>
                <a:moveTo>
                  <a:pt x="1400" y="2593"/>
                </a:moveTo>
                <a:cubicBezTo>
                  <a:pt x="1050" y="2593"/>
                  <a:pt x="780" y="2322"/>
                  <a:pt x="780" y="1973"/>
                </a:cubicBezTo>
                <a:cubicBezTo>
                  <a:pt x="780" y="1639"/>
                  <a:pt x="1050" y="1368"/>
                  <a:pt x="1400" y="1368"/>
                </a:cubicBezTo>
                <a:cubicBezTo>
                  <a:pt x="1734" y="1368"/>
                  <a:pt x="2005" y="1639"/>
                  <a:pt x="2005" y="1973"/>
                </a:cubicBezTo>
                <a:cubicBezTo>
                  <a:pt x="2005" y="2322"/>
                  <a:pt x="1734" y="2593"/>
                  <a:pt x="1400" y="2593"/>
                </a:cubicBezTo>
                <a:close/>
                <a:moveTo>
                  <a:pt x="2609" y="1973"/>
                </a:moveTo>
                <a:cubicBezTo>
                  <a:pt x="2609" y="2402"/>
                  <a:pt x="2959" y="2752"/>
                  <a:pt x="3372" y="2752"/>
                </a:cubicBezTo>
                <a:cubicBezTo>
                  <a:pt x="3802" y="2752"/>
                  <a:pt x="4152" y="2402"/>
                  <a:pt x="4152" y="1973"/>
                </a:cubicBezTo>
                <a:cubicBezTo>
                  <a:pt x="4152" y="1559"/>
                  <a:pt x="3802" y="1209"/>
                  <a:pt x="3372" y="1209"/>
                </a:cubicBezTo>
                <a:cubicBezTo>
                  <a:pt x="2959" y="1209"/>
                  <a:pt x="2609" y="1559"/>
                  <a:pt x="2609" y="1973"/>
                </a:cubicBezTo>
                <a:close/>
                <a:moveTo>
                  <a:pt x="3993" y="1973"/>
                </a:moveTo>
                <a:cubicBezTo>
                  <a:pt x="3993" y="2322"/>
                  <a:pt x="3722" y="2593"/>
                  <a:pt x="3372" y="2593"/>
                </a:cubicBezTo>
                <a:cubicBezTo>
                  <a:pt x="3038" y="2593"/>
                  <a:pt x="2768" y="2322"/>
                  <a:pt x="2768" y="1973"/>
                </a:cubicBezTo>
                <a:cubicBezTo>
                  <a:pt x="2768" y="1639"/>
                  <a:pt x="3038" y="1368"/>
                  <a:pt x="3372" y="1368"/>
                </a:cubicBezTo>
                <a:cubicBezTo>
                  <a:pt x="3722" y="1368"/>
                  <a:pt x="3993" y="1639"/>
                  <a:pt x="3993" y="1973"/>
                </a:cubicBezTo>
                <a:close/>
                <a:moveTo>
                  <a:pt x="1639" y="1623"/>
                </a:moveTo>
                <a:lnTo>
                  <a:pt x="1336" y="1925"/>
                </a:lnTo>
                <a:cubicBezTo>
                  <a:pt x="1305" y="1957"/>
                  <a:pt x="1305" y="2004"/>
                  <a:pt x="1336" y="2036"/>
                </a:cubicBezTo>
                <a:cubicBezTo>
                  <a:pt x="1353" y="2052"/>
                  <a:pt x="1368" y="2052"/>
                  <a:pt x="1400" y="2052"/>
                </a:cubicBezTo>
                <a:cubicBezTo>
                  <a:pt x="1416" y="2052"/>
                  <a:pt x="1432" y="2052"/>
                  <a:pt x="1448" y="2036"/>
                </a:cubicBezTo>
                <a:lnTo>
                  <a:pt x="1750" y="1734"/>
                </a:lnTo>
                <a:cubicBezTo>
                  <a:pt x="1782" y="1703"/>
                  <a:pt x="1782" y="1655"/>
                  <a:pt x="1750" y="1623"/>
                </a:cubicBezTo>
                <a:cubicBezTo>
                  <a:pt x="1718" y="1591"/>
                  <a:pt x="1671" y="1591"/>
                  <a:pt x="1639" y="1623"/>
                </a:cubicBezTo>
                <a:close/>
                <a:moveTo>
                  <a:pt x="3023" y="1623"/>
                </a:moveTo>
                <a:cubicBezTo>
                  <a:pt x="2990" y="1655"/>
                  <a:pt x="2990" y="1703"/>
                  <a:pt x="3023" y="1734"/>
                </a:cubicBezTo>
                <a:lnTo>
                  <a:pt x="3325" y="2036"/>
                </a:lnTo>
                <a:cubicBezTo>
                  <a:pt x="3341" y="2052"/>
                  <a:pt x="3356" y="2052"/>
                  <a:pt x="3372" y="2052"/>
                </a:cubicBezTo>
                <a:cubicBezTo>
                  <a:pt x="3404" y="2052"/>
                  <a:pt x="3420" y="2052"/>
                  <a:pt x="3436" y="2036"/>
                </a:cubicBezTo>
                <a:cubicBezTo>
                  <a:pt x="3468" y="2004"/>
                  <a:pt x="3468" y="1957"/>
                  <a:pt x="3436" y="1925"/>
                </a:cubicBezTo>
                <a:lnTo>
                  <a:pt x="3134" y="1623"/>
                </a:lnTo>
                <a:cubicBezTo>
                  <a:pt x="3102" y="1591"/>
                  <a:pt x="3054" y="1591"/>
                  <a:pt x="3023" y="1623"/>
                </a:cubicBezTo>
                <a:close/>
                <a:moveTo>
                  <a:pt x="4772" y="3245"/>
                </a:moveTo>
                <a:lnTo>
                  <a:pt x="4772" y="716"/>
                </a:lnTo>
                <a:cubicBezTo>
                  <a:pt x="4772" y="668"/>
                  <a:pt x="4740" y="637"/>
                  <a:pt x="4693" y="637"/>
                </a:cubicBezTo>
                <a:lnTo>
                  <a:pt x="3818" y="637"/>
                </a:lnTo>
                <a:lnTo>
                  <a:pt x="3818" y="159"/>
                </a:lnTo>
                <a:lnTo>
                  <a:pt x="3977" y="159"/>
                </a:lnTo>
                <a:cubicBezTo>
                  <a:pt x="4025" y="159"/>
                  <a:pt x="4056" y="112"/>
                  <a:pt x="4056" y="80"/>
                </a:cubicBezTo>
                <a:cubicBezTo>
                  <a:pt x="4056" y="32"/>
                  <a:pt x="4025" y="0"/>
                  <a:pt x="3977" y="0"/>
                </a:cubicBezTo>
                <a:lnTo>
                  <a:pt x="3738" y="0"/>
                </a:lnTo>
                <a:lnTo>
                  <a:pt x="3102" y="0"/>
                </a:lnTo>
                <a:lnTo>
                  <a:pt x="2863" y="0"/>
                </a:lnTo>
                <a:cubicBezTo>
                  <a:pt x="2816" y="0"/>
                  <a:pt x="2784" y="32"/>
                  <a:pt x="2784" y="80"/>
                </a:cubicBezTo>
                <a:cubicBezTo>
                  <a:pt x="2784" y="112"/>
                  <a:pt x="2816" y="159"/>
                  <a:pt x="2863" y="159"/>
                </a:cubicBezTo>
                <a:lnTo>
                  <a:pt x="3023" y="159"/>
                </a:lnTo>
                <a:lnTo>
                  <a:pt x="3023" y="637"/>
                </a:lnTo>
                <a:lnTo>
                  <a:pt x="1750" y="637"/>
                </a:lnTo>
                <a:lnTo>
                  <a:pt x="1750" y="159"/>
                </a:lnTo>
                <a:lnTo>
                  <a:pt x="1909" y="159"/>
                </a:lnTo>
                <a:cubicBezTo>
                  <a:pt x="1957" y="159"/>
                  <a:pt x="1989" y="112"/>
                  <a:pt x="1989" y="80"/>
                </a:cubicBezTo>
                <a:cubicBezTo>
                  <a:pt x="1989" y="32"/>
                  <a:pt x="1957" y="0"/>
                  <a:pt x="1909" y="0"/>
                </a:cubicBezTo>
                <a:lnTo>
                  <a:pt x="1671" y="0"/>
                </a:lnTo>
                <a:lnTo>
                  <a:pt x="1034" y="0"/>
                </a:lnTo>
                <a:lnTo>
                  <a:pt x="796" y="0"/>
                </a:lnTo>
                <a:cubicBezTo>
                  <a:pt x="748" y="0"/>
                  <a:pt x="716" y="32"/>
                  <a:pt x="716" y="80"/>
                </a:cubicBezTo>
                <a:cubicBezTo>
                  <a:pt x="716" y="112"/>
                  <a:pt x="748" y="159"/>
                  <a:pt x="796" y="159"/>
                </a:cubicBezTo>
                <a:lnTo>
                  <a:pt x="955" y="159"/>
                </a:lnTo>
                <a:lnTo>
                  <a:pt x="955" y="637"/>
                </a:lnTo>
                <a:lnTo>
                  <a:pt x="80" y="637"/>
                </a:lnTo>
                <a:cubicBezTo>
                  <a:pt x="48" y="637"/>
                  <a:pt x="0" y="668"/>
                  <a:pt x="0" y="716"/>
                </a:cubicBezTo>
                <a:lnTo>
                  <a:pt x="0" y="3245"/>
                </a:lnTo>
                <a:cubicBezTo>
                  <a:pt x="0" y="3293"/>
                  <a:pt x="48" y="3325"/>
                  <a:pt x="80" y="3325"/>
                </a:cubicBezTo>
                <a:lnTo>
                  <a:pt x="4693" y="3325"/>
                </a:lnTo>
                <a:cubicBezTo>
                  <a:pt x="4740" y="3325"/>
                  <a:pt x="4772" y="3293"/>
                  <a:pt x="4772" y="3245"/>
                </a:cubicBezTo>
                <a:close/>
                <a:moveTo>
                  <a:pt x="3181" y="159"/>
                </a:moveTo>
                <a:lnTo>
                  <a:pt x="3659" y="159"/>
                </a:lnTo>
                <a:lnTo>
                  <a:pt x="3659" y="637"/>
                </a:lnTo>
                <a:lnTo>
                  <a:pt x="3181" y="637"/>
                </a:lnTo>
                <a:close/>
                <a:moveTo>
                  <a:pt x="1114" y="159"/>
                </a:moveTo>
                <a:lnTo>
                  <a:pt x="1591" y="159"/>
                </a:lnTo>
                <a:lnTo>
                  <a:pt x="1591" y="637"/>
                </a:lnTo>
                <a:lnTo>
                  <a:pt x="1114" y="637"/>
                </a:lnTo>
                <a:close/>
                <a:moveTo>
                  <a:pt x="4613" y="3166"/>
                </a:moveTo>
                <a:lnTo>
                  <a:pt x="160" y="3166"/>
                </a:lnTo>
                <a:lnTo>
                  <a:pt x="160" y="796"/>
                </a:lnTo>
                <a:lnTo>
                  <a:pt x="1034" y="796"/>
                </a:lnTo>
                <a:lnTo>
                  <a:pt x="1671" y="796"/>
                </a:lnTo>
                <a:lnTo>
                  <a:pt x="3102" y="796"/>
                </a:lnTo>
                <a:lnTo>
                  <a:pt x="3738" y="796"/>
                </a:lnTo>
                <a:lnTo>
                  <a:pt x="4613" y="79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8" name="Freeform: Shape 17">
            <a:extLst>
              <a:ext uri="{FF2B5EF4-FFF2-40B4-BE49-F238E27FC236}">
                <a16:creationId xmlns:a16="http://schemas.microsoft.com/office/drawing/2014/main" id="{C1F6B4BA-B005-CA40-8D03-B33CA0B82028}"/>
              </a:ext>
            </a:extLst>
          </p:cNvPr>
          <p:cNvSpPr/>
          <p:nvPr/>
        </p:nvSpPr>
        <p:spPr>
          <a:xfrm>
            <a:off x="13922712" y="6434849"/>
            <a:ext cx="1620000" cy="1720440"/>
          </a:xfrm>
          <a:custGeom>
            <a:avLst/>
            <a:gdLst/>
            <a:ahLst/>
            <a:cxnLst>
              <a:cxn ang="3cd4">
                <a:pos x="hc" y="t"/>
              </a:cxn>
              <a:cxn ang="cd2">
                <a:pos x="l" y="vc"/>
              </a:cxn>
              <a:cxn ang="cd4">
                <a:pos x="hc" y="b"/>
              </a:cxn>
              <a:cxn ang="0">
                <a:pos x="r" y="vc"/>
              </a:cxn>
            </a:cxnLst>
            <a:rect l="l" t="t" r="r" b="b"/>
            <a:pathLst>
              <a:path w="4501" h="4780">
                <a:moveTo>
                  <a:pt x="1034" y="358"/>
                </a:moveTo>
                <a:cubicBezTo>
                  <a:pt x="1050" y="373"/>
                  <a:pt x="1066" y="390"/>
                  <a:pt x="1082" y="390"/>
                </a:cubicBezTo>
                <a:cubicBezTo>
                  <a:pt x="1113" y="390"/>
                  <a:pt x="1129" y="373"/>
                  <a:pt x="1145" y="358"/>
                </a:cubicBezTo>
                <a:cubicBezTo>
                  <a:pt x="1177" y="326"/>
                  <a:pt x="1177" y="278"/>
                  <a:pt x="1145" y="246"/>
                </a:cubicBezTo>
                <a:lnTo>
                  <a:pt x="907" y="24"/>
                </a:lnTo>
                <a:cubicBezTo>
                  <a:pt x="875" y="-8"/>
                  <a:pt x="827" y="-8"/>
                  <a:pt x="795" y="24"/>
                </a:cubicBezTo>
                <a:cubicBezTo>
                  <a:pt x="764" y="55"/>
                  <a:pt x="764" y="103"/>
                  <a:pt x="795" y="135"/>
                </a:cubicBezTo>
                <a:close/>
                <a:moveTo>
                  <a:pt x="3404" y="390"/>
                </a:moveTo>
                <a:cubicBezTo>
                  <a:pt x="3420" y="390"/>
                  <a:pt x="3436" y="373"/>
                  <a:pt x="3452" y="358"/>
                </a:cubicBezTo>
                <a:lnTo>
                  <a:pt x="3690" y="135"/>
                </a:lnTo>
                <a:cubicBezTo>
                  <a:pt x="3722" y="103"/>
                  <a:pt x="3722" y="55"/>
                  <a:pt x="3690" y="24"/>
                </a:cubicBezTo>
                <a:cubicBezTo>
                  <a:pt x="3658" y="-8"/>
                  <a:pt x="3610" y="-8"/>
                  <a:pt x="3579" y="24"/>
                </a:cubicBezTo>
                <a:lnTo>
                  <a:pt x="3340" y="246"/>
                </a:lnTo>
                <a:cubicBezTo>
                  <a:pt x="3309" y="278"/>
                  <a:pt x="3309" y="326"/>
                  <a:pt x="3340" y="358"/>
                </a:cubicBezTo>
                <a:cubicBezTo>
                  <a:pt x="3356" y="373"/>
                  <a:pt x="3372" y="390"/>
                  <a:pt x="3404" y="390"/>
                </a:cubicBezTo>
                <a:close/>
                <a:moveTo>
                  <a:pt x="907" y="3141"/>
                </a:moveTo>
                <a:lnTo>
                  <a:pt x="1145" y="2902"/>
                </a:lnTo>
                <a:cubicBezTo>
                  <a:pt x="1177" y="2871"/>
                  <a:pt x="1177" y="2823"/>
                  <a:pt x="1145" y="2791"/>
                </a:cubicBezTo>
                <a:cubicBezTo>
                  <a:pt x="1113" y="2759"/>
                  <a:pt x="1066" y="2759"/>
                  <a:pt x="1034" y="2791"/>
                </a:cubicBezTo>
                <a:lnTo>
                  <a:pt x="795" y="3030"/>
                </a:lnTo>
                <a:cubicBezTo>
                  <a:pt x="764" y="3062"/>
                  <a:pt x="764" y="3109"/>
                  <a:pt x="795" y="3141"/>
                </a:cubicBezTo>
                <a:cubicBezTo>
                  <a:pt x="811" y="3157"/>
                  <a:pt x="843" y="3157"/>
                  <a:pt x="859" y="3157"/>
                </a:cubicBezTo>
                <a:cubicBezTo>
                  <a:pt x="875" y="3157"/>
                  <a:pt x="891" y="3157"/>
                  <a:pt x="907" y="3141"/>
                </a:cubicBezTo>
                <a:close/>
                <a:moveTo>
                  <a:pt x="3627" y="3157"/>
                </a:moveTo>
                <a:cubicBezTo>
                  <a:pt x="3643" y="3157"/>
                  <a:pt x="3674" y="3157"/>
                  <a:pt x="3690" y="3141"/>
                </a:cubicBezTo>
                <a:cubicBezTo>
                  <a:pt x="3722" y="3109"/>
                  <a:pt x="3722" y="3062"/>
                  <a:pt x="3690" y="3030"/>
                </a:cubicBezTo>
                <a:lnTo>
                  <a:pt x="3452" y="2791"/>
                </a:lnTo>
                <a:cubicBezTo>
                  <a:pt x="3420" y="2759"/>
                  <a:pt x="3372" y="2759"/>
                  <a:pt x="3340" y="2791"/>
                </a:cubicBezTo>
                <a:cubicBezTo>
                  <a:pt x="3309" y="2823"/>
                  <a:pt x="3309" y="2871"/>
                  <a:pt x="3340" y="2902"/>
                </a:cubicBezTo>
                <a:lnTo>
                  <a:pt x="3579" y="3141"/>
                </a:lnTo>
                <a:cubicBezTo>
                  <a:pt x="3595" y="3157"/>
                  <a:pt x="3610" y="3157"/>
                  <a:pt x="3627" y="3157"/>
                </a:cubicBezTo>
                <a:close/>
                <a:moveTo>
                  <a:pt x="80" y="1662"/>
                </a:moveTo>
                <a:lnTo>
                  <a:pt x="446" y="1662"/>
                </a:lnTo>
                <a:cubicBezTo>
                  <a:pt x="493" y="1662"/>
                  <a:pt x="525" y="1614"/>
                  <a:pt x="525" y="1582"/>
                </a:cubicBezTo>
                <a:cubicBezTo>
                  <a:pt x="525" y="1535"/>
                  <a:pt x="493" y="1503"/>
                  <a:pt x="446" y="1503"/>
                </a:cubicBezTo>
                <a:lnTo>
                  <a:pt x="80" y="1503"/>
                </a:lnTo>
                <a:cubicBezTo>
                  <a:pt x="32" y="1503"/>
                  <a:pt x="0" y="1535"/>
                  <a:pt x="0" y="1582"/>
                </a:cubicBezTo>
                <a:cubicBezTo>
                  <a:pt x="0" y="1614"/>
                  <a:pt x="32" y="1662"/>
                  <a:pt x="80" y="1662"/>
                </a:cubicBezTo>
                <a:close/>
                <a:moveTo>
                  <a:pt x="4056" y="1662"/>
                </a:moveTo>
                <a:lnTo>
                  <a:pt x="4422" y="1662"/>
                </a:lnTo>
                <a:cubicBezTo>
                  <a:pt x="4470" y="1662"/>
                  <a:pt x="4501" y="1614"/>
                  <a:pt x="4501" y="1582"/>
                </a:cubicBezTo>
                <a:cubicBezTo>
                  <a:pt x="4501" y="1535"/>
                  <a:pt x="4470" y="1503"/>
                  <a:pt x="4422" y="1503"/>
                </a:cubicBezTo>
                <a:lnTo>
                  <a:pt x="4056" y="1503"/>
                </a:lnTo>
                <a:cubicBezTo>
                  <a:pt x="4009" y="1503"/>
                  <a:pt x="3976" y="1535"/>
                  <a:pt x="3976" y="1582"/>
                </a:cubicBezTo>
                <a:cubicBezTo>
                  <a:pt x="3976" y="1614"/>
                  <a:pt x="4009" y="1662"/>
                  <a:pt x="4056" y="1662"/>
                </a:cubicBezTo>
                <a:close/>
                <a:moveTo>
                  <a:pt x="1559" y="2887"/>
                </a:moveTo>
                <a:lnTo>
                  <a:pt x="1559" y="3141"/>
                </a:lnTo>
                <a:lnTo>
                  <a:pt x="1559" y="3236"/>
                </a:lnTo>
                <a:lnTo>
                  <a:pt x="1559" y="4159"/>
                </a:lnTo>
                <a:cubicBezTo>
                  <a:pt x="1559" y="4525"/>
                  <a:pt x="1829" y="4780"/>
                  <a:pt x="2211" y="4780"/>
                </a:cubicBezTo>
                <a:cubicBezTo>
                  <a:pt x="2577" y="4780"/>
                  <a:pt x="2831" y="4525"/>
                  <a:pt x="2831" y="4159"/>
                </a:cubicBezTo>
                <a:lnTo>
                  <a:pt x="2831" y="3236"/>
                </a:lnTo>
                <a:lnTo>
                  <a:pt x="2831" y="3141"/>
                </a:lnTo>
                <a:lnTo>
                  <a:pt x="2831" y="2887"/>
                </a:lnTo>
                <a:cubicBezTo>
                  <a:pt x="2991" y="2823"/>
                  <a:pt x="3118" y="2744"/>
                  <a:pt x="3245" y="2616"/>
                </a:cubicBezTo>
                <a:cubicBezTo>
                  <a:pt x="3531" y="2330"/>
                  <a:pt x="3690" y="1964"/>
                  <a:pt x="3690" y="1582"/>
                </a:cubicBezTo>
                <a:cubicBezTo>
                  <a:pt x="3706" y="1185"/>
                  <a:pt x="3563" y="819"/>
                  <a:pt x="3277" y="533"/>
                </a:cubicBezTo>
                <a:cubicBezTo>
                  <a:pt x="3006" y="262"/>
                  <a:pt x="2640" y="103"/>
                  <a:pt x="2243" y="103"/>
                </a:cubicBezTo>
                <a:cubicBezTo>
                  <a:pt x="1845" y="103"/>
                  <a:pt x="1479" y="262"/>
                  <a:pt x="1209" y="533"/>
                </a:cubicBezTo>
                <a:cubicBezTo>
                  <a:pt x="923" y="819"/>
                  <a:pt x="780" y="1185"/>
                  <a:pt x="764" y="1582"/>
                </a:cubicBezTo>
                <a:cubicBezTo>
                  <a:pt x="764" y="1964"/>
                  <a:pt x="923" y="2330"/>
                  <a:pt x="1193" y="2616"/>
                </a:cubicBezTo>
                <a:cubicBezTo>
                  <a:pt x="1304" y="2727"/>
                  <a:pt x="1400" y="2823"/>
                  <a:pt x="1559" y="2887"/>
                </a:cubicBezTo>
                <a:close/>
                <a:moveTo>
                  <a:pt x="1718" y="4080"/>
                </a:moveTo>
                <a:lnTo>
                  <a:pt x="1718" y="3730"/>
                </a:lnTo>
                <a:lnTo>
                  <a:pt x="2434" y="4080"/>
                </a:lnTo>
                <a:close/>
                <a:moveTo>
                  <a:pt x="2211" y="4620"/>
                </a:moveTo>
                <a:cubicBezTo>
                  <a:pt x="1956" y="4620"/>
                  <a:pt x="1765" y="4461"/>
                  <a:pt x="1734" y="4239"/>
                </a:cubicBezTo>
                <a:lnTo>
                  <a:pt x="2672" y="4239"/>
                </a:lnTo>
                <a:cubicBezTo>
                  <a:pt x="2640" y="4477"/>
                  <a:pt x="2465" y="4620"/>
                  <a:pt x="2211" y="4620"/>
                </a:cubicBezTo>
                <a:close/>
                <a:moveTo>
                  <a:pt x="2672" y="4032"/>
                </a:moveTo>
                <a:lnTo>
                  <a:pt x="1718" y="3539"/>
                </a:lnTo>
                <a:lnTo>
                  <a:pt x="1718" y="3332"/>
                </a:lnTo>
                <a:lnTo>
                  <a:pt x="2672" y="3825"/>
                </a:lnTo>
                <a:close/>
                <a:moveTo>
                  <a:pt x="2672" y="3634"/>
                </a:moveTo>
                <a:lnTo>
                  <a:pt x="2036" y="3316"/>
                </a:lnTo>
                <a:lnTo>
                  <a:pt x="2672" y="3316"/>
                </a:lnTo>
                <a:close/>
                <a:moveTo>
                  <a:pt x="1320" y="660"/>
                </a:moveTo>
                <a:cubicBezTo>
                  <a:pt x="1559" y="405"/>
                  <a:pt x="1893" y="262"/>
                  <a:pt x="2243" y="262"/>
                </a:cubicBezTo>
                <a:cubicBezTo>
                  <a:pt x="2593" y="262"/>
                  <a:pt x="2927" y="405"/>
                  <a:pt x="3165" y="660"/>
                </a:cubicBezTo>
                <a:cubicBezTo>
                  <a:pt x="3420" y="899"/>
                  <a:pt x="3547" y="1217"/>
                  <a:pt x="3531" y="1582"/>
                </a:cubicBezTo>
                <a:cubicBezTo>
                  <a:pt x="3531" y="1917"/>
                  <a:pt x="3388" y="2250"/>
                  <a:pt x="3134" y="2505"/>
                </a:cubicBezTo>
                <a:cubicBezTo>
                  <a:pt x="3022" y="2616"/>
                  <a:pt x="2895" y="2696"/>
                  <a:pt x="2720" y="2759"/>
                </a:cubicBezTo>
                <a:cubicBezTo>
                  <a:pt x="2688" y="2775"/>
                  <a:pt x="2672" y="2791"/>
                  <a:pt x="2672" y="2839"/>
                </a:cubicBezTo>
                <a:lnTo>
                  <a:pt x="2672" y="3141"/>
                </a:lnTo>
                <a:lnTo>
                  <a:pt x="2672" y="3157"/>
                </a:lnTo>
                <a:lnTo>
                  <a:pt x="1734" y="3157"/>
                </a:lnTo>
                <a:lnTo>
                  <a:pt x="1718" y="3157"/>
                </a:lnTo>
                <a:lnTo>
                  <a:pt x="1718" y="3141"/>
                </a:lnTo>
                <a:lnTo>
                  <a:pt x="1718" y="2839"/>
                </a:lnTo>
                <a:cubicBezTo>
                  <a:pt x="1718" y="2791"/>
                  <a:pt x="1702" y="2775"/>
                  <a:pt x="1670" y="2759"/>
                </a:cubicBezTo>
                <a:cubicBezTo>
                  <a:pt x="1511" y="2696"/>
                  <a:pt x="1432" y="2616"/>
                  <a:pt x="1304" y="2505"/>
                </a:cubicBezTo>
                <a:cubicBezTo>
                  <a:pt x="1066" y="2250"/>
                  <a:pt x="923" y="1932"/>
                  <a:pt x="923" y="1582"/>
                </a:cubicBezTo>
                <a:cubicBezTo>
                  <a:pt x="938" y="1232"/>
                  <a:pt x="1066" y="899"/>
                  <a:pt x="1320" y="660"/>
                </a:cubicBezTo>
                <a:close/>
                <a:moveTo>
                  <a:pt x="1591" y="2314"/>
                </a:moveTo>
                <a:cubicBezTo>
                  <a:pt x="1607" y="2314"/>
                  <a:pt x="1622" y="2298"/>
                  <a:pt x="1638" y="2282"/>
                </a:cubicBezTo>
                <a:cubicBezTo>
                  <a:pt x="1670" y="2250"/>
                  <a:pt x="1670" y="2203"/>
                  <a:pt x="1638" y="2171"/>
                </a:cubicBezTo>
                <a:cubicBezTo>
                  <a:pt x="1479" y="2012"/>
                  <a:pt x="1400" y="1805"/>
                  <a:pt x="1400" y="1582"/>
                </a:cubicBezTo>
                <a:cubicBezTo>
                  <a:pt x="1400" y="1344"/>
                  <a:pt x="1479" y="1137"/>
                  <a:pt x="1638" y="978"/>
                </a:cubicBezTo>
                <a:cubicBezTo>
                  <a:pt x="1670" y="946"/>
                  <a:pt x="1670" y="899"/>
                  <a:pt x="1638" y="867"/>
                </a:cubicBezTo>
                <a:cubicBezTo>
                  <a:pt x="1607" y="835"/>
                  <a:pt x="1559" y="835"/>
                  <a:pt x="1527" y="867"/>
                </a:cubicBezTo>
                <a:cubicBezTo>
                  <a:pt x="1336" y="1057"/>
                  <a:pt x="1241" y="1312"/>
                  <a:pt x="1241" y="1582"/>
                </a:cubicBezTo>
                <a:cubicBezTo>
                  <a:pt x="1241" y="1837"/>
                  <a:pt x="1336" y="2091"/>
                  <a:pt x="1527" y="2282"/>
                </a:cubicBezTo>
                <a:cubicBezTo>
                  <a:pt x="1543" y="2298"/>
                  <a:pt x="1575" y="2314"/>
                  <a:pt x="1591" y="231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9" name="Freeform: Shape 18">
            <a:extLst>
              <a:ext uri="{FF2B5EF4-FFF2-40B4-BE49-F238E27FC236}">
                <a16:creationId xmlns:a16="http://schemas.microsoft.com/office/drawing/2014/main" id="{45083066-53F4-C740-83EE-E20917C74EFF}"/>
              </a:ext>
            </a:extLst>
          </p:cNvPr>
          <p:cNvSpPr/>
          <p:nvPr/>
        </p:nvSpPr>
        <p:spPr>
          <a:xfrm>
            <a:off x="14098095" y="3342709"/>
            <a:ext cx="1356840" cy="1677240"/>
          </a:xfrm>
          <a:custGeom>
            <a:avLst/>
            <a:gdLst/>
            <a:ahLst/>
            <a:cxnLst>
              <a:cxn ang="3cd4">
                <a:pos x="hc" y="t"/>
              </a:cxn>
              <a:cxn ang="cd2">
                <a:pos x="l" y="vc"/>
              </a:cxn>
              <a:cxn ang="cd4">
                <a:pos x="hc" y="b"/>
              </a:cxn>
              <a:cxn ang="0">
                <a:pos x="r" y="vc"/>
              </a:cxn>
            </a:cxnLst>
            <a:rect l="l" t="t" r="r" b="b"/>
            <a:pathLst>
              <a:path w="3770" h="4660">
                <a:moveTo>
                  <a:pt x="1957" y="2385"/>
                </a:moveTo>
                <a:lnTo>
                  <a:pt x="1957" y="1908"/>
                </a:lnTo>
                <a:lnTo>
                  <a:pt x="2116" y="1908"/>
                </a:lnTo>
                <a:cubicBezTo>
                  <a:pt x="2164" y="1908"/>
                  <a:pt x="2195" y="1876"/>
                  <a:pt x="2195" y="1829"/>
                </a:cubicBezTo>
                <a:cubicBezTo>
                  <a:pt x="2195" y="1781"/>
                  <a:pt x="2164" y="1749"/>
                  <a:pt x="2116" y="1749"/>
                </a:cubicBezTo>
                <a:lnTo>
                  <a:pt x="1957" y="1749"/>
                </a:lnTo>
                <a:lnTo>
                  <a:pt x="1957" y="1590"/>
                </a:lnTo>
                <a:cubicBezTo>
                  <a:pt x="1957" y="1542"/>
                  <a:pt x="1925" y="1511"/>
                  <a:pt x="1877" y="1511"/>
                </a:cubicBezTo>
                <a:cubicBezTo>
                  <a:pt x="1845" y="1511"/>
                  <a:pt x="1798" y="1542"/>
                  <a:pt x="1798" y="1590"/>
                </a:cubicBezTo>
                <a:lnTo>
                  <a:pt x="1798" y="1749"/>
                </a:lnTo>
                <a:lnTo>
                  <a:pt x="1639" y="1749"/>
                </a:lnTo>
                <a:cubicBezTo>
                  <a:pt x="1607" y="1749"/>
                  <a:pt x="1559" y="1781"/>
                  <a:pt x="1559" y="1829"/>
                </a:cubicBezTo>
                <a:cubicBezTo>
                  <a:pt x="1559" y="1876"/>
                  <a:pt x="1607" y="1908"/>
                  <a:pt x="1639" y="1908"/>
                </a:cubicBezTo>
                <a:lnTo>
                  <a:pt x="1798" y="1908"/>
                </a:lnTo>
                <a:lnTo>
                  <a:pt x="1798" y="2385"/>
                </a:lnTo>
                <a:cubicBezTo>
                  <a:pt x="1798" y="2417"/>
                  <a:pt x="1845" y="2465"/>
                  <a:pt x="1877" y="2465"/>
                </a:cubicBezTo>
                <a:cubicBezTo>
                  <a:pt x="1925" y="2465"/>
                  <a:pt x="1957" y="2417"/>
                  <a:pt x="1957" y="2385"/>
                </a:cubicBezTo>
                <a:close/>
                <a:moveTo>
                  <a:pt x="1146" y="3499"/>
                </a:moveTo>
                <a:cubicBezTo>
                  <a:pt x="1384" y="3530"/>
                  <a:pt x="1639" y="3530"/>
                  <a:pt x="1877" y="3530"/>
                </a:cubicBezTo>
                <a:cubicBezTo>
                  <a:pt x="2131" y="3530"/>
                  <a:pt x="2386" y="3530"/>
                  <a:pt x="2609" y="3499"/>
                </a:cubicBezTo>
                <a:lnTo>
                  <a:pt x="2704" y="3865"/>
                </a:lnTo>
                <a:lnTo>
                  <a:pt x="2879" y="3865"/>
                </a:lnTo>
                <a:lnTo>
                  <a:pt x="2768" y="3451"/>
                </a:lnTo>
                <a:cubicBezTo>
                  <a:pt x="3102" y="3372"/>
                  <a:pt x="3357" y="3149"/>
                  <a:pt x="3357" y="2656"/>
                </a:cubicBezTo>
                <a:cubicBezTo>
                  <a:pt x="3357" y="1956"/>
                  <a:pt x="2975" y="1431"/>
                  <a:pt x="2100" y="906"/>
                </a:cubicBezTo>
                <a:cubicBezTo>
                  <a:pt x="2259" y="827"/>
                  <a:pt x="2354" y="667"/>
                  <a:pt x="2354" y="477"/>
                </a:cubicBezTo>
                <a:cubicBezTo>
                  <a:pt x="2354" y="206"/>
                  <a:pt x="2148" y="0"/>
                  <a:pt x="1877" y="0"/>
                </a:cubicBezTo>
                <a:cubicBezTo>
                  <a:pt x="1622" y="0"/>
                  <a:pt x="1400" y="206"/>
                  <a:pt x="1400" y="477"/>
                </a:cubicBezTo>
                <a:cubicBezTo>
                  <a:pt x="1400" y="667"/>
                  <a:pt x="1512" y="827"/>
                  <a:pt x="1670" y="906"/>
                </a:cubicBezTo>
                <a:cubicBezTo>
                  <a:pt x="795" y="1431"/>
                  <a:pt x="414" y="1956"/>
                  <a:pt x="414" y="2656"/>
                </a:cubicBezTo>
                <a:cubicBezTo>
                  <a:pt x="414" y="3149"/>
                  <a:pt x="652" y="3372"/>
                  <a:pt x="1003" y="3451"/>
                </a:cubicBezTo>
                <a:lnTo>
                  <a:pt x="891" y="3865"/>
                </a:lnTo>
                <a:lnTo>
                  <a:pt x="1066" y="3865"/>
                </a:lnTo>
                <a:close/>
                <a:moveTo>
                  <a:pt x="1559" y="477"/>
                </a:moveTo>
                <a:cubicBezTo>
                  <a:pt x="1559" y="302"/>
                  <a:pt x="1702" y="158"/>
                  <a:pt x="1877" y="158"/>
                </a:cubicBezTo>
                <a:cubicBezTo>
                  <a:pt x="2052" y="158"/>
                  <a:pt x="2195" y="302"/>
                  <a:pt x="2195" y="477"/>
                </a:cubicBezTo>
                <a:cubicBezTo>
                  <a:pt x="2195" y="652"/>
                  <a:pt x="2052" y="795"/>
                  <a:pt x="1877" y="795"/>
                </a:cubicBezTo>
                <a:cubicBezTo>
                  <a:pt x="1702" y="795"/>
                  <a:pt x="1559" y="652"/>
                  <a:pt x="1559" y="477"/>
                </a:cubicBezTo>
                <a:close/>
                <a:moveTo>
                  <a:pt x="573" y="2656"/>
                </a:moveTo>
                <a:cubicBezTo>
                  <a:pt x="573" y="1988"/>
                  <a:pt x="970" y="1479"/>
                  <a:pt x="1877" y="970"/>
                </a:cubicBezTo>
                <a:cubicBezTo>
                  <a:pt x="2800" y="1479"/>
                  <a:pt x="3197" y="1988"/>
                  <a:pt x="3197" y="2656"/>
                </a:cubicBezTo>
                <a:cubicBezTo>
                  <a:pt x="3197" y="3324"/>
                  <a:pt x="2704" y="3372"/>
                  <a:pt x="1877" y="3372"/>
                </a:cubicBezTo>
                <a:cubicBezTo>
                  <a:pt x="1066" y="3372"/>
                  <a:pt x="573" y="3324"/>
                  <a:pt x="573" y="2656"/>
                </a:cubicBezTo>
                <a:close/>
                <a:moveTo>
                  <a:pt x="80" y="4660"/>
                </a:moveTo>
                <a:lnTo>
                  <a:pt x="3404" y="4660"/>
                </a:lnTo>
                <a:lnTo>
                  <a:pt x="3690" y="4660"/>
                </a:lnTo>
                <a:cubicBezTo>
                  <a:pt x="3738" y="4660"/>
                  <a:pt x="3770" y="4628"/>
                  <a:pt x="3770" y="4580"/>
                </a:cubicBezTo>
                <a:cubicBezTo>
                  <a:pt x="3770" y="4533"/>
                  <a:pt x="3738" y="4501"/>
                  <a:pt x="3690" y="4501"/>
                </a:cubicBezTo>
                <a:lnTo>
                  <a:pt x="3484" y="4501"/>
                </a:lnTo>
                <a:lnTo>
                  <a:pt x="3484" y="4262"/>
                </a:lnTo>
                <a:cubicBezTo>
                  <a:pt x="3484" y="4247"/>
                  <a:pt x="3468" y="4215"/>
                  <a:pt x="3452" y="4199"/>
                </a:cubicBezTo>
                <a:cubicBezTo>
                  <a:pt x="3436" y="4183"/>
                  <a:pt x="3420" y="4183"/>
                  <a:pt x="3404" y="4183"/>
                </a:cubicBezTo>
                <a:lnTo>
                  <a:pt x="3325" y="4183"/>
                </a:lnTo>
                <a:lnTo>
                  <a:pt x="3325" y="3944"/>
                </a:lnTo>
                <a:cubicBezTo>
                  <a:pt x="3325" y="3896"/>
                  <a:pt x="3293" y="3865"/>
                  <a:pt x="3245" y="3865"/>
                </a:cubicBezTo>
                <a:lnTo>
                  <a:pt x="2879" y="3865"/>
                </a:lnTo>
                <a:lnTo>
                  <a:pt x="2704" y="3865"/>
                </a:lnTo>
                <a:lnTo>
                  <a:pt x="1066" y="3865"/>
                </a:lnTo>
                <a:lnTo>
                  <a:pt x="891" y="3865"/>
                </a:lnTo>
                <a:lnTo>
                  <a:pt x="557" y="3865"/>
                </a:lnTo>
                <a:cubicBezTo>
                  <a:pt x="509" y="3865"/>
                  <a:pt x="477" y="3896"/>
                  <a:pt x="477" y="3944"/>
                </a:cubicBezTo>
                <a:lnTo>
                  <a:pt x="477" y="4183"/>
                </a:lnTo>
                <a:lnTo>
                  <a:pt x="398" y="4183"/>
                </a:lnTo>
                <a:cubicBezTo>
                  <a:pt x="382" y="4183"/>
                  <a:pt x="366" y="4183"/>
                  <a:pt x="350" y="4199"/>
                </a:cubicBezTo>
                <a:cubicBezTo>
                  <a:pt x="334" y="4215"/>
                  <a:pt x="318" y="4247"/>
                  <a:pt x="318" y="4262"/>
                </a:cubicBezTo>
                <a:lnTo>
                  <a:pt x="318" y="4501"/>
                </a:lnTo>
                <a:lnTo>
                  <a:pt x="80" y="4501"/>
                </a:lnTo>
                <a:cubicBezTo>
                  <a:pt x="32" y="4501"/>
                  <a:pt x="0" y="4533"/>
                  <a:pt x="0" y="4580"/>
                </a:cubicBezTo>
                <a:cubicBezTo>
                  <a:pt x="0" y="4628"/>
                  <a:pt x="32" y="4660"/>
                  <a:pt x="80" y="4660"/>
                </a:cubicBezTo>
                <a:close/>
                <a:moveTo>
                  <a:pt x="637" y="4024"/>
                </a:moveTo>
                <a:lnTo>
                  <a:pt x="3166" y="4024"/>
                </a:lnTo>
                <a:lnTo>
                  <a:pt x="3166" y="4183"/>
                </a:lnTo>
                <a:lnTo>
                  <a:pt x="637" y="4183"/>
                </a:lnTo>
                <a:close/>
                <a:moveTo>
                  <a:pt x="3325" y="4342"/>
                </a:moveTo>
                <a:lnTo>
                  <a:pt x="3325" y="4501"/>
                </a:lnTo>
                <a:lnTo>
                  <a:pt x="477" y="4501"/>
                </a:lnTo>
                <a:lnTo>
                  <a:pt x="477" y="4342"/>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0" name="Freeform: Shape 6">
            <a:extLst>
              <a:ext uri="{FF2B5EF4-FFF2-40B4-BE49-F238E27FC236}">
                <a16:creationId xmlns:a16="http://schemas.microsoft.com/office/drawing/2014/main" id="{7FDBD829-052A-3F41-883F-349DD74AE557}"/>
              </a:ext>
            </a:extLst>
          </p:cNvPr>
          <p:cNvSpPr/>
          <p:nvPr/>
        </p:nvSpPr>
        <p:spPr>
          <a:xfrm>
            <a:off x="1977159" y="9998399"/>
            <a:ext cx="1489319" cy="1493280"/>
          </a:xfrm>
          <a:custGeom>
            <a:avLst/>
            <a:gdLst/>
            <a:ahLst/>
            <a:cxnLst>
              <a:cxn ang="3cd4">
                <a:pos x="hc" y="t"/>
              </a:cxn>
              <a:cxn ang="cd2">
                <a:pos x="l" y="vc"/>
              </a:cxn>
              <a:cxn ang="cd4">
                <a:pos x="hc" y="b"/>
              </a:cxn>
              <a:cxn ang="0">
                <a:pos x="r" y="vc"/>
              </a:cxn>
            </a:cxnLst>
            <a:rect l="l" t="t" r="r" b="b"/>
            <a:pathLst>
              <a:path w="4138" h="4149">
                <a:moveTo>
                  <a:pt x="208" y="3274"/>
                </a:moveTo>
                <a:cubicBezTo>
                  <a:pt x="240" y="3290"/>
                  <a:pt x="255" y="3274"/>
                  <a:pt x="287" y="3274"/>
                </a:cubicBezTo>
                <a:cubicBezTo>
                  <a:pt x="398" y="3178"/>
                  <a:pt x="542" y="3147"/>
                  <a:pt x="685" y="3147"/>
                </a:cubicBezTo>
                <a:cubicBezTo>
                  <a:pt x="1067" y="3147"/>
                  <a:pt x="1401" y="3465"/>
                  <a:pt x="1401" y="3862"/>
                </a:cubicBezTo>
                <a:cubicBezTo>
                  <a:pt x="1401" y="3910"/>
                  <a:pt x="1385" y="3974"/>
                  <a:pt x="1369" y="4037"/>
                </a:cubicBezTo>
                <a:cubicBezTo>
                  <a:pt x="1369" y="4053"/>
                  <a:pt x="1369" y="4085"/>
                  <a:pt x="1385" y="4101"/>
                </a:cubicBezTo>
                <a:cubicBezTo>
                  <a:pt x="1401" y="4117"/>
                  <a:pt x="1416" y="4132"/>
                  <a:pt x="1433" y="4132"/>
                </a:cubicBezTo>
                <a:cubicBezTo>
                  <a:pt x="1512" y="4132"/>
                  <a:pt x="1591" y="4149"/>
                  <a:pt x="1671" y="4149"/>
                </a:cubicBezTo>
                <a:cubicBezTo>
                  <a:pt x="2276" y="4149"/>
                  <a:pt x="2912" y="3878"/>
                  <a:pt x="3389" y="3385"/>
                </a:cubicBezTo>
                <a:cubicBezTo>
                  <a:pt x="4264" y="2510"/>
                  <a:pt x="4391" y="1206"/>
                  <a:pt x="3675" y="474"/>
                </a:cubicBezTo>
                <a:cubicBezTo>
                  <a:pt x="3309" y="124"/>
                  <a:pt x="2816" y="-50"/>
                  <a:pt x="2260" y="13"/>
                </a:cubicBezTo>
                <a:cubicBezTo>
                  <a:pt x="1719" y="61"/>
                  <a:pt x="1178" y="331"/>
                  <a:pt x="749" y="745"/>
                </a:cubicBezTo>
                <a:cubicBezTo>
                  <a:pt x="49" y="1460"/>
                  <a:pt x="-190" y="2478"/>
                  <a:pt x="160" y="3242"/>
                </a:cubicBezTo>
                <a:cubicBezTo>
                  <a:pt x="176" y="3258"/>
                  <a:pt x="192" y="3274"/>
                  <a:pt x="208" y="3274"/>
                </a:cubicBezTo>
                <a:close/>
                <a:moveTo>
                  <a:pt x="860" y="872"/>
                </a:moveTo>
                <a:cubicBezTo>
                  <a:pt x="1258" y="459"/>
                  <a:pt x="1767" y="220"/>
                  <a:pt x="2276" y="172"/>
                </a:cubicBezTo>
                <a:cubicBezTo>
                  <a:pt x="2785" y="108"/>
                  <a:pt x="3230" y="268"/>
                  <a:pt x="3564" y="586"/>
                </a:cubicBezTo>
                <a:cubicBezTo>
                  <a:pt x="4216" y="1254"/>
                  <a:pt x="4105" y="2463"/>
                  <a:pt x="3278" y="3274"/>
                </a:cubicBezTo>
                <a:cubicBezTo>
                  <a:pt x="2785" y="3767"/>
                  <a:pt x="2148" y="4022"/>
                  <a:pt x="1544" y="3974"/>
                </a:cubicBezTo>
                <a:cubicBezTo>
                  <a:pt x="1544" y="3942"/>
                  <a:pt x="1560" y="3894"/>
                  <a:pt x="1560" y="3862"/>
                </a:cubicBezTo>
                <a:cubicBezTo>
                  <a:pt x="1560" y="3369"/>
                  <a:pt x="1162" y="2987"/>
                  <a:pt x="685" y="2987"/>
                </a:cubicBezTo>
                <a:cubicBezTo>
                  <a:pt x="542" y="2987"/>
                  <a:pt x="398" y="3019"/>
                  <a:pt x="271" y="3083"/>
                </a:cubicBezTo>
                <a:cubicBezTo>
                  <a:pt x="1" y="2399"/>
                  <a:pt x="224" y="1492"/>
                  <a:pt x="860" y="872"/>
                </a:cubicBezTo>
                <a:close/>
                <a:moveTo>
                  <a:pt x="1479" y="2940"/>
                </a:moveTo>
                <a:cubicBezTo>
                  <a:pt x="1734" y="2940"/>
                  <a:pt x="1956" y="2733"/>
                  <a:pt x="1956" y="2463"/>
                </a:cubicBezTo>
                <a:cubicBezTo>
                  <a:pt x="1956" y="2208"/>
                  <a:pt x="1734" y="1986"/>
                  <a:pt x="1479" y="1986"/>
                </a:cubicBezTo>
                <a:cubicBezTo>
                  <a:pt x="1209" y="1986"/>
                  <a:pt x="1002" y="2208"/>
                  <a:pt x="1002" y="2463"/>
                </a:cubicBezTo>
                <a:cubicBezTo>
                  <a:pt x="1002" y="2733"/>
                  <a:pt x="1209" y="2940"/>
                  <a:pt x="1479" y="2940"/>
                </a:cubicBezTo>
                <a:close/>
                <a:moveTo>
                  <a:pt x="1479" y="2144"/>
                </a:moveTo>
                <a:cubicBezTo>
                  <a:pt x="1654" y="2144"/>
                  <a:pt x="1797" y="2287"/>
                  <a:pt x="1797" y="2463"/>
                </a:cubicBezTo>
                <a:cubicBezTo>
                  <a:pt x="1797" y="2638"/>
                  <a:pt x="1654" y="2781"/>
                  <a:pt x="1479" y="2781"/>
                </a:cubicBezTo>
                <a:cubicBezTo>
                  <a:pt x="1304" y="2781"/>
                  <a:pt x="1161" y="2638"/>
                  <a:pt x="1161" y="2463"/>
                </a:cubicBezTo>
                <a:cubicBezTo>
                  <a:pt x="1161" y="2287"/>
                  <a:pt x="1304" y="2144"/>
                  <a:pt x="1479" y="2144"/>
                </a:cubicBezTo>
                <a:close/>
                <a:moveTo>
                  <a:pt x="1479" y="1349"/>
                </a:moveTo>
                <a:cubicBezTo>
                  <a:pt x="1623" y="1349"/>
                  <a:pt x="1750" y="1238"/>
                  <a:pt x="1750" y="1079"/>
                </a:cubicBezTo>
                <a:cubicBezTo>
                  <a:pt x="1750" y="920"/>
                  <a:pt x="1623" y="808"/>
                  <a:pt x="1479" y="808"/>
                </a:cubicBezTo>
                <a:cubicBezTo>
                  <a:pt x="1320" y="808"/>
                  <a:pt x="1193" y="920"/>
                  <a:pt x="1193" y="1079"/>
                </a:cubicBezTo>
                <a:cubicBezTo>
                  <a:pt x="1193" y="1238"/>
                  <a:pt x="1320" y="1349"/>
                  <a:pt x="1479" y="1349"/>
                </a:cubicBezTo>
                <a:close/>
                <a:moveTo>
                  <a:pt x="1479" y="968"/>
                </a:moveTo>
                <a:cubicBezTo>
                  <a:pt x="1543" y="968"/>
                  <a:pt x="1590" y="1015"/>
                  <a:pt x="1590" y="1079"/>
                </a:cubicBezTo>
                <a:cubicBezTo>
                  <a:pt x="1590" y="1142"/>
                  <a:pt x="1543" y="1206"/>
                  <a:pt x="1479" y="1206"/>
                </a:cubicBezTo>
                <a:cubicBezTo>
                  <a:pt x="1400" y="1206"/>
                  <a:pt x="1352" y="1142"/>
                  <a:pt x="1352" y="1079"/>
                </a:cubicBezTo>
                <a:cubicBezTo>
                  <a:pt x="1352" y="1015"/>
                  <a:pt x="1400" y="968"/>
                  <a:pt x="1479" y="968"/>
                </a:cubicBezTo>
                <a:close/>
                <a:moveTo>
                  <a:pt x="2275" y="968"/>
                </a:moveTo>
                <a:cubicBezTo>
                  <a:pt x="2418" y="968"/>
                  <a:pt x="2545" y="840"/>
                  <a:pt x="2545" y="681"/>
                </a:cubicBezTo>
                <a:cubicBezTo>
                  <a:pt x="2545" y="522"/>
                  <a:pt x="2418" y="411"/>
                  <a:pt x="2275" y="411"/>
                </a:cubicBezTo>
                <a:cubicBezTo>
                  <a:pt x="2115" y="411"/>
                  <a:pt x="1988" y="522"/>
                  <a:pt x="1988" y="681"/>
                </a:cubicBezTo>
                <a:cubicBezTo>
                  <a:pt x="1988" y="840"/>
                  <a:pt x="2115" y="968"/>
                  <a:pt x="2275" y="968"/>
                </a:cubicBezTo>
                <a:close/>
                <a:moveTo>
                  <a:pt x="2275" y="570"/>
                </a:moveTo>
                <a:cubicBezTo>
                  <a:pt x="2338" y="570"/>
                  <a:pt x="2386" y="617"/>
                  <a:pt x="2386" y="681"/>
                </a:cubicBezTo>
                <a:cubicBezTo>
                  <a:pt x="2386" y="745"/>
                  <a:pt x="2338" y="808"/>
                  <a:pt x="2275" y="808"/>
                </a:cubicBezTo>
                <a:cubicBezTo>
                  <a:pt x="2195" y="808"/>
                  <a:pt x="2147" y="745"/>
                  <a:pt x="2147" y="681"/>
                </a:cubicBezTo>
                <a:cubicBezTo>
                  <a:pt x="2147" y="617"/>
                  <a:pt x="2195" y="570"/>
                  <a:pt x="2275" y="570"/>
                </a:cubicBezTo>
                <a:close/>
                <a:moveTo>
                  <a:pt x="3054" y="1158"/>
                </a:moveTo>
                <a:cubicBezTo>
                  <a:pt x="3213" y="1158"/>
                  <a:pt x="3340" y="1031"/>
                  <a:pt x="3340" y="888"/>
                </a:cubicBezTo>
                <a:cubicBezTo>
                  <a:pt x="3340" y="729"/>
                  <a:pt x="3213" y="602"/>
                  <a:pt x="3054" y="602"/>
                </a:cubicBezTo>
                <a:cubicBezTo>
                  <a:pt x="2911" y="602"/>
                  <a:pt x="2784" y="729"/>
                  <a:pt x="2784" y="888"/>
                </a:cubicBezTo>
                <a:cubicBezTo>
                  <a:pt x="2784" y="1031"/>
                  <a:pt x="2911" y="1158"/>
                  <a:pt x="3054" y="1158"/>
                </a:cubicBezTo>
                <a:close/>
                <a:moveTo>
                  <a:pt x="3054" y="760"/>
                </a:moveTo>
                <a:cubicBezTo>
                  <a:pt x="3133" y="760"/>
                  <a:pt x="3181" y="808"/>
                  <a:pt x="3181" y="888"/>
                </a:cubicBezTo>
                <a:cubicBezTo>
                  <a:pt x="3181" y="951"/>
                  <a:pt x="3133" y="999"/>
                  <a:pt x="3054" y="999"/>
                </a:cubicBezTo>
                <a:cubicBezTo>
                  <a:pt x="2990" y="999"/>
                  <a:pt x="2942" y="951"/>
                  <a:pt x="2942" y="888"/>
                </a:cubicBezTo>
                <a:cubicBezTo>
                  <a:pt x="2942" y="808"/>
                  <a:pt x="2990" y="760"/>
                  <a:pt x="3054" y="760"/>
                </a:cubicBezTo>
                <a:close/>
                <a:moveTo>
                  <a:pt x="3181" y="1667"/>
                </a:moveTo>
                <a:cubicBezTo>
                  <a:pt x="3181" y="1826"/>
                  <a:pt x="3308" y="1954"/>
                  <a:pt x="3451" y="1954"/>
                </a:cubicBezTo>
                <a:cubicBezTo>
                  <a:pt x="3611" y="1954"/>
                  <a:pt x="3738" y="1826"/>
                  <a:pt x="3738" y="1667"/>
                </a:cubicBezTo>
                <a:cubicBezTo>
                  <a:pt x="3738" y="1524"/>
                  <a:pt x="3611" y="1397"/>
                  <a:pt x="3451" y="1397"/>
                </a:cubicBezTo>
                <a:cubicBezTo>
                  <a:pt x="3308" y="1397"/>
                  <a:pt x="3181" y="1524"/>
                  <a:pt x="3181" y="1667"/>
                </a:cubicBezTo>
                <a:close/>
                <a:moveTo>
                  <a:pt x="3451" y="1556"/>
                </a:moveTo>
                <a:cubicBezTo>
                  <a:pt x="3531" y="1556"/>
                  <a:pt x="3579" y="1603"/>
                  <a:pt x="3579" y="1667"/>
                </a:cubicBezTo>
                <a:cubicBezTo>
                  <a:pt x="3579" y="1747"/>
                  <a:pt x="3531" y="1795"/>
                  <a:pt x="3451" y="1795"/>
                </a:cubicBezTo>
                <a:cubicBezTo>
                  <a:pt x="3388" y="1795"/>
                  <a:pt x="3340" y="1747"/>
                  <a:pt x="3340" y="1667"/>
                </a:cubicBezTo>
                <a:cubicBezTo>
                  <a:pt x="3340" y="1603"/>
                  <a:pt x="3388" y="1556"/>
                  <a:pt x="3451" y="1556"/>
                </a:cubicBezTo>
                <a:close/>
                <a:moveTo>
                  <a:pt x="3260" y="2192"/>
                </a:moveTo>
                <a:cubicBezTo>
                  <a:pt x="3102" y="2192"/>
                  <a:pt x="2974" y="2319"/>
                  <a:pt x="2974" y="2463"/>
                </a:cubicBezTo>
                <a:cubicBezTo>
                  <a:pt x="2974" y="2621"/>
                  <a:pt x="3102" y="2749"/>
                  <a:pt x="3260" y="2749"/>
                </a:cubicBezTo>
                <a:cubicBezTo>
                  <a:pt x="3420" y="2749"/>
                  <a:pt x="3531" y="2621"/>
                  <a:pt x="3531" y="2463"/>
                </a:cubicBezTo>
                <a:cubicBezTo>
                  <a:pt x="3531" y="2319"/>
                  <a:pt x="3420" y="2192"/>
                  <a:pt x="3260" y="2192"/>
                </a:cubicBezTo>
                <a:close/>
                <a:moveTo>
                  <a:pt x="3260" y="2590"/>
                </a:moveTo>
                <a:cubicBezTo>
                  <a:pt x="3197" y="2590"/>
                  <a:pt x="3133" y="2542"/>
                  <a:pt x="3133" y="2463"/>
                </a:cubicBezTo>
                <a:cubicBezTo>
                  <a:pt x="3133" y="2399"/>
                  <a:pt x="3197" y="2351"/>
                  <a:pt x="3260" y="2351"/>
                </a:cubicBezTo>
                <a:cubicBezTo>
                  <a:pt x="3324" y="2351"/>
                  <a:pt x="3372" y="2399"/>
                  <a:pt x="3372" y="2463"/>
                </a:cubicBezTo>
                <a:cubicBezTo>
                  <a:pt x="3372" y="2542"/>
                  <a:pt x="3324" y="2590"/>
                  <a:pt x="3260" y="259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231491208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Strategy and measurement - 2</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42" name="TextBox 41">
            <a:extLst>
              <a:ext uri="{FF2B5EF4-FFF2-40B4-BE49-F238E27FC236}">
                <a16:creationId xmlns:a16="http://schemas.microsoft.com/office/drawing/2014/main" id="{E7AE0FD7-69BB-AB40-A8CC-77BA8E00738D}"/>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urve 3</a:t>
            </a:r>
          </a:p>
        </p:txBody>
      </p:sp>
      <p:sp>
        <p:nvSpPr>
          <p:cNvPr id="63" name="TextBox 62">
            <a:extLst>
              <a:ext uri="{FF2B5EF4-FFF2-40B4-BE49-F238E27FC236}">
                <a16:creationId xmlns:a16="http://schemas.microsoft.com/office/drawing/2014/main" id="{135A229D-1A93-2F4B-B4D2-5854ECC3CDC5}"/>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etters</a:t>
            </a:r>
          </a:p>
        </p:txBody>
      </p:sp>
      <p:sp>
        <p:nvSpPr>
          <p:cNvPr id="64" name="TextBox 63">
            <a:extLst>
              <a:ext uri="{FF2B5EF4-FFF2-40B4-BE49-F238E27FC236}">
                <a16:creationId xmlns:a16="http://schemas.microsoft.com/office/drawing/2014/main" id="{E555CC15-77E9-ED4B-9A09-91F89D193598}"/>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ear</a:t>
            </a:r>
          </a:p>
        </p:txBody>
      </p:sp>
      <p:sp>
        <p:nvSpPr>
          <p:cNvPr id="65" name="TextBox 64">
            <a:extLst>
              <a:ext uri="{FF2B5EF4-FFF2-40B4-BE49-F238E27FC236}">
                <a16:creationId xmlns:a16="http://schemas.microsoft.com/office/drawing/2014/main" id="{D8852BD5-763A-9549-9009-02FD579987E5}"/>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rd</a:t>
            </a:r>
          </a:p>
        </p:txBody>
      </p:sp>
      <p:sp>
        <p:nvSpPr>
          <p:cNvPr id="66" name="TextBox 65">
            <a:extLst>
              <a:ext uri="{FF2B5EF4-FFF2-40B4-BE49-F238E27FC236}">
                <a16:creationId xmlns:a16="http://schemas.microsoft.com/office/drawing/2014/main" id="{BFC806E9-3959-404D-B69C-1A2A2C57EEBB}"/>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oller</a:t>
            </a:r>
          </a:p>
        </p:txBody>
      </p:sp>
      <p:sp>
        <p:nvSpPr>
          <p:cNvPr id="67" name="TextBox 66">
            <a:extLst>
              <a:ext uri="{FF2B5EF4-FFF2-40B4-BE49-F238E27FC236}">
                <a16:creationId xmlns:a16="http://schemas.microsoft.com/office/drawing/2014/main" id="{1B63264B-45E1-024A-BFC6-5F81A22F2F73}"/>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uler</a:t>
            </a:r>
          </a:p>
        </p:txBody>
      </p:sp>
      <p:sp>
        <p:nvSpPr>
          <p:cNvPr id="68" name="TextBox 67">
            <a:extLst>
              <a:ext uri="{FF2B5EF4-FFF2-40B4-BE49-F238E27FC236}">
                <a16:creationId xmlns:a16="http://schemas.microsoft.com/office/drawing/2014/main" id="{358205F0-9BEA-CF4E-B70B-894D2CF403DE}"/>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ngle</a:t>
            </a:r>
          </a:p>
        </p:txBody>
      </p:sp>
      <p:sp>
        <p:nvSpPr>
          <p:cNvPr id="69" name="TextBox 68">
            <a:extLst>
              <a:ext uri="{FF2B5EF4-FFF2-40B4-BE49-F238E27FC236}">
                <a16:creationId xmlns:a16="http://schemas.microsoft.com/office/drawing/2014/main" id="{36356DEF-D6E0-C342-9DBC-58D48AD59966}"/>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easure</a:t>
            </a:r>
          </a:p>
        </p:txBody>
      </p:sp>
      <p:sp>
        <p:nvSpPr>
          <p:cNvPr id="70" name="TextBox 69">
            <a:extLst>
              <a:ext uri="{FF2B5EF4-FFF2-40B4-BE49-F238E27FC236}">
                <a16:creationId xmlns:a16="http://schemas.microsoft.com/office/drawing/2014/main" id="{3C508ED5-01BE-C14D-B07A-22A806646BBE}"/>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plit</a:t>
            </a:r>
          </a:p>
        </p:txBody>
      </p:sp>
      <p:sp>
        <p:nvSpPr>
          <p:cNvPr id="71" name="TextBox 70">
            <a:extLst>
              <a:ext uri="{FF2B5EF4-FFF2-40B4-BE49-F238E27FC236}">
                <a16:creationId xmlns:a16="http://schemas.microsoft.com/office/drawing/2014/main" id="{99328397-E662-4C4E-B9E6-BE80382F7CB2}"/>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oints/Circle</a:t>
            </a:r>
          </a:p>
        </p:txBody>
      </p:sp>
      <p:sp>
        <p:nvSpPr>
          <p:cNvPr id="72" name="TextBox 71">
            <a:extLst>
              <a:ext uri="{FF2B5EF4-FFF2-40B4-BE49-F238E27FC236}">
                <a16:creationId xmlns:a16="http://schemas.microsoft.com/office/drawing/2014/main" id="{21DC068F-C4F9-F54F-813E-B5AC3759231E}"/>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oints/Square</a:t>
            </a:r>
          </a:p>
        </p:txBody>
      </p:sp>
      <p:sp>
        <p:nvSpPr>
          <p:cNvPr id="73" name="TextBox 72">
            <a:extLst>
              <a:ext uri="{FF2B5EF4-FFF2-40B4-BE49-F238E27FC236}">
                <a16:creationId xmlns:a16="http://schemas.microsoft.com/office/drawing/2014/main" id="{FAEC8D85-5C7E-674B-94DB-87E37A971246}"/>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oints/Curve</a:t>
            </a:r>
          </a:p>
        </p:txBody>
      </p:sp>
      <p:sp>
        <p:nvSpPr>
          <p:cNvPr id="74" name="TextBox 73">
            <a:extLst>
              <a:ext uri="{FF2B5EF4-FFF2-40B4-BE49-F238E27FC236}">
                <a16:creationId xmlns:a16="http://schemas.microsoft.com/office/drawing/2014/main" id="{271B6AEB-4BEC-DF4B-ACCD-38A70FCB9268}"/>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oints/Line</a:t>
            </a:r>
          </a:p>
        </p:txBody>
      </p:sp>
      <p:sp>
        <p:nvSpPr>
          <p:cNvPr id="75" name="Freeform: Shape 26">
            <a:extLst>
              <a:ext uri="{FF2B5EF4-FFF2-40B4-BE49-F238E27FC236}">
                <a16:creationId xmlns:a16="http://schemas.microsoft.com/office/drawing/2014/main" id="{F2448736-BE3A-5D44-BBA0-0833D9D5F8F7}"/>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6" name="TextBox 75">
            <a:extLst>
              <a:ext uri="{FF2B5EF4-FFF2-40B4-BE49-F238E27FC236}">
                <a16:creationId xmlns:a16="http://schemas.microsoft.com/office/drawing/2014/main" id="{BE189D9A-CD1A-D04A-8726-E8735C3628D3}"/>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pray-paint</a:t>
            </a:r>
          </a:p>
        </p:txBody>
      </p:sp>
      <p:sp>
        <p:nvSpPr>
          <p:cNvPr id="77" name="TextBox 76">
            <a:extLst>
              <a:ext uri="{FF2B5EF4-FFF2-40B4-BE49-F238E27FC236}">
                <a16:creationId xmlns:a16="http://schemas.microsoft.com/office/drawing/2014/main" id="{4D13213E-9A1C-DF43-BAD3-020D9F755393}"/>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irbrush</a:t>
            </a:r>
          </a:p>
        </p:txBody>
      </p:sp>
      <p:sp>
        <p:nvSpPr>
          <p:cNvPr id="78" name="Freeform: Shape 13">
            <a:extLst>
              <a:ext uri="{FF2B5EF4-FFF2-40B4-BE49-F238E27FC236}">
                <a16:creationId xmlns:a16="http://schemas.microsoft.com/office/drawing/2014/main" id="{9459E53C-47C1-5A47-9397-B4412A7F4511}"/>
              </a:ext>
            </a:extLst>
          </p:cNvPr>
          <p:cNvSpPr/>
          <p:nvPr/>
        </p:nvSpPr>
        <p:spPr>
          <a:xfrm>
            <a:off x="2283649" y="3606611"/>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9" name="Freeform: Shape 1">
            <a:extLst>
              <a:ext uri="{FF2B5EF4-FFF2-40B4-BE49-F238E27FC236}">
                <a16:creationId xmlns:a16="http://schemas.microsoft.com/office/drawing/2014/main" id="{709AA765-F8C3-424D-B9AE-C632A610EE08}"/>
              </a:ext>
            </a:extLst>
          </p:cNvPr>
          <p:cNvSpPr/>
          <p:nvPr/>
        </p:nvSpPr>
        <p:spPr>
          <a:xfrm>
            <a:off x="21196856" y="6406072"/>
            <a:ext cx="1717200" cy="1717560"/>
          </a:xfrm>
          <a:custGeom>
            <a:avLst/>
            <a:gdLst/>
            <a:ahLst/>
            <a:cxnLst>
              <a:cxn ang="3cd4">
                <a:pos x="hc" y="t"/>
              </a:cxn>
              <a:cxn ang="cd2">
                <a:pos x="l" y="vc"/>
              </a:cxn>
              <a:cxn ang="cd4">
                <a:pos x="hc" y="b"/>
              </a:cxn>
              <a:cxn ang="0">
                <a:pos x="r" y="vc"/>
              </a:cxn>
            </a:cxnLst>
            <a:rect l="l" t="t" r="r" b="b"/>
            <a:pathLst>
              <a:path w="4771" h="4772">
                <a:moveTo>
                  <a:pt x="1908" y="4406"/>
                </a:moveTo>
                <a:cubicBezTo>
                  <a:pt x="1908" y="4693"/>
                  <a:pt x="1908" y="4693"/>
                  <a:pt x="1908" y="4693"/>
                </a:cubicBezTo>
                <a:cubicBezTo>
                  <a:pt x="1908" y="4740"/>
                  <a:pt x="1940" y="4772"/>
                  <a:pt x="1988" y="4772"/>
                </a:cubicBezTo>
                <a:cubicBezTo>
                  <a:pt x="2783" y="4772"/>
                  <a:pt x="2783" y="4772"/>
                  <a:pt x="2783" y="4772"/>
                </a:cubicBezTo>
                <a:cubicBezTo>
                  <a:pt x="2831" y="4772"/>
                  <a:pt x="2863" y="4740"/>
                  <a:pt x="2863" y="4693"/>
                </a:cubicBezTo>
                <a:cubicBezTo>
                  <a:pt x="2863" y="4406"/>
                  <a:pt x="2863" y="4406"/>
                  <a:pt x="2863" y="4406"/>
                </a:cubicBezTo>
                <a:cubicBezTo>
                  <a:pt x="3626" y="4215"/>
                  <a:pt x="4215" y="3627"/>
                  <a:pt x="4390" y="2863"/>
                </a:cubicBezTo>
                <a:cubicBezTo>
                  <a:pt x="4692" y="2863"/>
                  <a:pt x="4692" y="2863"/>
                  <a:pt x="4692" y="2863"/>
                </a:cubicBezTo>
                <a:cubicBezTo>
                  <a:pt x="4740" y="2863"/>
                  <a:pt x="4771" y="2832"/>
                  <a:pt x="4771" y="2784"/>
                </a:cubicBezTo>
                <a:cubicBezTo>
                  <a:pt x="4771" y="1988"/>
                  <a:pt x="4771" y="1988"/>
                  <a:pt x="4771" y="1988"/>
                </a:cubicBezTo>
                <a:cubicBezTo>
                  <a:pt x="4771" y="1957"/>
                  <a:pt x="4740" y="1909"/>
                  <a:pt x="4692" y="1909"/>
                </a:cubicBezTo>
                <a:cubicBezTo>
                  <a:pt x="4390" y="1909"/>
                  <a:pt x="4390" y="1909"/>
                  <a:pt x="4390" y="1909"/>
                </a:cubicBezTo>
                <a:cubicBezTo>
                  <a:pt x="4215" y="1145"/>
                  <a:pt x="3626" y="557"/>
                  <a:pt x="2863" y="382"/>
                </a:cubicBezTo>
                <a:cubicBezTo>
                  <a:pt x="2863" y="80"/>
                  <a:pt x="2863" y="80"/>
                  <a:pt x="2863" y="80"/>
                </a:cubicBezTo>
                <a:cubicBezTo>
                  <a:pt x="2863" y="48"/>
                  <a:pt x="2831" y="0"/>
                  <a:pt x="2783" y="0"/>
                </a:cubicBezTo>
                <a:cubicBezTo>
                  <a:pt x="1988" y="0"/>
                  <a:pt x="1988" y="0"/>
                  <a:pt x="1988" y="0"/>
                </a:cubicBezTo>
                <a:cubicBezTo>
                  <a:pt x="1940" y="0"/>
                  <a:pt x="1908" y="48"/>
                  <a:pt x="1908" y="80"/>
                </a:cubicBezTo>
                <a:cubicBezTo>
                  <a:pt x="1908" y="382"/>
                  <a:pt x="1908" y="382"/>
                  <a:pt x="1908" y="382"/>
                </a:cubicBezTo>
                <a:cubicBezTo>
                  <a:pt x="1145" y="557"/>
                  <a:pt x="557" y="1145"/>
                  <a:pt x="381" y="1909"/>
                </a:cubicBezTo>
                <a:cubicBezTo>
                  <a:pt x="80" y="1909"/>
                  <a:pt x="80" y="1909"/>
                  <a:pt x="80" y="1909"/>
                </a:cubicBezTo>
                <a:cubicBezTo>
                  <a:pt x="48" y="1909"/>
                  <a:pt x="0" y="1957"/>
                  <a:pt x="0" y="1988"/>
                </a:cubicBezTo>
                <a:cubicBezTo>
                  <a:pt x="0" y="2784"/>
                  <a:pt x="0" y="2784"/>
                  <a:pt x="0" y="2784"/>
                </a:cubicBezTo>
                <a:cubicBezTo>
                  <a:pt x="0" y="2832"/>
                  <a:pt x="48" y="2863"/>
                  <a:pt x="80" y="2863"/>
                </a:cubicBezTo>
                <a:cubicBezTo>
                  <a:pt x="381" y="2863"/>
                  <a:pt x="381" y="2863"/>
                  <a:pt x="381" y="2863"/>
                </a:cubicBezTo>
                <a:cubicBezTo>
                  <a:pt x="557" y="3627"/>
                  <a:pt x="1145" y="4215"/>
                  <a:pt x="1908" y="4406"/>
                </a:cubicBezTo>
                <a:close/>
                <a:moveTo>
                  <a:pt x="2704" y="4613"/>
                </a:moveTo>
                <a:cubicBezTo>
                  <a:pt x="2068" y="4613"/>
                  <a:pt x="2068" y="4613"/>
                  <a:pt x="2068" y="4613"/>
                </a:cubicBezTo>
                <a:cubicBezTo>
                  <a:pt x="2068" y="3977"/>
                  <a:pt x="2068" y="3977"/>
                  <a:pt x="2068" y="3977"/>
                </a:cubicBezTo>
                <a:cubicBezTo>
                  <a:pt x="2704" y="3977"/>
                  <a:pt x="2704" y="3977"/>
                  <a:pt x="2704" y="3977"/>
                </a:cubicBezTo>
                <a:close/>
                <a:moveTo>
                  <a:pt x="4613" y="2068"/>
                </a:moveTo>
                <a:cubicBezTo>
                  <a:pt x="4613" y="2704"/>
                  <a:pt x="4613" y="2704"/>
                  <a:pt x="4613" y="2704"/>
                </a:cubicBezTo>
                <a:cubicBezTo>
                  <a:pt x="3976" y="2704"/>
                  <a:pt x="3976" y="2704"/>
                  <a:pt x="3976" y="2704"/>
                </a:cubicBezTo>
                <a:cubicBezTo>
                  <a:pt x="3976" y="2068"/>
                  <a:pt x="3976" y="2068"/>
                  <a:pt x="3976" y="2068"/>
                </a:cubicBezTo>
                <a:close/>
                <a:moveTo>
                  <a:pt x="2068" y="159"/>
                </a:moveTo>
                <a:cubicBezTo>
                  <a:pt x="2704" y="159"/>
                  <a:pt x="2704" y="159"/>
                  <a:pt x="2704" y="159"/>
                </a:cubicBezTo>
                <a:cubicBezTo>
                  <a:pt x="2704" y="796"/>
                  <a:pt x="2704" y="796"/>
                  <a:pt x="2704" y="796"/>
                </a:cubicBezTo>
                <a:cubicBezTo>
                  <a:pt x="2068" y="796"/>
                  <a:pt x="2068" y="796"/>
                  <a:pt x="2068" y="796"/>
                </a:cubicBezTo>
                <a:close/>
                <a:moveTo>
                  <a:pt x="159" y="2704"/>
                </a:moveTo>
                <a:cubicBezTo>
                  <a:pt x="159" y="2068"/>
                  <a:pt x="159" y="2068"/>
                  <a:pt x="159" y="2068"/>
                </a:cubicBezTo>
                <a:cubicBezTo>
                  <a:pt x="795" y="2068"/>
                  <a:pt x="795" y="2068"/>
                  <a:pt x="795" y="2068"/>
                </a:cubicBezTo>
                <a:cubicBezTo>
                  <a:pt x="795" y="2704"/>
                  <a:pt x="795" y="2704"/>
                  <a:pt x="795" y="2704"/>
                </a:cubicBezTo>
                <a:close/>
                <a:moveTo>
                  <a:pt x="875" y="2863"/>
                </a:moveTo>
                <a:cubicBezTo>
                  <a:pt x="923" y="2863"/>
                  <a:pt x="954" y="2832"/>
                  <a:pt x="954" y="2784"/>
                </a:cubicBezTo>
                <a:cubicBezTo>
                  <a:pt x="954" y="1988"/>
                  <a:pt x="954" y="1988"/>
                  <a:pt x="954" y="1988"/>
                </a:cubicBezTo>
                <a:cubicBezTo>
                  <a:pt x="954" y="1957"/>
                  <a:pt x="923" y="1909"/>
                  <a:pt x="875" y="1909"/>
                </a:cubicBezTo>
                <a:cubicBezTo>
                  <a:pt x="541" y="1909"/>
                  <a:pt x="541" y="1909"/>
                  <a:pt x="541" y="1909"/>
                </a:cubicBezTo>
                <a:cubicBezTo>
                  <a:pt x="716" y="1241"/>
                  <a:pt x="1241" y="716"/>
                  <a:pt x="1908" y="541"/>
                </a:cubicBezTo>
                <a:cubicBezTo>
                  <a:pt x="1908" y="875"/>
                  <a:pt x="1908" y="875"/>
                  <a:pt x="1908" y="875"/>
                </a:cubicBezTo>
                <a:cubicBezTo>
                  <a:pt x="1908" y="923"/>
                  <a:pt x="1940" y="955"/>
                  <a:pt x="1988" y="955"/>
                </a:cubicBezTo>
                <a:cubicBezTo>
                  <a:pt x="2783" y="955"/>
                  <a:pt x="2783" y="955"/>
                  <a:pt x="2783" y="955"/>
                </a:cubicBezTo>
                <a:cubicBezTo>
                  <a:pt x="2831" y="955"/>
                  <a:pt x="2863" y="923"/>
                  <a:pt x="2863" y="875"/>
                </a:cubicBezTo>
                <a:cubicBezTo>
                  <a:pt x="2863" y="541"/>
                  <a:pt x="2863" y="541"/>
                  <a:pt x="2863" y="541"/>
                </a:cubicBezTo>
                <a:cubicBezTo>
                  <a:pt x="3531" y="716"/>
                  <a:pt x="4056" y="1241"/>
                  <a:pt x="4231" y="1909"/>
                </a:cubicBezTo>
                <a:cubicBezTo>
                  <a:pt x="3897" y="1909"/>
                  <a:pt x="3897" y="1909"/>
                  <a:pt x="3897" y="1909"/>
                </a:cubicBezTo>
                <a:cubicBezTo>
                  <a:pt x="3849" y="1909"/>
                  <a:pt x="3817" y="1957"/>
                  <a:pt x="3817" y="1988"/>
                </a:cubicBezTo>
                <a:cubicBezTo>
                  <a:pt x="3817" y="2784"/>
                  <a:pt x="3817" y="2784"/>
                  <a:pt x="3817" y="2784"/>
                </a:cubicBezTo>
                <a:cubicBezTo>
                  <a:pt x="3817" y="2832"/>
                  <a:pt x="3849" y="2863"/>
                  <a:pt x="3897" y="2863"/>
                </a:cubicBezTo>
                <a:cubicBezTo>
                  <a:pt x="4231" y="2863"/>
                  <a:pt x="4231" y="2863"/>
                  <a:pt x="4231" y="2863"/>
                </a:cubicBezTo>
                <a:cubicBezTo>
                  <a:pt x="4056" y="3532"/>
                  <a:pt x="3531" y="4056"/>
                  <a:pt x="2863" y="4231"/>
                </a:cubicBezTo>
                <a:cubicBezTo>
                  <a:pt x="2863" y="3897"/>
                  <a:pt x="2863" y="3897"/>
                  <a:pt x="2863" y="3897"/>
                </a:cubicBezTo>
                <a:cubicBezTo>
                  <a:pt x="2863" y="3850"/>
                  <a:pt x="2831" y="3818"/>
                  <a:pt x="2783" y="3818"/>
                </a:cubicBezTo>
                <a:cubicBezTo>
                  <a:pt x="1988" y="3818"/>
                  <a:pt x="1988" y="3818"/>
                  <a:pt x="1988" y="3818"/>
                </a:cubicBezTo>
                <a:cubicBezTo>
                  <a:pt x="1940" y="3818"/>
                  <a:pt x="1908" y="3850"/>
                  <a:pt x="1908" y="3897"/>
                </a:cubicBezTo>
                <a:cubicBezTo>
                  <a:pt x="1908" y="4231"/>
                  <a:pt x="1908" y="4231"/>
                  <a:pt x="1908" y="4231"/>
                </a:cubicBezTo>
                <a:cubicBezTo>
                  <a:pt x="1241" y="4056"/>
                  <a:pt x="716" y="3532"/>
                  <a:pt x="541" y="28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1" name="Freeform: Shape 2">
            <a:extLst>
              <a:ext uri="{FF2B5EF4-FFF2-40B4-BE49-F238E27FC236}">
                <a16:creationId xmlns:a16="http://schemas.microsoft.com/office/drawing/2014/main" id="{36F4FD3E-0602-7540-A7E8-BFF69C03EDF0}"/>
              </a:ext>
            </a:extLst>
          </p:cNvPr>
          <p:cNvSpPr/>
          <p:nvPr/>
        </p:nvSpPr>
        <p:spPr>
          <a:xfrm>
            <a:off x="17384202" y="6566632"/>
            <a:ext cx="1618560" cy="1402199"/>
          </a:xfrm>
          <a:custGeom>
            <a:avLst/>
            <a:gdLst/>
            <a:ahLst/>
            <a:cxnLst>
              <a:cxn ang="3cd4">
                <a:pos x="hc" y="t"/>
              </a:cxn>
              <a:cxn ang="cd2">
                <a:pos x="l" y="vc"/>
              </a:cxn>
              <a:cxn ang="cd4">
                <a:pos x="hc" y="b"/>
              </a:cxn>
              <a:cxn ang="0">
                <a:pos x="r" y="vc"/>
              </a:cxn>
            </a:cxnLst>
            <a:rect l="l" t="t" r="r" b="b"/>
            <a:pathLst>
              <a:path w="4497" h="3896">
                <a:moveTo>
                  <a:pt x="923" y="3404"/>
                </a:moveTo>
                <a:lnTo>
                  <a:pt x="939" y="3404"/>
                </a:lnTo>
                <a:cubicBezTo>
                  <a:pt x="1050" y="3404"/>
                  <a:pt x="1146" y="3356"/>
                  <a:pt x="1225" y="3276"/>
                </a:cubicBezTo>
                <a:cubicBezTo>
                  <a:pt x="1273" y="3244"/>
                  <a:pt x="2704" y="1765"/>
                  <a:pt x="3022" y="1447"/>
                </a:cubicBezTo>
                <a:lnTo>
                  <a:pt x="3245" y="1670"/>
                </a:lnTo>
                <a:cubicBezTo>
                  <a:pt x="3277" y="1702"/>
                  <a:pt x="3325" y="1702"/>
                  <a:pt x="3357" y="1670"/>
                </a:cubicBezTo>
                <a:lnTo>
                  <a:pt x="3452" y="1574"/>
                </a:lnTo>
                <a:cubicBezTo>
                  <a:pt x="3563" y="1670"/>
                  <a:pt x="3818" y="1845"/>
                  <a:pt x="4088" y="1845"/>
                </a:cubicBezTo>
                <a:cubicBezTo>
                  <a:pt x="4215" y="1845"/>
                  <a:pt x="4342" y="1813"/>
                  <a:pt x="4470" y="1717"/>
                </a:cubicBezTo>
                <a:cubicBezTo>
                  <a:pt x="4502" y="1686"/>
                  <a:pt x="4502" y="1638"/>
                  <a:pt x="4486" y="1606"/>
                </a:cubicBezTo>
                <a:cubicBezTo>
                  <a:pt x="4454" y="1574"/>
                  <a:pt x="4406" y="1559"/>
                  <a:pt x="4375" y="1590"/>
                </a:cubicBezTo>
                <a:cubicBezTo>
                  <a:pt x="4072" y="1813"/>
                  <a:pt x="3722" y="1590"/>
                  <a:pt x="3563" y="1463"/>
                </a:cubicBezTo>
                <a:lnTo>
                  <a:pt x="3643" y="1399"/>
                </a:lnTo>
                <a:cubicBezTo>
                  <a:pt x="3643" y="1383"/>
                  <a:pt x="3658" y="1368"/>
                  <a:pt x="3658" y="1336"/>
                </a:cubicBezTo>
                <a:cubicBezTo>
                  <a:pt x="3658" y="1320"/>
                  <a:pt x="3643" y="1304"/>
                  <a:pt x="3643" y="1288"/>
                </a:cubicBezTo>
                <a:lnTo>
                  <a:pt x="3404" y="1065"/>
                </a:lnTo>
                <a:lnTo>
                  <a:pt x="3913" y="556"/>
                </a:lnTo>
                <a:cubicBezTo>
                  <a:pt x="3945" y="524"/>
                  <a:pt x="3945" y="477"/>
                  <a:pt x="3913" y="445"/>
                </a:cubicBezTo>
                <a:lnTo>
                  <a:pt x="3500" y="15"/>
                </a:lnTo>
                <a:cubicBezTo>
                  <a:pt x="3484" y="0"/>
                  <a:pt x="3468" y="0"/>
                  <a:pt x="3436" y="0"/>
                </a:cubicBezTo>
                <a:cubicBezTo>
                  <a:pt x="3420" y="0"/>
                  <a:pt x="3404" y="0"/>
                  <a:pt x="3388" y="15"/>
                </a:cubicBezTo>
                <a:lnTo>
                  <a:pt x="1591" y="1813"/>
                </a:lnTo>
                <a:lnTo>
                  <a:pt x="1591" y="1765"/>
                </a:lnTo>
                <a:cubicBezTo>
                  <a:pt x="1591" y="1733"/>
                  <a:pt x="1591" y="1717"/>
                  <a:pt x="1575" y="1702"/>
                </a:cubicBezTo>
                <a:lnTo>
                  <a:pt x="1225" y="1193"/>
                </a:lnTo>
                <a:cubicBezTo>
                  <a:pt x="1209" y="1177"/>
                  <a:pt x="1193" y="1161"/>
                  <a:pt x="1161" y="1161"/>
                </a:cubicBezTo>
                <a:cubicBezTo>
                  <a:pt x="1146" y="1145"/>
                  <a:pt x="1113" y="1161"/>
                  <a:pt x="1098" y="1177"/>
                </a:cubicBezTo>
                <a:lnTo>
                  <a:pt x="509" y="1781"/>
                </a:lnTo>
                <a:cubicBezTo>
                  <a:pt x="494" y="1797"/>
                  <a:pt x="477" y="1813"/>
                  <a:pt x="477" y="1829"/>
                </a:cubicBezTo>
                <a:cubicBezTo>
                  <a:pt x="477" y="1860"/>
                  <a:pt x="494" y="1877"/>
                  <a:pt x="509" y="1892"/>
                </a:cubicBezTo>
                <a:lnTo>
                  <a:pt x="1018" y="2258"/>
                </a:lnTo>
                <a:cubicBezTo>
                  <a:pt x="1034" y="2274"/>
                  <a:pt x="1039" y="2269"/>
                  <a:pt x="1050" y="2274"/>
                </a:cubicBezTo>
                <a:lnTo>
                  <a:pt x="1098" y="2290"/>
                </a:lnTo>
                <a:cubicBezTo>
                  <a:pt x="907" y="2465"/>
                  <a:pt x="684" y="2672"/>
                  <a:pt x="652" y="2704"/>
                </a:cubicBezTo>
                <a:cubicBezTo>
                  <a:pt x="573" y="2783"/>
                  <a:pt x="525" y="2878"/>
                  <a:pt x="525" y="2990"/>
                </a:cubicBezTo>
                <a:cubicBezTo>
                  <a:pt x="525" y="3022"/>
                  <a:pt x="525" y="3053"/>
                  <a:pt x="541" y="3069"/>
                </a:cubicBezTo>
                <a:lnTo>
                  <a:pt x="32" y="3578"/>
                </a:lnTo>
                <a:cubicBezTo>
                  <a:pt x="16" y="3595"/>
                  <a:pt x="0" y="3610"/>
                  <a:pt x="0" y="3642"/>
                </a:cubicBezTo>
                <a:cubicBezTo>
                  <a:pt x="0" y="3658"/>
                  <a:pt x="16" y="3674"/>
                  <a:pt x="32" y="3690"/>
                </a:cubicBezTo>
                <a:lnTo>
                  <a:pt x="207" y="3865"/>
                </a:lnTo>
                <a:cubicBezTo>
                  <a:pt x="223" y="3881"/>
                  <a:pt x="239" y="3896"/>
                  <a:pt x="271" y="3896"/>
                </a:cubicBezTo>
                <a:cubicBezTo>
                  <a:pt x="286" y="3896"/>
                  <a:pt x="303" y="3881"/>
                  <a:pt x="318" y="3865"/>
                </a:cubicBezTo>
                <a:lnTo>
                  <a:pt x="827" y="3387"/>
                </a:lnTo>
                <a:cubicBezTo>
                  <a:pt x="859" y="3404"/>
                  <a:pt x="891" y="3404"/>
                  <a:pt x="923" y="3404"/>
                </a:cubicBezTo>
                <a:close/>
                <a:moveTo>
                  <a:pt x="1098" y="2115"/>
                </a:moveTo>
                <a:lnTo>
                  <a:pt x="684" y="1813"/>
                </a:lnTo>
                <a:lnTo>
                  <a:pt x="1146" y="1351"/>
                </a:lnTo>
                <a:lnTo>
                  <a:pt x="1432" y="1765"/>
                </a:lnTo>
                <a:lnTo>
                  <a:pt x="1400" y="2004"/>
                </a:lnTo>
                <a:lnTo>
                  <a:pt x="1368" y="2035"/>
                </a:lnTo>
                <a:cubicBezTo>
                  <a:pt x="1352" y="2051"/>
                  <a:pt x="1321" y="2083"/>
                  <a:pt x="1257" y="2147"/>
                </a:cubicBezTo>
                <a:close/>
                <a:moveTo>
                  <a:pt x="271" y="3705"/>
                </a:moveTo>
                <a:lnTo>
                  <a:pt x="191" y="3642"/>
                </a:lnTo>
                <a:lnTo>
                  <a:pt x="604" y="3229"/>
                </a:lnTo>
                <a:cubicBezTo>
                  <a:pt x="604" y="3260"/>
                  <a:pt x="621" y="3276"/>
                  <a:pt x="637" y="3292"/>
                </a:cubicBezTo>
                <a:cubicBezTo>
                  <a:pt x="652" y="3292"/>
                  <a:pt x="668" y="3308"/>
                  <a:pt x="684" y="3324"/>
                </a:cubicBezTo>
                <a:close/>
                <a:moveTo>
                  <a:pt x="684" y="3006"/>
                </a:moveTo>
                <a:cubicBezTo>
                  <a:pt x="684" y="2926"/>
                  <a:pt x="716" y="2863"/>
                  <a:pt x="764" y="2815"/>
                </a:cubicBezTo>
                <a:cubicBezTo>
                  <a:pt x="795" y="2783"/>
                  <a:pt x="1241" y="2369"/>
                  <a:pt x="1479" y="2147"/>
                </a:cubicBezTo>
                <a:lnTo>
                  <a:pt x="3436" y="190"/>
                </a:lnTo>
                <a:lnTo>
                  <a:pt x="3754" y="493"/>
                </a:lnTo>
                <a:lnTo>
                  <a:pt x="3245" y="1002"/>
                </a:lnTo>
                <a:cubicBezTo>
                  <a:pt x="3229" y="1018"/>
                  <a:pt x="3213" y="1033"/>
                  <a:pt x="3213" y="1065"/>
                </a:cubicBezTo>
                <a:cubicBezTo>
                  <a:pt x="3213" y="1081"/>
                  <a:pt x="3229" y="1097"/>
                  <a:pt x="3245" y="1113"/>
                </a:cubicBezTo>
                <a:lnTo>
                  <a:pt x="3468" y="1336"/>
                </a:lnTo>
                <a:lnTo>
                  <a:pt x="3293" y="1511"/>
                </a:lnTo>
                <a:lnTo>
                  <a:pt x="3070" y="1288"/>
                </a:lnTo>
                <a:cubicBezTo>
                  <a:pt x="3054" y="1272"/>
                  <a:pt x="3038" y="1256"/>
                  <a:pt x="3022" y="1256"/>
                </a:cubicBezTo>
                <a:cubicBezTo>
                  <a:pt x="3006" y="1256"/>
                  <a:pt x="2975" y="1272"/>
                  <a:pt x="2959" y="1288"/>
                </a:cubicBezTo>
                <a:cubicBezTo>
                  <a:pt x="2943" y="1304"/>
                  <a:pt x="1161" y="3117"/>
                  <a:pt x="1113" y="3165"/>
                </a:cubicBezTo>
                <a:cubicBezTo>
                  <a:pt x="1066" y="3213"/>
                  <a:pt x="1003" y="3244"/>
                  <a:pt x="939" y="3244"/>
                </a:cubicBezTo>
                <a:lnTo>
                  <a:pt x="923" y="3244"/>
                </a:lnTo>
                <a:cubicBezTo>
                  <a:pt x="859" y="3244"/>
                  <a:pt x="795" y="3213"/>
                  <a:pt x="748" y="3181"/>
                </a:cubicBezTo>
                <a:cubicBezTo>
                  <a:pt x="716" y="3133"/>
                  <a:pt x="684" y="3069"/>
                  <a:pt x="684" y="3006"/>
                </a:cubicBezTo>
                <a:close/>
                <a:moveTo>
                  <a:pt x="955" y="922"/>
                </a:moveTo>
                <a:lnTo>
                  <a:pt x="239" y="1622"/>
                </a:lnTo>
                <a:cubicBezTo>
                  <a:pt x="207" y="1654"/>
                  <a:pt x="207" y="1702"/>
                  <a:pt x="239" y="1733"/>
                </a:cubicBezTo>
                <a:cubicBezTo>
                  <a:pt x="255" y="1749"/>
                  <a:pt x="271" y="1765"/>
                  <a:pt x="303" y="1765"/>
                </a:cubicBezTo>
                <a:cubicBezTo>
                  <a:pt x="318" y="1765"/>
                  <a:pt x="334" y="1749"/>
                  <a:pt x="350" y="1733"/>
                </a:cubicBezTo>
                <a:lnTo>
                  <a:pt x="1066" y="1033"/>
                </a:lnTo>
                <a:cubicBezTo>
                  <a:pt x="1098" y="1002"/>
                  <a:pt x="1098" y="954"/>
                  <a:pt x="1066" y="922"/>
                </a:cubicBezTo>
                <a:cubicBezTo>
                  <a:pt x="1034" y="890"/>
                  <a:pt x="986" y="890"/>
                  <a:pt x="955" y="92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2" name="Freeform: Shape 3">
            <a:extLst>
              <a:ext uri="{FF2B5EF4-FFF2-40B4-BE49-F238E27FC236}">
                <a16:creationId xmlns:a16="http://schemas.microsoft.com/office/drawing/2014/main" id="{FAD2A231-2C52-7A42-9DEC-C401EE1B4FD8}"/>
              </a:ext>
            </a:extLst>
          </p:cNvPr>
          <p:cNvSpPr/>
          <p:nvPr/>
        </p:nvSpPr>
        <p:spPr>
          <a:xfrm>
            <a:off x="6056269" y="3490846"/>
            <a:ext cx="1495799" cy="1414080"/>
          </a:xfrm>
          <a:custGeom>
            <a:avLst/>
            <a:gdLst/>
            <a:ahLst/>
            <a:cxnLst>
              <a:cxn ang="3cd4">
                <a:pos x="hc" y="t"/>
              </a:cxn>
              <a:cxn ang="cd2">
                <a:pos x="l" y="vc"/>
              </a:cxn>
              <a:cxn ang="cd4">
                <a:pos x="hc" y="b"/>
              </a:cxn>
              <a:cxn ang="0">
                <a:pos x="r" y="vc"/>
              </a:cxn>
            </a:cxnLst>
            <a:rect l="l" t="t" r="r" b="b"/>
            <a:pathLst>
              <a:path w="4156" h="3929">
                <a:moveTo>
                  <a:pt x="52" y="3929"/>
                </a:moveTo>
                <a:lnTo>
                  <a:pt x="84" y="3929"/>
                </a:lnTo>
                <a:cubicBezTo>
                  <a:pt x="115" y="3929"/>
                  <a:pt x="147" y="3914"/>
                  <a:pt x="163" y="3881"/>
                </a:cubicBezTo>
                <a:lnTo>
                  <a:pt x="449" y="2943"/>
                </a:lnTo>
                <a:lnTo>
                  <a:pt x="2056" y="2943"/>
                </a:lnTo>
                <a:lnTo>
                  <a:pt x="2342" y="3881"/>
                </a:lnTo>
                <a:cubicBezTo>
                  <a:pt x="2358" y="3914"/>
                  <a:pt x="2390" y="3929"/>
                  <a:pt x="2422" y="3929"/>
                </a:cubicBezTo>
                <a:lnTo>
                  <a:pt x="2454" y="3929"/>
                </a:lnTo>
                <a:cubicBezTo>
                  <a:pt x="2485" y="3914"/>
                  <a:pt x="2517" y="3866"/>
                  <a:pt x="2501" y="3834"/>
                </a:cubicBezTo>
                <a:lnTo>
                  <a:pt x="1324" y="48"/>
                </a:lnTo>
                <a:lnTo>
                  <a:pt x="1324" y="33"/>
                </a:lnTo>
                <a:lnTo>
                  <a:pt x="1308" y="16"/>
                </a:lnTo>
                <a:cubicBezTo>
                  <a:pt x="1293" y="0"/>
                  <a:pt x="1276" y="0"/>
                  <a:pt x="1245" y="0"/>
                </a:cubicBezTo>
                <a:cubicBezTo>
                  <a:pt x="1229" y="0"/>
                  <a:pt x="1213" y="0"/>
                  <a:pt x="1197" y="16"/>
                </a:cubicBezTo>
                <a:cubicBezTo>
                  <a:pt x="1192" y="22"/>
                  <a:pt x="1197" y="33"/>
                  <a:pt x="1181" y="33"/>
                </a:cubicBezTo>
                <a:lnTo>
                  <a:pt x="1181" y="48"/>
                </a:lnTo>
                <a:lnTo>
                  <a:pt x="4" y="3834"/>
                </a:lnTo>
                <a:cubicBezTo>
                  <a:pt x="-12" y="3866"/>
                  <a:pt x="20" y="3914"/>
                  <a:pt x="52" y="3929"/>
                </a:cubicBezTo>
                <a:close/>
                <a:moveTo>
                  <a:pt x="1245" y="334"/>
                </a:moveTo>
                <a:lnTo>
                  <a:pt x="2008" y="2784"/>
                </a:lnTo>
                <a:lnTo>
                  <a:pt x="497" y="2784"/>
                </a:lnTo>
                <a:close/>
                <a:moveTo>
                  <a:pt x="2724" y="2196"/>
                </a:moveTo>
                <a:cubicBezTo>
                  <a:pt x="2692" y="2243"/>
                  <a:pt x="2708" y="2291"/>
                  <a:pt x="2740" y="2307"/>
                </a:cubicBezTo>
                <a:cubicBezTo>
                  <a:pt x="2787" y="2323"/>
                  <a:pt x="2835" y="2323"/>
                  <a:pt x="2851" y="2275"/>
                </a:cubicBezTo>
                <a:cubicBezTo>
                  <a:pt x="3106" y="2200"/>
                  <a:pt x="3042" y="1957"/>
                  <a:pt x="3615" y="2052"/>
                </a:cubicBezTo>
                <a:cubicBezTo>
                  <a:pt x="3853" y="2084"/>
                  <a:pt x="3996" y="2243"/>
                  <a:pt x="3996" y="2466"/>
                </a:cubicBezTo>
                <a:lnTo>
                  <a:pt x="3996" y="2768"/>
                </a:lnTo>
                <a:cubicBezTo>
                  <a:pt x="3965" y="2768"/>
                  <a:pt x="3933" y="2752"/>
                  <a:pt x="3901" y="2752"/>
                </a:cubicBezTo>
                <a:cubicBezTo>
                  <a:pt x="3615" y="2720"/>
                  <a:pt x="3121" y="2657"/>
                  <a:pt x="2851" y="2879"/>
                </a:cubicBezTo>
                <a:cubicBezTo>
                  <a:pt x="2740" y="2991"/>
                  <a:pt x="2692" y="3118"/>
                  <a:pt x="2692" y="3309"/>
                </a:cubicBezTo>
                <a:cubicBezTo>
                  <a:pt x="2692" y="3500"/>
                  <a:pt x="2787" y="3659"/>
                  <a:pt x="2978" y="3754"/>
                </a:cubicBezTo>
                <a:cubicBezTo>
                  <a:pt x="3106" y="3818"/>
                  <a:pt x="3265" y="3850"/>
                  <a:pt x="3439" y="3850"/>
                </a:cubicBezTo>
                <a:cubicBezTo>
                  <a:pt x="3630" y="3850"/>
                  <a:pt x="3838" y="3802"/>
                  <a:pt x="3996" y="3723"/>
                </a:cubicBezTo>
                <a:lnTo>
                  <a:pt x="3996" y="3738"/>
                </a:lnTo>
                <a:cubicBezTo>
                  <a:pt x="3996" y="3786"/>
                  <a:pt x="4028" y="3818"/>
                  <a:pt x="4076" y="3818"/>
                </a:cubicBezTo>
                <a:cubicBezTo>
                  <a:pt x="4108" y="3818"/>
                  <a:pt x="4156" y="3786"/>
                  <a:pt x="4156" y="3738"/>
                </a:cubicBezTo>
                <a:lnTo>
                  <a:pt x="4156" y="2466"/>
                </a:lnTo>
                <a:cubicBezTo>
                  <a:pt x="4156" y="2164"/>
                  <a:pt x="3948" y="1941"/>
                  <a:pt x="3647" y="1893"/>
                </a:cubicBezTo>
                <a:cubicBezTo>
                  <a:pt x="2947" y="1782"/>
                  <a:pt x="2724" y="2179"/>
                  <a:pt x="2724" y="2196"/>
                </a:cubicBezTo>
                <a:close/>
                <a:moveTo>
                  <a:pt x="3996" y="3532"/>
                </a:moveTo>
                <a:lnTo>
                  <a:pt x="3981" y="3532"/>
                </a:lnTo>
                <a:cubicBezTo>
                  <a:pt x="3758" y="3706"/>
                  <a:pt x="3312" y="3738"/>
                  <a:pt x="3042" y="3611"/>
                </a:cubicBezTo>
                <a:cubicBezTo>
                  <a:pt x="2915" y="3532"/>
                  <a:pt x="2851" y="3436"/>
                  <a:pt x="2851" y="3309"/>
                </a:cubicBezTo>
                <a:cubicBezTo>
                  <a:pt x="2851" y="3166"/>
                  <a:pt x="2883" y="3070"/>
                  <a:pt x="2963" y="3007"/>
                </a:cubicBezTo>
                <a:cubicBezTo>
                  <a:pt x="3169" y="2816"/>
                  <a:pt x="3630" y="2879"/>
                  <a:pt x="3885" y="2911"/>
                </a:cubicBezTo>
                <a:cubicBezTo>
                  <a:pt x="3917" y="2911"/>
                  <a:pt x="3965" y="2927"/>
                  <a:pt x="3996" y="292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3" name="Freeform: Shape 4">
            <a:extLst>
              <a:ext uri="{FF2B5EF4-FFF2-40B4-BE49-F238E27FC236}">
                <a16:creationId xmlns:a16="http://schemas.microsoft.com/office/drawing/2014/main" id="{30CAD486-03D1-A645-8481-74FABA154325}"/>
              </a:ext>
            </a:extLst>
          </p:cNvPr>
          <p:cNvSpPr/>
          <p:nvPr/>
        </p:nvSpPr>
        <p:spPr>
          <a:xfrm>
            <a:off x="9820780" y="3121603"/>
            <a:ext cx="1888920" cy="1889640"/>
          </a:xfrm>
          <a:custGeom>
            <a:avLst/>
            <a:gdLst/>
            <a:ahLst/>
            <a:cxnLst>
              <a:cxn ang="3cd4">
                <a:pos x="hc" y="t"/>
              </a:cxn>
              <a:cxn ang="cd2">
                <a:pos x="l" y="vc"/>
              </a:cxn>
              <a:cxn ang="cd4">
                <a:pos x="hc" y="b"/>
              </a:cxn>
              <a:cxn ang="0">
                <a:pos x="r" y="vc"/>
              </a:cxn>
            </a:cxnLst>
            <a:rect l="l" t="t" r="r" b="b"/>
            <a:pathLst>
              <a:path w="5248" h="5250">
                <a:moveTo>
                  <a:pt x="2624" y="3707"/>
                </a:moveTo>
                <a:cubicBezTo>
                  <a:pt x="3212" y="3707"/>
                  <a:pt x="3690" y="3229"/>
                  <a:pt x="3690" y="2625"/>
                </a:cubicBezTo>
                <a:cubicBezTo>
                  <a:pt x="3690" y="2036"/>
                  <a:pt x="3212" y="1544"/>
                  <a:pt x="2624" y="1544"/>
                </a:cubicBezTo>
                <a:cubicBezTo>
                  <a:pt x="2019" y="1544"/>
                  <a:pt x="1542" y="2036"/>
                  <a:pt x="1542" y="2625"/>
                </a:cubicBezTo>
                <a:cubicBezTo>
                  <a:pt x="1542" y="3229"/>
                  <a:pt x="2019" y="3707"/>
                  <a:pt x="2624" y="3707"/>
                </a:cubicBezTo>
                <a:close/>
                <a:moveTo>
                  <a:pt x="2624" y="1703"/>
                </a:moveTo>
                <a:cubicBezTo>
                  <a:pt x="3133" y="1703"/>
                  <a:pt x="3531" y="2116"/>
                  <a:pt x="3531" y="2625"/>
                </a:cubicBezTo>
                <a:cubicBezTo>
                  <a:pt x="3531" y="3134"/>
                  <a:pt x="3133" y="3548"/>
                  <a:pt x="2624" y="3548"/>
                </a:cubicBezTo>
                <a:cubicBezTo>
                  <a:pt x="2115" y="3548"/>
                  <a:pt x="1701" y="3134"/>
                  <a:pt x="1701" y="2625"/>
                </a:cubicBezTo>
                <a:cubicBezTo>
                  <a:pt x="1701" y="2116"/>
                  <a:pt x="2115" y="1703"/>
                  <a:pt x="2624" y="1703"/>
                </a:cubicBezTo>
                <a:close/>
                <a:moveTo>
                  <a:pt x="620" y="3102"/>
                </a:moveTo>
                <a:cubicBezTo>
                  <a:pt x="667" y="3325"/>
                  <a:pt x="747" y="3516"/>
                  <a:pt x="858" y="3707"/>
                </a:cubicBezTo>
                <a:lnTo>
                  <a:pt x="588" y="3977"/>
                </a:lnTo>
                <a:cubicBezTo>
                  <a:pt x="509" y="4072"/>
                  <a:pt x="509" y="4216"/>
                  <a:pt x="588" y="4311"/>
                </a:cubicBezTo>
                <a:lnTo>
                  <a:pt x="938" y="4645"/>
                </a:lnTo>
                <a:cubicBezTo>
                  <a:pt x="970" y="4693"/>
                  <a:pt x="1033" y="4725"/>
                  <a:pt x="1097" y="4725"/>
                </a:cubicBezTo>
                <a:cubicBezTo>
                  <a:pt x="1161" y="4725"/>
                  <a:pt x="1224" y="4693"/>
                  <a:pt x="1272" y="4645"/>
                </a:cubicBezTo>
                <a:lnTo>
                  <a:pt x="1542" y="4375"/>
                </a:lnTo>
                <a:cubicBezTo>
                  <a:pt x="1733" y="4502"/>
                  <a:pt x="1924" y="4581"/>
                  <a:pt x="2147" y="4629"/>
                </a:cubicBezTo>
                <a:lnTo>
                  <a:pt x="2147" y="5011"/>
                </a:lnTo>
                <a:cubicBezTo>
                  <a:pt x="2147" y="5138"/>
                  <a:pt x="2242" y="5250"/>
                  <a:pt x="2385" y="5250"/>
                </a:cubicBezTo>
                <a:lnTo>
                  <a:pt x="2863" y="5250"/>
                </a:lnTo>
                <a:cubicBezTo>
                  <a:pt x="2990" y="5250"/>
                  <a:pt x="3101" y="5138"/>
                  <a:pt x="3101" y="5011"/>
                </a:cubicBezTo>
                <a:lnTo>
                  <a:pt x="3101" y="4629"/>
                </a:lnTo>
                <a:cubicBezTo>
                  <a:pt x="3308" y="4581"/>
                  <a:pt x="3515" y="4502"/>
                  <a:pt x="3690" y="4375"/>
                </a:cubicBezTo>
                <a:lnTo>
                  <a:pt x="3960" y="4645"/>
                </a:lnTo>
                <a:cubicBezTo>
                  <a:pt x="4008" y="4693"/>
                  <a:pt x="4072" y="4725"/>
                  <a:pt x="4135" y="4725"/>
                </a:cubicBezTo>
                <a:cubicBezTo>
                  <a:pt x="4199" y="4725"/>
                  <a:pt x="4262" y="4693"/>
                  <a:pt x="4310" y="4645"/>
                </a:cubicBezTo>
                <a:lnTo>
                  <a:pt x="4644" y="4311"/>
                </a:lnTo>
                <a:cubicBezTo>
                  <a:pt x="4739" y="4216"/>
                  <a:pt x="4739" y="4072"/>
                  <a:pt x="4644" y="3977"/>
                </a:cubicBezTo>
                <a:lnTo>
                  <a:pt x="4373" y="3707"/>
                </a:lnTo>
                <a:cubicBezTo>
                  <a:pt x="4485" y="3516"/>
                  <a:pt x="4564" y="3325"/>
                  <a:pt x="4628" y="3102"/>
                </a:cubicBezTo>
                <a:lnTo>
                  <a:pt x="5010" y="3102"/>
                </a:lnTo>
                <a:cubicBezTo>
                  <a:pt x="5137" y="3102"/>
                  <a:pt x="5248" y="2991"/>
                  <a:pt x="5248" y="2864"/>
                </a:cubicBezTo>
                <a:lnTo>
                  <a:pt x="5248" y="2387"/>
                </a:lnTo>
                <a:cubicBezTo>
                  <a:pt x="5248" y="2259"/>
                  <a:pt x="5137" y="2148"/>
                  <a:pt x="5010" y="2148"/>
                </a:cubicBezTo>
                <a:lnTo>
                  <a:pt x="4628" y="2148"/>
                </a:lnTo>
                <a:cubicBezTo>
                  <a:pt x="4564" y="1941"/>
                  <a:pt x="4485" y="1735"/>
                  <a:pt x="4373" y="1544"/>
                </a:cubicBezTo>
                <a:lnTo>
                  <a:pt x="4644" y="1273"/>
                </a:lnTo>
                <a:cubicBezTo>
                  <a:pt x="4692" y="1241"/>
                  <a:pt x="4708" y="1178"/>
                  <a:pt x="4708" y="1114"/>
                </a:cubicBezTo>
                <a:cubicBezTo>
                  <a:pt x="4708" y="1051"/>
                  <a:pt x="4692" y="987"/>
                  <a:pt x="4644" y="939"/>
                </a:cubicBezTo>
                <a:lnTo>
                  <a:pt x="4310" y="605"/>
                </a:lnTo>
                <a:cubicBezTo>
                  <a:pt x="4215" y="509"/>
                  <a:pt x="4055" y="509"/>
                  <a:pt x="3960" y="605"/>
                </a:cubicBezTo>
                <a:lnTo>
                  <a:pt x="3690" y="875"/>
                </a:lnTo>
                <a:cubicBezTo>
                  <a:pt x="3515" y="764"/>
                  <a:pt x="3308" y="669"/>
                  <a:pt x="3101" y="621"/>
                </a:cubicBezTo>
                <a:lnTo>
                  <a:pt x="3101" y="239"/>
                </a:lnTo>
                <a:cubicBezTo>
                  <a:pt x="3101" y="112"/>
                  <a:pt x="2990" y="0"/>
                  <a:pt x="2863" y="0"/>
                </a:cubicBezTo>
                <a:lnTo>
                  <a:pt x="2385" y="0"/>
                </a:lnTo>
                <a:cubicBezTo>
                  <a:pt x="2242" y="0"/>
                  <a:pt x="2147" y="112"/>
                  <a:pt x="2147" y="239"/>
                </a:cubicBezTo>
                <a:lnTo>
                  <a:pt x="2147" y="621"/>
                </a:lnTo>
                <a:cubicBezTo>
                  <a:pt x="1924" y="669"/>
                  <a:pt x="1733" y="764"/>
                  <a:pt x="1542" y="875"/>
                </a:cubicBezTo>
                <a:lnTo>
                  <a:pt x="1272" y="605"/>
                </a:lnTo>
                <a:cubicBezTo>
                  <a:pt x="1176" y="509"/>
                  <a:pt x="1018" y="509"/>
                  <a:pt x="938" y="605"/>
                </a:cubicBezTo>
                <a:lnTo>
                  <a:pt x="588" y="939"/>
                </a:lnTo>
                <a:cubicBezTo>
                  <a:pt x="556" y="987"/>
                  <a:pt x="524" y="1051"/>
                  <a:pt x="524" y="1114"/>
                </a:cubicBezTo>
                <a:cubicBezTo>
                  <a:pt x="524" y="1178"/>
                  <a:pt x="556" y="1241"/>
                  <a:pt x="588" y="1273"/>
                </a:cubicBezTo>
                <a:lnTo>
                  <a:pt x="858" y="1544"/>
                </a:lnTo>
                <a:cubicBezTo>
                  <a:pt x="747" y="1735"/>
                  <a:pt x="667" y="1941"/>
                  <a:pt x="620" y="2148"/>
                </a:cubicBezTo>
                <a:lnTo>
                  <a:pt x="238" y="2148"/>
                </a:lnTo>
                <a:cubicBezTo>
                  <a:pt x="95" y="2148"/>
                  <a:pt x="0" y="2259"/>
                  <a:pt x="0" y="2387"/>
                </a:cubicBezTo>
                <a:lnTo>
                  <a:pt x="0" y="2864"/>
                </a:lnTo>
                <a:cubicBezTo>
                  <a:pt x="0" y="2991"/>
                  <a:pt x="95" y="3102"/>
                  <a:pt x="238" y="3102"/>
                </a:cubicBezTo>
                <a:close/>
                <a:moveTo>
                  <a:pt x="158" y="2864"/>
                </a:moveTo>
                <a:lnTo>
                  <a:pt x="158" y="2387"/>
                </a:lnTo>
                <a:cubicBezTo>
                  <a:pt x="158" y="2355"/>
                  <a:pt x="191" y="2307"/>
                  <a:pt x="238" y="2307"/>
                </a:cubicBezTo>
                <a:lnTo>
                  <a:pt x="683" y="2307"/>
                </a:lnTo>
                <a:cubicBezTo>
                  <a:pt x="715" y="2307"/>
                  <a:pt x="747" y="2291"/>
                  <a:pt x="763" y="2244"/>
                </a:cubicBezTo>
                <a:cubicBezTo>
                  <a:pt x="810" y="2005"/>
                  <a:pt x="890" y="1782"/>
                  <a:pt x="1033" y="1575"/>
                </a:cubicBezTo>
                <a:cubicBezTo>
                  <a:pt x="1049" y="1544"/>
                  <a:pt x="1049" y="1512"/>
                  <a:pt x="1018" y="1480"/>
                </a:cubicBezTo>
                <a:lnTo>
                  <a:pt x="700" y="1162"/>
                </a:lnTo>
                <a:cubicBezTo>
                  <a:pt x="683" y="1146"/>
                  <a:pt x="683" y="1130"/>
                  <a:pt x="683" y="1114"/>
                </a:cubicBezTo>
                <a:cubicBezTo>
                  <a:pt x="683" y="1082"/>
                  <a:pt x="683" y="1066"/>
                  <a:pt x="700" y="1051"/>
                </a:cubicBezTo>
                <a:lnTo>
                  <a:pt x="1049" y="717"/>
                </a:lnTo>
                <a:cubicBezTo>
                  <a:pt x="1081" y="685"/>
                  <a:pt x="1129" y="685"/>
                  <a:pt x="1161" y="717"/>
                </a:cubicBezTo>
                <a:lnTo>
                  <a:pt x="1479" y="1035"/>
                </a:lnTo>
                <a:cubicBezTo>
                  <a:pt x="1495" y="1066"/>
                  <a:pt x="1542" y="1066"/>
                  <a:pt x="1574" y="1051"/>
                </a:cubicBezTo>
                <a:cubicBezTo>
                  <a:pt x="1781" y="907"/>
                  <a:pt x="2004" y="812"/>
                  <a:pt x="2242" y="764"/>
                </a:cubicBezTo>
                <a:cubicBezTo>
                  <a:pt x="2274" y="764"/>
                  <a:pt x="2306" y="732"/>
                  <a:pt x="2306" y="685"/>
                </a:cubicBezTo>
                <a:lnTo>
                  <a:pt x="2306" y="239"/>
                </a:lnTo>
                <a:cubicBezTo>
                  <a:pt x="2306" y="208"/>
                  <a:pt x="2337" y="160"/>
                  <a:pt x="2385" y="160"/>
                </a:cubicBezTo>
                <a:lnTo>
                  <a:pt x="2863" y="160"/>
                </a:lnTo>
                <a:cubicBezTo>
                  <a:pt x="2894" y="160"/>
                  <a:pt x="2942" y="191"/>
                  <a:pt x="2942" y="239"/>
                </a:cubicBezTo>
                <a:lnTo>
                  <a:pt x="2942" y="685"/>
                </a:lnTo>
                <a:cubicBezTo>
                  <a:pt x="2942" y="732"/>
                  <a:pt x="2958" y="764"/>
                  <a:pt x="3006" y="764"/>
                </a:cubicBezTo>
                <a:cubicBezTo>
                  <a:pt x="3244" y="812"/>
                  <a:pt x="3467" y="907"/>
                  <a:pt x="3658" y="1051"/>
                </a:cubicBezTo>
                <a:cubicBezTo>
                  <a:pt x="3690" y="1066"/>
                  <a:pt x="3737" y="1066"/>
                  <a:pt x="3769" y="1035"/>
                </a:cubicBezTo>
                <a:lnTo>
                  <a:pt x="4072" y="717"/>
                </a:lnTo>
                <a:cubicBezTo>
                  <a:pt x="4103" y="685"/>
                  <a:pt x="4167" y="685"/>
                  <a:pt x="4199" y="717"/>
                </a:cubicBezTo>
                <a:lnTo>
                  <a:pt x="4533" y="1051"/>
                </a:lnTo>
                <a:cubicBezTo>
                  <a:pt x="4548" y="1066"/>
                  <a:pt x="4548" y="1082"/>
                  <a:pt x="4548" y="1114"/>
                </a:cubicBezTo>
                <a:cubicBezTo>
                  <a:pt x="4548" y="1130"/>
                  <a:pt x="4548" y="1146"/>
                  <a:pt x="4533" y="1162"/>
                </a:cubicBezTo>
                <a:lnTo>
                  <a:pt x="4215" y="1480"/>
                </a:lnTo>
                <a:cubicBezTo>
                  <a:pt x="4183" y="1512"/>
                  <a:pt x="4183" y="1544"/>
                  <a:pt x="4199" y="1575"/>
                </a:cubicBezTo>
                <a:cubicBezTo>
                  <a:pt x="4342" y="1782"/>
                  <a:pt x="4437" y="2005"/>
                  <a:pt x="4485" y="2244"/>
                </a:cubicBezTo>
                <a:cubicBezTo>
                  <a:pt x="4485" y="2291"/>
                  <a:pt x="4517" y="2307"/>
                  <a:pt x="4564" y="2307"/>
                </a:cubicBezTo>
                <a:lnTo>
                  <a:pt x="5010" y="2307"/>
                </a:lnTo>
                <a:cubicBezTo>
                  <a:pt x="5042" y="2307"/>
                  <a:pt x="5090" y="2339"/>
                  <a:pt x="5090" y="2387"/>
                </a:cubicBezTo>
                <a:lnTo>
                  <a:pt x="5090" y="2864"/>
                </a:lnTo>
                <a:cubicBezTo>
                  <a:pt x="5090" y="2911"/>
                  <a:pt x="5042" y="2943"/>
                  <a:pt x="5010" y="2943"/>
                </a:cubicBezTo>
                <a:lnTo>
                  <a:pt x="4564" y="2943"/>
                </a:lnTo>
                <a:cubicBezTo>
                  <a:pt x="4517" y="2943"/>
                  <a:pt x="4485" y="2975"/>
                  <a:pt x="4485" y="3007"/>
                </a:cubicBezTo>
                <a:cubicBezTo>
                  <a:pt x="4437" y="3245"/>
                  <a:pt x="4342" y="3468"/>
                  <a:pt x="4199" y="3675"/>
                </a:cubicBezTo>
                <a:cubicBezTo>
                  <a:pt x="4183" y="3707"/>
                  <a:pt x="4183" y="3754"/>
                  <a:pt x="4215" y="3771"/>
                </a:cubicBezTo>
                <a:lnTo>
                  <a:pt x="4533" y="4089"/>
                </a:lnTo>
                <a:cubicBezTo>
                  <a:pt x="4564" y="4120"/>
                  <a:pt x="4564" y="4168"/>
                  <a:pt x="4533" y="4200"/>
                </a:cubicBezTo>
                <a:lnTo>
                  <a:pt x="4199" y="4533"/>
                </a:lnTo>
                <a:cubicBezTo>
                  <a:pt x="4183" y="4550"/>
                  <a:pt x="4151" y="4566"/>
                  <a:pt x="4135" y="4566"/>
                </a:cubicBezTo>
                <a:cubicBezTo>
                  <a:pt x="4119" y="4566"/>
                  <a:pt x="4087" y="4550"/>
                  <a:pt x="4072" y="4533"/>
                </a:cubicBezTo>
                <a:lnTo>
                  <a:pt x="3769" y="4232"/>
                </a:lnTo>
                <a:cubicBezTo>
                  <a:pt x="3737" y="4200"/>
                  <a:pt x="3690" y="4200"/>
                  <a:pt x="3658" y="4216"/>
                </a:cubicBezTo>
                <a:cubicBezTo>
                  <a:pt x="3467" y="4343"/>
                  <a:pt x="3228" y="4438"/>
                  <a:pt x="3006" y="4486"/>
                </a:cubicBezTo>
                <a:cubicBezTo>
                  <a:pt x="2958" y="4502"/>
                  <a:pt x="2942" y="4533"/>
                  <a:pt x="2942" y="4566"/>
                </a:cubicBezTo>
                <a:lnTo>
                  <a:pt x="2942" y="5011"/>
                </a:lnTo>
                <a:cubicBezTo>
                  <a:pt x="2942" y="5059"/>
                  <a:pt x="2894" y="5090"/>
                  <a:pt x="2863" y="5090"/>
                </a:cubicBezTo>
                <a:lnTo>
                  <a:pt x="2385" y="5090"/>
                </a:lnTo>
                <a:cubicBezTo>
                  <a:pt x="2337" y="5090"/>
                  <a:pt x="2306" y="5059"/>
                  <a:pt x="2306" y="5011"/>
                </a:cubicBezTo>
                <a:lnTo>
                  <a:pt x="2306" y="4566"/>
                </a:lnTo>
                <a:cubicBezTo>
                  <a:pt x="2306" y="4533"/>
                  <a:pt x="2274" y="4502"/>
                  <a:pt x="2242" y="4486"/>
                </a:cubicBezTo>
                <a:cubicBezTo>
                  <a:pt x="2004" y="4438"/>
                  <a:pt x="1781" y="4343"/>
                  <a:pt x="1574" y="4216"/>
                </a:cubicBezTo>
                <a:cubicBezTo>
                  <a:pt x="1558" y="4200"/>
                  <a:pt x="1542" y="4200"/>
                  <a:pt x="1527" y="4200"/>
                </a:cubicBezTo>
                <a:cubicBezTo>
                  <a:pt x="1510" y="4200"/>
                  <a:pt x="1495" y="4216"/>
                  <a:pt x="1479" y="4232"/>
                </a:cubicBezTo>
                <a:lnTo>
                  <a:pt x="1161" y="4533"/>
                </a:lnTo>
                <a:cubicBezTo>
                  <a:pt x="1129" y="4566"/>
                  <a:pt x="1081" y="4566"/>
                  <a:pt x="1049" y="4533"/>
                </a:cubicBezTo>
                <a:lnTo>
                  <a:pt x="700" y="4200"/>
                </a:lnTo>
                <a:cubicBezTo>
                  <a:pt x="667" y="4168"/>
                  <a:pt x="667" y="4120"/>
                  <a:pt x="700" y="4089"/>
                </a:cubicBezTo>
                <a:lnTo>
                  <a:pt x="1018" y="3771"/>
                </a:lnTo>
                <a:cubicBezTo>
                  <a:pt x="1049" y="3754"/>
                  <a:pt x="1049" y="3707"/>
                  <a:pt x="1033" y="3675"/>
                </a:cubicBezTo>
                <a:cubicBezTo>
                  <a:pt x="890" y="3468"/>
                  <a:pt x="810" y="3245"/>
                  <a:pt x="763" y="3007"/>
                </a:cubicBezTo>
                <a:cubicBezTo>
                  <a:pt x="747" y="2975"/>
                  <a:pt x="715" y="2943"/>
                  <a:pt x="683" y="2943"/>
                </a:cubicBezTo>
                <a:lnTo>
                  <a:pt x="238" y="2943"/>
                </a:lnTo>
                <a:cubicBezTo>
                  <a:pt x="191" y="2943"/>
                  <a:pt x="158" y="2911"/>
                  <a:pt x="158" y="286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4" name="Freeform: Shape 5">
            <a:extLst>
              <a:ext uri="{FF2B5EF4-FFF2-40B4-BE49-F238E27FC236}">
                <a16:creationId xmlns:a16="http://schemas.microsoft.com/office/drawing/2014/main" id="{4DF5CE8C-C2E8-1448-A93F-C71250FB8BBF}"/>
              </a:ext>
            </a:extLst>
          </p:cNvPr>
          <p:cNvSpPr/>
          <p:nvPr/>
        </p:nvSpPr>
        <p:spPr>
          <a:xfrm>
            <a:off x="10001582" y="9826318"/>
            <a:ext cx="1568879" cy="1568879"/>
          </a:xfrm>
          <a:custGeom>
            <a:avLst/>
            <a:gdLst/>
            <a:ahLst/>
            <a:cxnLst>
              <a:cxn ang="3cd4">
                <a:pos x="hc" y="t"/>
              </a:cxn>
              <a:cxn ang="cd2">
                <a:pos x="l" y="vc"/>
              </a:cxn>
              <a:cxn ang="cd4">
                <a:pos x="hc" y="b"/>
              </a:cxn>
              <a:cxn ang="0">
                <a:pos x="r" y="vc"/>
              </a:cxn>
            </a:cxnLst>
            <a:rect l="l" t="t" r="r" b="b"/>
            <a:pathLst>
              <a:path w="4359" h="4359">
                <a:moveTo>
                  <a:pt x="80" y="4359"/>
                </a:moveTo>
                <a:cubicBezTo>
                  <a:pt x="955" y="4359"/>
                  <a:pt x="955" y="4359"/>
                  <a:pt x="955" y="4359"/>
                </a:cubicBezTo>
                <a:cubicBezTo>
                  <a:pt x="987" y="4359"/>
                  <a:pt x="1035" y="4327"/>
                  <a:pt x="1035" y="4279"/>
                </a:cubicBezTo>
                <a:cubicBezTo>
                  <a:pt x="1035" y="3452"/>
                  <a:pt x="1035" y="3452"/>
                  <a:pt x="1035" y="3452"/>
                </a:cubicBezTo>
                <a:cubicBezTo>
                  <a:pt x="3452" y="1034"/>
                  <a:pt x="3452" y="1034"/>
                  <a:pt x="3452" y="1034"/>
                </a:cubicBezTo>
                <a:cubicBezTo>
                  <a:pt x="4279" y="1034"/>
                  <a:pt x="4279" y="1034"/>
                  <a:pt x="4279" y="1034"/>
                </a:cubicBezTo>
                <a:cubicBezTo>
                  <a:pt x="4327" y="1034"/>
                  <a:pt x="4359" y="987"/>
                  <a:pt x="4359" y="954"/>
                </a:cubicBezTo>
                <a:cubicBezTo>
                  <a:pt x="4359" y="80"/>
                  <a:pt x="4359" y="80"/>
                  <a:pt x="4359" y="80"/>
                </a:cubicBezTo>
                <a:cubicBezTo>
                  <a:pt x="4359" y="32"/>
                  <a:pt x="4327" y="0"/>
                  <a:pt x="4279" y="0"/>
                </a:cubicBezTo>
                <a:cubicBezTo>
                  <a:pt x="3420" y="0"/>
                  <a:pt x="3420" y="0"/>
                  <a:pt x="3420" y="0"/>
                </a:cubicBezTo>
                <a:cubicBezTo>
                  <a:pt x="3372" y="0"/>
                  <a:pt x="3341" y="32"/>
                  <a:pt x="3341" y="80"/>
                </a:cubicBezTo>
                <a:cubicBezTo>
                  <a:pt x="3341" y="923"/>
                  <a:pt x="3341" y="923"/>
                  <a:pt x="3341" y="923"/>
                </a:cubicBezTo>
                <a:cubicBezTo>
                  <a:pt x="923" y="3341"/>
                  <a:pt x="923" y="3341"/>
                  <a:pt x="923" y="3341"/>
                </a:cubicBezTo>
                <a:cubicBezTo>
                  <a:pt x="80" y="3341"/>
                  <a:pt x="80" y="3341"/>
                  <a:pt x="80" y="3341"/>
                </a:cubicBezTo>
                <a:cubicBezTo>
                  <a:pt x="33" y="3341"/>
                  <a:pt x="0" y="3372"/>
                  <a:pt x="0" y="3420"/>
                </a:cubicBezTo>
                <a:cubicBezTo>
                  <a:pt x="0" y="4279"/>
                  <a:pt x="0" y="4279"/>
                  <a:pt x="0" y="4279"/>
                </a:cubicBezTo>
                <a:cubicBezTo>
                  <a:pt x="0" y="4327"/>
                  <a:pt x="33" y="4359"/>
                  <a:pt x="80" y="4359"/>
                </a:cubicBezTo>
                <a:close/>
                <a:moveTo>
                  <a:pt x="3500" y="159"/>
                </a:moveTo>
                <a:cubicBezTo>
                  <a:pt x="4200" y="159"/>
                  <a:pt x="4200" y="159"/>
                  <a:pt x="4200" y="159"/>
                </a:cubicBezTo>
                <a:cubicBezTo>
                  <a:pt x="4200" y="875"/>
                  <a:pt x="4200" y="875"/>
                  <a:pt x="4200" y="875"/>
                </a:cubicBezTo>
                <a:cubicBezTo>
                  <a:pt x="3500" y="875"/>
                  <a:pt x="3500" y="875"/>
                  <a:pt x="3500" y="875"/>
                </a:cubicBezTo>
                <a:close/>
                <a:moveTo>
                  <a:pt x="160" y="3484"/>
                </a:moveTo>
                <a:cubicBezTo>
                  <a:pt x="875" y="3484"/>
                  <a:pt x="875" y="3484"/>
                  <a:pt x="875" y="3484"/>
                </a:cubicBezTo>
                <a:cubicBezTo>
                  <a:pt x="875" y="4199"/>
                  <a:pt x="875" y="4199"/>
                  <a:pt x="875" y="4199"/>
                </a:cubicBezTo>
                <a:cubicBezTo>
                  <a:pt x="160" y="4199"/>
                  <a:pt x="160" y="4199"/>
                  <a:pt x="160" y="419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Freeform: Shape 6">
            <a:extLst>
              <a:ext uri="{FF2B5EF4-FFF2-40B4-BE49-F238E27FC236}">
                <a16:creationId xmlns:a16="http://schemas.microsoft.com/office/drawing/2014/main" id="{138B9417-44B0-3A43-B151-053C5F0E4764}"/>
              </a:ext>
            </a:extLst>
          </p:cNvPr>
          <p:cNvSpPr/>
          <p:nvPr/>
        </p:nvSpPr>
        <p:spPr>
          <a:xfrm>
            <a:off x="6153867" y="9895078"/>
            <a:ext cx="1379519" cy="1431359"/>
          </a:xfrm>
          <a:custGeom>
            <a:avLst/>
            <a:gdLst/>
            <a:ahLst/>
            <a:cxnLst>
              <a:cxn ang="3cd4">
                <a:pos x="hc" y="t"/>
              </a:cxn>
              <a:cxn ang="cd2">
                <a:pos x="l" y="vc"/>
              </a:cxn>
              <a:cxn ang="cd4">
                <a:pos x="hc" y="b"/>
              </a:cxn>
              <a:cxn ang="0">
                <a:pos x="r" y="vc"/>
              </a:cxn>
            </a:cxnLst>
            <a:rect l="l" t="t" r="r" b="b"/>
            <a:pathLst>
              <a:path w="3833" h="3977">
                <a:moveTo>
                  <a:pt x="2975" y="954"/>
                </a:moveTo>
                <a:cubicBezTo>
                  <a:pt x="3754" y="954"/>
                  <a:pt x="3754" y="954"/>
                  <a:pt x="3754" y="954"/>
                </a:cubicBezTo>
                <a:cubicBezTo>
                  <a:pt x="3802" y="954"/>
                  <a:pt x="3833" y="907"/>
                  <a:pt x="3833" y="875"/>
                </a:cubicBezTo>
                <a:cubicBezTo>
                  <a:pt x="3833" y="79"/>
                  <a:pt x="3833" y="79"/>
                  <a:pt x="3833" y="79"/>
                </a:cubicBezTo>
                <a:cubicBezTo>
                  <a:pt x="3833" y="32"/>
                  <a:pt x="3802" y="0"/>
                  <a:pt x="3754" y="0"/>
                </a:cubicBezTo>
                <a:cubicBezTo>
                  <a:pt x="2975" y="0"/>
                  <a:pt x="2975" y="0"/>
                  <a:pt x="2975" y="0"/>
                </a:cubicBezTo>
                <a:cubicBezTo>
                  <a:pt x="2927" y="0"/>
                  <a:pt x="2895" y="32"/>
                  <a:pt x="2895" y="79"/>
                </a:cubicBezTo>
                <a:cubicBezTo>
                  <a:pt x="2895" y="398"/>
                  <a:pt x="2895" y="398"/>
                  <a:pt x="2895" y="398"/>
                </a:cubicBezTo>
                <a:cubicBezTo>
                  <a:pt x="1511" y="430"/>
                  <a:pt x="430" y="1559"/>
                  <a:pt x="382" y="3022"/>
                </a:cubicBezTo>
                <a:cubicBezTo>
                  <a:pt x="80" y="3022"/>
                  <a:pt x="80" y="3022"/>
                  <a:pt x="80" y="3022"/>
                </a:cubicBezTo>
                <a:cubicBezTo>
                  <a:pt x="32" y="3022"/>
                  <a:pt x="0" y="3070"/>
                  <a:pt x="0" y="3102"/>
                </a:cubicBezTo>
                <a:cubicBezTo>
                  <a:pt x="0" y="3897"/>
                  <a:pt x="0" y="3897"/>
                  <a:pt x="0" y="3897"/>
                </a:cubicBezTo>
                <a:cubicBezTo>
                  <a:pt x="0" y="3945"/>
                  <a:pt x="32" y="3977"/>
                  <a:pt x="80" y="3977"/>
                </a:cubicBezTo>
                <a:cubicBezTo>
                  <a:pt x="859" y="3977"/>
                  <a:pt x="859" y="3977"/>
                  <a:pt x="859" y="3977"/>
                </a:cubicBezTo>
                <a:cubicBezTo>
                  <a:pt x="907" y="3977"/>
                  <a:pt x="939" y="3945"/>
                  <a:pt x="939" y="3897"/>
                </a:cubicBezTo>
                <a:cubicBezTo>
                  <a:pt x="939" y="3102"/>
                  <a:pt x="939" y="3102"/>
                  <a:pt x="939" y="3102"/>
                </a:cubicBezTo>
                <a:cubicBezTo>
                  <a:pt x="939" y="3070"/>
                  <a:pt x="907" y="3022"/>
                  <a:pt x="859" y="3022"/>
                </a:cubicBezTo>
                <a:cubicBezTo>
                  <a:pt x="541" y="3022"/>
                  <a:pt x="541" y="3022"/>
                  <a:pt x="541" y="3022"/>
                </a:cubicBezTo>
                <a:cubicBezTo>
                  <a:pt x="589" y="1654"/>
                  <a:pt x="1591" y="588"/>
                  <a:pt x="2895" y="557"/>
                </a:cubicBezTo>
                <a:cubicBezTo>
                  <a:pt x="2895" y="875"/>
                  <a:pt x="2895" y="875"/>
                  <a:pt x="2895" y="875"/>
                </a:cubicBezTo>
                <a:cubicBezTo>
                  <a:pt x="2895" y="907"/>
                  <a:pt x="2927" y="954"/>
                  <a:pt x="2975" y="954"/>
                </a:cubicBezTo>
                <a:close/>
                <a:moveTo>
                  <a:pt x="3054" y="159"/>
                </a:moveTo>
                <a:cubicBezTo>
                  <a:pt x="3675" y="159"/>
                  <a:pt x="3675" y="159"/>
                  <a:pt x="3675" y="159"/>
                </a:cubicBezTo>
                <a:cubicBezTo>
                  <a:pt x="3675" y="796"/>
                  <a:pt x="3675" y="796"/>
                  <a:pt x="3675" y="796"/>
                </a:cubicBezTo>
                <a:cubicBezTo>
                  <a:pt x="3054" y="796"/>
                  <a:pt x="3054" y="796"/>
                  <a:pt x="3054" y="796"/>
                </a:cubicBezTo>
                <a:close/>
                <a:moveTo>
                  <a:pt x="780" y="3181"/>
                </a:moveTo>
                <a:cubicBezTo>
                  <a:pt x="780" y="3817"/>
                  <a:pt x="780" y="3817"/>
                  <a:pt x="780" y="3817"/>
                </a:cubicBezTo>
                <a:cubicBezTo>
                  <a:pt x="159" y="3817"/>
                  <a:pt x="159" y="3817"/>
                  <a:pt x="159" y="3817"/>
                </a:cubicBezTo>
                <a:cubicBezTo>
                  <a:pt x="159" y="3181"/>
                  <a:pt x="159" y="3181"/>
                  <a:pt x="159" y="318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1" name="Freeform: Shape 7">
            <a:extLst>
              <a:ext uri="{FF2B5EF4-FFF2-40B4-BE49-F238E27FC236}">
                <a16:creationId xmlns:a16="http://schemas.microsoft.com/office/drawing/2014/main" id="{BC17B73D-8460-CB47-AF77-454A033640C2}"/>
              </a:ext>
            </a:extLst>
          </p:cNvPr>
          <p:cNvSpPr/>
          <p:nvPr/>
        </p:nvSpPr>
        <p:spPr>
          <a:xfrm>
            <a:off x="2044320" y="9923518"/>
            <a:ext cx="1368360" cy="1374120"/>
          </a:xfrm>
          <a:custGeom>
            <a:avLst/>
            <a:gdLst/>
            <a:ahLst/>
            <a:cxnLst>
              <a:cxn ang="3cd4">
                <a:pos x="hc" y="t"/>
              </a:cxn>
              <a:cxn ang="cd2">
                <a:pos x="l" y="vc"/>
              </a:cxn>
              <a:cxn ang="cd4">
                <a:pos x="hc" y="b"/>
              </a:cxn>
              <a:cxn ang="0">
                <a:pos x="r" y="vc"/>
              </a:cxn>
            </a:cxnLst>
            <a:rect l="l" t="t" r="r" b="b"/>
            <a:pathLst>
              <a:path w="3802" h="3818">
                <a:moveTo>
                  <a:pt x="3738" y="923"/>
                </a:moveTo>
                <a:cubicBezTo>
                  <a:pt x="3770" y="923"/>
                  <a:pt x="3802" y="891"/>
                  <a:pt x="3802" y="844"/>
                </a:cubicBezTo>
                <a:cubicBezTo>
                  <a:pt x="3802" y="80"/>
                  <a:pt x="3802" y="80"/>
                  <a:pt x="3802" y="80"/>
                </a:cubicBezTo>
                <a:cubicBezTo>
                  <a:pt x="3802" y="48"/>
                  <a:pt x="3770" y="0"/>
                  <a:pt x="3738" y="0"/>
                </a:cubicBezTo>
                <a:cubicBezTo>
                  <a:pt x="2975" y="0"/>
                  <a:pt x="2975" y="0"/>
                  <a:pt x="2975" y="0"/>
                </a:cubicBezTo>
                <a:cubicBezTo>
                  <a:pt x="2927" y="0"/>
                  <a:pt x="2895" y="48"/>
                  <a:pt x="2895" y="80"/>
                </a:cubicBezTo>
                <a:cubicBezTo>
                  <a:pt x="2895" y="382"/>
                  <a:pt x="2895" y="382"/>
                  <a:pt x="2895" y="382"/>
                </a:cubicBezTo>
                <a:cubicBezTo>
                  <a:pt x="907" y="382"/>
                  <a:pt x="907" y="382"/>
                  <a:pt x="907" y="382"/>
                </a:cubicBezTo>
                <a:cubicBezTo>
                  <a:pt x="907" y="80"/>
                  <a:pt x="907" y="80"/>
                  <a:pt x="907" y="80"/>
                </a:cubicBezTo>
                <a:cubicBezTo>
                  <a:pt x="907" y="48"/>
                  <a:pt x="875" y="0"/>
                  <a:pt x="827" y="0"/>
                </a:cubicBezTo>
                <a:cubicBezTo>
                  <a:pt x="80" y="0"/>
                  <a:pt x="80" y="0"/>
                  <a:pt x="80" y="0"/>
                </a:cubicBezTo>
                <a:cubicBezTo>
                  <a:pt x="32" y="0"/>
                  <a:pt x="0" y="48"/>
                  <a:pt x="0" y="80"/>
                </a:cubicBezTo>
                <a:cubicBezTo>
                  <a:pt x="0" y="844"/>
                  <a:pt x="0" y="844"/>
                  <a:pt x="0" y="844"/>
                </a:cubicBezTo>
                <a:cubicBezTo>
                  <a:pt x="0" y="891"/>
                  <a:pt x="32" y="923"/>
                  <a:pt x="80" y="923"/>
                </a:cubicBezTo>
                <a:cubicBezTo>
                  <a:pt x="382" y="923"/>
                  <a:pt x="382" y="923"/>
                  <a:pt x="382" y="923"/>
                </a:cubicBezTo>
                <a:cubicBezTo>
                  <a:pt x="382" y="2896"/>
                  <a:pt x="382" y="2896"/>
                  <a:pt x="382" y="2896"/>
                </a:cubicBezTo>
                <a:cubicBezTo>
                  <a:pt x="80" y="2896"/>
                  <a:pt x="80" y="2896"/>
                  <a:pt x="80" y="2896"/>
                </a:cubicBezTo>
                <a:cubicBezTo>
                  <a:pt x="32" y="2896"/>
                  <a:pt x="0" y="2943"/>
                  <a:pt x="0" y="2975"/>
                </a:cubicBezTo>
                <a:cubicBezTo>
                  <a:pt x="0" y="3738"/>
                  <a:pt x="0" y="3738"/>
                  <a:pt x="0" y="3738"/>
                </a:cubicBezTo>
                <a:cubicBezTo>
                  <a:pt x="0" y="3786"/>
                  <a:pt x="32" y="3818"/>
                  <a:pt x="80" y="3818"/>
                </a:cubicBezTo>
                <a:cubicBezTo>
                  <a:pt x="827" y="3818"/>
                  <a:pt x="827" y="3818"/>
                  <a:pt x="827" y="3818"/>
                </a:cubicBezTo>
                <a:cubicBezTo>
                  <a:pt x="875" y="3818"/>
                  <a:pt x="907" y="3786"/>
                  <a:pt x="907" y="3738"/>
                </a:cubicBezTo>
                <a:cubicBezTo>
                  <a:pt x="907" y="3436"/>
                  <a:pt x="907" y="3436"/>
                  <a:pt x="907" y="3436"/>
                </a:cubicBezTo>
                <a:cubicBezTo>
                  <a:pt x="2895" y="3436"/>
                  <a:pt x="2895" y="3436"/>
                  <a:pt x="2895" y="3436"/>
                </a:cubicBezTo>
                <a:cubicBezTo>
                  <a:pt x="2895" y="3738"/>
                  <a:pt x="2895" y="3738"/>
                  <a:pt x="2895" y="3738"/>
                </a:cubicBezTo>
                <a:cubicBezTo>
                  <a:pt x="2895" y="3786"/>
                  <a:pt x="2927" y="3818"/>
                  <a:pt x="2975" y="3818"/>
                </a:cubicBezTo>
                <a:cubicBezTo>
                  <a:pt x="3738" y="3818"/>
                  <a:pt x="3738" y="3818"/>
                  <a:pt x="3738" y="3818"/>
                </a:cubicBezTo>
                <a:cubicBezTo>
                  <a:pt x="3770" y="3818"/>
                  <a:pt x="3802" y="3786"/>
                  <a:pt x="3802" y="3738"/>
                </a:cubicBezTo>
                <a:cubicBezTo>
                  <a:pt x="3802" y="2975"/>
                  <a:pt x="3802" y="2975"/>
                  <a:pt x="3802" y="2975"/>
                </a:cubicBezTo>
                <a:cubicBezTo>
                  <a:pt x="3802" y="2943"/>
                  <a:pt x="3770" y="2896"/>
                  <a:pt x="3738" y="2896"/>
                </a:cubicBezTo>
                <a:cubicBezTo>
                  <a:pt x="3436" y="2896"/>
                  <a:pt x="3436" y="2896"/>
                  <a:pt x="3436" y="2896"/>
                </a:cubicBezTo>
                <a:cubicBezTo>
                  <a:pt x="3436" y="923"/>
                  <a:pt x="3436" y="923"/>
                  <a:pt x="3436" y="923"/>
                </a:cubicBezTo>
                <a:close/>
                <a:moveTo>
                  <a:pt x="159" y="764"/>
                </a:moveTo>
                <a:cubicBezTo>
                  <a:pt x="159" y="160"/>
                  <a:pt x="159" y="160"/>
                  <a:pt x="159" y="160"/>
                </a:cubicBezTo>
                <a:cubicBezTo>
                  <a:pt x="748" y="160"/>
                  <a:pt x="748" y="160"/>
                  <a:pt x="748" y="160"/>
                </a:cubicBezTo>
                <a:cubicBezTo>
                  <a:pt x="748" y="764"/>
                  <a:pt x="748" y="764"/>
                  <a:pt x="748" y="764"/>
                </a:cubicBezTo>
                <a:close/>
                <a:moveTo>
                  <a:pt x="748" y="3659"/>
                </a:moveTo>
                <a:cubicBezTo>
                  <a:pt x="159" y="3659"/>
                  <a:pt x="159" y="3659"/>
                  <a:pt x="159" y="3659"/>
                </a:cubicBezTo>
                <a:cubicBezTo>
                  <a:pt x="159" y="3054"/>
                  <a:pt x="159" y="3054"/>
                  <a:pt x="159" y="3054"/>
                </a:cubicBezTo>
                <a:cubicBezTo>
                  <a:pt x="748" y="3054"/>
                  <a:pt x="748" y="3054"/>
                  <a:pt x="748" y="3054"/>
                </a:cubicBezTo>
                <a:close/>
                <a:moveTo>
                  <a:pt x="2895" y="2975"/>
                </a:moveTo>
                <a:cubicBezTo>
                  <a:pt x="2895" y="3277"/>
                  <a:pt x="2895" y="3277"/>
                  <a:pt x="2895" y="3277"/>
                </a:cubicBezTo>
                <a:cubicBezTo>
                  <a:pt x="907" y="3277"/>
                  <a:pt x="907" y="3277"/>
                  <a:pt x="907" y="3277"/>
                </a:cubicBezTo>
                <a:cubicBezTo>
                  <a:pt x="907" y="2975"/>
                  <a:pt x="907" y="2975"/>
                  <a:pt x="907" y="2975"/>
                </a:cubicBezTo>
                <a:cubicBezTo>
                  <a:pt x="907" y="2943"/>
                  <a:pt x="875" y="2896"/>
                  <a:pt x="827" y="2896"/>
                </a:cubicBezTo>
                <a:cubicBezTo>
                  <a:pt x="541" y="2896"/>
                  <a:pt x="541" y="2896"/>
                  <a:pt x="541" y="2896"/>
                </a:cubicBezTo>
                <a:cubicBezTo>
                  <a:pt x="541" y="923"/>
                  <a:pt x="541" y="923"/>
                  <a:pt x="541" y="923"/>
                </a:cubicBezTo>
                <a:cubicBezTo>
                  <a:pt x="827" y="923"/>
                  <a:pt x="827" y="923"/>
                  <a:pt x="827" y="923"/>
                </a:cubicBezTo>
                <a:cubicBezTo>
                  <a:pt x="875" y="923"/>
                  <a:pt x="907" y="891"/>
                  <a:pt x="907" y="844"/>
                </a:cubicBezTo>
                <a:cubicBezTo>
                  <a:pt x="907" y="541"/>
                  <a:pt x="907" y="541"/>
                  <a:pt x="907" y="541"/>
                </a:cubicBezTo>
                <a:cubicBezTo>
                  <a:pt x="2895" y="541"/>
                  <a:pt x="2895" y="541"/>
                  <a:pt x="2895" y="541"/>
                </a:cubicBezTo>
                <a:cubicBezTo>
                  <a:pt x="2895" y="844"/>
                  <a:pt x="2895" y="844"/>
                  <a:pt x="2895" y="844"/>
                </a:cubicBezTo>
                <a:cubicBezTo>
                  <a:pt x="2895" y="891"/>
                  <a:pt x="2927" y="923"/>
                  <a:pt x="2975" y="923"/>
                </a:cubicBezTo>
                <a:cubicBezTo>
                  <a:pt x="3277" y="923"/>
                  <a:pt x="3277" y="923"/>
                  <a:pt x="3277" y="923"/>
                </a:cubicBezTo>
                <a:cubicBezTo>
                  <a:pt x="3277" y="2896"/>
                  <a:pt x="3277" y="2896"/>
                  <a:pt x="3277" y="2896"/>
                </a:cubicBezTo>
                <a:cubicBezTo>
                  <a:pt x="2975" y="2896"/>
                  <a:pt x="2975" y="2896"/>
                  <a:pt x="2975" y="2896"/>
                </a:cubicBezTo>
                <a:cubicBezTo>
                  <a:pt x="2927" y="2896"/>
                  <a:pt x="2895" y="2943"/>
                  <a:pt x="2895" y="2975"/>
                </a:cubicBezTo>
                <a:close/>
                <a:moveTo>
                  <a:pt x="3659" y="3054"/>
                </a:moveTo>
                <a:cubicBezTo>
                  <a:pt x="3659" y="3659"/>
                  <a:pt x="3659" y="3659"/>
                  <a:pt x="3659" y="3659"/>
                </a:cubicBezTo>
                <a:cubicBezTo>
                  <a:pt x="3054" y="3659"/>
                  <a:pt x="3054" y="3659"/>
                  <a:pt x="3054" y="3659"/>
                </a:cubicBezTo>
                <a:cubicBezTo>
                  <a:pt x="3054" y="3054"/>
                  <a:pt x="3054" y="3054"/>
                  <a:pt x="3054" y="3054"/>
                </a:cubicBezTo>
                <a:close/>
                <a:moveTo>
                  <a:pt x="3054" y="764"/>
                </a:moveTo>
                <a:cubicBezTo>
                  <a:pt x="3054" y="160"/>
                  <a:pt x="3054" y="160"/>
                  <a:pt x="3054" y="160"/>
                </a:cubicBezTo>
                <a:cubicBezTo>
                  <a:pt x="3659" y="160"/>
                  <a:pt x="3659" y="160"/>
                  <a:pt x="3659" y="160"/>
                </a:cubicBezTo>
                <a:cubicBezTo>
                  <a:pt x="3659" y="764"/>
                  <a:pt x="3659" y="764"/>
                  <a:pt x="3659" y="76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2" name="Freeform: Shape 8">
            <a:extLst>
              <a:ext uri="{FF2B5EF4-FFF2-40B4-BE49-F238E27FC236}">
                <a16:creationId xmlns:a16="http://schemas.microsoft.com/office/drawing/2014/main" id="{367B02FB-29E8-084B-860E-AF307680A466}"/>
              </a:ext>
            </a:extLst>
          </p:cNvPr>
          <p:cNvSpPr/>
          <p:nvPr/>
        </p:nvSpPr>
        <p:spPr>
          <a:xfrm>
            <a:off x="17882346" y="3298722"/>
            <a:ext cx="1213559" cy="1540440"/>
          </a:xfrm>
          <a:custGeom>
            <a:avLst/>
            <a:gdLst/>
            <a:ahLst/>
            <a:cxnLst>
              <a:cxn ang="3cd4">
                <a:pos x="hc" y="t"/>
              </a:cxn>
              <a:cxn ang="cd2">
                <a:pos x="l" y="vc"/>
              </a:cxn>
              <a:cxn ang="cd4">
                <a:pos x="hc" y="b"/>
              </a:cxn>
              <a:cxn ang="0">
                <a:pos x="r" y="vc"/>
              </a:cxn>
            </a:cxnLst>
            <a:rect l="l" t="t" r="r" b="b"/>
            <a:pathLst>
              <a:path w="3372" h="4280">
                <a:moveTo>
                  <a:pt x="1050" y="304"/>
                </a:moveTo>
                <a:lnTo>
                  <a:pt x="859" y="304"/>
                </a:lnTo>
                <a:cubicBezTo>
                  <a:pt x="747" y="304"/>
                  <a:pt x="636" y="399"/>
                  <a:pt x="636" y="526"/>
                </a:cubicBezTo>
                <a:lnTo>
                  <a:pt x="636" y="1099"/>
                </a:lnTo>
                <a:lnTo>
                  <a:pt x="79" y="1099"/>
                </a:lnTo>
                <a:cubicBezTo>
                  <a:pt x="47" y="1099"/>
                  <a:pt x="0" y="1131"/>
                  <a:pt x="0" y="1179"/>
                </a:cubicBezTo>
                <a:lnTo>
                  <a:pt x="0" y="4201"/>
                </a:lnTo>
                <a:cubicBezTo>
                  <a:pt x="0" y="4233"/>
                  <a:pt x="47" y="4280"/>
                  <a:pt x="79" y="4280"/>
                </a:cubicBezTo>
                <a:lnTo>
                  <a:pt x="1829" y="4280"/>
                </a:lnTo>
                <a:cubicBezTo>
                  <a:pt x="1877" y="4280"/>
                  <a:pt x="1908" y="4233"/>
                  <a:pt x="1908" y="4201"/>
                </a:cubicBezTo>
                <a:lnTo>
                  <a:pt x="1908" y="1179"/>
                </a:lnTo>
                <a:cubicBezTo>
                  <a:pt x="1908" y="1131"/>
                  <a:pt x="1877" y="1099"/>
                  <a:pt x="1829" y="1099"/>
                </a:cubicBezTo>
                <a:lnTo>
                  <a:pt x="1272" y="1099"/>
                </a:lnTo>
                <a:lnTo>
                  <a:pt x="1272" y="526"/>
                </a:lnTo>
                <a:cubicBezTo>
                  <a:pt x="1272" y="399"/>
                  <a:pt x="1177" y="304"/>
                  <a:pt x="1050" y="304"/>
                </a:cubicBezTo>
                <a:close/>
                <a:moveTo>
                  <a:pt x="795" y="526"/>
                </a:moveTo>
                <a:cubicBezTo>
                  <a:pt x="795" y="495"/>
                  <a:pt x="827" y="463"/>
                  <a:pt x="859" y="463"/>
                </a:cubicBezTo>
                <a:lnTo>
                  <a:pt x="1050" y="463"/>
                </a:lnTo>
                <a:cubicBezTo>
                  <a:pt x="1097" y="463"/>
                  <a:pt x="1113" y="495"/>
                  <a:pt x="1113" y="526"/>
                </a:cubicBezTo>
                <a:lnTo>
                  <a:pt x="1113" y="1099"/>
                </a:lnTo>
                <a:lnTo>
                  <a:pt x="795" y="1099"/>
                </a:lnTo>
                <a:close/>
                <a:moveTo>
                  <a:pt x="1750" y="4121"/>
                </a:moveTo>
                <a:lnTo>
                  <a:pt x="159" y="4121"/>
                </a:lnTo>
                <a:lnTo>
                  <a:pt x="159" y="3485"/>
                </a:lnTo>
                <a:lnTo>
                  <a:pt x="1750" y="3485"/>
                </a:lnTo>
                <a:close/>
                <a:moveTo>
                  <a:pt x="1750" y="3326"/>
                </a:moveTo>
                <a:lnTo>
                  <a:pt x="159" y="3326"/>
                </a:lnTo>
                <a:lnTo>
                  <a:pt x="159" y="2053"/>
                </a:lnTo>
                <a:lnTo>
                  <a:pt x="1750" y="2053"/>
                </a:lnTo>
                <a:close/>
                <a:moveTo>
                  <a:pt x="1750" y="1258"/>
                </a:moveTo>
                <a:lnTo>
                  <a:pt x="1750" y="1895"/>
                </a:lnTo>
                <a:lnTo>
                  <a:pt x="159" y="1895"/>
                </a:lnTo>
                <a:lnTo>
                  <a:pt x="159" y="1258"/>
                </a:lnTo>
                <a:lnTo>
                  <a:pt x="715" y="1258"/>
                </a:lnTo>
                <a:lnTo>
                  <a:pt x="1193" y="1258"/>
                </a:lnTo>
                <a:close/>
                <a:moveTo>
                  <a:pt x="3292" y="1735"/>
                </a:moveTo>
                <a:cubicBezTo>
                  <a:pt x="3308" y="1735"/>
                  <a:pt x="3340" y="1720"/>
                  <a:pt x="3356" y="1704"/>
                </a:cubicBezTo>
                <a:cubicBezTo>
                  <a:pt x="3387" y="1656"/>
                  <a:pt x="3372" y="1608"/>
                  <a:pt x="3324" y="1592"/>
                </a:cubicBezTo>
                <a:lnTo>
                  <a:pt x="1717" y="622"/>
                </a:lnTo>
                <a:lnTo>
                  <a:pt x="2402" y="145"/>
                </a:lnTo>
                <a:cubicBezTo>
                  <a:pt x="2433" y="113"/>
                  <a:pt x="2449" y="65"/>
                  <a:pt x="2417" y="34"/>
                </a:cubicBezTo>
                <a:cubicBezTo>
                  <a:pt x="2386" y="2"/>
                  <a:pt x="2338" y="-14"/>
                  <a:pt x="2306" y="17"/>
                </a:cubicBezTo>
                <a:lnTo>
                  <a:pt x="1527" y="559"/>
                </a:lnTo>
                <a:cubicBezTo>
                  <a:pt x="1511" y="574"/>
                  <a:pt x="1495" y="590"/>
                  <a:pt x="1495" y="622"/>
                </a:cubicBezTo>
                <a:cubicBezTo>
                  <a:pt x="1495" y="654"/>
                  <a:pt x="1511" y="670"/>
                  <a:pt x="1542" y="686"/>
                </a:cubicBezTo>
                <a:lnTo>
                  <a:pt x="3244" y="1720"/>
                </a:lnTo>
                <a:cubicBezTo>
                  <a:pt x="3260" y="1735"/>
                  <a:pt x="3276" y="1735"/>
                  <a:pt x="3292" y="1735"/>
                </a:cubicBezTo>
                <a:close/>
                <a:moveTo>
                  <a:pt x="2624" y="415"/>
                </a:moveTo>
                <a:cubicBezTo>
                  <a:pt x="2688" y="415"/>
                  <a:pt x="2735" y="368"/>
                  <a:pt x="2735" y="320"/>
                </a:cubicBezTo>
                <a:cubicBezTo>
                  <a:pt x="2735" y="256"/>
                  <a:pt x="2688" y="225"/>
                  <a:pt x="2624" y="225"/>
                </a:cubicBezTo>
                <a:cubicBezTo>
                  <a:pt x="2577" y="225"/>
                  <a:pt x="2529" y="256"/>
                  <a:pt x="2529" y="320"/>
                </a:cubicBezTo>
                <a:cubicBezTo>
                  <a:pt x="2529" y="368"/>
                  <a:pt x="2577" y="415"/>
                  <a:pt x="2624" y="415"/>
                </a:cubicBezTo>
                <a:close/>
                <a:moveTo>
                  <a:pt x="2306" y="526"/>
                </a:moveTo>
                <a:cubicBezTo>
                  <a:pt x="2242" y="526"/>
                  <a:pt x="2211" y="574"/>
                  <a:pt x="2211" y="622"/>
                </a:cubicBezTo>
                <a:cubicBezTo>
                  <a:pt x="2211" y="686"/>
                  <a:pt x="2242" y="734"/>
                  <a:pt x="2306" y="734"/>
                </a:cubicBezTo>
                <a:cubicBezTo>
                  <a:pt x="2354" y="734"/>
                  <a:pt x="2402" y="686"/>
                  <a:pt x="2402" y="622"/>
                </a:cubicBezTo>
                <a:cubicBezTo>
                  <a:pt x="2402" y="574"/>
                  <a:pt x="2354" y="526"/>
                  <a:pt x="2306" y="526"/>
                </a:cubicBezTo>
                <a:close/>
                <a:moveTo>
                  <a:pt x="2624" y="924"/>
                </a:moveTo>
                <a:cubicBezTo>
                  <a:pt x="2688" y="924"/>
                  <a:pt x="2735" y="877"/>
                  <a:pt x="2735" y="829"/>
                </a:cubicBezTo>
                <a:cubicBezTo>
                  <a:pt x="2735" y="765"/>
                  <a:pt x="2688" y="734"/>
                  <a:pt x="2624" y="734"/>
                </a:cubicBezTo>
                <a:cubicBezTo>
                  <a:pt x="2577" y="734"/>
                  <a:pt x="2529" y="765"/>
                  <a:pt x="2529" y="829"/>
                </a:cubicBezTo>
                <a:cubicBezTo>
                  <a:pt x="2529" y="877"/>
                  <a:pt x="2577" y="924"/>
                  <a:pt x="2624" y="92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Freeform: Shape 9">
            <a:extLst>
              <a:ext uri="{FF2B5EF4-FFF2-40B4-BE49-F238E27FC236}">
                <a16:creationId xmlns:a16="http://schemas.microsoft.com/office/drawing/2014/main" id="{B6A392B4-014E-8546-82BD-C78289535A74}"/>
              </a:ext>
            </a:extLst>
          </p:cNvPr>
          <p:cNvSpPr/>
          <p:nvPr/>
        </p:nvSpPr>
        <p:spPr>
          <a:xfrm>
            <a:off x="10391186" y="6406072"/>
            <a:ext cx="915840" cy="1717560"/>
          </a:xfrm>
          <a:custGeom>
            <a:avLst/>
            <a:gdLst/>
            <a:ahLst/>
            <a:cxnLst>
              <a:cxn ang="3cd4">
                <a:pos x="hc" y="t"/>
              </a:cxn>
              <a:cxn ang="cd2">
                <a:pos x="l" y="vc"/>
              </a:cxn>
              <a:cxn ang="cd4">
                <a:pos x="hc" y="b"/>
              </a:cxn>
              <a:cxn ang="0">
                <a:pos x="r" y="vc"/>
              </a:cxn>
            </a:cxnLst>
            <a:rect l="l" t="t" r="r" b="b"/>
            <a:pathLst>
              <a:path w="2545" h="4772">
                <a:moveTo>
                  <a:pt x="1511" y="0"/>
                </a:moveTo>
                <a:cubicBezTo>
                  <a:pt x="1463" y="0"/>
                  <a:pt x="1431" y="48"/>
                  <a:pt x="1431" y="80"/>
                </a:cubicBezTo>
                <a:lnTo>
                  <a:pt x="1431" y="4693"/>
                </a:lnTo>
                <a:cubicBezTo>
                  <a:pt x="1431" y="4740"/>
                  <a:pt x="1463" y="4772"/>
                  <a:pt x="1511" y="4772"/>
                </a:cubicBezTo>
                <a:lnTo>
                  <a:pt x="2465" y="4772"/>
                </a:lnTo>
                <a:cubicBezTo>
                  <a:pt x="2513" y="4772"/>
                  <a:pt x="2545" y="4740"/>
                  <a:pt x="2545" y="4693"/>
                </a:cubicBezTo>
                <a:lnTo>
                  <a:pt x="2545" y="80"/>
                </a:lnTo>
                <a:cubicBezTo>
                  <a:pt x="2545" y="48"/>
                  <a:pt x="2513" y="0"/>
                  <a:pt x="2465" y="0"/>
                </a:cubicBezTo>
                <a:close/>
                <a:moveTo>
                  <a:pt x="2385" y="4613"/>
                </a:moveTo>
                <a:lnTo>
                  <a:pt x="1590" y="4613"/>
                </a:lnTo>
                <a:lnTo>
                  <a:pt x="1590" y="4294"/>
                </a:lnTo>
                <a:lnTo>
                  <a:pt x="1749" y="4294"/>
                </a:lnTo>
                <a:cubicBezTo>
                  <a:pt x="1797" y="4294"/>
                  <a:pt x="1829" y="4263"/>
                  <a:pt x="1829" y="4215"/>
                </a:cubicBezTo>
                <a:cubicBezTo>
                  <a:pt x="1829" y="4168"/>
                  <a:pt x="1797" y="4136"/>
                  <a:pt x="1749" y="4136"/>
                </a:cubicBezTo>
                <a:lnTo>
                  <a:pt x="1590" y="4136"/>
                </a:lnTo>
                <a:lnTo>
                  <a:pt x="1590" y="3977"/>
                </a:lnTo>
                <a:lnTo>
                  <a:pt x="1909" y="3977"/>
                </a:lnTo>
                <a:cubicBezTo>
                  <a:pt x="1956" y="3977"/>
                  <a:pt x="1988" y="3945"/>
                  <a:pt x="1988" y="3897"/>
                </a:cubicBezTo>
                <a:cubicBezTo>
                  <a:pt x="1988" y="3850"/>
                  <a:pt x="1956" y="3818"/>
                  <a:pt x="1909" y="3818"/>
                </a:cubicBezTo>
                <a:lnTo>
                  <a:pt x="1590" y="3818"/>
                </a:lnTo>
                <a:lnTo>
                  <a:pt x="1590" y="3659"/>
                </a:lnTo>
                <a:lnTo>
                  <a:pt x="1749" y="3659"/>
                </a:lnTo>
                <a:cubicBezTo>
                  <a:pt x="1797" y="3659"/>
                  <a:pt x="1829" y="3627"/>
                  <a:pt x="1829" y="3579"/>
                </a:cubicBezTo>
                <a:cubicBezTo>
                  <a:pt x="1829" y="3532"/>
                  <a:pt x="1797" y="3499"/>
                  <a:pt x="1749" y="3499"/>
                </a:cubicBezTo>
                <a:lnTo>
                  <a:pt x="1590" y="3499"/>
                </a:lnTo>
                <a:lnTo>
                  <a:pt x="1590" y="3341"/>
                </a:lnTo>
                <a:lnTo>
                  <a:pt x="1909" y="3341"/>
                </a:lnTo>
                <a:cubicBezTo>
                  <a:pt x="1956" y="3341"/>
                  <a:pt x="1988" y="3309"/>
                  <a:pt x="1988" y="3261"/>
                </a:cubicBezTo>
                <a:cubicBezTo>
                  <a:pt x="1988" y="3213"/>
                  <a:pt x="1956" y="3181"/>
                  <a:pt x="1909" y="3181"/>
                </a:cubicBezTo>
                <a:lnTo>
                  <a:pt x="1590" y="3181"/>
                </a:lnTo>
                <a:lnTo>
                  <a:pt x="1590" y="3023"/>
                </a:lnTo>
                <a:lnTo>
                  <a:pt x="1749" y="3023"/>
                </a:lnTo>
                <a:cubicBezTo>
                  <a:pt x="1797" y="3023"/>
                  <a:pt x="1829" y="2990"/>
                  <a:pt x="1829" y="2943"/>
                </a:cubicBezTo>
                <a:cubicBezTo>
                  <a:pt x="1829" y="2895"/>
                  <a:pt x="1797" y="2863"/>
                  <a:pt x="1749" y="2863"/>
                </a:cubicBezTo>
                <a:lnTo>
                  <a:pt x="1590" y="2863"/>
                </a:lnTo>
                <a:lnTo>
                  <a:pt x="1590" y="2704"/>
                </a:lnTo>
                <a:lnTo>
                  <a:pt x="1909" y="2704"/>
                </a:lnTo>
                <a:cubicBezTo>
                  <a:pt x="1956" y="2704"/>
                  <a:pt x="1988" y="2672"/>
                  <a:pt x="1988" y="2625"/>
                </a:cubicBezTo>
                <a:cubicBezTo>
                  <a:pt x="1988" y="2577"/>
                  <a:pt x="1956" y="2545"/>
                  <a:pt x="1909" y="2545"/>
                </a:cubicBezTo>
                <a:lnTo>
                  <a:pt x="1590" y="2545"/>
                </a:lnTo>
                <a:lnTo>
                  <a:pt x="1590" y="2386"/>
                </a:lnTo>
                <a:lnTo>
                  <a:pt x="1749" y="2386"/>
                </a:lnTo>
                <a:cubicBezTo>
                  <a:pt x="1797" y="2386"/>
                  <a:pt x="1829" y="2354"/>
                  <a:pt x="1829" y="2306"/>
                </a:cubicBezTo>
                <a:cubicBezTo>
                  <a:pt x="1829" y="2259"/>
                  <a:pt x="1797" y="2227"/>
                  <a:pt x="1749" y="2227"/>
                </a:cubicBezTo>
                <a:lnTo>
                  <a:pt x="1590" y="2227"/>
                </a:lnTo>
                <a:lnTo>
                  <a:pt x="1590" y="2068"/>
                </a:lnTo>
                <a:lnTo>
                  <a:pt x="1909" y="2068"/>
                </a:lnTo>
                <a:cubicBezTo>
                  <a:pt x="1956" y="2068"/>
                  <a:pt x="1988" y="2036"/>
                  <a:pt x="1988" y="1988"/>
                </a:cubicBezTo>
                <a:cubicBezTo>
                  <a:pt x="1988" y="1957"/>
                  <a:pt x="1956" y="1909"/>
                  <a:pt x="1909" y="1909"/>
                </a:cubicBezTo>
                <a:lnTo>
                  <a:pt x="1590" y="1909"/>
                </a:lnTo>
                <a:lnTo>
                  <a:pt x="1590" y="1750"/>
                </a:lnTo>
                <a:lnTo>
                  <a:pt x="1749" y="1750"/>
                </a:lnTo>
                <a:cubicBezTo>
                  <a:pt x="1797" y="1750"/>
                  <a:pt x="1829" y="1718"/>
                  <a:pt x="1829" y="1670"/>
                </a:cubicBezTo>
                <a:cubicBezTo>
                  <a:pt x="1829" y="1639"/>
                  <a:pt x="1797" y="1591"/>
                  <a:pt x="1749" y="1591"/>
                </a:cubicBezTo>
                <a:lnTo>
                  <a:pt x="1590" y="1591"/>
                </a:lnTo>
                <a:lnTo>
                  <a:pt x="1590" y="1432"/>
                </a:lnTo>
                <a:lnTo>
                  <a:pt x="1909" y="1432"/>
                </a:lnTo>
                <a:cubicBezTo>
                  <a:pt x="1956" y="1432"/>
                  <a:pt x="1988" y="1400"/>
                  <a:pt x="1988" y="1352"/>
                </a:cubicBezTo>
                <a:cubicBezTo>
                  <a:pt x="1988" y="1320"/>
                  <a:pt x="1956" y="1273"/>
                  <a:pt x="1909" y="1273"/>
                </a:cubicBezTo>
                <a:lnTo>
                  <a:pt x="1590" y="1273"/>
                </a:lnTo>
                <a:lnTo>
                  <a:pt x="1590" y="1114"/>
                </a:lnTo>
                <a:lnTo>
                  <a:pt x="1749" y="1114"/>
                </a:lnTo>
                <a:cubicBezTo>
                  <a:pt x="1797" y="1114"/>
                  <a:pt x="1829" y="1082"/>
                  <a:pt x="1829" y="1034"/>
                </a:cubicBezTo>
                <a:cubicBezTo>
                  <a:pt x="1829" y="1002"/>
                  <a:pt x="1797" y="955"/>
                  <a:pt x="1749" y="955"/>
                </a:cubicBezTo>
                <a:lnTo>
                  <a:pt x="1590" y="955"/>
                </a:lnTo>
                <a:lnTo>
                  <a:pt x="1590" y="796"/>
                </a:lnTo>
                <a:lnTo>
                  <a:pt x="1909" y="796"/>
                </a:lnTo>
                <a:cubicBezTo>
                  <a:pt x="1956" y="796"/>
                  <a:pt x="1988" y="764"/>
                  <a:pt x="1988" y="716"/>
                </a:cubicBezTo>
                <a:cubicBezTo>
                  <a:pt x="1988" y="684"/>
                  <a:pt x="1956" y="636"/>
                  <a:pt x="1909" y="636"/>
                </a:cubicBezTo>
                <a:lnTo>
                  <a:pt x="1590" y="636"/>
                </a:lnTo>
                <a:lnTo>
                  <a:pt x="1590" y="159"/>
                </a:lnTo>
                <a:lnTo>
                  <a:pt x="2385" y="159"/>
                </a:lnTo>
                <a:close/>
                <a:moveTo>
                  <a:pt x="0" y="1034"/>
                </a:moveTo>
                <a:lnTo>
                  <a:pt x="0" y="2386"/>
                </a:lnTo>
                <a:cubicBezTo>
                  <a:pt x="0" y="2434"/>
                  <a:pt x="31" y="2466"/>
                  <a:pt x="79" y="2466"/>
                </a:cubicBezTo>
                <a:cubicBezTo>
                  <a:pt x="127" y="2466"/>
                  <a:pt x="159" y="2434"/>
                  <a:pt x="159" y="2386"/>
                </a:cubicBezTo>
                <a:lnTo>
                  <a:pt x="159" y="1114"/>
                </a:lnTo>
                <a:lnTo>
                  <a:pt x="477" y="1114"/>
                </a:lnTo>
                <a:lnTo>
                  <a:pt x="477" y="3547"/>
                </a:lnTo>
                <a:lnTo>
                  <a:pt x="715" y="4549"/>
                </a:lnTo>
                <a:cubicBezTo>
                  <a:pt x="731" y="4581"/>
                  <a:pt x="763" y="4597"/>
                  <a:pt x="795" y="4597"/>
                </a:cubicBezTo>
                <a:cubicBezTo>
                  <a:pt x="827" y="4597"/>
                  <a:pt x="859" y="4581"/>
                  <a:pt x="875" y="4549"/>
                </a:cubicBezTo>
                <a:lnTo>
                  <a:pt x="1113" y="3515"/>
                </a:lnTo>
                <a:lnTo>
                  <a:pt x="1113" y="525"/>
                </a:lnTo>
                <a:cubicBezTo>
                  <a:pt x="1113" y="80"/>
                  <a:pt x="891" y="32"/>
                  <a:pt x="795" y="32"/>
                </a:cubicBezTo>
                <a:cubicBezTo>
                  <a:pt x="700" y="32"/>
                  <a:pt x="477" y="80"/>
                  <a:pt x="477" y="525"/>
                </a:cubicBezTo>
                <a:lnTo>
                  <a:pt x="477" y="955"/>
                </a:lnTo>
                <a:lnTo>
                  <a:pt x="79" y="955"/>
                </a:lnTo>
                <a:cubicBezTo>
                  <a:pt x="31" y="955"/>
                  <a:pt x="0" y="1002"/>
                  <a:pt x="0" y="1034"/>
                </a:cubicBezTo>
                <a:close/>
                <a:moveTo>
                  <a:pt x="636" y="525"/>
                </a:moveTo>
                <a:cubicBezTo>
                  <a:pt x="636" y="398"/>
                  <a:pt x="652" y="191"/>
                  <a:pt x="795" y="191"/>
                </a:cubicBezTo>
                <a:cubicBezTo>
                  <a:pt x="938" y="191"/>
                  <a:pt x="954" y="398"/>
                  <a:pt x="954" y="525"/>
                </a:cubicBezTo>
                <a:lnTo>
                  <a:pt x="954" y="955"/>
                </a:lnTo>
                <a:lnTo>
                  <a:pt x="636" y="955"/>
                </a:lnTo>
                <a:close/>
                <a:moveTo>
                  <a:pt x="636" y="1114"/>
                </a:moveTo>
                <a:lnTo>
                  <a:pt x="954" y="1114"/>
                </a:lnTo>
                <a:lnTo>
                  <a:pt x="954" y="3341"/>
                </a:lnTo>
                <a:lnTo>
                  <a:pt x="636" y="3341"/>
                </a:lnTo>
                <a:close/>
                <a:moveTo>
                  <a:pt x="636" y="3499"/>
                </a:moveTo>
                <a:lnTo>
                  <a:pt x="954" y="3499"/>
                </a:lnTo>
                <a:lnTo>
                  <a:pt x="795" y="4184"/>
                </a:lnTo>
                <a:lnTo>
                  <a:pt x="636" y="3515"/>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4" name="Freeform: Shape 10">
            <a:extLst>
              <a:ext uri="{FF2B5EF4-FFF2-40B4-BE49-F238E27FC236}">
                <a16:creationId xmlns:a16="http://schemas.microsoft.com/office/drawing/2014/main" id="{34C52836-C435-9340-9BBC-53B45AF57A54}"/>
              </a:ext>
            </a:extLst>
          </p:cNvPr>
          <p:cNvSpPr/>
          <p:nvPr/>
        </p:nvSpPr>
        <p:spPr>
          <a:xfrm>
            <a:off x="2358174" y="6406072"/>
            <a:ext cx="394920" cy="1717560"/>
          </a:xfrm>
          <a:custGeom>
            <a:avLst/>
            <a:gdLst/>
            <a:ahLst/>
            <a:cxnLst>
              <a:cxn ang="3cd4">
                <a:pos x="hc" y="t"/>
              </a:cxn>
              <a:cxn ang="cd2">
                <a:pos x="l" y="vc"/>
              </a:cxn>
              <a:cxn ang="cd4">
                <a:pos x="hc" y="b"/>
              </a:cxn>
              <a:cxn ang="0">
                <a:pos x="r" y="vc"/>
              </a:cxn>
            </a:cxnLst>
            <a:rect l="l" t="t" r="r" b="b"/>
            <a:pathLst>
              <a:path w="1098" h="4772">
                <a:moveTo>
                  <a:pt x="80" y="0"/>
                </a:moveTo>
                <a:cubicBezTo>
                  <a:pt x="33" y="0"/>
                  <a:pt x="0" y="48"/>
                  <a:pt x="0" y="80"/>
                </a:cubicBezTo>
                <a:cubicBezTo>
                  <a:pt x="0" y="4693"/>
                  <a:pt x="0" y="4693"/>
                  <a:pt x="0" y="4693"/>
                </a:cubicBezTo>
                <a:cubicBezTo>
                  <a:pt x="0" y="4740"/>
                  <a:pt x="33" y="4772"/>
                  <a:pt x="80" y="4772"/>
                </a:cubicBezTo>
                <a:cubicBezTo>
                  <a:pt x="1018" y="4772"/>
                  <a:pt x="1018" y="4772"/>
                  <a:pt x="1018" y="4772"/>
                </a:cubicBezTo>
                <a:cubicBezTo>
                  <a:pt x="1066" y="4772"/>
                  <a:pt x="1098" y="4740"/>
                  <a:pt x="1098" y="4693"/>
                </a:cubicBezTo>
                <a:cubicBezTo>
                  <a:pt x="1098" y="80"/>
                  <a:pt x="1098" y="80"/>
                  <a:pt x="1098" y="80"/>
                </a:cubicBezTo>
                <a:cubicBezTo>
                  <a:pt x="1098" y="48"/>
                  <a:pt x="1066" y="0"/>
                  <a:pt x="1018" y="0"/>
                </a:cubicBezTo>
                <a:close/>
                <a:moveTo>
                  <a:pt x="939" y="4613"/>
                </a:moveTo>
                <a:cubicBezTo>
                  <a:pt x="160" y="4613"/>
                  <a:pt x="160" y="4613"/>
                  <a:pt x="160" y="4613"/>
                </a:cubicBezTo>
                <a:cubicBezTo>
                  <a:pt x="160" y="4294"/>
                  <a:pt x="160" y="4294"/>
                  <a:pt x="160" y="4294"/>
                </a:cubicBezTo>
                <a:cubicBezTo>
                  <a:pt x="319" y="4294"/>
                  <a:pt x="319" y="4294"/>
                  <a:pt x="319" y="4294"/>
                </a:cubicBezTo>
                <a:cubicBezTo>
                  <a:pt x="351" y="4294"/>
                  <a:pt x="398" y="4263"/>
                  <a:pt x="398" y="4215"/>
                </a:cubicBezTo>
                <a:cubicBezTo>
                  <a:pt x="398" y="4168"/>
                  <a:pt x="351" y="4136"/>
                  <a:pt x="319" y="4136"/>
                </a:cubicBezTo>
                <a:cubicBezTo>
                  <a:pt x="160" y="4136"/>
                  <a:pt x="160" y="4136"/>
                  <a:pt x="160" y="4136"/>
                </a:cubicBezTo>
                <a:cubicBezTo>
                  <a:pt x="160" y="3977"/>
                  <a:pt x="160" y="3977"/>
                  <a:pt x="160" y="3977"/>
                </a:cubicBezTo>
                <a:cubicBezTo>
                  <a:pt x="637" y="3977"/>
                  <a:pt x="637" y="3977"/>
                  <a:pt x="637" y="3977"/>
                </a:cubicBezTo>
                <a:cubicBezTo>
                  <a:pt x="669" y="3977"/>
                  <a:pt x="700" y="3945"/>
                  <a:pt x="700" y="3897"/>
                </a:cubicBezTo>
                <a:cubicBezTo>
                  <a:pt x="700" y="3850"/>
                  <a:pt x="669" y="3818"/>
                  <a:pt x="637" y="3818"/>
                </a:cubicBezTo>
                <a:cubicBezTo>
                  <a:pt x="160" y="3818"/>
                  <a:pt x="160" y="3818"/>
                  <a:pt x="160" y="3818"/>
                </a:cubicBezTo>
                <a:cubicBezTo>
                  <a:pt x="160" y="3659"/>
                  <a:pt x="160" y="3659"/>
                  <a:pt x="160" y="3659"/>
                </a:cubicBezTo>
                <a:cubicBezTo>
                  <a:pt x="319" y="3659"/>
                  <a:pt x="319" y="3659"/>
                  <a:pt x="319" y="3659"/>
                </a:cubicBezTo>
                <a:cubicBezTo>
                  <a:pt x="351" y="3659"/>
                  <a:pt x="398" y="3627"/>
                  <a:pt x="398" y="3579"/>
                </a:cubicBezTo>
                <a:cubicBezTo>
                  <a:pt x="398" y="3532"/>
                  <a:pt x="351" y="3499"/>
                  <a:pt x="319" y="3499"/>
                </a:cubicBezTo>
                <a:cubicBezTo>
                  <a:pt x="160" y="3499"/>
                  <a:pt x="160" y="3499"/>
                  <a:pt x="160" y="3499"/>
                </a:cubicBezTo>
                <a:cubicBezTo>
                  <a:pt x="160" y="3341"/>
                  <a:pt x="160" y="3341"/>
                  <a:pt x="160" y="3341"/>
                </a:cubicBezTo>
                <a:cubicBezTo>
                  <a:pt x="637" y="3341"/>
                  <a:pt x="637" y="3341"/>
                  <a:pt x="637" y="3341"/>
                </a:cubicBezTo>
                <a:cubicBezTo>
                  <a:pt x="669" y="3341"/>
                  <a:pt x="700" y="3309"/>
                  <a:pt x="700" y="3261"/>
                </a:cubicBezTo>
                <a:cubicBezTo>
                  <a:pt x="700" y="3213"/>
                  <a:pt x="669" y="3181"/>
                  <a:pt x="637" y="3181"/>
                </a:cubicBezTo>
                <a:cubicBezTo>
                  <a:pt x="160" y="3181"/>
                  <a:pt x="160" y="3181"/>
                  <a:pt x="160" y="3181"/>
                </a:cubicBezTo>
                <a:cubicBezTo>
                  <a:pt x="160" y="3023"/>
                  <a:pt x="160" y="3023"/>
                  <a:pt x="160" y="3023"/>
                </a:cubicBezTo>
                <a:cubicBezTo>
                  <a:pt x="319" y="3023"/>
                  <a:pt x="319" y="3023"/>
                  <a:pt x="319" y="3023"/>
                </a:cubicBezTo>
                <a:cubicBezTo>
                  <a:pt x="351" y="3023"/>
                  <a:pt x="398" y="2990"/>
                  <a:pt x="398" y="2943"/>
                </a:cubicBezTo>
                <a:cubicBezTo>
                  <a:pt x="398" y="2895"/>
                  <a:pt x="351" y="2863"/>
                  <a:pt x="319" y="2863"/>
                </a:cubicBezTo>
                <a:cubicBezTo>
                  <a:pt x="160" y="2863"/>
                  <a:pt x="160" y="2863"/>
                  <a:pt x="160" y="2863"/>
                </a:cubicBezTo>
                <a:cubicBezTo>
                  <a:pt x="160" y="2704"/>
                  <a:pt x="160" y="2704"/>
                  <a:pt x="160" y="2704"/>
                </a:cubicBezTo>
                <a:cubicBezTo>
                  <a:pt x="637" y="2704"/>
                  <a:pt x="637" y="2704"/>
                  <a:pt x="637" y="2704"/>
                </a:cubicBezTo>
                <a:cubicBezTo>
                  <a:pt x="669" y="2704"/>
                  <a:pt x="700" y="2672"/>
                  <a:pt x="700" y="2625"/>
                </a:cubicBezTo>
                <a:cubicBezTo>
                  <a:pt x="700" y="2577"/>
                  <a:pt x="669" y="2545"/>
                  <a:pt x="637" y="2545"/>
                </a:cubicBezTo>
                <a:cubicBezTo>
                  <a:pt x="160" y="2545"/>
                  <a:pt x="160" y="2545"/>
                  <a:pt x="160" y="2545"/>
                </a:cubicBezTo>
                <a:cubicBezTo>
                  <a:pt x="160" y="2386"/>
                  <a:pt x="160" y="2386"/>
                  <a:pt x="160" y="2386"/>
                </a:cubicBezTo>
                <a:cubicBezTo>
                  <a:pt x="319" y="2386"/>
                  <a:pt x="319" y="2386"/>
                  <a:pt x="319" y="2386"/>
                </a:cubicBezTo>
                <a:cubicBezTo>
                  <a:pt x="351" y="2386"/>
                  <a:pt x="398" y="2354"/>
                  <a:pt x="398" y="2306"/>
                </a:cubicBezTo>
                <a:cubicBezTo>
                  <a:pt x="398" y="2259"/>
                  <a:pt x="351" y="2227"/>
                  <a:pt x="319" y="2227"/>
                </a:cubicBezTo>
                <a:cubicBezTo>
                  <a:pt x="160" y="2227"/>
                  <a:pt x="160" y="2227"/>
                  <a:pt x="160" y="2227"/>
                </a:cubicBezTo>
                <a:cubicBezTo>
                  <a:pt x="160" y="2068"/>
                  <a:pt x="160" y="2068"/>
                  <a:pt x="160" y="2068"/>
                </a:cubicBezTo>
                <a:cubicBezTo>
                  <a:pt x="637" y="2068"/>
                  <a:pt x="637" y="2068"/>
                  <a:pt x="637" y="2068"/>
                </a:cubicBezTo>
                <a:cubicBezTo>
                  <a:pt x="669" y="2068"/>
                  <a:pt x="700" y="2036"/>
                  <a:pt x="700" y="1988"/>
                </a:cubicBezTo>
                <a:cubicBezTo>
                  <a:pt x="700" y="1957"/>
                  <a:pt x="669" y="1909"/>
                  <a:pt x="637" y="1909"/>
                </a:cubicBezTo>
                <a:cubicBezTo>
                  <a:pt x="160" y="1909"/>
                  <a:pt x="160" y="1909"/>
                  <a:pt x="160" y="1909"/>
                </a:cubicBezTo>
                <a:cubicBezTo>
                  <a:pt x="160" y="1750"/>
                  <a:pt x="160" y="1750"/>
                  <a:pt x="160" y="1750"/>
                </a:cubicBezTo>
                <a:cubicBezTo>
                  <a:pt x="319" y="1750"/>
                  <a:pt x="319" y="1750"/>
                  <a:pt x="319" y="1750"/>
                </a:cubicBezTo>
                <a:cubicBezTo>
                  <a:pt x="351" y="1750"/>
                  <a:pt x="398" y="1718"/>
                  <a:pt x="398" y="1670"/>
                </a:cubicBezTo>
                <a:cubicBezTo>
                  <a:pt x="398" y="1639"/>
                  <a:pt x="351" y="1591"/>
                  <a:pt x="319" y="1591"/>
                </a:cubicBezTo>
                <a:cubicBezTo>
                  <a:pt x="160" y="1591"/>
                  <a:pt x="160" y="1591"/>
                  <a:pt x="160" y="1591"/>
                </a:cubicBezTo>
                <a:cubicBezTo>
                  <a:pt x="160" y="1432"/>
                  <a:pt x="160" y="1432"/>
                  <a:pt x="160" y="1432"/>
                </a:cubicBezTo>
                <a:cubicBezTo>
                  <a:pt x="637" y="1432"/>
                  <a:pt x="637" y="1432"/>
                  <a:pt x="637" y="1432"/>
                </a:cubicBezTo>
                <a:cubicBezTo>
                  <a:pt x="669" y="1432"/>
                  <a:pt x="700" y="1400"/>
                  <a:pt x="700" y="1352"/>
                </a:cubicBezTo>
                <a:cubicBezTo>
                  <a:pt x="700" y="1320"/>
                  <a:pt x="669" y="1273"/>
                  <a:pt x="637" y="1273"/>
                </a:cubicBezTo>
                <a:cubicBezTo>
                  <a:pt x="160" y="1273"/>
                  <a:pt x="160" y="1273"/>
                  <a:pt x="160" y="1273"/>
                </a:cubicBezTo>
                <a:cubicBezTo>
                  <a:pt x="160" y="1114"/>
                  <a:pt x="160" y="1114"/>
                  <a:pt x="160" y="1114"/>
                </a:cubicBezTo>
                <a:cubicBezTo>
                  <a:pt x="319" y="1114"/>
                  <a:pt x="319" y="1114"/>
                  <a:pt x="319" y="1114"/>
                </a:cubicBezTo>
                <a:cubicBezTo>
                  <a:pt x="351" y="1114"/>
                  <a:pt x="398" y="1082"/>
                  <a:pt x="398" y="1034"/>
                </a:cubicBezTo>
                <a:cubicBezTo>
                  <a:pt x="398" y="1002"/>
                  <a:pt x="351" y="955"/>
                  <a:pt x="319" y="955"/>
                </a:cubicBezTo>
                <a:cubicBezTo>
                  <a:pt x="160" y="955"/>
                  <a:pt x="160" y="955"/>
                  <a:pt x="160" y="955"/>
                </a:cubicBezTo>
                <a:cubicBezTo>
                  <a:pt x="160" y="796"/>
                  <a:pt x="160" y="796"/>
                  <a:pt x="160" y="796"/>
                </a:cubicBezTo>
                <a:cubicBezTo>
                  <a:pt x="637" y="796"/>
                  <a:pt x="637" y="796"/>
                  <a:pt x="637" y="796"/>
                </a:cubicBezTo>
                <a:cubicBezTo>
                  <a:pt x="669" y="796"/>
                  <a:pt x="700" y="764"/>
                  <a:pt x="700" y="716"/>
                </a:cubicBezTo>
                <a:cubicBezTo>
                  <a:pt x="700" y="684"/>
                  <a:pt x="669" y="636"/>
                  <a:pt x="637" y="636"/>
                </a:cubicBezTo>
                <a:cubicBezTo>
                  <a:pt x="160" y="636"/>
                  <a:pt x="160" y="636"/>
                  <a:pt x="160" y="636"/>
                </a:cubicBezTo>
                <a:cubicBezTo>
                  <a:pt x="160" y="159"/>
                  <a:pt x="160" y="159"/>
                  <a:pt x="160" y="159"/>
                </a:cubicBezTo>
                <a:cubicBezTo>
                  <a:pt x="939" y="159"/>
                  <a:pt x="939" y="159"/>
                  <a:pt x="939" y="1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5" name="Freeform: Shape 11">
            <a:extLst>
              <a:ext uri="{FF2B5EF4-FFF2-40B4-BE49-F238E27FC236}">
                <a16:creationId xmlns:a16="http://schemas.microsoft.com/office/drawing/2014/main" id="{07F99B96-DEFC-EA49-908E-BCCA790D4781}"/>
              </a:ext>
            </a:extLst>
          </p:cNvPr>
          <p:cNvSpPr/>
          <p:nvPr/>
        </p:nvSpPr>
        <p:spPr>
          <a:xfrm>
            <a:off x="21239696" y="3264883"/>
            <a:ext cx="1631520" cy="1603080"/>
          </a:xfrm>
          <a:custGeom>
            <a:avLst/>
            <a:gdLst/>
            <a:ahLst/>
            <a:cxnLst>
              <a:cxn ang="3cd4">
                <a:pos x="hc" y="t"/>
              </a:cxn>
              <a:cxn ang="cd2">
                <a:pos x="l" y="vc"/>
              </a:cxn>
              <a:cxn ang="cd4">
                <a:pos x="hc" y="b"/>
              </a:cxn>
              <a:cxn ang="0">
                <a:pos x="r" y="vc"/>
              </a:cxn>
            </a:cxnLst>
            <a:rect l="l" t="t" r="r" b="b"/>
            <a:pathLst>
              <a:path w="4533" h="4454">
                <a:moveTo>
                  <a:pt x="397" y="1225"/>
                </a:moveTo>
                <a:cubicBezTo>
                  <a:pt x="397" y="1337"/>
                  <a:pt x="493" y="1432"/>
                  <a:pt x="604" y="1432"/>
                </a:cubicBezTo>
                <a:cubicBezTo>
                  <a:pt x="3690" y="1432"/>
                  <a:pt x="3690" y="1432"/>
                  <a:pt x="3690" y="1432"/>
                </a:cubicBezTo>
                <a:cubicBezTo>
                  <a:pt x="3801" y="1432"/>
                  <a:pt x="3896" y="1337"/>
                  <a:pt x="3896" y="1225"/>
                </a:cubicBezTo>
                <a:cubicBezTo>
                  <a:pt x="3896" y="796"/>
                  <a:pt x="3896" y="796"/>
                  <a:pt x="3896" y="796"/>
                </a:cubicBezTo>
                <a:cubicBezTo>
                  <a:pt x="4374" y="796"/>
                  <a:pt x="4374" y="796"/>
                  <a:pt x="4374" y="796"/>
                </a:cubicBezTo>
                <a:cubicBezTo>
                  <a:pt x="4374" y="1973"/>
                  <a:pt x="4374" y="1973"/>
                  <a:pt x="4374" y="1973"/>
                </a:cubicBezTo>
                <a:cubicBezTo>
                  <a:pt x="2067" y="2164"/>
                  <a:pt x="2067" y="2164"/>
                  <a:pt x="2067" y="2164"/>
                </a:cubicBezTo>
                <a:cubicBezTo>
                  <a:pt x="2020" y="2179"/>
                  <a:pt x="1988" y="2211"/>
                  <a:pt x="1988" y="2243"/>
                </a:cubicBezTo>
                <a:cubicBezTo>
                  <a:pt x="1988" y="2704"/>
                  <a:pt x="1988" y="2704"/>
                  <a:pt x="1988" y="2704"/>
                </a:cubicBezTo>
                <a:cubicBezTo>
                  <a:pt x="1749" y="2704"/>
                  <a:pt x="1590" y="2847"/>
                  <a:pt x="1590" y="3038"/>
                </a:cubicBezTo>
                <a:cubicBezTo>
                  <a:pt x="1590" y="4040"/>
                  <a:pt x="1590" y="4040"/>
                  <a:pt x="1590" y="4040"/>
                </a:cubicBezTo>
                <a:cubicBezTo>
                  <a:pt x="1590" y="4247"/>
                  <a:pt x="1781" y="4454"/>
                  <a:pt x="1988" y="4454"/>
                </a:cubicBezTo>
                <a:cubicBezTo>
                  <a:pt x="2179" y="4454"/>
                  <a:pt x="2179" y="4454"/>
                  <a:pt x="2179" y="4454"/>
                </a:cubicBezTo>
                <a:cubicBezTo>
                  <a:pt x="2401" y="4454"/>
                  <a:pt x="2545" y="4247"/>
                  <a:pt x="2545" y="4040"/>
                </a:cubicBezTo>
                <a:cubicBezTo>
                  <a:pt x="2545" y="3038"/>
                  <a:pt x="2545" y="3038"/>
                  <a:pt x="2545" y="3038"/>
                </a:cubicBezTo>
                <a:cubicBezTo>
                  <a:pt x="2545" y="2847"/>
                  <a:pt x="2401" y="2704"/>
                  <a:pt x="2179" y="2704"/>
                </a:cubicBezTo>
                <a:cubicBezTo>
                  <a:pt x="2147" y="2704"/>
                  <a:pt x="2147" y="2704"/>
                  <a:pt x="2147" y="2704"/>
                </a:cubicBezTo>
                <a:cubicBezTo>
                  <a:pt x="2147" y="2322"/>
                  <a:pt x="2147" y="2322"/>
                  <a:pt x="2147" y="2322"/>
                </a:cubicBezTo>
                <a:cubicBezTo>
                  <a:pt x="4453" y="2132"/>
                  <a:pt x="4453" y="2132"/>
                  <a:pt x="4453" y="2132"/>
                </a:cubicBezTo>
                <a:cubicBezTo>
                  <a:pt x="4501" y="2132"/>
                  <a:pt x="4533" y="2100"/>
                  <a:pt x="4533" y="2052"/>
                </a:cubicBezTo>
                <a:cubicBezTo>
                  <a:pt x="4533" y="716"/>
                  <a:pt x="4533" y="716"/>
                  <a:pt x="4533" y="716"/>
                </a:cubicBezTo>
                <a:cubicBezTo>
                  <a:pt x="4533" y="684"/>
                  <a:pt x="4485" y="637"/>
                  <a:pt x="4453" y="637"/>
                </a:cubicBezTo>
                <a:cubicBezTo>
                  <a:pt x="3896" y="637"/>
                  <a:pt x="3896" y="637"/>
                  <a:pt x="3896" y="637"/>
                </a:cubicBezTo>
                <a:cubicBezTo>
                  <a:pt x="3896" y="223"/>
                  <a:pt x="3896" y="223"/>
                  <a:pt x="3896" y="223"/>
                </a:cubicBezTo>
                <a:cubicBezTo>
                  <a:pt x="3896" y="96"/>
                  <a:pt x="3801" y="0"/>
                  <a:pt x="3690" y="0"/>
                </a:cubicBezTo>
                <a:cubicBezTo>
                  <a:pt x="604" y="0"/>
                  <a:pt x="604" y="0"/>
                  <a:pt x="604" y="0"/>
                </a:cubicBezTo>
                <a:cubicBezTo>
                  <a:pt x="493" y="0"/>
                  <a:pt x="397" y="96"/>
                  <a:pt x="397" y="223"/>
                </a:cubicBezTo>
                <a:cubicBezTo>
                  <a:pt x="397" y="637"/>
                  <a:pt x="397" y="637"/>
                  <a:pt x="397" y="637"/>
                </a:cubicBezTo>
                <a:cubicBezTo>
                  <a:pt x="79" y="637"/>
                  <a:pt x="79" y="637"/>
                  <a:pt x="79" y="637"/>
                </a:cubicBezTo>
                <a:cubicBezTo>
                  <a:pt x="31" y="637"/>
                  <a:pt x="0" y="684"/>
                  <a:pt x="0" y="716"/>
                </a:cubicBezTo>
                <a:cubicBezTo>
                  <a:pt x="0" y="764"/>
                  <a:pt x="31" y="796"/>
                  <a:pt x="79" y="796"/>
                </a:cubicBezTo>
                <a:cubicBezTo>
                  <a:pt x="397" y="796"/>
                  <a:pt x="397" y="796"/>
                  <a:pt x="397" y="796"/>
                </a:cubicBezTo>
                <a:close/>
                <a:moveTo>
                  <a:pt x="2179" y="2864"/>
                </a:moveTo>
                <a:cubicBezTo>
                  <a:pt x="2242" y="2864"/>
                  <a:pt x="2385" y="2879"/>
                  <a:pt x="2385" y="3038"/>
                </a:cubicBezTo>
                <a:cubicBezTo>
                  <a:pt x="2385" y="4040"/>
                  <a:pt x="2385" y="4040"/>
                  <a:pt x="2385" y="4040"/>
                </a:cubicBezTo>
                <a:cubicBezTo>
                  <a:pt x="2385" y="4168"/>
                  <a:pt x="2306" y="4295"/>
                  <a:pt x="2179" y="4295"/>
                </a:cubicBezTo>
                <a:cubicBezTo>
                  <a:pt x="1988" y="4295"/>
                  <a:pt x="1988" y="4295"/>
                  <a:pt x="1988" y="4295"/>
                </a:cubicBezTo>
                <a:cubicBezTo>
                  <a:pt x="1876" y="4295"/>
                  <a:pt x="1749" y="4168"/>
                  <a:pt x="1749" y="4040"/>
                </a:cubicBezTo>
                <a:cubicBezTo>
                  <a:pt x="1749" y="3038"/>
                  <a:pt x="1749" y="3038"/>
                  <a:pt x="1749" y="3038"/>
                </a:cubicBezTo>
                <a:cubicBezTo>
                  <a:pt x="1749" y="2927"/>
                  <a:pt x="1876" y="2864"/>
                  <a:pt x="1988" y="2864"/>
                </a:cubicBezTo>
                <a:close/>
                <a:moveTo>
                  <a:pt x="556" y="223"/>
                </a:moveTo>
                <a:cubicBezTo>
                  <a:pt x="556" y="191"/>
                  <a:pt x="588" y="159"/>
                  <a:pt x="604" y="159"/>
                </a:cubicBezTo>
                <a:cubicBezTo>
                  <a:pt x="3690" y="159"/>
                  <a:pt x="3690" y="159"/>
                  <a:pt x="3690" y="159"/>
                </a:cubicBezTo>
                <a:cubicBezTo>
                  <a:pt x="3706" y="159"/>
                  <a:pt x="3738" y="191"/>
                  <a:pt x="3738" y="223"/>
                </a:cubicBezTo>
                <a:cubicBezTo>
                  <a:pt x="3738" y="1225"/>
                  <a:pt x="3738" y="1225"/>
                  <a:pt x="3738" y="1225"/>
                </a:cubicBezTo>
                <a:cubicBezTo>
                  <a:pt x="3738" y="1257"/>
                  <a:pt x="3706" y="1273"/>
                  <a:pt x="3690" y="1273"/>
                </a:cubicBezTo>
                <a:cubicBezTo>
                  <a:pt x="604" y="1273"/>
                  <a:pt x="604" y="1273"/>
                  <a:pt x="604" y="1273"/>
                </a:cubicBezTo>
                <a:cubicBezTo>
                  <a:pt x="588" y="1273"/>
                  <a:pt x="556" y="1257"/>
                  <a:pt x="556" y="122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6" name="Freeform: Shape 12">
            <a:extLst>
              <a:ext uri="{FF2B5EF4-FFF2-40B4-BE49-F238E27FC236}">
                <a16:creationId xmlns:a16="http://schemas.microsoft.com/office/drawing/2014/main" id="{8E502CEC-27FA-5240-AFD8-61BA78EE8F52}"/>
              </a:ext>
            </a:extLst>
          </p:cNvPr>
          <p:cNvSpPr/>
          <p:nvPr/>
        </p:nvSpPr>
        <p:spPr>
          <a:xfrm>
            <a:off x="14012261" y="3499963"/>
            <a:ext cx="1540080" cy="1133280"/>
          </a:xfrm>
          <a:custGeom>
            <a:avLst/>
            <a:gdLst/>
            <a:ahLst/>
            <a:cxnLst>
              <a:cxn ang="3cd4">
                <a:pos x="hc" y="t"/>
              </a:cxn>
              <a:cxn ang="cd2">
                <a:pos x="l" y="vc"/>
              </a:cxn>
              <a:cxn ang="cd4">
                <a:pos x="hc" y="b"/>
              </a:cxn>
              <a:cxn ang="0">
                <a:pos x="r" y="vc"/>
              </a:cxn>
            </a:cxnLst>
            <a:rect l="l" t="t" r="r" b="b"/>
            <a:pathLst>
              <a:path w="4279" h="3149">
                <a:moveTo>
                  <a:pt x="4279" y="3021"/>
                </a:moveTo>
                <a:lnTo>
                  <a:pt x="4279" y="874"/>
                </a:lnTo>
                <a:cubicBezTo>
                  <a:pt x="4279" y="858"/>
                  <a:pt x="4279" y="842"/>
                  <a:pt x="4263" y="827"/>
                </a:cubicBezTo>
                <a:lnTo>
                  <a:pt x="3563" y="31"/>
                </a:lnTo>
                <a:cubicBezTo>
                  <a:pt x="3563" y="15"/>
                  <a:pt x="3532" y="0"/>
                  <a:pt x="3516" y="0"/>
                </a:cubicBezTo>
                <a:lnTo>
                  <a:pt x="128" y="0"/>
                </a:lnTo>
                <a:cubicBezTo>
                  <a:pt x="48" y="0"/>
                  <a:pt x="0" y="63"/>
                  <a:pt x="0" y="143"/>
                </a:cubicBezTo>
                <a:lnTo>
                  <a:pt x="0" y="3021"/>
                </a:lnTo>
                <a:cubicBezTo>
                  <a:pt x="0" y="3085"/>
                  <a:pt x="48" y="3149"/>
                  <a:pt x="128" y="3149"/>
                </a:cubicBezTo>
                <a:lnTo>
                  <a:pt x="4152" y="3149"/>
                </a:lnTo>
                <a:cubicBezTo>
                  <a:pt x="4216" y="3149"/>
                  <a:pt x="4279" y="3085"/>
                  <a:pt x="4279" y="3021"/>
                </a:cubicBezTo>
                <a:close/>
                <a:moveTo>
                  <a:pt x="3563" y="270"/>
                </a:moveTo>
                <a:lnTo>
                  <a:pt x="4072" y="858"/>
                </a:lnTo>
                <a:lnTo>
                  <a:pt x="3563" y="858"/>
                </a:lnTo>
                <a:close/>
                <a:moveTo>
                  <a:pt x="4120" y="2990"/>
                </a:moveTo>
                <a:lnTo>
                  <a:pt x="160" y="2990"/>
                </a:lnTo>
                <a:lnTo>
                  <a:pt x="160" y="158"/>
                </a:lnTo>
                <a:lnTo>
                  <a:pt x="3420" y="158"/>
                </a:lnTo>
                <a:lnTo>
                  <a:pt x="3420" y="938"/>
                </a:lnTo>
                <a:cubicBezTo>
                  <a:pt x="3420" y="985"/>
                  <a:pt x="3452" y="1017"/>
                  <a:pt x="3484" y="1017"/>
                </a:cubicBezTo>
                <a:lnTo>
                  <a:pt x="4120" y="1017"/>
                </a:lnTo>
                <a:close/>
                <a:moveTo>
                  <a:pt x="716" y="874"/>
                </a:moveTo>
                <a:lnTo>
                  <a:pt x="2991" y="874"/>
                </a:lnTo>
                <a:cubicBezTo>
                  <a:pt x="3038" y="874"/>
                  <a:pt x="3071" y="842"/>
                  <a:pt x="3071" y="795"/>
                </a:cubicBezTo>
                <a:cubicBezTo>
                  <a:pt x="3071" y="747"/>
                  <a:pt x="3038" y="715"/>
                  <a:pt x="2991" y="715"/>
                </a:cubicBezTo>
                <a:lnTo>
                  <a:pt x="716" y="715"/>
                </a:lnTo>
                <a:cubicBezTo>
                  <a:pt x="669" y="715"/>
                  <a:pt x="637" y="747"/>
                  <a:pt x="637" y="795"/>
                </a:cubicBezTo>
                <a:cubicBezTo>
                  <a:pt x="637" y="842"/>
                  <a:pt x="669" y="874"/>
                  <a:pt x="716" y="874"/>
                </a:cubicBezTo>
                <a:close/>
                <a:moveTo>
                  <a:pt x="637" y="1367"/>
                </a:moveTo>
                <a:cubicBezTo>
                  <a:pt x="637" y="1415"/>
                  <a:pt x="669" y="1447"/>
                  <a:pt x="716" y="1447"/>
                </a:cubicBezTo>
                <a:lnTo>
                  <a:pt x="3707" y="1447"/>
                </a:lnTo>
                <a:cubicBezTo>
                  <a:pt x="3754" y="1447"/>
                  <a:pt x="3786" y="1415"/>
                  <a:pt x="3786" y="1367"/>
                </a:cubicBezTo>
                <a:cubicBezTo>
                  <a:pt x="3786" y="1320"/>
                  <a:pt x="3754" y="1288"/>
                  <a:pt x="3707" y="1288"/>
                </a:cubicBezTo>
                <a:lnTo>
                  <a:pt x="716" y="1288"/>
                </a:lnTo>
                <a:cubicBezTo>
                  <a:pt x="669" y="1288"/>
                  <a:pt x="637" y="1320"/>
                  <a:pt x="637" y="136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7" name="Freeform: Shape 13">
            <a:extLst>
              <a:ext uri="{FF2B5EF4-FFF2-40B4-BE49-F238E27FC236}">
                <a16:creationId xmlns:a16="http://schemas.microsoft.com/office/drawing/2014/main" id="{EE2AEC68-A7F9-D449-8D27-C992B6F704F1}"/>
              </a:ext>
            </a:extLst>
          </p:cNvPr>
          <p:cNvSpPr/>
          <p:nvPr/>
        </p:nvSpPr>
        <p:spPr>
          <a:xfrm>
            <a:off x="1795560" y="3485446"/>
            <a:ext cx="1539720" cy="1425239"/>
          </a:xfrm>
          <a:custGeom>
            <a:avLst/>
            <a:gdLst/>
            <a:ahLst/>
            <a:cxnLst>
              <a:cxn ang="3cd4">
                <a:pos x="hc" y="t"/>
              </a:cxn>
              <a:cxn ang="cd2">
                <a:pos x="l" y="vc"/>
              </a:cxn>
              <a:cxn ang="cd4">
                <a:pos x="hc" y="b"/>
              </a:cxn>
              <a:cxn ang="0">
                <a:pos x="r" y="vc"/>
              </a:cxn>
            </a:cxnLst>
            <a:rect l="l" t="t" r="r" b="b"/>
            <a:pathLst>
              <a:path w="4278" h="3960">
                <a:moveTo>
                  <a:pt x="270" y="827"/>
                </a:moveTo>
                <a:cubicBezTo>
                  <a:pt x="397" y="827"/>
                  <a:pt x="509" y="747"/>
                  <a:pt x="540" y="620"/>
                </a:cubicBezTo>
                <a:lnTo>
                  <a:pt x="1240" y="620"/>
                </a:lnTo>
                <a:cubicBezTo>
                  <a:pt x="525" y="890"/>
                  <a:pt x="16" y="1574"/>
                  <a:pt x="16" y="2354"/>
                </a:cubicBezTo>
                <a:cubicBezTo>
                  <a:pt x="16" y="2402"/>
                  <a:pt x="63" y="2433"/>
                  <a:pt x="95" y="2433"/>
                </a:cubicBezTo>
                <a:cubicBezTo>
                  <a:pt x="143" y="2433"/>
                  <a:pt x="174" y="2402"/>
                  <a:pt x="174" y="2354"/>
                </a:cubicBezTo>
                <a:cubicBezTo>
                  <a:pt x="174" y="1542"/>
                  <a:pt x="763" y="843"/>
                  <a:pt x="1558" y="700"/>
                </a:cubicBezTo>
                <a:lnTo>
                  <a:pt x="1558" y="1018"/>
                </a:lnTo>
                <a:cubicBezTo>
                  <a:pt x="1558" y="1065"/>
                  <a:pt x="1590" y="1097"/>
                  <a:pt x="1638" y="1097"/>
                </a:cubicBezTo>
                <a:lnTo>
                  <a:pt x="2592" y="1097"/>
                </a:lnTo>
                <a:cubicBezTo>
                  <a:pt x="2640" y="1097"/>
                  <a:pt x="2672" y="1065"/>
                  <a:pt x="2672" y="1018"/>
                </a:cubicBezTo>
                <a:lnTo>
                  <a:pt x="2672" y="684"/>
                </a:lnTo>
                <a:cubicBezTo>
                  <a:pt x="2688" y="700"/>
                  <a:pt x="2688" y="700"/>
                  <a:pt x="2704" y="700"/>
                </a:cubicBezTo>
                <a:cubicBezTo>
                  <a:pt x="3499" y="843"/>
                  <a:pt x="4087" y="1542"/>
                  <a:pt x="4087" y="2354"/>
                </a:cubicBezTo>
                <a:cubicBezTo>
                  <a:pt x="4087" y="2402"/>
                  <a:pt x="4119" y="2433"/>
                  <a:pt x="4167" y="2433"/>
                </a:cubicBezTo>
                <a:cubicBezTo>
                  <a:pt x="4215" y="2433"/>
                  <a:pt x="4246" y="2402"/>
                  <a:pt x="4246" y="2354"/>
                </a:cubicBezTo>
                <a:cubicBezTo>
                  <a:pt x="4246" y="1574"/>
                  <a:pt x="3754" y="890"/>
                  <a:pt x="3037" y="620"/>
                </a:cubicBezTo>
                <a:lnTo>
                  <a:pt x="3737" y="620"/>
                </a:lnTo>
                <a:cubicBezTo>
                  <a:pt x="3769" y="747"/>
                  <a:pt x="3881" y="827"/>
                  <a:pt x="4008" y="827"/>
                </a:cubicBezTo>
                <a:cubicBezTo>
                  <a:pt x="4151" y="827"/>
                  <a:pt x="4278" y="700"/>
                  <a:pt x="4278" y="557"/>
                </a:cubicBezTo>
                <a:cubicBezTo>
                  <a:pt x="4278" y="397"/>
                  <a:pt x="4151" y="270"/>
                  <a:pt x="4008" y="270"/>
                </a:cubicBezTo>
                <a:cubicBezTo>
                  <a:pt x="3881" y="270"/>
                  <a:pt x="3769" y="349"/>
                  <a:pt x="3737" y="477"/>
                </a:cubicBezTo>
                <a:lnTo>
                  <a:pt x="2672" y="477"/>
                </a:lnTo>
                <a:lnTo>
                  <a:pt x="2672" y="79"/>
                </a:lnTo>
                <a:cubicBezTo>
                  <a:pt x="2672" y="31"/>
                  <a:pt x="2640" y="0"/>
                  <a:pt x="2592" y="0"/>
                </a:cubicBezTo>
                <a:lnTo>
                  <a:pt x="1638" y="0"/>
                </a:lnTo>
                <a:cubicBezTo>
                  <a:pt x="1590" y="0"/>
                  <a:pt x="1558" y="31"/>
                  <a:pt x="1558" y="79"/>
                </a:cubicBezTo>
                <a:lnTo>
                  <a:pt x="1558" y="477"/>
                </a:lnTo>
                <a:lnTo>
                  <a:pt x="540" y="477"/>
                </a:lnTo>
                <a:cubicBezTo>
                  <a:pt x="509" y="349"/>
                  <a:pt x="397" y="270"/>
                  <a:pt x="270" y="270"/>
                </a:cubicBezTo>
                <a:cubicBezTo>
                  <a:pt x="127" y="270"/>
                  <a:pt x="0" y="397"/>
                  <a:pt x="0" y="557"/>
                </a:cubicBezTo>
                <a:cubicBezTo>
                  <a:pt x="0" y="700"/>
                  <a:pt x="127" y="827"/>
                  <a:pt x="270" y="827"/>
                </a:cubicBezTo>
                <a:close/>
                <a:moveTo>
                  <a:pt x="4008" y="429"/>
                </a:moveTo>
                <a:cubicBezTo>
                  <a:pt x="4072" y="429"/>
                  <a:pt x="4119" y="477"/>
                  <a:pt x="4119" y="557"/>
                </a:cubicBezTo>
                <a:cubicBezTo>
                  <a:pt x="4119" y="620"/>
                  <a:pt x="4072" y="667"/>
                  <a:pt x="4008" y="667"/>
                </a:cubicBezTo>
                <a:cubicBezTo>
                  <a:pt x="3944" y="667"/>
                  <a:pt x="3881" y="620"/>
                  <a:pt x="3881" y="557"/>
                </a:cubicBezTo>
                <a:cubicBezTo>
                  <a:pt x="3881" y="477"/>
                  <a:pt x="3944" y="429"/>
                  <a:pt x="4008" y="429"/>
                </a:cubicBezTo>
                <a:close/>
                <a:moveTo>
                  <a:pt x="1718" y="158"/>
                </a:moveTo>
                <a:lnTo>
                  <a:pt x="2513" y="158"/>
                </a:lnTo>
                <a:lnTo>
                  <a:pt x="2513" y="938"/>
                </a:lnTo>
                <a:lnTo>
                  <a:pt x="1718" y="938"/>
                </a:lnTo>
                <a:close/>
                <a:moveTo>
                  <a:pt x="270" y="429"/>
                </a:moveTo>
                <a:cubicBezTo>
                  <a:pt x="334" y="429"/>
                  <a:pt x="397" y="477"/>
                  <a:pt x="397" y="557"/>
                </a:cubicBezTo>
                <a:cubicBezTo>
                  <a:pt x="397" y="620"/>
                  <a:pt x="334" y="667"/>
                  <a:pt x="270" y="667"/>
                </a:cubicBezTo>
                <a:cubicBezTo>
                  <a:pt x="206" y="667"/>
                  <a:pt x="159" y="620"/>
                  <a:pt x="159" y="557"/>
                </a:cubicBezTo>
                <a:cubicBezTo>
                  <a:pt x="159" y="477"/>
                  <a:pt x="206" y="429"/>
                  <a:pt x="270" y="429"/>
                </a:cubicBezTo>
                <a:close/>
                <a:moveTo>
                  <a:pt x="1161" y="3881"/>
                </a:moveTo>
                <a:cubicBezTo>
                  <a:pt x="1161" y="3929"/>
                  <a:pt x="1192" y="3960"/>
                  <a:pt x="1240" y="3960"/>
                </a:cubicBezTo>
                <a:lnTo>
                  <a:pt x="2990" y="3960"/>
                </a:lnTo>
                <a:cubicBezTo>
                  <a:pt x="3037" y="3960"/>
                  <a:pt x="3069" y="3929"/>
                  <a:pt x="3069" y="3881"/>
                </a:cubicBezTo>
                <a:cubicBezTo>
                  <a:pt x="3069" y="3833"/>
                  <a:pt x="3037" y="3801"/>
                  <a:pt x="2990" y="3801"/>
                </a:cubicBezTo>
                <a:lnTo>
                  <a:pt x="2783" y="3801"/>
                </a:lnTo>
                <a:lnTo>
                  <a:pt x="3022" y="2878"/>
                </a:lnTo>
                <a:lnTo>
                  <a:pt x="3022" y="2815"/>
                </a:lnTo>
                <a:lnTo>
                  <a:pt x="2179" y="1288"/>
                </a:lnTo>
                <a:cubicBezTo>
                  <a:pt x="2163" y="1240"/>
                  <a:pt x="2067" y="1240"/>
                  <a:pt x="2052" y="1288"/>
                </a:cubicBezTo>
                <a:lnTo>
                  <a:pt x="1209" y="2815"/>
                </a:lnTo>
                <a:lnTo>
                  <a:pt x="1209" y="2878"/>
                </a:lnTo>
                <a:lnTo>
                  <a:pt x="1447" y="3801"/>
                </a:lnTo>
                <a:lnTo>
                  <a:pt x="1240" y="3801"/>
                </a:lnTo>
                <a:cubicBezTo>
                  <a:pt x="1192" y="3801"/>
                  <a:pt x="1161" y="3833"/>
                  <a:pt x="1161" y="3881"/>
                </a:cubicBezTo>
                <a:close/>
                <a:moveTo>
                  <a:pt x="2115" y="3133"/>
                </a:moveTo>
                <a:cubicBezTo>
                  <a:pt x="2179" y="3133"/>
                  <a:pt x="2242" y="3181"/>
                  <a:pt x="2242" y="3244"/>
                </a:cubicBezTo>
                <a:cubicBezTo>
                  <a:pt x="2242" y="3324"/>
                  <a:pt x="2179" y="3372"/>
                  <a:pt x="2115" y="3372"/>
                </a:cubicBezTo>
                <a:cubicBezTo>
                  <a:pt x="2052" y="3372"/>
                  <a:pt x="2004" y="3324"/>
                  <a:pt x="2004" y="3244"/>
                </a:cubicBezTo>
                <a:cubicBezTo>
                  <a:pt x="2004" y="3181"/>
                  <a:pt x="2052" y="3133"/>
                  <a:pt x="2115" y="3133"/>
                </a:cubicBezTo>
                <a:close/>
                <a:moveTo>
                  <a:pt x="1367" y="2863"/>
                </a:moveTo>
                <a:lnTo>
                  <a:pt x="2036" y="1638"/>
                </a:lnTo>
                <a:lnTo>
                  <a:pt x="2036" y="2990"/>
                </a:lnTo>
                <a:cubicBezTo>
                  <a:pt x="1924" y="3022"/>
                  <a:pt x="1845" y="3133"/>
                  <a:pt x="1845" y="3244"/>
                </a:cubicBezTo>
                <a:cubicBezTo>
                  <a:pt x="1845" y="3403"/>
                  <a:pt x="1956" y="3530"/>
                  <a:pt x="2115" y="3530"/>
                </a:cubicBezTo>
                <a:cubicBezTo>
                  <a:pt x="2274" y="3530"/>
                  <a:pt x="2401" y="3403"/>
                  <a:pt x="2401" y="3244"/>
                </a:cubicBezTo>
                <a:cubicBezTo>
                  <a:pt x="2401" y="3133"/>
                  <a:pt x="2306" y="3022"/>
                  <a:pt x="2195" y="2990"/>
                </a:cubicBezTo>
                <a:lnTo>
                  <a:pt x="2195" y="1638"/>
                </a:lnTo>
                <a:lnTo>
                  <a:pt x="2863" y="2863"/>
                </a:lnTo>
                <a:lnTo>
                  <a:pt x="2624" y="3801"/>
                </a:lnTo>
                <a:lnTo>
                  <a:pt x="1606" y="3801"/>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8" name="Freeform: Shape 14">
            <a:extLst>
              <a:ext uri="{FF2B5EF4-FFF2-40B4-BE49-F238E27FC236}">
                <a16:creationId xmlns:a16="http://schemas.microsoft.com/office/drawing/2014/main" id="{70B4AE3E-8914-874A-8B61-88EFE15412A7}"/>
              </a:ext>
            </a:extLst>
          </p:cNvPr>
          <p:cNvSpPr/>
          <p:nvPr/>
        </p:nvSpPr>
        <p:spPr>
          <a:xfrm>
            <a:off x="6178105" y="6543592"/>
            <a:ext cx="1425239" cy="1442519"/>
          </a:xfrm>
          <a:custGeom>
            <a:avLst/>
            <a:gdLst/>
            <a:ahLst/>
            <a:cxnLst>
              <a:cxn ang="3cd4">
                <a:pos x="hc" y="t"/>
              </a:cxn>
              <a:cxn ang="cd2">
                <a:pos x="l" y="vc"/>
              </a:cxn>
              <a:cxn ang="cd4">
                <a:pos x="hc" y="b"/>
              </a:cxn>
              <a:cxn ang="0">
                <a:pos x="r" y="vc"/>
              </a:cxn>
            </a:cxnLst>
            <a:rect l="l" t="t" r="r" b="b"/>
            <a:pathLst>
              <a:path w="3960" h="4008">
                <a:moveTo>
                  <a:pt x="2736" y="3340"/>
                </a:moveTo>
                <a:lnTo>
                  <a:pt x="668" y="1225"/>
                </a:lnTo>
                <a:cubicBezTo>
                  <a:pt x="636" y="1209"/>
                  <a:pt x="605" y="1193"/>
                  <a:pt x="573" y="1209"/>
                </a:cubicBezTo>
                <a:cubicBezTo>
                  <a:pt x="541" y="1225"/>
                  <a:pt x="525" y="1257"/>
                  <a:pt x="525" y="1288"/>
                </a:cubicBezTo>
                <a:lnTo>
                  <a:pt x="525" y="3404"/>
                </a:lnTo>
                <a:cubicBezTo>
                  <a:pt x="525" y="3451"/>
                  <a:pt x="557" y="3483"/>
                  <a:pt x="605" y="3483"/>
                </a:cubicBezTo>
                <a:lnTo>
                  <a:pt x="2672" y="3483"/>
                </a:lnTo>
                <a:cubicBezTo>
                  <a:pt x="2704" y="3483"/>
                  <a:pt x="2736" y="3468"/>
                  <a:pt x="2752" y="3436"/>
                </a:cubicBezTo>
                <a:cubicBezTo>
                  <a:pt x="2768" y="3404"/>
                  <a:pt x="2752" y="3372"/>
                  <a:pt x="2736" y="3340"/>
                </a:cubicBezTo>
                <a:close/>
                <a:moveTo>
                  <a:pt x="684" y="3324"/>
                </a:moveTo>
                <a:lnTo>
                  <a:pt x="684" y="1479"/>
                </a:lnTo>
                <a:lnTo>
                  <a:pt x="2481" y="3324"/>
                </a:lnTo>
                <a:close/>
                <a:moveTo>
                  <a:pt x="3881" y="4008"/>
                </a:moveTo>
                <a:cubicBezTo>
                  <a:pt x="3913" y="4008"/>
                  <a:pt x="3945" y="3992"/>
                  <a:pt x="3960" y="3960"/>
                </a:cubicBezTo>
                <a:cubicBezTo>
                  <a:pt x="3960" y="3929"/>
                  <a:pt x="3960" y="3897"/>
                  <a:pt x="3929" y="3881"/>
                </a:cubicBezTo>
                <a:lnTo>
                  <a:pt x="127" y="32"/>
                </a:lnTo>
                <a:cubicBezTo>
                  <a:pt x="112" y="0"/>
                  <a:pt x="79" y="0"/>
                  <a:pt x="48" y="0"/>
                </a:cubicBezTo>
                <a:cubicBezTo>
                  <a:pt x="16" y="16"/>
                  <a:pt x="0" y="48"/>
                  <a:pt x="0" y="79"/>
                </a:cubicBezTo>
                <a:lnTo>
                  <a:pt x="0" y="3929"/>
                </a:lnTo>
                <a:cubicBezTo>
                  <a:pt x="0" y="3977"/>
                  <a:pt x="32" y="4008"/>
                  <a:pt x="79" y="4008"/>
                </a:cubicBezTo>
                <a:close/>
                <a:moveTo>
                  <a:pt x="159" y="3611"/>
                </a:moveTo>
                <a:lnTo>
                  <a:pt x="270" y="3611"/>
                </a:lnTo>
                <a:cubicBezTo>
                  <a:pt x="318" y="3611"/>
                  <a:pt x="350" y="3579"/>
                  <a:pt x="350" y="3531"/>
                </a:cubicBezTo>
                <a:cubicBezTo>
                  <a:pt x="350" y="3499"/>
                  <a:pt x="318" y="3451"/>
                  <a:pt x="270" y="3451"/>
                </a:cubicBezTo>
                <a:lnTo>
                  <a:pt x="159" y="3451"/>
                </a:lnTo>
                <a:lnTo>
                  <a:pt x="159" y="3356"/>
                </a:lnTo>
                <a:lnTo>
                  <a:pt x="270" y="3356"/>
                </a:lnTo>
                <a:cubicBezTo>
                  <a:pt x="318" y="3356"/>
                  <a:pt x="350" y="3308"/>
                  <a:pt x="350" y="3277"/>
                </a:cubicBezTo>
                <a:cubicBezTo>
                  <a:pt x="350" y="3229"/>
                  <a:pt x="318" y="3197"/>
                  <a:pt x="270" y="3197"/>
                </a:cubicBezTo>
                <a:lnTo>
                  <a:pt x="159" y="3197"/>
                </a:lnTo>
                <a:lnTo>
                  <a:pt x="159" y="3086"/>
                </a:lnTo>
                <a:lnTo>
                  <a:pt x="270" y="3086"/>
                </a:lnTo>
                <a:cubicBezTo>
                  <a:pt x="318" y="3086"/>
                  <a:pt x="350" y="3054"/>
                  <a:pt x="350" y="3006"/>
                </a:cubicBezTo>
                <a:cubicBezTo>
                  <a:pt x="350" y="2959"/>
                  <a:pt x="318" y="2927"/>
                  <a:pt x="270" y="2927"/>
                </a:cubicBezTo>
                <a:lnTo>
                  <a:pt x="159" y="2927"/>
                </a:lnTo>
                <a:lnTo>
                  <a:pt x="159" y="2815"/>
                </a:lnTo>
                <a:lnTo>
                  <a:pt x="270" y="2815"/>
                </a:lnTo>
                <a:cubicBezTo>
                  <a:pt x="318" y="2815"/>
                  <a:pt x="350" y="2784"/>
                  <a:pt x="350" y="2736"/>
                </a:cubicBezTo>
                <a:cubicBezTo>
                  <a:pt x="350" y="2688"/>
                  <a:pt x="318" y="2656"/>
                  <a:pt x="270" y="2656"/>
                </a:cubicBezTo>
                <a:lnTo>
                  <a:pt x="159" y="2656"/>
                </a:lnTo>
                <a:lnTo>
                  <a:pt x="159" y="2545"/>
                </a:lnTo>
                <a:lnTo>
                  <a:pt x="270" y="2545"/>
                </a:lnTo>
                <a:cubicBezTo>
                  <a:pt x="318" y="2545"/>
                  <a:pt x="350" y="2513"/>
                  <a:pt x="350" y="2465"/>
                </a:cubicBezTo>
                <a:cubicBezTo>
                  <a:pt x="350" y="2433"/>
                  <a:pt x="318" y="2386"/>
                  <a:pt x="270" y="2386"/>
                </a:cubicBezTo>
                <a:lnTo>
                  <a:pt x="159" y="2386"/>
                </a:lnTo>
                <a:lnTo>
                  <a:pt x="159" y="2290"/>
                </a:lnTo>
                <a:lnTo>
                  <a:pt x="270" y="2290"/>
                </a:lnTo>
                <a:cubicBezTo>
                  <a:pt x="318" y="2290"/>
                  <a:pt x="350" y="2259"/>
                  <a:pt x="350" y="2211"/>
                </a:cubicBezTo>
                <a:cubicBezTo>
                  <a:pt x="350" y="2163"/>
                  <a:pt x="318" y="2132"/>
                  <a:pt x="270" y="2132"/>
                </a:cubicBezTo>
                <a:lnTo>
                  <a:pt x="159" y="2132"/>
                </a:lnTo>
                <a:lnTo>
                  <a:pt x="159" y="2020"/>
                </a:lnTo>
                <a:lnTo>
                  <a:pt x="270" y="2020"/>
                </a:lnTo>
                <a:cubicBezTo>
                  <a:pt x="318" y="2020"/>
                  <a:pt x="350" y="1988"/>
                  <a:pt x="350" y="1941"/>
                </a:cubicBezTo>
                <a:cubicBezTo>
                  <a:pt x="350" y="1893"/>
                  <a:pt x="318" y="1861"/>
                  <a:pt x="270" y="1861"/>
                </a:cubicBezTo>
                <a:lnTo>
                  <a:pt x="159" y="1861"/>
                </a:lnTo>
                <a:lnTo>
                  <a:pt x="159" y="1750"/>
                </a:lnTo>
                <a:lnTo>
                  <a:pt x="270" y="1750"/>
                </a:lnTo>
                <a:cubicBezTo>
                  <a:pt x="318" y="1750"/>
                  <a:pt x="350" y="1718"/>
                  <a:pt x="350" y="1670"/>
                </a:cubicBezTo>
                <a:cubicBezTo>
                  <a:pt x="350" y="1638"/>
                  <a:pt x="318" y="1591"/>
                  <a:pt x="270" y="1591"/>
                </a:cubicBezTo>
                <a:lnTo>
                  <a:pt x="159" y="1591"/>
                </a:lnTo>
                <a:lnTo>
                  <a:pt x="159" y="1495"/>
                </a:lnTo>
                <a:lnTo>
                  <a:pt x="270" y="1495"/>
                </a:lnTo>
                <a:cubicBezTo>
                  <a:pt x="318" y="1495"/>
                  <a:pt x="350" y="1447"/>
                  <a:pt x="350" y="1415"/>
                </a:cubicBezTo>
                <a:cubicBezTo>
                  <a:pt x="350" y="1368"/>
                  <a:pt x="318" y="1336"/>
                  <a:pt x="270" y="1336"/>
                </a:cubicBezTo>
                <a:lnTo>
                  <a:pt x="159" y="1336"/>
                </a:lnTo>
                <a:lnTo>
                  <a:pt x="159" y="1225"/>
                </a:lnTo>
                <a:lnTo>
                  <a:pt x="270" y="1225"/>
                </a:lnTo>
                <a:cubicBezTo>
                  <a:pt x="318" y="1225"/>
                  <a:pt x="350" y="1193"/>
                  <a:pt x="350" y="1145"/>
                </a:cubicBezTo>
                <a:cubicBezTo>
                  <a:pt x="350" y="1097"/>
                  <a:pt x="318" y="1066"/>
                  <a:pt x="270" y="1066"/>
                </a:cubicBezTo>
                <a:lnTo>
                  <a:pt x="159" y="1066"/>
                </a:lnTo>
                <a:lnTo>
                  <a:pt x="159" y="954"/>
                </a:lnTo>
                <a:lnTo>
                  <a:pt x="270" y="954"/>
                </a:lnTo>
                <a:cubicBezTo>
                  <a:pt x="318" y="954"/>
                  <a:pt x="350" y="923"/>
                  <a:pt x="350" y="875"/>
                </a:cubicBezTo>
                <a:cubicBezTo>
                  <a:pt x="350" y="827"/>
                  <a:pt x="318" y="795"/>
                  <a:pt x="270" y="795"/>
                </a:cubicBezTo>
                <a:lnTo>
                  <a:pt x="159" y="795"/>
                </a:lnTo>
                <a:lnTo>
                  <a:pt x="159" y="270"/>
                </a:lnTo>
                <a:lnTo>
                  <a:pt x="3690" y="3849"/>
                </a:lnTo>
                <a:lnTo>
                  <a:pt x="159" y="384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9" name="Freeform: Shape 15">
            <a:extLst>
              <a:ext uri="{FF2B5EF4-FFF2-40B4-BE49-F238E27FC236}">
                <a16:creationId xmlns:a16="http://schemas.microsoft.com/office/drawing/2014/main" id="{4356E27C-13B0-0041-BBF3-261C9EF995A4}"/>
              </a:ext>
            </a:extLst>
          </p:cNvPr>
          <p:cNvSpPr/>
          <p:nvPr/>
        </p:nvSpPr>
        <p:spPr>
          <a:xfrm>
            <a:off x="13922712" y="6406072"/>
            <a:ext cx="1711800" cy="1717560"/>
          </a:xfrm>
          <a:custGeom>
            <a:avLst/>
            <a:gdLst/>
            <a:ahLst/>
            <a:cxnLst>
              <a:cxn ang="3cd4">
                <a:pos x="hc" y="t"/>
              </a:cxn>
              <a:cxn ang="cd2">
                <a:pos x="l" y="vc"/>
              </a:cxn>
              <a:cxn ang="cd4">
                <a:pos x="hc" y="b"/>
              </a:cxn>
              <a:cxn ang="0">
                <a:pos x="r" y="vc"/>
              </a:cxn>
            </a:cxnLst>
            <a:rect l="l" t="t" r="r" b="b"/>
            <a:pathLst>
              <a:path w="4756" h="4772">
                <a:moveTo>
                  <a:pt x="0" y="2386"/>
                </a:moveTo>
                <a:cubicBezTo>
                  <a:pt x="0" y="3706"/>
                  <a:pt x="1066" y="4772"/>
                  <a:pt x="2386" y="4772"/>
                </a:cubicBezTo>
                <a:cubicBezTo>
                  <a:pt x="3690" y="4772"/>
                  <a:pt x="4756" y="3706"/>
                  <a:pt x="4756" y="2386"/>
                </a:cubicBezTo>
                <a:cubicBezTo>
                  <a:pt x="4756" y="1082"/>
                  <a:pt x="3690" y="0"/>
                  <a:pt x="2386" y="0"/>
                </a:cubicBezTo>
                <a:cubicBezTo>
                  <a:pt x="1066" y="0"/>
                  <a:pt x="0" y="1082"/>
                  <a:pt x="0" y="2386"/>
                </a:cubicBezTo>
                <a:close/>
                <a:moveTo>
                  <a:pt x="2386" y="159"/>
                </a:moveTo>
                <a:cubicBezTo>
                  <a:pt x="3611" y="159"/>
                  <a:pt x="4613" y="1161"/>
                  <a:pt x="4613" y="2386"/>
                </a:cubicBezTo>
                <a:cubicBezTo>
                  <a:pt x="4613" y="3611"/>
                  <a:pt x="3611" y="4613"/>
                  <a:pt x="2386" y="4613"/>
                </a:cubicBezTo>
                <a:cubicBezTo>
                  <a:pt x="1161" y="4613"/>
                  <a:pt x="159" y="3611"/>
                  <a:pt x="159" y="2386"/>
                </a:cubicBezTo>
                <a:cubicBezTo>
                  <a:pt x="159" y="1161"/>
                  <a:pt x="1161" y="159"/>
                  <a:pt x="2386" y="159"/>
                </a:cubicBezTo>
                <a:close/>
                <a:moveTo>
                  <a:pt x="2450" y="4247"/>
                </a:moveTo>
                <a:cubicBezTo>
                  <a:pt x="3293" y="4231"/>
                  <a:pt x="4311" y="3404"/>
                  <a:pt x="4311" y="2370"/>
                </a:cubicBezTo>
                <a:lnTo>
                  <a:pt x="4311" y="2306"/>
                </a:lnTo>
                <a:lnTo>
                  <a:pt x="4311" y="2291"/>
                </a:lnTo>
                <a:cubicBezTo>
                  <a:pt x="4263" y="1305"/>
                  <a:pt x="3277" y="509"/>
                  <a:pt x="2450" y="509"/>
                </a:cubicBezTo>
                <a:cubicBezTo>
                  <a:pt x="2402" y="509"/>
                  <a:pt x="2370" y="541"/>
                  <a:pt x="2370" y="589"/>
                </a:cubicBezTo>
                <a:lnTo>
                  <a:pt x="2370" y="1177"/>
                </a:lnTo>
                <a:lnTo>
                  <a:pt x="2370" y="1782"/>
                </a:lnTo>
                <a:lnTo>
                  <a:pt x="2370" y="2370"/>
                </a:lnTo>
                <a:lnTo>
                  <a:pt x="2370" y="2975"/>
                </a:lnTo>
                <a:lnTo>
                  <a:pt x="2370" y="3563"/>
                </a:lnTo>
                <a:lnTo>
                  <a:pt x="2370" y="4151"/>
                </a:lnTo>
                <a:lnTo>
                  <a:pt x="2370" y="4168"/>
                </a:lnTo>
                <a:cubicBezTo>
                  <a:pt x="2370" y="4199"/>
                  <a:pt x="2402" y="4247"/>
                  <a:pt x="2450" y="4247"/>
                </a:cubicBezTo>
                <a:close/>
                <a:moveTo>
                  <a:pt x="3706" y="1305"/>
                </a:moveTo>
                <a:cubicBezTo>
                  <a:pt x="3802" y="1400"/>
                  <a:pt x="3881" y="1511"/>
                  <a:pt x="3945" y="1623"/>
                </a:cubicBezTo>
                <a:cubicBezTo>
                  <a:pt x="3950" y="1628"/>
                  <a:pt x="3945" y="1639"/>
                  <a:pt x="3961" y="1639"/>
                </a:cubicBezTo>
                <a:lnTo>
                  <a:pt x="3961" y="1654"/>
                </a:lnTo>
                <a:cubicBezTo>
                  <a:pt x="3961" y="1670"/>
                  <a:pt x="3977" y="1686"/>
                  <a:pt x="3993" y="1702"/>
                </a:cubicBezTo>
                <a:lnTo>
                  <a:pt x="3706" y="1702"/>
                </a:lnTo>
                <a:close/>
                <a:moveTo>
                  <a:pt x="3706" y="1861"/>
                </a:moveTo>
                <a:lnTo>
                  <a:pt x="4056" y="1861"/>
                </a:lnTo>
                <a:cubicBezTo>
                  <a:pt x="4104" y="2005"/>
                  <a:pt x="4136" y="2148"/>
                  <a:pt x="4151" y="2291"/>
                </a:cubicBezTo>
                <a:lnTo>
                  <a:pt x="3706" y="2291"/>
                </a:lnTo>
                <a:close/>
                <a:moveTo>
                  <a:pt x="3706" y="2450"/>
                </a:moveTo>
                <a:lnTo>
                  <a:pt x="4151" y="2450"/>
                </a:lnTo>
                <a:cubicBezTo>
                  <a:pt x="4136" y="2593"/>
                  <a:pt x="4104" y="2752"/>
                  <a:pt x="4056" y="2895"/>
                </a:cubicBezTo>
                <a:lnTo>
                  <a:pt x="3706" y="2895"/>
                </a:lnTo>
                <a:close/>
                <a:moveTo>
                  <a:pt x="3706" y="3054"/>
                </a:moveTo>
                <a:lnTo>
                  <a:pt x="3993" y="3054"/>
                </a:lnTo>
                <a:cubicBezTo>
                  <a:pt x="3977" y="3054"/>
                  <a:pt x="3977" y="3070"/>
                  <a:pt x="3961" y="3086"/>
                </a:cubicBezTo>
                <a:cubicBezTo>
                  <a:pt x="3961" y="3102"/>
                  <a:pt x="3961" y="3102"/>
                  <a:pt x="3945" y="3118"/>
                </a:cubicBezTo>
                <a:cubicBezTo>
                  <a:pt x="3881" y="3229"/>
                  <a:pt x="3802" y="3341"/>
                  <a:pt x="3706" y="3436"/>
                </a:cubicBezTo>
                <a:close/>
                <a:moveTo>
                  <a:pt x="3118" y="843"/>
                </a:moveTo>
                <a:cubicBezTo>
                  <a:pt x="3181" y="875"/>
                  <a:pt x="3245" y="923"/>
                  <a:pt x="3309" y="955"/>
                </a:cubicBezTo>
                <a:cubicBezTo>
                  <a:pt x="3372" y="1002"/>
                  <a:pt x="3452" y="1050"/>
                  <a:pt x="3515" y="1114"/>
                </a:cubicBezTo>
                <a:lnTo>
                  <a:pt x="3118" y="1114"/>
                </a:lnTo>
                <a:close/>
                <a:moveTo>
                  <a:pt x="3118" y="1257"/>
                </a:moveTo>
                <a:lnTo>
                  <a:pt x="3547" y="1257"/>
                </a:lnTo>
                <a:lnTo>
                  <a:pt x="3547" y="1702"/>
                </a:lnTo>
                <a:lnTo>
                  <a:pt x="3118" y="1702"/>
                </a:lnTo>
                <a:close/>
                <a:moveTo>
                  <a:pt x="3118" y="1861"/>
                </a:moveTo>
                <a:lnTo>
                  <a:pt x="3547" y="1861"/>
                </a:lnTo>
                <a:lnTo>
                  <a:pt x="3547" y="2291"/>
                </a:lnTo>
                <a:lnTo>
                  <a:pt x="3118" y="2291"/>
                </a:lnTo>
                <a:close/>
                <a:moveTo>
                  <a:pt x="3118" y="2450"/>
                </a:moveTo>
                <a:lnTo>
                  <a:pt x="3547" y="2450"/>
                </a:lnTo>
                <a:lnTo>
                  <a:pt x="3547" y="2895"/>
                </a:lnTo>
                <a:lnTo>
                  <a:pt x="3118" y="2895"/>
                </a:lnTo>
                <a:close/>
                <a:moveTo>
                  <a:pt x="3118" y="3054"/>
                </a:moveTo>
                <a:lnTo>
                  <a:pt x="3547" y="3054"/>
                </a:lnTo>
                <a:lnTo>
                  <a:pt x="3547" y="3484"/>
                </a:lnTo>
                <a:lnTo>
                  <a:pt x="3118" y="3484"/>
                </a:lnTo>
                <a:close/>
                <a:moveTo>
                  <a:pt x="3118" y="3642"/>
                </a:moveTo>
                <a:lnTo>
                  <a:pt x="3515" y="3642"/>
                </a:lnTo>
                <a:cubicBezTo>
                  <a:pt x="3436" y="3706"/>
                  <a:pt x="3341" y="3770"/>
                  <a:pt x="3261" y="3833"/>
                </a:cubicBezTo>
                <a:cubicBezTo>
                  <a:pt x="3245" y="3833"/>
                  <a:pt x="3229" y="3833"/>
                  <a:pt x="3229" y="3850"/>
                </a:cubicBezTo>
                <a:lnTo>
                  <a:pt x="3213" y="3850"/>
                </a:lnTo>
                <a:cubicBezTo>
                  <a:pt x="3181" y="3865"/>
                  <a:pt x="3150" y="3881"/>
                  <a:pt x="3118" y="3897"/>
                </a:cubicBezTo>
                <a:close/>
                <a:moveTo>
                  <a:pt x="2529" y="668"/>
                </a:moveTo>
                <a:cubicBezTo>
                  <a:pt x="2657" y="684"/>
                  <a:pt x="2815" y="716"/>
                  <a:pt x="2959" y="779"/>
                </a:cubicBezTo>
                <a:lnTo>
                  <a:pt x="2959" y="1114"/>
                </a:lnTo>
                <a:lnTo>
                  <a:pt x="2529" y="1114"/>
                </a:lnTo>
                <a:close/>
                <a:moveTo>
                  <a:pt x="2529" y="1257"/>
                </a:moveTo>
                <a:lnTo>
                  <a:pt x="2959" y="1257"/>
                </a:lnTo>
                <a:lnTo>
                  <a:pt x="2959" y="1702"/>
                </a:lnTo>
                <a:lnTo>
                  <a:pt x="2529" y="1702"/>
                </a:lnTo>
                <a:close/>
                <a:moveTo>
                  <a:pt x="2529" y="1861"/>
                </a:moveTo>
                <a:lnTo>
                  <a:pt x="2959" y="1861"/>
                </a:lnTo>
                <a:lnTo>
                  <a:pt x="2959" y="2291"/>
                </a:lnTo>
                <a:lnTo>
                  <a:pt x="2529" y="2291"/>
                </a:lnTo>
                <a:close/>
                <a:moveTo>
                  <a:pt x="2529" y="2450"/>
                </a:moveTo>
                <a:lnTo>
                  <a:pt x="2959" y="2450"/>
                </a:lnTo>
                <a:lnTo>
                  <a:pt x="2959" y="2895"/>
                </a:lnTo>
                <a:lnTo>
                  <a:pt x="2529" y="2895"/>
                </a:lnTo>
                <a:close/>
                <a:moveTo>
                  <a:pt x="2529" y="3054"/>
                </a:moveTo>
                <a:lnTo>
                  <a:pt x="2959" y="3054"/>
                </a:lnTo>
                <a:lnTo>
                  <a:pt x="2959" y="3484"/>
                </a:lnTo>
                <a:lnTo>
                  <a:pt x="2529" y="3484"/>
                </a:lnTo>
                <a:close/>
                <a:moveTo>
                  <a:pt x="2529" y="3642"/>
                </a:moveTo>
                <a:lnTo>
                  <a:pt x="2959" y="3642"/>
                </a:lnTo>
                <a:lnTo>
                  <a:pt x="2959" y="3977"/>
                </a:lnTo>
                <a:cubicBezTo>
                  <a:pt x="2815" y="4041"/>
                  <a:pt x="2672" y="4072"/>
                  <a:pt x="2529" y="40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92959712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Partners</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36" name="TextBox 35">
            <a:extLst>
              <a:ext uri="{FF2B5EF4-FFF2-40B4-BE49-F238E27FC236}">
                <a16:creationId xmlns:a16="http://schemas.microsoft.com/office/drawing/2014/main" id="{54F7CDA5-0C34-2C41-A6AC-346F5798EB31}"/>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rofit Potential</a:t>
            </a:r>
          </a:p>
        </p:txBody>
      </p:sp>
      <p:sp>
        <p:nvSpPr>
          <p:cNvPr id="37" name="TextBox 36">
            <a:extLst>
              <a:ext uri="{FF2B5EF4-FFF2-40B4-BE49-F238E27FC236}">
                <a16:creationId xmlns:a16="http://schemas.microsoft.com/office/drawing/2014/main" id="{F8118459-5B84-2749-92AC-16B1640AA2DF}"/>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iscover</a:t>
            </a:r>
          </a:p>
        </p:txBody>
      </p:sp>
      <p:sp>
        <p:nvSpPr>
          <p:cNvPr id="38" name="TextBox 37">
            <a:extLst>
              <a:ext uri="{FF2B5EF4-FFF2-40B4-BE49-F238E27FC236}">
                <a16:creationId xmlns:a16="http://schemas.microsoft.com/office/drawing/2014/main" id="{591B4BBF-74AD-DA4E-BFF0-AAB39D9E59E7}"/>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ossibilities</a:t>
            </a:r>
          </a:p>
        </p:txBody>
      </p:sp>
      <p:sp>
        <p:nvSpPr>
          <p:cNvPr id="39" name="TextBox 38">
            <a:extLst>
              <a:ext uri="{FF2B5EF4-FFF2-40B4-BE49-F238E27FC236}">
                <a16:creationId xmlns:a16="http://schemas.microsoft.com/office/drawing/2014/main" id="{CAEF8713-1207-1146-82B5-49C5937ADEA0}"/>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ccelerate Success</a:t>
            </a:r>
          </a:p>
        </p:txBody>
      </p:sp>
      <p:sp>
        <p:nvSpPr>
          <p:cNvPr id="40" name="TextBox 39">
            <a:extLst>
              <a:ext uri="{FF2B5EF4-FFF2-40B4-BE49-F238E27FC236}">
                <a16:creationId xmlns:a16="http://schemas.microsoft.com/office/drawing/2014/main" id="{F1CF9822-E41B-FC43-8288-39492CF80BEA}"/>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Opportunity 1</a:t>
            </a:r>
          </a:p>
        </p:txBody>
      </p:sp>
      <p:sp>
        <p:nvSpPr>
          <p:cNvPr id="41" name="TextBox 40">
            <a:extLst>
              <a:ext uri="{FF2B5EF4-FFF2-40B4-BE49-F238E27FC236}">
                <a16:creationId xmlns:a16="http://schemas.microsoft.com/office/drawing/2014/main" id="{A65CF21F-3AAE-2342-AC44-37AA46CD148D}"/>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Opportunity 2</a:t>
            </a:r>
          </a:p>
        </p:txBody>
      </p:sp>
      <p:sp>
        <p:nvSpPr>
          <p:cNvPr id="44" name="TextBox 43">
            <a:extLst>
              <a:ext uri="{FF2B5EF4-FFF2-40B4-BE49-F238E27FC236}">
                <a16:creationId xmlns:a16="http://schemas.microsoft.com/office/drawing/2014/main" id="{9B6F42FA-4BE5-F643-AA3D-40F00B1D729C}"/>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rtnership 1</a:t>
            </a:r>
          </a:p>
        </p:txBody>
      </p:sp>
      <p:sp>
        <p:nvSpPr>
          <p:cNvPr id="45" name="TextBox 44">
            <a:extLst>
              <a:ext uri="{FF2B5EF4-FFF2-40B4-BE49-F238E27FC236}">
                <a16:creationId xmlns:a16="http://schemas.microsoft.com/office/drawing/2014/main" id="{77A9857B-6808-4849-9BDF-42815A9ED0C5}"/>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rtnership 2</a:t>
            </a:r>
          </a:p>
        </p:txBody>
      </p:sp>
      <p:sp>
        <p:nvSpPr>
          <p:cNvPr id="46" name="Freeform: Shape 26">
            <a:extLst>
              <a:ext uri="{FF2B5EF4-FFF2-40B4-BE49-F238E27FC236}">
                <a16:creationId xmlns:a16="http://schemas.microsoft.com/office/drawing/2014/main" id="{5988879B-B097-D445-9106-6F50997F2C2C}"/>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7" name="TextBox 46">
            <a:extLst>
              <a:ext uri="{FF2B5EF4-FFF2-40B4-BE49-F238E27FC236}">
                <a16:creationId xmlns:a16="http://schemas.microsoft.com/office/drawing/2014/main" id="{B4C9C892-7FCA-B84B-B584-A11E5A1A10E3}"/>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able Growth</a:t>
            </a:r>
          </a:p>
        </p:txBody>
      </p:sp>
      <p:sp>
        <p:nvSpPr>
          <p:cNvPr id="48" name="Freeform: Shape 13">
            <a:extLst>
              <a:ext uri="{FF2B5EF4-FFF2-40B4-BE49-F238E27FC236}">
                <a16:creationId xmlns:a16="http://schemas.microsoft.com/office/drawing/2014/main" id="{6D35EBD0-9F1E-CC4D-A29A-3BEDB5E53849}"/>
              </a:ext>
            </a:extLst>
          </p:cNvPr>
          <p:cNvSpPr/>
          <p:nvPr/>
        </p:nvSpPr>
        <p:spPr>
          <a:xfrm>
            <a:off x="2283649" y="3606611"/>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9" name="Freeform: Shape 1">
            <a:extLst>
              <a:ext uri="{FF2B5EF4-FFF2-40B4-BE49-F238E27FC236}">
                <a16:creationId xmlns:a16="http://schemas.microsoft.com/office/drawing/2014/main" id="{B3205FBA-0E15-C44A-9306-82339651AEE1}"/>
              </a:ext>
            </a:extLst>
          </p:cNvPr>
          <p:cNvSpPr/>
          <p:nvPr/>
        </p:nvSpPr>
        <p:spPr>
          <a:xfrm>
            <a:off x="5902705" y="3070843"/>
            <a:ext cx="1700639" cy="1940400"/>
          </a:xfrm>
          <a:custGeom>
            <a:avLst/>
            <a:gdLst/>
            <a:ahLst/>
            <a:cxnLst>
              <a:cxn ang="3cd4">
                <a:pos x="hc" y="t"/>
              </a:cxn>
              <a:cxn ang="cd2">
                <a:pos x="l" y="vc"/>
              </a:cxn>
              <a:cxn ang="cd4">
                <a:pos x="hc" y="b"/>
              </a:cxn>
              <a:cxn ang="0">
                <a:pos x="r" y="vc"/>
              </a:cxn>
            </a:cxnLst>
            <a:rect l="l" t="t" r="r" b="b"/>
            <a:pathLst>
              <a:path w="4725" h="5391">
                <a:moveTo>
                  <a:pt x="2371" y="5391"/>
                </a:moveTo>
                <a:cubicBezTo>
                  <a:pt x="3675" y="5391"/>
                  <a:pt x="4725" y="4326"/>
                  <a:pt x="4725" y="3022"/>
                </a:cubicBezTo>
                <a:cubicBezTo>
                  <a:pt x="4725" y="1797"/>
                  <a:pt x="3802" y="795"/>
                  <a:pt x="2609" y="668"/>
                </a:cubicBezTo>
                <a:cubicBezTo>
                  <a:pt x="2689" y="588"/>
                  <a:pt x="2720" y="492"/>
                  <a:pt x="2720" y="381"/>
                </a:cubicBezTo>
                <a:cubicBezTo>
                  <a:pt x="2720" y="174"/>
                  <a:pt x="2545" y="0"/>
                  <a:pt x="2323" y="0"/>
                </a:cubicBezTo>
                <a:cubicBezTo>
                  <a:pt x="2116" y="0"/>
                  <a:pt x="1925" y="174"/>
                  <a:pt x="1925" y="381"/>
                </a:cubicBezTo>
                <a:cubicBezTo>
                  <a:pt x="1925" y="492"/>
                  <a:pt x="1973" y="604"/>
                  <a:pt x="2053" y="668"/>
                </a:cubicBezTo>
                <a:cubicBezTo>
                  <a:pt x="891" y="827"/>
                  <a:pt x="0" y="1813"/>
                  <a:pt x="0" y="3022"/>
                </a:cubicBezTo>
                <a:cubicBezTo>
                  <a:pt x="0" y="4326"/>
                  <a:pt x="1051" y="5391"/>
                  <a:pt x="2371" y="5391"/>
                </a:cubicBezTo>
                <a:close/>
                <a:moveTo>
                  <a:pt x="2323" y="143"/>
                </a:moveTo>
                <a:cubicBezTo>
                  <a:pt x="2466" y="143"/>
                  <a:pt x="2562" y="254"/>
                  <a:pt x="2562" y="381"/>
                </a:cubicBezTo>
                <a:cubicBezTo>
                  <a:pt x="2562" y="525"/>
                  <a:pt x="2466" y="620"/>
                  <a:pt x="2323" y="620"/>
                </a:cubicBezTo>
                <a:cubicBezTo>
                  <a:pt x="2196" y="620"/>
                  <a:pt x="2084" y="525"/>
                  <a:pt x="2084" y="381"/>
                </a:cubicBezTo>
                <a:cubicBezTo>
                  <a:pt x="2084" y="254"/>
                  <a:pt x="2196" y="143"/>
                  <a:pt x="2323" y="143"/>
                </a:cubicBezTo>
                <a:close/>
                <a:moveTo>
                  <a:pt x="2371" y="811"/>
                </a:moveTo>
                <a:cubicBezTo>
                  <a:pt x="3580" y="811"/>
                  <a:pt x="4566" y="1797"/>
                  <a:pt x="4566" y="3022"/>
                </a:cubicBezTo>
                <a:cubicBezTo>
                  <a:pt x="4566" y="4230"/>
                  <a:pt x="3580" y="5233"/>
                  <a:pt x="2371" y="5233"/>
                </a:cubicBezTo>
                <a:cubicBezTo>
                  <a:pt x="1146" y="5233"/>
                  <a:pt x="160" y="4230"/>
                  <a:pt x="160" y="3022"/>
                </a:cubicBezTo>
                <a:cubicBezTo>
                  <a:pt x="160" y="1797"/>
                  <a:pt x="1146" y="811"/>
                  <a:pt x="2371" y="811"/>
                </a:cubicBezTo>
                <a:close/>
                <a:moveTo>
                  <a:pt x="2371" y="1908"/>
                </a:moveTo>
                <a:cubicBezTo>
                  <a:pt x="2402" y="1908"/>
                  <a:pt x="2450" y="1876"/>
                  <a:pt x="2450" y="1829"/>
                </a:cubicBezTo>
                <a:lnTo>
                  <a:pt x="2450" y="1272"/>
                </a:lnTo>
                <a:cubicBezTo>
                  <a:pt x="2450" y="1240"/>
                  <a:pt x="2402" y="1209"/>
                  <a:pt x="2371" y="1209"/>
                </a:cubicBezTo>
                <a:cubicBezTo>
                  <a:pt x="2323" y="1209"/>
                  <a:pt x="2291" y="1240"/>
                  <a:pt x="2291" y="1272"/>
                </a:cubicBezTo>
                <a:lnTo>
                  <a:pt x="2291" y="1829"/>
                </a:lnTo>
                <a:cubicBezTo>
                  <a:pt x="2291" y="1876"/>
                  <a:pt x="2323" y="1908"/>
                  <a:pt x="2371" y="1908"/>
                </a:cubicBezTo>
                <a:close/>
                <a:moveTo>
                  <a:pt x="2371" y="4183"/>
                </a:moveTo>
                <a:cubicBezTo>
                  <a:pt x="2323" y="4183"/>
                  <a:pt x="2291" y="4215"/>
                  <a:pt x="2291" y="4262"/>
                </a:cubicBezTo>
                <a:lnTo>
                  <a:pt x="2291" y="4803"/>
                </a:lnTo>
                <a:cubicBezTo>
                  <a:pt x="2291" y="4851"/>
                  <a:pt x="2323" y="4882"/>
                  <a:pt x="2371" y="4882"/>
                </a:cubicBezTo>
                <a:cubicBezTo>
                  <a:pt x="2402" y="4882"/>
                  <a:pt x="2450" y="4851"/>
                  <a:pt x="2450" y="4803"/>
                </a:cubicBezTo>
                <a:lnTo>
                  <a:pt x="2450" y="4262"/>
                </a:lnTo>
                <a:cubicBezTo>
                  <a:pt x="2450" y="4215"/>
                  <a:pt x="2402" y="4183"/>
                  <a:pt x="2371" y="4183"/>
                </a:cubicBezTo>
                <a:close/>
                <a:moveTo>
                  <a:pt x="3500" y="2974"/>
                </a:moveTo>
                <a:cubicBezTo>
                  <a:pt x="3500" y="3022"/>
                  <a:pt x="3532" y="3054"/>
                  <a:pt x="3580" y="3054"/>
                </a:cubicBezTo>
                <a:lnTo>
                  <a:pt x="4120" y="3054"/>
                </a:lnTo>
                <a:cubicBezTo>
                  <a:pt x="4168" y="3054"/>
                  <a:pt x="4200" y="3022"/>
                  <a:pt x="4200" y="2974"/>
                </a:cubicBezTo>
                <a:cubicBezTo>
                  <a:pt x="4200" y="2926"/>
                  <a:pt x="4168" y="2894"/>
                  <a:pt x="4120" y="2894"/>
                </a:cubicBezTo>
                <a:lnTo>
                  <a:pt x="3580" y="2894"/>
                </a:lnTo>
                <a:cubicBezTo>
                  <a:pt x="3532" y="2894"/>
                  <a:pt x="3500" y="2926"/>
                  <a:pt x="3500" y="2974"/>
                </a:cubicBezTo>
                <a:close/>
                <a:moveTo>
                  <a:pt x="1226" y="2974"/>
                </a:moveTo>
                <a:cubicBezTo>
                  <a:pt x="1226" y="2926"/>
                  <a:pt x="1194" y="2894"/>
                  <a:pt x="1146" y="2894"/>
                </a:cubicBezTo>
                <a:lnTo>
                  <a:pt x="621" y="2894"/>
                </a:lnTo>
                <a:cubicBezTo>
                  <a:pt x="573" y="2894"/>
                  <a:pt x="542" y="2926"/>
                  <a:pt x="542" y="2974"/>
                </a:cubicBezTo>
                <a:cubicBezTo>
                  <a:pt x="542" y="3022"/>
                  <a:pt x="573" y="3054"/>
                  <a:pt x="621" y="3054"/>
                </a:cubicBezTo>
                <a:lnTo>
                  <a:pt x="1146" y="3054"/>
                </a:lnTo>
                <a:cubicBezTo>
                  <a:pt x="1194" y="3054"/>
                  <a:pt x="1226" y="3022"/>
                  <a:pt x="1226" y="2974"/>
                </a:cubicBezTo>
                <a:close/>
                <a:moveTo>
                  <a:pt x="1210" y="4167"/>
                </a:moveTo>
                <a:cubicBezTo>
                  <a:pt x="1227" y="4183"/>
                  <a:pt x="1258" y="4183"/>
                  <a:pt x="1274" y="4183"/>
                </a:cubicBezTo>
                <a:cubicBezTo>
                  <a:pt x="1290" y="4183"/>
                  <a:pt x="1306" y="4183"/>
                  <a:pt x="1322" y="4167"/>
                </a:cubicBezTo>
                <a:lnTo>
                  <a:pt x="2594" y="3260"/>
                </a:lnTo>
                <a:cubicBezTo>
                  <a:pt x="2599" y="3255"/>
                  <a:pt x="2610" y="3260"/>
                  <a:pt x="2610" y="3245"/>
                </a:cubicBezTo>
                <a:lnTo>
                  <a:pt x="3517" y="1972"/>
                </a:lnTo>
                <a:cubicBezTo>
                  <a:pt x="3549" y="1940"/>
                  <a:pt x="3533" y="1892"/>
                  <a:pt x="3517" y="1876"/>
                </a:cubicBezTo>
                <a:cubicBezTo>
                  <a:pt x="3485" y="1845"/>
                  <a:pt x="3437" y="1845"/>
                  <a:pt x="3406" y="1861"/>
                </a:cubicBezTo>
                <a:lnTo>
                  <a:pt x="2133" y="2767"/>
                </a:lnTo>
                <a:cubicBezTo>
                  <a:pt x="2133" y="2783"/>
                  <a:pt x="2122" y="2777"/>
                  <a:pt x="2117" y="2783"/>
                </a:cubicBezTo>
                <a:lnTo>
                  <a:pt x="1210" y="4072"/>
                </a:lnTo>
                <a:cubicBezTo>
                  <a:pt x="1179" y="4103"/>
                  <a:pt x="1195" y="4135"/>
                  <a:pt x="1210" y="4167"/>
                </a:cubicBezTo>
                <a:close/>
                <a:moveTo>
                  <a:pt x="2245" y="2894"/>
                </a:moveTo>
                <a:lnTo>
                  <a:pt x="3119" y="2274"/>
                </a:lnTo>
                <a:lnTo>
                  <a:pt x="2483" y="3149"/>
                </a:lnTo>
                <a:lnTo>
                  <a:pt x="1608" y="376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0" name="Freeform: Shape 2">
            <a:extLst>
              <a:ext uri="{FF2B5EF4-FFF2-40B4-BE49-F238E27FC236}">
                <a16:creationId xmlns:a16="http://schemas.microsoft.com/office/drawing/2014/main" id="{3C31AC88-9F15-444D-A06F-4E80D84DA363}"/>
              </a:ext>
            </a:extLst>
          </p:cNvPr>
          <p:cNvSpPr/>
          <p:nvPr/>
        </p:nvSpPr>
        <p:spPr>
          <a:xfrm>
            <a:off x="21174896" y="3247602"/>
            <a:ext cx="1761119" cy="1877760"/>
          </a:xfrm>
          <a:custGeom>
            <a:avLst/>
            <a:gdLst/>
            <a:ahLst/>
            <a:cxnLst>
              <a:cxn ang="3cd4">
                <a:pos x="hc" y="t"/>
              </a:cxn>
              <a:cxn ang="cd2">
                <a:pos x="l" y="vc"/>
              </a:cxn>
              <a:cxn ang="cd4">
                <a:pos x="hc" y="b"/>
              </a:cxn>
              <a:cxn ang="0">
                <a:pos x="r" y="vc"/>
              </a:cxn>
            </a:cxnLst>
            <a:rect l="l" t="t" r="r" b="b"/>
            <a:pathLst>
              <a:path w="4893" h="5217">
                <a:moveTo>
                  <a:pt x="4368" y="3611"/>
                </a:moveTo>
                <a:cubicBezTo>
                  <a:pt x="4384" y="3611"/>
                  <a:pt x="4399" y="3627"/>
                  <a:pt x="4416" y="3627"/>
                </a:cubicBezTo>
                <a:cubicBezTo>
                  <a:pt x="4447" y="3627"/>
                  <a:pt x="4463" y="3611"/>
                  <a:pt x="4479" y="3579"/>
                </a:cubicBezTo>
                <a:cubicBezTo>
                  <a:pt x="4750" y="3197"/>
                  <a:pt x="4893" y="2752"/>
                  <a:pt x="4893" y="2275"/>
                </a:cubicBezTo>
                <a:cubicBezTo>
                  <a:pt x="4893" y="1018"/>
                  <a:pt x="3875" y="0"/>
                  <a:pt x="2618" y="0"/>
                </a:cubicBezTo>
                <a:cubicBezTo>
                  <a:pt x="1378" y="0"/>
                  <a:pt x="344" y="1018"/>
                  <a:pt x="344" y="2275"/>
                </a:cubicBezTo>
                <a:cubicBezTo>
                  <a:pt x="344" y="2624"/>
                  <a:pt x="423" y="2958"/>
                  <a:pt x="582" y="3276"/>
                </a:cubicBezTo>
                <a:cubicBezTo>
                  <a:pt x="598" y="3324"/>
                  <a:pt x="646" y="3340"/>
                  <a:pt x="694" y="3309"/>
                </a:cubicBezTo>
                <a:cubicBezTo>
                  <a:pt x="726" y="3293"/>
                  <a:pt x="741" y="3245"/>
                  <a:pt x="726" y="3213"/>
                </a:cubicBezTo>
                <a:cubicBezTo>
                  <a:pt x="598" y="2943"/>
                  <a:pt x="518" y="2657"/>
                  <a:pt x="503" y="2354"/>
                </a:cubicBezTo>
                <a:lnTo>
                  <a:pt x="1362" y="2354"/>
                </a:lnTo>
                <a:cubicBezTo>
                  <a:pt x="1362" y="2545"/>
                  <a:pt x="1378" y="2736"/>
                  <a:pt x="1409" y="2927"/>
                </a:cubicBezTo>
                <a:cubicBezTo>
                  <a:pt x="1409" y="2975"/>
                  <a:pt x="1457" y="3006"/>
                  <a:pt x="1505" y="2990"/>
                </a:cubicBezTo>
                <a:cubicBezTo>
                  <a:pt x="1536" y="2990"/>
                  <a:pt x="1569" y="2943"/>
                  <a:pt x="1569" y="2911"/>
                </a:cubicBezTo>
                <a:cubicBezTo>
                  <a:pt x="1536" y="2720"/>
                  <a:pt x="1521" y="2545"/>
                  <a:pt x="1521" y="2354"/>
                </a:cubicBezTo>
                <a:lnTo>
                  <a:pt x="2539" y="2354"/>
                </a:lnTo>
                <a:lnTo>
                  <a:pt x="2539" y="3006"/>
                </a:lnTo>
                <a:cubicBezTo>
                  <a:pt x="2539" y="3038"/>
                  <a:pt x="2586" y="3086"/>
                  <a:pt x="2618" y="3086"/>
                </a:cubicBezTo>
                <a:cubicBezTo>
                  <a:pt x="2666" y="3086"/>
                  <a:pt x="2698" y="3038"/>
                  <a:pt x="2698" y="3006"/>
                </a:cubicBezTo>
                <a:lnTo>
                  <a:pt x="2698" y="2354"/>
                </a:lnTo>
                <a:lnTo>
                  <a:pt x="3732" y="2354"/>
                </a:lnTo>
                <a:cubicBezTo>
                  <a:pt x="3732" y="2752"/>
                  <a:pt x="3668" y="3133"/>
                  <a:pt x="3541" y="3452"/>
                </a:cubicBezTo>
                <a:cubicBezTo>
                  <a:pt x="3525" y="3499"/>
                  <a:pt x="3557" y="3547"/>
                  <a:pt x="3589" y="3563"/>
                </a:cubicBezTo>
                <a:lnTo>
                  <a:pt x="3620" y="3563"/>
                </a:lnTo>
                <a:cubicBezTo>
                  <a:pt x="3652" y="3563"/>
                  <a:pt x="3684" y="3547"/>
                  <a:pt x="3700" y="3515"/>
                </a:cubicBezTo>
                <a:cubicBezTo>
                  <a:pt x="3811" y="3166"/>
                  <a:pt x="3890" y="2767"/>
                  <a:pt x="3890" y="2354"/>
                </a:cubicBezTo>
                <a:lnTo>
                  <a:pt x="4734" y="2354"/>
                </a:lnTo>
                <a:cubicBezTo>
                  <a:pt x="4718" y="2767"/>
                  <a:pt x="4590" y="3149"/>
                  <a:pt x="4352" y="3499"/>
                </a:cubicBezTo>
                <a:cubicBezTo>
                  <a:pt x="4320" y="3531"/>
                  <a:pt x="4336" y="3579"/>
                  <a:pt x="4368" y="3611"/>
                </a:cubicBezTo>
                <a:close/>
                <a:moveTo>
                  <a:pt x="1362" y="2195"/>
                </a:moveTo>
                <a:lnTo>
                  <a:pt x="503" y="2195"/>
                </a:lnTo>
                <a:cubicBezTo>
                  <a:pt x="518" y="1861"/>
                  <a:pt x="614" y="1559"/>
                  <a:pt x="757" y="1288"/>
                </a:cubicBezTo>
                <a:lnTo>
                  <a:pt x="1473" y="1288"/>
                </a:lnTo>
                <a:cubicBezTo>
                  <a:pt x="1409" y="1559"/>
                  <a:pt x="1362" y="1861"/>
                  <a:pt x="1362" y="2195"/>
                </a:cubicBezTo>
                <a:close/>
                <a:moveTo>
                  <a:pt x="853" y="1130"/>
                </a:moveTo>
                <a:cubicBezTo>
                  <a:pt x="1123" y="700"/>
                  <a:pt x="1553" y="382"/>
                  <a:pt x="2045" y="239"/>
                </a:cubicBezTo>
                <a:cubicBezTo>
                  <a:pt x="1823" y="430"/>
                  <a:pt x="1648" y="748"/>
                  <a:pt x="1521" y="1130"/>
                </a:cubicBezTo>
                <a:close/>
                <a:moveTo>
                  <a:pt x="2539" y="2195"/>
                </a:moveTo>
                <a:lnTo>
                  <a:pt x="1521" y="2195"/>
                </a:lnTo>
                <a:cubicBezTo>
                  <a:pt x="1521" y="1861"/>
                  <a:pt x="1569" y="1559"/>
                  <a:pt x="1648" y="1288"/>
                </a:cubicBezTo>
                <a:lnTo>
                  <a:pt x="2539" y="1288"/>
                </a:lnTo>
                <a:close/>
                <a:moveTo>
                  <a:pt x="2539" y="175"/>
                </a:moveTo>
                <a:lnTo>
                  <a:pt x="2539" y="1130"/>
                </a:lnTo>
                <a:lnTo>
                  <a:pt x="1696" y="1130"/>
                </a:lnTo>
                <a:cubicBezTo>
                  <a:pt x="1871" y="589"/>
                  <a:pt x="2189" y="207"/>
                  <a:pt x="2554" y="159"/>
                </a:cubicBezTo>
                <a:cubicBezTo>
                  <a:pt x="2539" y="159"/>
                  <a:pt x="2544" y="170"/>
                  <a:pt x="2539" y="175"/>
                </a:cubicBezTo>
                <a:close/>
                <a:moveTo>
                  <a:pt x="2698" y="159"/>
                </a:moveTo>
                <a:cubicBezTo>
                  <a:pt x="3063" y="207"/>
                  <a:pt x="3382" y="589"/>
                  <a:pt x="3557" y="1130"/>
                </a:cubicBezTo>
                <a:lnTo>
                  <a:pt x="2698" y="1130"/>
                </a:lnTo>
                <a:lnTo>
                  <a:pt x="2698" y="175"/>
                </a:lnTo>
                <a:close/>
                <a:moveTo>
                  <a:pt x="2698" y="2195"/>
                </a:moveTo>
                <a:lnTo>
                  <a:pt x="2698" y="1288"/>
                </a:lnTo>
                <a:lnTo>
                  <a:pt x="3604" y="1288"/>
                </a:lnTo>
                <a:cubicBezTo>
                  <a:pt x="3684" y="1559"/>
                  <a:pt x="3732" y="1861"/>
                  <a:pt x="3732" y="2195"/>
                </a:cubicBezTo>
                <a:close/>
                <a:moveTo>
                  <a:pt x="3716" y="1130"/>
                </a:moveTo>
                <a:cubicBezTo>
                  <a:pt x="3604" y="748"/>
                  <a:pt x="3414" y="430"/>
                  <a:pt x="3191" y="223"/>
                </a:cubicBezTo>
                <a:cubicBezTo>
                  <a:pt x="3700" y="366"/>
                  <a:pt x="4129" y="700"/>
                  <a:pt x="4399" y="1130"/>
                </a:cubicBezTo>
                <a:close/>
                <a:moveTo>
                  <a:pt x="3890" y="2195"/>
                </a:moveTo>
                <a:cubicBezTo>
                  <a:pt x="3890" y="1861"/>
                  <a:pt x="3843" y="1559"/>
                  <a:pt x="3763" y="1288"/>
                </a:cubicBezTo>
                <a:lnTo>
                  <a:pt x="4495" y="1288"/>
                </a:lnTo>
                <a:cubicBezTo>
                  <a:pt x="4638" y="1559"/>
                  <a:pt x="4734" y="1861"/>
                  <a:pt x="4734" y="2195"/>
                </a:cubicBezTo>
                <a:close/>
                <a:moveTo>
                  <a:pt x="727" y="5074"/>
                </a:moveTo>
                <a:cubicBezTo>
                  <a:pt x="1013" y="4963"/>
                  <a:pt x="1315" y="4931"/>
                  <a:pt x="1617" y="4979"/>
                </a:cubicBezTo>
                <a:cubicBezTo>
                  <a:pt x="1760" y="5011"/>
                  <a:pt x="1888" y="5042"/>
                  <a:pt x="2031" y="5090"/>
                </a:cubicBezTo>
                <a:cubicBezTo>
                  <a:pt x="2142" y="5122"/>
                  <a:pt x="2254" y="5169"/>
                  <a:pt x="2381" y="5185"/>
                </a:cubicBezTo>
                <a:cubicBezTo>
                  <a:pt x="2476" y="5217"/>
                  <a:pt x="2587" y="5217"/>
                  <a:pt x="2699" y="5217"/>
                </a:cubicBezTo>
                <a:cubicBezTo>
                  <a:pt x="2826" y="5217"/>
                  <a:pt x="2953" y="5201"/>
                  <a:pt x="3081" y="5169"/>
                </a:cubicBezTo>
                <a:cubicBezTo>
                  <a:pt x="3510" y="5074"/>
                  <a:pt x="4114" y="4660"/>
                  <a:pt x="4353" y="4470"/>
                </a:cubicBezTo>
                <a:cubicBezTo>
                  <a:pt x="4480" y="4374"/>
                  <a:pt x="4639" y="4167"/>
                  <a:pt x="4544" y="3976"/>
                </a:cubicBezTo>
                <a:cubicBezTo>
                  <a:pt x="4512" y="3897"/>
                  <a:pt x="4464" y="3849"/>
                  <a:pt x="4385" y="3833"/>
                </a:cubicBezTo>
                <a:cubicBezTo>
                  <a:pt x="4257" y="3785"/>
                  <a:pt x="4114" y="3818"/>
                  <a:pt x="3908" y="3913"/>
                </a:cubicBezTo>
                <a:cubicBezTo>
                  <a:pt x="3860" y="3945"/>
                  <a:pt x="3796" y="3976"/>
                  <a:pt x="3733" y="4024"/>
                </a:cubicBezTo>
                <a:cubicBezTo>
                  <a:pt x="3526" y="4167"/>
                  <a:pt x="3255" y="4342"/>
                  <a:pt x="3017" y="4342"/>
                </a:cubicBezTo>
                <a:cubicBezTo>
                  <a:pt x="2810" y="4342"/>
                  <a:pt x="2572" y="4247"/>
                  <a:pt x="2381" y="4183"/>
                </a:cubicBezTo>
                <a:cubicBezTo>
                  <a:pt x="2285" y="4151"/>
                  <a:pt x="2190" y="4104"/>
                  <a:pt x="2094" y="4072"/>
                </a:cubicBezTo>
                <a:cubicBezTo>
                  <a:pt x="1919" y="3993"/>
                  <a:pt x="1935" y="3945"/>
                  <a:pt x="1951" y="3929"/>
                </a:cubicBezTo>
                <a:cubicBezTo>
                  <a:pt x="1951" y="3897"/>
                  <a:pt x="2031" y="3897"/>
                  <a:pt x="2126" y="3913"/>
                </a:cubicBezTo>
                <a:cubicBezTo>
                  <a:pt x="2397" y="3961"/>
                  <a:pt x="2540" y="4008"/>
                  <a:pt x="2651" y="4040"/>
                </a:cubicBezTo>
                <a:cubicBezTo>
                  <a:pt x="2715" y="4056"/>
                  <a:pt x="2746" y="4072"/>
                  <a:pt x="2794" y="4088"/>
                </a:cubicBezTo>
                <a:cubicBezTo>
                  <a:pt x="2921" y="4120"/>
                  <a:pt x="3096" y="4120"/>
                  <a:pt x="3224" y="4024"/>
                </a:cubicBezTo>
                <a:cubicBezTo>
                  <a:pt x="3351" y="3945"/>
                  <a:pt x="3351" y="3785"/>
                  <a:pt x="3319" y="3658"/>
                </a:cubicBezTo>
                <a:cubicBezTo>
                  <a:pt x="3287" y="3531"/>
                  <a:pt x="3176" y="3436"/>
                  <a:pt x="3033" y="3404"/>
                </a:cubicBezTo>
                <a:cubicBezTo>
                  <a:pt x="2763" y="3309"/>
                  <a:pt x="2110" y="3149"/>
                  <a:pt x="1903" y="3149"/>
                </a:cubicBezTo>
                <a:cubicBezTo>
                  <a:pt x="1283" y="3149"/>
                  <a:pt x="742" y="3515"/>
                  <a:pt x="249" y="3881"/>
                </a:cubicBezTo>
                <a:cubicBezTo>
                  <a:pt x="170" y="3929"/>
                  <a:pt x="106" y="3976"/>
                  <a:pt x="27" y="4040"/>
                </a:cubicBezTo>
                <a:cubicBezTo>
                  <a:pt x="-5" y="4072"/>
                  <a:pt x="-5" y="4104"/>
                  <a:pt x="10" y="4151"/>
                </a:cubicBezTo>
                <a:lnTo>
                  <a:pt x="631" y="5042"/>
                </a:lnTo>
                <a:cubicBezTo>
                  <a:pt x="663" y="5074"/>
                  <a:pt x="695" y="5090"/>
                  <a:pt x="727" y="5074"/>
                </a:cubicBezTo>
                <a:close/>
                <a:moveTo>
                  <a:pt x="345" y="4008"/>
                </a:moveTo>
                <a:cubicBezTo>
                  <a:pt x="806" y="3658"/>
                  <a:pt x="1331" y="3309"/>
                  <a:pt x="1903" y="3309"/>
                </a:cubicBezTo>
                <a:cubicBezTo>
                  <a:pt x="2094" y="3309"/>
                  <a:pt x="2730" y="3467"/>
                  <a:pt x="2985" y="3547"/>
                </a:cubicBezTo>
                <a:cubicBezTo>
                  <a:pt x="3049" y="3563"/>
                  <a:pt x="3144" y="3611"/>
                  <a:pt x="3176" y="3706"/>
                </a:cubicBezTo>
                <a:cubicBezTo>
                  <a:pt x="3192" y="3770"/>
                  <a:pt x="3192" y="3865"/>
                  <a:pt x="3128" y="3897"/>
                </a:cubicBezTo>
                <a:cubicBezTo>
                  <a:pt x="3049" y="3961"/>
                  <a:pt x="2921" y="3945"/>
                  <a:pt x="2826" y="3929"/>
                </a:cubicBezTo>
                <a:cubicBezTo>
                  <a:pt x="2794" y="3913"/>
                  <a:pt x="2746" y="3913"/>
                  <a:pt x="2699" y="3897"/>
                </a:cubicBezTo>
                <a:cubicBezTo>
                  <a:pt x="2587" y="3849"/>
                  <a:pt x="2428" y="3802"/>
                  <a:pt x="2158" y="3754"/>
                </a:cubicBezTo>
                <a:cubicBezTo>
                  <a:pt x="1951" y="3722"/>
                  <a:pt x="1840" y="3754"/>
                  <a:pt x="1792" y="3881"/>
                </a:cubicBezTo>
                <a:cubicBezTo>
                  <a:pt x="1760" y="3976"/>
                  <a:pt x="1776" y="4104"/>
                  <a:pt x="2031" y="4215"/>
                </a:cubicBezTo>
                <a:cubicBezTo>
                  <a:pt x="2126" y="4263"/>
                  <a:pt x="2222" y="4294"/>
                  <a:pt x="2317" y="4327"/>
                </a:cubicBezTo>
                <a:cubicBezTo>
                  <a:pt x="2540" y="4406"/>
                  <a:pt x="2778" y="4502"/>
                  <a:pt x="3017" y="4502"/>
                </a:cubicBezTo>
                <a:cubicBezTo>
                  <a:pt x="3303" y="4502"/>
                  <a:pt x="3605" y="4311"/>
                  <a:pt x="3812" y="4167"/>
                </a:cubicBezTo>
                <a:cubicBezTo>
                  <a:pt x="3891" y="4120"/>
                  <a:pt x="3939" y="4088"/>
                  <a:pt x="3987" y="4056"/>
                </a:cubicBezTo>
                <a:cubicBezTo>
                  <a:pt x="4178" y="3961"/>
                  <a:pt x="4273" y="3961"/>
                  <a:pt x="4337" y="3976"/>
                </a:cubicBezTo>
                <a:cubicBezTo>
                  <a:pt x="4369" y="3993"/>
                  <a:pt x="4385" y="4008"/>
                  <a:pt x="4400" y="4040"/>
                </a:cubicBezTo>
                <a:cubicBezTo>
                  <a:pt x="4448" y="4136"/>
                  <a:pt x="4353" y="4279"/>
                  <a:pt x="4257" y="4342"/>
                </a:cubicBezTo>
                <a:lnTo>
                  <a:pt x="4242" y="4358"/>
                </a:lnTo>
                <a:cubicBezTo>
                  <a:pt x="4019" y="4517"/>
                  <a:pt x="3446" y="4931"/>
                  <a:pt x="3049" y="5026"/>
                </a:cubicBezTo>
                <a:cubicBezTo>
                  <a:pt x="2826" y="5074"/>
                  <a:pt x="2619" y="5074"/>
                  <a:pt x="2412" y="5042"/>
                </a:cubicBezTo>
                <a:cubicBezTo>
                  <a:pt x="2301" y="5011"/>
                  <a:pt x="2190" y="4979"/>
                  <a:pt x="2078" y="4947"/>
                </a:cubicBezTo>
                <a:cubicBezTo>
                  <a:pt x="1935" y="4899"/>
                  <a:pt x="1792" y="4851"/>
                  <a:pt x="1649" y="4820"/>
                </a:cubicBezTo>
                <a:cubicBezTo>
                  <a:pt x="1537" y="4820"/>
                  <a:pt x="1442" y="4803"/>
                  <a:pt x="1347" y="4803"/>
                </a:cubicBezTo>
                <a:cubicBezTo>
                  <a:pt x="1140" y="4803"/>
                  <a:pt x="933" y="4835"/>
                  <a:pt x="727" y="4899"/>
                </a:cubicBezTo>
                <a:lnTo>
                  <a:pt x="186" y="4120"/>
                </a:lnTo>
                <a:cubicBezTo>
                  <a:pt x="233" y="4072"/>
                  <a:pt x="281" y="4040"/>
                  <a:pt x="345" y="400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1" name="Freeform: Shape 3">
            <a:extLst>
              <a:ext uri="{FF2B5EF4-FFF2-40B4-BE49-F238E27FC236}">
                <a16:creationId xmlns:a16="http://schemas.microsoft.com/office/drawing/2014/main" id="{A9011C59-45C9-C34D-B95A-F70818CA121E}"/>
              </a:ext>
            </a:extLst>
          </p:cNvPr>
          <p:cNvSpPr/>
          <p:nvPr/>
        </p:nvSpPr>
        <p:spPr>
          <a:xfrm>
            <a:off x="14140502" y="3488082"/>
            <a:ext cx="1402920" cy="1396800"/>
          </a:xfrm>
          <a:custGeom>
            <a:avLst/>
            <a:gdLst/>
            <a:ahLst/>
            <a:cxnLst>
              <a:cxn ang="3cd4">
                <a:pos x="hc" y="t"/>
              </a:cxn>
              <a:cxn ang="cd2">
                <a:pos x="l" y="vc"/>
              </a:cxn>
              <a:cxn ang="cd4">
                <a:pos x="hc" y="b"/>
              </a:cxn>
              <a:cxn ang="0">
                <a:pos x="r" y="vc"/>
              </a:cxn>
            </a:cxnLst>
            <a:rect l="l" t="t" r="r" b="b"/>
            <a:pathLst>
              <a:path w="3898" h="3881">
                <a:moveTo>
                  <a:pt x="0" y="3802"/>
                </a:moveTo>
                <a:cubicBezTo>
                  <a:pt x="0" y="3849"/>
                  <a:pt x="32" y="3881"/>
                  <a:pt x="80" y="3881"/>
                </a:cubicBezTo>
                <a:lnTo>
                  <a:pt x="175" y="3881"/>
                </a:lnTo>
                <a:cubicBezTo>
                  <a:pt x="748" y="3881"/>
                  <a:pt x="891" y="3626"/>
                  <a:pt x="1018" y="3404"/>
                </a:cubicBezTo>
                <a:cubicBezTo>
                  <a:pt x="1035" y="3372"/>
                  <a:pt x="1050" y="3340"/>
                  <a:pt x="1066" y="3308"/>
                </a:cubicBezTo>
                <a:cubicBezTo>
                  <a:pt x="1098" y="3325"/>
                  <a:pt x="1114" y="3325"/>
                  <a:pt x="1145" y="3325"/>
                </a:cubicBezTo>
                <a:lnTo>
                  <a:pt x="1193" y="3325"/>
                </a:lnTo>
                <a:lnTo>
                  <a:pt x="1480" y="3150"/>
                </a:lnTo>
                <a:lnTo>
                  <a:pt x="1527" y="3150"/>
                </a:lnTo>
                <a:lnTo>
                  <a:pt x="1575" y="3150"/>
                </a:lnTo>
                <a:lnTo>
                  <a:pt x="1591" y="3134"/>
                </a:lnTo>
                <a:cubicBezTo>
                  <a:pt x="1607" y="3134"/>
                  <a:pt x="1607" y="3117"/>
                  <a:pt x="1639" y="3102"/>
                </a:cubicBezTo>
                <a:lnTo>
                  <a:pt x="1750" y="3595"/>
                </a:lnTo>
                <a:cubicBezTo>
                  <a:pt x="1766" y="3611"/>
                  <a:pt x="1782" y="3643"/>
                  <a:pt x="1798" y="3643"/>
                </a:cubicBezTo>
                <a:lnTo>
                  <a:pt x="1830" y="3643"/>
                </a:lnTo>
                <a:cubicBezTo>
                  <a:pt x="1845" y="3643"/>
                  <a:pt x="1862" y="3643"/>
                  <a:pt x="1877" y="3626"/>
                </a:cubicBezTo>
                <a:lnTo>
                  <a:pt x="2354" y="3229"/>
                </a:lnTo>
                <a:cubicBezTo>
                  <a:pt x="2371" y="3213"/>
                  <a:pt x="2386" y="3197"/>
                  <a:pt x="2386" y="3165"/>
                </a:cubicBezTo>
                <a:lnTo>
                  <a:pt x="2386" y="2498"/>
                </a:lnTo>
                <a:cubicBezTo>
                  <a:pt x="2704" y="2227"/>
                  <a:pt x="3038" y="1941"/>
                  <a:pt x="3229" y="1750"/>
                </a:cubicBezTo>
                <a:cubicBezTo>
                  <a:pt x="3372" y="1607"/>
                  <a:pt x="3500" y="1432"/>
                  <a:pt x="3611" y="1225"/>
                </a:cubicBezTo>
                <a:cubicBezTo>
                  <a:pt x="3881" y="668"/>
                  <a:pt x="3898" y="96"/>
                  <a:pt x="3898" y="80"/>
                </a:cubicBezTo>
                <a:cubicBezTo>
                  <a:pt x="3898" y="48"/>
                  <a:pt x="3881" y="32"/>
                  <a:pt x="3865" y="16"/>
                </a:cubicBezTo>
                <a:cubicBezTo>
                  <a:pt x="3850" y="0"/>
                  <a:pt x="3834" y="0"/>
                  <a:pt x="3818" y="0"/>
                </a:cubicBezTo>
                <a:cubicBezTo>
                  <a:pt x="3786" y="0"/>
                  <a:pt x="3213" y="16"/>
                  <a:pt x="2672" y="286"/>
                </a:cubicBezTo>
                <a:cubicBezTo>
                  <a:pt x="2466" y="382"/>
                  <a:pt x="2291" y="509"/>
                  <a:pt x="2132" y="652"/>
                </a:cubicBezTo>
                <a:cubicBezTo>
                  <a:pt x="1941" y="859"/>
                  <a:pt x="1654" y="1193"/>
                  <a:pt x="1400" y="1511"/>
                </a:cubicBezTo>
                <a:lnTo>
                  <a:pt x="716" y="1511"/>
                </a:lnTo>
                <a:cubicBezTo>
                  <a:pt x="700" y="1511"/>
                  <a:pt x="669" y="1511"/>
                  <a:pt x="653" y="1527"/>
                </a:cubicBezTo>
                <a:lnTo>
                  <a:pt x="255" y="2004"/>
                </a:lnTo>
                <a:cubicBezTo>
                  <a:pt x="239" y="2036"/>
                  <a:pt x="239" y="2052"/>
                  <a:pt x="239" y="2084"/>
                </a:cubicBezTo>
                <a:cubicBezTo>
                  <a:pt x="255" y="2116"/>
                  <a:pt x="271" y="2132"/>
                  <a:pt x="303" y="2132"/>
                </a:cubicBezTo>
                <a:lnTo>
                  <a:pt x="780" y="2259"/>
                </a:lnTo>
                <a:cubicBezTo>
                  <a:pt x="764" y="2275"/>
                  <a:pt x="769" y="2280"/>
                  <a:pt x="764" y="2290"/>
                </a:cubicBezTo>
                <a:cubicBezTo>
                  <a:pt x="748" y="2307"/>
                  <a:pt x="748" y="2307"/>
                  <a:pt x="748" y="2322"/>
                </a:cubicBezTo>
                <a:cubicBezTo>
                  <a:pt x="732" y="2338"/>
                  <a:pt x="732" y="2354"/>
                  <a:pt x="748" y="2402"/>
                </a:cubicBezTo>
                <a:lnTo>
                  <a:pt x="573" y="2688"/>
                </a:lnTo>
                <a:cubicBezTo>
                  <a:pt x="557" y="2736"/>
                  <a:pt x="557" y="2768"/>
                  <a:pt x="573" y="2831"/>
                </a:cubicBezTo>
                <a:cubicBezTo>
                  <a:pt x="541" y="2847"/>
                  <a:pt x="509" y="2879"/>
                  <a:pt x="478" y="2895"/>
                </a:cubicBezTo>
                <a:cubicBezTo>
                  <a:pt x="239" y="3038"/>
                  <a:pt x="0" y="3181"/>
                  <a:pt x="0" y="3802"/>
                </a:cubicBezTo>
                <a:close/>
                <a:moveTo>
                  <a:pt x="2227" y="3134"/>
                </a:moveTo>
                <a:lnTo>
                  <a:pt x="1877" y="3420"/>
                </a:lnTo>
                <a:lnTo>
                  <a:pt x="1766" y="2990"/>
                </a:lnTo>
                <a:cubicBezTo>
                  <a:pt x="1877" y="2911"/>
                  <a:pt x="2052" y="2768"/>
                  <a:pt x="2227" y="2625"/>
                </a:cubicBezTo>
                <a:close/>
                <a:moveTo>
                  <a:pt x="1496" y="1638"/>
                </a:moveTo>
                <a:lnTo>
                  <a:pt x="1496" y="1623"/>
                </a:lnTo>
                <a:cubicBezTo>
                  <a:pt x="1766" y="1304"/>
                  <a:pt x="2052" y="971"/>
                  <a:pt x="2259" y="763"/>
                </a:cubicBezTo>
                <a:cubicBezTo>
                  <a:pt x="2386" y="636"/>
                  <a:pt x="2545" y="525"/>
                  <a:pt x="2736" y="430"/>
                </a:cubicBezTo>
                <a:cubicBezTo>
                  <a:pt x="3134" y="223"/>
                  <a:pt x="3547" y="175"/>
                  <a:pt x="3738" y="159"/>
                </a:cubicBezTo>
                <a:cubicBezTo>
                  <a:pt x="3722" y="334"/>
                  <a:pt x="3659" y="748"/>
                  <a:pt x="3468" y="1161"/>
                </a:cubicBezTo>
                <a:cubicBezTo>
                  <a:pt x="3372" y="1336"/>
                  <a:pt x="3261" y="1495"/>
                  <a:pt x="3118" y="1638"/>
                </a:cubicBezTo>
                <a:cubicBezTo>
                  <a:pt x="2720" y="2036"/>
                  <a:pt x="1687" y="2863"/>
                  <a:pt x="1527" y="2990"/>
                </a:cubicBezTo>
                <a:cubicBezTo>
                  <a:pt x="1480" y="2990"/>
                  <a:pt x="1368" y="2943"/>
                  <a:pt x="1145" y="2736"/>
                </a:cubicBezTo>
                <a:cubicBezTo>
                  <a:pt x="939" y="2513"/>
                  <a:pt x="907" y="2402"/>
                  <a:pt x="891" y="2370"/>
                </a:cubicBezTo>
                <a:cubicBezTo>
                  <a:pt x="955" y="2290"/>
                  <a:pt x="1209" y="1989"/>
                  <a:pt x="1496" y="1638"/>
                </a:cubicBezTo>
                <a:close/>
                <a:moveTo>
                  <a:pt x="462" y="2020"/>
                </a:moveTo>
                <a:lnTo>
                  <a:pt x="748" y="1670"/>
                </a:lnTo>
                <a:lnTo>
                  <a:pt x="1257" y="1670"/>
                </a:lnTo>
                <a:cubicBezTo>
                  <a:pt x="1114" y="1845"/>
                  <a:pt x="987" y="2004"/>
                  <a:pt x="891" y="2116"/>
                </a:cubicBezTo>
                <a:close/>
                <a:moveTo>
                  <a:pt x="827" y="2577"/>
                </a:moveTo>
                <a:cubicBezTo>
                  <a:pt x="875" y="2656"/>
                  <a:pt x="939" y="2752"/>
                  <a:pt x="1035" y="2847"/>
                </a:cubicBezTo>
                <a:cubicBezTo>
                  <a:pt x="1145" y="2959"/>
                  <a:pt x="1225" y="3022"/>
                  <a:pt x="1305" y="3070"/>
                </a:cubicBezTo>
                <a:lnTo>
                  <a:pt x="1130" y="3165"/>
                </a:lnTo>
                <a:cubicBezTo>
                  <a:pt x="1114" y="3160"/>
                  <a:pt x="1114" y="3165"/>
                  <a:pt x="1082" y="3150"/>
                </a:cubicBezTo>
                <a:cubicBezTo>
                  <a:pt x="1050" y="3117"/>
                  <a:pt x="987" y="3070"/>
                  <a:pt x="907" y="2990"/>
                </a:cubicBezTo>
                <a:cubicBezTo>
                  <a:pt x="764" y="2847"/>
                  <a:pt x="732" y="2784"/>
                  <a:pt x="716" y="2752"/>
                </a:cubicBezTo>
                <a:close/>
                <a:moveTo>
                  <a:pt x="669" y="2959"/>
                </a:moveTo>
                <a:cubicBezTo>
                  <a:pt x="700" y="3006"/>
                  <a:pt x="732" y="3054"/>
                  <a:pt x="796" y="3102"/>
                </a:cubicBezTo>
                <a:cubicBezTo>
                  <a:pt x="844" y="3150"/>
                  <a:pt x="891" y="3197"/>
                  <a:pt x="939" y="3229"/>
                </a:cubicBezTo>
                <a:cubicBezTo>
                  <a:pt x="907" y="3261"/>
                  <a:pt x="891" y="3293"/>
                  <a:pt x="875" y="3325"/>
                </a:cubicBezTo>
                <a:cubicBezTo>
                  <a:pt x="764" y="3531"/>
                  <a:pt x="653" y="3722"/>
                  <a:pt x="160" y="3722"/>
                </a:cubicBezTo>
                <a:cubicBezTo>
                  <a:pt x="175" y="3261"/>
                  <a:pt x="350" y="3165"/>
                  <a:pt x="557" y="3022"/>
                </a:cubicBezTo>
                <a:cubicBezTo>
                  <a:pt x="589" y="3006"/>
                  <a:pt x="621" y="2990"/>
                  <a:pt x="669" y="2959"/>
                </a:cubicBezTo>
                <a:close/>
                <a:moveTo>
                  <a:pt x="2704" y="1591"/>
                </a:moveTo>
                <a:cubicBezTo>
                  <a:pt x="2927" y="1591"/>
                  <a:pt x="3102" y="1400"/>
                  <a:pt x="3102" y="1193"/>
                </a:cubicBezTo>
                <a:cubicBezTo>
                  <a:pt x="3102" y="971"/>
                  <a:pt x="2927" y="795"/>
                  <a:pt x="2704" y="795"/>
                </a:cubicBezTo>
                <a:cubicBezTo>
                  <a:pt x="2482" y="795"/>
                  <a:pt x="2307" y="971"/>
                  <a:pt x="2307" y="1193"/>
                </a:cubicBezTo>
                <a:cubicBezTo>
                  <a:pt x="2307" y="1400"/>
                  <a:pt x="2482" y="1591"/>
                  <a:pt x="2704" y="1591"/>
                </a:cubicBezTo>
                <a:close/>
                <a:moveTo>
                  <a:pt x="2704" y="954"/>
                </a:moveTo>
                <a:cubicBezTo>
                  <a:pt x="2832" y="954"/>
                  <a:pt x="2943" y="1050"/>
                  <a:pt x="2943" y="1193"/>
                </a:cubicBezTo>
                <a:cubicBezTo>
                  <a:pt x="2943" y="1320"/>
                  <a:pt x="2832" y="1432"/>
                  <a:pt x="2704" y="1432"/>
                </a:cubicBezTo>
                <a:cubicBezTo>
                  <a:pt x="2577" y="1432"/>
                  <a:pt x="2466" y="1320"/>
                  <a:pt x="2466" y="1193"/>
                </a:cubicBezTo>
                <a:cubicBezTo>
                  <a:pt x="2466" y="1050"/>
                  <a:pt x="2577" y="954"/>
                  <a:pt x="2704" y="95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2" name="Freeform: Shape 4">
            <a:extLst>
              <a:ext uri="{FF2B5EF4-FFF2-40B4-BE49-F238E27FC236}">
                <a16:creationId xmlns:a16="http://schemas.microsoft.com/office/drawing/2014/main" id="{90B6E66A-351B-574D-A266-666E4837D77C}"/>
              </a:ext>
            </a:extLst>
          </p:cNvPr>
          <p:cNvSpPr/>
          <p:nvPr/>
        </p:nvSpPr>
        <p:spPr>
          <a:xfrm>
            <a:off x="1593241" y="3535242"/>
            <a:ext cx="1940760" cy="1303920"/>
          </a:xfrm>
          <a:custGeom>
            <a:avLst/>
            <a:gdLst/>
            <a:ahLst/>
            <a:cxnLst>
              <a:cxn ang="3cd4">
                <a:pos x="hc" y="t"/>
              </a:cxn>
              <a:cxn ang="cd2">
                <a:pos x="l" y="vc"/>
              </a:cxn>
              <a:cxn ang="cd4">
                <a:pos x="hc" y="b"/>
              </a:cxn>
              <a:cxn ang="0">
                <a:pos x="r" y="vc"/>
              </a:cxn>
            </a:cxnLst>
            <a:rect l="l" t="t" r="r" b="b"/>
            <a:pathLst>
              <a:path w="5392" h="3623">
                <a:moveTo>
                  <a:pt x="1463" y="1587"/>
                </a:moveTo>
                <a:lnTo>
                  <a:pt x="811" y="1587"/>
                </a:lnTo>
                <a:cubicBezTo>
                  <a:pt x="779" y="1587"/>
                  <a:pt x="732" y="1619"/>
                  <a:pt x="732" y="1667"/>
                </a:cubicBezTo>
                <a:cubicBezTo>
                  <a:pt x="732" y="1714"/>
                  <a:pt x="779" y="1746"/>
                  <a:pt x="811" y="1746"/>
                </a:cubicBezTo>
                <a:lnTo>
                  <a:pt x="1463" y="1746"/>
                </a:lnTo>
                <a:lnTo>
                  <a:pt x="1463" y="2048"/>
                </a:lnTo>
                <a:lnTo>
                  <a:pt x="811" y="2048"/>
                </a:lnTo>
                <a:cubicBezTo>
                  <a:pt x="779" y="2048"/>
                  <a:pt x="732" y="2080"/>
                  <a:pt x="732" y="2128"/>
                </a:cubicBezTo>
                <a:cubicBezTo>
                  <a:pt x="732" y="2176"/>
                  <a:pt x="779" y="2207"/>
                  <a:pt x="811" y="2207"/>
                </a:cubicBezTo>
                <a:lnTo>
                  <a:pt x="1463" y="2207"/>
                </a:lnTo>
                <a:lnTo>
                  <a:pt x="1463" y="2510"/>
                </a:lnTo>
                <a:lnTo>
                  <a:pt x="811" y="2510"/>
                </a:lnTo>
                <a:cubicBezTo>
                  <a:pt x="779" y="2510"/>
                  <a:pt x="732" y="2557"/>
                  <a:pt x="732" y="2589"/>
                </a:cubicBezTo>
                <a:cubicBezTo>
                  <a:pt x="732" y="2637"/>
                  <a:pt x="779" y="2668"/>
                  <a:pt x="811" y="2668"/>
                </a:cubicBezTo>
                <a:lnTo>
                  <a:pt x="1463" y="2668"/>
                </a:lnTo>
                <a:lnTo>
                  <a:pt x="1463" y="3543"/>
                </a:lnTo>
                <a:cubicBezTo>
                  <a:pt x="1463" y="3591"/>
                  <a:pt x="1495" y="3623"/>
                  <a:pt x="1543" y="3623"/>
                </a:cubicBezTo>
                <a:cubicBezTo>
                  <a:pt x="1590" y="3623"/>
                  <a:pt x="1622" y="3591"/>
                  <a:pt x="1622" y="3543"/>
                </a:cubicBezTo>
                <a:lnTo>
                  <a:pt x="1622" y="585"/>
                </a:lnTo>
                <a:lnTo>
                  <a:pt x="2735" y="171"/>
                </a:lnTo>
                <a:lnTo>
                  <a:pt x="3849" y="585"/>
                </a:lnTo>
                <a:lnTo>
                  <a:pt x="3849" y="3543"/>
                </a:lnTo>
                <a:cubicBezTo>
                  <a:pt x="3849" y="3591"/>
                  <a:pt x="3881" y="3623"/>
                  <a:pt x="3928" y="3623"/>
                </a:cubicBezTo>
                <a:cubicBezTo>
                  <a:pt x="3961" y="3623"/>
                  <a:pt x="4008" y="3591"/>
                  <a:pt x="4008" y="3543"/>
                </a:cubicBezTo>
                <a:lnTo>
                  <a:pt x="4008" y="2668"/>
                </a:lnTo>
                <a:lnTo>
                  <a:pt x="4644" y="2668"/>
                </a:lnTo>
                <a:cubicBezTo>
                  <a:pt x="4692" y="2668"/>
                  <a:pt x="4724" y="2637"/>
                  <a:pt x="4724" y="2589"/>
                </a:cubicBezTo>
                <a:cubicBezTo>
                  <a:pt x="4724" y="2557"/>
                  <a:pt x="4692" y="2510"/>
                  <a:pt x="4644" y="2510"/>
                </a:cubicBezTo>
                <a:lnTo>
                  <a:pt x="4008" y="2510"/>
                </a:lnTo>
                <a:lnTo>
                  <a:pt x="4008" y="2207"/>
                </a:lnTo>
                <a:lnTo>
                  <a:pt x="4644" y="2207"/>
                </a:lnTo>
                <a:cubicBezTo>
                  <a:pt x="4692" y="2207"/>
                  <a:pt x="4724" y="2176"/>
                  <a:pt x="4724" y="2128"/>
                </a:cubicBezTo>
                <a:cubicBezTo>
                  <a:pt x="4724" y="2080"/>
                  <a:pt x="4692" y="2048"/>
                  <a:pt x="4644" y="2048"/>
                </a:cubicBezTo>
                <a:lnTo>
                  <a:pt x="4008" y="2048"/>
                </a:lnTo>
                <a:lnTo>
                  <a:pt x="4008" y="1746"/>
                </a:lnTo>
                <a:lnTo>
                  <a:pt x="4644" y="1746"/>
                </a:lnTo>
                <a:cubicBezTo>
                  <a:pt x="4692" y="1746"/>
                  <a:pt x="4724" y="1714"/>
                  <a:pt x="4724" y="1667"/>
                </a:cubicBezTo>
                <a:cubicBezTo>
                  <a:pt x="4724" y="1619"/>
                  <a:pt x="4692" y="1587"/>
                  <a:pt x="4644" y="1587"/>
                </a:cubicBezTo>
                <a:lnTo>
                  <a:pt x="4008" y="1587"/>
                </a:lnTo>
                <a:lnTo>
                  <a:pt x="4008" y="1301"/>
                </a:lnTo>
                <a:lnTo>
                  <a:pt x="4979" y="1301"/>
                </a:lnTo>
                <a:lnTo>
                  <a:pt x="4979" y="3543"/>
                </a:lnTo>
                <a:cubicBezTo>
                  <a:pt x="4979" y="3591"/>
                  <a:pt x="5026" y="3623"/>
                  <a:pt x="5058" y="3623"/>
                </a:cubicBezTo>
                <a:cubicBezTo>
                  <a:pt x="5106" y="3623"/>
                  <a:pt x="5137" y="3591"/>
                  <a:pt x="5137" y="3543"/>
                </a:cubicBezTo>
                <a:lnTo>
                  <a:pt x="5137" y="1301"/>
                </a:lnTo>
                <a:lnTo>
                  <a:pt x="5312" y="1301"/>
                </a:lnTo>
                <a:cubicBezTo>
                  <a:pt x="5360" y="1301"/>
                  <a:pt x="5392" y="1269"/>
                  <a:pt x="5392" y="1221"/>
                </a:cubicBezTo>
                <a:cubicBezTo>
                  <a:pt x="5392" y="1173"/>
                  <a:pt x="5360" y="1141"/>
                  <a:pt x="5312" y="1141"/>
                </a:cubicBezTo>
                <a:lnTo>
                  <a:pt x="4008" y="1141"/>
                </a:lnTo>
                <a:lnTo>
                  <a:pt x="4008" y="537"/>
                </a:lnTo>
                <a:cubicBezTo>
                  <a:pt x="4008" y="505"/>
                  <a:pt x="3976" y="474"/>
                  <a:pt x="3944" y="458"/>
                </a:cubicBezTo>
                <a:lnTo>
                  <a:pt x="2768" y="12"/>
                </a:lnTo>
                <a:cubicBezTo>
                  <a:pt x="2752" y="-4"/>
                  <a:pt x="2720" y="-4"/>
                  <a:pt x="2704" y="12"/>
                </a:cubicBezTo>
                <a:lnTo>
                  <a:pt x="1511" y="458"/>
                </a:lnTo>
                <a:cubicBezTo>
                  <a:pt x="1479" y="474"/>
                  <a:pt x="1463" y="505"/>
                  <a:pt x="1463" y="537"/>
                </a:cubicBezTo>
                <a:lnTo>
                  <a:pt x="1463" y="1141"/>
                </a:lnTo>
                <a:lnTo>
                  <a:pt x="80" y="1141"/>
                </a:lnTo>
                <a:cubicBezTo>
                  <a:pt x="47" y="1141"/>
                  <a:pt x="0" y="1173"/>
                  <a:pt x="0" y="1221"/>
                </a:cubicBezTo>
                <a:cubicBezTo>
                  <a:pt x="0" y="1269"/>
                  <a:pt x="47" y="1301"/>
                  <a:pt x="80" y="1301"/>
                </a:cubicBezTo>
                <a:lnTo>
                  <a:pt x="270" y="1301"/>
                </a:lnTo>
                <a:lnTo>
                  <a:pt x="270" y="3543"/>
                </a:lnTo>
                <a:cubicBezTo>
                  <a:pt x="270" y="3591"/>
                  <a:pt x="302" y="3623"/>
                  <a:pt x="350" y="3623"/>
                </a:cubicBezTo>
                <a:cubicBezTo>
                  <a:pt x="398" y="3623"/>
                  <a:pt x="429" y="3591"/>
                  <a:pt x="429" y="3543"/>
                </a:cubicBezTo>
                <a:lnTo>
                  <a:pt x="429" y="1301"/>
                </a:lnTo>
                <a:lnTo>
                  <a:pt x="1463" y="1301"/>
                </a:lnTo>
                <a:close/>
                <a:moveTo>
                  <a:pt x="3054" y="2064"/>
                </a:moveTo>
                <a:cubicBezTo>
                  <a:pt x="3022" y="2191"/>
                  <a:pt x="2879" y="2255"/>
                  <a:pt x="2768" y="2255"/>
                </a:cubicBezTo>
                <a:cubicBezTo>
                  <a:pt x="2608" y="2255"/>
                  <a:pt x="2449" y="2191"/>
                  <a:pt x="2322" y="2096"/>
                </a:cubicBezTo>
                <a:cubicBezTo>
                  <a:pt x="2290" y="2064"/>
                  <a:pt x="2226" y="2064"/>
                  <a:pt x="2211" y="2096"/>
                </a:cubicBezTo>
                <a:cubicBezTo>
                  <a:pt x="2179" y="2144"/>
                  <a:pt x="2179" y="2191"/>
                  <a:pt x="2226" y="2207"/>
                </a:cubicBezTo>
                <a:cubicBezTo>
                  <a:pt x="2338" y="2319"/>
                  <a:pt x="2497" y="2382"/>
                  <a:pt x="2640" y="2398"/>
                </a:cubicBezTo>
                <a:lnTo>
                  <a:pt x="2640" y="2637"/>
                </a:lnTo>
                <a:cubicBezTo>
                  <a:pt x="2640" y="2685"/>
                  <a:pt x="2672" y="2716"/>
                  <a:pt x="2720" y="2716"/>
                </a:cubicBezTo>
                <a:cubicBezTo>
                  <a:pt x="2768" y="2716"/>
                  <a:pt x="2799" y="2685"/>
                  <a:pt x="2799" y="2637"/>
                </a:cubicBezTo>
                <a:lnTo>
                  <a:pt x="2799" y="2414"/>
                </a:lnTo>
                <a:cubicBezTo>
                  <a:pt x="2974" y="2398"/>
                  <a:pt x="3149" y="2303"/>
                  <a:pt x="3197" y="2112"/>
                </a:cubicBezTo>
                <a:cubicBezTo>
                  <a:pt x="3197" y="2096"/>
                  <a:pt x="3213" y="2080"/>
                  <a:pt x="3213" y="2064"/>
                </a:cubicBezTo>
                <a:cubicBezTo>
                  <a:pt x="3229" y="1953"/>
                  <a:pt x="3197" y="1841"/>
                  <a:pt x="3101" y="1762"/>
                </a:cubicBezTo>
                <a:cubicBezTo>
                  <a:pt x="3054" y="1730"/>
                  <a:pt x="3006" y="1698"/>
                  <a:pt x="2943" y="1682"/>
                </a:cubicBezTo>
                <a:cubicBezTo>
                  <a:pt x="2879" y="1650"/>
                  <a:pt x="2815" y="1635"/>
                  <a:pt x="2752" y="1603"/>
                </a:cubicBezTo>
                <a:cubicBezTo>
                  <a:pt x="2688" y="1587"/>
                  <a:pt x="2624" y="1571"/>
                  <a:pt x="2561" y="1539"/>
                </a:cubicBezTo>
                <a:cubicBezTo>
                  <a:pt x="2497" y="1523"/>
                  <a:pt x="2465" y="1492"/>
                  <a:pt x="2449" y="1444"/>
                </a:cubicBezTo>
                <a:cubicBezTo>
                  <a:pt x="2417" y="1396"/>
                  <a:pt x="2434" y="1316"/>
                  <a:pt x="2465" y="1269"/>
                </a:cubicBezTo>
                <a:cubicBezTo>
                  <a:pt x="2545" y="1173"/>
                  <a:pt x="2704" y="1173"/>
                  <a:pt x="2799" y="1189"/>
                </a:cubicBezTo>
                <a:cubicBezTo>
                  <a:pt x="2958" y="1205"/>
                  <a:pt x="2980" y="1253"/>
                  <a:pt x="3070" y="1285"/>
                </a:cubicBezTo>
                <a:cubicBezTo>
                  <a:pt x="3101" y="1316"/>
                  <a:pt x="3149" y="1301"/>
                  <a:pt x="3181" y="1269"/>
                </a:cubicBezTo>
                <a:cubicBezTo>
                  <a:pt x="3197" y="1237"/>
                  <a:pt x="3197" y="1173"/>
                  <a:pt x="3165" y="1158"/>
                </a:cubicBezTo>
                <a:cubicBezTo>
                  <a:pt x="3149" y="1158"/>
                  <a:pt x="3022" y="1046"/>
                  <a:pt x="2815" y="1030"/>
                </a:cubicBezTo>
                <a:lnTo>
                  <a:pt x="2799" y="1030"/>
                </a:lnTo>
                <a:lnTo>
                  <a:pt x="2799" y="792"/>
                </a:lnTo>
                <a:cubicBezTo>
                  <a:pt x="2799" y="744"/>
                  <a:pt x="2768" y="712"/>
                  <a:pt x="2720" y="712"/>
                </a:cubicBezTo>
                <a:cubicBezTo>
                  <a:pt x="2672" y="712"/>
                  <a:pt x="2640" y="744"/>
                  <a:pt x="2640" y="792"/>
                </a:cubicBezTo>
                <a:lnTo>
                  <a:pt x="2640" y="1030"/>
                </a:lnTo>
                <a:cubicBezTo>
                  <a:pt x="2513" y="1030"/>
                  <a:pt x="2417" y="1078"/>
                  <a:pt x="2354" y="1158"/>
                </a:cubicBezTo>
                <a:cubicBezTo>
                  <a:pt x="2259" y="1253"/>
                  <a:pt x="2243" y="1396"/>
                  <a:pt x="2290" y="1507"/>
                </a:cubicBezTo>
                <a:cubicBezTo>
                  <a:pt x="2338" y="1619"/>
                  <a:pt x="2434" y="1667"/>
                  <a:pt x="2497" y="1698"/>
                </a:cubicBezTo>
                <a:cubicBezTo>
                  <a:pt x="2561" y="1714"/>
                  <a:pt x="2640" y="1746"/>
                  <a:pt x="2704" y="1762"/>
                </a:cubicBezTo>
                <a:cubicBezTo>
                  <a:pt x="2768" y="1778"/>
                  <a:pt x="2831" y="1794"/>
                  <a:pt x="2895" y="1825"/>
                </a:cubicBezTo>
                <a:cubicBezTo>
                  <a:pt x="2926" y="1841"/>
                  <a:pt x="2974" y="1858"/>
                  <a:pt x="3006" y="1889"/>
                </a:cubicBezTo>
                <a:cubicBezTo>
                  <a:pt x="3038" y="1921"/>
                  <a:pt x="3054" y="1985"/>
                  <a:pt x="3054" y="204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3" name="Freeform: Shape 5">
            <a:extLst>
              <a:ext uri="{FF2B5EF4-FFF2-40B4-BE49-F238E27FC236}">
                <a16:creationId xmlns:a16="http://schemas.microsoft.com/office/drawing/2014/main" id="{E7F15CB7-A16D-054D-B5EB-D0D58BE7485B}"/>
              </a:ext>
            </a:extLst>
          </p:cNvPr>
          <p:cNvSpPr/>
          <p:nvPr/>
        </p:nvSpPr>
        <p:spPr>
          <a:xfrm>
            <a:off x="5835956" y="6308872"/>
            <a:ext cx="1832040" cy="1751759"/>
          </a:xfrm>
          <a:custGeom>
            <a:avLst/>
            <a:gdLst/>
            <a:ahLst/>
            <a:cxnLst>
              <a:cxn ang="3cd4">
                <a:pos x="hc" y="t"/>
              </a:cxn>
              <a:cxn ang="cd2">
                <a:pos x="l" y="vc"/>
              </a:cxn>
              <a:cxn ang="cd4">
                <a:pos x="hc" y="b"/>
              </a:cxn>
              <a:cxn ang="0">
                <a:pos x="r" y="vc"/>
              </a:cxn>
            </a:cxnLst>
            <a:rect l="l" t="t" r="r" b="b"/>
            <a:pathLst>
              <a:path w="5090" h="4867">
                <a:moveTo>
                  <a:pt x="2641" y="3881"/>
                </a:moveTo>
                <a:cubicBezTo>
                  <a:pt x="3436" y="3881"/>
                  <a:pt x="4088" y="3229"/>
                  <a:pt x="4088" y="2434"/>
                </a:cubicBezTo>
                <a:cubicBezTo>
                  <a:pt x="4088" y="1638"/>
                  <a:pt x="3436" y="986"/>
                  <a:pt x="2641" y="986"/>
                </a:cubicBezTo>
                <a:cubicBezTo>
                  <a:pt x="2132" y="986"/>
                  <a:pt x="1654" y="1273"/>
                  <a:pt x="1400" y="1718"/>
                </a:cubicBezTo>
                <a:lnTo>
                  <a:pt x="1543" y="1782"/>
                </a:lnTo>
                <a:cubicBezTo>
                  <a:pt x="1766" y="1384"/>
                  <a:pt x="2195" y="1145"/>
                  <a:pt x="2641" y="1145"/>
                </a:cubicBezTo>
                <a:cubicBezTo>
                  <a:pt x="3356" y="1145"/>
                  <a:pt x="3929" y="1734"/>
                  <a:pt x="3929" y="2434"/>
                </a:cubicBezTo>
                <a:cubicBezTo>
                  <a:pt x="3929" y="3149"/>
                  <a:pt x="3356" y="3722"/>
                  <a:pt x="2641" y="3722"/>
                </a:cubicBezTo>
                <a:cubicBezTo>
                  <a:pt x="2195" y="3722"/>
                  <a:pt x="1766" y="3483"/>
                  <a:pt x="1543" y="3086"/>
                </a:cubicBezTo>
                <a:lnTo>
                  <a:pt x="1400" y="3149"/>
                </a:lnTo>
                <a:cubicBezTo>
                  <a:pt x="1654" y="3595"/>
                  <a:pt x="2132" y="3881"/>
                  <a:pt x="2641" y="3881"/>
                </a:cubicBezTo>
                <a:close/>
                <a:moveTo>
                  <a:pt x="2641" y="159"/>
                </a:moveTo>
                <a:cubicBezTo>
                  <a:pt x="3897" y="159"/>
                  <a:pt x="4931" y="1177"/>
                  <a:pt x="4931" y="2434"/>
                </a:cubicBezTo>
                <a:cubicBezTo>
                  <a:pt x="4931" y="3690"/>
                  <a:pt x="3897" y="4708"/>
                  <a:pt x="2641" y="4708"/>
                </a:cubicBezTo>
                <a:cubicBezTo>
                  <a:pt x="1797" y="4708"/>
                  <a:pt x="1018" y="4247"/>
                  <a:pt x="620" y="3499"/>
                </a:cubicBezTo>
                <a:lnTo>
                  <a:pt x="477" y="3563"/>
                </a:lnTo>
                <a:cubicBezTo>
                  <a:pt x="906" y="4358"/>
                  <a:pt x="1750" y="4867"/>
                  <a:pt x="2641" y="4867"/>
                </a:cubicBezTo>
                <a:cubicBezTo>
                  <a:pt x="3992" y="4867"/>
                  <a:pt x="5090" y="3786"/>
                  <a:pt x="5090" y="2434"/>
                </a:cubicBezTo>
                <a:cubicBezTo>
                  <a:pt x="5090" y="1082"/>
                  <a:pt x="3992" y="0"/>
                  <a:pt x="2641" y="0"/>
                </a:cubicBezTo>
                <a:cubicBezTo>
                  <a:pt x="1750" y="0"/>
                  <a:pt x="906" y="509"/>
                  <a:pt x="477" y="1304"/>
                </a:cubicBezTo>
                <a:lnTo>
                  <a:pt x="620" y="1368"/>
                </a:lnTo>
                <a:cubicBezTo>
                  <a:pt x="1018" y="620"/>
                  <a:pt x="1797" y="159"/>
                  <a:pt x="2641" y="159"/>
                </a:cubicBezTo>
                <a:close/>
                <a:moveTo>
                  <a:pt x="493" y="1479"/>
                </a:moveTo>
                <a:lnTo>
                  <a:pt x="477" y="1479"/>
                </a:lnTo>
                <a:close/>
                <a:moveTo>
                  <a:pt x="620" y="3499"/>
                </a:moveTo>
                <a:lnTo>
                  <a:pt x="1400" y="3149"/>
                </a:lnTo>
                <a:lnTo>
                  <a:pt x="1543" y="3086"/>
                </a:lnTo>
                <a:lnTo>
                  <a:pt x="2147" y="2815"/>
                </a:lnTo>
                <a:cubicBezTo>
                  <a:pt x="2132" y="2800"/>
                  <a:pt x="2115" y="2768"/>
                  <a:pt x="2099" y="2752"/>
                </a:cubicBezTo>
                <a:cubicBezTo>
                  <a:pt x="2084" y="2720"/>
                  <a:pt x="2099" y="2672"/>
                  <a:pt x="2132" y="2640"/>
                </a:cubicBezTo>
                <a:cubicBezTo>
                  <a:pt x="2163" y="2625"/>
                  <a:pt x="2211" y="2640"/>
                  <a:pt x="2242" y="2672"/>
                </a:cubicBezTo>
                <a:cubicBezTo>
                  <a:pt x="2259" y="2704"/>
                  <a:pt x="2275" y="2720"/>
                  <a:pt x="2290" y="2752"/>
                </a:cubicBezTo>
                <a:lnTo>
                  <a:pt x="2831" y="2513"/>
                </a:lnTo>
                <a:lnTo>
                  <a:pt x="2831" y="2497"/>
                </a:lnTo>
                <a:lnTo>
                  <a:pt x="2847" y="2497"/>
                </a:lnTo>
                <a:cubicBezTo>
                  <a:pt x="2847" y="2482"/>
                  <a:pt x="2847" y="2482"/>
                  <a:pt x="2863" y="2482"/>
                </a:cubicBezTo>
                <a:lnTo>
                  <a:pt x="2863" y="2465"/>
                </a:lnTo>
                <a:lnTo>
                  <a:pt x="2863" y="2449"/>
                </a:lnTo>
                <a:lnTo>
                  <a:pt x="2879" y="2449"/>
                </a:lnTo>
                <a:lnTo>
                  <a:pt x="2879" y="2434"/>
                </a:lnTo>
                <a:lnTo>
                  <a:pt x="2879" y="2418"/>
                </a:lnTo>
                <a:lnTo>
                  <a:pt x="2863" y="2418"/>
                </a:lnTo>
                <a:lnTo>
                  <a:pt x="2863" y="2402"/>
                </a:lnTo>
                <a:lnTo>
                  <a:pt x="2863" y="2386"/>
                </a:lnTo>
                <a:lnTo>
                  <a:pt x="2847" y="2386"/>
                </a:lnTo>
                <a:lnTo>
                  <a:pt x="2847" y="2370"/>
                </a:lnTo>
                <a:lnTo>
                  <a:pt x="2831" y="2370"/>
                </a:lnTo>
                <a:lnTo>
                  <a:pt x="2831" y="2354"/>
                </a:lnTo>
                <a:lnTo>
                  <a:pt x="2290" y="2116"/>
                </a:lnTo>
                <a:cubicBezTo>
                  <a:pt x="2275" y="2147"/>
                  <a:pt x="2259" y="2163"/>
                  <a:pt x="2242" y="2179"/>
                </a:cubicBezTo>
                <a:cubicBezTo>
                  <a:pt x="2227" y="2227"/>
                  <a:pt x="2179" y="2227"/>
                  <a:pt x="2132" y="2211"/>
                </a:cubicBezTo>
                <a:cubicBezTo>
                  <a:pt x="2099" y="2195"/>
                  <a:pt x="2084" y="2131"/>
                  <a:pt x="2115" y="2100"/>
                </a:cubicBezTo>
                <a:cubicBezTo>
                  <a:pt x="2115" y="2084"/>
                  <a:pt x="2132" y="2068"/>
                  <a:pt x="2147" y="2052"/>
                </a:cubicBezTo>
                <a:lnTo>
                  <a:pt x="1543" y="1782"/>
                </a:lnTo>
                <a:lnTo>
                  <a:pt x="1400" y="1718"/>
                </a:lnTo>
                <a:lnTo>
                  <a:pt x="620" y="1368"/>
                </a:lnTo>
                <a:lnTo>
                  <a:pt x="477" y="1304"/>
                </a:lnTo>
                <a:lnTo>
                  <a:pt x="111" y="1129"/>
                </a:lnTo>
                <a:cubicBezTo>
                  <a:pt x="79" y="1129"/>
                  <a:pt x="48" y="1129"/>
                  <a:pt x="32" y="1145"/>
                </a:cubicBezTo>
                <a:cubicBezTo>
                  <a:pt x="0" y="1177"/>
                  <a:pt x="0" y="1209"/>
                  <a:pt x="0" y="1225"/>
                </a:cubicBezTo>
                <a:lnTo>
                  <a:pt x="366" y="2434"/>
                </a:lnTo>
                <a:lnTo>
                  <a:pt x="0" y="3643"/>
                </a:lnTo>
                <a:cubicBezTo>
                  <a:pt x="0" y="3658"/>
                  <a:pt x="0" y="3690"/>
                  <a:pt x="32" y="3722"/>
                </a:cubicBezTo>
                <a:cubicBezTo>
                  <a:pt x="48" y="3738"/>
                  <a:pt x="64" y="3738"/>
                  <a:pt x="79" y="3738"/>
                </a:cubicBezTo>
                <a:lnTo>
                  <a:pt x="111" y="3738"/>
                </a:lnTo>
                <a:lnTo>
                  <a:pt x="477" y="3563"/>
                </a:lnTo>
                <a:close/>
                <a:moveTo>
                  <a:pt x="207" y="1352"/>
                </a:moveTo>
                <a:lnTo>
                  <a:pt x="477" y="1479"/>
                </a:lnTo>
                <a:lnTo>
                  <a:pt x="493" y="1479"/>
                </a:lnTo>
                <a:lnTo>
                  <a:pt x="2418" y="2354"/>
                </a:lnTo>
                <a:lnTo>
                  <a:pt x="509" y="2354"/>
                </a:lnTo>
                <a:close/>
                <a:moveTo>
                  <a:pt x="509" y="2513"/>
                </a:moveTo>
                <a:lnTo>
                  <a:pt x="2418" y="2513"/>
                </a:lnTo>
                <a:lnTo>
                  <a:pt x="207" y="3515"/>
                </a:lnTo>
                <a:close/>
                <a:moveTo>
                  <a:pt x="2641" y="3070"/>
                </a:moveTo>
                <a:cubicBezTo>
                  <a:pt x="2990" y="3070"/>
                  <a:pt x="3277" y="2783"/>
                  <a:pt x="3277" y="2434"/>
                </a:cubicBezTo>
                <a:cubicBezTo>
                  <a:pt x="3277" y="2084"/>
                  <a:pt x="2990" y="1797"/>
                  <a:pt x="2641" y="1797"/>
                </a:cubicBezTo>
                <a:cubicBezTo>
                  <a:pt x="2450" y="1797"/>
                  <a:pt x="2259" y="1893"/>
                  <a:pt x="2147" y="2052"/>
                </a:cubicBezTo>
                <a:cubicBezTo>
                  <a:pt x="2132" y="2068"/>
                  <a:pt x="2115" y="2084"/>
                  <a:pt x="2115" y="2100"/>
                </a:cubicBezTo>
                <a:cubicBezTo>
                  <a:pt x="2084" y="2131"/>
                  <a:pt x="2099" y="2195"/>
                  <a:pt x="2132" y="2211"/>
                </a:cubicBezTo>
                <a:cubicBezTo>
                  <a:pt x="2179" y="2227"/>
                  <a:pt x="2227" y="2227"/>
                  <a:pt x="2242" y="2179"/>
                </a:cubicBezTo>
                <a:cubicBezTo>
                  <a:pt x="2259" y="2163"/>
                  <a:pt x="2275" y="2147"/>
                  <a:pt x="2290" y="2116"/>
                </a:cubicBezTo>
                <a:cubicBezTo>
                  <a:pt x="2386" y="2020"/>
                  <a:pt x="2513" y="1956"/>
                  <a:pt x="2641" y="1956"/>
                </a:cubicBezTo>
                <a:cubicBezTo>
                  <a:pt x="2911" y="1956"/>
                  <a:pt x="3117" y="2179"/>
                  <a:pt x="3117" y="2434"/>
                </a:cubicBezTo>
                <a:cubicBezTo>
                  <a:pt x="3117" y="2688"/>
                  <a:pt x="2911" y="2911"/>
                  <a:pt x="2641" y="2911"/>
                </a:cubicBezTo>
                <a:cubicBezTo>
                  <a:pt x="2513" y="2911"/>
                  <a:pt x="2386" y="2847"/>
                  <a:pt x="2290" y="2752"/>
                </a:cubicBezTo>
                <a:cubicBezTo>
                  <a:pt x="2275" y="2720"/>
                  <a:pt x="2259" y="2704"/>
                  <a:pt x="2242" y="2672"/>
                </a:cubicBezTo>
                <a:cubicBezTo>
                  <a:pt x="2211" y="2640"/>
                  <a:pt x="2163" y="2625"/>
                  <a:pt x="2132" y="2640"/>
                </a:cubicBezTo>
                <a:cubicBezTo>
                  <a:pt x="2099" y="2672"/>
                  <a:pt x="2084" y="2720"/>
                  <a:pt x="2099" y="2752"/>
                </a:cubicBezTo>
                <a:cubicBezTo>
                  <a:pt x="2115" y="2768"/>
                  <a:pt x="2132" y="2800"/>
                  <a:pt x="2147" y="2815"/>
                </a:cubicBezTo>
                <a:cubicBezTo>
                  <a:pt x="2259" y="2974"/>
                  <a:pt x="2450" y="3070"/>
                  <a:pt x="2641" y="307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4" name="Freeform: Shape 6">
            <a:extLst>
              <a:ext uri="{FF2B5EF4-FFF2-40B4-BE49-F238E27FC236}">
                <a16:creationId xmlns:a16="http://schemas.microsoft.com/office/drawing/2014/main" id="{4BC7D10E-BF35-D34A-9E9C-48A53F2B1659}"/>
              </a:ext>
            </a:extLst>
          </p:cNvPr>
          <p:cNvSpPr/>
          <p:nvPr/>
        </p:nvSpPr>
        <p:spPr>
          <a:xfrm>
            <a:off x="17328812" y="3236082"/>
            <a:ext cx="1978920" cy="1900800"/>
          </a:xfrm>
          <a:custGeom>
            <a:avLst/>
            <a:gdLst/>
            <a:ahLst/>
            <a:cxnLst>
              <a:cxn ang="3cd4">
                <a:pos x="hc" y="t"/>
              </a:cxn>
              <a:cxn ang="cd2">
                <a:pos x="l" y="vc"/>
              </a:cxn>
              <a:cxn ang="cd4">
                <a:pos x="hc" y="b"/>
              </a:cxn>
              <a:cxn ang="0">
                <a:pos x="r" y="vc"/>
              </a:cxn>
            </a:cxnLst>
            <a:rect l="l" t="t" r="r" b="b"/>
            <a:pathLst>
              <a:path w="5498" h="5281">
                <a:moveTo>
                  <a:pt x="2295" y="3961"/>
                </a:moveTo>
                <a:cubicBezTo>
                  <a:pt x="2263" y="3993"/>
                  <a:pt x="2215" y="3993"/>
                  <a:pt x="2184" y="3961"/>
                </a:cubicBezTo>
                <a:cubicBezTo>
                  <a:pt x="2167" y="3945"/>
                  <a:pt x="2167" y="3945"/>
                  <a:pt x="2152" y="3929"/>
                </a:cubicBezTo>
                <a:cubicBezTo>
                  <a:pt x="2152" y="4072"/>
                  <a:pt x="2152" y="4231"/>
                  <a:pt x="2167" y="4390"/>
                </a:cubicBezTo>
                <a:cubicBezTo>
                  <a:pt x="2184" y="4406"/>
                  <a:pt x="2200" y="4422"/>
                  <a:pt x="2215" y="4438"/>
                </a:cubicBezTo>
                <a:lnTo>
                  <a:pt x="2215" y="4454"/>
                </a:lnTo>
                <a:lnTo>
                  <a:pt x="2009" y="4454"/>
                </a:lnTo>
                <a:lnTo>
                  <a:pt x="1261" y="4454"/>
                </a:lnTo>
                <a:cubicBezTo>
                  <a:pt x="1229" y="4454"/>
                  <a:pt x="1213" y="4470"/>
                  <a:pt x="1197" y="4486"/>
                </a:cubicBezTo>
                <a:cubicBezTo>
                  <a:pt x="1182" y="4502"/>
                  <a:pt x="1166" y="4517"/>
                  <a:pt x="1182" y="4549"/>
                </a:cubicBezTo>
                <a:lnTo>
                  <a:pt x="1261" y="5201"/>
                </a:lnTo>
                <a:cubicBezTo>
                  <a:pt x="1261" y="5249"/>
                  <a:pt x="1309" y="5281"/>
                  <a:pt x="1340" y="5281"/>
                </a:cubicBezTo>
                <a:lnTo>
                  <a:pt x="4013" y="5281"/>
                </a:lnTo>
                <a:cubicBezTo>
                  <a:pt x="4045" y="5281"/>
                  <a:pt x="4076" y="5249"/>
                  <a:pt x="4092" y="5201"/>
                </a:cubicBezTo>
                <a:lnTo>
                  <a:pt x="4188" y="4549"/>
                </a:lnTo>
                <a:cubicBezTo>
                  <a:pt x="4188" y="4517"/>
                  <a:pt x="4188" y="4502"/>
                  <a:pt x="4172" y="4486"/>
                </a:cubicBezTo>
                <a:cubicBezTo>
                  <a:pt x="4156" y="4470"/>
                  <a:pt x="4124" y="4454"/>
                  <a:pt x="4108" y="4454"/>
                </a:cubicBezTo>
                <a:lnTo>
                  <a:pt x="3488" y="4454"/>
                </a:lnTo>
                <a:lnTo>
                  <a:pt x="3949" y="3993"/>
                </a:lnTo>
                <a:cubicBezTo>
                  <a:pt x="3981" y="3961"/>
                  <a:pt x="4013" y="3929"/>
                  <a:pt x="4029" y="3897"/>
                </a:cubicBezTo>
                <a:cubicBezTo>
                  <a:pt x="4060" y="3834"/>
                  <a:pt x="4076" y="3674"/>
                  <a:pt x="4076" y="3627"/>
                </a:cubicBezTo>
                <a:lnTo>
                  <a:pt x="4076" y="3436"/>
                </a:lnTo>
                <a:lnTo>
                  <a:pt x="4681" y="2847"/>
                </a:lnTo>
                <a:lnTo>
                  <a:pt x="4729" y="2847"/>
                </a:lnTo>
                <a:lnTo>
                  <a:pt x="5158" y="2799"/>
                </a:lnTo>
                <a:cubicBezTo>
                  <a:pt x="5190" y="2799"/>
                  <a:pt x="5206" y="2784"/>
                  <a:pt x="5221" y="2768"/>
                </a:cubicBezTo>
                <a:lnTo>
                  <a:pt x="5492" y="2211"/>
                </a:lnTo>
                <a:cubicBezTo>
                  <a:pt x="5508" y="2180"/>
                  <a:pt x="5492" y="2147"/>
                  <a:pt x="5476" y="2116"/>
                </a:cubicBezTo>
                <a:lnTo>
                  <a:pt x="5285" y="1941"/>
                </a:lnTo>
                <a:cubicBezTo>
                  <a:pt x="5269" y="1909"/>
                  <a:pt x="5221" y="1909"/>
                  <a:pt x="5206" y="1925"/>
                </a:cubicBezTo>
                <a:lnTo>
                  <a:pt x="4649" y="2195"/>
                </a:lnTo>
                <a:cubicBezTo>
                  <a:pt x="4633" y="2195"/>
                  <a:pt x="4617" y="2227"/>
                  <a:pt x="4601" y="2259"/>
                </a:cubicBezTo>
                <a:lnTo>
                  <a:pt x="4569" y="2704"/>
                </a:lnTo>
                <a:lnTo>
                  <a:pt x="4569" y="2736"/>
                </a:lnTo>
                <a:lnTo>
                  <a:pt x="3965" y="3325"/>
                </a:lnTo>
                <a:lnTo>
                  <a:pt x="3774" y="3341"/>
                </a:lnTo>
                <a:cubicBezTo>
                  <a:pt x="3726" y="3341"/>
                  <a:pt x="3599" y="3341"/>
                  <a:pt x="3520" y="3372"/>
                </a:cubicBezTo>
                <a:cubicBezTo>
                  <a:pt x="3488" y="3388"/>
                  <a:pt x="3440" y="3436"/>
                  <a:pt x="3424" y="3452"/>
                </a:cubicBezTo>
                <a:lnTo>
                  <a:pt x="3233" y="3627"/>
                </a:lnTo>
                <a:cubicBezTo>
                  <a:pt x="3249" y="3388"/>
                  <a:pt x="3249" y="3165"/>
                  <a:pt x="3249" y="2975"/>
                </a:cubicBezTo>
                <a:cubicBezTo>
                  <a:pt x="3297" y="3007"/>
                  <a:pt x="3361" y="3038"/>
                  <a:pt x="3440" y="3038"/>
                </a:cubicBezTo>
                <a:lnTo>
                  <a:pt x="3456" y="3038"/>
                </a:lnTo>
                <a:cubicBezTo>
                  <a:pt x="3615" y="3038"/>
                  <a:pt x="3726" y="2943"/>
                  <a:pt x="3726" y="2799"/>
                </a:cubicBezTo>
                <a:lnTo>
                  <a:pt x="3726" y="1352"/>
                </a:lnTo>
                <a:cubicBezTo>
                  <a:pt x="3726" y="1066"/>
                  <a:pt x="3424" y="891"/>
                  <a:pt x="2867" y="859"/>
                </a:cubicBezTo>
                <a:cubicBezTo>
                  <a:pt x="3027" y="780"/>
                  <a:pt x="3138" y="636"/>
                  <a:pt x="3138" y="445"/>
                </a:cubicBezTo>
                <a:cubicBezTo>
                  <a:pt x="3138" y="207"/>
                  <a:pt x="2931" y="0"/>
                  <a:pt x="2693" y="0"/>
                </a:cubicBezTo>
                <a:cubicBezTo>
                  <a:pt x="2438" y="0"/>
                  <a:pt x="2247" y="207"/>
                  <a:pt x="2247" y="445"/>
                </a:cubicBezTo>
                <a:cubicBezTo>
                  <a:pt x="2247" y="636"/>
                  <a:pt x="2343" y="796"/>
                  <a:pt x="2502" y="859"/>
                </a:cubicBezTo>
                <a:cubicBezTo>
                  <a:pt x="1961" y="891"/>
                  <a:pt x="1643" y="1082"/>
                  <a:pt x="1643" y="1368"/>
                </a:cubicBezTo>
                <a:lnTo>
                  <a:pt x="1643" y="2816"/>
                </a:lnTo>
                <a:cubicBezTo>
                  <a:pt x="1643" y="2943"/>
                  <a:pt x="1754" y="3038"/>
                  <a:pt x="1913" y="3038"/>
                </a:cubicBezTo>
                <a:cubicBezTo>
                  <a:pt x="1993" y="3038"/>
                  <a:pt x="2088" y="3022"/>
                  <a:pt x="2136" y="2975"/>
                </a:cubicBezTo>
                <a:cubicBezTo>
                  <a:pt x="2136" y="3181"/>
                  <a:pt x="2152" y="3436"/>
                  <a:pt x="2152" y="3706"/>
                </a:cubicBezTo>
                <a:cubicBezTo>
                  <a:pt x="2200" y="3754"/>
                  <a:pt x="2247" y="3802"/>
                  <a:pt x="2279" y="3850"/>
                </a:cubicBezTo>
                <a:cubicBezTo>
                  <a:pt x="2311" y="3865"/>
                  <a:pt x="2327" y="3929"/>
                  <a:pt x="2295" y="3961"/>
                </a:cubicBezTo>
                <a:close/>
                <a:moveTo>
                  <a:pt x="4760" y="2307"/>
                </a:moveTo>
                <a:lnTo>
                  <a:pt x="5221" y="2084"/>
                </a:lnTo>
                <a:lnTo>
                  <a:pt x="5317" y="2195"/>
                </a:lnTo>
                <a:lnTo>
                  <a:pt x="5094" y="2656"/>
                </a:lnTo>
                <a:lnTo>
                  <a:pt x="4744" y="2689"/>
                </a:lnTo>
                <a:lnTo>
                  <a:pt x="4744" y="2672"/>
                </a:lnTo>
                <a:lnTo>
                  <a:pt x="4729" y="2672"/>
                </a:lnTo>
                <a:close/>
                <a:moveTo>
                  <a:pt x="4013" y="4613"/>
                </a:moveTo>
                <a:lnTo>
                  <a:pt x="3933" y="5122"/>
                </a:lnTo>
                <a:lnTo>
                  <a:pt x="1404" y="5122"/>
                </a:lnTo>
                <a:lnTo>
                  <a:pt x="1340" y="4613"/>
                </a:lnTo>
                <a:close/>
                <a:moveTo>
                  <a:pt x="3536" y="3563"/>
                </a:moveTo>
                <a:cubicBezTo>
                  <a:pt x="3551" y="3547"/>
                  <a:pt x="3567" y="3532"/>
                  <a:pt x="3583" y="3516"/>
                </a:cubicBezTo>
                <a:cubicBezTo>
                  <a:pt x="3615" y="3499"/>
                  <a:pt x="3711" y="3499"/>
                  <a:pt x="3774" y="3499"/>
                </a:cubicBezTo>
                <a:lnTo>
                  <a:pt x="3917" y="3484"/>
                </a:lnTo>
                <a:lnTo>
                  <a:pt x="3917" y="3611"/>
                </a:lnTo>
                <a:cubicBezTo>
                  <a:pt x="3917" y="3690"/>
                  <a:pt x="3902" y="3802"/>
                  <a:pt x="3885" y="3817"/>
                </a:cubicBezTo>
                <a:cubicBezTo>
                  <a:pt x="3885" y="3834"/>
                  <a:pt x="3854" y="3865"/>
                  <a:pt x="3838" y="3881"/>
                </a:cubicBezTo>
                <a:lnTo>
                  <a:pt x="3265" y="4454"/>
                </a:lnTo>
                <a:lnTo>
                  <a:pt x="3233" y="4454"/>
                </a:lnTo>
                <a:lnTo>
                  <a:pt x="3233" y="3865"/>
                </a:lnTo>
                <a:close/>
                <a:moveTo>
                  <a:pt x="2406" y="445"/>
                </a:moveTo>
                <a:cubicBezTo>
                  <a:pt x="2406" y="287"/>
                  <a:pt x="2533" y="159"/>
                  <a:pt x="2693" y="159"/>
                </a:cubicBezTo>
                <a:cubicBezTo>
                  <a:pt x="2852" y="159"/>
                  <a:pt x="2979" y="287"/>
                  <a:pt x="2979" y="445"/>
                </a:cubicBezTo>
                <a:cubicBezTo>
                  <a:pt x="2979" y="605"/>
                  <a:pt x="2852" y="732"/>
                  <a:pt x="2693" y="732"/>
                </a:cubicBezTo>
                <a:cubicBezTo>
                  <a:pt x="2533" y="732"/>
                  <a:pt x="2406" y="605"/>
                  <a:pt x="2406" y="445"/>
                </a:cubicBezTo>
                <a:close/>
                <a:moveTo>
                  <a:pt x="2072" y="1623"/>
                </a:moveTo>
                <a:lnTo>
                  <a:pt x="2072" y="2752"/>
                </a:lnTo>
                <a:lnTo>
                  <a:pt x="2072" y="2799"/>
                </a:lnTo>
                <a:cubicBezTo>
                  <a:pt x="2072" y="2847"/>
                  <a:pt x="1993" y="2879"/>
                  <a:pt x="1913" y="2879"/>
                </a:cubicBezTo>
                <a:cubicBezTo>
                  <a:pt x="1866" y="2879"/>
                  <a:pt x="1802" y="2863"/>
                  <a:pt x="1802" y="2816"/>
                </a:cubicBezTo>
                <a:lnTo>
                  <a:pt x="1802" y="1368"/>
                </a:lnTo>
                <a:cubicBezTo>
                  <a:pt x="1802" y="1114"/>
                  <a:pt x="2247" y="1018"/>
                  <a:pt x="2693" y="1018"/>
                </a:cubicBezTo>
                <a:lnTo>
                  <a:pt x="2709" y="1018"/>
                </a:lnTo>
                <a:cubicBezTo>
                  <a:pt x="2899" y="1018"/>
                  <a:pt x="3567" y="1034"/>
                  <a:pt x="3567" y="1352"/>
                </a:cubicBezTo>
                <a:lnTo>
                  <a:pt x="3567" y="2799"/>
                </a:lnTo>
                <a:cubicBezTo>
                  <a:pt x="3567" y="2863"/>
                  <a:pt x="3504" y="2879"/>
                  <a:pt x="3456" y="2879"/>
                </a:cubicBezTo>
                <a:cubicBezTo>
                  <a:pt x="3408" y="2863"/>
                  <a:pt x="3329" y="2863"/>
                  <a:pt x="3329" y="2799"/>
                </a:cubicBezTo>
                <a:cubicBezTo>
                  <a:pt x="3329" y="2784"/>
                  <a:pt x="3313" y="1782"/>
                  <a:pt x="3313" y="1623"/>
                </a:cubicBezTo>
                <a:cubicBezTo>
                  <a:pt x="3313" y="1448"/>
                  <a:pt x="3090" y="1448"/>
                  <a:pt x="3090" y="1623"/>
                </a:cubicBezTo>
                <a:lnTo>
                  <a:pt x="3090" y="1654"/>
                </a:lnTo>
                <a:cubicBezTo>
                  <a:pt x="3106" y="1845"/>
                  <a:pt x="3106" y="2561"/>
                  <a:pt x="3074" y="3786"/>
                </a:cubicBezTo>
                <a:cubicBezTo>
                  <a:pt x="3058" y="3817"/>
                  <a:pt x="3058" y="3865"/>
                  <a:pt x="3074" y="3897"/>
                </a:cubicBezTo>
                <a:lnTo>
                  <a:pt x="3074" y="4454"/>
                </a:lnTo>
                <a:lnTo>
                  <a:pt x="2788" y="4454"/>
                </a:lnTo>
                <a:lnTo>
                  <a:pt x="2772" y="3022"/>
                </a:lnTo>
                <a:cubicBezTo>
                  <a:pt x="2772" y="2975"/>
                  <a:pt x="2724" y="2943"/>
                  <a:pt x="2693" y="2943"/>
                </a:cubicBezTo>
                <a:cubicBezTo>
                  <a:pt x="2645" y="2943"/>
                  <a:pt x="2613" y="2975"/>
                  <a:pt x="2613" y="3022"/>
                </a:cubicBezTo>
                <a:lnTo>
                  <a:pt x="2629" y="4454"/>
                </a:lnTo>
                <a:lnTo>
                  <a:pt x="2327" y="4454"/>
                </a:lnTo>
                <a:cubicBezTo>
                  <a:pt x="2295" y="2816"/>
                  <a:pt x="2279" y="1877"/>
                  <a:pt x="2295" y="1654"/>
                </a:cubicBezTo>
                <a:lnTo>
                  <a:pt x="2295" y="1623"/>
                </a:lnTo>
                <a:cubicBezTo>
                  <a:pt x="2295" y="1448"/>
                  <a:pt x="2072" y="1448"/>
                  <a:pt x="2072" y="1623"/>
                </a:cubicBezTo>
                <a:close/>
                <a:moveTo>
                  <a:pt x="2008" y="4454"/>
                </a:moveTo>
                <a:lnTo>
                  <a:pt x="2214" y="4454"/>
                </a:lnTo>
                <a:lnTo>
                  <a:pt x="2214" y="4438"/>
                </a:lnTo>
                <a:cubicBezTo>
                  <a:pt x="2199" y="4422"/>
                  <a:pt x="2183" y="4406"/>
                  <a:pt x="2166" y="4390"/>
                </a:cubicBezTo>
                <a:cubicBezTo>
                  <a:pt x="1705" y="3913"/>
                  <a:pt x="1308" y="3516"/>
                  <a:pt x="1196" y="3404"/>
                </a:cubicBezTo>
                <a:cubicBezTo>
                  <a:pt x="990" y="3213"/>
                  <a:pt x="878" y="3150"/>
                  <a:pt x="544" y="3165"/>
                </a:cubicBezTo>
                <a:cubicBezTo>
                  <a:pt x="465" y="3165"/>
                  <a:pt x="385" y="3134"/>
                  <a:pt x="321" y="3086"/>
                </a:cubicBezTo>
                <a:cubicBezTo>
                  <a:pt x="210" y="2990"/>
                  <a:pt x="178" y="2863"/>
                  <a:pt x="163" y="2752"/>
                </a:cubicBezTo>
                <a:lnTo>
                  <a:pt x="433" y="2943"/>
                </a:lnTo>
                <a:cubicBezTo>
                  <a:pt x="449" y="2975"/>
                  <a:pt x="481" y="2975"/>
                  <a:pt x="512" y="2959"/>
                </a:cubicBezTo>
                <a:lnTo>
                  <a:pt x="783" y="2816"/>
                </a:lnTo>
                <a:cubicBezTo>
                  <a:pt x="799" y="2799"/>
                  <a:pt x="815" y="2784"/>
                  <a:pt x="815" y="2752"/>
                </a:cubicBezTo>
                <a:cubicBezTo>
                  <a:pt x="831" y="2646"/>
                  <a:pt x="862" y="2450"/>
                  <a:pt x="862" y="2434"/>
                </a:cubicBezTo>
                <a:cubicBezTo>
                  <a:pt x="862" y="2418"/>
                  <a:pt x="847" y="2386"/>
                  <a:pt x="830" y="2370"/>
                </a:cubicBezTo>
                <a:lnTo>
                  <a:pt x="576" y="2180"/>
                </a:lnTo>
                <a:cubicBezTo>
                  <a:pt x="703" y="2163"/>
                  <a:pt x="878" y="2180"/>
                  <a:pt x="990" y="2291"/>
                </a:cubicBezTo>
                <a:cubicBezTo>
                  <a:pt x="1053" y="2338"/>
                  <a:pt x="1101" y="2434"/>
                  <a:pt x="1101" y="2577"/>
                </a:cubicBezTo>
                <a:cubicBezTo>
                  <a:pt x="1133" y="2784"/>
                  <a:pt x="1181" y="3007"/>
                  <a:pt x="1419" y="3245"/>
                </a:cubicBezTo>
                <a:cubicBezTo>
                  <a:pt x="1483" y="3325"/>
                  <a:pt x="1594" y="3420"/>
                  <a:pt x="1721" y="3531"/>
                </a:cubicBezTo>
                <a:cubicBezTo>
                  <a:pt x="1848" y="3643"/>
                  <a:pt x="2008" y="3786"/>
                  <a:pt x="2151" y="3929"/>
                </a:cubicBezTo>
                <a:cubicBezTo>
                  <a:pt x="2166" y="3945"/>
                  <a:pt x="2166" y="3945"/>
                  <a:pt x="2183" y="3961"/>
                </a:cubicBezTo>
                <a:cubicBezTo>
                  <a:pt x="2214" y="3993"/>
                  <a:pt x="2262" y="3993"/>
                  <a:pt x="2294" y="3961"/>
                </a:cubicBezTo>
                <a:cubicBezTo>
                  <a:pt x="2326" y="3929"/>
                  <a:pt x="2310" y="3865"/>
                  <a:pt x="2278" y="3850"/>
                </a:cubicBezTo>
                <a:cubicBezTo>
                  <a:pt x="2246" y="3802"/>
                  <a:pt x="2199" y="3754"/>
                  <a:pt x="2151" y="3706"/>
                </a:cubicBezTo>
                <a:cubicBezTo>
                  <a:pt x="2039" y="3611"/>
                  <a:pt x="1928" y="3499"/>
                  <a:pt x="1817" y="3404"/>
                </a:cubicBezTo>
                <a:cubicBezTo>
                  <a:pt x="1705" y="3293"/>
                  <a:pt x="1594" y="3198"/>
                  <a:pt x="1530" y="3134"/>
                </a:cubicBezTo>
                <a:cubicBezTo>
                  <a:pt x="1324" y="2943"/>
                  <a:pt x="1276" y="2752"/>
                  <a:pt x="1260" y="2577"/>
                </a:cubicBezTo>
                <a:cubicBezTo>
                  <a:pt x="1260" y="2386"/>
                  <a:pt x="1196" y="2243"/>
                  <a:pt x="1101" y="2163"/>
                </a:cubicBezTo>
                <a:cubicBezTo>
                  <a:pt x="878" y="1989"/>
                  <a:pt x="529" y="1972"/>
                  <a:pt x="369" y="2100"/>
                </a:cubicBezTo>
                <a:cubicBezTo>
                  <a:pt x="353" y="2116"/>
                  <a:pt x="338" y="2132"/>
                  <a:pt x="338" y="2163"/>
                </a:cubicBezTo>
                <a:cubicBezTo>
                  <a:pt x="338" y="2180"/>
                  <a:pt x="353" y="2211"/>
                  <a:pt x="369" y="2227"/>
                </a:cubicBezTo>
                <a:lnTo>
                  <a:pt x="703" y="2466"/>
                </a:lnTo>
                <a:cubicBezTo>
                  <a:pt x="687" y="2513"/>
                  <a:pt x="687" y="2593"/>
                  <a:pt x="672" y="2689"/>
                </a:cubicBezTo>
                <a:lnTo>
                  <a:pt x="481" y="2784"/>
                </a:lnTo>
                <a:lnTo>
                  <a:pt x="131" y="2529"/>
                </a:lnTo>
                <a:cubicBezTo>
                  <a:pt x="115" y="2513"/>
                  <a:pt x="83" y="2513"/>
                  <a:pt x="67" y="2529"/>
                </a:cubicBezTo>
                <a:cubicBezTo>
                  <a:pt x="35" y="2529"/>
                  <a:pt x="20" y="2561"/>
                  <a:pt x="3" y="2593"/>
                </a:cubicBezTo>
                <a:cubicBezTo>
                  <a:pt x="3" y="2609"/>
                  <a:pt x="-44" y="2990"/>
                  <a:pt x="226" y="3213"/>
                </a:cubicBezTo>
                <a:cubicBezTo>
                  <a:pt x="321" y="3277"/>
                  <a:pt x="433" y="3325"/>
                  <a:pt x="544" y="3325"/>
                </a:cubicBezTo>
                <a:cubicBezTo>
                  <a:pt x="847" y="3325"/>
                  <a:pt x="910" y="3356"/>
                  <a:pt x="1085" y="3516"/>
                </a:cubicBezTo>
                <a:cubicBezTo>
                  <a:pt x="1196" y="3627"/>
                  <a:pt x="1578" y="4008"/>
                  <a:pt x="2008" y="445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5" name="Freeform: Shape 7">
            <a:extLst>
              <a:ext uri="{FF2B5EF4-FFF2-40B4-BE49-F238E27FC236}">
                <a16:creationId xmlns:a16="http://schemas.microsoft.com/office/drawing/2014/main" id="{FD4D62EA-A9CB-844C-BE86-7BED93EB2D30}"/>
              </a:ext>
            </a:extLst>
          </p:cNvPr>
          <p:cNvSpPr/>
          <p:nvPr/>
        </p:nvSpPr>
        <p:spPr>
          <a:xfrm>
            <a:off x="10455838" y="6291592"/>
            <a:ext cx="921239" cy="1785960"/>
          </a:xfrm>
          <a:custGeom>
            <a:avLst/>
            <a:gdLst/>
            <a:ahLst/>
            <a:cxnLst>
              <a:cxn ang="3cd4">
                <a:pos x="hc" y="t"/>
              </a:cxn>
              <a:cxn ang="cd2">
                <a:pos x="l" y="vc"/>
              </a:cxn>
              <a:cxn ang="cd4">
                <a:pos x="hc" y="b"/>
              </a:cxn>
              <a:cxn ang="0">
                <a:pos x="r" y="vc"/>
              </a:cxn>
            </a:cxnLst>
            <a:rect l="l" t="t" r="r" b="b"/>
            <a:pathLst>
              <a:path w="2560" h="4962">
                <a:moveTo>
                  <a:pt x="63" y="3848"/>
                </a:moveTo>
                <a:cubicBezTo>
                  <a:pt x="31" y="3865"/>
                  <a:pt x="0" y="3896"/>
                  <a:pt x="0" y="3928"/>
                </a:cubicBezTo>
                <a:cubicBezTo>
                  <a:pt x="0" y="4883"/>
                  <a:pt x="0" y="4883"/>
                  <a:pt x="0" y="4883"/>
                </a:cubicBezTo>
                <a:cubicBezTo>
                  <a:pt x="0" y="4930"/>
                  <a:pt x="31" y="4962"/>
                  <a:pt x="79" y="4962"/>
                </a:cubicBezTo>
                <a:cubicBezTo>
                  <a:pt x="509" y="4962"/>
                  <a:pt x="1081" y="4389"/>
                  <a:pt x="1288" y="3960"/>
                </a:cubicBezTo>
                <a:cubicBezTo>
                  <a:pt x="1479" y="4389"/>
                  <a:pt x="2051" y="4962"/>
                  <a:pt x="2481" y="4962"/>
                </a:cubicBezTo>
                <a:cubicBezTo>
                  <a:pt x="2528" y="4962"/>
                  <a:pt x="2560" y="4930"/>
                  <a:pt x="2560" y="4883"/>
                </a:cubicBezTo>
                <a:cubicBezTo>
                  <a:pt x="2560" y="3928"/>
                  <a:pt x="2560" y="3928"/>
                  <a:pt x="2560" y="3928"/>
                </a:cubicBezTo>
                <a:cubicBezTo>
                  <a:pt x="2560" y="3896"/>
                  <a:pt x="2528" y="3848"/>
                  <a:pt x="2481" y="3848"/>
                </a:cubicBezTo>
                <a:cubicBezTo>
                  <a:pt x="2481" y="3848"/>
                  <a:pt x="1876" y="3785"/>
                  <a:pt x="1860" y="2083"/>
                </a:cubicBezTo>
                <a:cubicBezTo>
                  <a:pt x="2385" y="2083"/>
                  <a:pt x="2385" y="2083"/>
                  <a:pt x="2385" y="2083"/>
                </a:cubicBezTo>
                <a:cubicBezTo>
                  <a:pt x="2417" y="2083"/>
                  <a:pt x="2449" y="2067"/>
                  <a:pt x="2465" y="2051"/>
                </a:cubicBezTo>
                <a:cubicBezTo>
                  <a:pt x="2481" y="2020"/>
                  <a:pt x="2481" y="1987"/>
                  <a:pt x="2465" y="1972"/>
                </a:cubicBezTo>
                <a:cubicBezTo>
                  <a:pt x="1351" y="47"/>
                  <a:pt x="1351" y="47"/>
                  <a:pt x="1351" y="47"/>
                </a:cubicBezTo>
                <a:cubicBezTo>
                  <a:pt x="1319" y="-16"/>
                  <a:pt x="1240" y="-16"/>
                  <a:pt x="1208" y="47"/>
                </a:cubicBezTo>
                <a:cubicBezTo>
                  <a:pt x="95" y="1972"/>
                  <a:pt x="95" y="1972"/>
                  <a:pt x="95" y="1972"/>
                </a:cubicBezTo>
                <a:cubicBezTo>
                  <a:pt x="79" y="1987"/>
                  <a:pt x="79" y="2020"/>
                  <a:pt x="95" y="2051"/>
                </a:cubicBezTo>
                <a:cubicBezTo>
                  <a:pt x="110" y="2067"/>
                  <a:pt x="143" y="2083"/>
                  <a:pt x="174" y="2083"/>
                </a:cubicBezTo>
                <a:cubicBezTo>
                  <a:pt x="715" y="2083"/>
                  <a:pt x="715" y="2083"/>
                  <a:pt x="715" y="2083"/>
                </a:cubicBezTo>
                <a:cubicBezTo>
                  <a:pt x="683" y="3721"/>
                  <a:pt x="79" y="3848"/>
                  <a:pt x="63" y="3848"/>
                </a:cubicBezTo>
                <a:close/>
                <a:moveTo>
                  <a:pt x="874" y="2003"/>
                </a:moveTo>
                <a:cubicBezTo>
                  <a:pt x="874" y="1956"/>
                  <a:pt x="827" y="1924"/>
                  <a:pt x="795" y="1924"/>
                </a:cubicBezTo>
                <a:cubicBezTo>
                  <a:pt x="301" y="1924"/>
                  <a:pt x="301" y="1924"/>
                  <a:pt x="301" y="1924"/>
                </a:cubicBezTo>
                <a:cubicBezTo>
                  <a:pt x="1288" y="238"/>
                  <a:pt x="1288" y="238"/>
                  <a:pt x="1288" y="238"/>
                </a:cubicBezTo>
                <a:cubicBezTo>
                  <a:pt x="2258" y="1924"/>
                  <a:pt x="2258" y="1924"/>
                  <a:pt x="2258" y="1924"/>
                </a:cubicBezTo>
                <a:cubicBezTo>
                  <a:pt x="1781" y="1924"/>
                  <a:pt x="1781" y="1924"/>
                  <a:pt x="1781" y="1924"/>
                </a:cubicBezTo>
                <a:cubicBezTo>
                  <a:pt x="1733" y="1924"/>
                  <a:pt x="1701" y="1956"/>
                  <a:pt x="1701" y="2003"/>
                </a:cubicBezTo>
                <a:cubicBezTo>
                  <a:pt x="1701" y="3610"/>
                  <a:pt x="2210" y="3928"/>
                  <a:pt x="2401" y="3992"/>
                </a:cubicBezTo>
                <a:cubicBezTo>
                  <a:pt x="2401" y="4803"/>
                  <a:pt x="2401" y="4803"/>
                  <a:pt x="2401" y="4803"/>
                </a:cubicBezTo>
                <a:cubicBezTo>
                  <a:pt x="1956" y="4707"/>
                  <a:pt x="1367" y="3992"/>
                  <a:pt x="1367" y="3690"/>
                </a:cubicBezTo>
                <a:cubicBezTo>
                  <a:pt x="1367" y="3642"/>
                  <a:pt x="1319" y="3610"/>
                  <a:pt x="1288" y="3610"/>
                </a:cubicBezTo>
                <a:cubicBezTo>
                  <a:pt x="1240" y="3610"/>
                  <a:pt x="1208" y="3642"/>
                  <a:pt x="1208" y="3690"/>
                </a:cubicBezTo>
                <a:cubicBezTo>
                  <a:pt x="1208" y="3992"/>
                  <a:pt x="604" y="4707"/>
                  <a:pt x="158" y="4787"/>
                </a:cubicBezTo>
                <a:cubicBezTo>
                  <a:pt x="158" y="3992"/>
                  <a:pt x="158" y="3992"/>
                  <a:pt x="158" y="3992"/>
                </a:cubicBezTo>
                <a:cubicBezTo>
                  <a:pt x="349" y="3912"/>
                  <a:pt x="874" y="3562"/>
                  <a:pt x="874" y="200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6" name="Freeform: Shape 8">
            <a:extLst>
              <a:ext uri="{FF2B5EF4-FFF2-40B4-BE49-F238E27FC236}">
                <a16:creationId xmlns:a16="http://schemas.microsoft.com/office/drawing/2014/main" id="{71523971-9FE7-A942-B339-1E8C333938C0}"/>
              </a:ext>
            </a:extLst>
          </p:cNvPr>
          <p:cNvSpPr/>
          <p:nvPr/>
        </p:nvSpPr>
        <p:spPr>
          <a:xfrm>
            <a:off x="1668234" y="6383391"/>
            <a:ext cx="1379880" cy="1602720"/>
          </a:xfrm>
          <a:custGeom>
            <a:avLst/>
            <a:gdLst/>
            <a:ahLst/>
            <a:cxnLst>
              <a:cxn ang="3cd4">
                <a:pos x="hc" y="t"/>
              </a:cxn>
              <a:cxn ang="cd2">
                <a:pos x="l" y="vc"/>
              </a:cxn>
              <a:cxn ang="cd4">
                <a:pos x="hc" y="b"/>
              </a:cxn>
              <a:cxn ang="0">
                <a:pos x="r" y="vc"/>
              </a:cxn>
            </a:cxnLst>
            <a:rect l="l" t="t" r="r" b="b"/>
            <a:pathLst>
              <a:path w="3834" h="4453">
                <a:moveTo>
                  <a:pt x="287" y="2672"/>
                </a:moveTo>
                <a:cubicBezTo>
                  <a:pt x="1336" y="2672"/>
                  <a:pt x="1336" y="2672"/>
                  <a:pt x="1336" y="2672"/>
                </a:cubicBezTo>
                <a:cubicBezTo>
                  <a:pt x="1336" y="4263"/>
                  <a:pt x="1336" y="4263"/>
                  <a:pt x="1336" y="4263"/>
                </a:cubicBezTo>
                <a:cubicBezTo>
                  <a:pt x="1336" y="4374"/>
                  <a:pt x="1416" y="4453"/>
                  <a:pt x="1511" y="4453"/>
                </a:cubicBezTo>
                <a:cubicBezTo>
                  <a:pt x="3643" y="4453"/>
                  <a:pt x="3643" y="4453"/>
                  <a:pt x="3643" y="4453"/>
                </a:cubicBezTo>
                <a:cubicBezTo>
                  <a:pt x="3738" y="4453"/>
                  <a:pt x="3834" y="4374"/>
                  <a:pt x="3834" y="4263"/>
                </a:cubicBezTo>
                <a:cubicBezTo>
                  <a:pt x="3834" y="191"/>
                  <a:pt x="3834" y="191"/>
                  <a:pt x="3834" y="191"/>
                </a:cubicBezTo>
                <a:cubicBezTo>
                  <a:pt x="3834" y="79"/>
                  <a:pt x="3738" y="0"/>
                  <a:pt x="3643" y="0"/>
                </a:cubicBezTo>
                <a:cubicBezTo>
                  <a:pt x="1511" y="0"/>
                  <a:pt x="1511" y="0"/>
                  <a:pt x="1511" y="0"/>
                </a:cubicBezTo>
                <a:cubicBezTo>
                  <a:pt x="1416" y="0"/>
                  <a:pt x="1336" y="79"/>
                  <a:pt x="1336" y="191"/>
                </a:cubicBezTo>
                <a:cubicBezTo>
                  <a:pt x="1336" y="2084"/>
                  <a:pt x="1336" y="2084"/>
                  <a:pt x="1336" y="2084"/>
                </a:cubicBezTo>
                <a:cubicBezTo>
                  <a:pt x="287" y="2084"/>
                  <a:pt x="287" y="2084"/>
                  <a:pt x="287" y="2084"/>
                </a:cubicBezTo>
                <a:cubicBezTo>
                  <a:pt x="127" y="2084"/>
                  <a:pt x="0" y="2227"/>
                  <a:pt x="0" y="2385"/>
                </a:cubicBezTo>
                <a:cubicBezTo>
                  <a:pt x="0" y="2545"/>
                  <a:pt x="127" y="2672"/>
                  <a:pt x="287" y="2672"/>
                </a:cubicBezTo>
                <a:close/>
                <a:moveTo>
                  <a:pt x="3325" y="3579"/>
                </a:moveTo>
                <a:cubicBezTo>
                  <a:pt x="3325" y="159"/>
                  <a:pt x="3325" y="159"/>
                  <a:pt x="3325" y="159"/>
                </a:cubicBezTo>
                <a:cubicBezTo>
                  <a:pt x="3643" y="159"/>
                  <a:pt x="3643" y="159"/>
                  <a:pt x="3643" y="159"/>
                </a:cubicBezTo>
                <a:cubicBezTo>
                  <a:pt x="3659" y="159"/>
                  <a:pt x="3675" y="175"/>
                  <a:pt x="3675" y="191"/>
                </a:cubicBezTo>
                <a:cubicBezTo>
                  <a:pt x="3675" y="4263"/>
                  <a:pt x="3675" y="4263"/>
                  <a:pt x="3675" y="4263"/>
                </a:cubicBezTo>
                <a:cubicBezTo>
                  <a:pt x="3675" y="4278"/>
                  <a:pt x="3659" y="4294"/>
                  <a:pt x="3643" y="4294"/>
                </a:cubicBezTo>
                <a:cubicBezTo>
                  <a:pt x="1511" y="4294"/>
                  <a:pt x="1511" y="4294"/>
                  <a:pt x="1511" y="4294"/>
                </a:cubicBezTo>
                <a:cubicBezTo>
                  <a:pt x="1511" y="4294"/>
                  <a:pt x="1496" y="4294"/>
                  <a:pt x="1496" y="4278"/>
                </a:cubicBezTo>
                <a:cubicBezTo>
                  <a:pt x="3198" y="3754"/>
                  <a:pt x="3198" y="3754"/>
                  <a:pt x="3198" y="3754"/>
                </a:cubicBezTo>
                <a:cubicBezTo>
                  <a:pt x="3277" y="3738"/>
                  <a:pt x="3325" y="3658"/>
                  <a:pt x="3325" y="3579"/>
                </a:cubicBezTo>
                <a:close/>
                <a:moveTo>
                  <a:pt x="1496" y="191"/>
                </a:moveTo>
                <a:cubicBezTo>
                  <a:pt x="1496" y="175"/>
                  <a:pt x="1496" y="159"/>
                  <a:pt x="1511" y="159"/>
                </a:cubicBezTo>
                <a:cubicBezTo>
                  <a:pt x="3166" y="159"/>
                  <a:pt x="3166" y="159"/>
                  <a:pt x="3166" y="159"/>
                </a:cubicBezTo>
                <a:cubicBezTo>
                  <a:pt x="3166" y="3579"/>
                  <a:pt x="3166" y="3579"/>
                  <a:pt x="3166" y="3579"/>
                </a:cubicBezTo>
                <a:cubicBezTo>
                  <a:pt x="3166" y="3594"/>
                  <a:pt x="3166" y="3594"/>
                  <a:pt x="3150" y="3594"/>
                </a:cubicBezTo>
                <a:cubicBezTo>
                  <a:pt x="1496" y="4120"/>
                  <a:pt x="1496" y="4120"/>
                  <a:pt x="1496" y="4120"/>
                </a:cubicBezTo>
                <a:cubicBezTo>
                  <a:pt x="1496" y="2672"/>
                  <a:pt x="1496" y="2672"/>
                  <a:pt x="1496" y="2672"/>
                </a:cubicBezTo>
                <a:cubicBezTo>
                  <a:pt x="1877" y="2672"/>
                  <a:pt x="1877" y="2672"/>
                  <a:pt x="1877" y="2672"/>
                </a:cubicBezTo>
                <a:cubicBezTo>
                  <a:pt x="1845" y="2720"/>
                  <a:pt x="1814" y="2784"/>
                  <a:pt x="1814" y="2847"/>
                </a:cubicBezTo>
                <a:cubicBezTo>
                  <a:pt x="1814" y="2927"/>
                  <a:pt x="1845" y="3006"/>
                  <a:pt x="1893" y="3054"/>
                </a:cubicBezTo>
                <a:cubicBezTo>
                  <a:pt x="1957" y="3117"/>
                  <a:pt x="2020" y="3149"/>
                  <a:pt x="2100" y="3149"/>
                </a:cubicBezTo>
                <a:cubicBezTo>
                  <a:pt x="2180" y="3149"/>
                  <a:pt x="2259" y="3117"/>
                  <a:pt x="2307" y="3054"/>
                </a:cubicBezTo>
                <a:cubicBezTo>
                  <a:pt x="2784" y="2593"/>
                  <a:pt x="2784" y="2593"/>
                  <a:pt x="2784" y="2593"/>
                </a:cubicBezTo>
                <a:cubicBezTo>
                  <a:pt x="2816" y="2561"/>
                  <a:pt x="2832" y="2529"/>
                  <a:pt x="2847" y="2497"/>
                </a:cubicBezTo>
                <a:cubicBezTo>
                  <a:pt x="2880" y="2418"/>
                  <a:pt x="2880" y="2338"/>
                  <a:pt x="2847" y="2275"/>
                </a:cubicBezTo>
                <a:cubicBezTo>
                  <a:pt x="2832" y="2227"/>
                  <a:pt x="2816" y="2195"/>
                  <a:pt x="2784" y="2179"/>
                </a:cubicBezTo>
                <a:cubicBezTo>
                  <a:pt x="2307" y="1702"/>
                  <a:pt x="2307" y="1702"/>
                  <a:pt x="2307" y="1702"/>
                </a:cubicBezTo>
                <a:cubicBezTo>
                  <a:pt x="2195" y="1590"/>
                  <a:pt x="2020" y="1590"/>
                  <a:pt x="1893" y="1702"/>
                </a:cubicBezTo>
                <a:cubicBezTo>
                  <a:pt x="1845" y="1749"/>
                  <a:pt x="1814" y="1829"/>
                  <a:pt x="1814" y="1909"/>
                </a:cubicBezTo>
                <a:cubicBezTo>
                  <a:pt x="1814" y="1972"/>
                  <a:pt x="1845" y="2036"/>
                  <a:pt x="1877" y="2084"/>
                </a:cubicBezTo>
                <a:cubicBezTo>
                  <a:pt x="1496" y="2084"/>
                  <a:pt x="1496" y="2084"/>
                  <a:pt x="1496" y="2084"/>
                </a:cubicBezTo>
                <a:close/>
                <a:moveTo>
                  <a:pt x="287" y="2242"/>
                </a:moveTo>
                <a:cubicBezTo>
                  <a:pt x="2068" y="2242"/>
                  <a:pt x="2068" y="2242"/>
                  <a:pt x="2068" y="2242"/>
                </a:cubicBezTo>
                <a:cubicBezTo>
                  <a:pt x="2100" y="2242"/>
                  <a:pt x="2132" y="2227"/>
                  <a:pt x="2148" y="2195"/>
                </a:cubicBezTo>
                <a:cubicBezTo>
                  <a:pt x="2163" y="2163"/>
                  <a:pt x="2148" y="2131"/>
                  <a:pt x="2132" y="2115"/>
                </a:cubicBezTo>
                <a:cubicBezTo>
                  <a:pt x="2020" y="2004"/>
                  <a:pt x="2020" y="2004"/>
                  <a:pt x="2020" y="2004"/>
                </a:cubicBezTo>
                <a:cubicBezTo>
                  <a:pt x="1989" y="1972"/>
                  <a:pt x="1973" y="1940"/>
                  <a:pt x="1973" y="1909"/>
                </a:cubicBezTo>
                <a:cubicBezTo>
                  <a:pt x="1973" y="1877"/>
                  <a:pt x="1989" y="1845"/>
                  <a:pt x="2020" y="1813"/>
                </a:cubicBezTo>
                <a:cubicBezTo>
                  <a:pt x="2068" y="1766"/>
                  <a:pt x="2148" y="1766"/>
                  <a:pt x="2195" y="1813"/>
                </a:cubicBezTo>
                <a:cubicBezTo>
                  <a:pt x="2672" y="2290"/>
                  <a:pt x="2672" y="2290"/>
                  <a:pt x="2672" y="2290"/>
                </a:cubicBezTo>
                <a:cubicBezTo>
                  <a:pt x="2689" y="2306"/>
                  <a:pt x="2689" y="2322"/>
                  <a:pt x="2704" y="2338"/>
                </a:cubicBezTo>
                <a:cubicBezTo>
                  <a:pt x="2720" y="2370"/>
                  <a:pt x="2720" y="2402"/>
                  <a:pt x="2704" y="2433"/>
                </a:cubicBezTo>
                <a:cubicBezTo>
                  <a:pt x="2689" y="2449"/>
                  <a:pt x="2689" y="2465"/>
                  <a:pt x="2672" y="2481"/>
                </a:cubicBezTo>
                <a:cubicBezTo>
                  <a:pt x="2195" y="2942"/>
                  <a:pt x="2195" y="2942"/>
                  <a:pt x="2195" y="2942"/>
                </a:cubicBezTo>
                <a:cubicBezTo>
                  <a:pt x="2148" y="2990"/>
                  <a:pt x="2068" y="2990"/>
                  <a:pt x="2020" y="2942"/>
                </a:cubicBezTo>
                <a:cubicBezTo>
                  <a:pt x="1989" y="2927"/>
                  <a:pt x="1973" y="2894"/>
                  <a:pt x="1973" y="2847"/>
                </a:cubicBezTo>
                <a:cubicBezTo>
                  <a:pt x="1973" y="2815"/>
                  <a:pt x="1989" y="2784"/>
                  <a:pt x="2020" y="2767"/>
                </a:cubicBezTo>
                <a:cubicBezTo>
                  <a:pt x="2132" y="2640"/>
                  <a:pt x="2132" y="2640"/>
                  <a:pt x="2132" y="2640"/>
                </a:cubicBezTo>
                <a:cubicBezTo>
                  <a:pt x="2148" y="2624"/>
                  <a:pt x="2163" y="2593"/>
                  <a:pt x="2148" y="2561"/>
                </a:cubicBezTo>
                <a:cubicBezTo>
                  <a:pt x="2132" y="2529"/>
                  <a:pt x="2100" y="2513"/>
                  <a:pt x="2068" y="2513"/>
                </a:cubicBezTo>
                <a:cubicBezTo>
                  <a:pt x="287" y="2513"/>
                  <a:pt x="287" y="2513"/>
                  <a:pt x="287" y="2513"/>
                </a:cubicBezTo>
                <a:cubicBezTo>
                  <a:pt x="207" y="2513"/>
                  <a:pt x="159" y="2449"/>
                  <a:pt x="159" y="2385"/>
                </a:cubicBezTo>
                <a:cubicBezTo>
                  <a:pt x="159" y="2306"/>
                  <a:pt x="207" y="2242"/>
                  <a:pt x="287" y="224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7" name="Freeform: Shape 9">
            <a:extLst>
              <a:ext uri="{FF2B5EF4-FFF2-40B4-BE49-F238E27FC236}">
                <a16:creationId xmlns:a16="http://schemas.microsoft.com/office/drawing/2014/main" id="{5DF28564-C721-CB4E-875E-12DC1752CFC2}"/>
              </a:ext>
            </a:extLst>
          </p:cNvPr>
          <p:cNvSpPr/>
          <p:nvPr/>
        </p:nvSpPr>
        <p:spPr>
          <a:xfrm>
            <a:off x="10039106" y="3247602"/>
            <a:ext cx="1620000" cy="1620360"/>
          </a:xfrm>
          <a:custGeom>
            <a:avLst/>
            <a:gdLst/>
            <a:ahLst/>
            <a:cxnLst>
              <a:cxn ang="3cd4">
                <a:pos x="hc" y="t"/>
              </a:cxn>
              <a:cxn ang="cd2">
                <a:pos x="l" y="vc"/>
              </a:cxn>
              <a:cxn ang="cd4">
                <a:pos x="hc" y="b"/>
              </a:cxn>
              <a:cxn ang="0">
                <a:pos x="r" y="vc"/>
              </a:cxn>
            </a:cxnLst>
            <a:rect l="l" t="t" r="r" b="b"/>
            <a:pathLst>
              <a:path w="4501" h="4502">
                <a:moveTo>
                  <a:pt x="1447" y="3276"/>
                </a:moveTo>
                <a:cubicBezTo>
                  <a:pt x="1479" y="3276"/>
                  <a:pt x="1511" y="3229"/>
                  <a:pt x="1511" y="3197"/>
                </a:cubicBezTo>
                <a:lnTo>
                  <a:pt x="1511" y="827"/>
                </a:lnTo>
                <a:cubicBezTo>
                  <a:pt x="1511" y="779"/>
                  <a:pt x="1479" y="748"/>
                  <a:pt x="1447" y="748"/>
                </a:cubicBezTo>
                <a:cubicBezTo>
                  <a:pt x="1400" y="748"/>
                  <a:pt x="1368" y="779"/>
                  <a:pt x="1368" y="827"/>
                </a:cubicBezTo>
                <a:lnTo>
                  <a:pt x="1368" y="3197"/>
                </a:lnTo>
                <a:cubicBezTo>
                  <a:pt x="1368" y="3229"/>
                  <a:pt x="1400" y="3276"/>
                  <a:pt x="1447" y="3276"/>
                </a:cubicBezTo>
                <a:close/>
                <a:moveTo>
                  <a:pt x="1272" y="3467"/>
                </a:moveTo>
                <a:lnTo>
                  <a:pt x="3229" y="3467"/>
                </a:lnTo>
                <a:cubicBezTo>
                  <a:pt x="3276" y="3467"/>
                  <a:pt x="3308" y="3436"/>
                  <a:pt x="3308" y="3388"/>
                </a:cubicBezTo>
                <a:cubicBezTo>
                  <a:pt x="3308" y="3340"/>
                  <a:pt x="3276" y="3309"/>
                  <a:pt x="3229" y="3309"/>
                </a:cubicBezTo>
                <a:lnTo>
                  <a:pt x="1272" y="3309"/>
                </a:lnTo>
                <a:cubicBezTo>
                  <a:pt x="1240" y="3309"/>
                  <a:pt x="1193" y="3340"/>
                  <a:pt x="1193" y="3388"/>
                </a:cubicBezTo>
                <a:cubicBezTo>
                  <a:pt x="1193" y="3436"/>
                  <a:pt x="1240" y="3467"/>
                  <a:pt x="1272" y="3467"/>
                </a:cubicBezTo>
                <a:close/>
                <a:moveTo>
                  <a:pt x="1766" y="3276"/>
                </a:moveTo>
                <a:cubicBezTo>
                  <a:pt x="1813" y="3276"/>
                  <a:pt x="1845" y="3229"/>
                  <a:pt x="1845" y="3197"/>
                </a:cubicBezTo>
                <a:lnTo>
                  <a:pt x="1845" y="1257"/>
                </a:lnTo>
                <a:cubicBezTo>
                  <a:pt x="1845" y="1209"/>
                  <a:pt x="1813" y="1177"/>
                  <a:pt x="1766" y="1177"/>
                </a:cubicBezTo>
                <a:cubicBezTo>
                  <a:pt x="1718" y="1177"/>
                  <a:pt x="1686" y="1209"/>
                  <a:pt x="1686" y="1257"/>
                </a:cubicBezTo>
                <a:lnTo>
                  <a:pt x="1686" y="3197"/>
                </a:lnTo>
                <a:cubicBezTo>
                  <a:pt x="1686" y="3229"/>
                  <a:pt x="1718" y="3276"/>
                  <a:pt x="1766" y="3276"/>
                </a:cubicBezTo>
                <a:close/>
                <a:moveTo>
                  <a:pt x="2163" y="3276"/>
                </a:moveTo>
                <a:cubicBezTo>
                  <a:pt x="2195" y="3276"/>
                  <a:pt x="2242" y="3229"/>
                  <a:pt x="2242" y="3197"/>
                </a:cubicBezTo>
                <a:lnTo>
                  <a:pt x="2242" y="2100"/>
                </a:lnTo>
                <a:cubicBezTo>
                  <a:pt x="2242" y="2052"/>
                  <a:pt x="2195" y="2020"/>
                  <a:pt x="2163" y="2020"/>
                </a:cubicBezTo>
                <a:cubicBezTo>
                  <a:pt x="2115" y="2020"/>
                  <a:pt x="2084" y="2052"/>
                  <a:pt x="2084" y="2100"/>
                </a:cubicBezTo>
                <a:lnTo>
                  <a:pt x="2084" y="3197"/>
                </a:lnTo>
                <a:cubicBezTo>
                  <a:pt x="2084" y="3229"/>
                  <a:pt x="2115" y="3276"/>
                  <a:pt x="2163" y="3276"/>
                </a:cubicBezTo>
                <a:close/>
                <a:moveTo>
                  <a:pt x="2545" y="3276"/>
                </a:moveTo>
                <a:cubicBezTo>
                  <a:pt x="2593" y="3276"/>
                  <a:pt x="2624" y="3229"/>
                  <a:pt x="2624" y="3197"/>
                </a:cubicBezTo>
                <a:lnTo>
                  <a:pt x="2624" y="1845"/>
                </a:lnTo>
                <a:cubicBezTo>
                  <a:pt x="2624" y="1797"/>
                  <a:pt x="2593" y="1766"/>
                  <a:pt x="2545" y="1766"/>
                </a:cubicBezTo>
                <a:cubicBezTo>
                  <a:pt x="2497" y="1766"/>
                  <a:pt x="2465" y="1797"/>
                  <a:pt x="2465" y="1845"/>
                </a:cubicBezTo>
                <a:lnTo>
                  <a:pt x="2465" y="3197"/>
                </a:lnTo>
                <a:cubicBezTo>
                  <a:pt x="2465" y="3229"/>
                  <a:pt x="2497" y="3276"/>
                  <a:pt x="2545" y="3276"/>
                </a:cubicBezTo>
                <a:close/>
                <a:moveTo>
                  <a:pt x="2942" y="3276"/>
                </a:moveTo>
                <a:cubicBezTo>
                  <a:pt x="2974" y="3276"/>
                  <a:pt x="3022" y="3229"/>
                  <a:pt x="3022" y="3197"/>
                </a:cubicBezTo>
                <a:lnTo>
                  <a:pt x="3022" y="2163"/>
                </a:lnTo>
                <a:cubicBezTo>
                  <a:pt x="3022" y="2115"/>
                  <a:pt x="2974" y="2084"/>
                  <a:pt x="2942" y="2084"/>
                </a:cubicBezTo>
                <a:cubicBezTo>
                  <a:pt x="2894" y="2084"/>
                  <a:pt x="2863" y="2115"/>
                  <a:pt x="2863" y="2163"/>
                </a:cubicBezTo>
                <a:lnTo>
                  <a:pt x="2863" y="3197"/>
                </a:lnTo>
                <a:cubicBezTo>
                  <a:pt x="2863" y="3229"/>
                  <a:pt x="2894" y="3276"/>
                  <a:pt x="2942" y="3276"/>
                </a:cubicBezTo>
                <a:close/>
                <a:moveTo>
                  <a:pt x="2258" y="4502"/>
                </a:moveTo>
                <a:cubicBezTo>
                  <a:pt x="3499" y="4502"/>
                  <a:pt x="4501" y="3499"/>
                  <a:pt x="4501" y="2259"/>
                </a:cubicBezTo>
                <a:cubicBezTo>
                  <a:pt x="4501" y="1002"/>
                  <a:pt x="3499" y="0"/>
                  <a:pt x="2258" y="0"/>
                </a:cubicBezTo>
                <a:cubicBezTo>
                  <a:pt x="1018" y="0"/>
                  <a:pt x="0" y="1002"/>
                  <a:pt x="0" y="2259"/>
                </a:cubicBezTo>
                <a:cubicBezTo>
                  <a:pt x="0" y="2688"/>
                  <a:pt x="127" y="3118"/>
                  <a:pt x="366" y="3484"/>
                </a:cubicBezTo>
                <a:lnTo>
                  <a:pt x="95" y="4342"/>
                </a:lnTo>
                <a:cubicBezTo>
                  <a:pt x="79" y="4374"/>
                  <a:pt x="95" y="4406"/>
                  <a:pt x="111" y="4422"/>
                </a:cubicBezTo>
                <a:cubicBezTo>
                  <a:pt x="127" y="4438"/>
                  <a:pt x="159" y="4454"/>
                  <a:pt x="191" y="4438"/>
                </a:cubicBezTo>
                <a:lnTo>
                  <a:pt x="1066" y="4167"/>
                </a:lnTo>
                <a:cubicBezTo>
                  <a:pt x="1415" y="4390"/>
                  <a:pt x="1829" y="4502"/>
                  <a:pt x="2258" y="4502"/>
                </a:cubicBezTo>
                <a:close/>
                <a:moveTo>
                  <a:pt x="286" y="4247"/>
                </a:moveTo>
                <a:lnTo>
                  <a:pt x="525" y="3499"/>
                </a:lnTo>
                <a:cubicBezTo>
                  <a:pt x="540" y="3467"/>
                  <a:pt x="540" y="3452"/>
                  <a:pt x="525" y="3420"/>
                </a:cubicBezTo>
                <a:cubicBezTo>
                  <a:pt x="286" y="3086"/>
                  <a:pt x="159" y="2672"/>
                  <a:pt x="159" y="2259"/>
                </a:cubicBezTo>
                <a:cubicBezTo>
                  <a:pt x="159" y="1098"/>
                  <a:pt x="1097" y="159"/>
                  <a:pt x="2258" y="159"/>
                </a:cubicBezTo>
                <a:cubicBezTo>
                  <a:pt x="3403" y="159"/>
                  <a:pt x="4342" y="1098"/>
                  <a:pt x="4342" y="2259"/>
                </a:cubicBezTo>
                <a:cubicBezTo>
                  <a:pt x="4342" y="3404"/>
                  <a:pt x="3403" y="4342"/>
                  <a:pt x="2258" y="4342"/>
                </a:cubicBezTo>
                <a:cubicBezTo>
                  <a:pt x="1845" y="4342"/>
                  <a:pt x="1447" y="4231"/>
                  <a:pt x="1113" y="4008"/>
                </a:cubicBezTo>
                <a:cubicBezTo>
                  <a:pt x="1097" y="3993"/>
                  <a:pt x="1081" y="3993"/>
                  <a:pt x="1066" y="3993"/>
                </a:cubicBezTo>
                <a:cubicBezTo>
                  <a:pt x="1049" y="3993"/>
                  <a:pt x="1049" y="3993"/>
                  <a:pt x="1034" y="400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8891601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Education - 1</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24" name="TextBox 23">
            <a:extLst>
              <a:ext uri="{FF2B5EF4-FFF2-40B4-BE49-F238E27FC236}">
                <a16:creationId xmlns:a16="http://schemas.microsoft.com/office/drawing/2014/main" id="{DD4D3044-1DFD-4C4C-B6C9-AA7674573EAC}"/>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ok</a:t>
            </a:r>
          </a:p>
        </p:txBody>
      </p:sp>
      <p:sp>
        <p:nvSpPr>
          <p:cNvPr id="25" name="TextBox 24">
            <a:extLst>
              <a:ext uri="{FF2B5EF4-FFF2-40B4-BE49-F238E27FC236}">
                <a16:creationId xmlns:a16="http://schemas.microsoft.com/office/drawing/2014/main" id="{E48DD8A4-318C-9F46-933D-C793BE23B40F}"/>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ok 2</a:t>
            </a:r>
          </a:p>
        </p:txBody>
      </p:sp>
      <p:sp>
        <p:nvSpPr>
          <p:cNvPr id="26" name="TextBox 25">
            <a:extLst>
              <a:ext uri="{FF2B5EF4-FFF2-40B4-BE49-F238E27FC236}">
                <a16:creationId xmlns:a16="http://schemas.microsoft.com/office/drawing/2014/main" id="{A565A46A-EE21-8142-B4A2-BAF9EAFC6E01}"/>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ok 3</a:t>
            </a:r>
          </a:p>
        </p:txBody>
      </p:sp>
      <p:sp>
        <p:nvSpPr>
          <p:cNvPr id="27" name="TextBox 26">
            <a:extLst>
              <a:ext uri="{FF2B5EF4-FFF2-40B4-BE49-F238E27FC236}">
                <a16:creationId xmlns:a16="http://schemas.microsoft.com/office/drawing/2014/main" id="{F42BFEAE-166B-534B-B262-C11C9660EAEB}"/>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pread</a:t>
            </a:r>
          </a:p>
        </p:txBody>
      </p:sp>
      <p:sp>
        <p:nvSpPr>
          <p:cNvPr id="28" name="TextBox 27">
            <a:extLst>
              <a:ext uri="{FF2B5EF4-FFF2-40B4-BE49-F238E27FC236}">
                <a16:creationId xmlns:a16="http://schemas.microsoft.com/office/drawing/2014/main" id="{5186EE6D-2523-2440-8337-0E7EDA795397}"/>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ertificate</a:t>
            </a:r>
          </a:p>
        </p:txBody>
      </p:sp>
      <p:sp>
        <p:nvSpPr>
          <p:cNvPr id="29" name="TextBox 28">
            <a:extLst>
              <a:ext uri="{FF2B5EF4-FFF2-40B4-BE49-F238E27FC236}">
                <a16:creationId xmlns:a16="http://schemas.microsoft.com/office/drawing/2014/main" id="{C5F24972-3CFA-5942-A4F4-99397B80767E}"/>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ertificate 1</a:t>
            </a:r>
          </a:p>
        </p:txBody>
      </p:sp>
      <p:sp>
        <p:nvSpPr>
          <p:cNvPr id="30" name="TextBox 29">
            <a:extLst>
              <a:ext uri="{FF2B5EF4-FFF2-40B4-BE49-F238E27FC236}">
                <a16:creationId xmlns:a16="http://schemas.microsoft.com/office/drawing/2014/main" id="{E99F9D39-D4E5-D240-BA8B-B0E87863EFE5}"/>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eather</a:t>
            </a:r>
          </a:p>
        </p:txBody>
      </p:sp>
      <p:sp>
        <p:nvSpPr>
          <p:cNvPr id="31" name="TextBox 30">
            <a:extLst>
              <a:ext uri="{FF2B5EF4-FFF2-40B4-BE49-F238E27FC236}">
                <a16:creationId xmlns:a16="http://schemas.microsoft.com/office/drawing/2014/main" id="{F90D6861-1533-C749-85D6-30C9A4C54196}"/>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encil</a:t>
            </a:r>
          </a:p>
        </p:txBody>
      </p:sp>
      <p:sp>
        <p:nvSpPr>
          <p:cNvPr id="32" name="TextBox 31">
            <a:extLst>
              <a:ext uri="{FF2B5EF4-FFF2-40B4-BE49-F238E27FC236}">
                <a16:creationId xmlns:a16="http://schemas.microsoft.com/office/drawing/2014/main" id="{49081022-A4CA-BD44-9428-082CA14CAA86}"/>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ig Pencil</a:t>
            </a:r>
          </a:p>
        </p:txBody>
      </p:sp>
      <p:sp>
        <p:nvSpPr>
          <p:cNvPr id="33" name="TextBox 32">
            <a:extLst>
              <a:ext uri="{FF2B5EF4-FFF2-40B4-BE49-F238E27FC236}">
                <a16:creationId xmlns:a16="http://schemas.microsoft.com/office/drawing/2014/main" id="{70EEFB3B-B8DC-424D-ABB1-770A18F469EC}"/>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ighlighter</a:t>
            </a:r>
          </a:p>
        </p:txBody>
      </p:sp>
      <p:sp>
        <p:nvSpPr>
          <p:cNvPr id="34" name="TextBox 33">
            <a:extLst>
              <a:ext uri="{FF2B5EF4-FFF2-40B4-BE49-F238E27FC236}">
                <a16:creationId xmlns:a16="http://schemas.microsoft.com/office/drawing/2014/main" id="{D45E98C8-CEB4-D04A-99C5-0144E2B24A3F}"/>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err="1"/>
              <a:t>Sharpy</a:t>
            </a:r>
            <a:endParaRPr lang="en-US" sz="2800" dirty="0"/>
          </a:p>
        </p:txBody>
      </p:sp>
      <p:sp>
        <p:nvSpPr>
          <p:cNvPr id="35" name="TextBox 34">
            <a:extLst>
              <a:ext uri="{FF2B5EF4-FFF2-40B4-BE49-F238E27FC236}">
                <a16:creationId xmlns:a16="http://schemas.microsoft.com/office/drawing/2014/main" id="{8CCE2A7D-A26C-1D45-9028-7281D5A57D09}"/>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rase 1</a:t>
            </a:r>
          </a:p>
        </p:txBody>
      </p:sp>
      <p:sp>
        <p:nvSpPr>
          <p:cNvPr id="42" name="TextBox 41">
            <a:extLst>
              <a:ext uri="{FF2B5EF4-FFF2-40B4-BE49-F238E27FC236}">
                <a16:creationId xmlns:a16="http://schemas.microsoft.com/office/drawing/2014/main" id="{1039B1F3-4CF6-BF40-A68C-729F5C02A3FB}"/>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rase 2</a:t>
            </a:r>
          </a:p>
        </p:txBody>
      </p:sp>
      <p:sp>
        <p:nvSpPr>
          <p:cNvPr id="58" name="TextBox 57">
            <a:extLst>
              <a:ext uri="{FF2B5EF4-FFF2-40B4-BE49-F238E27FC236}">
                <a16:creationId xmlns:a16="http://schemas.microsoft.com/office/drawing/2014/main" id="{48767F64-88B0-F04D-B376-95D1293EA274}"/>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err="1"/>
              <a:t>Preso</a:t>
            </a:r>
            <a:endParaRPr lang="en-US" sz="2800" dirty="0"/>
          </a:p>
        </p:txBody>
      </p:sp>
      <p:sp>
        <p:nvSpPr>
          <p:cNvPr id="59" name="TextBox 58">
            <a:extLst>
              <a:ext uri="{FF2B5EF4-FFF2-40B4-BE49-F238E27FC236}">
                <a16:creationId xmlns:a16="http://schemas.microsoft.com/office/drawing/2014/main" id="{CA5A734C-4B71-8B47-A1E7-69ECF6F0D44B}"/>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en</a:t>
            </a:r>
          </a:p>
        </p:txBody>
      </p:sp>
      <p:sp>
        <p:nvSpPr>
          <p:cNvPr id="60" name="Freeform: Shape 26">
            <a:extLst>
              <a:ext uri="{FF2B5EF4-FFF2-40B4-BE49-F238E27FC236}">
                <a16:creationId xmlns:a16="http://schemas.microsoft.com/office/drawing/2014/main" id="{C69613F6-E9DF-C54C-952A-3262FCF464A3}"/>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TextBox 60">
            <a:extLst>
              <a:ext uri="{FF2B5EF4-FFF2-40B4-BE49-F238E27FC236}">
                <a16:creationId xmlns:a16="http://schemas.microsoft.com/office/drawing/2014/main" id="{F20AD7A6-ED49-F648-882B-32F5D22C8B86}"/>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amp</a:t>
            </a:r>
          </a:p>
        </p:txBody>
      </p:sp>
      <p:sp>
        <p:nvSpPr>
          <p:cNvPr id="62" name="TextBox 61">
            <a:extLst>
              <a:ext uri="{FF2B5EF4-FFF2-40B4-BE49-F238E27FC236}">
                <a16:creationId xmlns:a16="http://schemas.microsoft.com/office/drawing/2014/main" id="{283AAA04-2C86-2248-84FD-2AED3E9A0494}"/>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ine point</a:t>
            </a:r>
          </a:p>
        </p:txBody>
      </p:sp>
      <p:sp>
        <p:nvSpPr>
          <p:cNvPr id="63" name="TextBox 62">
            <a:extLst>
              <a:ext uri="{FF2B5EF4-FFF2-40B4-BE49-F238E27FC236}">
                <a16:creationId xmlns:a16="http://schemas.microsoft.com/office/drawing/2014/main" id="{EE4CEB98-C979-5245-A0E3-0DE16A6FD960}"/>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intbrush</a:t>
            </a:r>
          </a:p>
        </p:txBody>
      </p:sp>
      <p:sp>
        <p:nvSpPr>
          <p:cNvPr id="64" name="Freeform: Shape 13">
            <a:extLst>
              <a:ext uri="{FF2B5EF4-FFF2-40B4-BE49-F238E27FC236}">
                <a16:creationId xmlns:a16="http://schemas.microsoft.com/office/drawing/2014/main" id="{9544CFC0-1777-3B47-9CD5-87EE8FDE5CA0}"/>
              </a:ext>
            </a:extLst>
          </p:cNvPr>
          <p:cNvSpPr/>
          <p:nvPr/>
        </p:nvSpPr>
        <p:spPr>
          <a:xfrm>
            <a:off x="2283649" y="3606611"/>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5" name="Freeform: Shape 1">
            <a:extLst>
              <a:ext uri="{FF2B5EF4-FFF2-40B4-BE49-F238E27FC236}">
                <a16:creationId xmlns:a16="http://schemas.microsoft.com/office/drawing/2014/main" id="{C0372547-9398-104D-B8E9-A5E46194D12C}"/>
              </a:ext>
            </a:extLst>
          </p:cNvPr>
          <p:cNvSpPr/>
          <p:nvPr/>
        </p:nvSpPr>
        <p:spPr>
          <a:xfrm>
            <a:off x="9932622" y="9939695"/>
            <a:ext cx="1577160" cy="1365120"/>
          </a:xfrm>
          <a:custGeom>
            <a:avLst/>
            <a:gdLst/>
            <a:ahLst/>
            <a:cxnLst>
              <a:cxn ang="3cd4">
                <a:pos x="hc" y="t"/>
              </a:cxn>
              <a:cxn ang="cd2">
                <a:pos x="l" y="vc"/>
              </a:cxn>
              <a:cxn ang="cd4">
                <a:pos x="hc" y="b"/>
              </a:cxn>
              <a:cxn ang="0">
                <a:pos x="r" y="vc"/>
              </a:cxn>
            </a:cxnLst>
            <a:rect l="l" t="t" r="r" b="b"/>
            <a:pathLst>
              <a:path w="4382" h="3793">
                <a:moveTo>
                  <a:pt x="2100" y="2394"/>
                </a:moveTo>
                <a:cubicBezTo>
                  <a:pt x="3929" y="564"/>
                  <a:pt x="3929" y="564"/>
                  <a:pt x="3929" y="564"/>
                </a:cubicBezTo>
                <a:cubicBezTo>
                  <a:pt x="3960" y="533"/>
                  <a:pt x="3960" y="485"/>
                  <a:pt x="3929" y="453"/>
                </a:cubicBezTo>
                <a:cubicBezTo>
                  <a:pt x="3897" y="421"/>
                  <a:pt x="3849" y="421"/>
                  <a:pt x="3817" y="453"/>
                </a:cubicBezTo>
                <a:cubicBezTo>
                  <a:pt x="1988" y="2282"/>
                  <a:pt x="1988" y="2282"/>
                  <a:pt x="1988" y="2282"/>
                </a:cubicBezTo>
                <a:cubicBezTo>
                  <a:pt x="1670" y="1980"/>
                  <a:pt x="1670" y="1980"/>
                  <a:pt x="1670" y="1980"/>
                </a:cubicBezTo>
                <a:cubicBezTo>
                  <a:pt x="3515" y="135"/>
                  <a:pt x="3515" y="135"/>
                  <a:pt x="3515" y="135"/>
                </a:cubicBezTo>
                <a:cubicBezTo>
                  <a:pt x="3547" y="103"/>
                  <a:pt x="3547" y="55"/>
                  <a:pt x="3515" y="24"/>
                </a:cubicBezTo>
                <a:cubicBezTo>
                  <a:pt x="3484" y="-8"/>
                  <a:pt x="3436" y="-8"/>
                  <a:pt x="3404" y="24"/>
                </a:cubicBezTo>
                <a:cubicBezTo>
                  <a:pt x="1018" y="2409"/>
                  <a:pt x="1018" y="2409"/>
                  <a:pt x="1018" y="2409"/>
                </a:cubicBezTo>
                <a:cubicBezTo>
                  <a:pt x="779" y="2648"/>
                  <a:pt x="779" y="2648"/>
                  <a:pt x="779" y="2648"/>
                </a:cubicBezTo>
                <a:cubicBezTo>
                  <a:pt x="525" y="2903"/>
                  <a:pt x="525" y="3300"/>
                  <a:pt x="779" y="3555"/>
                </a:cubicBezTo>
                <a:cubicBezTo>
                  <a:pt x="843" y="3618"/>
                  <a:pt x="843" y="3618"/>
                  <a:pt x="843" y="3618"/>
                </a:cubicBezTo>
                <a:lnTo>
                  <a:pt x="859" y="3634"/>
                </a:lnTo>
                <a:cubicBezTo>
                  <a:pt x="79" y="3634"/>
                  <a:pt x="79" y="3634"/>
                  <a:pt x="79" y="3634"/>
                </a:cubicBezTo>
                <a:cubicBezTo>
                  <a:pt x="48" y="3634"/>
                  <a:pt x="0" y="3682"/>
                  <a:pt x="0" y="3714"/>
                </a:cubicBezTo>
                <a:cubicBezTo>
                  <a:pt x="0" y="3761"/>
                  <a:pt x="48" y="3793"/>
                  <a:pt x="79" y="3793"/>
                </a:cubicBezTo>
                <a:cubicBezTo>
                  <a:pt x="1193" y="3793"/>
                  <a:pt x="1193" y="3793"/>
                  <a:pt x="1193" y="3793"/>
                </a:cubicBezTo>
                <a:cubicBezTo>
                  <a:pt x="1209" y="3793"/>
                  <a:pt x="1209" y="3793"/>
                  <a:pt x="1225" y="3793"/>
                </a:cubicBezTo>
                <a:cubicBezTo>
                  <a:pt x="1241" y="3793"/>
                  <a:pt x="1257" y="3793"/>
                  <a:pt x="1272" y="3793"/>
                </a:cubicBezTo>
                <a:cubicBezTo>
                  <a:pt x="1432" y="3793"/>
                  <a:pt x="1591" y="3745"/>
                  <a:pt x="1718" y="3618"/>
                </a:cubicBezTo>
                <a:cubicBezTo>
                  <a:pt x="1972" y="3364"/>
                  <a:pt x="1972" y="3364"/>
                  <a:pt x="1972" y="3364"/>
                </a:cubicBezTo>
                <a:lnTo>
                  <a:pt x="1972" y="3348"/>
                </a:lnTo>
                <a:cubicBezTo>
                  <a:pt x="1988" y="3348"/>
                  <a:pt x="1988" y="3348"/>
                  <a:pt x="1988" y="3348"/>
                </a:cubicBezTo>
                <a:cubicBezTo>
                  <a:pt x="4358" y="978"/>
                  <a:pt x="4358" y="978"/>
                  <a:pt x="4358" y="978"/>
                </a:cubicBezTo>
                <a:cubicBezTo>
                  <a:pt x="4390" y="946"/>
                  <a:pt x="4390" y="898"/>
                  <a:pt x="4358" y="867"/>
                </a:cubicBezTo>
                <a:cubicBezTo>
                  <a:pt x="4326" y="835"/>
                  <a:pt x="4279" y="835"/>
                  <a:pt x="4247" y="867"/>
                </a:cubicBezTo>
                <a:cubicBezTo>
                  <a:pt x="2402" y="2712"/>
                  <a:pt x="2402" y="2712"/>
                  <a:pt x="2402" y="2712"/>
                </a:cubicBezTo>
                <a:close/>
                <a:moveTo>
                  <a:pt x="1877" y="3236"/>
                </a:moveTo>
                <a:lnTo>
                  <a:pt x="1877" y="3252"/>
                </a:lnTo>
                <a:cubicBezTo>
                  <a:pt x="1861" y="3252"/>
                  <a:pt x="1861" y="3252"/>
                  <a:pt x="1861" y="3252"/>
                </a:cubicBezTo>
                <a:cubicBezTo>
                  <a:pt x="1606" y="3507"/>
                  <a:pt x="1606" y="3507"/>
                  <a:pt x="1606" y="3507"/>
                </a:cubicBezTo>
                <a:cubicBezTo>
                  <a:pt x="1432" y="3682"/>
                  <a:pt x="1129" y="3682"/>
                  <a:pt x="954" y="3507"/>
                </a:cubicBezTo>
                <a:cubicBezTo>
                  <a:pt x="891" y="3443"/>
                  <a:pt x="891" y="3443"/>
                  <a:pt x="891" y="3443"/>
                </a:cubicBezTo>
                <a:cubicBezTo>
                  <a:pt x="700" y="3252"/>
                  <a:pt x="700" y="2950"/>
                  <a:pt x="891" y="2760"/>
                </a:cubicBezTo>
                <a:cubicBezTo>
                  <a:pt x="1129" y="2521"/>
                  <a:pt x="1129" y="2521"/>
                  <a:pt x="1129" y="2521"/>
                </a:cubicBezTo>
                <a:cubicBezTo>
                  <a:pt x="1272" y="2378"/>
                  <a:pt x="1272" y="2378"/>
                  <a:pt x="1272" y="2378"/>
                </a:cubicBezTo>
                <a:cubicBezTo>
                  <a:pt x="2004" y="3109"/>
                  <a:pt x="2004" y="3109"/>
                  <a:pt x="2004" y="3109"/>
                </a:cubicBezTo>
                <a:close/>
                <a:moveTo>
                  <a:pt x="2115" y="2982"/>
                </a:moveTo>
                <a:cubicBezTo>
                  <a:pt x="1384" y="2266"/>
                  <a:pt x="1384" y="2266"/>
                  <a:pt x="1384" y="2266"/>
                </a:cubicBezTo>
                <a:cubicBezTo>
                  <a:pt x="1559" y="2091"/>
                  <a:pt x="1559" y="2091"/>
                  <a:pt x="1559" y="2091"/>
                </a:cubicBezTo>
                <a:cubicBezTo>
                  <a:pt x="2290" y="2823"/>
                  <a:pt x="2290" y="2823"/>
                  <a:pt x="2290" y="282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6" name="Freeform: Shape 2">
            <a:extLst>
              <a:ext uri="{FF2B5EF4-FFF2-40B4-BE49-F238E27FC236}">
                <a16:creationId xmlns:a16="http://schemas.microsoft.com/office/drawing/2014/main" id="{32F2E4CE-3706-1C48-8734-A5F3A0721618}"/>
              </a:ext>
            </a:extLst>
          </p:cNvPr>
          <p:cNvSpPr/>
          <p:nvPr/>
        </p:nvSpPr>
        <p:spPr>
          <a:xfrm>
            <a:off x="5884774" y="9959495"/>
            <a:ext cx="1729080" cy="1333800"/>
          </a:xfrm>
          <a:custGeom>
            <a:avLst/>
            <a:gdLst/>
            <a:ahLst/>
            <a:cxnLst>
              <a:cxn ang="3cd4">
                <a:pos x="hc" y="t"/>
              </a:cxn>
              <a:cxn ang="cd2">
                <a:pos x="l" y="vc"/>
              </a:cxn>
              <a:cxn ang="cd4">
                <a:pos x="hc" y="b"/>
              </a:cxn>
              <a:cxn ang="0">
                <a:pos x="r" y="vc"/>
              </a:cxn>
            </a:cxnLst>
            <a:rect l="l" t="t" r="r" b="b"/>
            <a:pathLst>
              <a:path w="4804" h="3706">
                <a:moveTo>
                  <a:pt x="2736" y="3706"/>
                </a:moveTo>
                <a:lnTo>
                  <a:pt x="2752" y="3706"/>
                </a:lnTo>
                <a:lnTo>
                  <a:pt x="2752" y="3690"/>
                </a:lnTo>
                <a:lnTo>
                  <a:pt x="2768" y="3690"/>
                </a:lnTo>
                <a:lnTo>
                  <a:pt x="2784" y="3690"/>
                </a:lnTo>
                <a:lnTo>
                  <a:pt x="2784" y="3675"/>
                </a:lnTo>
                <a:cubicBezTo>
                  <a:pt x="3325" y="3070"/>
                  <a:pt x="3325" y="3070"/>
                  <a:pt x="3325" y="3070"/>
                </a:cubicBezTo>
                <a:cubicBezTo>
                  <a:pt x="4788" y="1384"/>
                  <a:pt x="4788" y="1384"/>
                  <a:pt x="4788" y="1384"/>
                </a:cubicBezTo>
                <a:cubicBezTo>
                  <a:pt x="4804" y="1368"/>
                  <a:pt x="4804" y="1352"/>
                  <a:pt x="4804" y="1336"/>
                </a:cubicBezTo>
                <a:cubicBezTo>
                  <a:pt x="4804" y="1305"/>
                  <a:pt x="4804" y="1289"/>
                  <a:pt x="4788" y="1273"/>
                </a:cubicBezTo>
                <a:cubicBezTo>
                  <a:pt x="3341" y="16"/>
                  <a:pt x="3341" y="16"/>
                  <a:pt x="3341" y="16"/>
                </a:cubicBezTo>
                <a:cubicBezTo>
                  <a:pt x="3325" y="0"/>
                  <a:pt x="3293" y="0"/>
                  <a:pt x="3277" y="0"/>
                </a:cubicBezTo>
                <a:cubicBezTo>
                  <a:pt x="3261" y="0"/>
                  <a:pt x="3245" y="0"/>
                  <a:pt x="3229" y="16"/>
                </a:cubicBezTo>
                <a:cubicBezTo>
                  <a:pt x="1750" y="1702"/>
                  <a:pt x="1750" y="1702"/>
                  <a:pt x="1750" y="1702"/>
                </a:cubicBezTo>
                <a:cubicBezTo>
                  <a:pt x="1750" y="1702"/>
                  <a:pt x="1750" y="1718"/>
                  <a:pt x="1734" y="1718"/>
                </a:cubicBezTo>
                <a:cubicBezTo>
                  <a:pt x="1734" y="1734"/>
                  <a:pt x="1734" y="1734"/>
                  <a:pt x="1734" y="1734"/>
                </a:cubicBezTo>
                <a:cubicBezTo>
                  <a:pt x="748" y="2863"/>
                  <a:pt x="748" y="2863"/>
                  <a:pt x="748" y="2863"/>
                </a:cubicBezTo>
                <a:cubicBezTo>
                  <a:pt x="716" y="2895"/>
                  <a:pt x="732" y="2943"/>
                  <a:pt x="764" y="2975"/>
                </a:cubicBezTo>
                <a:cubicBezTo>
                  <a:pt x="1400" y="3547"/>
                  <a:pt x="1400" y="3547"/>
                  <a:pt x="1400" y="3547"/>
                </a:cubicBezTo>
                <a:cubicBezTo>
                  <a:pt x="80" y="3547"/>
                  <a:pt x="80" y="3547"/>
                  <a:pt x="80" y="3547"/>
                </a:cubicBezTo>
                <a:cubicBezTo>
                  <a:pt x="33" y="3547"/>
                  <a:pt x="0" y="3579"/>
                  <a:pt x="0" y="3627"/>
                </a:cubicBezTo>
                <a:cubicBezTo>
                  <a:pt x="0" y="3659"/>
                  <a:pt x="33" y="3706"/>
                  <a:pt x="80" y="3706"/>
                </a:cubicBezTo>
                <a:cubicBezTo>
                  <a:pt x="2736" y="3706"/>
                  <a:pt x="2736" y="3706"/>
                  <a:pt x="2736" y="3706"/>
                </a:cubicBezTo>
                <a:close/>
                <a:moveTo>
                  <a:pt x="3293" y="191"/>
                </a:moveTo>
                <a:cubicBezTo>
                  <a:pt x="4613" y="1336"/>
                  <a:pt x="4613" y="1336"/>
                  <a:pt x="4613" y="1336"/>
                </a:cubicBezTo>
                <a:cubicBezTo>
                  <a:pt x="3245" y="2911"/>
                  <a:pt x="3245" y="2911"/>
                  <a:pt x="3245" y="2911"/>
                </a:cubicBezTo>
                <a:cubicBezTo>
                  <a:pt x="1909" y="1766"/>
                  <a:pt x="1909" y="1766"/>
                  <a:pt x="1909" y="1766"/>
                </a:cubicBezTo>
                <a:close/>
                <a:moveTo>
                  <a:pt x="1623" y="3532"/>
                </a:moveTo>
                <a:cubicBezTo>
                  <a:pt x="923" y="2911"/>
                  <a:pt x="923" y="2911"/>
                  <a:pt x="923" y="2911"/>
                </a:cubicBezTo>
                <a:cubicBezTo>
                  <a:pt x="1814" y="1893"/>
                  <a:pt x="1814" y="1893"/>
                  <a:pt x="1814" y="1893"/>
                </a:cubicBezTo>
                <a:cubicBezTo>
                  <a:pt x="3150" y="3023"/>
                  <a:pt x="3150" y="3023"/>
                  <a:pt x="3150" y="3023"/>
                </a:cubicBezTo>
                <a:cubicBezTo>
                  <a:pt x="2688" y="3547"/>
                  <a:pt x="2688" y="3547"/>
                  <a:pt x="2688" y="354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7" name="Freeform: Shape 3">
            <a:extLst>
              <a:ext uri="{FF2B5EF4-FFF2-40B4-BE49-F238E27FC236}">
                <a16:creationId xmlns:a16="http://schemas.microsoft.com/office/drawing/2014/main" id="{C30DB537-9408-994F-8F38-A5E5F97CDD84}"/>
              </a:ext>
            </a:extLst>
          </p:cNvPr>
          <p:cNvSpPr/>
          <p:nvPr/>
        </p:nvSpPr>
        <p:spPr>
          <a:xfrm>
            <a:off x="21676916" y="9742055"/>
            <a:ext cx="842759" cy="1763280"/>
          </a:xfrm>
          <a:custGeom>
            <a:avLst/>
            <a:gdLst/>
            <a:ahLst/>
            <a:cxnLst>
              <a:cxn ang="3cd4">
                <a:pos x="hc" y="t"/>
              </a:cxn>
              <a:cxn ang="cd2">
                <a:pos x="l" y="vc"/>
              </a:cxn>
              <a:cxn ang="cd4">
                <a:pos x="hc" y="b"/>
              </a:cxn>
              <a:cxn ang="0">
                <a:pos x="r" y="vc"/>
              </a:cxn>
            </a:cxnLst>
            <a:rect l="l" t="t" r="r" b="b"/>
            <a:pathLst>
              <a:path w="2342" h="4899">
                <a:moveTo>
                  <a:pt x="2068" y="2449"/>
                </a:moveTo>
                <a:cubicBezTo>
                  <a:pt x="2338" y="95"/>
                  <a:pt x="2338" y="95"/>
                  <a:pt x="2338" y="95"/>
                </a:cubicBezTo>
                <a:cubicBezTo>
                  <a:pt x="2354" y="47"/>
                  <a:pt x="2322" y="0"/>
                  <a:pt x="2274" y="0"/>
                </a:cubicBezTo>
                <a:cubicBezTo>
                  <a:pt x="2226" y="0"/>
                  <a:pt x="2195" y="32"/>
                  <a:pt x="2178" y="64"/>
                </a:cubicBezTo>
                <a:cubicBezTo>
                  <a:pt x="1908" y="2354"/>
                  <a:pt x="1908" y="2354"/>
                  <a:pt x="1908" y="2354"/>
                </a:cubicBezTo>
                <a:cubicBezTo>
                  <a:pt x="429" y="2354"/>
                  <a:pt x="429" y="2354"/>
                  <a:pt x="429" y="2354"/>
                </a:cubicBezTo>
                <a:cubicBezTo>
                  <a:pt x="159" y="64"/>
                  <a:pt x="159" y="64"/>
                  <a:pt x="159" y="64"/>
                </a:cubicBezTo>
                <a:cubicBezTo>
                  <a:pt x="159" y="32"/>
                  <a:pt x="127" y="0"/>
                  <a:pt x="79" y="0"/>
                </a:cubicBezTo>
                <a:cubicBezTo>
                  <a:pt x="32" y="0"/>
                  <a:pt x="0" y="47"/>
                  <a:pt x="0" y="95"/>
                </a:cubicBezTo>
                <a:cubicBezTo>
                  <a:pt x="286" y="2449"/>
                  <a:pt x="286" y="2449"/>
                  <a:pt x="286" y="2449"/>
                </a:cubicBezTo>
                <a:cubicBezTo>
                  <a:pt x="286" y="2481"/>
                  <a:pt x="318" y="2513"/>
                  <a:pt x="350" y="2513"/>
                </a:cubicBezTo>
                <a:cubicBezTo>
                  <a:pt x="509" y="2513"/>
                  <a:pt x="509" y="2513"/>
                  <a:pt x="509" y="2513"/>
                </a:cubicBezTo>
                <a:cubicBezTo>
                  <a:pt x="286" y="3436"/>
                  <a:pt x="286" y="3436"/>
                  <a:pt x="286" y="3436"/>
                </a:cubicBezTo>
                <a:cubicBezTo>
                  <a:pt x="270" y="3452"/>
                  <a:pt x="286" y="3483"/>
                  <a:pt x="286" y="3499"/>
                </a:cubicBezTo>
                <a:cubicBezTo>
                  <a:pt x="1081" y="4867"/>
                  <a:pt x="1081" y="4867"/>
                  <a:pt x="1081" y="4867"/>
                </a:cubicBezTo>
                <a:cubicBezTo>
                  <a:pt x="1097" y="4883"/>
                  <a:pt x="1129" y="4899"/>
                  <a:pt x="1145" y="4899"/>
                </a:cubicBezTo>
                <a:lnTo>
                  <a:pt x="1161" y="4899"/>
                </a:lnTo>
                <a:cubicBezTo>
                  <a:pt x="1177" y="4899"/>
                  <a:pt x="1208" y="4883"/>
                  <a:pt x="1224" y="4867"/>
                </a:cubicBezTo>
                <a:cubicBezTo>
                  <a:pt x="2051" y="3499"/>
                  <a:pt x="2051" y="3499"/>
                  <a:pt x="2051" y="3499"/>
                </a:cubicBezTo>
                <a:cubicBezTo>
                  <a:pt x="2068" y="3483"/>
                  <a:pt x="2068" y="3467"/>
                  <a:pt x="2068" y="3436"/>
                </a:cubicBezTo>
                <a:cubicBezTo>
                  <a:pt x="1829" y="2513"/>
                  <a:pt x="1829" y="2513"/>
                  <a:pt x="1829" y="2513"/>
                </a:cubicBezTo>
                <a:cubicBezTo>
                  <a:pt x="1988" y="2513"/>
                  <a:pt x="1988" y="2513"/>
                  <a:pt x="1988" y="2513"/>
                </a:cubicBezTo>
                <a:cubicBezTo>
                  <a:pt x="2020" y="2513"/>
                  <a:pt x="2051" y="2481"/>
                  <a:pt x="2068" y="2449"/>
                </a:cubicBezTo>
                <a:close/>
                <a:moveTo>
                  <a:pt x="1161" y="2974"/>
                </a:moveTo>
                <a:cubicBezTo>
                  <a:pt x="1081" y="2974"/>
                  <a:pt x="1033" y="2911"/>
                  <a:pt x="1033" y="2847"/>
                </a:cubicBezTo>
                <a:cubicBezTo>
                  <a:pt x="1033" y="2783"/>
                  <a:pt x="1081" y="2736"/>
                  <a:pt x="1161" y="2736"/>
                </a:cubicBezTo>
                <a:cubicBezTo>
                  <a:pt x="1224" y="2736"/>
                  <a:pt x="1272" y="2783"/>
                  <a:pt x="1272" y="2847"/>
                </a:cubicBezTo>
                <a:cubicBezTo>
                  <a:pt x="1272" y="2911"/>
                  <a:pt x="1224" y="2974"/>
                  <a:pt x="1161" y="2974"/>
                </a:cubicBezTo>
                <a:close/>
                <a:moveTo>
                  <a:pt x="1892" y="3452"/>
                </a:moveTo>
                <a:cubicBezTo>
                  <a:pt x="1240" y="4533"/>
                  <a:pt x="1240" y="4533"/>
                  <a:pt x="1240" y="4533"/>
                </a:cubicBezTo>
                <a:cubicBezTo>
                  <a:pt x="1240" y="3149"/>
                  <a:pt x="1240" y="3149"/>
                  <a:pt x="1240" y="3149"/>
                </a:cubicBezTo>
                <a:cubicBezTo>
                  <a:pt x="1240" y="3133"/>
                  <a:pt x="1224" y="3133"/>
                  <a:pt x="1224" y="3118"/>
                </a:cubicBezTo>
                <a:cubicBezTo>
                  <a:pt x="1351" y="3086"/>
                  <a:pt x="1431" y="2974"/>
                  <a:pt x="1431" y="2847"/>
                </a:cubicBezTo>
                <a:cubicBezTo>
                  <a:pt x="1431" y="2704"/>
                  <a:pt x="1304" y="2577"/>
                  <a:pt x="1161" y="2577"/>
                </a:cubicBezTo>
                <a:cubicBezTo>
                  <a:pt x="1002" y="2577"/>
                  <a:pt x="874" y="2704"/>
                  <a:pt x="874" y="2847"/>
                </a:cubicBezTo>
                <a:cubicBezTo>
                  <a:pt x="874" y="2974"/>
                  <a:pt x="970" y="3086"/>
                  <a:pt x="1081" y="3118"/>
                </a:cubicBezTo>
                <a:cubicBezTo>
                  <a:pt x="1081" y="3133"/>
                  <a:pt x="1081" y="3133"/>
                  <a:pt x="1081" y="3149"/>
                </a:cubicBezTo>
                <a:cubicBezTo>
                  <a:pt x="1081" y="4533"/>
                  <a:pt x="1081" y="4533"/>
                  <a:pt x="1081" y="4533"/>
                </a:cubicBezTo>
                <a:cubicBezTo>
                  <a:pt x="445" y="3452"/>
                  <a:pt x="445" y="3452"/>
                  <a:pt x="445" y="3452"/>
                </a:cubicBezTo>
                <a:cubicBezTo>
                  <a:pt x="684" y="2513"/>
                  <a:pt x="684" y="2513"/>
                  <a:pt x="684" y="2513"/>
                </a:cubicBezTo>
                <a:cubicBezTo>
                  <a:pt x="1670" y="2513"/>
                  <a:pt x="1670" y="2513"/>
                  <a:pt x="1670" y="251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8" name="Freeform: Shape 4">
            <a:extLst>
              <a:ext uri="{FF2B5EF4-FFF2-40B4-BE49-F238E27FC236}">
                <a16:creationId xmlns:a16="http://schemas.microsoft.com/office/drawing/2014/main" id="{1B263A2B-7851-A94C-91FA-183B19B8CAEA}"/>
              </a:ext>
            </a:extLst>
          </p:cNvPr>
          <p:cNvSpPr/>
          <p:nvPr/>
        </p:nvSpPr>
        <p:spPr>
          <a:xfrm>
            <a:off x="17475482" y="6504113"/>
            <a:ext cx="1481759" cy="1484639"/>
          </a:xfrm>
          <a:custGeom>
            <a:avLst/>
            <a:gdLst/>
            <a:ahLst/>
            <a:cxnLst>
              <a:cxn ang="3cd4">
                <a:pos x="hc" y="t"/>
              </a:cxn>
              <a:cxn ang="cd2">
                <a:pos x="l" y="vc"/>
              </a:cxn>
              <a:cxn ang="cd4">
                <a:pos x="hc" y="b"/>
              </a:cxn>
              <a:cxn ang="0">
                <a:pos x="r" y="vc"/>
              </a:cxn>
            </a:cxnLst>
            <a:rect l="l" t="t" r="r" b="b"/>
            <a:pathLst>
              <a:path w="4117" h="4125">
                <a:moveTo>
                  <a:pt x="3014" y="37"/>
                </a:moveTo>
                <a:cubicBezTo>
                  <a:pt x="660" y="2408"/>
                  <a:pt x="660" y="2408"/>
                  <a:pt x="660" y="2408"/>
                </a:cubicBezTo>
                <a:cubicBezTo>
                  <a:pt x="628" y="2439"/>
                  <a:pt x="628" y="2487"/>
                  <a:pt x="660" y="2519"/>
                </a:cubicBezTo>
                <a:cubicBezTo>
                  <a:pt x="755" y="2614"/>
                  <a:pt x="755" y="2614"/>
                  <a:pt x="755" y="2614"/>
                </a:cubicBezTo>
                <a:cubicBezTo>
                  <a:pt x="755" y="2630"/>
                  <a:pt x="740" y="2630"/>
                  <a:pt x="740" y="2646"/>
                </a:cubicBezTo>
                <a:cubicBezTo>
                  <a:pt x="183" y="3187"/>
                  <a:pt x="183" y="3187"/>
                  <a:pt x="183" y="3187"/>
                </a:cubicBezTo>
                <a:cubicBezTo>
                  <a:pt x="151" y="3218"/>
                  <a:pt x="151" y="3266"/>
                  <a:pt x="183" y="3298"/>
                </a:cubicBezTo>
                <a:cubicBezTo>
                  <a:pt x="437" y="3569"/>
                  <a:pt x="437" y="3569"/>
                  <a:pt x="437" y="3569"/>
                </a:cubicBezTo>
                <a:cubicBezTo>
                  <a:pt x="23" y="3982"/>
                  <a:pt x="23" y="3982"/>
                  <a:pt x="23" y="3982"/>
                </a:cubicBezTo>
                <a:cubicBezTo>
                  <a:pt x="-8" y="4014"/>
                  <a:pt x="-8" y="4062"/>
                  <a:pt x="23" y="4093"/>
                </a:cubicBezTo>
                <a:cubicBezTo>
                  <a:pt x="40" y="4109"/>
                  <a:pt x="55" y="4125"/>
                  <a:pt x="71" y="4125"/>
                </a:cubicBezTo>
                <a:cubicBezTo>
                  <a:pt x="103" y="4125"/>
                  <a:pt x="119" y="4109"/>
                  <a:pt x="135" y="4093"/>
                </a:cubicBezTo>
                <a:cubicBezTo>
                  <a:pt x="549" y="3680"/>
                  <a:pt x="549" y="3680"/>
                  <a:pt x="549" y="3680"/>
                </a:cubicBezTo>
                <a:cubicBezTo>
                  <a:pt x="819" y="3935"/>
                  <a:pt x="819" y="3935"/>
                  <a:pt x="819" y="3935"/>
                </a:cubicBezTo>
                <a:cubicBezTo>
                  <a:pt x="835" y="3950"/>
                  <a:pt x="851" y="3950"/>
                  <a:pt x="867" y="3950"/>
                </a:cubicBezTo>
                <a:cubicBezTo>
                  <a:pt x="898" y="3950"/>
                  <a:pt x="914" y="3950"/>
                  <a:pt x="930" y="3935"/>
                </a:cubicBezTo>
                <a:cubicBezTo>
                  <a:pt x="1471" y="3378"/>
                  <a:pt x="1471" y="3378"/>
                  <a:pt x="1471" y="3378"/>
                </a:cubicBezTo>
                <a:cubicBezTo>
                  <a:pt x="1487" y="3378"/>
                  <a:pt x="1487" y="3362"/>
                  <a:pt x="1503" y="3346"/>
                </a:cubicBezTo>
                <a:cubicBezTo>
                  <a:pt x="1598" y="3457"/>
                  <a:pt x="1598" y="3457"/>
                  <a:pt x="1598" y="3457"/>
                </a:cubicBezTo>
                <a:cubicBezTo>
                  <a:pt x="1614" y="3473"/>
                  <a:pt x="1630" y="3489"/>
                  <a:pt x="1662" y="3489"/>
                </a:cubicBezTo>
                <a:cubicBezTo>
                  <a:pt x="1678" y="3489"/>
                  <a:pt x="1694" y="3473"/>
                  <a:pt x="1710" y="3457"/>
                </a:cubicBezTo>
                <a:cubicBezTo>
                  <a:pt x="4080" y="1103"/>
                  <a:pt x="4080" y="1103"/>
                  <a:pt x="4080" y="1103"/>
                </a:cubicBezTo>
                <a:cubicBezTo>
                  <a:pt x="4223" y="944"/>
                  <a:pt x="3921" y="594"/>
                  <a:pt x="3714" y="387"/>
                </a:cubicBezTo>
                <a:cubicBezTo>
                  <a:pt x="3523" y="197"/>
                  <a:pt x="3173" y="-106"/>
                  <a:pt x="3014" y="37"/>
                </a:cubicBezTo>
                <a:close/>
                <a:moveTo>
                  <a:pt x="1360" y="3266"/>
                </a:moveTo>
                <a:cubicBezTo>
                  <a:pt x="867" y="3759"/>
                  <a:pt x="867" y="3759"/>
                  <a:pt x="867" y="3759"/>
                </a:cubicBezTo>
                <a:cubicBezTo>
                  <a:pt x="358" y="3250"/>
                  <a:pt x="358" y="3250"/>
                  <a:pt x="358" y="3250"/>
                </a:cubicBezTo>
                <a:cubicBezTo>
                  <a:pt x="851" y="2757"/>
                  <a:pt x="851" y="2757"/>
                  <a:pt x="851" y="2757"/>
                </a:cubicBezTo>
                <a:cubicBezTo>
                  <a:pt x="851" y="2741"/>
                  <a:pt x="867" y="2726"/>
                  <a:pt x="867" y="2726"/>
                </a:cubicBezTo>
                <a:cubicBezTo>
                  <a:pt x="1392" y="3250"/>
                  <a:pt x="1392" y="3250"/>
                  <a:pt x="1392" y="3250"/>
                </a:cubicBezTo>
                <a:cubicBezTo>
                  <a:pt x="1376" y="3250"/>
                  <a:pt x="1376" y="3266"/>
                  <a:pt x="1360" y="3266"/>
                </a:cubicBezTo>
                <a:close/>
                <a:moveTo>
                  <a:pt x="1662" y="3298"/>
                </a:moveTo>
                <a:cubicBezTo>
                  <a:pt x="819" y="2455"/>
                  <a:pt x="819" y="2455"/>
                  <a:pt x="819" y="2455"/>
                </a:cubicBezTo>
                <a:cubicBezTo>
                  <a:pt x="1185" y="2105"/>
                  <a:pt x="1185" y="2105"/>
                  <a:pt x="1185" y="2105"/>
                </a:cubicBezTo>
                <a:cubicBezTo>
                  <a:pt x="2012" y="2932"/>
                  <a:pt x="2012" y="2932"/>
                  <a:pt x="2012" y="2932"/>
                </a:cubicBezTo>
                <a:close/>
                <a:moveTo>
                  <a:pt x="2123" y="2821"/>
                </a:moveTo>
                <a:cubicBezTo>
                  <a:pt x="1296" y="1994"/>
                  <a:pt x="1296" y="1994"/>
                  <a:pt x="1296" y="1994"/>
                </a:cubicBezTo>
                <a:cubicBezTo>
                  <a:pt x="2680" y="610"/>
                  <a:pt x="2680" y="610"/>
                  <a:pt x="2680" y="610"/>
                </a:cubicBezTo>
                <a:cubicBezTo>
                  <a:pt x="3125" y="164"/>
                  <a:pt x="3125" y="164"/>
                  <a:pt x="3125" y="164"/>
                </a:cubicBezTo>
                <a:cubicBezTo>
                  <a:pt x="3157" y="149"/>
                  <a:pt x="3348" y="244"/>
                  <a:pt x="3618" y="515"/>
                </a:cubicBezTo>
                <a:cubicBezTo>
                  <a:pt x="3857" y="769"/>
                  <a:pt x="3952" y="944"/>
                  <a:pt x="3952" y="99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9" name="Freeform: Shape 5">
            <a:extLst>
              <a:ext uri="{FF2B5EF4-FFF2-40B4-BE49-F238E27FC236}">
                <a16:creationId xmlns:a16="http://schemas.microsoft.com/office/drawing/2014/main" id="{4A6B6ECD-0A3B-7048-8085-26959143145B}"/>
              </a:ext>
            </a:extLst>
          </p:cNvPr>
          <p:cNvSpPr/>
          <p:nvPr/>
        </p:nvSpPr>
        <p:spPr>
          <a:xfrm>
            <a:off x="17381718" y="9860855"/>
            <a:ext cx="1555560" cy="1530000"/>
          </a:xfrm>
          <a:custGeom>
            <a:avLst/>
            <a:gdLst/>
            <a:ahLst/>
            <a:cxnLst>
              <a:cxn ang="3cd4">
                <a:pos x="hc" y="t"/>
              </a:cxn>
              <a:cxn ang="cd2">
                <a:pos x="l" y="vc"/>
              </a:cxn>
              <a:cxn ang="cd4">
                <a:pos x="hc" y="b"/>
              </a:cxn>
              <a:cxn ang="0">
                <a:pos x="r" y="vc"/>
              </a:cxn>
            </a:cxnLst>
            <a:rect l="l" t="t" r="r" b="b"/>
            <a:pathLst>
              <a:path w="4322" h="4251">
                <a:moveTo>
                  <a:pt x="1205" y="2692"/>
                </a:moveTo>
                <a:lnTo>
                  <a:pt x="1205" y="2708"/>
                </a:lnTo>
                <a:cubicBezTo>
                  <a:pt x="998" y="2644"/>
                  <a:pt x="775" y="2692"/>
                  <a:pt x="616" y="2851"/>
                </a:cubicBezTo>
                <a:cubicBezTo>
                  <a:pt x="505" y="2962"/>
                  <a:pt x="441" y="3153"/>
                  <a:pt x="362" y="3376"/>
                </a:cubicBezTo>
                <a:cubicBezTo>
                  <a:pt x="282" y="3598"/>
                  <a:pt x="187" y="3869"/>
                  <a:pt x="11" y="4124"/>
                </a:cubicBezTo>
                <a:cubicBezTo>
                  <a:pt x="-4" y="4140"/>
                  <a:pt x="-4" y="4171"/>
                  <a:pt x="11" y="4203"/>
                </a:cubicBezTo>
                <a:cubicBezTo>
                  <a:pt x="11" y="4219"/>
                  <a:pt x="44" y="4235"/>
                  <a:pt x="75" y="4251"/>
                </a:cubicBezTo>
                <a:cubicBezTo>
                  <a:pt x="91" y="4251"/>
                  <a:pt x="123" y="4251"/>
                  <a:pt x="139" y="4251"/>
                </a:cubicBezTo>
                <a:cubicBezTo>
                  <a:pt x="632" y="4251"/>
                  <a:pt x="1268" y="3901"/>
                  <a:pt x="1475" y="3710"/>
                </a:cubicBezTo>
                <a:cubicBezTo>
                  <a:pt x="1634" y="3551"/>
                  <a:pt x="1681" y="3328"/>
                  <a:pt x="1618" y="3122"/>
                </a:cubicBezTo>
                <a:cubicBezTo>
                  <a:pt x="1634" y="3122"/>
                  <a:pt x="1634" y="3122"/>
                  <a:pt x="1634" y="3122"/>
                </a:cubicBezTo>
                <a:cubicBezTo>
                  <a:pt x="2875" y="2835"/>
                  <a:pt x="4195" y="561"/>
                  <a:pt x="4306" y="163"/>
                </a:cubicBezTo>
                <a:cubicBezTo>
                  <a:pt x="4322" y="131"/>
                  <a:pt x="4338" y="68"/>
                  <a:pt x="4290" y="20"/>
                </a:cubicBezTo>
                <a:cubicBezTo>
                  <a:pt x="4258" y="-12"/>
                  <a:pt x="4179" y="4"/>
                  <a:pt x="4147" y="4"/>
                </a:cubicBezTo>
                <a:cubicBezTo>
                  <a:pt x="3734" y="131"/>
                  <a:pt x="1475" y="1420"/>
                  <a:pt x="1205" y="2692"/>
                </a:cubicBezTo>
                <a:close/>
                <a:moveTo>
                  <a:pt x="1363" y="3598"/>
                </a:moveTo>
                <a:cubicBezTo>
                  <a:pt x="1189" y="3758"/>
                  <a:pt x="648" y="4044"/>
                  <a:pt x="218" y="4076"/>
                </a:cubicBezTo>
                <a:cubicBezTo>
                  <a:pt x="362" y="3853"/>
                  <a:pt x="441" y="3615"/>
                  <a:pt x="505" y="3424"/>
                </a:cubicBezTo>
                <a:cubicBezTo>
                  <a:pt x="584" y="3233"/>
                  <a:pt x="648" y="3058"/>
                  <a:pt x="727" y="2962"/>
                </a:cubicBezTo>
                <a:cubicBezTo>
                  <a:pt x="807" y="2883"/>
                  <a:pt x="934" y="2835"/>
                  <a:pt x="1045" y="2835"/>
                </a:cubicBezTo>
                <a:cubicBezTo>
                  <a:pt x="1157" y="2835"/>
                  <a:pt x="1268" y="2883"/>
                  <a:pt x="1363" y="2962"/>
                </a:cubicBezTo>
                <a:cubicBezTo>
                  <a:pt x="1523" y="3137"/>
                  <a:pt x="1523" y="3424"/>
                  <a:pt x="1363" y="3598"/>
                </a:cubicBezTo>
                <a:close/>
                <a:moveTo>
                  <a:pt x="1650" y="2946"/>
                </a:moveTo>
                <a:cubicBezTo>
                  <a:pt x="1363" y="2676"/>
                  <a:pt x="1363" y="2676"/>
                  <a:pt x="1363" y="2676"/>
                </a:cubicBezTo>
                <a:cubicBezTo>
                  <a:pt x="1427" y="2453"/>
                  <a:pt x="1554" y="2215"/>
                  <a:pt x="1729" y="1992"/>
                </a:cubicBezTo>
                <a:cubicBezTo>
                  <a:pt x="2318" y="2597"/>
                  <a:pt x="2318" y="2597"/>
                  <a:pt x="2318" y="2597"/>
                </a:cubicBezTo>
                <a:cubicBezTo>
                  <a:pt x="2095" y="2771"/>
                  <a:pt x="1872" y="2899"/>
                  <a:pt x="1650" y="2946"/>
                </a:cubicBezTo>
                <a:close/>
                <a:moveTo>
                  <a:pt x="4147" y="179"/>
                </a:moveTo>
                <a:cubicBezTo>
                  <a:pt x="3988" y="529"/>
                  <a:pt x="3272" y="1785"/>
                  <a:pt x="2445" y="2485"/>
                </a:cubicBezTo>
                <a:cubicBezTo>
                  <a:pt x="1825" y="1881"/>
                  <a:pt x="1825" y="1881"/>
                  <a:pt x="1825" y="1881"/>
                </a:cubicBezTo>
                <a:cubicBezTo>
                  <a:pt x="2525" y="1038"/>
                  <a:pt x="3765" y="306"/>
                  <a:pt x="4147" y="17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0" name="Freeform: Shape 6">
            <a:extLst>
              <a:ext uri="{FF2B5EF4-FFF2-40B4-BE49-F238E27FC236}">
                <a16:creationId xmlns:a16="http://schemas.microsoft.com/office/drawing/2014/main" id="{C6C02D6B-75BA-5844-815C-0267328FBB9D}"/>
              </a:ext>
            </a:extLst>
          </p:cNvPr>
          <p:cNvSpPr/>
          <p:nvPr/>
        </p:nvSpPr>
        <p:spPr>
          <a:xfrm>
            <a:off x="14056144" y="9872375"/>
            <a:ext cx="1503719" cy="1506960"/>
          </a:xfrm>
          <a:custGeom>
            <a:avLst/>
            <a:gdLst/>
            <a:ahLst/>
            <a:cxnLst>
              <a:cxn ang="3cd4">
                <a:pos x="hc" y="t"/>
              </a:cxn>
              <a:cxn ang="cd2">
                <a:pos x="l" y="vc"/>
              </a:cxn>
              <a:cxn ang="cd4">
                <a:pos x="hc" y="b"/>
              </a:cxn>
              <a:cxn ang="0">
                <a:pos x="r" y="vc"/>
              </a:cxn>
            </a:cxnLst>
            <a:rect l="l" t="t" r="r" b="b"/>
            <a:pathLst>
              <a:path w="4178" h="4187">
                <a:moveTo>
                  <a:pt x="4052" y="115"/>
                </a:moveTo>
                <a:cubicBezTo>
                  <a:pt x="3973" y="20"/>
                  <a:pt x="3830" y="-12"/>
                  <a:pt x="3686" y="4"/>
                </a:cubicBezTo>
                <a:cubicBezTo>
                  <a:pt x="3559" y="20"/>
                  <a:pt x="3416" y="84"/>
                  <a:pt x="3305" y="194"/>
                </a:cubicBezTo>
                <a:cubicBezTo>
                  <a:pt x="3034" y="481"/>
                  <a:pt x="3034" y="481"/>
                  <a:pt x="3034" y="481"/>
                </a:cubicBezTo>
                <a:cubicBezTo>
                  <a:pt x="2796" y="258"/>
                  <a:pt x="2796" y="258"/>
                  <a:pt x="2796" y="258"/>
                </a:cubicBezTo>
                <a:cubicBezTo>
                  <a:pt x="2796" y="242"/>
                  <a:pt x="2764" y="227"/>
                  <a:pt x="2748" y="227"/>
                </a:cubicBezTo>
                <a:cubicBezTo>
                  <a:pt x="2732" y="227"/>
                  <a:pt x="2700" y="242"/>
                  <a:pt x="2685" y="258"/>
                </a:cubicBezTo>
                <a:cubicBezTo>
                  <a:pt x="1492" y="1451"/>
                  <a:pt x="1492" y="1451"/>
                  <a:pt x="1492" y="1451"/>
                </a:cubicBezTo>
                <a:cubicBezTo>
                  <a:pt x="1459" y="1483"/>
                  <a:pt x="1459" y="1531"/>
                  <a:pt x="1492" y="1563"/>
                </a:cubicBezTo>
                <a:cubicBezTo>
                  <a:pt x="1507" y="1578"/>
                  <a:pt x="1539" y="1578"/>
                  <a:pt x="1555" y="1578"/>
                </a:cubicBezTo>
                <a:cubicBezTo>
                  <a:pt x="1571" y="1578"/>
                  <a:pt x="1587" y="1578"/>
                  <a:pt x="1603" y="1563"/>
                </a:cubicBezTo>
                <a:cubicBezTo>
                  <a:pt x="2748" y="417"/>
                  <a:pt x="2748" y="417"/>
                  <a:pt x="2748" y="417"/>
                </a:cubicBezTo>
                <a:cubicBezTo>
                  <a:pt x="2923" y="592"/>
                  <a:pt x="2923" y="592"/>
                  <a:pt x="2923" y="592"/>
                </a:cubicBezTo>
                <a:cubicBezTo>
                  <a:pt x="632" y="2867"/>
                  <a:pt x="632" y="2867"/>
                  <a:pt x="632" y="2867"/>
                </a:cubicBezTo>
                <a:cubicBezTo>
                  <a:pt x="632" y="2883"/>
                  <a:pt x="617" y="2883"/>
                  <a:pt x="617" y="2899"/>
                </a:cubicBezTo>
                <a:cubicBezTo>
                  <a:pt x="12" y="4060"/>
                  <a:pt x="12" y="4060"/>
                  <a:pt x="12" y="4060"/>
                </a:cubicBezTo>
                <a:cubicBezTo>
                  <a:pt x="-4" y="4092"/>
                  <a:pt x="-4" y="4139"/>
                  <a:pt x="12" y="4155"/>
                </a:cubicBezTo>
                <a:cubicBezTo>
                  <a:pt x="28" y="4171"/>
                  <a:pt x="60" y="4187"/>
                  <a:pt x="76" y="4187"/>
                </a:cubicBezTo>
                <a:cubicBezTo>
                  <a:pt x="92" y="4187"/>
                  <a:pt x="108" y="4171"/>
                  <a:pt x="108" y="4171"/>
                </a:cubicBezTo>
                <a:cubicBezTo>
                  <a:pt x="1285" y="3566"/>
                  <a:pt x="1285" y="3566"/>
                  <a:pt x="1285" y="3566"/>
                </a:cubicBezTo>
                <a:cubicBezTo>
                  <a:pt x="1301" y="3551"/>
                  <a:pt x="1301" y="3551"/>
                  <a:pt x="1301" y="3551"/>
                </a:cubicBezTo>
                <a:cubicBezTo>
                  <a:pt x="3989" y="863"/>
                  <a:pt x="3989" y="863"/>
                  <a:pt x="3989" y="863"/>
                </a:cubicBezTo>
                <a:cubicBezTo>
                  <a:pt x="4212" y="640"/>
                  <a:pt x="4243" y="306"/>
                  <a:pt x="4052" y="115"/>
                </a:cubicBezTo>
                <a:close/>
                <a:moveTo>
                  <a:pt x="1205" y="3423"/>
                </a:moveTo>
                <a:cubicBezTo>
                  <a:pt x="267" y="3917"/>
                  <a:pt x="267" y="3917"/>
                  <a:pt x="267" y="3917"/>
                </a:cubicBezTo>
                <a:cubicBezTo>
                  <a:pt x="760" y="2978"/>
                  <a:pt x="760" y="2978"/>
                  <a:pt x="760" y="2978"/>
                </a:cubicBezTo>
                <a:cubicBezTo>
                  <a:pt x="919" y="2803"/>
                  <a:pt x="919" y="2803"/>
                  <a:pt x="919" y="2803"/>
                </a:cubicBezTo>
                <a:cubicBezTo>
                  <a:pt x="1364" y="3248"/>
                  <a:pt x="1364" y="3248"/>
                  <a:pt x="1364" y="3248"/>
                </a:cubicBezTo>
                <a:close/>
                <a:moveTo>
                  <a:pt x="1476" y="3137"/>
                </a:moveTo>
                <a:cubicBezTo>
                  <a:pt x="1030" y="2692"/>
                  <a:pt x="1030" y="2692"/>
                  <a:pt x="1030" y="2692"/>
                </a:cubicBezTo>
                <a:cubicBezTo>
                  <a:pt x="3034" y="703"/>
                  <a:pt x="3034" y="703"/>
                  <a:pt x="3034" y="703"/>
                </a:cubicBezTo>
                <a:cubicBezTo>
                  <a:pt x="3480" y="1149"/>
                  <a:pt x="3480" y="1149"/>
                  <a:pt x="3480" y="1149"/>
                </a:cubicBezTo>
                <a:close/>
                <a:moveTo>
                  <a:pt x="3591" y="1038"/>
                </a:moveTo>
                <a:cubicBezTo>
                  <a:pt x="3146" y="592"/>
                  <a:pt x="3146" y="592"/>
                  <a:pt x="3146" y="592"/>
                </a:cubicBezTo>
                <a:cubicBezTo>
                  <a:pt x="3416" y="306"/>
                  <a:pt x="3416" y="306"/>
                  <a:pt x="3416" y="306"/>
                </a:cubicBezTo>
                <a:cubicBezTo>
                  <a:pt x="3495" y="227"/>
                  <a:pt x="3607" y="179"/>
                  <a:pt x="3703" y="163"/>
                </a:cubicBezTo>
                <a:cubicBezTo>
                  <a:pt x="3798" y="147"/>
                  <a:pt x="3893" y="179"/>
                  <a:pt x="3941" y="227"/>
                </a:cubicBezTo>
                <a:cubicBezTo>
                  <a:pt x="4068" y="354"/>
                  <a:pt x="4036" y="592"/>
                  <a:pt x="3877" y="75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1" name="Freeform: Shape 7">
            <a:extLst>
              <a:ext uri="{FF2B5EF4-FFF2-40B4-BE49-F238E27FC236}">
                <a16:creationId xmlns:a16="http://schemas.microsoft.com/office/drawing/2014/main" id="{D7BD13A1-F2B5-EC46-9D94-4D0DBBBA601F}"/>
              </a:ext>
            </a:extLst>
          </p:cNvPr>
          <p:cNvSpPr/>
          <p:nvPr/>
        </p:nvSpPr>
        <p:spPr>
          <a:xfrm>
            <a:off x="2363840" y="9765095"/>
            <a:ext cx="572400" cy="1717200"/>
          </a:xfrm>
          <a:custGeom>
            <a:avLst/>
            <a:gdLst/>
            <a:ahLst/>
            <a:cxnLst>
              <a:cxn ang="3cd4">
                <a:pos x="hc" y="t"/>
              </a:cxn>
              <a:cxn ang="cd2">
                <a:pos x="l" y="vc"/>
              </a:cxn>
              <a:cxn ang="cd4">
                <a:pos x="hc" y="b"/>
              </a:cxn>
              <a:cxn ang="0">
                <a:pos x="r" y="vc"/>
              </a:cxn>
            </a:cxnLst>
            <a:rect l="l" t="t" r="r" b="b"/>
            <a:pathLst>
              <a:path w="1591" h="4771">
                <a:moveTo>
                  <a:pt x="1511" y="1988"/>
                </a:moveTo>
                <a:cubicBezTo>
                  <a:pt x="1559" y="1988"/>
                  <a:pt x="1591" y="1940"/>
                  <a:pt x="1591" y="1908"/>
                </a:cubicBezTo>
                <a:cubicBezTo>
                  <a:pt x="1591" y="715"/>
                  <a:pt x="1591" y="715"/>
                  <a:pt x="1591" y="715"/>
                </a:cubicBezTo>
                <a:cubicBezTo>
                  <a:pt x="1591" y="668"/>
                  <a:pt x="1559" y="636"/>
                  <a:pt x="1511" y="636"/>
                </a:cubicBezTo>
                <a:cubicBezTo>
                  <a:pt x="1114" y="636"/>
                  <a:pt x="1114" y="636"/>
                  <a:pt x="1114" y="636"/>
                </a:cubicBezTo>
                <a:cubicBezTo>
                  <a:pt x="1114" y="334"/>
                  <a:pt x="906" y="0"/>
                  <a:pt x="588" y="0"/>
                </a:cubicBezTo>
                <a:cubicBezTo>
                  <a:pt x="254" y="0"/>
                  <a:pt x="0" y="334"/>
                  <a:pt x="0" y="636"/>
                </a:cubicBezTo>
                <a:cubicBezTo>
                  <a:pt x="0" y="2306"/>
                  <a:pt x="0" y="2306"/>
                  <a:pt x="0" y="2306"/>
                </a:cubicBezTo>
                <a:cubicBezTo>
                  <a:pt x="0" y="2338"/>
                  <a:pt x="48" y="2385"/>
                  <a:pt x="79" y="2385"/>
                </a:cubicBezTo>
                <a:cubicBezTo>
                  <a:pt x="159" y="2385"/>
                  <a:pt x="159" y="2385"/>
                  <a:pt x="159" y="2385"/>
                </a:cubicBezTo>
                <a:cubicBezTo>
                  <a:pt x="159" y="4406"/>
                  <a:pt x="159" y="4406"/>
                  <a:pt x="159" y="4406"/>
                </a:cubicBezTo>
                <a:cubicBezTo>
                  <a:pt x="159" y="4421"/>
                  <a:pt x="159" y="4421"/>
                  <a:pt x="159" y="4421"/>
                </a:cubicBezTo>
                <a:cubicBezTo>
                  <a:pt x="175" y="4612"/>
                  <a:pt x="350" y="4771"/>
                  <a:pt x="557" y="4771"/>
                </a:cubicBezTo>
                <a:cubicBezTo>
                  <a:pt x="779" y="4771"/>
                  <a:pt x="954" y="4612"/>
                  <a:pt x="954" y="4406"/>
                </a:cubicBezTo>
                <a:cubicBezTo>
                  <a:pt x="954" y="2385"/>
                  <a:pt x="954" y="2385"/>
                  <a:pt x="954" y="2385"/>
                </a:cubicBezTo>
                <a:cubicBezTo>
                  <a:pt x="1034" y="2385"/>
                  <a:pt x="1034" y="2385"/>
                  <a:pt x="1034" y="2385"/>
                </a:cubicBezTo>
                <a:cubicBezTo>
                  <a:pt x="1082" y="2385"/>
                  <a:pt x="1114" y="2338"/>
                  <a:pt x="1114" y="2306"/>
                </a:cubicBezTo>
                <a:cubicBezTo>
                  <a:pt x="1114" y="795"/>
                  <a:pt x="1114" y="795"/>
                  <a:pt x="1114" y="795"/>
                </a:cubicBezTo>
                <a:cubicBezTo>
                  <a:pt x="1432" y="795"/>
                  <a:pt x="1432" y="795"/>
                  <a:pt x="1432" y="795"/>
                </a:cubicBezTo>
                <a:cubicBezTo>
                  <a:pt x="1432" y="1908"/>
                  <a:pt x="1432" y="1908"/>
                  <a:pt x="1432" y="1908"/>
                </a:cubicBezTo>
                <a:cubicBezTo>
                  <a:pt x="1432" y="1940"/>
                  <a:pt x="1463" y="1988"/>
                  <a:pt x="1511" y="1988"/>
                </a:cubicBezTo>
                <a:close/>
                <a:moveTo>
                  <a:pt x="795" y="2385"/>
                </a:moveTo>
                <a:cubicBezTo>
                  <a:pt x="795" y="4406"/>
                  <a:pt x="795" y="4406"/>
                  <a:pt x="795" y="4406"/>
                </a:cubicBezTo>
                <a:cubicBezTo>
                  <a:pt x="795" y="4533"/>
                  <a:pt x="700" y="4628"/>
                  <a:pt x="557" y="4628"/>
                </a:cubicBezTo>
                <a:cubicBezTo>
                  <a:pt x="430" y="4628"/>
                  <a:pt x="318" y="4517"/>
                  <a:pt x="318" y="4406"/>
                </a:cubicBezTo>
                <a:cubicBezTo>
                  <a:pt x="318" y="2385"/>
                  <a:pt x="318" y="2385"/>
                  <a:pt x="318" y="2385"/>
                </a:cubicBezTo>
                <a:cubicBezTo>
                  <a:pt x="795" y="2385"/>
                  <a:pt x="795" y="2385"/>
                  <a:pt x="795" y="2385"/>
                </a:cubicBezTo>
                <a:close/>
                <a:moveTo>
                  <a:pt x="954" y="2227"/>
                </a:moveTo>
                <a:cubicBezTo>
                  <a:pt x="159" y="2227"/>
                  <a:pt x="159" y="2227"/>
                  <a:pt x="159" y="2227"/>
                </a:cubicBezTo>
                <a:cubicBezTo>
                  <a:pt x="159" y="636"/>
                  <a:pt x="159" y="636"/>
                  <a:pt x="159" y="636"/>
                </a:cubicBezTo>
                <a:cubicBezTo>
                  <a:pt x="159" y="413"/>
                  <a:pt x="350" y="159"/>
                  <a:pt x="588" y="159"/>
                </a:cubicBezTo>
                <a:cubicBezTo>
                  <a:pt x="811" y="159"/>
                  <a:pt x="954" y="397"/>
                  <a:pt x="954" y="63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2" name="Freeform: Shape 8">
            <a:extLst>
              <a:ext uri="{FF2B5EF4-FFF2-40B4-BE49-F238E27FC236}">
                <a16:creationId xmlns:a16="http://schemas.microsoft.com/office/drawing/2014/main" id="{8EB5DD95-F0BC-F649-8E9B-AFBF47CC0801}"/>
              </a:ext>
            </a:extLst>
          </p:cNvPr>
          <p:cNvSpPr/>
          <p:nvPr/>
        </p:nvSpPr>
        <p:spPr>
          <a:xfrm>
            <a:off x="10085501" y="6505193"/>
            <a:ext cx="1479240" cy="1478160"/>
          </a:xfrm>
          <a:custGeom>
            <a:avLst/>
            <a:gdLst/>
            <a:ahLst/>
            <a:cxnLst>
              <a:cxn ang="3cd4">
                <a:pos x="hc" y="t"/>
              </a:cxn>
              <a:cxn ang="cd2">
                <a:pos x="l" y="vc"/>
              </a:cxn>
              <a:cxn ang="cd4">
                <a:pos x="hc" y="b"/>
              </a:cxn>
              <a:cxn ang="0">
                <a:pos x="r" y="vc"/>
              </a:cxn>
            </a:cxnLst>
            <a:rect l="l" t="t" r="r" b="b"/>
            <a:pathLst>
              <a:path w="4110" h="4107">
                <a:moveTo>
                  <a:pt x="27" y="4091"/>
                </a:moveTo>
                <a:cubicBezTo>
                  <a:pt x="27" y="4107"/>
                  <a:pt x="59" y="4107"/>
                  <a:pt x="75" y="4107"/>
                </a:cubicBezTo>
                <a:cubicBezTo>
                  <a:pt x="90" y="4107"/>
                  <a:pt x="106" y="4107"/>
                  <a:pt x="106" y="4107"/>
                </a:cubicBezTo>
                <a:cubicBezTo>
                  <a:pt x="1220" y="3567"/>
                  <a:pt x="1220" y="3567"/>
                  <a:pt x="1220" y="3567"/>
                </a:cubicBezTo>
                <a:cubicBezTo>
                  <a:pt x="1220" y="3551"/>
                  <a:pt x="1236" y="3551"/>
                  <a:pt x="1236" y="3551"/>
                </a:cubicBezTo>
                <a:cubicBezTo>
                  <a:pt x="3573" y="1212"/>
                  <a:pt x="3573" y="1212"/>
                  <a:pt x="3573" y="1212"/>
                </a:cubicBezTo>
                <a:cubicBezTo>
                  <a:pt x="3907" y="862"/>
                  <a:pt x="3907" y="862"/>
                  <a:pt x="3907" y="862"/>
                </a:cubicBezTo>
                <a:cubicBezTo>
                  <a:pt x="4146" y="640"/>
                  <a:pt x="4177" y="306"/>
                  <a:pt x="3986" y="115"/>
                </a:cubicBezTo>
                <a:cubicBezTo>
                  <a:pt x="3891" y="19"/>
                  <a:pt x="3764" y="-12"/>
                  <a:pt x="3621" y="4"/>
                </a:cubicBezTo>
                <a:cubicBezTo>
                  <a:pt x="3477" y="19"/>
                  <a:pt x="3350" y="83"/>
                  <a:pt x="3239" y="195"/>
                </a:cubicBezTo>
                <a:cubicBezTo>
                  <a:pt x="2905" y="544"/>
                  <a:pt x="2905" y="544"/>
                  <a:pt x="2905" y="544"/>
                </a:cubicBezTo>
                <a:cubicBezTo>
                  <a:pt x="2890" y="544"/>
                  <a:pt x="2890" y="544"/>
                  <a:pt x="2890" y="544"/>
                </a:cubicBezTo>
                <a:cubicBezTo>
                  <a:pt x="2556" y="879"/>
                  <a:pt x="2556" y="879"/>
                  <a:pt x="2556" y="879"/>
                </a:cubicBezTo>
                <a:cubicBezTo>
                  <a:pt x="568" y="2867"/>
                  <a:pt x="568" y="2867"/>
                  <a:pt x="568" y="2867"/>
                </a:cubicBezTo>
                <a:cubicBezTo>
                  <a:pt x="552" y="2882"/>
                  <a:pt x="552" y="2882"/>
                  <a:pt x="552" y="2898"/>
                </a:cubicBezTo>
                <a:cubicBezTo>
                  <a:pt x="11" y="3996"/>
                  <a:pt x="11" y="3996"/>
                  <a:pt x="11" y="3996"/>
                </a:cubicBezTo>
                <a:cubicBezTo>
                  <a:pt x="-5" y="4028"/>
                  <a:pt x="-5" y="4076"/>
                  <a:pt x="27" y="4091"/>
                </a:cubicBezTo>
                <a:close/>
                <a:moveTo>
                  <a:pt x="3350" y="306"/>
                </a:moveTo>
                <a:cubicBezTo>
                  <a:pt x="3430" y="226"/>
                  <a:pt x="3541" y="179"/>
                  <a:pt x="3637" y="162"/>
                </a:cubicBezTo>
                <a:cubicBezTo>
                  <a:pt x="3732" y="147"/>
                  <a:pt x="3827" y="179"/>
                  <a:pt x="3875" y="226"/>
                </a:cubicBezTo>
                <a:cubicBezTo>
                  <a:pt x="4003" y="353"/>
                  <a:pt x="3970" y="592"/>
                  <a:pt x="3795" y="751"/>
                </a:cubicBezTo>
                <a:cubicBezTo>
                  <a:pt x="3589" y="974"/>
                  <a:pt x="3589" y="974"/>
                  <a:pt x="3589" y="974"/>
                </a:cubicBezTo>
                <a:cubicBezTo>
                  <a:pt x="3143" y="528"/>
                  <a:pt x="3143" y="528"/>
                  <a:pt x="3143" y="528"/>
                </a:cubicBezTo>
                <a:close/>
                <a:moveTo>
                  <a:pt x="3032" y="640"/>
                </a:moveTo>
                <a:cubicBezTo>
                  <a:pt x="3477" y="1085"/>
                  <a:pt x="3477" y="1085"/>
                  <a:pt x="3477" y="1085"/>
                </a:cubicBezTo>
                <a:cubicBezTo>
                  <a:pt x="3175" y="1388"/>
                  <a:pt x="3175" y="1388"/>
                  <a:pt x="3175" y="1388"/>
                </a:cubicBezTo>
                <a:cubicBezTo>
                  <a:pt x="2731" y="942"/>
                  <a:pt x="2731" y="942"/>
                  <a:pt x="2731" y="942"/>
                </a:cubicBezTo>
                <a:close/>
                <a:moveTo>
                  <a:pt x="2604" y="1053"/>
                </a:moveTo>
                <a:cubicBezTo>
                  <a:pt x="3064" y="1499"/>
                  <a:pt x="3064" y="1499"/>
                  <a:pt x="3064" y="1499"/>
                </a:cubicBezTo>
                <a:cubicBezTo>
                  <a:pt x="1220" y="3344"/>
                  <a:pt x="1220" y="3344"/>
                  <a:pt x="1220" y="3344"/>
                </a:cubicBezTo>
                <a:cubicBezTo>
                  <a:pt x="775" y="2898"/>
                  <a:pt x="775" y="2898"/>
                  <a:pt x="775" y="2898"/>
                </a:cubicBezTo>
                <a:close/>
                <a:moveTo>
                  <a:pt x="663" y="3010"/>
                </a:moveTo>
                <a:cubicBezTo>
                  <a:pt x="1093" y="3439"/>
                  <a:pt x="1093" y="3439"/>
                  <a:pt x="1093" y="3439"/>
                </a:cubicBezTo>
                <a:cubicBezTo>
                  <a:pt x="250" y="3869"/>
                  <a:pt x="250" y="3869"/>
                  <a:pt x="250" y="386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3" name="Freeform: Shape 9">
            <a:extLst>
              <a:ext uri="{FF2B5EF4-FFF2-40B4-BE49-F238E27FC236}">
                <a16:creationId xmlns:a16="http://schemas.microsoft.com/office/drawing/2014/main" id="{9D299344-9EF9-9343-954B-7F16E2D32576}"/>
              </a:ext>
            </a:extLst>
          </p:cNvPr>
          <p:cNvSpPr/>
          <p:nvPr/>
        </p:nvSpPr>
        <p:spPr>
          <a:xfrm>
            <a:off x="13959252" y="6471353"/>
            <a:ext cx="1546920" cy="1546200"/>
          </a:xfrm>
          <a:custGeom>
            <a:avLst/>
            <a:gdLst/>
            <a:ahLst/>
            <a:cxnLst>
              <a:cxn ang="3cd4">
                <a:pos x="hc" y="t"/>
              </a:cxn>
              <a:cxn ang="cd2">
                <a:pos x="l" y="vc"/>
              </a:cxn>
              <a:cxn ang="cd4">
                <a:pos x="hc" y="b"/>
              </a:cxn>
              <a:cxn ang="0">
                <a:pos x="r" y="vc"/>
              </a:cxn>
            </a:cxnLst>
            <a:rect l="l" t="t" r="r" b="b"/>
            <a:pathLst>
              <a:path w="4298" h="4296">
                <a:moveTo>
                  <a:pt x="3642" y="112"/>
                </a:moveTo>
                <a:cubicBezTo>
                  <a:pt x="3467" y="-63"/>
                  <a:pt x="3133" y="-31"/>
                  <a:pt x="2910" y="192"/>
                </a:cubicBezTo>
                <a:cubicBezTo>
                  <a:pt x="333" y="2769"/>
                  <a:pt x="333" y="2769"/>
                  <a:pt x="333" y="2769"/>
                </a:cubicBezTo>
                <a:cubicBezTo>
                  <a:pt x="333" y="2785"/>
                  <a:pt x="318" y="2785"/>
                  <a:pt x="318" y="2800"/>
                </a:cubicBezTo>
                <a:cubicBezTo>
                  <a:pt x="0" y="4200"/>
                  <a:pt x="0" y="4200"/>
                  <a:pt x="0" y="4200"/>
                </a:cubicBezTo>
                <a:cubicBezTo>
                  <a:pt x="0" y="4232"/>
                  <a:pt x="0" y="4264"/>
                  <a:pt x="15" y="4280"/>
                </a:cubicBezTo>
                <a:cubicBezTo>
                  <a:pt x="31" y="4296"/>
                  <a:pt x="63" y="4296"/>
                  <a:pt x="79" y="4296"/>
                </a:cubicBezTo>
                <a:lnTo>
                  <a:pt x="95" y="4296"/>
                </a:lnTo>
                <a:cubicBezTo>
                  <a:pt x="1494" y="3978"/>
                  <a:pt x="1494" y="3978"/>
                  <a:pt x="1494" y="3978"/>
                </a:cubicBezTo>
                <a:cubicBezTo>
                  <a:pt x="1511" y="3978"/>
                  <a:pt x="1526" y="3962"/>
                  <a:pt x="1526" y="3962"/>
                </a:cubicBezTo>
                <a:cubicBezTo>
                  <a:pt x="1622" y="3882"/>
                  <a:pt x="1622" y="3882"/>
                  <a:pt x="1622" y="3882"/>
                </a:cubicBezTo>
                <a:cubicBezTo>
                  <a:pt x="4103" y="1385"/>
                  <a:pt x="4103" y="1385"/>
                  <a:pt x="4103" y="1385"/>
                </a:cubicBezTo>
                <a:cubicBezTo>
                  <a:pt x="4214" y="1273"/>
                  <a:pt x="4278" y="1146"/>
                  <a:pt x="4294" y="1019"/>
                </a:cubicBezTo>
                <a:cubicBezTo>
                  <a:pt x="4310" y="876"/>
                  <a:pt x="4278" y="749"/>
                  <a:pt x="4183" y="653"/>
                </a:cubicBezTo>
                <a:close/>
                <a:moveTo>
                  <a:pt x="190" y="4121"/>
                </a:moveTo>
                <a:cubicBezTo>
                  <a:pt x="445" y="2991"/>
                  <a:pt x="445" y="2991"/>
                  <a:pt x="445" y="2991"/>
                </a:cubicBezTo>
                <a:cubicBezTo>
                  <a:pt x="556" y="3389"/>
                  <a:pt x="906" y="3755"/>
                  <a:pt x="1304" y="3866"/>
                </a:cubicBezTo>
                <a:close/>
                <a:moveTo>
                  <a:pt x="1526" y="3739"/>
                </a:moveTo>
                <a:cubicBezTo>
                  <a:pt x="1065" y="3723"/>
                  <a:pt x="588" y="3230"/>
                  <a:pt x="556" y="2769"/>
                </a:cubicBezTo>
                <a:cubicBezTo>
                  <a:pt x="2242" y="1099"/>
                  <a:pt x="2242" y="1099"/>
                  <a:pt x="2242" y="1099"/>
                </a:cubicBezTo>
                <a:cubicBezTo>
                  <a:pt x="3212" y="2069"/>
                  <a:pt x="3212" y="2069"/>
                  <a:pt x="3212" y="2069"/>
                </a:cubicBezTo>
                <a:close/>
                <a:moveTo>
                  <a:pt x="3324" y="1958"/>
                </a:moveTo>
                <a:cubicBezTo>
                  <a:pt x="2354" y="987"/>
                  <a:pt x="2354" y="987"/>
                  <a:pt x="2354" y="987"/>
                </a:cubicBezTo>
                <a:cubicBezTo>
                  <a:pt x="2640" y="685"/>
                  <a:pt x="2640" y="685"/>
                  <a:pt x="2640" y="685"/>
                </a:cubicBezTo>
                <a:cubicBezTo>
                  <a:pt x="3610" y="1655"/>
                  <a:pt x="3610" y="1655"/>
                  <a:pt x="3610" y="1655"/>
                </a:cubicBezTo>
                <a:close/>
                <a:moveTo>
                  <a:pt x="4135" y="1003"/>
                </a:moveTo>
                <a:cubicBezTo>
                  <a:pt x="4119" y="1099"/>
                  <a:pt x="4071" y="1194"/>
                  <a:pt x="3992" y="1273"/>
                </a:cubicBezTo>
                <a:cubicBezTo>
                  <a:pt x="3721" y="1544"/>
                  <a:pt x="3721" y="1544"/>
                  <a:pt x="3721" y="1544"/>
                </a:cubicBezTo>
                <a:cubicBezTo>
                  <a:pt x="2751" y="574"/>
                  <a:pt x="2751" y="574"/>
                  <a:pt x="2751" y="574"/>
                </a:cubicBezTo>
                <a:cubicBezTo>
                  <a:pt x="3021" y="303"/>
                  <a:pt x="3021" y="303"/>
                  <a:pt x="3021" y="303"/>
                </a:cubicBezTo>
                <a:cubicBezTo>
                  <a:pt x="3181" y="145"/>
                  <a:pt x="3419" y="112"/>
                  <a:pt x="3530" y="224"/>
                </a:cubicBezTo>
                <a:cubicBezTo>
                  <a:pt x="4071" y="764"/>
                  <a:pt x="4071" y="764"/>
                  <a:pt x="4071" y="764"/>
                </a:cubicBezTo>
                <a:cubicBezTo>
                  <a:pt x="4119" y="828"/>
                  <a:pt x="4151" y="908"/>
                  <a:pt x="4135" y="100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4" name="Freeform: Shape 10">
            <a:extLst>
              <a:ext uri="{FF2B5EF4-FFF2-40B4-BE49-F238E27FC236}">
                <a16:creationId xmlns:a16="http://schemas.microsoft.com/office/drawing/2014/main" id="{351DAB05-333E-D343-8031-AC92A64B434C}"/>
              </a:ext>
            </a:extLst>
          </p:cNvPr>
          <p:cNvSpPr/>
          <p:nvPr/>
        </p:nvSpPr>
        <p:spPr>
          <a:xfrm>
            <a:off x="21252060" y="6514913"/>
            <a:ext cx="1569960" cy="1462319"/>
          </a:xfrm>
          <a:custGeom>
            <a:avLst/>
            <a:gdLst/>
            <a:ahLst/>
            <a:cxnLst>
              <a:cxn ang="3cd4">
                <a:pos x="hc" y="t"/>
              </a:cxn>
              <a:cxn ang="cd2">
                <a:pos x="l" y="vc"/>
              </a:cxn>
              <a:cxn ang="cd4">
                <a:pos x="hc" y="b"/>
              </a:cxn>
              <a:cxn ang="0">
                <a:pos x="r" y="vc"/>
              </a:cxn>
            </a:cxnLst>
            <a:rect l="l" t="t" r="r" b="b"/>
            <a:pathLst>
              <a:path w="4362" h="4063">
                <a:moveTo>
                  <a:pt x="0" y="3586"/>
                </a:moveTo>
                <a:cubicBezTo>
                  <a:pt x="0" y="3618"/>
                  <a:pt x="32" y="3634"/>
                  <a:pt x="48" y="3650"/>
                </a:cubicBezTo>
                <a:lnTo>
                  <a:pt x="1034" y="4063"/>
                </a:lnTo>
                <a:lnTo>
                  <a:pt x="1066" y="4063"/>
                </a:lnTo>
                <a:cubicBezTo>
                  <a:pt x="1082" y="4063"/>
                  <a:pt x="1097" y="4063"/>
                  <a:pt x="1113" y="4048"/>
                </a:cubicBezTo>
                <a:lnTo>
                  <a:pt x="1622" y="3539"/>
                </a:lnTo>
                <a:lnTo>
                  <a:pt x="1702" y="3618"/>
                </a:lnTo>
                <a:cubicBezTo>
                  <a:pt x="1718" y="3634"/>
                  <a:pt x="1749" y="3650"/>
                  <a:pt x="1766" y="3650"/>
                </a:cubicBezTo>
                <a:cubicBezTo>
                  <a:pt x="1781" y="3650"/>
                  <a:pt x="1813" y="3634"/>
                  <a:pt x="1813" y="3618"/>
                </a:cubicBezTo>
                <a:lnTo>
                  <a:pt x="4135" y="1312"/>
                </a:lnTo>
                <a:cubicBezTo>
                  <a:pt x="4438" y="1009"/>
                  <a:pt x="4438" y="516"/>
                  <a:pt x="4135" y="214"/>
                </a:cubicBezTo>
                <a:cubicBezTo>
                  <a:pt x="3849" y="-71"/>
                  <a:pt x="3340" y="-71"/>
                  <a:pt x="3038" y="214"/>
                </a:cubicBezTo>
                <a:lnTo>
                  <a:pt x="731" y="2536"/>
                </a:lnTo>
                <a:cubicBezTo>
                  <a:pt x="700" y="2568"/>
                  <a:pt x="700" y="2616"/>
                  <a:pt x="731" y="2648"/>
                </a:cubicBezTo>
                <a:lnTo>
                  <a:pt x="811" y="2727"/>
                </a:lnTo>
                <a:lnTo>
                  <a:pt x="16" y="3506"/>
                </a:lnTo>
                <a:cubicBezTo>
                  <a:pt x="0" y="3539"/>
                  <a:pt x="0" y="3554"/>
                  <a:pt x="0" y="3586"/>
                </a:cubicBezTo>
                <a:close/>
                <a:moveTo>
                  <a:pt x="3149" y="325"/>
                </a:moveTo>
                <a:cubicBezTo>
                  <a:pt x="3388" y="103"/>
                  <a:pt x="3785" y="103"/>
                  <a:pt x="4024" y="325"/>
                </a:cubicBezTo>
                <a:cubicBezTo>
                  <a:pt x="4263" y="564"/>
                  <a:pt x="4263" y="962"/>
                  <a:pt x="4024" y="1200"/>
                </a:cubicBezTo>
                <a:lnTo>
                  <a:pt x="1766" y="3459"/>
                </a:lnTo>
                <a:lnTo>
                  <a:pt x="1686" y="3379"/>
                </a:lnTo>
                <a:lnTo>
                  <a:pt x="986" y="2664"/>
                </a:lnTo>
                <a:lnTo>
                  <a:pt x="970" y="2664"/>
                </a:lnTo>
                <a:lnTo>
                  <a:pt x="891" y="2584"/>
                </a:lnTo>
                <a:close/>
                <a:moveTo>
                  <a:pt x="922" y="2839"/>
                </a:moveTo>
                <a:lnTo>
                  <a:pt x="1511" y="3427"/>
                </a:lnTo>
                <a:lnTo>
                  <a:pt x="1049" y="3905"/>
                </a:lnTo>
                <a:lnTo>
                  <a:pt x="222" y="3539"/>
                </a:lnTo>
                <a:close/>
                <a:moveTo>
                  <a:pt x="1415" y="2601"/>
                </a:moveTo>
                <a:cubicBezTo>
                  <a:pt x="1431" y="2601"/>
                  <a:pt x="1448" y="2585"/>
                  <a:pt x="1463" y="2569"/>
                </a:cubicBezTo>
                <a:lnTo>
                  <a:pt x="3149" y="883"/>
                </a:lnTo>
                <a:cubicBezTo>
                  <a:pt x="3181" y="852"/>
                  <a:pt x="3181" y="804"/>
                  <a:pt x="3149" y="772"/>
                </a:cubicBezTo>
                <a:cubicBezTo>
                  <a:pt x="3117" y="740"/>
                  <a:pt x="3070" y="740"/>
                  <a:pt x="3038" y="772"/>
                </a:cubicBezTo>
                <a:lnTo>
                  <a:pt x="1352" y="2458"/>
                </a:lnTo>
                <a:cubicBezTo>
                  <a:pt x="1320" y="2490"/>
                  <a:pt x="1320" y="2537"/>
                  <a:pt x="1352" y="2569"/>
                </a:cubicBezTo>
                <a:cubicBezTo>
                  <a:pt x="1368" y="2585"/>
                  <a:pt x="1400" y="2601"/>
                  <a:pt x="1415" y="260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5" name="Freeform: Shape 11">
            <a:extLst>
              <a:ext uri="{FF2B5EF4-FFF2-40B4-BE49-F238E27FC236}">
                <a16:creationId xmlns:a16="http://schemas.microsoft.com/office/drawing/2014/main" id="{98E56500-D7B3-B941-9B99-7A6261019A48}"/>
              </a:ext>
            </a:extLst>
          </p:cNvPr>
          <p:cNvSpPr/>
          <p:nvPr/>
        </p:nvSpPr>
        <p:spPr>
          <a:xfrm>
            <a:off x="6155346" y="6604173"/>
            <a:ext cx="1478879" cy="1440360"/>
          </a:xfrm>
          <a:custGeom>
            <a:avLst/>
            <a:gdLst/>
            <a:ahLst/>
            <a:cxnLst>
              <a:cxn ang="3cd4">
                <a:pos x="hc" y="t"/>
              </a:cxn>
              <a:cxn ang="cd2">
                <a:pos x="l" y="vc"/>
              </a:cxn>
              <a:cxn ang="cd4">
                <a:pos x="hc" y="b"/>
              </a:cxn>
              <a:cxn ang="0">
                <a:pos x="r" y="vc"/>
              </a:cxn>
            </a:cxnLst>
            <a:rect l="l" t="t" r="r" b="b"/>
            <a:pathLst>
              <a:path w="4109" h="4002">
                <a:moveTo>
                  <a:pt x="3980" y="327"/>
                </a:moveTo>
                <a:cubicBezTo>
                  <a:pt x="3566" y="614"/>
                  <a:pt x="3280" y="995"/>
                  <a:pt x="2962" y="1409"/>
                </a:cubicBezTo>
                <a:cubicBezTo>
                  <a:pt x="2883" y="1504"/>
                  <a:pt x="2803" y="1600"/>
                  <a:pt x="2739" y="1695"/>
                </a:cubicBezTo>
                <a:cubicBezTo>
                  <a:pt x="2596" y="1680"/>
                  <a:pt x="2262" y="1663"/>
                  <a:pt x="2135" y="1663"/>
                </a:cubicBezTo>
                <a:cubicBezTo>
                  <a:pt x="2103" y="1663"/>
                  <a:pt x="2056" y="1695"/>
                  <a:pt x="2056" y="1743"/>
                </a:cubicBezTo>
                <a:cubicBezTo>
                  <a:pt x="2056" y="1791"/>
                  <a:pt x="2087" y="1823"/>
                  <a:pt x="2135" y="1823"/>
                </a:cubicBezTo>
                <a:cubicBezTo>
                  <a:pt x="2230" y="1823"/>
                  <a:pt x="2453" y="1838"/>
                  <a:pt x="2612" y="1854"/>
                </a:cubicBezTo>
                <a:cubicBezTo>
                  <a:pt x="2565" y="1902"/>
                  <a:pt x="2517" y="1950"/>
                  <a:pt x="2469" y="2013"/>
                </a:cubicBezTo>
                <a:cubicBezTo>
                  <a:pt x="2230" y="2013"/>
                  <a:pt x="2119" y="2013"/>
                  <a:pt x="1817" y="2013"/>
                </a:cubicBezTo>
                <a:cubicBezTo>
                  <a:pt x="1785" y="2013"/>
                  <a:pt x="1753" y="2045"/>
                  <a:pt x="1753" y="2093"/>
                </a:cubicBezTo>
                <a:cubicBezTo>
                  <a:pt x="1753" y="2141"/>
                  <a:pt x="1785" y="2172"/>
                  <a:pt x="1833" y="2172"/>
                </a:cubicBezTo>
                <a:cubicBezTo>
                  <a:pt x="2056" y="2172"/>
                  <a:pt x="2167" y="2172"/>
                  <a:pt x="2326" y="2172"/>
                </a:cubicBezTo>
                <a:cubicBezTo>
                  <a:pt x="1897" y="2602"/>
                  <a:pt x="1356" y="2952"/>
                  <a:pt x="513" y="3079"/>
                </a:cubicBezTo>
                <a:cubicBezTo>
                  <a:pt x="1212" y="1695"/>
                  <a:pt x="2421" y="645"/>
                  <a:pt x="3932" y="153"/>
                </a:cubicBezTo>
                <a:cubicBezTo>
                  <a:pt x="3980" y="153"/>
                  <a:pt x="3996" y="105"/>
                  <a:pt x="3996" y="73"/>
                </a:cubicBezTo>
                <a:cubicBezTo>
                  <a:pt x="3996" y="41"/>
                  <a:pt x="3965" y="9"/>
                  <a:pt x="3917" y="9"/>
                </a:cubicBezTo>
                <a:cubicBezTo>
                  <a:pt x="2819" y="-86"/>
                  <a:pt x="1022" y="614"/>
                  <a:pt x="354" y="1647"/>
                </a:cubicBezTo>
                <a:cubicBezTo>
                  <a:pt x="36" y="2141"/>
                  <a:pt x="20" y="2665"/>
                  <a:pt x="290" y="3174"/>
                </a:cubicBezTo>
                <a:cubicBezTo>
                  <a:pt x="179" y="3413"/>
                  <a:pt x="83" y="3652"/>
                  <a:pt x="4" y="3906"/>
                </a:cubicBezTo>
                <a:cubicBezTo>
                  <a:pt x="-12" y="3938"/>
                  <a:pt x="20" y="3986"/>
                  <a:pt x="51" y="4002"/>
                </a:cubicBezTo>
                <a:cubicBezTo>
                  <a:pt x="67" y="4002"/>
                  <a:pt x="67" y="4002"/>
                  <a:pt x="83" y="4002"/>
                </a:cubicBezTo>
                <a:cubicBezTo>
                  <a:pt x="115" y="4002"/>
                  <a:pt x="147" y="3986"/>
                  <a:pt x="163" y="3954"/>
                </a:cubicBezTo>
                <a:cubicBezTo>
                  <a:pt x="242" y="3699"/>
                  <a:pt x="322" y="3477"/>
                  <a:pt x="433" y="3238"/>
                </a:cubicBezTo>
                <a:cubicBezTo>
                  <a:pt x="1865" y="3079"/>
                  <a:pt x="2485" y="2284"/>
                  <a:pt x="3090" y="1504"/>
                </a:cubicBezTo>
                <a:cubicBezTo>
                  <a:pt x="3392" y="1107"/>
                  <a:pt x="3678" y="741"/>
                  <a:pt x="4075" y="454"/>
                </a:cubicBezTo>
                <a:cubicBezTo>
                  <a:pt x="4108" y="439"/>
                  <a:pt x="4123" y="391"/>
                  <a:pt x="4092" y="343"/>
                </a:cubicBezTo>
                <a:cubicBezTo>
                  <a:pt x="4060" y="311"/>
                  <a:pt x="4012" y="311"/>
                  <a:pt x="3980" y="327"/>
                </a:cubicBezTo>
                <a:close/>
                <a:moveTo>
                  <a:pt x="385" y="2999"/>
                </a:moveTo>
                <a:cubicBezTo>
                  <a:pt x="194" y="2570"/>
                  <a:pt x="227" y="2141"/>
                  <a:pt x="497" y="1727"/>
                </a:cubicBezTo>
                <a:cubicBezTo>
                  <a:pt x="1038" y="868"/>
                  <a:pt x="2405" y="248"/>
                  <a:pt x="3456" y="168"/>
                </a:cubicBezTo>
                <a:cubicBezTo>
                  <a:pt x="2119" y="709"/>
                  <a:pt x="1038" y="1711"/>
                  <a:pt x="385" y="299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6" name="Freeform: Shape 12">
            <a:extLst>
              <a:ext uri="{FF2B5EF4-FFF2-40B4-BE49-F238E27FC236}">
                <a16:creationId xmlns:a16="http://schemas.microsoft.com/office/drawing/2014/main" id="{52C1E59F-B27A-8C4B-BBEC-1142A18D93EF}"/>
              </a:ext>
            </a:extLst>
          </p:cNvPr>
          <p:cNvSpPr/>
          <p:nvPr/>
        </p:nvSpPr>
        <p:spPr>
          <a:xfrm>
            <a:off x="1899939" y="6550173"/>
            <a:ext cx="1293840" cy="1545839"/>
          </a:xfrm>
          <a:custGeom>
            <a:avLst/>
            <a:gdLst/>
            <a:ahLst/>
            <a:cxnLst>
              <a:cxn ang="3cd4">
                <a:pos x="hc" y="t"/>
              </a:cxn>
              <a:cxn ang="cd2">
                <a:pos x="l" y="vc"/>
              </a:cxn>
              <a:cxn ang="cd4">
                <a:pos x="hc" y="b"/>
              </a:cxn>
              <a:cxn ang="0">
                <a:pos x="r" y="vc"/>
              </a:cxn>
            </a:cxnLst>
            <a:rect l="l" t="t" r="r" b="b"/>
            <a:pathLst>
              <a:path w="3595" h="4295">
                <a:moveTo>
                  <a:pt x="3515" y="4295"/>
                </a:moveTo>
                <a:cubicBezTo>
                  <a:pt x="3547" y="4295"/>
                  <a:pt x="3595" y="4263"/>
                  <a:pt x="3595" y="4215"/>
                </a:cubicBezTo>
                <a:lnTo>
                  <a:pt x="3595" y="80"/>
                </a:lnTo>
                <a:cubicBezTo>
                  <a:pt x="3595" y="32"/>
                  <a:pt x="3547" y="0"/>
                  <a:pt x="3515" y="0"/>
                </a:cubicBezTo>
                <a:lnTo>
                  <a:pt x="79" y="0"/>
                </a:lnTo>
                <a:cubicBezTo>
                  <a:pt x="32" y="0"/>
                  <a:pt x="0" y="32"/>
                  <a:pt x="0" y="80"/>
                </a:cubicBezTo>
                <a:lnTo>
                  <a:pt x="0" y="4215"/>
                </a:lnTo>
                <a:cubicBezTo>
                  <a:pt x="0" y="4263"/>
                  <a:pt x="32" y="4295"/>
                  <a:pt x="79" y="4295"/>
                </a:cubicBezTo>
                <a:close/>
                <a:moveTo>
                  <a:pt x="159" y="159"/>
                </a:moveTo>
                <a:lnTo>
                  <a:pt x="3435" y="159"/>
                </a:lnTo>
                <a:lnTo>
                  <a:pt x="3435" y="4136"/>
                </a:lnTo>
                <a:lnTo>
                  <a:pt x="159" y="4136"/>
                </a:lnTo>
                <a:close/>
                <a:moveTo>
                  <a:pt x="2435" y="2657"/>
                </a:moveTo>
                <a:cubicBezTo>
                  <a:pt x="2435" y="2609"/>
                  <a:pt x="2450" y="2561"/>
                  <a:pt x="2450" y="2513"/>
                </a:cubicBezTo>
                <a:cubicBezTo>
                  <a:pt x="2450" y="2179"/>
                  <a:pt x="2164" y="1909"/>
                  <a:pt x="1830" y="1909"/>
                </a:cubicBezTo>
                <a:cubicBezTo>
                  <a:pt x="1496" y="1909"/>
                  <a:pt x="1209" y="2179"/>
                  <a:pt x="1209" y="2513"/>
                </a:cubicBezTo>
                <a:cubicBezTo>
                  <a:pt x="1209" y="2561"/>
                  <a:pt x="1226" y="2609"/>
                  <a:pt x="1226" y="2657"/>
                </a:cubicBezTo>
                <a:lnTo>
                  <a:pt x="685" y="3547"/>
                </a:lnTo>
                <a:cubicBezTo>
                  <a:pt x="669" y="3579"/>
                  <a:pt x="669" y="3611"/>
                  <a:pt x="700" y="3643"/>
                </a:cubicBezTo>
                <a:cubicBezTo>
                  <a:pt x="717" y="3658"/>
                  <a:pt x="748" y="3675"/>
                  <a:pt x="780" y="3658"/>
                </a:cubicBezTo>
                <a:lnTo>
                  <a:pt x="1273" y="3500"/>
                </a:lnTo>
                <a:lnTo>
                  <a:pt x="1591" y="3818"/>
                </a:lnTo>
                <a:cubicBezTo>
                  <a:pt x="1607" y="3833"/>
                  <a:pt x="1623" y="3849"/>
                  <a:pt x="1655" y="3849"/>
                </a:cubicBezTo>
                <a:lnTo>
                  <a:pt x="1671" y="3849"/>
                </a:lnTo>
                <a:cubicBezTo>
                  <a:pt x="1703" y="3833"/>
                  <a:pt x="1718" y="3818"/>
                  <a:pt x="1735" y="3786"/>
                </a:cubicBezTo>
                <a:lnTo>
                  <a:pt x="1830" y="3372"/>
                </a:lnTo>
                <a:lnTo>
                  <a:pt x="1926" y="3786"/>
                </a:lnTo>
                <a:cubicBezTo>
                  <a:pt x="1941" y="3818"/>
                  <a:pt x="1957" y="3833"/>
                  <a:pt x="1989" y="3849"/>
                </a:cubicBezTo>
                <a:lnTo>
                  <a:pt x="2005" y="3849"/>
                </a:lnTo>
                <a:cubicBezTo>
                  <a:pt x="2021" y="3849"/>
                  <a:pt x="2053" y="3833"/>
                  <a:pt x="2069" y="3818"/>
                </a:cubicBezTo>
                <a:lnTo>
                  <a:pt x="2387" y="3500"/>
                </a:lnTo>
                <a:lnTo>
                  <a:pt x="2880" y="3658"/>
                </a:lnTo>
                <a:cubicBezTo>
                  <a:pt x="2911" y="3675"/>
                  <a:pt x="2943" y="3658"/>
                  <a:pt x="2959" y="3643"/>
                </a:cubicBezTo>
                <a:cubicBezTo>
                  <a:pt x="2991" y="3611"/>
                  <a:pt x="2991" y="3579"/>
                  <a:pt x="2975" y="3547"/>
                </a:cubicBezTo>
                <a:close/>
                <a:moveTo>
                  <a:pt x="1607" y="3611"/>
                </a:moveTo>
                <a:lnTo>
                  <a:pt x="1353" y="3357"/>
                </a:lnTo>
                <a:cubicBezTo>
                  <a:pt x="1321" y="3324"/>
                  <a:pt x="1289" y="3324"/>
                  <a:pt x="1273" y="3340"/>
                </a:cubicBezTo>
                <a:lnTo>
                  <a:pt x="939" y="3452"/>
                </a:lnTo>
                <a:lnTo>
                  <a:pt x="1305" y="2831"/>
                </a:lnTo>
                <a:cubicBezTo>
                  <a:pt x="1400" y="2991"/>
                  <a:pt x="1544" y="3086"/>
                  <a:pt x="1735" y="3118"/>
                </a:cubicBezTo>
                <a:close/>
                <a:moveTo>
                  <a:pt x="1369" y="2513"/>
                </a:moveTo>
                <a:cubicBezTo>
                  <a:pt x="1369" y="2259"/>
                  <a:pt x="1575" y="2052"/>
                  <a:pt x="1830" y="2052"/>
                </a:cubicBezTo>
                <a:cubicBezTo>
                  <a:pt x="2084" y="2052"/>
                  <a:pt x="2291" y="2259"/>
                  <a:pt x="2291" y="2513"/>
                </a:cubicBezTo>
                <a:cubicBezTo>
                  <a:pt x="2291" y="2768"/>
                  <a:pt x="2084" y="2975"/>
                  <a:pt x="1830" y="2975"/>
                </a:cubicBezTo>
                <a:cubicBezTo>
                  <a:pt x="1575" y="2975"/>
                  <a:pt x="1369" y="2768"/>
                  <a:pt x="1369" y="2513"/>
                </a:cubicBezTo>
                <a:close/>
                <a:moveTo>
                  <a:pt x="2387" y="3340"/>
                </a:moveTo>
                <a:cubicBezTo>
                  <a:pt x="2355" y="3324"/>
                  <a:pt x="2323" y="3324"/>
                  <a:pt x="2307" y="3357"/>
                </a:cubicBezTo>
                <a:lnTo>
                  <a:pt x="2053" y="3611"/>
                </a:lnTo>
                <a:lnTo>
                  <a:pt x="1926" y="3118"/>
                </a:lnTo>
                <a:cubicBezTo>
                  <a:pt x="2116" y="3086"/>
                  <a:pt x="2259" y="2991"/>
                  <a:pt x="2355" y="2831"/>
                </a:cubicBezTo>
                <a:lnTo>
                  <a:pt x="2721" y="3452"/>
                </a:lnTo>
                <a:close/>
                <a:moveTo>
                  <a:pt x="1145" y="716"/>
                </a:moveTo>
                <a:lnTo>
                  <a:pt x="2577" y="716"/>
                </a:lnTo>
                <a:cubicBezTo>
                  <a:pt x="2624" y="716"/>
                  <a:pt x="2656" y="684"/>
                  <a:pt x="2656" y="636"/>
                </a:cubicBezTo>
                <a:cubicBezTo>
                  <a:pt x="2656" y="589"/>
                  <a:pt x="2624" y="557"/>
                  <a:pt x="2577" y="557"/>
                </a:cubicBezTo>
                <a:lnTo>
                  <a:pt x="1145" y="557"/>
                </a:lnTo>
                <a:cubicBezTo>
                  <a:pt x="1113" y="557"/>
                  <a:pt x="1065" y="589"/>
                  <a:pt x="1065" y="636"/>
                </a:cubicBezTo>
                <a:cubicBezTo>
                  <a:pt x="1065" y="684"/>
                  <a:pt x="1113" y="716"/>
                  <a:pt x="1145" y="716"/>
                </a:cubicBezTo>
                <a:close/>
                <a:moveTo>
                  <a:pt x="2577" y="1575"/>
                </a:moveTo>
                <a:cubicBezTo>
                  <a:pt x="2624" y="1575"/>
                  <a:pt x="2656" y="1543"/>
                  <a:pt x="2656" y="1495"/>
                </a:cubicBezTo>
                <a:cubicBezTo>
                  <a:pt x="2656" y="1448"/>
                  <a:pt x="2624" y="1416"/>
                  <a:pt x="2577" y="1416"/>
                </a:cubicBezTo>
                <a:lnTo>
                  <a:pt x="1145" y="1416"/>
                </a:lnTo>
                <a:cubicBezTo>
                  <a:pt x="1113" y="1416"/>
                  <a:pt x="1065" y="1448"/>
                  <a:pt x="1065" y="1495"/>
                </a:cubicBezTo>
                <a:cubicBezTo>
                  <a:pt x="1065" y="1543"/>
                  <a:pt x="1113" y="1575"/>
                  <a:pt x="1145" y="1575"/>
                </a:cubicBezTo>
                <a:close/>
                <a:moveTo>
                  <a:pt x="3006" y="986"/>
                </a:moveTo>
                <a:lnTo>
                  <a:pt x="572" y="986"/>
                </a:lnTo>
                <a:cubicBezTo>
                  <a:pt x="541" y="986"/>
                  <a:pt x="493" y="1018"/>
                  <a:pt x="493" y="1066"/>
                </a:cubicBezTo>
                <a:cubicBezTo>
                  <a:pt x="493" y="1113"/>
                  <a:pt x="541" y="1145"/>
                  <a:pt x="572" y="1145"/>
                </a:cubicBezTo>
                <a:lnTo>
                  <a:pt x="3006" y="1145"/>
                </a:lnTo>
                <a:cubicBezTo>
                  <a:pt x="3053" y="1145"/>
                  <a:pt x="3086" y="1113"/>
                  <a:pt x="3086" y="1066"/>
                </a:cubicBezTo>
                <a:cubicBezTo>
                  <a:pt x="3086" y="1018"/>
                  <a:pt x="3053" y="986"/>
                  <a:pt x="3006" y="98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7" name="Freeform: Shape 13">
            <a:extLst>
              <a:ext uri="{FF2B5EF4-FFF2-40B4-BE49-F238E27FC236}">
                <a16:creationId xmlns:a16="http://schemas.microsoft.com/office/drawing/2014/main" id="{0546317C-80D2-CA49-8CF0-44092C51B650}"/>
              </a:ext>
            </a:extLst>
          </p:cNvPr>
          <p:cNvSpPr/>
          <p:nvPr/>
        </p:nvSpPr>
        <p:spPr>
          <a:xfrm>
            <a:off x="21239516" y="3651836"/>
            <a:ext cx="1717560" cy="1144800"/>
          </a:xfrm>
          <a:custGeom>
            <a:avLst/>
            <a:gdLst/>
            <a:ahLst/>
            <a:cxnLst>
              <a:cxn ang="3cd4">
                <a:pos x="hc" y="t"/>
              </a:cxn>
              <a:cxn ang="cd2">
                <a:pos x="l" y="vc"/>
              </a:cxn>
              <a:cxn ang="cd4">
                <a:pos x="hc" y="b"/>
              </a:cxn>
              <a:cxn ang="0">
                <a:pos x="r" y="vc"/>
              </a:cxn>
            </a:cxnLst>
            <a:rect l="l" t="t" r="r" b="b"/>
            <a:pathLst>
              <a:path w="4772" h="3181">
                <a:moveTo>
                  <a:pt x="0" y="79"/>
                </a:moveTo>
                <a:lnTo>
                  <a:pt x="0" y="3101"/>
                </a:lnTo>
                <a:cubicBezTo>
                  <a:pt x="0" y="3149"/>
                  <a:pt x="48" y="3181"/>
                  <a:pt x="80" y="3181"/>
                </a:cubicBezTo>
                <a:lnTo>
                  <a:pt x="4693" y="3181"/>
                </a:lnTo>
                <a:cubicBezTo>
                  <a:pt x="4740" y="3181"/>
                  <a:pt x="4772" y="3149"/>
                  <a:pt x="4772" y="3101"/>
                </a:cubicBezTo>
                <a:lnTo>
                  <a:pt x="4772" y="79"/>
                </a:lnTo>
                <a:cubicBezTo>
                  <a:pt x="4772" y="32"/>
                  <a:pt x="4740" y="0"/>
                  <a:pt x="4693" y="0"/>
                </a:cubicBezTo>
                <a:lnTo>
                  <a:pt x="80" y="0"/>
                </a:lnTo>
                <a:cubicBezTo>
                  <a:pt x="48" y="0"/>
                  <a:pt x="0" y="32"/>
                  <a:pt x="0" y="79"/>
                </a:cubicBezTo>
                <a:close/>
                <a:moveTo>
                  <a:pt x="160" y="159"/>
                </a:moveTo>
                <a:lnTo>
                  <a:pt x="4613" y="159"/>
                </a:lnTo>
                <a:lnTo>
                  <a:pt x="4613" y="3022"/>
                </a:lnTo>
                <a:lnTo>
                  <a:pt x="160" y="3022"/>
                </a:lnTo>
                <a:close/>
                <a:moveTo>
                  <a:pt x="1814" y="1273"/>
                </a:moveTo>
                <a:lnTo>
                  <a:pt x="2816" y="1273"/>
                </a:lnTo>
                <a:cubicBezTo>
                  <a:pt x="2863" y="1273"/>
                  <a:pt x="2895" y="1240"/>
                  <a:pt x="2895" y="1193"/>
                </a:cubicBezTo>
                <a:cubicBezTo>
                  <a:pt x="2895" y="1145"/>
                  <a:pt x="2863" y="1113"/>
                  <a:pt x="2816" y="1113"/>
                </a:cubicBezTo>
                <a:lnTo>
                  <a:pt x="1814" y="1113"/>
                </a:lnTo>
                <a:cubicBezTo>
                  <a:pt x="1766" y="1113"/>
                  <a:pt x="1734" y="1145"/>
                  <a:pt x="1734" y="1193"/>
                </a:cubicBezTo>
                <a:cubicBezTo>
                  <a:pt x="1734" y="1240"/>
                  <a:pt x="1766" y="1273"/>
                  <a:pt x="1814" y="1273"/>
                </a:cubicBezTo>
                <a:close/>
                <a:moveTo>
                  <a:pt x="3389" y="1749"/>
                </a:moveTo>
                <a:lnTo>
                  <a:pt x="1241" y="1749"/>
                </a:lnTo>
                <a:cubicBezTo>
                  <a:pt x="1193" y="1749"/>
                  <a:pt x="1162" y="1782"/>
                  <a:pt x="1162" y="1829"/>
                </a:cubicBezTo>
                <a:cubicBezTo>
                  <a:pt x="1162" y="1877"/>
                  <a:pt x="1193" y="1909"/>
                  <a:pt x="1241" y="1909"/>
                </a:cubicBezTo>
                <a:lnTo>
                  <a:pt x="3389" y="1909"/>
                </a:lnTo>
                <a:cubicBezTo>
                  <a:pt x="3436" y="1909"/>
                  <a:pt x="3468" y="1877"/>
                  <a:pt x="3468" y="1829"/>
                </a:cubicBezTo>
                <a:cubicBezTo>
                  <a:pt x="3468" y="1782"/>
                  <a:pt x="3436" y="1749"/>
                  <a:pt x="3389" y="1749"/>
                </a:cubicBezTo>
                <a:close/>
                <a:moveTo>
                  <a:pt x="3389" y="2068"/>
                </a:moveTo>
                <a:lnTo>
                  <a:pt x="1241" y="2068"/>
                </a:lnTo>
                <a:cubicBezTo>
                  <a:pt x="1193" y="2068"/>
                  <a:pt x="1162" y="2100"/>
                  <a:pt x="1162" y="2147"/>
                </a:cubicBezTo>
                <a:cubicBezTo>
                  <a:pt x="1162" y="2195"/>
                  <a:pt x="1193" y="2227"/>
                  <a:pt x="1241" y="2227"/>
                </a:cubicBezTo>
                <a:lnTo>
                  <a:pt x="3389" y="2227"/>
                </a:lnTo>
                <a:cubicBezTo>
                  <a:pt x="3436" y="2227"/>
                  <a:pt x="3468" y="2195"/>
                  <a:pt x="3468" y="2147"/>
                </a:cubicBezTo>
                <a:cubicBezTo>
                  <a:pt x="3468" y="2100"/>
                  <a:pt x="3436" y="2068"/>
                  <a:pt x="3389" y="2068"/>
                </a:cubicBezTo>
                <a:close/>
                <a:moveTo>
                  <a:pt x="955" y="1591"/>
                </a:moveTo>
                <a:lnTo>
                  <a:pt x="3818" y="1591"/>
                </a:lnTo>
                <a:cubicBezTo>
                  <a:pt x="3865" y="1591"/>
                  <a:pt x="3898" y="1559"/>
                  <a:pt x="3898" y="1511"/>
                </a:cubicBezTo>
                <a:cubicBezTo>
                  <a:pt x="3898" y="1463"/>
                  <a:pt x="3865" y="1431"/>
                  <a:pt x="3818" y="1431"/>
                </a:cubicBezTo>
                <a:lnTo>
                  <a:pt x="955" y="1431"/>
                </a:lnTo>
                <a:cubicBezTo>
                  <a:pt x="907" y="1431"/>
                  <a:pt x="875" y="1463"/>
                  <a:pt x="875" y="1511"/>
                </a:cubicBezTo>
                <a:cubicBezTo>
                  <a:pt x="875" y="1559"/>
                  <a:pt x="907" y="1591"/>
                  <a:pt x="955" y="1591"/>
                </a:cubicBezTo>
                <a:close/>
                <a:moveTo>
                  <a:pt x="4216" y="477"/>
                </a:moveTo>
                <a:lnTo>
                  <a:pt x="557" y="477"/>
                </a:lnTo>
                <a:cubicBezTo>
                  <a:pt x="525" y="477"/>
                  <a:pt x="478" y="509"/>
                  <a:pt x="478" y="556"/>
                </a:cubicBezTo>
                <a:lnTo>
                  <a:pt x="478" y="2624"/>
                </a:lnTo>
                <a:cubicBezTo>
                  <a:pt x="478" y="2672"/>
                  <a:pt x="525" y="2704"/>
                  <a:pt x="557" y="2704"/>
                </a:cubicBezTo>
                <a:lnTo>
                  <a:pt x="4216" y="2704"/>
                </a:lnTo>
                <a:cubicBezTo>
                  <a:pt x="4263" y="2704"/>
                  <a:pt x="4295" y="2672"/>
                  <a:pt x="4295" y="2624"/>
                </a:cubicBezTo>
                <a:lnTo>
                  <a:pt x="4295" y="556"/>
                </a:lnTo>
                <a:cubicBezTo>
                  <a:pt x="4295" y="509"/>
                  <a:pt x="4263" y="477"/>
                  <a:pt x="4216" y="477"/>
                </a:cubicBezTo>
                <a:close/>
                <a:moveTo>
                  <a:pt x="4136" y="2545"/>
                </a:moveTo>
                <a:lnTo>
                  <a:pt x="636" y="2545"/>
                </a:lnTo>
                <a:lnTo>
                  <a:pt x="636" y="636"/>
                </a:lnTo>
                <a:lnTo>
                  <a:pt x="4136" y="63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8" name="Freeform: Shape 14">
            <a:extLst>
              <a:ext uri="{FF2B5EF4-FFF2-40B4-BE49-F238E27FC236}">
                <a16:creationId xmlns:a16="http://schemas.microsoft.com/office/drawing/2014/main" id="{DACA7D8B-02B1-0743-8234-7F532E6C5708}"/>
              </a:ext>
            </a:extLst>
          </p:cNvPr>
          <p:cNvSpPr/>
          <p:nvPr/>
        </p:nvSpPr>
        <p:spPr>
          <a:xfrm>
            <a:off x="10053242" y="3451316"/>
            <a:ext cx="1345320" cy="1551599"/>
          </a:xfrm>
          <a:custGeom>
            <a:avLst/>
            <a:gdLst/>
            <a:ahLst/>
            <a:cxnLst>
              <a:cxn ang="3cd4">
                <a:pos x="hc" y="t"/>
              </a:cxn>
              <a:cxn ang="cd2">
                <a:pos x="l" y="vc"/>
              </a:cxn>
              <a:cxn ang="cd4">
                <a:pos x="hc" y="b"/>
              </a:cxn>
              <a:cxn ang="0">
                <a:pos x="r" y="vc"/>
              </a:cxn>
            </a:cxnLst>
            <a:rect l="l" t="t" r="r" b="b"/>
            <a:pathLst>
              <a:path w="3738" h="4311">
                <a:moveTo>
                  <a:pt x="1367" y="1225"/>
                </a:moveTo>
                <a:cubicBezTo>
                  <a:pt x="1367" y="1257"/>
                  <a:pt x="1399" y="1304"/>
                  <a:pt x="1447" y="1304"/>
                </a:cubicBezTo>
                <a:lnTo>
                  <a:pt x="3451" y="1304"/>
                </a:lnTo>
                <a:cubicBezTo>
                  <a:pt x="3499" y="1304"/>
                  <a:pt x="3531" y="1257"/>
                  <a:pt x="3531" y="1225"/>
                </a:cubicBezTo>
                <a:cubicBezTo>
                  <a:pt x="3531" y="1177"/>
                  <a:pt x="3499" y="1145"/>
                  <a:pt x="3451" y="1145"/>
                </a:cubicBezTo>
                <a:lnTo>
                  <a:pt x="1447" y="1145"/>
                </a:lnTo>
                <a:cubicBezTo>
                  <a:pt x="1399" y="1145"/>
                  <a:pt x="1367" y="1177"/>
                  <a:pt x="1367" y="1225"/>
                </a:cubicBezTo>
                <a:close/>
                <a:moveTo>
                  <a:pt x="588" y="159"/>
                </a:moveTo>
                <a:lnTo>
                  <a:pt x="2593" y="159"/>
                </a:lnTo>
                <a:cubicBezTo>
                  <a:pt x="2640" y="159"/>
                  <a:pt x="2672" y="112"/>
                  <a:pt x="2672" y="80"/>
                </a:cubicBezTo>
                <a:cubicBezTo>
                  <a:pt x="2672" y="32"/>
                  <a:pt x="2640" y="0"/>
                  <a:pt x="2593" y="0"/>
                </a:cubicBezTo>
                <a:lnTo>
                  <a:pt x="588" y="0"/>
                </a:lnTo>
                <a:cubicBezTo>
                  <a:pt x="318" y="0"/>
                  <a:pt x="0" y="207"/>
                  <a:pt x="0" y="525"/>
                </a:cubicBezTo>
                <a:lnTo>
                  <a:pt x="0" y="2848"/>
                </a:lnTo>
                <a:cubicBezTo>
                  <a:pt x="0" y="3118"/>
                  <a:pt x="238" y="3309"/>
                  <a:pt x="461" y="3357"/>
                </a:cubicBezTo>
                <a:cubicBezTo>
                  <a:pt x="540" y="3531"/>
                  <a:pt x="731" y="3690"/>
                  <a:pt x="890" y="3754"/>
                </a:cubicBezTo>
                <a:cubicBezTo>
                  <a:pt x="986" y="4104"/>
                  <a:pt x="1336" y="4311"/>
                  <a:pt x="1590" y="4311"/>
                </a:cubicBezTo>
                <a:lnTo>
                  <a:pt x="3658" y="4311"/>
                </a:lnTo>
                <a:cubicBezTo>
                  <a:pt x="3706" y="4311"/>
                  <a:pt x="3738" y="4263"/>
                  <a:pt x="3738" y="4231"/>
                </a:cubicBezTo>
                <a:lnTo>
                  <a:pt x="3738" y="1511"/>
                </a:lnTo>
                <a:cubicBezTo>
                  <a:pt x="3738" y="1464"/>
                  <a:pt x="3706" y="1432"/>
                  <a:pt x="3658" y="1432"/>
                </a:cubicBezTo>
                <a:lnTo>
                  <a:pt x="1304" y="1432"/>
                </a:lnTo>
                <a:cubicBezTo>
                  <a:pt x="1066" y="1432"/>
                  <a:pt x="1018" y="1400"/>
                  <a:pt x="1018" y="1225"/>
                </a:cubicBezTo>
                <a:cubicBezTo>
                  <a:pt x="1018" y="1034"/>
                  <a:pt x="1066" y="1018"/>
                  <a:pt x="1304" y="1018"/>
                </a:cubicBezTo>
                <a:lnTo>
                  <a:pt x="3022" y="1018"/>
                </a:lnTo>
                <a:cubicBezTo>
                  <a:pt x="3069" y="1018"/>
                  <a:pt x="3101" y="970"/>
                  <a:pt x="3101" y="939"/>
                </a:cubicBezTo>
                <a:cubicBezTo>
                  <a:pt x="3101" y="891"/>
                  <a:pt x="3069" y="859"/>
                  <a:pt x="3022" y="859"/>
                </a:cubicBezTo>
                <a:lnTo>
                  <a:pt x="1304" y="859"/>
                </a:lnTo>
                <a:cubicBezTo>
                  <a:pt x="1066" y="859"/>
                  <a:pt x="858" y="875"/>
                  <a:pt x="858" y="1225"/>
                </a:cubicBezTo>
                <a:lnTo>
                  <a:pt x="858" y="1273"/>
                </a:lnTo>
                <a:lnTo>
                  <a:pt x="858" y="1289"/>
                </a:lnTo>
                <a:lnTo>
                  <a:pt x="858" y="3563"/>
                </a:lnTo>
                <a:cubicBezTo>
                  <a:pt x="731" y="3484"/>
                  <a:pt x="588" y="3324"/>
                  <a:pt x="588" y="3213"/>
                </a:cubicBezTo>
                <a:lnTo>
                  <a:pt x="588" y="875"/>
                </a:lnTo>
                <a:cubicBezTo>
                  <a:pt x="588" y="604"/>
                  <a:pt x="843" y="589"/>
                  <a:pt x="938" y="589"/>
                </a:cubicBezTo>
                <a:lnTo>
                  <a:pt x="2736" y="589"/>
                </a:lnTo>
                <a:cubicBezTo>
                  <a:pt x="2783" y="589"/>
                  <a:pt x="2815" y="541"/>
                  <a:pt x="2815" y="509"/>
                </a:cubicBezTo>
                <a:cubicBezTo>
                  <a:pt x="2815" y="461"/>
                  <a:pt x="2783" y="430"/>
                  <a:pt x="2736" y="430"/>
                </a:cubicBezTo>
                <a:lnTo>
                  <a:pt x="938" y="430"/>
                </a:lnTo>
                <a:cubicBezTo>
                  <a:pt x="636" y="430"/>
                  <a:pt x="429" y="604"/>
                  <a:pt x="429" y="875"/>
                </a:cubicBezTo>
                <a:lnTo>
                  <a:pt x="429" y="3181"/>
                </a:lnTo>
                <a:cubicBezTo>
                  <a:pt x="286" y="3118"/>
                  <a:pt x="159" y="3006"/>
                  <a:pt x="159" y="2848"/>
                </a:cubicBezTo>
                <a:lnTo>
                  <a:pt x="159" y="525"/>
                </a:lnTo>
                <a:cubicBezTo>
                  <a:pt x="159" y="318"/>
                  <a:pt x="397" y="159"/>
                  <a:pt x="588" y="159"/>
                </a:cubicBezTo>
                <a:close/>
                <a:moveTo>
                  <a:pt x="1018" y="1543"/>
                </a:moveTo>
                <a:cubicBezTo>
                  <a:pt x="1097" y="1575"/>
                  <a:pt x="1193" y="1591"/>
                  <a:pt x="1304" y="1591"/>
                </a:cubicBezTo>
                <a:lnTo>
                  <a:pt x="3578" y="1591"/>
                </a:lnTo>
                <a:lnTo>
                  <a:pt x="3578" y="4152"/>
                </a:lnTo>
                <a:lnTo>
                  <a:pt x="1590" y="4152"/>
                </a:lnTo>
                <a:cubicBezTo>
                  <a:pt x="1415" y="4152"/>
                  <a:pt x="1097" y="3993"/>
                  <a:pt x="1033" y="3675"/>
                </a:cubicBezTo>
                <a:cubicBezTo>
                  <a:pt x="1033" y="3643"/>
                  <a:pt x="1018" y="3595"/>
                  <a:pt x="1018" y="35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9" name="Freeform: Shape 15">
            <a:extLst>
              <a:ext uri="{FF2B5EF4-FFF2-40B4-BE49-F238E27FC236}">
                <a16:creationId xmlns:a16="http://schemas.microsoft.com/office/drawing/2014/main" id="{56FB668F-C062-B146-B3E7-482B0CE5C116}"/>
              </a:ext>
            </a:extLst>
          </p:cNvPr>
          <p:cNvSpPr/>
          <p:nvPr/>
        </p:nvSpPr>
        <p:spPr>
          <a:xfrm>
            <a:off x="17489732" y="3508556"/>
            <a:ext cx="1657080" cy="1431359"/>
          </a:xfrm>
          <a:custGeom>
            <a:avLst/>
            <a:gdLst/>
            <a:ahLst/>
            <a:cxnLst>
              <a:cxn ang="3cd4">
                <a:pos x="hc" y="t"/>
              </a:cxn>
              <a:cxn ang="cd2">
                <a:pos x="l" y="vc"/>
              </a:cxn>
              <a:cxn ang="cd4">
                <a:pos x="hc" y="b"/>
              </a:cxn>
              <a:cxn ang="0">
                <a:pos x="r" y="vc"/>
              </a:cxn>
            </a:cxnLst>
            <a:rect l="l" t="t" r="r" b="b"/>
            <a:pathLst>
              <a:path w="4604" h="3977">
                <a:moveTo>
                  <a:pt x="723" y="3977"/>
                </a:moveTo>
                <a:cubicBezTo>
                  <a:pt x="3888" y="3977"/>
                  <a:pt x="3888" y="3977"/>
                  <a:pt x="3888" y="3977"/>
                </a:cubicBezTo>
                <a:cubicBezTo>
                  <a:pt x="3920" y="3977"/>
                  <a:pt x="3952" y="3961"/>
                  <a:pt x="3952" y="3913"/>
                </a:cubicBezTo>
                <a:cubicBezTo>
                  <a:pt x="4604" y="2020"/>
                  <a:pt x="4604" y="2020"/>
                  <a:pt x="4604" y="2020"/>
                </a:cubicBezTo>
                <a:cubicBezTo>
                  <a:pt x="4604" y="1989"/>
                  <a:pt x="4604" y="1957"/>
                  <a:pt x="4588" y="1941"/>
                </a:cubicBezTo>
                <a:cubicBezTo>
                  <a:pt x="4572" y="1925"/>
                  <a:pt x="4556" y="1909"/>
                  <a:pt x="4524" y="1909"/>
                </a:cubicBezTo>
                <a:cubicBezTo>
                  <a:pt x="2949" y="1909"/>
                  <a:pt x="2949" y="1909"/>
                  <a:pt x="2949" y="1909"/>
                </a:cubicBezTo>
                <a:cubicBezTo>
                  <a:pt x="2934" y="1893"/>
                  <a:pt x="2934" y="1893"/>
                  <a:pt x="2934" y="1893"/>
                </a:cubicBezTo>
                <a:cubicBezTo>
                  <a:pt x="2934" y="1893"/>
                  <a:pt x="2854" y="1559"/>
                  <a:pt x="3125" y="1289"/>
                </a:cubicBezTo>
                <a:cubicBezTo>
                  <a:pt x="3331" y="1082"/>
                  <a:pt x="3490" y="700"/>
                  <a:pt x="3363" y="398"/>
                </a:cubicBezTo>
                <a:cubicBezTo>
                  <a:pt x="3299" y="223"/>
                  <a:pt x="3093" y="0"/>
                  <a:pt x="2536" y="0"/>
                </a:cubicBezTo>
                <a:cubicBezTo>
                  <a:pt x="2138" y="0"/>
                  <a:pt x="2138" y="0"/>
                  <a:pt x="2138" y="0"/>
                </a:cubicBezTo>
                <a:cubicBezTo>
                  <a:pt x="1581" y="0"/>
                  <a:pt x="1375" y="223"/>
                  <a:pt x="1295" y="398"/>
                </a:cubicBezTo>
                <a:cubicBezTo>
                  <a:pt x="1168" y="700"/>
                  <a:pt x="1327" y="1082"/>
                  <a:pt x="1534" y="1289"/>
                </a:cubicBezTo>
                <a:cubicBezTo>
                  <a:pt x="1804" y="1559"/>
                  <a:pt x="1725" y="1877"/>
                  <a:pt x="1725" y="1909"/>
                </a:cubicBezTo>
                <a:cubicBezTo>
                  <a:pt x="86" y="1909"/>
                  <a:pt x="86" y="1909"/>
                  <a:pt x="86" y="1909"/>
                </a:cubicBezTo>
                <a:cubicBezTo>
                  <a:pt x="54" y="1909"/>
                  <a:pt x="23" y="1925"/>
                  <a:pt x="7" y="1941"/>
                </a:cubicBezTo>
                <a:cubicBezTo>
                  <a:pt x="7" y="1957"/>
                  <a:pt x="-9" y="1989"/>
                  <a:pt x="7" y="2020"/>
                </a:cubicBezTo>
                <a:cubicBezTo>
                  <a:pt x="643" y="3913"/>
                  <a:pt x="643" y="3913"/>
                  <a:pt x="643" y="3913"/>
                </a:cubicBezTo>
                <a:cubicBezTo>
                  <a:pt x="659" y="3961"/>
                  <a:pt x="691" y="3977"/>
                  <a:pt x="723" y="3977"/>
                </a:cubicBezTo>
                <a:close/>
                <a:moveTo>
                  <a:pt x="1645" y="1177"/>
                </a:moveTo>
                <a:cubicBezTo>
                  <a:pt x="1470" y="1002"/>
                  <a:pt x="1343" y="684"/>
                  <a:pt x="1438" y="462"/>
                </a:cubicBezTo>
                <a:cubicBezTo>
                  <a:pt x="1518" y="271"/>
                  <a:pt x="1756" y="159"/>
                  <a:pt x="2138" y="159"/>
                </a:cubicBezTo>
                <a:cubicBezTo>
                  <a:pt x="2536" y="159"/>
                  <a:pt x="2536" y="159"/>
                  <a:pt x="2536" y="159"/>
                </a:cubicBezTo>
                <a:cubicBezTo>
                  <a:pt x="2902" y="159"/>
                  <a:pt x="3140" y="271"/>
                  <a:pt x="3220" y="462"/>
                </a:cubicBezTo>
                <a:cubicBezTo>
                  <a:pt x="3315" y="684"/>
                  <a:pt x="3188" y="1002"/>
                  <a:pt x="3013" y="1177"/>
                </a:cubicBezTo>
                <a:cubicBezTo>
                  <a:pt x="2711" y="1480"/>
                  <a:pt x="2759" y="1829"/>
                  <a:pt x="2774" y="1909"/>
                </a:cubicBezTo>
                <a:cubicBezTo>
                  <a:pt x="1884" y="1909"/>
                  <a:pt x="1884" y="1909"/>
                  <a:pt x="1884" y="1909"/>
                </a:cubicBezTo>
                <a:cubicBezTo>
                  <a:pt x="1899" y="1814"/>
                  <a:pt x="1947" y="1480"/>
                  <a:pt x="1645" y="1177"/>
                </a:cubicBezTo>
                <a:close/>
                <a:moveTo>
                  <a:pt x="1709" y="2068"/>
                </a:moveTo>
                <a:cubicBezTo>
                  <a:pt x="1581" y="3181"/>
                  <a:pt x="1581" y="3181"/>
                  <a:pt x="1581" y="3181"/>
                </a:cubicBezTo>
                <a:cubicBezTo>
                  <a:pt x="1263" y="3181"/>
                  <a:pt x="1263" y="3181"/>
                  <a:pt x="1263" y="3181"/>
                </a:cubicBezTo>
                <a:cubicBezTo>
                  <a:pt x="1216" y="3181"/>
                  <a:pt x="1184" y="3213"/>
                  <a:pt x="1184" y="3261"/>
                </a:cubicBezTo>
                <a:cubicBezTo>
                  <a:pt x="1184" y="3308"/>
                  <a:pt x="1216" y="3341"/>
                  <a:pt x="1263" y="3341"/>
                </a:cubicBezTo>
                <a:cubicBezTo>
                  <a:pt x="1899" y="3341"/>
                  <a:pt x="1899" y="3341"/>
                  <a:pt x="1899" y="3341"/>
                </a:cubicBezTo>
                <a:cubicBezTo>
                  <a:pt x="1947" y="3341"/>
                  <a:pt x="1979" y="3308"/>
                  <a:pt x="1979" y="3261"/>
                </a:cubicBezTo>
                <a:cubicBezTo>
                  <a:pt x="1979" y="3213"/>
                  <a:pt x="1947" y="3181"/>
                  <a:pt x="1899" y="3181"/>
                </a:cubicBezTo>
                <a:cubicBezTo>
                  <a:pt x="1741" y="3181"/>
                  <a:pt x="1741" y="3181"/>
                  <a:pt x="1741" y="3181"/>
                </a:cubicBezTo>
                <a:cubicBezTo>
                  <a:pt x="1868" y="2068"/>
                  <a:pt x="1868" y="2068"/>
                  <a:pt x="1868" y="2068"/>
                </a:cubicBezTo>
                <a:cubicBezTo>
                  <a:pt x="2806" y="2068"/>
                  <a:pt x="2806" y="2068"/>
                  <a:pt x="2806" y="2068"/>
                </a:cubicBezTo>
                <a:cubicBezTo>
                  <a:pt x="2902" y="3181"/>
                  <a:pt x="2902" y="3181"/>
                  <a:pt x="2902" y="3181"/>
                </a:cubicBezTo>
                <a:cubicBezTo>
                  <a:pt x="2695" y="3181"/>
                  <a:pt x="2695" y="3181"/>
                  <a:pt x="2695" y="3181"/>
                </a:cubicBezTo>
                <a:cubicBezTo>
                  <a:pt x="2647" y="3181"/>
                  <a:pt x="2616" y="3213"/>
                  <a:pt x="2616" y="3261"/>
                </a:cubicBezTo>
                <a:cubicBezTo>
                  <a:pt x="2616" y="3308"/>
                  <a:pt x="2647" y="3341"/>
                  <a:pt x="2695" y="3341"/>
                </a:cubicBezTo>
                <a:cubicBezTo>
                  <a:pt x="2981" y="3341"/>
                  <a:pt x="2981" y="3341"/>
                  <a:pt x="2981" y="3341"/>
                </a:cubicBezTo>
                <a:lnTo>
                  <a:pt x="2997" y="3341"/>
                </a:lnTo>
                <a:cubicBezTo>
                  <a:pt x="3331" y="3341"/>
                  <a:pt x="3331" y="3341"/>
                  <a:pt x="3331" y="3341"/>
                </a:cubicBezTo>
                <a:cubicBezTo>
                  <a:pt x="3363" y="3341"/>
                  <a:pt x="3411" y="3308"/>
                  <a:pt x="3411" y="3261"/>
                </a:cubicBezTo>
                <a:cubicBezTo>
                  <a:pt x="3411" y="3213"/>
                  <a:pt x="3363" y="3181"/>
                  <a:pt x="3331" y="3181"/>
                </a:cubicBezTo>
                <a:cubicBezTo>
                  <a:pt x="3061" y="3181"/>
                  <a:pt x="3061" y="3181"/>
                  <a:pt x="3061" y="3181"/>
                </a:cubicBezTo>
                <a:cubicBezTo>
                  <a:pt x="2965" y="2068"/>
                  <a:pt x="2965" y="2068"/>
                  <a:pt x="2965" y="2068"/>
                </a:cubicBezTo>
                <a:cubicBezTo>
                  <a:pt x="4413" y="2068"/>
                  <a:pt x="4413" y="2068"/>
                  <a:pt x="4413" y="2068"/>
                </a:cubicBezTo>
                <a:cubicBezTo>
                  <a:pt x="3824" y="3817"/>
                  <a:pt x="3824" y="3817"/>
                  <a:pt x="3824" y="3817"/>
                </a:cubicBezTo>
                <a:cubicBezTo>
                  <a:pt x="771" y="3817"/>
                  <a:pt x="771" y="3817"/>
                  <a:pt x="771" y="3817"/>
                </a:cubicBezTo>
                <a:cubicBezTo>
                  <a:pt x="182" y="2068"/>
                  <a:pt x="182" y="2068"/>
                  <a:pt x="182" y="206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0" name="Freeform: Shape 16">
            <a:extLst>
              <a:ext uri="{FF2B5EF4-FFF2-40B4-BE49-F238E27FC236}">
                <a16:creationId xmlns:a16="http://schemas.microsoft.com/office/drawing/2014/main" id="{D8FC41AC-5595-3C49-9227-B30F65F7C5EA}"/>
              </a:ext>
            </a:extLst>
          </p:cNvPr>
          <p:cNvSpPr/>
          <p:nvPr/>
        </p:nvSpPr>
        <p:spPr>
          <a:xfrm>
            <a:off x="6185203" y="3411355"/>
            <a:ext cx="1196280" cy="1631520"/>
          </a:xfrm>
          <a:custGeom>
            <a:avLst/>
            <a:gdLst/>
            <a:ahLst/>
            <a:cxnLst>
              <a:cxn ang="3cd4">
                <a:pos x="hc" y="t"/>
              </a:cxn>
              <a:cxn ang="cd2">
                <a:pos x="l" y="vc"/>
              </a:cxn>
              <a:cxn ang="cd4">
                <a:pos x="hc" y="b"/>
              </a:cxn>
              <a:cxn ang="0">
                <a:pos x="r" y="vc"/>
              </a:cxn>
            </a:cxnLst>
            <a:rect l="l" t="t" r="r" b="b"/>
            <a:pathLst>
              <a:path w="3324" h="4533">
                <a:moveTo>
                  <a:pt x="0" y="3372"/>
                </a:moveTo>
                <a:cubicBezTo>
                  <a:pt x="0" y="3658"/>
                  <a:pt x="191" y="3881"/>
                  <a:pt x="445" y="3929"/>
                </a:cubicBezTo>
                <a:lnTo>
                  <a:pt x="445" y="3944"/>
                </a:lnTo>
                <a:cubicBezTo>
                  <a:pt x="445" y="4247"/>
                  <a:pt x="747" y="4533"/>
                  <a:pt x="1049" y="4533"/>
                </a:cubicBezTo>
                <a:lnTo>
                  <a:pt x="3245" y="4533"/>
                </a:lnTo>
                <a:cubicBezTo>
                  <a:pt x="3276" y="4533"/>
                  <a:pt x="3324" y="4485"/>
                  <a:pt x="3324" y="4453"/>
                </a:cubicBezTo>
                <a:lnTo>
                  <a:pt x="3324" y="1733"/>
                </a:lnTo>
                <a:cubicBezTo>
                  <a:pt x="3324" y="1686"/>
                  <a:pt x="3276" y="1654"/>
                  <a:pt x="3245" y="1654"/>
                </a:cubicBezTo>
                <a:lnTo>
                  <a:pt x="1145" y="1654"/>
                </a:lnTo>
                <a:cubicBezTo>
                  <a:pt x="922" y="1654"/>
                  <a:pt x="604" y="1511"/>
                  <a:pt x="604" y="1304"/>
                </a:cubicBezTo>
                <a:lnTo>
                  <a:pt x="604" y="1113"/>
                </a:lnTo>
                <a:cubicBezTo>
                  <a:pt x="604" y="906"/>
                  <a:pt x="922" y="747"/>
                  <a:pt x="1145" y="747"/>
                </a:cubicBezTo>
                <a:lnTo>
                  <a:pt x="3165" y="747"/>
                </a:lnTo>
                <a:cubicBezTo>
                  <a:pt x="3212" y="747"/>
                  <a:pt x="3245" y="715"/>
                  <a:pt x="3245" y="684"/>
                </a:cubicBezTo>
                <a:cubicBezTo>
                  <a:pt x="3245" y="636"/>
                  <a:pt x="3212" y="604"/>
                  <a:pt x="3165" y="604"/>
                </a:cubicBezTo>
                <a:lnTo>
                  <a:pt x="1145" y="604"/>
                </a:lnTo>
                <a:cubicBezTo>
                  <a:pt x="858" y="604"/>
                  <a:pt x="445" y="795"/>
                  <a:pt x="445" y="1113"/>
                </a:cubicBezTo>
                <a:cubicBezTo>
                  <a:pt x="270" y="1081"/>
                  <a:pt x="159" y="938"/>
                  <a:pt x="159" y="732"/>
                </a:cubicBezTo>
                <a:lnTo>
                  <a:pt x="159" y="541"/>
                </a:lnTo>
                <a:cubicBezTo>
                  <a:pt x="159" y="334"/>
                  <a:pt x="349" y="159"/>
                  <a:pt x="572" y="159"/>
                </a:cubicBezTo>
                <a:lnTo>
                  <a:pt x="2560" y="159"/>
                </a:lnTo>
                <a:cubicBezTo>
                  <a:pt x="2608" y="159"/>
                  <a:pt x="2640" y="111"/>
                  <a:pt x="2640" y="79"/>
                </a:cubicBezTo>
                <a:cubicBezTo>
                  <a:pt x="2640" y="32"/>
                  <a:pt x="2608" y="0"/>
                  <a:pt x="2560" y="0"/>
                </a:cubicBezTo>
                <a:lnTo>
                  <a:pt x="572" y="0"/>
                </a:lnTo>
                <a:cubicBezTo>
                  <a:pt x="270" y="0"/>
                  <a:pt x="0" y="254"/>
                  <a:pt x="0" y="541"/>
                </a:cubicBezTo>
                <a:lnTo>
                  <a:pt x="0" y="732"/>
                </a:lnTo>
                <a:lnTo>
                  <a:pt x="0" y="747"/>
                </a:lnTo>
                <a:close/>
                <a:moveTo>
                  <a:pt x="604" y="1606"/>
                </a:moveTo>
                <a:cubicBezTo>
                  <a:pt x="747" y="1733"/>
                  <a:pt x="970" y="1813"/>
                  <a:pt x="1145" y="1813"/>
                </a:cubicBezTo>
                <a:lnTo>
                  <a:pt x="3165" y="1813"/>
                </a:lnTo>
                <a:lnTo>
                  <a:pt x="3165" y="4374"/>
                </a:lnTo>
                <a:lnTo>
                  <a:pt x="1049" y="4374"/>
                </a:lnTo>
                <a:cubicBezTo>
                  <a:pt x="827" y="4374"/>
                  <a:pt x="604" y="4151"/>
                  <a:pt x="604" y="3944"/>
                </a:cubicBezTo>
                <a:close/>
                <a:moveTo>
                  <a:pt x="159" y="1129"/>
                </a:moveTo>
                <a:cubicBezTo>
                  <a:pt x="222" y="1209"/>
                  <a:pt x="334" y="1256"/>
                  <a:pt x="445" y="1272"/>
                </a:cubicBezTo>
                <a:lnTo>
                  <a:pt x="445" y="1304"/>
                </a:lnTo>
                <a:lnTo>
                  <a:pt x="445" y="1336"/>
                </a:lnTo>
                <a:lnTo>
                  <a:pt x="445" y="1352"/>
                </a:lnTo>
                <a:lnTo>
                  <a:pt x="445" y="3769"/>
                </a:lnTo>
                <a:cubicBezTo>
                  <a:pt x="270" y="3722"/>
                  <a:pt x="159" y="3563"/>
                  <a:pt x="159" y="3372"/>
                </a:cubicBezTo>
                <a:close/>
                <a:moveTo>
                  <a:pt x="3165" y="1193"/>
                </a:moveTo>
                <a:lnTo>
                  <a:pt x="1049" y="1193"/>
                </a:lnTo>
                <a:cubicBezTo>
                  <a:pt x="1001" y="1193"/>
                  <a:pt x="970" y="1241"/>
                  <a:pt x="970" y="1272"/>
                </a:cubicBezTo>
                <a:cubicBezTo>
                  <a:pt x="970" y="1320"/>
                  <a:pt x="1001" y="1352"/>
                  <a:pt x="1049" y="1352"/>
                </a:cubicBezTo>
                <a:lnTo>
                  <a:pt x="3165" y="1352"/>
                </a:lnTo>
                <a:cubicBezTo>
                  <a:pt x="3212" y="1352"/>
                  <a:pt x="3245" y="1320"/>
                  <a:pt x="3245" y="1272"/>
                </a:cubicBezTo>
                <a:cubicBezTo>
                  <a:pt x="3245" y="1241"/>
                  <a:pt x="3212" y="1193"/>
                  <a:pt x="3165" y="119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1" name="Freeform: Shape 17">
            <a:extLst>
              <a:ext uri="{FF2B5EF4-FFF2-40B4-BE49-F238E27FC236}">
                <a16:creationId xmlns:a16="http://schemas.microsoft.com/office/drawing/2014/main" id="{C85D97D0-DA35-0346-BC0A-E5666873DA52}"/>
              </a:ext>
            </a:extLst>
          </p:cNvPr>
          <p:cNvSpPr/>
          <p:nvPr/>
        </p:nvSpPr>
        <p:spPr>
          <a:xfrm>
            <a:off x="13873932" y="3579476"/>
            <a:ext cx="1717560" cy="1291680"/>
          </a:xfrm>
          <a:custGeom>
            <a:avLst/>
            <a:gdLst/>
            <a:ahLst/>
            <a:cxnLst>
              <a:cxn ang="3cd4">
                <a:pos x="hc" y="t"/>
              </a:cxn>
              <a:cxn ang="cd2">
                <a:pos x="l" y="vc"/>
              </a:cxn>
              <a:cxn ang="cd4">
                <a:pos x="hc" y="b"/>
              </a:cxn>
              <a:cxn ang="0">
                <a:pos x="r" y="vc"/>
              </a:cxn>
            </a:cxnLst>
            <a:rect l="l" t="t" r="r" b="b"/>
            <a:pathLst>
              <a:path w="4772" h="3589">
                <a:moveTo>
                  <a:pt x="2418" y="3589"/>
                </a:moveTo>
                <a:cubicBezTo>
                  <a:pt x="2434" y="3589"/>
                  <a:pt x="2450" y="3589"/>
                  <a:pt x="2450" y="3589"/>
                </a:cubicBezTo>
                <a:cubicBezTo>
                  <a:pt x="2465" y="3589"/>
                  <a:pt x="2465" y="3589"/>
                  <a:pt x="2465" y="3589"/>
                </a:cubicBezTo>
                <a:cubicBezTo>
                  <a:pt x="2482" y="3589"/>
                  <a:pt x="2497" y="3589"/>
                  <a:pt x="2513" y="3573"/>
                </a:cubicBezTo>
                <a:cubicBezTo>
                  <a:pt x="2974" y="3446"/>
                  <a:pt x="4024" y="3239"/>
                  <a:pt x="4661" y="3541"/>
                </a:cubicBezTo>
                <a:cubicBezTo>
                  <a:pt x="4676" y="3557"/>
                  <a:pt x="4708" y="3557"/>
                  <a:pt x="4740" y="3541"/>
                </a:cubicBezTo>
                <a:cubicBezTo>
                  <a:pt x="4756" y="3525"/>
                  <a:pt x="4772" y="3493"/>
                  <a:pt x="4772" y="3477"/>
                </a:cubicBezTo>
                <a:cubicBezTo>
                  <a:pt x="4772" y="296"/>
                  <a:pt x="4772" y="296"/>
                  <a:pt x="4772" y="296"/>
                </a:cubicBezTo>
                <a:cubicBezTo>
                  <a:pt x="4772" y="265"/>
                  <a:pt x="4756" y="233"/>
                  <a:pt x="4724" y="217"/>
                </a:cubicBezTo>
                <a:cubicBezTo>
                  <a:pt x="4501" y="105"/>
                  <a:pt x="4247" y="42"/>
                  <a:pt x="3929" y="10"/>
                </a:cubicBezTo>
                <a:cubicBezTo>
                  <a:pt x="3643" y="-6"/>
                  <a:pt x="3356" y="-6"/>
                  <a:pt x="3102" y="42"/>
                </a:cubicBezTo>
                <a:cubicBezTo>
                  <a:pt x="2974" y="58"/>
                  <a:pt x="2863" y="90"/>
                  <a:pt x="2752" y="121"/>
                </a:cubicBezTo>
                <a:cubicBezTo>
                  <a:pt x="2688" y="153"/>
                  <a:pt x="2640" y="169"/>
                  <a:pt x="2593" y="201"/>
                </a:cubicBezTo>
                <a:cubicBezTo>
                  <a:pt x="2545" y="217"/>
                  <a:pt x="2513" y="233"/>
                  <a:pt x="2465" y="248"/>
                </a:cubicBezTo>
                <a:cubicBezTo>
                  <a:pt x="1829" y="-70"/>
                  <a:pt x="557" y="-85"/>
                  <a:pt x="48" y="233"/>
                </a:cubicBezTo>
                <a:cubicBezTo>
                  <a:pt x="16" y="248"/>
                  <a:pt x="0" y="265"/>
                  <a:pt x="0" y="296"/>
                </a:cubicBezTo>
                <a:cubicBezTo>
                  <a:pt x="0" y="3477"/>
                  <a:pt x="0" y="3477"/>
                  <a:pt x="0" y="3477"/>
                </a:cubicBezTo>
                <a:cubicBezTo>
                  <a:pt x="0" y="3493"/>
                  <a:pt x="16" y="3525"/>
                  <a:pt x="48" y="3541"/>
                </a:cubicBezTo>
                <a:cubicBezTo>
                  <a:pt x="64" y="3557"/>
                  <a:pt x="95" y="3557"/>
                  <a:pt x="111" y="3541"/>
                </a:cubicBezTo>
                <a:cubicBezTo>
                  <a:pt x="1018" y="3207"/>
                  <a:pt x="2418" y="3589"/>
                  <a:pt x="2418" y="3589"/>
                </a:cubicBezTo>
                <a:close/>
                <a:moveTo>
                  <a:pt x="2545" y="392"/>
                </a:moveTo>
                <a:cubicBezTo>
                  <a:pt x="2593" y="376"/>
                  <a:pt x="2625" y="360"/>
                  <a:pt x="2656" y="344"/>
                </a:cubicBezTo>
                <a:cubicBezTo>
                  <a:pt x="2704" y="312"/>
                  <a:pt x="2752" y="296"/>
                  <a:pt x="2800" y="280"/>
                </a:cubicBezTo>
                <a:cubicBezTo>
                  <a:pt x="2911" y="233"/>
                  <a:pt x="3006" y="217"/>
                  <a:pt x="3118" y="201"/>
                </a:cubicBezTo>
                <a:cubicBezTo>
                  <a:pt x="3356" y="153"/>
                  <a:pt x="3643" y="153"/>
                  <a:pt x="3913" y="169"/>
                </a:cubicBezTo>
                <a:cubicBezTo>
                  <a:pt x="4183" y="201"/>
                  <a:pt x="4422" y="248"/>
                  <a:pt x="4613" y="344"/>
                </a:cubicBezTo>
                <a:cubicBezTo>
                  <a:pt x="4613" y="3350"/>
                  <a:pt x="4613" y="3350"/>
                  <a:pt x="4613" y="3350"/>
                </a:cubicBezTo>
                <a:cubicBezTo>
                  <a:pt x="3961" y="3111"/>
                  <a:pt x="3038" y="3287"/>
                  <a:pt x="2545" y="3398"/>
                </a:cubicBezTo>
                <a:close/>
                <a:moveTo>
                  <a:pt x="159" y="3366"/>
                </a:moveTo>
                <a:cubicBezTo>
                  <a:pt x="159" y="344"/>
                  <a:pt x="159" y="344"/>
                  <a:pt x="159" y="344"/>
                </a:cubicBezTo>
                <a:cubicBezTo>
                  <a:pt x="620" y="105"/>
                  <a:pt x="1765" y="74"/>
                  <a:pt x="2386" y="392"/>
                </a:cubicBezTo>
                <a:cubicBezTo>
                  <a:pt x="2386" y="3414"/>
                  <a:pt x="2386" y="3414"/>
                  <a:pt x="2386" y="3414"/>
                </a:cubicBezTo>
                <a:cubicBezTo>
                  <a:pt x="2195" y="3366"/>
                  <a:pt x="1638" y="3239"/>
                  <a:pt x="1050" y="3239"/>
                </a:cubicBezTo>
                <a:cubicBezTo>
                  <a:pt x="747" y="3239"/>
                  <a:pt x="446" y="3271"/>
                  <a:pt x="159" y="336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2" name="Freeform: Shape 18">
            <a:extLst>
              <a:ext uri="{FF2B5EF4-FFF2-40B4-BE49-F238E27FC236}">
                <a16:creationId xmlns:a16="http://schemas.microsoft.com/office/drawing/2014/main" id="{6F18592C-AF9F-B34A-92C8-D1A16E392598}"/>
              </a:ext>
            </a:extLst>
          </p:cNvPr>
          <p:cNvSpPr/>
          <p:nvPr/>
        </p:nvSpPr>
        <p:spPr>
          <a:xfrm>
            <a:off x="1977159" y="3451316"/>
            <a:ext cx="1139400" cy="1545839"/>
          </a:xfrm>
          <a:custGeom>
            <a:avLst/>
            <a:gdLst/>
            <a:ahLst/>
            <a:cxnLst>
              <a:cxn ang="3cd4">
                <a:pos x="hc" y="t"/>
              </a:cxn>
              <a:cxn ang="cd2">
                <a:pos x="l" y="vc"/>
              </a:cxn>
              <a:cxn ang="cd4">
                <a:pos x="hc" y="b"/>
              </a:cxn>
              <a:cxn ang="0">
                <a:pos x="r" y="vc"/>
              </a:cxn>
            </a:cxnLst>
            <a:rect l="l" t="t" r="r" b="b"/>
            <a:pathLst>
              <a:path w="3166" h="4295">
                <a:moveTo>
                  <a:pt x="0" y="3738"/>
                </a:moveTo>
                <a:cubicBezTo>
                  <a:pt x="0" y="4009"/>
                  <a:pt x="160" y="4295"/>
                  <a:pt x="478" y="4295"/>
                </a:cubicBezTo>
                <a:lnTo>
                  <a:pt x="3086" y="4295"/>
                </a:lnTo>
                <a:cubicBezTo>
                  <a:pt x="3134" y="4295"/>
                  <a:pt x="3166" y="4263"/>
                  <a:pt x="3166" y="4215"/>
                </a:cubicBezTo>
                <a:lnTo>
                  <a:pt x="3166" y="1225"/>
                </a:lnTo>
                <a:cubicBezTo>
                  <a:pt x="3166" y="1177"/>
                  <a:pt x="3134" y="1145"/>
                  <a:pt x="3086" y="1145"/>
                </a:cubicBezTo>
                <a:lnTo>
                  <a:pt x="557" y="1145"/>
                </a:lnTo>
                <a:cubicBezTo>
                  <a:pt x="366" y="1145"/>
                  <a:pt x="160" y="923"/>
                  <a:pt x="160" y="700"/>
                </a:cubicBezTo>
                <a:lnTo>
                  <a:pt x="160" y="525"/>
                </a:lnTo>
                <a:cubicBezTo>
                  <a:pt x="160" y="334"/>
                  <a:pt x="350" y="159"/>
                  <a:pt x="557" y="159"/>
                </a:cubicBezTo>
                <a:lnTo>
                  <a:pt x="3006" y="159"/>
                </a:lnTo>
                <a:cubicBezTo>
                  <a:pt x="3054" y="159"/>
                  <a:pt x="3086" y="128"/>
                  <a:pt x="3086" y="80"/>
                </a:cubicBezTo>
                <a:cubicBezTo>
                  <a:pt x="3086" y="32"/>
                  <a:pt x="3054" y="0"/>
                  <a:pt x="3006" y="0"/>
                </a:cubicBezTo>
                <a:lnTo>
                  <a:pt x="557" y="0"/>
                </a:lnTo>
                <a:cubicBezTo>
                  <a:pt x="270" y="0"/>
                  <a:pt x="0" y="239"/>
                  <a:pt x="0" y="525"/>
                </a:cubicBezTo>
                <a:lnTo>
                  <a:pt x="0" y="700"/>
                </a:lnTo>
                <a:lnTo>
                  <a:pt x="0" y="716"/>
                </a:lnTo>
                <a:close/>
                <a:moveTo>
                  <a:pt x="160" y="1098"/>
                </a:moveTo>
                <a:cubicBezTo>
                  <a:pt x="270" y="1225"/>
                  <a:pt x="414" y="1304"/>
                  <a:pt x="557" y="1304"/>
                </a:cubicBezTo>
                <a:lnTo>
                  <a:pt x="3006" y="1304"/>
                </a:lnTo>
                <a:lnTo>
                  <a:pt x="3006" y="4136"/>
                </a:lnTo>
                <a:lnTo>
                  <a:pt x="478" y="4136"/>
                </a:lnTo>
                <a:cubicBezTo>
                  <a:pt x="270" y="4136"/>
                  <a:pt x="160" y="3929"/>
                  <a:pt x="160" y="3738"/>
                </a:cubicBezTo>
                <a:close/>
                <a:moveTo>
                  <a:pt x="446" y="573"/>
                </a:moveTo>
                <a:cubicBezTo>
                  <a:pt x="398" y="573"/>
                  <a:pt x="366" y="604"/>
                  <a:pt x="366" y="652"/>
                </a:cubicBezTo>
                <a:cubicBezTo>
                  <a:pt x="366" y="684"/>
                  <a:pt x="398" y="732"/>
                  <a:pt x="446" y="732"/>
                </a:cubicBezTo>
                <a:lnTo>
                  <a:pt x="2720" y="732"/>
                </a:lnTo>
                <a:cubicBezTo>
                  <a:pt x="2768" y="732"/>
                  <a:pt x="2800" y="684"/>
                  <a:pt x="2800" y="652"/>
                </a:cubicBezTo>
                <a:cubicBezTo>
                  <a:pt x="2800" y="604"/>
                  <a:pt x="2768" y="573"/>
                  <a:pt x="2720" y="57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3993442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F5E2F0-161D-C34F-B716-45BE19F93D90}"/>
              </a:ext>
            </a:extLst>
          </p:cNvPr>
          <p:cNvSpPr>
            <a:spLocks noGrp="1"/>
          </p:cNvSpPr>
          <p:nvPr>
            <p:ph type="title"/>
          </p:nvPr>
        </p:nvSpPr>
        <p:spPr/>
        <p:txBody>
          <a:bodyPr/>
          <a:lstStyle/>
          <a:p>
            <a:r>
              <a:rPr lang="en-US" dirty="0"/>
              <a:t>Three column layout</a:t>
            </a:r>
          </a:p>
        </p:txBody>
      </p:sp>
      <p:sp>
        <p:nvSpPr>
          <p:cNvPr id="3" name="Content Placeholder 2">
            <a:extLst>
              <a:ext uri="{FF2B5EF4-FFF2-40B4-BE49-F238E27FC236}">
                <a16:creationId xmlns:a16="http://schemas.microsoft.com/office/drawing/2014/main" id="{0B5C0CAD-BDED-2B4A-ACDA-161E860D1AD0}"/>
              </a:ext>
            </a:extLst>
          </p:cNvPr>
          <p:cNvSpPr>
            <a:spLocks noGrp="1"/>
          </p:cNvSpPr>
          <p:nvPr>
            <p:ph sz="half" idx="1"/>
          </p:nvPr>
        </p:nvSpPr>
        <p:spPr/>
        <p:txBody>
          <a:bodyPr/>
          <a:lstStyle/>
          <a:p>
            <a:pPr marL="0" indent="0">
              <a:buNone/>
            </a:pPr>
            <a:r>
              <a:rPr lang="en-US" sz="5400" dirty="0"/>
              <a:t>Header</a:t>
            </a:r>
          </a:p>
          <a:p>
            <a:pPr marL="0" indent="0">
              <a:buNone/>
            </a:pPr>
            <a:r>
              <a:rPr lang="en-US" dirty="0"/>
              <a:t>Copy</a:t>
            </a:r>
          </a:p>
          <a:p>
            <a:r>
              <a:rPr lang="en-US" dirty="0"/>
              <a:t>Bullet</a:t>
            </a:r>
          </a:p>
          <a:p>
            <a:pPr lvl="1"/>
            <a:r>
              <a:rPr lang="en-US" dirty="0"/>
              <a:t>Bullet</a:t>
            </a:r>
          </a:p>
          <a:p>
            <a:pPr lvl="2"/>
            <a:r>
              <a:rPr lang="en-US" dirty="0"/>
              <a:t>Bullet</a:t>
            </a:r>
          </a:p>
          <a:p>
            <a:endParaRPr lang="en-US" dirty="0"/>
          </a:p>
        </p:txBody>
      </p:sp>
      <p:sp>
        <p:nvSpPr>
          <p:cNvPr id="4" name="Content Placeholder 3">
            <a:extLst>
              <a:ext uri="{FF2B5EF4-FFF2-40B4-BE49-F238E27FC236}">
                <a16:creationId xmlns:a16="http://schemas.microsoft.com/office/drawing/2014/main" id="{8AC288BA-EF7D-1540-B609-08F811CB31F8}"/>
              </a:ext>
            </a:extLst>
          </p:cNvPr>
          <p:cNvSpPr>
            <a:spLocks noGrp="1"/>
          </p:cNvSpPr>
          <p:nvPr>
            <p:ph sz="half" idx="2"/>
          </p:nvPr>
        </p:nvSpPr>
        <p:spPr/>
        <p:txBody>
          <a:bodyPr/>
          <a:lstStyle/>
          <a:p>
            <a:pPr marL="0" indent="0">
              <a:buNone/>
            </a:pPr>
            <a:r>
              <a:rPr lang="en-US" sz="5400" dirty="0"/>
              <a:t>Header</a:t>
            </a:r>
          </a:p>
          <a:p>
            <a:pPr marL="0" indent="0">
              <a:buNone/>
            </a:pPr>
            <a:r>
              <a:rPr lang="en-US" dirty="0"/>
              <a:t>Copy</a:t>
            </a:r>
          </a:p>
          <a:p>
            <a:r>
              <a:rPr lang="en-US" dirty="0"/>
              <a:t>Bullet</a:t>
            </a:r>
          </a:p>
          <a:p>
            <a:pPr lvl="1"/>
            <a:r>
              <a:rPr lang="en-US" dirty="0"/>
              <a:t>Bullet</a:t>
            </a:r>
          </a:p>
          <a:p>
            <a:pPr lvl="2"/>
            <a:r>
              <a:rPr lang="en-US" dirty="0"/>
              <a:t>Bullet</a:t>
            </a:r>
          </a:p>
          <a:p>
            <a:endParaRPr lang="en-US" dirty="0"/>
          </a:p>
        </p:txBody>
      </p:sp>
      <p:sp>
        <p:nvSpPr>
          <p:cNvPr id="5" name="Content Placeholder 4">
            <a:extLst>
              <a:ext uri="{FF2B5EF4-FFF2-40B4-BE49-F238E27FC236}">
                <a16:creationId xmlns:a16="http://schemas.microsoft.com/office/drawing/2014/main" id="{AAE7A65D-81B8-D149-86C4-59490CB0203B}"/>
              </a:ext>
            </a:extLst>
          </p:cNvPr>
          <p:cNvSpPr>
            <a:spLocks noGrp="1"/>
          </p:cNvSpPr>
          <p:nvPr>
            <p:ph sz="half" idx="10"/>
          </p:nvPr>
        </p:nvSpPr>
        <p:spPr/>
        <p:txBody>
          <a:bodyPr/>
          <a:lstStyle/>
          <a:p>
            <a:pPr marL="0" indent="0">
              <a:buNone/>
            </a:pPr>
            <a:r>
              <a:rPr lang="en-US" sz="5400" dirty="0"/>
              <a:t>Header</a:t>
            </a:r>
          </a:p>
          <a:p>
            <a:pPr marL="0" indent="0">
              <a:buNone/>
            </a:pPr>
            <a:r>
              <a:rPr lang="en-US" dirty="0"/>
              <a:t>Copy</a:t>
            </a:r>
          </a:p>
          <a:p>
            <a:r>
              <a:rPr lang="en-US" dirty="0"/>
              <a:t>Bullet</a:t>
            </a:r>
          </a:p>
          <a:p>
            <a:pPr lvl="1"/>
            <a:r>
              <a:rPr lang="en-US" dirty="0"/>
              <a:t>Bullet</a:t>
            </a:r>
          </a:p>
          <a:p>
            <a:pPr lvl="2"/>
            <a:r>
              <a:rPr lang="en-US" dirty="0"/>
              <a:t>Bullet</a:t>
            </a:r>
          </a:p>
          <a:p>
            <a:endParaRPr lang="en-US" dirty="0"/>
          </a:p>
        </p:txBody>
      </p:sp>
    </p:spTree>
    <p:extLst>
      <p:ext uri="{BB962C8B-B14F-4D97-AF65-F5344CB8AC3E}">
        <p14:creationId xmlns:p14="http://schemas.microsoft.com/office/powerpoint/2010/main" val="396457014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Education - 2</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44" name="TextBox 43">
            <a:extLst>
              <a:ext uri="{FF2B5EF4-FFF2-40B4-BE49-F238E27FC236}">
                <a16:creationId xmlns:a16="http://schemas.microsoft.com/office/drawing/2014/main" id="{E0B0A483-BF54-884F-B95F-068B157C82AA}"/>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apler</a:t>
            </a:r>
          </a:p>
        </p:txBody>
      </p:sp>
      <p:sp>
        <p:nvSpPr>
          <p:cNvPr id="45" name="TextBox 44">
            <a:extLst>
              <a:ext uri="{FF2B5EF4-FFF2-40B4-BE49-F238E27FC236}">
                <a16:creationId xmlns:a16="http://schemas.microsoft.com/office/drawing/2014/main" id="{336914F6-FEE9-C744-862B-33002D03EE2B}"/>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i</a:t>
            </a:r>
          </a:p>
        </p:txBody>
      </p:sp>
      <p:sp>
        <p:nvSpPr>
          <p:cNvPr id="46" name="TextBox 45">
            <a:extLst>
              <a:ext uri="{FF2B5EF4-FFF2-40B4-BE49-F238E27FC236}">
                <a16:creationId xmlns:a16="http://schemas.microsoft.com/office/drawing/2014/main" id="{EC0207AC-302C-C84F-824A-17774D954248}"/>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lpha</a:t>
            </a:r>
          </a:p>
        </p:txBody>
      </p:sp>
      <p:sp>
        <p:nvSpPr>
          <p:cNvPr id="47" name="TextBox 46">
            <a:extLst>
              <a:ext uri="{FF2B5EF4-FFF2-40B4-BE49-F238E27FC236}">
                <a16:creationId xmlns:a16="http://schemas.microsoft.com/office/drawing/2014/main" id="{9A4BD74B-80CC-A14F-84FF-3470A6531048}"/>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eta</a:t>
            </a:r>
          </a:p>
        </p:txBody>
      </p:sp>
      <p:sp>
        <p:nvSpPr>
          <p:cNvPr id="48" name="TextBox 47">
            <a:extLst>
              <a:ext uri="{FF2B5EF4-FFF2-40B4-BE49-F238E27FC236}">
                <a16:creationId xmlns:a16="http://schemas.microsoft.com/office/drawing/2014/main" id="{F2C5283F-5BDD-A24A-BB57-E583421DF93B}"/>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elta</a:t>
            </a:r>
          </a:p>
        </p:txBody>
      </p:sp>
      <p:sp>
        <p:nvSpPr>
          <p:cNvPr id="49" name="TextBox 48">
            <a:extLst>
              <a:ext uri="{FF2B5EF4-FFF2-40B4-BE49-F238E27FC236}">
                <a16:creationId xmlns:a16="http://schemas.microsoft.com/office/drawing/2014/main" id="{D9ADBB95-F81A-D74C-9415-E948B6A74B33}"/>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ummation</a:t>
            </a:r>
          </a:p>
        </p:txBody>
      </p:sp>
      <p:sp>
        <p:nvSpPr>
          <p:cNvPr id="50" name="TextBox 49">
            <a:extLst>
              <a:ext uri="{FF2B5EF4-FFF2-40B4-BE49-F238E27FC236}">
                <a16:creationId xmlns:a16="http://schemas.microsoft.com/office/drawing/2014/main" id="{F9A5BDF9-C386-9F4D-B2C4-9FB2498267FC}"/>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unction</a:t>
            </a:r>
          </a:p>
        </p:txBody>
      </p:sp>
      <p:sp>
        <p:nvSpPr>
          <p:cNvPr id="51" name="TextBox 50">
            <a:extLst>
              <a:ext uri="{FF2B5EF4-FFF2-40B4-BE49-F238E27FC236}">
                <a16:creationId xmlns:a16="http://schemas.microsoft.com/office/drawing/2014/main" id="{5C2BC000-54C6-8E47-9B37-ACF09BF97DD4}"/>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ipboard</a:t>
            </a:r>
          </a:p>
        </p:txBody>
      </p:sp>
      <p:sp>
        <p:nvSpPr>
          <p:cNvPr id="52" name="TextBox 51">
            <a:extLst>
              <a:ext uri="{FF2B5EF4-FFF2-40B4-BE49-F238E27FC236}">
                <a16:creationId xmlns:a16="http://schemas.microsoft.com/office/drawing/2014/main" id="{029065E8-CE92-7844-9DD8-DA4D0758BAAA}"/>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ye drop</a:t>
            </a:r>
          </a:p>
        </p:txBody>
      </p:sp>
      <p:sp>
        <p:nvSpPr>
          <p:cNvPr id="53" name="TextBox 52">
            <a:extLst>
              <a:ext uri="{FF2B5EF4-FFF2-40B4-BE49-F238E27FC236}">
                <a16:creationId xmlns:a16="http://schemas.microsoft.com/office/drawing/2014/main" id="{BD9B687F-2B23-5D40-B983-9B37A1501CEE}"/>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okmark 1</a:t>
            </a:r>
          </a:p>
        </p:txBody>
      </p:sp>
      <p:sp>
        <p:nvSpPr>
          <p:cNvPr id="54" name="TextBox 53">
            <a:extLst>
              <a:ext uri="{FF2B5EF4-FFF2-40B4-BE49-F238E27FC236}">
                <a16:creationId xmlns:a16="http://schemas.microsoft.com/office/drawing/2014/main" id="{6BC933FF-DA61-684A-A9C0-63FAD4AD357C}"/>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okmark 2</a:t>
            </a:r>
          </a:p>
        </p:txBody>
      </p:sp>
      <p:sp>
        <p:nvSpPr>
          <p:cNvPr id="55" name="TextBox 54">
            <a:extLst>
              <a:ext uri="{FF2B5EF4-FFF2-40B4-BE49-F238E27FC236}">
                <a16:creationId xmlns:a16="http://schemas.microsoft.com/office/drawing/2014/main" id="{1D7B6AFF-8DB0-4248-99A0-D9E4D2E785A2}"/>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err="1"/>
              <a:t>Preso</a:t>
            </a:r>
            <a:r>
              <a:rPr lang="en-US" sz="2800" dirty="0"/>
              <a:t> 1</a:t>
            </a:r>
          </a:p>
        </p:txBody>
      </p:sp>
      <p:sp>
        <p:nvSpPr>
          <p:cNvPr id="56" name="TextBox 55">
            <a:extLst>
              <a:ext uri="{FF2B5EF4-FFF2-40B4-BE49-F238E27FC236}">
                <a16:creationId xmlns:a16="http://schemas.microsoft.com/office/drawing/2014/main" id="{68612D1B-43F7-9F4B-99D2-CCFA5AA60221}"/>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err="1"/>
              <a:t>Preso</a:t>
            </a:r>
            <a:r>
              <a:rPr lang="en-US" sz="2800" dirty="0"/>
              <a:t> 2</a:t>
            </a:r>
          </a:p>
        </p:txBody>
      </p:sp>
      <p:sp>
        <p:nvSpPr>
          <p:cNvPr id="57" name="TextBox 56">
            <a:extLst>
              <a:ext uri="{FF2B5EF4-FFF2-40B4-BE49-F238E27FC236}">
                <a16:creationId xmlns:a16="http://schemas.microsoft.com/office/drawing/2014/main" id="{BDD03EDF-4C58-3140-B6CA-F19C891DDF74}"/>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err="1"/>
              <a:t>Preso</a:t>
            </a:r>
            <a:r>
              <a:rPr lang="en-US" sz="2800" dirty="0"/>
              <a:t> 3</a:t>
            </a:r>
          </a:p>
        </p:txBody>
      </p:sp>
      <p:sp>
        <p:nvSpPr>
          <p:cNvPr id="83" name="TextBox 82">
            <a:extLst>
              <a:ext uri="{FF2B5EF4-FFF2-40B4-BE49-F238E27FC236}">
                <a16:creationId xmlns:a16="http://schemas.microsoft.com/office/drawing/2014/main" id="{8EC6500A-BD46-4A43-B3A3-844BD42063DF}"/>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ompass 2</a:t>
            </a:r>
          </a:p>
        </p:txBody>
      </p:sp>
      <p:sp>
        <p:nvSpPr>
          <p:cNvPr id="84" name="Freeform: Shape 26">
            <a:extLst>
              <a:ext uri="{FF2B5EF4-FFF2-40B4-BE49-F238E27FC236}">
                <a16:creationId xmlns:a16="http://schemas.microsoft.com/office/drawing/2014/main" id="{C5A12098-07A4-AF4B-8969-ABDA281FC0B6}"/>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TextBox 84">
            <a:extLst>
              <a:ext uri="{FF2B5EF4-FFF2-40B4-BE49-F238E27FC236}">
                <a16:creationId xmlns:a16="http://schemas.microsoft.com/office/drawing/2014/main" id="{50AA3E3C-393D-3C4D-AA64-3FE935BF3109}"/>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amma</a:t>
            </a:r>
          </a:p>
        </p:txBody>
      </p:sp>
      <p:sp>
        <p:nvSpPr>
          <p:cNvPr id="86" name="TextBox 85">
            <a:extLst>
              <a:ext uri="{FF2B5EF4-FFF2-40B4-BE49-F238E27FC236}">
                <a16:creationId xmlns:a16="http://schemas.microsoft.com/office/drawing/2014/main" id="{81A23301-5F07-2D4B-8E2E-79AC34AF6A35}"/>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lector</a:t>
            </a:r>
          </a:p>
        </p:txBody>
      </p:sp>
      <p:sp>
        <p:nvSpPr>
          <p:cNvPr id="87" name="TextBox 86">
            <a:extLst>
              <a:ext uri="{FF2B5EF4-FFF2-40B4-BE49-F238E27FC236}">
                <a16:creationId xmlns:a16="http://schemas.microsoft.com/office/drawing/2014/main" id="{F668DAD6-5654-1741-BB44-E3B3215A510D}"/>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ompass 1</a:t>
            </a:r>
          </a:p>
        </p:txBody>
      </p:sp>
      <p:sp>
        <p:nvSpPr>
          <p:cNvPr id="88" name="Freeform: Shape 13">
            <a:extLst>
              <a:ext uri="{FF2B5EF4-FFF2-40B4-BE49-F238E27FC236}">
                <a16:creationId xmlns:a16="http://schemas.microsoft.com/office/drawing/2014/main" id="{5B05CBC4-F1A5-3544-B62C-41852378990A}"/>
              </a:ext>
            </a:extLst>
          </p:cNvPr>
          <p:cNvSpPr/>
          <p:nvPr/>
        </p:nvSpPr>
        <p:spPr>
          <a:xfrm>
            <a:off x="2283649" y="3606611"/>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9" name="Freeform: Shape 1">
            <a:extLst>
              <a:ext uri="{FF2B5EF4-FFF2-40B4-BE49-F238E27FC236}">
                <a16:creationId xmlns:a16="http://schemas.microsoft.com/office/drawing/2014/main" id="{3BF55426-56D1-2940-99C9-3D4BB2C084EC}"/>
              </a:ext>
            </a:extLst>
          </p:cNvPr>
          <p:cNvSpPr/>
          <p:nvPr/>
        </p:nvSpPr>
        <p:spPr>
          <a:xfrm>
            <a:off x="13928773" y="9979756"/>
            <a:ext cx="1711800" cy="1282320"/>
          </a:xfrm>
          <a:custGeom>
            <a:avLst/>
            <a:gdLst/>
            <a:ahLst/>
            <a:cxnLst>
              <a:cxn ang="3cd4">
                <a:pos x="hc" y="t"/>
              </a:cxn>
              <a:cxn ang="cd2">
                <a:pos x="l" y="vc"/>
              </a:cxn>
              <a:cxn ang="cd4">
                <a:pos x="hc" y="b"/>
              </a:cxn>
              <a:cxn ang="0">
                <a:pos x="r" y="vc"/>
              </a:cxn>
            </a:cxnLst>
            <a:rect l="l" t="t" r="r" b="b"/>
            <a:pathLst>
              <a:path w="4756" h="3563">
                <a:moveTo>
                  <a:pt x="4676" y="239"/>
                </a:moveTo>
                <a:lnTo>
                  <a:pt x="3483" y="239"/>
                </a:lnTo>
                <a:lnTo>
                  <a:pt x="3483" y="79"/>
                </a:lnTo>
                <a:cubicBezTo>
                  <a:pt x="3483" y="32"/>
                  <a:pt x="3451" y="0"/>
                  <a:pt x="3404" y="0"/>
                </a:cubicBezTo>
                <a:cubicBezTo>
                  <a:pt x="3372" y="0"/>
                  <a:pt x="3324" y="32"/>
                  <a:pt x="3324" y="79"/>
                </a:cubicBezTo>
                <a:lnTo>
                  <a:pt x="3324" y="239"/>
                </a:lnTo>
                <a:lnTo>
                  <a:pt x="1272" y="239"/>
                </a:lnTo>
                <a:lnTo>
                  <a:pt x="1272" y="79"/>
                </a:lnTo>
                <a:cubicBezTo>
                  <a:pt x="1272" y="32"/>
                  <a:pt x="1224" y="0"/>
                  <a:pt x="1193" y="0"/>
                </a:cubicBezTo>
                <a:cubicBezTo>
                  <a:pt x="1145" y="0"/>
                  <a:pt x="1113" y="32"/>
                  <a:pt x="1113" y="79"/>
                </a:cubicBezTo>
                <a:lnTo>
                  <a:pt x="1113" y="239"/>
                </a:lnTo>
                <a:lnTo>
                  <a:pt x="79" y="239"/>
                </a:lnTo>
                <a:cubicBezTo>
                  <a:pt x="32" y="239"/>
                  <a:pt x="0" y="270"/>
                  <a:pt x="0" y="318"/>
                </a:cubicBezTo>
                <a:lnTo>
                  <a:pt x="0" y="3483"/>
                </a:lnTo>
                <a:cubicBezTo>
                  <a:pt x="0" y="3531"/>
                  <a:pt x="32" y="3563"/>
                  <a:pt x="79" y="3563"/>
                </a:cubicBezTo>
                <a:lnTo>
                  <a:pt x="3929" y="3563"/>
                </a:lnTo>
                <a:cubicBezTo>
                  <a:pt x="3960" y="3563"/>
                  <a:pt x="3977" y="3563"/>
                  <a:pt x="3992" y="3547"/>
                </a:cubicBezTo>
                <a:lnTo>
                  <a:pt x="4740" y="2799"/>
                </a:lnTo>
                <a:cubicBezTo>
                  <a:pt x="4756" y="2783"/>
                  <a:pt x="4756" y="2751"/>
                  <a:pt x="4756" y="2736"/>
                </a:cubicBezTo>
                <a:lnTo>
                  <a:pt x="4756" y="318"/>
                </a:lnTo>
                <a:cubicBezTo>
                  <a:pt x="4756" y="270"/>
                  <a:pt x="4724" y="239"/>
                  <a:pt x="4676" y="239"/>
                </a:cubicBezTo>
                <a:close/>
                <a:moveTo>
                  <a:pt x="3960" y="3356"/>
                </a:moveTo>
                <a:lnTo>
                  <a:pt x="3960" y="2783"/>
                </a:lnTo>
                <a:lnTo>
                  <a:pt x="4533" y="2783"/>
                </a:lnTo>
                <a:close/>
                <a:moveTo>
                  <a:pt x="4596" y="2624"/>
                </a:moveTo>
                <a:lnTo>
                  <a:pt x="3881" y="2624"/>
                </a:lnTo>
                <a:cubicBezTo>
                  <a:pt x="3849" y="2624"/>
                  <a:pt x="3801" y="2656"/>
                  <a:pt x="3801" y="2704"/>
                </a:cubicBezTo>
                <a:lnTo>
                  <a:pt x="3801" y="3404"/>
                </a:lnTo>
                <a:lnTo>
                  <a:pt x="159" y="3404"/>
                </a:lnTo>
                <a:lnTo>
                  <a:pt x="159" y="1034"/>
                </a:lnTo>
                <a:lnTo>
                  <a:pt x="4596" y="1034"/>
                </a:lnTo>
                <a:close/>
                <a:moveTo>
                  <a:pt x="4596" y="875"/>
                </a:moveTo>
                <a:lnTo>
                  <a:pt x="159" y="875"/>
                </a:lnTo>
                <a:lnTo>
                  <a:pt x="159" y="397"/>
                </a:lnTo>
                <a:lnTo>
                  <a:pt x="4596" y="397"/>
                </a:lnTo>
                <a:close/>
                <a:moveTo>
                  <a:pt x="795" y="1829"/>
                </a:moveTo>
                <a:lnTo>
                  <a:pt x="3642" y="1829"/>
                </a:lnTo>
                <a:cubicBezTo>
                  <a:pt x="3690" y="1829"/>
                  <a:pt x="3722" y="1781"/>
                  <a:pt x="3722" y="1750"/>
                </a:cubicBezTo>
                <a:cubicBezTo>
                  <a:pt x="3722" y="1702"/>
                  <a:pt x="3690" y="1670"/>
                  <a:pt x="3642" y="1670"/>
                </a:cubicBezTo>
                <a:lnTo>
                  <a:pt x="795" y="1670"/>
                </a:lnTo>
                <a:cubicBezTo>
                  <a:pt x="748" y="1670"/>
                  <a:pt x="715" y="1702"/>
                  <a:pt x="715" y="1750"/>
                </a:cubicBezTo>
                <a:cubicBezTo>
                  <a:pt x="715" y="1781"/>
                  <a:pt x="748" y="1829"/>
                  <a:pt x="795" y="1829"/>
                </a:cubicBezTo>
                <a:close/>
                <a:moveTo>
                  <a:pt x="795" y="2147"/>
                </a:moveTo>
                <a:lnTo>
                  <a:pt x="2370" y="2147"/>
                </a:lnTo>
                <a:cubicBezTo>
                  <a:pt x="2417" y="2147"/>
                  <a:pt x="2450" y="2099"/>
                  <a:pt x="2450" y="2068"/>
                </a:cubicBezTo>
                <a:cubicBezTo>
                  <a:pt x="2450" y="2020"/>
                  <a:pt x="2417" y="1988"/>
                  <a:pt x="2370" y="1988"/>
                </a:cubicBezTo>
                <a:lnTo>
                  <a:pt x="795" y="1988"/>
                </a:lnTo>
                <a:cubicBezTo>
                  <a:pt x="748" y="1988"/>
                  <a:pt x="715" y="2020"/>
                  <a:pt x="715" y="2068"/>
                </a:cubicBezTo>
                <a:cubicBezTo>
                  <a:pt x="715" y="2099"/>
                  <a:pt x="748" y="2147"/>
                  <a:pt x="795" y="2147"/>
                </a:cubicBezTo>
                <a:close/>
                <a:moveTo>
                  <a:pt x="795" y="2465"/>
                </a:moveTo>
                <a:lnTo>
                  <a:pt x="1750" y="2465"/>
                </a:lnTo>
                <a:cubicBezTo>
                  <a:pt x="1781" y="2465"/>
                  <a:pt x="1829" y="2418"/>
                  <a:pt x="1829" y="2386"/>
                </a:cubicBezTo>
                <a:cubicBezTo>
                  <a:pt x="1829" y="2338"/>
                  <a:pt x="1781" y="2306"/>
                  <a:pt x="1750" y="2306"/>
                </a:cubicBezTo>
                <a:lnTo>
                  <a:pt x="795" y="2306"/>
                </a:lnTo>
                <a:cubicBezTo>
                  <a:pt x="748" y="2306"/>
                  <a:pt x="715" y="2338"/>
                  <a:pt x="715" y="2386"/>
                </a:cubicBezTo>
                <a:cubicBezTo>
                  <a:pt x="715" y="2418"/>
                  <a:pt x="748" y="2465"/>
                  <a:pt x="795" y="246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0" name="Freeform: Shape 2">
            <a:extLst>
              <a:ext uri="{FF2B5EF4-FFF2-40B4-BE49-F238E27FC236}">
                <a16:creationId xmlns:a16="http://schemas.microsoft.com/office/drawing/2014/main" id="{D35604B7-936C-8448-B3AE-097F54B78696}"/>
              </a:ext>
            </a:extLst>
          </p:cNvPr>
          <p:cNvSpPr/>
          <p:nvPr/>
        </p:nvSpPr>
        <p:spPr>
          <a:xfrm>
            <a:off x="14286312" y="6360214"/>
            <a:ext cx="892800" cy="1728719"/>
          </a:xfrm>
          <a:custGeom>
            <a:avLst/>
            <a:gdLst/>
            <a:ahLst/>
            <a:cxnLst>
              <a:cxn ang="3cd4">
                <a:pos x="hc" y="t"/>
              </a:cxn>
              <a:cxn ang="cd2">
                <a:pos x="l" y="vc"/>
              </a:cxn>
              <a:cxn ang="cd4">
                <a:pos x="hc" y="b"/>
              </a:cxn>
              <a:cxn ang="0">
                <a:pos x="r" y="vc"/>
              </a:cxn>
            </a:cxnLst>
            <a:rect l="l" t="t" r="r" b="b"/>
            <a:pathLst>
              <a:path w="2481" h="4803">
                <a:moveTo>
                  <a:pt x="0" y="1542"/>
                </a:moveTo>
                <a:cubicBezTo>
                  <a:pt x="0" y="1590"/>
                  <a:pt x="32" y="1622"/>
                  <a:pt x="79" y="1622"/>
                </a:cubicBezTo>
                <a:lnTo>
                  <a:pt x="414" y="1622"/>
                </a:lnTo>
                <a:lnTo>
                  <a:pt x="414" y="1638"/>
                </a:lnTo>
                <a:lnTo>
                  <a:pt x="414" y="3276"/>
                </a:lnTo>
                <a:cubicBezTo>
                  <a:pt x="414" y="3308"/>
                  <a:pt x="429" y="3324"/>
                  <a:pt x="445" y="3340"/>
                </a:cubicBezTo>
                <a:lnTo>
                  <a:pt x="1209" y="3785"/>
                </a:lnTo>
                <a:lnTo>
                  <a:pt x="1241" y="3785"/>
                </a:lnTo>
                <a:lnTo>
                  <a:pt x="1288" y="3785"/>
                </a:lnTo>
                <a:lnTo>
                  <a:pt x="2020" y="3340"/>
                </a:lnTo>
                <a:cubicBezTo>
                  <a:pt x="2052" y="3324"/>
                  <a:pt x="2068" y="3308"/>
                  <a:pt x="2068" y="3276"/>
                </a:cubicBezTo>
                <a:lnTo>
                  <a:pt x="2068" y="1638"/>
                </a:lnTo>
                <a:lnTo>
                  <a:pt x="2068" y="1622"/>
                </a:lnTo>
                <a:lnTo>
                  <a:pt x="2402" y="1622"/>
                </a:lnTo>
                <a:cubicBezTo>
                  <a:pt x="2450" y="1622"/>
                  <a:pt x="2481" y="1590"/>
                  <a:pt x="2481" y="1542"/>
                </a:cubicBezTo>
                <a:cubicBezTo>
                  <a:pt x="2481" y="1511"/>
                  <a:pt x="2450" y="1463"/>
                  <a:pt x="2402" y="1463"/>
                </a:cubicBezTo>
                <a:lnTo>
                  <a:pt x="2068" y="1463"/>
                </a:lnTo>
                <a:lnTo>
                  <a:pt x="2068" y="827"/>
                </a:lnTo>
                <a:cubicBezTo>
                  <a:pt x="2068" y="381"/>
                  <a:pt x="1686" y="0"/>
                  <a:pt x="1241" y="0"/>
                </a:cubicBezTo>
                <a:cubicBezTo>
                  <a:pt x="779" y="0"/>
                  <a:pt x="414" y="349"/>
                  <a:pt x="414" y="779"/>
                </a:cubicBezTo>
                <a:lnTo>
                  <a:pt x="414" y="1463"/>
                </a:lnTo>
                <a:lnTo>
                  <a:pt x="79" y="1463"/>
                </a:lnTo>
                <a:cubicBezTo>
                  <a:pt x="32" y="1463"/>
                  <a:pt x="0" y="1511"/>
                  <a:pt x="0" y="1542"/>
                </a:cubicBezTo>
                <a:close/>
                <a:moveTo>
                  <a:pt x="573" y="779"/>
                </a:moveTo>
                <a:cubicBezTo>
                  <a:pt x="573" y="445"/>
                  <a:pt x="875" y="158"/>
                  <a:pt x="1241" y="158"/>
                </a:cubicBezTo>
                <a:cubicBezTo>
                  <a:pt x="1590" y="158"/>
                  <a:pt x="1909" y="477"/>
                  <a:pt x="1909" y="827"/>
                </a:cubicBezTo>
                <a:lnTo>
                  <a:pt x="1909" y="1463"/>
                </a:lnTo>
                <a:lnTo>
                  <a:pt x="573" y="1463"/>
                </a:lnTo>
                <a:close/>
                <a:moveTo>
                  <a:pt x="573" y="1638"/>
                </a:moveTo>
                <a:lnTo>
                  <a:pt x="573" y="1622"/>
                </a:lnTo>
                <a:lnTo>
                  <a:pt x="1909" y="1622"/>
                </a:lnTo>
                <a:lnTo>
                  <a:pt x="1909" y="1638"/>
                </a:lnTo>
                <a:lnTo>
                  <a:pt x="1909" y="3229"/>
                </a:lnTo>
                <a:lnTo>
                  <a:pt x="1241" y="3610"/>
                </a:lnTo>
                <a:lnTo>
                  <a:pt x="573" y="3229"/>
                </a:lnTo>
                <a:close/>
                <a:moveTo>
                  <a:pt x="1527" y="4517"/>
                </a:moveTo>
                <a:cubicBezTo>
                  <a:pt x="1527" y="4421"/>
                  <a:pt x="1384" y="4024"/>
                  <a:pt x="1241" y="4024"/>
                </a:cubicBezTo>
                <a:cubicBezTo>
                  <a:pt x="1082" y="4024"/>
                  <a:pt x="954" y="4405"/>
                  <a:pt x="954" y="4517"/>
                </a:cubicBezTo>
                <a:cubicBezTo>
                  <a:pt x="954" y="4676"/>
                  <a:pt x="1082" y="4803"/>
                  <a:pt x="1241" y="4803"/>
                </a:cubicBezTo>
                <a:cubicBezTo>
                  <a:pt x="1400" y="4803"/>
                  <a:pt x="1527" y="4676"/>
                  <a:pt x="1527" y="4517"/>
                </a:cubicBezTo>
                <a:close/>
                <a:moveTo>
                  <a:pt x="1114" y="4517"/>
                </a:moveTo>
                <a:cubicBezTo>
                  <a:pt x="1114" y="4453"/>
                  <a:pt x="1193" y="4278"/>
                  <a:pt x="1241" y="4199"/>
                </a:cubicBezTo>
                <a:cubicBezTo>
                  <a:pt x="1288" y="4278"/>
                  <a:pt x="1368" y="4453"/>
                  <a:pt x="1368" y="4517"/>
                </a:cubicBezTo>
                <a:cubicBezTo>
                  <a:pt x="1368" y="4596"/>
                  <a:pt x="1304" y="4644"/>
                  <a:pt x="1241" y="4644"/>
                </a:cubicBezTo>
                <a:cubicBezTo>
                  <a:pt x="1161" y="4644"/>
                  <a:pt x="1114" y="4596"/>
                  <a:pt x="1114" y="451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1" name="Freeform: Shape 3">
            <a:extLst>
              <a:ext uri="{FF2B5EF4-FFF2-40B4-BE49-F238E27FC236}">
                <a16:creationId xmlns:a16="http://schemas.microsoft.com/office/drawing/2014/main" id="{4EA8A845-F19F-AF40-A563-1E60AA2C2D84}"/>
              </a:ext>
            </a:extLst>
          </p:cNvPr>
          <p:cNvSpPr/>
          <p:nvPr/>
        </p:nvSpPr>
        <p:spPr>
          <a:xfrm>
            <a:off x="1899939" y="6589175"/>
            <a:ext cx="1298160" cy="1270800"/>
          </a:xfrm>
          <a:custGeom>
            <a:avLst/>
            <a:gdLst/>
            <a:ahLst/>
            <a:cxnLst>
              <a:cxn ang="3cd4">
                <a:pos x="hc" y="t"/>
              </a:cxn>
              <a:cxn ang="cd2">
                <a:pos x="l" y="vc"/>
              </a:cxn>
              <a:cxn ang="cd4">
                <a:pos x="hc" y="b"/>
              </a:cxn>
              <a:cxn ang="0">
                <a:pos x="r" y="vc"/>
              </a:cxn>
            </a:cxnLst>
            <a:rect l="l" t="t" r="r" b="b"/>
            <a:pathLst>
              <a:path w="3607" h="3531">
                <a:moveTo>
                  <a:pt x="12" y="3483"/>
                </a:moveTo>
                <a:cubicBezTo>
                  <a:pt x="12" y="3515"/>
                  <a:pt x="44" y="3531"/>
                  <a:pt x="75" y="3531"/>
                </a:cubicBezTo>
                <a:cubicBezTo>
                  <a:pt x="3527" y="3531"/>
                  <a:pt x="3527" y="3531"/>
                  <a:pt x="3527" y="3531"/>
                </a:cubicBezTo>
                <a:cubicBezTo>
                  <a:pt x="3574" y="3531"/>
                  <a:pt x="3607" y="3499"/>
                  <a:pt x="3607" y="3451"/>
                </a:cubicBezTo>
                <a:cubicBezTo>
                  <a:pt x="3607" y="2576"/>
                  <a:pt x="3607" y="2576"/>
                  <a:pt x="3607" y="2576"/>
                </a:cubicBezTo>
                <a:cubicBezTo>
                  <a:pt x="3607" y="2529"/>
                  <a:pt x="3574" y="2497"/>
                  <a:pt x="3527" y="2497"/>
                </a:cubicBezTo>
                <a:cubicBezTo>
                  <a:pt x="3495" y="2497"/>
                  <a:pt x="3447" y="2529"/>
                  <a:pt x="3447" y="2576"/>
                </a:cubicBezTo>
                <a:cubicBezTo>
                  <a:pt x="3447" y="3372"/>
                  <a:pt x="3447" y="3372"/>
                  <a:pt x="3447" y="3372"/>
                </a:cubicBezTo>
                <a:cubicBezTo>
                  <a:pt x="250" y="3372"/>
                  <a:pt x="250" y="3372"/>
                  <a:pt x="250" y="3372"/>
                </a:cubicBezTo>
                <a:cubicBezTo>
                  <a:pt x="1634" y="1749"/>
                  <a:pt x="1634" y="1749"/>
                  <a:pt x="1634" y="1749"/>
                </a:cubicBezTo>
                <a:cubicBezTo>
                  <a:pt x="1650" y="1718"/>
                  <a:pt x="1650" y="1670"/>
                  <a:pt x="1618" y="1638"/>
                </a:cubicBezTo>
                <a:cubicBezTo>
                  <a:pt x="266" y="159"/>
                  <a:pt x="266" y="159"/>
                  <a:pt x="266" y="159"/>
                </a:cubicBezTo>
                <a:cubicBezTo>
                  <a:pt x="2986" y="159"/>
                  <a:pt x="2986" y="159"/>
                  <a:pt x="2986" y="159"/>
                </a:cubicBezTo>
                <a:cubicBezTo>
                  <a:pt x="2986" y="604"/>
                  <a:pt x="2986" y="604"/>
                  <a:pt x="2986" y="604"/>
                </a:cubicBezTo>
                <a:cubicBezTo>
                  <a:pt x="2986" y="652"/>
                  <a:pt x="3018" y="684"/>
                  <a:pt x="3065" y="684"/>
                </a:cubicBezTo>
                <a:cubicBezTo>
                  <a:pt x="3113" y="684"/>
                  <a:pt x="3145" y="652"/>
                  <a:pt x="3145" y="604"/>
                </a:cubicBezTo>
                <a:cubicBezTo>
                  <a:pt x="3145" y="79"/>
                  <a:pt x="3145" y="79"/>
                  <a:pt x="3145" y="79"/>
                </a:cubicBezTo>
                <a:cubicBezTo>
                  <a:pt x="3145" y="48"/>
                  <a:pt x="3113" y="0"/>
                  <a:pt x="3065" y="0"/>
                </a:cubicBezTo>
                <a:cubicBezTo>
                  <a:pt x="75" y="0"/>
                  <a:pt x="75" y="0"/>
                  <a:pt x="75" y="0"/>
                </a:cubicBezTo>
                <a:cubicBezTo>
                  <a:pt x="44" y="0"/>
                  <a:pt x="12" y="16"/>
                  <a:pt x="12" y="48"/>
                </a:cubicBezTo>
                <a:cubicBezTo>
                  <a:pt x="-4" y="79"/>
                  <a:pt x="-4" y="111"/>
                  <a:pt x="28" y="143"/>
                </a:cubicBezTo>
                <a:cubicBezTo>
                  <a:pt x="1459" y="1702"/>
                  <a:pt x="1459" y="1702"/>
                  <a:pt x="1459" y="1702"/>
                </a:cubicBezTo>
                <a:cubicBezTo>
                  <a:pt x="12" y="3403"/>
                  <a:pt x="12" y="3403"/>
                  <a:pt x="12" y="3403"/>
                </a:cubicBezTo>
                <a:cubicBezTo>
                  <a:pt x="-4" y="3420"/>
                  <a:pt x="-4" y="3451"/>
                  <a:pt x="12" y="348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2" name="Freeform: Shape 4">
            <a:extLst>
              <a:ext uri="{FF2B5EF4-FFF2-40B4-BE49-F238E27FC236}">
                <a16:creationId xmlns:a16="http://schemas.microsoft.com/office/drawing/2014/main" id="{C7FD038C-D2CF-5E41-88A3-09D3BC3CE4F1}"/>
              </a:ext>
            </a:extLst>
          </p:cNvPr>
          <p:cNvSpPr/>
          <p:nvPr/>
        </p:nvSpPr>
        <p:spPr>
          <a:xfrm>
            <a:off x="14336318" y="3609805"/>
            <a:ext cx="892800" cy="1539720"/>
          </a:xfrm>
          <a:custGeom>
            <a:avLst/>
            <a:gdLst/>
            <a:ahLst/>
            <a:cxnLst>
              <a:cxn ang="3cd4">
                <a:pos x="hc" y="t"/>
              </a:cxn>
              <a:cxn ang="cd2">
                <a:pos x="l" y="vc"/>
              </a:cxn>
              <a:cxn ang="cd4">
                <a:pos x="hc" y="b"/>
              </a:cxn>
              <a:cxn ang="0">
                <a:pos x="r" y="vc"/>
              </a:cxn>
            </a:cxnLst>
            <a:rect l="l" t="t" r="r" b="b"/>
            <a:pathLst>
              <a:path w="2481" h="4278">
                <a:moveTo>
                  <a:pt x="1447" y="2736"/>
                </a:moveTo>
                <a:cubicBezTo>
                  <a:pt x="301" y="2736"/>
                  <a:pt x="301" y="2736"/>
                  <a:pt x="301" y="2736"/>
                </a:cubicBezTo>
                <a:cubicBezTo>
                  <a:pt x="254" y="2736"/>
                  <a:pt x="222" y="2784"/>
                  <a:pt x="222" y="2815"/>
                </a:cubicBezTo>
                <a:cubicBezTo>
                  <a:pt x="222" y="2863"/>
                  <a:pt x="254" y="2895"/>
                  <a:pt x="301" y="2895"/>
                </a:cubicBezTo>
                <a:cubicBezTo>
                  <a:pt x="1447" y="2895"/>
                  <a:pt x="1447" y="2895"/>
                  <a:pt x="1447" y="2895"/>
                </a:cubicBezTo>
                <a:cubicBezTo>
                  <a:pt x="2019" y="2895"/>
                  <a:pt x="2465" y="2465"/>
                  <a:pt x="2481" y="1893"/>
                </a:cubicBezTo>
                <a:cubicBezTo>
                  <a:pt x="2481" y="1845"/>
                  <a:pt x="2481" y="1845"/>
                  <a:pt x="2481" y="1845"/>
                </a:cubicBezTo>
                <a:cubicBezTo>
                  <a:pt x="2481" y="1463"/>
                  <a:pt x="2163" y="1145"/>
                  <a:pt x="1781" y="1145"/>
                </a:cubicBezTo>
                <a:cubicBezTo>
                  <a:pt x="1510" y="1145"/>
                  <a:pt x="1510" y="1145"/>
                  <a:pt x="1510" y="1145"/>
                </a:cubicBezTo>
                <a:cubicBezTo>
                  <a:pt x="1717" y="1002"/>
                  <a:pt x="1860" y="748"/>
                  <a:pt x="1860" y="461"/>
                </a:cubicBezTo>
                <a:cubicBezTo>
                  <a:pt x="1860" y="445"/>
                  <a:pt x="1860" y="430"/>
                  <a:pt x="1860" y="430"/>
                </a:cubicBezTo>
                <a:cubicBezTo>
                  <a:pt x="1828" y="191"/>
                  <a:pt x="1637" y="0"/>
                  <a:pt x="1415" y="0"/>
                </a:cubicBezTo>
                <a:cubicBezTo>
                  <a:pt x="1415" y="0"/>
                  <a:pt x="1351" y="0"/>
                  <a:pt x="1319" y="0"/>
                </a:cubicBezTo>
                <a:cubicBezTo>
                  <a:pt x="79" y="0"/>
                  <a:pt x="79" y="0"/>
                  <a:pt x="79" y="0"/>
                </a:cubicBezTo>
                <a:cubicBezTo>
                  <a:pt x="47" y="0"/>
                  <a:pt x="0" y="32"/>
                  <a:pt x="0" y="79"/>
                </a:cubicBezTo>
                <a:cubicBezTo>
                  <a:pt x="0" y="4199"/>
                  <a:pt x="0" y="4199"/>
                  <a:pt x="0" y="4199"/>
                </a:cubicBezTo>
                <a:cubicBezTo>
                  <a:pt x="0" y="4231"/>
                  <a:pt x="47" y="4278"/>
                  <a:pt x="79" y="4278"/>
                </a:cubicBezTo>
                <a:cubicBezTo>
                  <a:pt x="127" y="4278"/>
                  <a:pt x="158" y="4231"/>
                  <a:pt x="158" y="4199"/>
                </a:cubicBezTo>
                <a:cubicBezTo>
                  <a:pt x="158" y="159"/>
                  <a:pt x="158" y="159"/>
                  <a:pt x="158" y="159"/>
                </a:cubicBezTo>
                <a:cubicBezTo>
                  <a:pt x="1240" y="159"/>
                  <a:pt x="1240" y="159"/>
                  <a:pt x="1240" y="159"/>
                </a:cubicBezTo>
                <a:lnTo>
                  <a:pt x="1399" y="159"/>
                </a:lnTo>
                <a:cubicBezTo>
                  <a:pt x="1558" y="159"/>
                  <a:pt x="1685" y="287"/>
                  <a:pt x="1701" y="430"/>
                </a:cubicBezTo>
                <a:cubicBezTo>
                  <a:pt x="1701" y="445"/>
                  <a:pt x="1701" y="477"/>
                  <a:pt x="1701" y="493"/>
                </a:cubicBezTo>
                <a:cubicBezTo>
                  <a:pt x="1685" y="875"/>
                  <a:pt x="1399" y="1145"/>
                  <a:pt x="1017" y="1145"/>
                </a:cubicBezTo>
                <a:cubicBezTo>
                  <a:pt x="970" y="1145"/>
                  <a:pt x="938" y="1193"/>
                  <a:pt x="938" y="1225"/>
                </a:cubicBezTo>
                <a:cubicBezTo>
                  <a:pt x="938" y="1272"/>
                  <a:pt x="970" y="1304"/>
                  <a:pt x="1017" y="1304"/>
                </a:cubicBezTo>
                <a:cubicBezTo>
                  <a:pt x="1781" y="1304"/>
                  <a:pt x="1781" y="1304"/>
                  <a:pt x="1781" y="1304"/>
                </a:cubicBezTo>
                <a:cubicBezTo>
                  <a:pt x="2083" y="1304"/>
                  <a:pt x="2322" y="1543"/>
                  <a:pt x="2322" y="1861"/>
                </a:cubicBezTo>
                <a:cubicBezTo>
                  <a:pt x="2322" y="1893"/>
                  <a:pt x="2322" y="1893"/>
                  <a:pt x="2322" y="1893"/>
                </a:cubicBezTo>
                <a:cubicBezTo>
                  <a:pt x="2306" y="2370"/>
                  <a:pt x="1924" y="2736"/>
                  <a:pt x="1447" y="273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Freeform: Shape 5">
            <a:extLst>
              <a:ext uri="{FF2B5EF4-FFF2-40B4-BE49-F238E27FC236}">
                <a16:creationId xmlns:a16="http://schemas.microsoft.com/office/drawing/2014/main" id="{CA80779B-49DF-3847-9B17-B00601070BBD}"/>
              </a:ext>
            </a:extLst>
          </p:cNvPr>
          <p:cNvSpPr/>
          <p:nvPr/>
        </p:nvSpPr>
        <p:spPr>
          <a:xfrm>
            <a:off x="17871968" y="3695125"/>
            <a:ext cx="973440" cy="1362960"/>
          </a:xfrm>
          <a:custGeom>
            <a:avLst/>
            <a:gdLst/>
            <a:ahLst/>
            <a:cxnLst>
              <a:cxn ang="3cd4">
                <a:pos x="hc" y="t"/>
              </a:cxn>
              <a:cxn ang="cd2">
                <a:pos x="l" y="vc"/>
              </a:cxn>
              <a:cxn ang="cd4">
                <a:pos x="hc" y="b"/>
              </a:cxn>
              <a:cxn ang="0">
                <a:pos x="r" y="vc"/>
              </a:cxn>
            </a:cxnLst>
            <a:rect l="l" t="t" r="r" b="b"/>
            <a:pathLst>
              <a:path w="2705" h="3787">
                <a:moveTo>
                  <a:pt x="2667" y="17"/>
                </a:moveTo>
                <a:cubicBezTo>
                  <a:pt x="2636" y="-14"/>
                  <a:pt x="2588" y="2"/>
                  <a:pt x="2556" y="33"/>
                </a:cubicBezTo>
                <a:cubicBezTo>
                  <a:pt x="1109" y="1704"/>
                  <a:pt x="1109" y="1704"/>
                  <a:pt x="1109" y="1704"/>
                </a:cubicBezTo>
                <a:cubicBezTo>
                  <a:pt x="1029" y="1035"/>
                  <a:pt x="663" y="431"/>
                  <a:pt x="122" y="17"/>
                </a:cubicBezTo>
                <a:cubicBezTo>
                  <a:pt x="91" y="-14"/>
                  <a:pt x="43" y="2"/>
                  <a:pt x="11" y="33"/>
                </a:cubicBezTo>
                <a:cubicBezTo>
                  <a:pt x="-5" y="65"/>
                  <a:pt x="-5" y="113"/>
                  <a:pt x="27" y="145"/>
                </a:cubicBezTo>
                <a:cubicBezTo>
                  <a:pt x="616" y="590"/>
                  <a:pt x="966" y="1290"/>
                  <a:pt x="966" y="2022"/>
                </a:cubicBezTo>
                <a:cubicBezTo>
                  <a:pt x="966" y="3708"/>
                  <a:pt x="966" y="3708"/>
                  <a:pt x="966" y="3708"/>
                </a:cubicBezTo>
                <a:cubicBezTo>
                  <a:pt x="966" y="3755"/>
                  <a:pt x="997" y="3787"/>
                  <a:pt x="1045" y="3787"/>
                </a:cubicBezTo>
                <a:cubicBezTo>
                  <a:pt x="1093" y="3787"/>
                  <a:pt x="1125" y="3755"/>
                  <a:pt x="1125" y="3708"/>
                </a:cubicBezTo>
                <a:cubicBezTo>
                  <a:pt x="1125" y="2022"/>
                  <a:pt x="1125" y="2022"/>
                  <a:pt x="1125" y="2022"/>
                </a:cubicBezTo>
                <a:cubicBezTo>
                  <a:pt x="1125" y="1990"/>
                  <a:pt x="1125" y="1958"/>
                  <a:pt x="1125" y="1926"/>
                </a:cubicBezTo>
                <a:cubicBezTo>
                  <a:pt x="2684" y="129"/>
                  <a:pt x="2684" y="129"/>
                  <a:pt x="2684" y="129"/>
                </a:cubicBezTo>
                <a:cubicBezTo>
                  <a:pt x="2715" y="97"/>
                  <a:pt x="2715" y="50"/>
                  <a:pt x="2667" y="1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4" name="Freeform: Shape 6">
            <a:extLst>
              <a:ext uri="{FF2B5EF4-FFF2-40B4-BE49-F238E27FC236}">
                <a16:creationId xmlns:a16="http://schemas.microsoft.com/office/drawing/2014/main" id="{8C8D56C3-E70B-D04B-8F4E-E464578D56EA}"/>
              </a:ext>
            </a:extLst>
          </p:cNvPr>
          <p:cNvSpPr/>
          <p:nvPr/>
        </p:nvSpPr>
        <p:spPr>
          <a:xfrm>
            <a:off x="10203915" y="3730045"/>
            <a:ext cx="1493999" cy="1299600"/>
          </a:xfrm>
          <a:custGeom>
            <a:avLst/>
            <a:gdLst/>
            <a:ahLst/>
            <a:cxnLst>
              <a:cxn ang="3cd4">
                <a:pos x="hc" y="t"/>
              </a:cxn>
              <a:cxn ang="cd2">
                <a:pos x="l" y="vc"/>
              </a:cxn>
              <a:cxn ang="cd4">
                <a:pos x="hc" y="b"/>
              </a:cxn>
              <a:cxn ang="0">
                <a:pos x="r" y="vc"/>
              </a:cxn>
            </a:cxnLst>
            <a:rect l="l" t="t" r="r" b="b"/>
            <a:pathLst>
              <a:path w="4151" h="3611">
                <a:moveTo>
                  <a:pt x="4072" y="2418"/>
                </a:moveTo>
                <a:cubicBezTo>
                  <a:pt x="4040" y="2418"/>
                  <a:pt x="3992" y="2450"/>
                  <a:pt x="3992" y="2497"/>
                </a:cubicBezTo>
                <a:cubicBezTo>
                  <a:pt x="3992" y="2816"/>
                  <a:pt x="3785" y="3165"/>
                  <a:pt x="3340" y="3165"/>
                </a:cubicBezTo>
                <a:cubicBezTo>
                  <a:pt x="3086" y="3165"/>
                  <a:pt x="2958" y="2816"/>
                  <a:pt x="2815" y="2386"/>
                </a:cubicBezTo>
                <a:cubicBezTo>
                  <a:pt x="2815" y="2322"/>
                  <a:pt x="2831" y="2243"/>
                  <a:pt x="2831" y="2179"/>
                </a:cubicBezTo>
                <a:cubicBezTo>
                  <a:pt x="2831" y="80"/>
                  <a:pt x="2831" y="80"/>
                  <a:pt x="2831" y="80"/>
                </a:cubicBezTo>
                <a:cubicBezTo>
                  <a:pt x="2831" y="32"/>
                  <a:pt x="2783" y="0"/>
                  <a:pt x="2752" y="0"/>
                </a:cubicBezTo>
                <a:cubicBezTo>
                  <a:pt x="2704" y="0"/>
                  <a:pt x="2672" y="32"/>
                  <a:pt x="2672" y="80"/>
                </a:cubicBezTo>
                <a:cubicBezTo>
                  <a:pt x="2672" y="1956"/>
                  <a:pt x="2672" y="1956"/>
                  <a:pt x="2672" y="1956"/>
                </a:cubicBezTo>
                <a:cubicBezTo>
                  <a:pt x="2449" y="1352"/>
                  <a:pt x="2147" y="732"/>
                  <a:pt x="1431" y="732"/>
                </a:cubicBezTo>
                <a:cubicBezTo>
                  <a:pt x="541" y="732"/>
                  <a:pt x="0" y="1257"/>
                  <a:pt x="0" y="2163"/>
                </a:cubicBezTo>
                <a:cubicBezTo>
                  <a:pt x="0" y="2974"/>
                  <a:pt x="620" y="3611"/>
                  <a:pt x="1416" y="3611"/>
                </a:cubicBezTo>
                <a:cubicBezTo>
                  <a:pt x="2036" y="3611"/>
                  <a:pt x="2545" y="3229"/>
                  <a:pt x="2736" y="2672"/>
                </a:cubicBezTo>
                <a:cubicBezTo>
                  <a:pt x="2879" y="3054"/>
                  <a:pt x="3038" y="3325"/>
                  <a:pt x="3340" y="3325"/>
                </a:cubicBezTo>
                <a:cubicBezTo>
                  <a:pt x="3881" y="3325"/>
                  <a:pt x="4151" y="2911"/>
                  <a:pt x="4151" y="2497"/>
                </a:cubicBezTo>
                <a:cubicBezTo>
                  <a:pt x="4151" y="2450"/>
                  <a:pt x="4119" y="2418"/>
                  <a:pt x="4072" y="2418"/>
                </a:cubicBezTo>
                <a:close/>
                <a:moveTo>
                  <a:pt x="1416" y="3452"/>
                </a:moveTo>
                <a:cubicBezTo>
                  <a:pt x="716" y="3452"/>
                  <a:pt x="159" y="2879"/>
                  <a:pt x="159" y="2163"/>
                </a:cubicBezTo>
                <a:cubicBezTo>
                  <a:pt x="159" y="1686"/>
                  <a:pt x="334" y="875"/>
                  <a:pt x="1431" y="875"/>
                </a:cubicBezTo>
                <a:cubicBezTo>
                  <a:pt x="2147" y="875"/>
                  <a:pt x="2401" y="1638"/>
                  <a:pt x="2624" y="2322"/>
                </a:cubicBezTo>
                <a:cubicBezTo>
                  <a:pt x="2624" y="2338"/>
                  <a:pt x="2640" y="2370"/>
                  <a:pt x="2640" y="2402"/>
                </a:cubicBezTo>
                <a:cubicBezTo>
                  <a:pt x="2545" y="3006"/>
                  <a:pt x="2036" y="3452"/>
                  <a:pt x="1416" y="345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5" name="Freeform: Shape 7">
            <a:extLst>
              <a:ext uri="{FF2B5EF4-FFF2-40B4-BE49-F238E27FC236}">
                <a16:creationId xmlns:a16="http://schemas.microsoft.com/office/drawing/2014/main" id="{2CCEA084-FF21-C249-85A6-E616DA05E916}"/>
              </a:ext>
            </a:extLst>
          </p:cNvPr>
          <p:cNvSpPr/>
          <p:nvPr/>
        </p:nvSpPr>
        <p:spPr>
          <a:xfrm>
            <a:off x="6284404" y="3787285"/>
            <a:ext cx="1208159" cy="1185120"/>
          </a:xfrm>
          <a:custGeom>
            <a:avLst/>
            <a:gdLst/>
            <a:ahLst/>
            <a:cxnLst>
              <a:cxn ang="3cd4">
                <a:pos x="hc" y="t"/>
              </a:cxn>
              <a:cxn ang="cd2">
                <a:pos x="l" y="vc"/>
              </a:cxn>
              <a:cxn ang="cd4">
                <a:pos x="hc" y="b"/>
              </a:cxn>
              <a:cxn ang="0">
                <a:pos x="r" y="vc"/>
              </a:cxn>
            </a:cxnLst>
            <a:rect l="l" t="t" r="r" b="b"/>
            <a:pathLst>
              <a:path w="3357" h="3293">
                <a:moveTo>
                  <a:pt x="478" y="3070"/>
                </a:moveTo>
                <a:cubicBezTo>
                  <a:pt x="446" y="3086"/>
                  <a:pt x="414" y="3118"/>
                  <a:pt x="430" y="3166"/>
                </a:cubicBezTo>
                <a:cubicBezTo>
                  <a:pt x="446" y="3197"/>
                  <a:pt x="478" y="3213"/>
                  <a:pt x="509" y="3213"/>
                </a:cubicBezTo>
                <a:cubicBezTo>
                  <a:pt x="526" y="3213"/>
                  <a:pt x="526" y="3213"/>
                  <a:pt x="541" y="3213"/>
                </a:cubicBezTo>
                <a:cubicBezTo>
                  <a:pt x="1544" y="2879"/>
                  <a:pt x="1639" y="604"/>
                  <a:pt x="1655" y="159"/>
                </a:cubicBezTo>
                <a:cubicBezTo>
                  <a:pt x="2053" y="159"/>
                  <a:pt x="2053" y="159"/>
                  <a:pt x="2053" y="159"/>
                </a:cubicBezTo>
                <a:cubicBezTo>
                  <a:pt x="2053" y="2640"/>
                  <a:pt x="2053" y="2640"/>
                  <a:pt x="2053" y="2640"/>
                </a:cubicBezTo>
                <a:cubicBezTo>
                  <a:pt x="2053" y="3006"/>
                  <a:pt x="2339" y="3293"/>
                  <a:pt x="2689" y="3293"/>
                </a:cubicBezTo>
                <a:cubicBezTo>
                  <a:pt x="3039" y="3293"/>
                  <a:pt x="3341" y="2990"/>
                  <a:pt x="3341" y="2624"/>
                </a:cubicBezTo>
                <a:cubicBezTo>
                  <a:pt x="3341" y="2593"/>
                  <a:pt x="3293" y="2561"/>
                  <a:pt x="3262" y="2561"/>
                </a:cubicBezTo>
                <a:cubicBezTo>
                  <a:pt x="3214" y="2561"/>
                  <a:pt x="3182" y="2593"/>
                  <a:pt x="3182" y="2624"/>
                </a:cubicBezTo>
                <a:cubicBezTo>
                  <a:pt x="3182" y="2911"/>
                  <a:pt x="2959" y="3133"/>
                  <a:pt x="2689" y="3133"/>
                </a:cubicBezTo>
                <a:cubicBezTo>
                  <a:pt x="2418" y="3133"/>
                  <a:pt x="2211" y="2911"/>
                  <a:pt x="2211" y="2640"/>
                </a:cubicBezTo>
                <a:cubicBezTo>
                  <a:pt x="2211" y="159"/>
                  <a:pt x="2211" y="159"/>
                  <a:pt x="2211" y="159"/>
                </a:cubicBezTo>
                <a:cubicBezTo>
                  <a:pt x="3277" y="159"/>
                  <a:pt x="3277" y="159"/>
                  <a:pt x="3277" y="159"/>
                </a:cubicBezTo>
                <a:cubicBezTo>
                  <a:pt x="3309" y="159"/>
                  <a:pt x="3357" y="112"/>
                  <a:pt x="3357" y="80"/>
                </a:cubicBezTo>
                <a:cubicBezTo>
                  <a:pt x="3357" y="32"/>
                  <a:pt x="3309" y="0"/>
                  <a:pt x="3277" y="0"/>
                </a:cubicBezTo>
                <a:cubicBezTo>
                  <a:pt x="971" y="0"/>
                  <a:pt x="971" y="0"/>
                  <a:pt x="971" y="0"/>
                </a:cubicBezTo>
                <a:cubicBezTo>
                  <a:pt x="430" y="0"/>
                  <a:pt x="0" y="430"/>
                  <a:pt x="0" y="986"/>
                </a:cubicBezTo>
                <a:cubicBezTo>
                  <a:pt x="0" y="1034"/>
                  <a:pt x="33" y="1066"/>
                  <a:pt x="80" y="1066"/>
                </a:cubicBezTo>
                <a:cubicBezTo>
                  <a:pt x="112" y="1066"/>
                  <a:pt x="160" y="1034"/>
                  <a:pt x="160" y="986"/>
                </a:cubicBezTo>
                <a:cubicBezTo>
                  <a:pt x="160" y="525"/>
                  <a:pt x="509" y="159"/>
                  <a:pt x="971" y="159"/>
                </a:cubicBezTo>
                <a:cubicBezTo>
                  <a:pt x="1496" y="159"/>
                  <a:pt x="1496" y="159"/>
                  <a:pt x="1496" y="159"/>
                </a:cubicBezTo>
                <a:cubicBezTo>
                  <a:pt x="1480" y="907"/>
                  <a:pt x="1273" y="2800"/>
                  <a:pt x="478" y="307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6" name="Freeform: Shape 8">
            <a:extLst>
              <a:ext uri="{FF2B5EF4-FFF2-40B4-BE49-F238E27FC236}">
                <a16:creationId xmlns:a16="http://schemas.microsoft.com/office/drawing/2014/main" id="{A49ADAF3-F897-EB41-B6A7-D6CE305C3BC6}"/>
              </a:ext>
            </a:extLst>
          </p:cNvPr>
          <p:cNvSpPr/>
          <p:nvPr/>
        </p:nvSpPr>
        <p:spPr>
          <a:xfrm>
            <a:off x="1678720" y="3739765"/>
            <a:ext cx="1725839" cy="1272600"/>
          </a:xfrm>
          <a:custGeom>
            <a:avLst/>
            <a:gdLst/>
            <a:ahLst/>
            <a:cxnLst>
              <a:cxn ang="3cd4">
                <a:pos x="hc" y="t"/>
              </a:cxn>
              <a:cxn ang="cd2">
                <a:pos x="l" y="vc"/>
              </a:cxn>
              <a:cxn ang="cd4">
                <a:pos x="hc" y="b"/>
              </a:cxn>
              <a:cxn ang="0">
                <a:pos x="r" y="vc"/>
              </a:cxn>
            </a:cxnLst>
            <a:rect l="l" t="t" r="r" b="b"/>
            <a:pathLst>
              <a:path w="4795" h="3536">
                <a:moveTo>
                  <a:pt x="3531" y="5"/>
                </a:moveTo>
                <a:cubicBezTo>
                  <a:pt x="2465" y="84"/>
                  <a:pt x="1241" y="1118"/>
                  <a:pt x="254" y="1945"/>
                </a:cubicBezTo>
                <a:cubicBezTo>
                  <a:pt x="239" y="1961"/>
                  <a:pt x="239" y="1961"/>
                  <a:pt x="239" y="1961"/>
                </a:cubicBezTo>
                <a:cubicBezTo>
                  <a:pt x="63" y="1961"/>
                  <a:pt x="63" y="1961"/>
                  <a:pt x="63" y="1961"/>
                </a:cubicBezTo>
                <a:cubicBezTo>
                  <a:pt x="32" y="1961"/>
                  <a:pt x="0" y="1993"/>
                  <a:pt x="0" y="2041"/>
                </a:cubicBezTo>
                <a:cubicBezTo>
                  <a:pt x="0" y="3456"/>
                  <a:pt x="0" y="3456"/>
                  <a:pt x="0" y="3456"/>
                </a:cubicBezTo>
                <a:cubicBezTo>
                  <a:pt x="0" y="3504"/>
                  <a:pt x="32" y="3536"/>
                  <a:pt x="63" y="3536"/>
                </a:cubicBezTo>
                <a:cubicBezTo>
                  <a:pt x="4676" y="3536"/>
                  <a:pt x="4676" y="3536"/>
                  <a:pt x="4676" y="3536"/>
                </a:cubicBezTo>
                <a:cubicBezTo>
                  <a:pt x="4724" y="3536"/>
                  <a:pt x="4756" y="3504"/>
                  <a:pt x="4756" y="3456"/>
                </a:cubicBezTo>
                <a:cubicBezTo>
                  <a:pt x="4756" y="2836"/>
                  <a:pt x="4756" y="2836"/>
                  <a:pt x="4756" y="2836"/>
                </a:cubicBezTo>
                <a:cubicBezTo>
                  <a:pt x="4756" y="2789"/>
                  <a:pt x="4724" y="2756"/>
                  <a:pt x="4676" y="2756"/>
                </a:cubicBezTo>
                <a:cubicBezTo>
                  <a:pt x="1257" y="2756"/>
                  <a:pt x="1257" y="2756"/>
                  <a:pt x="1257" y="2756"/>
                </a:cubicBezTo>
                <a:cubicBezTo>
                  <a:pt x="1257" y="2741"/>
                  <a:pt x="1257" y="2741"/>
                  <a:pt x="1257" y="2741"/>
                </a:cubicBezTo>
                <a:cubicBezTo>
                  <a:pt x="1272" y="2741"/>
                  <a:pt x="1289" y="2741"/>
                  <a:pt x="1289" y="2741"/>
                </a:cubicBezTo>
                <a:cubicBezTo>
                  <a:pt x="4406" y="1548"/>
                  <a:pt x="4406" y="1548"/>
                  <a:pt x="4406" y="1548"/>
                </a:cubicBezTo>
                <a:cubicBezTo>
                  <a:pt x="4453" y="1532"/>
                  <a:pt x="4470" y="1484"/>
                  <a:pt x="4453" y="1452"/>
                </a:cubicBezTo>
                <a:cubicBezTo>
                  <a:pt x="4295" y="1007"/>
                  <a:pt x="4295" y="1007"/>
                  <a:pt x="4295" y="1007"/>
                </a:cubicBezTo>
                <a:cubicBezTo>
                  <a:pt x="4740" y="816"/>
                  <a:pt x="4740" y="816"/>
                  <a:pt x="4740" y="816"/>
                </a:cubicBezTo>
                <a:cubicBezTo>
                  <a:pt x="4772" y="800"/>
                  <a:pt x="4788" y="784"/>
                  <a:pt x="4788" y="753"/>
                </a:cubicBezTo>
                <a:cubicBezTo>
                  <a:pt x="4804" y="736"/>
                  <a:pt x="4788" y="705"/>
                  <a:pt x="4772" y="689"/>
                </a:cubicBezTo>
                <a:cubicBezTo>
                  <a:pt x="4438" y="355"/>
                  <a:pt x="4438" y="355"/>
                  <a:pt x="4438" y="355"/>
                </a:cubicBezTo>
                <a:cubicBezTo>
                  <a:pt x="4183" y="100"/>
                  <a:pt x="3865" y="-27"/>
                  <a:pt x="3531" y="5"/>
                </a:cubicBezTo>
                <a:close/>
                <a:moveTo>
                  <a:pt x="4597" y="2900"/>
                </a:moveTo>
                <a:cubicBezTo>
                  <a:pt x="4597" y="3377"/>
                  <a:pt x="4597" y="3377"/>
                  <a:pt x="4597" y="3377"/>
                </a:cubicBezTo>
                <a:cubicBezTo>
                  <a:pt x="143" y="3377"/>
                  <a:pt x="143" y="3377"/>
                  <a:pt x="143" y="3377"/>
                </a:cubicBezTo>
                <a:cubicBezTo>
                  <a:pt x="143" y="2120"/>
                  <a:pt x="143" y="2120"/>
                  <a:pt x="143" y="2120"/>
                </a:cubicBezTo>
                <a:cubicBezTo>
                  <a:pt x="1098" y="2120"/>
                  <a:pt x="1098" y="2120"/>
                  <a:pt x="1098" y="2120"/>
                </a:cubicBezTo>
                <a:cubicBezTo>
                  <a:pt x="1098" y="2836"/>
                  <a:pt x="1098" y="2836"/>
                  <a:pt x="1098" y="2836"/>
                </a:cubicBezTo>
                <a:cubicBezTo>
                  <a:pt x="1098" y="2868"/>
                  <a:pt x="1145" y="2900"/>
                  <a:pt x="1177" y="2900"/>
                </a:cubicBezTo>
                <a:close/>
                <a:moveTo>
                  <a:pt x="1257" y="2581"/>
                </a:moveTo>
                <a:cubicBezTo>
                  <a:pt x="1257" y="2248"/>
                  <a:pt x="1257" y="2248"/>
                  <a:pt x="1257" y="2248"/>
                </a:cubicBezTo>
                <a:cubicBezTo>
                  <a:pt x="4152" y="1071"/>
                  <a:pt x="4152" y="1071"/>
                  <a:pt x="4152" y="1071"/>
                </a:cubicBezTo>
                <a:cubicBezTo>
                  <a:pt x="4279" y="1436"/>
                  <a:pt x="4279" y="1436"/>
                  <a:pt x="4279" y="1436"/>
                </a:cubicBezTo>
                <a:close/>
                <a:moveTo>
                  <a:pt x="1257" y="2072"/>
                </a:moveTo>
                <a:cubicBezTo>
                  <a:pt x="1257" y="2041"/>
                  <a:pt x="1257" y="2041"/>
                  <a:pt x="1257" y="2041"/>
                </a:cubicBezTo>
                <a:cubicBezTo>
                  <a:pt x="1257" y="1993"/>
                  <a:pt x="1225" y="1961"/>
                  <a:pt x="1177" y="1961"/>
                </a:cubicBezTo>
                <a:cubicBezTo>
                  <a:pt x="493" y="1961"/>
                  <a:pt x="493" y="1961"/>
                  <a:pt x="493" y="1961"/>
                </a:cubicBezTo>
                <a:cubicBezTo>
                  <a:pt x="1432" y="1166"/>
                  <a:pt x="2577" y="244"/>
                  <a:pt x="3547" y="164"/>
                </a:cubicBezTo>
                <a:cubicBezTo>
                  <a:pt x="3834" y="148"/>
                  <a:pt x="4104" y="244"/>
                  <a:pt x="4326" y="466"/>
                </a:cubicBezTo>
                <a:cubicBezTo>
                  <a:pt x="4581" y="721"/>
                  <a:pt x="4581" y="721"/>
                  <a:pt x="4581" y="72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7" name="Freeform: Shape 9">
            <a:extLst>
              <a:ext uri="{FF2B5EF4-FFF2-40B4-BE49-F238E27FC236}">
                <a16:creationId xmlns:a16="http://schemas.microsoft.com/office/drawing/2014/main" id="{490C4BC6-4387-F340-A2BA-FEF35D921615}"/>
              </a:ext>
            </a:extLst>
          </p:cNvPr>
          <p:cNvSpPr/>
          <p:nvPr/>
        </p:nvSpPr>
        <p:spPr>
          <a:xfrm>
            <a:off x="6283145" y="6491974"/>
            <a:ext cx="1351080" cy="1493999"/>
          </a:xfrm>
          <a:custGeom>
            <a:avLst/>
            <a:gdLst/>
            <a:ahLst/>
            <a:cxnLst>
              <a:cxn ang="3cd4">
                <a:pos x="hc" y="t"/>
              </a:cxn>
              <a:cxn ang="cd2">
                <a:pos x="l" y="vc"/>
              </a:cxn>
              <a:cxn ang="cd4">
                <a:pos x="hc" y="b"/>
              </a:cxn>
              <a:cxn ang="0">
                <a:pos x="r" y="vc"/>
              </a:cxn>
            </a:cxnLst>
            <a:rect l="l" t="t" r="r" b="b"/>
            <a:pathLst>
              <a:path w="3754" h="4151">
                <a:moveTo>
                  <a:pt x="3547" y="3594"/>
                </a:moveTo>
                <a:cubicBezTo>
                  <a:pt x="3547" y="3546"/>
                  <a:pt x="3515" y="3515"/>
                  <a:pt x="3468" y="3515"/>
                </a:cubicBezTo>
                <a:lnTo>
                  <a:pt x="366" y="3515"/>
                </a:lnTo>
                <a:lnTo>
                  <a:pt x="366" y="270"/>
                </a:lnTo>
                <a:cubicBezTo>
                  <a:pt x="366" y="238"/>
                  <a:pt x="318" y="191"/>
                  <a:pt x="287" y="191"/>
                </a:cubicBezTo>
                <a:cubicBezTo>
                  <a:pt x="239" y="191"/>
                  <a:pt x="207" y="238"/>
                  <a:pt x="207" y="270"/>
                </a:cubicBezTo>
                <a:lnTo>
                  <a:pt x="207" y="3515"/>
                </a:lnTo>
                <a:lnTo>
                  <a:pt x="80" y="3515"/>
                </a:lnTo>
                <a:cubicBezTo>
                  <a:pt x="32" y="3515"/>
                  <a:pt x="0" y="3546"/>
                  <a:pt x="0" y="3594"/>
                </a:cubicBezTo>
                <a:cubicBezTo>
                  <a:pt x="0" y="3642"/>
                  <a:pt x="32" y="3673"/>
                  <a:pt x="80" y="3673"/>
                </a:cubicBezTo>
                <a:lnTo>
                  <a:pt x="207" y="3673"/>
                </a:lnTo>
                <a:lnTo>
                  <a:pt x="207" y="4072"/>
                </a:lnTo>
                <a:cubicBezTo>
                  <a:pt x="207" y="4119"/>
                  <a:pt x="239" y="4151"/>
                  <a:pt x="287" y="4151"/>
                </a:cubicBezTo>
                <a:cubicBezTo>
                  <a:pt x="318" y="4151"/>
                  <a:pt x="366" y="4119"/>
                  <a:pt x="366" y="4072"/>
                </a:cubicBezTo>
                <a:lnTo>
                  <a:pt x="366" y="3673"/>
                </a:lnTo>
                <a:lnTo>
                  <a:pt x="3468" y="3673"/>
                </a:lnTo>
                <a:cubicBezTo>
                  <a:pt x="3515" y="3673"/>
                  <a:pt x="3547" y="3642"/>
                  <a:pt x="3547" y="3594"/>
                </a:cubicBezTo>
                <a:close/>
                <a:moveTo>
                  <a:pt x="827" y="1176"/>
                </a:moveTo>
                <a:cubicBezTo>
                  <a:pt x="827" y="1129"/>
                  <a:pt x="796" y="1097"/>
                  <a:pt x="748" y="1097"/>
                </a:cubicBezTo>
                <a:cubicBezTo>
                  <a:pt x="716" y="1097"/>
                  <a:pt x="669" y="1129"/>
                  <a:pt x="669" y="1176"/>
                </a:cubicBezTo>
                <a:cubicBezTo>
                  <a:pt x="669" y="2337"/>
                  <a:pt x="1623" y="3292"/>
                  <a:pt x="2784" y="3292"/>
                </a:cubicBezTo>
                <a:cubicBezTo>
                  <a:pt x="2832" y="3292"/>
                  <a:pt x="2863" y="3244"/>
                  <a:pt x="2863" y="3212"/>
                </a:cubicBezTo>
                <a:cubicBezTo>
                  <a:pt x="2863" y="3165"/>
                  <a:pt x="2832" y="3133"/>
                  <a:pt x="2784" y="3133"/>
                </a:cubicBezTo>
                <a:cubicBezTo>
                  <a:pt x="1718" y="3133"/>
                  <a:pt x="827" y="2258"/>
                  <a:pt x="827" y="1176"/>
                </a:cubicBezTo>
                <a:close/>
                <a:moveTo>
                  <a:pt x="2482" y="143"/>
                </a:moveTo>
                <a:cubicBezTo>
                  <a:pt x="2545" y="143"/>
                  <a:pt x="2609" y="158"/>
                  <a:pt x="2657" y="174"/>
                </a:cubicBezTo>
                <a:lnTo>
                  <a:pt x="2688" y="174"/>
                </a:lnTo>
                <a:cubicBezTo>
                  <a:pt x="2693" y="164"/>
                  <a:pt x="2704" y="158"/>
                  <a:pt x="2704" y="143"/>
                </a:cubicBezTo>
                <a:lnTo>
                  <a:pt x="2704" y="63"/>
                </a:lnTo>
                <a:lnTo>
                  <a:pt x="2672" y="31"/>
                </a:lnTo>
                <a:cubicBezTo>
                  <a:pt x="2609" y="15"/>
                  <a:pt x="2561" y="0"/>
                  <a:pt x="2482" y="0"/>
                </a:cubicBezTo>
                <a:cubicBezTo>
                  <a:pt x="2370" y="0"/>
                  <a:pt x="2275" y="31"/>
                  <a:pt x="2211" y="111"/>
                </a:cubicBezTo>
                <a:cubicBezTo>
                  <a:pt x="2132" y="174"/>
                  <a:pt x="2100" y="301"/>
                  <a:pt x="2100" y="461"/>
                </a:cubicBezTo>
                <a:lnTo>
                  <a:pt x="2100" y="572"/>
                </a:lnTo>
                <a:lnTo>
                  <a:pt x="1941" y="572"/>
                </a:lnTo>
                <a:cubicBezTo>
                  <a:pt x="1909" y="572"/>
                  <a:pt x="1909" y="588"/>
                  <a:pt x="1909" y="620"/>
                </a:cubicBezTo>
                <a:lnTo>
                  <a:pt x="1909" y="683"/>
                </a:lnTo>
                <a:cubicBezTo>
                  <a:pt x="1909" y="700"/>
                  <a:pt x="1909" y="715"/>
                  <a:pt x="1941" y="715"/>
                </a:cubicBezTo>
                <a:lnTo>
                  <a:pt x="2100" y="715"/>
                </a:lnTo>
                <a:lnTo>
                  <a:pt x="2100" y="1876"/>
                </a:lnTo>
                <a:cubicBezTo>
                  <a:pt x="2100" y="1892"/>
                  <a:pt x="2116" y="1908"/>
                  <a:pt x="2132" y="1908"/>
                </a:cubicBezTo>
                <a:lnTo>
                  <a:pt x="2211" y="1908"/>
                </a:lnTo>
                <a:cubicBezTo>
                  <a:pt x="2227" y="1908"/>
                  <a:pt x="2243" y="1892"/>
                  <a:pt x="2243" y="1876"/>
                </a:cubicBezTo>
                <a:lnTo>
                  <a:pt x="2243" y="715"/>
                </a:lnTo>
                <a:lnTo>
                  <a:pt x="2657" y="715"/>
                </a:lnTo>
                <a:cubicBezTo>
                  <a:pt x="2688" y="715"/>
                  <a:pt x="2704" y="700"/>
                  <a:pt x="2704" y="683"/>
                </a:cubicBezTo>
                <a:lnTo>
                  <a:pt x="2704" y="620"/>
                </a:lnTo>
                <a:cubicBezTo>
                  <a:pt x="2704" y="588"/>
                  <a:pt x="2688" y="572"/>
                  <a:pt x="2657" y="572"/>
                </a:cubicBezTo>
                <a:lnTo>
                  <a:pt x="2243" y="572"/>
                </a:lnTo>
                <a:lnTo>
                  <a:pt x="2243" y="461"/>
                </a:lnTo>
                <a:cubicBezTo>
                  <a:pt x="2243" y="254"/>
                  <a:pt x="2323" y="143"/>
                  <a:pt x="2482" y="143"/>
                </a:cubicBezTo>
                <a:close/>
                <a:moveTo>
                  <a:pt x="3643" y="1908"/>
                </a:moveTo>
                <a:lnTo>
                  <a:pt x="3722" y="1908"/>
                </a:lnTo>
                <a:cubicBezTo>
                  <a:pt x="3738" y="1908"/>
                  <a:pt x="3738" y="1908"/>
                  <a:pt x="3754" y="1892"/>
                </a:cubicBezTo>
                <a:lnTo>
                  <a:pt x="3754" y="1860"/>
                </a:lnTo>
                <a:lnTo>
                  <a:pt x="3341" y="1383"/>
                </a:lnTo>
                <a:lnTo>
                  <a:pt x="3738" y="922"/>
                </a:lnTo>
                <a:lnTo>
                  <a:pt x="3738" y="874"/>
                </a:lnTo>
                <a:cubicBezTo>
                  <a:pt x="3727" y="869"/>
                  <a:pt x="3722" y="858"/>
                  <a:pt x="3706" y="858"/>
                </a:cubicBezTo>
                <a:lnTo>
                  <a:pt x="3627" y="858"/>
                </a:lnTo>
                <a:cubicBezTo>
                  <a:pt x="3622" y="863"/>
                  <a:pt x="3611" y="858"/>
                  <a:pt x="3611" y="874"/>
                </a:cubicBezTo>
                <a:lnTo>
                  <a:pt x="3261" y="1288"/>
                </a:lnTo>
                <a:lnTo>
                  <a:pt x="2927" y="874"/>
                </a:lnTo>
                <a:cubicBezTo>
                  <a:pt x="2911" y="858"/>
                  <a:pt x="2911" y="858"/>
                  <a:pt x="2895" y="858"/>
                </a:cubicBezTo>
                <a:lnTo>
                  <a:pt x="2815" y="858"/>
                </a:lnTo>
                <a:cubicBezTo>
                  <a:pt x="2800" y="858"/>
                  <a:pt x="2800" y="874"/>
                  <a:pt x="2784" y="874"/>
                </a:cubicBezTo>
                <a:cubicBezTo>
                  <a:pt x="2784" y="890"/>
                  <a:pt x="2784" y="906"/>
                  <a:pt x="2800" y="922"/>
                </a:cubicBezTo>
                <a:lnTo>
                  <a:pt x="3181" y="1383"/>
                </a:lnTo>
                <a:lnTo>
                  <a:pt x="2784" y="1860"/>
                </a:lnTo>
                <a:cubicBezTo>
                  <a:pt x="2768" y="1860"/>
                  <a:pt x="2768" y="1876"/>
                  <a:pt x="2768" y="1892"/>
                </a:cubicBezTo>
                <a:cubicBezTo>
                  <a:pt x="2784" y="1908"/>
                  <a:pt x="2784" y="1908"/>
                  <a:pt x="2800" y="1908"/>
                </a:cubicBezTo>
                <a:lnTo>
                  <a:pt x="2879" y="1908"/>
                </a:lnTo>
                <a:cubicBezTo>
                  <a:pt x="2884" y="1903"/>
                  <a:pt x="2895" y="1908"/>
                  <a:pt x="2895" y="1892"/>
                </a:cubicBezTo>
                <a:lnTo>
                  <a:pt x="3261" y="1479"/>
                </a:lnTo>
                <a:lnTo>
                  <a:pt x="3611" y="1892"/>
                </a:lnTo>
                <a:cubicBezTo>
                  <a:pt x="3627" y="1908"/>
                  <a:pt x="3627" y="1908"/>
                  <a:pt x="3643" y="190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8" name="Freeform: Shape 10">
            <a:extLst>
              <a:ext uri="{FF2B5EF4-FFF2-40B4-BE49-F238E27FC236}">
                <a16:creationId xmlns:a16="http://schemas.microsoft.com/office/drawing/2014/main" id="{AC6A4413-19B5-BE48-BAD2-6128D4D75A61}"/>
              </a:ext>
            </a:extLst>
          </p:cNvPr>
          <p:cNvSpPr/>
          <p:nvPr/>
        </p:nvSpPr>
        <p:spPr>
          <a:xfrm>
            <a:off x="21415140" y="3762805"/>
            <a:ext cx="1406880" cy="1226160"/>
          </a:xfrm>
          <a:custGeom>
            <a:avLst/>
            <a:gdLst/>
            <a:ahLst/>
            <a:cxnLst>
              <a:cxn ang="3cd4">
                <a:pos x="hc" y="t"/>
              </a:cxn>
              <a:cxn ang="cd2">
                <a:pos x="l" y="vc"/>
              </a:cxn>
              <a:cxn ang="cd4">
                <a:pos x="hc" y="b"/>
              </a:cxn>
              <a:cxn ang="0">
                <a:pos x="r" y="vc"/>
              </a:cxn>
            </a:cxnLst>
            <a:rect l="l" t="t" r="r" b="b"/>
            <a:pathLst>
              <a:path w="3909" h="3407">
                <a:moveTo>
                  <a:pt x="1889" y="35"/>
                </a:moveTo>
                <a:cubicBezTo>
                  <a:pt x="12" y="3296"/>
                  <a:pt x="12" y="3296"/>
                  <a:pt x="12" y="3296"/>
                </a:cubicBezTo>
                <a:cubicBezTo>
                  <a:pt x="-4" y="3312"/>
                  <a:pt x="-4" y="3343"/>
                  <a:pt x="12" y="3376"/>
                </a:cubicBezTo>
                <a:cubicBezTo>
                  <a:pt x="28" y="3391"/>
                  <a:pt x="44" y="3407"/>
                  <a:pt x="75" y="3407"/>
                </a:cubicBezTo>
                <a:cubicBezTo>
                  <a:pt x="3829" y="3407"/>
                  <a:pt x="3829" y="3407"/>
                  <a:pt x="3829" y="3407"/>
                </a:cubicBezTo>
                <a:cubicBezTo>
                  <a:pt x="3861" y="3407"/>
                  <a:pt x="3893" y="3391"/>
                  <a:pt x="3909" y="3376"/>
                </a:cubicBezTo>
                <a:cubicBezTo>
                  <a:pt x="3909" y="3343"/>
                  <a:pt x="3909" y="3312"/>
                  <a:pt x="3909" y="3296"/>
                </a:cubicBezTo>
                <a:cubicBezTo>
                  <a:pt x="2016" y="35"/>
                  <a:pt x="2016" y="35"/>
                  <a:pt x="2016" y="35"/>
                </a:cubicBezTo>
                <a:cubicBezTo>
                  <a:pt x="2000" y="-12"/>
                  <a:pt x="1920" y="-12"/>
                  <a:pt x="1889" y="35"/>
                </a:cubicBezTo>
                <a:close/>
                <a:moveTo>
                  <a:pt x="219" y="3248"/>
                </a:moveTo>
                <a:cubicBezTo>
                  <a:pt x="1952" y="242"/>
                  <a:pt x="1952" y="242"/>
                  <a:pt x="1952" y="242"/>
                </a:cubicBezTo>
                <a:cubicBezTo>
                  <a:pt x="3702" y="3248"/>
                  <a:pt x="3702" y="3248"/>
                  <a:pt x="3702" y="324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9" name="Freeform: Shape 11">
            <a:extLst>
              <a:ext uri="{FF2B5EF4-FFF2-40B4-BE49-F238E27FC236}">
                <a16:creationId xmlns:a16="http://schemas.microsoft.com/office/drawing/2014/main" id="{BEB962DD-3C0E-A847-BCDE-C1F02CEE2B7A}"/>
              </a:ext>
            </a:extLst>
          </p:cNvPr>
          <p:cNvSpPr/>
          <p:nvPr/>
        </p:nvSpPr>
        <p:spPr>
          <a:xfrm>
            <a:off x="21795157" y="9802277"/>
            <a:ext cx="848519" cy="1637280"/>
          </a:xfrm>
          <a:custGeom>
            <a:avLst/>
            <a:gdLst/>
            <a:ahLst/>
            <a:cxnLst>
              <a:cxn ang="3cd4">
                <a:pos x="hc" y="t"/>
              </a:cxn>
              <a:cxn ang="cd2">
                <a:pos x="l" y="vc"/>
              </a:cxn>
              <a:cxn ang="cd4">
                <a:pos x="hc" y="b"/>
              </a:cxn>
              <a:cxn ang="0">
                <a:pos x="r" y="vc"/>
              </a:cxn>
            </a:cxnLst>
            <a:rect l="l" t="t" r="r" b="b"/>
            <a:pathLst>
              <a:path w="2358" h="4549">
                <a:moveTo>
                  <a:pt x="2358" y="2688"/>
                </a:moveTo>
                <a:cubicBezTo>
                  <a:pt x="2358" y="2640"/>
                  <a:pt x="2327" y="2608"/>
                  <a:pt x="2279" y="2608"/>
                </a:cubicBezTo>
                <a:cubicBezTo>
                  <a:pt x="2231" y="2608"/>
                  <a:pt x="2199" y="2640"/>
                  <a:pt x="2199" y="2688"/>
                </a:cubicBezTo>
                <a:cubicBezTo>
                  <a:pt x="2199" y="2911"/>
                  <a:pt x="1993" y="3133"/>
                  <a:pt x="1754" y="3261"/>
                </a:cubicBezTo>
                <a:cubicBezTo>
                  <a:pt x="1531" y="1988"/>
                  <a:pt x="1531" y="1988"/>
                  <a:pt x="1531" y="1988"/>
                </a:cubicBezTo>
                <a:cubicBezTo>
                  <a:pt x="1515" y="1956"/>
                  <a:pt x="1515" y="1925"/>
                  <a:pt x="1500" y="1908"/>
                </a:cubicBezTo>
                <a:cubicBezTo>
                  <a:pt x="1325" y="1654"/>
                  <a:pt x="1325" y="1654"/>
                  <a:pt x="1325" y="1654"/>
                </a:cubicBezTo>
                <a:cubicBezTo>
                  <a:pt x="1325" y="1638"/>
                  <a:pt x="1309" y="1638"/>
                  <a:pt x="1309" y="1638"/>
                </a:cubicBezTo>
                <a:cubicBezTo>
                  <a:pt x="1420" y="1559"/>
                  <a:pt x="1500" y="1431"/>
                  <a:pt x="1500" y="1288"/>
                </a:cubicBezTo>
                <a:cubicBezTo>
                  <a:pt x="1500" y="890"/>
                  <a:pt x="1500" y="890"/>
                  <a:pt x="1500" y="890"/>
                </a:cubicBezTo>
                <a:cubicBezTo>
                  <a:pt x="1500" y="652"/>
                  <a:pt x="1261" y="461"/>
                  <a:pt x="1022" y="429"/>
                </a:cubicBezTo>
                <a:cubicBezTo>
                  <a:pt x="1022" y="80"/>
                  <a:pt x="1022" y="80"/>
                  <a:pt x="1022" y="80"/>
                </a:cubicBezTo>
                <a:cubicBezTo>
                  <a:pt x="1022" y="32"/>
                  <a:pt x="991" y="0"/>
                  <a:pt x="943" y="0"/>
                </a:cubicBezTo>
                <a:cubicBezTo>
                  <a:pt x="911" y="0"/>
                  <a:pt x="863" y="32"/>
                  <a:pt x="863" y="80"/>
                </a:cubicBezTo>
                <a:cubicBezTo>
                  <a:pt x="863" y="429"/>
                  <a:pt x="863" y="429"/>
                  <a:pt x="863" y="429"/>
                </a:cubicBezTo>
                <a:cubicBezTo>
                  <a:pt x="640" y="461"/>
                  <a:pt x="402" y="652"/>
                  <a:pt x="402" y="890"/>
                </a:cubicBezTo>
                <a:cubicBezTo>
                  <a:pt x="402" y="1288"/>
                  <a:pt x="402" y="1288"/>
                  <a:pt x="402" y="1288"/>
                </a:cubicBezTo>
                <a:cubicBezTo>
                  <a:pt x="402" y="1447"/>
                  <a:pt x="497" y="1590"/>
                  <a:pt x="640" y="1670"/>
                </a:cubicBezTo>
                <a:cubicBezTo>
                  <a:pt x="482" y="1908"/>
                  <a:pt x="482" y="1908"/>
                  <a:pt x="482" y="1908"/>
                </a:cubicBezTo>
                <a:cubicBezTo>
                  <a:pt x="466" y="1925"/>
                  <a:pt x="450" y="1956"/>
                  <a:pt x="450" y="1988"/>
                </a:cubicBezTo>
                <a:cubicBezTo>
                  <a:pt x="4" y="4453"/>
                  <a:pt x="4" y="4453"/>
                  <a:pt x="4" y="4453"/>
                </a:cubicBezTo>
                <a:cubicBezTo>
                  <a:pt x="-12" y="4501"/>
                  <a:pt x="21" y="4533"/>
                  <a:pt x="68" y="4549"/>
                </a:cubicBezTo>
                <a:lnTo>
                  <a:pt x="84" y="4549"/>
                </a:lnTo>
                <a:cubicBezTo>
                  <a:pt x="116" y="4549"/>
                  <a:pt x="148" y="4517"/>
                  <a:pt x="164" y="4485"/>
                </a:cubicBezTo>
                <a:cubicBezTo>
                  <a:pt x="418" y="3038"/>
                  <a:pt x="418" y="3038"/>
                  <a:pt x="418" y="3038"/>
                </a:cubicBezTo>
                <a:cubicBezTo>
                  <a:pt x="609" y="3324"/>
                  <a:pt x="1006" y="3515"/>
                  <a:pt x="1340" y="3515"/>
                </a:cubicBezTo>
                <a:cubicBezTo>
                  <a:pt x="1436" y="3515"/>
                  <a:pt x="1531" y="3499"/>
                  <a:pt x="1627" y="3467"/>
                </a:cubicBezTo>
                <a:cubicBezTo>
                  <a:pt x="1818" y="4485"/>
                  <a:pt x="1818" y="4485"/>
                  <a:pt x="1818" y="4485"/>
                </a:cubicBezTo>
                <a:cubicBezTo>
                  <a:pt x="1818" y="4517"/>
                  <a:pt x="1866" y="4549"/>
                  <a:pt x="1897" y="4549"/>
                </a:cubicBezTo>
                <a:lnTo>
                  <a:pt x="1913" y="4549"/>
                </a:lnTo>
                <a:cubicBezTo>
                  <a:pt x="1961" y="4533"/>
                  <a:pt x="1977" y="4501"/>
                  <a:pt x="1977" y="4453"/>
                </a:cubicBezTo>
                <a:cubicBezTo>
                  <a:pt x="1786" y="3420"/>
                  <a:pt x="1786" y="3420"/>
                  <a:pt x="1786" y="3420"/>
                </a:cubicBezTo>
                <a:cubicBezTo>
                  <a:pt x="2104" y="3276"/>
                  <a:pt x="2358" y="3006"/>
                  <a:pt x="2358" y="2688"/>
                </a:cubicBezTo>
                <a:close/>
                <a:moveTo>
                  <a:pt x="561" y="1288"/>
                </a:moveTo>
                <a:cubicBezTo>
                  <a:pt x="561" y="890"/>
                  <a:pt x="561" y="890"/>
                  <a:pt x="561" y="890"/>
                </a:cubicBezTo>
                <a:cubicBezTo>
                  <a:pt x="561" y="732"/>
                  <a:pt x="768" y="572"/>
                  <a:pt x="943" y="572"/>
                </a:cubicBezTo>
                <a:cubicBezTo>
                  <a:pt x="1134" y="572"/>
                  <a:pt x="1340" y="732"/>
                  <a:pt x="1340" y="890"/>
                </a:cubicBezTo>
                <a:cubicBezTo>
                  <a:pt x="1340" y="1288"/>
                  <a:pt x="1340" y="1288"/>
                  <a:pt x="1340" y="1288"/>
                </a:cubicBezTo>
                <a:cubicBezTo>
                  <a:pt x="1340" y="1463"/>
                  <a:pt x="1134" y="1607"/>
                  <a:pt x="943" y="1607"/>
                </a:cubicBezTo>
                <a:cubicBezTo>
                  <a:pt x="768" y="1607"/>
                  <a:pt x="561" y="1463"/>
                  <a:pt x="561" y="1288"/>
                </a:cubicBezTo>
                <a:close/>
                <a:moveTo>
                  <a:pt x="1340" y="3356"/>
                </a:moveTo>
                <a:cubicBezTo>
                  <a:pt x="991" y="3356"/>
                  <a:pt x="530" y="3086"/>
                  <a:pt x="482" y="2752"/>
                </a:cubicBezTo>
                <a:cubicBezTo>
                  <a:pt x="609" y="2004"/>
                  <a:pt x="609" y="2004"/>
                  <a:pt x="609" y="2004"/>
                </a:cubicBezTo>
                <a:cubicBezTo>
                  <a:pt x="784" y="1750"/>
                  <a:pt x="784" y="1750"/>
                  <a:pt x="784" y="1750"/>
                </a:cubicBezTo>
                <a:cubicBezTo>
                  <a:pt x="848" y="1765"/>
                  <a:pt x="895" y="1765"/>
                  <a:pt x="943" y="1765"/>
                </a:cubicBezTo>
                <a:cubicBezTo>
                  <a:pt x="1022" y="1765"/>
                  <a:pt x="1102" y="1750"/>
                  <a:pt x="1182" y="1717"/>
                </a:cubicBezTo>
                <a:lnTo>
                  <a:pt x="1182" y="1734"/>
                </a:lnTo>
                <a:cubicBezTo>
                  <a:pt x="1372" y="2020"/>
                  <a:pt x="1372" y="2020"/>
                  <a:pt x="1372" y="2020"/>
                </a:cubicBezTo>
                <a:cubicBezTo>
                  <a:pt x="1611" y="3308"/>
                  <a:pt x="1611" y="3308"/>
                  <a:pt x="1611" y="3308"/>
                </a:cubicBezTo>
                <a:cubicBezTo>
                  <a:pt x="1515" y="3340"/>
                  <a:pt x="1420" y="3356"/>
                  <a:pt x="1340" y="335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0" name="Freeform: Shape 12">
            <a:extLst>
              <a:ext uri="{FF2B5EF4-FFF2-40B4-BE49-F238E27FC236}">
                <a16:creationId xmlns:a16="http://schemas.microsoft.com/office/drawing/2014/main" id="{448B35A8-5386-774A-AF57-719C9FC8DCDB}"/>
              </a:ext>
            </a:extLst>
          </p:cNvPr>
          <p:cNvSpPr/>
          <p:nvPr/>
        </p:nvSpPr>
        <p:spPr>
          <a:xfrm>
            <a:off x="1909681" y="9773476"/>
            <a:ext cx="1144800" cy="1700280"/>
          </a:xfrm>
          <a:custGeom>
            <a:avLst/>
            <a:gdLst/>
            <a:ahLst/>
            <a:cxnLst>
              <a:cxn ang="3cd4">
                <a:pos x="hc" y="t"/>
              </a:cxn>
              <a:cxn ang="cd2">
                <a:pos x="l" y="vc"/>
              </a:cxn>
              <a:cxn ang="cd4">
                <a:pos x="hc" y="b"/>
              </a:cxn>
              <a:cxn ang="0">
                <a:pos x="r" y="vc"/>
              </a:cxn>
            </a:cxnLst>
            <a:rect l="l" t="t" r="r" b="b"/>
            <a:pathLst>
              <a:path w="3181" h="4724">
                <a:moveTo>
                  <a:pt x="1161" y="4708"/>
                </a:moveTo>
                <a:cubicBezTo>
                  <a:pt x="1193" y="4724"/>
                  <a:pt x="1224" y="4724"/>
                  <a:pt x="1240" y="4708"/>
                </a:cubicBezTo>
                <a:cubicBezTo>
                  <a:pt x="2147" y="4008"/>
                  <a:pt x="2147" y="4008"/>
                  <a:pt x="2147" y="4008"/>
                </a:cubicBezTo>
                <a:cubicBezTo>
                  <a:pt x="3054" y="4708"/>
                  <a:pt x="3054" y="4708"/>
                  <a:pt x="3054" y="4708"/>
                </a:cubicBezTo>
                <a:cubicBezTo>
                  <a:pt x="3069" y="4708"/>
                  <a:pt x="3085" y="4724"/>
                  <a:pt x="3101" y="4724"/>
                </a:cubicBezTo>
                <a:cubicBezTo>
                  <a:pt x="3117" y="4724"/>
                  <a:pt x="3133" y="4708"/>
                  <a:pt x="3133" y="4708"/>
                </a:cubicBezTo>
                <a:cubicBezTo>
                  <a:pt x="3165" y="4693"/>
                  <a:pt x="3181" y="4677"/>
                  <a:pt x="3181" y="4645"/>
                </a:cubicBezTo>
                <a:cubicBezTo>
                  <a:pt x="3181" y="636"/>
                  <a:pt x="3181" y="636"/>
                  <a:pt x="3181" y="636"/>
                </a:cubicBezTo>
                <a:cubicBezTo>
                  <a:pt x="3181" y="621"/>
                  <a:pt x="3181" y="605"/>
                  <a:pt x="3181" y="605"/>
                </a:cubicBezTo>
                <a:cubicBezTo>
                  <a:pt x="3133" y="303"/>
                  <a:pt x="2831" y="0"/>
                  <a:pt x="2545" y="0"/>
                </a:cubicBezTo>
                <a:cubicBezTo>
                  <a:pt x="827" y="0"/>
                  <a:pt x="827" y="0"/>
                  <a:pt x="827" y="0"/>
                </a:cubicBezTo>
                <a:lnTo>
                  <a:pt x="811" y="0"/>
                </a:lnTo>
                <a:cubicBezTo>
                  <a:pt x="556" y="0"/>
                  <a:pt x="556" y="0"/>
                  <a:pt x="556" y="0"/>
                </a:cubicBezTo>
                <a:cubicBezTo>
                  <a:pt x="238" y="0"/>
                  <a:pt x="0" y="239"/>
                  <a:pt x="0" y="573"/>
                </a:cubicBezTo>
                <a:cubicBezTo>
                  <a:pt x="0" y="2132"/>
                  <a:pt x="0" y="2132"/>
                  <a:pt x="0" y="2132"/>
                </a:cubicBezTo>
                <a:cubicBezTo>
                  <a:pt x="0" y="2179"/>
                  <a:pt x="47" y="2211"/>
                  <a:pt x="79" y="2211"/>
                </a:cubicBezTo>
                <a:cubicBezTo>
                  <a:pt x="1113" y="2211"/>
                  <a:pt x="1113" y="2211"/>
                  <a:pt x="1113" y="2211"/>
                </a:cubicBezTo>
                <a:cubicBezTo>
                  <a:pt x="1113" y="4645"/>
                  <a:pt x="1113" y="4645"/>
                  <a:pt x="1113" y="4645"/>
                </a:cubicBezTo>
                <a:cubicBezTo>
                  <a:pt x="1113" y="4677"/>
                  <a:pt x="1129" y="4693"/>
                  <a:pt x="1161" y="4708"/>
                </a:cubicBezTo>
                <a:close/>
                <a:moveTo>
                  <a:pt x="2545" y="160"/>
                </a:moveTo>
                <a:cubicBezTo>
                  <a:pt x="2767" y="160"/>
                  <a:pt x="3021" y="430"/>
                  <a:pt x="3021" y="669"/>
                </a:cubicBezTo>
                <a:cubicBezTo>
                  <a:pt x="3021" y="4486"/>
                  <a:pt x="3021" y="4486"/>
                  <a:pt x="3021" y="4486"/>
                </a:cubicBezTo>
                <a:cubicBezTo>
                  <a:pt x="2194" y="3850"/>
                  <a:pt x="2194" y="3850"/>
                  <a:pt x="2194" y="3850"/>
                </a:cubicBezTo>
                <a:cubicBezTo>
                  <a:pt x="2163" y="3818"/>
                  <a:pt x="2131" y="3818"/>
                  <a:pt x="2099" y="3850"/>
                </a:cubicBezTo>
                <a:cubicBezTo>
                  <a:pt x="1272" y="4486"/>
                  <a:pt x="1272" y="4486"/>
                  <a:pt x="1272" y="4486"/>
                </a:cubicBezTo>
                <a:cubicBezTo>
                  <a:pt x="1272" y="636"/>
                  <a:pt x="1272" y="636"/>
                  <a:pt x="1272" y="636"/>
                </a:cubicBezTo>
                <a:cubicBezTo>
                  <a:pt x="1272" y="461"/>
                  <a:pt x="1224" y="287"/>
                  <a:pt x="1113" y="160"/>
                </a:cubicBezTo>
                <a:close/>
                <a:moveTo>
                  <a:pt x="158" y="2052"/>
                </a:moveTo>
                <a:cubicBezTo>
                  <a:pt x="158" y="573"/>
                  <a:pt x="158" y="573"/>
                  <a:pt x="158" y="573"/>
                </a:cubicBezTo>
                <a:cubicBezTo>
                  <a:pt x="158" y="334"/>
                  <a:pt x="333" y="160"/>
                  <a:pt x="556" y="160"/>
                </a:cubicBezTo>
                <a:cubicBezTo>
                  <a:pt x="811" y="160"/>
                  <a:pt x="811" y="160"/>
                  <a:pt x="811" y="160"/>
                </a:cubicBezTo>
                <a:cubicBezTo>
                  <a:pt x="1018" y="191"/>
                  <a:pt x="1113" y="430"/>
                  <a:pt x="1113" y="636"/>
                </a:cubicBezTo>
                <a:cubicBezTo>
                  <a:pt x="1113" y="2052"/>
                  <a:pt x="1113" y="2052"/>
                  <a:pt x="1113" y="205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1" name="Freeform: Shape 13">
            <a:extLst>
              <a:ext uri="{FF2B5EF4-FFF2-40B4-BE49-F238E27FC236}">
                <a16:creationId xmlns:a16="http://schemas.microsoft.com/office/drawing/2014/main" id="{208EE390-4A9F-7646-B3EC-40A286E6DB06}"/>
              </a:ext>
            </a:extLst>
          </p:cNvPr>
          <p:cNvSpPr/>
          <p:nvPr/>
        </p:nvSpPr>
        <p:spPr>
          <a:xfrm>
            <a:off x="21573360" y="6388837"/>
            <a:ext cx="927359" cy="1751759"/>
          </a:xfrm>
          <a:custGeom>
            <a:avLst/>
            <a:gdLst/>
            <a:ahLst/>
            <a:cxnLst>
              <a:cxn ang="3cd4">
                <a:pos x="hc" y="t"/>
              </a:cxn>
              <a:cxn ang="cd2">
                <a:pos x="l" y="vc"/>
              </a:cxn>
              <a:cxn ang="cd4">
                <a:pos x="hc" y="b"/>
              </a:cxn>
              <a:cxn ang="0">
                <a:pos x="r" y="vc"/>
              </a:cxn>
            </a:cxnLst>
            <a:rect l="l" t="t" r="r" b="b"/>
            <a:pathLst>
              <a:path w="2577" h="4867">
                <a:moveTo>
                  <a:pt x="223" y="0"/>
                </a:moveTo>
                <a:cubicBezTo>
                  <a:pt x="96" y="0"/>
                  <a:pt x="0" y="95"/>
                  <a:pt x="0" y="222"/>
                </a:cubicBezTo>
                <a:cubicBezTo>
                  <a:pt x="0" y="4644"/>
                  <a:pt x="0" y="4644"/>
                  <a:pt x="0" y="4644"/>
                </a:cubicBezTo>
                <a:cubicBezTo>
                  <a:pt x="0" y="4724"/>
                  <a:pt x="48" y="4803"/>
                  <a:pt x="143" y="4851"/>
                </a:cubicBezTo>
                <a:cubicBezTo>
                  <a:pt x="223" y="4883"/>
                  <a:pt x="318" y="4851"/>
                  <a:pt x="382" y="4787"/>
                </a:cubicBezTo>
                <a:cubicBezTo>
                  <a:pt x="1225" y="3912"/>
                  <a:pt x="1225" y="3912"/>
                  <a:pt x="1225" y="3912"/>
                </a:cubicBezTo>
                <a:cubicBezTo>
                  <a:pt x="1241" y="3897"/>
                  <a:pt x="1257" y="3897"/>
                  <a:pt x="1273" y="3897"/>
                </a:cubicBezTo>
                <a:cubicBezTo>
                  <a:pt x="1289" y="3897"/>
                  <a:pt x="1289" y="3897"/>
                  <a:pt x="1305" y="3912"/>
                </a:cubicBezTo>
                <a:cubicBezTo>
                  <a:pt x="2211" y="4803"/>
                  <a:pt x="2211" y="4803"/>
                  <a:pt x="2211" y="4803"/>
                </a:cubicBezTo>
                <a:cubicBezTo>
                  <a:pt x="2259" y="4851"/>
                  <a:pt x="2307" y="4867"/>
                  <a:pt x="2354" y="4867"/>
                </a:cubicBezTo>
                <a:cubicBezTo>
                  <a:pt x="2387" y="4867"/>
                  <a:pt x="2418" y="4867"/>
                  <a:pt x="2450" y="4851"/>
                </a:cubicBezTo>
                <a:cubicBezTo>
                  <a:pt x="2530" y="4819"/>
                  <a:pt x="2577" y="4739"/>
                  <a:pt x="2577" y="4660"/>
                </a:cubicBezTo>
                <a:cubicBezTo>
                  <a:pt x="2577" y="222"/>
                  <a:pt x="2577" y="222"/>
                  <a:pt x="2577" y="222"/>
                </a:cubicBezTo>
                <a:cubicBezTo>
                  <a:pt x="2577" y="95"/>
                  <a:pt x="2482" y="0"/>
                  <a:pt x="2370" y="0"/>
                </a:cubicBezTo>
                <a:close/>
                <a:moveTo>
                  <a:pt x="2418" y="222"/>
                </a:moveTo>
                <a:cubicBezTo>
                  <a:pt x="2418" y="4660"/>
                  <a:pt x="2418" y="4660"/>
                  <a:pt x="2418" y="4660"/>
                </a:cubicBezTo>
                <a:cubicBezTo>
                  <a:pt x="2418" y="4692"/>
                  <a:pt x="2402" y="4708"/>
                  <a:pt x="2387" y="4708"/>
                </a:cubicBezTo>
                <a:cubicBezTo>
                  <a:pt x="2370" y="4708"/>
                  <a:pt x="2354" y="4724"/>
                  <a:pt x="2323" y="4692"/>
                </a:cubicBezTo>
                <a:cubicBezTo>
                  <a:pt x="1416" y="3801"/>
                  <a:pt x="1416" y="3801"/>
                  <a:pt x="1416" y="3801"/>
                </a:cubicBezTo>
                <a:cubicBezTo>
                  <a:pt x="1384" y="3754"/>
                  <a:pt x="1321" y="3738"/>
                  <a:pt x="1273" y="3738"/>
                </a:cubicBezTo>
                <a:lnTo>
                  <a:pt x="1257" y="3738"/>
                </a:lnTo>
                <a:cubicBezTo>
                  <a:pt x="1209" y="3738"/>
                  <a:pt x="1146" y="3769"/>
                  <a:pt x="1114" y="3801"/>
                </a:cubicBezTo>
                <a:cubicBezTo>
                  <a:pt x="255" y="4676"/>
                  <a:pt x="255" y="4676"/>
                  <a:pt x="255" y="4676"/>
                </a:cubicBezTo>
                <a:cubicBezTo>
                  <a:pt x="239" y="4708"/>
                  <a:pt x="207" y="4708"/>
                  <a:pt x="191" y="4692"/>
                </a:cubicBezTo>
                <a:cubicBezTo>
                  <a:pt x="191" y="4692"/>
                  <a:pt x="160" y="4676"/>
                  <a:pt x="160" y="4644"/>
                </a:cubicBezTo>
                <a:cubicBezTo>
                  <a:pt x="160" y="222"/>
                  <a:pt x="160" y="222"/>
                  <a:pt x="160" y="222"/>
                </a:cubicBezTo>
                <a:cubicBezTo>
                  <a:pt x="160" y="191"/>
                  <a:pt x="191" y="159"/>
                  <a:pt x="223" y="159"/>
                </a:cubicBezTo>
                <a:cubicBezTo>
                  <a:pt x="2370" y="159"/>
                  <a:pt x="2370" y="159"/>
                  <a:pt x="2370" y="159"/>
                </a:cubicBezTo>
                <a:cubicBezTo>
                  <a:pt x="2402" y="159"/>
                  <a:pt x="2418" y="191"/>
                  <a:pt x="2418" y="22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2" name="Freeform: Shape 14">
            <a:extLst>
              <a:ext uri="{FF2B5EF4-FFF2-40B4-BE49-F238E27FC236}">
                <a16:creationId xmlns:a16="http://schemas.microsoft.com/office/drawing/2014/main" id="{126A7991-D73B-2148-AC91-093EA7C5DD6E}"/>
              </a:ext>
            </a:extLst>
          </p:cNvPr>
          <p:cNvSpPr/>
          <p:nvPr/>
        </p:nvSpPr>
        <p:spPr>
          <a:xfrm>
            <a:off x="17663947" y="6406117"/>
            <a:ext cx="1220759" cy="1717200"/>
          </a:xfrm>
          <a:custGeom>
            <a:avLst/>
            <a:gdLst/>
            <a:ahLst/>
            <a:cxnLst>
              <a:cxn ang="3cd4">
                <a:pos x="hc" y="t"/>
              </a:cxn>
              <a:cxn ang="cd2">
                <a:pos x="l" y="vc"/>
              </a:cxn>
              <a:cxn ang="cd4">
                <a:pos x="hc" y="b"/>
              </a:cxn>
              <a:cxn ang="0">
                <a:pos x="r" y="vc"/>
              </a:cxn>
            </a:cxnLst>
            <a:rect l="l" t="t" r="r" b="b"/>
            <a:pathLst>
              <a:path w="3392" h="4771">
                <a:moveTo>
                  <a:pt x="1240" y="4771"/>
                </a:moveTo>
                <a:cubicBezTo>
                  <a:pt x="1304" y="4771"/>
                  <a:pt x="1367" y="4755"/>
                  <a:pt x="1415" y="4739"/>
                </a:cubicBezTo>
                <a:lnTo>
                  <a:pt x="2115" y="4581"/>
                </a:lnTo>
                <a:cubicBezTo>
                  <a:pt x="2194" y="4564"/>
                  <a:pt x="2274" y="4533"/>
                  <a:pt x="2338" y="4485"/>
                </a:cubicBezTo>
                <a:lnTo>
                  <a:pt x="3006" y="4199"/>
                </a:lnTo>
                <a:cubicBezTo>
                  <a:pt x="3356" y="4039"/>
                  <a:pt x="3483" y="3626"/>
                  <a:pt x="3324" y="3292"/>
                </a:cubicBezTo>
                <a:lnTo>
                  <a:pt x="1924" y="413"/>
                </a:lnTo>
                <a:cubicBezTo>
                  <a:pt x="1892" y="381"/>
                  <a:pt x="1860" y="365"/>
                  <a:pt x="1829" y="365"/>
                </a:cubicBezTo>
                <a:cubicBezTo>
                  <a:pt x="1717" y="158"/>
                  <a:pt x="1494" y="0"/>
                  <a:pt x="1240" y="0"/>
                </a:cubicBezTo>
                <a:lnTo>
                  <a:pt x="684" y="0"/>
                </a:lnTo>
                <a:cubicBezTo>
                  <a:pt x="302" y="0"/>
                  <a:pt x="0" y="302"/>
                  <a:pt x="0" y="683"/>
                </a:cubicBezTo>
                <a:lnTo>
                  <a:pt x="0" y="4087"/>
                </a:lnTo>
                <a:cubicBezTo>
                  <a:pt x="0" y="4469"/>
                  <a:pt x="302" y="4771"/>
                  <a:pt x="684" y="4771"/>
                </a:cubicBezTo>
                <a:close/>
                <a:moveTo>
                  <a:pt x="3181" y="3372"/>
                </a:moveTo>
                <a:cubicBezTo>
                  <a:pt x="3308" y="3626"/>
                  <a:pt x="3196" y="3928"/>
                  <a:pt x="2942" y="4055"/>
                </a:cubicBezTo>
                <a:lnTo>
                  <a:pt x="2592" y="4215"/>
                </a:lnTo>
                <a:cubicBezTo>
                  <a:pt x="2656" y="4072"/>
                  <a:pt x="2672" y="3928"/>
                  <a:pt x="2640" y="3769"/>
                </a:cubicBezTo>
                <a:lnTo>
                  <a:pt x="2020" y="970"/>
                </a:lnTo>
                <a:close/>
                <a:moveTo>
                  <a:pt x="1908" y="4087"/>
                </a:moveTo>
                <a:lnTo>
                  <a:pt x="1908" y="1224"/>
                </a:lnTo>
                <a:lnTo>
                  <a:pt x="2481" y="3801"/>
                </a:lnTo>
                <a:cubicBezTo>
                  <a:pt x="2512" y="3944"/>
                  <a:pt x="2481" y="4072"/>
                  <a:pt x="2417" y="4199"/>
                </a:cubicBezTo>
                <a:cubicBezTo>
                  <a:pt x="2338" y="4310"/>
                  <a:pt x="2226" y="4390"/>
                  <a:pt x="2083" y="4421"/>
                </a:cubicBezTo>
                <a:lnTo>
                  <a:pt x="1781" y="4501"/>
                </a:lnTo>
                <a:cubicBezTo>
                  <a:pt x="1860" y="4390"/>
                  <a:pt x="1908" y="4246"/>
                  <a:pt x="1908" y="4087"/>
                </a:cubicBezTo>
                <a:close/>
                <a:moveTo>
                  <a:pt x="158" y="4087"/>
                </a:moveTo>
                <a:lnTo>
                  <a:pt x="158" y="683"/>
                </a:lnTo>
                <a:cubicBezTo>
                  <a:pt x="158" y="397"/>
                  <a:pt x="397" y="158"/>
                  <a:pt x="684" y="158"/>
                </a:cubicBezTo>
                <a:lnTo>
                  <a:pt x="1240" y="158"/>
                </a:lnTo>
                <a:cubicBezTo>
                  <a:pt x="1511" y="158"/>
                  <a:pt x="1749" y="397"/>
                  <a:pt x="1749" y="683"/>
                </a:cubicBezTo>
                <a:lnTo>
                  <a:pt x="1749" y="4087"/>
                </a:lnTo>
                <a:cubicBezTo>
                  <a:pt x="1749" y="4326"/>
                  <a:pt x="1590" y="4517"/>
                  <a:pt x="1383" y="4581"/>
                </a:cubicBezTo>
                <a:lnTo>
                  <a:pt x="1383" y="4596"/>
                </a:lnTo>
                <a:cubicBezTo>
                  <a:pt x="1336" y="4596"/>
                  <a:pt x="1288" y="4612"/>
                  <a:pt x="1240" y="4612"/>
                </a:cubicBezTo>
                <a:lnTo>
                  <a:pt x="684" y="4612"/>
                </a:lnTo>
                <a:cubicBezTo>
                  <a:pt x="397" y="4612"/>
                  <a:pt x="158" y="4373"/>
                  <a:pt x="158" y="4087"/>
                </a:cubicBezTo>
                <a:close/>
                <a:moveTo>
                  <a:pt x="1590" y="4055"/>
                </a:moveTo>
                <a:lnTo>
                  <a:pt x="1590" y="3419"/>
                </a:lnTo>
                <a:cubicBezTo>
                  <a:pt x="1590" y="3372"/>
                  <a:pt x="1558" y="3340"/>
                  <a:pt x="1511" y="3340"/>
                </a:cubicBezTo>
                <a:lnTo>
                  <a:pt x="397" y="3340"/>
                </a:lnTo>
                <a:cubicBezTo>
                  <a:pt x="349" y="3340"/>
                  <a:pt x="318" y="3372"/>
                  <a:pt x="318" y="3419"/>
                </a:cubicBezTo>
                <a:lnTo>
                  <a:pt x="318" y="4055"/>
                </a:lnTo>
                <a:cubicBezTo>
                  <a:pt x="318" y="4103"/>
                  <a:pt x="349" y="4135"/>
                  <a:pt x="397" y="4135"/>
                </a:cubicBezTo>
                <a:lnTo>
                  <a:pt x="1511" y="4135"/>
                </a:lnTo>
                <a:cubicBezTo>
                  <a:pt x="1558" y="4135"/>
                  <a:pt x="1590" y="4103"/>
                  <a:pt x="1590" y="4055"/>
                </a:cubicBezTo>
                <a:close/>
                <a:moveTo>
                  <a:pt x="1431" y="3976"/>
                </a:moveTo>
                <a:lnTo>
                  <a:pt x="476" y="3976"/>
                </a:lnTo>
                <a:lnTo>
                  <a:pt x="476" y="3499"/>
                </a:lnTo>
                <a:lnTo>
                  <a:pt x="1431" y="3499"/>
                </a:lnTo>
                <a:close/>
                <a:moveTo>
                  <a:pt x="397" y="3022"/>
                </a:moveTo>
                <a:lnTo>
                  <a:pt x="1511" y="3022"/>
                </a:lnTo>
                <a:cubicBezTo>
                  <a:pt x="1558" y="3022"/>
                  <a:pt x="1590" y="2990"/>
                  <a:pt x="1590" y="2942"/>
                </a:cubicBezTo>
                <a:lnTo>
                  <a:pt x="1590" y="2306"/>
                </a:lnTo>
                <a:cubicBezTo>
                  <a:pt x="1590" y="2258"/>
                  <a:pt x="1558" y="2226"/>
                  <a:pt x="1511" y="2226"/>
                </a:cubicBezTo>
                <a:lnTo>
                  <a:pt x="397" y="2226"/>
                </a:lnTo>
                <a:cubicBezTo>
                  <a:pt x="349" y="2226"/>
                  <a:pt x="318" y="2258"/>
                  <a:pt x="318" y="2306"/>
                </a:cubicBezTo>
                <a:lnTo>
                  <a:pt x="318" y="2942"/>
                </a:lnTo>
                <a:cubicBezTo>
                  <a:pt x="318" y="2990"/>
                  <a:pt x="349" y="3022"/>
                  <a:pt x="397" y="3022"/>
                </a:cubicBezTo>
                <a:close/>
                <a:moveTo>
                  <a:pt x="476" y="2385"/>
                </a:moveTo>
                <a:lnTo>
                  <a:pt x="1431" y="2385"/>
                </a:lnTo>
                <a:lnTo>
                  <a:pt x="1431" y="2863"/>
                </a:lnTo>
                <a:lnTo>
                  <a:pt x="476" y="2863"/>
                </a:lnTo>
                <a:close/>
                <a:moveTo>
                  <a:pt x="397" y="1908"/>
                </a:moveTo>
                <a:lnTo>
                  <a:pt x="1511" y="1908"/>
                </a:lnTo>
                <a:cubicBezTo>
                  <a:pt x="1558" y="1908"/>
                  <a:pt x="1590" y="1876"/>
                  <a:pt x="1590" y="1828"/>
                </a:cubicBezTo>
                <a:lnTo>
                  <a:pt x="1590" y="1192"/>
                </a:lnTo>
                <a:cubicBezTo>
                  <a:pt x="1590" y="1161"/>
                  <a:pt x="1558" y="1113"/>
                  <a:pt x="1511" y="1113"/>
                </a:cubicBezTo>
                <a:lnTo>
                  <a:pt x="397" y="1113"/>
                </a:lnTo>
                <a:cubicBezTo>
                  <a:pt x="349" y="1113"/>
                  <a:pt x="318" y="1161"/>
                  <a:pt x="318" y="1192"/>
                </a:cubicBezTo>
                <a:lnTo>
                  <a:pt x="318" y="1828"/>
                </a:lnTo>
                <a:cubicBezTo>
                  <a:pt x="318" y="1876"/>
                  <a:pt x="349" y="1908"/>
                  <a:pt x="397" y="1908"/>
                </a:cubicBezTo>
                <a:close/>
                <a:moveTo>
                  <a:pt x="476" y="1272"/>
                </a:moveTo>
                <a:lnTo>
                  <a:pt x="1431" y="1272"/>
                </a:lnTo>
                <a:lnTo>
                  <a:pt x="1431" y="1749"/>
                </a:lnTo>
                <a:lnTo>
                  <a:pt x="476" y="1749"/>
                </a:lnTo>
                <a:close/>
                <a:moveTo>
                  <a:pt x="954" y="858"/>
                </a:moveTo>
                <a:cubicBezTo>
                  <a:pt x="1113" y="858"/>
                  <a:pt x="1224" y="731"/>
                  <a:pt x="1224" y="572"/>
                </a:cubicBezTo>
                <a:cubicBezTo>
                  <a:pt x="1224" y="429"/>
                  <a:pt x="1113" y="302"/>
                  <a:pt x="954" y="302"/>
                </a:cubicBezTo>
                <a:cubicBezTo>
                  <a:pt x="795" y="302"/>
                  <a:pt x="667" y="429"/>
                  <a:pt x="667" y="572"/>
                </a:cubicBezTo>
                <a:cubicBezTo>
                  <a:pt x="667" y="731"/>
                  <a:pt x="795" y="858"/>
                  <a:pt x="954" y="858"/>
                </a:cubicBezTo>
                <a:close/>
                <a:moveTo>
                  <a:pt x="954" y="461"/>
                </a:moveTo>
                <a:cubicBezTo>
                  <a:pt x="1018" y="461"/>
                  <a:pt x="1065" y="509"/>
                  <a:pt x="1065" y="572"/>
                </a:cubicBezTo>
                <a:cubicBezTo>
                  <a:pt x="1065" y="636"/>
                  <a:pt x="1018" y="700"/>
                  <a:pt x="954" y="700"/>
                </a:cubicBezTo>
                <a:cubicBezTo>
                  <a:pt x="890" y="700"/>
                  <a:pt x="827" y="636"/>
                  <a:pt x="827" y="572"/>
                </a:cubicBezTo>
                <a:cubicBezTo>
                  <a:pt x="827" y="509"/>
                  <a:pt x="890" y="461"/>
                  <a:pt x="954" y="46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3" name="Freeform: Shape 15">
            <a:extLst>
              <a:ext uri="{FF2B5EF4-FFF2-40B4-BE49-F238E27FC236}">
                <a16:creationId xmlns:a16="http://schemas.microsoft.com/office/drawing/2014/main" id="{E800C7E4-4431-9D4A-8BE2-E48E02AFD561}"/>
              </a:ext>
            </a:extLst>
          </p:cNvPr>
          <p:cNvSpPr/>
          <p:nvPr/>
        </p:nvSpPr>
        <p:spPr>
          <a:xfrm>
            <a:off x="9996961" y="9808036"/>
            <a:ext cx="1603080" cy="1625760"/>
          </a:xfrm>
          <a:custGeom>
            <a:avLst/>
            <a:gdLst/>
            <a:ahLst/>
            <a:cxnLst>
              <a:cxn ang="3cd4">
                <a:pos x="hc" y="t"/>
              </a:cxn>
              <a:cxn ang="cd2">
                <a:pos x="l" y="vc"/>
              </a:cxn>
              <a:cxn ang="cd4">
                <a:pos x="hc" y="b"/>
              </a:cxn>
              <a:cxn ang="0">
                <a:pos x="r" y="vc"/>
              </a:cxn>
            </a:cxnLst>
            <a:rect l="l" t="t" r="r" b="b"/>
            <a:pathLst>
              <a:path w="4454" h="4517">
                <a:moveTo>
                  <a:pt x="4374" y="3054"/>
                </a:moveTo>
                <a:lnTo>
                  <a:pt x="4215" y="3054"/>
                </a:lnTo>
                <a:lnTo>
                  <a:pt x="4215" y="445"/>
                </a:lnTo>
                <a:cubicBezTo>
                  <a:pt x="4215" y="397"/>
                  <a:pt x="4167" y="365"/>
                  <a:pt x="4136" y="365"/>
                </a:cubicBezTo>
                <a:lnTo>
                  <a:pt x="2466" y="365"/>
                </a:lnTo>
                <a:lnTo>
                  <a:pt x="2466" y="350"/>
                </a:lnTo>
                <a:lnTo>
                  <a:pt x="2338" y="47"/>
                </a:lnTo>
                <a:lnTo>
                  <a:pt x="2322" y="31"/>
                </a:lnTo>
                <a:lnTo>
                  <a:pt x="2322" y="16"/>
                </a:lnTo>
                <a:cubicBezTo>
                  <a:pt x="2306" y="16"/>
                  <a:pt x="2306" y="16"/>
                  <a:pt x="2291" y="0"/>
                </a:cubicBezTo>
                <a:lnTo>
                  <a:pt x="2243" y="0"/>
                </a:lnTo>
                <a:lnTo>
                  <a:pt x="2227" y="0"/>
                </a:lnTo>
                <a:cubicBezTo>
                  <a:pt x="2227" y="16"/>
                  <a:pt x="2227" y="16"/>
                  <a:pt x="2211" y="16"/>
                </a:cubicBezTo>
                <a:lnTo>
                  <a:pt x="2195" y="31"/>
                </a:lnTo>
                <a:lnTo>
                  <a:pt x="2195" y="47"/>
                </a:lnTo>
                <a:lnTo>
                  <a:pt x="2068" y="350"/>
                </a:lnTo>
                <a:lnTo>
                  <a:pt x="2052" y="365"/>
                </a:lnTo>
                <a:lnTo>
                  <a:pt x="318" y="365"/>
                </a:lnTo>
                <a:cubicBezTo>
                  <a:pt x="270" y="365"/>
                  <a:pt x="239" y="397"/>
                  <a:pt x="239" y="445"/>
                </a:cubicBezTo>
                <a:lnTo>
                  <a:pt x="239" y="3054"/>
                </a:lnTo>
                <a:lnTo>
                  <a:pt x="80" y="3054"/>
                </a:lnTo>
                <a:cubicBezTo>
                  <a:pt x="32" y="3054"/>
                  <a:pt x="0" y="3101"/>
                  <a:pt x="0" y="3133"/>
                </a:cubicBezTo>
                <a:cubicBezTo>
                  <a:pt x="0" y="3181"/>
                  <a:pt x="32" y="3213"/>
                  <a:pt x="80" y="3213"/>
                </a:cubicBezTo>
                <a:lnTo>
                  <a:pt x="318" y="3213"/>
                </a:lnTo>
                <a:lnTo>
                  <a:pt x="764" y="3213"/>
                </a:lnTo>
                <a:lnTo>
                  <a:pt x="223" y="4406"/>
                </a:lnTo>
                <a:cubicBezTo>
                  <a:pt x="207" y="4454"/>
                  <a:pt x="223" y="4501"/>
                  <a:pt x="255" y="4517"/>
                </a:cubicBezTo>
                <a:lnTo>
                  <a:pt x="286" y="4517"/>
                </a:lnTo>
                <a:cubicBezTo>
                  <a:pt x="318" y="4517"/>
                  <a:pt x="350" y="4501"/>
                  <a:pt x="366" y="4469"/>
                </a:cubicBezTo>
                <a:lnTo>
                  <a:pt x="939" y="3213"/>
                </a:lnTo>
                <a:lnTo>
                  <a:pt x="3595" y="3213"/>
                </a:lnTo>
                <a:lnTo>
                  <a:pt x="4151" y="4469"/>
                </a:lnTo>
                <a:cubicBezTo>
                  <a:pt x="4167" y="4501"/>
                  <a:pt x="4199" y="4517"/>
                  <a:pt x="4231" y="4517"/>
                </a:cubicBezTo>
                <a:lnTo>
                  <a:pt x="4263" y="4517"/>
                </a:lnTo>
                <a:cubicBezTo>
                  <a:pt x="4294" y="4501"/>
                  <a:pt x="4327" y="4454"/>
                  <a:pt x="4294" y="4406"/>
                </a:cubicBezTo>
                <a:lnTo>
                  <a:pt x="3770" y="3213"/>
                </a:lnTo>
                <a:lnTo>
                  <a:pt x="4136" y="3213"/>
                </a:lnTo>
                <a:lnTo>
                  <a:pt x="4374" y="3213"/>
                </a:lnTo>
                <a:cubicBezTo>
                  <a:pt x="4406" y="3213"/>
                  <a:pt x="4454" y="3181"/>
                  <a:pt x="4454" y="3133"/>
                </a:cubicBezTo>
                <a:cubicBezTo>
                  <a:pt x="4454" y="3101"/>
                  <a:pt x="4406" y="3054"/>
                  <a:pt x="4374" y="3054"/>
                </a:cubicBezTo>
                <a:close/>
                <a:moveTo>
                  <a:pt x="2259" y="286"/>
                </a:moveTo>
                <a:lnTo>
                  <a:pt x="2291" y="365"/>
                </a:lnTo>
                <a:lnTo>
                  <a:pt x="2227" y="365"/>
                </a:lnTo>
                <a:close/>
                <a:moveTo>
                  <a:pt x="4056" y="3054"/>
                </a:moveTo>
                <a:lnTo>
                  <a:pt x="3642" y="3054"/>
                </a:lnTo>
                <a:lnTo>
                  <a:pt x="891" y="3054"/>
                </a:lnTo>
                <a:lnTo>
                  <a:pt x="398" y="3054"/>
                </a:lnTo>
                <a:lnTo>
                  <a:pt x="398" y="525"/>
                </a:lnTo>
                <a:lnTo>
                  <a:pt x="4056" y="525"/>
                </a:lnTo>
                <a:close/>
                <a:moveTo>
                  <a:pt x="2545" y="2896"/>
                </a:moveTo>
                <a:lnTo>
                  <a:pt x="3658" y="2896"/>
                </a:lnTo>
                <a:cubicBezTo>
                  <a:pt x="3690" y="2896"/>
                  <a:pt x="3706" y="2880"/>
                  <a:pt x="3722" y="2848"/>
                </a:cubicBezTo>
                <a:cubicBezTo>
                  <a:pt x="3738" y="2816"/>
                  <a:pt x="3722" y="2784"/>
                  <a:pt x="3706" y="2768"/>
                </a:cubicBezTo>
                <a:lnTo>
                  <a:pt x="2593" y="1592"/>
                </a:lnTo>
                <a:cubicBezTo>
                  <a:pt x="2577" y="1575"/>
                  <a:pt x="2545" y="1559"/>
                  <a:pt x="2513" y="1575"/>
                </a:cubicBezTo>
                <a:cubicBezTo>
                  <a:pt x="2481" y="1592"/>
                  <a:pt x="2466" y="1623"/>
                  <a:pt x="2466" y="1655"/>
                </a:cubicBezTo>
                <a:lnTo>
                  <a:pt x="2466" y="2816"/>
                </a:lnTo>
                <a:cubicBezTo>
                  <a:pt x="2466" y="2864"/>
                  <a:pt x="2497" y="2896"/>
                  <a:pt x="2545" y="2896"/>
                </a:cubicBezTo>
                <a:close/>
                <a:moveTo>
                  <a:pt x="2625" y="1846"/>
                </a:moveTo>
                <a:lnTo>
                  <a:pt x="3467" y="2737"/>
                </a:lnTo>
                <a:lnTo>
                  <a:pt x="2625" y="2737"/>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4" name="Freeform: Shape 16">
            <a:extLst>
              <a:ext uri="{FF2B5EF4-FFF2-40B4-BE49-F238E27FC236}">
                <a16:creationId xmlns:a16="http://schemas.microsoft.com/office/drawing/2014/main" id="{7D07E02C-88F8-5740-8180-9ED84AA0D917}"/>
              </a:ext>
            </a:extLst>
          </p:cNvPr>
          <p:cNvSpPr/>
          <p:nvPr/>
        </p:nvSpPr>
        <p:spPr>
          <a:xfrm>
            <a:off x="17611952" y="9836476"/>
            <a:ext cx="1412640" cy="1568519"/>
          </a:xfrm>
          <a:custGeom>
            <a:avLst/>
            <a:gdLst/>
            <a:ahLst/>
            <a:cxnLst>
              <a:cxn ang="3cd4">
                <a:pos x="hc" y="t"/>
              </a:cxn>
              <a:cxn ang="cd2">
                <a:pos x="l" y="vc"/>
              </a:cxn>
              <a:cxn ang="cd4">
                <a:pos x="hc" y="b"/>
              </a:cxn>
              <a:cxn ang="0">
                <a:pos x="r" y="vc"/>
              </a:cxn>
            </a:cxnLst>
            <a:rect l="l" t="t" r="r" b="b"/>
            <a:pathLst>
              <a:path w="3925" h="4358">
                <a:moveTo>
                  <a:pt x="3728" y="1003"/>
                </a:moveTo>
                <a:cubicBezTo>
                  <a:pt x="3728" y="955"/>
                  <a:pt x="3696" y="923"/>
                  <a:pt x="3649" y="923"/>
                </a:cubicBezTo>
                <a:cubicBezTo>
                  <a:pt x="3617" y="923"/>
                  <a:pt x="3569" y="955"/>
                  <a:pt x="3569" y="1003"/>
                </a:cubicBezTo>
                <a:cubicBezTo>
                  <a:pt x="3569" y="1479"/>
                  <a:pt x="3362" y="1909"/>
                  <a:pt x="3028" y="2211"/>
                </a:cubicBezTo>
                <a:cubicBezTo>
                  <a:pt x="2535" y="1066"/>
                  <a:pt x="2535" y="1066"/>
                  <a:pt x="2535" y="1066"/>
                </a:cubicBezTo>
                <a:cubicBezTo>
                  <a:pt x="2535" y="1050"/>
                  <a:pt x="2535" y="1018"/>
                  <a:pt x="2535" y="1003"/>
                </a:cubicBezTo>
                <a:cubicBezTo>
                  <a:pt x="2535" y="716"/>
                  <a:pt x="2329" y="461"/>
                  <a:pt x="2042" y="430"/>
                </a:cubicBezTo>
                <a:cubicBezTo>
                  <a:pt x="2042" y="80"/>
                  <a:pt x="2042" y="80"/>
                  <a:pt x="2042" y="80"/>
                </a:cubicBezTo>
                <a:cubicBezTo>
                  <a:pt x="2042" y="48"/>
                  <a:pt x="2010" y="0"/>
                  <a:pt x="1963" y="0"/>
                </a:cubicBezTo>
                <a:cubicBezTo>
                  <a:pt x="1915" y="0"/>
                  <a:pt x="1883" y="48"/>
                  <a:pt x="1883" y="80"/>
                </a:cubicBezTo>
                <a:cubicBezTo>
                  <a:pt x="1883" y="430"/>
                  <a:pt x="1883" y="430"/>
                  <a:pt x="1883" y="430"/>
                </a:cubicBezTo>
                <a:cubicBezTo>
                  <a:pt x="1613" y="477"/>
                  <a:pt x="1390" y="716"/>
                  <a:pt x="1390" y="1003"/>
                </a:cubicBezTo>
                <a:cubicBezTo>
                  <a:pt x="1390" y="1018"/>
                  <a:pt x="1390" y="1050"/>
                  <a:pt x="1390" y="1066"/>
                </a:cubicBezTo>
                <a:cubicBezTo>
                  <a:pt x="6" y="4247"/>
                  <a:pt x="6" y="4247"/>
                  <a:pt x="6" y="4247"/>
                </a:cubicBezTo>
                <a:cubicBezTo>
                  <a:pt x="-10" y="4279"/>
                  <a:pt x="6" y="4327"/>
                  <a:pt x="54" y="4342"/>
                </a:cubicBezTo>
                <a:cubicBezTo>
                  <a:pt x="54" y="4358"/>
                  <a:pt x="70" y="4358"/>
                  <a:pt x="86" y="4358"/>
                </a:cubicBezTo>
                <a:cubicBezTo>
                  <a:pt x="118" y="4358"/>
                  <a:pt x="133" y="4342"/>
                  <a:pt x="150" y="4311"/>
                </a:cubicBezTo>
                <a:cubicBezTo>
                  <a:pt x="960" y="2450"/>
                  <a:pt x="960" y="2450"/>
                  <a:pt x="960" y="2450"/>
                </a:cubicBezTo>
                <a:cubicBezTo>
                  <a:pt x="1263" y="2657"/>
                  <a:pt x="1597" y="2768"/>
                  <a:pt x="1963" y="2768"/>
                </a:cubicBezTo>
                <a:cubicBezTo>
                  <a:pt x="2344" y="2768"/>
                  <a:pt x="2678" y="2657"/>
                  <a:pt x="2965" y="2450"/>
                </a:cubicBezTo>
                <a:cubicBezTo>
                  <a:pt x="3776" y="4311"/>
                  <a:pt x="3776" y="4311"/>
                  <a:pt x="3776" y="4311"/>
                </a:cubicBezTo>
                <a:cubicBezTo>
                  <a:pt x="3792" y="4342"/>
                  <a:pt x="3823" y="4358"/>
                  <a:pt x="3855" y="4358"/>
                </a:cubicBezTo>
                <a:cubicBezTo>
                  <a:pt x="3855" y="4358"/>
                  <a:pt x="3871" y="4358"/>
                  <a:pt x="3887" y="4342"/>
                </a:cubicBezTo>
                <a:cubicBezTo>
                  <a:pt x="3919" y="4327"/>
                  <a:pt x="3935" y="4279"/>
                  <a:pt x="3919" y="4247"/>
                </a:cubicBezTo>
                <a:cubicBezTo>
                  <a:pt x="3092" y="2354"/>
                  <a:pt x="3092" y="2354"/>
                  <a:pt x="3092" y="2354"/>
                </a:cubicBezTo>
                <a:cubicBezTo>
                  <a:pt x="3490" y="2036"/>
                  <a:pt x="3728" y="1543"/>
                  <a:pt x="3728" y="1003"/>
                </a:cubicBezTo>
                <a:close/>
                <a:moveTo>
                  <a:pt x="1963" y="589"/>
                </a:moveTo>
                <a:cubicBezTo>
                  <a:pt x="2201" y="589"/>
                  <a:pt x="2376" y="764"/>
                  <a:pt x="2376" y="1003"/>
                </a:cubicBezTo>
                <a:cubicBezTo>
                  <a:pt x="2376" y="1225"/>
                  <a:pt x="2201" y="1416"/>
                  <a:pt x="1963" y="1416"/>
                </a:cubicBezTo>
                <a:cubicBezTo>
                  <a:pt x="1740" y="1416"/>
                  <a:pt x="1549" y="1225"/>
                  <a:pt x="1549" y="1003"/>
                </a:cubicBezTo>
                <a:cubicBezTo>
                  <a:pt x="1549" y="764"/>
                  <a:pt x="1740" y="589"/>
                  <a:pt x="1963" y="589"/>
                </a:cubicBezTo>
                <a:close/>
                <a:moveTo>
                  <a:pt x="1963" y="2609"/>
                </a:moveTo>
                <a:cubicBezTo>
                  <a:pt x="1629" y="2609"/>
                  <a:pt x="1295" y="2497"/>
                  <a:pt x="1024" y="2307"/>
                </a:cubicBezTo>
                <a:cubicBezTo>
                  <a:pt x="1469" y="1289"/>
                  <a:pt x="1469" y="1289"/>
                  <a:pt x="1469" y="1289"/>
                </a:cubicBezTo>
                <a:cubicBezTo>
                  <a:pt x="1565" y="1464"/>
                  <a:pt x="1756" y="1575"/>
                  <a:pt x="1963" y="1575"/>
                </a:cubicBezTo>
                <a:cubicBezTo>
                  <a:pt x="2169" y="1575"/>
                  <a:pt x="2360" y="1464"/>
                  <a:pt x="2456" y="1289"/>
                </a:cubicBezTo>
                <a:cubicBezTo>
                  <a:pt x="2901" y="2307"/>
                  <a:pt x="2901" y="2307"/>
                  <a:pt x="2901" y="2307"/>
                </a:cubicBezTo>
                <a:cubicBezTo>
                  <a:pt x="2647" y="2497"/>
                  <a:pt x="2313" y="2609"/>
                  <a:pt x="1963" y="26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5" name="Freeform: Shape 17">
            <a:extLst>
              <a:ext uri="{FF2B5EF4-FFF2-40B4-BE49-F238E27FC236}">
                <a16:creationId xmlns:a16="http://schemas.microsoft.com/office/drawing/2014/main" id="{B2F1D912-0AD4-7348-BDF6-751F92D5E676}"/>
              </a:ext>
            </a:extLst>
          </p:cNvPr>
          <p:cNvSpPr/>
          <p:nvPr/>
        </p:nvSpPr>
        <p:spPr>
          <a:xfrm>
            <a:off x="5967344" y="9871037"/>
            <a:ext cx="1442519" cy="1501920"/>
          </a:xfrm>
          <a:custGeom>
            <a:avLst/>
            <a:gdLst/>
            <a:ahLst/>
            <a:cxnLst>
              <a:cxn ang="3cd4">
                <a:pos x="hc" y="t"/>
              </a:cxn>
              <a:cxn ang="cd2">
                <a:pos x="l" y="vc"/>
              </a:cxn>
              <a:cxn ang="cd4">
                <a:pos x="hc" y="b"/>
              </a:cxn>
              <a:cxn ang="0">
                <a:pos x="r" y="vc"/>
              </a:cxn>
            </a:cxnLst>
            <a:rect l="l" t="t" r="r" b="b"/>
            <a:pathLst>
              <a:path w="4008" h="4173">
                <a:moveTo>
                  <a:pt x="3801" y="2799"/>
                </a:moveTo>
                <a:lnTo>
                  <a:pt x="3801" y="508"/>
                </a:lnTo>
                <a:cubicBezTo>
                  <a:pt x="3801" y="461"/>
                  <a:pt x="3770" y="429"/>
                  <a:pt x="3722" y="429"/>
                </a:cubicBezTo>
                <a:lnTo>
                  <a:pt x="286" y="429"/>
                </a:lnTo>
                <a:cubicBezTo>
                  <a:pt x="255" y="429"/>
                  <a:pt x="207" y="461"/>
                  <a:pt x="207" y="508"/>
                </a:cubicBezTo>
                <a:lnTo>
                  <a:pt x="207" y="2799"/>
                </a:lnTo>
                <a:cubicBezTo>
                  <a:pt x="207" y="2831"/>
                  <a:pt x="255" y="2879"/>
                  <a:pt x="286" y="2879"/>
                </a:cubicBezTo>
                <a:lnTo>
                  <a:pt x="3722" y="2879"/>
                </a:lnTo>
                <a:cubicBezTo>
                  <a:pt x="3770" y="2879"/>
                  <a:pt x="3801" y="2831"/>
                  <a:pt x="3801" y="2799"/>
                </a:cubicBezTo>
                <a:close/>
                <a:moveTo>
                  <a:pt x="3642" y="2720"/>
                </a:moveTo>
                <a:lnTo>
                  <a:pt x="366" y="2720"/>
                </a:lnTo>
                <a:lnTo>
                  <a:pt x="366" y="588"/>
                </a:lnTo>
                <a:lnTo>
                  <a:pt x="3642" y="588"/>
                </a:lnTo>
                <a:close/>
                <a:moveTo>
                  <a:pt x="1940" y="2974"/>
                </a:moveTo>
                <a:lnTo>
                  <a:pt x="1225" y="4056"/>
                </a:lnTo>
                <a:cubicBezTo>
                  <a:pt x="1193" y="4088"/>
                  <a:pt x="1209" y="4135"/>
                  <a:pt x="1241" y="4167"/>
                </a:cubicBezTo>
                <a:cubicBezTo>
                  <a:pt x="1288" y="4183"/>
                  <a:pt x="1336" y="4167"/>
                  <a:pt x="1352" y="4135"/>
                </a:cubicBezTo>
                <a:lnTo>
                  <a:pt x="2004" y="3165"/>
                </a:lnTo>
                <a:lnTo>
                  <a:pt x="2656" y="4135"/>
                </a:lnTo>
                <a:cubicBezTo>
                  <a:pt x="2672" y="4167"/>
                  <a:pt x="2688" y="4167"/>
                  <a:pt x="2720" y="4167"/>
                </a:cubicBezTo>
                <a:lnTo>
                  <a:pt x="2768" y="4167"/>
                </a:lnTo>
                <a:cubicBezTo>
                  <a:pt x="2800" y="4135"/>
                  <a:pt x="2815" y="4088"/>
                  <a:pt x="2783" y="4056"/>
                </a:cubicBezTo>
                <a:lnTo>
                  <a:pt x="2068" y="2974"/>
                </a:lnTo>
                <a:cubicBezTo>
                  <a:pt x="2036" y="2926"/>
                  <a:pt x="1972" y="2926"/>
                  <a:pt x="1940" y="2974"/>
                </a:cubicBezTo>
                <a:close/>
                <a:moveTo>
                  <a:pt x="80" y="159"/>
                </a:moveTo>
                <a:lnTo>
                  <a:pt x="3929" y="159"/>
                </a:lnTo>
                <a:cubicBezTo>
                  <a:pt x="3976" y="159"/>
                  <a:pt x="4008" y="127"/>
                  <a:pt x="4008" y="79"/>
                </a:cubicBezTo>
                <a:cubicBezTo>
                  <a:pt x="4008" y="32"/>
                  <a:pt x="3976" y="0"/>
                  <a:pt x="3929" y="0"/>
                </a:cubicBezTo>
                <a:lnTo>
                  <a:pt x="80" y="0"/>
                </a:lnTo>
                <a:cubicBezTo>
                  <a:pt x="32" y="0"/>
                  <a:pt x="0" y="32"/>
                  <a:pt x="0" y="79"/>
                </a:cubicBezTo>
                <a:cubicBezTo>
                  <a:pt x="0" y="127"/>
                  <a:pt x="32" y="159"/>
                  <a:pt x="80" y="1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6" name="Freeform: Shape 18">
            <a:extLst>
              <a:ext uri="{FF2B5EF4-FFF2-40B4-BE49-F238E27FC236}">
                <a16:creationId xmlns:a16="http://schemas.microsoft.com/office/drawing/2014/main" id="{EBD67F97-89AC-6646-B8F3-790D1E4F4DC2}"/>
              </a:ext>
            </a:extLst>
          </p:cNvPr>
          <p:cNvSpPr/>
          <p:nvPr/>
        </p:nvSpPr>
        <p:spPr>
          <a:xfrm>
            <a:off x="10081120" y="6365615"/>
            <a:ext cx="1545839" cy="1717560"/>
          </a:xfrm>
          <a:custGeom>
            <a:avLst/>
            <a:gdLst/>
            <a:ahLst/>
            <a:cxnLst>
              <a:cxn ang="3cd4">
                <a:pos x="hc" y="t"/>
              </a:cxn>
              <a:cxn ang="cd2">
                <a:pos x="l" y="vc"/>
              </a:cxn>
              <a:cxn ang="cd4">
                <a:pos x="hc" y="b"/>
              </a:cxn>
              <a:cxn ang="0">
                <a:pos x="r" y="vc"/>
              </a:cxn>
            </a:cxnLst>
            <a:rect l="l" t="t" r="r" b="b"/>
            <a:pathLst>
              <a:path w="4295" h="4772">
                <a:moveTo>
                  <a:pt x="4057" y="780"/>
                </a:moveTo>
                <a:cubicBezTo>
                  <a:pt x="3977" y="780"/>
                  <a:pt x="3881" y="828"/>
                  <a:pt x="3834" y="923"/>
                </a:cubicBezTo>
                <a:cubicBezTo>
                  <a:pt x="3829" y="934"/>
                  <a:pt x="3818" y="939"/>
                  <a:pt x="3818" y="955"/>
                </a:cubicBezTo>
                <a:lnTo>
                  <a:pt x="3818" y="3866"/>
                </a:lnTo>
                <a:cubicBezTo>
                  <a:pt x="3823" y="3871"/>
                  <a:pt x="3818" y="3881"/>
                  <a:pt x="3834" y="3881"/>
                </a:cubicBezTo>
                <a:lnTo>
                  <a:pt x="3993" y="4486"/>
                </a:lnTo>
                <a:cubicBezTo>
                  <a:pt x="3993" y="4518"/>
                  <a:pt x="4025" y="4533"/>
                  <a:pt x="4057" y="4533"/>
                </a:cubicBezTo>
                <a:cubicBezTo>
                  <a:pt x="4104" y="4533"/>
                  <a:pt x="4136" y="4518"/>
                  <a:pt x="4136" y="4486"/>
                </a:cubicBezTo>
                <a:lnTo>
                  <a:pt x="4295" y="3881"/>
                </a:lnTo>
                <a:lnTo>
                  <a:pt x="4295" y="3866"/>
                </a:lnTo>
                <a:lnTo>
                  <a:pt x="4295" y="955"/>
                </a:lnTo>
                <a:lnTo>
                  <a:pt x="4295" y="923"/>
                </a:lnTo>
                <a:cubicBezTo>
                  <a:pt x="4247" y="828"/>
                  <a:pt x="4152" y="780"/>
                  <a:pt x="4057" y="780"/>
                </a:cubicBezTo>
                <a:close/>
                <a:moveTo>
                  <a:pt x="4136" y="3850"/>
                </a:moveTo>
                <a:lnTo>
                  <a:pt x="4057" y="4152"/>
                </a:lnTo>
                <a:lnTo>
                  <a:pt x="3977" y="3850"/>
                </a:lnTo>
                <a:lnTo>
                  <a:pt x="3977" y="3818"/>
                </a:lnTo>
                <a:lnTo>
                  <a:pt x="4136" y="3818"/>
                </a:lnTo>
                <a:close/>
                <a:moveTo>
                  <a:pt x="4136" y="3659"/>
                </a:moveTo>
                <a:lnTo>
                  <a:pt x="3977" y="3659"/>
                </a:lnTo>
                <a:lnTo>
                  <a:pt x="3977" y="1432"/>
                </a:lnTo>
                <a:lnTo>
                  <a:pt x="4136" y="1432"/>
                </a:lnTo>
                <a:close/>
                <a:moveTo>
                  <a:pt x="4136" y="1273"/>
                </a:moveTo>
                <a:lnTo>
                  <a:pt x="3977" y="1273"/>
                </a:lnTo>
                <a:lnTo>
                  <a:pt x="3977" y="987"/>
                </a:lnTo>
                <a:cubicBezTo>
                  <a:pt x="4025" y="923"/>
                  <a:pt x="4104" y="923"/>
                  <a:pt x="4136" y="987"/>
                </a:cubicBezTo>
                <a:close/>
                <a:moveTo>
                  <a:pt x="2943" y="1273"/>
                </a:moveTo>
                <a:lnTo>
                  <a:pt x="557" y="1273"/>
                </a:lnTo>
                <a:cubicBezTo>
                  <a:pt x="509" y="1273"/>
                  <a:pt x="478" y="1305"/>
                  <a:pt x="478" y="1352"/>
                </a:cubicBezTo>
                <a:lnTo>
                  <a:pt x="478" y="4215"/>
                </a:lnTo>
                <a:cubicBezTo>
                  <a:pt x="478" y="4263"/>
                  <a:pt x="509" y="4295"/>
                  <a:pt x="557" y="4295"/>
                </a:cubicBezTo>
                <a:lnTo>
                  <a:pt x="2943" y="4295"/>
                </a:lnTo>
                <a:cubicBezTo>
                  <a:pt x="2991" y="4295"/>
                  <a:pt x="3023" y="4263"/>
                  <a:pt x="3023" y="4215"/>
                </a:cubicBezTo>
                <a:lnTo>
                  <a:pt x="3023" y="1352"/>
                </a:lnTo>
                <a:cubicBezTo>
                  <a:pt x="3023" y="1305"/>
                  <a:pt x="2991" y="1273"/>
                  <a:pt x="2943" y="1273"/>
                </a:cubicBezTo>
                <a:close/>
                <a:moveTo>
                  <a:pt x="2864" y="4136"/>
                </a:moveTo>
                <a:lnTo>
                  <a:pt x="637" y="4136"/>
                </a:lnTo>
                <a:lnTo>
                  <a:pt x="637" y="1432"/>
                </a:lnTo>
                <a:lnTo>
                  <a:pt x="2864" y="1432"/>
                </a:lnTo>
                <a:close/>
                <a:moveTo>
                  <a:pt x="1114" y="2068"/>
                </a:moveTo>
                <a:lnTo>
                  <a:pt x="2387" y="2068"/>
                </a:lnTo>
                <a:cubicBezTo>
                  <a:pt x="2434" y="2068"/>
                  <a:pt x="2466" y="2036"/>
                  <a:pt x="2466" y="1989"/>
                </a:cubicBezTo>
                <a:cubicBezTo>
                  <a:pt x="2466" y="1941"/>
                  <a:pt x="2434" y="1909"/>
                  <a:pt x="2387" y="1909"/>
                </a:cubicBezTo>
                <a:lnTo>
                  <a:pt x="1114" y="1909"/>
                </a:lnTo>
                <a:cubicBezTo>
                  <a:pt x="1066" y="1909"/>
                  <a:pt x="1034" y="1941"/>
                  <a:pt x="1034" y="1989"/>
                </a:cubicBezTo>
                <a:cubicBezTo>
                  <a:pt x="1034" y="2036"/>
                  <a:pt x="1066" y="2068"/>
                  <a:pt x="1114" y="2068"/>
                </a:cubicBezTo>
                <a:close/>
                <a:moveTo>
                  <a:pt x="1114" y="2705"/>
                </a:moveTo>
                <a:lnTo>
                  <a:pt x="2387" y="2705"/>
                </a:lnTo>
                <a:cubicBezTo>
                  <a:pt x="2434" y="2705"/>
                  <a:pt x="2466" y="2673"/>
                  <a:pt x="2466" y="2625"/>
                </a:cubicBezTo>
                <a:cubicBezTo>
                  <a:pt x="2466" y="2577"/>
                  <a:pt x="2434" y="2545"/>
                  <a:pt x="2387" y="2545"/>
                </a:cubicBezTo>
                <a:lnTo>
                  <a:pt x="1114" y="2545"/>
                </a:lnTo>
                <a:cubicBezTo>
                  <a:pt x="1066" y="2545"/>
                  <a:pt x="1034" y="2577"/>
                  <a:pt x="1034" y="2625"/>
                </a:cubicBezTo>
                <a:cubicBezTo>
                  <a:pt x="1034" y="2673"/>
                  <a:pt x="1066" y="2705"/>
                  <a:pt x="1114" y="2705"/>
                </a:cubicBezTo>
                <a:close/>
                <a:moveTo>
                  <a:pt x="1114" y="3341"/>
                </a:moveTo>
                <a:lnTo>
                  <a:pt x="2387" y="3341"/>
                </a:lnTo>
                <a:cubicBezTo>
                  <a:pt x="2434" y="3341"/>
                  <a:pt x="2466" y="3309"/>
                  <a:pt x="2466" y="3261"/>
                </a:cubicBezTo>
                <a:cubicBezTo>
                  <a:pt x="2466" y="3214"/>
                  <a:pt x="2434" y="3182"/>
                  <a:pt x="2387" y="3182"/>
                </a:cubicBezTo>
                <a:lnTo>
                  <a:pt x="1114" y="3182"/>
                </a:lnTo>
                <a:cubicBezTo>
                  <a:pt x="1066" y="3182"/>
                  <a:pt x="1034" y="3214"/>
                  <a:pt x="1034" y="3261"/>
                </a:cubicBezTo>
                <a:cubicBezTo>
                  <a:pt x="1034" y="3309"/>
                  <a:pt x="1066" y="3341"/>
                  <a:pt x="1114" y="3341"/>
                </a:cubicBezTo>
                <a:close/>
                <a:moveTo>
                  <a:pt x="0" y="875"/>
                </a:moveTo>
                <a:lnTo>
                  <a:pt x="0" y="4693"/>
                </a:lnTo>
                <a:cubicBezTo>
                  <a:pt x="0" y="4741"/>
                  <a:pt x="33" y="4772"/>
                  <a:pt x="80" y="4772"/>
                </a:cubicBezTo>
                <a:lnTo>
                  <a:pt x="3420" y="4772"/>
                </a:lnTo>
                <a:cubicBezTo>
                  <a:pt x="3468" y="4772"/>
                  <a:pt x="3500" y="4741"/>
                  <a:pt x="3500" y="4693"/>
                </a:cubicBezTo>
                <a:lnTo>
                  <a:pt x="3500" y="875"/>
                </a:lnTo>
                <a:cubicBezTo>
                  <a:pt x="3500" y="828"/>
                  <a:pt x="3468" y="796"/>
                  <a:pt x="3420" y="796"/>
                </a:cubicBezTo>
                <a:lnTo>
                  <a:pt x="2879" y="796"/>
                </a:lnTo>
                <a:lnTo>
                  <a:pt x="2879" y="557"/>
                </a:lnTo>
                <a:cubicBezTo>
                  <a:pt x="2879" y="509"/>
                  <a:pt x="2832" y="478"/>
                  <a:pt x="2800" y="478"/>
                </a:cubicBezTo>
                <a:lnTo>
                  <a:pt x="2450" y="478"/>
                </a:lnTo>
                <a:cubicBezTo>
                  <a:pt x="2418" y="143"/>
                  <a:pt x="2196" y="0"/>
                  <a:pt x="1989" y="0"/>
                </a:cubicBezTo>
                <a:lnTo>
                  <a:pt x="1527" y="0"/>
                </a:lnTo>
                <a:cubicBezTo>
                  <a:pt x="1305" y="0"/>
                  <a:pt x="1082" y="143"/>
                  <a:pt x="1051" y="478"/>
                </a:cubicBezTo>
                <a:lnTo>
                  <a:pt x="716" y="478"/>
                </a:lnTo>
                <a:cubicBezTo>
                  <a:pt x="669" y="478"/>
                  <a:pt x="637" y="509"/>
                  <a:pt x="637" y="557"/>
                </a:cubicBezTo>
                <a:lnTo>
                  <a:pt x="637" y="796"/>
                </a:lnTo>
                <a:lnTo>
                  <a:pt x="80" y="796"/>
                </a:lnTo>
                <a:cubicBezTo>
                  <a:pt x="33" y="796"/>
                  <a:pt x="0" y="828"/>
                  <a:pt x="0" y="875"/>
                </a:cubicBezTo>
                <a:close/>
                <a:moveTo>
                  <a:pt x="796" y="796"/>
                </a:moveTo>
                <a:lnTo>
                  <a:pt x="796" y="637"/>
                </a:lnTo>
                <a:lnTo>
                  <a:pt x="1130" y="637"/>
                </a:lnTo>
                <a:cubicBezTo>
                  <a:pt x="1161" y="637"/>
                  <a:pt x="1209" y="605"/>
                  <a:pt x="1209" y="557"/>
                </a:cubicBezTo>
                <a:cubicBezTo>
                  <a:pt x="1209" y="303"/>
                  <a:pt x="1321" y="160"/>
                  <a:pt x="1527" y="160"/>
                </a:cubicBezTo>
                <a:lnTo>
                  <a:pt x="1989" y="160"/>
                </a:lnTo>
                <a:cubicBezTo>
                  <a:pt x="2179" y="160"/>
                  <a:pt x="2307" y="303"/>
                  <a:pt x="2307" y="557"/>
                </a:cubicBezTo>
                <a:cubicBezTo>
                  <a:pt x="2307" y="605"/>
                  <a:pt x="2339" y="637"/>
                  <a:pt x="2387" y="637"/>
                </a:cubicBezTo>
                <a:lnTo>
                  <a:pt x="2720" y="637"/>
                </a:lnTo>
                <a:lnTo>
                  <a:pt x="2720" y="796"/>
                </a:lnTo>
                <a:close/>
                <a:moveTo>
                  <a:pt x="160" y="955"/>
                </a:moveTo>
                <a:lnTo>
                  <a:pt x="3341" y="955"/>
                </a:lnTo>
                <a:lnTo>
                  <a:pt x="3341" y="4613"/>
                </a:lnTo>
                <a:lnTo>
                  <a:pt x="160" y="4613"/>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45168223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Storage - 1</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42" name="TextBox 41">
            <a:extLst>
              <a:ext uri="{FF2B5EF4-FFF2-40B4-BE49-F238E27FC236}">
                <a16:creationId xmlns:a16="http://schemas.microsoft.com/office/drawing/2014/main" id="{BAD2B821-0E17-264C-8EBE-A126DD47A015}"/>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VD/CD</a:t>
            </a:r>
          </a:p>
        </p:txBody>
      </p:sp>
      <p:sp>
        <p:nvSpPr>
          <p:cNvPr id="58" name="TextBox 57">
            <a:extLst>
              <a:ext uri="{FF2B5EF4-FFF2-40B4-BE49-F238E27FC236}">
                <a16:creationId xmlns:a16="http://schemas.microsoft.com/office/drawing/2014/main" id="{ACBD6AB5-6CD7-6E49-8376-2A5841658D33}"/>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Stick</a:t>
            </a:r>
          </a:p>
        </p:txBody>
      </p:sp>
      <p:sp>
        <p:nvSpPr>
          <p:cNvPr id="59" name="TextBox 58">
            <a:extLst>
              <a:ext uri="{FF2B5EF4-FFF2-40B4-BE49-F238E27FC236}">
                <a16:creationId xmlns:a16="http://schemas.microsoft.com/office/drawing/2014/main" id="{EC30C677-19AA-EF47-8131-6ABE00D3C334}"/>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lders</a:t>
            </a:r>
          </a:p>
        </p:txBody>
      </p:sp>
      <p:sp>
        <p:nvSpPr>
          <p:cNvPr id="60" name="TextBox 59">
            <a:extLst>
              <a:ext uri="{FF2B5EF4-FFF2-40B4-BE49-F238E27FC236}">
                <a16:creationId xmlns:a16="http://schemas.microsoft.com/office/drawing/2014/main" id="{C4534EB0-81EC-5445-B971-D3D582BA2E73}"/>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ckage Open </a:t>
            </a:r>
          </a:p>
        </p:txBody>
      </p:sp>
      <p:sp>
        <p:nvSpPr>
          <p:cNvPr id="61" name="TextBox 60">
            <a:extLst>
              <a:ext uri="{FF2B5EF4-FFF2-40B4-BE49-F238E27FC236}">
                <a16:creationId xmlns:a16="http://schemas.microsoft.com/office/drawing/2014/main" id="{CE70030D-A775-CF4E-9AC9-0F573D16F3E8}"/>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rchive</a:t>
            </a:r>
          </a:p>
        </p:txBody>
      </p:sp>
      <p:sp>
        <p:nvSpPr>
          <p:cNvPr id="62" name="TextBox 61">
            <a:extLst>
              <a:ext uri="{FF2B5EF4-FFF2-40B4-BE49-F238E27FC236}">
                <a16:creationId xmlns:a16="http://schemas.microsoft.com/office/drawing/2014/main" id="{D54F6979-A325-F14C-A499-65A62EB3FF5B}"/>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ata Can</a:t>
            </a:r>
          </a:p>
        </p:txBody>
      </p:sp>
      <p:sp>
        <p:nvSpPr>
          <p:cNvPr id="63" name="TextBox 62">
            <a:extLst>
              <a:ext uri="{FF2B5EF4-FFF2-40B4-BE49-F238E27FC236}">
                <a16:creationId xmlns:a16="http://schemas.microsoft.com/office/drawing/2014/main" id="{226080EF-1A37-7446-A74C-7AEED155D0E3}"/>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ckup</a:t>
            </a:r>
          </a:p>
        </p:txBody>
      </p:sp>
      <p:sp>
        <p:nvSpPr>
          <p:cNvPr id="64" name="TextBox 63">
            <a:extLst>
              <a:ext uri="{FF2B5EF4-FFF2-40B4-BE49-F238E27FC236}">
                <a16:creationId xmlns:a16="http://schemas.microsoft.com/office/drawing/2014/main" id="{403DC969-FEDA-F84B-A256-CE2E33BF0D41}"/>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USB</a:t>
            </a:r>
          </a:p>
        </p:txBody>
      </p:sp>
      <p:sp>
        <p:nvSpPr>
          <p:cNvPr id="65" name="TextBox 64">
            <a:extLst>
              <a:ext uri="{FF2B5EF4-FFF2-40B4-BE49-F238E27FC236}">
                <a16:creationId xmlns:a16="http://schemas.microsoft.com/office/drawing/2014/main" id="{8559EDB1-2549-C249-88C7-B335FFD5F9ED}"/>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err="1"/>
              <a:t>Firewire</a:t>
            </a:r>
            <a:endParaRPr lang="en-US" sz="2800" dirty="0"/>
          </a:p>
        </p:txBody>
      </p:sp>
      <p:sp>
        <p:nvSpPr>
          <p:cNvPr id="66" name="TextBox 65">
            <a:extLst>
              <a:ext uri="{FF2B5EF4-FFF2-40B4-BE49-F238E27FC236}">
                <a16:creationId xmlns:a16="http://schemas.microsoft.com/office/drawing/2014/main" id="{C93C10C4-0FB7-F648-B3BB-C530D083F000}"/>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Bank</a:t>
            </a:r>
          </a:p>
        </p:txBody>
      </p:sp>
      <p:sp>
        <p:nvSpPr>
          <p:cNvPr id="67" name="TextBox 66">
            <a:extLst>
              <a:ext uri="{FF2B5EF4-FFF2-40B4-BE49-F238E27FC236}">
                <a16:creationId xmlns:a16="http://schemas.microsoft.com/office/drawing/2014/main" id="{9FF02335-D38B-3D41-A41E-DEB648B04B3E}"/>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ck-up 1</a:t>
            </a:r>
          </a:p>
        </p:txBody>
      </p:sp>
      <p:sp>
        <p:nvSpPr>
          <p:cNvPr id="68" name="TextBox 67">
            <a:extLst>
              <a:ext uri="{FF2B5EF4-FFF2-40B4-BE49-F238E27FC236}">
                <a16:creationId xmlns:a16="http://schemas.microsoft.com/office/drawing/2014/main" id="{C3EDD26C-CAA5-1043-BF8C-0DBFD5C769B3}"/>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rver</a:t>
            </a:r>
          </a:p>
        </p:txBody>
      </p:sp>
      <p:sp>
        <p:nvSpPr>
          <p:cNvPr id="69" name="TextBox 68">
            <a:extLst>
              <a:ext uri="{FF2B5EF4-FFF2-40B4-BE49-F238E27FC236}">
                <a16:creationId xmlns:a16="http://schemas.microsoft.com/office/drawing/2014/main" id="{6D82D37D-33DA-5144-A32D-1530C4F28375}"/>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Front</a:t>
            </a:r>
          </a:p>
        </p:txBody>
      </p:sp>
      <p:sp>
        <p:nvSpPr>
          <p:cNvPr id="70" name="TextBox 69">
            <a:extLst>
              <a:ext uri="{FF2B5EF4-FFF2-40B4-BE49-F238E27FC236}">
                <a16:creationId xmlns:a16="http://schemas.microsoft.com/office/drawing/2014/main" id="{24FEA7CB-6110-F64E-82FB-53B6B4B9E94C}"/>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Play</a:t>
            </a:r>
          </a:p>
        </p:txBody>
      </p:sp>
      <p:sp>
        <p:nvSpPr>
          <p:cNvPr id="71" name="TextBox 70">
            <a:extLst>
              <a:ext uri="{FF2B5EF4-FFF2-40B4-BE49-F238E27FC236}">
                <a16:creationId xmlns:a16="http://schemas.microsoft.com/office/drawing/2014/main" id="{0A2CC80E-8905-B346-B37E-A1C3175EBFF2}"/>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Gear</a:t>
            </a:r>
          </a:p>
        </p:txBody>
      </p:sp>
      <p:sp>
        <p:nvSpPr>
          <p:cNvPr id="72" name="Freeform: Shape 26">
            <a:extLst>
              <a:ext uri="{FF2B5EF4-FFF2-40B4-BE49-F238E27FC236}">
                <a16:creationId xmlns:a16="http://schemas.microsoft.com/office/drawing/2014/main" id="{4E8C1614-EF01-1741-B572-E8BA6F2B7FD7}"/>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3" name="TextBox 72">
            <a:extLst>
              <a:ext uri="{FF2B5EF4-FFF2-40B4-BE49-F238E27FC236}">
                <a16:creationId xmlns:a16="http://schemas.microsoft.com/office/drawing/2014/main" id="{7CC3F77B-55A0-5149-AD0E-776BD54E52CF}"/>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ckage Closed</a:t>
            </a:r>
          </a:p>
        </p:txBody>
      </p:sp>
      <p:sp>
        <p:nvSpPr>
          <p:cNvPr id="74" name="TextBox 73">
            <a:extLst>
              <a:ext uri="{FF2B5EF4-FFF2-40B4-BE49-F238E27FC236}">
                <a16:creationId xmlns:a16="http://schemas.microsoft.com/office/drawing/2014/main" id="{E3426389-FC06-9F48-AA81-536D522DCA8D}"/>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Dup</a:t>
            </a:r>
          </a:p>
        </p:txBody>
      </p:sp>
      <p:sp>
        <p:nvSpPr>
          <p:cNvPr id="75" name="TextBox 74">
            <a:extLst>
              <a:ext uri="{FF2B5EF4-FFF2-40B4-BE49-F238E27FC236}">
                <a16:creationId xmlns:a16="http://schemas.microsoft.com/office/drawing/2014/main" id="{1856F52D-AAD2-FF44-BF6C-F5ADC7E45CDC}"/>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Sync 1</a:t>
            </a:r>
          </a:p>
        </p:txBody>
      </p:sp>
      <p:sp>
        <p:nvSpPr>
          <p:cNvPr id="76" name="Freeform: Shape 13">
            <a:extLst>
              <a:ext uri="{FF2B5EF4-FFF2-40B4-BE49-F238E27FC236}">
                <a16:creationId xmlns:a16="http://schemas.microsoft.com/office/drawing/2014/main" id="{2B6CB121-0B6E-C046-B2A0-8C537DC6B049}"/>
              </a:ext>
            </a:extLst>
          </p:cNvPr>
          <p:cNvSpPr/>
          <p:nvPr/>
        </p:nvSpPr>
        <p:spPr>
          <a:xfrm>
            <a:off x="2283649" y="3606611"/>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7" name="Freeform: Shape 1">
            <a:extLst>
              <a:ext uri="{FF2B5EF4-FFF2-40B4-BE49-F238E27FC236}">
                <a16:creationId xmlns:a16="http://schemas.microsoft.com/office/drawing/2014/main" id="{1E01E8AA-B825-0F4C-915A-8B9D1E584414}"/>
              </a:ext>
            </a:extLst>
          </p:cNvPr>
          <p:cNvSpPr/>
          <p:nvPr/>
        </p:nvSpPr>
        <p:spPr>
          <a:xfrm>
            <a:off x="17455686" y="3190717"/>
            <a:ext cx="1637280" cy="1681560"/>
          </a:xfrm>
          <a:custGeom>
            <a:avLst/>
            <a:gdLst/>
            <a:ahLst/>
            <a:cxnLst>
              <a:cxn ang="3cd4">
                <a:pos x="hc" y="t"/>
              </a:cxn>
              <a:cxn ang="cd2">
                <a:pos x="l" y="vc"/>
              </a:cxn>
              <a:cxn ang="cd4">
                <a:pos x="hc" y="b"/>
              </a:cxn>
              <a:cxn ang="0">
                <a:pos x="r" y="vc"/>
              </a:cxn>
            </a:cxnLst>
            <a:rect l="l" t="t" r="r" b="b"/>
            <a:pathLst>
              <a:path w="4549" h="4672">
                <a:moveTo>
                  <a:pt x="0" y="3511"/>
                </a:moveTo>
                <a:cubicBezTo>
                  <a:pt x="0" y="3543"/>
                  <a:pt x="16" y="3575"/>
                  <a:pt x="48" y="3591"/>
                </a:cubicBezTo>
                <a:cubicBezTo>
                  <a:pt x="2290" y="4672"/>
                  <a:pt x="2290" y="4672"/>
                  <a:pt x="2290" y="4672"/>
                </a:cubicBezTo>
                <a:cubicBezTo>
                  <a:pt x="2290" y="4672"/>
                  <a:pt x="2306" y="4672"/>
                  <a:pt x="2322" y="4672"/>
                </a:cubicBezTo>
                <a:cubicBezTo>
                  <a:pt x="2338" y="4672"/>
                  <a:pt x="2338" y="4672"/>
                  <a:pt x="2354" y="4672"/>
                </a:cubicBezTo>
                <a:cubicBezTo>
                  <a:pt x="4502" y="3559"/>
                  <a:pt x="4502" y="3559"/>
                  <a:pt x="4502" y="3559"/>
                </a:cubicBezTo>
                <a:cubicBezTo>
                  <a:pt x="4533" y="3543"/>
                  <a:pt x="4549" y="3511"/>
                  <a:pt x="4549" y="3479"/>
                </a:cubicBezTo>
                <a:cubicBezTo>
                  <a:pt x="4549" y="1061"/>
                  <a:pt x="4549" y="1061"/>
                  <a:pt x="4549" y="1061"/>
                </a:cubicBezTo>
                <a:cubicBezTo>
                  <a:pt x="4549" y="1030"/>
                  <a:pt x="4533" y="1014"/>
                  <a:pt x="4502" y="998"/>
                </a:cubicBezTo>
                <a:cubicBezTo>
                  <a:pt x="2338" y="12"/>
                  <a:pt x="2338" y="12"/>
                  <a:pt x="2338" y="12"/>
                </a:cubicBezTo>
                <a:cubicBezTo>
                  <a:pt x="2322" y="-4"/>
                  <a:pt x="2290" y="-4"/>
                  <a:pt x="2275" y="12"/>
                </a:cubicBezTo>
                <a:cubicBezTo>
                  <a:pt x="64" y="1014"/>
                  <a:pt x="64" y="1014"/>
                  <a:pt x="64" y="1014"/>
                </a:cubicBezTo>
                <a:cubicBezTo>
                  <a:pt x="32" y="1030"/>
                  <a:pt x="16" y="1046"/>
                  <a:pt x="16" y="1078"/>
                </a:cubicBezTo>
                <a:close/>
                <a:moveTo>
                  <a:pt x="4374" y="1109"/>
                </a:moveTo>
                <a:cubicBezTo>
                  <a:pt x="4390" y="1125"/>
                  <a:pt x="4390" y="1125"/>
                  <a:pt x="4390" y="1125"/>
                </a:cubicBezTo>
                <a:cubicBezTo>
                  <a:pt x="4390" y="3432"/>
                  <a:pt x="4390" y="3432"/>
                  <a:pt x="4390" y="3432"/>
                </a:cubicBezTo>
                <a:cubicBezTo>
                  <a:pt x="2402" y="4466"/>
                  <a:pt x="2402" y="4466"/>
                  <a:pt x="2402" y="4466"/>
                </a:cubicBezTo>
                <a:cubicBezTo>
                  <a:pt x="2402" y="2032"/>
                  <a:pt x="2402" y="2032"/>
                  <a:pt x="2402" y="2032"/>
                </a:cubicBezTo>
                <a:cubicBezTo>
                  <a:pt x="3181" y="1666"/>
                  <a:pt x="3181" y="1666"/>
                  <a:pt x="3181" y="1666"/>
                </a:cubicBezTo>
                <a:cubicBezTo>
                  <a:pt x="3181" y="2636"/>
                  <a:pt x="3181" y="2636"/>
                  <a:pt x="3181" y="2636"/>
                </a:cubicBezTo>
                <a:cubicBezTo>
                  <a:pt x="3181" y="2668"/>
                  <a:pt x="3197" y="2684"/>
                  <a:pt x="3229" y="2700"/>
                </a:cubicBezTo>
                <a:cubicBezTo>
                  <a:pt x="3229" y="2716"/>
                  <a:pt x="3245" y="2716"/>
                  <a:pt x="3261" y="2716"/>
                </a:cubicBezTo>
                <a:cubicBezTo>
                  <a:pt x="3276" y="2716"/>
                  <a:pt x="3293" y="2716"/>
                  <a:pt x="3293" y="2700"/>
                </a:cubicBezTo>
                <a:cubicBezTo>
                  <a:pt x="3738" y="2477"/>
                  <a:pt x="3738" y="2477"/>
                  <a:pt x="3738" y="2477"/>
                </a:cubicBezTo>
                <a:cubicBezTo>
                  <a:pt x="3754" y="2461"/>
                  <a:pt x="3770" y="2445"/>
                  <a:pt x="3770" y="2414"/>
                </a:cubicBezTo>
                <a:cubicBezTo>
                  <a:pt x="3785" y="1396"/>
                  <a:pt x="3785" y="1396"/>
                  <a:pt x="3785" y="1396"/>
                </a:cubicBezTo>
                <a:cubicBezTo>
                  <a:pt x="4374" y="1109"/>
                  <a:pt x="4374" y="1109"/>
                  <a:pt x="4374" y="1109"/>
                </a:cubicBezTo>
                <a:close/>
                <a:moveTo>
                  <a:pt x="3340" y="2509"/>
                </a:moveTo>
                <a:cubicBezTo>
                  <a:pt x="3340" y="1603"/>
                  <a:pt x="3340" y="1603"/>
                  <a:pt x="3340" y="1603"/>
                </a:cubicBezTo>
                <a:cubicBezTo>
                  <a:pt x="3627" y="1460"/>
                  <a:pt x="3627" y="1460"/>
                  <a:pt x="3627" y="1460"/>
                </a:cubicBezTo>
                <a:cubicBezTo>
                  <a:pt x="3611" y="2366"/>
                  <a:pt x="3611" y="2366"/>
                  <a:pt x="3611" y="2366"/>
                </a:cubicBezTo>
                <a:close/>
                <a:moveTo>
                  <a:pt x="2306" y="171"/>
                </a:moveTo>
                <a:cubicBezTo>
                  <a:pt x="4183" y="1030"/>
                  <a:pt x="4183" y="1030"/>
                  <a:pt x="4183" y="1030"/>
                </a:cubicBezTo>
                <a:cubicBezTo>
                  <a:pt x="3690" y="1252"/>
                  <a:pt x="3690" y="1252"/>
                  <a:pt x="3690" y="1252"/>
                </a:cubicBezTo>
                <a:cubicBezTo>
                  <a:pt x="1766" y="409"/>
                  <a:pt x="1766" y="409"/>
                  <a:pt x="1766" y="409"/>
                </a:cubicBezTo>
                <a:close/>
                <a:moveTo>
                  <a:pt x="1575" y="505"/>
                </a:moveTo>
                <a:lnTo>
                  <a:pt x="1591" y="505"/>
                </a:lnTo>
                <a:cubicBezTo>
                  <a:pt x="3499" y="1348"/>
                  <a:pt x="3499" y="1348"/>
                  <a:pt x="3499" y="1348"/>
                </a:cubicBezTo>
                <a:cubicBezTo>
                  <a:pt x="3213" y="1491"/>
                  <a:pt x="3213" y="1491"/>
                  <a:pt x="3213" y="1491"/>
                </a:cubicBezTo>
                <a:cubicBezTo>
                  <a:pt x="1320" y="616"/>
                  <a:pt x="1320" y="616"/>
                  <a:pt x="1320" y="616"/>
                </a:cubicBezTo>
                <a:close/>
                <a:moveTo>
                  <a:pt x="1129" y="696"/>
                </a:moveTo>
                <a:cubicBezTo>
                  <a:pt x="1145" y="712"/>
                  <a:pt x="1145" y="712"/>
                  <a:pt x="1161" y="728"/>
                </a:cubicBezTo>
                <a:cubicBezTo>
                  <a:pt x="3022" y="1570"/>
                  <a:pt x="3022" y="1570"/>
                  <a:pt x="3022" y="1570"/>
                </a:cubicBezTo>
                <a:cubicBezTo>
                  <a:pt x="2306" y="1921"/>
                  <a:pt x="2306" y="1921"/>
                  <a:pt x="2306" y="1921"/>
                </a:cubicBezTo>
                <a:cubicBezTo>
                  <a:pt x="382" y="1046"/>
                  <a:pt x="382" y="1046"/>
                  <a:pt x="382" y="1046"/>
                </a:cubicBezTo>
                <a:close/>
                <a:moveTo>
                  <a:pt x="175" y="1141"/>
                </a:moveTo>
                <a:cubicBezTo>
                  <a:pt x="191" y="1125"/>
                  <a:pt x="191" y="1125"/>
                  <a:pt x="191" y="1125"/>
                </a:cubicBezTo>
                <a:lnTo>
                  <a:pt x="207" y="1125"/>
                </a:lnTo>
                <a:cubicBezTo>
                  <a:pt x="2243" y="2064"/>
                  <a:pt x="2243" y="2064"/>
                  <a:pt x="2243" y="2064"/>
                </a:cubicBezTo>
                <a:cubicBezTo>
                  <a:pt x="2243" y="4481"/>
                  <a:pt x="2243" y="4481"/>
                  <a:pt x="2243" y="4481"/>
                </a:cubicBezTo>
                <a:cubicBezTo>
                  <a:pt x="159" y="3463"/>
                  <a:pt x="159" y="3463"/>
                  <a:pt x="159" y="34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8" name="Freeform: Shape 2">
            <a:extLst>
              <a:ext uri="{FF2B5EF4-FFF2-40B4-BE49-F238E27FC236}">
                <a16:creationId xmlns:a16="http://schemas.microsoft.com/office/drawing/2014/main" id="{77ED4E15-A009-AA49-89B2-14EAAA8E4B1B}"/>
              </a:ext>
            </a:extLst>
          </p:cNvPr>
          <p:cNvSpPr/>
          <p:nvPr/>
        </p:nvSpPr>
        <p:spPr>
          <a:xfrm>
            <a:off x="13918602" y="3190717"/>
            <a:ext cx="1637280" cy="1681560"/>
          </a:xfrm>
          <a:custGeom>
            <a:avLst/>
            <a:gdLst/>
            <a:ahLst/>
            <a:cxnLst>
              <a:cxn ang="3cd4">
                <a:pos x="hc" y="t"/>
              </a:cxn>
              <a:cxn ang="cd2">
                <a:pos x="l" y="vc"/>
              </a:cxn>
              <a:cxn ang="cd4">
                <a:pos x="hc" y="b"/>
              </a:cxn>
              <a:cxn ang="0">
                <a:pos x="r" y="vc"/>
              </a:cxn>
            </a:cxnLst>
            <a:rect l="l" t="t" r="r" b="b"/>
            <a:pathLst>
              <a:path w="4549" h="4672">
                <a:moveTo>
                  <a:pt x="47" y="3591"/>
                </a:moveTo>
                <a:cubicBezTo>
                  <a:pt x="2290" y="4672"/>
                  <a:pt x="2290" y="4672"/>
                  <a:pt x="2290" y="4672"/>
                </a:cubicBezTo>
                <a:cubicBezTo>
                  <a:pt x="2290" y="4672"/>
                  <a:pt x="2306" y="4672"/>
                  <a:pt x="2322" y="4672"/>
                </a:cubicBezTo>
                <a:cubicBezTo>
                  <a:pt x="2338" y="4672"/>
                  <a:pt x="2338" y="4672"/>
                  <a:pt x="2354" y="4672"/>
                </a:cubicBezTo>
                <a:cubicBezTo>
                  <a:pt x="4501" y="3559"/>
                  <a:pt x="4501" y="3559"/>
                  <a:pt x="4501" y="3559"/>
                </a:cubicBezTo>
                <a:cubicBezTo>
                  <a:pt x="4533" y="3543"/>
                  <a:pt x="4549" y="3511"/>
                  <a:pt x="4549" y="3479"/>
                </a:cubicBezTo>
                <a:cubicBezTo>
                  <a:pt x="4549" y="1061"/>
                  <a:pt x="4549" y="1061"/>
                  <a:pt x="4549" y="1061"/>
                </a:cubicBezTo>
                <a:cubicBezTo>
                  <a:pt x="4549" y="1030"/>
                  <a:pt x="4533" y="1014"/>
                  <a:pt x="4501" y="998"/>
                </a:cubicBezTo>
                <a:cubicBezTo>
                  <a:pt x="2338" y="12"/>
                  <a:pt x="2338" y="12"/>
                  <a:pt x="2338" y="12"/>
                </a:cubicBezTo>
                <a:cubicBezTo>
                  <a:pt x="2322" y="-4"/>
                  <a:pt x="2290" y="-4"/>
                  <a:pt x="2274" y="12"/>
                </a:cubicBezTo>
                <a:cubicBezTo>
                  <a:pt x="47" y="1014"/>
                  <a:pt x="47" y="1014"/>
                  <a:pt x="47" y="1014"/>
                </a:cubicBezTo>
                <a:cubicBezTo>
                  <a:pt x="32" y="1030"/>
                  <a:pt x="0" y="1046"/>
                  <a:pt x="0" y="1078"/>
                </a:cubicBezTo>
                <a:cubicBezTo>
                  <a:pt x="0" y="3511"/>
                  <a:pt x="0" y="3511"/>
                  <a:pt x="0" y="3511"/>
                </a:cubicBezTo>
                <a:cubicBezTo>
                  <a:pt x="0" y="3543"/>
                  <a:pt x="16" y="3575"/>
                  <a:pt x="47" y="3591"/>
                </a:cubicBezTo>
                <a:close/>
                <a:moveTo>
                  <a:pt x="2401" y="219"/>
                </a:moveTo>
                <a:cubicBezTo>
                  <a:pt x="4183" y="1030"/>
                  <a:pt x="4183" y="1030"/>
                  <a:pt x="4183" y="1030"/>
                </a:cubicBezTo>
                <a:cubicBezTo>
                  <a:pt x="2401" y="1857"/>
                  <a:pt x="2401" y="1857"/>
                  <a:pt x="2401" y="1857"/>
                </a:cubicBezTo>
                <a:close/>
                <a:moveTo>
                  <a:pt x="2401" y="2032"/>
                </a:moveTo>
                <a:cubicBezTo>
                  <a:pt x="4358" y="1109"/>
                  <a:pt x="4358" y="1109"/>
                  <a:pt x="4358" y="1109"/>
                </a:cubicBezTo>
                <a:cubicBezTo>
                  <a:pt x="4374" y="1109"/>
                  <a:pt x="4374" y="1109"/>
                  <a:pt x="4374" y="1109"/>
                </a:cubicBezTo>
                <a:cubicBezTo>
                  <a:pt x="4390" y="1125"/>
                  <a:pt x="4390" y="1125"/>
                  <a:pt x="4390" y="1125"/>
                </a:cubicBezTo>
                <a:cubicBezTo>
                  <a:pt x="4390" y="3432"/>
                  <a:pt x="4390" y="3432"/>
                  <a:pt x="4390" y="3432"/>
                </a:cubicBezTo>
                <a:cubicBezTo>
                  <a:pt x="2401" y="4466"/>
                  <a:pt x="2401" y="4466"/>
                  <a:pt x="2401" y="4466"/>
                </a:cubicBezTo>
                <a:close/>
                <a:moveTo>
                  <a:pt x="2243" y="203"/>
                </a:moveTo>
                <a:cubicBezTo>
                  <a:pt x="2243" y="1889"/>
                  <a:pt x="2243" y="1889"/>
                  <a:pt x="2243" y="1889"/>
                </a:cubicBezTo>
                <a:cubicBezTo>
                  <a:pt x="381" y="1046"/>
                  <a:pt x="381" y="1046"/>
                  <a:pt x="381" y="1046"/>
                </a:cubicBezTo>
                <a:close/>
                <a:moveTo>
                  <a:pt x="159" y="1141"/>
                </a:moveTo>
                <a:cubicBezTo>
                  <a:pt x="190" y="1125"/>
                  <a:pt x="190" y="1125"/>
                  <a:pt x="190" y="1125"/>
                </a:cubicBezTo>
                <a:cubicBezTo>
                  <a:pt x="2243" y="2064"/>
                  <a:pt x="2243" y="2064"/>
                  <a:pt x="2243" y="2064"/>
                </a:cubicBezTo>
                <a:cubicBezTo>
                  <a:pt x="2243" y="4481"/>
                  <a:pt x="2243" y="4481"/>
                  <a:pt x="2243" y="4481"/>
                </a:cubicBezTo>
                <a:cubicBezTo>
                  <a:pt x="159" y="3463"/>
                  <a:pt x="159" y="3463"/>
                  <a:pt x="159" y="34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9" name="Freeform: Shape 3">
            <a:extLst>
              <a:ext uri="{FF2B5EF4-FFF2-40B4-BE49-F238E27FC236}">
                <a16:creationId xmlns:a16="http://schemas.microsoft.com/office/drawing/2014/main" id="{9361491F-7171-634C-9BCD-1A1000366A7D}"/>
              </a:ext>
            </a:extLst>
          </p:cNvPr>
          <p:cNvSpPr/>
          <p:nvPr/>
        </p:nvSpPr>
        <p:spPr>
          <a:xfrm>
            <a:off x="6010059" y="6415565"/>
            <a:ext cx="1837799" cy="1184760"/>
          </a:xfrm>
          <a:custGeom>
            <a:avLst/>
            <a:gdLst/>
            <a:ahLst/>
            <a:cxnLst>
              <a:cxn ang="3cd4">
                <a:pos x="hc" y="t"/>
              </a:cxn>
              <a:cxn ang="cd2">
                <a:pos x="l" y="vc"/>
              </a:cxn>
              <a:cxn ang="cd4">
                <a:pos x="hc" y="b"/>
              </a:cxn>
              <a:cxn ang="0">
                <a:pos x="r" y="vc"/>
              </a:cxn>
            </a:cxnLst>
            <a:rect l="l" t="t" r="r" b="b"/>
            <a:pathLst>
              <a:path w="5106" h="3292">
                <a:moveTo>
                  <a:pt x="5026" y="0"/>
                </a:moveTo>
                <a:lnTo>
                  <a:pt x="80" y="0"/>
                </a:lnTo>
                <a:cubicBezTo>
                  <a:pt x="32" y="0"/>
                  <a:pt x="0" y="32"/>
                  <a:pt x="0" y="79"/>
                </a:cubicBezTo>
                <a:lnTo>
                  <a:pt x="0" y="3213"/>
                </a:lnTo>
                <a:cubicBezTo>
                  <a:pt x="0" y="3245"/>
                  <a:pt x="32" y="3292"/>
                  <a:pt x="80" y="3292"/>
                </a:cubicBezTo>
                <a:lnTo>
                  <a:pt x="5026" y="3292"/>
                </a:lnTo>
                <a:cubicBezTo>
                  <a:pt x="5074" y="3292"/>
                  <a:pt x="5106" y="3245"/>
                  <a:pt x="5106" y="3213"/>
                </a:cubicBezTo>
                <a:lnTo>
                  <a:pt x="5106" y="79"/>
                </a:lnTo>
                <a:cubicBezTo>
                  <a:pt x="5106" y="32"/>
                  <a:pt x="5074" y="0"/>
                  <a:pt x="5026" y="0"/>
                </a:cubicBezTo>
                <a:close/>
                <a:moveTo>
                  <a:pt x="4947" y="3133"/>
                </a:moveTo>
                <a:lnTo>
                  <a:pt x="160" y="3133"/>
                </a:lnTo>
                <a:lnTo>
                  <a:pt x="160" y="159"/>
                </a:lnTo>
                <a:lnTo>
                  <a:pt x="4947" y="159"/>
                </a:lnTo>
                <a:close/>
                <a:moveTo>
                  <a:pt x="1368" y="2163"/>
                </a:moveTo>
                <a:cubicBezTo>
                  <a:pt x="1654" y="2163"/>
                  <a:pt x="1877" y="1925"/>
                  <a:pt x="1877" y="1638"/>
                </a:cubicBezTo>
                <a:cubicBezTo>
                  <a:pt x="1877" y="1511"/>
                  <a:pt x="1830" y="1383"/>
                  <a:pt x="1734" y="1288"/>
                </a:cubicBezTo>
                <a:lnTo>
                  <a:pt x="3372" y="1288"/>
                </a:lnTo>
                <a:cubicBezTo>
                  <a:pt x="3277" y="1383"/>
                  <a:pt x="3229" y="1511"/>
                  <a:pt x="3229" y="1638"/>
                </a:cubicBezTo>
                <a:cubicBezTo>
                  <a:pt x="3229" y="1925"/>
                  <a:pt x="3452" y="2163"/>
                  <a:pt x="3738" y="2163"/>
                </a:cubicBezTo>
                <a:cubicBezTo>
                  <a:pt x="4024" y="2163"/>
                  <a:pt x="4263" y="1925"/>
                  <a:pt x="4263" y="1638"/>
                </a:cubicBezTo>
                <a:cubicBezTo>
                  <a:pt x="4263" y="1368"/>
                  <a:pt x="4024" y="1129"/>
                  <a:pt x="3738" y="1129"/>
                </a:cubicBezTo>
                <a:lnTo>
                  <a:pt x="1368" y="1129"/>
                </a:lnTo>
                <a:cubicBezTo>
                  <a:pt x="1082" y="1129"/>
                  <a:pt x="843" y="1352"/>
                  <a:pt x="843" y="1638"/>
                </a:cubicBezTo>
                <a:cubicBezTo>
                  <a:pt x="843" y="1925"/>
                  <a:pt x="1082" y="2163"/>
                  <a:pt x="1368" y="2163"/>
                </a:cubicBezTo>
                <a:close/>
                <a:moveTo>
                  <a:pt x="3738" y="1288"/>
                </a:moveTo>
                <a:cubicBezTo>
                  <a:pt x="3945" y="1288"/>
                  <a:pt x="4104" y="1447"/>
                  <a:pt x="4104" y="1638"/>
                </a:cubicBezTo>
                <a:cubicBezTo>
                  <a:pt x="4104" y="1845"/>
                  <a:pt x="3945" y="2004"/>
                  <a:pt x="3738" y="2004"/>
                </a:cubicBezTo>
                <a:cubicBezTo>
                  <a:pt x="3547" y="2004"/>
                  <a:pt x="3388" y="1845"/>
                  <a:pt x="3388" y="1638"/>
                </a:cubicBezTo>
                <a:cubicBezTo>
                  <a:pt x="3388" y="1447"/>
                  <a:pt x="3547" y="1288"/>
                  <a:pt x="3738" y="1288"/>
                </a:cubicBezTo>
                <a:close/>
                <a:moveTo>
                  <a:pt x="1368" y="1288"/>
                </a:moveTo>
                <a:cubicBezTo>
                  <a:pt x="1559" y="1288"/>
                  <a:pt x="1718" y="1447"/>
                  <a:pt x="1718" y="1638"/>
                </a:cubicBezTo>
                <a:cubicBezTo>
                  <a:pt x="1718" y="1845"/>
                  <a:pt x="1559" y="2004"/>
                  <a:pt x="1368" y="2004"/>
                </a:cubicBezTo>
                <a:cubicBezTo>
                  <a:pt x="1161" y="2004"/>
                  <a:pt x="1002" y="1845"/>
                  <a:pt x="1002" y="1638"/>
                </a:cubicBezTo>
                <a:cubicBezTo>
                  <a:pt x="1002" y="1447"/>
                  <a:pt x="1161" y="1288"/>
                  <a:pt x="1368" y="128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0" name="Freeform: Shape 4">
            <a:extLst>
              <a:ext uri="{FF2B5EF4-FFF2-40B4-BE49-F238E27FC236}">
                <a16:creationId xmlns:a16="http://schemas.microsoft.com/office/drawing/2014/main" id="{3CA686D2-8F55-514B-B730-CEA5B654F610}"/>
              </a:ext>
            </a:extLst>
          </p:cNvPr>
          <p:cNvSpPr/>
          <p:nvPr/>
        </p:nvSpPr>
        <p:spPr>
          <a:xfrm>
            <a:off x="2013001" y="6157804"/>
            <a:ext cx="1098719" cy="1700280"/>
          </a:xfrm>
          <a:custGeom>
            <a:avLst/>
            <a:gdLst/>
            <a:ahLst/>
            <a:cxnLst>
              <a:cxn ang="3cd4">
                <a:pos x="hc" y="t"/>
              </a:cxn>
              <a:cxn ang="cd2">
                <a:pos x="l" y="vc"/>
              </a:cxn>
              <a:cxn ang="cd4">
                <a:pos x="hc" y="b"/>
              </a:cxn>
              <a:cxn ang="0">
                <a:pos x="r" y="vc"/>
              </a:cxn>
            </a:cxnLst>
            <a:rect l="l" t="t" r="r" b="b"/>
            <a:pathLst>
              <a:path w="3053" h="4724">
                <a:moveTo>
                  <a:pt x="1527" y="0"/>
                </a:moveTo>
                <a:cubicBezTo>
                  <a:pt x="779" y="0"/>
                  <a:pt x="0" y="143"/>
                  <a:pt x="0" y="462"/>
                </a:cubicBezTo>
                <a:cubicBezTo>
                  <a:pt x="0" y="477"/>
                  <a:pt x="0" y="493"/>
                  <a:pt x="0" y="509"/>
                </a:cubicBezTo>
                <a:cubicBezTo>
                  <a:pt x="0" y="4199"/>
                  <a:pt x="0" y="4199"/>
                  <a:pt x="0" y="4199"/>
                </a:cubicBezTo>
                <a:cubicBezTo>
                  <a:pt x="0" y="4231"/>
                  <a:pt x="0" y="4247"/>
                  <a:pt x="0" y="4263"/>
                </a:cubicBezTo>
                <a:cubicBezTo>
                  <a:pt x="0" y="4581"/>
                  <a:pt x="779" y="4724"/>
                  <a:pt x="1527" y="4724"/>
                </a:cubicBezTo>
                <a:cubicBezTo>
                  <a:pt x="2258" y="4724"/>
                  <a:pt x="3053" y="4581"/>
                  <a:pt x="3053" y="4263"/>
                </a:cubicBezTo>
                <a:cubicBezTo>
                  <a:pt x="3053" y="4247"/>
                  <a:pt x="3053" y="4231"/>
                  <a:pt x="3037" y="4215"/>
                </a:cubicBezTo>
                <a:cubicBezTo>
                  <a:pt x="3037" y="509"/>
                  <a:pt x="3037" y="509"/>
                  <a:pt x="3037" y="509"/>
                </a:cubicBezTo>
                <a:cubicBezTo>
                  <a:pt x="3053" y="493"/>
                  <a:pt x="3053" y="477"/>
                  <a:pt x="3053" y="462"/>
                </a:cubicBezTo>
                <a:cubicBezTo>
                  <a:pt x="3053" y="143"/>
                  <a:pt x="2258" y="0"/>
                  <a:pt x="1527" y="0"/>
                </a:cubicBezTo>
                <a:close/>
                <a:moveTo>
                  <a:pt x="1527" y="159"/>
                </a:moveTo>
                <a:cubicBezTo>
                  <a:pt x="2354" y="159"/>
                  <a:pt x="2831" y="334"/>
                  <a:pt x="2894" y="429"/>
                </a:cubicBezTo>
                <a:cubicBezTo>
                  <a:pt x="2878" y="445"/>
                  <a:pt x="2878" y="445"/>
                  <a:pt x="2878" y="462"/>
                </a:cubicBezTo>
                <a:cubicBezTo>
                  <a:pt x="2878" y="477"/>
                  <a:pt x="2878" y="477"/>
                  <a:pt x="2878" y="477"/>
                </a:cubicBezTo>
                <a:cubicBezTo>
                  <a:pt x="2815" y="589"/>
                  <a:pt x="2337" y="763"/>
                  <a:pt x="1527" y="763"/>
                </a:cubicBezTo>
                <a:cubicBezTo>
                  <a:pt x="699" y="763"/>
                  <a:pt x="238" y="589"/>
                  <a:pt x="158" y="477"/>
                </a:cubicBezTo>
                <a:cubicBezTo>
                  <a:pt x="158" y="462"/>
                  <a:pt x="158" y="462"/>
                  <a:pt x="158" y="462"/>
                </a:cubicBezTo>
                <a:cubicBezTo>
                  <a:pt x="158" y="445"/>
                  <a:pt x="158" y="445"/>
                  <a:pt x="158" y="429"/>
                </a:cubicBezTo>
                <a:cubicBezTo>
                  <a:pt x="222" y="334"/>
                  <a:pt x="699" y="159"/>
                  <a:pt x="1527" y="159"/>
                </a:cubicBezTo>
                <a:close/>
                <a:moveTo>
                  <a:pt x="2878" y="4040"/>
                </a:moveTo>
                <a:cubicBezTo>
                  <a:pt x="2608" y="3881"/>
                  <a:pt x="2051" y="3802"/>
                  <a:pt x="1527" y="3802"/>
                </a:cubicBezTo>
                <a:cubicBezTo>
                  <a:pt x="985" y="3802"/>
                  <a:pt x="429" y="3881"/>
                  <a:pt x="158" y="4040"/>
                </a:cubicBezTo>
                <a:cubicBezTo>
                  <a:pt x="158" y="684"/>
                  <a:pt x="158" y="684"/>
                  <a:pt x="158" y="684"/>
                </a:cubicBezTo>
                <a:cubicBezTo>
                  <a:pt x="429" y="843"/>
                  <a:pt x="985" y="907"/>
                  <a:pt x="1527" y="907"/>
                </a:cubicBezTo>
                <a:cubicBezTo>
                  <a:pt x="2051" y="907"/>
                  <a:pt x="2608" y="843"/>
                  <a:pt x="2878" y="684"/>
                </a:cubicBezTo>
                <a:close/>
                <a:moveTo>
                  <a:pt x="1527" y="4565"/>
                </a:moveTo>
                <a:cubicBezTo>
                  <a:pt x="699" y="4565"/>
                  <a:pt x="222" y="4390"/>
                  <a:pt x="158" y="4295"/>
                </a:cubicBezTo>
                <a:cubicBezTo>
                  <a:pt x="158" y="4279"/>
                  <a:pt x="158" y="4279"/>
                  <a:pt x="158" y="4263"/>
                </a:cubicBezTo>
                <a:cubicBezTo>
                  <a:pt x="158" y="4231"/>
                  <a:pt x="158" y="4231"/>
                  <a:pt x="158" y="4231"/>
                </a:cubicBezTo>
                <a:cubicBezTo>
                  <a:pt x="238" y="4135"/>
                  <a:pt x="715" y="3961"/>
                  <a:pt x="1527" y="3961"/>
                </a:cubicBezTo>
                <a:cubicBezTo>
                  <a:pt x="2354" y="3961"/>
                  <a:pt x="2831" y="4135"/>
                  <a:pt x="2878" y="4247"/>
                </a:cubicBezTo>
                <a:cubicBezTo>
                  <a:pt x="2878" y="4263"/>
                  <a:pt x="2878" y="4263"/>
                  <a:pt x="2878" y="4263"/>
                </a:cubicBezTo>
                <a:cubicBezTo>
                  <a:pt x="2878" y="4279"/>
                  <a:pt x="2894" y="4279"/>
                  <a:pt x="2894" y="4279"/>
                </a:cubicBezTo>
                <a:cubicBezTo>
                  <a:pt x="2846" y="4390"/>
                  <a:pt x="2369" y="4565"/>
                  <a:pt x="1527" y="456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1" name="Freeform: Shape 5">
            <a:extLst>
              <a:ext uri="{FF2B5EF4-FFF2-40B4-BE49-F238E27FC236}">
                <a16:creationId xmlns:a16="http://schemas.microsoft.com/office/drawing/2014/main" id="{79C5EE72-3ED7-B046-B672-827DBC9E2874}"/>
              </a:ext>
            </a:extLst>
          </p:cNvPr>
          <p:cNvSpPr/>
          <p:nvPr/>
        </p:nvSpPr>
        <p:spPr>
          <a:xfrm>
            <a:off x="1627199" y="3091717"/>
            <a:ext cx="1883520" cy="1883880"/>
          </a:xfrm>
          <a:custGeom>
            <a:avLst/>
            <a:gdLst/>
            <a:ahLst/>
            <a:cxnLst>
              <a:cxn ang="3cd4">
                <a:pos x="hc" y="t"/>
              </a:cxn>
              <a:cxn ang="cd2">
                <a:pos x="l" y="vc"/>
              </a:cxn>
              <a:cxn ang="cd4">
                <a:pos x="hc" y="b"/>
              </a:cxn>
              <a:cxn ang="0">
                <a:pos x="r" y="vc"/>
              </a:cxn>
            </a:cxnLst>
            <a:rect l="l" t="t" r="r" b="b"/>
            <a:pathLst>
              <a:path w="5233" h="5234">
                <a:moveTo>
                  <a:pt x="0" y="2609"/>
                </a:moveTo>
                <a:cubicBezTo>
                  <a:pt x="0" y="4057"/>
                  <a:pt x="1161" y="5234"/>
                  <a:pt x="2608" y="5234"/>
                </a:cubicBezTo>
                <a:cubicBezTo>
                  <a:pt x="4056" y="5234"/>
                  <a:pt x="5233" y="4057"/>
                  <a:pt x="5233" y="2609"/>
                </a:cubicBezTo>
                <a:cubicBezTo>
                  <a:pt x="5233" y="1178"/>
                  <a:pt x="4056" y="0"/>
                  <a:pt x="2608" y="0"/>
                </a:cubicBezTo>
                <a:cubicBezTo>
                  <a:pt x="1161" y="0"/>
                  <a:pt x="0" y="1178"/>
                  <a:pt x="0" y="2609"/>
                </a:cubicBezTo>
                <a:close/>
                <a:moveTo>
                  <a:pt x="2608" y="160"/>
                </a:moveTo>
                <a:cubicBezTo>
                  <a:pt x="3976" y="160"/>
                  <a:pt x="5074" y="1257"/>
                  <a:pt x="5074" y="2609"/>
                </a:cubicBezTo>
                <a:cubicBezTo>
                  <a:pt x="5074" y="3977"/>
                  <a:pt x="3976" y="5074"/>
                  <a:pt x="2608" y="5074"/>
                </a:cubicBezTo>
                <a:cubicBezTo>
                  <a:pt x="1256" y="5074"/>
                  <a:pt x="158" y="3977"/>
                  <a:pt x="158" y="2609"/>
                </a:cubicBezTo>
                <a:cubicBezTo>
                  <a:pt x="158" y="1257"/>
                  <a:pt x="1256" y="160"/>
                  <a:pt x="2608" y="160"/>
                </a:cubicBezTo>
                <a:close/>
                <a:moveTo>
                  <a:pt x="2608" y="3245"/>
                </a:moveTo>
                <a:cubicBezTo>
                  <a:pt x="2958" y="3245"/>
                  <a:pt x="3244" y="2959"/>
                  <a:pt x="3244" y="2609"/>
                </a:cubicBezTo>
                <a:cubicBezTo>
                  <a:pt x="3244" y="2275"/>
                  <a:pt x="2958" y="1989"/>
                  <a:pt x="2608" y="1989"/>
                </a:cubicBezTo>
                <a:cubicBezTo>
                  <a:pt x="2274" y="1989"/>
                  <a:pt x="1988" y="2275"/>
                  <a:pt x="1988" y="2609"/>
                </a:cubicBezTo>
                <a:cubicBezTo>
                  <a:pt x="1988" y="2959"/>
                  <a:pt x="2274" y="3245"/>
                  <a:pt x="2608" y="3245"/>
                </a:cubicBezTo>
                <a:close/>
                <a:moveTo>
                  <a:pt x="2608" y="2148"/>
                </a:moveTo>
                <a:cubicBezTo>
                  <a:pt x="2879" y="2148"/>
                  <a:pt x="3085" y="2354"/>
                  <a:pt x="3085" y="2609"/>
                </a:cubicBezTo>
                <a:cubicBezTo>
                  <a:pt x="3085" y="2880"/>
                  <a:pt x="2879" y="3086"/>
                  <a:pt x="2608" y="3086"/>
                </a:cubicBezTo>
                <a:cubicBezTo>
                  <a:pt x="2354" y="3086"/>
                  <a:pt x="2147" y="2880"/>
                  <a:pt x="2147" y="2609"/>
                </a:cubicBezTo>
                <a:cubicBezTo>
                  <a:pt x="2147" y="2354"/>
                  <a:pt x="2354" y="2148"/>
                  <a:pt x="2608" y="2148"/>
                </a:cubicBezTo>
                <a:close/>
                <a:moveTo>
                  <a:pt x="2608" y="3993"/>
                </a:moveTo>
                <a:cubicBezTo>
                  <a:pt x="2656" y="3993"/>
                  <a:pt x="2688" y="3961"/>
                  <a:pt x="2688" y="3913"/>
                </a:cubicBezTo>
                <a:cubicBezTo>
                  <a:pt x="2688" y="3866"/>
                  <a:pt x="2656" y="3834"/>
                  <a:pt x="2608" y="3834"/>
                </a:cubicBezTo>
                <a:cubicBezTo>
                  <a:pt x="1940" y="3834"/>
                  <a:pt x="1399" y="3293"/>
                  <a:pt x="1399" y="2609"/>
                </a:cubicBezTo>
                <a:cubicBezTo>
                  <a:pt x="1399" y="2577"/>
                  <a:pt x="1367" y="2530"/>
                  <a:pt x="1320" y="2530"/>
                </a:cubicBezTo>
                <a:cubicBezTo>
                  <a:pt x="1272" y="2530"/>
                  <a:pt x="1240" y="2577"/>
                  <a:pt x="1240" y="2609"/>
                </a:cubicBezTo>
                <a:cubicBezTo>
                  <a:pt x="1240" y="3372"/>
                  <a:pt x="1861" y="3993"/>
                  <a:pt x="2608" y="3993"/>
                </a:cubicBezTo>
                <a:close/>
                <a:moveTo>
                  <a:pt x="2608" y="1400"/>
                </a:moveTo>
                <a:cubicBezTo>
                  <a:pt x="3292" y="1400"/>
                  <a:pt x="3833" y="1941"/>
                  <a:pt x="3833" y="2609"/>
                </a:cubicBezTo>
                <a:cubicBezTo>
                  <a:pt x="3833" y="2657"/>
                  <a:pt x="3865" y="2689"/>
                  <a:pt x="3912" y="2689"/>
                </a:cubicBezTo>
                <a:cubicBezTo>
                  <a:pt x="3960" y="2689"/>
                  <a:pt x="3992" y="2657"/>
                  <a:pt x="3992" y="2609"/>
                </a:cubicBezTo>
                <a:cubicBezTo>
                  <a:pt x="3992" y="1862"/>
                  <a:pt x="3372" y="1241"/>
                  <a:pt x="2608" y="1241"/>
                </a:cubicBezTo>
                <a:cubicBezTo>
                  <a:pt x="2576" y="1241"/>
                  <a:pt x="2529" y="1273"/>
                  <a:pt x="2529" y="1321"/>
                </a:cubicBezTo>
                <a:cubicBezTo>
                  <a:pt x="2529" y="1369"/>
                  <a:pt x="2576" y="1400"/>
                  <a:pt x="2608" y="1400"/>
                </a:cubicBezTo>
                <a:close/>
                <a:moveTo>
                  <a:pt x="2608" y="4661"/>
                </a:moveTo>
                <a:cubicBezTo>
                  <a:pt x="2656" y="4661"/>
                  <a:pt x="2688" y="4613"/>
                  <a:pt x="2688" y="4581"/>
                </a:cubicBezTo>
                <a:cubicBezTo>
                  <a:pt x="2688" y="4534"/>
                  <a:pt x="2656" y="4502"/>
                  <a:pt x="2608" y="4502"/>
                </a:cubicBezTo>
                <a:cubicBezTo>
                  <a:pt x="1574" y="4502"/>
                  <a:pt x="731" y="3659"/>
                  <a:pt x="731" y="2609"/>
                </a:cubicBezTo>
                <a:cubicBezTo>
                  <a:pt x="731" y="2577"/>
                  <a:pt x="700" y="2530"/>
                  <a:pt x="652" y="2530"/>
                </a:cubicBezTo>
                <a:cubicBezTo>
                  <a:pt x="604" y="2530"/>
                  <a:pt x="572" y="2577"/>
                  <a:pt x="572" y="2609"/>
                </a:cubicBezTo>
                <a:cubicBezTo>
                  <a:pt x="572" y="3738"/>
                  <a:pt x="1495" y="4661"/>
                  <a:pt x="2608" y="4661"/>
                </a:cubicBezTo>
                <a:close/>
                <a:moveTo>
                  <a:pt x="2608" y="732"/>
                </a:moveTo>
                <a:cubicBezTo>
                  <a:pt x="3658" y="732"/>
                  <a:pt x="4501" y="1575"/>
                  <a:pt x="4501" y="2609"/>
                </a:cubicBezTo>
                <a:cubicBezTo>
                  <a:pt x="4501" y="2657"/>
                  <a:pt x="4533" y="2689"/>
                  <a:pt x="4581" y="2689"/>
                </a:cubicBezTo>
                <a:cubicBezTo>
                  <a:pt x="4612" y="2689"/>
                  <a:pt x="4660" y="2657"/>
                  <a:pt x="4660" y="2609"/>
                </a:cubicBezTo>
                <a:cubicBezTo>
                  <a:pt x="4660" y="1496"/>
                  <a:pt x="3738" y="573"/>
                  <a:pt x="2608" y="573"/>
                </a:cubicBezTo>
                <a:cubicBezTo>
                  <a:pt x="2576" y="573"/>
                  <a:pt x="2529" y="605"/>
                  <a:pt x="2529" y="653"/>
                </a:cubicBezTo>
                <a:cubicBezTo>
                  <a:pt x="2529" y="700"/>
                  <a:pt x="2576" y="732"/>
                  <a:pt x="2608" y="73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2" name="Freeform: Shape 6">
            <a:extLst>
              <a:ext uri="{FF2B5EF4-FFF2-40B4-BE49-F238E27FC236}">
                <a16:creationId xmlns:a16="http://schemas.microsoft.com/office/drawing/2014/main" id="{B56A6B4F-E4CD-EE41-B437-7EBA811E386F}"/>
              </a:ext>
            </a:extLst>
          </p:cNvPr>
          <p:cNvSpPr/>
          <p:nvPr/>
        </p:nvSpPr>
        <p:spPr>
          <a:xfrm>
            <a:off x="21202380" y="3097837"/>
            <a:ext cx="1637280" cy="1866239"/>
          </a:xfrm>
          <a:custGeom>
            <a:avLst/>
            <a:gdLst/>
            <a:ahLst/>
            <a:cxnLst>
              <a:cxn ang="3cd4">
                <a:pos x="hc" y="t"/>
              </a:cxn>
              <a:cxn ang="cd2">
                <a:pos x="l" y="vc"/>
              </a:cxn>
              <a:cxn ang="cd4">
                <a:pos x="hc" y="b"/>
              </a:cxn>
              <a:cxn ang="0">
                <a:pos x="r" y="vc"/>
              </a:cxn>
            </a:cxnLst>
            <a:rect l="l" t="t" r="r" b="b"/>
            <a:pathLst>
              <a:path w="4549" h="5185">
                <a:moveTo>
                  <a:pt x="2306" y="0"/>
                </a:moveTo>
                <a:cubicBezTo>
                  <a:pt x="2259" y="0"/>
                  <a:pt x="2227" y="47"/>
                  <a:pt x="2227" y="79"/>
                </a:cubicBezTo>
                <a:cubicBezTo>
                  <a:pt x="2227" y="556"/>
                  <a:pt x="2227" y="556"/>
                  <a:pt x="2227" y="556"/>
                </a:cubicBezTo>
                <a:cubicBezTo>
                  <a:pt x="48" y="1527"/>
                  <a:pt x="48" y="1527"/>
                  <a:pt x="48" y="1527"/>
                </a:cubicBezTo>
                <a:cubicBezTo>
                  <a:pt x="32" y="1542"/>
                  <a:pt x="0" y="1558"/>
                  <a:pt x="0" y="1590"/>
                </a:cubicBezTo>
                <a:cubicBezTo>
                  <a:pt x="0" y="4040"/>
                  <a:pt x="0" y="4040"/>
                  <a:pt x="0" y="4040"/>
                </a:cubicBezTo>
                <a:cubicBezTo>
                  <a:pt x="0" y="4072"/>
                  <a:pt x="16" y="4087"/>
                  <a:pt x="48" y="4103"/>
                </a:cubicBezTo>
                <a:cubicBezTo>
                  <a:pt x="2290" y="5185"/>
                  <a:pt x="2290" y="5185"/>
                  <a:pt x="2290" y="5185"/>
                </a:cubicBezTo>
                <a:cubicBezTo>
                  <a:pt x="2290" y="5185"/>
                  <a:pt x="2306" y="5185"/>
                  <a:pt x="2322" y="5185"/>
                </a:cubicBezTo>
                <a:cubicBezTo>
                  <a:pt x="2338" y="5185"/>
                  <a:pt x="2338" y="5185"/>
                  <a:pt x="2354" y="5185"/>
                </a:cubicBezTo>
                <a:cubicBezTo>
                  <a:pt x="4501" y="4072"/>
                  <a:pt x="4501" y="4072"/>
                  <a:pt x="4501" y="4072"/>
                </a:cubicBezTo>
                <a:cubicBezTo>
                  <a:pt x="4533" y="4055"/>
                  <a:pt x="4549" y="4024"/>
                  <a:pt x="4549" y="4008"/>
                </a:cubicBezTo>
                <a:cubicBezTo>
                  <a:pt x="4549" y="1590"/>
                  <a:pt x="4549" y="1590"/>
                  <a:pt x="4549" y="1590"/>
                </a:cubicBezTo>
                <a:cubicBezTo>
                  <a:pt x="4549" y="1558"/>
                  <a:pt x="4533" y="1527"/>
                  <a:pt x="4501" y="1510"/>
                </a:cubicBezTo>
                <a:cubicBezTo>
                  <a:pt x="2386" y="540"/>
                  <a:pt x="2386" y="540"/>
                  <a:pt x="2386" y="540"/>
                </a:cubicBezTo>
                <a:cubicBezTo>
                  <a:pt x="2386" y="79"/>
                  <a:pt x="2386" y="79"/>
                  <a:pt x="2386" y="79"/>
                </a:cubicBezTo>
                <a:cubicBezTo>
                  <a:pt x="2386" y="47"/>
                  <a:pt x="2354" y="0"/>
                  <a:pt x="2306" y="0"/>
                </a:cubicBezTo>
                <a:close/>
                <a:moveTo>
                  <a:pt x="2243" y="4994"/>
                </a:moveTo>
                <a:cubicBezTo>
                  <a:pt x="159" y="3976"/>
                  <a:pt x="159" y="3976"/>
                  <a:pt x="159" y="3976"/>
                </a:cubicBezTo>
                <a:cubicBezTo>
                  <a:pt x="159" y="1654"/>
                  <a:pt x="159" y="1654"/>
                  <a:pt x="159" y="1654"/>
                </a:cubicBezTo>
                <a:cubicBezTo>
                  <a:pt x="191" y="1638"/>
                  <a:pt x="191" y="1638"/>
                  <a:pt x="191" y="1638"/>
                </a:cubicBezTo>
                <a:cubicBezTo>
                  <a:pt x="2243" y="2576"/>
                  <a:pt x="2243" y="2576"/>
                  <a:pt x="2243" y="2576"/>
                </a:cubicBezTo>
                <a:close/>
                <a:moveTo>
                  <a:pt x="4374" y="1622"/>
                </a:moveTo>
                <a:cubicBezTo>
                  <a:pt x="4390" y="1638"/>
                  <a:pt x="4390" y="1638"/>
                  <a:pt x="4390" y="1638"/>
                </a:cubicBezTo>
                <a:cubicBezTo>
                  <a:pt x="4390" y="3944"/>
                  <a:pt x="4390" y="3944"/>
                  <a:pt x="4390" y="3944"/>
                </a:cubicBezTo>
                <a:cubicBezTo>
                  <a:pt x="2402" y="4978"/>
                  <a:pt x="2402" y="4978"/>
                  <a:pt x="2402" y="4978"/>
                </a:cubicBezTo>
                <a:cubicBezTo>
                  <a:pt x="2402" y="2560"/>
                  <a:pt x="2402" y="2560"/>
                  <a:pt x="2402" y="2560"/>
                </a:cubicBezTo>
                <a:cubicBezTo>
                  <a:pt x="4358" y="1622"/>
                  <a:pt x="4358" y="1622"/>
                  <a:pt x="4358" y="1622"/>
                </a:cubicBezTo>
                <a:close/>
                <a:moveTo>
                  <a:pt x="4183" y="1542"/>
                </a:moveTo>
                <a:cubicBezTo>
                  <a:pt x="2290" y="2433"/>
                  <a:pt x="2290" y="2433"/>
                  <a:pt x="2290" y="2433"/>
                </a:cubicBezTo>
                <a:cubicBezTo>
                  <a:pt x="382" y="1558"/>
                  <a:pt x="382" y="1558"/>
                  <a:pt x="382" y="1558"/>
                </a:cubicBezTo>
                <a:cubicBezTo>
                  <a:pt x="2227" y="715"/>
                  <a:pt x="2227" y="715"/>
                  <a:pt x="2227" y="715"/>
                </a:cubicBezTo>
                <a:cubicBezTo>
                  <a:pt x="2227" y="1733"/>
                  <a:pt x="2227" y="1733"/>
                  <a:pt x="2227" y="1733"/>
                </a:cubicBezTo>
                <a:cubicBezTo>
                  <a:pt x="1702" y="1209"/>
                  <a:pt x="1702" y="1209"/>
                  <a:pt x="1702" y="1209"/>
                </a:cubicBezTo>
                <a:cubicBezTo>
                  <a:pt x="1670" y="1176"/>
                  <a:pt x="1623" y="1176"/>
                  <a:pt x="1591" y="1209"/>
                </a:cubicBezTo>
                <a:cubicBezTo>
                  <a:pt x="1559" y="1240"/>
                  <a:pt x="1559" y="1288"/>
                  <a:pt x="1591" y="1319"/>
                </a:cubicBezTo>
                <a:cubicBezTo>
                  <a:pt x="2243" y="1972"/>
                  <a:pt x="2243" y="1972"/>
                  <a:pt x="2243" y="1972"/>
                </a:cubicBezTo>
                <a:cubicBezTo>
                  <a:pt x="2259" y="1988"/>
                  <a:pt x="2259" y="1988"/>
                  <a:pt x="2259" y="1988"/>
                </a:cubicBezTo>
                <a:lnTo>
                  <a:pt x="2275" y="1988"/>
                </a:lnTo>
                <a:lnTo>
                  <a:pt x="2275" y="2004"/>
                </a:lnTo>
                <a:cubicBezTo>
                  <a:pt x="2290" y="2004"/>
                  <a:pt x="2290" y="2004"/>
                  <a:pt x="2290" y="2004"/>
                </a:cubicBezTo>
                <a:lnTo>
                  <a:pt x="2306" y="2004"/>
                </a:lnTo>
                <a:lnTo>
                  <a:pt x="2322" y="2004"/>
                </a:lnTo>
                <a:lnTo>
                  <a:pt x="2338" y="1988"/>
                </a:lnTo>
                <a:cubicBezTo>
                  <a:pt x="2354" y="1988"/>
                  <a:pt x="2354" y="1988"/>
                  <a:pt x="2354" y="1972"/>
                </a:cubicBezTo>
                <a:cubicBezTo>
                  <a:pt x="3022" y="1319"/>
                  <a:pt x="3022" y="1319"/>
                  <a:pt x="3022" y="1319"/>
                </a:cubicBezTo>
                <a:cubicBezTo>
                  <a:pt x="3038" y="1288"/>
                  <a:pt x="3038" y="1240"/>
                  <a:pt x="3022" y="1209"/>
                </a:cubicBezTo>
                <a:cubicBezTo>
                  <a:pt x="2990" y="1176"/>
                  <a:pt x="2927" y="1176"/>
                  <a:pt x="2895" y="1209"/>
                </a:cubicBezTo>
                <a:cubicBezTo>
                  <a:pt x="2386" y="1733"/>
                  <a:pt x="2386" y="1733"/>
                  <a:pt x="2386" y="1733"/>
                </a:cubicBezTo>
                <a:cubicBezTo>
                  <a:pt x="2386" y="715"/>
                  <a:pt x="2386" y="715"/>
                  <a:pt x="2386" y="71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7" name="Freeform: Shape 7">
            <a:extLst>
              <a:ext uri="{FF2B5EF4-FFF2-40B4-BE49-F238E27FC236}">
                <a16:creationId xmlns:a16="http://schemas.microsoft.com/office/drawing/2014/main" id="{4A842F44-D492-DC42-9725-28CDDBE4023C}"/>
              </a:ext>
            </a:extLst>
          </p:cNvPr>
          <p:cNvSpPr/>
          <p:nvPr/>
        </p:nvSpPr>
        <p:spPr>
          <a:xfrm>
            <a:off x="14151638" y="6327005"/>
            <a:ext cx="1262160" cy="1359360"/>
          </a:xfrm>
          <a:custGeom>
            <a:avLst/>
            <a:gdLst/>
            <a:ahLst/>
            <a:cxnLst>
              <a:cxn ang="3cd4">
                <a:pos x="hc" y="t"/>
              </a:cxn>
              <a:cxn ang="cd2">
                <a:pos x="l" y="vc"/>
              </a:cxn>
              <a:cxn ang="cd4">
                <a:pos x="hc" y="b"/>
              </a:cxn>
              <a:cxn ang="0">
                <a:pos x="r" y="vc"/>
              </a:cxn>
            </a:cxnLst>
            <a:rect l="l" t="t" r="r" b="b"/>
            <a:pathLst>
              <a:path w="3507" h="3777">
                <a:moveTo>
                  <a:pt x="1726" y="1120"/>
                </a:moveTo>
                <a:cubicBezTo>
                  <a:pt x="1344" y="1120"/>
                  <a:pt x="1042" y="1423"/>
                  <a:pt x="1042" y="1805"/>
                </a:cubicBezTo>
                <a:cubicBezTo>
                  <a:pt x="1042" y="2171"/>
                  <a:pt x="1344" y="2473"/>
                  <a:pt x="1726" y="2473"/>
                </a:cubicBezTo>
                <a:cubicBezTo>
                  <a:pt x="2108" y="2473"/>
                  <a:pt x="2410" y="2171"/>
                  <a:pt x="2410" y="1805"/>
                </a:cubicBezTo>
                <a:cubicBezTo>
                  <a:pt x="2410" y="1423"/>
                  <a:pt x="2108" y="1120"/>
                  <a:pt x="1726" y="1120"/>
                </a:cubicBezTo>
                <a:close/>
                <a:moveTo>
                  <a:pt x="1726" y="2314"/>
                </a:moveTo>
                <a:cubicBezTo>
                  <a:pt x="1440" y="2314"/>
                  <a:pt x="1201" y="2091"/>
                  <a:pt x="1201" y="1805"/>
                </a:cubicBezTo>
                <a:cubicBezTo>
                  <a:pt x="1201" y="1519"/>
                  <a:pt x="1440" y="1280"/>
                  <a:pt x="1726" y="1280"/>
                </a:cubicBezTo>
                <a:cubicBezTo>
                  <a:pt x="2013" y="1280"/>
                  <a:pt x="2251" y="1519"/>
                  <a:pt x="2251" y="1805"/>
                </a:cubicBezTo>
                <a:cubicBezTo>
                  <a:pt x="2251" y="2091"/>
                  <a:pt x="2013" y="2314"/>
                  <a:pt x="1726" y="2314"/>
                </a:cubicBezTo>
                <a:close/>
                <a:moveTo>
                  <a:pt x="2823" y="1280"/>
                </a:moveTo>
                <a:cubicBezTo>
                  <a:pt x="2840" y="1280"/>
                  <a:pt x="2871" y="1280"/>
                  <a:pt x="2871" y="1264"/>
                </a:cubicBezTo>
                <a:lnTo>
                  <a:pt x="3492" y="644"/>
                </a:lnTo>
                <a:cubicBezTo>
                  <a:pt x="3507" y="628"/>
                  <a:pt x="3507" y="611"/>
                  <a:pt x="3507" y="596"/>
                </a:cubicBezTo>
                <a:cubicBezTo>
                  <a:pt x="3507" y="564"/>
                  <a:pt x="3507" y="548"/>
                  <a:pt x="3492" y="532"/>
                </a:cubicBezTo>
                <a:lnTo>
                  <a:pt x="2983" y="23"/>
                </a:lnTo>
                <a:cubicBezTo>
                  <a:pt x="2951" y="-8"/>
                  <a:pt x="2903" y="-8"/>
                  <a:pt x="2871" y="23"/>
                </a:cubicBezTo>
                <a:lnTo>
                  <a:pt x="2251" y="628"/>
                </a:lnTo>
                <a:cubicBezTo>
                  <a:pt x="2219" y="659"/>
                  <a:pt x="2219" y="707"/>
                  <a:pt x="2251" y="739"/>
                </a:cubicBezTo>
                <a:lnTo>
                  <a:pt x="2760" y="1264"/>
                </a:lnTo>
                <a:cubicBezTo>
                  <a:pt x="2776" y="1280"/>
                  <a:pt x="2808" y="1280"/>
                  <a:pt x="2823" y="1280"/>
                </a:cubicBezTo>
                <a:close/>
                <a:moveTo>
                  <a:pt x="2919" y="182"/>
                </a:moveTo>
                <a:lnTo>
                  <a:pt x="3317" y="596"/>
                </a:lnTo>
                <a:lnTo>
                  <a:pt x="2823" y="1089"/>
                </a:lnTo>
                <a:lnTo>
                  <a:pt x="2426" y="691"/>
                </a:lnTo>
                <a:close/>
                <a:moveTo>
                  <a:pt x="24" y="755"/>
                </a:moveTo>
                <a:cubicBezTo>
                  <a:pt x="40" y="771"/>
                  <a:pt x="56" y="787"/>
                  <a:pt x="72" y="787"/>
                </a:cubicBezTo>
                <a:cubicBezTo>
                  <a:pt x="88" y="787"/>
                  <a:pt x="120" y="771"/>
                  <a:pt x="135" y="755"/>
                </a:cubicBezTo>
                <a:lnTo>
                  <a:pt x="708" y="182"/>
                </a:lnTo>
                <a:cubicBezTo>
                  <a:pt x="724" y="150"/>
                  <a:pt x="724" y="103"/>
                  <a:pt x="708" y="71"/>
                </a:cubicBezTo>
                <a:cubicBezTo>
                  <a:pt x="676" y="39"/>
                  <a:pt x="613" y="39"/>
                  <a:pt x="581" y="71"/>
                </a:cubicBezTo>
                <a:lnTo>
                  <a:pt x="24" y="644"/>
                </a:lnTo>
                <a:cubicBezTo>
                  <a:pt x="-8" y="675"/>
                  <a:pt x="-8" y="723"/>
                  <a:pt x="24" y="755"/>
                </a:cubicBezTo>
                <a:close/>
                <a:moveTo>
                  <a:pt x="1217" y="580"/>
                </a:moveTo>
                <a:cubicBezTo>
                  <a:pt x="1185" y="548"/>
                  <a:pt x="1138" y="548"/>
                  <a:pt x="1106" y="580"/>
                </a:cubicBezTo>
                <a:lnTo>
                  <a:pt x="533" y="1153"/>
                </a:lnTo>
                <a:cubicBezTo>
                  <a:pt x="501" y="1184"/>
                  <a:pt x="501" y="1232"/>
                  <a:pt x="533" y="1264"/>
                </a:cubicBezTo>
                <a:cubicBezTo>
                  <a:pt x="549" y="1280"/>
                  <a:pt x="565" y="1296"/>
                  <a:pt x="581" y="1296"/>
                </a:cubicBezTo>
                <a:cubicBezTo>
                  <a:pt x="613" y="1296"/>
                  <a:pt x="629" y="1280"/>
                  <a:pt x="644" y="1264"/>
                </a:cubicBezTo>
                <a:lnTo>
                  <a:pt x="1217" y="691"/>
                </a:lnTo>
                <a:cubicBezTo>
                  <a:pt x="1249" y="659"/>
                  <a:pt x="1249" y="611"/>
                  <a:pt x="1217" y="580"/>
                </a:cubicBezTo>
                <a:close/>
                <a:moveTo>
                  <a:pt x="2124" y="2902"/>
                </a:moveTo>
                <a:lnTo>
                  <a:pt x="1328" y="2902"/>
                </a:lnTo>
                <a:cubicBezTo>
                  <a:pt x="1281" y="2902"/>
                  <a:pt x="1249" y="2934"/>
                  <a:pt x="1249" y="2982"/>
                </a:cubicBezTo>
                <a:cubicBezTo>
                  <a:pt x="1249" y="3029"/>
                  <a:pt x="1281" y="3061"/>
                  <a:pt x="1328" y="3061"/>
                </a:cubicBezTo>
                <a:lnTo>
                  <a:pt x="2124" y="3061"/>
                </a:lnTo>
                <a:cubicBezTo>
                  <a:pt x="2171" y="3061"/>
                  <a:pt x="2203" y="3029"/>
                  <a:pt x="2203" y="2982"/>
                </a:cubicBezTo>
                <a:cubicBezTo>
                  <a:pt x="2203" y="2934"/>
                  <a:pt x="2171" y="2902"/>
                  <a:pt x="2124" y="2902"/>
                </a:cubicBezTo>
                <a:close/>
                <a:moveTo>
                  <a:pt x="2124" y="3618"/>
                </a:moveTo>
                <a:lnTo>
                  <a:pt x="1328" y="3618"/>
                </a:lnTo>
                <a:cubicBezTo>
                  <a:pt x="1281" y="3618"/>
                  <a:pt x="1249" y="3665"/>
                  <a:pt x="1249" y="3697"/>
                </a:cubicBezTo>
                <a:cubicBezTo>
                  <a:pt x="1249" y="3745"/>
                  <a:pt x="1281" y="3777"/>
                  <a:pt x="1328" y="3777"/>
                </a:cubicBezTo>
                <a:lnTo>
                  <a:pt x="2124" y="3777"/>
                </a:lnTo>
                <a:cubicBezTo>
                  <a:pt x="2171" y="3777"/>
                  <a:pt x="2203" y="3745"/>
                  <a:pt x="2203" y="3697"/>
                </a:cubicBezTo>
                <a:cubicBezTo>
                  <a:pt x="2203" y="3665"/>
                  <a:pt x="2171" y="3618"/>
                  <a:pt x="2124" y="361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8" name="Freeform: Shape 8">
            <a:extLst>
              <a:ext uri="{FF2B5EF4-FFF2-40B4-BE49-F238E27FC236}">
                <a16:creationId xmlns:a16="http://schemas.microsoft.com/office/drawing/2014/main" id="{87566890-EA0B-224C-8606-C227ED5B9EC0}"/>
              </a:ext>
            </a:extLst>
          </p:cNvPr>
          <p:cNvSpPr/>
          <p:nvPr/>
        </p:nvSpPr>
        <p:spPr>
          <a:xfrm>
            <a:off x="6611439" y="3166596"/>
            <a:ext cx="635040" cy="1917719"/>
          </a:xfrm>
          <a:custGeom>
            <a:avLst/>
            <a:gdLst/>
            <a:ahLst/>
            <a:cxnLst>
              <a:cxn ang="3cd4">
                <a:pos x="hc" y="t"/>
              </a:cxn>
              <a:cxn ang="cd2">
                <a:pos x="l" y="vc"/>
              </a:cxn>
              <a:cxn ang="cd4">
                <a:pos x="hc" y="b"/>
              </a:cxn>
              <a:cxn ang="0">
                <a:pos x="r" y="vc"/>
              </a:cxn>
            </a:cxnLst>
            <a:rect l="l" t="t" r="r" b="b"/>
            <a:pathLst>
              <a:path w="1765" h="5328">
                <a:moveTo>
                  <a:pt x="890" y="4851"/>
                </a:moveTo>
                <a:cubicBezTo>
                  <a:pt x="1049" y="4851"/>
                  <a:pt x="1176" y="4723"/>
                  <a:pt x="1176" y="4564"/>
                </a:cubicBezTo>
                <a:cubicBezTo>
                  <a:pt x="1176" y="4405"/>
                  <a:pt x="1049" y="4278"/>
                  <a:pt x="890" y="4278"/>
                </a:cubicBezTo>
                <a:cubicBezTo>
                  <a:pt x="731" y="4278"/>
                  <a:pt x="604" y="4405"/>
                  <a:pt x="604" y="4564"/>
                </a:cubicBezTo>
                <a:cubicBezTo>
                  <a:pt x="604" y="4723"/>
                  <a:pt x="731" y="4851"/>
                  <a:pt x="890" y="4851"/>
                </a:cubicBezTo>
                <a:close/>
                <a:moveTo>
                  <a:pt x="890" y="4437"/>
                </a:moveTo>
                <a:cubicBezTo>
                  <a:pt x="954" y="4437"/>
                  <a:pt x="1018" y="4485"/>
                  <a:pt x="1018" y="4564"/>
                </a:cubicBezTo>
                <a:cubicBezTo>
                  <a:pt x="1018" y="4628"/>
                  <a:pt x="954" y="4691"/>
                  <a:pt x="890" y="4691"/>
                </a:cubicBezTo>
                <a:cubicBezTo>
                  <a:pt x="811" y="4691"/>
                  <a:pt x="763" y="4628"/>
                  <a:pt x="763" y="4564"/>
                </a:cubicBezTo>
                <a:cubicBezTo>
                  <a:pt x="763" y="4485"/>
                  <a:pt x="811" y="4437"/>
                  <a:pt x="890" y="4437"/>
                </a:cubicBezTo>
                <a:close/>
                <a:moveTo>
                  <a:pt x="191" y="5328"/>
                </a:moveTo>
                <a:lnTo>
                  <a:pt x="1574" y="5328"/>
                </a:lnTo>
                <a:cubicBezTo>
                  <a:pt x="1685" y="5328"/>
                  <a:pt x="1765" y="5248"/>
                  <a:pt x="1765" y="5137"/>
                </a:cubicBezTo>
                <a:lnTo>
                  <a:pt x="1765" y="190"/>
                </a:lnTo>
                <a:cubicBezTo>
                  <a:pt x="1765" y="95"/>
                  <a:pt x="1685" y="0"/>
                  <a:pt x="1574" y="0"/>
                </a:cubicBezTo>
                <a:lnTo>
                  <a:pt x="191" y="0"/>
                </a:lnTo>
                <a:cubicBezTo>
                  <a:pt x="95" y="0"/>
                  <a:pt x="0" y="95"/>
                  <a:pt x="0" y="190"/>
                </a:cubicBezTo>
                <a:lnTo>
                  <a:pt x="0" y="5137"/>
                </a:lnTo>
                <a:cubicBezTo>
                  <a:pt x="0" y="5248"/>
                  <a:pt x="95" y="5328"/>
                  <a:pt x="191" y="5328"/>
                </a:cubicBezTo>
                <a:close/>
                <a:moveTo>
                  <a:pt x="159" y="190"/>
                </a:moveTo>
                <a:cubicBezTo>
                  <a:pt x="159" y="174"/>
                  <a:pt x="174" y="158"/>
                  <a:pt x="191" y="158"/>
                </a:cubicBezTo>
                <a:lnTo>
                  <a:pt x="1574" y="158"/>
                </a:lnTo>
                <a:cubicBezTo>
                  <a:pt x="1590" y="158"/>
                  <a:pt x="1606" y="174"/>
                  <a:pt x="1606" y="190"/>
                </a:cubicBezTo>
                <a:lnTo>
                  <a:pt x="1606" y="5137"/>
                </a:lnTo>
                <a:cubicBezTo>
                  <a:pt x="1606" y="5153"/>
                  <a:pt x="1590" y="5169"/>
                  <a:pt x="1574" y="5169"/>
                </a:cubicBezTo>
                <a:lnTo>
                  <a:pt x="191" y="5169"/>
                </a:lnTo>
                <a:cubicBezTo>
                  <a:pt x="174" y="5169"/>
                  <a:pt x="159" y="5153"/>
                  <a:pt x="159" y="513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9" name="Freeform: Shape 9">
            <a:extLst>
              <a:ext uri="{FF2B5EF4-FFF2-40B4-BE49-F238E27FC236}">
                <a16:creationId xmlns:a16="http://schemas.microsoft.com/office/drawing/2014/main" id="{08009379-E66C-1E4F-BCDF-84A558F62025}"/>
              </a:ext>
            </a:extLst>
          </p:cNvPr>
          <p:cNvSpPr/>
          <p:nvPr/>
        </p:nvSpPr>
        <p:spPr>
          <a:xfrm>
            <a:off x="9882399" y="3137797"/>
            <a:ext cx="1943280" cy="1717200"/>
          </a:xfrm>
          <a:custGeom>
            <a:avLst/>
            <a:gdLst/>
            <a:ahLst/>
            <a:cxnLst>
              <a:cxn ang="3cd4">
                <a:pos x="hc" y="t"/>
              </a:cxn>
              <a:cxn ang="cd2">
                <a:pos x="l" y="vc"/>
              </a:cxn>
              <a:cxn ang="cd4">
                <a:pos x="hc" y="b"/>
              </a:cxn>
              <a:cxn ang="0">
                <a:pos x="r" y="vc"/>
              </a:cxn>
            </a:cxnLst>
            <a:rect l="l" t="t" r="r" b="b"/>
            <a:pathLst>
              <a:path w="5399" h="4771">
                <a:moveTo>
                  <a:pt x="5335" y="620"/>
                </a:moveTo>
                <a:cubicBezTo>
                  <a:pt x="3490" y="0"/>
                  <a:pt x="3490" y="0"/>
                  <a:pt x="3490" y="0"/>
                </a:cubicBezTo>
                <a:cubicBezTo>
                  <a:pt x="3474" y="0"/>
                  <a:pt x="3442" y="0"/>
                  <a:pt x="3411" y="16"/>
                </a:cubicBezTo>
                <a:cubicBezTo>
                  <a:pt x="2695" y="652"/>
                  <a:pt x="2695" y="652"/>
                  <a:pt x="2695" y="652"/>
                </a:cubicBezTo>
                <a:cubicBezTo>
                  <a:pt x="1979" y="16"/>
                  <a:pt x="1979" y="16"/>
                  <a:pt x="1979" y="16"/>
                </a:cubicBezTo>
                <a:cubicBezTo>
                  <a:pt x="1963" y="0"/>
                  <a:pt x="1932" y="0"/>
                  <a:pt x="1899" y="0"/>
                </a:cubicBezTo>
                <a:cubicBezTo>
                  <a:pt x="54" y="620"/>
                  <a:pt x="54" y="620"/>
                  <a:pt x="54" y="620"/>
                </a:cubicBezTo>
                <a:cubicBezTo>
                  <a:pt x="23" y="620"/>
                  <a:pt x="7" y="652"/>
                  <a:pt x="7" y="668"/>
                </a:cubicBezTo>
                <a:cubicBezTo>
                  <a:pt x="-9" y="700"/>
                  <a:pt x="7" y="732"/>
                  <a:pt x="23" y="747"/>
                </a:cubicBezTo>
                <a:cubicBezTo>
                  <a:pt x="706" y="1368"/>
                  <a:pt x="706" y="1368"/>
                  <a:pt x="706" y="1368"/>
                </a:cubicBezTo>
                <a:cubicBezTo>
                  <a:pt x="166" y="1845"/>
                  <a:pt x="166" y="1845"/>
                  <a:pt x="166" y="1845"/>
                </a:cubicBezTo>
                <a:cubicBezTo>
                  <a:pt x="134" y="1861"/>
                  <a:pt x="134" y="1893"/>
                  <a:pt x="134" y="1925"/>
                </a:cubicBezTo>
                <a:cubicBezTo>
                  <a:pt x="134" y="1956"/>
                  <a:pt x="166" y="1972"/>
                  <a:pt x="182" y="1988"/>
                </a:cubicBezTo>
                <a:cubicBezTo>
                  <a:pt x="738" y="2179"/>
                  <a:pt x="738" y="2179"/>
                  <a:pt x="738" y="2179"/>
                </a:cubicBezTo>
                <a:cubicBezTo>
                  <a:pt x="738" y="4088"/>
                  <a:pt x="738" y="4088"/>
                  <a:pt x="738" y="4088"/>
                </a:cubicBezTo>
                <a:cubicBezTo>
                  <a:pt x="738" y="4119"/>
                  <a:pt x="770" y="4151"/>
                  <a:pt x="802" y="4167"/>
                </a:cubicBezTo>
                <a:cubicBezTo>
                  <a:pt x="2679" y="4756"/>
                  <a:pt x="2679" y="4756"/>
                  <a:pt x="2679" y="4756"/>
                </a:cubicBezTo>
                <a:cubicBezTo>
                  <a:pt x="2695" y="4771"/>
                  <a:pt x="2695" y="4771"/>
                  <a:pt x="2695" y="4771"/>
                </a:cubicBezTo>
                <a:cubicBezTo>
                  <a:pt x="2695" y="4771"/>
                  <a:pt x="2711" y="4771"/>
                  <a:pt x="2711" y="4756"/>
                </a:cubicBezTo>
                <a:lnTo>
                  <a:pt x="2727" y="4756"/>
                </a:lnTo>
                <a:cubicBezTo>
                  <a:pt x="4587" y="4167"/>
                  <a:pt x="4587" y="4167"/>
                  <a:pt x="4587" y="4167"/>
                </a:cubicBezTo>
                <a:cubicBezTo>
                  <a:pt x="4635" y="4151"/>
                  <a:pt x="4651" y="4119"/>
                  <a:pt x="4651" y="4088"/>
                </a:cubicBezTo>
                <a:cubicBezTo>
                  <a:pt x="4651" y="2179"/>
                  <a:pt x="4651" y="2179"/>
                  <a:pt x="4651" y="2179"/>
                </a:cubicBezTo>
                <a:cubicBezTo>
                  <a:pt x="5208" y="1988"/>
                  <a:pt x="5208" y="1988"/>
                  <a:pt x="5208" y="1988"/>
                </a:cubicBezTo>
                <a:cubicBezTo>
                  <a:pt x="5240" y="1972"/>
                  <a:pt x="5256" y="1956"/>
                  <a:pt x="5256" y="1925"/>
                </a:cubicBezTo>
                <a:cubicBezTo>
                  <a:pt x="5271" y="1893"/>
                  <a:pt x="5256" y="1861"/>
                  <a:pt x="5240" y="1845"/>
                </a:cubicBezTo>
                <a:cubicBezTo>
                  <a:pt x="4683" y="1368"/>
                  <a:pt x="4683" y="1368"/>
                  <a:pt x="4683" y="1368"/>
                </a:cubicBezTo>
                <a:cubicBezTo>
                  <a:pt x="5367" y="747"/>
                  <a:pt x="5367" y="747"/>
                  <a:pt x="5367" y="747"/>
                </a:cubicBezTo>
                <a:cubicBezTo>
                  <a:pt x="5383" y="732"/>
                  <a:pt x="5399" y="700"/>
                  <a:pt x="5399" y="668"/>
                </a:cubicBezTo>
                <a:cubicBezTo>
                  <a:pt x="5383" y="652"/>
                  <a:pt x="5367" y="620"/>
                  <a:pt x="5335" y="620"/>
                </a:cubicBezTo>
                <a:close/>
                <a:moveTo>
                  <a:pt x="229" y="732"/>
                </a:moveTo>
                <a:cubicBezTo>
                  <a:pt x="1899" y="159"/>
                  <a:pt x="1899" y="159"/>
                  <a:pt x="1899" y="159"/>
                </a:cubicBezTo>
                <a:cubicBezTo>
                  <a:pt x="2536" y="716"/>
                  <a:pt x="2536" y="716"/>
                  <a:pt x="2536" y="716"/>
                </a:cubicBezTo>
                <a:cubicBezTo>
                  <a:pt x="850" y="1288"/>
                  <a:pt x="850" y="1288"/>
                  <a:pt x="850" y="1288"/>
                </a:cubicBezTo>
                <a:close/>
                <a:moveTo>
                  <a:pt x="373" y="1877"/>
                </a:moveTo>
                <a:cubicBezTo>
                  <a:pt x="834" y="1463"/>
                  <a:pt x="834" y="1463"/>
                  <a:pt x="834" y="1463"/>
                </a:cubicBezTo>
                <a:cubicBezTo>
                  <a:pt x="1072" y="1543"/>
                  <a:pt x="1072" y="1543"/>
                  <a:pt x="1072" y="1543"/>
                </a:cubicBezTo>
                <a:cubicBezTo>
                  <a:pt x="2536" y="2020"/>
                  <a:pt x="2536" y="2020"/>
                  <a:pt x="2536" y="2020"/>
                </a:cubicBezTo>
                <a:cubicBezTo>
                  <a:pt x="2042" y="2449"/>
                  <a:pt x="2042" y="2449"/>
                  <a:pt x="2042" y="2449"/>
                </a:cubicBezTo>
                <a:close/>
                <a:moveTo>
                  <a:pt x="2615" y="4581"/>
                </a:moveTo>
                <a:cubicBezTo>
                  <a:pt x="897" y="4024"/>
                  <a:pt x="897" y="4024"/>
                  <a:pt x="897" y="4024"/>
                </a:cubicBezTo>
                <a:cubicBezTo>
                  <a:pt x="897" y="2226"/>
                  <a:pt x="897" y="2226"/>
                  <a:pt x="897" y="2226"/>
                </a:cubicBezTo>
                <a:cubicBezTo>
                  <a:pt x="2027" y="2624"/>
                  <a:pt x="2027" y="2624"/>
                  <a:pt x="2027" y="2624"/>
                </a:cubicBezTo>
                <a:cubicBezTo>
                  <a:pt x="2042" y="2624"/>
                  <a:pt x="2042" y="2624"/>
                  <a:pt x="2059" y="2624"/>
                </a:cubicBezTo>
                <a:cubicBezTo>
                  <a:pt x="2075" y="2624"/>
                  <a:pt x="2090" y="2624"/>
                  <a:pt x="2106" y="2608"/>
                </a:cubicBezTo>
                <a:cubicBezTo>
                  <a:pt x="2615" y="2163"/>
                  <a:pt x="2615" y="2163"/>
                  <a:pt x="2615" y="2163"/>
                </a:cubicBezTo>
                <a:close/>
                <a:moveTo>
                  <a:pt x="2695" y="1893"/>
                </a:moveTo>
                <a:cubicBezTo>
                  <a:pt x="1136" y="1399"/>
                  <a:pt x="1136" y="1399"/>
                  <a:pt x="1136" y="1399"/>
                </a:cubicBezTo>
                <a:cubicBezTo>
                  <a:pt x="1072" y="1368"/>
                  <a:pt x="1072" y="1368"/>
                  <a:pt x="1072" y="1368"/>
                </a:cubicBezTo>
                <a:cubicBezTo>
                  <a:pt x="2695" y="843"/>
                  <a:pt x="2695" y="843"/>
                  <a:pt x="2695" y="843"/>
                </a:cubicBezTo>
                <a:cubicBezTo>
                  <a:pt x="4317" y="1368"/>
                  <a:pt x="4317" y="1368"/>
                  <a:pt x="4317" y="1368"/>
                </a:cubicBezTo>
                <a:cubicBezTo>
                  <a:pt x="4269" y="1399"/>
                  <a:pt x="4269" y="1399"/>
                  <a:pt x="4269" y="1399"/>
                </a:cubicBezTo>
                <a:close/>
                <a:moveTo>
                  <a:pt x="4492" y="4024"/>
                </a:moveTo>
                <a:cubicBezTo>
                  <a:pt x="2774" y="4581"/>
                  <a:pt x="2774" y="4581"/>
                  <a:pt x="2774" y="4581"/>
                </a:cubicBezTo>
                <a:cubicBezTo>
                  <a:pt x="2774" y="2163"/>
                  <a:pt x="2774" y="2163"/>
                  <a:pt x="2774" y="2163"/>
                </a:cubicBezTo>
                <a:cubicBezTo>
                  <a:pt x="3283" y="2608"/>
                  <a:pt x="3283" y="2608"/>
                  <a:pt x="3283" y="2608"/>
                </a:cubicBezTo>
                <a:cubicBezTo>
                  <a:pt x="3299" y="2624"/>
                  <a:pt x="3315" y="2624"/>
                  <a:pt x="3331" y="2624"/>
                </a:cubicBezTo>
                <a:cubicBezTo>
                  <a:pt x="3347" y="2624"/>
                  <a:pt x="3363" y="2624"/>
                  <a:pt x="3363" y="2624"/>
                </a:cubicBezTo>
                <a:cubicBezTo>
                  <a:pt x="4492" y="2226"/>
                  <a:pt x="4492" y="2226"/>
                  <a:pt x="4492" y="2226"/>
                </a:cubicBezTo>
                <a:close/>
                <a:moveTo>
                  <a:pt x="5033" y="1877"/>
                </a:moveTo>
                <a:cubicBezTo>
                  <a:pt x="3363" y="2449"/>
                  <a:pt x="3363" y="2449"/>
                  <a:pt x="3363" y="2449"/>
                </a:cubicBezTo>
                <a:cubicBezTo>
                  <a:pt x="2854" y="2020"/>
                  <a:pt x="2854" y="2020"/>
                  <a:pt x="2854" y="2020"/>
                </a:cubicBezTo>
                <a:cubicBezTo>
                  <a:pt x="4317" y="1543"/>
                  <a:pt x="4317" y="1543"/>
                  <a:pt x="4317" y="1543"/>
                </a:cubicBezTo>
                <a:cubicBezTo>
                  <a:pt x="4556" y="1463"/>
                  <a:pt x="4556" y="1463"/>
                  <a:pt x="4556" y="1463"/>
                </a:cubicBezTo>
                <a:close/>
                <a:moveTo>
                  <a:pt x="4556" y="1288"/>
                </a:moveTo>
                <a:cubicBezTo>
                  <a:pt x="2854" y="716"/>
                  <a:pt x="2854" y="716"/>
                  <a:pt x="2854" y="716"/>
                </a:cubicBezTo>
                <a:cubicBezTo>
                  <a:pt x="3490" y="159"/>
                  <a:pt x="3490" y="159"/>
                  <a:pt x="3490" y="159"/>
                </a:cubicBezTo>
                <a:cubicBezTo>
                  <a:pt x="5160" y="732"/>
                  <a:pt x="5160" y="732"/>
                  <a:pt x="5160" y="73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0" name="Freeform: Shape 10">
            <a:extLst>
              <a:ext uri="{FF2B5EF4-FFF2-40B4-BE49-F238E27FC236}">
                <a16:creationId xmlns:a16="http://schemas.microsoft.com/office/drawing/2014/main" id="{559BFD55-7835-204B-B6D1-908EC52DB943}"/>
              </a:ext>
            </a:extLst>
          </p:cNvPr>
          <p:cNvSpPr/>
          <p:nvPr/>
        </p:nvSpPr>
        <p:spPr>
          <a:xfrm>
            <a:off x="9939721" y="10085953"/>
            <a:ext cx="1717560" cy="1139400"/>
          </a:xfrm>
          <a:custGeom>
            <a:avLst/>
            <a:gdLst/>
            <a:ahLst/>
            <a:cxnLst>
              <a:cxn ang="3cd4">
                <a:pos x="hc" y="t"/>
              </a:cxn>
              <a:cxn ang="cd2">
                <a:pos x="l" y="vc"/>
              </a:cxn>
              <a:cxn ang="cd4">
                <a:pos x="hc" y="b"/>
              </a:cxn>
              <a:cxn ang="0">
                <a:pos x="r" y="vc"/>
              </a:cxn>
            </a:cxnLst>
            <a:rect l="l" t="t" r="r" b="b"/>
            <a:pathLst>
              <a:path w="4772" h="3166">
                <a:moveTo>
                  <a:pt x="4709" y="1988"/>
                </a:moveTo>
                <a:lnTo>
                  <a:pt x="4709" y="1973"/>
                </a:lnTo>
                <a:lnTo>
                  <a:pt x="4693" y="1957"/>
                </a:lnTo>
                <a:lnTo>
                  <a:pt x="3802" y="32"/>
                </a:lnTo>
                <a:cubicBezTo>
                  <a:pt x="3786" y="16"/>
                  <a:pt x="3771" y="0"/>
                  <a:pt x="3738" y="0"/>
                </a:cubicBezTo>
                <a:lnTo>
                  <a:pt x="955" y="0"/>
                </a:lnTo>
                <a:cubicBezTo>
                  <a:pt x="923" y="0"/>
                  <a:pt x="891" y="16"/>
                  <a:pt x="875" y="48"/>
                </a:cubicBezTo>
                <a:lnTo>
                  <a:pt x="160" y="1830"/>
                </a:lnTo>
                <a:cubicBezTo>
                  <a:pt x="64" y="1941"/>
                  <a:pt x="0" y="2100"/>
                  <a:pt x="0" y="2259"/>
                </a:cubicBezTo>
                <a:lnTo>
                  <a:pt x="0" y="2497"/>
                </a:lnTo>
                <a:cubicBezTo>
                  <a:pt x="0" y="2863"/>
                  <a:pt x="303" y="3166"/>
                  <a:pt x="685" y="3166"/>
                </a:cubicBezTo>
                <a:lnTo>
                  <a:pt x="4089" y="3166"/>
                </a:lnTo>
                <a:cubicBezTo>
                  <a:pt x="4470" y="3166"/>
                  <a:pt x="4772" y="2863"/>
                  <a:pt x="4772" y="2497"/>
                </a:cubicBezTo>
                <a:lnTo>
                  <a:pt x="4772" y="2259"/>
                </a:lnTo>
                <a:cubicBezTo>
                  <a:pt x="4772" y="2164"/>
                  <a:pt x="4756" y="2068"/>
                  <a:pt x="4709" y="1988"/>
                </a:cubicBezTo>
                <a:close/>
                <a:moveTo>
                  <a:pt x="1003" y="160"/>
                </a:moveTo>
                <a:lnTo>
                  <a:pt x="3691" y="160"/>
                </a:lnTo>
                <a:lnTo>
                  <a:pt x="4375" y="1639"/>
                </a:lnTo>
                <a:cubicBezTo>
                  <a:pt x="4295" y="1607"/>
                  <a:pt x="4200" y="1575"/>
                  <a:pt x="4089" y="1575"/>
                </a:cubicBezTo>
                <a:lnTo>
                  <a:pt x="685" y="1575"/>
                </a:lnTo>
                <a:cubicBezTo>
                  <a:pt x="589" y="1575"/>
                  <a:pt x="494" y="1607"/>
                  <a:pt x="398" y="1639"/>
                </a:cubicBezTo>
                <a:close/>
                <a:moveTo>
                  <a:pt x="4613" y="2497"/>
                </a:moveTo>
                <a:cubicBezTo>
                  <a:pt x="4613" y="2784"/>
                  <a:pt x="4375" y="3006"/>
                  <a:pt x="4089" y="3006"/>
                </a:cubicBezTo>
                <a:lnTo>
                  <a:pt x="685" y="3006"/>
                </a:lnTo>
                <a:cubicBezTo>
                  <a:pt x="398" y="3006"/>
                  <a:pt x="160" y="2784"/>
                  <a:pt x="160" y="2497"/>
                </a:cubicBezTo>
                <a:lnTo>
                  <a:pt x="160" y="2259"/>
                </a:lnTo>
                <a:cubicBezTo>
                  <a:pt x="160" y="1973"/>
                  <a:pt x="398" y="1734"/>
                  <a:pt x="685" y="1734"/>
                </a:cubicBezTo>
                <a:lnTo>
                  <a:pt x="4089" y="1734"/>
                </a:lnTo>
                <a:cubicBezTo>
                  <a:pt x="4375" y="1734"/>
                  <a:pt x="4613" y="1973"/>
                  <a:pt x="4613" y="2259"/>
                </a:cubicBezTo>
                <a:close/>
                <a:moveTo>
                  <a:pt x="955" y="2370"/>
                </a:moveTo>
                <a:lnTo>
                  <a:pt x="478" y="2370"/>
                </a:lnTo>
                <a:cubicBezTo>
                  <a:pt x="430" y="2370"/>
                  <a:pt x="398" y="2418"/>
                  <a:pt x="398" y="2450"/>
                </a:cubicBezTo>
                <a:cubicBezTo>
                  <a:pt x="398" y="2497"/>
                  <a:pt x="430" y="2530"/>
                  <a:pt x="478" y="2530"/>
                </a:cubicBezTo>
                <a:lnTo>
                  <a:pt x="955" y="2530"/>
                </a:lnTo>
                <a:cubicBezTo>
                  <a:pt x="1003" y="2530"/>
                  <a:pt x="1035" y="2497"/>
                  <a:pt x="1035" y="2450"/>
                </a:cubicBezTo>
                <a:cubicBezTo>
                  <a:pt x="1035" y="2418"/>
                  <a:pt x="1003" y="2370"/>
                  <a:pt x="955" y="2370"/>
                </a:cubicBezTo>
                <a:close/>
                <a:moveTo>
                  <a:pt x="1750" y="2370"/>
                </a:moveTo>
                <a:lnTo>
                  <a:pt x="1273" y="2370"/>
                </a:lnTo>
                <a:cubicBezTo>
                  <a:pt x="1226" y="2370"/>
                  <a:pt x="1194" y="2418"/>
                  <a:pt x="1194" y="2450"/>
                </a:cubicBezTo>
                <a:cubicBezTo>
                  <a:pt x="1194" y="2497"/>
                  <a:pt x="1226" y="2530"/>
                  <a:pt x="1273" y="2530"/>
                </a:cubicBezTo>
                <a:lnTo>
                  <a:pt x="1750" y="2530"/>
                </a:lnTo>
                <a:cubicBezTo>
                  <a:pt x="1798" y="2530"/>
                  <a:pt x="1830" y="2497"/>
                  <a:pt x="1830" y="2450"/>
                </a:cubicBezTo>
                <a:cubicBezTo>
                  <a:pt x="1830" y="2418"/>
                  <a:pt x="1798" y="2370"/>
                  <a:pt x="1750" y="2370"/>
                </a:cubicBezTo>
                <a:close/>
                <a:moveTo>
                  <a:pt x="2545" y="2370"/>
                </a:moveTo>
                <a:lnTo>
                  <a:pt x="2068" y="2370"/>
                </a:lnTo>
                <a:cubicBezTo>
                  <a:pt x="2021" y="2370"/>
                  <a:pt x="1989" y="2418"/>
                  <a:pt x="1989" y="2450"/>
                </a:cubicBezTo>
                <a:cubicBezTo>
                  <a:pt x="1989" y="2497"/>
                  <a:pt x="2021" y="2530"/>
                  <a:pt x="2068" y="2530"/>
                </a:cubicBezTo>
                <a:lnTo>
                  <a:pt x="2545" y="2530"/>
                </a:lnTo>
                <a:cubicBezTo>
                  <a:pt x="2593" y="2530"/>
                  <a:pt x="2625" y="2497"/>
                  <a:pt x="2625" y="2450"/>
                </a:cubicBezTo>
                <a:cubicBezTo>
                  <a:pt x="2625" y="2418"/>
                  <a:pt x="2593" y="2370"/>
                  <a:pt x="2545" y="2370"/>
                </a:cubicBezTo>
                <a:close/>
                <a:moveTo>
                  <a:pt x="3341" y="2370"/>
                </a:moveTo>
                <a:lnTo>
                  <a:pt x="2864" y="2370"/>
                </a:lnTo>
                <a:cubicBezTo>
                  <a:pt x="2816" y="2370"/>
                  <a:pt x="2784" y="2418"/>
                  <a:pt x="2784" y="2450"/>
                </a:cubicBezTo>
                <a:cubicBezTo>
                  <a:pt x="2784" y="2497"/>
                  <a:pt x="2816" y="2530"/>
                  <a:pt x="2864" y="2530"/>
                </a:cubicBezTo>
                <a:lnTo>
                  <a:pt x="3341" y="2530"/>
                </a:lnTo>
                <a:cubicBezTo>
                  <a:pt x="3389" y="2530"/>
                  <a:pt x="3420" y="2497"/>
                  <a:pt x="3420" y="2450"/>
                </a:cubicBezTo>
                <a:cubicBezTo>
                  <a:pt x="3420" y="2418"/>
                  <a:pt x="3389" y="2370"/>
                  <a:pt x="3341" y="2370"/>
                </a:cubicBezTo>
                <a:close/>
                <a:moveTo>
                  <a:pt x="4136" y="2370"/>
                </a:moveTo>
                <a:lnTo>
                  <a:pt x="3659" y="2370"/>
                </a:lnTo>
                <a:cubicBezTo>
                  <a:pt x="3611" y="2370"/>
                  <a:pt x="3580" y="2418"/>
                  <a:pt x="3580" y="2450"/>
                </a:cubicBezTo>
                <a:cubicBezTo>
                  <a:pt x="3580" y="2497"/>
                  <a:pt x="3611" y="2530"/>
                  <a:pt x="3659" y="2530"/>
                </a:cubicBezTo>
                <a:lnTo>
                  <a:pt x="4136" y="2530"/>
                </a:lnTo>
                <a:cubicBezTo>
                  <a:pt x="4184" y="2530"/>
                  <a:pt x="4216" y="2497"/>
                  <a:pt x="4216" y="2450"/>
                </a:cubicBezTo>
                <a:cubicBezTo>
                  <a:pt x="4216" y="2418"/>
                  <a:pt x="4184" y="2370"/>
                  <a:pt x="4136" y="237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1" name="Freeform: Shape 11">
            <a:extLst>
              <a:ext uri="{FF2B5EF4-FFF2-40B4-BE49-F238E27FC236}">
                <a16:creationId xmlns:a16="http://schemas.microsoft.com/office/drawing/2014/main" id="{0E65772E-C8BF-5243-8A0D-4C14B7743A4D}"/>
              </a:ext>
            </a:extLst>
          </p:cNvPr>
          <p:cNvSpPr/>
          <p:nvPr/>
        </p:nvSpPr>
        <p:spPr>
          <a:xfrm>
            <a:off x="5825046" y="9799753"/>
            <a:ext cx="1717200" cy="1711800"/>
          </a:xfrm>
          <a:custGeom>
            <a:avLst/>
            <a:gdLst/>
            <a:ahLst/>
            <a:cxnLst>
              <a:cxn ang="3cd4">
                <a:pos x="hc" y="t"/>
              </a:cxn>
              <a:cxn ang="cd2">
                <a:pos x="l" y="vc"/>
              </a:cxn>
              <a:cxn ang="cd4">
                <a:pos x="hc" y="b"/>
              </a:cxn>
              <a:cxn ang="0">
                <a:pos x="r" y="vc"/>
              </a:cxn>
            </a:cxnLst>
            <a:rect l="l" t="t" r="r" b="b"/>
            <a:pathLst>
              <a:path w="4771" h="4756">
                <a:moveTo>
                  <a:pt x="906" y="446"/>
                </a:moveTo>
                <a:cubicBezTo>
                  <a:pt x="747" y="446"/>
                  <a:pt x="636" y="573"/>
                  <a:pt x="636" y="732"/>
                </a:cubicBezTo>
                <a:cubicBezTo>
                  <a:pt x="636" y="875"/>
                  <a:pt x="747" y="1002"/>
                  <a:pt x="906" y="1002"/>
                </a:cubicBezTo>
                <a:cubicBezTo>
                  <a:pt x="1065" y="1002"/>
                  <a:pt x="1176" y="875"/>
                  <a:pt x="1176" y="732"/>
                </a:cubicBezTo>
                <a:cubicBezTo>
                  <a:pt x="1176" y="573"/>
                  <a:pt x="1065" y="446"/>
                  <a:pt x="906" y="446"/>
                </a:cubicBezTo>
                <a:close/>
                <a:moveTo>
                  <a:pt x="906" y="843"/>
                </a:moveTo>
                <a:cubicBezTo>
                  <a:pt x="842" y="843"/>
                  <a:pt x="795" y="795"/>
                  <a:pt x="795" y="732"/>
                </a:cubicBezTo>
                <a:cubicBezTo>
                  <a:pt x="795" y="668"/>
                  <a:pt x="842" y="604"/>
                  <a:pt x="906" y="604"/>
                </a:cubicBezTo>
                <a:cubicBezTo>
                  <a:pt x="970" y="604"/>
                  <a:pt x="1033" y="668"/>
                  <a:pt x="1033" y="732"/>
                </a:cubicBezTo>
                <a:cubicBezTo>
                  <a:pt x="1033" y="795"/>
                  <a:pt x="970" y="843"/>
                  <a:pt x="906" y="843"/>
                </a:cubicBezTo>
                <a:close/>
                <a:moveTo>
                  <a:pt x="906" y="2402"/>
                </a:moveTo>
                <a:cubicBezTo>
                  <a:pt x="1065" y="2402"/>
                  <a:pt x="1176" y="2274"/>
                  <a:pt x="1176" y="2116"/>
                </a:cubicBezTo>
                <a:cubicBezTo>
                  <a:pt x="1176" y="1973"/>
                  <a:pt x="1065" y="1845"/>
                  <a:pt x="906" y="1845"/>
                </a:cubicBezTo>
                <a:cubicBezTo>
                  <a:pt x="747" y="1845"/>
                  <a:pt x="636" y="1973"/>
                  <a:pt x="636" y="2116"/>
                </a:cubicBezTo>
                <a:cubicBezTo>
                  <a:pt x="636" y="2274"/>
                  <a:pt x="747" y="2402"/>
                  <a:pt x="906" y="2402"/>
                </a:cubicBezTo>
                <a:close/>
                <a:moveTo>
                  <a:pt x="906" y="2004"/>
                </a:moveTo>
                <a:cubicBezTo>
                  <a:pt x="970" y="2004"/>
                  <a:pt x="1033" y="2052"/>
                  <a:pt x="1033" y="2116"/>
                </a:cubicBezTo>
                <a:cubicBezTo>
                  <a:pt x="1033" y="2179"/>
                  <a:pt x="970" y="2243"/>
                  <a:pt x="906" y="2243"/>
                </a:cubicBezTo>
                <a:cubicBezTo>
                  <a:pt x="842" y="2243"/>
                  <a:pt x="795" y="2179"/>
                  <a:pt x="795" y="2116"/>
                </a:cubicBezTo>
                <a:cubicBezTo>
                  <a:pt x="795" y="2052"/>
                  <a:pt x="842" y="2004"/>
                  <a:pt x="906" y="2004"/>
                </a:cubicBezTo>
                <a:close/>
                <a:moveTo>
                  <a:pt x="4087" y="0"/>
                </a:moveTo>
                <a:lnTo>
                  <a:pt x="683" y="0"/>
                </a:lnTo>
                <a:cubicBezTo>
                  <a:pt x="301" y="0"/>
                  <a:pt x="0" y="302"/>
                  <a:pt x="0" y="668"/>
                </a:cubicBezTo>
                <a:lnTo>
                  <a:pt x="0" y="3611"/>
                </a:lnTo>
                <a:cubicBezTo>
                  <a:pt x="0" y="3961"/>
                  <a:pt x="286" y="4263"/>
                  <a:pt x="636" y="4279"/>
                </a:cubicBezTo>
                <a:lnTo>
                  <a:pt x="636" y="4676"/>
                </a:lnTo>
                <a:cubicBezTo>
                  <a:pt x="636" y="4724"/>
                  <a:pt x="683" y="4756"/>
                  <a:pt x="715" y="4756"/>
                </a:cubicBezTo>
                <a:lnTo>
                  <a:pt x="1510" y="4756"/>
                </a:lnTo>
                <a:cubicBezTo>
                  <a:pt x="1558" y="4756"/>
                  <a:pt x="1590" y="4724"/>
                  <a:pt x="1590" y="4676"/>
                </a:cubicBezTo>
                <a:lnTo>
                  <a:pt x="1590" y="4279"/>
                </a:lnTo>
                <a:lnTo>
                  <a:pt x="3181" y="4279"/>
                </a:lnTo>
                <a:lnTo>
                  <a:pt x="3181" y="4676"/>
                </a:lnTo>
                <a:cubicBezTo>
                  <a:pt x="3181" y="4724"/>
                  <a:pt x="3212" y="4756"/>
                  <a:pt x="3260" y="4756"/>
                </a:cubicBezTo>
                <a:lnTo>
                  <a:pt x="4055" y="4756"/>
                </a:lnTo>
                <a:cubicBezTo>
                  <a:pt x="4103" y="4756"/>
                  <a:pt x="4135" y="4724"/>
                  <a:pt x="4135" y="4676"/>
                </a:cubicBezTo>
                <a:lnTo>
                  <a:pt x="4135" y="4279"/>
                </a:lnTo>
                <a:cubicBezTo>
                  <a:pt x="4485" y="4263"/>
                  <a:pt x="4771" y="3961"/>
                  <a:pt x="4771" y="3611"/>
                </a:cubicBezTo>
                <a:lnTo>
                  <a:pt x="4771" y="668"/>
                </a:lnTo>
                <a:cubicBezTo>
                  <a:pt x="4771" y="302"/>
                  <a:pt x="4469" y="0"/>
                  <a:pt x="4087" y="0"/>
                </a:cubicBezTo>
                <a:close/>
                <a:moveTo>
                  <a:pt x="1431" y="4597"/>
                </a:moveTo>
                <a:lnTo>
                  <a:pt x="795" y="4597"/>
                </a:lnTo>
                <a:lnTo>
                  <a:pt x="795" y="4279"/>
                </a:lnTo>
                <a:lnTo>
                  <a:pt x="1431" y="4279"/>
                </a:lnTo>
                <a:close/>
                <a:moveTo>
                  <a:pt x="3976" y="4597"/>
                </a:moveTo>
                <a:lnTo>
                  <a:pt x="3340" y="4597"/>
                </a:lnTo>
                <a:lnTo>
                  <a:pt x="3340" y="4279"/>
                </a:lnTo>
                <a:lnTo>
                  <a:pt x="3976" y="4279"/>
                </a:lnTo>
                <a:close/>
                <a:moveTo>
                  <a:pt x="4612" y="3611"/>
                </a:moveTo>
                <a:cubicBezTo>
                  <a:pt x="4612" y="3897"/>
                  <a:pt x="4373" y="4120"/>
                  <a:pt x="4087" y="4120"/>
                </a:cubicBezTo>
                <a:lnTo>
                  <a:pt x="4055" y="4120"/>
                </a:lnTo>
                <a:lnTo>
                  <a:pt x="3260" y="4120"/>
                </a:lnTo>
                <a:lnTo>
                  <a:pt x="1510" y="4120"/>
                </a:lnTo>
                <a:lnTo>
                  <a:pt x="715" y="4120"/>
                </a:lnTo>
                <a:lnTo>
                  <a:pt x="683" y="4120"/>
                </a:lnTo>
                <a:cubicBezTo>
                  <a:pt x="397" y="4120"/>
                  <a:pt x="158" y="3897"/>
                  <a:pt x="158" y="3611"/>
                </a:cubicBezTo>
                <a:lnTo>
                  <a:pt x="158" y="2847"/>
                </a:lnTo>
                <a:lnTo>
                  <a:pt x="4612" y="2847"/>
                </a:lnTo>
                <a:close/>
                <a:moveTo>
                  <a:pt x="4612" y="2688"/>
                </a:moveTo>
                <a:lnTo>
                  <a:pt x="158" y="2688"/>
                </a:lnTo>
                <a:lnTo>
                  <a:pt x="158" y="1575"/>
                </a:lnTo>
                <a:lnTo>
                  <a:pt x="4612" y="1575"/>
                </a:lnTo>
                <a:close/>
                <a:moveTo>
                  <a:pt x="4612" y="1432"/>
                </a:moveTo>
                <a:lnTo>
                  <a:pt x="158" y="1432"/>
                </a:lnTo>
                <a:lnTo>
                  <a:pt x="158" y="668"/>
                </a:lnTo>
                <a:cubicBezTo>
                  <a:pt x="158" y="382"/>
                  <a:pt x="397" y="159"/>
                  <a:pt x="683" y="159"/>
                </a:cubicBezTo>
                <a:lnTo>
                  <a:pt x="4087" y="159"/>
                </a:lnTo>
                <a:cubicBezTo>
                  <a:pt x="4373" y="159"/>
                  <a:pt x="4612" y="382"/>
                  <a:pt x="4612" y="668"/>
                </a:cubicBezTo>
                <a:close/>
                <a:moveTo>
                  <a:pt x="906" y="3786"/>
                </a:moveTo>
                <a:cubicBezTo>
                  <a:pt x="1065" y="3786"/>
                  <a:pt x="1176" y="3658"/>
                  <a:pt x="1176" y="3515"/>
                </a:cubicBezTo>
                <a:cubicBezTo>
                  <a:pt x="1176" y="3356"/>
                  <a:pt x="1065" y="3229"/>
                  <a:pt x="906" y="3229"/>
                </a:cubicBezTo>
                <a:cubicBezTo>
                  <a:pt x="747" y="3229"/>
                  <a:pt x="636" y="3356"/>
                  <a:pt x="636" y="3515"/>
                </a:cubicBezTo>
                <a:cubicBezTo>
                  <a:pt x="636" y="3658"/>
                  <a:pt x="747" y="3786"/>
                  <a:pt x="906" y="3786"/>
                </a:cubicBezTo>
                <a:close/>
                <a:moveTo>
                  <a:pt x="906" y="3388"/>
                </a:moveTo>
                <a:cubicBezTo>
                  <a:pt x="970" y="3388"/>
                  <a:pt x="1033" y="3436"/>
                  <a:pt x="1033" y="3515"/>
                </a:cubicBezTo>
                <a:cubicBezTo>
                  <a:pt x="1033" y="3579"/>
                  <a:pt x="970" y="3627"/>
                  <a:pt x="906" y="3627"/>
                </a:cubicBezTo>
                <a:cubicBezTo>
                  <a:pt x="842" y="3627"/>
                  <a:pt x="795" y="3579"/>
                  <a:pt x="795" y="3515"/>
                </a:cubicBezTo>
                <a:cubicBezTo>
                  <a:pt x="795" y="3436"/>
                  <a:pt x="842" y="3388"/>
                  <a:pt x="906" y="3388"/>
                </a:cubicBezTo>
                <a:close/>
                <a:moveTo>
                  <a:pt x="3101" y="541"/>
                </a:moveTo>
                <a:cubicBezTo>
                  <a:pt x="2990" y="541"/>
                  <a:pt x="2910" y="620"/>
                  <a:pt x="2910" y="716"/>
                </a:cubicBezTo>
                <a:cubicBezTo>
                  <a:pt x="2910" y="811"/>
                  <a:pt x="2990" y="891"/>
                  <a:pt x="3101" y="891"/>
                </a:cubicBezTo>
                <a:cubicBezTo>
                  <a:pt x="3196" y="891"/>
                  <a:pt x="3276" y="811"/>
                  <a:pt x="3276" y="716"/>
                </a:cubicBezTo>
                <a:cubicBezTo>
                  <a:pt x="3276" y="620"/>
                  <a:pt x="3196" y="541"/>
                  <a:pt x="3101" y="541"/>
                </a:cubicBezTo>
                <a:close/>
                <a:moveTo>
                  <a:pt x="3069" y="716"/>
                </a:moveTo>
                <a:cubicBezTo>
                  <a:pt x="3080" y="711"/>
                  <a:pt x="3085" y="700"/>
                  <a:pt x="3101" y="700"/>
                </a:cubicBezTo>
                <a:lnTo>
                  <a:pt x="3117" y="716"/>
                </a:lnTo>
                <a:cubicBezTo>
                  <a:pt x="3117" y="748"/>
                  <a:pt x="3069" y="748"/>
                  <a:pt x="3069" y="716"/>
                </a:cubicBezTo>
                <a:close/>
                <a:moveTo>
                  <a:pt x="3578" y="541"/>
                </a:moveTo>
                <a:cubicBezTo>
                  <a:pt x="3483" y="541"/>
                  <a:pt x="3403" y="620"/>
                  <a:pt x="3403" y="716"/>
                </a:cubicBezTo>
                <a:cubicBezTo>
                  <a:pt x="3403" y="811"/>
                  <a:pt x="3483" y="891"/>
                  <a:pt x="3578" y="891"/>
                </a:cubicBezTo>
                <a:cubicBezTo>
                  <a:pt x="3673" y="891"/>
                  <a:pt x="3753" y="811"/>
                  <a:pt x="3753" y="716"/>
                </a:cubicBezTo>
                <a:cubicBezTo>
                  <a:pt x="3753" y="620"/>
                  <a:pt x="3673" y="541"/>
                  <a:pt x="3578" y="541"/>
                </a:cubicBezTo>
                <a:close/>
                <a:moveTo>
                  <a:pt x="3562" y="716"/>
                </a:moveTo>
                <a:cubicBezTo>
                  <a:pt x="3567" y="711"/>
                  <a:pt x="3562" y="700"/>
                  <a:pt x="3578" y="700"/>
                </a:cubicBezTo>
                <a:cubicBezTo>
                  <a:pt x="3594" y="700"/>
                  <a:pt x="3589" y="711"/>
                  <a:pt x="3594" y="716"/>
                </a:cubicBezTo>
                <a:cubicBezTo>
                  <a:pt x="3594" y="748"/>
                  <a:pt x="3562" y="748"/>
                  <a:pt x="3562" y="716"/>
                </a:cubicBezTo>
                <a:close/>
                <a:moveTo>
                  <a:pt x="4055" y="541"/>
                </a:moveTo>
                <a:cubicBezTo>
                  <a:pt x="3960" y="541"/>
                  <a:pt x="3881" y="620"/>
                  <a:pt x="3881" y="716"/>
                </a:cubicBezTo>
                <a:cubicBezTo>
                  <a:pt x="3881" y="811"/>
                  <a:pt x="3960" y="891"/>
                  <a:pt x="4055" y="891"/>
                </a:cubicBezTo>
                <a:cubicBezTo>
                  <a:pt x="4151" y="891"/>
                  <a:pt x="4230" y="811"/>
                  <a:pt x="4230" y="716"/>
                </a:cubicBezTo>
                <a:cubicBezTo>
                  <a:pt x="4230" y="620"/>
                  <a:pt x="4151" y="541"/>
                  <a:pt x="4055" y="541"/>
                </a:cubicBezTo>
                <a:close/>
                <a:moveTo>
                  <a:pt x="4039" y="716"/>
                </a:moveTo>
                <a:cubicBezTo>
                  <a:pt x="4044" y="711"/>
                  <a:pt x="4039" y="700"/>
                  <a:pt x="4055" y="700"/>
                </a:cubicBezTo>
                <a:cubicBezTo>
                  <a:pt x="4071" y="700"/>
                  <a:pt x="4066" y="711"/>
                  <a:pt x="4071" y="716"/>
                </a:cubicBezTo>
                <a:cubicBezTo>
                  <a:pt x="4071" y="748"/>
                  <a:pt x="4039" y="748"/>
                  <a:pt x="4039" y="716"/>
                </a:cubicBezTo>
                <a:close/>
                <a:moveTo>
                  <a:pt x="3101" y="2322"/>
                </a:moveTo>
                <a:cubicBezTo>
                  <a:pt x="3196" y="2322"/>
                  <a:pt x="3276" y="2243"/>
                  <a:pt x="3276" y="2131"/>
                </a:cubicBezTo>
                <a:cubicBezTo>
                  <a:pt x="3276" y="2036"/>
                  <a:pt x="3196" y="1956"/>
                  <a:pt x="3101" y="1956"/>
                </a:cubicBezTo>
                <a:cubicBezTo>
                  <a:pt x="2990" y="1956"/>
                  <a:pt x="2910" y="2036"/>
                  <a:pt x="2910" y="2131"/>
                </a:cubicBezTo>
                <a:cubicBezTo>
                  <a:pt x="2910" y="2243"/>
                  <a:pt x="2990" y="2322"/>
                  <a:pt x="3101" y="2322"/>
                </a:cubicBezTo>
                <a:close/>
                <a:moveTo>
                  <a:pt x="3101" y="2116"/>
                </a:moveTo>
                <a:lnTo>
                  <a:pt x="3117" y="2131"/>
                </a:lnTo>
                <a:cubicBezTo>
                  <a:pt x="3117" y="2164"/>
                  <a:pt x="3069" y="2164"/>
                  <a:pt x="3069" y="2131"/>
                </a:cubicBezTo>
                <a:cubicBezTo>
                  <a:pt x="3080" y="2126"/>
                  <a:pt x="3085" y="2116"/>
                  <a:pt x="3101" y="2116"/>
                </a:cubicBezTo>
                <a:close/>
                <a:moveTo>
                  <a:pt x="3578" y="2322"/>
                </a:moveTo>
                <a:cubicBezTo>
                  <a:pt x="3673" y="2322"/>
                  <a:pt x="3753" y="2243"/>
                  <a:pt x="3753" y="2131"/>
                </a:cubicBezTo>
                <a:cubicBezTo>
                  <a:pt x="3753" y="2036"/>
                  <a:pt x="3673" y="1956"/>
                  <a:pt x="3578" y="1956"/>
                </a:cubicBezTo>
                <a:cubicBezTo>
                  <a:pt x="3483" y="1956"/>
                  <a:pt x="3403" y="2036"/>
                  <a:pt x="3403" y="2131"/>
                </a:cubicBezTo>
                <a:cubicBezTo>
                  <a:pt x="3403" y="2243"/>
                  <a:pt x="3483" y="2322"/>
                  <a:pt x="3578" y="2322"/>
                </a:cubicBezTo>
                <a:close/>
                <a:moveTo>
                  <a:pt x="3578" y="2116"/>
                </a:moveTo>
                <a:cubicBezTo>
                  <a:pt x="3594" y="2116"/>
                  <a:pt x="3589" y="2126"/>
                  <a:pt x="3594" y="2131"/>
                </a:cubicBezTo>
                <a:cubicBezTo>
                  <a:pt x="3594" y="2164"/>
                  <a:pt x="3562" y="2164"/>
                  <a:pt x="3562" y="2131"/>
                </a:cubicBezTo>
                <a:cubicBezTo>
                  <a:pt x="3567" y="2126"/>
                  <a:pt x="3562" y="2116"/>
                  <a:pt x="3578" y="2116"/>
                </a:cubicBezTo>
                <a:close/>
                <a:moveTo>
                  <a:pt x="4055" y="2322"/>
                </a:moveTo>
                <a:cubicBezTo>
                  <a:pt x="4151" y="2322"/>
                  <a:pt x="4230" y="2243"/>
                  <a:pt x="4230" y="2131"/>
                </a:cubicBezTo>
                <a:cubicBezTo>
                  <a:pt x="4230" y="2036"/>
                  <a:pt x="4151" y="1956"/>
                  <a:pt x="4055" y="1956"/>
                </a:cubicBezTo>
                <a:cubicBezTo>
                  <a:pt x="3960" y="1956"/>
                  <a:pt x="3881" y="2036"/>
                  <a:pt x="3881" y="2131"/>
                </a:cubicBezTo>
                <a:cubicBezTo>
                  <a:pt x="3881" y="2243"/>
                  <a:pt x="3960" y="2322"/>
                  <a:pt x="4055" y="2322"/>
                </a:cubicBezTo>
                <a:close/>
                <a:moveTo>
                  <a:pt x="4055" y="2116"/>
                </a:moveTo>
                <a:cubicBezTo>
                  <a:pt x="4071" y="2116"/>
                  <a:pt x="4066" y="2126"/>
                  <a:pt x="4071" y="2131"/>
                </a:cubicBezTo>
                <a:cubicBezTo>
                  <a:pt x="4071" y="2164"/>
                  <a:pt x="4039" y="2164"/>
                  <a:pt x="4039" y="2131"/>
                </a:cubicBezTo>
                <a:cubicBezTo>
                  <a:pt x="4044" y="2126"/>
                  <a:pt x="4039" y="2116"/>
                  <a:pt x="4055" y="2116"/>
                </a:cubicBezTo>
                <a:close/>
                <a:moveTo>
                  <a:pt x="3101" y="3595"/>
                </a:moveTo>
                <a:cubicBezTo>
                  <a:pt x="3196" y="3595"/>
                  <a:pt x="3276" y="3515"/>
                  <a:pt x="3276" y="3404"/>
                </a:cubicBezTo>
                <a:cubicBezTo>
                  <a:pt x="3276" y="3309"/>
                  <a:pt x="3196" y="3229"/>
                  <a:pt x="3101" y="3229"/>
                </a:cubicBezTo>
                <a:cubicBezTo>
                  <a:pt x="2990" y="3229"/>
                  <a:pt x="2910" y="3309"/>
                  <a:pt x="2910" y="3404"/>
                </a:cubicBezTo>
                <a:cubicBezTo>
                  <a:pt x="2910" y="3515"/>
                  <a:pt x="2990" y="3595"/>
                  <a:pt x="3101" y="3595"/>
                </a:cubicBezTo>
                <a:close/>
                <a:moveTo>
                  <a:pt x="3101" y="3388"/>
                </a:moveTo>
                <a:lnTo>
                  <a:pt x="3117" y="3404"/>
                </a:lnTo>
                <a:cubicBezTo>
                  <a:pt x="3117" y="3436"/>
                  <a:pt x="3069" y="3436"/>
                  <a:pt x="3069" y="3404"/>
                </a:cubicBezTo>
                <a:cubicBezTo>
                  <a:pt x="3080" y="3399"/>
                  <a:pt x="3085" y="3388"/>
                  <a:pt x="3101" y="3388"/>
                </a:cubicBezTo>
                <a:close/>
                <a:moveTo>
                  <a:pt x="3578" y="3595"/>
                </a:moveTo>
                <a:cubicBezTo>
                  <a:pt x="3673" y="3595"/>
                  <a:pt x="3753" y="3515"/>
                  <a:pt x="3753" y="3404"/>
                </a:cubicBezTo>
                <a:cubicBezTo>
                  <a:pt x="3753" y="3309"/>
                  <a:pt x="3673" y="3229"/>
                  <a:pt x="3578" y="3229"/>
                </a:cubicBezTo>
                <a:cubicBezTo>
                  <a:pt x="3483" y="3229"/>
                  <a:pt x="3403" y="3309"/>
                  <a:pt x="3403" y="3404"/>
                </a:cubicBezTo>
                <a:cubicBezTo>
                  <a:pt x="3403" y="3515"/>
                  <a:pt x="3483" y="3595"/>
                  <a:pt x="3578" y="3595"/>
                </a:cubicBezTo>
                <a:close/>
                <a:moveTo>
                  <a:pt x="3578" y="3388"/>
                </a:moveTo>
                <a:cubicBezTo>
                  <a:pt x="3594" y="3388"/>
                  <a:pt x="3589" y="3399"/>
                  <a:pt x="3594" y="3404"/>
                </a:cubicBezTo>
                <a:cubicBezTo>
                  <a:pt x="3594" y="3436"/>
                  <a:pt x="3562" y="3436"/>
                  <a:pt x="3562" y="3404"/>
                </a:cubicBezTo>
                <a:cubicBezTo>
                  <a:pt x="3567" y="3399"/>
                  <a:pt x="3562" y="3388"/>
                  <a:pt x="3578" y="3388"/>
                </a:cubicBezTo>
                <a:close/>
                <a:moveTo>
                  <a:pt x="4055" y="3595"/>
                </a:moveTo>
                <a:cubicBezTo>
                  <a:pt x="4151" y="3595"/>
                  <a:pt x="4230" y="3515"/>
                  <a:pt x="4230" y="3404"/>
                </a:cubicBezTo>
                <a:cubicBezTo>
                  <a:pt x="4230" y="3309"/>
                  <a:pt x="4151" y="3229"/>
                  <a:pt x="4055" y="3229"/>
                </a:cubicBezTo>
                <a:cubicBezTo>
                  <a:pt x="3960" y="3229"/>
                  <a:pt x="3881" y="3309"/>
                  <a:pt x="3881" y="3404"/>
                </a:cubicBezTo>
                <a:cubicBezTo>
                  <a:pt x="3881" y="3515"/>
                  <a:pt x="3960" y="3595"/>
                  <a:pt x="4055" y="3595"/>
                </a:cubicBezTo>
                <a:close/>
                <a:moveTo>
                  <a:pt x="4055" y="3388"/>
                </a:moveTo>
                <a:cubicBezTo>
                  <a:pt x="4071" y="3388"/>
                  <a:pt x="4066" y="3399"/>
                  <a:pt x="4071" y="3404"/>
                </a:cubicBezTo>
                <a:cubicBezTo>
                  <a:pt x="4071" y="3436"/>
                  <a:pt x="4039" y="3436"/>
                  <a:pt x="4039" y="3404"/>
                </a:cubicBezTo>
                <a:cubicBezTo>
                  <a:pt x="4044" y="3399"/>
                  <a:pt x="4039" y="3388"/>
                  <a:pt x="4055" y="338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2" name="Freeform: Shape 12">
            <a:extLst>
              <a:ext uri="{FF2B5EF4-FFF2-40B4-BE49-F238E27FC236}">
                <a16:creationId xmlns:a16="http://schemas.microsoft.com/office/drawing/2014/main" id="{C619316F-8203-3C42-AB0B-45F7ED18762E}"/>
              </a:ext>
            </a:extLst>
          </p:cNvPr>
          <p:cNvSpPr/>
          <p:nvPr/>
        </p:nvSpPr>
        <p:spPr>
          <a:xfrm>
            <a:off x="1724519" y="9799753"/>
            <a:ext cx="1717560" cy="1711800"/>
          </a:xfrm>
          <a:custGeom>
            <a:avLst/>
            <a:gdLst/>
            <a:ahLst/>
            <a:cxnLst>
              <a:cxn ang="3cd4">
                <a:pos x="hc" y="t"/>
              </a:cxn>
              <a:cxn ang="cd2">
                <a:pos x="l" y="vc"/>
              </a:cxn>
              <a:cxn ang="cd4">
                <a:pos x="hc" y="b"/>
              </a:cxn>
              <a:cxn ang="0">
                <a:pos x="r" y="vc"/>
              </a:cxn>
            </a:cxnLst>
            <a:rect l="l" t="t" r="r" b="b"/>
            <a:pathLst>
              <a:path w="4772" h="4756">
                <a:moveTo>
                  <a:pt x="859" y="4279"/>
                </a:moveTo>
                <a:cubicBezTo>
                  <a:pt x="1002" y="4279"/>
                  <a:pt x="1129" y="4152"/>
                  <a:pt x="1129" y="4009"/>
                </a:cubicBezTo>
                <a:cubicBezTo>
                  <a:pt x="1129" y="3849"/>
                  <a:pt x="1002" y="3722"/>
                  <a:pt x="859" y="3722"/>
                </a:cubicBezTo>
                <a:cubicBezTo>
                  <a:pt x="700" y="3722"/>
                  <a:pt x="573" y="3849"/>
                  <a:pt x="573" y="4009"/>
                </a:cubicBezTo>
                <a:cubicBezTo>
                  <a:pt x="573" y="4152"/>
                  <a:pt x="700" y="4279"/>
                  <a:pt x="859" y="4279"/>
                </a:cubicBezTo>
                <a:close/>
                <a:moveTo>
                  <a:pt x="859" y="3881"/>
                </a:moveTo>
                <a:cubicBezTo>
                  <a:pt x="922" y="3881"/>
                  <a:pt x="970" y="3945"/>
                  <a:pt x="970" y="4009"/>
                </a:cubicBezTo>
                <a:cubicBezTo>
                  <a:pt x="970" y="4072"/>
                  <a:pt x="922" y="4120"/>
                  <a:pt x="859" y="4120"/>
                </a:cubicBezTo>
                <a:cubicBezTo>
                  <a:pt x="779" y="4120"/>
                  <a:pt x="731" y="4072"/>
                  <a:pt x="731" y="4009"/>
                </a:cubicBezTo>
                <a:cubicBezTo>
                  <a:pt x="731" y="3945"/>
                  <a:pt x="779" y="3881"/>
                  <a:pt x="859" y="3881"/>
                </a:cubicBezTo>
                <a:close/>
                <a:moveTo>
                  <a:pt x="859" y="3086"/>
                </a:moveTo>
                <a:cubicBezTo>
                  <a:pt x="1002" y="3086"/>
                  <a:pt x="1129" y="2974"/>
                  <a:pt x="1129" y="2816"/>
                </a:cubicBezTo>
                <a:cubicBezTo>
                  <a:pt x="1129" y="2656"/>
                  <a:pt x="1002" y="2529"/>
                  <a:pt x="859" y="2529"/>
                </a:cubicBezTo>
                <a:cubicBezTo>
                  <a:pt x="700" y="2529"/>
                  <a:pt x="573" y="2656"/>
                  <a:pt x="573" y="2816"/>
                </a:cubicBezTo>
                <a:cubicBezTo>
                  <a:pt x="573" y="2974"/>
                  <a:pt x="700" y="3086"/>
                  <a:pt x="859" y="3086"/>
                </a:cubicBezTo>
                <a:close/>
                <a:moveTo>
                  <a:pt x="859" y="2688"/>
                </a:moveTo>
                <a:cubicBezTo>
                  <a:pt x="922" y="2688"/>
                  <a:pt x="970" y="2752"/>
                  <a:pt x="970" y="2816"/>
                </a:cubicBezTo>
                <a:cubicBezTo>
                  <a:pt x="970" y="2879"/>
                  <a:pt x="922" y="2927"/>
                  <a:pt x="859" y="2927"/>
                </a:cubicBezTo>
                <a:cubicBezTo>
                  <a:pt x="779" y="2927"/>
                  <a:pt x="731" y="2879"/>
                  <a:pt x="731" y="2816"/>
                </a:cubicBezTo>
                <a:cubicBezTo>
                  <a:pt x="731" y="2752"/>
                  <a:pt x="779" y="2688"/>
                  <a:pt x="859" y="2688"/>
                </a:cubicBezTo>
                <a:close/>
                <a:moveTo>
                  <a:pt x="2863" y="4120"/>
                </a:moveTo>
                <a:lnTo>
                  <a:pt x="3976" y="4120"/>
                </a:lnTo>
                <a:cubicBezTo>
                  <a:pt x="4008" y="4120"/>
                  <a:pt x="4056" y="4088"/>
                  <a:pt x="4056" y="4040"/>
                </a:cubicBezTo>
                <a:cubicBezTo>
                  <a:pt x="4056" y="3992"/>
                  <a:pt x="4008" y="3961"/>
                  <a:pt x="3976" y="3961"/>
                </a:cubicBezTo>
                <a:lnTo>
                  <a:pt x="2863" y="3961"/>
                </a:lnTo>
                <a:cubicBezTo>
                  <a:pt x="2815" y="3961"/>
                  <a:pt x="2784" y="3992"/>
                  <a:pt x="2784" y="4040"/>
                </a:cubicBezTo>
                <a:cubicBezTo>
                  <a:pt x="2784" y="4088"/>
                  <a:pt x="2815" y="4120"/>
                  <a:pt x="2863" y="4120"/>
                </a:cubicBezTo>
                <a:close/>
                <a:moveTo>
                  <a:pt x="2863" y="2847"/>
                </a:moveTo>
                <a:lnTo>
                  <a:pt x="3976" y="2847"/>
                </a:lnTo>
                <a:cubicBezTo>
                  <a:pt x="4008" y="2847"/>
                  <a:pt x="4056" y="2816"/>
                  <a:pt x="4056" y="2768"/>
                </a:cubicBezTo>
                <a:cubicBezTo>
                  <a:pt x="4056" y="2736"/>
                  <a:pt x="4008" y="2688"/>
                  <a:pt x="3976" y="2688"/>
                </a:cubicBezTo>
                <a:lnTo>
                  <a:pt x="2863" y="2688"/>
                </a:lnTo>
                <a:cubicBezTo>
                  <a:pt x="2815" y="2688"/>
                  <a:pt x="2784" y="2736"/>
                  <a:pt x="2784" y="2768"/>
                </a:cubicBezTo>
                <a:cubicBezTo>
                  <a:pt x="2784" y="2816"/>
                  <a:pt x="2815" y="2847"/>
                  <a:pt x="2863" y="2847"/>
                </a:cubicBezTo>
                <a:close/>
                <a:moveTo>
                  <a:pt x="859" y="1893"/>
                </a:moveTo>
                <a:cubicBezTo>
                  <a:pt x="1002" y="1893"/>
                  <a:pt x="1129" y="1782"/>
                  <a:pt x="1129" y="1622"/>
                </a:cubicBezTo>
                <a:cubicBezTo>
                  <a:pt x="1129" y="1464"/>
                  <a:pt x="1002" y="1352"/>
                  <a:pt x="859" y="1352"/>
                </a:cubicBezTo>
                <a:cubicBezTo>
                  <a:pt x="700" y="1352"/>
                  <a:pt x="573" y="1464"/>
                  <a:pt x="573" y="1622"/>
                </a:cubicBezTo>
                <a:cubicBezTo>
                  <a:pt x="573" y="1782"/>
                  <a:pt x="700" y="1893"/>
                  <a:pt x="859" y="1893"/>
                </a:cubicBezTo>
                <a:close/>
                <a:moveTo>
                  <a:pt x="859" y="1511"/>
                </a:moveTo>
                <a:cubicBezTo>
                  <a:pt x="922" y="1511"/>
                  <a:pt x="970" y="1559"/>
                  <a:pt x="970" y="1622"/>
                </a:cubicBezTo>
                <a:cubicBezTo>
                  <a:pt x="970" y="1686"/>
                  <a:pt x="922" y="1734"/>
                  <a:pt x="859" y="1734"/>
                </a:cubicBezTo>
                <a:cubicBezTo>
                  <a:pt x="779" y="1734"/>
                  <a:pt x="731" y="1686"/>
                  <a:pt x="731" y="1622"/>
                </a:cubicBezTo>
                <a:cubicBezTo>
                  <a:pt x="731" y="1559"/>
                  <a:pt x="779" y="1511"/>
                  <a:pt x="859" y="1511"/>
                </a:cubicBezTo>
                <a:close/>
                <a:moveTo>
                  <a:pt x="2863" y="1734"/>
                </a:moveTo>
                <a:lnTo>
                  <a:pt x="3976" y="1734"/>
                </a:lnTo>
                <a:cubicBezTo>
                  <a:pt x="4008" y="1734"/>
                  <a:pt x="4056" y="1702"/>
                  <a:pt x="4056" y="1655"/>
                </a:cubicBezTo>
                <a:cubicBezTo>
                  <a:pt x="4056" y="1622"/>
                  <a:pt x="4008" y="1591"/>
                  <a:pt x="3976" y="1591"/>
                </a:cubicBezTo>
                <a:lnTo>
                  <a:pt x="2863" y="1591"/>
                </a:lnTo>
                <a:cubicBezTo>
                  <a:pt x="2815" y="1591"/>
                  <a:pt x="2784" y="1622"/>
                  <a:pt x="2784" y="1655"/>
                </a:cubicBezTo>
                <a:cubicBezTo>
                  <a:pt x="2784" y="1702"/>
                  <a:pt x="2815" y="1734"/>
                  <a:pt x="2863" y="1734"/>
                </a:cubicBezTo>
                <a:close/>
                <a:moveTo>
                  <a:pt x="4756" y="1018"/>
                </a:moveTo>
                <a:lnTo>
                  <a:pt x="4756" y="1002"/>
                </a:lnTo>
                <a:lnTo>
                  <a:pt x="4756" y="986"/>
                </a:lnTo>
                <a:lnTo>
                  <a:pt x="4740" y="970"/>
                </a:lnTo>
                <a:lnTo>
                  <a:pt x="3881" y="16"/>
                </a:lnTo>
                <a:cubicBezTo>
                  <a:pt x="3881" y="0"/>
                  <a:pt x="3849" y="0"/>
                  <a:pt x="3833" y="0"/>
                </a:cubicBezTo>
                <a:lnTo>
                  <a:pt x="859" y="0"/>
                </a:lnTo>
                <a:cubicBezTo>
                  <a:pt x="827" y="0"/>
                  <a:pt x="811" y="0"/>
                  <a:pt x="795" y="32"/>
                </a:cubicBezTo>
                <a:lnTo>
                  <a:pt x="16" y="970"/>
                </a:lnTo>
                <a:lnTo>
                  <a:pt x="16" y="986"/>
                </a:lnTo>
                <a:lnTo>
                  <a:pt x="0" y="1002"/>
                </a:lnTo>
                <a:lnTo>
                  <a:pt x="0" y="1018"/>
                </a:lnTo>
                <a:lnTo>
                  <a:pt x="0" y="1034"/>
                </a:lnTo>
                <a:lnTo>
                  <a:pt x="0" y="4199"/>
                </a:lnTo>
                <a:cubicBezTo>
                  <a:pt x="0" y="4501"/>
                  <a:pt x="32" y="4756"/>
                  <a:pt x="461" y="4756"/>
                </a:cubicBezTo>
                <a:lnTo>
                  <a:pt x="4231" y="4756"/>
                </a:lnTo>
                <a:cubicBezTo>
                  <a:pt x="4597" y="4756"/>
                  <a:pt x="4772" y="4581"/>
                  <a:pt x="4772" y="4199"/>
                </a:cubicBezTo>
                <a:lnTo>
                  <a:pt x="4772" y="1034"/>
                </a:lnTo>
                <a:cubicBezTo>
                  <a:pt x="4772" y="1018"/>
                  <a:pt x="4761" y="1023"/>
                  <a:pt x="4756" y="1018"/>
                </a:cubicBezTo>
                <a:close/>
                <a:moveTo>
                  <a:pt x="891" y="159"/>
                </a:moveTo>
                <a:lnTo>
                  <a:pt x="3802" y="159"/>
                </a:lnTo>
                <a:lnTo>
                  <a:pt x="4501" y="955"/>
                </a:lnTo>
                <a:lnTo>
                  <a:pt x="239" y="955"/>
                </a:lnTo>
                <a:close/>
                <a:moveTo>
                  <a:pt x="4612" y="4199"/>
                </a:moveTo>
                <a:cubicBezTo>
                  <a:pt x="4612" y="4486"/>
                  <a:pt x="4501" y="4597"/>
                  <a:pt x="4231" y="4597"/>
                </a:cubicBezTo>
                <a:lnTo>
                  <a:pt x="461" y="4597"/>
                </a:lnTo>
                <a:cubicBezTo>
                  <a:pt x="207" y="4597"/>
                  <a:pt x="159" y="4533"/>
                  <a:pt x="159" y="4199"/>
                </a:cubicBezTo>
                <a:lnTo>
                  <a:pt x="159" y="3483"/>
                </a:lnTo>
                <a:lnTo>
                  <a:pt x="4612" y="3483"/>
                </a:lnTo>
                <a:close/>
                <a:moveTo>
                  <a:pt x="4612" y="3325"/>
                </a:moveTo>
                <a:lnTo>
                  <a:pt x="159" y="3325"/>
                </a:lnTo>
                <a:lnTo>
                  <a:pt x="159" y="2370"/>
                </a:lnTo>
                <a:lnTo>
                  <a:pt x="4612" y="2370"/>
                </a:lnTo>
                <a:close/>
                <a:moveTo>
                  <a:pt x="4612" y="2211"/>
                </a:moveTo>
                <a:lnTo>
                  <a:pt x="159" y="2211"/>
                </a:lnTo>
                <a:lnTo>
                  <a:pt x="159" y="1113"/>
                </a:lnTo>
                <a:lnTo>
                  <a:pt x="4612" y="1113"/>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3" name="Freeform: Shape 13">
            <a:extLst>
              <a:ext uri="{FF2B5EF4-FFF2-40B4-BE49-F238E27FC236}">
                <a16:creationId xmlns:a16="http://schemas.microsoft.com/office/drawing/2014/main" id="{C5F8A7D8-24A8-2648-B948-92B0EA87E759}"/>
              </a:ext>
            </a:extLst>
          </p:cNvPr>
          <p:cNvSpPr/>
          <p:nvPr/>
        </p:nvSpPr>
        <p:spPr>
          <a:xfrm>
            <a:off x="10029784" y="6360485"/>
            <a:ext cx="1646640" cy="1658160"/>
          </a:xfrm>
          <a:custGeom>
            <a:avLst/>
            <a:gdLst/>
            <a:ahLst/>
            <a:cxnLst>
              <a:cxn ang="3cd4">
                <a:pos x="hc" y="t"/>
              </a:cxn>
              <a:cxn ang="cd2">
                <a:pos x="l" y="vc"/>
              </a:cxn>
              <a:cxn ang="cd4">
                <a:pos x="hc" y="b"/>
              </a:cxn>
              <a:cxn ang="0">
                <a:pos x="r" y="vc"/>
              </a:cxn>
            </a:cxnLst>
            <a:rect l="l" t="t" r="r" b="b"/>
            <a:pathLst>
              <a:path w="4575" h="4607">
                <a:moveTo>
                  <a:pt x="3738" y="73"/>
                </a:moveTo>
                <a:cubicBezTo>
                  <a:pt x="3643" y="-22"/>
                  <a:pt x="3515" y="-22"/>
                  <a:pt x="3436" y="57"/>
                </a:cubicBezTo>
                <a:lnTo>
                  <a:pt x="2609" y="884"/>
                </a:lnTo>
                <a:cubicBezTo>
                  <a:pt x="2497" y="789"/>
                  <a:pt x="2370" y="741"/>
                  <a:pt x="2243" y="773"/>
                </a:cubicBezTo>
                <a:cubicBezTo>
                  <a:pt x="2148" y="789"/>
                  <a:pt x="2036" y="869"/>
                  <a:pt x="1925" y="964"/>
                </a:cubicBezTo>
                <a:cubicBezTo>
                  <a:pt x="303" y="2586"/>
                  <a:pt x="822" y="2067"/>
                  <a:pt x="270" y="2618"/>
                </a:cubicBezTo>
                <a:cubicBezTo>
                  <a:pt x="96" y="2809"/>
                  <a:pt x="0" y="3048"/>
                  <a:pt x="0" y="3318"/>
                </a:cubicBezTo>
                <a:cubicBezTo>
                  <a:pt x="16" y="3668"/>
                  <a:pt x="175" y="4002"/>
                  <a:pt x="461" y="4256"/>
                </a:cubicBezTo>
                <a:cubicBezTo>
                  <a:pt x="716" y="4495"/>
                  <a:pt x="1018" y="4607"/>
                  <a:pt x="1288" y="4607"/>
                </a:cubicBezTo>
                <a:cubicBezTo>
                  <a:pt x="1543" y="4607"/>
                  <a:pt x="1782" y="4511"/>
                  <a:pt x="1973" y="4320"/>
                </a:cubicBezTo>
                <a:lnTo>
                  <a:pt x="3627" y="2666"/>
                </a:lnTo>
                <a:cubicBezTo>
                  <a:pt x="3850" y="2459"/>
                  <a:pt x="3865" y="2173"/>
                  <a:pt x="3690" y="1966"/>
                </a:cubicBezTo>
                <a:lnTo>
                  <a:pt x="4517" y="1155"/>
                </a:lnTo>
                <a:cubicBezTo>
                  <a:pt x="4597" y="1060"/>
                  <a:pt x="4597" y="932"/>
                  <a:pt x="4502" y="853"/>
                </a:cubicBezTo>
                <a:close/>
                <a:moveTo>
                  <a:pt x="4406" y="1027"/>
                </a:moveTo>
                <a:lnTo>
                  <a:pt x="3515" y="1918"/>
                </a:lnTo>
                <a:cubicBezTo>
                  <a:pt x="3499" y="1934"/>
                  <a:pt x="3499" y="1950"/>
                  <a:pt x="3499" y="1966"/>
                </a:cubicBezTo>
                <a:cubicBezTo>
                  <a:pt x="3499" y="1998"/>
                  <a:pt x="3499" y="2014"/>
                  <a:pt x="3515" y="2030"/>
                </a:cubicBezTo>
                <a:lnTo>
                  <a:pt x="3547" y="2062"/>
                </a:lnTo>
                <a:cubicBezTo>
                  <a:pt x="3722" y="2236"/>
                  <a:pt x="3643" y="2427"/>
                  <a:pt x="3515" y="2554"/>
                </a:cubicBezTo>
                <a:lnTo>
                  <a:pt x="1861" y="4209"/>
                </a:lnTo>
                <a:cubicBezTo>
                  <a:pt x="1511" y="4559"/>
                  <a:pt x="1002" y="4527"/>
                  <a:pt x="573" y="4145"/>
                </a:cubicBezTo>
                <a:cubicBezTo>
                  <a:pt x="318" y="3923"/>
                  <a:pt x="160" y="3620"/>
                  <a:pt x="160" y="3318"/>
                </a:cubicBezTo>
                <a:cubicBezTo>
                  <a:pt x="160" y="3095"/>
                  <a:pt x="239" y="2889"/>
                  <a:pt x="382" y="2730"/>
                </a:cubicBezTo>
                <a:cubicBezTo>
                  <a:pt x="398" y="2714"/>
                  <a:pt x="1485" y="1627"/>
                  <a:pt x="2036" y="1075"/>
                </a:cubicBezTo>
                <a:cubicBezTo>
                  <a:pt x="2132" y="996"/>
                  <a:pt x="2211" y="948"/>
                  <a:pt x="2275" y="932"/>
                </a:cubicBezTo>
                <a:cubicBezTo>
                  <a:pt x="2291" y="917"/>
                  <a:pt x="2306" y="917"/>
                  <a:pt x="2323" y="917"/>
                </a:cubicBezTo>
                <a:cubicBezTo>
                  <a:pt x="2386" y="917"/>
                  <a:pt x="2434" y="948"/>
                  <a:pt x="2497" y="996"/>
                </a:cubicBezTo>
                <a:lnTo>
                  <a:pt x="2545" y="1060"/>
                </a:lnTo>
                <a:cubicBezTo>
                  <a:pt x="2561" y="1075"/>
                  <a:pt x="2577" y="1075"/>
                  <a:pt x="2609" y="1075"/>
                </a:cubicBezTo>
                <a:cubicBezTo>
                  <a:pt x="2625" y="1075"/>
                  <a:pt x="2641" y="1075"/>
                  <a:pt x="2657" y="1060"/>
                </a:cubicBezTo>
                <a:lnTo>
                  <a:pt x="3547" y="169"/>
                </a:lnTo>
                <a:cubicBezTo>
                  <a:pt x="3563" y="153"/>
                  <a:pt x="3595" y="153"/>
                  <a:pt x="3627" y="185"/>
                </a:cubicBezTo>
                <a:lnTo>
                  <a:pt x="4390" y="964"/>
                </a:lnTo>
                <a:cubicBezTo>
                  <a:pt x="4422" y="980"/>
                  <a:pt x="4422" y="1012"/>
                  <a:pt x="4406" y="1027"/>
                </a:cubicBezTo>
                <a:close/>
                <a:moveTo>
                  <a:pt x="3722" y="997"/>
                </a:moveTo>
                <a:lnTo>
                  <a:pt x="3499" y="1219"/>
                </a:lnTo>
                <a:cubicBezTo>
                  <a:pt x="3494" y="1229"/>
                  <a:pt x="3484" y="1236"/>
                  <a:pt x="3484" y="1251"/>
                </a:cubicBezTo>
                <a:cubicBezTo>
                  <a:pt x="3436" y="1315"/>
                  <a:pt x="3452" y="1410"/>
                  <a:pt x="3515" y="1474"/>
                </a:cubicBezTo>
                <a:cubicBezTo>
                  <a:pt x="3547" y="1506"/>
                  <a:pt x="3595" y="1522"/>
                  <a:pt x="3643" y="1522"/>
                </a:cubicBezTo>
                <a:cubicBezTo>
                  <a:pt x="3690" y="1522"/>
                  <a:pt x="3722" y="1506"/>
                  <a:pt x="3754" y="1490"/>
                </a:cubicBezTo>
                <a:lnTo>
                  <a:pt x="3770" y="1474"/>
                </a:lnTo>
                <a:lnTo>
                  <a:pt x="3993" y="1251"/>
                </a:lnTo>
                <a:cubicBezTo>
                  <a:pt x="4024" y="1219"/>
                  <a:pt x="4041" y="1172"/>
                  <a:pt x="4041" y="1124"/>
                </a:cubicBezTo>
                <a:cubicBezTo>
                  <a:pt x="4041" y="1076"/>
                  <a:pt x="4024" y="1028"/>
                  <a:pt x="3993" y="997"/>
                </a:cubicBezTo>
                <a:cubicBezTo>
                  <a:pt x="3913" y="933"/>
                  <a:pt x="3802" y="918"/>
                  <a:pt x="3722" y="997"/>
                </a:cubicBezTo>
                <a:close/>
                <a:moveTo>
                  <a:pt x="3881" y="1140"/>
                </a:moveTo>
                <a:lnTo>
                  <a:pt x="3659" y="1363"/>
                </a:lnTo>
                <a:lnTo>
                  <a:pt x="3627" y="1363"/>
                </a:lnTo>
                <a:cubicBezTo>
                  <a:pt x="3611" y="1347"/>
                  <a:pt x="3611" y="1331"/>
                  <a:pt x="3627" y="1331"/>
                </a:cubicBezTo>
                <a:lnTo>
                  <a:pt x="3627" y="1315"/>
                </a:lnTo>
                <a:lnTo>
                  <a:pt x="3850" y="1092"/>
                </a:lnTo>
                <a:cubicBezTo>
                  <a:pt x="3865" y="1092"/>
                  <a:pt x="3860" y="1102"/>
                  <a:pt x="3865" y="1108"/>
                </a:cubicBezTo>
                <a:cubicBezTo>
                  <a:pt x="3881" y="1108"/>
                  <a:pt x="3881" y="1124"/>
                  <a:pt x="3881" y="1140"/>
                </a:cubicBezTo>
                <a:close/>
                <a:moveTo>
                  <a:pt x="3659" y="741"/>
                </a:moveTo>
                <a:cubicBezTo>
                  <a:pt x="3659" y="694"/>
                  <a:pt x="3643" y="646"/>
                  <a:pt x="3595" y="614"/>
                </a:cubicBezTo>
                <a:cubicBezTo>
                  <a:pt x="3532" y="535"/>
                  <a:pt x="3404" y="535"/>
                  <a:pt x="3341" y="598"/>
                </a:cubicBezTo>
                <a:lnTo>
                  <a:pt x="3118" y="837"/>
                </a:lnTo>
                <a:cubicBezTo>
                  <a:pt x="3102" y="837"/>
                  <a:pt x="3107" y="848"/>
                  <a:pt x="3102" y="853"/>
                </a:cubicBezTo>
                <a:cubicBezTo>
                  <a:pt x="3054" y="932"/>
                  <a:pt x="3070" y="1027"/>
                  <a:pt x="3134" y="1075"/>
                </a:cubicBezTo>
                <a:cubicBezTo>
                  <a:pt x="3166" y="1123"/>
                  <a:pt x="3213" y="1139"/>
                  <a:pt x="3261" y="1139"/>
                </a:cubicBezTo>
                <a:cubicBezTo>
                  <a:pt x="3293" y="1139"/>
                  <a:pt x="3341" y="1123"/>
                  <a:pt x="3372" y="1091"/>
                </a:cubicBezTo>
                <a:lnTo>
                  <a:pt x="3388" y="1091"/>
                </a:lnTo>
                <a:lnTo>
                  <a:pt x="3611" y="869"/>
                </a:lnTo>
                <a:cubicBezTo>
                  <a:pt x="3643" y="837"/>
                  <a:pt x="3659" y="789"/>
                  <a:pt x="3659" y="741"/>
                </a:cubicBezTo>
                <a:close/>
                <a:moveTo>
                  <a:pt x="3499" y="757"/>
                </a:moveTo>
                <a:lnTo>
                  <a:pt x="3277" y="964"/>
                </a:lnTo>
                <a:lnTo>
                  <a:pt x="3277" y="980"/>
                </a:lnTo>
                <a:cubicBezTo>
                  <a:pt x="3261" y="980"/>
                  <a:pt x="3245" y="980"/>
                  <a:pt x="3245" y="964"/>
                </a:cubicBezTo>
                <a:cubicBezTo>
                  <a:pt x="3229" y="964"/>
                  <a:pt x="3229" y="948"/>
                  <a:pt x="3229" y="932"/>
                </a:cubicBezTo>
                <a:lnTo>
                  <a:pt x="3245" y="932"/>
                </a:lnTo>
                <a:lnTo>
                  <a:pt x="3452" y="709"/>
                </a:lnTo>
                <a:cubicBezTo>
                  <a:pt x="3468" y="709"/>
                  <a:pt x="3484" y="709"/>
                  <a:pt x="3484" y="726"/>
                </a:cubicBezTo>
                <a:cubicBezTo>
                  <a:pt x="3499" y="726"/>
                  <a:pt x="3499" y="741"/>
                  <a:pt x="3499" y="757"/>
                </a:cubicBezTo>
                <a:close/>
                <a:moveTo>
                  <a:pt x="716" y="3509"/>
                </a:moveTo>
                <a:cubicBezTo>
                  <a:pt x="652" y="3557"/>
                  <a:pt x="636" y="3620"/>
                  <a:pt x="636" y="3700"/>
                </a:cubicBezTo>
                <a:cubicBezTo>
                  <a:pt x="636" y="3763"/>
                  <a:pt x="652" y="3843"/>
                  <a:pt x="716" y="3891"/>
                </a:cubicBezTo>
                <a:cubicBezTo>
                  <a:pt x="764" y="3938"/>
                  <a:pt x="827" y="3970"/>
                  <a:pt x="891" y="3970"/>
                </a:cubicBezTo>
                <a:cubicBezTo>
                  <a:pt x="970" y="3970"/>
                  <a:pt x="1034" y="3938"/>
                  <a:pt x="1082" y="3891"/>
                </a:cubicBezTo>
                <a:cubicBezTo>
                  <a:pt x="1130" y="3843"/>
                  <a:pt x="1161" y="3763"/>
                  <a:pt x="1161" y="3700"/>
                </a:cubicBezTo>
                <a:cubicBezTo>
                  <a:pt x="1161" y="3620"/>
                  <a:pt x="1130" y="3557"/>
                  <a:pt x="1082" y="3509"/>
                </a:cubicBezTo>
                <a:cubicBezTo>
                  <a:pt x="987" y="3414"/>
                  <a:pt x="812" y="3414"/>
                  <a:pt x="716" y="3509"/>
                </a:cubicBezTo>
                <a:close/>
                <a:moveTo>
                  <a:pt x="970" y="3780"/>
                </a:moveTo>
                <a:cubicBezTo>
                  <a:pt x="939" y="3811"/>
                  <a:pt x="859" y="3811"/>
                  <a:pt x="827" y="3780"/>
                </a:cubicBezTo>
                <a:cubicBezTo>
                  <a:pt x="796" y="3747"/>
                  <a:pt x="796" y="3732"/>
                  <a:pt x="796" y="3700"/>
                </a:cubicBezTo>
                <a:cubicBezTo>
                  <a:pt x="796" y="3668"/>
                  <a:pt x="796" y="3636"/>
                  <a:pt x="827" y="3620"/>
                </a:cubicBezTo>
                <a:cubicBezTo>
                  <a:pt x="843" y="3604"/>
                  <a:pt x="875" y="3589"/>
                  <a:pt x="891" y="3589"/>
                </a:cubicBezTo>
                <a:cubicBezTo>
                  <a:pt x="923" y="3589"/>
                  <a:pt x="955" y="3604"/>
                  <a:pt x="970" y="3620"/>
                </a:cubicBezTo>
                <a:cubicBezTo>
                  <a:pt x="987" y="3636"/>
                  <a:pt x="1002" y="3668"/>
                  <a:pt x="1002" y="3700"/>
                </a:cubicBezTo>
                <a:cubicBezTo>
                  <a:pt x="1002" y="3732"/>
                  <a:pt x="987" y="3747"/>
                  <a:pt x="970" y="378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4" name="Freeform: Shape 14">
            <a:extLst>
              <a:ext uri="{FF2B5EF4-FFF2-40B4-BE49-F238E27FC236}">
                <a16:creationId xmlns:a16="http://schemas.microsoft.com/office/drawing/2014/main" id="{67CCC8EE-F682-8C40-8B05-EEF855D0C0C3}"/>
              </a:ext>
            </a:extLst>
          </p:cNvPr>
          <p:cNvSpPr/>
          <p:nvPr/>
        </p:nvSpPr>
        <p:spPr>
          <a:xfrm>
            <a:off x="17521996" y="9856993"/>
            <a:ext cx="1682639" cy="1597320"/>
          </a:xfrm>
          <a:custGeom>
            <a:avLst/>
            <a:gdLst/>
            <a:ahLst/>
            <a:cxnLst>
              <a:cxn ang="3cd4">
                <a:pos x="hc" y="t"/>
              </a:cxn>
              <a:cxn ang="cd2">
                <a:pos x="l" y="vc"/>
              </a:cxn>
              <a:cxn ang="cd4">
                <a:pos x="hc" y="b"/>
              </a:cxn>
              <a:cxn ang="0">
                <a:pos x="r" y="vc"/>
              </a:cxn>
            </a:cxnLst>
            <a:rect l="l" t="t" r="r" b="b"/>
            <a:pathLst>
              <a:path w="4675" h="4438">
                <a:moveTo>
                  <a:pt x="2293" y="2434"/>
                </a:moveTo>
                <a:cubicBezTo>
                  <a:pt x="2547" y="2434"/>
                  <a:pt x="2786" y="2338"/>
                  <a:pt x="2977" y="2163"/>
                </a:cubicBezTo>
                <a:cubicBezTo>
                  <a:pt x="3168" y="1972"/>
                  <a:pt x="3263" y="1734"/>
                  <a:pt x="3263" y="1463"/>
                </a:cubicBezTo>
                <a:cubicBezTo>
                  <a:pt x="3263" y="1225"/>
                  <a:pt x="3183" y="1002"/>
                  <a:pt x="3024" y="827"/>
                </a:cubicBezTo>
                <a:lnTo>
                  <a:pt x="3279" y="843"/>
                </a:lnTo>
                <a:cubicBezTo>
                  <a:pt x="3326" y="843"/>
                  <a:pt x="3358" y="811"/>
                  <a:pt x="3358" y="764"/>
                </a:cubicBezTo>
                <a:cubicBezTo>
                  <a:pt x="3374" y="732"/>
                  <a:pt x="3342" y="684"/>
                  <a:pt x="3295" y="684"/>
                </a:cubicBezTo>
                <a:lnTo>
                  <a:pt x="2802" y="652"/>
                </a:lnTo>
                <a:cubicBezTo>
                  <a:pt x="2754" y="636"/>
                  <a:pt x="2722" y="668"/>
                  <a:pt x="2706" y="716"/>
                </a:cubicBezTo>
                <a:lnTo>
                  <a:pt x="2674" y="1209"/>
                </a:lnTo>
                <a:cubicBezTo>
                  <a:pt x="2674" y="1257"/>
                  <a:pt x="2706" y="1288"/>
                  <a:pt x="2738" y="1305"/>
                </a:cubicBezTo>
                <a:lnTo>
                  <a:pt x="2754" y="1305"/>
                </a:lnTo>
                <a:cubicBezTo>
                  <a:pt x="2786" y="1305"/>
                  <a:pt x="2833" y="1273"/>
                  <a:pt x="2833" y="1225"/>
                </a:cubicBezTo>
                <a:lnTo>
                  <a:pt x="2865" y="875"/>
                </a:lnTo>
                <a:lnTo>
                  <a:pt x="2865" y="891"/>
                </a:lnTo>
                <a:cubicBezTo>
                  <a:pt x="3024" y="1050"/>
                  <a:pt x="3104" y="1257"/>
                  <a:pt x="3104" y="1463"/>
                </a:cubicBezTo>
                <a:cubicBezTo>
                  <a:pt x="3104" y="1686"/>
                  <a:pt x="3024" y="1893"/>
                  <a:pt x="2865" y="2052"/>
                </a:cubicBezTo>
                <a:cubicBezTo>
                  <a:pt x="2706" y="2195"/>
                  <a:pt x="2499" y="2275"/>
                  <a:pt x="2293" y="2275"/>
                </a:cubicBezTo>
                <a:cubicBezTo>
                  <a:pt x="2070" y="2275"/>
                  <a:pt x="1863" y="2195"/>
                  <a:pt x="1720" y="2036"/>
                </a:cubicBezTo>
                <a:cubicBezTo>
                  <a:pt x="1561" y="1893"/>
                  <a:pt x="1481" y="1686"/>
                  <a:pt x="1481" y="1463"/>
                </a:cubicBezTo>
                <a:cubicBezTo>
                  <a:pt x="1481" y="1241"/>
                  <a:pt x="1561" y="1050"/>
                  <a:pt x="1720" y="891"/>
                </a:cubicBezTo>
                <a:cubicBezTo>
                  <a:pt x="1752" y="859"/>
                  <a:pt x="1752" y="811"/>
                  <a:pt x="1720" y="779"/>
                </a:cubicBezTo>
                <a:cubicBezTo>
                  <a:pt x="1688" y="748"/>
                  <a:pt x="1641" y="748"/>
                  <a:pt x="1609" y="779"/>
                </a:cubicBezTo>
                <a:cubicBezTo>
                  <a:pt x="1418" y="954"/>
                  <a:pt x="1323" y="1209"/>
                  <a:pt x="1323" y="1463"/>
                </a:cubicBezTo>
                <a:cubicBezTo>
                  <a:pt x="1323" y="1718"/>
                  <a:pt x="1418" y="1972"/>
                  <a:pt x="1593" y="2148"/>
                </a:cubicBezTo>
                <a:cubicBezTo>
                  <a:pt x="1784" y="2338"/>
                  <a:pt x="2022" y="2434"/>
                  <a:pt x="2293" y="2434"/>
                </a:cubicBezTo>
                <a:close/>
                <a:moveTo>
                  <a:pt x="3867" y="3277"/>
                </a:moveTo>
                <a:cubicBezTo>
                  <a:pt x="3708" y="3277"/>
                  <a:pt x="3581" y="3388"/>
                  <a:pt x="3581" y="3547"/>
                </a:cubicBezTo>
                <a:cubicBezTo>
                  <a:pt x="3581" y="3706"/>
                  <a:pt x="3708" y="3818"/>
                  <a:pt x="3867" y="3818"/>
                </a:cubicBezTo>
                <a:cubicBezTo>
                  <a:pt x="4011" y="3818"/>
                  <a:pt x="4138" y="3706"/>
                  <a:pt x="4138" y="3547"/>
                </a:cubicBezTo>
                <a:cubicBezTo>
                  <a:pt x="4138" y="3388"/>
                  <a:pt x="4011" y="3277"/>
                  <a:pt x="3867" y="3277"/>
                </a:cubicBezTo>
                <a:close/>
                <a:moveTo>
                  <a:pt x="3867" y="3674"/>
                </a:moveTo>
                <a:cubicBezTo>
                  <a:pt x="3788" y="3674"/>
                  <a:pt x="3740" y="3611"/>
                  <a:pt x="3740" y="3547"/>
                </a:cubicBezTo>
                <a:cubicBezTo>
                  <a:pt x="3740" y="3484"/>
                  <a:pt x="3788" y="3436"/>
                  <a:pt x="3867" y="3436"/>
                </a:cubicBezTo>
                <a:cubicBezTo>
                  <a:pt x="3931" y="3436"/>
                  <a:pt x="3978" y="3484"/>
                  <a:pt x="3978" y="3547"/>
                </a:cubicBezTo>
                <a:cubicBezTo>
                  <a:pt x="3978" y="3611"/>
                  <a:pt x="3931" y="3674"/>
                  <a:pt x="3867" y="3674"/>
                </a:cubicBezTo>
                <a:close/>
                <a:moveTo>
                  <a:pt x="4297" y="636"/>
                </a:moveTo>
                <a:cubicBezTo>
                  <a:pt x="4249" y="270"/>
                  <a:pt x="3931" y="0"/>
                  <a:pt x="3549" y="0"/>
                </a:cubicBezTo>
                <a:lnTo>
                  <a:pt x="1115" y="0"/>
                </a:lnTo>
                <a:cubicBezTo>
                  <a:pt x="750" y="0"/>
                  <a:pt x="432" y="270"/>
                  <a:pt x="384" y="636"/>
                </a:cubicBezTo>
                <a:lnTo>
                  <a:pt x="18" y="3515"/>
                </a:lnTo>
                <a:cubicBezTo>
                  <a:pt x="-30" y="3802"/>
                  <a:pt x="18" y="4024"/>
                  <a:pt x="161" y="4199"/>
                </a:cubicBezTo>
                <a:cubicBezTo>
                  <a:pt x="384" y="4422"/>
                  <a:pt x="718" y="4438"/>
                  <a:pt x="782" y="4438"/>
                </a:cubicBezTo>
                <a:lnTo>
                  <a:pt x="797" y="4438"/>
                </a:lnTo>
                <a:lnTo>
                  <a:pt x="3867" y="4438"/>
                </a:lnTo>
                <a:cubicBezTo>
                  <a:pt x="3883" y="4438"/>
                  <a:pt x="4249" y="4454"/>
                  <a:pt x="4472" y="4215"/>
                </a:cubicBezTo>
                <a:lnTo>
                  <a:pt x="4487" y="4215"/>
                </a:lnTo>
                <a:cubicBezTo>
                  <a:pt x="4493" y="4210"/>
                  <a:pt x="4487" y="4199"/>
                  <a:pt x="4504" y="4199"/>
                </a:cubicBezTo>
                <a:lnTo>
                  <a:pt x="4504" y="4183"/>
                </a:lnTo>
                <a:cubicBezTo>
                  <a:pt x="4519" y="4183"/>
                  <a:pt x="4514" y="4173"/>
                  <a:pt x="4519" y="4168"/>
                </a:cubicBezTo>
                <a:cubicBezTo>
                  <a:pt x="4535" y="4168"/>
                  <a:pt x="4535" y="4168"/>
                  <a:pt x="4535" y="4151"/>
                </a:cubicBezTo>
                <a:lnTo>
                  <a:pt x="4551" y="4136"/>
                </a:lnTo>
                <a:lnTo>
                  <a:pt x="4551" y="4120"/>
                </a:lnTo>
                <a:lnTo>
                  <a:pt x="4567" y="4120"/>
                </a:lnTo>
                <a:cubicBezTo>
                  <a:pt x="4663" y="3961"/>
                  <a:pt x="4695" y="3754"/>
                  <a:pt x="4663" y="3515"/>
                </a:cubicBezTo>
                <a:close/>
                <a:moveTo>
                  <a:pt x="543" y="668"/>
                </a:moveTo>
                <a:cubicBezTo>
                  <a:pt x="575" y="366"/>
                  <a:pt x="829" y="159"/>
                  <a:pt x="1115" y="159"/>
                </a:cubicBezTo>
                <a:lnTo>
                  <a:pt x="3549" y="159"/>
                </a:lnTo>
                <a:cubicBezTo>
                  <a:pt x="3851" y="159"/>
                  <a:pt x="4090" y="366"/>
                  <a:pt x="4138" y="652"/>
                </a:cubicBezTo>
                <a:lnTo>
                  <a:pt x="4456" y="3150"/>
                </a:lnTo>
                <a:cubicBezTo>
                  <a:pt x="4265" y="2990"/>
                  <a:pt x="4026" y="2959"/>
                  <a:pt x="3867" y="2959"/>
                </a:cubicBezTo>
                <a:lnTo>
                  <a:pt x="814" y="2959"/>
                </a:lnTo>
                <a:cubicBezTo>
                  <a:pt x="654" y="2959"/>
                  <a:pt x="400" y="2990"/>
                  <a:pt x="225" y="3166"/>
                </a:cubicBezTo>
                <a:close/>
                <a:moveTo>
                  <a:pt x="4424" y="4040"/>
                </a:moveTo>
                <a:lnTo>
                  <a:pt x="4408" y="4056"/>
                </a:lnTo>
                <a:cubicBezTo>
                  <a:pt x="4403" y="4061"/>
                  <a:pt x="4408" y="4072"/>
                  <a:pt x="4392" y="4072"/>
                </a:cubicBezTo>
                <a:lnTo>
                  <a:pt x="4392" y="4088"/>
                </a:lnTo>
                <a:lnTo>
                  <a:pt x="4376" y="4088"/>
                </a:lnTo>
                <a:lnTo>
                  <a:pt x="4376" y="4104"/>
                </a:lnTo>
                <a:cubicBezTo>
                  <a:pt x="4360" y="4104"/>
                  <a:pt x="4360" y="4104"/>
                  <a:pt x="4360" y="4120"/>
                </a:cubicBezTo>
                <a:cubicBezTo>
                  <a:pt x="4329" y="4136"/>
                  <a:pt x="4297" y="4168"/>
                  <a:pt x="4265" y="4183"/>
                </a:cubicBezTo>
                <a:cubicBezTo>
                  <a:pt x="4260" y="4188"/>
                  <a:pt x="4249" y="4183"/>
                  <a:pt x="4249" y="4199"/>
                </a:cubicBezTo>
                <a:lnTo>
                  <a:pt x="4233" y="4199"/>
                </a:lnTo>
                <a:cubicBezTo>
                  <a:pt x="4217" y="4199"/>
                  <a:pt x="4222" y="4210"/>
                  <a:pt x="4217" y="4215"/>
                </a:cubicBezTo>
                <a:lnTo>
                  <a:pt x="4201" y="4215"/>
                </a:lnTo>
                <a:lnTo>
                  <a:pt x="4186" y="4215"/>
                </a:lnTo>
                <a:cubicBezTo>
                  <a:pt x="4026" y="4279"/>
                  <a:pt x="3973" y="4258"/>
                  <a:pt x="3867" y="4279"/>
                </a:cubicBezTo>
                <a:lnTo>
                  <a:pt x="797" y="4279"/>
                </a:lnTo>
                <a:cubicBezTo>
                  <a:pt x="627" y="4215"/>
                  <a:pt x="479" y="4295"/>
                  <a:pt x="288" y="4088"/>
                </a:cubicBezTo>
                <a:cubicBezTo>
                  <a:pt x="177" y="3977"/>
                  <a:pt x="145" y="3802"/>
                  <a:pt x="161" y="3595"/>
                </a:cubicBezTo>
                <a:cubicBezTo>
                  <a:pt x="225" y="3102"/>
                  <a:pt x="782" y="3118"/>
                  <a:pt x="797" y="3118"/>
                </a:cubicBezTo>
                <a:lnTo>
                  <a:pt x="3867" y="3118"/>
                </a:lnTo>
                <a:cubicBezTo>
                  <a:pt x="3899" y="3118"/>
                  <a:pt x="4440" y="3102"/>
                  <a:pt x="4504" y="3595"/>
                </a:cubicBezTo>
                <a:cubicBezTo>
                  <a:pt x="4519" y="3770"/>
                  <a:pt x="4504" y="3929"/>
                  <a:pt x="4424" y="40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5" name="Freeform: Shape 15">
            <a:extLst>
              <a:ext uri="{FF2B5EF4-FFF2-40B4-BE49-F238E27FC236}">
                <a16:creationId xmlns:a16="http://schemas.microsoft.com/office/drawing/2014/main" id="{566A2BB3-86A5-004A-BA95-273031075AD9}"/>
              </a:ext>
            </a:extLst>
          </p:cNvPr>
          <p:cNvSpPr/>
          <p:nvPr/>
        </p:nvSpPr>
        <p:spPr>
          <a:xfrm>
            <a:off x="21378096" y="9856993"/>
            <a:ext cx="1682639" cy="1597320"/>
          </a:xfrm>
          <a:custGeom>
            <a:avLst/>
            <a:gdLst/>
            <a:ahLst/>
            <a:cxnLst>
              <a:cxn ang="3cd4">
                <a:pos x="hc" y="t"/>
              </a:cxn>
              <a:cxn ang="cd2">
                <a:pos x="l" y="vc"/>
              </a:cxn>
              <a:cxn ang="cd4">
                <a:pos x="hc" y="b"/>
              </a:cxn>
              <a:cxn ang="0">
                <a:pos x="r" y="vc"/>
              </a:cxn>
            </a:cxnLst>
            <a:rect l="l" t="t" r="r" b="b"/>
            <a:pathLst>
              <a:path w="4675" h="4438">
                <a:moveTo>
                  <a:pt x="1504" y="1829"/>
                </a:moveTo>
                <a:cubicBezTo>
                  <a:pt x="1520" y="1877"/>
                  <a:pt x="1536" y="1909"/>
                  <a:pt x="1552" y="1957"/>
                </a:cubicBezTo>
                <a:cubicBezTo>
                  <a:pt x="1520" y="2005"/>
                  <a:pt x="1504" y="2052"/>
                  <a:pt x="1504" y="2115"/>
                </a:cubicBezTo>
                <a:cubicBezTo>
                  <a:pt x="1504" y="2195"/>
                  <a:pt x="1520" y="2259"/>
                  <a:pt x="1583" y="2323"/>
                </a:cubicBezTo>
                <a:cubicBezTo>
                  <a:pt x="1631" y="2370"/>
                  <a:pt x="1695" y="2402"/>
                  <a:pt x="1774" y="2402"/>
                </a:cubicBezTo>
                <a:cubicBezTo>
                  <a:pt x="1838" y="2402"/>
                  <a:pt x="1902" y="2370"/>
                  <a:pt x="1949" y="2338"/>
                </a:cubicBezTo>
                <a:cubicBezTo>
                  <a:pt x="1982" y="2354"/>
                  <a:pt x="2029" y="2370"/>
                  <a:pt x="2061" y="2386"/>
                </a:cubicBezTo>
                <a:cubicBezTo>
                  <a:pt x="2077" y="2529"/>
                  <a:pt x="2204" y="2624"/>
                  <a:pt x="2331" y="2624"/>
                </a:cubicBezTo>
                <a:cubicBezTo>
                  <a:pt x="2474" y="2624"/>
                  <a:pt x="2601" y="2529"/>
                  <a:pt x="2618" y="2386"/>
                </a:cubicBezTo>
                <a:cubicBezTo>
                  <a:pt x="2649" y="2370"/>
                  <a:pt x="2697" y="2354"/>
                  <a:pt x="2729" y="2338"/>
                </a:cubicBezTo>
                <a:cubicBezTo>
                  <a:pt x="2777" y="2370"/>
                  <a:pt x="2840" y="2402"/>
                  <a:pt x="2904" y="2402"/>
                </a:cubicBezTo>
                <a:cubicBezTo>
                  <a:pt x="2967" y="2402"/>
                  <a:pt x="3047" y="2370"/>
                  <a:pt x="3095" y="2323"/>
                </a:cubicBezTo>
                <a:cubicBezTo>
                  <a:pt x="3143" y="2259"/>
                  <a:pt x="3174" y="2195"/>
                  <a:pt x="3174" y="2115"/>
                </a:cubicBezTo>
                <a:cubicBezTo>
                  <a:pt x="3174" y="2052"/>
                  <a:pt x="3158" y="2005"/>
                  <a:pt x="3110" y="1957"/>
                </a:cubicBezTo>
                <a:cubicBezTo>
                  <a:pt x="3143" y="1909"/>
                  <a:pt x="3158" y="1877"/>
                  <a:pt x="3158" y="1829"/>
                </a:cubicBezTo>
                <a:cubicBezTo>
                  <a:pt x="3301" y="1814"/>
                  <a:pt x="3413" y="1702"/>
                  <a:pt x="3413" y="1559"/>
                </a:cubicBezTo>
                <a:cubicBezTo>
                  <a:pt x="3413" y="1416"/>
                  <a:pt x="3301" y="1305"/>
                  <a:pt x="3158" y="1288"/>
                </a:cubicBezTo>
                <a:cubicBezTo>
                  <a:pt x="3158" y="1241"/>
                  <a:pt x="3143" y="1209"/>
                  <a:pt x="3110" y="1161"/>
                </a:cubicBezTo>
                <a:cubicBezTo>
                  <a:pt x="3158" y="1114"/>
                  <a:pt x="3174" y="1066"/>
                  <a:pt x="3174" y="1002"/>
                </a:cubicBezTo>
                <a:cubicBezTo>
                  <a:pt x="3174" y="923"/>
                  <a:pt x="3143" y="859"/>
                  <a:pt x="3095" y="796"/>
                </a:cubicBezTo>
                <a:cubicBezTo>
                  <a:pt x="2999" y="700"/>
                  <a:pt x="2840" y="700"/>
                  <a:pt x="2729" y="779"/>
                </a:cubicBezTo>
                <a:cubicBezTo>
                  <a:pt x="2697" y="764"/>
                  <a:pt x="2649" y="748"/>
                  <a:pt x="2618" y="732"/>
                </a:cubicBezTo>
                <a:cubicBezTo>
                  <a:pt x="2601" y="589"/>
                  <a:pt x="2474" y="493"/>
                  <a:pt x="2331" y="493"/>
                </a:cubicBezTo>
                <a:cubicBezTo>
                  <a:pt x="2204" y="493"/>
                  <a:pt x="2077" y="589"/>
                  <a:pt x="2061" y="732"/>
                </a:cubicBezTo>
                <a:cubicBezTo>
                  <a:pt x="2029" y="748"/>
                  <a:pt x="1982" y="764"/>
                  <a:pt x="1949" y="779"/>
                </a:cubicBezTo>
                <a:cubicBezTo>
                  <a:pt x="1838" y="700"/>
                  <a:pt x="1679" y="700"/>
                  <a:pt x="1583" y="796"/>
                </a:cubicBezTo>
                <a:cubicBezTo>
                  <a:pt x="1520" y="859"/>
                  <a:pt x="1504" y="923"/>
                  <a:pt x="1504" y="1002"/>
                </a:cubicBezTo>
                <a:cubicBezTo>
                  <a:pt x="1504" y="1066"/>
                  <a:pt x="1520" y="1114"/>
                  <a:pt x="1552" y="1161"/>
                </a:cubicBezTo>
                <a:cubicBezTo>
                  <a:pt x="1536" y="1209"/>
                  <a:pt x="1520" y="1241"/>
                  <a:pt x="1504" y="1288"/>
                </a:cubicBezTo>
                <a:cubicBezTo>
                  <a:pt x="1377" y="1305"/>
                  <a:pt x="1265" y="1416"/>
                  <a:pt x="1265" y="1559"/>
                </a:cubicBezTo>
                <a:cubicBezTo>
                  <a:pt x="1265" y="1702"/>
                  <a:pt x="1377" y="1814"/>
                  <a:pt x="1504" y="1829"/>
                </a:cubicBezTo>
                <a:close/>
                <a:moveTo>
                  <a:pt x="1568" y="1448"/>
                </a:moveTo>
                <a:cubicBezTo>
                  <a:pt x="1600" y="1448"/>
                  <a:pt x="1631" y="1416"/>
                  <a:pt x="1647" y="1384"/>
                </a:cubicBezTo>
                <a:cubicBezTo>
                  <a:pt x="1663" y="1320"/>
                  <a:pt x="1695" y="1257"/>
                  <a:pt x="1727" y="1193"/>
                </a:cubicBezTo>
                <a:cubicBezTo>
                  <a:pt x="1743" y="1161"/>
                  <a:pt x="1743" y="1114"/>
                  <a:pt x="1711" y="1098"/>
                </a:cubicBezTo>
                <a:lnTo>
                  <a:pt x="1695" y="1082"/>
                </a:lnTo>
                <a:cubicBezTo>
                  <a:pt x="1663" y="1066"/>
                  <a:pt x="1663" y="1034"/>
                  <a:pt x="1663" y="1002"/>
                </a:cubicBezTo>
                <a:cubicBezTo>
                  <a:pt x="1663" y="970"/>
                  <a:pt x="1663" y="939"/>
                  <a:pt x="1695" y="907"/>
                </a:cubicBezTo>
                <a:cubicBezTo>
                  <a:pt x="1743" y="875"/>
                  <a:pt x="1822" y="875"/>
                  <a:pt x="1854" y="907"/>
                </a:cubicBezTo>
                <a:lnTo>
                  <a:pt x="1870" y="923"/>
                </a:lnTo>
                <a:cubicBezTo>
                  <a:pt x="1886" y="954"/>
                  <a:pt x="1934" y="970"/>
                  <a:pt x="1965" y="954"/>
                </a:cubicBezTo>
                <a:cubicBezTo>
                  <a:pt x="2029" y="907"/>
                  <a:pt x="2092" y="891"/>
                  <a:pt x="2156" y="875"/>
                </a:cubicBezTo>
                <a:cubicBezTo>
                  <a:pt x="2204" y="859"/>
                  <a:pt x="2220" y="811"/>
                  <a:pt x="2220" y="764"/>
                </a:cubicBezTo>
                <a:cubicBezTo>
                  <a:pt x="2220" y="700"/>
                  <a:pt x="2268" y="652"/>
                  <a:pt x="2331" y="652"/>
                </a:cubicBezTo>
                <a:cubicBezTo>
                  <a:pt x="2411" y="652"/>
                  <a:pt x="2458" y="700"/>
                  <a:pt x="2458" y="779"/>
                </a:cubicBezTo>
                <a:cubicBezTo>
                  <a:pt x="2458" y="827"/>
                  <a:pt x="2474" y="859"/>
                  <a:pt x="2522" y="875"/>
                </a:cubicBezTo>
                <a:cubicBezTo>
                  <a:pt x="2586" y="891"/>
                  <a:pt x="2649" y="907"/>
                  <a:pt x="2697" y="954"/>
                </a:cubicBezTo>
                <a:cubicBezTo>
                  <a:pt x="2745" y="970"/>
                  <a:pt x="2777" y="954"/>
                  <a:pt x="2809" y="923"/>
                </a:cubicBezTo>
                <a:cubicBezTo>
                  <a:pt x="2809" y="918"/>
                  <a:pt x="2824" y="923"/>
                  <a:pt x="2809" y="907"/>
                </a:cubicBezTo>
                <a:cubicBezTo>
                  <a:pt x="2856" y="875"/>
                  <a:pt x="2936" y="875"/>
                  <a:pt x="2983" y="907"/>
                </a:cubicBezTo>
                <a:cubicBezTo>
                  <a:pt x="3031" y="954"/>
                  <a:pt x="3031" y="1034"/>
                  <a:pt x="2983" y="1082"/>
                </a:cubicBezTo>
                <a:cubicBezTo>
                  <a:pt x="2978" y="1087"/>
                  <a:pt x="2967" y="1082"/>
                  <a:pt x="2967" y="1098"/>
                </a:cubicBezTo>
                <a:cubicBezTo>
                  <a:pt x="2936" y="1114"/>
                  <a:pt x="2936" y="1161"/>
                  <a:pt x="2952" y="1193"/>
                </a:cubicBezTo>
                <a:cubicBezTo>
                  <a:pt x="2983" y="1257"/>
                  <a:pt x="3015" y="1320"/>
                  <a:pt x="3031" y="1384"/>
                </a:cubicBezTo>
                <a:cubicBezTo>
                  <a:pt x="3031" y="1416"/>
                  <a:pt x="3095" y="1448"/>
                  <a:pt x="3127" y="1448"/>
                </a:cubicBezTo>
                <a:cubicBezTo>
                  <a:pt x="3206" y="1448"/>
                  <a:pt x="3254" y="1496"/>
                  <a:pt x="3254" y="1559"/>
                </a:cubicBezTo>
                <a:cubicBezTo>
                  <a:pt x="3254" y="1623"/>
                  <a:pt x="3190" y="1686"/>
                  <a:pt x="3110" y="1670"/>
                </a:cubicBezTo>
                <a:cubicBezTo>
                  <a:pt x="3079" y="1670"/>
                  <a:pt x="3047" y="1702"/>
                  <a:pt x="3031" y="1734"/>
                </a:cubicBezTo>
                <a:cubicBezTo>
                  <a:pt x="3015" y="1797"/>
                  <a:pt x="2983" y="1861"/>
                  <a:pt x="2952" y="1925"/>
                </a:cubicBezTo>
                <a:cubicBezTo>
                  <a:pt x="2936" y="1957"/>
                  <a:pt x="2936" y="2005"/>
                  <a:pt x="2967" y="2036"/>
                </a:cubicBezTo>
                <a:lnTo>
                  <a:pt x="2983" y="2036"/>
                </a:lnTo>
                <a:cubicBezTo>
                  <a:pt x="3031" y="2084"/>
                  <a:pt x="3031" y="2163"/>
                  <a:pt x="2983" y="2211"/>
                </a:cubicBezTo>
                <a:cubicBezTo>
                  <a:pt x="2936" y="2243"/>
                  <a:pt x="2856" y="2243"/>
                  <a:pt x="2824" y="2211"/>
                </a:cubicBezTo>
                <a:lnTo>
                  <a:pt x="2809" y="2195"/>
                </a:lnTo>
                <a:cubicBezTo>
                  <a:pt x="2777" y="2163"/>
                  <a:pt x="2745" y="2148"/>
                  <a:pt x="2697" y="2179"/>
                </a:cubicBezTo>
                <a:cubicBezTo>
                  <a:pt x="2649" y="2211"/>
                  <a:pt x="2586" y="2227"/>
                  <a:pt x="2522" y="2259"/>
                </a:cubicBezTo>
                <a:cubicBezTo>
                  <a:pt x="2474" y="2259"/>
                  <a:pt x="2458" y="2306"/>
                  <a:pt x="2458" y="2354"/>
                </a:cubicBezTo>
                <a:cubicBezTo>
                  <a:pt x="2458" y="2418"/>
                  <a:pt x="2411" y="2466"/>
                  <a:pt x="2331" y="2466"/>
                </a:cubicBezTo>
                <a:cubicBezTo>
                  <a:pt x="2268" y="2466"/>
                  <a:pt x="2220" y="2418"/>
                  <a:pt x="2220" y="2338"/>
                </a:cubicBezTo>
                <a:cubicBezTo>
                  <a:pt x="2220" y="2306"/>
                  <a:pt x="2204" y="2259"/>
                  <a:pt x="2156" y="2259"/>
                </a:cubicBezTo>
                <a:cubicBezTo>
                  <a:pt x="2092" y="2227"/>
                  <a:pt x="2029" y="2211"/>
                  <a:pt x="1965" y="2179"/>
                </a:cubicBezTo>
                <a:cubicBezTo>
                  <a:pt x="1965" y="2163"/>
                  <a:pt x="1949" y="2163"/>
                  <a:pt x="1934" y="2163"/>
                </a:cubicBezTo>
                <a:cubicBezTo>
                  <a:pt x="1902" y="2163"/>
                  <a:pt x="1886" y="2179"/>
                  <a:pt x="1870" y="2195"/>
                </a:cubicBezTo>
                <a:lnTo>
                  <a:pt x="1854" y="2211"/>
                </a:lnTo>
                <a:cubicBezTo>
                  <a:pt x="1838" y="2227"/>
                  <a:pt x="1806" y="2243"/>
                  <a:pt x="1774" y="2243"/>
                </a:cubicBezTo>
                <a:cubicBezTo>
                  <a:pt x="1743" y="2243"/>
                  <a:pt x="1711" y="2227"/>
                  <a:pt x="1695" y="2211"/>
                </a:cubicBezTo>
                <a:cubicBezTo>
                  <a:pt x="1663" y="2179"/>
                  <a:pt x="1663" y="2148"/>
                  <a:pt x="1663" y="2115"/>
                </a:cubicBezTo>
                <a:cubicBezTo>
                  <a:pt x="1663" y="2084"/>
                  <a:pt x="1663" y="2052"/>
                  <a:pt x="1679" y="2036"/>
                </a:cubicBezTo>
                <a:lnTo>
                  <a:pt x="1711" y="2036"/>
                </a:lnTo>
                <a:cubicBezTo>
                  <a:pt x="1743" y="2005"/>
                  <a:pt x="1743" y="1957"/>
                  <a:pt x="1727" y="1925"/>
                </a:cubicBezTo>
                <a:cubicBezTo>
                  <a:pt x="1695" y="1861"/>
                  <a:pt x="1663" y="1797"/>
                  <a:pt x="1647" y="1734"/>
                </a:cubicBezTo>
                <a:cubicBezTo>
                  <a:pt x="1631" y="1702"/>
                  <a:pt x="1583" y="1670"/>
                  <a:pt x="1552" y="1686"/>
                </a:cubicBezTo>
                <a:cubicBezTo>
                  <a:pt x="1473" y="1686"/>
                  <a:pt x="1425" y="1623"/>
                  <a:pt x="1425" y="1559"/>
                </a:cubicBezTo>
                <a:cubicBezTo>
                  <a:pt x="1425" y="1496"/>
                  <a:pt x="1473" y="1448"/>
                  <a:pt x="1568" y="1448"/>
                </a:cubicBezTo>
                <a:close/>
                <a:moveTo>
                  <a:pt x="2331" y="1909"/>
                </a:moveTo>
                <a:cubicBezTo>
                  <a:pt x="2522" y="1909"/>
                  <a:pt x="2681" y="1750"/>
                  <a:pt x="2681" y="1559"/>
                </a:cubicBezTo>
                <a:cubicBezTo>
                  <a:pt x="2681" y="1368"/>
                  <a:pt x="2522" y="1209"/>
                  <a:pt x="2331" y="1209"/>
                </a:cubicBezTo>
                <a:cubicBezTo>
                  <a:pt x="2140" y="1209"/>
                  <a:pt x="1997" y="1368"/>
                  <a:pt x="1997" y="1559"/>
                </a:cubicBezTo>
                <a:cubicBezTo>
                  <a:pt x="1997" y="1750"/>
                  <a:pt x="2140" y="1909"/>
                  <a:pt x="2331" y="1909"/>
                </a:cubicBezTo>
                <a:close/>
                <a:moveTo>
                  <a:pt x="2331" y="1368"/>
                </a:moveTo>
                <a:cubicBezTo>
                  <a:pt x="2443" y="1368"/>
                  <a:pt x="2522" y="1463"/>
                  <a:pt x="2522" y="1559"/>
                </a:cubicBezTo>
                <a:cubicBezTo>
                  <a:pt x="2522" y="1654"/>
                  <a:pt x="2443" y="1750"/>
                  <a:pt x="2331" y="1750"/>
                </a:cubicBezTo>
                <a:cubicBezTo>
                  <a:pt x="2236" y="1750"/>
                  <a:pt x="2156" y="1654"/>
                  <a:pt x="2156" y="1559"/>
                </a:cubicBezTo>
                <a:cubicBezTo>
                  <a:pt x="2156" y="1463"/>
                  <a:pt x="2236" y="1368"/>
                  <a:pt x="2331" y="1368"/>
                </a:cubicBezTo>
                <a:close/>
                <a:moveTo>
                  <a:pt x="3858" y="3277"/>
                </a:moveTo>
                <a:cubicBezTo>
                  <a:pt x="3715" y="3277"/>
                  <a:pt x="3588" y="3388"/>
                  <a:pt x="3588" y="3547"/>
                </a:cubicBezTo>
                <a:cubicBezTo>
                  <a:pt x="3588" y="3706"/>
                  <a:pt x="3715" y="3818"/>
                  <a:pt x="3858" y="3818"/>
                </a:cubicBezTo>
                <a:cubicBezTo>
                  <a:pt x="4017" y="3818"/>
                  <a:pt x="4145" y="3706"/>
                  <a:pt x="4145" y="3547"/>
                </a:cubicBezTo>
                <a:cubicBezTo>
                  <a:pt x="4145" y="3388"/>
                  <a:pt x="4017" y="3277"/>
                  <a:pt x="3858" y="3277"/>
                </a:cubicBezTo>
                <a:close/>
                <a:moveTo>
                  <a:pt x="3858" y="3674"/>
                </a:moveTo>
                <a:cubicBezTo>
                  <a:pt x="3795" y="3674"/>
                  <a:pt x="3747" y="3611"/>
                  <a:pt x="3747" y="3547"/>
                </a:cubicBezTo>
                <a:cubicBezTo>
                  <a:pt x="3747" y="3484"/>
                  <a:pt x="3795" y="3436"/>
                  <a:pt x="3858" y="3436"/>
                </a:cubicBezTo>
                <a:cubicBezTo>
                  <a:pt x="3922" y="3436"/>
                  <a:pt x="3985" y="3484"/>
                  <a:pt x="3985" y="3547"/>
                </a:cubicBezTo>
                <a:cubicBezTo>
                  <a:pt x="3985" y="3611"/>
                  <a:pt x="3922" y="3674"/>
                  <a:pt x="3858" y="3674"/>
                </a:cubicBezTo>
                <a:close/>
                <a:moveTo>
                  <a:pt x="4288" y="636"/>
                </a:moveTo>
                <a:cubicBezTo>
                  <a:pt x="4240" y="270"/>
                  <a:pt x="3922" y="0"/>
                  <a:pt x="3556" y="0"/>
                </a:cubicBezTo>
                <a:lnTo>
                  <a:pt x="1122" y="0"/>
                </a:lnTo>
                <a:cubicBezTo>
                  <a:pt x="756" y="0"/>
                  <a:pt x="438" y="270"/>
                  <a:pt x="375" y="636"/>
                </a:cubicBezTo>
                <a:lnTo>
                  <a:pt x="9" y="3515"/>
                </a:lnTo>
                <a:cubicBezTo>
                  <a:pt x="-23" y="3802"/>
                  <a:pt x="25" y="4024"/>
                  <a:pt x="168" y="4199"/>
                </a:cubicBezTo>
                <a:cubicBezTo>
                  <a:pt x="375" y="4422"/>
                  <a:pt x="709" y="4438"/>
                  <a:pt x="788" y="4438"/>
                </a:cubicBezTo>
                <a:lnTo>
                  <a:pt x="804" y="4438"/>
                </a:lnTo>
                <a:lnTo>
                  <a:pt x="3874" y="4438"/>
                </a:lnTo>
                <a:cubicBezTo>
                  <a:pt x="3890" y="4438"/>
                  <a:pt x="4224" y="4454"/>
                  <a:pt x="4463" y="4231"/>
                </a:cubicBezTo>
                <a:cubicBezTo>
                  <a:pt x="4469" y="4226"/>
                  <a:pt x="4479" y="4231"/>
                  <a:pt x="4479" y="4215"/>
                </a:cubicBezTo>
                <a:cubicBezTo>
                  <a:pt x="4494" y="4215"/>
                  <a:pt x="4494" y="4199"/>
                  <a:pt x="4510" y="4199"/>
                </a:cubicBezTo>
                <a:lnTo>
                  <a:pt x="4510" y="4183"/>
                </a:lnTo>
                <a:lnTo>
                  <a:pt x="4526" y="4168"/>
                </a:lnTo>
                <a:lnTo>
                  <a:pt x="4542" y="4151"/>
                </a:lnTo>
                <a:lnTo>
                  <a:pt x="4542" y="4136"/>
                </a:lnTo>
                <a:cubicBezTo>
                  <a:pt x="4558" y="4136"/>
                  <a:pt x="4558" y="4136"/>
                  <a:pt x="4558" y="4120"/>
                </a:cubicBezTo>
                <a:cubicBezTo>
                  <a:pt x="4669" y="3961"/>
                  <a:pt x="4701" y="3754"/>
                  <a:pt x="4654" y="3515"/>
                </a:cubicBezTo>
                <a:close/>
                <a:moveTo>
                  <a:pt x="534" y="668"/>
                </a:moveTo>
                <a:cubicBezTo>
                  <a:pt x="582" y="366"/>
                  <a:pt x="836" y="159"/>
                  <a:pt x="1122" y="159"/>
                </a:cubicBezTo>
                <a:lnTo>
                  <a:pt x="3556" y="159"/>
                </a:lnTo>
                <a:cubicBezTo>
                  <a:pt x="3842" y="159"/>
                  <a:pt x="4097" y="366"/>
                  <a:pt x="4128" y="652"/>
                </a:cubicBezTo>
                <a:lnTo>
                  <a:pt x="4447" y="3150"/>
                </a:lnTo>
                <a:cubicBezTo>
                  <a:pt x="4272" y="2990"/>
                  <a:pt x="4017" y="2959"/>
                  <a:pt x="3874" y="2959"/>
                </a:cubicBezTo>
                <a:cubicBezTo>
                  <a:pt x="804" y="2959"/>
                  <a:pt x="1828" y="2959"/>
                  <a:pt x="804" y="2959"/>
                </a:cubicBezTo>
                <a:cubicBezTo>
                  <a:pt x="661" y="2959"/>
                  <a:pt x="407" y="2990"/>
                  <a:pt x="216" y="3166"/>
                </a:cubicBezTo>
                <a:close/>
                <a:moveTo>
                  <a:pt x="4431" y="4040"/>
                </a:moveTo>
                <a:lnTo>
                  <a:pt x="4415" y="4040"/>
                </a:lnTo>
                <a:lnTo>
                  <a:pt x="4415" y="4056"/>
                </a:lnTo>
                <a:lnTo>
                  <a:pt x="4399" y="4072"/>
                </a:lnTo>
                <a:lnTo>
                  <a:pt x="4399" y="4088"/>
                </a:lnTo>
                <a:lnTo>
                  <a:pt x="4383" y="4088"/>
                </a:lnTo>
                <a:cubicBezTo>
                  <a:pt x="4383" y="4104"/>
                  <a:pt x="4383" y="4104"/>
                  <a:pt x="4367" y="4104"/>
                </a:cubicBezTo>
                <a:lnTo>
                  <a:pt x="4351" y="4120"/>
                </a:lnTo>
                <a:cubicBezTo>
                  <a:pt x="4336" y="4136"/>
                  <a:pt x="4303" y="4168"/>
                  <a:pt x="4272" y="4183"/>
                </a:cubicBezTo>
                <a:cubicBezTo>
                  <a:pt x="4256" y="4183"/>
                  <a:pt x="4256" y="4183"/>
                  <a:pt x="4256" y="4199"/>
                </a:cubicBezTo>
                <a:lnTo>
                  <a:pt x="4240" y="4199"/>
                </a:lnTo>
                <a:lnTo>
                  <a:pt x="4224" y="4199"/>
                </a:lnTo>
                <a:cubicBezTo>
                  <a:pt x="4219" y="4204"/>
                  <a:pt x="4224" y="4215"/>
                  <a:pt x="4208" y="4215"/>
                </a:cubicBezTo>
                <a:cubicBezTo>
                  <a:pt x="4049" y="4295"/>
                  <a:pt x="3986" y="4258"/>
                  <a:pt x="3874" y="4279"/>
                </a:cubicBezTo>
                <a:cubicBezTo>
                  <a:pt x="804" y="4279"/>
                  <a:pt x="1828" y="4279"/>
                  <a:pt x="804" y="4279"/>
                </a:cubicBezTo>
                <a:cubicBezTo>
                  <a:pt x="635" y="4215"/>
                  <a:pt x="470" y="4295"/>
                  <a:pt x="295" y="4088"/>
                </a:cubicBezTo>
                <a:cubicBezTo>
                  <a:pt x="184" y="3977"/>
                  <a:pt x="152" y="3802"/>
                  <a:pt x="168" y="3595"/>
                </a:cubicBezTo>
                <a:cubicBezTo>
                  <a:pt x="232" y="3102"/>
                  <a:pt x="773" y="3118"/>
                  <a:pt x="804" y="3118"/>
                </a:cubicBezTo>
                <a:lnTo>
                  <a:pt x="3874" y="3118"/>
                </a:lnTo>
                <a:cubicBezTo>
                  <a:pt x="3890" y="3118"/>
                  <a:pt x="4447" y="3102"/>
                  <a:pt x="4510" y="3595"/>
                </a:cubicBezTo>
                <a:cubicBezTo>
                  <a:pt x="4526" y="3770"/>
                  <a:pt x="4494" y="3929"/>
                  <a:pt x="4431" y="40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6" name="Freeform: Shape 16">
            <a:extLst>
              <a:ext uri="{FF2B5EF4-FFF2-40B4-BE49-F238E27FC236}">
                <a16:creationId xmlns:a16="http://schemas.microsoft.com/office/drawing/2014/main" id="{56100F3C-ABA6-2D44-8AA2-BB6DE5C02481}"/>
              </a:ext>
            </a:extLst>
          </p:cNvPr>
          <p:cNvSpPr/>
          <p:nvPr/>
        </p:nvSpPr>
        <p:spPr>
          <a:xfrm>
            <a:off x="21186956" y="6465110"/>
            <a:ext cx="1683000" cy="1597320"/>
          </a:xfrm>
          <a:custGeom>
            <a:avLst/>
            <a:gdLst/>
            <a:ahLst/>
            <a:cxnLst>
              <a:cxn ang="3cd4">
                <a:pos x="hc" y="t"/>
              </a:cxn>
              <a:cxn ang="cd2">
                <a:pos x="l" y="vc"/>
              </a:cxn>
              <a:cxn ang="cd4">
                <a:pos x="hc" y="b"/>
              </a:cxn>
              <a:cxn ang="0">
                <a:pos x="r" y="vc"/>
              </a:cxn>
            </a:cxnLst>
            <a:rect l="l" t="t" r="r" b="b"/>
            <a:pathLst>
              <a:path w="4676" h="4438">
                <a:moveTo>
                  <a:pt x="3827" y="3817"/>
                </a:moveTo>
                <a:lnTo>
                  <a:pt x="3843" y="3817"/>
                </a:lnTo>
                <a:lnTo>
                  <a:pt x="3858" y="3817"/>
                </a:lnTo>
                <a:cubicBezTo>
                  <a:pt x="4018" y="3817"/>
                  <a:pt x="4145" y="3706"/>
                  <a:pt x="4145" y="3547"/>
                </a:cubicBezTo>
                <a:cubicBezTo>
                  <a:pt x="4145" y="3388"/>
                  <a:pt x="4018" y="3276"/>
                  <a:pt x="3858" y="3276"/>
                </a:cubicBezTo>
                <a:lnTo>
                  <a:pt x="3843" y="3276"/>
                </a:lnTo>
                <a:lnTo>
                  <a:pt x="3827" y="3276"/>
                </a:lnTo>
                <a:cubicBezTo>
                  <a:pt x="3684" y="3276"/>
                  <a:pt x="3557" y="3388"/>
                  <a:pt x="3557" y="3547"/>
                </a:cubicBezTo>
                <a:cubicBezTo>
                  <a:pt x="3557" y="3706"/>
                  <a:pt x="3684" y="3817"/>
                  <a:pt x="3827" y="3817"/>
                </a:cubicBezTo>
                <a:close/>
                <a:moveTo>
                  <a:pt x="3843" y="3435"/>
                </a:moveTo>
                <a:cubicBezTo>
                  <a:pt x="3906" y="3435"/>
                  <a:pt x="3954" y="3483"/>
                  <a:pt x="3954" y="3547"/>
                </a:cubicBezTo>
                <a:cubicBezTo>
                  <a:pt x="3954" y="3611"/>
                  <a:pt x="3906" y="3658"/>
                  <a:pt x="3843" y="3658"/>
                </a:cubicBezTo>
                <a:cubicBezTo>
                  <a:pt x="3795" y="3658"/>
                  <a:pt x="3748" y="3611"/>
                  <a:pt x="3748" y="3547"/>
                </a:cubicBezTo>
                <a:cubicBezTo>
                  <a:pt x="3748" y="3483"/>
                  <a:pt x="3795" y="3435"/>
                  <a:pt x="3843" y="3435"/>
                </a:cubicBezTo>
                <a:close/>
                <a:moveTo>
                  <a:pt x="805" y="4438"/>
                </a:moveTo>
                <a:lnTo>
                  <a:pt x="3858" y="4438"/>
                </a:lnTo>
                <a:cubicBezTo>
                  <a:pt x="3875" y="4438"/>
                  <a:pt x="4224" y="4453"/>
                  <a:pt x="4463" y="4247"/>
                </a:cubicBezTo>
                <a:lnTo>
                  <a:pt x="4463" y="4231"/>
                </a:lnTo>
                <a:cubicBezTo>
                  <a:pt x="4468" y="4226"/>
                  <a:pt x="4479" y="4231"/>
                  <a:pt x="4479" y="4215"/>
                </a:cubicBezTo>
                <a:cubicBezTo>
                  <a:pt x="4495" y="4215"/>
                  <a:pt x="4490" y="4204"/>
                  <a:pt x="4495" y="4199"/>
                </a:cubicBezTo>
                <a:lnTo>
                  <a:pt x="4511" y="4199"/>
                </a:lnTo>
                <a:lnTo>
                  <a:pt x="4511" y="4183"/>
                </a:lnTo>
                <a:lnTo>
                  <a:pt x="4527" y="4167"/>
                </a:lnTo>
                <a:lnTo>
                  <a:pt x="4527" y="4151"/>
                </a:lnTo>
                <a:cubicBezTo>
                  <a:pt x="4543" y="4151"/>
                  <a:pt x="4543" y="4151"/>
                  <a:pt x="4543" y="4135"/>
                </a:cubicBezTo>
                <a:cubicBezTo>
                  <a:pt x="4548" y="4130"/>
                  <a:pt x="4558" y="4135"/>
                  <a:pt x="4558" y="4120"/>
                </a:cubicBezTo>
                <a:cubicBezTo>
                  <a:pt x="4670" y="3960"/>
                  <a:pt x="4702" y="3754"/>
                  <a:pt x="4654" y="3515"/>
                </a:cubicBezTo>
                <a:lnTo>
                  <a:pt x="4288" y="636"/>
                </a:lnTo>
                <a:cubicBezTo>
                  <a:pt x="4240" y="270"/>
                  <a:pt x="3922" y="0"/>
                  <a:pt x="3557" y="0"/>
                </a:cubicBezTo>
                <a:lnTo>
                  <a:pt x="1123" y="0"/>
                </a:lnTo>
                <a:cubicBezTo>
                  <a:pt x="741" y="0"/>
                  <a:pt x="423" y="270"/>
                  <a:pt x="376" y="636"/>
                </a:cubicBezTo>
                <a:lnTo>
                  <a:pt x="10" y="3515"/>
                </a:lnTo>
                <a:cubicBezTo>
                  <a:pt x="-23" y="3801"/>
                  <a:pt x="25" y="4024"/>
                  <a:pt x="168" y="4199"/>
                </a:cubicBezTo>
                <a:cubicBezTo>
                  <a:pt x="376" y="4421"/>
                  <a:pt x="709" y="4438"/>
                  <a:pt x="789" y="4438"/>
                </a:cubicBezTo>
                <a:close/>
                <a:moveTo>
                  <a:pt x="534" y="668"/>
                </a:moveTo>
                <a:cubicBezTo>
                  <a:pt x="582" y="366"/>
                  <a:pt x="821" y="159"/>
                  <a:pt x="1123" y="159"/>
                </a:cubicBezTo>
                <a:lnTo>
                  <a:pt x="3557" y="159"/>
                </a:lnTo>
                <a:cubicBezTo>
                  <a:pt x="3843" y="159"/>
                  <a:pt x="4097" y="366"/>
                  <a:pt x="4129" y="652"/>
                </a:cubicBezTo>
                <a:lnTo>
                  <a:pt x="4447" y="3165"/>
                </a:lnTo>
                <a:cubicBezTo>
                  <a:pt x="4272" y="2990"/>
                  <a:pt x="4018" y="2958"/>
                  <a:pt x="3875" y="2958"/>
                </a:cubicBezTo>
                <a:lnTo>
                  <a:pt x="805" y="2958"/>
                </a:lnTo>
                <a:cubicBezTo>
                  <a:pt x="646" y="2958"/>
                  <a:pt x="407" y="2990"/>
                  <a:pt x="216" y="3165"/>
                </a:cubicBezTo>
                <a:close/>
                <a:moveTo>
                  <a:pt x="280" y="4088"/>
                </a:moveTo>
                <a:cubicBezTo>
                  <a:pt x="185" y="3976"/>
                  <a:pt x="137" y="3801"/>
                  <a:pt x="168" y="3594"/>
                </a:cubicBezTo>
                <a:cubicBezTo>
                  <a:pt x="232" y="3102"/>
                  <a:pt x="773" y="3117"/>
                  <a:pt x="805" y="3117"/>
                </a:cubicBezTo>
                <a:lnTo>
                  <a:pt x="3875" y="3117"/>
                </a:lnTo>
                <a:cubicBezTo>
                  <a:pt x="3891" y="3117"/>
                  <a:pt x="4447" y="3102"/>
                  <a:pt x="4511" y="3594"/>
                </a:cubicBezTo>
                <a:cubicBezTo>
                  <a:pt x="4527" y="3769"/>
                  <a:pt x="4495" y="3929"/>
                  <a:pt x="4431" y="4040"/>
                </a:cubicBezTo>
                <a:lnTo>
                  <a:pt x="4415" y="4040"/>
                </a:lnTo>
                <a:lnTo>
                  <a:pt x="4415" y="4056"/>
                </a:lnTo>
                <a:cubicBezTo>
                  <a:pt x="4400" y="4056"/>
                  <a:pt x="4405" y="4067"/>
                  <a:pt x="4400" y="4072"/>
                </a:cubicBezTo>
                <a:lnTo>
                  <a:pt x="4384" y="4088"/>
                </a:lnTo>
                <a:cubicBezTo>
                  <a:pt x="4384" y="4103"/>
                  <a:pt x="4373" y="4098"/>
                  <a:pt x="4367" y="4103"/>
                </a:cubicBezTo>
                <a:lnTo>
                  <a:pt x="4352" y="4120"/>
                </a:lnTo>
                <a:cubicBezTo>
                  <a:pt x="4161" y="4294"/>
                  <a:pt x="4034" y="4225"/>
                  <a:pt x="3875" y="4278"/>
                </a:cubicBezTo>
                <a:lnTo>
                  <a:pt x="805" y="4278"/>
                </a:lnTo>
                <a:cubicBezTo>
                  <a:pt x="630" y="4215"/>
                  <a:pt x="471" y="4294"/>
                  <a:pt x="280" y="408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7" name="Freeform: Shape 17">
            <a:extLst>
              <a:ext uri="{FF2B5EF4-FFF2-40B4-BE49-F238E27FC236}">
                <a16:creationId xmlns:a16="http://schemas.microsoft.com/office/drawing/2014/main" id="{BF89BFE0-CDC5-5746-9004-925244950E3A}"/>
              </a:ext>
            </a:extLst>
          </p:cNvPr>
          <p:cNvSpPr/>
          <p:nvPr/>
        </p:nvSpPr>
        <p:spPr>
          <a:xfrm>
            <a:off x="13939038" y="9908473"/>
            <a:ext cx="1680119" cy="1597320"/>
          </a:xfrm>
          <a:custGeom>
            <a:avLst/>
            <a:gdLst/>
            <a:ahLst/>
            <a:cxnLst>
              <a:cxn ang="3cd4">
                <a:pos x="hc" y="t"/>
              </a:cxn>
              <a:cxn ang="cd2">
                <a:pos x="l" y="vc"/>
              </a:cxn>
              <a:cxn ang="cd4">
                <a:pos x="hc" y="b"/>
              </a:cxn>
              <a:cxn ang="0">
                <a:pos x="r" y="vc"/>
              </a:cxn>
            </a:cxnLst>
            <a:rect l="l" t="t" r="r" b="b"/>
            <a:pathLst>
              <a:path w="4668" h="4438">
                <a:moveTo>
                  <a:pt x="1846" y="2148"/>
                </a:moveTo>
                <a:cubicBezTo>
                  <a:pt x="1862" y="2148"/>
                  <a:pt x="1867" y="2158"/>
                  <a:pt x="1878" y="2163"/>
                </a:cubicBezTo>
                <a:cubicBezTo>
                  <a:pt x="1894" y="2163"/>
                  <a:pt x="1910" y="2148"/>
                  <a:pt x="1926" y="2148"/>
                </a:cubicBezTo>
                <a:lnTo>
                  <a:pt x="2816" y="1639"/>
                </a:lnTo>
                <a:cubicBezTo>
                  <a:pt x="2848" y="1623"/>
                  <a:pt x="2864" y="1591"/>
                  <a:pt x="2864" y="1559"/>
                </a:cubicBezTo>
                <a:cubicBezTo>
                  <a:pt x="2864" y="1527"/>
                  <a:pt x="2848" y="1511"/>
                  <a:pt x="2816" y="1496"/>
                </a:cubicBezTo>
                <a:lnTo>
                  <a:pt x="1926" y="987"/>
                </a:lnTo>
                <a:cubicBezTo>
                  <a:pt x="1894" y="971"/>
                  <a:pt x="1862" y="971"/>
                  <a:pt x="1846" y="987"/>
                </a:cubicBezTo>
                <a:cubicBezTo>
                  <a:pt x="1815" y="987"/>
                  <a:pt x="1798" y="1018"/>
                  <a:pt x="1798" y="1050"/>
                </a:cubicBezTo>
                <a:lnTo>
                  <a:pt x="1798" y="2084"/>
                </a:lnTo>
                <a:cubicBezTo>
                  <a:pt x="1798" y="2100"/>
                  <a:pt x="1815" y="2132"/>
                  <a:pt x="1846" y="2148"/>
                </a:cubicBezTo>
                <a:close/>
                <a:moveTo>
                  <a:pt x="1958" y="1177"/>
                </a:moveTo>
                <a:lnTo>
                  <a:pt x="2626" y="1559"/>
                </a:lnTo>
                <a:lnTo>
                  <a:pt x="1958" y="1941"/>
                </a:lnTo>
                <a:close/>
                <a:moveTo>
                  <a:pt x="3851" y="3277"/>
                </a:moveTo>
                <a:cubicBezTo>
                  <a:pt x="3707" y="3277"/>
                  <a:pt x="3580" y="3388"/>
                  <a:pt x="3580" y="3547"/>
                </a:cubicBezTo>
                <a:cubicBezTo>
                  <a:pt x="3580" y="3707"/>
                  <a:pt x="3707" y="3818"/>
                  <a:pt x="3851" y="3818"/>
                </a:cubicBezTo>
                <a:cubicBezTo>
                  <a:pt x="4009" y="3818"/>
                  <a:pt x="4137" y="3707"/>
                  <a:pt x="4137" y="3547"/>
                </a:cubicBezTo>
                <a:cubicBezTo>
                  <a:pt x="4137" y="3388"/>
                  <a:pt x="4009" y="3277"/>
                  <a:pt x="3851" y="3277"/>
                </a:cubicBezTo>
                <a:close/>
                <a:moveTo>
                  <a:pt x="3851" y="3675"/>
                </a:moveTo>
                <a:cubicBezTo>
                  <a:pt x="3787" y="3675"/>
                  <a:pt x="3739" y="3611"/>
                  <a:pt x="3739" y="3547"/>
                </a:cubicBezTo>
                <a:cubicBezTo>
                  <a:pt x="3739" y="3484"/>
                  <a:pt x="3787" y="3436"/>
                  <a:pt x="3851" y="3436"/>
                </a:cubicBezTo>
                <a:cubicBezTo>
                  <a:pt x="3930" y="3436"/>
                  <a:pt x="3978" y="3484"/>
                  <a:pt x="3978" y="3547"/>
                </a:cubicBezTo>
                <a:cubicBezTo>
                  <a:pt x="3978" y="3611"/>
                  <a:pt x="3930" y="3675"/>
                  <a:pt x="3851" y="3675"/>
                </a:cubicBezTo>
                <a:close/>
                <a:moveTo>
                  <a:pt x="4281" y="636"/>
                </a:moveTo>
                <a:cubicBezTo>
                  <a:pt x="4233" y="271"/>
                  <a:pt x="3915" y="0"/>
                  <a:pt x="3549" y="0"/>
                </a:cubicBezTo>
                <a:lnTo>
                  <a:pt x="1116" y="0"/>
                </a:lnTo>
                <a:cubicBezTo>
                  <a:pt x="750" y="0"/>
                  <a:pt x="432" y="271"/>
                  <a:pt x="384" y="636"/>
                </a:cubicBezTo>
                <a:lnTo>
                  <a:pt x="18" y="3516"/>
                </a:lnTo>
                <a:cubicBezTo>
                  <a:pt x="-29" y="3802"/>
                  <a:pt x="18" y="4025"/>
                  <a:pt x="162" y="4199"/>
                </a:cubicBezTo>
                <a:cubicBezTo>
                  <a:pt x="368" y="4422"/>
                  <a:pt x="702" y="4438"/>
                  <a:pt x="781" y="4438"/>
                </a:cubicBezTo>
                <a:lnTo>
                  <a:pt x="798" y="4438"/>
                </a:lnTo>
                <a:lnTo>
                  <a:pt x="3867" y="4438"/>
                </a:lnTo>
                <a:cubicBezTo>
                  <a:pt x="3936" y="4433"/>
                  <a:pt x="3963" y="4438"/>
                  <a:pt x="4074" y="4422"/>
                </a:cubicBezTo>
                <a:cubicBezTo>
                  <a:pt x="4090" y="4422"/>
                  <a:pt x="4090" y="4422"/>
                  <a:pt x="4106" y="4406"/>
                </a:cubicBezTo>
                <a:lnTo>
                  <a:pt x="4122" y="4406"/>
                </a:lnTo>
                <a:lnTo>
                  <a:pt x="4138" y="4406"/>
                </a:lnTo>
                <a:lnTo>
                  <a:pt x="4153" y="4406"/>
                </a:lnTo>
                <a:lnTo>
                  <a:pt x="4170" y="4390"/>
                </a:lnTo>
                <a:lnTo>
                  <a:pt x="4186" y="4390"/>
                </a:lnTo>
                <a:lnTo>
                  <a:pt x="4201" y="4390"/>
                </a:lnTo>
                <a:lnTo>
                  <a:pt x="4217" y="4374"/>
                </a:lnTo>
                <a:lnTo>
                  <a:pt x="4233" y="4374"/>
                </a:lnTo>
                <a:lnTo>
                  <a:pt x="4249" y="4374"/>
                </a:lnTo>
                <a:cubicBezTo>
                  <a:pt x="4249" y="4359"/>
                  <a:pt x="4249" y="4359"/>
                  <a:pt x="4265" y="4359"/>
                </a:cubicBezTo>
                <a:lnTo>
                  <a:pt x="4281" y="4359"/>
                </a:lnTo>
                <a:cubicBezTo>
                  <a:pt x="4329" y="4327"/>
                  <a:pt x="4361" y="4311"/>
                  <a:pt x="4408" y="4279"/>
                </a:cubicBezTo>
                <a:lnTo>
                  <a:pt x="4424" y="4263"/>
                </a:lnTo>
                <a:cubicBezTo>
                  <a:pt x="4440" y="4247"/>
                  <a:pt x="4440" y="4247"/>
                  <a:pt x="4456" y="4247"/>
                </a:cubicBezTo>
                <a:lnTo>
                  <a:pt x="4456" y="4231"/>
                </a:lnTo>
                <a:cubicBezTo>
                  <a:pt x="4461" y="4226"/>
                  <a:pt x="4472" y="4231"/>
                  <a:pt x="4472" y="4216"/>
                </a:cubicBezTo>
                <a:lnTo>
                  <a:pt x="4488" y="4216"/>
                </a:lnTo>
                <a:cubicBezTo>
                  <a:pt x="4493" y="4210"/>
                  <a:pt x="4488" y="4199"/>
                  <a:pt x="4504" y="4199"/>
                </a:cubicBezTo>
                <a:lnTo>
                  <a:pt x="4504" y="4184"/>
                </a:lnTo>
                <a:lnTo>
                  <a:pt x="4519" y="4168"/>
                </a:lnTo>
                <a:lnTo>
                  <a:pt x="4535" y="4152"/>
                </a:lnTo>
                <a:lnTo>
                  <a:pt x="4535" y="4136"/>
                </a:lnTo>
                <a:cubicBezTo>
                  <a:pt x="4552" y="4136"/>
                  <a:pt x="4552" y="4136"/>
                  <a:pt x="4552" y="4120"/>
                </a:cubicBezTo>
                <a:cubicBezTo>
                  <a:pt x="4662" y="3961"/>
                  <a:pt x="4695" y="3754"/>
                  <a:pt x="4647" y="3516"/>
                </a:cubicBezTo>
                <a:close/>
                <a:moveTo>
                  <a:pt x="527" y="653"/>
                </a:moveTo>
                <a:cubicBezTo>
                  <a:pt x="575" y="366"/>
                  <a:pt x="829" y="159"/>
                  <a:pt x="1116" y="159"/>
                </a:cubicBezTo>
                <a:lnTo>
                  <a:pt x="3549" y="159"/>
                </a:lnTo>
                <a:cubicBezTo>
                  <a:pt x="3835" y="159"/>
                  <a:pt x="4090" y="366"/>
                  <a:pt x="4138" y="653"/>
                </a:cubicBezTo>
                <a:lnTo>
                  <a:pt x="4456" y="3166"/>
                </a:lnTo>
                <a:cubicBezTo>
                  <a:pt x="4265" y="2990"/>
                  <a:pt x="4010" y="2959"/>
                  <a:pt x="3867" y="2959"/>
                </a:cubicBezTo>
                <a:lnTo>
                  <a:pt x="798" y="2959"/>
                </a:lnTo>
                <a:cubicBezTo>
                  <a:pt x="654" y="2959"/>
                  <a:pt x="400" y="2990"/>
                  <a:pt x="209" y="3150"/>
                </a:cubicBezTo>
                <a:close/>
                <a:moveTo>
                  <a:pt x="4424" y="4040"/>
                </a:moveTo>
                <a:cubicBezTo>
                  <a:pt x="4418" y="4045"/>
                  <a:pt x="4408" y="4040"/>
                  <a:pt x="4408" y="4056"/>
                </a:cubicBezTo>
                <a:lnTo>
                  <a:pt x="4392" y="4072"/>
                </a:lnTo>
                <a:cubicBezTo>
                  <a:pt x="4344" y="4136"/>
                  <a:pt x="4281" y="4184"/>
                  <a:pt x="4217" y="4199"/>
                </a:cubicBezTo>
                <a:cubicBezTo>
                  <a:pt x="4217" y="4216"/>
                  <a:pt x="4206" y="4210"/>
                  <a:pt x="4201" y="4216"/>
                </a:cubicBezTo>
                <a:lnTo>
                  <a:pt x="4186" y="4216"/>
                </a:lnTo>
                <a:lnTo>
                  <a:pt x="4186" y="4231"/>
                </a:lnTo>
                <a:lnTo>
                  <a:pt x="4170" y="4231"/>
                </a:lnTo>
                <a:lnTo>
                  <a:pt x="4153" y="4231"/>
                </a:lnTo>
                <a:cubicBezTo>
                  <a:pt x="4010" y="4279"/>
                  <a:pt x="3962" y="4263"/>
                  <a:pt x="3867" y="4279"/>
                </a:cubicBezTo>
                <a:lnTo>
                  <a:pt x="798" y="4279"/>
                </a:lnTo>
                <a:cubicBezTo>
                  <a:pt x="628" y="4215"/>
                  <a:pt x="463" y="4295"/>
                  <a:pt x="289" y="4088"/>
                </a:cubicBezTo>
                <a:cubicBezTo>
                  <a:pt x="272" y="4072"/>
                  <a:pt x="272" y="4072"/>
                  <a:pt x="257" y="4056"/>
                </a:cubicBezTo>
                <a:cubicBezTo>
                  <a:pt x="177" y="3945"/>
                  <a:pt x="145" y="3786"/>
                  <a:pt x="162" y="3595"/>
                </a:cubicBezTo>
                <a:cubicBezTo>
                  <a:pt x="225" y="3102"/>
                  <a:pt x="781" y="3118"/>
                  <a:pt x="798" y="3118"/>
                </a:cubicBezTo>
                <a:lnTo>
                  <a:pt x="3867" y="3118"/>
                </a:lnTo>
                <a:cubicBezTo>
                  <a:pt x="3899" y="3118"/>
                  <a:pt x="4440" y="3102"/>
                  <a:pt x="4504" y="3595"/>
                </a:cubicBezTo>
                <a:cubicBezTo>
                  <a:pt x="4519" y="3770"/>
                  <a:pt x="4504" y="3929"/>
                  <a:pt x="4424" y="40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8" name="Freeform: Shape 18">
            <a:extLst>
              <a:ext uri="{FF2B5EF4-FFF2-40B4-BE49-F238E27FC236}">
                <a16:creationId xmlns:a16="http://schemas.microsoft.com/office/drawing/2014/main" id="{67BA2090-329B-C246-BC64-2ECD6C2A90E6}"/>
              </a:ext>
            </a:extLst>
          </p:cNvPr>
          <p:cNvSpPr/>
          <p:nvPr/>
        </p:nvSpPr>
        <p:spPr>
          <a:xfrm>
            <a:off x="17308679" y="6499310"/>
            <a:ext cx="1957320" cy="1597320"/>
          </a:xfrm>
          <a:custGeom>
            <a:avLst/>
            <a:gdLst/>
            <a:ahLst/>
            <a:cxnLst>
              <a:cxn ang="3cd4">
                <a:pos x="hc" y="t"/>
              </a:cxn>
              <a:cxn ang="cd2">
                <a:pos x="l" y="vc"/>
              </a:cxn>
              <a:cxn ang="cd4">
                <a:pos x="hc" y="b"/>
              </a:cxn>
              <a:cxn ang="0">
                <a:pos x="r" y="vc"/>
              </a:cxn>
            </a:cxnLst>
            <a:rect l="l" t="t" r="r" b="b"/>
            <a:pathLst>
              <a:path w="5438" h="4438">
                <a:moveTo>
                  <a:pt x="4694" y="2975"/>
                </a:moveTo>
                <a:cubicBezTo>
                  <a:pt x="4551" y="2975"/>
                  <a:pt x="4423" y="3086"/>
                  <a:pt x="4423" y="3229"/>
                </a:cubicBezTo>
                <a:cubicBezTo>
                  <a:pt x="4423" y="3372"/>
                  <a:pt x="4551" y="3484"/>
                  <a:pt x="4694" y="3484"/>
                </a:cubicBezTo>
                <a:cubicBezTo>
                  <a:pt x="4837" y="3484"/>
                  <a:pt x="4948" y="3372"/>
                  <a:pt x="4948" y="3229"/>
                </a:cubicBezTo>
                <a:cubicBezTo>
                  <a:pt x="4948" y="3086"/>
                  <a:pt x="4837" y="2975"/>
                  <a:pt x="4694" y="2975"/>
                </a:cubicBezTo>
                <a:close/>
                <a:moveTo>
                  <a:pt x="4694" y="3325"/>
                </a:moveTo>
                <a:cubicBezTo>
                  <a:pt x="4630" y="3325"/>
                  <a:pt x="4583" y="3277"/>
                  <a:pt x="4583" y="3229"/>
                </a:cubicBezTo>
                <a:cubicBezTo>
                  <a:pt x="4583" y="3181"/>
                  <a:pt x="4630" y="3134"/>
                  <a:pt x="4694" y="3134"/>
                </a:cubicBezTo>
                <a:cubicBezTo>
                  <a:pt x="4742" y="3134"/>
                  <a:pt x="4789" y="3181"/>
                  <a:pt x="4789" y="3229"/>
                </a:cubicBezTo>
                <a:cubicBezTo>
                  <a:pt x="4789" y="3277"/>
                  <a:pt x="4742" y="3325"/>
                  <a:pt x="4694" y="3325"/>
                </a:cubicBezTo>
                <a:close/>
                <a:moveTo>
                  <a:pt x="5092" y="589"/>
                </a:moveTo>
                <a:cubicBezTo>
                  <a:pt x="5044" y="255"/>
                  <a:pt x="4757" y="0"/>
                  <a:pt x="4408" y="0"/>
                </a:cubicBezTo>
                <a:lnTo>
                  <a:pt x="2197" y="0"/>
                </a:lnTo>
                <a:cubicBezTo>
                  <a:pt x="1942" y="0"/>
                  <a:pt x="1703" y="159"/>
                  <a:pt x="1592" y="382"/>
                </a:cubicBezTo>
                <a:lnTo>
                  <a:pt x="1020" y="382"/>
                </a:lnTo>
                <a:cubicBezTo>
                  <a:pt x="685" y="382"/>
                  <a:pt x="384" y="636"/>
                  <a:pt x="336" y="986"/>
                </a:cubicBezTo>
                <a:lnTo>
                  <a:pt x="18" y="3579"/>
                </a:lnTo>
                <a:cubicBezTo>
                  <a:pt x="-30" y="3849"/>
                  <a:pt x="18" y="4056"/>
                  <a:pt x="145" y="4199"/>
                </a:cubicBezTo>
                <a:cubicBezTo>
                  <a:pt x="352" y="4422"/>
                  <a:pt x="654" y="4438"/>
                  <a:pt x="718" y="4438"/>
                </a:cubicBezTo>
                <a:lnTo>
                  <a:pt x="733" y="4438"/>
                </a:lnTo>
                <a:lnTo>
                  <a:pt x="3501" y="4438"/>
                </a:lnTo>
                <a:cubicBezTo>
                  <a:pt x="3517" y="4438"/>
                  <a:pt x="3787" y="4438"/>
                  <a:pt x="4010" y="4279"/>
                </a:cubicBezTo>
                <a:lnTo>
                  <a:pt x="4026" y="4279"/>
                </a:lnTo>
                <a:lnTo>
                  <a:pt x="4026" y="4263"/>
                </a:lnTo>
                <a:cubicBezTo>
                  <a:pt x="4042" y="4263"/>
                  <a:pt x="4042" y="4263"/>
                  <a:pt x="4042" y="4247"/>
                </a:cubicBezTo>
                <a:lnTo>
                  <a:pt x="4058" y="4247"/>
                </a:lnTo>
                <a:cubicBezTo>
                  <a:pt x="4064" y="4242"/>
                  <a:pt x="4058" y="4231"/>
                  <a:pt x="4074" y="4231"/>
                </a:cubicBezTo>
                <a:lnTo>
                  <a:pt x="4074" y="4215"/>
                </a:lnTo>
                <a:lnTo>
                  <a:pt x="4090" y="4215"/>
                </a:lnTo>
                <a:lnTo>
                  <a:pt x="4090" y="4199"/>
                </a:lnTo>
                <a:lnTo>
                  <a:pt x="4105" y="4199"/>
                </a:lnTo>
                <a:lnTo>
                  <a:pt x="4105" y="4183"/>
                </a:lnTo>
                <a:cubicBezTo>
                  <a:pt x="4121" y="4183"/>
                  <a:pt x="4121" y="4183"/>
                  <a:pt x="4121" y="4168"/>
                </a:cubicBezTo>
                <a:lnTo>
                  <a:pt x="4137" y="4168"/>
                </a:lnTo>
                <a:lnTo>
                  <a:pt x="4137" y="4136"/>
                </a:lnTo>
                <a:cubicBezTo>
                  <a:pt x="4169" y="4104"/>
                  <a:pt x="4185" y="4072"/>
                  <a:pt x="4201" y="4040"/>
                </a:cubicBezTo>
                <a:lnTo>
                  <a:pt x="4694" y="4040"/>
                </a:lnTo>
                <a:lnTo>
                  <a:pt x="4710" y="4040"/>
                </a:lnTo>
                <a:lnTo>
                  <a:pt x="4726" y="4040"/>
                </a:lnTo>
                <a:lnTo>
                  <a:pt x="4742" y="4040"/>
                </a:lnTo>
                <a:lnTo>
                  <a:pt x="4757" y="4040"/>
                </a:lnTo>
                <a:lnTo>
                  <a:pt x="4774" y="4040"/>
                </a:lnTo>
                <a:lnTo>
                  <a:pt x="4789" y="4040"/>
                </a:lnTo>
                <a:cubicBezTo>
                  <a:pt x="4885" y="4040"/>
                  <a:pt x="5044" y="4008"/>
                  <a:pt x="5187" y="3913"/>
                </a:cubicBezTo>
                <a:lnTo>
                  <a:pt x="5187" y="3897"/>
                </a:lnTo>
                <a:lnTo>
                  <a:pt x="5203" y="3897"/>
                </a:lnTo>
                <a:lnTo>
                  <a:pt x="5203" y="3881"/>
                </a:lnTo>
                <a:lnTo>
                  <a:pt x="5219" y="3881"/>
                </a:lnTo>
                <a:lnTo>
                  <a:pt x="5219" y="3865"/>
                </a:lnTo>
                <a:lnTo>
                  <a:pt x="5235" y="3865"/>
                </a:lnTo>
                <a:cubicBezTo>
                  <a:pt x="5235" y="3849"/>
                  <a:pt x="5235" y="3849"/>
                  <a:pt x="5251" y="3849"/>
                </a:cubicBezTo>
                <a:lnTo>
                  <a:pt x="5251" y="3834"/>
                </a:lnTo>
                <a:lnTo>
                  <a:pt x="5266" y="3834"/>
                </a:lnTo>
                <a:cubicBezTo>
                  <a:pt x="5272" y="3828"/>
                  <a:pt x="5266" y="3817"/>
                  <a:pt x="5283" y="3817"/>
                </a:cubicBezTo>
                <a:cubicBezTo>
                  <a:pt x="5283" y="3802"/>
                  <a:pt x="5293" y="3807"/>
                  <a:pt x="5298" y="3802"/>
                </a:cubicBezTo>
                <a:lnTo>
                  <a:pt x="5298" y="3786"/>
                </a:lnTo>
                <a:cubicBezTo>
                  <a:pt x="5314" y="3786"/>
                  <a:pt x="5309" y="3775"/>
                  <a:pt x="5314" y="3770"/>
                </a:cubicBezTo>
                <a:lnTo>
                  <a:pt x="5330" y="3754"/>
                </a:lnTo>
                <a:cubicBezTo>
                  <a:pt x="5426" y="3611"/>
                  <a:pt x="5457" y="3420"/>
                  <a:pt x="5426" y="3197"/>
                </a:cubicBezTo>
                <a:close/>
                <a:moveTo>
                  <a:pt x="495" y="1002"/>
                </a:moveTo>
                <a:cubicBezTo>
                  <a:pt x="542" y="748"/>
                  <a:pt x="765" y="541"/>
                  <a:pt x="1020" y="541"/>
                </a:cubicBezTo>
                <a:lnTo>
                  <a:pt x="3230" y="541"/>
                </a:lnTo>
                <a:cubicBezTo>
                  <a:pt x="3485" y="541"/>
                  <a:pt x="3708" y="748"/>
                  <a:pt x="3739" y="1002"/>
                </a:cubicBezTo>
                <a:lnTo>
                  <a:pt x="4026" y="3245"/>
                </a:lnTo>
                <a:cubicBezTo>
                  <a:pt x="3867" y="3102"/>
                  <a:pt x="3644" y="3070"/>
                  <a:pt x="3517" y="3070"/>
                </a:cubicBezTo>
                <a:lnTo>
                  <a:pt x="733" y="3070"/>
                </a:lnTo>
                <a:cubicBezTo>
                  <a:pt x="606" y="3070"/>
                  <a:pt x="384" y="3102"/>
                  <a:pt x="209" y="3245"/>
                </a:cubicBezTo>
                <a:close/>
                <a:moveTo>
                  <a:pt x="4010" y="4056"/>
                </a:moveTo>
                <a:lnTo>
                  <a:pt x="4010" y="4072"/>
                </a:lnTo>
                <a:lnTo>
                  <a:pt x="3994" y="4072"/>
                </a:lnTo>
                <a:cubicBezTo>
                  <a:pt x="3989" y="4077"/>
                  <a:pt x="3994" y="4088"/>
                  <a:pt x="3978" y="4088"/>
                </a:cubicBezTo>
                <a:cubicBezTo>
                  <a:pt x="3978" y="4104"/>
                  <a:pt x="3968" y="4099"/>
                  <a:pt x="3962" y="4104"/>
                </a:cubicBezTo>
                <a:lnTo>
                  <a:pt x="3962" y="4120"/>
                </a:lnTo>
                <a:cubicBezTo>
                  <a:pt x="3803" y="4279"/>
                  <a:pt x="3666" y="4226"/>
                  <a:pt x="3517" y="4279"/>
                </a:cubicBezTo>
                <a:lnTo>
                  <a:pt x="733" y="4279"/>
                </a:lnTo>
                <a:cubicBezTo>
                  <a:pt x="580" y="4221"/>
                  <a:pt x="431" y="4279"/>
                  <a:pt x="272" y="4104"/>
                </a:cubicBezTo>
                <a:cubicBezTo>
                  <a:pt x="176" y="3993"/>
                  <a:pt x="145" y="3849"/>
                  <a:pt x="161" y="3659"/>
                </a:cubicBezTo>
                <a:cubicBezTo>
                  <a:pt x="224" y="3229"/>
                  <a:pt x="718" y="3229"/>
                  <a:pt x="733" y="3229"/>
                </a:cubicBezTo>
                <a:lnTo>
                  <a:pt x="3517" y="3229"/>
                </a:lnTo>
                <a:cubicBezTo>
                  <a:pt x="3533" y="3229"/>
                  <a:pt x="4026" y="3213"/>
                  <a:pt x="4090" y="3659"/>
                </a:cubicBezTo>
                <a:cubicBezTo>
                  <a:pt x="4105" y="3817"/>
                  <a:pt x="4074" y="3961"/>
                  <a:pt x="4010" y="4056"/>
                </a:cubicBezTo>
                <a:close/>
                <a:moveTo>
                  <a:pt x="4121" y="2688"/>
                </a:moveTo>
                <a:lnTo>
                  <a:pt x="3899" y="986"/>
                </a:lnTo>
                <a:cubicBezTo>
                  <a:pt x="3851" y="636"/>
                  <a:pt x="3565" y="382"/>
                  <a:pt x="3230" y="382"/>
                </a:cubicBezTo>
                <a:lnTo>
                  <a:pt x="1767" y="382"/>
                </a:lnTo>
                <a:cubicBezTo>
                  <a:pt x="1863" y="255"/>
                  <a:pt x="2022" y="159"/>
                  <a:pt x="2197" y="159"/>
                </a:cubicBezTo>
                <a:lnTo>
                  <a:pt x="4408" y="159"/>
                </a:lnTo>
                <a:cubicBezTo>
                  <a:pt x="4678" y="159"/>
                  <a:pt x="4901" y="350"/>
                  <a:pt x="4932" y="620"/>
                </a:cubicBezTo>
                <a:lnTo>
                  <a:pt x="5219" y="2863"/>
                </a:lnTo>
                <a:cubicBezTo>
                  <a:pt x="5044" y="2720"/>
                  <a:pt x="4837" y="2688"/>
                  <a:pt x="4694" y="2688"/>
                </a:cubicBezTo>
                <a:close/>
                <a:moveTo>
                  <a:pt x="5203" y="3659"/>
                </a:moveTo>
                <a:lnTo>
                  <a:pt x="5187" y="3674"/>
                </a:lnTo>
                <a:lnTo>
                  <a:pt x="5187" y="3690"/>
                </a:lnTo>
                <a:cubicBezTo>
                  <a:pt x="5171" y="3690"/>
                  <a:pt x="5171" y="3690"/>
                  <a:pt x="5171" y="3706"/>
                </a:cubicBezTo>
                <a:cubicBezTo>
                  <a:pt x="4996" y="3897"/>
                  <a:pt x="4710" y="3881"/>
                  <a:pt x="4694" y="3881"/>
                </a:cubicBezTo>
                <a:lnTo>
                  <a:pt x="4678" y="3881"/>
                </a:lnTo>
                <a:lnTo>
                  <a:pt x="4233" y="3881"/>
                </a:lnTo>
                <a:cubicBezTo>
                  <a:pt x="4248" y="3802"/>
                  <a:pt x="4248" y="3690"/>
                  <a:pt x="4233" y="3595"/>
                </a:cubicBezTo>
                <a:lnTo>
                  <a:pt x="4137" y="2847"/>
                </a:lnTo>
                <a:lnTo>
                  <a:pt x="4694" y="2847"/>
                </a:lnTo>
                <a:cubicBezTo>
                  <a:pt x="4726" y="2847"/>
                  <a:pt x="5203" y="2832"/>
                  <a:pt x="5266" y="3261"/>
                </a:cubicBezTo>
                <a:lnTo>
                  <a:pt x="5266" y="3277"/>
                </a:lnTo>
                <a:cubicBezTo>
                  <a:pt x="5283" y="3436"/>
                  <a:pt x="5266" y="3563"/>
                  <a:pt x="5203" y="3659"/>
                </a:cubicBezTo>
                <a:close/>
                <a:moveTo>
                  <a:pt x="3501" y="3356"/>
                </a:moveTo>
                <a:cubicBezTo>
                  <a:pt x="3358" y="3356"/>
                  <a:pt x="3247" y="3468"/>
                  <a:pt x="3247" y="3611"/>
                </a:cubicBezTo>
                <a:cubicBezTo>
                  <a:pt x="3247" y="3754"/>
                  <a:pt x="3358" y="3881"/>
                  <a:pt x="3501" y="3881"/>
                </a:cubicBezTo>
                <a:cubicBezTo>
                  <a:pt x="3644" y="3881"/>
                  <a:pt x="3771" y="3754"/>
                  <a:pt x="3771" y="3611"/>
                </a:cubicBezTo>
                <a:cubicBezTo>
                  <a:pt x="3771" y="3468"/>
                  <a:pt x="3644" y="3356"/>
                  <a:pt x="3501" y="3356"/>
                </a:cubicBezTo>
                <a:close/>
                <a:moveTo>
                  <a:pt x="3501" y="3722"/>
                </a:moveTo>
                <a:cubicBezTo>
                  <a:pt x="3453" y="3722"/>
                  <a:pt x="3405" y="3674"/>
                  <a:pt x="3405" y="3611"/>
                </a:cubicBezTo>
                <a:cubicBezTo>
                  <a:pt x="3405" y="3563"/>
                  <a:pt x="3453" y="3516"/>
                  <a:pt x="3501" y="3516"/>
                </a:cubicBezTo>
                <a:cubicBezTo>
                  <a:pt x="3565" y="3516"/>
                  <a:pt x="3612" y="3563"/>
                  <a:pt x="3612" y="3611"/>
                </a:cubicBezTo>
                <a:cubicBezTo>
                  <a:pt x="3612" y="3674"/>
                  <a:pt x="3565" y="3722"/>
                  <a:pt x="3501" y="372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270250109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Storage - 2</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44" name="TextBox 43">
            <a:extLst>
              <a:ext uri="{FF2B5EF4-FFF2-40B4-BE49-F238E27FC236}">
                <a16:creationId xmlns:a16="http://schemas.microsoft.com/office/drawing/2014/main" id="{232BF853-CB4F-5E44-946D-A0684BD6D0EE}"/>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Key</a:t>
            </a:r>
          </a:p>
        </p:txBody>
      </p:sp>
      <p:sp>
        <p:nvSpPr>
          <p:cNvPr id="45" name="TextBox 44">
            <a:extLst>
              <a:ext uri="{FF2B5EF4-FFF2-40B4-BE49-F238E27FC236}">
                <a16:creationId xmlns:a16="http://schemas.microsoft.com/office/drawing/2014/main" id="{8534375A-008E-D84E-B380-7256674E632F}"/>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Pass</a:t>
            </a:r>
          </a:p>
        </p:txBody>
      </p:sp>
      <p:sp>
        <p:nvSpPr>
          <p:cNvPr id="46" name="TextBox 45">
            <a:extLst>
              <a:ext uri="{FF2B5EF4-FFF2-40B4-BE49-F238E27FC236}">
                <a16:creationId xmlns:a16="http://schemas.microsoft.com/office/drawing/2014/main" id="{E36B76EF-4B6D-AC45-BB50-10D69B275730}"/>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Lock</a:t>
            </a:r>
          </a:p>
        </p:txBody>
      </p:sp>
      <p:sp>
        <p:nvSpPr>
          <p:cNvPr id="47" name="TextBox 46">
            <a:extLst>
              <a:ext uri="{FF2B5EF4-FFF2-40B4-BE49-F238E27FC236}">
                <a16:creationId xmlns:a16="http://schemas.microsoft.com/office/drawing/2014/main" id="{E9C375EB-F074-374A-AE12-847231612DFF}"/>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Access</a:t>
            </a:r>
          </a:p>
        </p:txBody>
      </p:sp>
      <p:sp>
        <p:nvSpPr>
          <p:cNvPr id="48" name="TextBox 47">
            <a:extLst>
              <a:ext uri="{FF2B5EF4-FFF2-40B4-BE49-F238E27FC236}">
                <a16:creationId xmlns:a16="http://schemas.microsoft.com/office/drawing/2014/main" id="{F31D0B22-F562-B34C-99FF-FDC2C9180A7D}"/>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Cost</a:t>
            </a:r>
          </a:p>
        </p:txBody>
      </p:sp>
      <p:sp>
        <p:nvSpPr>
          <p:cNvPr id="49" name="TextBox 48">
            <a:extLst>
              <a:ext uri="{FF2B5EF4-FFF2-40B4-BE49-F238E27FC236}">
                <a16:creationId xmlns:a16="http://schemas.microsoft.com/office/drawing/2014/main" id="{9B7C854D-87EA-844B-9BAE-BC1CB270A1C7}"/>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Cloud</a:t>
            </a:r>
          </a:p>
        </p:txBody>
      </p:sp>
      <p:sp>
        <p:nvSpPr>
          <p:cNvPr id="50" name="TextBox 49">
            <a:extLst>
              <a:ext uri="{FF2B5EF4-FFF2-40B4-BE49-F238E27FC236}">
                <a16:creationId xmlns:a16="http://schemas.microsoft.com/office/drawing/2014/main" id="{437B0D18-8D5C-514C-A575-66CCEDE00424}"/>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No</a:t>
            </a:r>
          </a:p>
        </p:txBody>
      </p:sp>
      <p:sp>
        <p:nvSpPr>
          <p:cNvPr id="51" name="TextBox 50">
            <a:extLst>
              <a:ext uri="{FF2B5EF4-FFF2-40B4-BE49-F238E27FC236}">
                <a16:creationId xmlns:a16="http://schemas.microsoft.com/office/drawing/2014/main" id="{A24BE3F1-33B1-504E-884E-2C74B8204AC8}"/>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Sync 2</a:t>
            </a:r>
          </a:p>
        </p:txBody>
      </p:sp>
      <p:sp>
        <p:nvSpPr>
          <p:cNvPr id="52" name="TextBox 51">
            <a:extLst>
              <a:ext uri="{FF2B5EF4-FFF2-40B4-BE49-F238E27FC236}">
                <a16:creationId xmlns:a16="http://schemas.microsoft.com/office/drawing/2014/main" id="{74B3286B-9396-8446-8E9F-0C5BC61ABB10}"/>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Time</a:t>
            </a:r>
          </a:p>
        </p:txBody>
      </p:sp>
      <p:sp>
        <p:nvSpPr>
          <p:cNvPr id="53" name="TextBox 52">
            <a:extLst>
              <a:ext uri="{FF2B5EF4-FFF2-40B4-BE49-F238E27FC236}">
                <a16:creationId xmlns:a16="http://schemas.microsoft.com/office/drawing/2014/main" id="{FB484F68-36E3-874F-BD61-1EC5DA6F3A0A}"/>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Up</a:t>
            </a:r>
          </a:p>
        </p:txBody>
      </p:sp>
      <p:sp>
        <p:nvSpPr>
          <p:cNvPr id="54" name="TextBox 53">
            <a:extLst>
              <a:ext uri="{FF2B5EF4-FFF2-40B4-BE49-F238E27FC236}">
                <a16:creationId xmlns:a16="http://schemas.microsoft.com/office/drawing/2014/main" id="{5C985F2C-1A4C-A64A-A9DE-2B68CBD01C20}"/>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Check</a:t>
            </a:r>
          </a:p>
        </p:txBody>
      </p:sp>
      <p:sp>
        <p:nvSpPr>
          <p:cNvPr id="55" name="TextBox 54">
            <a:extLst>
              <a:ext uri="{FF2B5EF4-FFF2-40B4-BE49-F238E27FC236}">
                <a16:creationId xmlns:a16="http://schemas.microsoft.com/office/drawing/2014/main" id="{F4CB22AF-BDB2-3747-A217-2D7D0DD06439}"/>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On</a:t>
            </a:r>
          </a:p>
        </p:txBody>
      </p:sp>
      <p:sp>
        <p:nvSpPr>
          <p:cNvPr id="56" name="TextBox 55">
            <a:extLst>
              <a:ext uri="{FF2B5EF4-FFF2-40B4-BE49-F238E27FC236}">
                <a16:creationId xmlns:a16="http://schemas.microsoft.com/office/drawing/2014/main" id="{DE6EA980-23D5-4D47-ACB9-9F184A3D0938}"/>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Disk</a:t>
            </a:r>
          </a:p>
        </p:txBody>
      </p:sp>
      <p:sp>
        <p:nvSpPr>
          <p:cNvPr id="57" name="TextBox 56">
            <a:extLst>
              <a:ext uri="{FF2B5EF4-FFF2-40B4-BE49-F238E27FC236}">
                <a16:creationId xmlns:a16="http://schemas.microsoft.com/office/drawing/2014/main" id="{14D834DA-9C49-B04B-A930-9A5C5980C5E1}"/>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Right</a:t>
            </a:r>
          </a:p>
        </p:txBody>
      </p:sp>
      <p:sp>
        <p:nvSpPr>
          <p:cNvPr id="83" name="TextBox 82">
            <a:extLst>
              <a:ext uri="{FF2B5EF4-FFF2-40B4-BE49-F238E27FC236}">
                <a16:creationId xmlns:a16="http://schemas.microsoft.com/office/drawing/2014/main" id="{C5D031FA-E98D-C544-9B91-0FB49115AF41}"/>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Zip</a:t>
            </a:r>
          </a:p>
        </p:txBody>
      </p:sp>
      <p:sp>
        <p:nvSpPr>
          <p:cNvPr id="84" name="Freeform: Shape 26">
            <a:extLst>
              <a:ext uri="{FF2B5EF4-FFF2-40B4-BE49-F238E27FC236}">
                <a16:creationId xmlns:a16="http://schemas.microsoft.com/office/drawing/2014/main" id="{F9E6ED98-FE7C-7642-A23A-8268D1B2041F}"/>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TextBox 84">
            <a:extLst>
              <a:ext uri="{FF2B5EF4-FFF2-40B4-BE49-F238E27FC236}">
                <a16:creationId xmlns:a16="http://schemas.microsoft.com/office/drawing/2014/main" id="{C7CFA703-A433-D44E-A318-C1F924F5BC7C}"/>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Search</a:t>
            </a:r>
          </a:p>
        </p:txBody>
      </p:sp>
      <p:sp>
        <p:nvSpPr>
          <p:cNvPr id="86" name="TextBox 85">
            <a:extLst>
              <a:ext uri="{FF2B5EF4-FFF2-40B4-BE49-F238E27FC236}">
                <a16:creationId xmlns:a16="http://schemas.microsoft.com/office/drawing/2014/main" id="{C2D1E3AE-3C26-024F-9CDB-B723892AC43C}"/>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Down</a:t>
            </a:r>
          </a:p>
        </p:txBody>
      </p:sp>
      <p:sp>
        <p:nvSpPr>
          <p:cNvPr id="87" name="TextBox 86">
            <a:extLst>
              <a:ext uri="{FF2B5EF4-FFF2-40B4-BE49-F238E27FC236}">
                <a16:creationId xmlns:a16="http://schemas.microsoft.com/office/drawing/2014/main" id="{34A3BEBF-90A3-0D42-9655-92A0B4089C96}"/>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Connect</a:t>
            </a:r>
          </a:p>
        </p:txBody>
      </p:sp>
      <p:sp>
        <p:nvSpPr>
          <p:cNvPr id="88" name="Freeform: Shape 13">
            <a:extLst>
              <a:ext uri="{FF2B5EF4-FFF2-40B4-BE49-F238E27FC236}">
                <a16:creationId xmlns:a16="http://schemas.microsoft.com/office/drawing/2014/main" id="{19079D65-BF12-8648-AF47-95DE6D087E80}"/>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9" name="Freeform: Shape 1">
            <a:extLst>
              <a:ext uri="{FF2B5EF4-FFF2-40B4-BE49-F238E27FC236}">
                <a16:creationId xmlns:a16="http://schemas.microsoft.com/office/drawing/2014/main" id="{057A2FD5-4F33-7041-A5F5-F05FFA7BA4E7}"/>
              </a:ext>
            </a:extLst>
          </p:cNvPr>
          <p:cNvSpPr/>
          <p:nvPr/>
        </p:nvSpPr>
        <p:spPr>
          <a:xfrm>
            <a:off x="1745409" y="3352318"/>
            <a:ext cx="1681560" cy="1597320"/>
          </a:xfrm>
          <a:custGeom>
            <a:avLst/>
            <a:gdLst/>
            <a:ahLst/>
            <a:cxnLst>
              <a:cxn ang="3cd4">
                <a:pos x="hc" y="t"/>
              </a:cxn>
              <a:cxn ang="cd2">
                <a:pos x="l" y="vc"/>
              </a:cxn>
              <a:cxn ang="cd4">
                <a:pos x="hc" y="b"/>
              </a:cxn>
              <a:cxn ang="0">
                <a:pos x="r" y="vc"/>
              </a:cxn>
            </a:cxnLst>
            <a:rect l="l" t="t" r="r" b="b"/>
            <a:pathLst>
              <a:path w="4672" h="4438">
                <a:moveTo>
                  <a:pt x="1622" y="2227"/>
                </a:moveTo>
                <a:cubicBezTo>
                  <a:pt x="1972" y="2227"/>
                  <a:pt x="2274" y="1957"/>
                  <a:pt x="2306" y="1606"/>
                </a:cubicBezTo>
                <a:lnTo>
                  <a:pt x="2736" y="1606"/>
                </a:lnTo>
                <a:lnTo>
                  <a:pt x="3213" y="1606"/>
                </a:lnTo>
                <a:lnTo>
                  <a:pt x="3213" y="1766"/>
                </a:lnTo>
                <a:cubicBezTo>
                  <a:pt x="3213" y="1814"/>
                  <a:pt x="3245" y="1845"/>
                  <a:pt x="3292" y="1845"/>
                </a:cubicBezTo>
                <a:cubicBezTo>
                  <a:pt x="3324" y="1845"/>
                  <a:pt x="3372" y="1814"/>
                  <a:pt x="3372" y="1766"/>
                </a:cubicBezTo>
                <a:lnTo>
                  <a:pt x="3372" y="1606"/>
                </a:lnTo>
                <a:lnTo>
                  <a:pt x="3531" y="1606"/>
                </a:lnTo>
                <a:lnTo>
                  <a:pt x="3531" y="2084"/>
                </a:lnTo>
                <a:cubicBezTo>
                  <a:pt x="3531" y="2132"/>
                  <a:pt x="3563" y="2163"/>
                  <a:pt x="3611" y="2163"/>
                </a:cubicBezTo>
                <a:cubicBezTo>
                  <a:pt x="3642" y="2163"/>
                  <a:pt x="3690" y="2132"/>
                  <a:pt x="3690" y="2084"/>
                </a:cubicBezTo>
                <a:lnTo>
                  <a:pt x="3690" y="1606"/>
                </a:lnTo>
                <a:cubicBezTo>
                  <a:pt x="3722" y="1606"/>
                  <a:pt x="3769" y="1575"/>
                  <a:pt x="3769" y="1527"/>
                </a:cubicBezTo>
                <a:cubicBezTo>
                  <a:pt x="3769" y="1496"/>
                  <a:pt x="3722" y="1448"/>
                  <a:pt x="3690" y="1448"/>
                </a:cubicBezTo>
                <a:lnTo>
                  <a:pt x="3213" y="1448"/>
                </a:lnTo>
                <a:lnTo>
                  <a:pt x="2736" y="1448"/>
                </a:lnTo>
                <a:lnTo>
                  <a:pt x="2306" y="1448"/>
                </a:lnTo>
                <a:cubicBezTo>
                  <a:pt x="2259" y="1114"/>
                  <a:pt x="1972" y="859"/>
                  <a:pt x="1622" y="859"/>
                </a:cubicBezTo>
                <a:cubicBezTo>
                  <a:pt x="1257" y="859"/>
                  <a:pt x="938" y="1161"/>
                  <a:pt x="938" y="1543"/>
                </a:cubicBezTo>
                <a:cubicBezTo>
                  <a:pt x="938" y="1909"/>
                  <a:pt x="1257" y="2227"/>
                  <a:pt x="1622" y="2227"/>
                </a:cubicBezTo>
                <a:close/>
                <a:moveTo>
                  <a:pt x="1622" y="1018"/>
                </a:moveTo>
                <a:cubicBezTo>
                  <a:pt x="1909" y="1018"/>
                  <a:pt x="2147" y="1257"/>
                  <a:pt x="2147" y="1543"/>
                </a:cubicBezTo>
                <a:cubicBezTo>
                  <a:pt x="2147" y="1829"/>
                  <a:pt x="1909" y="2068"/>
                  <a:pt x="1622" y="2068"/>
                </a:cubicBezTo>
                <a:cubicBezTo>
                  <a:pt x="1336" y="2068"/>
                  <a:pt x="1097" y="1829"/>
                  <a:pt x="1097" y="1543"/>
                </a:cubicBezTo>
                <a:cubicBezTo>
                  <a:pt x="1097" y="1257"/>
                  <a:pt x="1336" y="1018"/>
                  <a:pt x="1622" y="1018"/>
                </a:cubicBezTo>
                <a:close/>
                <a:moveTo>
                  <a:pt x="3865" y="3277"/>
                </a:moveTo>
                <a:cubicBezTo>
                  <a:pt x="3706" y="3277"/>
                  <a:pt x="3595" y="3388"/>
                  <a:pt x="3595" y="3547"/>
                </a:cubicBezTo>
                <a:cubicBezTo>
                  <a:pt x="3595" y="3706"/>
                  <a:pt x="3706" y="3818"/>
                  <a:pt x="3865" y="3818"/>
                </a:cubicBezTo>
                <a:cubicBezTo>
                  <a:pt x="4024" y="3818"/>
                  <a:pt x="4151" y="3706"/>
                  <a:pt x="4151" y="3547"/>
                </a:cubicBezTo>
                <a:cubicBezTo>
                  <a:pt x="4151" y="3388"/>
                  <a:pt x="4024" y="3277"/>
                  <a:pt x="3865" y="3277"/>
                </a:cubicBezTo>
                <a:close/>
                <a:moveTo>
                  <a:pt x="3865" y="3674"/>
                </a:moveTo>
                <a:cubicBezTo>
                  <a:pt x="3801" y="3674"/>
                  <a:pt x="3754" y="3611"/>
                  <a:pt x="3754" y="3547"/>
                </a:cubicBezTo>
                <a:cubicBezTo>
                  <a:pt x="3754" y="3484"/>
                  <a:pt x="3801" y="3436"/>
                  <a:pt x="3865" y="3436"/>
                </a:cubicBezTo>
                <a:cubicBezTo>
                  <a:pt x="3929" y="3436"/>
                  <a:pt x="3992" y="3484"/>
                  <a:pt x="3992" y="3547"/>
                </a:cubicBezTo>
                <a:cubicBezTo>
                  <a:pt x="3992" y="3611"/>
                  <a:pt x="3929" y="3674"/>
                  <a:pt x="3865" y="3674"/>
                </a:cubicBezTo>
                <a:close/>
                <a:moveTo>
                  <a:pt x="4295" y="636"/>
                </a:moveTo>
                <a:cubicBezTo>
                  <a:pt x="4247" y="270"/>
                  <a:pt x="3929" y="0"/>
                  <a:pt x="3563" y="0"/>
                </a:cubicBezTo>
                <a:lnTo>
                  <a:pt x="1129" y="0"/>
                </a:lnTo>
                <a:cubicBezTo>
                  <a:pt x="748" y="0"/>
                  <a:pt x="429" y="270"/>
                  <a:pt x="382" y="636"/>
                </a:cubicBezTo>
                <a:lnTo>
                  <a:pt x="16" y="3515"/>
                </a:lnTo>
                <a:cubicBezTo>
                  <a:pt x="-32" y="3802"/>
                  <a:pt x="32" y="4024"/>
                  <a:pt x="175" y="4199"/>
                </a:cubicBezTo>
                <a:cubicBezTo>
                  <a:pt x="382" y="4422"/>
                  <a:pt x="715" y="4438"/>
                  <a:pt x="795" y="4438"/>
                </a:cubicBezTo>
                <a:lnTo>
                  <a:pt x="811" y="4438"/>
                </a:lnTo>
                <a:lnTo>
                  <a:pt x="3865" y="4438"/>
                </a:lnTo>
                <a:cubicBezTo>
                  <a:pt x="3881" y="4438"/>
                  <a:pt x="4231" y="4454"/>
                  <a:pt x="4469" y="4231"/>
                </a:cubicBezTo>
                <a:lnTo>
                  <a:pt x="4486" y="4215"/>
                </a:lnTo>
                <a:lnTo>
                  <a:pt x="4501" y="4199"/>
                </a:lnTo>
                <a:lnTo>
                  <a:pt x="4517" y="4183"/>
                </a:lnTo>
                <a:cubicBezTo>
                  <a:pt x="4522" y="4178"/>
                  <a:pt x="4517" y="4168"/>
                  <a:pt x="4533" y="4168"/>
                </a:cubicBezTo>
                <a:lnTo>
                  <a:pt x="4533" y="4151"/>
                </a:lnTo>
                <a:cubicBezTo>
                  <a:pt x="4549" y="4151"/>
                  <a:pt x="4549" y="4151"/>
                  <a:pt x="4549" y="4136"/>
                </a:cubicBezTo>
                <a:cubicBezTo>
                  <a:pt x="4554" y="4131"/>
                  <a:pt x="4565" y="4136"/>
                  <a:pt x="4565" y="4120"/>
                </a:cubicBezTo>
                <a:cubicBezTo>
                  <a:pt x="4660" y="3961"/>
                  <a:pt x="4692" y="3754"/>
                  <a:pt x="4660" y="3515"/>
                </a:cubicBezTo>
                <a:close/>
                <a:moveTo>
                  <a:pt x="541" y="668"/>
                </a:moveTo>
                <a:cubicBezTo>
                  <a:pt x="588" y="366"/>
                  <a:pt x="827" y="159"/>
                  <a:pt x="1129" y="159"/>
                </a:cubicBezTo>
                <a:lnTo>
                  <a:pt x="3563" y="159"/>
                </a:lnTo>
                <a:cubicBezTo>
                  <a:pt x="3849" y="159"/>
                  <a:pt x="4104" y="366"/>
                  <a:pt x="4135" y="652"/>
                </a:cubicBezTo>
                <a:lnTo>
                  <a:pt x="4453" y="3150"/>
                </a:lnTo>
                <a:cubicBezTo>
                  <a:pt x="4278" y="2990"/>
                  <a:pt x="4024" y="2959"/>
                  <a:pt x="3865" y="2959"/>
                </a:cubicBezTo>
                <a:lnTo>
                  <a:pt x="811" y="2959"/>
                </a:lnTo>
                <a:cubicBezTo>
                  <a:pt x="652" y="2959"/>
                  <a:pt x="397" y="2990"/>
                  <a:pt x="223" y="3166"/>
                </a:cubicBezTo>
                <a:close/>
                <a:moveTo>
                  <a:pt x="4438" y="4040"/>
                </a:moveTo>
                <a:lnTo>
                  <a:pt x="4422" y="4040"/>
                </a:lnTo>
                <a:cubicBezTo>
                  <a:pt x="4422" y="4056"/>
                  <a:pt x="4422" y="4056"/>
                  <a:pt x="4406" y="4056"/>
                </a:cubicBezTo>
                <a:lnTo>
                  <a:pt x="4406" y="4072"/>
                </a:lnTo>
                <a:cubicBezTo>
                  <a:pt x="4400" y="4077"/>
                  <a:pt x="4390" y="4072"/>
                  <a:pt x="4390" y="4088"/>
                </a:cubicBezTo>
                <a:lnTo>
                  <a:pt x="4374" y="4104"/>
                </a:lnTo>
                <a:lnTo>
                  <a:pt x="4358" y="4120"/>
                </a:lnTo>
                <a:cubicBezTo>
                  <a:pt x="4326" y="4151"/>
                  <a:pt x="4278" y="4183"/>
                  <a:pt x="4231" y="4199"/>
                </a:cubicBezTo>
                <a:lnTo>
                  <a:pt x="4231" y="4215"/>
                </a:lnTo>
                <a:lnTo>
                  <a:pt x="4199" y="4215"/>
                </a:lnTo>
                <a:cubicBezTo>
                  <a:pt x="4193" y="4220"/>
                  <a:pt x="4183" y="4215"/>
                  <a:pt x="4183" y="4231"/>
                </a:cubicBezTo>
                <a:lnTo>
                  <a:pt x="4167" y="4231"/>
                </a:lnTo>
                <a:lnTo>
                  <a:pt x="4151" y="4231"/>
                </a:lnTo>
                <a:cubicBezTo>
                  <a:pt x="4008" y="4279"/>
                  <a:pt x="3881" y="4279"/>
                  <a:pt x="3865" y="4279"/>
                </a:cubicBezTo>
                <a:lnTo>
                  <a:pt x="811" y="4279"/>
                </a:lnTo>
                <a:cubicBezTo>
                  <a:pt x="795" y="4279"/>
                  <a:pt x="477" y="4295"/>
                  <a:pt x="286" y="4088"/>
                </a:cubicBezTo>
                <a:cubicBezTo>
                  <a:pt x="191" y="3977"/>
                  <a:pt x="143" y="3802"/>
                  <a:pt x="175" y="3595"/>
                </a:cubicBezTo>
                <a:cubicBezTo>
                  <a:pt x="239" y="3102"/>
                  <a:pt x="779" y="3118"/>
                  <a:pt x="811" y="3118"/>
                </a:cubicBezTo>
                <a:lnTo>
                  <a:pt x="3881" y="3118"/>
                </a:lnTo>
                <a:cubicBezTo>
                  <a:pt x="3897" y="3118"/>
                  <a:pt x="4438" y="3102"/>
                  <a:pt x="4517" y="3595"/>
                </a:cubicBezTo>
                <a:cubicBezTo>
                  <a:pt x="4533" y="3770"/>
                  <a:pt x="4501" y="3929"/>
                  <a:pt x="4438" y="40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0" name="Freeform: Shape 2">
            <a:extLst>
              <a:ext uri="{FF2B5EF4-FFF2-40B4-BE49-F238E27FC236}">
                <a16:creationId xmlns:a16="http://schemas.microsoft.com/office/drawing/2014/main" id="{AD60B709-DA1F-EA4E-9603-FBB78ADC74D8}"/>
              </a:ext>
            </a:extLst>
          </p:cNvPr>
          <p:cNvSpPr/>
          <p:nvPr/>
        </p:nvSpPr>
        <p:spPr>
          <a:xfrm>
            <a:off x="5971189" y="3352318"/>
            <a:ext cx="1682280" cy="1597320"/>
          </a:xfrm>
          <a:custGeom>
            <a:avLst/>
            <a:gdLst/>
            <a:ahLst/>
            <a:cxnLst>
              <a:cxn ang="3cd4">
                <a:pos x="hc" y="t"/>
              </a:cxn>
              <a:cxn ang="cd2">
                <a:pos x="l" y="vc"/>
              </a:cxn>
              <a:cxn ang="cd4">
                <a:pos x="hc" y="b"/>
              </a:cxn>
              <a:cxn ang="0">
                <a:pos x="r" y="vc"/>
              </a:cxn>
            </a:cxnLst>
            <a:rect l="l" t="t" r="r" b="b"/>
            <a:pathLst>
              <a:path w="4674" h="4438">
                <a:moveTo>
                  <a:pt x="1417" y="1384"/>
                </a:moveTo>
                <a:cubicBezTo>
                  <a:pt x="1386" y="1352"/>
                  <a:pt x="1338" y="1352"/>
                  <a:pt x="1306" y="1384"/>
                </a:cubicBezTo>
                <a:lnTo>
                  <a:pt x="1226" y="1463"/>
                </a:lnTo>
                <a:lnTo>
                  <a:pt x="1147" y="1384"/>
                </a:lnTo>
                <a:cubicBezTo>
                  <a:pt x="1115" y="1352"/>
                  <a:pt x="1051" y="1352"/>
                  <a:pt x="1036" y="1384"/>
                </a:cubicBezTo>
                <a:cubicBezTo>
                  <a:pt x="1004" y="1416"/>
                  <a:pt x="1004" y="1463"/>
                  <a:pt x="1036" y="1496"/>
                </a:cubicBezTo>
                <a:lnTo>
                  <a:pt x="1115" y="1575"/>
                </a:lnTo>
                <a:lnTo>
                  <a:pt x="1036" y="1654"/>
                </a:lnTo>
                <a:cubicBezTo>
                  <a:pt x="1004" y="1686"/>
                  <a:pt x="1004" y="1750"/>
                  <a:pt x="1036" y="1782"/>
                </a:cubicBezTo>
                <a:cubicBezTo>
                  <a:pt x="1051" y="1797"/>
                  <a:pt x="1068" y="1797"/>
                  <a:pt x="1083" y="1797"/>
                </a:cubicBezTo>
                <a:cubicBezTo>
                  <a:pt x="1099" y="1797"/>
                  <a:pt x="1131" y="1797"/>
                  <a:pt x="1147" y="1782"/>
                </a:cubicBezTo>
                <a:lnTo>
                  <a:pt x="1226" y="1686"/>
                </a:lnTo>
                <a:lnTo>
                  <a:pt x="1306" y="1782"/>
                </a:lnTo>
                <a:cubicBezTo>
                  <a:pt x="1322" y="1797"/>
                  <a:pt x="1338" y="1797"/>
                  <a:pt x="1369" y="1797"/>
                </a:cubicBezTo>
                <a:cubicBezTo>
                  <a:pt x="1386" y="1797"/>
                  <a:pt x="1401" y="1797"/>
                  <a:pt x="1417" y="1782"/>
                </a:cubicBezTo>
                <a:cubicBezTo>
                  <a:pt x="1449" y="1750"/>
                  <a:pt x="1449" y="1686"/>
                  <a:pt x="1417" y="1654"/>
                </a:cubicBezTo>
                <a:lnTo>
                  <a:pt x="1338" y="1575"/>
                </a:lnTo>
                <a:lnTo>
                  <a:pt x="1417" y="1496"/>
                </a:lnTo>
                <a:cubicBezTo>
                  <a:pt x="1449" y="1463"/>
                  <a:pt x="1449" y="1416"/>
                  <a:pt x="1417" y="1384"/>
                </a:cubicBezTo>
                <a:close/>
                <a:moveTo>
                  <a:pt x="2022" y="1384"/>
                </a:moveTo>
                <a:cubicBezTo>
                  <a:pt x="1990" y="1352"/>
                  <a:pt x="1942" y="1352"/>
                  <a:pt x="1910" y="1384"/>
                </a:cubicBezTo>
                <a:lnTo>
                  <a:pt x="1815" y="1463"/>
                </a:lnTo>
                <a:lnTo>
                  <a:pt x="1735" y="1384"/>
                </a:lnTo>
                <a:cubicBezTo>
                  <a:pt x="1704" y="1352"/>
                  <a:pt x="1656" y="1352"/>
                  <a:pt x="1624" y="1384"/>
                </a:cubicBezTo>
                <a:cubicBezTo>
                  <a:pt x="1592" y="1416"/>
                  <a:pt x="1592" y="1463"/>
                  <a:pt x="1624" y="1496"/>
                </a:cubicBezTo>
                <a:lnTo>
                  <a:pt x="1704" y="1575"/>
                </a:lnTo>
                <a:lnTo>
                  <a:pt x="1624" y="1654"/>
                </a:lnTo>
                <a:cubicBezTo>
                  <a:pt x="1592" y="1686"/>
                  <a:pt x="1592" y="1750"/>
                  <a:pt x="1624" y="1782"/>
                </a:cubicBezTo>
                <a:cubicBezTo>
                  <a:pt x="1640" y="1797"/>
                  <a:pt x="1656" y="1797"/>
                  <a:pt x="1672" y="1797"/>
                </a:cubicBezTo>
                <a:cubicBezTo>
                  <a:pt x="1704" y="1797"/>
                  <a:pt x="1720" y="1797"/>
                  <a:pt x="1735" y="1782"/>
                </a:cubicBezTo>
                <a:lnTo>
                  <a:pt x="1815" y="1686"/>
                </a:lnTo>
                <a:lnTo>
                  <a:pt x="1910" y="1782"/>
                </a:lnTo>
                <a:cubicBezTo>
                  <a:pt x="1926" y="1797"/>
                  <a:pt x="1942" y="1797"/>
                  <a:pt x="1958" y="1797"/>
                </a:cubicBezTo>
                <a:cubicBezTo>
                  <a:pt x="1974" y="1797"/>
                  <a:pt x="2006" y="1797"/>
                  <a:pt x="2022" y="1782"/>
                </a:cubicBezTo>
                <a:cubicBezTo>
                  <a:pt x="2054" y="1750"/>
                  <a:pt x="2054" y="1686"/>
                  <a:pt x="2022" y="1654"/>
                </a:cubicBezTo>
                <a:lnTo>
                  <a:pt x="1926" y="1575"/>
                </a:lnTo>
                <a:lnTo>
                  <a:pt x="2022" y="1496"/>
                </a:lnTo>
                <a:cubicBezTo>
                  <a:pt x="2054" y="1463"/>
                  <a:pt x="2054" y="1416"/>
                  <a:pt x="2022" y="1384"/>
                </a:cubicBezTo>
                <a:close/>
                <a:moveTo>
                  <a:pt x="2610" y="1384"/>
                </a:moveTo>
                <a:cubicBezTo>
                  <a:pt x="2578" y="1352"/>
                  <a:pt x="2531" y="1352"/>
                  <a:pt x="2499" y="1384"/>
                </a:cubicBezTo>
                <a:lnTo>
                  <a:pt x="2419" y="1463"/>
                </a:lnTo>
                <a:lnTo>
                  <a:pt x="2324" y="1384"/>
                </a:lnTo>
                <a:cubicBezTo>
                  <a:pt x="2308" y="1352"/>
                  <a:pt x="2244" y="1352"/>
                  <a:pt x="2213" y="1384"/>
                </a:cubicBezTo>
                <a:cubicBezTo>
                  <a:pt x="2181" y="1416"/>
                  <a:pt x="2181" y="1463"/>
                  <a:pt x="2213" y="1496"/>
                </a:cubicBezTo>
                <a:lnTo>
                  <a:pt x="2308" y="1575"/>
                </a:lnTo>
                <a:lnTo>
                  <a:pt x="2213" y="1654"/>
                </a:lnTo>
                <a:cubicBezTo>
                  <a:pt x="2181" y="1686"/>
                  <a:pt x="2181" y="1750"/>
                  <a:pt x="2213" y="1782"/>
                </a:cubicBezTo>
                <a:cubicBezTo>
                  <a:pt x="2229" y="1797"/>
                  <a:pt x="2260" y="1797"/>
                  <a:pt x="2276" y="1797"/>
                </a:cubicBezTo>
                <a:cubicBezTo>
                  <a:pt x="2292" y="1797"/>
                  <a:pt x="2308" y="1797"/>
                  <a:pt x="2324" y="1782"/>
                </a:cubicBezTo>
                <a:lnTo>
                  <a:pt x="2419" y="1686"/>
                </a:lnTo>
                <a:lnTo>
                  <a:pt x="2499" y="1782"/>
                </a:lnTo>
                <a:cubicBezTo>
                  <a:pt x="2515" y="1797"/>
                  <a:pt x="2531" y="1797"/>
                  <a:pt x="2562" y="1797"/>
                </a:cubicBezTo>
                <a:cubicBezTo>
                  <a:pt x="2578" y="1797"/>
                  <a:pt x="2595" y="1797"/>
                  <a:pt x="2610" y="1782"/>
                </a:cubicBezTo>
                <a:cubicBezTo>
                  <a:pt x="2642" y="1750"/>
                  <a:pt x="2642" y="1686"/>
                  <a:pt x="2610" y="1654"/>
                </a:cubicBezTo>
                <a:lnTo>
                  <a:pt x="2531" y="1575"/>
                </a:lnTo>
                <a:lnTo>
                  <a:pt x="2610" y="1496"/>
                </a:lnTo>
                <a:cubicBezTo>
                  <a:pt x="2642" y="1463"/>
                  <a:pt x="2642" y="1416"/>
                  <a:pt x="2610" y="1384"/>
                </a:cubicBezTo>
                <a:close/>
                <a:moveTo>
                  <a:pt x="3151" y="1718"/>
                </a:moveTo>
                <a:lnTo>
                  <a:pt x="2833" y="1718"/>
                </a:lnTo>
                <a:cubicBezTo>
                  <a:pt x="2785" y="1718"/>
                  <a:pt x="2753" y="1750"/>
                  <a:pt x="2753" y="1797"/>
                </a:cubicBezTo>
                <a:cubicBezTo>
                  <a:pt x="2753" y="1845"/>
                  <a:pt x="2785" y="1877"/>
                  <a:pt x="2833" y="1877"/>
                </a:cubicBezTo>
                <a:lnTo>
                  <a:pt x="3151" y="1877"/>
                </a:lnTo>
                <a:cubicBezTo>
                  <a:pt x="3199" y="1877"/>
                  <a:pt x="3231" y="1845"/>
                  <a:pt x="3231" y="1797"/>
                </a:cubicBezTo>
                <a:cubicBezTo>
                  <a:pt x="3231" y="1750"/>
                  <a:pt x="3199" y="1718"/>
                  <a:pt x="3151" y="1718"/>
                </a:cubicBezTo>
                <a:close/>
                <a:moveTo>
                  <a:pt x="3787" y="1718"/>
                </a:moveTo>
                <a:lnTo>
                  <a:pt x="3469" y="1718"/>
                </a:lnTo>
                <a:cubicBezTo>
                  <a:pt x="3422" y="1718"/>
                  <a:pt x="3390" y="1750"/>
                  <a:pt x="3390" y="1797"/>
                </a:cubicBezTo>
                <a:cubicBezTo>
                  <a:pt x="3390" y="1845"/>
                  <a:pt x="3422" y="1877"/>
                  <a:pt x="3469" y="1877"/>
                </a:cubicBezTo>
                <a:lnTo>
                  <a:pt x="3787" y="1877"/>
                </a:lnTo>
                <a:cubicBezTo>
                  <a:pt x="3835" y="1877"/>
                  <a:pt x="3867" y="1845"/>
                  <a:pt x="3867" y="1797"/>
                </a:cubicBezTo>
                <a:cubicBezTo>
                  <a:pt x="3867" y="1750"/>
                  <a:pt x="3835" y="1718"/>
                  <a:pt x="3787" y="1718"/>
                </a:cubicBezTo>
                <a:close/>
                <a:moveTo>
                  <a:pt x="3867" y="3277"/>
                </a:moveTo>
                <a:cubicBezTo>
                  <a:pt x="3708" y="3277"/>
                  <a:pt x="3580" y="3388"/>
                  <a:pt x="3580" y="3547"/>
                </a:cubicBezTo>
                <a:cubicBezTo>
                  <a:pt x="3580" y="3706"/>
                  <a:pt x="3708" y="3818"/>
                  <a:pt x="3867" y="3818"/>
                </a:cubicBezTo>
                <a:cubicBezTo>
                  <a:pt x="4010" y="3818"/>
                  <a:pt x="4137" y="3706"/>
                  <a:pt x="4137" y="3547"/>
                </a:cubicBezTo>
                <a:cubicBezTo>
                  <a:pt x="4137" y="3388"/>
                  <a:pt x="4010" y="3277"/>
                  <a:pt x="3867" y="3277"/>
                </a:cubicBezTo>
                <a:close/>
                <a:moveTo>
                  <a:pt x="3867" y="3674"/>
                </a:moveTo>
                <a:cubicBezTo>
                  <a:pt x="3803" y="3674"/>
                  <a:pt x="3740" y="3611"/>
                  <a:pt x="3740" y="3547"/>
                </a:cubicBezTo>
                <a:cubicBezTo>
                  <a:pt x="3740" y="3484"/>
                  <a:pt x="3803" y="3436"/>
                  <a:pt x="3867" y="3436"/>
                </a:cubicBezTo>
                <a:cubicBezTo>
                  <a:pt x="3931" y="3436"/>
                  <a:pt x="3978" y="3484"/>
                  <a:pt x="3978" y="3547"/>
                </a:cubicBezTo>
                <a:cubicBezTo>
                  <a:pt x="3978" y="3611"/>
                  <a:pt x="3931" y="3674"/>
                  <a:pt x="3867" y="3674"/>
                </a:cubicBezTo>
                <a:close/>
                <a:moveTo>
                  <a:pt x="3549" y="0"/>
                </a:moveTo>
                <a:lnTo>
                  <a:pt x="1115" y="0"/>
                </a:lnTo>
                <a:cubicBezTo>
                  <a:pt x="749" y="0"/>
                  <a:pt x="431" y="270"/>
                  <a:pt x="384" y="636"/>
                </a:cubicBezTo>
                <a:lnTo>
                  <a:pt x="18" y="3515"/>
                </a:lnTo>
                <a:cubicBezTo>
                  <a:pt x="-30" y="3802"/>
                  <a:pt x="18" y="4024"/>
                  <a:pt x="177" y="4199"/>
                </a:cubicBezTo>
                <a:cubicBezTo>
                  <a:pt x="384" y="4422"/>
                  <a:pt x="717" y="4438"/>
                  <a:pt x="797" y="4438"/>
                </a:cubicBezTo>
                <a:lnTo>
                  <a:pt x="813" y="4438"/>
                </a:lnTo>
                <a:lnTo>
                  <a:pt x="3867" y="4438"/>
                </a:lnTo>
                <a:cubicBezTo>
                  <a:pt x="3883" y="4438"/>
                  <a:pt x="4249" y="4454"/>
                  <a:pt x="4487" y="4215"/>
                </a:cubicBezTo>
                <a:lnTo>
                  <a:pt x="4503" y="4199"/>
                </a:lnTo>
                <a:lnTo>
                  <a:pt x="4503" y="4183"/>
                </a:lnTo>
                <a:cubicBezTo>
                  <a:pt x="4519" y="4183"/>
                  <a:pt x="4513" y="4173"/>
                  <a:pt x="4519" y="4168"/>
                </a:cubicBezTo>
                <a:cubicBezTo>
                  <a:pt x="4535" y="4168"/>
                  <a:pt x="4535" y="4168"/>
                  <a:pt x="4535" y="4151"/>
                </a:cubicBezTo>
                <a:cubicBezTo>
                  <a:pt x="4540" y="4146"/>
                  <a:pt x="4551" y="4151"/>
                  <a:pt x="4551" y="4136"/>
                </a:cubicBezTo>
                <a:lnTo>
                  <a:pt x="4567" y="4120"/>
                </a:lnTo>
                <a:cubicBezTo>
                  <a:pt x="4662" y="3961"/>
                  <a:pt x="4694" y="3754"/>
                  <a:pt x="4662" y="3515"/>
                </a:cubicBezTo>
                <a:lnTo>
                  <a:pt x="4296" y="636"/>
                </a:lnTo>
                <a:cubicBezTo>
                  <a:pt x="4249" y="270"/>
                  <a:pt x="3931" y="0"/>
                  <a:pt x="3549" y="0"/>
                </a:cubicBezTo>
                <a:close/>
                <a:moveTo>
                  <a:pt x="4503" y="3595"/>
                </a:moveTo>
                <a:cubicBezTo>
                  <a:pt x="4535" y="3770"/>
                  <a:pt x="4503" y="3929"/>
                  <a:pt x="4423" y="4040"/>
                </a:cubicBezTo>
                <a:cubicBezTo>
                  <a:pt x="4423" y="4056"/>
                  <a:pt x="4413" y="4051"/>
                  <a:pt x="4408" y="4056"/>
                </a:cubicBezTo>
                <a:lnTo>
                  <a:pt x="4408" y="4072"/>
                </a:lnTo>
                <a:cubicBezTo>
                  <a:pt x="4392" y="4072"/>
                  <a:pt x="4392" y="4072"/>
                  <a:pt x="4392" y="4088"/>
                </a:cubicBezTo>
                <a:lnTo>
                  <a:pt x="4376" y="4088"/>
                </a:lnTo>
                <a:lnTo>
                  <a:pt x="4376" y="4104"/>
                </a:lnTo>
                <a:cubicBezTo>
                  <a:pt x="4370" y="4109"/>
                  <a:pt x="4360" y="4104"/>
                  <a:pt x="4360" y="4120"/>
                </a:cubicBezTo>
                <a:cubicBezTo>
                  <a:pt x="4344" y="4120"/>
                  <a:pt x="4344" y="4136"/>
                  <a:pt x="4328" y="4136"/>
                </a:cubicBezTo>
                <a:cubicBezTo>
                  <a:pt x="4312" y="4151"/>
                  <a:pt x="4296" y="4168"/>
                  <a:pt x="4265" y="4183"/>
                </a:cubicBezTo>
                <a:cubicBezTo>
                  <a:pt x="4259" y="4188"/>
                  <a:pt x="4249" y="4183"/>
                  <a:pt x="4249" y="4199"/>
                </a:cubicBezTo>
                <a:lnTo>
                  <a:pt x="4232" y="4199"/>
                </a:lnTo>
                <a:cubicBezTo>
                  <a:pt x="4217" y="4199"/>
                  <a:pt x="4222" y="4210"/>
                  <a:pt x="4217" y="4215"/>
                </a:cubicBezTo>
                <a:lnTo>
                  <a:pt x="4201" y="4215"/>
                </a:lnTo>
                <a:lnTo>
                  <a:pt x="4185" y="4215"/>
                </a:lnTo>
                <a:lnTo>
                  <a:pt x="4185" y="4231"/>
                </a:lnTo>
                <a:lnTo>
                  <a:pt x="4169" y="4231"/>
                </a:lnTo>
                <a:cubicBezTo>
                  <a:pt x="4010" y="4279"/>
                  <a:pt x="3967" y="4263"/>
                  <a:pt x="3867" y="4279"/>
                </a:cubicBezTo>
                <a:lnTo>
                  <a:pt x="797" y="4279"/>
                </a:lnTo>
                <a:cubicBezTo>
                  <a:pt x="627" y="4215"/>
                  <a:pt x="479" y="4295"/>
                  <a:pt x="288" y="4088"/>
                </a:cubicBezTo>
                <a:cubicBezTo>
                  <a:pt x="177" y="3977"/>
                  <a:pt x="145" y="3802"/>
                  <a:pt x="161" y="3595"/>
                </a:cubicBezTo>
                <a:cubicBezTo>
                  <a:pt x="240" y="3102"/>
                  <a:pt x="781" y="3118"/>
                  <a:pt x="813" y="3118"/>
                </a:cubicBezTo>
                <a:lnTo>
                  <a:pt x="3867" y="3118"/>
                </a:lnTo>
                <a:cubicBezTo>
                  <a:pt x="3899" y="3118"/>
                  <a:pt x="4440" y="3102"/>
                  <a:pt x="4503" y="3595"/>
                </a:cubicBezTo>
                <a:close/>
                <a:moveTo>
                  <a:pt x="4455" y="3150"/>
                </a:moveTo>
                <a:cubicBezTo>
                  <a:pt x="4280" y="2990"/>
                  <a:pt x="4026" y="2959"/>
                  <a:pt x="3867" y="2959"/>
                </a:cubicBezTo>
                <a:lnTo>
                  <a:pt x="813" y="2959"/>
                </a:lnTo>
                <a:cubicBezTo>
                  <a:pt x="654" y="2959"/>
                  <a:pt x="399" y="2990"/>
                  <a:pt x="224" y="3166"/>
                </a:cubicBezTo>
                <a:lnTo>
                  <a:pt x="542" y="668"/>
                </a:lnTo>
                <a:cubicBezTo>
                  <a:pt x="574" y="366"/>
                  <a:pt x="829" y="159"/>
                  <a:pt x="1115" y="159"/>
                </a:cubicBezTo>
                <a:lnTo>
                  <a:pt x="3549" y="159"/>
                </a:lnTo>
                <a:cubicBezTo>
                  <a:pt x="3851" y="159"/>
                  <a:pt x="4089" y="366"/>
                  <a:pt x="4137" y="65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1" name="Freeform: Shape 3">
            <a:extLst>
              <a:ext uri="{FF2B5EF4-FFF2-40B4-BE49-F238E27FC236}">
                <a16:creationId xmlns:a16="http://schemas.microsoft.com/office/drawing/2014/main" id="{DBA8A2D4-96F6-5F44-A65E-FC0A6A0D6E62}"/>
              </a:ext>
            </a:extLst>
          </p:cNvPr>
          <p:cNvSpPr/>
          <p:nvPr/>
        </p:nvSpPr>
        <p:spPr>
          <a:xfrm>
            <a:off x="10000124" y="3352318"/>
            <a:ext cx="1682639" cy="1597320"/>
          </a:xfrm>
          <a:custGeom>
            <a:avLst/>
            <a:gdLst/>
            <a:ahLst/>
            <a:cxnLst>
              <a:cxn ang="3cd4">
                <a:pos x="hc" y="t"/>
              </a:cxn>
              <a:cxn ang="cd2">
                <a:pos x="l" y="vc"/>
              </a:cxn>
              <a:cxn ang="cd4">
                <a:pos x="hc" y="b"/>
              </a:cxn>
              <a:cxn ang="0">
                <a:pos x="r" y="vc"/>
              </a:cxn>
            </a:cxnLst>
            <a:rect l="l" t="t" r="r" b="b"/>
            <a:pathLst>
              <a:path w="4675" h="4438">
                <a:moveTo>
                  <a:pt x="1647" y="2434"/>
                </a:moveTo>
                <a:lnTo>
                  <a:pt x="3031" y="2434"/>
                </a:lnTo>
                <a:cubicBezTo>
                  <a:pt x="3079" y="2434"/>
                  <a:pt x="3110" y="2402"/>
                  <a:pt x="3110" y="2354"/>
                </a:cubicBezTo>
                <a:lnTo>
                  <a:pt x="3110" y="1479"/>
                </a:lnTo>
                <a:cubicBezTo>
                  <a:pt x="3110" y="1432"/>
                  <a:pt x="3079" y="1400"/>
                  <a:pt x="3031" y="1400"/>
                </a:cubicBezTo>
                <a:lnTo>
                  <a:pt x="2904" y="1400"/>
                </a:lnTo>
                <a:lnTo>
                  <a:pt x="2904" y="1384"/>
                </a:lnTo>
                <a:cubicBezTo>
                  <a:pt x="2904" y="1050"/>
                  <a:pt x="2649" y="795"/>
                  <a:pt x="2347" y="795"/>
                </a:cubicBezTo>
                <a:cubicBezTo>
                  <a:pt x="2029" y="795"/>
                  <a:pt x="1790" y="1050"/>
                  <a:pt x="1790" y="1384"/>
                </a:cubicBezTo>
                <a:lnTo>
                  <a:pt x="1790" y="1400"/>
                </a:lnTo>
                <a:lnTo>
                  <a:pt x="1647" y="1400"/>
                </a:lnTo>
                <a:cubicBezTo>
                  <a:pt x="1599" y="1400"/>
                  <a:pt x="1568" y="1432"/>
                  <a:pt x="1568" y="1479"/>
                </a:cubicBezTo>
                <a:lnTo>
                  <a:pt x="1568" y="2354"/>
                </a:lnTo>
                <a:cubicBezTo>
                  <a:pt x="1568" y="2402"/>
                  <a:pt x="1599" y="2434"/>
                  <a:pt x="1647" y="2434"/>
                </a:cubicBezTo>
                <a:close/>
                <a:moveTo>
                  <a:pt x="2347" y="955"/>
                </a:moveTo>
                <a:cubicBezTo>
                  <a:pt x="2554" y="955"/>
                  <a:pt x="2745" y="1146"/>
                  <a:pt x="2745" y="1384"/>
                </a:cubicBezTo>
                <a:lnTo>
                  <a:pt x="2745" y="1400"/>
                </a:lnTo>
                <a:lnTo>
                  <a:pt x="1950" y="1400"/>
                </a:lnTo>
                <a:lnTo>
                  <a:pt x="1950" y="1384"/>
                </a:lnTo>
                <a:cubicBezTo>
                  <a:pt x="1950" y="1146"/>
                  <a:pt x="2125" y="955"/>
                  <a:pt x="2347" y="955"/>
                </a:cubicBezTo>
                <a:close/>
                <a:moveTo>
                  <a:pt x="1727" y="1559"/>
                </a:moveTo>
                <a:lnTo>
                  <a:pt x="2952" y="1559"/>
                </a:lnTo>
                <a:lnTo>
                  <a:pt x="2952" y="2274"/>
                </a:lnTo>
                <a:lnTo>
                  <a:pt x="1727" y="2274"/>
                </a:lnTo>
                <a:close/>
                <a:moveTo>
                  <a:pt x="3858" y="3834"/>
                </a:moveTo>
                <a:cubicBezTo>
                  <a:pt x="4017" y="3834"/>
                  <a:pt x="4144" y="3706"/>
                  <a:pt x="4144" y="3547"/>
                </a:cubicBezTo>
                <a:cubicBezTo>
                  <a:pt x="4144" y="3388"/>
                  <a:pt x="4017" y="3277"/>
                  <a:pt x="3858" y="3277"/>
                </a:cubicBezTo>
                <a:cubicBezTo>
                  <a:pt x="3715" y="3277"/>
                  <a:pt x="3588" y="3388"/>
                  <a:pt x="3588" y="3547"/>
                </a:cubicBezTo>
                <a:cubicBezTo>
                  <a:pt x="3588" y="3706"/>
                  <a:pt x="3715" y="3834"/>
                  <a:pt x="3858" y="3834"/>
                </a:cubicBezTo>
                <a:close/>
                <a:moveTo>
                  <a:pt x="3858" y="3436"/>
                </a:moveTo>
                <a:cubicBezTo>
                  <a:pt x="3922" y="3436"/>
                  <a:pt x="3985" y="3483"/>
                  <a:pt x="3985" y="3547"/>
                </a:cubicBezTo>
                <a:cubicBezTo>
                  <a:pt x="3985" y="3611"/>
                  <a:pt x="3922" y="3674"/>
                  <a:pt x="3858" y="3674"/>
                </a:cubicBezTo>
                <a:cubicBezTo>
                  <a:pt x="3795" y="3674"/>
                  <a:pt x="3747" y="3611"/>
                  <a:pt x="3747" y="3547"/>
                </a:cubicBezTo>
                <a:cubicBezTo>
                  <a:pt x="3747" y="3483"/>
                  <a:pt x="3795" y="3436"/>
                  <a:pt x="3858" y="3436"/>
                </a:cubicBezTo>
                <a:close/>
                <a:moveTo>
                  <a:pt x="789" y="4438"/>
                </a:moveTo>
                <a:lnTo>
                  <a:pt x="804" y="4438"/>
                </a:lnTo>
                <a:lnTo>
                  <a:pt x="3858" y="4438"/>
                </a:lnTo>
                <a:lnTo>
                  <a:pt x="3874" y="4438"/>
                </a:lnTo>
                <a:cubicBezTo>
                  <a:pt x="3890" y="4438"/>
                  <a:pt x="4224" y="4454"/>
                  <a:pt x="4462" y="4247"/>
                </a:cubicBezTo>
                <a:lnTo>
                  <a:pt x="4462" y="4231"/>
                </a:lnTo>
                <a:cubicBezTo>
                  <a:pt x="4468" y="4226"/>
                  <a:pt x="4479" y="4231"/>
                  <a:pt x="4479" y="4215"/>
                </a:cubicBezTo>
                <a:cubicBezTo>
                  <a:pt x="4494" y="4215"/>
                  <a:pt x="4489" y="4204"/>
                  <a:pt x="4494" y="4199"/>
                </a:cubicBezTo>
                <a:lnTo>
                  <a:pt x="4510" y="4199"/>
                </a:lnTo>
                <a:lnTo>
                  <a:pt x="4510" y="4183"/>
                </a:lnTo>
                <a:lnTo>
                  <a:pt x="4526" y="4167"/>
                </a:lnTo>
                <a:lnTo>
                  <a:pt x="4542" y="4152"/>
                </a:lnTo>
                <a:lnTo>
                  <a:pt x="4542" y="4136"/>
                </a:lnTo>
                <a:cubicBezTo>
                  <a:pt x="4558" y="4136"/>
                  <a:pt x="4558" y="4136"/>
                  <a:pt x="4558" y="4120"/>
                </a:cubicBezTo>
                <a:cubicBezTo>
                  <a:pt x="4670" y="3961"/>
                  <a:pt x="4701" y="3754"/>
                  <a:pt x="4653" y="3515"/>
                </a:cubicBezTo>
                <a:lnTo>
                  <a:pt x="4288" y="637"/>
                </a:lnTo>
                <a:cubicBezTo>
                  <a:pt x="4240" y="271"/>
                  <a:pt x="3922" y="0"/>
                  <a:pt x="3556" y="0"/>
                </a:cubicBezTo>
                <a:lnTo>
                  <a:pt x="1122" y="0"/>
                </a:lnTo>
                <a:cubicBezTo>
                  <a:pt x="741" y="0"/>
                  <a:pt x="438" y="271"/>
                  <a:pt x="375" y="637"/>
                </a:cubicBezTo>
                <a:lnTo>
                  <a:pt x="9" y="3515"/>
                </a:lnTo>
                <a:cubicBezTo>
                  <a:pt x="-23" y="3801"/>
                  <a:pt x="25" y="4024"/>
                  <a:pt x="168" y="4199"/>
                </a:cubicBezTo>
                <a:cubicBezTo>
                  <a:pt x="375" y="4422"/>
                  <a:pt x="709" y="4438"/>
                  <a:pt x="789" y="4438"/>
                </a:cubicBezTo>
                <a:close/>
                <a:moveTo>
                  <a:pt x="534" y="668"/>
                </a:moveTo>
                <a:cubicBezTo>
                  <a:pt x="581" y="366"/>
                  <a:pt x="820" y="159"/>
                  <a:pt x="1122" y="159"/>
                </a:cubicBezTo>
                <a:lnTo>
                  <a:pt x="3556" y="159"/>
                </a:lnTo>
                <a:cubicBezTo>
                  <a:pt x="3842" y="159"/>
                  <a:pt x="4097" y="366"/>
                  <a:pt x="4128" y="668"/>
                </a:cubicBezTo>
                <a:lnTo>
                  <a:pt x="4447" y="3165"/>
                </a:lnTo>
                <a:cubicBezTo>
                  <a:pt x="4271" y="2991"/>
                  <a:pt x="4017" y="2959"/>
                  <a:pt x="3874" y="2959"/>
                </a:cubicBezTo>
                <a:lnTo>
                  <a:pt x="804" y="2959"/>
                </a:lnTo>
                <a:cubicBezTo>
                  <a:pt x="645" y="2959"/>
                  <a:pt x="407" y="2991"/>
                  <a:pt x="216" y="3165"/>
                </a:cubicBezTo>
                <a:close/>
                <a:moveTo>
                  <a:pt x="168" y="3595"/>
                </a:moveTo>
                <a:cubicBezTo>
                  <a:pt x="232" y="3102"/>
                  <a:pt x="772" y="3118"/>
                  <a:pt x="804" y="3118"/>
                </a:cubicBezTo>
                <a:lnTo>
                  <a:pt x="3874" y="3118"/>
                </a:lnTo>
                <a:cubicBezTo>
                  <a:pt x="3890" y="3118"/>
                  <a:pt x="4447" y="3102"/>
                  <a:pt x="4510" y="3595"/>
                </a:cubicBezTo>
                <a:cubicBezTo>
                  <a:pt x="4526" y="3770"/>
                  <a:pt x="4494" y="3929"/>
                  <a:pt x="4431" y="4040"/>
                </a:cubicBezTo>
                <a:lnTo>
                  <a:pt x="4415" y="4040"/>
                </a:lnTo>
                <a:lnTo>
                  <a:pt x="4415" y="4056"/>
                </a:lnTo>
                <a:cubicBezTo>
                  <a:pt x="4399" y="4056"/>
                  <a:pt x="4405" y="4067"/>
                  <a:pt x="4399" y="4072"/>
                </a:cubicBezTo>
                <a:lnTo>
                  <a:pt x="4399" y="4088"/>
                </a:lnTo>
                <a:cubicBezTo>
                  <a:pt x="4383" y="4088"/>
                  <a:pt x="4383" y="4088"/>
                  <a:pt x="4383" y="4104"/>
                </a:cubicBezTo>
                <a:lnTo>
                  <a:pt x="4367" y="4104"/>
                </a:lnTo>
                <a:cubicBezTo>
                  <a:pt x="4192" y="4295"/>
                  <a:pt x="4039" y="4221"/>
                  <a:pt x="3874" y="4279"/>
                </a:cubicBezTo>
                <a:lnTo>
                  <a:pt x="804" y="4279"/>
                </a:lnTo>
                <a:cubicBezTo>
                  <a:pt x="630" y="4215"/>
                  <a:pt x="470" y="4295"/>
                  <a:pt x="280" y="4088"/>
                </a:cubicBezTo>
                <a:cubicBezTo>
                  <a:pt x="184" y="3977"/>
                  <a:pt x="136" y="3801"/>
                  <a:pt x="168" y="359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2" name="Freeform: Shape 4">
            <a:extLst>
              <a:ext uri="{FF2B5EF4-FFF2-40B4-BE49-F238E27FC236}">
                <a16:creationId xmlns:a16="http://schemas.microsoft.com/office/drawing/2014/main" id="{3B966F6F-21FE-5B4B-9738-762155D3DB07}"/>
              </a:ext>
            </a:extLst>
          </p:cNvPr>
          <p:cNvSpPr/>
          <p:nvPr/>
        </p:nvSpPr>
        <p:spPr>
          <a:xfrm>
            <a:off x="1744870" y="9856993"/>
            <a:ext cx="1682639" cy="1597320"/>
          </a:xfrm>
          <a:custGeom>
            <a:avLst/>
            <a:gdLst/>
            <a:ahLst/>
            <a:cxnLst>
              <a:cxn ang="3cd4">
                <a:pos x="hc" y="t"/>
              </a:cxn>
              <a:cxn ang="cd2">
                <a:pos x="l" y="vc"/>
              </a:cxn>
              <a:cxn ang="cd4">
                <a:pos x="hc" y="b"/>
              </a:cxn>
              <a:cxn ang="0">
                <a:pos x="r" y="vc"/>
              </a:cxn>
            </a:cxnLst>
            <a:rect l="l" t="t" r="r" b="b"/>
            <a:pathLst>
              <a:path w="4675" h="4438">
                <a:moveTo>
                  <a:pt x="2045" y="2084"/>
                </a:moveTo>
                <a:cubicBezTo>
                  <a:pt x="2061" y="2100"/>
                  <a:pt x="2077" y="2115"/>
                  <a:pt x="2108" y="2115"/>
                </a:cubicBezTo>
                <a:cubicBezTo>
                  <a:pt x="2125" y="2115"/>
                  <a:pt x="2140" y="2100"/>
                  <a:pt x="2156" y="2084"/>
                </a:cubicBezTo>
                <a:lnTo>
                  <a:pt x="3047" y="1241"/>
                </a:lnTo>
                <a:cubicBezTo>
                  <a:pt x="3079" y="1225"/>
                  <a:pt x="3079" y="1161"/>
                  <a:pt x="3063" y="1129"/>
                </a:cubicBezTo>
                <a:cubicBezTo>
                  <a:pt x="3031" y="1097"/>
                  <a:pt x="2983" y="1097"/>
                  <a:pt x="2952" y="1129"/>
                </a:cubicBezTo>
                <a:lnTo>
                  <a:pt x="2108" y="1925"/>
                </a:lnTo>
                <a:lnTo>
                  <a:pt x="1727" y="1559"/>
                </a:lnTo>
                <a:cubicBezTo>
                  <a:pt x="1695" y="1527"/>
                  <a:pt x="1647" y="1527"/>
                  <a:pt x="1616" y="1559"/>
                </a:cubicBezTo>
                <a:cubicBezTo>
                  <a:pt x="1584" y="1591"/>
                  <a:pt x="1584" y="1638"/>
                  <a:pt x="1616" y="1670"/>
                </a:cubicBezTo>
                <a:close/>
                <a:moveTo>
                  <a:pt x="3858" y="3277"/>
                </a:moveTo>
                <a:cubicBezTo>
                  <a:pt x="3715" y="3277"/>
                  <a:pt x="3588" y="3388"/>
                  <a:pt x="3588" y="3547"/>
                </a:cubicBezTo>
                <a:cubicBezTo>
                  <a:pt x="3588" y="3706"/>
                  <a:pt x="3715" y="3833"/>
                  <a:pt x="3858" y="3833"/>
                </a:cubicBezTo>
                <a:cubicBezTo>
                  <a:pt x="4017" y="3833"/>
                  <a:pt x="4144" y="3706"/>
                  <a:pt x="4144" y="3547"/>
                </a:cubicBezTo>
                <a:cubicBezTo>
                  <a:pt x="4144" y="3388"/>
                  <a:pt x="4017" y="3277"/>
                  <a:pt x="3858" y="3277"/>
                </a:cubicBezTo>
                <a:close/>
                <a:moveTo>
                  <a:pt x="3858" y="3674"/>
                </a:moveTo>
                <a:cubicBezTo>
                  <a:pt x="3795" y="3674"/>
                  <a:pt x="3747" y="3611"/>
                  <a:pt x="3747" y="3547"/>
                </a:cubicBezTo>
                <a:cubicBezTo>
                  <a:pt x="3747" y="3484"/>
                  <a:pt x="3795" y="3436"/>
                  <a:pt x="3858" y="3436"/>
                </a:cubicBezTo>
                <a:cubicBezTo>
                  <a:pt x="3922" y="3436"/>
                  <a:pt x="3985" y="3484"/>
                  <a:pt x="3985" y="3547"/>
                </a:cubicBezTo>
                <a:cubicBezTo>
                  <a:pt x="3985" y="3611"/>
                  <a:pt x="3922" y="3674"/>
                  <a:pt x="3858" y="3674"/>
                </a:cubicBezTo>
                <a:close/>
                <a:moveTo>
                  <a:pt x="4288" y="636"/>
                </a:moveTo>
                <a:cubicBezTo>
                  <a:pt x="4240" y="270"/>
                  <a:pt x="3922" y="0"/>
                  <a:pt x="3556" y="0"/>
                </a:cubicBezTo>
                <a:lnTo>
                  <a:pt x="1122" y="0"/>
                </a:lnTo>
                <a:cubicBezTo>
                  <a:pt x="741" y="0"/>
                  <a:pt x="438" y="270"/>
                  <a:pt x="375" y="636"/>
                </a:cubicBezTo>
                <a:lnTo>
                  <a:pt x="9" y="3515"/>
                </a:lnTo>
                <a:cubicBezTo>
                  <a:pt x="-23" y="3802"/>
                  <a:pt x="25" y="4024"/>
                  <a:pt x="168" y="4199"/>
                </a:cubicBezTo>
                <a:cubicBezTo>
                  <a:pt x="375" y="4422"/>
                  <a:pt x="709" y="4438"/>
                  <a:pt x="789" y="4438"/>
                </a:cubicBezTo>
                <a:lnTo>
                  <a:pt x="804" y="4438"/>
                </a:lnTo>
                <a:lnTo>
                  <a:pt x="3858" y="4438"/>
                </a:lnTo>
                <a:cubicBezTo>
                  <a:pt x="3890" y="4438"/>
                  <a:pt x="4240" y="4454"/>
                  <a:pt x="4479" y="4215"/>
                </a:cubicBezTo>
                <a:cubicBezTo>
                  <a:pt x="4494" y="4215"/>
                  <a:pt x="4489" y="4204"/>
                  <a:pt x="4494" y="4199"/>
                </a:cubicBezTo>
                <a:lnTo>
                  <a:pt x="4510" y="4199"/>
                </a:lnTo>
                <a:lnTo>
                  <a:pt x="4510" y="4183"/>
                </a:lnTo>
                <a:cubicBezTo>
                  <a:pt x="4516" y="4178"/>
                  <a:pt x="4526" y="4183"/>
                  <a:pt x="4526" y="4168"/>
                </a:cubicBezTo>
                <a:lnTo>
                  <a:pt x="4542" y="4151"/>
                </a:lnTo>
                <a:lnTo>
                  <a:pt x="4542" y="4136"/>
                </a:lnTo>
                <a:cubicBezTo>
                  <a:pt x="4558" y="4136"/>
                  <a:pt x="4558" y="4136"/>
                  <a:pt x="4558" y="4120"/>
                </a:cubicBezTo>
                <a:cubicBezTo>
                  <a:pt x="4670" y="3960"/>
                  <a:pt x="4701" y="3754"/>
                  <a:pt x="4653" y="3515"/>
                </a:cubicBezTo>
                <a:close/>
                <a:moveTo>
                  <a:pt x="534" y="668"/>
                </a:moveTo>
                <a:cubicBezTo>
                  <a:pt x="581" y="366"/>
                  <a:pt x="820" y="159"/>
                  <a:pt x="1122" y="159"/>
                </a:cubicBezTo>
                <a:lnTo>
                  <a:pt x="3556" y="159"/>
                </a:lnTo>
                <a:cubicBezTo>
                  <a:pt x="3842" y="159"/>
                  <a:pt x="4097" y="366"/>
                  <a:pt x="4128" y="668"/>
                </a:cubicBezTo>
                <a:lnTo>
                  <a:pt x="4447" y="3165"/>
                </a:lnTo>
                <a:cubicBezTo>
                  <a:pt x="4271" y="2990"/>
                  <a:pt x="4017" y="2959"/>
                  <a:pt x="3874" y="2959"/>
                </a:cubicBezTo>
                <a:lnTo>
                  <a:pt x="804" y="2959"/>
                </a:lnTo>
                <a:cubicBezTo>
                  <a:pt x="645" y="2959"/>
                  <a:pt x="407" y="2990"/>
                  <a:pt x="216" y="3165"/>
                </a:cubicBezTo>
                <a:close/>
                <a:moveTo>
                  <a:pt x="4431" y="4040"/>
                </a:moveTo>
                <a:lnTo>
                  <a:pt x="4415" y="4040"/>
                </a:lnTo>
                <a:lnTo>
                  <a:pt x="4415" y="4056"/>
                </a:lnTo>
                <a:cubicBezTo>
                  <a:pt x="4399" y="4056"/>
                  <a:pt x="4405" y="4067"/>
                  <a:pt x="4399" y="4072"/>
                </a:cubicBezTo>
                <a:lnTo>
                  <a:pt x="4399" y="4088"/>
                </a:lnTo>
                <a:cubicBezTo>
                  <a:pt x="4383" y="4088"/>
                  <a:pt x="4383" y="4088"/>
                  <a:pt x="4383" y="4104"/>
                </a:cubicBezTo>
                <a:lnTo>
                  <a:pt x="4367" y="4104"/>
                </a:lnTo>
                <a:cubicBezTo>
                  <a:pt x="4192" y="4295"/>
                  <a:pt x="4039" y="4221"/>
                  <a:pt x="3874" y="4279"/>
                </a:cubicBezTo>
                <a:lnTo>
                  <a:pt x="804" y="4279"/>
                </a:lnTo>
                <a:cubicBezTo>
                  <a:pt x="635" y="4215"/>
                  <a:pt x="470" y="4295"/>
                  <a:pt x="295" y="4088"/>
                </a:cubicBezTo>
                <a:cubicBezTo>
                  <a:pt x="184" y="3977"/>
                  <a:pt x="136" y="3802"/>
                  <a:pt x="168" y="3595"/>
                </a:cubicBezTo>
                <a:cubicBezTo>
                  <a:pt x="232" y="3102"/>
                  <a:pt x="772" y="3118"/>
                  <a:pt x="804" y="3118"/>
                </a:cubicBezTo>
                <a:lnTo>
                  <a:pt x="3874" y="3118"/>
                </a:lnTo>
                <a:cubicBezTo>
                  <a:pt x="3890" y="3118"/>
                  <a:pt x="4447" y="3102"/>
                  <a:pt x="4510" y="3595"/>
                </a:cubicBezTo>
                <a:cubicBezTo>
                  <a:pt x="4526" y="3770"/>
                  <a:pt x="4494" y="3929"/>
                  <a:pt x="4431" y="40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Freeform: Shape 5">
            <a:extLst>
              <a:ext uri="{FF2B5EF4-FFF2-40B4-BE49-F238E27FC236}">
                <a16:creationId xmlns:a16="http://schemas.microsoft.com/office/drawing/2014/main" id="{88648CC9-6A69-3641-9AEA-C52243A306E7}"/>
              </a:ext>
            </a:extLst>
          </p:cNvPr>
          <p:cNvSpPr/>
          <p:nvPr/>
        </p:nvSpPr>
        <p:spPr>
          <a:xfrm>
            <a:off x="10000303" y="9856993"/>
            <a:ext cx="1682280" cy="1597320"/>
          </a:xfrm>
          <a:custGeom>
            <a:avLst/>
            <a:gdLst/>
            <a:ahLst/>
            <a:cxnLst>
              <a:cxn ang="3cd4">
                <a:pos x="hc" y="t"/>
              </a:cxn>
              <a:cxn ang="cd2">
                <a:pos x="l" y="vc"/>
              </a:cxn>
              <a:cxn ang="cd4">
                <a:pos x="hc" y="b"/>
              </a:cxn>
              <a:cxn ang="0">
                <a:pos x="r" y="vc"/>
              </a:cxn>
            </a:cxnLst>
            <a:rect l="l" t="t" r="r" b="b"/>
            <a:pathLst>
              <a:path w="4674" h="4438">
                <a:moveTo>
                  <a:pt x="1863" y="2370"/>
                </a:moveTo>
                <a:lnTo>
                  <a:pt x="2801" y="2370"/>
                </a:lnTo>
                <a:cubicBezTo>
                  <a:pt x="3008" y="2370"/>
                  <a:pt x="3167" y="2211"/>
                  <a:pt x="3167" y="2004"/>
                </a:cubicBezTo>
                <a:lnTo>
                  <a:pt x="3167" y="1066"/>
                </a:lnTo>
                <a:cubicBezTo>
                  <a:pt x="3167" y="875"/>
                  <a:pt x="3008" y="700"/>
                  <a:pt x="2801" y="700"/>
                </a:cubicBezTo>
                <a:lnTo>
                  <a:pt x="2642" y="700"/>
                </a:lnTo>
                <a:lnTo>
                  <a:pt x="2038" y="700"/>
                </a:lnTo>
                <a:lnTo>
                  <a:pt x="1863" y="700"/>
                </a:lnTo>
                <a:cubicBezTo>
                  <a:pt x="1672" y="700"/>
                  <a:pt x="1497" y="875"/>
                  <a:pt x="1497" y="1066"/>
                </a:cubicBezTo>
                <a:lnTo>
                  <a:pt x="1497" y="2004"/>
                </a:lnTo>
                <a:cubicBezTo>
                  <a:pt x="1497" y="2211"/>
                  <a:pt x="1672" y="2370"/>
                  <a:pt x="1863" y="2370"/>
                </a:cubicBezTo>
                <a:close/>
                <a:moveTo>
                  <a:pt x="2117" y="859"/>
                </a:moveTo>
                <a:lnTo>
                  <a:pt x="2563" y="859"/>
                </a:lnTo>
                <a:lnTo>
                  <a:pt x="2563" y="1305"/>
                </a:lnTo>
                <a:lnTo>
                  <a:pt x="2117" y="1305"/>
                </a:lnTo>
                <a:close/>
                <a:moveTo>
                  <a:pt x="1656" y="1066"/>
                </a:moveTo>
                <a:cubicBezTo>
                  <a:pt x="1656" y="954"/>
                  <a:pt x="1751" y="859"/>
                  <a:pt x="1863" y="859"/>
                </a:cubicBezTo>
                <a:lnTo>
                  <a:pt x="1958" y="859"/>
                </a:lnTo>
                <a:lnTo>
                  <a:pt x="1958" y="1384"/>
                </a:lnTo>
                <a:cubicBezTo>
                  <a:pt x="1958" y="1432"/>
                  <a:pt x="1990" y="1463"/>
                  <a:pt x="2038" y="1463"/>
                </a:cubicBezTo>
                <a:lnTo>
                  <a:pt x="2642" y="1463"/>
                </a:lnTo>
                <a:cubicBezTo>
                  <a:pt x="2690" y="1463"/>
                  <a:pt x="2721" y="1432"/>
                  <a:pt x="2721" y="1384"/>
                </a:cubicBezTo>
                <a:lnTo>
                  <a:pt x="2721" y="859"/>
                </a:lnTo>
                <a:lnTo>
                  <a:pt x="2801" y="859"/>
                </a:lnTo>
                <a:cubicBezTo>
                  <a:pt x="2912" y="859"/>
                  <a:pt x="3008" y="954"/>
                  <a:pt x="3008" y="1066"/>
                </a:cubicBezTo>
                <a:lnTo>
                  <a:pt x="3008" y="2004"/>
                </a:lnTo>
                <a:cubicBezTo>
                  <a:pt x="3008" y="2115"/>
                  <a:pt x="2912" y="2211"/>
                  <a:pt x="2801" y="2211"/>
                </a:cubicBezTo>
                <a:lnTo>
                  <a:pt x="1863" y="2211"/>
                </a:lnTo>
                <a:cubicBezTo>
                  <a:pt x="1751" y="2211"/>
                  <a:pt x="1656" y="2115"/>
                  <a:pt x="1656" y="2004"/>
                </a:cubicBezTo>
                <a:close/>
                <a:moveTo>
                  <a:pt x="3867" y="3277"/>
                </a:moveTo>
                <a:cubicBezTo>
                  <a:pt x="3708" y="3277"/>
                  <a:pt x="3581" y="3388"/>
                  <a:pt x="3581" y="3547"/>
                </a:cubicBezTo>
                <a:cubicBezTo>
                  <a:pt x="3581" y="3706"/>
                  <a:pt x="3708" y="3833"/>
                  <a:pt x="3867" y="3833"/>
                </a:cubicBezTo>
                <a:cubicBezTo>
                  <a:pt x="4010" y="3833"/>
                  <a:pt x="4137" y="3706"/>
                  <a:pt x="4137" y="3547"/>
                </a:cubicBezTo>
                <a:cubicBezTo>
                  <a:pt x="4137" y="3388"/>
                  <a:pt x="4010" y="3277"/>
                  <a:pt x="3867" y="3277"/>
                </a:cubicBezTo>
                <a:close/>
                <a:moveTo>
                  <a:pt x="3867" y="3674"/>
                </a:moveTo>
                <a:cubicBezTo>
                  <a:pt x="3803" y="3674"/>
                  <a:pt x="3739" y="3611"/>
                  <a:pt x="3739" y="3547"/>
                </a:cubicBezTo>
                <a:cubicBezTo>
                  <a:pt x="3739" y="3484"/>
                  <a:pt x="3803" y="3436"/>
                  <a:pt x="3867" y="3436"/>
                </a:cubicBezTo>
                <a:cubicBezTo>
                  <a:pt x="3930" y="3436"/>
                  <a:pt x="3978" y="3484"/>
                  <a:pt x="3978" y="3547"/>
                </a:cubicBezTo>
                <a:cubicBezTo>
                  <a:pt x="3978" y="3611"/>
                  <a:pt x="3930" y="3674"/>
                  <a:pt x="3867" y="3674"/>
                </a:cubicBezTo>
                <a:close/>
                <a:moveTo>
                  <a:pt x="4296" y="636"/>
                </a:moveTo>
                <a:cubicBezTo>
                  <a:pt x="4248" y="270"/>
                  <a:pt x="3930" y="0"/>
                  <a:pt x="3548" y="0"/>
                </a:cubicBezTo>
                <a:lnTo>
                  <a:pt x="1115" y="0"/>
                </a:lnTo>
                <a:cubicBezTo>
                  <a:pt x="749" y="0"/>
                  <a:pt x="431" y="270"/>
                  <a:pt x="384" y="636"/>
                </a:cubicBezTo>
                <a:lnTo>
                  <a:pt x="18" y="3515"/>
                </a:lnTo>
                <a:cubicBezTo>
                  <a:pt x="-30" y="3802"/>
                  <a:pt x="18" y="4024"/>
                  <a:pt x="161" y="4199"/>
                </a:cubicBezTo>
                <a:cubicBezTo>
                  <a:pt x="384" y="4422"/>
                  <a:pt x="717" y="4438"/>
                  <a:pt x="781" y="4438"/>
                </a:cubicBezTo>
                <a:lnTo>
                  <a:pt x="797" y="4438"/>
                </a:lnTo>
                <a:lnTo>
                  <a:pt x="3867" y="4438"/>
                </a:lnTo>
                <a:cubicBezTo>
                  <a:pt x="3883" y="4438"/>
                  <a:pt x="4248" y="4454"/>
                  <a:pt x="4487" y="4215"/>
                </a:cubicBezTo>
                <a:lnTo>
                  <a:pt x="4503" y="4199"/>
                </a:lnTo>
                <a:lnTo>
                  <a:pt x="4503" y="4183"/>
                </a:lnTo>
                <a:cubicBezTo>
                  <a:pt x="4519" y="4183"/>
                  <a:pt x="4519" y="4183"/>
                  <a:pt x="4519" y="4168"/>
                </a:cubicBezTo>
                <a:cubicBezTo>
                  <a:pt x="4535" y="4168"/>
                  <a:pt x="4535" y="4168"/>
                  <a:pt x="4535" y="4151"/>
                </a:cubicBezTo>
                <a:lnTo>
                  <a:pt x="4551" y="4136"/>
                </a:lnTo>
                <a:lnTo>
                  <a:pt x="4551" y="4120"/>
                </a:lnTo>
                <a:lnTo>
                  <a:pt x="4566" y="4120"/>
                </a:lnTo>
                <a:cubicBezTo>
                  <a:pt x="4662" y="3960"/>
                  <a:pt x="4694" y="3754"/>
                  <a:pt x="4662" y="3515"/>
                </a:cubicBezTo>
                <a:close/>
                <a:moveTo>
                  <a:pt x="542" y="668"/>
                </a:moveTo>
                <a:cubicBezTo>
                  <a:pt x="574" y="366"/>
                  <a:pt x="829" y="159"/>
                  <a:pt x="1115" y="159"/>
                </a:cubicBezTo>
                <a:lnTo>
                  <a:pt x="3548" y="159"/>
                </a:lnTo>
                <a:cubicBezTo>
                  <a:pt x="3851" y="159"/>
                  <a:pt x="4090" y="366"/>
                  <a:pt x="4137" y="668"/>
                </a:cubicBezTo>
                <a:lnTo>
                  <a:pt x="4455" y="3165"/>
                </a:lnTo>
                <a:cubicBezTo>
                  <a:pt x="4265" y="2990"/>
                  <a:pt x="4026" y="2959"/>
                  <a:pt x="3867" y="2959"/>
                </a:cubicBezTo>
                <a:lnTo>
                  <a:pt x="813" y="2959"/>
                </a:lnTo>
                <a:cubicBezTo>
                  <a:pt x="654" y="2959"/>
                  <a:pt x="399" y="2990"/>
                  <a:pt x="224" y="3165"/>
                </a:cubicBezTo>
                <a:close/>
                <a:moveTo>
                  <a:pt x="4423" y="4040"/>
                </a:moveTo>
                <a:cubicBezTo>
                  <a:pt x="4423" y="4056"/>
                  <a:pt x="4413" y="4051"/>
                  <a:pt x="4408" y="4056"/>
                </a:cubicBezTo>
                <a:cubicBezTo>
                  <a:pt x="4403" y="4061"/>
                  <a:pt x="4408" y="4072"/>
                  <a:pt x="4392" y="4072"/>
                </a:cubicBezTo>
                <a:lnTo>
                  <a:pt x="4392" y="4088"/>
                </a:lnTo>
                <a:cubicBezTo>
                  <a:pt x="4387" y="4093"/>
                  <a:pt x="4376" y="4088"/>
                  <a:pt x="4376" y="4104"/>
                </a:cubicBezTo>
                <a:cubicBezTo>
                  <a:pt x="4185" y="4295"/>
                  <a:pt x="4037" y="4221"/>
                  <a:pt x="3867" y="4279"/>
                </a:cubicBezTo>
                <a:lnTo>
                  <a:pt x="797" y="4279"/>
                </a:lnTo>
                <a:cubicBezTo>
                  <a:pt x="627" y="4215"/>
                  <a:pt x="479" y="4295"/>
                  <a:pt x="288" y="4088"/>
                </a:cubicBezTo>
                <a:cubicBezTo>
                  <a:pt x="176" y="3977"/>
                  <a:pt x="145" y="3802"/>
                  <a:pt x="161" y="3595"/>
                </a:cubicBezTo>
                <a:cubicBezTo>
                  <a:pt x="224" y="3102"/>
                  <a:pt x="781" y="3118"/>
                  <a:pt x="797" y="3118"/>
                </a:cubicBezTo>
                <a:lnTo>
                  <a:pt x="3867" y="3118"/>
                </a:lnTo>
                <a:cubicBezTo>
                  <a:pt x="3899" y="3118"/>
                  <a:pt x="4439" y="3102"/>
                  <a:pt x="4503" y="3595"/>
                </a:cubicBezTo>
                <a:cubicBezTo>
                  <a:pt x="4535" y="3770"/>
                  <a:pt x="4503" y="3929"/>
                  <a:pt x="4423" y="40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4" name="Freeform: Shape 6">
            <a:extLst>
              <a:ext uri="{FF2B5EF4-FFF2-40B4-BE49-F238E27FC236}">
                <a16:creationId xmlns:a16="http://schemas.microsoft.com/office/drawing/2014/main" id="{ABEB3903-6530-6A40-84D3-492192F92BF2}"/>
              </a:ext>
            </a:extLst>
          </p:cNvPr>
          <p:cNvSpPr/>
          <p:nvPr/>
        </p:nvSpPr>
        <p:spPr>
          <a:xfrm>
            <a:off x="13910299" y="9856993"/>
            <a:ext cx="1681560" cy="1597320"/>
          </a:xfrm>
          <a:custGeom>
            <a:avLst/>
            <a:gdLst/>
            <a:ahLst/>
            <a:cxnLst>
              <a:cxn ang="3cd4">
                <a:pos x="hc" y="t"/>
              </a:cxn>
              <a:cxn ang="cd2">
                <a:pos x="l" y="vc"/>
              </a:cxn>
              <a:cxn ang="cd4">
                <a:pos x="hc" y="b"/>
              </a:cxn>
              <a:cxn ang="0">
                <a:pos x="r" y="vc"/>
              </a:cxn>
            </a:cxnLst>
            <a:rect l="l" t="t" r="r" b="b"/>
            <a:pathLst>
              <a:path w="4672" h="4438">
                <a:moveTo>
                  <a:pt x="1701" y="2497"/>
                </a:moveTo>
                <a:cubicBezTo>
                  <a:pt x="1749" y="2497"/>
                  <a:pt x="1780" y="2466"/>
                  <a:pt x="1780" y="2418"/>
                </a:cubicBezTo>
                <a:lnTo>
                  <a:pt x="1780" y="1829"/>
                </a:lnTo>
                <a:cubicBezTo>
                  <a:pt x="1780" y="1527"/>
                  <a:pt x="2083" y="1225"/>
                  <a:pt x="2417" y="1225"/>
                </a:cubicBezTo>
                <a:lnTo>
                  <a:pt x="2783" y="1225"/>
                </a:lnTo>
                <a:lnTo>
                  <a:pt x="2464" y="1543"/>
                </a:lnTo>
                <a:cubicBezTo>
                  <a:pt x="2433" y="1575"/>
                  <a:pt x="2433" y="1623"/>
                  <a:pt x="2464" y="1654"/>
                </a:cubicBezTo>
                <a:cubicBezTo>
                  <a:pt x="2480" y="1670"/>
                  <a:pt x="2496" y="1670"/>
                  <a:pt x="2528" y="1670"/>
                </a:cubicBezTo>
                <a:cubicBezTo>
                  <a:pt x="2544" y="1670"/>
                  <a:pt x="2560" y="1670"/>
                  <a:pt x="2576" y="1654"/>
                </a:cubicBezTo>
                <a:lnTo>
                  <a:pt x="3037" y="1193"/>
                </a:lnTo>
                <a:lnTo>
                  <a:pt x="3053" y="1177"/>
                </a:lnTo>
                <a:lnTo>
                  <a:pt x="3053" y="1161"/>
                </a:lnTo>
                <a:lnTo>
                  <a:pt x="3053" y="1145"/>
                </a:lnTo>
                <a:lnTo>
                  <a:pt x="3053" y="1129"/>
                </a:lnTo>
                <a:lnTo>
                  <a:pt x="3053" y="1114"/>
                </a:lnTo>
                <a:lnTo>
                  <a:pt x="3053" y="1097"/>
                </a:lnTo>
                <a:cubicBezTo>
                  <a:pt x="3037" y="1097"/>
                  <a:pt x="3042" y="1087"/>
                  <a:pt x="3037" y="1082"/>
                </a:cubicBezTo>
                <a:lnTo>
                  <a:pt x="2576" y="621"/>
                </a:lnTo>
                <a:cubicBezTo>
                  <a:pt x="2544" y="588"/>
                  <a:pt x="2496" y="588"/>
                  <a:pt x="2464" y="621"/>
                </a:cubicBezTo>
                <a:cubicBezTo>
                  <a:pt x="2433" y="652"/>
                  <a:pt x="2433" y="700"/>
                  <a:pt x="2464" y="732"/>
                </a:cubicBezTo>
                <a:lnTo>
                  <a:pt x="2783" y="1066"/>
                </a:lnTo>
                <a:lnTo>
                  <a:pt x="2417" y="1066"/>
                </a:lnTo>
                <a:cubicBezTo>
                  <a:pt x="2003" y="1066"/>
                  <a:pt x="1622" y="1432"/>
                  <a:pt x="1622" y="1829"/>
                </a:cubicBezTo>
                <a:lnTo>
                  <a:pt x="1622" y="2418"/>
                </a:lnTo>
                <a:cubicBezTo>
                  <a:pt x="1622" y="2466"/>
                  <a:pt x="1653" y="2497"/>
                  <a:pt x="1701" y="2497"/>
                </a:cubicBezTo>
                <a:close/>
                <a:moveTo>
                  <a:pt x="3864" y="3277"/>
                </a:moveTo>
                <a:cubicBezTo>
                  <a:pt x="3705" y="3277"/>
                  <a:pt x="3594" y="3388"/>
                  <a:pt x="3594" y="3547"/>
                </a:cubicBezTo>
                <a:cubicBezTo>
                  <a:pt x="3594" y="3706"/>
                  <a:pt x="3705" y="3833"/>
                  <a:pt x="3864" y="3833"/>
                </a:cubicBezTo>
                <a:cubicBezTo>
                  <a:pt x="4023" y="3833"/>
                  <a:pt x="4134" y="3706"/>
                  <a:pt x="4134" y="3547"/>
                </a:cubicBezTo>
                <a:cubicBezTo>
                  <a:pt x="4134" y="3388"/>
                  <a:pt x="4023" y="3277"/>
                  <a:pt x="3864" y="3277"/>
                </a:cubicBezTo>
                <a:close/>
                <a:moveTo>
                  <a:pt x="3864" y="3674"/>
                </a:moveTo>
                <a:cubicBezTo>
                  <a:pt x="3800" y="3674"/>
                  <a:pt x="3753" y="3611"/>
                  <a:pt x="3753" y="3547"/>
                </a:cubicBezTo>
                <a:cubicBezTo>
                  <a:pt x="3753" y="3484"/>
                  <a:pt x="3800" y="3436"/>
                  <a:pt x="3864" y="3436"/>
                </a:cubicBezTo>
                <a:cubicBezTo>
                  <a:pt x="3928" y="3436"/>
                  <a:pt x="3991" y="3484"/>
                  <a:pt x="3991" y="3547"/>
                </a:cubicBezTo>
                <a:cubicBezTo>
                  <a:pt x="3991" y="3611"/>
                  <a:pt x="3928" y="3674"/>
                  <a:pt x="3864" y="3674"/>
                </a:cubicBezTo>
                <a:close/>
                <a:moveTo>
                  <a:pt x="4295" y="636"/>
                </a:moveTo>
                <a:cubicBezTo>
                  <a:pt x="4247" y="270"/>
                  <a:pt x="3929" y="0"/>
                  <a:pt x="3563" y="0"/>
                </a:cubicBezTo>
                <a:lnTo>
                  <a:pt x="1129" y="0"/>
                </a:lnTo>
                <a:cubicBezTo>
                  <a:pt x="748" y="0"/>
                  <a:pt x="429" y="270"/>
                  <a:pt x="382" y="636"/>
                </a:cubicBezTo>
                <a:lnTo>
                  <a:pt x="16" y="3515"/>
                </a:lnTo>
                <a:cubicBezTo>
                  <a:pt x="-32" y="3802"/>
                  <a:pt x="32" y="4024"/>
                  <a:pt x="175" y="4199"/>
                </a:cubicBezTo>
                <a:cubicBezTo>
                  <a:pt x="382" y="4422"/>
                  <a:pt x="716" y="4438"/>
                  <a:pt x="795" y="4438"/>
                </a:cubicBezTo>
                <a:lnTo>
                  <a:pt x="811" y="4438"/>
                </a:lnTo>
                <a:lnTo>
                  <a:pt x="3865" y="4438"/>
                </a:lnTo>
                <a:cubicBezTo>
                  <a:pt x="3881" y="4438"/>
                  <a:pt x="4247" y="4454"/>
                  <a:pt x="4486" y="4215"/>
                </a:cubicBezTo>
                <a:lnTo>
                  <a:pt x="4501" y="4199"/>
                </a:lnTo>
                <a:lnTo>
                  <a:pt x="4517" y="4183"/>
                </a:lnTo>
                <a:lnTo>
                  <a:pt x="4533" y="4168"/>
                </a:lnTo>
                <a:lnTo>
                  <a:pt x="4533" y="4151"/>
                </a:lnTo>
                <a:cubicBezTo>
                  <a:pt x="4549" y="4151"/>
                  <a:pt x="4549" y="4151"/>
                  <a:pt x="4549" y="4136"/>
                </a:cubicBezTo>
                <a:cubicBezTo>
                  <a:pt x="4554" y="4131"/>
                  <a:pt x="4565" y="4136"/>
                  <a:pt x="4565" y="4120"/>
                </a:cubicBezTo>
                <a:cubicBezTo>
                  <a:pt x="4661" y="3960"/>
                  <a:pt x="4692" y="3754"/>
                  <a:pt x="4661" y="3515"/>
                </a:cubicBezTo>
                <a:close/>
                <a:moveTo>
                  <a:pt x="541" y="668"/>
                </a:moveTo>
                <a:cubicBezTo>
                  <a:pt x="589" y="366"/>
                  <a:pt x="827" y="159"/>
                  <a:pt x="1129" y="159"/>
                </a:cubicBezTo>
                <a:lnTo>
                  <a:pt x="3563" y="159"/>
                </a:lnTo>
                <a:cubicBezTo>
                  <a:pt x="3849" y="159"/>
                  <a:pt x="4104" y="366"/>
                  <a:pt x="4135" y="668"/>
                </a:cubicBezTo>
                <a:lnTo>
                  <a:pt x="4454" y="3165"/>
                </a:lnTo>
                <a:cubicBezTo>
                  <a:pt x="4279" y="2990"/>
                  <a:pt x="4024" y="2959"/>
                  <a:pt x="3865" y="2959"/>
                </a:cubicBezTo>
                <a:lnTo>
                  <a:pt x="811" y="2959"/>
                </a:lnTo>
                <a:cubicBezTo>
                  <a:pt x="652" y="2959"/>
                  <a:pt x="398" y="2990"/>
                  <a:pt x="223" y="3165"/>
                </a:cubicBezTo>
                <a:close/>
                <a:moveTo>
                  <a:pt x="4422" y="4040"/>
                </a:moveTo>
                <a:cubicBezTo>
                  <a:pt x="4422" y="4056"/>
                  <a:pt x="4422" y="4056"/>
                  <a:pt x="4406" y="4056"/>
                </a:cubicBezTo>
                <a:lnTo>
                  <a:pt x="4406" y="4072"/>
                </a:lnTo>
                <a:cubicBezTo>
                  <a:pt x="4400" y="4077"/>
                  <a:pt x="4390" y="4072"/>
                  <a:pt x="4390" y="4088"/>
                </a:cubicBezTo>
                <a:lnTo>
                  <a:pt x="4374" y="4104"/>
                </a:lnTo>
                <a:cubicBezTo>
                  <a:pt x="4183" y="4295"/>
                  <a:pt x="3881" y="4279"/>
                  <a:pt x="3865" y="4279"/>
                </a:cubicBezTo>
                <a:lnTo>
                  <a:pt x="811" y="4279"/>
                </a:lnTo>
                <a:cubicBezTo>
                  <a:pt x="795" y="4279"/>
                  <a:pt x="477" y="4295"/>
                  <a:pt x="286" y="4088"/>
                </a:cubicBezTo>
                <a:cubicBezTo>
                  <a:pt x="191" y="3977"/>
                  <a:pt x="143" y="3802"/>
                  <a:pt x="175" y="3595"/>
                </a:cubicBezTo>
                <a:cubicBezTo>
                  <a:pt x="239" y="3102"/>
                  <a:pt x="780" y="3118"/>
                  <a:pt x="811" y="3118"/>
                </a:cubicBezTo>
                <a:lnTo>
                  <a:pt x="3881" y="3118"/>
                </a:lnTo>
                <a:cubicBezTo>
                  <a:pt x="3897" y="3118"/>
                  <a:pt x="4438" y="3102"/>
                  <a:pt x="4517" y="3595"/>
                </a:cubicBezTo>
                <a:cubicBezTo>
                  <a:pt x="4533" y="3770"/>
                  <a:pt x="4501" y="3929"/>
                  <a:pt x="4422" y="40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5" name="Freeform: Shape 7">
            <a:extLst>
              <a:ext uri="{FF2B5EF4-FFF2-40B4-BE49-F238E27FC236}">
                <a16:creationId xmlns:a16="http://schemas.microsoft.com/office/drawing/2014/main" id="{B9DBDC6C-21FA-6F4D-AB45-6C60DA47851C}"/>
              </a:ext>
            </a:extLst>
          </p:cNvPr>
          <p:cNvSpPr/>
          <p:nvPr/>
        </p:nvSpPr>
        <p:spPr>
          <a:xfrm>
            <a:off x="21296386" y="9856993"/>
            <a:ext cx="1681560" cy="1597320"/>
          </a:xfrm>
          <a:custGeom>
            <a:avLst/>
            <a:gdLst/>
            <a:ahLst/>
            <a:cxnLst>
              <a:cxn ang="3cd4">
                <a:pos x="hc" y="t"/>
              </a:cxn>
              <a:cxn ang="cd2">
                <a:pos x="l" y="vc"/>
              </a:cxn>
              <a:cxn ang="cd4">
                <a:pos x="hc" y="b"/>
              </a:cxn>
              <a:cxn ang="0">
                <a:pos x="r" y="vc"/>
              </a:cxn>
            </a:cxnLst>
            <a:rect l="l" t="t" r="r" b="b"/>
            <a:pathLst>
              <a:path w="4672" h="4438">
                <a:moveTo>
                  <a:pt x="2004" y="1145"/>
                </a:moveTo>
                <a:lnTo>
                  <a:pt x="2290" y="1145"/>
                </a:lnTo>
                <a:cubicBezTo>
                  <a:pt x="2274" y="1161"/>
                  <a:pt x="2258" y="1193"/>
                  <a:pt x="2258" y="1209"/>
                </a:cubicBezTo>
                <a:cubicBezTo>
                  <a:pt x="2258" y="1225"/>
                  <a:pt x="2274" y="1257"/>
                  <a:pt x="2290" y="1273"/>
                </a:cubicBezTo>
                <a:lnTo>
                  <a:pt x="2195" y="1273"/>
                </a:lnTo>
                <a:cubicBezTo>
                  <a:pt x="2162" y="1273"/>
                  <a:pt x="2115" y="1305"/>
                  <a:pt x="2115" y="1352"/>
                </a:cubicBezTo>
                <a:cubicBezTo>
                  <a:pt x="2115" y="1384"/>
                  <a:pt x="2162" y="1432"/>
                  <a:pt x="2195" y="1432"/>
                </a:cubicBezTo>
                <a:lnTo>
                  <a:pt x="2290" y="1432"/>
                </a:lnTo>
                <a:cubicBezTo>
                  <a:pt x="2274" y="1448"/>
                  <a:pt x="2258" y="1463"/>
                  <a:pt x="2258" y="1479"/>
                </a:cubicBezTo>
                <a:cubicBezTo>
                  <a:pt x="2258" y="1511"/>
                  <a:pt x="2274" y="1527"/>
                  <a:pt x="2290" y="1543"/>
                </a:cubicBezTo>
                <a:lnTo>
                  <a:pt x="2195" y="1543"/>
                </a:lnTo>
                <a:cubicBezTo>
                  <a:pt x="2162" y="1543"/>
                  <a:pt x="2115" y="1575"/>
                  <a:pt x="2115" y="1623"/>
                </a:cubicBezTo>
                <a:cubicBezTo>
                  <a:pt x="2115" y="1670"/>
                  <a:pt x="2162" y="1702"/>
                  <a:pt x="2195" y="1702"/>
                </a:cubicBezTo>
                <a:lnTo>
                  <a:pt x="2290" y="1702"/>
                </a:lnTo>
                <a:cubicBezTo>
                  <a:pt x="2274" y="1718"/>
                  <a:pt x="2258" y="1734"/>
                  <a:pt x="2258" y="1750"/>
                </a:cubicBezTo>
                <a:cubicBezTo>
                  <a:pt x="2258" y="1782"/>
                  <a:pt x="2274" y="1797"/>
                  <a:pt x="2290" y="1814"/>
                </a:cubicBezTo>
                <a:lnTo>
                  <a:pt x="2195" y="1814"/>
                </a:lnTo>
                <a:cubicBezTo>
                  <a:pt x="2162" y="1814"/>
                  <a:pt x="2115" y="1845"/>
                  <a:pt x="2115" y="1893"/>
                </a:cubicBezTo>
                <a:cubicBezTo>
                  <a:pt x="2115" y="1941"/>
                  <a:pt x="2162" y="1972"/>
                  <a:pt x="2195" y="1972"/>
                </a:cubicBezTo>
                <a:lnTo>
                  <a:pt x="2290" y="1972"/>
                </a:lnTo>
                <a:cubicBezTo>
                  <a:pt x="2274" y="1988"/>
                  <a:pt x="2258" y="2004"/>
                  <a:pt x="2258" y="2020"/>
                </a:cubicBezTo>
                <a:cubicBezTo>
                  <a:pt x="2258" y="2052"/>
                  <a:pt x="2274" y="2068"/>
                  <a:pt x="2290" y="2084"/>
                </a:cubicBezTo>
                <a:lnTo>
                  <a:pt x="2195" y="2084"/>
                </a:lnTo>
                <a:cubicBezTo>
                  <a:pt x="2162" y="2084"/>
                  <a:pt x="2115" y="2115"/>
                  <a:pt x="2115" y="2163"/>
                </a:cubicBezTo>
                <a:cubicBezTo>
                  <a:pt x="2115" y="2211"/>
                  <a:pt x="2162" y="2243"/>
                  <a:pt x="2195" y="2243"/>
                </a:cubicBezTo>
                <a:lnTo>
                  <a:pt x="2290" y="2243"/>
                </a:lnTo>
                <a:cubicBezTo>
                  <a:pt x="2274" y="2259"/>
                  <a:pt x="2258" y="2275"/>
                  <a:pt x="2258" y="2306"/>
                </a:cubicBezTo>
                <a:cubicBezTo>
                  <a:pt x="2258" y="2323"/>
                  <a:pt x="2274" y="2338"/>
                  <a:pt x="2290" y="2354"/>
                </a:cubicBezTo>
                <a:lnTo>
                  <a:pt x="2195" y="2354"/>
                </a:lnTo>
                <a:cubicBezTo>
                  <a:pt x="2162" y="2354"/>
                  <a:pt x="2115" y="2386"/>
                  <a:pt x="2115" y="2434"/>
                </a:cubicBezTo>
                <a:cubicBezTo>
                  <a:pt x="2115" y="2481"/>
                  <a:pt x="2162" y="2513"/>
                  <a:pt x="2195" y="2513"/>
                </a:cubicBezTo>
                <a:lnTo>
                  <a:pt x="2290" y="2513"/>
                </a:lnTo>
                <a:cubicBezTo>
                  <a:pt x="2274" y="2529"/>
                  <a:pt x="2258" y="2545"/>
                  <a:pt x="2258" y="2577"/>
                </a:cubicBezTo>
                <a:cubicBezTo>
                  <a:pt x="2258" y="2593"/>
                  <a:pt x="2274" y="2609"/>
                  <a:pt x="2290" y="2624"/>
                </a:cubicBezTo>
                <a:lnTo>
                  <a:pt x="2195" y="2624"/>
                </a:lnTo>
                <a:cubicBezTo>
                  <a:pt x="2162" y="2624"/>
                  <a:pt x="2115" y="2672"/>
                  <a:pt x="2115" y="2704"/>
                </a:cubicBezTo>
                <a:cubicBezTo>
                  <a:pt x="2115" y="2752"/>
                  <a:pt x="2162" y="2784"/>
                  <a:pt x="2195" y="2784"/>
                </a:cubicBezTo>
                <a:lnTo>
                  <a:pt x="2338" y="2784"/>
                </a:lnTo>
                <a:cubicBezTo>
                  <a:pt x="2385" y="2784"/>
                  <a:pt x="2417" y="2752"/>
                  <a:pt x="2417" y="2704"/>
                </a:cubicBezTo>
                <a:cubicBezTo>
                  <a:pt x="2417" y="2688"/>
                  <a:pt x="2401" y="2672"/>
                  <a:pt x="2385" y="2656"/>
                </a:cubicBezTo>
                <a:lnTo>
                  <a:pt x="2481" y="2656"/>
                </a:lnTo>
                <a:cubicBezTo>
                  <a:pt x="2513" y="2656"/>
                  <a:pt x="2560" y="2609"/>
                  <a:pt x="2560" y="2577"/>
                </a:cubicBezTo>
                <a:cubicBezTo>
                  <a:pt x="2560" y="2529"/>
                  <a:pt x="2513" y="2497"/>
                  <a:pt x="2481" y="2497"/>
                </a:cubicBezTo>
                <a:lnTo>
                  <a:pt x="2385" y="2497"/>
                </a:lnTo>
                <a:cubicBezTo>
                  <a:pt x="2401" y="2481"/>
                  <a:pt x="2417" y="2466"/>
                  <a:pt x="2417" y="2434"/>
                </a:cubicBezTo>
                <a:cubicBezTo>
                  <a:pt x="2417" y="2418"/>
                  <a:pt x="2401" y="2386"/>
                  <a:pt x="2385" y="2386"/>
                </a:cubicBezTo>
                <a:lnTo>
                  <a:pt x="2481" y="2386"/>
                </a:lnTo>
                <a:cubicBezTo>
                  <a:pt x="2513" y="2386"/>
                  <a:pt x="2560" y="2338"/>
                  <a:pt x="2560" y="2306"/>
                </a:cubicBezTo>
                <a:cubicBezTo>
                  <a:pt x="2560" y="2259"/>
                  <a:pt x="2513" y="2227"/>
                  <a:pt x="2481" y="2227"/>
                </a:cubicBezTo>
                <a:lnTo>
                  <a:pt x="2385" y="2227"/>
                </a:lnTo>
                <a:cubicBezTo>
                  <a:pt x="2401" y="2211"/>
                  <a:pt x="2417" y="2179"/>
                  <a:pt x="2417" y="2163"/>
                </a:cubicBezTo>
                <a:cubicBezTo>
                  <a:pt x="2417" y="2147"/>
                  <a:pt x="2401" y="2115"/>
                  <a:pt x="2385" y="2100"/>
                </a:cubicBezTo>
                <a:lnTo>
                  <a:pt x="2481" y="2100"/>
                </a:lnTo>
                <a:cubicBezTo>
                  <a:pt x="2513" y="2100"/>
                  <a:pt x="2560" y="2068"/>
                  <a:pt x="2560" y="2020"/>
                </a:cubicBezTo>
                <a:cubicBezTo>
                  <a:pt x="2560" y="1988"/>
                  <a:pt x="2513" y="1941"/>
                  <a:pt x="2481" y="1941"/>
                </a:cubicBezTo>
                <a:lnTo>
                  <a:pt x="2385" y="1941"/>
                </a:lnTo>
                <a:cubicBezTo>
                  <a:pt x="2401" y="1941"/>
                  <a:pt x="2417" y="1909"/>
                  <a:pt x="2417" y="1893"/>
                </a:cubicBezTo>
                <a:cubicBezTo>
                  <a:pt x="2417" y="1861"/>
                  <a:pt x="2401" y="1845"/>
                  <a:pt x="2385" y="1829"/>
                </a:cubicBezTo>
                <a:lnTo>
                  <a:pt x="2481" y="1829"/>
                </a:lnTo>
                <a:cubicBezTo>
                  <a:pt x="2513" y="1829"/>
                  <a:pt x="2560" y="1797"/>
                  <a:pt x="2560" y="1750"/>
                </a:cubicBezTo>
                <a:cubicBezTo>
                  <a:pt x="2560" y="1718"/>
                  <a:pt x="2513" y="1670"/>
                  <a:pt x="2481" y="1670"/>
                </a:cubicBezTo>
                <a:lnTo>
                  <a:pt x="2385" y="1670"/>
                </a:lnTo>
                <a:cubicBezTo>
                  <a:pt x="2401" y="1654"/>
                  <a:pt x="2417" y="1638"/>
                  <a:pt x="2417" y="1623"/>
                </a:cubicBezTo>
                <a:cubicBezTo>
                  <a:pt x="2417" y="1591"/>
                  <a:pt x="2401" y="1575"/>
                  <a:pt x="2385" y="1559"/>
                </a:cubicBezTo>
                <a:lnTo>
                  <a:pt x="2481" y="1559"/>
                </a:lnTo>
                <a:cubicBezTo>
                  <a:pt x="2513" y="1559"/>
                  <a:pt x="2560" y="1527"/>
                  <a:pt x="2560" y="1479"/>
                </a:cubicBezTo>
                <a:cubicBezTo>
                  <a:pt x="2560" y="1432"/>
                  <a:pt x="2513" y="1400"/>
                  <a:pt x="2481" y="1400"/>
                </a:cubicBezTo>
                <a:lnTo>
                  <a:pt x="2385" y="1400"/>
                </a:lnTo>
                <a:cubicBezTo>
                  <a:pt x="2401" y="1384"/>
                  <a:pt x="2417" y="1368"/>
                  <a:pt x="2417" y="1352"/>
                </a:cubicBezTo>
                <a:cubicBezTo>
                  <a:pt x="2417" y="1320"/>
                  <a:pt x="2401" y="1305"/>
                  <a:pt x="2385" y="1288"/>
                </a:cubicBezTo>
                <a:lnTo>
                  <a:pt x="2481" y="1288"/>
                </a:lnTo>
                <a:cubicBezTo>
                  <a:pt x="2513" y="1288"/>
                  <a:pt x="2560" y="1257"/>
                  <a:pt x="2560" y="1209"/>
                </a:cubicBezTo>
                <a:cubicBezTo>
                  <a:pt x="2560" y="1193"/>
                  <a:pt x="2544" y="1161"/>
                  <a:pt x="2528" y="1145"/>
                </a:cubicBezTo>
                <a:lnTo>
                  <a:pt x="2671" y="1145"/>
                </a:lnTo>
                <a:cubicBezTo>
                  <a:pt x="2719" y="1145"/>
                  <a:pt x="2751" y="1114"/>
                  <a:pt x="2751" y="1082"/>
                </a:cubicBezTo>
                <a:lnTo>
                  <a:pt x="2751" y="398"/>
                </a:lnTo>
                <a:cubicBezTo>
                  <a:pt x="2751" y="350"/>
                  <a:pt x="2719" y="318"/>
                  <a:pt x="2671" y="318"/>
                </a:cubicBezTo>
                <a:lnTo>
                  <a:pt x="2004" y="318"/>
                </a:lnTo>
                <a:cubicBezTo>
                  <a:pt x="1956" y="318"/>
                  <a:pt x="1924" y="350"/>
                  <a:pt x="1924" y="398"/>
                </a:cubicBezTo>
                <a:lnTo>
                  <a:pt x="1924" y="1082"/>
                </a:lnTo>
                <a:cubicBezTo>
                  <a:pt x="1924" y="1114"/>
                  <a:pt x="1956" y="1145"/>
                  <a:pt x="2004" y="1145"/>
                </a:cubicBezTo>
                <a:close/>
                <a:moveTo>
                  <a:pt x="2083" y="477"/>
                </a:moveTo>
                <a:lnTo>
                  <a:pt x="2592" y="477"/>
                </a:lnTo>
                <a:lnTo>
                  <a:pt x="2592" y="1002"/>
                </a:lnTo>
                <a:lnTo>
                  <a:pt x="2083" y="1002"/>
                </a:lnTo>
                <a:close/>
                <a:moveTo>
                  <a:pt x="3865" y="3277"/>
                </a:moveTo>
                <a:cubicBezTo>
                  <a:pt x="3705" y="3277"/>
                  <a:pt x="3578" y="3388"/>
                  <a:pt x="3578" y="3547"/>
                </a:cubicBezTo>
                <a:cubicBezTo>
                  <a:pt x="3578" y="3706"/>
                  <a:pt x="3705" y="3833"/>
                  <a:pt x="3865" y="3833"/>
                </a:cubicBezTo>
                <a:cubicBezTo>
                  <a:pt x="4023" y="3833"/>
                  <a:pt x="4135" y="3706"/>
                  <a:pt x="4135" y="3547"/>
                </a:cubicBezTo>
                <a:cubicBezTo>
                  <a:pt x="4135" y="3388"/>
                  <a:pt x="4023" y="3277"/>
                  <a:pt x="3865" y="3277"/>
                </a:cubicBezTo>
                <a:close/>
                <a:moveTo>
                  <a:pt x="3865" y="3674"/>
                </a:moveTo>
                <a:cubicBezTo>
                  <a:pt x="3801" y="3674"/>
                  <a:pt x="3737" y="3611"/>
                  <a:pt x="3737" y="3547"/>
                </a:cubicBezTo>
                <a:cubicBezTo>
                  <a:pt x="3737" y="3484"/>
                  <a:pt x="3801" y="3436"/>
                  <a:pt x="3865" y="3436"/>
                </a:cubicBezTo>
                <a:cubicBezTo>
                  <a:pt x="3928" y="3436"/>
                  <a:pt x="3976" y="3484"/>
                  <a:pt x="3976" y="3547"/>
                </a:cubicBezTo>
                <a:cubicBezTo>
                  <a:pt x="3976" y="3611"/>
                  <a:pt x="3928" y="3674"/>
                  <a:pt x="3865" y="3674"/>
                </a:cubicBezTo>
                <a:close/>
                <a:moveTo>
                  <a:pt x="4294" y="636"/>
                </a:moveTo>
                <a:cubicBezTo>
                  <a:pt x="4246" y="270"/>
                  <a:pt x="3928" y="0"/>
                  <a:pt x="3562" y="0"/>
                </a:cubicBezTo>
                <a:lnTo>
                  <a:pt x="1113" y="0"/>
                </a:lnTo>
                <a:cubicBezTo>
                  <a:pt x="747" y="0"/>
                  <a:pt x="429" y="270"/>
                  <a:pt x="381" y="636"/>
                </a:cubicBezTo>
                <a:lnTo>
                  <a:pt x="15" y="3515"/>
                </a:lnTo>
                <a:cubicBezTo>
                  <a:pt x="-32" y="3802"/>
                  <a:pt x="31" y="4024"/>
                  <a:pt x="174" y="4199"/>
                </a:cubicBezTo>
                <a:cubicBezTo>
                  <a:pt x="381" y="4422"/>
                  <a:pt x="715" y="4438"/>
                  <a:pt x="795" y="4438"/>
                </a:cubicBezTo>
                <a:lnTo>
                  <a:pt x="811" y="4438"/>
                </a:lnTo>
                <a:lnTo>
                  <a:pt x="3865" y="4438"/>
                </a:lnTo>
                <a:cubicBezTo>
                  <a:pt x="3880" y="4438"/>
                  <a:pt x="4246" y="4454"/>
                  <a:pt x="4485" y="4215"/>
                </a:cubicBezTo>
                <a:lnTo>
                  <a:pt x="4501" y="4199"/>
                </a:lnTo>
                <a:lnTo>
                  <a:pt x="4501" y="4183"/>
                </a:lnTo>
                <a:cubicBezTo>
                  <a:pt x="4517" y="4183"/>
                  <a:pt x="4517" y="4183"/>
                  <a:pt x="4532" y="4168"/>
                </a:cubicBezTo>
                <a:lnTo>
                  <a:pt x="4532" y="4151"/>
                </a:lnTo>
                <a:cubicBezTo>
                  <a:pt x="4538" y="4146"/>
                  <a:pt x="4549" y="4151"/>
                  <a:pt x="4549" y="4136"/>
                </a:cubicBezTo>
                <a:lnTo>
                  <a:pt x="4564" y="4120"/>
                </a:lnTo>
                <a:cubicBezTo>
                  <a:pt x="4660" y="3960"/>
                  <a:pt x="4692" y="3754"/>
                  <a:pt x="4660" y="3515"/>
                </a:cubicBezTo>
                <a:close/>
                <a:moveTo>
                  <a:pt x="540" y="668"/>
                </a:moveTo>
                <a:cubicBezTo>
                  <a:pt x="572" y="366"/>
                  <a:pt x="826" y="159"/>
                  <a:pt x="1113" y="159"/>
                </a:cubicBezTo>
                <a:lnTo>
                  <a:pt x="3562" y="159"/>
                </a:lnTo>
                <a:cubicBezTo>
                  <a:pt x="3849" y="159"/>
                  <a:pt x="4103" y="366"/>
                  <a:pt x="4135" y="668"/>
                </a:cubicBezTo>
                <a:lnTo>
                  <a:pt x="4453" y="3165"/>
                </a:lnTo>
                <a:cubicBezTo>
                  <a:pt x="4278" y="2990"/>
                  <a:pt x="4023" y="2959"/>
                  <a:pt x="3865" y="2959"/>
                </a:cubicBezTo>
                <a:lnTo>
                  <a:pt x="811" y="2959"/>
                </a:lnTo>
                <a:cubicBezTo>
                  <a:pt x="651" y="2959"/>
                  <a:pt x="397" y="2990"/>
                  <a:pt x="222" y="3165"/>
                </a:cubicBezTo>
                <a:close/>
                <a:moveTo>
                  <a:pt x="4421" y="4040"/>
                </a:moveTo>
                <a:cubicBezTo>
                  <a:pt x="4421" y="4056"/>
                  <a:pt x="4421" y="4056"/>
                  <a:pt x="4405" y="4056"/>
                </a:cubicBezTo>
                <a:lnTo>
                  <a:pt x="4405" y="4072"/>
                </a:lnTo>
                <a:cubicBezTo>
                  <a:pt x="4400" y="4077"/>
                  <a:pt x="4389" y="4072"/>
                  <a:pt x="4389" y="4088"/>
                </a:cubicBezTo>
                <a:lnTo>
                  <a:pt x="4374" y="4104"/>
                </a:lnTo>
                <a:cubicBezTo>
                  <a:pt x="4183" y="4295"/>
                  <a:pt x="3880" y="4279"/>
                  <a:pt x="3865" y="4279"/>
                </a:cubicBezTo>
                <a:lnTo>
                  <a:pt x="811" y="4279"/>
                </a:lnTo>
                <a:cubicBezTo>
                  <a:pt x="795" y="4279"/>
                  <a:pt x="477" y="4295"/>
                  <a:pt x="286" y="4088"/>
                </a:cubicBezTo>
                <a:cubicBezTo>
                  <a:pt x="190" y="3977"/>
                  <a:pt x="142" y="3802"/>
                  <a:pt x="159" y="3595"/>
                </a:cubicBezTo>
                <a:lnTo>
                  <a:pt x="174" y="3595"/>
                </a:lnTo>
                <a:cubicBezTo>
                  <a:pt x="238" y="3102"/>
                  <a:pt x="779" y="3118"/>
                  <a:pt x="811" y="3118"/>
                </a:cubicBezTo>
                <a:lnTo>
                  <a:pt x="3880" y="3118"/>
                </a:lnTo>
                <a:cubicBezTo>
                  <a:pt x="3896" y="3118"/>
                  <a:pt x="4437" y="3102"/>
                  <a:pt x="4517" y="3595"/>
                </a:cubicBezTo>
                <a:cubicBezTo>
                  <a:pt x="4532" y="3770"/>
                  <a:pt x="4501" y="3929"/>
                  <a:pt x="4421" y="40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6" name="Freeform: Shape 8">
            <a:extLst>
              <a:ext uri="{FF2B5EF4-FFF2-40B4-BE49-F238E27FC236}">
                <a16:creationId xmlns:a16="http://schemas.microsoft.com/office/drawing/2014/main" id="{F027C62F-F0B9-ED49-A533-2FBDC09CF7D3}"/>
              </a:ext>
            </a:extLst>
          </p:cNvPr>
          <p:cNvSpPr/>
          <p:nvPr/>
        </p:nvSpPr>
        <p:spPr>
          <a:xfrm>
            <a:off x="13910299" y="3352318"/>
            <a:ext cx="1681560" cy="1597320"/>
          </a:xfrm>
          <a:custGeom>
            <a:avLst/>
            <a:gdLst/>
            <a:ahLst/>
            <a:cxnLst>
              <a:cxn ang="3cd4">
                <a:pos x="hc" y="t"/>
              </a:cxn>
              <a:cxn ang="cd2">
                <a:pos x="l" y="vc"/>
              </a:cxn>
              <a:cxn ang="cd4">
                <a:pos x="hc" y="b"/>
              </a:cxn>
              <a:cxn ang="0">
                <a:pos x="r" y="vc"/>
              </a:cxn>
            </a:cxnLst>
            <a:rect l="l" t="t" r="r" b="b"/>
            <a:pathLst>
              <a:path w="4672" h="4438">
                <a:moveTo>
                  <a:pt x="3037" y="1193"/>
                </a:moveTo>
                <a:lnTo>
                  <a:pt x="2894" y="1193"/>
                </a:lnTo>
                <a:lnTo>
                  <a:pt x="2894" y="1161"/>
                </a:lnTo>
                <a:cubicBezTo>
                  <a:pt x="2894" y="843"/>
                  <a:pt x="2655" y="573"/>
                  <a:pt x="2337" y="573"/>
                </a:cubicBezTo>
                <a:cubicBezTo>
                  <a:pt x="2241" y="573"/>
                  <a:pt x="2146" y="605"/>
                  <a:pt x="2051" y="668"/>
                </a:cubicBezTo>
                <a:cubicBezTo>
                  <a:pt x="2019" y="684"/>
                  <a:pt x="2003" y="732"/>
                  <a:pt x="2035" y="780"/>
                </a:cubicBezTo>
                <a:cubicBezTo>
                  <a:pt x="2051" y="811"/>
                  <a:pt x="2098" y="827"/>
                  <a:pt x="2146" y="795"/>
                </a:cubicBezTo>
                <a:cubicBezTo>
                  <a:pt x="2194" y="764"/>
                  <a:pt x="2274" y="732"/>
                  <a:pt x="2337" y="732"/>
                </a:cubicBezTo>
                <a:cubicBezTo>
                  <a:pt x="2560" y="732"/>
                  <a:pt x="2735" y="938"/>
                  <a:pt x="2735" y="1161"/>
                </a:cubicBezTo>
                <a:lnTo>
                  <a:pt x="2735" y="1193"/>
                </a:lnTo>
                <a:lnTo>
                  <a:pt x="1637" y="1193"/>
                </a:lnTo>
                <a:cubicBezTo>
                  <a:pt x="1605" y="1193"/>
                  <a:pt x="1557" y="1225"/>
                  <a:pt x="1557" y="1273"/>
                </a:cubicBezTo>
                <a:lnTo>
                  <a:pt x="1557" y="2147"/>
                </a:lnTo>
                <a:cubicBezTo>
                  <a:pt x="1557" y="2179"/>
                  <a:pt x="1605" y="2227"/>
                  <a:pt x="1637" y="2227"/>
                </a:cubicBezTo>
                <a:lnTo>
                  <a:pt x="3037" y="2227"/>
                </a:lnTo>
                <a:cubicBezTo>
                  <a:pt x="3084" y="2227"/>
                  <a:pt x="3116" y="2179"/>
                  <a:pt x="3116" y="2147"/>
                </a:cubicBezTo>
                <a:lnTo>
                  <a:pt x="3116" y="1273"/>
                </a:lnTo>
                <a:cubicBezTo>
                  <a:pt x="3116" y="1225"/>
                  <a:pt x="3084" y="1193"/>
                  <a:pt x="3037" y="1193"/>
                </a:cubicBezTo>
                <a:close/>
                <a:moveTo>
                  <a:pt x="2957" y="2068"/>
                </a:moveTo>
                <a:lnTo>
                  <a:pt x="1717" y="2068"/>
                </a:lnTo>
                <a:lnTo>
                  <a:pt x="1717" y="1352"/>
                </a:lnTo>
                <a:lnTo>
                  <a:pt x="2957" y="1352"/>
                </a:lnTo>
                <a:close/>
                <a:moveTo>
                  <a:pt x="3864" y="3277"/>
                </a:moveTo>
                <a:cubicBezTo>
                  <a:pt x="3705" y="3277"/>
                  <a:pt x="3593" y="3388"/>
                  <a:pt x="3593" y="3547"/>
                </a:cubicBezTo>
                <a:cubicBezTo>
                  <a:pt x="3593" y="3706"/>
                  <a:pt x="3705" y="3834"/>
                  <a:pt x="3864" y="3834"/>
                </a:cubicBezTo>
                <a:cubicBezTo>
                  <a:pt x="4023" y="3834"/>
                  <a:pt x="4134" y="3706"/>
                  <a:pt x="4134" y="3547"/>
                </a:cubicBezTo>
                <a:cubicBezTo>
                  <a:pt x="4134" y="3388"/>
                  <a:pt x="4023" y="3277"/>
                  <a:pt x="3864" y="3277"/>
                </a:cubicBezTo>
                <a:close/>
                <a:moveTo>
                  <a:pt x="3864" y="3674"/>
                </a:moveTo>
                <a:cubicBezTo>
                  <a:pt x="3801" y="3674"/>
                  <a:pt x="3737" y="3611"/>
                  <a:pt x="3737" y="3547"/>
                </a:cubicBezTo>
                <a:cubicBezTo>
                  <a:pt x="3737" y="3483"/>
                  <a:pt x="3801" y="3436"/>
                  <a:pt x="3864" y="3436"/>
                </a:cubicBezTo>
                <a:cubicBezTo>
                  <a:pt x="3928" y="3436"/>
                  <a:pt x="3975" y="3483"/>
                  <a:pt x="3975" y="3547"/>
                </a:cubicBezTo>
                <a:cubicBezTo>
                  <a:pt x="3975" y="3611"/>
                  <a:pt x="3928" y="3674"/>
                  <a:pt x="3864" y="3674"/>
                </a:cubicBezTo>
                <a:close/>
                <a:moveTo>
                  <a:pt x="3563" y="0"/>
                </a:moveTo>
                <a:lnTo>
                  <a:pt x="1129" y="0"/>
                </a:lnTo>
                <a:cubicBezTo>
                  <a:pt x="748" y="0"/>
                  <a:pt x="429" y="271"/>
                  <a:pt x="382" y="637"/>
                </a:cubicBezTo>
                <a:lnTo>
                  <a:pt x="16" y="3515"/>
                </a:lnTo>
                <a:cubicBezTo>
                  <a:pt x="-32" y="3801"/>
                  <a:pt x="31" y="4024"/>
                  <a:pt x="175" y="4199"/>
                </a:cubicBezTo>
                <a:cubicBezTo>
                  <a:pt x="382" y="4422"/>
                  <a:pt x="716" y="4438"/>
                  <a:pt x="795" y="4438"/>
                </a:cubicBezTo>
                <a:lnTo>
                  <a:pt x="811" y="4438"/>
                </a:lnTo>
                <a:lnTo>
                  <a:pt x="3865" y="4438"/>
                </a:lnTo>
                <a:cubicBezTo>
                  <a:pt x="3881" y="4438"/>
                  <a:pt x="4199" y="4454"/>
                  <a:pt x="4438" y="4263"/>
                </a:cubicBezTo>
                <a:cubicBezTo>
                  <a:pt x="4438" y="4247"/>
                  <a:pt x="4449" y="4252"/>
                  <a:pt x="4454" y="4247"/>
                </a:cubicBezTo>
                <a:lnTo>
                  <a:pt x="4469" y="4231"/>
                </a:lnTo>
                <a:lnTo>
                  <a:pt x="4485" y="4215"/>
                </a:lnTo>
                <a:lnTo>
                  <a:pt x="4501" y="4199"/>
                </a:lnTo>
                <a:lnTo>
                  <a:pt x="4517" y="4183"/>
                </a:lnTo>
                <a:cubicBezTo>
                  <a:pt x="4522" y="4178"/>
                  <a:pt x="4517" y="4167"/>
                  <a:pt x="4533" y="4167"/>
                </a:cubicBezTo>
                <a:lnTo>
                  <a:pt x="4533" y="4152"/>
                </a:lnTo>
                <a:cubicBezTo>
                  <a:pt x="4549" y="4152"/>
                  <a:pt x="4549" y="4152"/>
                  <a:pt x="4549" y="4136"/>
                </a:cubicBezTo>
                <a:cubicBezTo>
                  <a:pt x="4554" y="4131"/>
                  <a:pt x="4565" y="4136"/>
                  <a:pt x="4565" y="4120"/>
                </a:cubicBezTo>
                <a:cubicBezTo>
                  <a:pt x="4660" y="3961"/>
                  <a:pt x="4692" y="3754"/>
                  <a:pt x="4660" y="3515"/>
                </a:cubicBezTo>
                <a:lnTo>
                  <a:pt x="4294" y="637"/>
                </a:lnTo>
                <a:cubicBezTo>
                  <a:pt x="4247" y="271"/>
                  <a:pt x="3929" y="0"/>
                  <a:pt x="3563" y="0"/>
                </a:cubicBezTo>
                <a:close/>
                <a:moveTo>
                  <a:pt x="4517" y="3595"/>
                </a:moveTo>
                <a:cubicBezTo>
                  <a:pt x="4533" y="3770"/>
                  <a:pt x="4501" y="3929"/>
                  <a:pt x="4421" y="4040"/>
                </a:cubicBezTo>
                <a:cubicBezTo>
                  <a:pt x="4421" y="4056"/>
                  <a:pt x="4421" y="4056"/>
                  <a:pt x="4406" y="4056"/>
                </a:cubicBezTo>
                <a:lnTo>
                  <a:pt x="4406" y="4072"/>
                </a:lnTo>
                <a:cubicBezTo>
                  <a:pt x="4401" y="4077"/>
                  <a:pt x="4390" y="4072"/>
                  <a:pt x="4390" y="4088"/>
                </a:cubicBezTo>
                <a:cubicBezTo>
                  <a:pt x="4215" y="4295"/>
                  <a:pt x="3881" y="4279"/>
                  <a:pt x="3865" y="4279"/>
                </a:cubicBezTo>
                <a:lnTo>
                  <a:pt x="811" y="4279"/>
                </a:lnTo>
                <a:cubicBezTo>
                  <a:pt x="795" y="4279"/>
                  <a:pt x="477" y="4295"/>
                  <a:pt x="286" y="4088"/>
                </a:cubicBezTo>
                <a:cubicBezTo>
                  <a:pt x="191" y="3977"/>
                  <a:pt x="143" y="3801"/>
                  <a:pt x="175" y="3595"/>
                </a:cubicBezTo>
                <a:cubicBezTo>
                  <a:pt x="239" y="3102"/>
                  <a:pt x="779" y="3118"/>
                  <a:pt x="811" y="3118"/>
                </a:cubicBezTo>
                <a:lnTo>
                  <a:pt x="3881" y="3118"/>
                </a:lnTo>
                <a:cubicBezTo>
                  <a:pt x="3897" y="3118"/>
                  <a:pt x="4438" y="3102"/>
                  <a:pt x="4517" y="3595"/>
                </a:cubicBezTo>
                <a:close/>
                <a:moveTo>
                  <a:pt x="3865" y="2959"/>
                </a:moveTo>
                <a:lnTo>
                  <a:pt x="811" y="2959"/>
                </a:lnTo>
                <a:cubicBezTo>
                  <a:pt x="652" y="2959"/>
                  <a:pt x="397" y="2991"/>
                  <a:pt x="222" y="3165"/>
                </a:cubicBezTo>
                <a:lnTo>
                  <a:pt x="540" y="668"/>
                </a:lnTo>
                <a:cubicBezTo>
                  <a:pt x="573" y="366"/>
                  <a:pt x="827" y="159"/>
                  <a:pt x="1129" y="159"/>
                </a:cubicBezTo>
                <a:lnTo>
                  <a:pt x="3563" y="159"/>
                </a:lnTo>
                <a:cubicBezTo>
                  <a:pt x="3849" y="159"/>
                  <a:pt x="4103" y="366"/>
                  <a:pt x="4135" y="668"/>
                </a:cubicBezTo>
                <a:lnTo>
                  <a:pt x="4454" y="3165"/>
                </a:lnTo>
                <a:cubicBezTo>
                  <a:pt x="4278" y="2991"/>
                  <a:pt x="4024" y="2959"/>
                  <a:pt x="3865" y="29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7" name="Freeform: Shape 9">
            <a:extLst>
              <a:ext uri="{FF2B5EF4-FFF2-40B4-BE49-F238E27FC236}">
                <a16:creationId xmlns:a16="http://schemas.microsoft.com/office/drawing/2014/main" id="{BE80F5FE-77CB-3F4D-B8D9-BF91020800C7}"/>
              </a:ext>
            </a:extLst>
          </p:cNvPr>
          <p:cNvSpPr/>
          <p:nvPr/>
        </p:nvSpPr>
        <p:spPr>
          <a:xfrm>
            <a:off x="17437890" y="3352318"/>
            <a:ext cx="1682280" cy="1597320"/>
          </a:xfrm>
          <a:custGeom>
            <a:avLst/>
            <a:gdLst/>
            <a:ahLst/>
            <a:cxnLst>
              <a:cxn ang="3cd4">
                <a:pos x="hc" y="t"/>
              </a:cxn>
              <a:cxn ang="cd2">
                <a:pos x="l" y="vc"/>
              </a:cxn>
              <a:cxn ang="cd4">
                <a:pos x="hc" y="b"/>
              </a:cxn>
              <a:cxn ang="0">
                <a:pos x="r" y="vc"/>
              </a:cxn>
            </a:cxnLst>
            <a:rect l="l" t="t" r="r" b="b"/>
            <a:pathLst>
              <a:path w="4674" h="4438">
                <a:moveTo>
                  <a:pt x="1530" y="2165"/>
                </a:moveTo>
                <a:cubicBezTo>
                  <a:pt x="1641" y="2196"/>
                  <a:pt x="1736" y="2228"/>
                  <a:pt x="1848" y="2228"/>
                </a:cubicBezTo>
                <a:cubicBezTo>
                  <a:pt x="1943" y="2228"/>
                  <a:pt x="2022" y="2212"/>
                  <a:pt x="2118" y="2180"/>
                </a:cubicBezTo>
                <a:cubicBezTo>
                  <a:pt x="2277" y="2117"/>
                  <a:pt x="2404" y="2005"/>
                  <a:pt x="2484" y="1862"/>
                </a:cubicBezTo>
                <a:lnTo>
                  <a:pt x="2595" y="1926"/>
                </a:lnTo>
                <a:cubicBezTo>
                  <a:pt x="2595" y="2021"/>
                  <a:pt x="2627" y="2101"/>
                  <a:pt x="2722" y="2148"/>
                </a:cubicBezTo>
                <a:lnTo>
                  <a:pt x="3248" y="2451"/>
                </a:lnTo>
                <a:lnTo>
                  <a:pt x="3263" y="2451"/>
                </a:lnTo>
                <a:cubicBezTo>
                  <a:pt x="3295" y="2466"/>
                  <a:pt x="3327" y="2466"/>
                  <a:pt x="3359" y="2466"/>
                </a:cubicBezTo>
                <a:lnTo>
                  <a:pt x="3422" y="2466"/>
                </a:lnTo>
                <a:cubicBezTo>
                  <a:pt x="3486" y="2435"/>
                  <a:pt x="3534" y="2403"/>
                  <a:pt x="3549" y="2355"/>
                </a:cubicBezTo>
                <a:cubicBezTo>
                  <a:pt x="3582" y="2292"/>
                  <a:pt x="3582" y="2228"/>
                  <a:pt x="3566" y="2165"/>
                </a:cubicBezTo>
                <a:cubicBezTo>
                  <a:pt x="3549" y="2117"/>
                  <a:pt x="3502" y="2069"/>
                  <a:pt x="3470" y="2053"/>
                </a:cubicBezTo>
                <a:lnTo>
                  <a:pt x="2930" y="1751"/>
                </a:lnTo>
                <a:cubicBezTo>
                  <a:pt x="2866" y="1735"/>
                  <a:pt x="2802" y="1719"/>
                  <a:pt x="2754" y="1751"/>
                </a:cubicBezTo>
                <a:cubicBezTo>
                  <a:pt x="2722" y="1751"/>
                  <a:pt x="2707" y="1767"/>
                  <a:pt x="2675" y="1783"/>
                </a:cubicBezTo>
                <a:lnTo>
                  <a:pt x="2564" y="1719"/>
                </a:lnTo>
                <a:cubicBezTo>
                  <a:pt x="2611" y="1560"/>
                  <a:pt x="2611" y="1369"/>
                  <a:pt x="2548" y="1210"/>
                </a:cubicBezTo>
                <a:cubicBezTo>
                  <a:pt x="2404" y="812"/>
                  <a:pt x="1975" y="621"/>
                  <a:pt x="1577" y="765"/>
                </a:cubicBezTo>
                <a:cubicBezTo>
                  <a:pt x="1403" y="828"/>
                  <a:pt x="1243" y="971"/>
                  <a:pt x="1164" y="1162"/>
                </a:cubicBezTo>
                <a:cubicBezTo>
                  <a:pt x="1084" y="1337"/>
                  <a:pt x="1068" y="1544"/>
                  <a:pt x="1148" y="1735"/>
                </a:cubicBezTo>
                <a:cubicBezTo>
                  <a:pt x="1212" y="1926"/>
                  <a:pt x="1355" y="2069"/>
                  <a:pt x="1530" y="2165"/>
                </a:cubicBezTo>
                <a:close/>
                <a:moveTo>
                  <a:pt x="2786" y="1926"/>
                </a:moveTo>
                <a:lnTo>
                  <a:pt x="2786" y="1894"/>
                </a:lnTo>
                <a:lnTo>
                  <a:pt x="2802" y="1894"/>
                </a:lnTo>
                <a:lnTo>
                  <a:pt x="2850" y="1894"/>
                </a:lnTo>
                <a:lnTo>
                  <a:pt x="3391" y="2196"/>
                </a:lnTo>
                <a:cubicBezTo>
                  <a:pt x="3406" y="2196"/>
                  <a:pt x="3406" y="2212"/>
                  <a:pt x="3422" y="2228"/>
                </a:cubicBezTo>
                <a:lnTo>
                  <a:pt x="3422" y="2275"/>
                </a:lnTo>
                <a:cubicBezTo>
                  <a:pt x="3406" y="2292"/>
                  <a:pt x="3391" y="2308"/>
                  <a:pt x="3375" y="2308"/>
                </a:cubicBezTo>
                <a:lnTo>
                  <a:pt x="3327" y="2308"/>
                </a:lnTo>
                <a:lnTo>
                  <a:pt x="2786" y="2005"/>
                </a:lnTo>
                <a:cubicBezTo>
                  <a:pt x="2770" y="2005"/>
                  <a:pt x="2754" y="1974"/>
                  <a:pt x="2754" y="1957"/>
                </a:cubicBezTo>
                <a:cubicBezTo>
                  <a:pt x="2770" y="1942"/>
                  <a:pt x="2770" y="1942"/>
                  <a:pt x="2786" y="1926"/>
                </a:cubicBezTo>
                <a:close/>
                <a:moveTo>
                  <a:pt x="1307" y="1226"/>
                </a:moveTo>
                <a:cubicBezTo>
                  <a:pt x="1370" y="1083"/>
                  <a:pt x="1498" y="971"/>
                  <a:pt x="1641" y="908"/>
                </a:cubicBezTo>
                <a:cubicBezTo>
                  <a:pt x="1704" y="892"/>
                  <a:pt x="1784" y="876"/>
                  <a:pt x="1848" y="876"/>
                </a:cubicBezTo>
                <a:cubicBezTo>
                  <a:pt x="2086" y="876"/>
                  <a:pt x="2309" y="1019"/>
                  <a:pt x="2404" y="1258"/>
                </a:cubicBezTo>
                <a:cubicBezTo>
                  <a:pt x="2468" y="1417"/>
                  <a:pt x="2452" y="1576"/>
                  <a:pt x="2388" y="1719"/>
                </a:cubicBezTo>
                <a:cubicBezTo>
                  <a:pt x="2325" y="1862"/>
                  <a:pt x="2198" y="1974"/>
                  <a:pt x="2055" y="2037"/>
                </a:cubicBezTo>
                <a:cubicBezTo>
                  <a:pt x="1912" y="2085"/>
                  <a:pt x="1752" y="2085"/>
                  <a:pt x="1593" y="2005"/>
                </a:cubicBezTo>
                <a:cubicBezTo>
                  <a:pt x="1450" y="1942"/>
                  <a:pt x="1339" y="1830"/>
                  <a:pt x="1291" y="1687"/>
                </a:cubicBezTo>
                <a:cubicBezTo>
                  <a:pt x="1227" y="1528"/>
                  <a:pt x="1243" y="1369"/>
                  <a:pt x="1307" y="1226"/>
                </a:cubicBezTo>
                <a:close/>
                <a:moveTo>
                  <a:pt x="3867" y="3834"/>
                </a:moveTo>
                <a:cubicBezTo>
                  <a:pt x="4010" y="3834"/>
                  <a:pt x="4137" y="3706"/>
                  <a:pt x="4137" y="3547"/>
                </a:cubicBezTo>
                <a:cubicBezTo>
                  <a:pt x="4137" y="3388"/>
                  <a:pt x="4010" y="3277"/>
                  <a:pt x="3867" y="3277"/>
                </a:cubicBezTo>
                <a:cubicBezTo>
                  <a:pt x="3708" y="3277"/>
                  <a:pt x="3581" y="3388"/>
                  <a:pt x="3581" y="3547"/>
                </a:cubicBezTo>
                <a:cubicBezTo>
                  <a:pt x="3581" y="3706"/>
                  <a:pt x="3708" y="3834"/>
                  <a:pt x="3867" y="3834"/>
                </a:cubicBezTo>
                <a:close/>
                <a:moveTo>
                  <a:pt x="3867" y="3436"/>
                </a:moveTo>
                <a:cubicBezTo>
                  <a:pt x="3930" y="3436"/>
                  <a:pt x="3978" y="3483"/>
                  <a:pt x="3978" y="3547"/>
                </a:cubicBezTo>
                <a:cubicBezTo>
                  <a:pt x="3978" y="3611"/>
                  <a:pt x="3930" y="3674"/>
                  <a:pt x="3867" y="3674"/>
                </a:cubicBezTo>
                <a:cubicBezTo>
                  <a:pt x="3803" y="3674"/>
                  <a:pt x="3739" y="3611"/>
                  <a:pt x="3739" y="3547"/>
                </a:cubicBezTo>
                <a:cubicBezTo>
                  <a:pt x="3739" y="3483"/>
                  <a:pt x="3803" y="3436"/>
                  <a:pt x="3867" y="3436"/>
                </a:cubicBezTo>
                <a:close/>
                <a:moveTo>
                  <a:pt x="781" y="4438"/>
                </a:moveTo>
                <a:lnTo>
                  <a:pt x="797" y="4438"/>
                </a:lnTo>
                <a:lnTo>
                  <a:pt x="3867" y="4438"/>
                </a:lnTo>
                <a:cubicBezTo>
                  <a:pt x="3883" y="4438"/>
                  <a:pt x="4217" y="4454"/>
                  <a:pt x="4455" y="4247"/>
                </a:cubicBezTo>
                <a:lnTo>
                  <a:pt x="4455" y="4231"/>
                </a:lnTo>
                <a:cubicBezTo>
                  <a:pt x="4471" y="4231"/>
                  <a:pt x="4471" y="4231"/>
                  <a:pt x="4471" y="4215"/>
                </a:cubicBezTo>
                <a:lnTo>
                  <a:pt x="4487" y="4215"/>
                </a:lnTo>
                <a:cubicBezTo>
                  <a:pt x="4492" y="4210"/>
                  <a:pt x="4487" y="4199"/>
                  <a:pt x="4503" y="4199"/>
                </a:cubicBezTo>
                <a:lnTo>
                  <a:pt x="4503" y="4183"/>
                </a:lnTo>
                <a:cubicBezTo>
                  <a:pt x="4519" y="4183"/>
                  <a:pt x="4514" y="4172"/>
                  <a:pt x="4519" y="4167"/>
                </a:cubicBezTo>
                <a:cubicBezTo>
                  <a:pt x="4535" y="4167"/>
                  <a:pt x="4535" y="4167"/>
                  <a:pt x="4535" y="4152"/>
                </a:cubicBezTo>
                <a:cubicBezTo>
                  <a:pt x="4540" y="4147"/>
                  <a:pt x="4551" y="4152"/>
                  <a:pt x="4551" y="4136"/>
                </a:cubicBezTo>
                <a:lnTo>
                  <a:pt x="4551" y="4120"/>
                </a:lnTo>
                <a:lnTo>
                  <a:pt x="4566" y="4120"/>
                </a:lnTo>
                <a:cubicBezTo>
                  <a:pt x="4662" y="3961"/>
                  <a:pt x="4694" y="3754"/>
                  <a:pt x="4662" y="3515"/>
                </a:cubicBezTo>
                <a:lnTo>
                  <a:pt x="4296" y="637"/>
                </a:lnTo>
                <a:cubicBezTo>
                  <a:pt x="4248" y="271"/>
                  <a:pt x="3930" y="0"/>
                  <a:pt x="3548" y="0"/>
                </a:cubicBezTo>
                <a:lnTo>
                  <a:pt x="1115" y="0"/>
                </a:lnTo>
                <a:cubicBezTo>
                  <a:pt x="749" y="0"/>
                  <a:pt x="431" y="271"/>
                  <a:pt x="384" y="637"/>
                </a:cubicBezTo>
                <a:lnTo>
                  <a:pt x="18" y="3515"/>
                </a:lnTo>
                <a:cubicBezTo>
                  <a:pt x="-30" y="3801"/>
                  <a:pt x="18" y="4024"/>
                  <a:pt x="161" y="4199"/>
                </a:cubicBezTo>
                <a:cubicBezTo>
                  <a:pt x="384" y="4422"/>
                  <a:pt x="717" y="4438"/>
                  <a:pt x="781" y="4438"/>
                </a:cubicBezTo>
                <a:close/>
                <a:moveTo>
                  <a:pt x="542" y="668"/>
                </a:moveTo>
                <a:cubicBezTo>
                  <a:pt x="574" y="366"/>
                  <a:pt x="829" y="159"/>
                  <a:pt x="1115" y="159"/>
                </a:cubicBezTo>
                <a:lnTo>
                  <a:pt x="3548" y="159"/>
                </a:lnTo>
                <a:cubicBezTo>
                  <a:pt x="3851" y="159"/>
                  <a:pt x="4090" y="366"/>
                  <a:pt x="4137" y="668"/>
                </a:cubicBezTo>
                <a:lnTo>
                  <a:pt x="4455" y="3165"/>
                </a:lnTo>
                <a:cubicBezTo>
                  <a:pt x="4265" y="2991"/>
                  <a:pt x="4026" y="2959"/>
                  <a:pt x="3867" y="2959"/>
                </a:cubicBezTo>
                <a:lnTo>
                  <a:pt x="813" y="2959"/>
                </a:lnTo>
                <a:cubicBezTo>
                  <a:pt x="654" y="2959"/>
                  <a:pt x="399" y="2991"/>
                  <a:pt x="224" y="3165"/>
                </a:cubicBezTo>
                <a:close/>
                <a:moveTo>
                  <a:pt x="161" y="3595"/>
                </a:moveTo>
                <a:cubicBezTo>
                  <a:pt x="224" y="3102"/>
                  <a:pt x="781" y="3118"/>
                  <a:pt x="797" y="3118"/>
                </a:cubicBezTo>
                <a:lnTo>
                  <a:pt x="3867" y="3118"/>
                </a:lnTo>
                <a:cubicBezTo>
                  <a:pt x="3899" y="3118"/>
                  <a:pt x="4439" y="3102"/>
                  <a:pt x="4503" y="3595"/>
                </a:cubicBezTo>
                <a:cubicBezTo>
                  <a:pt x="4535" y="3770"/>
                  <a:pt x="4503" y="3929"/>
                  <a:pt x="4423" y="4040"/>
                </a:cubicBezTo>
                <a:cubicBezTo>
                  <a:pt x="4423" y="4056"/>
                  <a:pt x="4413" y="4051"/>
                  <a:pt x="4408" y="4056"/>
                </a:cubicBezTo>
                <a:cubicBezTo>
                  <a:pt x="4403" y="4061"/>
                  <a:pt x="4408" y="4072"/>
                  <a:pt x="4392" y="4072"/>
                </a:cubicBezTo>
                <a:lnTo>
                  <a:pt x="4392" y="4088"/>
                </a:lnTo>
                <a:cubicBezTo>
                  <a:pt x="4387" y="4093"/>
                  <a:pt x="4376" y="4088"/>
                  <a:pt x="4376" y="4104"/>
                </a:cubicBezTo>
                <a:cubicBezTo>
                  <a:pt x="4185" y="4295"/>
                  <a:pt x="4037" y="4221"/>
                  <a:pt x="3867" y="4279"/>
                </a:cubicBezTo>
                <a:lnTo>
                  <a:pt x="797" y="4279"/>
                </a:lnTo>
                <a:cubicBezTo>
                  <a:pt x="627" y="4215"/>
                  <a:pt x="463" y="4295"/>
                  <a:pt x="288" y="4088"/>
                </a:cubicBezTo>
                <a:cubicBezTo>
                  <a:pt x="176" y="3977"/>
                  <a:pt x="145" y="3801"/>
                  <a:pt x="161" y="359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8" name="Freeform: Shape 10">
            <a:extLst>
              <a:ext uri="{FF2B5EF4-FFF2-40B4-BE49-F238E27FC236}">
                <a16:creationId xmlns:a16="http://schemas.microsoft.com/office/drawing/2014/main" id="{5864D192-247B-6741-8079-89A55F581A08}"/>
              </a:ext>
            </a:extLst>
          </p:cNvPr>
          <p:cNvSpPr/>
          <p:nvPr/>
        </p:nvSpPr>
        <p:spPr>
          <a:xfrm>
            <a:off x="21296386" y="3352318"/>
            <a:ext cx="1681560" cy="1597320"/>
          </a:xfrm>
          <a:custGeom>
            <a:avLst/>
            <a:gdLst/>
            <a:ahLst/>
            <a:cxnLst>
              <a:cxn ang="3cd4">
                <a:pos x="hc" y="t"/>
              </a:cxn>
              <a:cxn ang="cd2">
                <a:pos x="l" y="vc"/>
              </a:cxn>
              <a:cxn ang="cd4">
                <a:pos x="hc" y="b"/>
              </a:cxn>
              <a:cxn ang="0">
                <a:pos x="r" y="vc"/>
              </a:cxn>
            </a:cxnLst>
            <a:rect l="l" t="t" r="r" b="b"/>
            <a:pathLst>
              <a:path w="4672" h="4438">
                <a:moveTo>
                  <a:pt x="1924" y="1973"/>
                </a:moveTo>
                <a:cubicBezTo>
                  <a:pt x="2035" y="2052"/>
                  <a:pt x="2146" y="2116"/>
                  <a:pt x="2274" y="2131"/>
                </a:cubicBezTo>
                <a:lnTo>
                  <a:pt x="2274" y="2322"/>
                </a:lnTo>
                <a:cubicBezTo>
                  <a:pt x="2274" y="2370"/>
                  <a:pt x="2321" y="2402"/>
                  <a:pt x="2353" y="2402"/>
                </a:cubicBezTo>
                <a:cubicBezTo>
                  <a:pt x="2401" y="2402"/>
                  <a:pt x="2433" y="2370"/>
                  <a:pt x="2433" y="2322"/>
                </a:cubicBezTo>
                <a:lnTo>
                  <a:pt x="2433" y="2131"/>
                </a:lnTo>
                <a:cubicBezTo>
                  <a:pt x="2576" y="2116"/>
                  <a:pt x="2735" y="2036"/>
                  <a:pt x="2767" y="1877"/>
                </a:cubicBezTo>
                <a:cubicBezTo>
                  <a:pt x="2783" y="1861"/>
                  <a:pt x="2778" y="1856"/>
                  <a:pt x="2783" y="1845"/>
                </a:cubicBezTo>
                <a:cubicBezTo>
                  <a:pt x="2798" y="1734"/>
                  <a:pt x="2767" y="1638"/>
                  <a:pt x="2687" y="1575"/>
                </a:cubicBezTo>
                <a:cubicBezTo>
                  <a:pt x="2655" y="1527"/>
                  <a:pt x="2592" y="1511"/>
                  <a:pt x="2560" y="1495"/>
                </a:cubicBezTo>
                <a:cubicBezTo>
                  <a:pt x="2496" y="1464"/>
                  <a:pt x="2433" y="1447"/>
                  <a:pt x="2385" y="1432"/>
                </a:cubicBezTo>
                <a:cubicBezTo>
                  <a:pt x="2321" y="1416"/>
                  <a:pt x="2274" y="1400"/>
                  <a:pt x="2226" y="1384"/>
                </a:cubicBezTo>
                <a:cubicBezTo>
                  <a:pt x="2178" y="1352"/>
                  <a:pt x="2146" y="1336"/>
                  <a:pt x="2131" y="1304"/>
                </a:cubicBezTo>
                <a:cubicBezTo>
                  <a:pt x="2115" y="1257"/>
                  <a:pt x="2115" y="1209"/>
                  <a:pt x="2146" y="1161"/>
                </a:cubicBezTo>
                <a:cubicBezTo>
                  <a:pt x="2210" y="1082"/>
                  <a:pt x="2353" y="1098"/>
                  <a:pt x="2417" y="1098"/>
                </a:cubicBezTo>
                <a:cubicBezTo>
                  <a:pt x="2544" y="1113"/>
                  <a:pt x="2565" y="1151"/>
                  <a:pt x="2639" y="1177"/>
                </a:cubicBezTo>
                <a:cubicBezTo>
                  <a:pt x="2671" y="1209"/>
                  <a:pt x="2719" y="1193"/>
                  <a:pt x="2751" y="1161"/>
                </a:cubicBezTo>
                <a:cubicBezTo>
                  <a:pt x="2783" y="1129"/>
                  <a:pt x="2767" y="1082"/>
                  <a:pt x="2735" y="1050"/>
                </a:cubicBezTo>
                <a:cubicBezTo>
                  <a:pt x="2635" y="1013"/>
                  <a:pt x="2607" y="955"/>
                  <a:pt x="2433" y="938"/>
                </a:cubicBezTo>
                <a:lnTo>
                  <a:pt x="2433" y="748"/>
                </a:lnTo>
                <a:cubicBezTo>
                  <a:pt x="2433" y="716"/>
                  <a:pt x="2401" y="668"/>
                  <a:pt x="2353" y="668"/>
                </a:cubicBezTo>
                <a:cubicBezTo>
                  <a:pt x="2321" y="668"/>
                  <a:pt x="2274" y="716"/>
                  <a:pt x="2274" y="748"/>
                </a:cubicBezTo>
                <a:lnTo>
                  <a:pt x="2274" y="938"/>
                </a:lnTo>
                <a:cubicBezTo>
                  <a:pt x="2178" y="955"/>
                  <a:pt x="2083" y="986"/>
                  <a:pt x="2035" y="1066"/>
                </a:cubicBezTo>
                <a:cubicBezTo>
                  <a:pt x="1955" y="1146"/>
                  <a:pt x="1940" y="1273"/>
                  <a:pt x="1987" y="1368"/>
                </a:cubicBezTo>
                <a:cubicBezTo>
                  <a:pt x="2019" y="1432"/>
                  <a:pt x="2067" y="1495"/>
                  <a:pt x="2162" y="1527"/>
                </a:cubicBezTo>
                <a:cubicBezTo>
                  <a:pt x="2226" y="1559"/>
                  <a:pt x="2274" y="1575"/>
                  <a:pt x="2337" y="1591"/>
                </a:cubicBezTo>
                <a:cubicBezTo>
                  <a:pt x="2385" y="1607"/>
                  <a:pt x="2449" y="1622"/>
                  <a:pt x="2496" y="1638"/>
                </a:cubicBezTo>
                <a:cubicBezTo>
                  <a:pt x="2528" y="1655"/>
                  <a:pt x="2560" y="1670"/>
                  <a:pt x="2592" y="1686"/>
                </a:cubicBezTo>
                <a:cubicBezTo>
                  <a:pt x="2624" y="1718"/>
                  <a:pt x="2639" y="1766"/>
                  <a:pt x="2624" y="1829"/>
                </a:cubicBezTo>
                <a:cubicBezTo>
                  <a:pt x="2592" y="1925"/>
                  <a:pt x="2480" y="1973"/>
                  <a:pt x="2401" y="1973"/>
                </a:cubicBezTo>
                <a:cubicBezTo>
                  <a:pt x="2274" y="1973"/>
                  <a:pt x="2131" y="1941"/>
                  <a:pt x="2019" y="1845"/>
                </a:cubicBezTo>
                <a:cubicBezTo>
                  <a:pt x="1987" y="1813"/>
                  <a:pt x="1940" y="1829"/>
                  <a:pt x="1908" y="1861"/>
                </a:cubicBezTo>
                <a:cubicBezTo>
                  <a:pt x="1876" y="1893"/>
                  <a:pt x="1892" y="1941"/>
                  <a:pt x="1924" y="1973"/>
                </a:cubicBezTo>
                <a:close/>
                <a:moveTo>
                  <a:pt x="3864" y="3834"/>
                </a:moveTo>
                <a:cubicBezTo>
                  <a:pt x="4023" y="3834"/>
                  <a:pt x="4134" y="3706"/>
                  <a:pt x="4134" y="3547"/>
                </a:cubicBezTo>
                <a:cubicBezTo>
                  <a:pt x="4134" y="3388"/>
                  <a:pt x="4023" y="3277"/>
                  <a:pt x="3864" y="3277"/>
                </a:cubicBezTo>
                <a:cubicBezTo>
                  <a:pt x="3705" y="3277"/>
                  <a:pt x="3594" y="3388"/>
                  <a:pt x="3594" y="3547"/>
                </a:cubicBezTo>
                <a:cubicBezTo>
                  <a:pt x="3594" y="3706"/>
                  <a:pt x="3705" y="3834"/>
                  <a:pt x="3864" y="3834"/>
                </a:cubicBezTo>
                <a:close/>
                <a:moveTo>
                  <a:pt x="3864" y="3436"/>
                </a:moveTo>
                <a:cubicBezTo>
                  <a:pt x="3928" y="3436"/>
                  <a:pt x="3991" y="3483"/>
                  <a:pt x="3991" y="3547"/>
                </a:cubicBezTo>
                <a:cubicBezTo>
                  <a:pt x="3991" y="3611"/>
                  <a:pt x="3928" y="3674"/>
                  <a:pt x="3864" y="3674"/>
                </a:cubicBezTo>
                <a:cubicBezTo>
                  <a:pt x="3800" y="3674"/>
                  <a:pt x="3753" y="3611"/>
                  <a:pt x="3753" y="3547"/>
                </a:cubicBezTo>
                <a:cubicBezTo>
                  <a:pt x="3753" y="3483"/>
                  <a:pt x="3800" y="3436"/>
                  <a:pt x="3864" y="3436"/>
                </a:cubicBezTo>
                <a:close/>
                <a:moveTo>
                  <a:pt x="795" y="4438"/>
                </a:moveTo>
                <a:lnTo>
                  <a:pt x="811" y="4438"/>
                </a:lnTo>
                <a:lnTo>
                  <a:pt x="3865" y="4438"/>
                </a:lnTo>
                <a:cubicBezTo>
                  <a:pt x="3881" y="4438"/>
                  <a:pt x="4231" y="4454"/>
                  <a:pt x="4454" y="4247"/>
                </a:cubicBezTo>
                <a:lnTo>
                  <a:pt x="4470" y="4231"/>
                </a:lnTo>
                <a:lnTo>
                  <a:pt x="4486" y="4215"/>
                </a:lnTo>
                <a:lnTo>
                  <a:pt x="4501" y="4199"/>
                </a:lnTo>
                <a:lnTo>
                  <a:pt x="4517" y="4183"/>
                </a:lnTo>
                <a:cubicBezTo>
                  <a:pt x="4522" y="4178"/>
                  <a:pt x="4517" y="4167"/>
                  <a:pt x="4533" y="4167"/>
                </a:cubicBezTo>
                <a:lnTo>
                  <a:pt x="4533" y="4152"/>
                </a:lnTo>
                <a:cubicBezTo>
                  <a:pt x="4549" y="4152"/>
                  <a:pt x="4549" y="4152"/>
                  <a:pt x="4549" y="4136"/>
                </a:cubicBezTo>
                <a:cubicBezTo>
                  <a:pt x="4554" y="4131"/>
                  <a:pt x="4565" y="4136"/>
                  <a:pt x="4565" y="4120"/>
                </a:cubicBezTo>
                <a:cubicBezTo>
                  <a:pt x="4661" y="3961"/>
                  <a:pt x="4692" y="3754"/>
                  <a:pt x="4661" y="3515"/>
                </a:cubicBezTo>
                <a:lnTo>
                  <a:pt x="4295" y="637"/>
                </a:lnTo>
                <a:cubicBezTo>
                  <a:pt x="4247" y="271"/>
                  <a:pt x="3929" y="0"/>
                  <a:pt x="3563" y="0"/>
                </a:cubicBezTo>
                <a:lnTo>
                  <a:pt x="1129" y="0"/>
                </a:lnTo>
                <a:cubicBezTo>
                  <a:pt x="748" y="0"/>
                  <a:pt x="429" y="271"/>
                  <a:pt x="382" y="637"/>
                </a:cubicBezTo>
                <a:lnTo>
                  <a:pt x="16" y="3515"/>
                </a:lnTo>
                <a:cubicBezTo>
                  <a:pt x="-32" y="3801"/>
                  <a:pt x="32" y="4024"/>
                  <a:pt x="175" y="4199"/>
                </a:cubicBezTo>
                <a:cubicBezTo>
                  <a:pt x="382" y="4422"/>
                  <a:pt x="716" y="4438"/>
                  <a:pt x="795" y="4438"/>
                </a:cubicBezTo>
                <a:close/>
                <a:moveTo>
                  <a:pt x="541" y="668"/>
                </a:moveTo>
                <a:cubicBezTo>
                  <a:pt x="589" y="366"/>
                  <a:pt x="827" y="159"/>
                  <a:pt x="1129" y="159"/>
                </a:cubicBezTo>
                <a:lnTo>
                  <a:pt x="3563" y="159"/>
                </a:lnTo>
                <a:cubicBezTo>
                  <a:pt x="3849" y="159"/>
                  <a:pt x="4104" y="366"/>
                  <a:pt x="4135" y="668"/>
                </a:cubicBezTo>
                <a:lnTo>
                  <a:pt x="4454" y="3165"/>
                </a:lnTo>
                <a:cubicBezTo>
                  <a:pt x="4279" y="2991"/>
                  <a:pt x="4024" y="2959"/>
                  <a:pt x="3865" y="2959"/>
                </a:cubicBezTo>
                <a:lnTo>
                  <a:pt x="811" y="2959"/>
                </a:lnTo>
                <a:cubicBezTo>
                  <a:pt x="652" y="2959"/>
                  <a:pt x="398" y="2991"/>
                  <a:pt x="223" y="3165"/>
                </a:cubicBezTo>
                <a:close/>
                <a:moveTo>
                  <a:pt x="175" y="3595"/>
                </a:moveTo>
                <a:cubicBezTo>
                  <a:pt x="239" y="3102"/>
                  <a:pt x="780" y="3118"/>
                  <a:pt x="811" y="3118"/>
                </a:cubicBezTo>
                <a:lnTo>
                  <a:pt x="3881" y="3118"/>
                </a:lnTo>
                <a:cubicBezTo>
                  <a:pt x="3897" y="3118"/>
                  <a:pt x="4438" y="3102"/>
                  <a:pt x="4517" y="3595"/>
                </a:cubicBezTo>
                <a:cubicBezTo>
                  <a:pt x="4533" y="3770"/>
                  <a:pt x="4501" y="3929"/>
                  <a:pt x="4422" y="4040"/>
                </a:cubicBezTo>
                <a:cubicBezTo>
                  <a:pt x="4422" y="4056"/>
                  <a:pt x="4422" y="4056"/>
                  <a:pt x="4406" y="4056"/>
                </a:cubicBezTo>
                <a:lnTo>
                  <a:pt x="4406" y="4072"/>
                </a:lnTo>
                <a:cubicBezTo>
                  <a:pt x="4400" y="4077"/>
                  <a:pt x="4390" y="4072"/>
                  <a:pt x="4390" y="4088"/>
                </a:cubicBezTo>
                <a:lnTo>
                  <a:pt x="4374" y="4104"/>
                </a:lnTo>
                <a:cubicBezTo>
                  <a:pt x="4183" y="4295"/>
                  <a:pt x="3881" y="4279"/>
                  <a:pt x="3865" y="4279"/>
                </a:cubicBezTo>
                <a:lnTo>
                  <a:pt x="811" y="4279"/>
                </a:lnTo>
                <a:cubicBezTo>
                  <a:pt x="795" y="4279"/>
                  <a:pt x="477" y="4295"/>
                  <a:pt x="286" y="4088"/>
                </a:cubicBezTo>
                <a:cubicBezTo>
                  <a:pt x="191" y="3977"/>
                  <a:pt x="143" y="3801"/>
                  <a:pt x="175" y="359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9" name="Freeform: Shape 11">
            <a:extLst>
              <a:ext uri="{FF2B5EF4-FFF2-40B4-BE49-F238E27FC236}">
                <a16:creationId xmlns:a16="http://schemas.microsoft.com/office/drawing/2014/main" id="{7304F766-411F-A049-9304-B05EC259CC72}"/>
              </a:ext>
            </a:extLst>
          </p:cNvPr>
          <p:cNvSpPr/>
          <p:nvPr/>
        </p:nvSpPr>
        <p:spPr>
          <a:xfrm>
            <a:off x="1745409" y="6491290"/>
            <a:ext cx="1681560" cy="1597320"/>
          </a:xfrm>
          <a:custGeom>
            <a:avLst/>
            <a:gdLst/>
            <a:ahLst/>
            <a:cxnLst>
              <a:cxn ang="3cd4">
                <a:pos x="hc" y="t"/>
              </a:cxn>
              <a:cxn ang="cd2">
                <a:pos x="l" y="vc"/>
              </a:cxn>
              <a:cxn ang="cd4">
                <a:pos x="hc" y="b"/>
              </a:cxn>
              <a:cxn ang="0">
                <a:pos x="r" y="vc"/>
              </a:cxn>
            </a:cxnLst>
            <a:rect l="l" t="t" r="r" b="b"/>
            <a:pathLst>
              <a:path w="4672" h="4438">
                <a:moveTo>
                  <a:pt x="2338" y="2370"/>
                </a:moveTo>
                <a:cubicBezTo>
                  <a:pt x="2799" y="2370"/>
                  <a:pt x="3165" y="2004"/>
                  <a:pt x="3165" y="1543"/>
                </a:cubicBezTo>
                <a:cubicBezTo>
                  <a:pt x="3165" y="1082"/>
                  <a:pt x="2799" y="716"/>
                  <a:pt x="2338" y="716"/>
                </a:cubicBezTo>
                <a:cubicBezTo>
                  <a:pt x="1876" y="716"/>
                  <a:pt x="1510" y="1082"/>
                  <a:pt x="1510" y="1543"/>
                </a:cubicBezTo>
                <a:cubicBezTo>
                  <a:pt x="1510" y="2004"/>
                  <a:pt x="1876" y="2370"/>
                  <a:pt x="2338" y="2370"/>
                </a:cubicBezTo>
                <a:close/>
                <a:moveTo>
                  <a:pt x="3005" y="1543"/>
                </a:moveTo>
                <a:cubicBezTo>
                  <a:pt x="3005" y="1909"/>
                  <a:pt x="2704" y="2211"/>
                  <a:pt x="2338" y="2211"/>
                </a:cubicBezTo>
                <a:cubicBezTo>
                  <a:pt x="2195" y="2211"/>
                  <a:pt x="2051" y="2179"/>
                  <a:pt x="1956" y="2100"/>
                </a:cubicBezTo>
                <a:lnTo>
                  <a:pt x="2894" y="1146"/>
                </a:lnTo>
                <a:cubicBezTo>
                  <a:pt x="2974" y="1257"/>
                  <a:pt x="3005" y="1400"/>
                  <a:pt x="3005" y="1543"/>
                </a:cubicBezTo>
                <a:close/>
                <a:moveTo>
                  <a:pt x="2338" y="875"/>
                </a:moveTo>
                <a:cubicBezTo>
                  <a:pt x="2513" y="875"/>
                  <a:pt x="2656" y="938"/>
                  <a:pt x="2783" y="1034"/>
                </a:cubicBezTo>
                <a:lnTo>
                  <a:pt x="1829" y="1988"/>
                </a:lnTo>
                <a:cubicBezTo>
                  <a:pt x="1733" y="1861"/>
                  <a:pt x="1669" y="1718"/>
                  <a:pt x="1669" y="1543"/>
                </a:cubicBezTo>
                <a:cubicBezTo>
                  <a:pt x="1669" y="1177"/>
                  <a:pt x="1972" y="875"/>
                  <a:pt x="2338" y="875"/>
                </a:cubicBezTo>
                <a:close/>
                <a:moveTo>
                  <a:pt x="3865" y="3834"/>
                </a:moveTo>
                <a:cubicBezTo>
                  <a:pt x="4023" y="3834"/>
                  <a:pt x="4135" y="3706"/>
                  <a:pt x="4135" y="3547"/>
                </a:cubicBezTo>
                <a:cubicBezTo>
                  <a:pt x="4135" y="3388"/>
                  <a:pt x="4023" y="3277"/>
                  <a:pt x="3865" y="3277"/>
                </a:cubicBezTo>
                <a:cubicBezTo>
                  <a:pt x="3705" y="3277"/>
                  <a:pt x="3578" y="3388"/>
                  <a:pt x="3578" y="3547"/>
                </a:cubicBezTo>
                <a:cubicBezTo>
                  <a:pt x="3578" y="3706"/>
                  <a:pt x="3705" y="3834"/>
                  <a:pt x="3865" y="3834"/>
                </a:cubicBezTo>
                <a:close/>
                <a:moveTo>
                  <a:pt x="3865" y="3436"/>
                </a:moveTo>
                <a:cubicBezTo>
                  <a:pt x="3928" y="3436"/>
                  <a:pt x="3976" y="3483"/>
                  <a:pt x="3976" y="3547"/>
                </a:cubicBezTo>
                <a:cubicBezTo>
                  <a:pt x="3976" y="3611"/>
                  <a:pt x="3928" y="3674"/>
                  <a:pt x="3865" y="3674"/>
                </a:cubicBezTo>
                <a:cubicBezTo>
                  <a:pt x="3801" y="3674"/>
                  <a:pt x="3737" y="3611"/>
                  <a:pt x="3737" y="3547"/>
                </a:cubicBezTo>
                <a:cubicBezTo>
                  <a:pt x="3737" y="3483"/>
                  <a:pt x="3801" y="3436"/>
                  <a:pt x="3865" y="3436"/>
                </a:cubicBezTo>
                <a:close/>
                <a:moveTo>
                  <a:pt x="795" y="4438"/>
                </a:moveTo>
                <a:lnTo>
                  <a:pt x="811" y="4438"/>
                </a:lnTo>
                <a:lnTo>
                  <a:pt x="3865" y="4438"/>
                </a:lnTo>
                <a:cubicBezTo>
                  <a:pt x="3880" y="4438"/>
                  <a:pt x="4231" y="4454"/>
                  <a:pt x="4453" y="4247"/>
                </a:cubicBezTo>
                <a:cubicBezTo>
                  <a:pt x="4459" y="4242"/>
                  <a:pt x="4453" y="4231"/>
                  <a:pt x="4469" y="4231"/>
                </a:cubicBezTo>
                <a:lnTo>
                  <a:pt x="4485" y="4215"/>
                </a:lnTo>
                <a:lnTo>
                  <a:pt x="4501" y="4199"/>
                </a:lnTo>
                <a:cubicBezTo>
                  <a:pt x="4507" y="4194"/>
                  <a:pt x="4501" y="4183"/>
                  <a:pt x="4517" y="4183"/>
                </a:cubicBezTo>
                <a:cubicBezTo>
                  <a:pt x="4522" y="4178"/>
                  <a:pt x="4517" y="4167"/>
                  <a:pt x="4532" y="4167"/>
                </a:cubicBezTo>
                <a:lnTo>
                  <a:pt x="4532" y="4152"/>
                </a:lnTo>
                <a:cubicBezTo>
                  <a:pt x="4538" y="4147"/>
                  <a:pt x="4549" y="4152"/>
                  <a:pt x="4549" y="4136"/>
                </a:cubicBezTo>
                <a:lnTo>
                  <a:pt x="4564" y="4120"/>
                </a:lnTo>
                <a:cubicBezTo>
                  <a:pt x="4660" y="3961"/>
                  <a:pt x="4692" y="3754"/>
                  <a:pt x="4660" y="3515"/>
                </a:cubicBezTo>
                <a:lnTo>
                  <a:pt x="4294" y="637"/>
                </a:lnTo>
                <a:cubicBezTo>
                  <a:pt x="4246" y="271"/>
                  <a:pt x="3928" y="0"/>
                  <a:pt x="3562" y="0"/>
                </a:cubicBezTo>
                <a:lnTo>
                  <a:pt x="1113" y="0"/>
                </a:lnTo>
                <a:cubicBezTo>
                  <a:pt x="747" y="0"/>
                  <a:pt x="429" y="271"/>
                  <a:pt x="381" y="637"/>
                </a:cubicBezTo>
                <a:lnTo>
                  <a:pt x="15" y="3515"/>
                </a:lnTo>
                <a:cubicBezTo>
                  <a:pt x="-32" y="3801"/>
                  <a:pt x="31" y="4024"/>
                  <a:pt x="174" y="4199"/>
                </a:cubicBezTo>
                <a:cubicBezTo>
                  <a:pt x="381" y="4422"/>
                  <a:pt x="715" y="4438"/>
                  <a:pt x="795" y="4438"/>
                </a:cubicBezTo>
                <a:close/>
                <a:moveTo>
                  <a:pt x="540" y="668"/>
                </a:moveTo>
                <a:cubicBezTo>
                  <a:pt x="572" y="366"/>
                  <a:pt x="826" y="159"/>
                  <a:pt x="1113" y="159"/>
                </a:cubicBezTo>
                <a:lnTo>
                  <a:pt x="3562" y="159"/>
                </a:lnTo>
                <a:cubicBezTo>
                  <a:pt x="3849" y="159"/>
                  <a:pt x="4103" y="366"/>
                  <a:pt x="4135" y="668"/>
                </a:cubicBezTo>
                <a:lnTo>
                  <a:pt x="4453" y="3165"/>
                </a:lnTo>
                <a:cubicBezTo>
                  <a:pt x="4278" y="2991"/>
                  <a:pt x="4023" y="2959"/>
                  <a:pt x="3865" y="2959"/>
                </a:cubicBezTo>
                <a:lnTo>
                  <a:pt x="811" y="2959"/>
                </a:lnTo>
                <a:cubicBezTo>
                  <a:pt x="651" y="2959"/>
                  <a:pt x="397" y="2991"/>
                  <a:pt x="222" y="3165"/>
                </a:cubicBezTo>
                <a:close/>
                <a:moveTo>
                  <a:pt x="159" y="3595"/>
                </a:moveTo>
                <a:lnTo>
                  <a:pt x="174" y="3595"/>
                </a:lnTo>
                <a:cubicBezTo>
                  <a:pt x="238" y="3102"/>
                  <a:pt x="779" y="3118"/>
                  <a:pt x="811" y="3118"/>
                </a:cubicBezTo>
                <a:lnTo>
                  <a:pt x="3880" y="3118"/>
                </a:lnTo>
                <a:cubicBezTo>
                  <a:pt x="3896" y="3118"/>
                  <a:pt x="4437" y="3102"/>
                  <a:pt x="4517" y="3595"/>
                </a:cubicBezTo>
                <a:cubicBezTo>
                  <a:pt x="4532" y="3770"/>
                  <a:pt x="4501" y="3929"/>
                  <a:pt x="4421" y="4040"/>
                </a:cubicBezTo>
                <a:cubicBezTo>
                  <a:pt x="4421" y="4056"/>
                  <a:pt x="4421" y="4056"/>
                  <a:pt x="4405" y="4056"/>
                </a:cubicBezTo>
                <a:lnTo>
                  <a:pt x="4405" y="4072"/>
                </a:lnTo>
                <a:cubicBezTo>
                  <a:pt x="4400" y="4077"/>
                  <a:pt x="4389" y="4072"/>
                  <a:pt x="4389" y="4088"/>
                </a:cubicBezTo>
                <a:lnTo>
                  <a:pt x="4374" y="4104"/>
                </a:lnTo>
                <a:cubicBezTo>
                  <a:pt x="4183" y="4295"/>
                  <a:pt x="3880" y="4279"/>
                  <a:pt x="3865" y="4279"/>
                </a:cubicBezTo>
                <a:lnTo>
                  <a:pt x="811" y="4279"/>
                </a:lnTo>
                <a:cubicBezTo>
                  <a:pt x="795" y="4279"/>
                  <a:pt x="477" y="4295"/>
                  <a:pt x="286" y="4088"/>
                </a:cubicBezTo>
                <a:cubicBezTo>
                  <a:pt x="190" y="3977"/>
                  <a:pt x="142" y="3801"/>
                  <a:pt x="159" y="359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0" name="Freeform: Shape 12">
            <a:extLst>
              <a:ext uri="{FF2B5EF4-FFF2-40B4-BE49-F238E27FC236}">
                <a16:creationId xmlns:a16="http://schemas.microsoft.com/office/drawing/2014/main" id="{75607D22-4495-2749-8E34-A418CCB38FA7}"/>
              </a:ext>
            </a:extLst>
          </p:cNvPr>
          <p:cNvSpPr/>
          <p:nvPr/>
        </p:nvSpPr>
        <p:spPr>
          <a:xfrm>
            <a:off x="10000124" y="6491290"/>
            <a:ext cx="1682639" cy="1597320"/>
          </a:xfrm>
          <a:custGeom>
            <a:avLst/>
            <a:gdLst/>
            <a:ahLst/>
            <a:cxnLst>
              <a:cxn ang="3cd4">
                <a:pos x="hc" y="t"/>
              </a:cxn>
              <a:cxn ang="cd2">
                <a:pos x="l" y="vc"/>
              </a:cxn>
              <a:cxn ang="cd4">
                <a:pos x="hc" y="b"/>
              </a:cxn>
              <a:cxn ang="0">
                <a:pos x="r" y="vc"/>
              </a:cxn>
            </a:cxnLst>
            <a:rect l="l" t="t" r="r" b="b"/>
            <a:pathLst>
              <a:path w="4675" h="4438">
                <a:moveTo>
                  <a:pt x="1419" y="955"/>
                </a:moveTo>
                <a:lnTo>
                  <a:pt x="1705" y="875"/>
                </a:lnTo>
                <a:cubicBezTo>
                  <a:pt x="1562" y="1050"/>
                  <a:pt x="1498" y="1257"/>
                  <a:pt x="1498" y="1464"/>
                </a:cubicBezTo>
                <a:cubicBezTo>
                  <a:pt x="1498" y="1718"/>
                  <a:pt x="1594" y="1956"/>
                  <a:pt x="1769" y="2131"/>
                </a:cubicBezTo>
                <a:cubicBezTo>
                  <a:pt x="1944" y="2307"/>
                  <a:pt x="2182" y="2386"/>
                  <a:pt x="2421" y="2386"/>
                </a:cubicBezTo>
                <a:cubicBezTo>
                  <a:pt x="2660" y="2386"/>
                  <a:pt x="2898" y="2307"/>
                  <a:pt x="3089" y="2116"/>
                </a:cubicBezTo>
                <a:cubicBezTo>
                  <a:pt x="3264" y="1941"/>
                  <a:pt x="3359" y="1718"/>
                  <a:pt x="3359" y="1464"/>
                </a:cubicBezTo>
                <a:cubicBezTo>
                  <a:pt x="3343" y="1209"/>
                  <a:pt x="3248" y="986"/>
                  <a:pt x="3073" y="811"/>
                </a:cubicBezTo>
                <a:cubicBezTo>
                  <a:pt x="3041" y="780"/>
                  <a:pt x="2994" y="780"/>
                  <a:pt x="2961" y="811"/>
                </a:cubicBezTo>
                <a:cubicBezTo>
                  <a:pt x="2930" y="843"/>
                  <a:pt x="2930" y="891"/>
                  <a:pt x="2961" y="923"/>
                </a:cubicBezTo>
                <a:cubicBezTo>
                  <a:pt x="3105" y="1066"/>
                  <a:pt x="3200" y="1257"/>
                  <a:pt x="3200" y="1464"/>
                </a:cubicBezTo>
                <a:cubicBezTo>
                  <a:pt x="3200" y="1670"/>
                  <a:pt x="3121" y="1861"/>
                  <a:pt x="2961" y="2004"/>
                </a:cubicBezTo>
                <a:cubicBezTo>
                  <a:pt x="2675" y="2307"/>
                  <a:pt x="2182" y="2307"/>
                  <a:pt x="1880" y="2004"/>
                </a:cubicBezTo>
                <a:cubicBezTo>
                  <a:pt x="1737" y="1861"/>
                  <a:pt x="1657" y="1670"/>
                  <a:pt x="1657" y="1464"/>
                </a:cubicBezTo>
                <a:cubicBezTo>
                  <a:pt x="1657" y="1289"/>
                  <a:pt x="1721" y="1113"/>
                  <a:pt x="1833" y="970"/>
                </a:cubicBezTo>
                <a:lnTo>
                  <a:pt x="1896" y="1241"/>
                </a:lnTo>
                <a:cubicBezTo>
                  <a:pt x="1912" y="1273"/>
                  <a:pt x="1944" y="1304"/>
                  <a:pt x="1976" y="1304"/>
                </a:cubicBezTo>
                <a:lnTo>
                  <a:pt x="1991" y="1289"/>
                </a:lnTo>
                <a:cubicBezTo>
                  <a:pt x="2039" y="1289"/>
                  <a:pt x="2055" y="1241"/>
                  <a:pt x="2055" y="1193"/>
                </a:cubicBezTo>
                <a:lnTo>
                  <a:pt x="1928" y="748"/>
                </a:lnTo>
                <a:cubicBezTo>
                  <a:pt x="1928" y="716"/>
                  <a:pt x="1912" y="700"/>
                  <a:pt x="1896" y="700"/>
                </a:cubicBezTo>
                <a:cubicBezTo>
                  <a:pt x="1880" y="684"/>
                  <a:pt x="1864" y="684"/>
                  <a:pt x="1833" y="684"/>
                </a:cubicBezTo>
                <a:lnTo>
                  <a:pt x="1387" y="795"/>
                </a:lnTo>
                <a:cubicBezTo>
                  <a:pt x="1339" y="811"/>
                  <a:pt x="1307" y="859"/>
                  <a:pt x="1324" y="891"/>
                </a:cubicBezTo>
                <a:cubicBezTo>
                  <a:pt x="1339" y="938"/>
                  <a:pt x="1371" y="970"/>
                  <a:pt x="1419" y="955"/>
                </a:cubicBezTo>
                <a:close/>
                <a:moveTo>
                  <a:pt x="3867" y="3834"/>
                </a:moveTo>
                <a:cubicBezTo>
                  <a:pt x="4011" y="3834"/>
                  <a:pt x="4138" y="3706"/>
                  <a:pt x="4138" y="3547"/>
                </a:cubicBezTo>
                <a:cubicBezTo>
                  <a:pt x="4138" y="3388"/>
                  <a:pt x="4011" y="3277"/>
                  <a:pt x="3867" y="3277"/>
                </a:cubicBezTo>
                <a:cubicBezTo>
                  <a:pt x="3708" y="3277"/>
                  <a:pt x="3581" y="3388"/>
                  <a:pt x="3581" y="3547"/>
                </a:cubicBezTo>
                <a:cubicBezTo>
                  <a:pt x="3581" y="3706"/>
                  <a:pt x="3708" y="3834"/>
                  <a:pt x="3867" y="3834"/>
                </a:cubicBezTo>
                <a:close/>
                <a:moveTo>
                  <a:pt x="3867" y="3436"/>
                </a:moveTo>
                <a:cubicBezTo>
                  <a:pt x="3931" y="3436"/>
                  <a:pt x="3978" y="3483"/>
                  <a:pt x="3978" y="3547"/>
                </a:cubicBezTo>
                <a:cubicBezTo>
                  <a:pt x="3978" y="3611"/>
                  <a:pt x="3931" y="3674"/>
                  <a:pt x="3867" y="3674"/>
                </a:cubicBezTo>
                <a:cubicBezTo>
                  <a:pt x="3788" y="3674"/>
                  <a:pt x="3740" y="3611"/>
                  <a:pt x="3740" y="3547"/>
                </a:cubicBezTo>
                <a:cubicBezTo>
                  <a:pt x="3740" y="3483"/>
                  <a:pt x="3788" y="3436"/>
                  <a:pt x="3867" y="3436"/>
                </a:cubicBezTo>
                <a:close/>
                <a:moveTo>
                  <a:pt x="782" y="4438"/>
                </a:moveTo>
                <a:lnTo>
                  <a:pt x="797" y="4438"/>
                </a:lnTo>
                <a:lnTo>
                  <a:pt x="3867" y="4438"/>
                </a:lnTo>
                <a:cubicBezTo>
                  <a:pt x="3883" y="4438"/>
                  <a:pt x="4217" y="4454"/>
                  <a:pt x="4456" y="4247"/>
                </a:cubicBezTo>
                <a:lnTo>
                  <a:pt x="4456" y="4231"/>
                </a:lnTo>
                <a:cubicBezTo>
                  <a:pt x="4472" y="4231"/>
                  <a:pt x="4472" y="4231"/>
                  <a:pt x="4472" y="4215"/>
                </a:cubicBezTo>
                <a:lnTo>
                  <a:pt x="4487" y="4215"/>
                </a:lnTo>
                <a:cubicBezTo>
                  <a:pt x="4493" y="4210"/>
                  <a:pt x="4487" y="4199"/>
                  <a:pt x="4504" y="4199"/>
                </a:cubicBezTo>
                <a:lnTo>
                  <a:pt x="4504" y="4183"/>
                </a:lnTo>
                <a:cubicBezTo>
                  <a:pt x="4519" y="4183"/>
                  <a:pt x="4514" y="4172"/>
                  <a:pt x="4519" y="4167"/>
                </a:cubicBezTo>
                <a:cubicBezTo>
                  <a:pt x="4535" y="4167"/>
                  <a:pt x="4535" y="4167"/>
                  <a:pt x="4535" y="4152"/>
                </a:cubicBezTo>
                <a:lnTo>
                  <a:pt x="4551" y="4136"/>
                </a:lnTo>
                <a:lnTo>
                  <a:pt x="4551" y="4120"/>
                </a:lnTo>
                <a:lnTo>
                  <a:pt x="4567" y="4120"/>
                </a:lnTo>
                <a:cubicBezTo>
                  <a:pt x="4663" y="3961"/>
                  <a:pt x="4695" y="3754"/>
                  <a:pt x="4663" y="3515"/>
                </a:cubicBezTo>
                <a:lnTo>
                  <a:pt x="4297" y="637"/>
                </a:lnTo>
                <a:cubicBezTo>
                  <a:pt x="4249" y="271"/>
                  <a:pt x="3931" y="0"/>
                  <a:pt x="3549" y="0"/>
                </a:cubicBezTo>
                <a:lnTo>
                  <a:pt x="1115" y="0"/>
                </a:lnTo>
                <a:cubicBezTo>
                  <a:pt x="750" y="0"/>
                  <a:pt x="432" y="271"/>
                  <a:pt x="384" y="637"/>
                </a:cubicBezTo>
                <a:lnTo>
                  <a:pt x="18" y="3515"/>
                </a:lnTo>
                <a:cubicBezTo>
                  <a:pt x="-30" y="3801"/>
                  <a:pt x="18" y="4024"/>
                  <a:pt x="161" y="4199"/>
                </a:cubicBezTo>
                <a:cubicBezTo>
                  <a:pt x="384" y="4422"/>
                  <a:pt x="718" y="4438"/>
                  <a:pt x="782" y="4438"/>
                </a:cubicBezTo>
                <a:close/>
                <a:moveTo>
                  <a:pt x="543" y="668"/>
                </a:moveTo>
                <a:cubicBezTo>
                  <a:pt x="575" y="366"/>
                  <a:pt x="829" y="159"/>
                  <a:pt x="1115" y="159"/>
                </a:cubicBezTo>
                <a:lnTo>
                  <a:pt x="3549" y="159"/>
                </a:lnTo>
                <a:cubicBezTo>
                  <a:pt x="3851" y="159"/>
                  <a:pt x="4090" y="366"/>
                  <a:pt x="4138" y="668"/>
                </a:cubicBezTo>
                <a:lnTo>
                  <a:pt x="4456" y="3165"/>
                </a:lnTo>
                <a:cubicBezTo>
                  <a:pt x="4265" y="2991"/>
                  <a:pt x="4026" y="2959"/>
                  <a:pt x="3867" y="2959"/>
                </a:cubicBezTo>
                <a:lnTo>
                  <a:pt x="814" y="2959"/>
                </a:lnTo>
                <a:cubicBezTo>
                  <a:pt x="654" y="2959"/>
                  <a:pt x="400" y="2991"/>
                  <a:pt x="225" y="3165"/>
                </a:cubicBezTo>
                <a:close/>
                <a:moveTo>
                  <a:pt x="161" y="3595"/>
                </a:moveTo>
                <a:cubicBezTo>
                  <a:pt x="225" y="3102"/>
                  <a:pt x="782" y="3118"/>
                  <a:pt x="797" y="3118"/>
                </a:cubicBezTo>
                <a:lnTo>
                  <a:pt x="3867" y="3118"/>
                </a:lnTo>
                <a:cubicBezTo>
                  <a:pt x="3899" y="3118"/>
                  <a:pt x="4440" y="3102"/>
                  <a:pt x="4504" y="3595"/>
                </a:cubicBezTo>
                <a:cubicBezTo>
                  <a:pt x="4519" y="3770"/>
                  <a:pt x="4504" y="3929"/>
                  <a:pt x="4424" y="4040"/>
                </a:cubicBezTo>
                <a:lnTo>
                  <a:pt x="4408" y="4056"/>
                </a:lnTo>
                <a:cubicBezTo>
                  <a:pt x="4403" y="4061"/>
                  <a:pt x="4408" y="4072"/>
                  <a:pt x="4392" y="4072"/>
                </a:cubicBezTo>
                <a:lnTo>
                  <a:pt x="4392" y="4088"/>
                </a:lnTo>
                <a:cubicBezTo>
                  <a:pt x="4387" y="4093"/>
                  <a:pt x="4376" y="4088"/>
                  <a:pt x="4376" y="4104"/>
                </a:cubicBezTo>
                <a:cubicBezTo>
                  <a:pt x="4186" y="4295"/>
                  <a:pt x="4037" y="4221"/>
                  <a:pt x="3867" y="4279"/>
                </a:cubicBezTo>
                <a:lnTo>
                  <a:pt x="797" y="4279"/>
                </a:lnTo>
                <a:cubicBezTo>
                  <a:pt x="627" y="4215"/>
                  <a:pt x="463" y="4295"/>
                  <a:pt x="288" y="4088"/>
                </a:cubicBezTo>
                <a:cubicBezTo>
                  <a:pt x="177" y="3977"/>
                  <a:pt x="145" y="3801"/>
                  <a:pt x="161" y="359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1" name="Freeform: Shape 13">
            <a:extLst>
              <a:ext uri="{FF2B5EF4-FFF2-40B4-BE49-F238E27FC236}">
                <a16:creationId xmlns:a16="http://schemas.microsoft.com/office/drawing/2014/main" id="{CC3598E4-DA70-324B-A01C-D1AF2552A9E0}"/>
              </a:ext>
            </a:extLst>
          </p:cNvPr>
          <p:cNvSpPr/>
          <p:nvPr/>
        </p:nvSpPr>
        <p:spPr>
          <a:xfrm>
            <a:off x="13909760" y="6491290"/>
            <a:ext cx="1682639" cy="1597320"/>
          </a:xfrm>
          <a:custGeom>
            <a:avLst/>
            <a:gdLst/>
            <a:ahLst/>
            <a:cxnLst>
              <a:cxn ang="3cd4">
                <a:pos x="hc" y="t"/>
              </a:cxn>
              <a:cxn ang="cd2">
                <a:pos x="l" y="vc"/>
              </a:cxn>
              <a:cxn ang="cd4">
                <a:pos x="hc" y="b"/>
              </a:cxn>
              <a:cxn ang="0">
                <a:pos x="r" y="vc"/>
              </a:cxn>
            </a:cxnLst>
            <a:rect l="l" t="t" r="r" b="b"/>
            <a:pathLst>
              <a:path w="4675" h="4438">
                <a:moveTo>
                  <a:pt x="2331" y="2529"/>
                </a:moveTo>
                <a:cubicBezTo>
                  <a:pt x="2856" y="2529"/>
                  <a:pt x="3286" y="2100"/>
                  <a:pt x="3286" y="1575"/>
                </a:cubicBezTo>
                <a:cubicBezTo>
                  <a:pt x="3286" y="1050"/>
                  <a:pt x="2856" y="620"/>
                  <a:pt x="2331" y="620"/>
                </a:cubicBezTo>
                <a:cubicBezTo>
                  <a:pt x="1822" y="620"/>
                  <a:pt x="1393" y="1050"/>
                  <a:pt x="1393" y="1575"/>
                </a:cubicBezTo>
                <a:cubicBezTo>
                  <a:pt x="1393" y="2100"/>
                  <a:pt x="1822" y="2529"/>
                  <a:pt x="2331" y="2529"/>
                </a:cubicBezTo>
                <a:close/>
                <a:moveTo>
                  <a:pt x="2331" y="780"/>
                </a:moveTo>
                <a:cubicBezTo>
                  <a:pt x="2777" y="780"/>
                  <a:pt x="3127" y="1146"/>
                  <a:pt x="3127" y="1575"/>
                </a:cubicBezTo>
                <a:cubicBezTo>
                  <a:pt x="3127" y="2004"/>
                  <a:pt x="2777" y="2370"/>
                  <a:pt x="2331" y="2370"/>
                </a:cubicBezTo>
                <a:cubicBezTo>
                  <a:pt x="1902" y="2370"/>
                  <a:pt x="1552" y="2004"/>
                  <a:pt x="1552" y="1575"/>
                </a:cubicBezTo>
                <a:cubicBezTo>
                  <a:pt x="1552" y="1146"/>
                  <a:pt x="1902" y="780"/>
                  <a:pt x="2331" y="780"/>
                </a:cubicBezTo>
                <a:close/>
                <a:moveTo>
                  <a:pt x="2300" y="1718"/>
                </a:moveTo>
                <a:lnTo>
                  <a:pt x="2347" y="1718"/>
                </a:lnTo>
                <a:cubicBezTo>
                  <a:pt x="2363" y="1718"/>
                  <a:pt x="2379" y="1718"/>
                  <a:pt x="2395" y="1702"/>
                </a:cubicBezTo>
                <a:lnTo>
                  <a:pt x="2681" y="1511"/>
                </a:lnTo>
                <a:cubicBezTo>
                  <a:pt x="2729" y="1479"/>
                  <a:pt x="2729" y="1432"/>
                  <a:pt x="2713" y="1400"/>
                </a:cubicBezTo>
                <a:cubicBezTo>
                  <a:pt x="2681" y="1352"/>
                  <a:pt x="2634" y="1352"/>
                  <a:pt x="2601" y="1368"/>
                </a:cubicBezTo>
                <a:lnTo>
                  <a:pt x="2427" y="1495"/>
                </a:lnTo>
                <a:lnTo>
                  <a:pt x="2427" y="1066"/>
                </a:lnTo>
                <a:cubicBezTo>
                  <a:pt x="2427" y="1018"/>
                  <a:pt x="2395" y="986"/>
                  <a:pt x="2347" y="986"/>
                </a:cubicBezTo>
                <a:cubicBezTo>
                  <a:pt x="2300" y="986"/>
                  <a:pt x="2268" y="1018"/>
                  <a:pt x="2268" y="1066"/>
                </a:cubicBezTo>
                <a:lnTo>
                  <a:pt x="2268" y="1638"/>
                </a:lnTo>
                <a:cubicBezTo>
                  <a:pt x="2268" y="1670"/>
                  <a:pt x="2283" y="1702"/>
                  <a:pt x="2300" y="1718"/>
                </a:cubicBezTo>
                <a:close/>
                <a:moveTo>
                  <a:pt x="3858" y="3834"/>
                </a:moveTo>
                <a:cubicBezTo>
                  <a:pt x="4017" y="3834"/>
                  <a:pt x="4145" y="3706"/>
                  <a:pt x="4145" y="3547"/>
                </a:cubicBezTo>
                <a:cubicBezTo>
                  <a:pt x="4145" y="3388"/>
                  <a:pt x="4017" y="3277"/>
                  <a:pt x="3858" y="3277"/>
                </a:cubicBezTo>
                <a:cubicBezTo>
                  <a:pt x="3715" y="3277"/>
                  <a:pt x="3588" y="3388"/>
                  <a:pt x="3588" y="3547"/>
                </a:cubicBezTo>
                <a:cubicBezTo>
                  <a:pt x="3588" y="3706"/>
                  <a:pt x="3715" y="3834"/>
                  <a:pt x="3858" y="3834"/>
                </a:cubicBezTo>
                <a:close/>
                <a:moveTo>
                  <a:pt x="3858" y="3436"/>
                </a:moveTo>
                <a:cubicBezTo>
                  <a:pt x="3922" y="3436"/>
                  <a:pt x="3985" y="3483"/>
                  <a:pt x="3985" y="3547"/>
                </a:cubicBezTo>
                <a:cubicBezTo>
                  <a:pt x="3985" y="3611"/>
                  <a:pt x="3922" y="3674"/>
                  <a:pt x="3858" y="3674"/>
                </a:cubicBezTo>
                <a:cubicBezTo>
                  <a:pt x="3795" y="3674"/>
                  <a:pt x="3747" y="3611"/>
                  <a:pt x="3747" y="3547"/>
                </a:cubicBezTo>
                <a:cubicBezTo>
                  <a:pt x="3747" y="3483"/>
                  <a:pt x="3795" y="3436"/>
                  <a:pt x="3858" y="3436"/>
                </a:cubicBezTo>
                <a:close/>
                <a:moveTo>
                  <a:pt x="788" y="4438"/>
                </a:moveTo>
                <a:lnTo>
                  <a:pt x="804" y="4438"/>
                </a:lnTo>
                <a:lnTo>
                  <a:pt x="3874" y="4438"/>
                </a:lnTo>
                <a:cubicBezTo>
                  <a:pt x="3890" y="4438"/>
                  <a:pt x="4224" y="4454"/>
                  <a:pt x="4463" y="4247"/>
                </a:cubicBezTo>
                <a:lnTo>
                  <a:pt x="4463" y="4231"/>
                </a:lnTo>
                <a:cubicBezTo>
                  <a:pt x="4469" y="4226"/>
                  <a:pt x="4479" y="4231"/>
                  <a:pt x="4479" y="4215"/>
                </a:cubicBezTo>
                <a:cubicBezTo>
                  <a:pt x="4494" y="4215"/>
                  <a:pt x="4489" y="4204"/>
                  <a:pt x="4494" y="4199"/>
                </a:cubicBezTo>
                <a:lnTo>
                  <a:pt x="4510" y="4199"/>
                </a:lnTo>
                <a:lnTo>
                  <a:pt x="4510" y="4183"/>
                </a:lnTo>
                <a:lnTo>
                  <a:pt x="4526" y="4167"/>
                </a:lnTo>
                <a:lnTo>
                  <a:pt x="4542" y="4152"/>
                </a:lnTo>
                <a:lnTo>
                  <a:pt x="4542" y="4136"/>
                </a:lnTo>
                <a:cubicBezTo>
                  <a:pt x="4558" y="4136"/>
                  <a:pt x="4558" y="4136"/>
                  <a:pt x="4558" y="4120"/>
                </a:cubicBezTo>
                <a:cubicBezTo>
                  <a:pt x="4669" y="3961"/>
                  <a:pt x="4701" y="3754"/>
                  <a:pt x="4654" y="3515"/>
                </a:cubicBezTo>
                <a:lnTo>
                  <a:pt x="4288" y="637"/>
                </a:lnTo>
                <a:cubicBezTo>
                  <a:pt x="4240" y="271"/>
                  <a:pt x="3922" y="0"/>
                  <a:pt x="3556" y="0"/>
                </a:cubicBezTo>
                <a:lnTo>
                  <a:pt x="1122" y="0"/>
                </a:lnTo>
                <a:cubicBezTo>
                  <a:pt x="756" y="0"/>
                  <a:pt x="438" y="271"/>
                  <a:pt x="375" y="637"/>
                </a:cubicBezTo>
                <a:lnTo>
                  <a:pt x="9" y="3515"/>
                </a:lnTo>
                <a:cubicBezTo>
                  <a:pt x="-23" y="3801"/>
                  <a:pt x="25" y="4024"/>
                  <a:pt x="168" y="4199"/>
                </a:cubicBezTo>
                <a:cubicBezTo>
                  <a:pt x="375" y="4422"/>
                  <a:pt x="709" y="4438"/>
                  <a:pt x="788" y="4438"/>
                </a:cubicBezTo>
                <a:close/>
                <a:moveTo>
                  <a:pt x="534" y="668"/>
                </a:moveTo>
                <a:cubicBezTo>
                  <a:pt x="582" y="366"/>
                  <a:pt x="836" y="159"/>
                  <a:pt x="1122" y="159"/>
                </a:cubicBezTo>
                <a:lnTo>
                  <a:pt x="3556" y="159"/>
                </a:lnTo>
                <a:cubicBezTo>
                  <a:pt x="3842" y="159"/>
                  <a:pt x="4097" y="366"/>
                  <a:pt x="4128" y="668"/>
                </a:cubicBezTo>
                <a:lnTo>
                  <a:pt x="4447" y="3165"/>
                </a:lnTo>
                <a:cubicBezTo>
                  <a:pt x="4272" y="2991"/>
                  <a:pt x="4017" y="2959"/>
                  <a:pt x="3874" y="2959"/>
                </a:cubicBezTo>
                <a:cubicBezTo>
                  <a:pt x="804" y="2959"/>
                  <a:pt x="1828" y="2959"/>
                  <a:pt x="804" y="2959"/>
                </a:cubicBezTo>
                <a:cubicBezTo>
                  <a:pt x="661" y="2959"/>
                  <a:pt x="407" y="2991"/>
                  <a:pt x="216" y="3165"/>
                </a:cubicBezTo>
                <a:close/>
                <a:moveTo>
                  <a:pt x="168" y="3595"/>
                </a:moveTo>
                <a:cubicBezTo>
                  <a:pt x="232" y="3102"/>
                  <a:pt x="773" y="3118"/>
                  <a:pt x="804" y="3118"/>
                </a:cubicBezTo>
                <a:lnTo>
                  <a:pt x="3874" y="3118"/>
                </a:lnTo>
                <a:cubicBezTo>
                  <a:pt x="3890" y="3118"/>
                  <a:pt x="4447" y="3102"/>
                  <a:pt x="4510" y="3595"/>
                </a:cubicBezTo>
                <a:cubicBezTo>
                  <a:pt x="4526" y="3770"/>
                  <a:pt x="4494" y="3929"/>
                  <a:pt x="4431" y="4040"/>
                </a:cubicBezTo>
                <a:lnTo>
                  <a:pt x="4415" y="4040"/>
                </a:lnTo>
                <a:lnTo>
                  <a:pt x="4415" y="4056"/>
                </a:lnTo>
                <a:lnTo>
                  <a:pt x="4399" y="4072"/>
                </a:lnTo>
                <a:lnTo>
                  <a:pt x="4399" y="4088"/>
                </a:lnTo>
                <a:cubicBezTo>
                  <a:pt x="4383" y="4088"/>
                  <a:pt x="4383" y="4088"/>
                  <a:pt x="4383" y="4104"/>
                </a:cubicBezTo>
                <a:cubicBezTo>
                  <a:pt x="4192" y="4295"/>
                  <a:pt x="4044" y="4221"/>
                  <a:pt x="3874" y="4279"/>
                </a:cubicBezTo>
                <a:cubicBezTo>
                  <a:pt x="804" y="4279"/>
                  <a:pt x="1828" y="4279"/>
                  <a:pt x="804" y="4279"/>
                </a:cubicBezTo>
                <a:cubicBezTo>
                  <a:pt x="635" y="4215"/>
                  <a:pt x="470" y="4295"/>
                  <a:pt x="295" y="4088"/>
                </a:cubicBezTo>
                <a:cubicBezTo>
                  <a:pt x="184" y="3977"/>
                  <a:pt x="152" y="3801"/>
                  <a:pt x="168" y="359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2" name="Freeform: Shape 14">
            <a:extLst>
              <a:ext uri="{FF2B5EF4-FFF2-40B4-BE49-F238E27FC236}">
                <a16:creationId xmlns:a16="http://schemas.microsoft.com/office/drawing/2014/main" id="{A2A45A88-CCCA-FB49-9212-DB54493369BE}"/>
              </a:ext>
            </a:extLst>
          </p:cNvPr>
          <p:cNvSpPr/>
          <p:nvPr/>
        </p:nvSpPr>
        <p:spPr>
          <a:xfrm>
            <a:off x="5971549" y="9856993"/>
            <a:ext cx="1681560" cy="1597320"/>
          </a:xfrm>
          <a:custGeom>
            <a:avLst/>
            <a:gdLst/>
            <a:ahLst/>
            <a:cxnLst>
              <a:cxn ang="3cd4">
                <a:pos x="hc" y="t"/>
              </a:cxn>
              <a:cxn ang="cd2">
                <a:pos x="l" y="vc"/>
              </a:cxn>
              <a:cxn ang="cd4">
                <a:pos x="hc" y="b"/>
              </a:cxn>
              <a:cxn ang="0">
                <a:pos x="r" y="vc"/>
              </a:cxn>
            </a:cxnLst>
            <a:rect l="l" t="t" r="r" b="b"/>
            <a:pathLst>
              <a:path w="4672" h="4438">
                <a:moveTo>
                  <a:pt x="2337" y="1336"/>
                </a:moveTo>
                <a:cubicBezTo>
                  <a:pt x="2385" y="1336"/>
                  <a:pt x="2417" y="1305"/>
                  <a:pt x="2417" y="1257"/>
                </a:cubicBezTo>
                <a:lnTo>
                  <a:pt x="2417" y="827"/>
                </a:lnTo>
                <a:cubicBezTo>
                  <a:pt x="2417" y="796"/>
                  <a:pt x="2385" y="748"/>
                  <a:pt x="2337" y="748"/>
                </a:cubicBezTo>
                <a:cubicBezTo>
                  <a:pt x="2289" y="748"/>
                  <a:pt x="2257" y="796"/>
                  <a:pt x="2257" y="827"/>
                </a:cubicBezTo>
                <a:lnTo>
                  <a:pt x="2257" y="1257"/>
                </a:lnTo>
                <a:cubicBezTo>
                  <a:pt x="2257" y="1305"/>
                  <a:pt x="2289" y="1336"/>
                  <a:pt x="2337" y="1336"/>
                </a:cubicBezTo>
                <a:close/>
                <a:moveTo>
                  <a:pt x="2337" y="2354"/>
                </a:moveTo>
                <a:cubicBezTo>
                  <a:pt x="2735" y="2354"/>
                  <a:pt x="3069" y="2020"/>
                  <a:pt x="3069" y="1623"/>
                </a:cubicBezTo>
                <a:cubicBezTo>
                  <a:pt x="3069" y="1352"/>
                  <a:pt x="2910" y="1097"/>
                  <a:pt x="2671" y="970"/>
                </a:cubicBezTo>
                <a:cubicBezTo>
                  <a:pt x="2639" y="954"/>
                  <a:pt x="2592" y="970"/>
                  <a:pt x="2560" y="1018"/>
                </a:cubicBezTo>
                <a:cubicBezTo>
                  <a:pt x="2544" y="1050"/>
                  <a:pt x="2560" y="1097"/>
                  <a:pt x="2607" y="1114"/>
                </a:cubicBezTo>
                <a:cubicBezTo>
                  <a:pt x="2783" y="1209"/>
                  <a:pt x="2910" y="1416"/>
                  <a:pt x="2910" y="1623"/>
                </a:cubicBezTo>
                <a:cubicBezTo>
                  <a:pt x="2910" y="1941"/>
                  <a:pt x="2655" y="2195"/>
                  <a:pt x="2337" y="2195"/>
                </a:cubicBezTo>
                <a:cubicBezTo>
                  <a:pt x="2019" y="2195"/>
                  <a:pt x="1765" y="1941"/>
                  <a:pt x="1765" y="1623"/>
                </a:cubicBezTo>
                <a:cubicBezTo>
                  <a:pt x="1765" y="1416"/>
                  <a:pt x="1892" y="1209"/>
                  <a:pt x="2083" y="1114"/>
                </a:cubicBezTo>
                <a:cubicBezTo>
                  <a:pt x="2114" y="1097"/>
                  <a:pt x="2130" y="1050"/>
                  <a:pt x="2114" y="1018"/>
                </a:cubicBezTo>
                <a:cubicBezTo>
                  <a:pt x="2083" y="970"/>
                  <a:pt x="2035" y="954"/>
                  <a:pt x="2003" y="970"/>
                </a:cubicBezTo>
                <a:cubicBezTo>
                  <a:pt x="1765" y="1097"/>
                  <a:pt x="1605" y="1352"/>
                  <a:pt x="1605" y="1623"/>
                </a:cubicBezTo>
                <a:cubicBezTo>
                  <a:pt x="1605" y="2020"/>
                  <a:pt x="1939" y="2354"/>
                  <a:pt x="2337" y="2354"/>
                </a:cubicBezTo>
                <a:close/>
                <a:moveTo>
                  <a:pt x="3864" y="3277"/>
                </a:moveTo>
                <a:cubicBezTo>
                  <a:pt x="3705" y="3277"/>
                  <a:pt x="3593" y="3388"/>
                  <a:pt x="3593" y="3547"/>
                </a:cubicBezTo>
                <a:cubicBezTo>
                  <a:pt x="3593" y="3706"/>
                  <a:pt x="3705" y="3833"/>
                  <a:pt x="3864" y="3833"/>
                </a:cubicBezTo>
                <a:cubicBezTo>
                  <a:pt x="4023" y="3833"/>
                  <a:pt x="4134" y="3706"/>
                  <a:pt x="4134" y="3547"/>
                </a:cubicBezTo>
                <a:cubicBezTo>
                  <a:pt x="4134" y="3388"/>
                  <a:pt x="4023" y="3277"/>
                  <a:pt x="3864" y="3277"/>
                </a:cubicBezTo>
                <a:close/>
                <a:moveTo>
                  <a:pt x="3864" y="3674"/>
                </a:moveTo>
                <a:cubicBezTo>
                  <a:pt x="3801" y="3674"/>
                  <a:pt x="3737" y="3611"/>
                  <a:pt x="3737" y="3547"/>
                </a:cubicBezTo>
                <a:cubicBezTo>
                  <a:pt x="3737" y="3484"/>
                  <a:pt x="3801" y="3436"/>
                  <a:pt x="3864" y="3436"/>
                </a:cubicBezTo>
                <a:cubicBezTo>
                  <a:pt x="3928" y="3436"/>
                  <a:pt x="3975" y="3484"/>
                  <a:pt x="3975" y="3547"/>
                </a:cubicBezTo>
                <a:cubicBezTo>
                  <a:pt x="3975" y="3611"/>
                  <a:pt x="3928" y="3674"/>
                  <a:pt x="3864" y="3674"/>
                </a:cubicBezTo>
                <a:close/>
                <a:moveTo>
                  <a:pt x="4294" y="636"/>
                </a:moveTo>
                <a:cubicBezTo>
                  <a:pt x="4247" y="270"/>
                  <a:pt x="3929" y="0"/>
                  <a:pt x="3563" y="0"/>
                </a:cubicBezTo>
                <a:lnTo>
                  <a:pt x="1129" y="0"/>
                </a:lnTo>
                <a:cubicBezTo>
                  <a:pt x="748" y="0"/>
                  <a:pt x="429" y="270"/>
                  <a:pt x="382" y="636"/>
                </a:cubicBezTo>
                <a:lnTo>
                  <a:pt x="16" y="3515"/>
                </a:lnTo>
                <a:cubicBezTo>
                  <a:pt x="-32" y="3802"/>
                  <a:pt x="31" y="4024"/>
                  <a:pt x="175" y="4199"/>
                </a:cubicBezTo>
                <a:cubicBezTo>
                  <a:pt x="382" y="4422"/>
                  <a:pt x="716" y="4438"/>
                  <a:pt x="795" y="4438"/>
                </a:cubicBezTo>
                <a:lnTo>
                  <a:pt x="811" y="4438"/>
                </a:lnTo>
                <a:lnTo>
                  <a:pt x="3865" y="4438"/>
                </a:lnTo>
                <a:cubicBezTo>
                  <a:pt x="3881" y="4438"/>
                  <a:pt x="4247" y="4454"/>
                  <a:pt x="4485" y="4215"/>
                </a:cubicBezTo>
                <a:lnTo>
                  <a:pt x="4501" y="4199"/>
                </a:lnTo>
                <a:cubicBezTo>
                  <a:pt x="4506" y="4194"/>
                  <a:pt x="4501" y="4183"/>
                  <a:pt x="4517" y="4183"/>
                </a:cubicBezTo>
                <a:lnTo>
                  <a:pt x="4533" y="4168"/>
                </a:lnTo>
                <a:lnTo>
                  <a:pt x="4533" y="4151"/>
                </a:lnTo>
                <a:cubicBezTo>
                  <a:pt x="4549" y="4151"/>
                  <a:pt x="4549" y="4151"/>
                  <a:pt x="4549" y="4136"/>
                </a:cubicBezTo>
                <a:cubicBezTo>
                  <a:pt x="4554" y="4131"/>
                  <a:pt x="4565" y="4136"/>
                  <a:pt x="4565" y="4120"/>
                </a:cubicBezTo>
                <a:cubicBezTo>
                  <a:pt x="4660" y="3960"/>
                  <a:pt x="4692" y="3754"/>
                  <a:pt x="4660" y="3515"/>
                </a:cubicBezTo>
                <a:close/>
                <a:moveTo>
                  <a:pt x="540" y="668"/>
                </a:moveTo>
                <a:cubicBezTo>
                  <a:pt x="573" y="366"/>
                  <a:pt x="827" y="159"/>
                  <a:pt x="1129" y="159"/>
                </a:cubicBezTo>
                <a:lnTo>
                  <a:pt x="3563" y="159"/>
                </a:lnTo>
                <a:cubicBezTo>
                  <a:pt x="3849" y="159"/>
                  <a:pt x="4103" y="366"/>
                  <a:pt x="4135" y="668"/>
                </a:cubicBezTo>
                <a:lnTo>
                  <a:pt x="4454" y="3165"/>
                </a:lnTo>
                <a:cubicBezTo>
                  <a:pt x="4278" y="2990"/>
                  <a:pt x="4024" y="2959"/>
                  <a:pt x="3865" y="2959"/>
                </a:cubicBezTo>
                <a:lnTo>
                  <a:pt x="811" y="2959"/>
                </a:lnTo>
                <a:cubicBezTo>
                  <a:pt x="652" y="2959"/>
                  <a:pt x="397" y="2990"/>
                  <a:pt x="222" y="3165"/>
                </a:cubicBezTo>
                <a:close/>
                <a:moveTo>
                  <a:pt x="4421" y="4040"/>
                </a:moveTo>
                <a:cubicBezTo>
                  <a:pt x="4421" y="4056"/>
                  <a:pt x="4421" y="4056"/>
                  <a:pt x="4406" y="4056"/>
                </a:cubicBezTo>
                <a:lnTo>
                  <a:pt x="4406" y="4072"/>
                </a:lnTo>
                <a:cubicBezTo>
                  <a:pt x="4401" y="4077"/>
                  <a:pt x="4390" y="4072"/>
                  <a:pt x="4390" y="4088"/>
                </a:cubicBezTo>
                <a:lnTo>
                  <a:pt x="4374" y="4104"/>
                </a:lnTo>
                <a:cubicBezTo>
                  <a:pt x="4183" y="4295"/>
                  <a:pt x="3881" y="4279"/>
                  <a:pt x="3865" y="4279"/>
                </a:cubicBezTo>
                <a:lnTo>
                  <a:pt x="811" y="4279"/>
                </a:lnTo>
                <a:cubicBezTo>
                  <a:pt x="795" y="4279"/>
                  <a:pt x="477" y="4295"/>
                  <a:pt x="286" y="4088"/>
                </a:cubicBezTo>
                <a:cubicBezTo>
                  <a:pt x="191" y="3977"/>
                  <a:pt x="143" y="3802"/>
                  <a:pt x="175" y="3595"/>
                </a:cubicBezTo>
                <a:cubicBezTo>
                  <a:pt x="239" y="3102"/>
                  <a:pt x="779" y="3118"/>
                  <a:pt x="811" y="3118"/>
                </a:cubicBezTo>
                <a:lnTo>
                  <a:pt x="3881" y="3118"/>
                </a:lnTo>
                <a:cubicBezTo>
                  <a:pt x="3897" y="3118"/>
                  <a:pt x="4438" y="3102"/>
                  <a:pt x="4517" y="3595"/>
                </a:cubicBezTo>
                <a:cubicBezTo>
                  <a:pt x="4533" y="3770"/>
                  <a:pt x="4501" y="3929"/>
                  <a:pt x="4421" y="40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3" name="Freeform: Shape 15">
            <a:extLst>
              <a:ext uri="{FF2B5EF4-FFF2-40B4-BE49-F238E27FC236}">
                <a16:creationId xmlns:a16="http://schemas.microsoft.com/office/drawing/2014/main" id="{96E5BFE8-E7A6-614A-B533-4402E3CCD9CE}"/>
              </a:ext>
            </a:extLst>
          </p:cNvPr>
          <p:cNvSpPr/>
          <p:nvPr/>
        </p:nvSpPr>
        <p:spPr>
          <a:xfrm>
            <a:off x="17436810" y="9856993"/>
            <a:ext cx="1684440" cy="1597320"/>
          </a:xfrm>
          <a:custGeom>
            <a:avLst/>
            <a:gdLst/>
            <a:ahLst/>
            <a:cxnLst>
              <a:cxn ang="3cd4">
                <a:pos x="hc" y="t"/>
              </a:cxn>
              <a:cxn ang="cd2">
                <a:pos x="l" y="vc"/>
              </a:cxn>
              <a:cxn ang="cd4">
                <a:pos x="hc" y="b"/>
              </a:cxn>
              <a:cxn ang="0">
                <a:pos x="r" y="vc"/>
              </a:cxn>
            </a:cxnLst>
            <a:rect l="l" t="t" r="r" b="b"/>
            <a:pathLst>
              <a:path w="4680" h="4438">
                <a:moveTo>
                  <a:pt x="1288" y="2466"/>
                </a:moveTo>
                <a:lnTo>
                  <a:pt x="1892" y="2466"/>
                </a:lnTo>
                <a:cubicBezTo>
                  <a:pt x="1924" y="2466"/>
                  <a:pt x="1972" y="2418"/>
                  <a:pt x="1972" y="2386"/>
                </a:cubicBezTo>
                <a:lnTo>
                  <a:pt x="1972" y="2306"/>
                </a:lnTo>
                <a:lnTo>
                  <a:pt x="2719" y="2306"/>
                </a:lnTo>
                <a:lnTo>
                  <a:pt x="2719" y="2386"/>
                </a:lnTo>
                <a:cubicBezTo>
                  <a:pt x="2719" y="2418"/>
                  <a:pt x="2751" y="2466"/>
                  <a:pt x="2799" y="2466"/>
                </a:cubicBezTo>
                <a:lnTo>
                  <a:pt x="3403" y="2466"/>
                </a:lnTo>
                <a:cubicBezTo>
                  <a:pt x="3435" y="2466"/>
                  <a:pt x="3483" y="2418"/>
                  <a:pt x="3483" y="2386"/>
                </a:cubicBezTo>
                <a:lnTo>
                  <a:pt x="3483" y="1782"/>
                </a:lnTo>
                <a:cubicBezTo>
                  <a:pt x="3483" y="1734"/>
                  <a:pt x="3435" y="1702"/>
                  <a:pt x="3403" y="1702"/>
                </a:cubicBezTo>
                <a:lnTo>
                  <a:pt x="3021" y="1702"/>
                </a:lnTo>
                <a:lnTo>
                  <a:pt x="2703" y="1368"/>
                </a:lnTo>
                <a:cubicBezTo>
                  <a:pt x="2719" y="1352"/>
                  <a:pt x="2719" y="1336"/>
                  <a:pt x="2719" y="1320"/>
                </a:cubicBezTo>
                <a:lnTo>
                  <a:pt x="2719" y="716"/>
                </a:lnTo>
                <a:cubicBezTo>
                  <a:pt x="2719" y="684"/>
                  <a:pt x="2687" y="636"/>
                  <a:pt x="2640" y="636"/>
                </a:cubicBezTo>
                <a:lnTo>
                  <a:pt x="2035" y="636"/>
                </a:lnTo>
                <a:cubicBezTo>
                  <a:pt x="1988" y="636"/>
                  <a:pt x="1956" y="684"/>
                  <a:pt x="1956" y="716"/>
                </a:cubicBezTo>
                <a:lnTo>
                  <a:pt x="1956" y="1320"/>
                </a:lnTo>
                <a:cubicBezTo>
                  <a:pt x="1956" y="1352"/>
                  <a:pt x="1988" y="1384"/>
                  <a:pt x="2003" y="1400"/>
                </a:cubicBezTo>
                <a:lnTo>
                  <a:pt x="1733" y="1702"/>
                </a:lnTo>
                <a:lnTo>
                  <a:pt x="1288" y="1702"/>
                </a:lnTo>
                <a:cubicBezTo>
                  <a:pt x="1240" y="1702"/>
                  <a:pt x="1208" y="1734"/>
                  <a:pt x="1208" y="1782"/>
                </a:cubicBezTo>
                <a:lnTo>
                  <a:pt x="1208" y="2386"/>
                </a:lnTo>
                <a:cubicBezTo>
                  <a:pt x="1208" y="2418"/>
                  <a:pt x="1240" y="2466"/>
                  <a:pt x="1288" y="2466"/>
                </a:cubicBezTo>
                <a:close/>
                <a:moveTo>
                  <a:pt x="2878" y="1861"/>
                </a:moveTo>
                <a:lnTo>
                  <a:pt x="3324" y="1861"/>
                </a:lnTo>
                <a:lnTo>
                  <a:pt x="3324" y="2306"/>
                </a:lnTo>
                <a:lnTo>
                  <a:pt x="2878" y="2306"/>
                </a:lnTo>
                <a:close/>
                <a:moveTo>
                  <a:pt x="2115" y="796"/>
                </a:moveTo>
                <a:lnTo>
                  <a:pt x="2560" y="796"/>
                </a:lnTo>
                <a:lnTo>
                  <a:pt x="2560" y="1241"/>
                </a:lnTo>
                <a:lnTo>
                  <a:pt x="2194" y="1241"/>
                </a:lnTo>
                <a:lnTo>
                  <a:pt x="2178" y="1241"/>
                </a:lnTo>
                <a:lnTo>
                  <a:pt x="2115" y="1241"/>
                </a:lnTo>
                <a:close/>
                <a:moveTo>
                  <a:pt x="2226" y="1400"/>
                </a:moveTo>
                <a:lnTo>
                  <a:pt x="2529" y="1400"/>
                </a:lnTo>
                <a:lnTo>
                  <a:pt x="2799" y="1702"/>
                </a:lnTo>
                <a:cubicBezTo>
                  <a:pt x="2751" y="1702"/>
                  <a:pt x="2719" y="1734"/>
                  <a:pt x="2719" y="1782"/>
                </a:cubicBezTo>
                <a:lnTo>
                  <a:pt x="2719" y="2147"/>
                </a:lnTo>
                <a:lnTo>
                  <a:pt x="1972" y="2147"/>
                </a:lnTo>
                <a:lnTo>
                  <a:pt x="1972" y="1782"/>
                </a:lnTo>
                <a:cubicBezTo>
                  <a:pt x="1972" y="1750"/>
                  <a:pt x="1956" y="1718"/>
                  <a:pt x="1940" y="1718"/>
                </a:cubicBezTo>
                <a:close/>
                <a:moveTo>
                  <a:pt x="1367" y="1861"/>
                </a:moveTo>
                <a:lnTo>
                  <a:pt x="1812" y="1861"/>
                </a:lnTo>
                <a:lnTo>
                  <a:pt x="1812" y="2306"/>
                </a:lnTo>
                <a:lnTo>
                  <a:pt x="1367" y="2306"/>
                </a:lnTo>
                <a:close/>
                <a:moveTo>
                  <a:pt x="3865" y="3277"/>
                </a:moveTo>
                <a:cubicBezTo>
                  <a:pt x="3705" y="3277"/>
                  <a:pt x="3594" y="3388"/>
                  <a:pt x="3594" y="3547"/>
                </a:cubicBezTo>
                <a:cubicBezTo>
                  <a:pt x="3594" y="3706"/>
                  <a:pt x="3705" y="3833"/>
                  <a:pt x="3865" y="3833"/>
                </a:cubicBezTo>
                <a:cubicBezTo>
                  <a:pt x="4023" y="3833"/>
                  <a:pt x="4151" y="3706"/>
                  <a:pt x="4151" y="3547"/>
                </a:cubicBezTo>
                <a:cubicBezTo>
                  <a:pt x="4151" y="3388"/>
                  <a:pt x="4023" y="3277"/>
                  <a:pt x="3865" y="3277"/>
                </a:cubicBezTo>
                <a:close/>
                <a:moveTo>
                  <a:pt x="3865" y="3674"/>
                </a:moveTo>
                <a:cubicBezTo>
                  <a:pt x="3801" y="3674"/>
                  <a:pt x="3753" y="3611"/>
                  <a:pt x="3753" y="3547"/>
                </a:cubicBezTo>
                <a:cubicBezTo>
                  <a:pt x="3753" y="3484"/>
                  <a:pt x="3801" y="3436"/>
                  <a:pt x="3865" y="3436"/>
                </a:cubicBezTo>
                <a:cubicBezTo>
                  <a:pt x="3928" y="3436"/>
                  <a:pt x="3992" y="3484"/>
                  <a:pt x="3992" y="3547"/>
                </a:cubicBezTo>
                <a:cubicBezTo>
                  <a:pt x="3992" y="3611"/>
                  <a:pt x="3928" y="3674"/>
                  <a:pt x="3865" y="3674"/>
                </a:cubicBezTo>
                <a:close/>
                <a:moveTo>
                  <a:pt x="4295" y="636"/>
                </a:moveTo>
                <a:cubicBezTo>
                  <a:pt x="4247" y="270"/>
                  <a:pt x="3929" y="0"/>
                  <a:pt x="3563" y="0"/>
                </a:cubicBezTo>
                <a:lnTo>
                  <a:pt x="1130" y="0"/>
                </a:lnTo>
                <a:cubicBezTo>
                  <a:pt x="748" y="0"/>
                  <a:pt x="430" y="270"/>
                  <a:pt x="382" y="636"/>
                </a:cubicBezTo>
                <a:lnTo>
                  <a:pt x="16" y="3515"/>
                </a:lnTo>
                <a:cubicBezTo>
                  <a:pt x="-32" y="3802"/>
                  <a:pt x="32" y="4024"/>
                  <a:pt x="176" y="4199"/>
                </a:cubicBezTo>
                <a:cubicBezTo>
                  <a:pt x="382" y="4422"/>
                  <a:pt x="716" y="4438"/>
                  <a:pt x="795" y="4438"/>
                </a:cubicBezTo>
                <a:lnTo>
                  <a:pt x="812" y="4438"/>
                </a:lnTo>
                <a:lnTo>
                  <a:pt x="3866" y="4438"/>
                </a:lnTo>
                <a:cubicBezTo>
                  <a:pt x="3881" y="4438"/>
                  <a:pt x="4247" y="4454"/>
                  <a:pt x="4486" y="4215"/>
                </a:cubicBezTo>
                <a:cubicBezTo>
                  <a:pt x="4502" y="4215"/>
                  <a:pt x="4496" y="4204"/>
                  <a:pt x="4502" y="4199"/>
                </a:cubicBezTo>
                <a:cubicBezTo>
                  <a:pt x="4518" y="4199"/>
                  <a:pt x="4512" y="4188"/>
                  <a:pt x="4518" y="4183"/>
                </a:cubicBezTo>
                <a:lnTo>
                  <a:pt x="4533" y="4168"/>
                </a:lnTo>
                <a:lnTo>
                  <a:pt x="4533" y="4151"/>
                </a:lnTo>
                <a:cubicBezTo>
                  <a:pt x="4549" y="4151"/>
                  <a:pt x="4549" y="4151"/>
                  <a:pt x="4549" y="4136"/>
                </a:cubicBezTo>
                <a:cubicBezTo>
                  <a:pt x="4554" y="4131"/>
                  <a:pt x="4566" y="4136"/>
                  <a:pt x="4566" y="4120"/>
                </a:cubicBezTo>
                <a:cubicBezTo>
                  <a:pt x="4661" y="3960"/>
                  <a:pt x="4709" y="3754"/>
                  <a:pt x="4661" y="3515"/>
                </a:cubicBezTo>
                <a:close/>
                <a:moveTo>
                  <a:pt x="541" y="668"/>
                </a:moveTo>
                <a:cubicBezTo>
                  <a:pt x="589" y="366"/>
                  <a:pt x="828" y="159"/>
                  <a:pt x="1130" y="159"/>
                </a:cubicBezTo>
                <a:lnTo>
                  <a:pt x="3563" y="159"/>
                </a:lnTo>
                <a:cubicBezTo>
                  <a:pt x="3849" y="159"/>
                  <a:pt x="4104" y="366"/>
                  <a:pt x="4136" y="668"/>
                </a:cubicBezTo>
                <a:lnTo>
                  <a:pt x="4454" y="3165"/>
                </a:lnTo>
                <a:cubicBezTo>
                  <a:pt x="4279" y="2990"/>
                  <a:pt x="4024" y="2959"/>
                  <a:pt x="3881" y="2959"/>
                </a:cubicBezTo>
                <a:lnTo>
                  <a:pt x="812" y="2959"/>
                </a:lnTo>
                <a:cubicBezTo>
                  <a:pt x="652" y="2959"/>
                  <a:pt x="414" y="2990"/>
                  <a:pt x="223" y="3165"/>
                </a:cubicBezTo>
                <a:close/>
                <a:moveTo>
                  <a:pt x="4438" y="4040"/>
                </a:moveTo>
                <a:lnTo>
                  <a:pt x="4422" y="4040"/>
                </a:lnTo>
                <a:cubicBezTo>
                  <a:pt x="4422" y="4056"/>
                  <a:pt x="4422" y="4056"/>
                  <a:pt x="4406" y="4056"/>
                </a:cubicBezTo>
                <a:lnTo>
                  <a:pt x="4406" y="4072"/>
                </a:lnTo>
                <a:lnTo>
                  <a:pt x="4390" y="4088"/>
                </a:lnTo>
                <a:lnTo>
                  <a:pt x="4375" y="4104"/>
                </a:lnTo>
                <a:cubicBezTo>
                  <a:pt x="4200" y="4295"/>
                  <a:pt x="4045" y="4221"/>
                  <a:pt x="3881" y="4279"/>
                </a:cubicBezTo>
                <a:lnTo>
                  <a:pt x="812" y="4279"/>
                </a:lnTo>
                <a:cubicBezTo>
                  <a:pt x="636" y="4215"/>
                  <a:pt x="477" y="4295"/>
                  <a:pt x="286" y="4088"/>
                </a:cubicBezTo>
                <a:cubicBezTo>
                  <a:pt x="191" y="3977"/>
                  <a:pt x="143" y="3802"/>
                  <a:pt x="176" y="3595"/>
                </a:cubicBezTo>
                <a:cubicBezTo>
                  <a:pt x="239" y="3102"/>
                  <a:pt x="780" y="3118"/>
                  <a:pt x="812" y="3118"/>
                </a:cubicBezTo>
                <a:lnTo>
                  <a:pt x="3881" y="3118"/>
                </a:lnTo>
                <a:cubicBezTo>
                  <a:pt x="3897" y="3118"/>
                  <a:pt x="4438" y="3102"/>
                  <a:pt x="4518" y="3595"/>
                </a:cubicBezTo>
                <a:cubicBezTo>
                  <a:pt x="4533" y="3770"/>
                  <a:pt x="4502" y="3929"/>
                  <a:pt x="4438" y="40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4" name="Freeform: Shape 16">
            <a:extLst>
              <a:ext uri="{FF2B5EF4-FFF2-40B4-BE49-F238E27FC236}">
                <a16:creationId xmlns:a16="http://schemas.microsoft.com/office/drawing/2014/main" id="{38EE1C16-7D66-A446-983F-00DCCB091607}"/>
              </a:ext>
            </a:extLst>
          </p:cNvPr>
          <p:cNvSpPr/>
          <p:nvPr/>
        </p:nvSpPr>
        <p:spPr>
          <a:xfrm>
            <a:off x="17438250" y="6491290"/>
            <a:ext cx="1681560" cy="1597320"/>
          </a:xfrm>
          <a:custGeom>
            <a:avLst/>
            <a:gdLst/>
            <a:ahLst/>
            <a:cxnLst>
              <a:cxn ang="3cd4">
                <a:pos x="hc" y="t"/>
              </a:cxn>
              <a:cxn ang="cd2">
                <a:pos x="l" y="vc"/>
              </a:cxn>
              <a:cxn ang="cd4">
                <a:pos x="hc" y="b"/>
              </a:cxn>
              <a:cxn ang="0">
                <a:pos x="r" y="vc"/>
              </a:cxn>
            </a:cxnLst>
            <a:rect l="l" t="t" r="r" b="b"/>
            <a:pathLst>
              <a:path w="4672" h="4438">
                <a:moveTo>
                  <a:pt x="3865" y="3834"/>
                </a:moveTo>
                <a:cubicBezTo>
                  <a:pt x="4024" y="3834"/>
                  <a:pt x="4151" y="3706"/>
                  <a:pt x="4151" y="3547"/>
                </a:cubicBezTo>
                <a:cubicBezTo>
                  <a:pt x="4151" y="3388"/>
                  <a:pt x="4024" y="3277"/>
                  <a:pt x="3865" y="3277"/>
                </a:cubicBezTo>
                <a:cubicBezTo>
                  <a:pt x="3706" y="3277"/>
                  <a:pt x="3595" y="3388"/>
                  <a:pt x="3595" y="3547"/>
                </a:cubicBezTo>
                <a:cubicBezTo>
                  <a:pt x="3595" y="3706"/>
                  <a:pt x="3706" y="3834"/>
                  <a:pt x="3865" y="3834"/>
                </a:cubicBezTo>
                <a:close/>
                <a:moveTo>
                  <a:pt x="3865" y="3436"/>
                </a:moveTo>
                <a:cubicBezTo>
                  <a:pt x="3929" y="3436"/>
                  <a:pt x="3992" y="3483"/>
                  <a:pt x="3992" y="3547"/>
                </a:cubicBezTo>
                <a:cubicBezTo>
                  <a:pt x="3992" y="3611"/>
                  <a:pt x="3929" y="3674"/>
                  <a:pt x="3865" y="3674"/>
                </a:cubicBezTo>
                <a:cubicBezTo>
                  <a:pt x="3801" y="3674"/>
                  <a:pt x="3754" y="3611"/>
                  <a:pt x="3754" y="3547"/>
                </a:cubicBezTo>
                <a:cubicBezTo>
                  <a:pt x="3754" y="3483"/>
                  <a:pt x="3801" y="3436"/>
                  <a:pt x="3865" y="3436"/>
                </a:cubicBezTo>
                <a:close/>
                <a:moveTo>
                  <a:pt x="795" y="4438"/>
                </a:moveTo>
                <a:lnTo>
                  <a:pt x="811" y="4438"/>
                </a:lnTo>
                <a:lnTo>
                  <a:pt x="3865" y="4438"/>
                </a:lnTo>
                <a:cubicBezTo>
                  <a:pt x="3881" y="4438"/>
                  <a:pt x="4231" y="4454"/>
                  <a:pt x="4453" y="4247"/>
                </a:cubicBezTo>
                <a:lnTo>
                  <a:pt x="4469" y="4231"/>
                </a:lnTo>
                <a:lnTo>
                  <a:pt x="4486" y="4215"/>
                </a:lnTo>
                <a:cubicBezTo>
                  <a:pt x="4501" y="4215"/>
                  <a:pt x="4496" y="4204"/>
                  <a:pt x="4501" y="4199"/>
                </a:cubicBezTo>
                <a:lnTo>
                  <a:pt x="4517" y="4183"/>
                </a:lnTo>
                <a:cubicBezTo>
                  <a:pt x="4522" y="4178"/>
                  <a:pt x="4517" y="4167"/>
                  <a:pt x="4533" y="4167"/>
                </a:cubicBezTo>
                <a:lnTo>
                  <a:pt x="4533" y="4152"/>
                </a:lnTo>
                <a:cubicBezTo>
                  <a:pt x="4549" y="4152"/>
                  <a:pt x="4549" y="4152"/>
                  <a:pt x="4549" y="4136"/>
                </a:cubicBezTo>
                <a:cubicBezTo>
                  <a:pt x="4554" y="4131"/>
                  <a:pt x="4565" y="4136"/>
                  <a:pt x="4565" y="4120"/>
                </a:cubicBezTo>
                <a:cubicBezTo>
                  <a:pt x="4660" y="3961"/>
                  <a:pt x="4692" y="3754"/>
                  <a:pt x="4660" y="3515"/>
                </a:cubicBezTo>
                <a:lnTo>
                  <a:pt x="4295" y="637"/>
                </a:lnTo>
                <a:cubicBezTo>
                  <a:pt x="4247" y="271"/>
                  <a:pt x="3929" y="0"/>
                  <a:pt x="3563" y="0"/>
                </a:cubicBezTo>
                <a:lnTo>
                  <a:pt x="1129" y="0"/>
                </a:lnTo>
                <a:cubicBezTo>
                  <a:pt x="748" y="0"/>
                  <a:pt x="429" y="271"/>
                  <a:pt x="382" y="637"/>
                </a:cubicBezTo>
                <a:lnTo>
                  <a:pt x="16" y="3515"/>
                </a:lnTo>
                <a:cubicBezTo>
                  <a:pt x="-32" y="3801"/>
                  <a:pt x="32" y="4024"/>
                  <a:pt x="175" y="4199"/>
                </a:cubicBezTo>
                <a:cubicBezTo>
                  <a:pt x="382" y="4422"/>
                  <a:pt x="715" y="4438"/>
                  <a:pt x="795" y="4438"/>
                </a:cubicBezTo>
                <a:close/>
                <a:moveTo>
                  <a:pt x="541" y="668"/>
                </a:moveTo>
                <a:cubicBezTo>
                  <a:pt x="588" y="366"/>
                  <a:pt x="827" y="159"/>
                  <a:pt x="1129" y="159"/>
                </a:cubicBezTo>
                <a:lnTo>
                  <a:pt x="3563" y="159"/>
                </a:lnTo>
                <a:cubicBezTo>
                  <a:pt x="3849" y="159"/>
                  <a:pt x="4104" y="366"/>
                  <a:pt x="4135" y="668"/>
                </a:cubicBezTo>
                <a:lnTo>
                  <a:pt x="4453" y="3165"/>
                </a:lnTo>
                <a:cubicBezTo>
                  <a:pt x="4278" y="2991"/>
                  <a:pt x="4024" y="2959"/>
                  <a:pt x="3865" y="2959"/>
                </a:cubicBezTo>
                <a:lnTo>
                  <a:pt x="811" y="2959"/>
                </a:lnTo>
                <a:cubicBezTo>
                  <a:pt x="652" y="2959"/>
                  <a:pt x="397" y="2991"/>
                  <a:pt x="223" y="3165"/>
                </a:cubicBezTo>
                <a:close/>
                <a:moveTo>
                  <a:pt x="175" y="3595"/>
                </a:moveTo>
                <a:cubicBezTo>
                  <a:pt x="239" y="3102"/>
                  <a:pt x="779" y="3118"/>
                  <a:pt x="811" y="3118"/>
                </a:cubicBezTo>
                <a:lnTo>
                  <a:pt x="3881" y="3118"/>
                </a:lnTo>
                <a:cubicBezTo>
                  <a:pt x="3897" y="3118"/>
                  <a:pt x="4438" y="3102"/>
                  <a:pt x="4517" y="3595"/>
                </a:cubicBezTo>
                <a:cubicBezTo>
                  <a:pt x="4533" y="3770"/>
                  <a:pt x="4501" y="3929"/>
                  <a:pt x="4438" y="4040"/>
                </a:cubicBezTo>
                <a:lnTo>
                  <a:pt x="4422" y="4040"/>
                </a:lnTo>
                <a:cubicBezTo>
                  <a:pt x="4422" y="4056"/>
                  <a:pt x="4422" y="4056"/>
                  <a:pt x="4406" y="4056"/>
                </a:cubicBezTo>
                <a:lnTo>
                  <a:pt x="4406" y="4072"/>
                </a:lnTo>
                <a:cubicBezTo>
                  <a:pt x="4400" y="4077"/>
                  <a:pt x="4390" y="4072"/>
                  <a:pt x="4390" y="4088"/>
                </a:cubicBezTo>
                <a:lnTo>
                  <a:pt x="4374" y="4104"/>
                </a:lnTo>
                <a:cubicBezTo>
                  <a:pt x="4199" y="4295"/>
                  <a:pt x="3881" y="4279"/>
                  <a:pt x="3865" y="4279"/>
                </a:cubicBezTo>
                <a:lnTo>
                  <a:pt x="811" y="4279"/>
                </a:lnTo>
                <a:cubicBezTo>
                  <a:pt x="795" y="4279"/>
                  <a:pt x="477" y="4295"/>
                  <a:pt x="286" y="4088"/>
                </a:cubicBezTo>
                <a:cubicBezTo>
                  <a:pt x="191" y="3977"/>
                  <a:pt x="143" y="3801"/>
                  <a:pt x="175" y="3595"/>
                </a:cubicBezTo>
                <a:close/>
                <a:moveTo>
                  <a:pt x="1560" y="1909"/>
                </a:moveTo>
                <a:lnTo>
                  <a:pt x="2307" y="2482"/>
                </a:lnTo>
                <a:cubicBezTo>
                  <a:pt x="2323" y="2482"/>
                  <a:pt x="2339" y="2497"/>
                  <a:pt x="2355" y="2497"/>
                </a:cubicBezTo>
                <a:cubicBezTo>
                  <a:pt x="2371" y="2497"/>
                  <a:pt x="2387" y="2482"/>
                  <a:pt x="2403" y="2482"/>
                </a:cubicBezTo>
                <a:lnTo>
                  <a:pt x="3118" y="1909"/>
                </a:lnTo>
                <a:cubicBezTo>
                  <a:pt x="3150" y="1877"/>
                  <a:pt x="3166" y="1829"/>
                  <a:pt x="3134" y="1798"/>
                </a:cubicBezTo>
                <a:cubicBezTo>
                  <a:pt x="3103" y="1750"/>
                  <a:pt x="3055" y="1750"/>
                  <a:pt x="3023" y="1782"/>
                </a:cubicBezTo>
                <a:lnTo>
                  <a:pt x="2419" y="2259"/>
                </a:lnTo>
                <a:lnTo>
                  <a:pt x="2419" y="748"/>
                </a:lnTo>
                <a:cubicBezTo>
                  <a:pt x="2419" y="700"/>
                  <a:pt x="2387" y="668"/>
                  <a:pt x="2339" y="668"/>
                </a:cubicBezTo>
                <a:cubicBezTo>
                  <a:pt x="2291" y="668"/>
                  <a:pt x="2260" y="700"/>
                  <a:pt x="2260" y="748"/>
                </a:cubicBezTo>
                <a:lnTo>
                  <a:pt x="2260" y="2243"/>
                </a:lnTo>
                <a:lnTo>
                  <a:pt x="1655" y="1782"/>
                </a:lnTo>
                <a:cubicBezTo>
                  <a:pt x="1623" y="1750"/>
                  <a:pt x="1576" y="1766"/>
                  <a:pt x="1544" y="1798"/>
                </a:cubicBezTo>
                <a:cubicBezTo>
                  <a:pt x="1528" y="1829"/>
                  <a:pt x="1528" y="1877"/>
                  <a:pt x="1560" y="19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5" name="Freeform: Shape 17">
            <a:extLst>
              <a:ext uri="{FF2B5EF4-FFF2-40B4-BE49-F238E27FC236}">
                <a16:creationId xmlns:a16="http://schemas.microsoft.com/office/drawing/2014/main" id="{44C9CA8F-4D75-D74B-AC89-F35AA44D713D}"/>
              </a:ext>
            </a:extLst>
          </p:cNvPr>
          <p:cNvSpPr/>
          <p:nvPr/>
        </p:nvSpPr>
        <p:spPr>
          <a:xfrm>
            <a:off x="21296026" y="6491290"/>
            <a:ext cx="1682280" cy="1597320"/>
          </a:xfrm>
          <a:custGeom>
            <a:avLst/>
            <a:gdLst/>
            <a:ahLst/>
            <a:cxnLst>
              <a:cxn ang="3cd4">
                <a:pos x="hc" y="t"/>
              </a:cxn>
              <a:cxn ang="cd2">
                <a:pos x="l" y="vc"/>
              </a:cxn>
              <a:cxn ang="cd4">
                <a:pos x="hc" y="b"/>
              </a:cxn>
              <a:cxn ang="0">
                <a:pos x="r" y="vc"/>
              </a:cxn>
            </a:cxnLst>
            <a:rect l="l" t="t" r="r" b="b"/>
            <a:pathLst>
              <a:path w="4674" h="4438">
                <a:moveTo>
                  <a:pt x="1608" y="1384"/>
                </a:moveTo>
                <a:cubicBezTo>
                  <a:pt x="1624" y="1384"/>
                  <a:pt x="1640" y="1384"/>
                  <a:pt x="1656" y="1368"/>
                </a:cubicBezTo>
                <a:lnTo>
                  <a:pt x="2260" y="907"/>
                </a:lnTo>
                <a:lnTo>
                  <a:pt x="2260" y="2402"/>
                </a:lnTo>
                <a:cubicBezTo>
                  <a:pt x="2260" y="2434"/>
                  <a:pt x="2292" y="2482"/>
                  <a:pt x="2340" y="2482"/>
                </a:cubicBezTo>
                <a:cubicBezTo>
                  <a:pt x="2387" y="2482"/>
                  <a:pt x="2419" y="2434"/>
                  <a:pt x="2419" y="2402"/>
                </a:cubicBezTo>
                <a:lnTo>
                  <a:pt x="2419" y="891"/>
                </a:lnTo>
                <a:lnTo>
                  <a:pt x="3024" y="1368"/>
                </a:lnTo>
                <a:cubicBezTo>
                  <a:pt x="3056" y="1400"/>
                  <a:pt x="3104" y="1384"/>
                  <a:pt x="3135" y="1352"/>
                </a:cubicBezTo>
                <a:cubicBezTo>
                  <a:pt x="3151" y="1320"/>
                  <a:pt x="3151" y="1273"/>
                  <a:pt x="3119" y="1241"/>
                </a:cubicBezTo>
                <a:lnTo>
                  <a:pt x="2404" y="668"/>
                </a:lnTo>
                <a:cubicBezTo>
                  <a:pt x="2372" y="652"/>
                  <a:pt x="2324" y="652"/>
                  <a:pt x="2308" y="668"/>
                </a:cubicBezTo>
                <a:lnTo>
                  <a:pt x="1560" y="1241"/>
                </a:lnTo>
                <a:cubicBezTo>
                  <a:pt x="1529" y="1273"/>
                  <a:pt x="1513" y="1320"/>
                  <a:pt x="1545" y="1352"/>
                </a:cubicBezTo>
                <a:cubicBezTo>
                  <a:pt x="1560" y="1368"/>
                  <a:pt x="1577" y="1384"/>
                  <a:pt x="1608" y="1384"/>
                </a:cubicBezTo>
                <a:close/>
                <a:moveTo>
                  <a:pt x="3867" y="3277"/>
                </a:moveTo>
                <a:cubicBezTo>
                  <a:pt x="3708" y="3277"/>
                  <a:pt x="3580" y="3388"/>
                  <a:pt x="3580" y="3547"/>
                </a:cubicBezTo>
                <a:cubicBezTo>
                  <a:pt x="3580" y="3706"/>
                  <a:pt x="3708" y="3834"/>
                  <a:pt x="3867" y="3834"/>
                </a:cubicBezTo>
                <a:cubicBezTo>
                  <a:pt x="4010" y="3834"/>
                  <a:pt x="4137" y="3706"/>
                  <a:pt x="4137" y="3547"/>
                </a:cubicBezTo>
                <a:cubicBezTo>
                  <a:pt x="4137" y="3388"/>
                  <a:pt x="4010" y="3277"/>
                  <a:pt x="3867" y="3277"/>
                </a:cubicBezTo>
                <a:close/>
                <a:moveTo>
                  <a:pt x="3867" y="3674"/>
                </a:moveTo>
                <a:cubicBezTo>
                  <a:pt x="3803" y="3674"/>
                  <a:pt x="3740" y="3611"/>
                  <a:pt x="3740" y="3547"/>
                </a:cubicBezTo>
                <a:cubicBezTo>
                  <a:pt x="3740" y="3483"/>
                  <a:pt x="3803" y="3436"/>
                  <a:pt x="3867" y="3436"/>
                </a:cubicBezTo>
                <a:cubicBezTo>
                  <a:pt x="3931" y="3436"/>
                  <a:pt x="3978" y="3483"/>
                  <a:pt x="3978" y="3547"/>
                </a:cubicBezTo>
                <a:cubicBezTo>
                  <a:pt x="3978" y="3611"/>
                  <a:pt x="3931" y="3674"/>
                  <a:pt x="3867" y="3674"/>
                </a:cubicBezTo>
                <a:close/>
                <a:moveTo>
                  <a:pt x="4296" y="637"/>
                </a:moveTo>
                <a:cubicBezTo>
                  <a:pt x="4249" y="271"/>
                  <a:pt x="3931" y="0"/>
                  <a:pt x="3549" y="0"/>
                </a:cubicBezTo>
                <a:lnTo>
                  <a:pt x="1115" y="0"/>
                </a:lnTo>
                <a:cubicBezTo>
                  <a:pt x="749" y="0"/>
                  <a:pt x="431" y="271"/>
                  <a:pt x="384" y="637"/>
                </a:cubicBezTo>
                <a:lnTo>
                  <a:pt x="18" y="3515"/>
                </a:lnTo>
                <a:cubicBezTo>
                  <a:pt x="-30" y="3801"/>
                  <a:pt x="18" y="4024"/>
                  <a:pt x="177" y="4199"/>
                </a:cubicBezTo>
                <a:cubicBezTo>
                  <a:pt x="384" y="4422"/>
                  <a:pt x="717" y="4438"/>
                  <a:pt x="797" y="4438"/>
                </a:cubicBezTo>
                <a:lnTo>
                  <a:pt x="813" y="4438"/>
                </a:lnTo>
                <a:lnTo>
                  <a:pt x="3867" y="4438"/>
                </a:lnTo>
                <a:cubicBezTo>
                  <a:pt x="3883" y="4438"/>
                  <a:pt x="4201" y="4454"/>
                  <a:pt x="4440" y="4263"/>
                </a:cubicBezTo>
                <a:cubicBezTo>
                  <a:pt x="4440" y="4247"/>
                  <a:pt x="4450" y="4252"/>
                  <a:pt x="4455" y="4247"/>
                </a:cubicBezTo>
                <a:lnTo>
                  <a:pt x="4455" y="4231"/>
                </a:lnTo>
                <a:cubicBezTo>
                  <a:pt x="4471" y="4231"/>
                  <a:pt x="4471" y="4231"/>
                  <a:pt x="4471" y="4215"/>
                </a:cubicBezTo>
                <a:lnTo>
                  <a:pt x="4487" y="4215"/>
                </a:lnTo>
                <a:lnTo>
                  <a:pt x="4503" y="4199"/>
                </a:lnTo>
                <a:lnTo>
                  <a:pt x="4503" y="4183"/>
                </a:lnTo>
                <a:cubicBezTo>
                  <a:pt x="4519" y="4183"/>
                  <a:pt x="4513" y="4172"/>
                  <a:pt x="4519" y="4167"/>
                </a:cubicBezTo>
                <a:cubicBezTo>
                  <a:pt x="4535" y="4167"/>
                  <a:pt x="4535" y="4167"/>
                  <a:pt x="4535" y="4152"/>
                </a:cubicBezTo>
                <a:cubicBezTo>
                  <a:pt x="4540" y="4147"/>
                  <a:pt x="4551" y="4152"/>
                  <a:pt x="4551" y="4136"/>
                </a:cubicBezTo>
                <a:lnTo>
                  <a:pt x="4551" y="4120"/>
                </a:lnTo>
                <a:lnTo>
                  <a:pt x="4567" y="4120"/>
                </a:lnTo>
                <a:cubicBezTo>
                  <a:pt x="4662" y="3961"/>
                  <a:pt x="4694" y="3754"/>
                  <a:pt x="4662" y="3515"/>
                </a:cubicBezTo>
                <a:close/>
                <a:moveTo>
                  <a:pt x="542" y="668"/>
                </a:moveTo>
                <a:cubicBezTo>
                  <a:pt x="574" y="366"/>
                  <a:pt x="829" y="159"/>
                  <a:pt x="1115" y="159"/>
                </a:cubicBezTo>
                <a:lnTo>
                  <a:pt x="3549" y="159"/>
                </a:lnTo>
                <a:cubicBezTo>
                  <a:pt x="3851" y="159"/>
                  <a:pt x="4089" y="366"/>
                  <a:pt x="4137" y="668"/>
                </a:cubicBezTo>
                <a:lnTo>
                  <a:pt x="4455" y="3165"/>
                </a:lnTo>
                <a:cubicBezTo>
                  <a:pt x="4280" y="2991"/>
                  <a:pt x="4026" y="2959"/>
                  <a:pt x="3867" y="2959"/>
                </a:cubicBezTo>
                <a:lnTo>
                  <a:pt x="813" y="2959"/>
                </a:lnTo>
                <a:cubicBezTo>
                  <a:pt x="654" y="2959"/>
                  <a:pt x="399" y="2991"/>
                  <a:pt x="224" y="3165"/>
                </a:cubicBezTo>
                <a:close/>
                <a:moveTo>
                  <a:pt x="4423" y="4040"/>
                </a:moveTo>
                <a:cubicBezTo>
                  <a:pt x="4423" y="4056"/>
                  <a:pt x="4413" y="4051"/>
                  <a:pt x="4408" y="4056"/>
                </a:cubicBezTo>
                <a:lnTo>
                  <a:pt x="4408" y="4072"/>
                </a:lnTo>
                <a:cubicBezTo>
                  <a:pt x="4392" y="4072"/>
                  <a:pt x="4392" y="4072"/>
                  <a:pt x="4392" y="4088"/>
                </a:cubicBezTo>
                <a:cubicBezTo>
                  <a:pt x="4386" y="4093"/>
                  <a:pt x="4376" y="4088"/>
                  <a:pt x="4376" y="4104"/>
                </a:cubicBezTo>
                <a:cubicBezTo>
                  <a:pt x="4185" y="4295"/>
                  <a:pt x="4036" y="4221"/>
                  <a:pt x="3867" y="4279"/>
                </a:cubicBezTo>
                <a:lnTo>
                  <a:pt x="797" y="4279"/>
                </a:lnTo>
                <a:cubicBezTo>
                  <a:pt x="627" y="4215"/>
                  <a:pt x="479" y="4295"/>
                  <a:pt x="288" y="4088"/>
                </a:cubicBezTo>
                <a:cubicBezTo>
                  <a:pt x="177" y="3977"/>
                  <a:pt x="145" y="3801"/>
                  <a:pt x="161" y="3595"/>
                </a:cubicBezTo>
                <a:cubicBezTo>
                  <a:pt x="240" y="3102"/>
                  <a:pt x="781" y="3118"/>
                  <a:pt x="813" y="3118"/>
                </a:cubicBezTo>
                <a:lnTo>
                  <a:pt x="3867" y="3118"/>
                </a:lnTo>
                <a:cubicBezTo>
                  <a:pt x="3899" y="3118"/>
                  <a:pt x="4440" y="3102"/>
                  <a:pt x="4503" y="3595"/>
                </a:cubicBezTo>
                <a:cubicBezTo>
                  <a:pt x="4535" y="3770"/>
                  <a:pt x="4503" y="3929"/>
                  <a:pt x="4423" y="40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6" name="Freeform: Shape 18">
            <a:extLst>
              <a:ext uri="{FF2B5EF4-FFF2-40B4-BE49-F238E27FC236}">
                <a16:creationId xmlns:a16="http://schemas.microsoft.com/office/drawing/2014/main" id="{D0EF8A62-F83A-1D4F-A71D-91A6B763039B}"/>
              </a:ext>
            </a:extLst>
          </p:cNvPr>
          <p:cNvSpPr/>
          <p:nvPr/>
        </p:nvSpPr>
        <p:spPr>
          <a:xfrm>
            <a:off x="5970109" y="6491290"/>
            <a:ext cx="1684440" cy="1597320"/>
          </a:xfrm>
          <a:custGeom>
            <a:avLst/>
            <a:gdLst/>
            <a:ahLst/>
            <a:cxnLst>
              <a:cxn ang="3cd4">
                <a:pos x="hc" y="t"/>
              </a:cxn>
              <a:cxn ang="cd2">
                <a:pos x="l" y="vc"/>
              </a:cxn>
              <a:cxn ang="cd4">
                <a:pos x="hc" y="b"/>
              </a:cxn>
              <a:cxn ang="0">
                <a:pos x="r" y="vc"/>
              </a:cxn>
            </a:cxnLst>
            <a:rect l="l" t="t" r="r" b="b"/>
            <a:pathLst>
              <a:path w="4680" h="4438">
                <a:moveTo>
                  <a:pt x="3865" y="3834"/>
                </a:moveTo>
                <a:cubicBezTo>
                  <a:pt x="4023" y="3834"/>
                  <a:pt x="4151" y="3706"/>
                  <a:pt x="4151" y="3547"/>
                </a:cubicBezTo>
                <a:cubicBezTo>
                  <a:pt x="4151" y="3388"/>
                  <a:pt x="4023" y="3277"/>
                  <a:pt x="3865" y="3277"/>
                </a:cubicBezTo>
                <a:cubicBezTo>
                  <a:pt x="3705" y="3277"/>
                  <a:pt x="3594" y="3388"/>
                  <a:pt x="3594" y="3547"/>
                </a:cubicBezTo>
                <a:cubicBezTo>
                  <a:pt x="3594" y="3706"/>
                  <a:pt x="3705" y="3834"/>
                  <a:pt x="3865" y="3834"/>
                </a:cubicBezTo>
                <a:close/>
                <a:moveTo>
                  <a:pt x="3865" y="3436"/>
                </a:moveTo>
                <a:cubicBezTo>
                  <a:pt x="3928" y="3436"/>
                  <a:pt x="3992" y="3483"/>
                  <a:pt x="3992" y="3547"/>
                </a:cubicBezTo>
                <a:cubicBezTo>
                  <a:pt x="3992" y="3611"/>
                  <a:pt x="3928" y="3674"/>
                  <a:pt x="3865" y="3674"/>
                </a:cubicBezTo>
                <a:cubicBezTo>
                  <a:pt x="3801" y="3674"/>
                  <a:pt x="3753" y="3611"/>
                  <a:pt x="3753" y="3547"/>
                </a:cubicBezTo>
                <a:cubicBezTo>
                  <a:pt x="3753" y="3483"/>
                  <a:pt x="3801" y="3436"/>
                  <a:pt x="3865" y="3436"/>
                </a:cubicBezTo>
                <a:close/>
                <a:moveTo>
                  <a:pt x="795" y="4438"/>
                </a:moveTo>
                <a:lnTo>
                  <a:pt x="812" y="4438"/>
                </a:lnTo>
                <a:lnTo>
                  <a:pt x="3866" y="4438"/>
                </a:lnTo>
                <a:cubicBezTo>
                  <a:pt x="3881" y="4438"/>
                  <a:pt x="4200" y="4454"/>
                  <a:pt x="4438" y="4263"/>
                </a:cubicBezTo>
                <a:lnTo>
                  <a:pt x="4454" y="4247"/>
                </a:lnTo>
                <a:cubicBezTo>
                  <a:pt x="4470" y="4247"/>
                  <a:pt x="4464" y="4236"/>
                  <a:pt x="4470" y="4231"/>
                </a:cubicBezTo>
                <a:lnTo>
                  <a:pt x="4486" y="4215"/>
                </a:lnTo>
                <a:cubicBezTo>
                  <a:pt x="4502" y="4215"/>
                  <a:pt x="4496" y="4204"/>
                  <a:pt x="4502" y="4199"/>
                </a:cubicBezTo>
                <a:cubicBezTo>
                  <a:pt x="4518" y="4199"/>
                  <a:pt x="4512" y="4188"/>
                  <a:pt x="4518" y="4183"/>
                </a:cubicBezTo>
                <a:cubicBezTo>
                  <a:pt x="4523" y="4178"/>
                  <a:pt x="4518" y="4167"/>
                  <a:pt x="4533" y="4167"/>
                </a:cubicBezTo>
                <a:lnTo>
                  <a:pt x="4533" y="4152"/>
                </a:lnTo>
                <a:cubicBezTo>
                  <a:pt x="4549" y="4152"/>
                  <a:pt x="4549" y="4152"/>
                  <a:pt x="4549" y="4136"/>
                </a:cubicBezTo>
                <a:cubicBezTo>
                  <a:pt x="4554" y="4131"/>
                  <a:pt x="4566" y="4136"/>
                  <a:pt x="4566" y="4120"/>
                </a:cubicBezTo>
                <a:cubicBezTo>
                  <a:pt x="4661" y="3961"/>
                  <a:pt x="4709" y="3754"/>
                  <a:pt x="4661" y="3515"/>
                </a:cubicBezTo>
                <a:lnTo>
                  <a:pt x="4295" y="637"/>
                </a:lnTo>
                <a:cubicBezTo>
                  <a:pt x="4247" y="271"/>
                  <a:pt x="3929" y="0"/>
                  <a:pt x="3563" y="0"/>
                </a:cubicBezTo>
                <a:lnTo>
                  <a:pt x="1130" y="0"/>
                </a:lnTo>
                <a:cubicBezTo>
                  <a:pt x="748" y="0"/>
                  <a:pt x="430" y="271"/>
                  <a:pt x="382" y="637"/>
                </a:cubicBezTo>
                <a:lnTo>
                  <a:pt x="16" y="3515"/>
                </a:lnTo>
                <a:cubicBezTo>
                  <a:pt x="-32" y="3801"/>
                  <a:pt x="32" y="4024"/>
                  <a:pt x="176" y="4199"/>
                </a:cubicBezTo>
                <a:cubicBezTo>
                  <a:pt x="382" y="4422"/>
                  <a:pt x="716" y="4438"/>
                  <a:pt x="795" y="4438"/>
                </a:cubicBezTo>
                <a:close/>
                <a:moveTo>
                  <a:pt x="541" y="668"/>
                </a:moveTo>
                <a:cubicBezTo>
                  <a:pt x="589" y="366"/>
                  <a:pt x="828" y="159"/>
                  <a:pt x="1130" y="159"/>
                </a:cubicBezTo>
                <a:lnTo>
                  <a:pt x="3563" y="159"/>
                </a:lnTo>
                <a:cubicBezTo>
                  <a:pt x="3849" y="159"/>
                  <a:pt x="4104" y="366"/>
                  <a:pt x="4136" y="668"/>
                </a:cubicBezTo>
                <a:lnTo>
                  <a:pt x="4454" y="3165"/>
                </a:lnTo>
                <a:cubicBezTo>
                  <a:pt x="4279" y="2991"/>
                  <a:pt x="4024" y="2959"/>
                  <a:pt x="3881" y="2959"/>
                </a:cubicBezTo>
                <a:lnTo>
                  <a:pt x="812" y="2959"/>
                </a:lnTo>
                <a:cubicBezTo>
                  <a:pt x="652" y="2959"/>
                  <a:pt x="398" y="2991"/>
                  <a:pt x="223" y="3165"/>
                </a:cubicBezTo>
                <a:close/>
                <a:moveTo>
                  <a:pt x="176" y="3595"/>
                </a:moveTo>
                <a:cubicBezTo>
                  <a:pt x="239" y="3102"/>
                  <a:pt x="780" y="3118"/>
                  <a:pt x="812" y="3118"/>
                </a:cubicBezTo>
                <a:lnTo>
                  <a:pt x="3881" y="3118"/>
                </a:lnTo>
                <a:cubicBezTo>
                  <a:pt x="3897" y="3118"/>
                  <a:pt x="4438" y="3102"/>
                  <a:pt x="4518" y="3595"/>
                </a:cubicBezTo>
                <a:cubicBezTo>
                  <a:pt x="4533" y="3770"/>
                  <a:pt x="4502" y="3929"/>
                  <a:pt x="4438" y="4040"/>
                </a:cubicBezTo>
                <a:lnTo>
                  <a:pt x="4422" y="4040"/>
                </a:lnTo>
                <a:lnTo>
                  <a:pt x="4422" y="4056"/>
                </a:lnTo>
                <a:cubicBezTo>
                  <a:pt x="4406" y="4056"/>
                  <a:pt x="4411" y="4067"/>
                  <a:pt x="4406" y="4072"/>
                </a:cubicBezTo>
                <a:lnTo>
                  <a:pt x="4390" y="4088"/>
                </a:lnTo>
                <a:lnTo>
                  <a:pt x="4375" y="4104"/>
                </a:lnTo>
                <a:cubicBezTo>
                  <a:pt x="4200" y="4295"/>
                  <a:pt x="4045" y="4221"/>
                  <a:pt x="3881" y="4279"/>
                </a:cubicBezTo>
                <a:lnTo>
                  <a:pt x="812" y="4279"/>
                </a:lnTo>
                <a:cubicBezTo>
                  <a:pt x="795" y="4279"/>
                  <a:pt x="477" y="4295"/>
                  <a:pt x="286" y="4088"/>
                </a:cubicBezTo>
                <a:cubicBezTo>
                  <a:pt x="191" y="3977"/>
                  <a:pt x="143" y="3801"/>
                  <a:pt x="176" y="3595"/>
                </a:cubicBezTo>
                <a:close/>
                <a:moveTo>
                  <a:pt x="1257" y="2338"/>
                </a:moveTo>
                <a:cubicBezTo>
                  <a:pt x="1352" y="2402"/>
                  <a:pt x="1480" y="2450"/>
                  <a:pt x="1607" y="2450"/>
                </a:cubicBezTo>
                <a:lnTo>
                  <a:pt x="3086" y="2450"/>
                </a:lnTo>
                <a:cubicBezTo>
                  <a:pt x="3452" y="2434"/>
                  <a:pt x="3675" y="2211"/>
                  <a:pt x="3675" y="1861"/>
                </a:cubicBezTo>
                <a:cubicBezTo>
                  <a:pt x="3675" y="1575"/>
                  <a:pt x="3484" y="1416"/>
                  <a:pt x="3340" y="1352"/>
                </a:cubicBezTo>
                <a:lnTo>
                  <a:pt x="3340" y="1320"/>
                </a:lnTo>
                <a:cubicBezTo>
                  <a:pt x="3372" y="1066"/>
                  <a:pt x="3229" y="811"/>
                  <a:pt x="3007" y="700"/>
                </a:cubicBezTo>
                <a:cubicBezTo>
                  <a:pt x="2752" y="557"/>
                  <a:pt x="2418" y="589"/>
                  <a:pt x="2195" y="764"/>
                </a:cubicBezTo>
                <a:cubicBezTo>
                  <a:pt x="2148" y="795"/>
                  <a:pt x="2116" y="843"/>
                  <a:pt x="2084" y="875"/>
                </a:cubicBezTo>
                <a:cubicBezTo>
                  <a:pt x="2068" y="875"/>
                  <a:pt x="2052" y="859"/>
                  <a:pt x="2036" y="859"/>
                </a:cubicBezTo>
                <a:cubicBezTo>
                  <a:pt x="1861" y="780"/>
                  <a:pt x="1686" y="780"/>
                  <a:pt x="1527" y="891"/>
                </a:cubicBezTo>
                <a:cubicBezTo>
                  <a:pt x="1384" y="986"/>
                  <a:pt x="1304" y="1146"/>
                  <a:pt x="1321" y="1320"/>
                </a:cubicBezTo>
                <a:lnTo>
                  <a:pt x="1321" y="1352"/>
                </a:lnTo>
                <a:cubicBezTo>
                  <a:pt x="1257" y="1384"/>
                  <a:pt x="1161" y="1447"/>
                  <a:pt x="1082" y="1607"/>
                </a:cubicBezTo>
                <a:cubicBezTo>
                  <a:pt x="955" y="1877"/>
                  <a:pt x="1034" y="2179"/>
                  <a:pt x="1257" y="2338"/>
                </a:cubicBezTo>
                <a:close/>
                <a:moveTo>
                  <a:pt x="1225" y="1686"/>
                </a:moveTo>
                <a:cubicBezTo>
                  <a:pt x="1289" y="1543"/>
                  <a:pt x="1368" y="1511"/>
                  <a:pt x="1400" y="1479"/>
                </a:cubicBezTo>
                <a:cubicBezTo>
                  <a:pt x="1432" y="1464"/>
                  <a:pt x="1464" y="1447"/>
                  <a:pt x="1480" y="1416"/>
                </a:cubicBezTo>
                <a:lnTo>
                  <a:pt x="1480" y="1400"/>
                </a:lnTo>
                <a:lnTo>
                  <a:pt x="1480" y="1320"/>
                </a:lnTo>
                <a:cubicBezTo>
                  <a:pt x="1464" y="1193"/>
                  <a:pt x="1512" y="1082"/>
                  <a:pt x="1623" y="1018"/>
                </a:cubicBezTo>
                <a:cubicBezTo>
                  <a:pt x="1670" y="986"/>
                  <a:pt x="1750" y="955"/>
                  <a:pt x="1813" y="955"/>
                </a:cubicBezTo>
                <a:cubicBezTo>
                  <a:pt x="1861" y="955"/>
                  <a:pt x="1909" y="970"/>
                  <a:pt x="1957" y="1002"/>
                </a:cubicBezTo>
                <a:cubicBezTo>
                  <a:pt x="2021" y="1018"/>
                  <a:pt x="2009" y="1034"/>
                  <a:pt x="2036" y="1050"/>
                </a:cubicBezTo>
                <a:cubicBezTo>
                  <a:pt x="2052" y="1066"/>
                  <a:pt x="2068" y="1082"/>
                  <a:pt x="2100" y="1082"/>
                </a:cubicBezTo>
                <a:cubicBezTo>
                  <a:pt x="2132" y="1082"/>
                  <a:pt x="2148" y="1066"/>
                  <a:pt x="2164" y="1034"/>
                </a:cubicBezTo>
                <a:cubicBezTo>
                  <a:pt x="2179" y="1002"/>
                  <a:pt x="2243" y="923"/>
                  <a:pt x="2291" y="875"/>
                </a:cubicBezTo>
                <a:cubicBezTo>
                  <a:pt x="2466" y="748"/>
                  <a:pt x="2736" y="732"/>
                  <a:pt x="2927" y="843"/>
                </a:cubicBezTo>
                <a:cubicBezTo>
                  <a:pt x="3102" y="923"/>
                  <a:pt x="3197" y="1113"/>
                  <a:pt x="3182" y="1304"/>
                </a:cubicBezTo>
                <a:lnTo>
                  <a:pt x="3182" y="1400"/>
                </a:lnTo>
                <a:cubicBezTo>
                  <a:pt x="3182" y="1432"/>
                  <a:pt x="3213" y="1464"/>
                  <a:pt x="3245" y="1479"/>
                </a:cubicBezTo>
                <a:cubicBezTo>
                  <a:pt x="3335" y="1606"/>
                  <a:pt x="3515" y="1575"/>
                  <a:pt x="3515" y="1861"/>
                </a:cubicBezTo>
                <a:cubicBezTo>
                  <a:pt x="3515" y="2004"/>
                  <a:pt x="3452" y="2274"/>
                  <a:pt x="3086" y="2291"/>
                </a:cubicBezTo>
                <a:lnTo>
                  <a:pt x="1607" y="2291"/>
                </a:lnTo>
                <a:cubicBezTo>
                  <a:pt x="1512" y="2291"/>
                  <a:pt x="1416" y="2259"/>
                  <a:pt x="1337" y="2211"/>
                </a:cubicBezTo>
                <a:cubicBezTo>
                  <a:pt x="1193" y="2100"/>
                  <a:pt x="1146" y="1877"/>
                  <a:pt x="1225" y="168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43672211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Storage - 3</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42" name="TextBox 41">
            <a:extLst>
              <a:ext uri="{FF2B5EF4-FFF2-40B4-BE49-F238E27FC236}">
                <a16:creationId xmlns:a16="http://schemas.microsoft.com/office/drawing/2014/main" id="{FCA5B914-6A07-A440-9646-A9B0D6C9FC15}"/>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Secure</a:t>
            </a:r>
          </a:p>
        </p:txBody>
      </p:sp>
      <p:sp>
        <p:nvSpPr>
          <p:cNvPr id="58" name="TextBox 57">
            <a:extLst>
              <a:ext uri="{FF2B5EF4-FFF2-40B4-BE49-F238E27FC236}">
                <a16:creationId xmlns:a16="http://schemas.microsoft.com/office/drawing/2014/main" id="{EFF70F01-99E1-E84F-A204-C584091885CB}"/>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Share</a:t>
            </a:r>
          </a:p>
        </p:txBody>
      </p:sp>
      <p:sp>
        <p:nvSpPr>
          <p:cNvPr id="59" name="TextBox 58">
            <a:extLst>
              <a:ext uri="{FF2B5EF4-FFF2-40B4-BE49-F238E27FC236}">
                <a16:creationId xmlns:a16="http://schemas.microsoft.com/office/drawing/2014/main" id="{8A2A2D5B-5314-7545-996D-5FA3754938A3}"/>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age Wi-Fi</a:t>
            </a:r>
          </a:p>
        </p:txBody>
      </p:sp>
      <p:sp>
        <p:nvSpPr>
          <p:cNvPr id="60" name="Freeform: Shape 26">
            <a:extLst>
              <a:ext uri="{FF2B5EF4-FFF2-40B4-BE49-F238E27FC236}">
                <a16:creationId xmlns:a16="http://schemas.microsoft.com/office/drawing/2014/main" id="{73D891F4-E01B-474B-A700-B3B90A70DD5D}"/>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Freeform: Shape 13">
            <a:extLst>
              <a:ext uri="{FF2B5EF4-FFF2-40B4-BE49-F238E27FC236}">
                <a16:creationId xmlns:a16="http://schemas.microsoft.com/office/drawing/2014/main" id="{98B2174F-AEAF-0B41-9401-42272D8173A7}"/>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1">
            <a:extLst>
              <a:ext uri="{FF2B5EF4-FFF2-40B4-BE49-F238E27FC236}">
                <a16:creationId xmlns:a16="http://schemas.microsoft.com/office/drawing/2014/main" id="{122E4204-8243-0B4C-855A-DE83FFCB5CB4}"/>
              </a:ext>
            </a:extLst>
          </p:cNvPr>
          <p:cNvSpPr/>
          <p:nvPr/>
        </p:nvSpPr>
        <p:spPr>
          <a:xfrm>
            <a:off x="1745409" y="3352318"/>
            <a:ext cx="1682639" cy="1597320"/>
          </a:xfrm>
          <a:custGeom>
            <a:avLst/>
            <a:gdLst/>
            <a:ahLst/>
            <a:cxnLst>
              <a:cxn ang="3cd4">
                <a:pos x="hc" y="t"/>
              </a:cxn>
              <a:cxn ang="cd2">
                <a:pos x="l" y="vc"/>
              </a:cxn>
              <a:cxn ang="cd4">
                <a:pos x="hc" y="b"/>
              </a:cxn>
              <a:cxn ang="0">
                <a:pos x="r" y="vc"/>
              </a:cxn>
            </a:cxnLst>
            <a:rect l="l" t="t" r="r" b="b"/>
            <a:pathLst>
              <a:path w="4675" h="4438">
                <a:moveTo>
                  <a:pt x="2308" y="2481"/>
                </a:moveTo>
                <a:lnTo>
                  <a:pt x="2341" y="2481"/>
                </a:lnTo>
                <a:lnTo>
                  <a:pt x="2356" y="2481"/>
                </a:lnTo>
                <a:cubicBezTo>
                  <a:pt x="3136" y="2243"/>
                  <a:pt x="3168" y="1129"/>
                  <a:pt x="3168" y="907"/>
                </a:cubicBezTo>
                <a:cubicBezTo>
                  <a:pt x="3168" y="859"/>
                  <a:pt x="3136" y="827"/>
                  <a:pt x="3088" y="827"/>
                </a:cubicBezTo>
                <a:cubicBezTo>
                  <a:pt x="2850" y="827"/>
                  <a:pt x="2515" y="764"/>
                  <a:pt x="2388" y="636"/>
                </a:cubicBezTo>
                <a:cubicBezTo>
                  <a:pt x="2356" y="605"/>
                  <a:pt x="2308" y="605"/>
                  <a:pt x="2277" y="636"/>
                </a:cubicBezTo>
                <a:cubicBezTo>
                  <a:pt x="2150" y="764"/>
                  <a:pt x="1832" y="827"/>
                  <a:pt x="1577" y="827"/>
                </a:cubicBezTo>
                <a:cubicBezTo>
                  <a:pt x="1545" y="827"/>
                  <a:pt x="1497" y="859"/>
                  <a:pt x="1497" y="907"/>
                </a:cubicBezTo>
                <a:cubicBezTo>
                  <a:pt x="1497" y="1050"/>
                  <a:pt x="1529" y="2243"/>
                  <a:pt x="2308" y="2481"/>
                </a:cubicBezTo>
                <a:close/>
                <a:moveTo>
                  <a:pt x="2341" y="796"/>
                </a:moveTo>
                <a:cubicBezTo>
                  <a:pt x="2499" y="923"/>
                  <a:pt x="2770" y="970"/>
                  <a:pt x="3008" y="986"/>
                </a:cubicBezTo>
                <a:cubicBezTo>
                  <a:pt x="2993" y="1273"/>
                  <a:pt x="2913" y="2115"/>
                  <a:pt x="2341" y="2323"/>
                </a:cubicBezTo>
                <a:cubicBezTo>
                  <a:pt x="1752" y="2115"/>
                  <a:pt x="1672" y="1273"/>
                  <a:pt x="1656" y="986"/>
                </a:cubicBezTo>
                <a:cubicBezTo>
                  <a:pt x="1895" y="970"/>
                  <a:pt x="2181" y="923"/>
                  <a:pt x="2341" y="796"/>
                </a:cubicBezTo>
                <a:close/>
                <a:moveTo>
                  <a:pt x="3867" y="3277"/>
                </a:moveTo>
                <a:cubicBezTo>
                  <a:pt x="3708" y="3277"/>
                  <a:pt x="3581" y="3388"/>
                  <a:pt x="3581" y="3547"/>
                </a:cubicBezTo>
                <a:cubicBezTo>
                  <a:pt x="3581" y="3706"/>
                  <a:pt x="3708" y="3833"/>
                  <a:pt x="3867" y="3833"/>
                </a:cubicBezTo>
                <a:cubicBezTo>
                  <a:pt x="4011" y="3833"/>
                  <a:pt x="4138" y="3706"/>
                  <a:pt x="4138" y="3547"/>
                </a:cubicBezTo>
                <a:cubicBezTo>
                  <a:pt x="4138" y="3388"/>
                  <a:pt x="4011" y="3277"/>
                  <a:pt x="3867" y="3277"/>
                </a:cubicBezTo>
                <a:close/>
                <a:moveTo>
                  <a:pt x="3867" y="3674"/>
                </a:moveTo>
                <a:cubicBezTo>
                  <a:pt x="3788" y="3674"/>
                  <a:pt x="3740" y="3611"/>
                  <a:pt x="3740" y="3547"/>
                </a:cubicBezTo>
                <a:cubicBezTo>
                  <a:pt x="3740" y="3484"/>
                  <a:pt x="3788" y="3436"/>
                  <a:pt x="3867" y="3436"/>
                </a:cubicBezTo>
                <a:cubicBezTo>
                  <a:pt x="3931" y="3436"/>
                  <a:pt x="3978" y="3484"/>
                  <a:pt x="3978" y="3547"/>
                </a:cubicBezTo>
                <a:cubicBezTo>
                  <a:pt x="3978" y="3611"/>
                  <a:pt x="3931" y="3674"/>
                  <a:pt x="3867" y="3674"/>
                </a:cubicBezTo>
                <a:close/>
                <a:moveTo>
                  <a:pt x="4297" y="636"/>
                </a:moveTo>
                <a:cubicBezTo>
                  <a:pt x="4249" y="270"/>
                  <a:pt x="3931" y="0"/>
                  <a:pt x="3549" y="0"/>
                </a:cubicBezTo>
                <a:lnTo>
                  <a:pt x="1115" y="0"/>
                </a:lnTo>
                <a:cubicBezTo>
                  <a:pt x="750" y="0"/>
                  <a:pt x="432" y="270"/>
                  <a:pt x="384" y="636"/>
                </a:cubicBezTo>
                <a:lnTo>
                  <a:pt x="18" y="3515"/>
                </a:lnTo>
                <a:cubicBezTo>
                  <a:pt x="-30" y="3802"/>
                  <a:pt x="18" y="4024"/>
                  <a:pt x="161" y="4199"/>
                </a:cubicBezTo>
                <a:cubicBezTo>
                  <a:pt x="384" y="4422"/>
                  <a:pt x="718" y="4438"/>
                  <a:pt x="782" y="4438"/>
                </a:cubicBezTo>
                <a:lnTo>
                  <a:pt x="797" y="4438"/>
                </a:lnTo>
                <a:lnTo>
                  <a:pt x="3867" y="4438"/>
                </a:lnTo>
                <a:cubicBezTo>
                  <a:pt x="3883" y="4438"/>
                  <a:pt x="4249" y="4454"/>
                  <a:pt x="4472" y="4215"/>
                </a:cubicBezTo>
                <a:lnTo>
                  <a:pt x="4487" y="4215"/>
                </a:lnTo>
                <a:cubicBezTo>
                  <a:pt x="4493" y="4210"/>
                  <a:pt x="4487" y="4199"/>
                  <a:pt x="4504" y="4199"/>
                </a:cubicBezTo>
                <a:lnTo>
                  <a:pt x="4504" y="4183"/>
                </a:lnTo>
                <a:cubicBezTo>
                  <a:pt x="4519" y="4183"/>
                  <a:pt x="4519" y="4183"/>
                  <a:pt x="4519" y="4168"/>
                </a:cubicBezTo>
                <a:cubicBezTo>
                  <a:pt x="4535" y="4168"/>
                  <a:pt x="4535" y="4168"/>
                  <a:pt x="4535" y="4151"/>
                </a:cubicBezTo>
                <a:lnTo>
                  <a:pt x="4551" y="4136"/>
                </a:lnTo>
                <a:lnTo>
                  <a:pt x="4551" y="4120"/>
                </a:lnTo>
                <a:lnTo>
                  <a:pt x="4567" y="4120"/>
                </a:lnTo>
                <a:cubicBezTo>
                  <a:pt x="4663" y="3960"/>
                  <a:pt x="4695" y="3754"/>
                  <a:pt x="4663" y="3515"/>
                </a:cubicBezTo>
                <a:close/>
                <a:moveTo>
                  <a:pt x="543" y="668"/>
                </a:moveTo>
                <a:cubicBezTo>
                  <a:pt x="575" y="366"/>
                  <a:pt x="829" y="159"/>
                  <a:pt x="1115" y="159"/>
                </a:cubicBezTo>
                <a:lnTo>
                  <a:pt x="3549" y="159"/>
                </a:lnTo>
                <a:cubicBezTo>
                  <a:pt x="3851" y="159"/>
                  <a:pt x="4090" y="366"/>
                  <a:pt x="4138" y="668"/>
                </a:cubicBezTo>
                <a:lnTo>
                  <a:pt x="4456" y="3165"/>
                </a:lnTo>
                <a:cubicBezTo>
                  <a:pt x="4265" y="2990"/>
                  <a:pt x="4026" y="2959"/>
                  <a:pt x="3867" y="2959"/>
                </a:cubicBezTo>
                <a:lnTo>
                  <a:pt x="814" y="2959"/>
                </a:lnTo>
                <a:cubicBezTo>
                  <a:pt x="654" y="2959"/>
                  <a:pt x="400" y="2990"/>
                  <a:pt x="225" y="3165"/>
                </a:cubicBezTo>
                <a:close/>
                <a:moveTo>
                  <a:pt x="4424" y="4040"/>
                </a:moveTo>
                <a:lnTo>
                  <a:pt x="4408" y="4056"/>
                </a:lnTo>
                <a:cubicBezTo>
                  <a:pt x="4403" y="4061"/>
                  <a:pt x="4408" y="4072"/>
                  <a:pt x="4392" y="4072"/>
                </a:cubicBezTo>
                <a:lnTo>
                  <a:pt x="4392" y="4088"/>
                </a:lnTo>
                <a:cubicBezTo>
                  <a:pt x="4387" y="4093"/>
                  <a:pt x="4376" y="4088"/>
                  <a:pt x="4376" y="4104"/>
                </a:cubicBezTo>
                <a:cubicBezTo>
                  <a:pt x="4186" y="4295"/>
                  <a:pt x="4037" y="4221"/>
                  <a:pt x="3867" y="4279"/>
                </a:cubicBezTo>
                <a:lnTo>
                  <a:pt x="797" y="4279"/>
                </a:lnTo>
                <a:cubicBezTo>
                  <a:pt x="627" y="4215"/>
                  <a:pt x="479" y="4295"/>
                  <a:pt x="288" y="4088"/>
                </a:cubicBezTo>
                <a:cubicBezTo>
                  <a:pt x="177" y="3977"/>
                  <a:pt x="145" y="3802"/>
                  <a:pt x="161" y="3595"/>
                </a:cubicBezTo>
                <a:cubicBezTo>
                  <a:pt x="225" y="3102"/>
                  <a:pt x="782" y="3118"/>
                  <a:pt x="797" y="3118"/>
                </a:cubicBezTo>
                <a:lnTo>
                  <a:pt x="3867" y="3118"/>
                </a:lnTo>
                <a:cubicBezTo>
                  <a:pt x="3899" y="3118"/>
                  <a:pt x="4440" y="3102"/>
                  <a:pt x="4504" y="3595"/>
                </a:cubicBezTo>
                <a:cubicBezTo>
                  <a:pt x="4519" y="3770"/>
                  <a:pt x="4504" y="3929"/>
                  <a:pt x="4424" y="40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3" name="Freeform: Shape 2">
            <a:extLst>
              <a:ext uri="{FF2B5EF4-FFF2-40B4-BE49-F238E27FC236}">
                <a16:creationId xmlns:a16="http://schemas.microsoft.com/office/drawing/2014/main" id="{ED3A41C6-52F2-CA47-9CE9-28CDAC5BC097}"/>
              </a:ext>
            </a:extLst>
          </p:cNvPr>
          <p:cNvSpPr/>
          <p:nvPr/>
        </p:nvSpPr>
        <p:spPr>
          <a:xfrm>
            <a:off x="5970110" y="3352318"/>
            <a:ext cx="1682639" cy="1597320"/>
          </a:xfrm>
          <a:custGeom>
            <a:avLst/>
            <a:gdLst/>
            <a:ahLst/>
            <a:cxnLst>
              <a:cxn ang="3cd4">
                <a:pos x="hc" y="t"/>
              </a:cxn>
              <a:cxn ang="cd2">
                <a:pos x="l" y="vc"/>
              </a:cxn>
              <a:cxn ang="cd4">
                <a:pos x="hc" y="b"/>
              </a:cxn>
              <a:cxn ang="0">
                <a:pos x="r" y="vc"/>
              </a:cxn>
            </a:cxnLst>
            <a:rect l="l" t="t" r="r" b="b"/>
            <a:pathLst>
              <a:path w="4675" h="4438">
                <a:moveTo>
                  <a:pt x="1361" y="1288"/>
                </a:moveTo>
                <a:lnTo>
                  <a:pt x="3238" y="1288"/>
                </a:lnTo>
                <a:lnTo>
                  <a:pt x="2904" y="1623"/>
                </a:lnTo>
                <a:cubicBezTo>
                  <a:pt x="2872" y="1654"/>
                  <a:pt x="2872" y="1718"/>
                  <a:pt x="2904" y="1734"/>
                </a:cubicBezTo>
                <a:cubicBezTo>
                  <a:pt x="2920" y="1750"/>
                  <a:pt x="2936" y="1766"/>
                  <a:pt x="2952" y="1766"/>
                </a:cubicBezTo>
                <a:cubicBezTo>
                  <a:pt x="2967" y="1766"/>
                  <a:pt x="2999" y="1750"/>
                  <a:pt x="3015" y="1734"/>
                </a:cubicBezTo>
                <a:lnTo>
                  <a:pt x="3476" y="1273"/>
                </a:lnTo>
                <a:cubicBezTo>
                  <a:pt x="3492" y="1257"/>
                  <a:pt x="3508" y="1241"/>
                  <a:pt x="3508" y="1209"/>
                </a:cubicBezTo>
                <a:cubicBezTo>
                  <a:pt x="3508" y="1193"/>
                  <a:pt x="3492" y="1177"/>
                  <a:pt x="3476" y="1161"/>
                </a:cubicBezTo>
                <a:lnTo>
                  <a:pt x="3015" y="684"/>
                </a:lnTo>
                <a:cubicBezTo>
                  <a:pt x="2983" y="652"/>
                  <a:pt x="2920" y="652"/>
                  <a:pt x="2904" y="684"/>
                </a:cubicBezTo>
                <a:cubicBezTo>
                  <a:pt x="2872" y="716"/>
                  <a:pt x="2872" y="779"/>
                  <a:pt x="2904" y="796"/>
                </a:cubicBezTo>
                <a:lnTo>
                  <a:pt x="3238" y="1129"/>
                </a:lnTo>
                <a:lnTo>
                  <a:pt x="1361" y="1129"/>
                </a:lnTo>
                <a:cubicBezTo>
                  <a:pt x="1329" y="1129"/>
                  <a:pt x="1282" y="1177"/>
                  <a:pt x="1282" y="1209"/>
                </a:cubicBezTo>
                <a:cubicBezTo>
                  <a:pt x="1282" y="1257"/>
                  <a:pt x="1329" y="1288"/>
                  <a:pt x="1361" y="1288"/>
                </a:cubicBezTo>
                <a:close/>
                <a:moveTo>
                  <a:pt x="1663" y="2497"/>
                </a:moveTo>
                <a:cubicBezTo>
                  <a:pt x="1679" y="2513"/>
                  <a:pt x="1711" y="2513"/>
                  <a:pt x="1727" y="2513"/>
                </a:cubicBezTo>
                <a:cubicBezTo>
                  <a:pt x="1743" y="2513"/>
                  <a:pt x="1759" y="2513"/>
                  <a:pt x="1774" y="2497"/>
                </a:cubicBezTo>
                <a:cubicBezTo>
                  <a:pt x="1806" y="2466"/>
                  <a:pt x="1806" y="2418"/>
                  <a:pt x="1774" y="2386"/>
                </a:cubicBezTo>
                <a:lnTo>
                  <a:pt x="1440" y="2052"/>
                </a:lnTo>
                <a:lnTo>
                  <a:pt x="3333" y="2052"/>
                </a:lnTo>
                <a:cubicBezTo>
                  <a:pt x="3365" y="2052"/>
                  <a:pt x="3413" y="2020"/>
                  <a:pt x="3413" y="1972"/>
                </a:cubicBezTo>
                <a:cubicBezTo>
                  <a:pt x="3413" y="1925"/>
                  <a:pt x="3365" y="1893"/>
                  <a:pt x="3333" y="1893"/>
                </a:cubicBezTo>
                <a:lnTo>
                  <a:pt x="1440" y="1893"/>
                </a:lnTo>
                <a:lnTo>
                  <a:pt x="1774" y="1559"/>
                </a:lnTo>
                <a:cubicBezTo>
                  <a:pt x="1806" y="1527"/>
                  <a:pt x="1806" y="1479"/>
                  <a:pt x="1774" y="1448"/>
                </a:cubicBezTo>
                <a:cubicBezTo>
                  <a:pt x="1743" y="1416"/>
                  <a:pt x="1695" y="1416"/>
                  <a:pt x="1663" y="1448"/>
                </a:cubicBezTo>
                <a:lnTo>
                  <a:pt x="1202" y="1909"/>
                </a:lnTo>
                <a:cubicBezTo>
                  <a:pt x="1186" y="1925"/>
                  <a:pt x="1170" y="1957"/>
                  <a:pt x="1170" y="1972"/>
                </a:cubicBezTo>
                <a:cubicBezTo>
                  <a:pt x="1170" y="1988"/>
                  <a:pt x="1186" y="2004"/>
                  <a:pt x="1202" y="2020"/>
                </a:cubicBezTo>
                <a:close/>
                <a:moveTo>
                  <a:pt x="3858" y="3277"/>
                </a:moveTo>
                <a:cubicBezTo>
                  <a:pt x="3715" y="3277"/>
                  <a:pt x="3588" y="3388"/>
                  <a:pt x="3588" y="3547"/>
                </a:cubicBezTo>
                <a:cubicBezTo>
                  <a:pt x="3588" y="3706"/>
                  <a:pt x="3715" y="3833"/>
                  <a:pt x="3858" y="3833"/>
                </a:cubicBezTo>
                <a:cubicBezTo>
                  <a:pt x="4017" y="3833"/>
                  <a:pt x="4145" y="3706"/>
                  <a:pt x="4145" y="3547"/>
                </a:cubicBezTo>
                <a:cubicBezTo>
                  <a:pt x="4145" y="3388"/>
                  <a:pt x="4017" y="3277"/>
                  <a:pt x="3858" y="3277"/>
                </a:cubicBezTo>
                <a:close/>
                <a:moveTo>
                  <a:pt x="3858" y="3674"/>
                </a:moveTo>
                <a:cubicBezTo>
                  <a:pt x="3795" y="3674"/>
                  <a:pt x="3747" y="3611"/>
                  <a:pt x="3747" y="3547"/>
                </a:cubicBezTo>
                <a:cubicBezTo>
                  <a:pt x="3747" y="3484"/>
                  <a:pt x="3795" y="3436"/>
                  <a:pt x="3858" y="3436"/>
                </a:cubicBezTo>
                <a:cubicBezTo>
                  <a:pt x="3922" y="3436"/>
                  <a:pt x="3985" y="3484"/>
                  <a:pt x="3985" y="3547"/>
                </a:cubicBezTo>
                <a:cubicBezTo>
                  <a:pt x="3985" y="3611"/>
                  <a:pt x="3922" y="3674"/>
                  <a:pt x="3858" y="3674"/>
                </a:cubicBezTo>
                <a:close/>
                <a:moveTo>
                  <a:pt x="4288" y="636"/>
                </a:moveTo>
                <a:cubicBezTo>
                  <a:pt x="4240" y="270"/>
                  <a:pt x="3922" y="0"/>
                  <a:pt x="3556" y="0"/>
                </a:cubicBezTo>
                <a:lnTo>
                  <a:pt x="1122" y="0"/>
                </a:lnTo>
                <a:cubicBezTo>
                  <a:pt x="756" y="0"/>
                  <a:pt x="438" y="270"/>
                  <a:pt x="375" y="636"/>
                </a:cubicBezTo>
                <a:lnTo>
                  <a:pt x="9" y="3515"/>
                </a:lnTo>
                <a:cubicBezTo>
                  <a:pt x="-23" y="3802"/>
                  <a:pt x="25" y="4024"/>
                  <a:pt x="168" y="4199"/>
                </a:cubicBezTo>
                <a:cubicBezTo>
                  <a:pt x="375" y="4422"/>
                  <a:pt x="709" y="4438"/>
                  <a:pt x="788" y="4438"/>
                </a:cubicBezTo>
                <a:lnTo>
                  <a:pt x="804" y="4438"/>
                </a:lnTo>
                <a:lnTo>
                  <a:pt x="3874" y="4438"/>
                </a:lnTo>
                <a:cubicBezTo>
                  <a:pt x="3890" y="4438"/>
                  <a:pt x="4240" y="4454"/>
                  <a:pt x="4479" y="4215"/>
                </a:cubicBezTo>
                <a:cubicBezTo>
                  <a:pt x="4494" y="4215"/>
                  <a:pt x="4494" y="4199"/>
                  <a:pt x="4510" y="4199"/>
                </a:cubicBezTo>
                <a:lnTo>
                  <a:pt x="4510" y="4183"/>
                </a:lnTo>
                <a:cubicBezTo>
                  <a:pt x="4516" y="4178"/>
                  <a:pt x="4526" y="4183"/>
                  <a:pt x="4526" y="4168"/>
                </a:cubicBezTo>
                <a:lnTo>
                  <a:pt x="4542" y="4151"/>
                </a:lnTo>
                <a:lnTo>
                  <a:pt x="4542" y="4136"/>
                </a:lnTo>
                <a:cubicBezTo>
                  <a:pt x="4558" y="4136"/>
                  <a:pt x="4558" y="4136"/>
                  <a:pt x="4558" y="4120"/>
                </a:cubicBezTo>
                <a:cubicBezTo>
                  <a:pt x="4669" y="3960"/>
                  <a:pt x="4701" y="3754"/>
                  <a:pt x="4654" y="3515"/>
                </a:cubicBezTo>
                <a:close/>
                <a:moveTo>
                  <a:pt x="534" y="668"/>
                </a:moveTo>
                <a:cubicBezTo>
                  <a:pt x="582" y="366"/>
                  <a:pt x="836" y="159"/>
                  <a:pt x="1122" y="159"/>
                </a:cubicBezTo>
                <a:lnTo>
                  <a:pt x="3556" y="159"/>
                </a:lnTo>
                <a:cubicBezTo>
                  <a:pt x="3842" y="159"/>
                  <a:pt x="4097" y="366"/>
                  <a:pt x="4128" y="668"/>
                </a:cubicBezTo>
                <a:lnTo>
                  <a:pt x="4447" y="3165"/>
                </a:lnTo>
                <a:cubicBezTo>
                  <a:pt x="4272" y="2990"/>
                  <a:pt x="4017" y="2959"/>
                  <a:pt x="3874" y="2959"/>
                </a:cubicBezTo>
                <a:cubicBezTo>
                  <a:pt x="804" y="2959"/>
                  <a:pt x="1828" y="2959"/>
                  <a:pt x="804" y="2959"/>
                </a:cubicBezTo>
                <a:cubicBezTo>
                  <a:pt x="661" y="2959"/>
                  <a:pt x="407" y="2990"/>
                  <a:pt x="216" y="3165"/>
                </a:cubicBezTo>
                <a:close/>
                <a:moveTo>
                  <a:pt x="4431" y="4040"/>
                </a:moveTo>
                <a:lnTo>
                  <a:pt x="4415" y="4040"/>
                </a:lnTo>
                <a:lnTo>
                  <a:pt x="4415" y="4056"/>
                </a:lnTo>
                <a:lnTo>
                  <a:pt x="4399" y="4072"/>
                </a:lnTo>
                <a:lnTo>
                  <a:pt x="4399" y="4088"/>
                </a:lnTo>
                <a:cubicBezTo>
                  <a:pt x="4383" y="4088"/>
                  <a:pt x="4383" y="4088"/>
                  <a:pt x="4383" y="4104"/>
                </a:cubicBezTo>
                <a:cubicBezTo>
                  <a:pt x="4192" y="4295"/>
                  <a:pt x="4044" y="4221"/>
                  <a:pt x="3874" y="4279"/>
                </a:cubicBezTo>
                <a:cubicBezTo>
                  <a:pt x="804" y="4279"/>
                  <a:pt x="1828" y="4279"/>
                  <a:pt x="804" y="4279"/>
                </a:cubicBezTo>
                <a:cubicBezTo>
                  <a:pt x="635" y="4215"/>
                  <a:pt x="470" y="4295"/>
                  <a:pt x="295" y="4088"/>
                </a:cubicBezTo>
                <a:cubicBezTo>
                  <a:pt x="184" y="3977"/>
                  <a:pt x="152" y="3802"/>
                  <a:pt x="168" y="3595"/>
                </a:cubicBezTo>
                <a:cubicBezTo>
                  <a:pt x="232" y="3102"/>
                  <a:pt x="773" y="3118"/>
                  <a:pt x="804" y="3118"/>
                </a:cubicBezTo>
                <a:lnTo>
                  <a:pt x="3874" y="3118"/>
                </a:lnTo>
                <a:cubicBezTo>
                  <a:pt x="3890" y="3118"/>
                  <a:pt x="4447" y="3102"/>
                  <a:pt x="4510" y="3595"/>
                </a:cubicBezTo>
                <a:cubicBezTo>
                  <a:pt x="4526" y="3770"/>
                  <a:pt x="4494" y="3929"/>
                  <a:pt x="4431" y="40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4" name="Freeform: Shape 3">
            <a:extLst>
              <a:ext uri="{FF2B5EF4-FFF2-40B4-BE49-F238E27FC236}">
                <a16:creationId xmlns:a16="http://schemas.microsoft.com/office/drawing/2014/main" id="{ED718EFA-914E-2244-B49B-08AE63D56AE6}"/>
              </a:ext>
            </a:extLst>
          </p:cNvPr>
          <p:cNvSpPr/>
          <p:nvPr/>
        </p:nvSpPr>
        <p:spPr>
          <a:xfrm>
            <a:off x="9999404" y="3352318"/>
            <a:ext cx="1681560" cy="1597320"/>
          </a:xfrm>
          <a:custGeom>
            <a:avLst/>
            <a:gdLst/>
            <a:ahLst/>
            <a:cxnLst>
              <a:cxn ang="3cd4">
                <a:pos x="hc" y="t"/>
              </a:cxn>
              <a:cxn ang="cd2">
                <a:pos x="l" y="vc"/>
              </a:cxn>
              <a:cxn ang="cd4">
                <a:pos x="hc" y="b"/>
              </a:cxn>
              <a:cxn ang="0">
                <a:pos x="r" y="vc"/>
              </a:cxn>
            </a:cxnLst>
            <a:rect l="l" t="t" r="r" b="b"/>
            <a:pathLst>
              <a:path w="4672" h="4438">
                <a:moveTo>
                  <a:pt x="2052" y="2195"/>
                </a:moveTo>
                <a:cubicBezTo>
                  <a:pt x="2020" y="2227"/>
                  <a:pt x="2020" y="2290"/>
                  <a:pt x="2052" y="2306"/>
                </a:cubicBezTo>
                <a:cubicBezTo>
                  <a:pt x="2068" y="2323"/>
                  <a:pt x="2084" y="2338"/>
                  <a:pt x="2099" y="2338"/>
                </a:cubicBezTo>
                <a:cubicBezTo>
                  <a:pt x="2131" y="2338"/>
                  <a:pt x="2147" y="2323"/>
                  <a:pt x="2163" y="2306"/>
                </a:cubicBezTo>
                <a:cubicBezTo>
                  <a:pt x="2259" y="2211"/>
                  <a:pt x="2418" y="2211"/>
                  <a:pt x="2513" y="2306"/>
                </a:cubicBezTo>
                <a:cubicBezTo>
                  <a:pt x="2545" y="2338"/>
                  <a:pt x="2593" y="2338"/>
                  <a:pt x="2624" y="2306"/>
                </a:cubicBezTo>
                <a:cubicBezTo>
                  <a:pt x="2656" y="2290"/>
                  <a:pt x="2656" y="2227"/>
                  <a:pt x="2624" y="2195"/>
                </a:cubicBezTo>
                <a:cubicBezTo>
                  <a:pt x="2465" y="2036"/>
                  <a:pt x="2211" y="2036"/>
                  <a:pt x="2052" y="2195"/>
                </a:cubicBezTo>
                <a:close/>
                <a:moveTo>
                  <a:pt x="2338" y="1416"/>
                </a:moveTo>
                <a:cubicBezTo>
                  <a:pt x="2052" y="1416"/>
                  <a:pt x="1781" y="1527"/>
                  <a:pt x="1590" y="1734"/>
                </a:cubicBezTo>
                <a:cubicBezTo>
                  <a:pt x="1559" y="1766"/>
                  <a:pt x="1559" y="1814"/>
                  <a:pt x="1590" y="1845"/>
                </a:cubicBezTo>
                <a:cubicBezTo>
                  <a:pt x="1622" y="1877"/>
                  <a:pt x="1670" y="1877"/>
                  <a:pt x="1702" y="1845"/>
                </a:cubicBezTo>
                <a:cubicBezTo>
                  <a:pt x="1861" y="1670"/>
                  <a:pt x="2099" y="1575"/>
                  <a:pt x="2338" y="1575"/>
                </a:cubicBezTo>
                <a:cubicBezTo>
                  <a:pt x="2577" y="1575"/>
                  <a:pt x="2815" y="1670"/>
                  <a:pt x="2990" y="1845"/>
                </a:cubicBezTo>
                <a:cubicBezTo>
                  <a:pt x="3006" y="1861"/>
                  <a:pt x="3022" y="1877"/>
                  <a:pt x="3038" y="1877"/>
                </a:cubicBezTo>
                <a:cubicBezTo>
                  <a:pt x="3054" y="1877"/>
                  <a:pt x="3086" y="1861"/>
                  <a:pt x="3102" y="1845"/>
                </a:cubicBezTo>
                <a:cubicBezTo>
                  <a:pt x="3133" y="1814"/>
                  <a:pt x="3133" y="1766"/>
                  <a:pt x="3102" y="1734"/>
                </a:cubicBezTo>
                <a:cubicBezTo>
                  <a:pt x="2895" y="1527"/>
                  <a:pt x="2624" y="1416"/>
                  <a:pt x="2338" y="1416"/>
                </a:cubicBezTo>
                <a:close/>
                <a:moveTo>
                  <a:pt x="1224" y="1384"/>
                </a:moveTo>
                <a:cubicBezTo>
                  <a:pt x="1845" y="764"/>
                  <a:pt x="2831" y="764"/>
                  <a:pt x="3451" y="1384"/>
                </a:cubicBezTo>
                <a:cubicBezTo>
                  <a:pt x="3468" y="1400"/>
                  <a:pt x="3483" y="1400"/>
                  <a:pt x="3499" y="1400"/>
                </a:cubicBezTo>
                <a:cubicBezTo>
                  <a:pt x="3531" y="1400"/>
                  <a:pt x="3547" y="1400"/>
                  <a:pt x="3563" y="1384"/>
                </a:cubicBezTo>
                <a:cubicBezTo>
                  <a:pt x="3595" y="1352"/>
                  <a:pt x="3595" y="1305"/>
                  <a:pt x="3563" y="1273"/>
                </a:cubicBezTo>
                <a:cubicBezTo>
                  <a:pt x="2895" y="588"/>
                  <a:pt x="1797" y="588"/>
                  <a:pt x="1114" y="1273"/>
                </a:cubicBezTo>
                <a:cubicBezTo>
                  <a:pt x="1081" y="1305"/>
                  <a:pt x="1081" y="1352"/>
                  <a:pt x="1114" y="1384"/>
                </a:cubicBezTo>
                <a:cubicBezTo>
                  <a:pt x="1145" y="1416"/>
                  <a:pt x="1193" y="1416"/>
                  <a:pt x="1224" y="1384"/>
                </a:cubicBezTo>
                <a:close/>
                <a:moveTo>
                  <a:pt x="3865" y="3277"/>
                </a:moveTo>
                <a:cubicBezTo>
                  <a:pt x="3706" y="3277"/>
                  <a:pt x="3595" y="3388"/>
                  <a:pt x="3595" y="3547"/>
                </a:cubicBezTo>
                <a:cubicBezTo>
                  <a:pt x="3595" y="3706"/>
                  <a:pt x="3706" y="3833"/>
                  <a:pt x="3865" y="3833"/>
                </a:cubicBezTo>
                <a:cubicBezTo>
                  <a:pt x="4024" y="3833"/>
                  <a:pt x="4151" y="3706"/>
                  <a:pt x="4151" y="3547"/>
                </a:cubicBezTo>
                <a:cubicBezTo>
                  <a:pt x="4151" y="3388"/>
                  <a:pt x="4024" y="3277"/>
                  <a:pt x="3865" y="3277"/>
                </a:cubicBezTo>
                <a:close/>
                <a:moveTo>
                  <a:pt x="3865" y="3674"/>
                </a:moveTo>
                <a:cubicBezTo>
                  <a:pt x="3801" y="3674"/>
                  <a:pt x="3754" y="3611"/>
                  <a:pt x="3754" y="3547"/>
                </a:cubicBezTo>
                <a:cubicBezTo>
                  <a:pt x="3754" y="3484"/>
                  <a:pt x="3801" y="3436"/>
                  <a:pt x="3865" y="3436"/>
                </a:cubicBezTo>
                <a:cubicBezTo>
                  <a:pt x="3929" y="3436"/>
                  <a:pt x="3992" y="3484"/>
                  <a:pt x="3992" y="3547"/>
                </a:cubicBezTo>
                <a:cubicBezTo>
                  <a:pt x="3992" y="3611"/>
                  <a:pt x="3929" y="3674"/>
                  <a:pt x="3865" y="3674"/>
                </a:cubicBezTo>
                <a:close/>
                <a:moveTo>
                  <a:pt x="4295" y="636"/>
                </a:moveTo>
                <a:cubicBezTo>
                  <a:pt x="4247" y="270"/>
                  <a:pt x="3929" y="0"/>
                  <a:pt x="3563" y="0"/>
                </a:cubicBezTo>
                <a:lnTo>
                  <a:pt x="1129" y="0"/>
                </a:lnTo>
                <a:cubicBezTo>
                  <a:pt x="748" y="0"/>
                  <a:pt x="429" y="270"/>
                  <a:pt x="382" y="636"/>
                </a:cubicBezTo>
                <a:lnTo>
                  <a:pt x="16" y="3515"/>
                </a:lnTo>
                <a:cubicBezTo>
                  <a:pt x="-32" y="3802"/>
                  <a:pt x="32" y="4024"/>
                  <a:pt x="175" y="4199"/>
                </a:cubicBezTo>
                <a:cubicBezTo>
                  <a:pt x="382" y="4422"/>
                  <a:pt x="715" y="4438"/>
                  <a:pt x="795" y="4438"/>
                </a:cubicBezTo>
                <a:lnTo>
                  <a:pt x="811" y="4438"/>
                </a:lnTo>
                <a:lnTo>
                  <a:pt x="3865" y="4438"/>
                </a:lnTo>
                <a:cubicBezTo>
                  <a:pt x="3881" y="4438"/>
                  <a:pt x="4247" y="4454"/>
                  <a:pt x="4486" y="4215"/>
                </a:cubicBezTo>
                <a:lnTo>
                  <a:pt x="4501" y="4199"/>
                </a:lnTo>
                <a:lnTo>
                  <a:pt x="4517" y="4183"/>
                </a:lnTo>
                <a:lnTo>
                  <a:pt x="4533" y="4168"/>
                </a:lnTo>
                <a:lnTo>
                  <a:pt x="4533" y="4151"/>
                </a:lnTo>
                <a:cubicBezTo>
                  <a:pt x="4549" y="4151"/>
                  <a:pt x="4549" y="4151"/>
                  <a:pt x="4549" y="4136"/>
                </a:cubicBezTo>
                <a:cubicBezTo>
                  <a:pt x="4554" y="4131"/>
                  <a:pt x="4565" y="4136"/>
                  <a:pt x="4565" y="4120"/>
                </a:cubicBezTo>
                <a:cubicBezTo>
                  <a:pt x="4660" y="3960"/>
                  <a:pt x="4692" y="3754"/>
                  <a:pt x="4660" y="3515"/>
                </a:cubicBezTo>
                <a:close/>
                <a:moveTo>
                  <a:pt x="541" y="668"/>
                </a:moveTo>
                <a:cubicBezTo>
                  <a:pt x="588" y="366"/>
                  <a:pt x="827" y="159"/>
                  <a:pt x="1129" y="159"/>
                </a:cubicBezTo>
                <a:lnTo>
                  <a:pt x="3563" y="159"/>
                </a:lnTo>
                <a:cubicBezTo>
                  <a:pt x="3849" y="159"/>
                  <a:pt x="4104" y="366"/>
                  <a:pt x="4135" y="668"/>
                </a:cubicBezTo>
                <a:lnTo>
                  <a:pt x="4453" y="3165"/>
                </a:lnTo>
                <a:cubicBezTo>
                  <a:pt x="4278" y="2990"/>
                  <a:pt x="4024" y="2959"/>
                  <a:pt x="3865" y="2959"/>
                </a:cubicBezTo>
                <a:lnTo>
                  <a:pt x="811" y="2959"/>
                </a:lnTo>
                <a:cubicBezTo>
                  <a:pt x="652" y="2959"/>
                  <a:pt x="397" y="2990"/>
                  <a:pt x="223" y="3165"/>
                </a:cubicBezTo>
                <a:close/>
                <a:moveTo>
                  <a:pt x="4438" y="4040"/>
                </a:moveTo>
                <a:lnTo>
                  <a:pt x="4422" y="4040"/>
                </a:lnTo>
                <a:cubicBezTo>
                  <a:pt x="4422" y="4056"/>
                  <a:pt x="4422" y="4056"/>
                  <a:pt x="4406" y="4056"/>
                </a:cubicBezTo>
                <a:lnTo>
                  <a:pt x="4406" y="4072"/>
                </a:lnTo>
                <a:cubicBezTo>
                  <a:pt x="4400" y="4077"/>
                  <a:pt x="4390" y="4072"/>
                  <a:pt x="4390" y="4088"/>
                </a:cubicBezTo>
                <a:lnTo>
                  <a:pt x="4374" y="4104"/>
                </a:lnTo>
                <a:cubicBezTo>
                  <a:pt x="4199" y="4295"/>
                  <a:pt x="3881" y="4279"/>
                  <a:pt x="3865" y="4279"/>
                </a:cubicBezTo>
                <a:lnTo>
                  <a:pt x="811" y="4279"/>
                </a:lnTo>
                <a:cubicBezTo>
                  <a:pt x="795" y="4279"/>
                  <a:pt x="477" y="4295"/>
                  <a:pt x="286" y="4088"/>
                </a:cubicBezTo>
                <a:cubicBezTo>
                  <a:pt x="191" y="3977"/>
                  <a:pt x="143" y="3802"/>
                  <a:pt x="175" y="3595"/>
                </a:cubicBezTo>
                <a:cubicBezTo>
                  <a:pt x="239" y="3102"/>
                  <a:pt x="779" y="3118"/>
                  <a:pt x="811" y="3118"/>
                </a:cubicBezTo>
                <a:lnTo>
                  <a:pt x="3881" y="3118"/>
                </a:lnTo>
                <a:cubicBezTo>
                  <a:pt x="3897" y="3118"/>
                  <a:pt x="4438" y="3102"/>
                  <a:pt x="4517" y="3595"/>
                </a:cubicBezTo>
                <a:cubicBezTo>
                  <a:pt x="4533" y="3770"/>
                  <a:pt x="4501" y="3929"/>
                  <a:pt x="4438" y="40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16278541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Finance / Security - 1</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12" name="TextBox 11">
            <a:extLst>
              <a:ext uri="{FF2B5EF4-FFF2-40B4-BE49-F238E27FC236}">
                <a16:creationId xmlns:a16="http://schemas.microsoft.com/office/drawing/2014/main" id="{7FD05C3A-1A1C-6145-AE2A-6928D9A1C8B5}"/>
              </a:ext>
            </a:extLst>
          </p:cNvPr>
          <p:cNvSpPr txBox="1"/>
          <p:nvPr/>
        </p:nvSpPr>
        <p:spPr>
          <a:xfrm>
            <a:off x="1052420" y="5164929"/>
            <a:ext cx="3153820" cy="89383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ccounting Budgets Profit</a:t>
            </a:r>
          </a:p>
        </p:txBody>
      </p:sp>
      <p:sp>
        <p:nvSpPr>
          <p:cNvPr id="13" name="TextBox 12">
            <a:extLst>
              <a:ext uri="{FF2B5EF4-FFF2-40B4-BE49-F238E27FC236}">
                <a16:creationId xmlns:a16="http://schemas.microsoft.com/office/drawing/2014/main" id="{205156E3-7F45-8940-A497-1CF160C620FC}"/>
              </a:ext>
            </a:extLst>
          </p:cNvPr>
          <p:cNvSpPr txBox="1"/>
          <p:nvPr/>
        </p:nvSpPr>
        <p:spPr>
          <a:xfrm>
            <a:off x="5032286" y="5164929"/>
            <a:ext cx="3502114"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ccounting Value Balance</a:t>
            </a:r>
          </a:p>
        </p:txBody>
      </p:sp>
      <p:sp>
        <p:nvSpPr>
          <p:cNvPr id="14" name="TextBox 13">
            <a:extLst>
              <a:ext uri="{FF2B5EF4-FFF2-40B4-BE49-F238E27FC236}">
                <a16:creationId xmlns:a16="http://schemas.microsoft.com/office/drawing/2014/main" id="{583710BE-5982-6249-B207-C44426E4D11E}"/>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ward</a:t>
            </a:r>
          </a:p>
        </p:txBody>
      </p:sp>
      <p:sp>
        <p:nvSpPr>
          <p:cNvPr id="15" name="TextBox 14">
            <a:extLst>
              <a:ext uri="{FF2B5EF4-FFF2-40B4-BE49-F238E27FC236}">
                <a16:creationId xmlns:a16="http://schemas.microsoft.com/office/drawing/2014/main" id="{D382F633-421D-124D-9378-5FF41A8E6679}"/>
              </a:ext>
            </a:extLst>
          </p:cNvPr>
          <p:cNvSpPr txBox="1"/>
          <p:nvPr/>
        </p:nvSpPr>
        <p:spPr>
          <a:xfrm>
            <a:off x="13111734" y="5164929"/>
            <a:ext cx="334196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lance Justice</a:t>
            </a:r>
          </a:p>
        </p:txBody>
      </p:sp>
      <p:sp>
        <p:nvSpPr>
          <p:cNvPr id="16" name="TextBox 15">
            <a:extLst>
              <a:ext uri="{FF2B5EF4-FFF2-40B4-BE49-F238E27FC236}">
                <a16:creationId xmlns:a16="http://schemas.microsoft.com/office/drawing/2014/main" id="{80EA86D8-B181-D04F-8C6A-F93ADD52EDDC}"/>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orrect</a:t>
            </a:r>
          </a:p>
        </p:txBody>
      </p:sp>
      <p:sp>
        <p:nvSpPr>
          <p:cNvPr id="17" name="TextBox 16">
            <a:extLst>
              <a:ext uri="{FF2B5EF4-FFF2-40B4-BE49-F238E27FC236}">
                <a16:creationId xmlns:a16="http://schemas.microsoft.com/office/drawing/2014/main" id="{74ABACC3-162F-B241-B990-B3B9FD560667}"/>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urrency</a:t>
            </a:r>
          </a:p>
        </p:txBody>
      </p:sp>
      <p:sp>
        <p:nvSpPr>
          <p:cNvPr id="18" name="TextBox 17">
            <a:extLst>
              <a:ext uri="{FF2B5EF4-FFF2-40B4-BE49-F238E27FC236}">
                <a16:creationId xmlns:a16="http://schemas.microsoft.com/office/drawing/2014/main" id="{87C3B899-88D4-BA4C-8A2D-DCA4A35C66EE}"/>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eposit</a:t>
            </a:r>
          </a:p>
        </p:txBody>
      </p:sp>
      <p:sp>
        <p:nvSpPr>
          <p:cNvPr id="19" name="TextBox 18">
            <a:extLst>
              <a:ext uri="{FF2B5EF4-FFF2-40B4-BE49-F238E27FC236}">
                <a16:creationId xmlns:a16="http://schemas.microsoft.com/office/drawing/2014/main" id="{F98F87F4-AB56-804F-A5D4-480C8E9595B3}"/>
              </a:ext>
            </a:extLst>
          </p:cNvPr>
          <p:cNvSpPr txBox="1"/>
          <p:nvPr/>
        </p:nvSpPr>
        <p:spPr>
          <a:xfrm>
            <a:off x="9084538" y="8292956"/>
            <a:ext cx="3564662"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wntime Reduce Time </a:t>
            </a:r>
          </a:p>
        </p:txBody>
      </p:sp>
      <p:sp>
        <p:nvSpPr>
          <p:cNvPr id="20" name="TextBox 19">
            <a:extLst>
              <a:ext uri="{FF2B5EF4-FFF2-40B4-BE49-F238E27FC236}">
                <a16:creationId xmlns:a16="http://schemas.microsoft.com/office/drawing/2014/main" id="{0D933308-F108-974E-8E14-9F23161E3D1B}"/>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Commerce Down</a:t>
            </a:r>
          </a:p>
        </p:txBody>
      </p:sp>
      <p:sp>
        <p:nvSpPr>
          <p:cNvPr id="21" name="TextBox 20">
            <a:extLst>
              <a:ext uri="{FF2B5EF4-FFF2-40B4-BE49-F238E27FC236}">
                <a16:creationId xmlns:a16="http://schemas.microsoft.com/office/drawing/2014/main" id="{838EA7BD-E779-E546-BF79-1AD885211775}"/>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inancial Bank</a:t>
            </a:r>
          </a:p>
        </p:txBody>
      </p:sp>
      <p:sp>
        <p:nvSpPr>
          <p:cNvPr id="22" name="TextBox 21">
            <a:extLst>
              <a:ext uri="{FF2B5EF4-FFF2-40B4-BE49-F238E27FC236}">
                <a16:creationId xmlns:a16="http://schemas.microsoft.com/office/drawing/2014/main" id="{558E1E36-A3FE-884E-A69A-B546A077E848}"/>
              </a:ext>
            </a:extLst>
          </p:cNvPr>
          <p:cNvSpPr txBox="1"/>
          <p:nvPr/>
        </p:nvSpPr>
        <p:spPr>
          <a:xfrm>
            <a:off x="-47946" y="11657695"/>
            <a:ext cx="5354552"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ocial and </a:t>
            </a:r>
            <a:br>
              <a:rPr lang="en-US" sz="2800" dirty="0"/>
            </a:br>
            <a:r>
              <a:rPr lang="en-US" sz="2800" dirty="0"/>
              <a:t>Web Analytics</a:t>
            </a:r>
          </a:p>
        </p:txBody>
      </p:sp>
      <p:sp>
        <p:nvSpPr>
          <p:cNvPr id="23" name="TextBox 22">
            <a:extLst>
              <a:ext uri="{FF2B5EF4-FFF2-40B4-BE49-F238E27FC236}">
                <a16:creationId xmlns:a16="http://schemas.microsoft.com/office/drawing/2014/main" id="{C94EE4EC-A929-264B-89EB-073E82121E7B}"/>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ternational</a:t>
            </a:r>
          </a:p>
        </p:txBody>
      </p:sp>
      <p:sp>
        <p:nvSpPr>
          <p:cNvPr id="24" name="TextBox 23">
            <a:extLst>
              <a:ext uri="{FF2B5EF4-FFF2-40B4-BE49-F238E27FC236}">
                <a16:creationId xmlns:a16="http://schemas.microsoft.com/office/drawing/2014/main" id="{8CF210FD-C13E-3940-8B97-74D33A7A20D4}"/>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ternational 2</a:t>
            </a:r>
          </a:p>
        </p:txBody>
      </p:sp>
      <p:sp>
        <p:nvSpPr>
          <p:cNvPr id="25" name="TextBox 24">
            <a:extLst>
              <a:ext uri="{FF2B5EF4-FFF2-40B4-BE49-F238E27FC236}">
                <a16:creationId xmlns:a16="http://schemas.microsoft.com/office/drawing/2014/main" id="{DB3C78A4-747D-F443-AF59-9CD8B945E458}"/>
              </a:ext>
            </a:extLst>
          </p:cNvPr>
          <p:cNvSpPr txBox="1"/>
          <p:nvPr/>
        </p:nvSpPr>
        <p:spPr>
          <a:xfrm>
            <a:off x="13471996" y="11657695"/>
            <a:ext cx="2621444"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ternational Travel</a:t>
            </a:r>
          </a:p>
        </p:txBody>
      </p:sp>
      <p:sp>
        <p:nvSpPr>
          <p:cNvPr id="26" name="TextBox 25">
            <a:extLst>
              <a:ext uri="{FF2B5EF4-FFF2-40B4-BE49-F238E27FC236}">
                <a16:creationId xmlns:a16="http://schemas.microsoft.com/office/drawing/2014/main" id="{A133CC96-CACC-FF44-8BC3-0643522B3BAC}"/>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ock Secure</a:t>
            </a:r>
          </a:p>
        </p:txBody>
      </p:sp>
      <p:sp>
        <p:nvSpPr>
          <p:cNvPr id="27" name="Freeform: Shape 26">
            <a:extLst>
              <a:ext uri="{FF2B5EF4-FFF2-40B4-BE49-F238E27FC236}">
                <a16:creationId xmlns:a16="http://schemas.microsoft.com/office/drawing/2014/main" id="{8B73EA32-ABE2-4A4B-892D-79E61202D2A1}"/>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8" name="TextBox 27">
            <a:extLst>
              <a:ext uri="{FF2B5EF4-FFF2-40B4-BE49-F238E27FC236}">
                <a16:creationId xmlns:a16="http://schemas.microsoft.com/office/drawing/2014/main" id="{E6B04F7C-F582-4440-AFF2-B096B5EAE09E}"/>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rder Patrol</a:t>
            </a:r>
          </a:p>
        </p:txBody>
      </p:sp>
      <p:sp>
        <p:nvSpPr>
          <p:cNvPr id="29" name="TextBox 28">
            <a:extLst>
              <a:ext uri="{FF2B5EF4-FFF2-40B4-BE49-F238E27FC236}">
                <a16:creationId xmlns:a16="http://schemas.microsoft.com/office/drawing/2014/main" id="{C01EA993-94A8-134E-814B-254698713F3C}"/>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Commerce Up</a:t>
            </a:r>
          </a:p>
        </p:txBody>
      </p:sp>
      <p:sp>
        <p:nvSpPr>
          <p:cNvPr id="30" name="TextBox 29">
            <a:extLst>
              <a:ext uri="{FF2B5EF4-FFF2-40B4-BE49-F238E27FC236}">
                <a16:creationId xmlns:a16="http://schemas.microsoft.com/office/drawing/2014/main" id="{AF067AE7-9AC1-7A4C-BAB7-869B1B4BDBF2}"/>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ternet Security</a:t>
            </a:r>
          </a:p>
        </p:txBody>
      </p:sp>
      <p:sp>
        <p:nvSpPr>
          <p:cNvPr id="31" name="Freeform: Shape 13">
            <a:extLst>
              <a:ext uri="{FF2B5EF4-FFF2-40B4-BE49-F238E27FC236}">
                <a16:creationId xmlns:a16="http://schemas.microsoft.com/office/drawing/2014/main" id="{6EB11402-3035-794A-AED6-32E3DCE22DBA}"/>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2" name="Freeform: Shape 1">
            <a:extLst>
              <a:ext uri="{FF2B5EF4-FFF2-40B4-BE49-F238E27FC236}">
                <a16:creationId xmlns:a16="http://schemas.microsoft.com/office/drawing/2014/main" id="{7D145574-5B51-CE48-82AD-BEB4B517510F}"/>
              </a:ext>
            </a:extLst>
          </p:cNvPr>
          <p:cNvSpPr/>
          <p:nvPr/>
        </p:nvSpPr>
        <p:spPr>
          <a:xfrm>
            <a:off x="1763510" y="3136213"/>
            <a:ext cx="1946160" cy="1591200"/>
          </a:xfrm>
          <a:custGeom>
            <a:avLst/>
            <a:gdLst/>
            <a:ahLst/>
            <a:cxnLst>
              <a:cxn ang="3cd4">
                <a:pos x="hc" y="t"/>
              </a:cxn>
              <a:cxn ang="cd2">
                <a:pos x="l" y="vc"/>
              </a:cxn>
              <a:cxn ang="cd4">
                <a:pos x="hc" y="b"/>
              </a:cxn>
              <a:cxn ang="0">
                <a:pos x="r" y="vc"/>
              </a:cxn>
            </a:cxnLst>
            <a:rect l="l" t="t" r="r" b="b"/>
            <a:pathLst>
              <a:path w="5407" h="4421">
                <a:moveTo>
                  <a:pt x="3992" y="3690"/>
                </a:moveTo>
                <a:cubicBezTo>
                  <a:pt x="4024" y="3690"/>
                  <a:pt x="4071" y="3658"/>
                  <a:pt x="4071" y="3611"/>
                </a:cubicBezTo>
                <a:lnTo>
                  <a:pt x="4071" y="3420"/>
                </a:lnTo>
                <a:cubicBezTo>
                  <a:pt x="4214" y="3403"/>
                  <a:pt x="4358" y="3324"/>
                  <a:pt x="4405" y="3165"/>
                </a:cubicBezTo>
                <a:lnTo>
                  <a:pt x="4405" y="3117"/>
                </a:lnTo>
                <a:cubicBezTo>
                  <a:pt x="4422" y="3022"/>
                  <a:pt x="4390" y="2911"/>
                  <a:pt x="4326" y="2847"/>
                </a:cubicBezTo>
                <a:cubicBezTo>
                  <a:pt x="4278" y="2815"/>
                  <a:pt x="4231" y="2799"/>
                  <a:pt x="4183" y="2767"/>
                </a:cubicBezTo>
                <a:cubicBezTo>
                  <a:pt x="4119" y="2751"/>
                  <a:pt x="4071" y="2736"/>
                  <a:pt x="4008" y="2720"/>
                </a:cubicBezTo>
                <a:cubicBezTo>
                  <a:pt x="3960" y="2704"/>
                  <a:pt x="3896" y="2688"/>
                  <a:pt x="3849" y="2656"/>
                </a:cubicBezTo>
                <a:cubicBezTo>
                  <a:pt x="3801" y="2640"/>
                  <a:pt x="3769" y="2608"/>
                  <a:pt x="3753" y="2593"/>
                </a:cubicBezTo>
                <a:cubicBezTo>
                  <a:pt x="3738" y="2545"/>
                  <a:pt x="3738" y="2481"/>
                  <a:pt x="3769" y="2433"/>
                </a:cubicBezTo>
                <a:cubicBezTo>
                  <a:pt x="3833" y="2354"/>
                  <a:pt x="3976" y="2370"/>
                  <a:pt x="4040" y="2370"/>
                </a:cubicBezTo>
                <a:cubicBezTo>
                  <a:pt x="4183" y="2385"/>
                  <a:pt x="4188" y="2423"/>
                  <a:pt x="4262" y="2449"/>
                </a:cubicBezTo>
                <a:cubicBezTo>
                  <a:pt x="4310" y="2481"/>
                  <a:pt x="4358" y="2465"/>
                  <a:pt x="4374" y="2433"/>
                </a:cubicBezTo>
                <a:cubicBezTo>
                  <a:pt x="4405" y="2402"/>
                  <a:pt x="4405" y="2354"/>
                  <a:pt x="4358" y="2322"/>
                </a:cubicBezTo>
                <a:cubicBezTo>
                  <a:pt x="4263" y="2285"/>
                  <a:pt x="4246" y="2242"/>
                  <a:pt x="4071" y="2211"/>
                </a:cubicBezTo>
                <a:lnTo>
                  <a:pt x="4071" y="2020"/>
                </a:lnTo>
                <a:cubicBezTo>
                  <a:pt x="4071" y="1972"/>
                  <a:pt x="4024" y="1940"/>
                  <a:pt x="3992" y="1940"/>
                </a:cubicBezTo>
                <a:cubicBezTo>
                  <a:pt x="3944" y="1940"/>
                  <a:pt x="3913" y="1972"/>
                  <a:pt x="3913" y="2020"/>
                </a:cubicBezTo>
                <a:lnTo>
                  <a:pt x="3913" y="2211"/>
                </a:lnTo>
                <a:cubicBezTo>
                  <a:pt x="3801" y="2227"/>
                  <a:pt x="3705" y="2274"/>
                  <a:pt x="3658" y="2338"/>
                </a:cubicBezTo>
                <a:cubicBezTo>
                  <a:pt x="3578" y="2417"/>
                  <a:pt x="3562" y="2545"/>
                  <a:pt x="3610" y="2656"/>
                </a:cubicBezTo>
                <a:cubicBezTo>
                  <a:pt x="3642" y="2720"/>
                  <a:pt x="3690" y="2767"/>
                  <a:pt x="3785" y="2799"/>
                </a:cubicBezTo>
                <a:cubicBezTo>
                  <a:pt x="3849" y="2831"/>
                  <a:pt x="3896" y="2847"/>
                  <a:pt x="3960" y="2863"/>
                </a:cubicBezTo>
                <a:cubicBezTo>
                  <a:pt x="4024" y="2879"/>
                  <a:pt x="4071" y="2894"/>
                  <a:pt x="4119" y="2926"/>
                </a:cubicBezTo>
                <a:cubicBezTo>
                  <a:pt x="4167" y="2942"/>
                  <a:pt x="4199" y="2958"/>
                  <a:pt x="4214" y="2974"/>
                </a:cubicBezTo>
                <a:cubicBezTo>
                  <a:pt x="4246" y="3006"/>
                  <a:pt x="4262" y="3054"/>
                  <a:pt x="4246" y="3117"/>
                </a:cubicBezTo>
                <a:cubicBezTo>
                  <a:pt x="4231" y="3213"/>
                  <a:pt x="4119" y="3260"/>
                  <a:pt x="4024" y="3260"/>
                </a:cubicBezTo>
                <a:cubicBezTo>
                  <a:pt x="3896" y="3276"/>
                  <a:pt x="3753" y="3229"/>
                  <a:pt x="3642" y="3133"/>
                </a:cubicBezTo>
                <a:cubicBezTo>
                  <a:pt x="3610" y="3102"/>
                  <a:pt x="3562" y="3117"/>
                  <a:pt x="3531" y="3149"/>
                </a:cubicBezTo>
                <a:cubicBezTo>
                  <a:pt x="3499" y="3181"/>
                  <a:pt x="3515" y="3229"/>
                  <a:pt x="3547" y="3260"/>
                </a:cubicBezTo>
                <a:cubicBezTo>
                  <a:pt x="3658" y="3340"/>
                  <a:pt x="3769" y="3403"/>
                  <a:pt x="3913" y="3420"/>
                </a:cubicBezTo>
                <a:lnTo>
                  <a:pt x="3913" y="3611"/>
                </a:lnTo>
                <a:cubicBezTo>
                  <a:pt x="3913" y="3658"/>
                  <a:pt x="3944" y="3690"/>
                  <a:pt x="3992" y="3690"/>
                </a:cubicBezTo>
                <a:close/>
                <a:moveTo>
                  <a:pt x="5328" y="3769"/>
                </a:moveTo>
                <a:lnTo>
                  <a:pt x="652" y="3769"/>
                </a:lnTo>
                <a:lnTo>
                  <a:pt x="652" y="79"/>
                </a:lnTo>
                <a:cubicBezTo>
                  <a:pt x="652" y="48"/>
                  <a:pt x="620" y="0"/>
                  <a:pt x="572" y="0"/>
                </a:cubicBezTo>
                <a:cubicBezTo>
                  <a:pt x="524" y="0"/>
                  <a:pt x="493" y="48"/>
                  <a:pt x="493" y="79"/>
                </a:cubicBezTo>
                <a:lnTo>
                  <a:pt x="493" y="3769"/>
                </a:lnTo>
                <a:lnTo>
                  <a:pt x="79" y="3769"/>
                </a:lnTo>
                <a:cubicBezTo>
                  <a:pt x="32" y="3769"/>
                  <a:pt x="0" y="3801"/>
                  <a:pt x="0" y="3849"/>
                </a:cubicBezTo>
                <a:cubicBezTo>
                  <a:pt x="0" y="3881"/>
                  <a:pt x="32" y="3929"/>
                  <a:pt x="79" y="3929"/>
                </a:cubicBezTo>
                <a:lnTo>
                  <a:pt x="493" y="3929"/>
                </a:lnTo>
                <a:lnTo>
                  <a:pt x="493" y="4342"/>
                </a:lnTo>
                <a:cubicBezTo>
                  <a:pt x="493" y="4390"/>
                  <a:pt x="524" y="4421"/>
                  <a:pt x="572" y="4421"/>
                </a:cubicBezTo>
                <a:cubicBezTo>
                  <a:pt x="620" y="4421"/>
                  <a:pt x="652" y="4390"/>
                  <a:pt x="652" y="4342"/>
                </a:cubicBezTo>
                <a:lnTo>
                  <a:pt x="652" y="3929"/>
                </a:lnTo>
                <a:lnTo>
                  <a:pt x="5328" y="3929"/>
                </a:lnTo>
                <a:cubicBezTo>
                  <a:pt x="5376" y="3929"/>
                  <a:pt x="5407" y="3881"/>
                  <a:pt x="5407" y="3849"/>
                </a:cubicBezTo>
                <a:cubicBezTo>
                  <a:pt x="5407" y="3801"/>
                  <a:pt x="5376" y="3769"/>
                  <a:pt x="5328" y="3769"/>
                </a:cubicBezTo>
                <a:close/>
                <a:moveTo>
                  <a:pt x="842" y="3690"/>
                </a:moveTo>
                <a:cubicBezTo>
                  <a:pt x="874" y="3690"/>
                  <a:pt x="890" y="3690"/>
                  <a:pt x="906" y="3658"/>
                </a:cubicBezTo>
                <a:lnTo>
                  <a:pt x="1829" y="2561"/>
                </a:lnTo>
                <a:lnTo>
                  <a:pt x="2147" y="2815"/>
                </a:lnTo>
                <a:cubicBezTo>
                  <a:pt x="2163" y="2815"/>
                  <a:pt x="2195" y="2831"/>
                  <a:pt x="2211" y="2831"/>
                </a:cubicBezTo>
                <a:cubicBezTo>
                  <a:pt x="2226" y="2815"/>
                  <a:pt x="2242" y="2815"/>
                  <a:pt x="2258" y="2799"/>
                </a:cubicBezTo>
                <a:lnTo>
                  <a:pt x="2974" y="1861"/>
                </a:lnTo>
                <a:lnTo>
                  <a:pt x="3340" y="2099"/>
                </a:lnTo>
                <a:cubicBezTo>
                  <a:pt x="3372" y="2131"/>
                  <a:pt x="3419" y="2115"/>
                  <a:pt x="3451" y="2084"/>
                </a:cubicBezTo>
                <a:lnTo>
                  <a:pt x="4611" y="525"/>
                </a:lnTo>
                <a:cubicBezTo>
                  <a:pt x="4627" y="493"/>
                  <a:pt x="4627" y="429"/>
                  <a:pt x="4595" y="413"/>
                </a:cubicBezTo>
                <a:cubicBezTo>
                  <a:pt x="4548" y="382"/>
                  <a:pt x="4500" y="397"/>
                  <a:pt x="4484" y="429"/>
                </a:cubicBezTo>
                <a:lnTo>
                  <a:pt x="3356" y="1940"/>
                </a:lnTo>
                <a:lnTo>
                  <a:pt x="2990" y="1702"/>
                </a:lnTo>
                <a:cubicBezTo>
                  <a:pt x="2958" y="1670"/>
                  <a:pt x="2910" y="1686"/>
                  <a:pt x="2878" y="1718"/>
                </a:cubicBezTo>
                <a:lnTo>
                  <a:pt x="2178" y="2640"/>
                </a:lnTo>
                <a:lnTo>
                  <a:pt x="1860" y="2385"/>
                </a:lnTo>
                <a:cubicBezTo>
                  <a:pt x="1829" y="2370"/>
                  <a:pt x="1781" y="2370"/>
                  <a:pt x="1749" y="2402"/>
                </a:cubicBezTo>
                <a:lnTo>
                  <a:pt x="779" y="3563"/>
                </a:lnTo>
                <a:cubicBezTo>
                  <a:pt x="763" y="3594"/>
                  <a:pt x="763" y="3642"/>
                  <a:pt x="795" y="3674"/>
                </a:cubicBezTo>
                <a:cubicBezTo>
                  <a:pt x="811" y="3690"/>
                  <a:pt x="827" y="3690"/>
                  <a:pt x="842" y="369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3" name="Freeform: Shape 2">
            <a:extLst>
              <a:ext uri="{FF2B5EF4-FFF2-40B4-BE49-F238E27FC236}">
                <a16:creationId xmlns:a16="http://schemas.microsoft.com/office/drawing/2014/main" id="{A95806B6-8376-EE4C-8AAC-F5291E3F6050}"/>
              </a:ext>
            </a:extLst>
          </p:cNvPr>
          <p:cNvSpPr/>
          <p:nvPr/>
        </p:nvSpPr>
        <p:spPr>
          <a:xfrm>
            <a:off x="10197397" y="3006253"/>
            <a:ext cx="1324080" cy="1852919"/>
          </a:xfrm>
          <a:custGeom>
            <a:avLst/>
            <a:gdLst/>
            <a:ahLst/>
            <a:cxnLst>
              <a:cxn ang="3cd4">
                <a:pos x="hc" y="t"/>
              </a:cxn>
              <a:cxn ang="cd2">
                <a:pos x="l" y="vc"/>
              </a:cxn>
              <a:cxn ang="cd4">
                <a:pos x="hc" y="b"/>
              </a:cxn>
              <a:cxn ang="0">
                <a:pos x="r" y="vc"/>
              </a:cxn>
            </a:cxnLst>
            <a:rect l="l" t="t" r="r" b="b"/>
            <a:pathLst>
              <a:path w="3679" h="5148">
                <a:moveTo>
                  <a:pt x="1831" y="3033"/>
                </a:moveTo>
                <a:cubicBezTo>
                  <a:pt x="2499" y="3033"/>
                  <a:pt x="3055" y="2492"/>
                  <a:pt x="3055" y="1824"/>
                </a:cubicBezTo>
                <a:cubicBezTo>
                  <a:pt x="3055" y="1156"/>
                  <a:pt x="2499" y="615"/>
                  <a:pt x="1831" y="615"/>
                </a:cubicBezTo>
                <a:cubicBezTo>
                  <a:pt x="1179" y="615"/>
                  <a:pt x="622" y="1156"/>
                  <a:pt x="622" y="1824"/>
                </a:cubicBezTo>
                <a:cubicBezTo>
                  <a:pt x="622" y="2492"/>
                  <a:pt x="1179" y="3033"/>
                  <a:pt x="1831" y="3033"/>
                </a:cubicBezTo>
                <a:close/>
                <a:moveTo>
                  <a:pt x="1831" y="774"/>
                </a:moveTo>
                <a:cubicBezTo>
                  <a:pt x="2419" y="774"/>
                  <a:pt x="2897" y="1252"/>
                  <a:pt x="2897" y="1824"/>
                </a:cubicBezTo>
                <a:cubicBezTo>
                  <a:pt x="2897" y="2413"/>
                  <a:pt x="2419" y="2874"/>
                  <a:pt x="1831" y="2874"/>
                </a:cubicBezTo>
                <a:cubicBezTo>
                  <a:pt x="1258" y="2874"/>
                  <a:pt x="781" y="2413"/>
                  <a:pt x="781" y="1824"/>
                </a:cubicBezTo>
                <a:cubicBezTo>
                  <a:pt x="781" y="1252"/>
                  <a:pt x="1258" y="774"/>
                  <a:pt x="1831" y="774"/>
                </a:cubicBezTo>
                <a:close/>
                <a:moveTo>
                  <a:pt x="34" y="1824"/>
                </a:moveTo>
                <a:cubicBezTo>
                  <a:pt x="-14" y="1904"/>
                  <a:pt x="-14" y="2015"/>
                  <a:pt x="49" y="2094"/>
                </a:cubicBezTo>
                <a:lnTo>
                  <a:pt x="81" y="2142"/>
                </a:lnTo>
                <a:cubicBezTo>
                  <a:pt x="97" y="2158"/>
                  <a:pt x="113" y="2190"/>
                  <a:pt x="97" y="2206"/>
                </a:cubicBezTo>
                <a:lnTo>
                  <a:pt x="81" y="2270"/>
                </a:lnTo>
                <a:cubicBezTo>
                  <a:pt x="49" y="2365"/>
                  <a:pt x="81" y="2460"/>
                  <a:pt x="161" y="2524"/>
                </a:cubicBezTo>
                <a:lnTo>
                  <a:pt x="208" y="2556"/>
                </a:lnTo>
                <a:cubicBezTo>
                  <a:pt x="240" y="2572"/>
                  <a:pt x="240" y="2603"/>
                  <a:pt x="240" y="2635"/>
                </a:cubicBezTo>
                <a:lnTo>
                  <a:pt x="240" y="2683"/>
                </a:lnTo>
                <a:cubicBezTo>
                  <a:pt x="240" y="2794"/>
                  <a:pt x="304" y="2874"/>
                  <a:pt x="383" y="2922"/>
                </a:cubicBezTo>
                <a:lnTo>
                  <a:pt x="447" y="2937"/>
                </a:lnTo>
                <a:cubicBezTo>
                  <a:pt x="463" y="2954"/>
                  <a:pt x="495" y="2969"/>
                  <a:pt x="495" y="3001"/>
                </a:cubicBezTo>
                <a:lnTo>
                  <a:pt x="511" y="3065"/>
                </a:lnTo>
                <a:cubicBezTo>
                  <a:pt x="526" y="3160"/>
                  <a:pt x="606" y="3240"/>
                  <a:pt x="701" y="3240"/>
                </a:cubicBezTo>
                <a:lnTo>
                  <a:pt x="765" y="3255"/>
                </a:lnTo>
                <a:cubicBezTo>
                  <a:pt x="797" y="3255"/>
                  <a:pt x="813" y="3272"/>
                  <a:pt x="829" y="3303"/>
                </a:cubicBezTo>
                <a:lnTo>
                  <a:pt x="844" y="3351"/>
                </a:lnTo>
                <a:cubicBezTo>
                  <a:pt x="861" y="3367"/>
                  <a:pt x="877" y="3399"/>
                  <a:pt x="892" y="3415"/>
                </a:cubicBezTo>
                <a:lnTo>
                  <a:pt x="892" y="5069"/>
                </a:lnTo>
                <a:cubicBezTo>
                  <a:pt x="892" y="5100"/>
                  <a:pt x="908" y="5117"/>
                  <a:pt x="940" y="5133"/>
                </a:cubicBezTo>
                <a:cubicBezTo>
                  <a:pt x="972" y="5148"/>
                  <a:pt x="1004" y="5148"/>
                  <a:pt x="1020" y="5117"/>
                </a:cubicBezTo>
                <a:lnTo>
                  <a:pt x="1831" y="4448"/>
                </a:lnTo>
                <a:lnTo>
                  <a:pt x="2658" y="5117"/>
                </a:lnTo>
                <a:cubicBezTo>
                  <a:pt x="2674" y="5133"/>
                  <a:pt x="2690" y="5148"/>
                  <a:pt x="2706" y="5148"/>
                </a:cubicBezTo>
                <a:cubicBezTo>
                  <a:pt x="2722" y="5148"/>
                  <a:pt x="2727" y="5138"/>
                  <a:pt x="2737" y="5133"/>
                </a:cubicBezTo>
                <a:cubicBezTo>
                  <a:pt x="2769" y="5117"/>
                  <a:pt x="2785" y="5085"/>
                  <a:pt x="2785" y="5069"/>
                </a:cubicBezTo>
                <a:lnTo>
                  <a:pt x="2785" y="3415"/>
                </a:lnTo>
                <a:cubicBezTo>
                  <a:pt x="2801" y="3399"/>
                  <a:pt x="2817" y="3367"/>
                  <a:pt x="2833" y="3351"/>
                </a:cubicBezTo>
                <a:lnTo>
                  <a:pt x="2849" y="3303"/>
                </a:lnTo>
                <a:cubicBezTo>
                  <a:pt x="2865" y="3272"/>
                  <a:pt x="2880" y="3255"/>
                  <a:pt x="2912" y="3255"/>
                </a:cubicBezTo>
                <a:lnTo>
                  <a:pt x="2976" y="3240"/>
                </a:lnTo>
                <a:cubicBezTo>
                  <a:pt x="3071" y="3240"/>
                  <a:pt x="3151" y="3160"/>
                  <a:pt x="3167" y="3065"/>
                </a:cubicBezTo>
                <a:lnTo>
                  <a:pt x="3183" y="3001"/>
                </a:lnTo>
                <a:cubicBezTo>
                  <a:pt x="3183" y="2969"/>
                  <a:pt x="3215" y="2954"/>
                  <a:pt x="3231" y="2937"/>
                </a:cubicBezTo>
                <a:lnTo>
                  <a:pt x="3294" y="2922"/>
                </a:lnTo>
                <a:cubicBezTo>
                  <a:pt x="3374" y="2874"/>
                  <a:pt x="3437" y="2794"/>
                  <a:pt x="3437" y="2683"/>
                </a:cubicBezTo>
                <a:lnTo>
                  <a:pt x="3437" y="2635"/>
                </a:lnTo>
                <a:cubicBezTo>
                  <a:pt x="3437" y="2603"/>
                  <a:pt x="3437" y="2572"/>
                  <a:pt x="3469" y="2556"/>
                </a:cubicBezTo>
                <a:lnTo>
                  <a:pt x="3517" y="2524"/>
                </a:lnTo>
                <a:cubicBezTo>
                  <a:pt x="3597" y="2460"/>
                  <a:pt x="3628" y="2365"/>
                  <a:pt x="3597" y="2270"/>
                </a:cubicBezTo>
                <a:lnTo>
                  <a:pt x="3580" y="2206"/>
                </a:lnTo>
                <a:cubicBezTo>
                  <a:pt x="3564" y="2190"/>
                  <a:pt x="3580" y="2158"/>
                  <a:pt x="3597" y="2142"/>
                </a:cubicBezTo>
                <a:lnTo>
                  <a:pt x="3628" y="2094"/>
                </a:lnTo>
                <a:cubicBezTo>
                  <a:pt x="3692" y="2015"/>
                  <a:pt x="3692" y="1904"/>
                  <a:pt x="3644" y="1824"/>
                </a:cubicBezTo>
                <a:lnTo>
                  <a:pt x="3612" y="1761"/>
                </a:lnTo>
                <a:cubicBezTo>
                  <a:pt x="3597" y="1745"/>
                  <a:pt x="3597" y="1713"/>
                  <a:pt x="3612" y="1697"/>
                </a:cubicBezTo>
                <a:lnTo>
                  <a:pt x="3628" y="1633"/>
                </a:lnTo>
                <a:cubicBezTo>
                  <a:pt x="3676" y="1538"/>
                  <a:pt x="3660" y="1442"/>
                  <a:pt x="3580" y="1363"/>
                </a:cubicBezTo>
                <a:lnTo>
                  <a:pt x="3533" y="1331"/>
                </a:lnTo>
                <a:cubicBezTo>
                  <a:pt x="3517" y="1299"/>
                  <a:pt x="3517" y="1283"/>
                  <a:pt x="3517" y="1252"/>
                </a:cubicBezTo>
                <a:lnTo>
                  <a:pt x="3533" y="1188"/>
                </a:lnTo>
                <a:cubicBezTo>
                  <a:pt x="3549" y="1092"/>
                  <a:pt x="3501" y="997"/>
                  <a:pt x="3406" y="949"/>
                </a:cubicBezTo>
                <a:lnTo>
                  <a:pt x="3358" y="918"/>
                </a:lnTo>
                <a:cubicBezTo>
                  <a:pt x="3342" y="901"/>
                  <a:pt x="3326" y="886"/>
                  <a:pt x="3326" y="854"/>
                </a:cubicBezTo>
                <a:lnTo>
                  <a:pt x="3310" y="790"/>
                </a:lnTo>
                <a:cubicBezTo>
                  <a:pt x="3310" y="695"/>
                  <a:pt x="3231" y="615"/>
                  <a:pt x="3135" y="583"/>
                </a:cubicBezTo>
                <a:lnTo>
                  <a:pt x="3088" y="567"/>
                </a:lnTo>
                <a:cubicBezTo>
                  <a:pt x="3055" y="567"/>
                  <a:pt x="3040" y="536"/>
                  <a:pt x="3024" y="520"/>
                </a:cubicBezTo>
                <a:lnTo>
                  <a:pt x="3008" y="456"/>
                </a:lnTo>
                <a:cubicBezTo>
                  <a:pt x="2976" y="361"/>
                  <a:pt x="2880" y="297"/>
                  <a:pt x="2785" y="297"/>
                </a:cubicBezTo>
                <a:lnTo>
                  <a:pt x="2722" y="297"/>
                </a:lnTo>
                <a:cubicBezTo>
                  <a:pt x="2706" y="297"/>
                  <a:pt x="2674" y="281"/>
                  <a:pt x="2658" y="265"/>
                </a:cubicBezTo>
                <a:lnTo>
                  <a:pt x="2626" y="218"/>
                </a:lnTo>
                <a:cubicBezTo>
                  <a:pt x="2579" y="122"/>
                  <a:pt x="2467" y="91"/>
                  <a:pt x="2371" y="106"/>
                </a:cubicBezTo>
                <a:lnTo>
                  <a:pt x="2324" y="122"/>
                </a:lnTo>
                <a:cubicBezTo>
                  <a:pt x="2292" y="138"/>
                  <a:pt x="2260" y="122"/>
                  <a:pt x="2244" y="106"/>
                </a:cubicBezTo>
                <a:lnTo>
                  <a:pt x="2197" y="74"/>
                </a:lnTo>
                <a:cubicBezTo>
                  <a:pt x="2133" y="-5"/>
                  <a:pt x="2022" y="-21"/>
                  <a:pt x="1926" y="27"/>
                </a:cubicBezTo>
                <a:lnTo>
                  <a:pt x="1879" y="58"/>
                </a:lnTo>
                <a:cubicBezTo>
                  <a:pt x="1847" y="74"/>
                  <a:pt x="1831" y="74"/>
                  <a:pt x="1799" y="58"/>
                </a:cubicBezTo>
                <a:lnTo>
                  <a:pt x="1751" y="27"/>
                </a:lnTo>
                <a:cubicBezTo>
                  <a:pt x="1656" y="-21"/>
                  <a:pt x="1544" y="-5"/>
                  <a:pt x="1481" y="74"/>
                </a:cubicBezTo>
                <a:lnTo>
                  <a:pt x="1433" y="106"/>
                </a:lnTo>
                <a:cubicBezTo>
                  <a:pt x="1417" y="122"/>
                  <a:pt x="1386" y="138"/>
                  <a:pt x="1369" y="122"/>
                </a:cubicBezTo>
                <a:lnTo>
                  <a:pt x="1306" y="106"/>
                </a:lnTo>
                <a:cubicBezTo>
                  <a:pt x="1210" y="91"/>
                  <a:pt x="1099" y="122"/>
                  <a:pt x="1052" y="218"/>
                </a:cubicBezTo>
                <a:lnTo>
                  <a:pt x="1020" y="265"/>
                </a:lnTo>
                <a:cubicBezTo>
                  <a:pt x="1004" y="281"/>
                  <a:pt x="972" y="297"/>
                  <a:pt x="956" y="297"/>
                </a:cubicBezTo>
                <a:lnTo>
                  <a:pt x="892" y="297"/>
                </a:lnTo>
                <a:cubicBezTo>
                  <a:pt x="797" y="297"/>
                  <a:pt x="701" y="361"/>
                  <a:pt x="670" y="456"/>
                </a:cubicBezTo>
                <a:lnTo>
                  <a:pt x="654" y="520"/>
                </a:lnTo>
                <a:cubicBezTo>
                  <a:pt x="638" y="536"/>
                  <a:pt x="622" y="567"/>
                  <a:pt x="590" y="567"/>
                </a:cubicBezTo>
                <a:lnTo>
                  <a:pt x="543" y="583"/>
                </a:lnTo>
                <a:cubicBezTo>
                  <a:pt x="447" y="615"/>
                  <a:pt x="368" y="695"/>
                  <a:pt x="368" y="790"/>
                </a:cubicBezTo>
                <a:lnTo>
                  <a:pt x="352" y="854"/>
                </a:lnTo>
                <a:cubicBezTo>
                  <a:pt x="352" y="886"/>
                  <a:pt x="335" y="901"/>
                  <a:pt x="320" y="918"/>
                </a:cubicBezTo>
                <a:lnTo>
                  <a:pt x="272" y="949"/>
                </a:lnTo>
                <a:cubicBezTo>
                  <a:pt x="177" y="997"/>
                  <a:pt x="129" y="1092"/>
                  <a:pt x="145" y="1188"/>
                </a:cubicBezTo>
                <a:lnTo>
                  <a:pt x="161" y="1252"/>
                </a:lnTo>
                <a:cubicBezTo>
                  <a:pt x="161" y="1283"/>
                  <a:pt x="161" y="1299"/>
                  <a:pt x="145" y="1331"/>
                </a:cubicBezTo>
                <a:lnTo>
                  <a:pt x="97" y="1363"/>
                </a:lnTo>
                <a:cubicBezTo>
                  <a:pt x="17" y="1442"/>
                  <a:pt x="2" y="1538"/>
                  <a:pt x="49" y="1633"/>
                </a:cubicBezTo>
                <a:lnTo>
                  <a:pt x="65" y="1697"/>
                </a:lnTo>
                <a:cubicBezTo>
                  <a:pt x="81" y="1713"/>
                  <a:pt x="81" y="1745"/>
                  <a:pt x="65" y="1761"/>
                </a:cubicBezTo>
                <a:close/>
                <a:moveTo>
                  <a:pt x="1879" y="4290"/>
                </a:moveTo>
                <a:cubicBezTo>
                  <a:pt x="1847" y="4258"/>
                  <a:pt x="1815" y="4258"/>
                  <a:pt x="1783" y="4290"/>
                </a:cubicBezTo>
                <a:lnTo>
                  <a:pt x="1052" y="4894"/>
                </a:lnTo>
                <a:lnTo>
                  <a:pt x="1052" y="3478"/>
                </a:lnTo>
                <a:lnTo>
                  <a:pt x="1083" y="3478"/>
                </a:lnTo>
                <a:lnTo>
                  <a:pt x="1147" y="3478"/>
                </a:lnTo>
                <a:cubicBezTo>
                  <a:pt x="1179" y="3478"/>
                  <a:pt x="1195" y="3478"/>
                  <a:pt x="1226" y="3510"/>
                </a:cubicBezTo>
                <a:lnTo>
                  <a:pt x="1258" y="3558"/>
                </a:lnTo>
                <a:cubicBezTo>
                  <a:pt x="1322" y="3621"/>
                  <a:pt x="1433" y="3653"/>
                  <a:pt x="1529" y="3621"/>
                </a:cubicBezTo>
                <a:lnTo>
                  <a:pt x="1576" y="3590"/>
                </a:lnTo>
                <a:cubicBezTo>
                  <a:pt x="1608" y="3590"/>
                  <a:pt x="1624" y="3590"/>
                  <a:pt x="1656" y="3606"/>
                </a:cubicBezTo>
                <a:lnTo>
                  <a:pt x="1704" y="3637"/>
                </a:lnTo>
                <a:cubicBezTo>
                  <a:pt x="1751" y="3669"/>
                  <a:pt x="1799" y="3685"/>
                  <a:pt x="1847" y="3685"/>
                </a:cubicBezTo>
                <a:cubicBezTo>
                  <a:pt x="1894" y="3685"/>
                  <a:pt x="1942" y="3669"/>
                  <a:pt x="1974" y="3637"/>
                </a:cubicBezTo>
                <a:lnTo>
                  <a:pt x="2022" y="3606"/>
                </a:lnTo>
                <a:cubicBezTo>
                  <a:pt x="2053" y="3590"/>
                  <a:pt x="2070" y="3590"/>
                  <a:pt x="2101" y="3590"/>
                </a:cubicBezTo>
                <a:lnTo>
                  <a:pt x="2149" y="3621"/>
                </a:lnTo>
                <a:cubicBezTo>
                  <a:pt x="2244" y="3653"/>
                  <a:pt x="2356" y="3621"/>
                  <a:pt x="2419" y="3558"/>
                </a:cubicBezTo>
                <a:lnTo>
                  <a:pt x="2467" y="3510"/>
                </a:lnTo>
                <a:cubicBezTo>
                  <a:pt x="2483" y="3478"/>
                  <a:pt x="2499" y="3478"/>
                  <a:pt x="2531" y="3478"/>
                </a:cubicBezTo>
                <a:lnTo>
                  <a:pt x="2594" y="3478"/>
                </a:lnTo>
                <a:lnTo>
                  <a:pt x="2626" y="3478"/>
                </a:lnTo>
                <a:lnTo>
                  <a:pt x="2626" y="4894"/>
                </a:lnTo>
                <a:close/>
                <a:moveTo>
                  <a:pt x="161" y="1904"/>
                </a:moveTo>
                <a:lnTo>
                  <a:pt x="192" y="1840"/>
                </a:lnTo>
                <a:cubicBezTo>
                  <a:pt x="240" y="1776"/>
                  <a:pt x="240" y="1697"/>
                  <a:pt x="208" y="1633"/>
                </a:cubicBezTo>
                <a:lnTo>
                  <a:pt x="192" y="1570"/>
                </a:lnTo>
                <a:cubicBezTo>
                  <a:pt x="177" y="1538"/>
                  <a:pt x="177" y="1506"/>
                  <a:pt x="208" y="1474"/>
                </a:cubicBezTo>
                <a:lnTo>
                  <a:pt x="256" y="1442"/>
                </a:lnTo>
                <a:cubicBezTo>
                  <a:pt x="304" y="1379"/>
                  <a:pt x="335" y="1299"/>
                  <a:pt x="320" y="1236"/>
                </a:cubicBezTo>
                <a:lnTo>
                  <a:pt x="304" y="1172"/>
                </a:lnTo>
                <a:cubicBezTo>
                  <a:pt x="304" y="1140"/>
                  <a:pt x="320" y="1109"/>
                  <a:pt x="352" y="1092"/>
                </a:cubicBezTo>
                <a:lnTo>
                  <a:pt x="399" y="1061"/>
                </a:lnTo>
                <a:cubicBezTo>
                  <a:pt x="463" y="1013"/>
                  <a:pt x="511" y="949"/>
                  <a:pt x="511" y="870"/>
                </a:cubicBezTo>
                <a:lnTo>
                  <a:pt x="526" y="806"/>
                </a:lnTo>
                <a:cubicBezTo>
                  <a:pt x="526" y="774"/>
                  <a:pt x="543" y="743"/>
                  <a:pt x="574" y="743"/>
                </a:cubicBezTo>
                <a:lnTo>
                  <a:pt x="638" y="727"/>
                </a:lnTo>
                <a:cubicBezTo>
                  <a:pt x="717" y="695"/>
                  <a:pt x="781" y="647"/>
                  <a:pt x="797" y="567"/>
                </a:cubicBezTo>
                <a:lnTo>
                  <a:pt x="813" y="504"/>
                </a:lnTo>
                <a:cubicBezTo>
                  <a:pt x="829" y="488"/>
                  <a:pt x="861" y="456"/>
                  <a:pt x="892" y="456"/>
                </a:cubicBezTo>
                <a:lnTo>
                  <a:pt x="956" y="456"/>
                </a:lnTo>
                <a:cubicBezTo>
                  <a:pt x="1035" y="456"/>
                  <a:pt x="1099" y="424"/>
                  <a:pt x="1147" y="345"/>
                </a:cubicBezTo>
                <a:lnTo>
                  <a:pt x="1179" y="297"/>
                </a:lnTo>
                <a:cubicBezTo>
                  <a:pt x="1195" y="265"/>
                  <a:pt x="1226" y="265"/>
                  <a:pt x="1258" y="265"/>
                </a:cubicBezTo>
                <a:lnTo>
                  <a:pt x="1322" y="281"/>
                </a:lnTo>
                <a:cubicBezTo>
                  <a:pt x="1401" y="297"/>
                  <a:pt x="1481" y="281"/>
                  <a:pt x="1544" y="234"/>
                </a:cubicBezTo>
                <a:lnTo>
                  <a:pt x="1592" y="186"/>
                </a:lnTo>
                <a:cubicBezTo>
                  <a:pt x="1608" y="170"/>
                  <a:pt x="1640" y="154"/>
                  <a:pt x="1672" y="170"/>
                </a:cubicBezTo>
                <a:lnTo>
                  <a:pt x="1735" y="202"/>
                </a:lnTo>
                <a:cubicBezTo>
                  <a:pt x="1799" y="234"/>
                  <a:pt x="1879" y="234"/>
                  <a:pt x="1942" y="202"/>
                </a:cubicBezTo>
                <a:lnTo>
                  <a:pt x="2006" y="170"/>
                </a:lnTo>
                <a:cubicBezTo>
                  <a:pt x="2038" y="154"/>
                  <a:pt x="2070" y="170"/>
                  <a:pt x="2085" y="186"/>
                </a:cubicBezTo>
                <a:lnTo>
                  <a:pt x="2133" y="234"/>
                </a:lnTo>
                <a:cubicBezTo>
                  <a:pt x="2197" y="281"/>
                  <a:pt x="2276" y="297"/>
                  <a:pt x="2356" y="281"/>
                </a:cubicBezTo>
                <a:lnTo>
                  <a:pt x="2419" y="265"/>
                </a:lnTo>
                <a:cubicBezTo>
                  <a:pt x="2451" y="265"/>
                  <a:pt x="2483" y="265"/>
                  <a:pt x="2499" y="297"/>
                </a:cubicBezTo>
                <a:lnTo>
                  <a:pt x="2531" y="345"/>
                </a:lnTo>
                <a:cubicBezTo>
                  <a:pt x="2579" y="424"/>
                  <a:pt x="2642" y="456"/>
                  <a:pt x="2722" y="456"/>
                </a:cubicBezTo>
                <a:lnTo>
                  <a:pt x="2785" y="456"/>
                </a:lnTo>
                <a:cubicBezTo>
                  <a:pt x="2817" y="456"/>
                  <a:pt x="2849" y="488"/>
                  <a:pt x="2865" y="504"/>
                </a:cubicBezTo>
                <a:lnTo>
                  <a:pt x="2880" y="567"/>
                </a:lnTo>
                <a:cubicBezTo>
                  <a:pt x="2897" y="647"/>
                  <a:pt x="2960" y="695"/>
                  <a:pt x="3040" y="727"/>
                </a:cubicBezTo>
                <a:lnTo>
                  <a:pt x="3103" y="743"/>
                </a:lnTo>
                <a:cubicBezTo>
                  <a:pt x="3135" y="743"/>
                  <a:pt x="3151" y="774"/>
                  <a:pt x="3151" y="806"/>
                </a:cubicBezTo>
                <a:lnTo>
                  <a:pt x="3167" y="870"/>
                </a:lnTo>
                <a:cubicBezTo>
                  <a:pt x="3167" y="949"/>
                  <a:pt x="3215" y="1013"/>
                  <a:pt x="3278" y="1061"/>
                </a:cubicBezTo>
                <a:lnTo>
                  <a:pt x="3326" y="1092"/>
                </a:lnTo>
                <a:cubicBezTo>
                  <a:pt x="3358" y="1109"/>
                  <a:pt x="3374" y="1140"/>
                  <a:pt x="3374" y="1172"/>
                </a:cubicBezTo>
                <a:lnTo>
                  <a:pt x="3358" y="1236"/>
                </a:lnTo>
                <a:cubicBezTo>
                  <a:pt x="3342" y="1299"/>
                  <a:pt x="3374" y="1379"/>
                  <a:pt x="3437" y="1442"/>
                </a:cubicBezTo>
                <a:lnTo>
                  <a:pt x="3469" y="1474"/>
                </a:lnTo>
                <a:cubicBezTo>
                  <a:pt x="3501" y="1506"/>
                  <a:pt x="3501" y="1538"/>
                  <a:pt x="3485" y="1570"/>
                </a:cubicBezTo>
                <a:lnTo>
                  <a:pt x="3469" y="1633"/>
                </a:lnTo>
                <a:cubicBezTo>
                  <a:pt x="3437" y="1697"/>
                  <a:pt x="3437" y="1776"/>
                  <a:pt x="3485" y="1840"/>
                </a:cubicBezTo>
                <a:lnTo>
                  <a:pt x="3517" y="1904"/>
                </a:lnTo>
                <a:cubicBezTo>
                  <a:pt x="3533" y="1919"/>
                  <a:pt x="3533" y="1967"/>
                  <a:pt x="3501" y="1983"/>
                </a:cubicBezTo>
                <a:lnTo>
                  <a:pt x="3469" y="2031"/>
                </a:lnTo>
                <a:cubicBezTo>
                  <a:pt x="3421" y="2094"/>
                  <a:pt x="3406" y="2174"/>
                  <a:pt x="3421" y="2254"/>
                </a:cubicBezTo>
                <a:lnTo>
                  <a:pt x="3437" y="2317"/>
                </a:lnTo>
                <a:cubicBezTo>
                  <a:pt x="3453" y="2349"/>
                  <a:pt x="3437" y="2381"/>
                  <a:pt x="3421" y="2397"/>
                </a:cubicBezTo>
                <a:lnTo>
                  <a:pt x="3374" y="2428"/>
                </a:lnTo>
                <a:cubicBezTo>
                  <a:pt x="3310" y="2476"/>
                  <a:pt x="3262" y="2556"/>
                  <a:pt x="3278" y="2635"/>
                </a:cubicBezTo>
                <a:lnTo>
                  <a:pt x="3278" y="2699"/>
                </a:lnTo>
                <a:cubicBezTo>
                  <a:pt x="3278" y="2731"/>
                  <a:pt x="3262" y="2763"/>
                  <a:pt x="3231" y="2778"/>
                </a:cubicBezTo>
                <a:lnTo>
                  <a:pt x="3167" y="2794"/>
                </a:lnTo>
                <a:cubicBezTo>
                  <a:pt x="3103" y="2826"/>
                  <a:pt x="3040" y="2890"/>
                  <a:pt x="3024" y="2969"/>
                </a:cubicBezTo>
                <a:lnTo>
                  <a:pt x="3024" y="3033"/>
                </a:lnTo>
                <a:cubicBezTo>
                  <a:pt x="3008" y="3065"/>
                  <a:pt x="2992" y="3081"/>
                  <a:pt x="2944" y="3097"/>
                </a:cubicBezTo>
                <a:lnTo>
                  <a:pt x="2897" y="3097"/>
                </a:lnTo>
                <a:cubicBezTo>
                  <a:pt x="2817" y="3112"/>
                  <a:pt x="2753" y="3160"/>
                  <a:pt x="2706" y="3224"/>
                </a:cubicBezTo>
                <a:lnTo>
                  <a:pt x="2690" y="3287"/>
                </a:lnTo>
                <a:cubicBezTo>
                  <a:pt x="2674" y="3319"/>
                  <a:pt x="2642" y="3335"/>
                  <a:pt x="2610" y="3319"/>
                </a:cubicBezTo>
                <a:lnTo>
                  <a:pt x="2546" y="3319"/>
                </a:lnTo>
                <a:cubicBezTo>
                  <a:pt x="2467" y="3303"/>
                  <a:pt x="2388" y="3335"/>
                  <a:pt x="2340" y="3399"/>
                </a:cubicBezTo>
                <a:lnTo>
                  <a:pt x="2292" y="3446"/>
                </a:lnTo>
                <a:cubicBezTo>
                  <a:pt x="2276" y="3478"/>
                  <a:pt x="2244" y="3478"/>
                  <a:pt x="2213" y="3478"/>
                </a:cubicBezTo>
                <a:lnTo>
                  <a:pt x="2149" y="3446"/>
                </a:lnTo>
                <a:cubicBezTo>
                  <a:pt x="2085" y="3415"/>
                  <a:pt x="2006" y="3431"/>
                  <a:pt x="1942" y="3478"/>
                </a:cubicBezTo>
                <a:lnTo>
                  <a:pt x="1879" y="3510"/>
                </a:lnTo>
                <a:cubicBezTo>
                  <a:pt x="1862" y="3526"/>
                  <a:pt x="1815" y="3526"/>
                  <a:pt x="1799" y="3510"/>
                </a:cubicBezTo>
                <a:lnTo>
                  <a:pt x="1751" y="3478"/>
                </a:lnTo>
                <a:cubicBezTo>
                  <a:pt x="1704" y="3446"/>
                  <a:pt x="1656" y="3431"/>
                  <a:pt x="1608" y="3431"/>
                </a:cubicBezTo>
                <a:cubicBezTo>
                  <a:pt x="1576" y="3431"/>
                  <a:pt x="1544" y="3431"/>
                  <a:pt x="1529" y="3446"/>
                </a:cubicBezTo>
                <a:lnTo>
                  <a:pt x="1465" y="3478"/>
                </a:lnTo>
                <a:cubicBezTo>
                  <a:pt x="1433" y="3478"/>
                  <a:pt x="1401" y="3478"/>
                  <a:pt x="1386" y="3446"/>
                </a:cubicBezTo>
                <a:lnTo>
                  <a:pt x="1338" y="3399"/>
                </a:lnTo>
                <a:cubicBezTo>
                  <a:pt x="1290" y="3335"/>
                  <a:pt x="1210" y="3303"/>
                  <a:pt x="1131" y="3319"/>
                </a:cubicBezTo>
                <a:lnTo>
                  <a:pt x="1067" y="3319"/>
                </a:lnTo>
                <a:cubicBezTo>
                  <a:pt x="1035" y="3335"/>
                  <a:pt x="1004" y="3319"/>
                  <a:pt x="988" y="3287"/>
                </a:cubicBezTo>
                <a:lnTo>
                  <a:pt x="972" y="3224"/>
                </a:lnTo>
                <a:cubicBezTo>
                  <a:pt x="924" y="3160"/>
                  <a:pt x="861" y="3112"/>
                  <a:pt x="781" y="3097"/>
                </a:cubicBezTo>
                <a:lnTo>
                  <a:pt x="733" y="3097"/>
                </a:lnTo>
                <a:cubicBezTo>
                  <a:pt x="701" y="3081"/>
                  <a:pt x="670" y="3065"/>
                  <a:pt x="654" y="3033"/>
                </a:cubicBezTo>
                <a:lnTo>
                  <a:pt x="654" y="2969"/>
                </a:lnTo>
                <a:cubicBezTo>
                  <a:pt x="638" y="2890"/>
                  <a:pt x="574" y="2826"/>
                  <a:pt x="511" y="2794"/>
                </a:cubicBezTo>
                <a:lnTo>
                  <a:pt x="447" y="2778"/>
                </a:lnTo>
                <a:cubicBezTo>
                  <a:pt x="415" y="2763"/>
                  <a:pt x="399" y="2731"/>
                  <a:pt x="399" y="2699"/>
                </a:cubicBezTo>
                <a:lnTo>
                  <a:pt x="399" y="2635"/>
                </a:lnTo>
                <a:cubicBezTo>
                  <a:pt x="415" y="2556"/>
                  <a:pt x="368" y="2476"/>
                  <a:pt x="304" y="2428"/>
                </a:cubicBezTo>
                <a:lnTo>
                  <a:pt x="256" y="2397"/>
                </a:lnTo>
                <a:cubicBezTo>
                  <a:pt x="240" y="2381"/>
                  <a:pt x="225" y="2349"/>
                  <a:pt x="240" y="2317"/>
                </a:cubicBezTo>
                <a:lnTo>
                  <a:pt x="256" y="2254"/>
                </a:lnTo>
                <a:cubicBezTo>
                  <a:pt x="272" y="2174"/>
                  <a:pt x="256" y="2094"/>
                  <a:pt x="208" y="2031"/>
                </a:cubicBezTo>
                <a:lnTo>
                  <a:pt x="177" y="1983"/>
                </a:lnTo>
                <a:cubicBezTo>
                  <a:pt x="145" y="1967"/>
                  <a:pt x="145" y="1919"/>
                  <a:pt x="161" y="190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4" name="Freeform: Shape 3">
            <a:extLst>
              <a:ext uri="{FF2B5EF4-FFF2-40B4-BE49-F238E27FC236}">
                <a16:creationId xmlns:a16="http://schemas.microsoft.com/office/drawing/2014/main" id="{BF351826-9859-164A-BAF8-B4630FF65409}"/>
              </a:ext>
            </a:extLst>
          </p:cNvPr>
          <p:cNvSpPr/>
          <p:nvPr/>
        </p:nvSpPr>
        <p:spPr>
          <a:xfrm>
            <a:off x="14024059" y="3010213"/>
            <a:ext cx="1454040" cy="1454040"/>
          </a:xfrm>
          <a:custGeom>
            <a:avLst/>
            <a:gdLst/>
            <a:ahLst/>
            <a:cxnLst>
              <a:cxn ang="3cd4">
                <a:pos x="hc" y="t"/>
              </a:cxn>
              <a:cxn ang="cd2">
                <a:pos x="l" y="vc"/>
              </a:cxn>
              <a:cxn ang="cd4">
                <a:pos x="hc" y="b"/>
              </a:cxn>
              <a:cxn ang="0">
                <a:pos x="r" y="vc"/>
              </a:cxn>
            </a:cxnLst>
            <a:rect l="l" t="t" r="r" b="b"/>
            <a:pathLst>
              <a:path w="4040" h="4040">
                <a:moveTo>
                  <a:pt x="779" y="3276"/>
                </a:moveTo>
                <a:cubicBezTo>
                  <a:pt x="1225" y="3276"/>
                  <a:pt x="1575" y="2926"/>
                  <a:pt x="1575" y="2481"/>
                </a:cubicBezTo>
                <a:cubicBezTo>
                  <a:pt x="1575" y="2465"/>
                  <a:pt x="1575" y="2465"/>
                  <a:pt x="1575" y="2449"/>
                </a:cubicBezTo>
                <a:cubicBezTo>
                  <a:pt x="1575" y="2434"/>
                  <a:pt x="1575" y="2434"/>
                  <a:pt x="1575" y="2417"/>
                </a:cubicBezTo>
                <a:cubicBezTo>
                  <a:pt x="891" y="620"/>
                  <a:pt x="891" y="620"/>
                  <a:pt x="891" y="620"/>
                </a:cubicBezTo>
                <a:cubicBezTo>
                  <a:pt x="1941" y="445"/>
                  <a:pt x="1941" y="445"/>
                  <a:pt x="1941" y="445"/>
                </a:cubicBezTo>
                <a:cubicBezTo>
                  <a:pt x="1941" y="3881"/>
                  <a:pt x="1941" y="3881"/>
                  <a:pt x="1941" y="3881"/>
                </a:cubicBezTo>
                <a:cubicBezTo>
                  <a:pt x="1257" y="3881"/>
                  <a:pt x="1257" y="3881"/>
                  <a:pt x="1257" y="3881"/>
                </a:cubicBezTo>
                <a:cubicBezTo>
                  <a:pt x="1209" y="3881"/>
                  <a:pt x="1177" y="3928"/>
                  <a:pt x="1177" y="3961"/>
                </a:cubicBezTo>
                <a:cubicBezTo>
                  <a:pt x="1177" y="4008"/>
                  <a:pt x="1209" y="4040"/>
                  <a:pt x="1257" y="4040"/>
                </a:cubicBezTo>
                <a:cubicBezTo>
                  <a:pt x="2784" y="4040"/>
                  <a:pt x="2784" y="4040"/>
                  <a:pt x="2784" y="4040"/>
                </a:cubicBezTo>
                <a:cubicBezTo>
                  <a:pt x="2832" y="4040"/>
                  <a:pt x="2863" y="4008"/>
                  <a:pt x="2863" y="3961"/>
                </a:cubicBezTo>
                <a:cubicBezTo>
                  <a:pt x="2863" y="3928"/>
                  <a:pt x="2832" y="3881"/>
                  <a:pt x="2784" y="3881"/>
                </a:cubicBezTo>
                <a:cubicBezTo>
                  <a:pt x="2100" y="3881"/>
                  <a:pt x="2100" y="3881"/>
                  <a:pt x="2100" y="3881"/>
                </a:cubicBezTo>
                <a:cubicBezTo>
                  <a:pt x="2100" y="445"/>
                  <a:pt x="2100" y="445"/>
                  <a:pt x="2100" y="445"/>
                </a:cubicBezTo>
                <a:cubicBezTo>
                  <a:pt x="3150" y="620"/>
                  <a:pt x="3150" y="620"/>
                  <a:pt x="3150" y="620"/>
                </a:cubicBezTo>
                <a:cubicBezTo>
                  <a:pt x="2466" y="2417"/>
                  <a:pt x="2466" y="2417"/>
                  <a:pt x="2466" y="2417"/>
                </a:cubicBezTo>
                <a:cubicBezTo>
                  <a:pt x="2466" y="2434"/>
                  <a:pt x="2466" y="2434"/>
                  <a:pt x="2466" y="2449"/>
                </a:cubicBezTo>
                <a:cubicBezTo>
                  <a:pt x="2466" y="2465"/>
                  <a:pt x="2466" y="2465"/>
                  <a:pt x="2466" y="2481"/>
                </a:cubicBezTo>
                <a:cubicBezTo>
                  <a:pt x="2466" y="2926"/>
                  <a:pt x="2815" y="3276"/>
                  <a:pt x="3245" y="3276"/>
                </a:cubicBezTo>
                <a:cubicBezTo>
                  <a:pt x="3690" y="3276"/>
                  <a:pt x="4040" y="2926"/>
                  <a:pt x="4040" y="2481"/>
                </a:cubicBezTo>
                <a:cubicBezTo>
                  <a:pt x="4040" y="2465"/>
                  <a:pt x="4040" y="2465"/>
                  <a:pt x="4040" y="2449"/>
                </a:cubicBezTo>
                <a:cubicBezTo>
                  <a:pt x="4040" y="2434"/>
                  <a:pt x="4040" y="2434"/>
                  <a:pt x="4040" y="2417"/>
                </a:cubicBezTo>
                <a:cubicBezTo>
                  <a:pt x="3372" y="668"/>
                  <a:pt x="3372" y="668"/>
                  <a:pt x="3372" y="668"/>
                </a:cubicBezTo>
                <a:cubicBezTo>
                  <a:pt x="3611" y="699"/>
                  <a:pt x="3611" y="699"/>
                  <a:pt x="3611" y="699"/>
                </a:cubicBezTo>
                <a:lnTo>
                  <a:pt x="3627" y="699"/>
                </a:lnTo>
                <a:cubicBezTo>
                  <a:pt x="3659" y="699"/>
                  <a:pt x="3706" y="684"/>
                  <a:pt x="3706" y="636"/>
                </a:cubicBezTo>
                <a:cubicBezTo>
                  <a:pt x="3706" y="589"/>
                  <a:pt x="3690" y="556"/>
                  <a:pt x="3642" y="541"/>
                </a:cubicBezTo>
                <a:cubicBezTo>
                  <a:pt x="2100" y="286"/>
                  <a:pt x="2100" y="286"/>
                  <a:pt x="2100" y="286"/>
                </a:cubicBezTo>
                <a:cubicBezTo>
                  <a:pt x="2100" y="80"/>
                  <a:pt x="2100" y="80"/>
                  <a:pt x="2100" y="80"/>
                </a:cubicBezTo>
                <a:cubicBezTo>
                  <a:pt x="2100" y="32"/>
                  <a:pt x="2068" y="0"/>
                  <a:pt x="2020" y="0"/>
                </a:cubicBezTo>
                <a:cubicBezTo>
                  <a:pt x="1972" y="0"/>
                  <a:pt x="1941" y="32"/>
                  <a:pt x="1941" y="80"/>
                </a:cubicBezTo>
                <a:cubicBezTo>
                  <a:pt x="1941" y="286"/>
                  <a:pt x="1941" y="286"/>
                  <a:pt x="1941" y="286"/>
                </a:cubicBezTo>
                <a:cubicBezTo>
                  <a:pt x="398" y="541"/>
                  <a:pt x="398" y="541"/>
                  <a:pt x="398" y="541"/>
                </a:cubicBezTo>
                <a:cubicBezTo>
                  <a:pt x="350" y="556"/>
                  <a:pt x="334" y="589"/>
                  <a:pt x="334" y="636"/>
                </a:cubicBezTo>
                <a:cubicBezTo>
                  <a:pt x="334" y="684"/>
                  <a:pt x="382" y="699"/>
                  <a:pt x="414" y="699"/>
                </a:cubicBezTo>
                <a:lnTo>
                  <a:pt x="430" y="699"/>
                </a:lnTo>
                <a:cubicBezTo>
                  <a:pt x="668" y="668"/>
                  <a:pt x="668" y="668"/>
                  <a:pt x="668" y="668"/>
                </a:cubicBezTo>
                <a:cubicBezTo>
                  <a:pt x="0" y="2417"/>
                  <a:pt x="0" y="2417"/>
                  <a:pt x="0" y="2417"/>
                </a:cubicBezTo>
                <a:cubicBezTo>
                  <a:pt x="0" y="2434"/>
                  <a:pt x="0" y="2434"/>
                  <a:pt x="0" y="2449"/>
                </a:cubicBezTo>
                <a:cubicBezTo>
                  <a:pt x="0" y="2465"/>
                  <a:pt x="0" y="2465"/>
                  <a:pt x="0" y="2481"/>
                </a:cubicBezTo>
                <a:cubicBezTo>
                  <a:pt x="0" y="2926"/>
                  <a:pt x="350" y="3276"/>
                  <a:pt x="779" y="3276"/>
                </a:cubicBezTo>
                <a:close/>
                <a:moveTo>
                  <a:pt x="2641" y="2402"/>
                </a:moveTo>
                <a:cubicBezTo>
                  <a:pt x="3165" y="1018"/>
                  <a:pt x="3165" y="1018"/>
                  <a:pt x="3165" y="1018"/>
                </a:cubicBezTo>
                <a:cubicBezTo>
                  <a:pt x="3165" y="2402"/>
                  <a:pt x="3165" y="2402"/>
                  <a:pt x="3165" y="2402"/>
                </a:cubicBezTo>
                <a:close/>
                <a:moveTo>
                  <a:pt x="3324" y="1018"/>
                </a:moveTo>
                <a:cubicBezTo>
                  <a:pt x="3865" y="2402"/>
                  <a:pt x="3865" y="2402"/>
                  <a:pt x="3865" y="2402"/>
                </a:cubicBezTo>
                <a:cubicBezTo>
                  <a:pt x="3324" y="2402"/>
                  <a:pt x="3324" y="2402"/>
                  <a:pt x="3324" y="2402"/>
                </a:cubicBezTo>
                <a:close/>
                <a:moveTo>
                  <a:pt x="3245" y="3117"/>
                </a:moveTo>
                <a:cubicBezTo>
                  <a:pt x="2927" y="3117"/>
                  <a:pt x="2656" y="2879"/>
                  <a:pt x="2624" y="2561"/>
                </a:cubicBezTo>
                <a:cubicBezTo>
                  <a:pt x="3881" y="2561"/>
                  <a:pt x="3881" y="2561"/>
                  <a:pt x="3881" y="2561"/>
                </a:cubicBezTo>
                <a:cubicBezTo>
                  <a:pt x="3833" y="2879"/>
                  <a:pt x="3579" y="3117"/>
                  <a:pt x="3245" y="3117"/>
                </a:cubicBezTo>
                <a:close/>
                <a:moveTo>
                  <a:pt x="859" y="1018"/>
                </a:moveTo>
                <a:cubicBezTo>
                  <a:pt x="1384" y="2402"/>
                  <a:pt x="1384" y="2402"/>
                  <a:pt x="1384" y="2402"/>
                </a:cubicBezTo>
                <a:cubicBezTo>
                  <a:pt x="859" y="2402"/>
                  <a:pt x="859" y="2402"/>
                  <a:pt x="859" y="2402"/>
                </a:cubicBezTo>
                <a:close/>
                <a:moveTo>
                  <a:pt x="700" y="2402"/>
                </a:moveTo>
                <a:cubicBezTo>
                  <a:pt x="175" y="2402"/>
                  <a:pt x="175" y="2402"/>
                  <a:pt x="175" y="2402"/>
                </a:cubicBezTo>
                <a:cubicBezTo>
                  <a:pt x="700" y="1018"/>
                  <a:pt x="700" y="1018"/>
                  <a:pt x="700" y="1018"/>
                </a:cubicBezTo>
                <a:close/>
                <a:moveTo>
                  <a:pt x="779" y="3117"/>
                </a:moveTo>
                <a:cubicBezTo>
                  <a:pt x="461" y="3117"/>
                  <a:pt x="191" y="2879"/>
                  <a:pt x="159" y="2561"/>
                </a:cubicBezTo>
                <a:cubicBezTo>
                  <a:pt x="1416" y="2561"/>
                  <a:pt x="1416" y="2561"/>
                  <a:pt x="1416" y="2561"/>
                </a:cubicBezTo>
                <a:cubicBezTo>
                  <a:pt x="1368" y="2879"/>
                  <a:pt x="1114" y="3117"/>
                  <a:pt x="779" y="311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5" name="Freeform: Shape 4">
            <a:extLst>
              <a:ext uri="{FF2B5EF4-FFF2-40B4-BE49-F238E27FC236}">
                <a16:creationId xmlns:a16="http://schemas.microsoft.com/office/drawing/2014/main" id="{3535937A-9187-0D4C-851D-5A9A3831F89F}"/>
              </a:ext>
            </a:extLst>
          </p:cNvPr>
          <p:cNvSpPr/>
          <p:nvPr/>
        </p:nvSpPr>
        <p:spPr>
          <a:xfrm>
            <a:off x="17228175" y="2952973"/>
            <a:ext cx="2091960" cy="1620000"/>
          </a:xfrm>
          <a:custGeom>
            <a:avLst/>
            <a:gdLst/>
            <a:ahLst/>
            <a:cxnLst>
              <a:cxn ang="3cd4">
                <a:pos x="hc" y="t"/>
              </a:cxn>
              <a:cxn ang="cd2">
                <a:pos x="l" y="vc"/>
              </a:cxn>
              <a:cxn ang="cd4">
                <a:pos x="hc" y="b"/>
              </a:cxn>
              <a:cxn ang="0">
                <a:pos x="r" y="vc"/>
              </a:cxn>
            </a:cxnLst>
            <a:rect l="l" t="t" r="r" b="b"/>
            <a:pathLst>
              <a:path w="5812" h="4501">
                <a:moveTo>
                  <a:pt x="79" y="4501"/>
                </a:moveTo>
                <a:cubicBezTo>
                  <a:pt x="127" y="4501"/>
                  <a:pt x="159" y="4469"/>
                  <a:pt x="159" y="4421"/>
                </a:cubicBezTo>
                <a:cubicBezTo>
                  <a:pt x="159" y="4040"/>
                  <a:pt x="477" y="3722"/>
                  <a:pt x="859" y="3706"/>
                </a:cubicBezTo>
                <a:lnTo>
                  <a:pt x="1845" y="4294"/>
                </a:lnTo>
                <a:cubicBezTo>
                  <a:pt x="1861" y="4310"/>
                  <a:pt x="1877" y="4310"/>
                  <a:pt x="1893" y="4310"/>
                </a:cubicBezTo>
                <a:cubicBezTo>
                  <a:pt x="1909" y="4310"/>
                  <a:pt x="1925" y="4310"/>
                  <a:pt x="1925" y="4294"/>
                </a:cubicBezTo>
                <a:lnTo>
                  <a:pt x="2927" y="3706"/>
                </a:lnTo>
                <a:cubicBezTo>
                  <a:pt x="3022" y="3706"/>
                  <a:pt x="3118" y="3722"/>
                  <a:pt x="3213" y="3769"/>
                </a:cubicBezTo>
                <a:cubicBezTo>
                  <a:pt x="3224" y="3774"/>
                  <a:pt x="3229" y="3785"/>
                  <a:pt x="3245" y="3785"/>
                </a:cubicBezTo>
                <a:cubicBezTo>
                  <a:pt x="3277" y="3785"/>
                  <a:pt x="3293" y="3769"/>
                  <a:pt x="3308" y="3738"/>
                </a:cubicBezTo>
                <a:cubicBezTo>
                  <a:pt x="3341" y="3690"/>
                  <a:pt x="3308" y="3642"/>
                  <a:pt x="3277" y="3626"/>
                </a:cubicBezTo>
                <a:cubicBezTo>
                  <a:pt x="3165" y="3579"/>
                  <a:pt x="3038" y="3547"/>
                  <a:pt x="2911" y="3547"/>
                </a:cubicBezTo>
                <a:lnTo>
                  <a:pt x="2895" y="3547"/>
                </a:lnTo>
                <a:lnTo>
                  <a:pt x="2879" y="3547"/>
                </a:lnTo>
                <a:lnTo>
                  <a:pt x="2863" y="3547"/>
                </a:lnTo>
                <a:lnTo>
                  <a:pt x="2863" y="3563"/>
                </a:lnTo>
                <a:lnTo>
                  <a:pt x="1893" y="4135"/>
                </a:lnTo>
                <a:lnTo>
                  <a:pt x="923" y="3563"/>
                </a:lnTo>
                <a:lnTo>
                  <a:pt x="923" y="3547"/>
                </a:lnTo>
                <a:lnTo>
                  <a:pt x="907" y="3547"/>
                </a:lnTo>
                <a:lnTo>
                  <a:pt x="891" y="3547"/>
                </a:lnTo>
                <a:lnTo>
                  <a:pt x="875" y="3547"/>
                </a:lnTo>
                <a:cubicBezTo>
                  <a:pt x="398" y="3547"/>
                  <a:pt x="0" y="3944"/>
                  <a:pt x="0" y="4421"/>
                </a:cubicBezTo>
                <a:cubicBezTo>
                  <a:pt x="0" y="4469"/>
                  <a:pt x="32" y="4501"/>
                  <a:pt x="79" y="4501"/>
                </a:cubicBezTo>
                <a:close/>
                <a:moveTo>
                  <a:pt x="493" y="875"/>
                </a:moveTo>
                <a:cubicBezTo>
                  <a:pt x="509" y="906"/>
                  <a:pt x="541" y="938"/>
                  <a:pt x="573" y="938"/>
                </a:cubicBezTo>
                <a:lnTo>
                  <a:pt x="684" y="938"/>
                </a:lnTo>
                <a:lnTo>
                  <a:pt x="684" y="1543"/>
                </a:lnTo>
                <a:cubicBezTo>
                  <a:pt x="588" y="1575"/>
                  <a:pt x="525" y="1670"/>
                  <a:pt x="525" y="1829"/>
                </a:cubicBezTo>
                <a:lnTo>
                  <a:pt x="525" y="2067"/>
                </a:lnTo>
                <a:cubicBezTo>
                  <a:pt x="525" y="2115"/>
                  <a:pt x="557" y="2385"/>
                  <a:pt x="684" y="2465"/>
                </a:cubicBezTo>
                <a:cubicBezTo>
                  <a:pt x="732" y="3022"/>
                  <a:pt x="1384" y="3706"/>
                  <a:pt x="1909" y="3706"/>
                </a:cubicBezTo>
                <a:cubicBezTo>
                  <a:pt x="2433" y="3706"/>
                  <a:pt x="3118" y="3006"/>
                  <a:pt x="3165" y="2465"/>
                </a:cubicBezTo>
                <a:cubicBezTo>
                  <a:pt x="3293" y="2385"/>
                  <a:pt x="3324" y="2115"/>
                  <a:pt x="3324" y="2067"/>
                </a:cubicBezTo>
                <a:lnTo>
                  <a:pt x="3324" y="1829"/>
                </a:lnTo>
                <a:cubicBezTo>
                  <a:pt x="3324" y="1749"/>
                  <a:pt x="3324" y="1590"/>
                  <a:pt x="3165" y="1543"/>
                </a:cubicBezTo>
                <a:lnTo>
                  <a:pt x="3165" y="938"/>
                </a:lnTo>
                <a:lnTo>
                  <a:pt x="3277" y="938"/>
                </a:lnTo>
                <a:cubicBezTo>
                  <a:pt x="3308" y="938"/>
                  <a:pt x="3341" y="906"/>
                  <a:pt x="3356" y="875"/>
                </a:cubicBezTo>
                <a:lnTo>
                  <a:pt x="3531" y="334"/>
                </a:lnTo>
                <a:cubicBezTo>
                  <a:pt x="3547" y="302"/>
                  <a:pt x="3531" y="254"/>
                  <a:pt x="3499" y="239"/>
                </a:cubicBezTo>
                <a:lnTo>
                  <a:pt x="3086" y="16"/>
                </a:lnTo>
                <a:cubicBezTo>
                  <a:pt x="3086" y="0"/>
                  <a:pt x="3070" y="0"/>
                  <a:pt x="3054" y="0"/>
                </a:cubicBezTo>
                <a:lnTo>
                  <a:pt x="796" y="0"/>
                </a:lnTo>
                <a:cubicBezTo>
                  <a:pt x="779" y="0"/>
                  <a:pt x="779" y="0"/>
                  <a:pt x="764" y="16"/>
                </a:cubicBezTo>
                <a:lnTo>
                  <a:pt x="350" y="239"/>
                </a:lnTo>
                <a:cubicBezTo>
                  <a:pt x="318" y="254"/>
                  <a:pt x="302" y="302"/>
                  <a:pt x="318" y="334"/>
                </a:cubicBezTo>
                <a:close/>
                <a:moveTo>
                  <a:pt x="3165" y="2067"/>
                </a:moveTo>
                <a:cubicBezTo>
                  <a:pt x="3165" y="2163"/>
                  <a:pt x="3118" y="2306"/>
                  <a:pt x="3086" y="2322"/>
                </a:cubicBezTo>
                <a:cubicBezTo>
                  <a:pt x="3038" y="2322"/>
                  <a:pt x="3006" y="2370"/>
                  <a:pt x="3006" y="2402"/>
                </a:cubicBezTo>
                <a:cubicBezTo>
                  <a:pt x="3006" y="2879"/>
                  <a:pt x="2354" y="3547"/>
                  <a:pt x="1909" y="3547"/>
                </a:cubicBezTo>
                <a:cubicBezTo>
                  <a:pt x="1463" y="3547"/>
                  <a:pt x="843" y="2879"/>
                  <a:pt x="843" y="2402"/>
                </a:cubicBezTo>
                <a:cubicBezTo>
                  <a:pt x="843" y="2370"/>
                  <a:pt x="811" y="2322"/>
                  <a:pt x="779" y="2322"/>
                </a:cubicBezTo>
                <a:cubicBezTo>
                  <a:pt x="732" y="2306"/>
                  <a:pt x="684" y="2163"/>
                  <a:pt x="684" y="2067"/>
                </a:cubicBezTo>
                <a:lnTo>
                  <a:pt x="684" y="1829"/>
                </a:lnTo>
                <a:cubicBezTo>
                  <a:pt x="684" y="1686"/>
                  <a:pt x="732" y="1686"/>
                  <a:pt x="764" y="1686"/>
                </a:cubicBezTo>
                <a:cubicBezTo>
                  <a:pt x="811" y="1686"/>
                  <a:pt x="843" y="1654"/>
                  <a:pt x="843" y="1606"/>
                </a:cubicBezTo>
                <a:lnTo>
                  <a:pt x="843" y="1257"/>
                </a:lnTo>
                <a:cubicBezTo>
                  <a:pt x="1066" y="1367"/>
                  <a:pt x="1495" y="1415"/>
                  <a:pt x="1861" y="1415"/>
                </a:cubicBezTo>
                <a:cubicBezTo>
                  <a:pt x="2195" y="1415"/>
                  <a:pt x="2736" y="1367"/>
                  <a:pt x="3006" y="1240"/>
                </a:cubicBezTo>
                <a:lnTo>
                  <a:pt x="3006" y="1606"/>
                </a:lnTo>
                <a:cubicBezTo>
                  <a:pt x="3006" y="1654"/>
                  <a:pt x="3038" y="1686"/>
                  <a:pt x="3086" y="1686"/>
                </a:cubicBezTo>
                <a:cubicBezTo>
                  <a:pt x="3150" y="1686"/>
                  <a:pt x="3165" y="1702"/>
                  <a:pt x="3165" y="1829"/>
                </a:cubicBezTo>
                <a:close/>
                <a:moveTo>
                  <a:pt x="3006" y="1049"/>
                </a:moveTo>
                <a:cubicBezTo>
                  <a:pt x="2975" y="1113"/>
                  <a:pt x="2545" y="1257"/>
                  <a:pt x="1861" y="1257"/>
                </a:cubicBezTo>
                <a:cubicBezTo>
                  <a:pt x="1161" y="1257"/>
                  <a:pt x="843" y="1097"/>
                  <a:pt x="843" y="1049"/>
                </a:cubicBezTo>
                <a:lnTo>
                  <a:pt x="843" y="938"/>
                </a:lnTo>
                <a:lnTo>
                  <a:pt x="3006" y="938"/>
                </a:lnTo>
                <a:close/>
                <a:moveTo>
                  <a:pt x="827" y="159"/>
                </a:moveTo>
                <a:lnTo>
                  <a:pt x="3038" y="159"/>
                </a:lnTo>
                <a:lnTo>
                  <a:pt x="3356" y="350"/>
                </a:lnTo>
                <a:lnTo>
                  <a:pt x="3229" y="779"/>
                </a:lnTo>
                <a:lnTo>
                  <a:pt x="636" y="779"/>
                </a:lnTo>
                <a:lnTo>
                  <a:pt x="493" y="350"/>
                </a:lnTo>
                <a:close/>
                <a:moveTo>
                  <a:pt x="5392" y="4072"/>
                </a:moveTo>
                <a:cubicBezTo>
                  <a:pt x="5392" y="4024"/>
                  <a:pt x="5360" y="3992"/>
                  <a:pt x="5313" y="3992"/>
                </a:cubicBezTo>
                <a:lnTo>
                  <a:pt x="2688" y="3992"/>
                </a:lnTo>
                <a:cubicBezTo>
                  <a:pt x="2656" y="3992"/>
                  <a:pt x="2609" y="4024"/>
                  <a:pt x="2609" y="4072"/>
                </a:cubicBezTo>
                <a:lnTo>
                  <a:pt x="2609" y="4199"/>
                </a:lnTo>
                <a:cubicBezTo>
                  <a:pt x="2609" y="4374"/>
                  <a:pt x="2799" y="4501"/>
                  <a:pt x="2959" y="4501"/>
                </a:cubicBezTo>
                <a:lnTo>
                  <a:pt x="5106" y="4501"/>
                </a:lnTo>
                <a:cubicBezTo>
                  <a:pt x="5265" y="4501"/>
                  <a:pt x="5392" y="4374"/>
                  <a:pt x="5392" y="4199"/>
                </a:cubicBezTo>
                <a:close/>
                <a:moveTo>
                  <a:pt x="5233" y="4199"/>
                </a:moveTo>
                <a:cubicBezTo>
                  <a:pt x="5233" y="4278"/>
                  <a:pt x="5186" y="4342"/>
                  <a:pt x="5106" y="4342"/>
                </a:cubicBezTo>
                <a:lnTo>
                  <a:pt x="2959" y="4342"/>
                </a:lnTo>
                <a:cubicBezTo>
                  <a:pt x="2879" y="4342"/>
                  <a:pt x="2768" y="4278"/>
                  <a:pt x="2768" y="4199"/>
                </a:cubicBezTo>
                <a:lnTo>
                  <a:pt x="2768" y="4151"/>
                </a:lnTo>
                <a:lnTo>
                  <a:pt x="5233" y="4151"/>
                </a:lnTo>
                <a:close/>
                <a:moveTo>
                  <a:pt x="5456" y="3864"/>
                </a:moveTo>
                <a:cubicBezTo>
                  <a:pt x="5472" y="3880"/>
                  <a:pt x="5487" y="3896"/>
                  <a:pt x="5519" y="3896"/>
                </a:cubicBezTo>
                <a:lnTo>
                  <a:pt x="5551" y="3896"/>
                </a:lnTo>
                <a:lnTo>
                  <a:pt x="5678" y="3816"/>
                </a:lnTo>
                <a:cubicBezTo>
                  <a:pt x="5742" y="3784"/>
                  <a:pt x="5790" y="3705"/>
                  <a:pt x="5806" y="3610"/>
                </a:cubicBezTo>
                <a:cubicBezTo>
                  <a:pt x="5822" y="3530"/>
                  <a:pt x="5806" y="3434"/>
                  <a:pt x="5774" y="3371"/>
                </a:cubicBezTo>
                <a:lnTo>
                  <a:pt x="4692" y="1511"/>
                </a:lnTo>
                <a:cubicBezTo>
                  <a:pt x="4613" y="1367"/>
                  <a:pt x="4422" y="1320"/>
                  <a:pt x="4279" y="1415"/>
                </a:cubicBezTo>
                <a:lnTo>
                  <a:pt x="4168" y="1479"/>
                </a:lnTo>
                <a:cubicBezTo>
                  <a:pt x="4151" y="1495"/>
                  <a:pt x="4136" y="1511"/>
                  <a:pt x="4136" y="1527"/>
                </a:cubicBezTo>
                <a:cubicBezTo>
                  <a:pt x="4120" y="1543"/>
                  <a:pt x="4120" y="1575"/>
                  <a:pt x="4136" y="1590"/>
                </a:cubicBezTo>
                <a:close/>
                <a:moveTo>
                  <a:pt x="4358" y="1543"/>
                </a:moveTo>
                <a:cubicBezTo>
                  <a:pt x="4438" y="1511"/>
                  <a:pt x="4517" y="1527"/>
                  <a:pt x="4565" y="1590"/>
                </a:cubicBezTo>
                <a:lnTo>
                  <a:pt x="5631" y="3450"/>
                </a:lnTo>
                <a:cubicBezTo>
                  <a:pt x="5647" y="3482"/>
                  <a:pt x="5662" y="3546"/>
                  <a:pt x="5647" y="3593"/>
                </a:cubicBezTo>
                <a:cubicBezTo>
                  <a:pt x="5647" y="3610"/>
                  <a:pt x="5631" y="3657"/>
                  <a:pt x="5599" y="3689"/>
                </a:cubicBezTo>
                <a:lnTo>
                  <a:pt x="5551" y="3705"/>
                </a:lnTo>
                <a:lnTo>
                  <a:pt x="4311" y="1575"/>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6" name="Freeform: Shape 5">
            <a:extLst>
              <a:ext uri="{FF2B5EF4-FFF2-40B4-BE49-F238E27FC236}">
                <a16:creationId xmlns:a16="http://schemas.microsoft.com/office/drawing/2014/main" id="{66C5D8E3-BCB2-7445-8078-9A1C3ABCDA56}"/>
              </a:ext>
            </a:extLst>
          </p:cNvPr>
          <p:cNvSpPr/>
          <p:nvPr/>
        </p:nvSpPr>
        <p:spPr>
          <a:xfrm>
            <a:off x="5673105" y="2958733"/>
            <a:ext cx="2244240" cy="1986480"/>
          </a:xfrm>
          <a:custGeom>
            <a:avLst/>
            <a:gdLst/>
            <a:ahLst/>
            <a:cxnLst>
              <a:cxn ang="3cd4">
                <a:pos x="hc" y="t"/>
              </a:cxn>
              <a:cxn ang="cd2">
                <a:pos x="l" y="vc"/>
              </a:cxn>
              <a:cxn ang="cd4">
                <a:pos x="hc" y="b"/>
              </a:cxn>
              <a:cxn ang="0">
                <a:pos x="r" y="vc"/>
              </a:cxn>
            </a:cxnLst>
            <a:rect l="l" t="t" r="r" b="b"/>
            <a:pathLst>
              <a:path w="6235" h="5519">
                <a:moveTo>
                  <a:pt x="1256" y="3626"/>
                </a:moveTo>
                <a:lnTo>
                  <a:pt x="1256" y="3658"/>
                </a:lnTo>
                <a:cubicBezTo>
                  <a:pt x="1256" y="4676"/>
                  <a:pt x="2099" y="5519"/>
                  <a:pt x="3117" y="5519"/>
                </a:cubicBezTo>
                <a:cubicBezTo>
                  <a:pt x="4151" y="5519"/>
                  <a:pt x="4994" y="4676"/>
                  <a:pt x="4994" y="3658"/>
                </a:cubicBezTo>
                <a:lnTo>
                  <a:pt x="4994" y="3626"/>
                </a:lnTo>
                <a:cubicBezTo>
                  <a:pt x="5726" y="3372"/>
                  <a:pt x="6235" y="2672"/>
                  <a:pt x="6235" y="1860"/>
                </a:cubicBezTo>
                <a:cubicBezTo>
                  <a:pt x="6235" y="827"/>
                  <a:pt x="5408" y="0"/>
                  <a:pt x="4374" y="0"/>
                </a:cubicBezTo>
                <a:cubicBezTo>
                  <a:pt x="3897" y="0"/>
                  <a:pt x="3451" y="175"/>
                  <a:pt x="3117" y="477"/>
                </a:cubicBezTo>
                <a:cubicBezTo>
                  <a:pt x="2799" y="175"/>
                  <a:pt x="2354" y="0"/>
                  <a:pt x="1877" y="0"/>
                </a:cubicBezTo>
                <a:cubicBezTo>
                  <a:pt x="843" y="0"/>
                  <a:pt x="0" y="827"/>
                  <a:pt x="0" y="1860"/>
                </a:cubicBezTo>
                <a:cubicBezTo>
                  <a:pt x="0" y="2672"/>
                  <a:pt x="525" y="3372"/>
                  <a:pt x="1256" y="3626"/>
                </a:cubicBezTo>
                <a:close/>
                <a:moveTo>
                  <a:pt x="3117" y="699"/>
                </a:moveTo>
                <a:cubicBezTo>
                  <a:pt x="3404" y="1002"/>
                  <a:pt x="3579" y="1399"/>
                  <a:pt x="3579" y="1845"/>
                </a:cubicBezTo>
                <a:cubicBezTo>
                  <a:pt x="3435" y="1797"/>
                  <a:pt x="3276" y="1781"/>
                  <a:pt x="3117" y="1781"/>
                </a:cubicBezTo>
                <a:cubicBezTo>
                  <a:pt x="2958" y="1781"/>
                  <a:pt x="2815" y="1797"/>
                  <a:pt x="2672" y="1845"/>
                </a:cubicBezTo>
                <a:cubicBezTo>
                  <a:pt x="2672" y="1399"/>
                  <a:pt x="2847" y="1002"/>
                  <a:pt x="3117" y="699"/>
                </a:cubicBezTo>
                <a:close/>
                <a:moveTo>
                  <a:pt x="3117" y="1940"/>
                </a:moveTo>
                <a:cubicBezTo>
                  <a:pt x="3276" y="1940"/>
                  <a:pt x="3435" y="1956"/>
                  <a:pt x="3579" y="2004"/>
                </a:cubicBezTo>
                <a:cubicBezTo>
                  <a:pt x="3547" y="2402"/>
                  <a:pt x="3372" y="2751"/>
                  <a:pt x="3117" y="3022"/>
                </a:cubicBezTo>
                <a:cubicBezTo>
                  <a:pt x="2863" y="2751"/>
                  <a:pt x="2704" y="2402"/>
                  <a:pt x="2672" y="2004"/>
                </a:cubicBezTo>
                <a:cubicBezTo>
                  <a:pt x="2815" y="1956"/>
                  <a:pt x="2974" y="1940"/>
                  <a:pt x="3117" y="1940"/>
                </a:cubicBezTo>
                <a:close/>
                <a:moveTo>
                  <a:pt x="3722" y="2051"/>
                </a:moveTo>
                <a:cubicBezTo>
                  <a:pt x="4326" y="2290"/>
                  <a:pt x="4771" y="2847"/>
                  <a:pt x="4819" y="3515"/>
                </a:cubicBezTo>
                <a:cubicBezTo>
                  <a:pt x="4676" y="3547"/>
                  <a:pt x="4533" y="3578"/>
                  <a:pt x="4374" y="3578"/>
                </a:cubicBezTo>
                <a:cubicBezTo>
                  <a:pt x="3944" y="3578"/>
                  <a:pt x="3531" y="3404"/>
                  <a:pt x="3229" y="3133"/>
                </a:cubicBezTo>
                <a:cubicBezTo>
                  <a:pt x="3499" y="2847"/>
                  <a:pt x="3690" y="2465"/>
                  <a:pt x="3722" y="2051"/>
                </a:cubicBezTo>
                <a:close/>
                <a:moveTo>
                  <a:pt x="3006" y="3133"/>
                </a:moveTo>
                <a:cubicBezTo>
                  <a:pt x="2704" y="3404"/>
                  <a:pt x="2306" y="3578"/>
                  <a:pt x="1877" y="3578"/>
                </a:cubicBezTo>
                <a:cubicBezTo>
                  <a:pt x="1717" y="3578"/>
                  <a:pt x="1559" y="3547"/>
                  <a:pt x="1415" y="3515"/>
                </a:cubicBezTo>
                <a:cubicBezTo>
                  <a:pt x="1479" y="2847"/>
                  <a:pt x="1908" y="2290"/>
                  <a:pt x="2513" y="2051"/>
                </a:cubicBezTo>
                <a:cubicBezTo>
                  <a:pt x="2561" y="2465"/>
                  <a:pt x="2735" y="2847"/>
                  <a:pt x="3006" y="3133"/>
                </a:cubicBezTo>
                <a:close/>
                <a:moveTo>
                  <a:pt x="3117" y="5360"/>
                </a:moveTo>
                <a:cubicBezTo>
                  <a:pt x="2195" y="5360"/>
                  <a:pt x="1431" y="4613"/>
                  <a:pt x="1415" y="3674"/>
                </a:cubicBezTo>
                <a:cubicBezTo>
                  <a:pt x="1559" y="3706"/>
                  <a:pt x="1717" y="3738"/>
                  <a:pt x="1877" y="3738"/>
                </a:cubicBezTo>
                <a:cubicBezTo>
                  <a:pt x="2354" y="3738"/>
                  <a:pt x="2799" y="3547"/>
                  <a:pt x="3117" y="3244"/>
                </a:cubicBezTo>
                <a:cubicBezTo>
                  <a:pt x="3451" y="3547"/>
                  <a:pt x="3897" y="3738"/>
                  <a:pt x="4374" y="3738"/>
                </a:cubicBezTo>
                <a:cubicBezTo>
                  <a:pt x="4533" y="3738"/>
                  <a:pt x="4692" y="3706"/>
                  <a:pt x="4835" y="3674"/>
                </a:cubicBezTo>
                <a:cubicBezTo>
                  <a:pt x="4819" y="4613"/>
                  <a:pt x="4056" y="5360"/>
                  <a:pt x="3117" y="5360"/>
                </a:cubicBezTo>
                <a:close/>
                <a:moveTo>
                  <a:pt x="6076" y="1860"/>
                </a:moveTo>
                <a:cubicBezTo>
                  <a:pt x="6076" y="2592"/>
                  <a:pt x="5630" y="3213"/>
                  <a:pt x="4978" y="3467"/>
                </a:cubicBezTo>
                <a:cubicBezTo>
                  <a:pt x="4899" y="2735"/>
                  <a:pt x="4405" y="2115"/>
                  <a:pt x="3738" y="1893"/>
                </a:cubicBezTo>
                <a:lnTo>
                  <a:pt x="3738" y="1860"/>
                </a:lnTo>
                <a:cubicBezTo>
                  <a:pt x="3738" y="1368"/>
                  <a:pt x="3547" y="922"/>
                  <a:pt x="3229" y="588"/>
                </a:cubicBezTo>
                <a:cubicBezTo>
                  <a:pt x="3531" y="318"/>
                  <a:pt x="3944" y="159"/>
                  <a:pt x="4374" y="159"/>
                </a:cubicBezTo>
                <a:cubicBezTo>
                  <a:pt x="5312" y="159"/>
                  <a:pt x="6076" y="922"/>
                  <a:pt x="6076" y="1860"/>
                </a:cubicBezTo>
                <a:close/>
                <a:moveTo>
                  <a:pt x="1877" y="159"/>
                </a:moveTo>
                <a:cubicBezTo>
                  <a:pt x="2306" y="159"/>
                  <a:pt x="2704" y="318"/>
                  <a:pt x="3006" y="588"/>
                </a:cubicBezTo>
                <a:cubicBezTo>
                  <a:pt x="2704" y="922"/>
                  <a:pt x="2513" y="1368"/>
                  <a:pt x="2513" y="1860"/>
                </a:cubicBezTo>
                <a:lnTo>
                  <a:pt x="2513" y="1893"/>
                </a:lnTo>
                <a:cubicBezTo>
                  <a:pt x="1829" y="2115"/>
                  <a:pt x="1336" y="2735"/>
                  <a:pt x="1272" y="3467"/>
                </a:cubicBezTo>
                <a:cubicBezTo>
                  <a:pt x="620" y="3213"/>
                  <a:pt x="159" y="2592"/>
                  <a:pt x="159" y="1860"/>
                </a:cubicBezTo>
                <a:cubicBezTo>
                  <a:pt x="159" y="922"/>
                  <a:pt x="922" y="159"/>
                  <a:pt x="1877" y="159"/>
                </a:cubicBezTo>
                <a:close/>
                <a:moveTo>
                  <a:pt x="3419" y="4326"/>
                </a:moveTo>
                <a:cubicBezTo>
                  <a:pt x="3388" y="4294"/>
                  <a:pt x="3340" y="4278"/>
                  <a:pt x="3308" y="4262"/>
                </a:cubicBezTo>
                <a:cubicBezTo>
                  <a:pt x="3261" y="4247"/>
                  <a:pt x="3213" y="4231"/>
                  <a:pt x="3165" y="4215"/>
                </a:cubicBezTo>
                <a:cubicBezTo>
                  <a:pt x="3117" y="4199"/>
                  <a:pt x="3070" y="4183"/>
                  <a:pt x="3038" y="4167"/>
                </a:cubicBezTo>
                <a:cubicBezTo>
                  <a:pt x="2990" y="4151"/>
                  <a:pt x="2974" y="4135"/>
                  <a:pt x="2958" y="4119"/>
                </a:cubicBezTo>
                <a:cubicBezTo>
                  <a:pt x="2942" y="4087"/>
                  <a:pt x="2958" y="4040"/>
                  <a:pt x="2974" y="4008"/>
                </a:cubicBezTo>
                <a:cubicBezTo>
                  <a:pt x="3022" y="3960"/>
                  <a:pt x="3133" y="3960"/>
                  <a:pt x="3181" y="3960"/>
                </a:cubicBezTo>
                <a:cubicBezTo>
                  <a:pt x="3292" y="3976"/>
                  <a:pt x="3298" y="4003"/>
                  <a:pt x="3356" y="4024"/>
                </a:cubicBezTo>
                <a:cubicBezTo>
                  <a:pt x="3404" y="4056"/>
                  <a:pt x="3451" y="4040"/>
                  <a:pt x="3467" y="4008"/>
                </a:cubicBezTo>
                <a:cubicBezTo>
                  <a:pt x="3499" y="3976"/>
                  <a:pt x="3483" y="3928"/>
                  <a:pt x="3451" y="3896"/>
                </a:cubicBezTo>
                <a:cubicBezTo>
                  <a:pt x="3372" y="3864"/>
                  <a:pt x="3356" y="3833"/>
                  <a:pt x="3213" y="3801"/>
                </a:cubicBezTo>
                <a:lnTo>
                  <a:pt x="3213" y="3658"/>
                </a:lnTo>
                <a:cubicBezTo>
                  <a:pt x="3213" y="3626"/>
                  <a:pt x="3181" y="3578"/>
                  <a:pt x="3133" y="3578"/>
                </a:cubicBezTo>
                <a:cubicBezTo>
                  <a:pt x="3101" y="3578"/>
                  <a:pt x="3053" y="3626"/>
                  <a:pt x="3053" y="3658"/>
                </a:cubicBezTo>
                <a:lnTo>
                  <a:pt x="3053" y="3801"/>
                </a:lnTo>
                <a:cubicBezTo>
                  <a:pt x="2974" y="3817"/>
                  <a:pt x="2910" y="3849"/>
                  <a:pt x="2863" y="3913"/>
                </a:cubicBezTo>
                <a:cubicBezTo>
                  <a:pt x="2799" y="3976"/>
                  <a:pt x="2783" y="4087"/>
                  <a:pt x="2815" y="4183"/>
                </a:cubicBezTo>
                <a:cubicBezTo>
                  <a:pt x="2847" y="4247"/>
                  <a:pt x="2895" y="4278"/>
                  <a:pt x="2974" y="4310"/>
                </a:cubicBezTo>
                <a:cubicBezTo>
                  <a:pt x="3022" y="4342"/>
                  <a:pt x="3070" y="4358"/>
                  <a:pt x="3117" y="4358"/>
                </a:cubicBezTo>
                <a:cubicBezTo>
                  <a:pt x="3165" y="4374"/>
                  <a:pt x="3197" y="4390"/>
                  <a:pt x="3244" y="4405"/>
                </a:cubicBezTo>
                <a:cubicBezTo>
                  <a:pt x="3276" y="4422"/>
                  <a:pt x="3292" y="4437"/>
                  <a:pt x="3324" y="4453"/>
                </a:cubicBezTo>
                <a:cubicBezTo>
                  <a:pt x="3340" y="4469"/>
                  <a:pt x="3340" y="4501"/>
                  <a:pt x="3340" y="4549"/>
                </a:cubicBezTo>
                <a:cubicBezTo>
                  <a:pt x="3324" y="4628"/>
                  <a:pt x="3244" y="4660"/>
                  <a:pt x="3165" y="4660"/>
                </a:cubicBezTo>
                <a:cubicBezTo>
                  <a:pt x="3070" y="4660"/>
                  <a:pt x="2958" y="4628"/>
                  <a:pt x="2863" y="4549"/>
                </a:cubicBezTo>
                <a:cubicBezTo>
                  <a:pt x="2831" y="4533"/>
                  <a:pt x="2783" y="4533"/>
                  <a:pt x="2752" y="4565"/>
                </a:cubicBezTo>
                <a:cubicBezTo>
                  <a:pt x="2735" y="4596"/>
                  <a:pt x="2735" y="4644"/>
                  <a:pt x="2767" y="4676"/>
                </a:cubicBezTo>
                <a:cubicBezTo>
                  <a:pt x="2863" y="4740"/>
                  <a:pt x="2958" y="4787"/>
                  <a:pt x="3053" y="4803"/>
                </a:cubicBezTo>
                <a:lnTo>
                  <a:pt x="3053" y="4962"/>
                </a:lnTo>
                <a:cubicBezTo>
                  <a:pt x="3053" y="4994"/>
                  <a:pt x="3101" y="5042"/>
                  <a:pt x="3133" y="5042"/>
                </a:cubicBezTo>
                <a:cubicBezTo>
                  <a:pt x="3181" y="5042"/>
                  <a:pt x="3213" y="4994"/>
                  <a:pt x="3213" y="4962"/>
                </a:cubicBezTo>
                <a:lnTo>
                  <a:pt x="3213" y="4819"/>
                </a:lnTo>
                <a:cubicBezTo>
                  <a:pt x="3340" y="4803"/>
                  <a:pt x="3451" y="4724"/>
                  <a:pt x="3499" y="4596"/>
                </a:cubicBezTo>
                <a:lnTo>
                  <a:pt x="3499" y="4565"/>
                </a:lnTo>
                <a:cubicBezTo>
                  <a:pt x="3515" y="4469"/>
                  <a:pt x="3483" y="4390"/>
                  <a:pt x="3419" y="4326"/>
                </a:cubicBezTo>
                <a:close/>
                <a:moveTo>
                  <a:pt x="4437" y="1686"/>
                </a:moveTo>
                <a:lnTo>
                  <a:pt x="4835" y="1686"/>
                </a:lnTo>
                <a:lnTo>
                  <a:pt x="4835" y="2083"/>
                </a:lnTo>
                <a:cubicBezTo>
                  <a:pt x="4835" y="2131"/>
                  <a:pt x="4867" y="2163"/>
                  <a:pt x="4915" y="2163"/>
                </a:cubicBezTo>
                <a:cubicBezTo>
                  <a:pt x="4962" y="2163"/>
                  <a:pt x="4994" y="2131"/>
                  <a:pt x="4994" y="2083"/>
                </a:cubicBezTo>
                <a:lnTo>
                  <a:pt x="4994" y="1686"/>
                </a:lnTo>
                <a:lnTo>
                  <a:pt x="5392" y="1686"/>
                </a:lnTo>
                <a:cubicBezTo>
                  <a:pt x="5424" y="1686"/>
                  <a:pt x="5471" y="1654"/>
                  <a:pt x="5471" y="1606"/>
                </a:cubicBezTo>
                <a:cubicBezTo>
                  <a:pt x="5471" y="1574"/>
                  <a:pt x="5424" y="1527"/>
                  <a:pt x="5392" y="1527"/>
                </a:cubicBezTo>
                <a:lnTo>
                  <a:pt x="4994" y="1527"/>
                </a:lnTo>
                <a:lnTo>
                  <a:pt x="4994" y="1145"/>
                </a:lnTo>
                <a:cubicBezTo>
                  <a:pt x="4994" y="1097"/>
                  <a:pt x="4962" y="1065"/>
                  <a:pt x="4915" y="1065"/>
                </a:cubicBezTo>
                <a:cubicBezTo>
                  <a:pt x="4867" y="1065"/>
                  <a:pt x="4835" y="1097"/>
                  <a:pt x="4835" y="1145"/>
                </a:cubicBezTo>
                <a:lnTo>
                  <a:pt x="4835" y="1527"/>
                </a:lnTo>
                <a:lnTo>
                  <a:pt x="4437" y="1527"/>
                </a:lnTo>
                <a:cubicBezTo>
                  <a:pt x="4390" y="1527"/>
                  <a:pt x="4358" y="1574"/>
                  <a:pt x="4358" y="1606"/>
                </a:cubicBezTo>
                <a:cubicBezTo>
                  <a:pt x="4358" y="1654"/>
                  <a:pt x="4390" y="1686"/>
                  <a:pt x="4437" y="1686"/>
                </a:cubicBezTo>
                <a:close/>
                <a:moveTo>
                  <a:pt x="859" y="1686"/>
                </a:moveTo>
                <a:lnTo>
                  <a:pt x="1813" y="1686"/>
                </a:lnTo>
                <a:cubicBezTo>
                  <a:pt x="1845" y="1686"/>
                  <a:pt x="1892" y="1654"/>
                  <a:pt x="1892" y="1606"/>
                </a:cubicBezTo>
                <a:cubicBezTo>
                  <a:pt x="1892" y="1574"/>
                  <a:pt x="1845" y="1527"/>
                  <a:pt x="1813" y="1527"/>
                </a:cubicBezTo>
                <a:lnTo>
                  <a:pt x="859" y="1527"/>
                </a:lnTo>
                <a:cubicBezTo>
                  <a:pt x="811" y="1527"/>
                  <a:pt x="779" y="1574"/>
                  <a:pt x="779" y="1606"/>
                </a:cubicBezTo>
                <a:cubicBezTo>
                  <a:pt x="779" y="1654"/>
                  <a:pt x="811" y="1686"/>
                  <a:pt x="859" y="168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7" name="Freeform: Shape 6">
            <a:extLst>
              <a:ext uri="{FF2B5EF4-FFF2-40B4-BE49-F238E27FC236}">
                <a16:creationId xmlns:a16="http://schemas.microsoft.com/office/drawing/2014/main" id="{3B4FD583-C8D7-074A-85CE-959272DFC82F}"/>
              </a:ext>
            </a:extLst>
          </p:cNvPr>
          <p:cNvSpPr/>
          <p:nvPr/>
        </p:nvSpPr>
        <p:spPr>
          <a:xfrm>
            <a:off x="1554917" y="6817391"/>
            <a:ext cx="2000160" cy="1139040"/>
          </a:xfrm>
          <a:custGeom>
            <a:avLst/>
            <a:gdLst/>
            <a:ahLst/>
            <a:cxnLst>
              <a:cxn ang="3cd4">
                <a:pos x="hc" y="t"/>
              </a:cxn>
              <a:cxn ang="cd2">
                <a:pos x="l" y="vc"/>
              </a:cxn>
              <a:cxn ang="cd4">
                <a:pos x="hc" y="b"/>
              </a:cxn>
              <a:cxn ang="0">
                <a:pos x="r" y="vc"/>
              </a:cxn>
            </a:cxnLst>
            <a:rect l="l" t="t" r="r" b="b"/>
            <a:pathLst>
              <a:path w="5557" h="3165">
                <a:moveTo>
                  <a:pt x="80" y="1925"/>
                </a:moveTo>
                <a:lnTo>
                  <a:pt x="271" y="1925"/>
                </a:lnTo>
                <a:cubicBezTo>
                  <a:pt x="271" y="2036"/>
                  <a:pt x="271" y="2163"/>
                  <a:pt x="255" y="2275"/>
                </a:cubicBezTo>
                <a:cubicBezTo>
                  <a:pt x="207" y="2418"/>
                  <a:pt x="175" y="2545"/>
                  <a:pt x="80" y="2688"/>
                </a:cubicBezTo>
                <a:cubicBezTo>
                  <a:pt x="48" y="2720"/>
                  <a:pt x="48" y="2752"/>
                  <a:pt x="64" y="2767"/>
                </a:cubicBezTo>
                <a:cubicBezTo>
                  <a:pt x="80" y="2799"/>
                  <a:pt x="111" y="2815"/>
                  <a:pt x="143" y="2815"/>
                </a:cubicBezTo>
                <a:lnTo>
                  <a:pt x="1289" y="2815"/>
                </a:lnTo>
                <a:cubicBezTo>
                  <a:pt x="1336" y="2815"/>
                  <a:pt x="1368" y="2784"/>
                  <a:pt x="1368" y="2736"/>
                </a:cubicBezTo>
                <a:cubicBezTo>
                  <a:pt x="1368" y="2688"/>
                  <a:pt x="1336" y="2656"/>
                  <a:pt x="1289" y="2656"/>
                </a:cubicBezTo>
                <a:lnTo>
                  <a:pt x="286" y="2656"/>
                </a:lnTo>
                <a:cubicBezTo>
                  <a:pt x="350" y="2529"/>
                  <a:pt x="366" y="2418"/>
                  <a:pt x="398" y="2290"/>
                </a:cubicBezTo>
                <a:cubicBezTo>
                  <a:pt x="429" y="2179"/>
                  <a:pt x="429" y="2052"/>
                  <a:pt x="429" y="1925"/>
                </a:cubicBezTo>
                <a:lnTo>
                  <a:pt x="970" y="1925"/>
                </a:lnTo>
                <a:cubicBezTo>
                  <a:pt x="1018" y="1925"/>
                  <a:pt x="1050" y="1893"/>
                  <a:pt x="1050" y="1845"/>
                </a:cubicBezTo>
                <a:cubicBezTo>
                  <a:pt x="1050" y="1797"/>
                  <a:pt x="1018" y="1766"/>
                  <a:pt x="970" y="1766"/>
                </a:cubicBezTo>
                <a:lnTo>
                  <a:pt x="429" y="1766"/>
                </a:lnTo>
                <a:cubicBezTo>
                  <a:pt x="414" y="1749"/>
                  <a:pt x="414" y="1749"/>
                  <a:pt x="414" y="1734"/>
                </a:cubicBezTo>
                <a:cubicBezTo>
                  <a:pt x="387" y="1463"/>
                  <a:pt x="334" y="1113"/>
                  <a:pt x="334" y="922"/>
                </a:cubicBezTo>
                <a:cubicBezTo>
                  <a:pt x="334" y="636"/>
                  <a:pt x="461" y="493"/>
                  <a:pt x="732" y="493"/>
                </a:cubicBezTo>
                <a:cubicBezTo>
                  <a:pt x="843" y="493"/>
                  <a:pt x="986" y="541"/>
                  <a:pt x="1129" y="621"/>
                </a:cubicBezTo>
                <a:cubicBezTo>
                  <a:pt x="1177" y="636"/>
                  <a:pt x="1225" y="621"/>
                  <a:pt x="1241" y="588"/>
                </a:cubicBezTo>
                <a:cubicBezTo>
                  <a:pt x="1256" y="557"/>
                  <a:pt x="1241" y="509"/>
                  <a:pt x="1209" y="477"/>
                </a:cubicBezTo>
                <a:cubicBezTo>
                  <a:pt x="1034" y="382"/>
                  <a:pt x="875" y="334"/>
                  <a:pt x="732" y="334"/>
                </a:cubicBezTo>
                <a:cubicBezTo>
                  <a:pt x="366" y="334"/>
                  <a:pt x="175" y="541"/>
                  <a:pt x="175" y="922"/>
                </a:cubicBezTo>
                <a:cubicBezTo>
                  <a:pt x="175" y="1113"/>
                  <a:pt x="255" y="1734"/>
                  <a:pt x="255" y="1749"/>
                </a:cubicBezTo>
                <a:lnTo>
                  <a:pt x="271" y="1766"/>
                </a:lnTo>
                <a:lnTo>
                  <a:pt x="80" y="1766"/>
                </a:lnTo>
                <a:cubicBezTo>
                  <a:pt x="32" y="1766"/>
                  <a:pt x="0" y="1797"/>
                  <a:pt x="0" y="1845"/>
                </a:cubicBezTo>
                <a:cubicBezTo>
                  <a:pt x="0" y="1893"/>
                  <a:pt x="32" y="1925"/>
                  <a:pt x="80" y="1925"/>
                </a:cubicBezTo>
                <a:close/>
                <a:moveTo>
                  <a:pt x="3372" y="1972"/>
                </a:moveTo>
                <a:cubicBezTo>
                  <a:pt x="3372" y="2020"/>
                  <a:pt x="3404" y="2052"/>
                  <a:pt x="3452" y="2052"/>
                </a:cubicBezTo>
                <a:lnTo>
                  <a:pt x="3833" y="2052"/>
                </a:lnTo>
                <a:cubicBezTo>
                  <a:pt x="4024" y="2513"/>
                  <a:pt x="4470" y="2847"/>
                  <a:pt x="5010" y="2847"/>
                </a:cubicBezTo>
                <a:cubicBezTo>
                  <a:pt x="5185" y="2847"/>
                  <a:pt x="5345" y="2799"/>
                  <a:pt x="5503" y="2736"/>
                </a:cubicBezTo>
                <a:cubicBezTo>
                  <a:pt x="5551" y="2720"/>
                  <a:pt x="5567" y="2672"/>
                  <a:pt x="5551" y="2624"/>
                </a:cubicBezTo>
                <a:cubicBezTo>
                  <a:pt x="5536" y="2593"/>
                  <a:pt x="5488" y="2577"/>
                  <a:pt x="5440" y="2593"/>
                </a:cubicBezTo>
                <a:cubicBezTo>
                  <a:pt x="5313" y="2656"/>
                  <a:pt x="5154" y="2688"/>
                  <a:pt x="5010" y="2688"/>
                </a:cubicBezTo>
                <a:cubicBezTo>
                  <a:pt x="4565" y="2688"/>
                  <a:pt x="4183" y="2418"/>
                  <a:pt x="4009" y="2052"/>
                </a:cubicBezTo>
                <a:lnTo>
                  <a:pt x="4819" y="2052"/>
                </a:lnTo>
                <a:cubicBezTo>
                  <a:pt x="4851" y="2052"/>
                  <a:pt x="4899" y="2020"/>
                  <a:pt x="4899" y="1972"/>
                </a:cubicBezTo>
                <a:cubicBezTo>
                  <a:pt x="4899" y="1925"/>
                  <a:pt x="4851" y="1893"/>
                  <a:pt x="4819" y="1893"/>
                </a:cubicBezTo>
                <a:lnTo>
                  <a:pt x="3945" y="1893"/>
                </a:lnTo>
                <a:cubicBezTo>
                  <a:pt x="3913" y="1797"/>
                  <a:pt x="3897" y="1686"/>
                  <a:pt x="3897" y="1575"/>
                </a:cubicBezTo>
                <a:lnTo>
                  <a:pt x="3897" y="1543"/>
                </a:lnTo>
                <a:lnTo>
                  <a:pt x="4819" y="1543"/>
                </a:lnTo>
                <a:cubicBezTo>
                  <a:pt x="4851" y="1543"/>
                  <a:pt x="4899" y="1495"/>
                  <a:pt x="4899" y="1463"/>
                </a:cubicBezTo>
                <a:cubicBezTo>
                  <a:pt x="4899" y="1416"/>
                  <a:pt x="4851" y="1384"/>
                  <a:pt x="4819" y="1384"/>
                </a:cubicBezTo>
                <a:lnTo>
                  <a:pt x="3913" y="1384"/>
                </a:lnTo>
                <a:cubicBezTo>
                  <a:pt x="4009" y="859"/>
                  <a:pt x="4470" y="477"/>
                  <a:pt x="5010" y="477"/>
                </a:cubicBezTo>
                <a:cubicBezTo>
                  <a:pt x="5154" y="477"/>
                  <a:pt x="5313" y="509"/>
                  <a:pt x="5440" y="573"/>
                </a:cubicBezTo>
                <a:cubicBezTo>
                  <a:pt x="5488" y="588"/>
                  <a:pt x="5536" y="573"/>
                  <a:pt x="5551" y="525"/>
                </a:cubicBezTo>
                <a:cubicBezTo>
                  <a:pt x="5567" y="477"/>
                  <a:pt x="5551" y="445"/>
                  <a:pt x="5503" y="413"/>
                </a:cubicBezTo>
                <a:cubicBezTo>
                  <a:pt x="5345" y="350"/>
                  <a:pt x="5185" y="318"/>
                  <a:pt x="5010" y="318"/>
                </a:cubicBezTo>
                <a:cubicBezTo>
                  <a:pt x="4374" y="318"/>
                  <a:pt x="3849" y="779"/>
                  <a:pt x="3754" y="1384"/>
                </a:cubicBezTo>
                <a:lnTo>
                  <a:pt x="3452" y="1384"/>
                </a:lnTo>
                <a:cubicBezTo>
                  <a:pt x="3404" y="1384"/>
                  <a:pt x="3372" y="1416"/>
                  <a:pt x="3372" y="1463"/>
                </a:cubicBezTo>
                <a:cubicBezTo>
                  <a:pt x="3372" y="1495"/>
                  <a:pt x="3404" y="1543"/>
                  <a:pt x="3452" y="1543"/>
                </a:cubicBezTo>
                <a:lnTo>
                  <a:pt x="3738" y="1543"/>
                </a:lnTo>
                <a:lnTo>
                  <a:pt x="3738" y="1575"/>
                </a:lnTo>
                <a:cubicBezTo>
                  <a:pt x="3738" y="1686"/>
                  <a:pt x="3754" y="1797"/>
                  <a:pt x="3786" y="1893"/>
                </a:cubicBezTo>
                <a:lnTo>
                  <a:pt x="3452" y="1893"/>
                </a:lnTo>
                <a:cubicBezTo>
                  <a:pt x="3404" y="1893"/>
                  <a:pt x="3372" y="1925"/>
                  <a:pt x="3372" y="1972"/>
                </a:cubicBezTo>
                <a:close/>
                <a:moveTo>
                  <a:pt x="2561" y="509"/>
                </a:moveTo>
                <a:lnTo>
                  <a:pt x="2561" y="79"/>
                </a:lnTo>
                <a:cubicBezTo>
                  <a:pt x="2561" y="32"/>
                  <a:pt x="2529" y="0"/>
                  <a:pt x="2482" y="0"/>
                </a:cubicBezTo>
                <a:cubicBezTo>
                  <a:pt x="2450" y="0"/>
                  <a:pt x="2402" y="32"/>
                  <a:pt x="2402" y="79"/>
                </a:cubicBezTo>
                <a:lnTo>
                  <a:pt x="2402" y="493"/>
                </a:lnTo>
                <a:cubicBezTo>
                  <a:pt x="2465" y="493"/>
                  <a:pt x="2513" y="493"/>
                  <a:pt x="2561" y="509"/>
                </a:cubicBezTo>
                <a:close/>
                <a:moveTo>
                  <a:pt x="1702" y="2354"/>
                </a:moveTo>
                <a:cubicBezTo>
                  <a:pt x="1909" y="2513"/>
                  <a:pt x="2163" y="2624"/>
                  <a:pt x="2402" y="2640"/>
                </a:cubicBezTo>
                <a:lnTo>
                  <a:pt x="2402" y="3086"/>
                </a:lnTo>
                <a:cubicBezTo>
                  <a:pt x="2402" y="3118"/>
                  <a:pt x="2450" y="3165"/>
                  <a:pt x="2482" y="3165"/>
                </a:cubicBezTo>
                <a:cubicBezTo>
                  <a:pt x="2529" y="3165"/>
                  <a:pt x="2561" y="3118"/>
                  <a:pt x="2561" y="3086"/>
                </a:cubicBezTo>
                <a:lnTo>
                  <a:pt x="2561" y="2656"/>
                </a:lnTo>
                <a:lnTo>
                  <a:pt x="2577" y="2656"/>
                </a:lnTo>
                <a:cubicBezTo>
                  <a:pt x="2831" y="2640"/>
                  <a:pt x="3134" y="2497"/>
                  <a:pt x="3213" y="2195"/>
                </a:cubicBezTo>
                <a:cubicBezTo>
                  <a:pt x="3213" y="2179"/>
                  <a:pt x="3229" y="2163"/>
                  <a:pt x="3229" y="2147"/>
                </a:cubicBezTo>
                <a:cubicBezTo>
                  <a:pt x="3261" y="1972"/>
                  <a:pt x="3197" y="1797"/>
                  <a:pt x="3086" y="1702"/>
                </a:cubicBezTo>
                <a:cubicBezTo>
                  <a:pt x="3006" y="1638"/>
                  <a:pt x="2927" y="1591"/>
                  <a:pt x="2831" y="1559"/>
                </a:cubicBezTo>
                <a:cubicBezTo>
                  <a:pt x="2736" y="1511"/>
                  <a:pt x="2625" y="1479"/>
                  <a:pt x="2513" y="1448"/>
                </a:cubicBezTo>
                <a:cubicBezTo>
                  <a:pt x="2402" y="1416"/>
                  <a:pt x="2307" y="1384"/>
                  <a:pt x="2211" y="1352"/>
                </a:cubicBezTo>
                <a:cubicBezTo>
                  <a:pt x="2084" y="1288"/>
                  <a:pt x="2020" y="1240"/>
                  <a:pt x="1988" y="1161"/>
                </a:cubicBezTo>
                <a:cubicBezTo>
                  <a:pt x="1941" y="1050"/>
                  <a:pt x="1956" y="907"/>
                  <a:pt x="2036" y="811"/>
                </a:cubicBezTo>
                <a:cubicBezTo>
                  <a:pt x="2179" y="636"/>
                  <a:pt x="2465" y="652"/>
                  <a:pt x="2609" y="668"/>
                </a:cubicBezTo>
                <a:cubicBezTo>
                  <a:pt x="2879" y="700"/>
                  <a:pt x="2916" y="774"/>
                  <a:pt x="3070" y="827"/>
                </a:cubicBezTo>
                <a:cubicBezTo>
                  <a:pt x="3102" y="859"/>
                  <a:pt x="3149" y="859"/>
                  <a:pt x="3181" y="811"/>
                </a:cubicBezTo>
                <a:cubicBezTo>
                  <a:pt x="3213" y="779"/>
                  <a:pt x="3197" y="731"/>
                  <a:pt x="3165" y="700"/>
                </a:cubicBezTo>
                <a:cubicBezTo>
                  <a:pt x="3149" y="700"/>
                  <a:pt x="2943" y="541"/>
                  <a:pt x="2625" y="509"/>
                </a:cubicBezTo>
                <a:lnTo>
                  <a:pt x="2561" y="509"/>
                </a:lnTo>
                <a:cubicBezTo>
                  <a:pt x="2513" y="493"/>
                  <a:pt x="2465" y="493"/>
                  <a:pt x="2402" y="493"/>
                </a:cubicBezTo>
                <a:cubicBezTo>
                  <a:pt x="2195" y="509"/>
                  <a:pt x="2036" y="588"/>
                  <a:pt x="1925" y="716"/>
                </a:cubicBezTo>
                <a:cubicBezTo>
                  <a:pt x="1798" y="859"/>
                  <a:pt x="1765" y="1050"/>
                  <a:pt x="1845" y="1225"/>
                </a:cubicBezTo>
                <a:cubicBezTo>
                  <a:pt x="1909" y="1384"/>
                  <a:pt x="2052" y="1448"/>
                  <a:pt x="2147" y="1495"/>
                </a:cubicBezTo>
                <a:cubicBezTo>
                  <a:pt x="2243" y="1543"/>
                  <a:pt x="2354" y="1575"/>
                  <a:pt x="2465" y="1606"/>
                </a:cubicBezTo>
                <a:cubicBezTo>
                  <a:pt x="2577" y="1638"/>
                  <a:pt x="2672" y="1670"/>
                  <a:pt x="2783" y="1702"/>
                </a:cubicBezTo>
                <a:cubicBezTo>
                  <a:pt x="2847" y="1734"/>
                  <a:pt x="2927" y="1766"/>
                  <a:pt x="2974" y="1813"/>
                </a:cubicBezTo>
                <a:cubicBezTo>
                  <a:pt x="3054" y="1877"/>
                  <a:pt x="3086" y="1988"/>
                  <a:pt x="3070" y="2115"/>
                </a:cubicBezTo>
                <a:cubicBezTo>
                  <a:pt x="3070" y="2131"/>
                  <a:pt x="3070" y="2147"/>
                  <a:pt x="3054" y="2163"/>
                </a:cubicBezTo>
                <a:cubicBezTo>
                  <a:pt x="3006" y="2386"/>
                  <a:pt x="2768" y="2481"/>
                  <a:pt x="2561" y="2497"/>
                </a:cubicBezTo>
                <a:cubicBezTo>
                  <a:pt x="2307" y="2497"/>
                  <a:pt x="2020" y="2402"/>
                  <a:pt x="1798" y="2227"/>
                </a:cubicBezTo>
                <a:cubicBezTo>
                  <a:pt x="1765" y="2195"/>
                  <a:pt x="1718" y="2195"/>
                  <a:pt x="1686" y="2243"/>
                </a:cubicBezTo>
                <a:cubicBezTo>
                  <a:pt x="1670" y="2275"/>
                  <a:pt x="1670" y="2322"/>
                  <a:pt x="1702" y="235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8" name="Freeform: Shape 7">
            <a:extLst>
              <a:ext uri="{FF2B5EF4-FFF2-40B4-BE49-F238E27FC236}">
                <a16:creationId xmlns:a16="http://schemas.microsoft.com/office/drawing/2014/main" id="{AEB8F663-2816-074A-99FB-789550B38834}"/>
              </a:ext>
            </a:extLst>
          </p:cNvPr>
          <p:cNvSpPr/>
          <p:nvPr/>
        </p:nvSpPr>
        <p:spPr>
          <a:xfrm>
            <a:off x="10098757" y="6410951"/>
            <a:ext cx="1521360" cy="1625760"/>
          </a:xfrm>
          <a:custGeom>
            <a:avLst/>
            <a:gdLst/>
            <a:ahLst/>
            <a:cxnLst>
              <a:cxn ang="3cd4">
                <a:pos x="hc" y="t"/>
              </a:cxn>
              <a:cxn ang="cd2">
                <a:pos x="l" y="vc"/>
              </a:cxn>
              <a:cxn ang="cd4">
                <a:pos x="hc" y="b"/>
              </a:cxn>
              <a:cxn ang="0">
                <a:pos x="r" y="vc"/>
              </a:cxn>
            </a:cxnLst>
            <a:rect l="l" t="t" r="r" b="b"/>
            <a:pathLst>
              <a:path w="4227" h="4517">
                <a:moveTo>
                  <a:pt x="27" y="3690"/>
                </a:moveTo>
                <a:lnTo>
                  <a:pt x="1093" y="4501"/>
                </a:lnTo>
                <a:cubicBezTo>
                  <a:pt x="1109" y="4517"/>
                  <a:pt x="1125" y="4517"/>
                  <a:pt x="1141" y="4517"/>
                </a:cubicBezTo>
                <a:cubicBezTo>
                  <a:pt x="1156" y="4517"/>
                  <a:pt x="1173" y="4517"/>
                  <a:pt x="1188" y="4501"/>
                </a:cubicBezTo>
                <a:lnTo>
                  <a:pt x="2222" y="3690"/>
                </a:lnTo>
                <a:cubicBezTo>
                  <a:pt x="2254" y="3658"/>
                  <a:pt x="2254" y="3610"/>
                  <a:pt x="2238" y="3578"/>
                </a:cubicBezTo>
                <a:cubicBezTo>
                  <a:pt x="2206" y="3531"/>
                  <a:pt x="2159" y="3531"/>
                  <a:pt x="2127" y="3563"/>
                </a:cubicBezTo>
                <a:lnTo>
                  <a:pt x="1141" y="4342"/>
                </a:lnTo>
                <a:lnTo>
                  <a:pt x="123" y="3563"/>
                </a:lnTo>
                <a:cubicBezTo>
                  <a:pt x="91" y="3531"/>
                  <a:pt x="43" y="3531"/>
                  <a:pt x="11" y="3578"/>
                </a:cubicBezTo>
                <a:cubicBezTo>
                  <a:pt x="-5" y="3610"/>
                  <a:pt x="-5" y="3658"/>
                  <a:pt x="27" y="3690"/>
                </a:cubicBezTo>
                <a:close/>
                <a:moveTo>
                  <a:pt x="1125" y="4247"/>
                </a:moveTo>
                <a:cubicBezTo>
                  <a:pt x="1173" y="4247"/>
                  <a:pt x="1204" y="4215"/>
                  <a:pt x="1204" y="4167"/>
                </a:cubicBezTo>
                <a:lnTo>
                  <a:pt x="1204" y="79"/>
                </a:lnTo>
                <a:cubicBezTo>
                  <a:pt x="1204" y="47"/>
                  <a:pt x="1173" y="0"/>
                  <a:pt x="1125" y="0"/>
                </a:cubicBezTo>
                <a:cubicBezTo>
                  <a:pt x="1077" y="0"/>
                  <a:pt x="1045" y="47"/>
                  <a:pt x="1045" y="79"/>
                </a:cubicBezTo>
                <a:lnTo>
                  <a:pt x="1045" y="4167"/>
                </a:lnTo>
                <a:cubicBezTo>
                  <a:pt x="1045" y="4215"/>
                  <a:pt x="1077" y="4247"/>
                  <a:pt x="1125" y="4247"/>
                </a:cubicBezTo>
                <a:close/>
                <a:moveTo>
                  <a:pt x="2922" y="3467"/>
                </a:moveTo>
                <a:cubicBezTo>
                  <a:pt x="3638" y="3467"/>
                  <a:pt x="4227" y="2878"/>
                  <a:pt x="4227" y="2163"/>
                </a:cubicBezTo>
                <a:cubicBezTo>
                  <a:pt x="4227" y="1447"/>
                  <a:pt x="3638" y="859"/>
                  <a:pt x="2922" y="859"/>
                </a:cubicBezTo>
                <a:cubicBezTo>
                  <a:pt x="2206" y="859"/>
                  <a:pt x="1618" y="1447"/>
                  <a:pt x="1618" y="2163"/>
                </a:cubicBezTo>
                <a:cubicBezTo>
                  <a:pt x="1618" y="2878"/>
                  <a:pt x="2206" y="3467"/>
                  <a:pt x="2922" y="3467"/>
                </a:cubicBezTo>
                <a:close/>
                <a:moveTo>
                  <a:pt x="2922" y="1018"/>
                </a:moveTo>
                <a:cubicBezTo>
                  <a:pt x="3558" y="1018"/>
                  <a:pt x="4067" y="1527"/>
                  <a:pt x="4067" y="2163"/>
                </a:cubicBezTo>
                <a:cubicBezTo>
                  <a:pt x="4067" y="2799"/>
                  <a:pt x="3558" y="3308"/>
                  <a:pt x="2922" y="3308"/>
                </a:cubicBezTo>
                <a:cubicBezTo>
                  <a:pt x="2286" y="3308"/>
                  <a:pt x="1777" y="2799"/>
                  <a:pt x="1777" y="2163"/>
                </a:cubicBezTo>
                <a:cubicBezTo>
                  <a:pt x="1777" y="1527"/>
                  <a:pt x="2286" y="1018"/>
                  <a:pt x="2922" y="1018"/>
                </a:cubicBezTo>
                <a:close/>
                <a:moveTo>
                  <a:pt x="2302" y="2242"/>
                </a:moveTo>
                <a:lnTo>
                  <a:pt x="2906" y="2242"/>
                </a:lnTo>
                <a:cubicBezTo>
                  <a:pt x="2954" y="2242"/>
                  <a:pt x="2986" y="2211"/>
                  <a:pt x="2986" y="2163"/>
                </a:cubicBezTo>
                <a:lnTo>
                  <a:pt x="2986" y="1161"/>
                </a:lnTo>
                <a:cubicBezTo>
                  <a:pt x="2986" y="1113"/>
                  <a:pt x="2954" y="1081"/>
                  <a:pt x="2906" y="1081"/>
                </a:cubicBezTo>
                <a:cubicBezTo>
                  <a:pt x="2858" y="1081"/>
                  <a:pt x="2827" y="1113"/>
                  <a:pt x="2827" y="1161"/>
                </a:cubicBezTo>
                <a:lnTo>
                  <a:pt x="2827" y="2083"/>
                </a:lnTo>
                <a:lnTo>
                  <a:pt x="2302" y="2083"/>
                </a:lnTo>
                <a:cubicBezTo>
                  <a:pt x="2254" y="2083"/>
                  <a:pt x="2222" y="2115"/>
                  <a:pt x="2222" y="2163"/>
                </a:cubicBezTo>
                <a:cubicBezTo>
                  <a:pt x="2222" y="2211"/>
                  <a:pt x="2254" y="2242"/>
                  <a:pt x="2302" y="224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9" name="Freeform: Shape 8">
            <a:extLst>
              <a:ext uri="{FF2B5EF4-FFF2-40B4-BE49-F238E27FC236}">
                <a16:creationId xmlns:a16="http://schemas.microsoft.com/office/drawing/2014/main" id="{E92653FA-DE12-854D-B803-7BA55E3DFF54}"/>
              </a:ext>
            </a:extLst>
          </p:cNvPr>
          <p:cNvSpPr/>
          <p:nvPr/>
        </p:nvSpPr>
        <p:spPr>
          <a:xfrm>
            <a:off x="14057540" y="6462431"/>
            <a:ext cx="1534319" cy="1562760"/>
          </a:xfrm>
          <a:custGeom>
            <a:avLst/>
            <a:gdLst/>
            <a:ahLst/>
            <a:cxnLst>
              <a:cxn ang="3cd4">
                <a:pos x="hc" y="t"/>
              </a:cxn>
              <a:cxn ang="cd2">
                <a:pos x="l" y="vc"/>
              </a:cxn>
              <a:cxn ang="cd4">
                <a:pos x="hc" y="b"/>
              </a:cxn>
              <a:cxn ang="0">
                <a:pos x="r" y="vc"/>
              </a:cxn>
            </a:cxnLst>
            <a:rect l="l" t="t" r="r" b="b"/>
            <a:pathLst>
              <a:path w="4263" h="4342">
                <a:moveTo>
                  <a:pt x="80" y="1622"/>
                </a:moveTo>
                <a:cubicBezTo>
                  <a:pt x="112" y="1622"/>
                  <a:pt x="160" y="1590"/>
                  <a:pt x="160" y="1543"/>
                </a:cubicBezTo>
                <a:lnTo>
                  <a:pt x="160" y="1399"/>
                </a:lnTo>
                <a:lnTo>
                  <a:pt x="669" y="1399"/>
                </a:lnTo>
                <a:lnTo>
                  <a:pt x="1479" y="3499"/>
                </a:lnTo>
                <a:cubicBezTo>
                  <a:pt x="1479" y="3531"/>
                  <a:pt x="1511" y="3563"/>
                  <a:pt x="1543" y="3563"/>
                </a:cubicBezTo>
                <a:lnTo>
                  <a:pt x="3675" y="3563"/>
                </a:lnTo>
                <a:cubicBezTo>
                  <a:pt x="3706" y="3563"/>
                  <a:pt x="3738" y="3531"/>
                  <a:pt x="3738" y="3499"/>
                </a:cubicBezTo>
                <a:lnTo>
                  <a:pt x="4263" y="2115"/>
                </a:lnTo>
                <a:cubicBezTo>
                  <a:pt x="4263" y="2099"/>
                  <a:pt x="4263" y="2068"/>
                  <a:pt x="4247" y="2052"/>
                </a:cubicBezTo>
                <a:cubicBezTo>
                  <a:pt x="4247" y="2020"/>
                  <a:pt x="4215" y="2020"/>
                  <a:pt x="4199" y="2004"/>
                </a:cubicBezTo>
                <a:lnTo>
                  <a:pt x="1368" y="1590"/>
                </a:lnTo>
                <a:cubicBezTo>
                  <a:pt x="1321" y="1590"/>
                  <a:pt x="1288" y="1622"/>
                  <a:pt x="1273" y="1654"/>
                </a:cubicBezTo>
                <a:cubicBezTo>
                  <a:pt x="1273" y="1702"/>
                  <a:pt x="1305" y="1750"/>
                  <a:pt x="1352" y="1750"/>
                </a:cubicBezTo>
                <a:lnTo>
                  <a:pt x="4072" y="2147"/>
                </a:lnTo>
                <a:lnTo>
                  <a:pt x="3611" y="3404"/>
                </a:lnTo>
                <a:lnTo>
                  <a:pt x="1607" y="3404"/>
                </a:lnTo>
                <a:lnTo>
                  <a:pt x="796" y="1288"/>
                </a:lnTo>
                <a:cubicBezTo>
                  <a:pt x="780" y="1256"/>
                  <a:pt x="748" y="1241"/>
                  <a:pt x="716" y="1241"/>
                </a:cubicBezTo>
                <a:lnTo>
                  <a:pt x="80" y="1241"/>
                </a:lnTo>
                <a:cubicBezTo>
                  <a:pt x="32" y="1241"/>
                  <a:pt x="0" y="1272"/>
                  <a:pt x="0" y="1320"/>
                </a:cubicBezTo>
                <a:lnTo>
                  <a:pt x="0" y="1543"/>
                </a:lnTo>
                <a:cubicBezTo>
                  <a:pt x="0" y="1590"/>
                  <a:pt x="32" y="1622"/>
                  <a:pt x="80" y="1622"/>
                </a:cubicBezTo>
                <a:close/>
                <a:moveTo>
                  <a:pt x="1734" y="4040"/>
                </a:moveTo>
                <a:cubicBezTo>
                  <a:pt x="1734" y="4215"/>
                  <a:pt x="1877" y="4342"/>
                  <a:pt x="2052" y="4342"/>
                </a:cubicBezTo>
                <a:cubicBezTo>
                  <a:pt x="2227" y="4342"/>
                  <a:pt x="2370" y="4215"/>
                  <a:pt x="2370" y="4040"/>
                </a:cubicBezTo>
                <a:cubicBezTo>
                  <a:pt x="2370" y="3865"/>
                  <a:pt x="2227" y="3722"/>
                  <a:pt x="2052" y="3722"/>
                </a:cubicBezTo>
                <a:cubicBezTo>
                  <a:pt x="1877" y="3722"/>
                  <a:pt x="1734" y="3865"/>
                  <a:pt x="1734" y="4040"/>
                </a:cubicBezTo>
                <a:close/>
                <a:moveTo>
                  <a:pt x="2211" y="4040"/>
                </a:moveTo>
                <a:cubicBezTo>
                  <a:pt x="2211" y="4119"/>
                  <a:pt x="2132" y="4183"/>
                  <a:pt x="2052" y="4183"/>
                </a:cubicBezTo>
                <a:cubicBezTo>
                  <a:pt x="1973" y="4183"/>
                  <a:pt x="1893" y="4119"/>
                  <a:pt x="1893" y="4040"/>
                </a:cubicBezTo>
                <a:cubicBezTo>
                  <a:pt x="1893" y="3944"/>
                  <a:pt x="1973" y="3881"/>
                  <a:pt x="2052" y="3881"/>
                </a:cubicBezTo>
                <a:cubicBezTo>
                  <a:pt x="2132" y="3881"/>
                  <a:pt x="2211" y="3944"/>
                  <a:pt x="2211" y="4040"/>
                </a:cubicBezTo>
                <a:close/>
                <a:moveTo>
                  <a:pt x="2848" y="4040"/>
                </a:moveTo>
                <a:cubicBezTo>
                  <a:pt x="2848" y="4215"/>
                  <a:pt x="2991" y="4342"/>
                  <a:pt x="3166" y="4342"/>
                </a:cubicBezTo>
                <a:cubicBezTo>
                  <a:pt x="3341" y="4342"/>
                  <a:pt x="3484" y="4215"/>
                  <a:pt x="3484" y="4040"/>
                </a:cubicBezTo>
                <a:cubicBezTo>
                  <a:pt x="3484" y="3865"/>
                  <a:pt x="3341" y="3722"/>
                  <a:pt x="3166" y="3722"/>
                </a:cubicBezTo>
                <a:cubicBezTo>
                  <a:pt x="2991" y="3722"/>
                  <a:pt x="2848" y="3865"/>
                  <a:pt x="2848" y="4040"/>
                </a:cubicBezTo>
                <a:close/>
                <a:moveTo>
                  <a:pt x="3324" y="4040"/>
                </a:moveTo>
                <a:cubicBezTo>
                  <a:pt x="3324" y="4119"/>
                  <a:pt x="3261" y="4183"/>
                  <a:pt x="3166" y="4183"/>
                </a:cubicBezTo>
                <a:cubicBezTo>
                  <a:pt x="3086" y="4183"/>
                  <a:pt x="3006" y="4119"/>
                  <a:pt x="3006" y="4040"/>
                </a:cubicBezTo>
                <a:cubicBezTo>
                  <a:pt x="3006" y="3944"/>
                  <a:pt x="3086" y="3881"/>
                  <a:pt x="3166" y="3881"/>
                </a:cubicBezTo>
                <a:cubicBezTo>
                  <a:pt x="3261" y="3881"/>
                  <a:pt x="3324" y="3944"/>
                  <a:pt x="3324" y="4040"/>
                </a:cubicBezTo>
                <a:close/>
                <a:moveTo>
                  <a:pt x="2019" y="1018"/>
                </a:moveTo>
                <a:lnTo>
                  <a:pt x="2640" y="1511"/>
                </a:lnTo>
                <a:cubicBezTo>
                  <a:pt x="2656" y="1511"/>
                  <a:pt x="2671" y="1527"/>
                  <a:pt x="2687" y="1527"/>
                </a:cubicBezTo>
                <a:cubicBezTo>
                  <a:pt x="2703" y="1527"/>
                  <a:pt x="2719" y="1511"/>
                  <a:pt x="2735" y="1511"/>
                </a:cubicBezTo>
                <a:lnTo>
                  <a:pt x="3356" y="1018"/>
                </a:lnTo>
                <a:cubicBezTo>
                  <a:pt x="3387" y="1002"/>
                  <a:pt x="3387" y="938"/>
                  <a:pt x="3356" y="907"/>
                </a:cubicBezTo>
                <a:cubicBezTo>
                  <a:pt x="3340" y="875"/>
                  <a:pt x="3292" y="875"/>
                  <a:pt x="3244" y="890"/>
                </a:cubicBezTo>
                <a:lnTo>
                  <a:pt x="2767" y="1272"/>
                </a:lnTo>
                <a:lnTo>
                  <a:pt x="2767" y="80"/>
                </a:lnTo>
                <a:cubicBezTo>
                  <a:pt x="2767" y="47"/>
                  <a:pt x="2735" y="0"/>
                  <a:pt x="2687" y="0"/>
                </a:cubicBezTo>
                <a:cubicBezTo>
                  <a:pt x="2656" y="0"/>
                  <a:pt x="2608" y="47"/>
                  <a:pt x="2608" y="80"/>
                </a:cubicBezTo>
                <a:lnTo>
                  <a:pt x="2608" y="1288"/>
                </a:lnTo>
                <a:lnTo>
                  <a:pt x="2115" y="890"/>
                </a:lnTo>
                <a:cubicBezTo>
                  <a:pt x="2067" y="875"/>
                  <a:pt x="2019" y="875"/>
                  <a:pt x="2004" y="907"/>
                </a:cubicBezTo>
                <a:cubicBezTo>
                  <a:pt x="1972" y="938"/>
                  <a:pt x="1972" y="1002"/>
                  <a:pt x="2019" y="101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0" name="Freeform: Shape 9">
            <a:extLst>
              <a:ext uri="{FF2B5EF4-FFF2-40B4-BE49-F238E27FC236}">
                <a16:creationId xmlns:a16="http://schemas.microsoft.com/office/drawing/2014/main" id="{19351ED0-293A-D749-82C6-9F85CE5BC457}"/>
              </a:ext>
            </a:extLst>
          </p:cNvPr>
          <p:cNvSpPr/>
          <p:nvPr/>
        </p:nvSpPr>
        <p:spPr>
          <a:xfrm>
            <a:off x="17436810" y="6515996"/>
            <a:ext cx="1539720" cy="1561680"/>
          </a:xfrm>
          <a:custGeom>
            <a:avLst/>
            <a:gdLst/>
            <a:ahLst/>
            <a:cxnLst>
              <a:cxn ang="3cd4">
                <a:pos x="hc" y="t"/>
              </a:cxn>
              <a:cxn ang="cd2">
                <a:pos x="l" y="vc"/>
              </a:cxn>
              <a:cxn ang="cd4">
                <a:pos x="hc" y="b"/>
              </a:cxn>
              <a:cxn ang="0">
                <a:pos x="r" y="vc"/>
              </a:cxn>
            </a:cxnLst>
            <a:rect l="l" t="t" r="r" b="b"/>
            <a:pathLst>
              <a:path w="4278" h="4339">
                <a:moveTo>
                  <a:pt x="1479" y="3496"/>
                </a:moveTo>
                <a:cubicBezTo>
                  <a:pt x="1495" y="3528"/>
                  <a:pt x="1527" y="3544"/>
                  <a:pt x="1559" y="3544"/>
                </a:cubicBezTo>
                <a:lnTo>
                  <a:pt x="3690" y="3544"/>
                </a:lnTo>
                <a:cubicBezTo>
                  <a:pt x="3722" y="3544"/>
                  <a:pt x="3754" y="3528"/>
                  <a:pt x="3754" y="3496"/>
                </a:cubicBezTo>
                <a:lnTo>
                  <a:pt x="4278" y="2112"/>
                </a:lnTo>
                <a:cubicBezTo>
                  <a:pt x="4278" y="2080"/>
                  <a:pt x="4278" y="2064"/>
                  <a:pt x="4263" y="2032"/>
                </a:cubicBezTo>
                <a:cubicBezTo>
                  <a:pt x="4263" y="2017"/>
                  <a:pt x="4231" y="2001"/>
                  <a:pt x="4215" y="2001"/>
                </a:cubicBezTo>
                <a:lnTo>
                  <a:pt x="1384" y="1587"/>
                </a:lnTo>
                <a:cubicBezTo>
                  <a:pt x="1336" y="1587"/>
                  <a:pt x="1304" y="1603"/>
                  <a:pt x="1288" y="1651"/>
                </a:cubicBezTo>
                <a:cubicBezTo>
                  <a:pt x="1288" y="1698"/>
                  <a:pt x="1320" y="1731"/>
                  <a:pt x="1352" y="1746"/>
                </a:cubicBezTo>
                <a:lnTo>
                  <a:pt x="4088" y="2144"/>
                </a:lnTo>
                <a:lnTo>
                  <a:pt x="3626" y="3385"/>
                </a:lnTo>
                <a:lnTo>
                  <a:pt x="1623" y="3385"/>
                </a:lnTo>
                <a:lnTo>
                  <a:pt x="811" y="1285"/>
                </a:lnTo>
                <a:cubicBezTo>
                  <a:pt x="795" y="1253"/>
                  <a:pt x="763" y="1222"/>
                  <a:pt x="732" y="1222"/>
                </a:cubicBezTo>
                <a:lnTo>
                  <a:pt x="79" y="1222"/>
                </a:lnTo>
                <a:cubicBezTo>
                  <a:pt x="48" y="1222"/>
                  <a:pt x="0" y="1269"/>
                  <a:pt x="0" y="1301"/>
                </a:cubicBezTo>
                <a:lnTo>
                  <a:pt x="0" y="1540"/>
                </a:lnTo>
                <a:cubicBezTo>
                  <a:pt x="0" y="1587"/>
                  <a:pt x="48" y="1619"/>
                  <a:pt x="79" y="1619"/>
                </a:cubicBezTo>
                <a:cubicBezTo>
                  <a:pt x="127" y="1619"/>
                  <a:pt x="159" y="1587"/>
                  <a:pt x="159" y="1540"/>
                </a:cubicBezTo>
                <a:lnTo>
                  <a:pt x="159" y="1380"/>
                </a:lnTo>
                <a:lnTo>
                  <a:pt x="684" y="1380"/>
                </a:lnTo>
                <a:close/>
                <a:moveTo>
                  <a:pt x="2386" y="4021"/>
                </a:moveTo>
                <a:cubicBezTo>
                  <a:pt x="2386" y="3846"/>
                  <a:pt x="2242" y="3703"/>
                  <a:pt x="2068" y="3703"/>
                </a:cubicBezTo>
                <a:cubicBezTo>
                  <a:pt x="1893" y="3703"/>
                  <a:pt x="1750" y="3846"/>
                  <a:pt x="1750" y="4021"/>
                </a:cubicBezTo>
                <a:cubicBezTo>
                  <a:pt x="1750" y="4196"/>
                  <a:pt x="1893" y="4339"/>
                  <a:pt x="2068" y="4339"/>
                </a:cubicBezTo>
                <a:cubicBezTo>
                  <a:pt x="2242" y="4339"/>
                  <a:pt x="2386" y="4196"/>
                  <a:pt x="2386" y="4021"/>
                </a:cubicBezTo>
                <a:close/>
                <a:moveTo>
                  <a:pt x="1909" y="4021"/>
                </a:moveTo>
                <a:cubicBezTo>
                  <a:pt x="1909" y="3941"/>
                  <a:pt x="1972" y="3862"/>
                  <a:pt x="2068" y="3862"/>
                </a:cubicBezTo>
                <a:cubicBezTo>
                  <a:pt x="2147" y="3862"/>
                  <a:pt x="2227" y="3941"/>
                  <a:pt x="2227" y="4021"/>
                </a:cubicBezTo>
                <a:cubicBezTo>
                  <a:pt x="2227" y="4116"/>
                  <a:pt x="2147" y="4180"/>
                  <a:pt x="2068" y="4180"/>
                </a:cubicBezTo>
                <a:cubicBezTo>
                  <a:pt x="1972" y="4180"/>
                  <a:pt x="1909" y="4116"/>
                  <a:pt x="1909" y="4021"/>
                </a:cubicBezTo>
                <a:close/>
                <a:moveTo>
                  <a:pt x="3499" y="4021"/>
                </a:moveTo>
                <a:cubicBezTo>
                  <a:pt x="3499" y="3846"/>
                  <a:pt x="3356" y="3703"/>
                  <a:pt x="3181" y="3703"/>
                </a:cubicBezTo>
                <a:cubicBezTo>
                  <a:pt x="3006" y="3703"/>
                  <a:pt x="2863" y="3846"/>
                  <a:pt x="2863" y="4021"/>
                </a:cubicBezTo>
                <a:cubicBezTo>
                  <a:pt x="2863" y="4196"/>
                  <a:pt x="3006" y="4339"/>
                  <a:pt x="3181" y="4339"/>
                </a:cubicBezTo>
                <a:cubicBezTo>
                  <a:pt x="3356" y="4339"/>
                  <a:pt x="3499" y="4196"/>
                  <a:pt x="3499" y="4021"/>
                </a:cubicBezTo>
                <a:close/>
                <a:moveTo>
                  <a:pt x="3022" y="4021"/>
                </a:moveTo>
                <a:cubicBezTo>
                  <a:pt x="3022" y="3941"/>
                  <a:pt x="3086" y="3862"/>
                  <a:pt x="3181" y="3862"/>
                </a:cubicBezTo>
                <a:cubicBezTo>
                  <a:pt x="3260" y="3862"/>
                  <a:pt x="3340" y="3941"/>
                  <a:pt x="3340" y="4021"/>
                </a:cubicBezTo>
                <a:cubicBezTo>
                  <a:pt x="3340" y="4116"/>
                  <a:pt x="3260" y="4180"/>
                  <a:pt x="3181" y="4180"/>
                </a:cubicBezTo>
                <a:cubicBezTo>
                  <a:pt x="3086" y="4180"/>
                  <a:pt x="3022" y="4116"/>
                  <a:pt x="3022" y="4021"/>
                </a:cubicBezTo>
                <a:close/>
                <a:moveTo>
                  <a:pt x="2688" y="1508"/>
                </a:moveTo>
                <a:cubicBezTo>
                  <a:pt x="2720" y="1508"/>
                  <a:pt x="2768" y="1476"/>
                  <a:pt x="2768" y="1428"/>
                </a:cubicBezTo>
                <a:lnTo>
                  <a:pt x="2768" y="235"/>
                </a:lnTo>
                <a:lnTo>
                  <a:pt x="3260" y="617"/>
                </a:lnTo>
                <a:cubicBezTo>
                  <a:pt x="3277" y="633"/>
                  <a:pt x="3293" y="633"/>
                  <a:pt x="3308" y="633"/>
                </a:cubicBezTo>
                <a:cubicBezTo>
                  <a:pt x="3340" y="633"/>
                  <a:pt x="3356" y="633"/>
                  <a:pt x="3372" y="601"/>
                </a:cubicBezTo>
                <a:cubicBezTo>
                  <a:pt x="3404" y="569"/>
                  <a:pt x="3404" y="522"/>
                  <a:pt x="3356" y="490"/>
                </a:cubicBezTo>
                <a:lnTo>
                  <a:pt x="2736" y="13"/>
                </a:lnTo>
                <a:cubicBezTo>
                  <a:pt x="2704" y="-4"/>
                  <a:pt x="2656" y="-4"/>
                  <a:pt x="2641" y="13"/>
                </a:cubicBezTo>
                <a:lnTo>
                  <a:pt x="2020" y="505"/>
                </a:lnTo>
                <a:cubicBezTo>
                  <a:pt x="1988" y="522"/>
                  <a:pt x="1988" y="569"/>
                  <a:pt x="2004" y="617"/>
                </a:cubicBezTo>
                <a:cubicBezTo>
                  <a:pt x="2036" y="649"/>
                  <a:pt x="2084" y="649"/>
                  <a:pt x="2115" y="617"/>
                </a:cubicBezTo>
                <a:lnTo>
                  <a:pt x="2608" y="235"/>
                </a:lnTo>
                <a:lnTo>
                  <a:pt x="2608" y="1428"/>
                </a:lnTo>
                <a:cubicBezTo>
                  <a:pt x="2608" y="1476"/>
                  <a:pt x="2641" y="1508"/>
                  <a:pt x="2688" y="150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1" name="Freeform: Shape 10">
            <a:extLst>
              <a:ext uri="{FF2B5EF4-FFF2-40B4-BE49-F238E27FC236}">
                <a16:creationId xmlns:a16="http://schemas.microsoft.com/office/drawing/2014/main" id="{E04237C0-B0C5-D945-898E-67CC52016C57}"/>
              </a:ext>
            </a:extLst>
          </p:cNvPr>
          <p:cNvSpPr/>
          <p:nvPr/>
        </p:nvSpPr>
        <p:spPr>
          <a:xfrm>
            <a:off x="21314893" y="6486116"/>
            <a:ext cx="1628999" cy="1459800"/>
          </a:xfrm>
          <a:custGeom>
            <a:avLst/>
            <a:gdLst/>
            <a:ahLst/>
            <a:cxnLst>
              <a:cxn ang="3cd4">
                <a:pos x="hc" y="t"/>
              </a:cxn>
              <a:cxn ang="cd2">
                <a:pos x="l" y="vc"/>
              </a:cxn>
              <a:cxn ang="cd4">
                <a:pos x="hc" y="b"/>
              </a:cxn>
              <a:cxn ang="0">
                <a:pos x="r" y="vc"/>
              </a:cxn>
            </a:cxnLst>
            <a:rect l="l" t="t" r="r" b="b"/>
            <a:pathLst>
              <a:path w="4526" h="4056">
                <a:moveTo>
                  <a:pt x="449" y="3372"/>
                </a:moveTo>
                <a:lnTo>
                  <a:pt x="449" y="3977"/>
                </a:lnTo>
                <a:cubicBezTo>
                  <a:pt x="449" y="4024"/>
                  <a:pt x="481" y="4056"/>
                  <a:pt x="529" y="4056"/>
                </a:cubicBezTo>
                <a:lnTo>
                  <a:pt x="4140" y="4056"/>
                </a:lnTo>
                <a:cubicBezTo>
                  <a:pt x="4172" y="4056"/>
                  <a:pt x="4219" y="4024"/>
                  <a:pt x="4219" y="3977"/>
                </a:cubicBezTo>
                <a:lnTo>
                  <a:pt x="4219" y="3372"/>
                </a:lnTo>
                <a:cubicBezTo>
                  <a:pt x="4219" y="3340"/>
                  <a:pt x="4172" y="3293"/>
                  <a:pt x="4140" y="3293"/>
                </a:cubicBezTo>
                <a:lnTo>
                  <a:pt x="529" y="3293"/>
                </a:lnTo>
                <a:cubicBezTo>
                  <a:pt x="481" y="3293"/>
                  <a:pt x="449" y="3340"/>
                  <a:pt x="449" y="3372"/>
                </a:cubicBezTo>
                <a:close/>
                <a:moveTo>
                  <a:pt x="609" y="3451"/>
                </a:moveTo>
                <a:lnTo>
                  <a:pt x="4060" y="3451"/>
                </a:lnTo>
                <a:lnTo>
                  <a:pt x="4060" y="3897"/>
                </a:lnTo>
                <a:lnTo>
                  <a:pt x="609" y="3897"/>
                </a:lnTo>
                <a:close/>
                <a:moveTo>
                  <a:pt x="1276" y="3006"/>
                </a:moveTo>
                <a:cubicBezTo>
                  <a:pt x="1324" y="3006"/>
                  <a:pt x="1356" y="2975"/>
                  <a:pt x="1356" y="2927"/>
                </a:cubicBezTo>
                <a:lnTo>
                  <a:pt x="1356" y="1272"/>
                </a:lnTo>
                <a:cubicBezTo>
                  <a:pt x="1356" y="1241"/>
                  <a:pt x="1324" y="1193"/>
                  <a:pt x="1276" y="1193"/>
                </a:cubicBezTo>
                <a:lnTo>
                  <a:pt x="688" y="1193"/>
                </a:lnTo>
                <a:cubicBezTo>
                  <a:pt x="640" y="1193"/>
                  <a:pt x="609" y="1241"/>
                  <a:pt x="609" y="1272"/>
                </a:cubicBezTo>
                <a:lnTo>
                  <a:pt x="609" y="2927"/>
                </a:lnTo>
                <a:cubicBezTo>
                  <a:pt x="609" y="2975"/>
                  <a:pt x="640" y="3006"/>
                  <a:pt x="688" y="3006"/>
                </a:cubicBezTo>
                <a:close/>
                <a:moveTo>
                  <a:pt x="768" y="1352"/>
                </a:moveTo>
                <a:lnTo>
                  <a:pt x="1197" y="1352"/>
                </a:lnTo>
                <a:lnTo>
                  <a:pt x="1197" y="2847"/>
                </a:lnTo>
                <a:lnTo>
                  <a:pt x="768" y="2847"/>
                </a:lnTo>
                <a:close/>
                <a:moveTo>
                  <a:pt x="3981" y="3006"/>
                </a:moveTo>
                <a:cubicBezTo>
                  <a:pt x="4029" y="3006"/>
                  <a:pt x="4060" y="2975"/>
                  <a:pt x="4060" y="2927"/>
                </a:cubicBezTo>
                <a:lnTo>
                  <a:pt x="4060" y="1272"/>
                </a:lnTo>
                <a:cubicBezTo>
                  <a:pt x="4060" y="1241"/>
                  <a:pt x="4029" y="1193"/>
                  <a:pt x="3981" y="1193"/>
                </a:cubicBezTo>
                <a:lnTo>
                  <a:pt x="3376" y="1193"/>
                </a:lnTo>
                <a:cubicBezTo>
                  <a:pt x="3344" y="1193"/>
                  <a:pt x="3297" y="1241"/>
                  <a:pt x="3297" y="1272"/>
                </a:cubicBezTo>
                <a:lnTo>
                  <a:pt x="3297" y="2927"/>
                </a:lnTo>
                <a:cubicBezTo>
                  <a:pt x="3297" y="2975"/>
                  <a:pt x="3344" y="3006"/>
                  <a:pt x="3376" y="3006"/>
                </a:cubicBezTo>
                <a:close/>
                <a:moveTo>
                  <a:pt x="3456" y="1352"/>
                </a:moveTo>
                <a:lnTo>
                  <a:pt x="3901" y="1352"/>
                </a:lnTo>
                <a:lnTo>
                  <a:pt x="3901" y="2847"/>
                </a:lnTo>
                <a:lnTo>
                  <a:pt x="3456" y="2847"/>
                </a:lnTo>
                <a:close/>
                <a:moveTo>
                  <a:pt x="4521" y="843"/>
                </a:moveTo>
                <a:cubicBezTo>
                  <a:pt x="4538" y="796"/>
                  <a:pt x="4505" y="763"/>
                  <a:pt x="4474" y="748"/>
                </a:cubicBezTo>
                <a:lnTo>
                  <a:pt x="2311" y="0"/>
                </a:lnTo>
                <a:lnTo>
                  <a:pt x="2263" y="0"/>
                </a:lnTo>
                <a:lnTo>
                  <a:pt x="52" y="748"/>
                </a:lnTo>
                <a:cubicBezTo>
                  <a:pt x="20" y="763"/>
                  <a:pt x="-12" y="796"/>
                  <a:pt x="4" y="843"/>
                </a:cubicBezTo>
                <a:cubicBezTo>
                  <a:pt x="4" y="875"/>
                  <a:pt x="36" y="906"/>
                  <a:pt x="84" y="906"/>
                </a:cubicBezTo>
                <a:lnTo>
                  <a:pt x="4442" y="906"/>
                </a:lnTo>
                <a:cubicBezTo>
                  <a:pt x="4490" y="906"/>
                  <a:pt x="4521" y="875"/>
                  <a:pt x="4521" y="843"/>
                </a:cubicBezTo>
                <a:close/>
                <a:moveTo>
                  <a:pt x="561" y="748"/>
                </a:moveTo>
                <a:lnTo>
                  <a:pt x="2294" y="159"/>
                </a:lnTo>
                <a:lnTo>
                  <a:pt x="3981" y="748"/>
                </a:lnTo>
                <a:close/>
                <a:moveTo>
                  <a:pt x="2374" y="2513"/>
                </a:moveTo>
                <a:cubicBezTo>
                  <a:pt x="2247" y="2529"/>
                  <a:pt x="2120" y="2481"/>
                  <a:pt x="2008" y="2402"/>
                </a:cubicBezTo>
                <a:cubicBezTo>
                  <a:pt x="1976" y="2370"/>
                  <a:pt x="1929" y="2370"/>
                  <a:pt x="1897" y="2402"/>
                </a:cubicBezTo>
                <a:cubicBezTo>
                  <a:pt x="1881" y="2433"/>
                  <a:pt x="1881" y="2497"/>
                  <a:pt x="1913" y="2513"/>
                </a:cubicBezTo>
                <a:cubicBezTo>
                  <a:pt x="2008" y="2593"/>
                  <a:pt x="2136" y="2656"/>
                  <a:pt x="2247" y="2672"/>
                </a:cubicBezTo>
                <a:lnTo>
                  <a:pt x="2247" y="2847"/>
                </a:lnTo>
                <a:cubicBezTo>
                  <a:pt x="2247" y="2895"/>
                  <a:pt x="2294" y="2927"/>
                  <a:pt x="2327" y="2927"/>
                </a:cubicBezTo>
                <a:cubicBezTo>
                  <a:pt x="2374" y="2927"/>
                  <a:pt x="2406" y="2895"/>
                  <a:pt x="2406" y="2847"/>
                </a:cubicBezTo>
                <a:lnTo>
                  <a:pt x="2406" y="2672"/>
                </a:lnTo>
                <a:cubicBezTo>
                  <a:pt x="2549" y="2656"/>
                  <a:pt x="2692" y="2577"/>
                  <a:pt x="2740" y="2418"/>
                </a:cubicBezTo>
                <a:lnTo>
                  <a:pt x="2740" y="2386"/>
                </a:lnTo>
                <a:cubicBezTo>
                  <a:pt x="2756" y="2290"/>
                  <a:pt x="2724" y="2195"/>
                  <a:pt x="2660" y="2132"/>
                </a:cubicBezTo>
                <a:cubicBezTo>
                  <a:pt x="2613" y="2100"/>
                  <a:pt x="2565" y="2068"/>
                  <a:pt x="2517" y="2052"/>
                </a:cubicBezTo>
                <a:cubicBezTo>
                  <a:pt x="2470" y="2036"/>
                  <a:pt x="2406" y="2020"/>
                  <a:pt x="2358" y="2004"/>
                </a:cubicBezTo>
                <a:cubicBezTo>
                  <a:pt x="2311" y="1988"/>
                  <a:pt x="2247" y="1972"/>
                  <a:pt x="2199" y="1957"/>
                </a:cubicBezTo>
                <a:cubicBezTo>
                  <a:pt x="2151" y="1924"/>
                  <a:pt x="2136" y="1909"/>
                  <a:pt x="2120" y="1877"/>
                </a:cubicBezTo>
                <a:cubicBezTo>
                  <a:pt x="2104" y="1829"/>
                  <a:pt x="2104" y="1781"/>
                  <a:pt x="2136" y="1750"/>
                </a:cubicBezTo>
                <a:cubicBezTo>
                  <a:pt x="2199" y="1670"/>
                  <a:pt x="2327" y="1686"/>
                  <a:pt x="2390" y="1686"/>
                </a:cubicBezTo>
                <a:cubicBezTo>
                  <a:pt x="2517" y="1702"/>
                  <a:pt x="2528" y="1739"/>
                  <a:pt x="2597" y="1766"/>
                </a:cubicBezTo>
                <a:cubicBezTo>
                  <a:pt x="2629" y="1781"/>
                  <a:pt x="2676" y="1781"/>
                  <a:pt x="2708" y="1750"/>
                </a:cubicBezTo>
                <a:cubicBezTo>
                  <a:pt x="2740" y="1718"/>
                  <a:pt x="2724" y="1654"/>
                  <a:pt x="2692" y="1638"/>
                </a:cubicBezTo>
                <a:cubicBezTo>
                  <a:pt x="2596" y="1601"/>
                  <a:pt x="2581" y="1543"/>
                  <a:pt x="2406" y="1527"/>
                </a:cubicBezTo>
                <a:lnTo>
                  <a:pt x="2406" y="1352"/>
                </a:lnTo>
                <a:cubicBezTo>
                  <a:pt x="2406" y="1305"/>
                  <a:pt x="2374" y="1272"/>
                  <a:pt x="2327" y="1272"/>
                </a:cubicBezTo>
                <a:cubicBezTo>
                  <a:pt x="2294" y="1272"/>
                  <a:pt x="2247" y="1305"/>
                  <a:pt x="2247" y="1352"/>
                </a:cubicBezTo>
                <a:lnTo>
                  <a:pt x="2247" y="1527"/>
                </a:lnTo>
                <a:cubicBezTo>
                  <a:pt x="2151" y="1543"/>
                  <a:pt x="2072" y="1575"/>
                  <a:pt x="2024" y="1638"/>
                </a:cubicBezTo>
                <a:cubicBezTo>
                  <a:pt x="1945" y="1734"/>
                  <a:pt x="1929" y="1845"/>
                  <a:pt x="1976" y="1941"/>
                </a:cubicBezTo>
                <a:cubicBezTo>
                  <a:pt x="2008" y="2004"/>
                  <a:pt x="2056" y="2052"/>
                  <a:pt x="2151" y="2100"/>
                </a:cubicBezTo>
                <a:cubicBezTo>
                  <a:pt x="2199" y="2115"/>
                  <a:pt x="2247" y="2132"/>
                  <a:pt x="2311" y="2147"/>
                </a:cubicBezTo>
                <a:cubicBezTo>
                  <a:pt x="2358" y="2163"/>
                  <a:pt x="2406" y="2179"/>
                  <a:pt x="2454" y="2211"/>
                </a:cubicBezTo>
                <a:cubicBezTo>
                  <a:pt x="2502" y="2211"/>
                  <a:pt x="2533" y="2227"/>
                  <a:pt x="2549" y="2259"/>
                </a:cubicBezTo>
                <a:cubicBezTo>
                  <a:pt x="2581" y="2275"/>
                  <a:pt x="2597" y="2322"/>
                  <a:pt x="2581" y="2386"/>
                </a:cubicBezTo>
                <a:cubicBezTo>
                  <a:pt x="2549" y="2481"/>
                  <a:pt x="2454" y="2513"/>
                  <a:pt x="2374" y="251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4" name="Freeform: Shape 11">
            <a:extLst>
              <a:ext uri="{FF2B5EF4-FFF2-40B4-BE49-F238E27FC236}">
                <a16:creationId xmlns:a16="http://schemas.microsoft.com/office/drawing/2014/main" id="{DF807920-2EBB-5E46-B856-AC4A48D22658}"/>
              </a:ext>
            </a:extLst>
          </p:cNvPr>
          <p:cNvSpPr/>
          <p:nvPr/>
        </p:nvSpPr>
        <p:spPr>
          <a:xfrm>
            <a:off x="1656980" y="9898375"/>
            <a:ext cx="2462040" cy="1625760"/>
          </a:xfrm>
          <a:custGeom>
            <a:avLst/>
            <a:gdLst/>
            <a:ahLst/>
            <a:cxnLst>
              <a:cxn ang="3cd4">
                <a:pos x="hc" y="t"/>
              </a:cxn>
              <a:cxn ang="cd2">
                <a:pos x="l" y="vc"/>
              </a:cxn>
              <a:cxn ang="cd4">
                <a:pos x="hc" y="b"/>
              </a:cxn>
              <a:cxn ang="0">
                <a:pos x="r" y="vc"/>
              </a:cxn>
            </a:cxnLst>
            <a:rect l="l" t="t" r="r" b="b"/>
            <a:pathLst>
              <a:path w="6840" h="4517">
                <a:moveTo>
                  <a:pt x="6760" y="2052"/>
                </a:moveTo>
                <a:cubicBezTo>
                  <a:pt x="6267" y="2052"/>
                  <a:pt x="6267" y="2052"/>
                  <a:pt x="6267" y="2052"/>
                </a:cubicBezTo>
                <a:cubicBezTo>
                  <a:pt x="4804" y="588"/>
                  <a:pt x="4804" y="588"/>
                  <a:pt x="4804" y="588"/>
                </a:cubicBezTo>
                <a:cubicBezTo>
                  <a:pt x="4804" y="79"/>
                  <a:pt x="4804" y="79"/>
                  <a:pt x="4804" y="79"/>
                </a:cubicBezTo>
                <a:cubicBezTo>
                  <a:pt x="4804" y="31"/>
                  <a:pt x="4756" y="0"/>
                  <a:pt x="4724" y="0"/>
                </a:cubicBezTo>
                <a:cubicBezTo>
                  <a:pt x="4183" y="0"/>
                  <a:pt x="4183" y="0"/>
                  <a:pt x="4183" y="0"/>
                </a:cubicBezTo>
                <a:cubicBezTo>
                  <a:pt x="4136" y="0"/>
                  <a:pt x="4104" y="31"/>
                  <a:pt x="4104" y="79"/>
                </a:cubicBezTo>
                <a:cubicBezTo>
                  <a:pt x="4104" y="588"/>
                  <a:pt x="4104" y="588"/>
                  <a:pt x="4104" y="588"/>
                </a:cubicBezTo>
                <a:cubicBezTo>
                  <a:pt x="3834" y="859"/>
                  <a:pt x="3834" y="859"/>
                  <a:pt x="3834" y="859"/>
                </a:cubicBezTo>
                <a:cubicBezTo>
                  <a:pt x="3452" y="493"/>
                  <a:pt x="2943" y="286"/>
                  <a:pt x="2386" y="286"/>
                </a:cubicBezTo>
                <a:cubicBezTo>
                  <a:pt x="1829" y="286"/>
                  <a:pt x="1336" y="493"/>
                  <a:pt x="954" y="843"/>
                </a:cubicBezTo>
                <a:cubicBezTo>
                  <a:pt x="684" y="588"/>
                  <a:pt x="684" y="588"/>
                  <a:pt x="684" y="588"/>
                </a:cubicBezTo>
                <a:cubicBezTo>
                  <a:pt x="684" y="79"/>
                  <a:pt x="684" y="79"/>
                  <a:pt x="684" y="79"/>
                </a:cubicBezTo>
                <a:cubicBezTo>
                  <a:pt x="684" y="31"/>
                  <a:pt x="653" y="0"/>
                  <a:pt x="605" y="0"/>
                </a:cubicBezTo>
                <a:cubicBezTo>
                  <a:pt x="80" y="0"/>
                  <a:pt x="80" y="0"/>
                  <a:pt x="80" y="0"/>
                </a:cubicBezTo>
                <a:cubicBezTo>
                  <a:pt x="32" y="0"/>
                  <a:pt x="0" y="31"/>
                  <a:pt x="0" y="79"/>
                </a:cubicBezTo>
                <a:cubicBezTo>
                  <a:pt x="0" y="620"/>
                  <a:pt x="0" y="620"/>
                  <a:pt x="0" y="620"/>
                </a:cubicBezTo>
                <a:cubicBezTo>
                  <a:pt x="0" y="652"/>
                  <a:pt x="32" y="700"/>
                  <a:pt x="80" y="700"/>
                </a:cubicBezTo>
                <a:cubicBezTo>
                  <a:pt x="573" y="700"/>
                  <a:pt x="573" y="700"/>
                  <a:pt x="573" y="700"/>
                </a:cubicBezTo>
                <a:cubicBezTo>
                  <a:pt x="843" y="954"/>
                  <a:pt x="843" y="954"/>
                  <a:pt x="843" y="954"/>
                </a:cubicBezTo>
                <a:cubicBezTo>
                  <a:pt x="493" y="1336"/>
                  <a:pt x="271" y="1845"/>
                  <a:pt x="271" y="2401"/>
                </a:cubicBezTo>
                <a:cubicBezTo>
                  <a:pt x="271" y="3563"/>
                  <a:pt x="1225" y="4517"/>
                  <a:pt x="2386" y="4517"/>
                </a:cubicBezTo>
                <a:cubicBezTo>
                  <a:pt x="3547" y="4517"/>
                  <a:pt x="4501" y="3563"/>
                  <a:pt x="4501" y="2401"/>
                </a:cubicBezTo>
                <a:cubicBezTo>
                  <a:pt x="4501" y="1845"/>
                  <a:pt x="4295" y="1352"/>
                  <a:pt x="3945" y="970"/>
                </a:cubicBezTo>
                <a:cubicBezTo>
                  <a:pt x="4215" y="700"/>
                  <a:pt x="4215" y="700"/>
                  <a:pt x="4215" y="700"/>
                </a:cubicBezTo>
                <a:cubicBezTo>
                  <a:pt x="4677" y="700"/>
                  <a:pt x="4677" y="700"/>
                  <a:pt x="4677" y="700"/>
                </a:cubicBezTo>
                <a:cubicBezTo>
                  <a:pt x="6156" y="2163"/>
                  <a:pt x="6156" y="2163"/>
                  <a:pt x="6156" y="2163"/>
                </a:cubicBezTo>
                <a:cubicBezTo>
                  <a:pt x="6156" y="2656"/>
                  <a:pt x="6156" y="2656"/>
                  <a:pt x="6156" y="2656"/>
                </a:cubicBezTo>
                <a:cubicBezTo>
                  <a:pt x="6156" y="2704"/>
                  <a:pt x="6188" y="2736"/>
                  <a:pt x="6235" y="2736"/>
                </a:cubicBezTo>
                <a:cubicBezTo>
                  <a:pt x="6760" y="2736"/>
                  <a:pt x="6760" y="2736"/>
                  <a:pt x="6760" y="2736"/>
                </a:cubicBezTo>
                <a:cubicBezTo>
                  <a:pt x="6808" y="2736"/>
                  <a:pt x="6840" y="2704"/>
                  <a:pt x="6840" y="2656"/>
                </a:cubicBezTo>
                <a:cubicBezTo>
                  <a:pt x="6840" y="2131"/>
                  <a:pt x="6840" y="2131"/>
                  <a:pt x="6840" y="2131"/>
                </a:cubicBezTo>
                <a:cubicBezTo>
                  <a:pt x="6840" y="2083"/>
                  <a:pt x="6808" y="2052"/>
                  <a:pt x="6760" y="2052"/>
                </a:cubicBezTo>
                <a:close/>
                <a:moveTo>
                  <a:pt x="2386" y="445"/>
                </a:moveTo>
                <a:cubicBezTo>
                  <a:pt x="2895" y="445"/>
                  <a:pt x="3372" y="636"/>
                  <a:pt x="3722" y="970"/>
                </a:cubicBezTo>
                <a:cubicBezTo>
                  <a:pt x="3150" y="1543"/>
                  <a:pt x="3150" y="1543"/>
                  <a:pt x="3150" y="1543"/>
                </a:cubicBezTo>
                <a:cubicBezTo>
                  <a:pt x="2943" y="1368"/>
                  <a:pt x="2672" y="1256"/>
                  <a:pt x="2386" y="1256"/>
                </a:cubicBezTo>
                <a:cubicBezTo>
                  <a:pt x="2100" y="1256"/>
                  <a:pt x="1845" y="1368"/>
                  <a:pt x="1638" y="1543"/>
                </a:cubicBezTo>
                <a:cubicBezTo>
                  <a:pt x="1066" y="954"/>
                  <a:pt x="1066" y="954"/>
                  <a:pt x="1066" y="954"/>
                </a:cubicBezTo>
                <a:cubicBezTo>
                  <a:pt x="1416" y="636"/>
                  <a:pt x="1877" y="445"/>
                  <a:pt x="2386" y="445"/>
                </a:cubicBezTo>
                <a:close/>
                <a:moveTo>
                  <a:pt x="2641" y="2052"/>
                </a:moveTo>
                <a:cubicBezTo>
                  <a:pt x="2147" y="2052"/>
                  <a:pt x="2147" y="2052"/>
                  <a:pt x="2147" y="2052"/>
                </a:cubicBezTo>
                <a:cubicBezTo>
                  <a:pt x="1750" y="1654"/>
                  <a:pt x="1750" y="1654"/>
                  <a:pt x="1750" y="1654"/>
                </a:cubicBezTo>
                <a:cubicBezTo>
                  <a:pt x="1925" y="1511"/>
                  <a:pt x="2147" y="1415"/>
                  <a:pt x="2386" y="1415"/>
                </a:cubicBezTo>
                <a:cubicBezTo>
                  <a:pt x="2641" y="1415"/>
                  <a:pt x="2863" y="1511"/>
                  <a:pt x="3038" y="1654"/>
                </a:cubicBezTo>
                <a:close/>
                <a:moveTo>
                  <a:pt x="2593" y="2210"/>
                </a:moveTo>
                <a:cubicBezTo>
                  <a:pt x="2593" y="2576"/>
                  <a:pt x="2593" y="2576"/>
                  <a:pt x="2593" y="2576"/>
                </a:cubicBezTo>
                <a:cubicBezTo>
                  <a:pt x="2211" y="2576"/>
                  <a:pt x="2211" y="2576"/>
                  <a:pt x="2211" y="2576"/>
                </a:cubicBezTo>
                <a:cubicBezTo>
                  <a:pt x="2211" y="2210"/>
                  <a:pt x="2211" y="2210"/>
                  <a:pt x="2211" y="2210"/>
                </a:cubicBezTo>
                <a:close/>
                <a:moveTo>
                  <a:pt x="2052" y="2179"/>
                </a:moveTo>
                <a:cubicBezTo>
                  <a:pt x="2052" y="2656"/>
                  <a:pt x="2052" y="2656"/>
                  <a:pt x="2052" y="2656"/>
                </a:cubicBezTo>
                <a:cubicBezTo>
                  <a:pt x="2052" y="2704"/>
                  <a:pt x="2100" y="2736"/>
                  <a:pt x="2132" y="2736"/>
                </a:cubicBezTo>
                <a:cubicBezTo>
                  <a:pt x="2672" y="2736"/>
                  <a:pt x="2672" y="2736"/>
                  <a:pt x="2672" y="2736"/>
                </a:cubicBezTo>
                <a:cubicBezTo>
                  <a:pt x="2720" y="2736"/>
                  <a:pt x="2752" y="2704"/>
                  <a:pt x="2752" y="2656"/>
                </a:cubicBezTo>
                <a:cubicBezTo>
                  <a:pt x="2752" y="2163"/>
                  <a:pt x="2752" y="2163"/>
                  <a:pt x="2752" y="2163"/>
                </a:cubicBezTo>
                <a:cubicBezTo>
                  <a:pt x="3150" y="1765"/>
                  <a:pt x="3150" y="1765"/>
                  <a:pt x="3150" y="1765"/>
                </a:cubicBezTo>
                <a:cubicBezTo>
                  <a:pt x="3293" y="1940"/>
                  <a:pt x="3372" y="2163"/>
                  <a:pt x="3372" y="2401"/>
                </a:cubicBezTo>
                <a:cubicBezTo>
                  <a:pt x="3372" y="2942"/>
                  <a:pt x="2927" y="3388"/>
                  <a:pt x="2386" y="3388"/>
                </a:cubicBezTo>
                <a:cubicBezTo>
                  <a:pt x="1845" y="3388"/>
                  <a:pt x="1400" y="2942"/>
                  <a:pt x="1400" y="2401"/>
                </a:cubicBezTo>
                <a:cubicBezTo>
                  <a:pt x="1400" y="2163"/>
                  <a:pt x="1495" y="1940"/>
                  <a:pt x="1638" y="1765"/>
                </a:cubicBezTo>
                <a:close/>
                <a:moveTo>
                  <a:pt x="525" y="540"/>
                </a:moveTo>
                <a:cubicBezTo>
                  <a:pt x="159" y="540"/>
                  <a:pt x="159" y="540"/>
                  <a:pt x="159" y="540"/>
                </a:cubicBezTo>
                <a:cubicBezTo>
                  <a:pt x="159" y="159"/>
                  <a:pt x="159" y="159"/>
                  <a:pt x="159" y="159"/>
                </a:cubicBezTo>
                <a:cubicBezTo>
                  <a:pt x="525" y="159"/>
                  <a:pt x="525" y="159"/>
                  <a:pt x="525" y="159"/>
                </a:cubicBezTo>
                <a:close/>
                <a:moveTo>
                  <a:pt x="4343" y="2401"/>
                </a:moveTo>
                <a:cubicBezTo>
                  <a:pt x="4343" y="3483"/>
                  <a:pt x="3468" y="4358"/>
                  <a:pt x="2386" y="4358"/>
                </a:cubicBezTo>
                <a:cubicBezTo>
                  <a:pt x="1305" y="4358"/>
                  <a:pt x="430" y="3483"/>
                  <a:pt x="430" y="2401"/>
                </a:cubicBezTo>
                <a:cubicBezTo>
                  <a:pt x="430" y="1892"/>
                  <a:pt x="636" y="1415"/>
                  <a:pt x="954" y="1065"/>
                </a:cubicBezTo>
                <a:cubicBezTo>
                  <a:pt x="1527" y="1654"/>
                  <a:pt x="1527" y="1654"/>
                  <a:pt x="1527" y="1654"/>
                </a:cubicBezTo>
                <a:cubicBezTo>
                  <a:pt x="1352" y="1845"/>
                  <a:pt x="1241" y="2115"/>
                  <a:pt x="1241" y="2401"/>
                </a:cubicBezTo>
                <a:cubicBezTo>
                  <a:pt x="1241" y="3022"/>
                  <a:pt x="1766" y="3531"/>
                  <a:pt x="2386" y="3531"/>
                </a:cubicBezTo>
                <a:cubicBezTo>
                  <a:pt x="3022" y="3531"/>
                  <a:pt x="3531" y="3022"/>
                  <a:pt x="3531" y="2401"/>
                </a:cubicBezTo>
                <a:cubicBezTo>
                  <a:pt x="3531" y="2115"/>
                  <a:pt x="3420" y="1861"/>
                  <a:pt x="3261" y="1654"/>
                </a:cubicBezTo>
                <a:cubicBezTo>
                  <a:pt x="3834" y="1082"/>
                  <a:pt x="3834" y="1082"/>
                  <a:pt x="3834" y="1082"/>
                </a:cubicBezTo>
                <a:cubicBezTo>
                  <a:pt x="4152" y="1431"/>
                  <a:pt x="4343" y="1892"/>
                  <a:pt x="4343" y="2401"/>
                </a:cubicBezTo>
                <a:close/>
                <a:moveTo>
                  <a:pt x="4645" y="540"/>
                </a:moveTo>
                <a:cubicBezTo>
                  <a:pt x="4263" y="540"/>
                  <a:pt x="4263" y="540"/>
                  <a:pt x="4263" y="540"/>
                </a:cubicBezTo>
                <a:cubicBezTo>
                  <a:pt x="4263" y="159"/>
                  <a:pt x="4263" y="159"/>
                  <a:pt x="4263" y="159"/>
                </a:cubicBezTo>
                <a:cubicBezTo>
                  <a:pt x="4645" y="159"/>
                  <a:pt x="4645" y="159"/>
                  <a:pt x="4645" y="159"/>
                </a:cubicBezTo>
                <a:close/>
                <a:moveTo>
                  <a:pt x="6680" y="2576"/>
                </a:moveTo>
                <a:cubicBezTo>
                  <a:pt x="6315" y="2576"/>
                  <a:pt x="6315" y="2576"/>
                  <a:pt x="6315" y="2576"/>
                </a:cubicBezTo>
                <a:cubicBezTo>
                  <a:pt x="6315" y="2210"/>
                  <a:pt x="6315" y="2210"/>
                  <a:pt x="6315" y="2210"/>
                </a:cubicBezTo>
                <a:cubicBezTo>
                  <a:pt x="6680" y="2210"/>
                  <a:pt x="6680" y="2210"/>
                  <a:pt x="6680" y="221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5" name="Freeform: Shape 12">
            <a:extLst>
              <a:ext uri="{FF2B5EF4-FFF2-40B4-BE49-F238E27FC236}">
                <a16:creationId xmlns:a16="http://schemas.microsoft.com/office/drawing/2014/main" id="{A2F45B34-7C58-114F-BD93-6FEF1682B525}"/>
              </a:ext>
            </a:extLst>
          </p:cNvPr>
          <p:cNvSpPr/>
          <p:nvPr/>
        </p:nvSpPr>
        <p:spPr>
          <a:xfrm>
            <a:off x="5970109" y="9749335"/>
            <a:ext cx="1637280" cy="1620360"/>
          </a:xfrm>
          <a:custGeom>
            <a:avLst/>
            <a:gdLst/>
            <a:ahLst/>
            <a:cxnLst>
              <a:cxn ang="3cd4">
                <a:pos x="hc" y="t"/>
              </a:cxn>
              <a:cxn ang="cd2">
                <a:pos x="l" y="vc"/>
              </a:cxn>
              <a:cxn ang="cd4">
                <a:pos x="hc" y="b"/>
              </a:cxn>
              <a:cxn ang="0">
                <a:pos x="r" y="vc"/>
              </a:cxn>
            </a:cxnLst>
            <a:rect l="l" t="t" r="r" b="b"/>
            <a:pathLst>
              <a:path w="4549" h="4502">
                <a:moveTo>
                  <a:pt x="4390" y="2609"/>
                </a:moveTo>
                <a:cubicBezTo>
                  <a:pt x="4358" y="2609"/>
                  <a:pt x="4310" y="2641"/>
                  <a:pt x="4294" y="2672"/>
                </a:cubicBezTo>
                <a:cubicBezTo>
                  <a:pt x="4263" y="2879"/>
                  <a:pt x="4183" y="3070"/>
                  <a:pt x="4103" y="3245"/>
                </a:cubicBezTo>
                <a:lnTo>
                  <a:pt x="3388" y="3245"/>
                </a:lnTo>
                <a:cubicBezTo>
                  <a:pt x="3451" y="2959"/>
                  <a:pt x="3499" y="2657"/>
                  <a:pt x="3499" y="2338"/>
                </a:cubicBezTo>
                <a:lnTo>
                  <a:pt x="3960" y="2338"/>
                </a:lnTo>
                <a:cubicBezTo>
                  <a:pt x="4008" y="2338"/>
                  <a:pt x="4040" y="2306"/>
                  <a:pt x="4040" y="2259"/>
                </a:cubicBezTo>
                <a:cubicBezTo>
                  <a:pt x="4040" y="2211"/>
                  <a:pt x="4008" y="2179"/>
                  <a:pt x="3960" y="2179"/>
                </a:cubicBezTo>
                <a:lnTo>
                  <a:pt x="3499" y="2179"/>
                </a:lnTo>
                <a:cubicBezTo>
                  <a:pt x="3499" y="1988"/>
                  <a:pt x="3483" y="1797"/>
                  <a:pt x="3451" y="1623"/>
                </a:cubicBezTo>
                <a:cubicBezTo>
                  <a:pt x="3451" y="1575"/>
                  <a:pt x="3403" y="1543"/>
                  <a:pt x="3372" y="1559"/>
                </a:cubicBezTo>
                <a:cubicBezTo>
                  <a:pt x="3324" y="1559"/>
                  <a:pt x="3292" y="1606"/>
                  <a:pt x="3292" y="1639"/>
                </a:cubicBezTo>
                <a:cubicBezTo>
                  <a:pt x="3324" y="1814"/>
                  <a:pt x="3340" y="2005"/>
                  <a:pt x="3340" y="2179"/>
                </a:cubicBezTo>
                <a:lnTo>
                  <a:pt x="2322" y="2179"/>
                </a:lnTo>
                <a:lnTo>
                  <a:pt x="2322" y="1288"/>
                </a:lnTo>
                <a:lnTo>
                  <a:pt x="2894" y="1288"/>
                </a:lnTo>
                <a:cubicBezTo>
                  <a:pt x="2942" y="1288"/>
                  <a:pt x="2974" y="1257"/>
                  <a:pt x="2974" y="1209"/>
                </a:cubicBezTo>
                <a:cubicBezTo>
                  <a:pt x="2974" y="1161"/>
                  <a:pt x="2942" y="1130"/>
                  <a:pt x="2894" y="1130"/>
                </a:cubicBezTo>
                <a:lnTo>
                  <a:pt x="2322" y="1130"/>
                </a:lnTo>
                <a:lnTo>
                  <a:pt x="2322" y="175"/>
                </a:lnTo>
                <a:cubicBezTo>
                  <a:pt x="2608" y="207"/>
                  <a:pt x="2879" y="461"/>
                  <a:pt x="3070" y="875"/>
                </a:cubicBezTo>
                <a:cubicBezTo>
                  <a:pt x="3085" y="923"/>
                  <a:pt x="3133" y="939"/>
                  <a:pt x="3181" y="923"/>
                </a:cubicBezTo>
                <a:cubicBezTo>
                  <a:pt x="3213" y="907"/>
                  <a:pt x="3228" y="859"/>
                  <a:pt x="3213" y="811"/>
                </a:cubicBezTo>
                <a:cubicBezTo>
                  <a:pt x="3101" y="573"/>
                  <a:pt x="2974" y="382"/>
                  <a:pt x="2815" y="239"/>
                </a:cubicBezTo>
                <a:cubicBezTo>
                  <a:pt x="3308" y="382"/>
                  <a:pt x="3737" y="700"/>
                  <a:pt x="4008" y="1130"/>
                </a:cubicBezTo>
                <a:lnTo>
                  <a:pt x="3722" y="1130"/>
                </a:lnTo>
                <a:cubicBezTo>
                  <a:pt x="3690" y="1130"/>
                  <a:pt x="3642" y="1161"/>
                  <a:pt x="3642" y="1209"/>
                </a:cubicBezTo>
                <a:cubicBezTo>
                  <a:pt x="3642" y="1257"/>
                  <a:pt x="3690" y="1288"/>
                  <a:pt x="3722" y="1288"/>
                </a:cubicBezTo>
                <a:lnTo>
                  <a:pt x="4103" y="1288"/>
                </a:lnTo>
                <a:cubicBezTo>
                  <a:pt x="4199" y="1463"/>
                  <a:pt x="4263" y="1670"/>
                  <a:pt x="4310" y="1877"/>
                </a:cubicBezTo>
                <a:cubicBezTo>
                  <a:pt x="4310" y="1925"/>
                  <a:pt x="4342" y="1957"/>
                  <a:pt x="4390" y="1957"/>
                </a:cubicBezTo>
                <a:cubicBezTo>
                  <a:pt x="4395" y="1952"/>
                  <a:pt x="4390" y="1941"/>
                  <a:pt x="4406" y="1941"/>
                </a:cubicBezTo>
                <a:cubicBezTo>
                  <a:pt x="4437" y="1941"/>
                  <a:pt x="4469" y="1893"/>
                  <a:pt x="4469" y="1861"/>
                </a:cubicBezTo>
                <a:cubicBezTo>
                  <a:pt x="4278" y="779"/>
                  <a:pt x="3340" y="0"/>
                  <a:pt x="2242" y="0"/>
                </a:cubicBezTo>
                <a:cubicBezTo>
                  <a:pt x="1574" y="0"/>
                  <a:pt x="938" y="302"/>
                  <a:pt x="509" y="827"/>
                </a:cubicBezTo>
                <a:cubicBezTo>
                  <a:pt x="477" y="859"/>
                  <a:pt x="493" y="907"/>
                  <a:pt x="525" y="939"/>
                </a:cubicBezTo>
                <a:cubicBezTo>
                  <a:pt x="556" y="970"/>
                  <a:pt x="604" y="954"/>
                  <a:pt x="636" y="923"/>
                </a:cubicBezTo>
                <a:cubicBezTo>
                  <a:pt x="906" y="589"/>
                  <a:pt x="1288" y="350"/>
                  <a:pt x="1686" y="239"/>
                </a:cubicBezTo>
                <a:cubicBezTo>
                  <a:pt x="1463" y="430"/>
                  <a:pt x="1288" y="748"/>
                  <a:pt x="1161" y="1130"/>
                </a:cubicBezTo>
                <a:lnTo>
                  <a:pt x="763" y="1130"/>
                </a:lnTo>
                <a:cubicBezTo>
                  <a:pt x="715" y="1130"/>
                  <a:pt x="683" y="1161"/>
                  <a:pt x="683" y="1209"/>
                </a:cubicBezTo>
                <a:cubicBezTo>
                  <a:pt x="683" y="1257"/>
                  <a:pt x="715" y="1288"/>
                  <a:pt x="763" y="1288"/>
                </a:cubicBezTo>
                <a:lnTo>
                  <a:pt x="1113" y="1288"/>
                </a:lnTo>
                <a:cubicBezTo>
                  <a:pt x="1065" y="1448"/>
                  <a:pt x="1034" y="1639"/>
                  <a:pt x="1018" y="1829"/>
                </a:cubicBezTo>
                <a:cubicBezTo>
                  <a:pt x="1018" y="1877"/>
                  <a:pt x="1034" y="1909"/>
                  <a:pt x="1081" y="1909"/>
                </a:cubicBezTo>
                <a:cubicBezTo>
                  <a:pt x="1081" y="1925"/>
                  <a:pt x="1092" y="1920"/>
                  <a:pt x="1097" y="1925"/>
                </a:cubicBezTo>
                <a:cubicBezTo>
                  <a:pt x="1129" y="1925"/>
                  <a:pt x="1161" y="1893"/>
                  <a:pt x="1177" y="1845"/>
                </a:cubicBezTo>
                <a:cubicBezTo>
                  <a:pt x="1192" y="1639"/>
                  <a:pt x="1224" y="1463"/>
                  <a:pt x="1272" y="1288"/>
                </a:cubicBezTo>
                <a:lnTo>
                  <a:pt x="2163" y="1288"/>
                </a:lnTo>
                <a:lnTo>
                  <a:pt x="2163" y="2179"/>
                </a:lnTo>
                <a:lnTo>
                  <a:pt x="1479" y="2179"/>
                </a:lnTo>
                <a:cubicBezTo>
                  <a:pt x="1431" y="2179"/>
                  <a:pt x="1400" y="2211"/>
                  <a:pt x="1400" y="2259"/>
                </a:cubicBezTo>
                <a:cubicBezTo>
                  <a:pt x="1400" y="2306"/>
                  <a:pt x="1431" y="2338"/>
                  <a:pt x="1479" y="2338"/>
                </a:cubicBezTo>
                <a:lnTo>
                  <a:pt x="2163" y="2338"/>
                </a:lnTo>
                <a:lnTo>
                  <a:pt x="2163" y="2911"/>
                </a:lnTo>
                <a:cubicBezTo>
                  <a:pt x="2163" y="2943"/>
                  <a:pt x="2210" y="2990"/>
                  <a:pt x="2242" y="2990"/>
                </a:cubicBezTo>
                <a:cubicBezTo>
                  <a:pt x="2290" y="2990"/>
                  <a:pt x="2322" y="2943"/>
                  <a:pt x="2322" y="2911"/>
                </a:cubicBezTo>
                <a:lnTo>
                  <a:pt x="2322" y="2338"/>
                </a:lnTo>
                <a:lnTo>
                  <a:pt x="3340" y="2338"/>
                </a:lnTo>
                <a:cubicBezTo>
                  <a:pt x="3340" y="2657"/>
                  <a:pt x="3292" y="2975"/>
                  <a:pt x="3213" y="3245"/>
                </a:cubicBezTo>
                <a:lnTo>
                  <a:pt x="2656" y="3245"/>
                </a:lnTo>
                <a:cubicBezTo>
                  <a:pt x="2624" y="3245"/>
                  <a:pt x="2576" y="3277"/>
                  <a:pt x="2576" y="3324"/>
                </a:cubicBezTo>
                <a:cubicBezTo>
                  <a:pt x="2576" y="3356"/>
                  <a:pt x="2624" y="3388"/>
                  <a:pt x="2656" y="3388"/>
                </a:cubicBezTo>
                <a:lnTo>
                  <a:pt x="3165" y="3388"/>
                </a:lnTo>
                <a:cubicBezTo>
                  <a:pt x="2990" y="3929"/>
                  <a:pt x="2688" y="4295"/>
                  <a:pt x="2322" y="4342"/>
                </a:cubicBezTo>
                <a:lnTo>
                  <a:pt x="2322" y="3722"/>
                </a:lnTo>
                <a:cubicBezTo>
                  <a:pt x="2322" y="3690"/>
                  <a:pt x="2290" y="3642"/>
                  <a:pt x="2242" y="3642"/>
                </a:cubicBezTo>
                <a:cubicBezTo>
                  <a:pt x="2210" y="3642"/>
                  <a:pt x="2163" y="3690"/>
                  <a:pt x="2163" y="3722"/>
                </a:cubicBezTo>
                <a:lnTo>
                  <a:pt x="2163" y="4342"/>
                </a:lnTo>
                <a:cubicBezTo>
                  <a:pt x="1829" y="4295"/>
                  <a:pt x="1511" y="3929"/>
                  <a:pt x="1336" y="3388"/>
                </a:cubicBezTo>
                <a:lnTo>
                  <a:pt x="1845" y="3388"/>
                </a:lnTo>
                <a:cubicBezTo>
                  <a:pt x="1876" y="3388"/>
                  <a:pt x="1909" y="3356"/>
                  <a:pt x="1909" y="3324"/>
                </a:cubicBezTo>
                <a:cubicBezTo>
                  <a:pt x="1909" y="3277"/>
                  <a:pt x="1876" y="3245"/>
                  <a:pt x="1845" y="3245"/>
                </a:cubicBezTo>
                <a:lnTo>
                  <a:pt x="1272" y="3245"/>
                </a:lnTo>
                <a:cubicBezTo>
                  <a:pt x="1224" y="3054"/>
                  <a:pt x="1192" y="2863"/>
                  <a:pt x="1177" y="2657"/>
                </a:cubicBezTo>
                <a:cubicBezTo>
                  <a:pt x="1161" y="2609"/>
                  <a:pt x="1129" y="2577"/>
                  <a:pt x="1081" y="2577"/>
                </a:cubicBezTo>
                <a:cubicBezTo>
                  <a:pt x="1034" y="2593"/>
                  <a:pt x="1002" y="2624"/>
                  <a:pt x="1018" y="2672"/>
                </a:cubicBezTo>
                <a:cubicBezTo>
                  <a:pt x="1034" y="2863"/>
                  <a:pt x="1065" y="3054"/>
                  <a:pt x="1113" y="3245"/>
                </a:cubicBezTo>
                <a:lnTo>
                  <a:pt x="397" y="3245"/>
                </a:lnTo>
                <a:cubicBezTo>
                  <a:pt x="254" y="2975"/>
                  <a:pt x="174" y="2657"/>
                  <a:pt x="159" y="2338"/>
                </a:cubicBezTo>
                <a:lnTo>
                  <a:pt x="652" y="2338"/>
                </a:lnTo>
                <a:cubicBezTo>
                  <a:pt x="700" y="2338"/>
                  <a:pt x="731" y="2306"/>
                  <a:pt x="731" y="2259"/>
                </a:cubicBezTo>
                <a:cubicBezTo>
                  <a:pt x="731" y="2211"/>
                  <a:pt x="700" y="2179"/>
                  <a:pt x="652" y="2179"/>
                </a:cubicBezTo>
                <a:lnTo>
                  <a:pt x="159" y="2179"/>
                </a:lnTo>
                <a:cubicBezTo>
                  <a:pt x="159" y="1988"/>
                  <a:pt x="206" y="1797"/>
                  <a:pt x="254" y="1623"/>
                </a:cubicBezTo>
                <a:cubicBezTo>
                  <a:pt x="270" y="1575"/>
                  <a:pt x="254" y="1527"/>
                  <a:pt x="206" y="1511"/>
                </a:cubicBezTo>
                <a:cubicBezTo>
                  <a:pt x="159" y="1511"/>
                  <a:pt x="111" y="1527"/>
                  <a:pt x="111" y="1575"/>
                </a:cubicBezTo>
                <a:cubicBezTo>
                  <a:pt x="31" y="1797"/>
                  <a:pt x="0" y="2020"/>
                  <a:pt x="0" y="2259"/>
                </a:cubicBezTo>
                <a:cubicBezTo>
                  <a:pt x="0" y="2657"/>
                  <a:pt x="95" y="3022"/>
                  <a:pt x="270" y="3340"/>
                </a:cubicBezTo>
                <a:cubicBezTo>
                  <a:pt x="286" y="3356"/>
                  <a:pt x="286" y="3356"/>
                  <a:pt x="286" y="3372"/>
                </a:cubicBezTo>
                <a:cubicBezTo>
                  <a:pt x="683" y="4056"/>
                  <a:pt x="1415" y="4502"/>
                  <a:pt x="2242" y="4502"/>
                </a:cubicBezTo>
                <a:cubicBezTo>
                  <a:pt x="3070" y="4502"/>
                  <a:pt x="3817" y="4056"/>
                  <a:pt x="4215" y="3356"/>
                </a:cubicBezTo>
                <a:lnTo>
                  <a:pt x="4215" y="3340"/>
                </a:lnTo>
                <a:cubicBezTo>
                  <a:pt x="4326" y="3150"/>
                  <a:pt x="4406" y="2943"/>
                  <a:pt x="4453" y="2704"/>
                </a:cubicBezTo>
                <a:cubicBezTo>
                  <a:pt x="4469" y="2672"/>
                  <a:pt x="4437" y="2624"/>
                  <a:pt x="4390" y="2609"/>
                </a:cubicBezTo>
                <a:close/>
                <a:moveTo>
                  <a:pt x="1320" y="1130"/>
                </a:moveTo>
                <a:cubicBezTo>
                  <a:pt x="1511" y="589"/>
                  <a:pt x="1829" y="223"/>
                  <a:pt x="2163" y="175"/>
                </a:cubicBezTo>
                <a:lnTo>
                  <a:pt x="2163" y="1130"/>
                </a:lnTo>
                <a:close/>
                <a:moveTo>
                  <a:pt x="493" y="3388"/>
                </a:moveTo>
                <a:lnTo>
                  <a:pt x="1161" y="3388"/>
                </a:lnTo>
                <a:cubicBezTo>
                  <a:pt x="1288" y="3770"/>
                  <a:pt x="1463" y="4072"/>
                  <a:pt x="1686" y="4279"/>
                </a:cubicBezTo>
                <a:cubicBezTo>
                  <a:pt x="1192" y="4136"/>
                  <a:pt x="763" y="3818"/>
                  <a:pt x="493" y="3388"/>
                </a:cubicBezTo>
                <a:close/>
                <a:moveTo>
                  <a:pt x="2815" y="4279"/>
                </a:moveTo>
                <a:cubicBezTo>
                  <a:pt x="3022" y="4072"/>
                  <a:pt x="3213" y="3770"/>
                  <a:pt x="3340" y="3388"/>
                </a:cubicBezTo>
                <a:lnTo>
                  <a:pt x="4008" y="3388"/>
                </a:lnTo>
                <a:cubicBezTo>
                  <a:pt x="3722" y="3818"/>
                  <a:pt x="3308" y="4136"/>
                  <a:pt x="2815" y="4279"/>
                </a:cubicBezTo>
                <a:close/>
                <a:moveTo>
                  <a:pt x="3308" y="1400"/>
                </a:moveTo>
                <a:cubicBezTo>
                  <a:pt x="3213" y="1400"/>
                  <a:pt x="3133" y="1320"/>
                  <a:pt x="3133" y="1225"/>
                </a:cubicBezTo>
                <a:cubicBezTo>
                  <a:pt x="3133" y="1320"/>
                  <a:pt x="3213" y="1400"/>
                  <a:pt x="3308" y="1400"/>
                </a:cubicBezTo>
                <a:cubicBezTo>
                  <a:pt x="3403" y="1400"/>
                  <a:pt x="3483" y="1320"/>
                  <a:pt x="3483" y="1225"/>
                </a:cubicBezTo>
                <a:cubicBezTo>
                  <a:pt x="3483" y="1320"/>
                  <a:pt x="3403" y="1400"/>
                  <a:pt x="3308" y="1400"/>
                </a:cubicBezTo>
                <a:close/>
                <a:moveTo>
                  <a:pt x="3308" y="1050"/>
                </a:moveTo>
                <a:cubicBezTo>
                  <a:pt x="3388" y="1050"/>
                  <a:pt x="3451" y="1097"/>
                  <a:pt x="3483" y="1161"/>
                </a:cubicBezTo>
                <a:cubicBezTo>
                  <a:pt x="3451" y="1097"/>
                  <a:pt x="3388" y="1050"/>
                  <a:pt x="3308" y="1050"/>
                </a:cubicBezTo>
                <a:cubicBezTo>
                  <a:pt x="3245" y="1050"/>
                  <a:pt x="3181" y="1097"/>
                  <a:pt x="3149" y="1161"/>
                </a:cubicBezTo>
                <a:cubicBezTo>
                  <a:pt x="3181" y="1097"/>
                  <a:pt x="3245" y="1050"/>
                  <a:pt x="3308" y="1050"/>
                </a:cubicBezTo>
                <a:close/>
                <a:moveTo>
                  <a:pt x="4374" y="2115"/>
                </a:moveTo>
                <a:cubicBezTo>
                  <a:pt x="4278" y="2115"/>
                  <a:pt x="4199" y="2179"/>
                  <a:pt x="4199" y="2275"/>
                </a:cubicBezTo>
                <a:cubicBezTo>
                  <a:pt x="4199" y="2386"/>
                  <a:pt x="4278" y="2450"/>
                  <a:pt x="4374" y="2450"/>
                </a:cubicBezTo>
                <a:cubicBezTo>
                  <a:pt x="4469" y="2450"/>
                  <a:pt x="4549" y="2386"/>
                  <a:pt x="4549" y="2275"/>
                </a:cubicBezTo>
                <a:cubicBezTo>
                  <a:pt x="4549" y="2179"/>
                  <a:pt x="4469" y="2115"/>
                  <a:pt x="4374" y="2115"/>
                </a:cubicBezTo>
                <a:close/>
                <a:moveTo>
                  <a:pt x="3483" y="1161"/>
                </a:moveTo>
                <a:cubicBezTo>
                  <a:pt x="3451" y="1097"/>
                  <a:pt x="3388" y="1050"/>
                  <a:pt x="3308" y="1050"/>
                </a:cubicBezTo>
                <a:cubicBezTo>
                  <a:pt x="3245" y="1050"/>
                  <a:pt x="3181" y="1097"/>
                  <a:pt x="3149" y="1161"/>
                </a:cubicBezTo>
                <a:cubicBezTo>
                  <a:pt x="3149" y="1177"/>
                  <a:pt x="3133" y="1193"/>
                  <a:pt x="3133" y="1225"/>
                </a:cubicBezTo>
                <a:cubicBezTo>
                  <a:pt x="3133" y="1320"/>
                  <a:pt x="3213" y="1400"/>
                  <a:pt x="3308" y="1400"/>
                </a:cubicBezTo>
                <a:cubicBezTo>
                  <a:pt x="3403" y="1400"/>
                  <a:pt x="3483" y="1320"/>
                  <a:pt x="3483" y="1225"/>
                </a:cubicBezTo>
                <a:close/>
                <a:moveTo>
                  <a:pt x="2418" y="3324"/>
                </a:moveTo>
                <a:cubicBezTo>
                  <a:pt x="2418" y="3213"/>
                  <a:pt x="2338" y="3150"/>
                  <a:pt x="2242" y="3150"/>
                </a:cubicBezTo>
                <a:cubicBezTo>
                  <a:pt x="2147" y="3150"/>
                  <a:pt x="2067" y="3213"/>
                  <a:pt x="2067" y="3324"/>
                </a:cubicBezTo>
                <a:cubicBezTo>
                  <a:pt x="2067" y="3420"/>
                  <a:pt x="2147" y="3484"/>
                  <a:pt x="2242" y="3484"/>
                </a:cubicBezTo>
                <a:cubicBezTo>
                  <a:pt x="2338" y="3484"/>
                  <a:pt x="2418" y="3420"/>
                  <a:pt x="2418" y="3324"/>
                </a:cubicBezTo>
                <a:close/>
                <a:moveTo>
                  <a:pt x="1240" y="2243"/>
                </a:moveTo>
                <a:cubicBezTo>
                  <a:pt x="1240" y="2148"/>
                  <a:pt x="1161" y="2068"/>
                  <a:pt x="1065" y="2068"/>
                </a:cubicBezTo>
                <a:cubicBezTo>
                  <a:pt x="970" y="2068"/>
                  <a:pt x="891" y="2148"/>
                  <a:pt x="891" y="2243"/>
                </a:cubicBezTo>
                <a:cubicBezTo>
                  <a:pt x="891" y="2338"/>
                  <a:pt x="970" y="2418"/>
                  <a:pt x="1065" y="2418"/>
                </a:cubicBezTo>
                <a:cubicBezTo>
                  <a:pt x="1161" y="2418"/>
                  <a:pt x="1240" y="2338"/>
                  <a:pt x="1240" y="2243"/>
                </a:cubicBezTo>
                <a:close/>
                <a:moveTo>
                  <a:pt x="174" y="1225"/>
                </a:moveTo>
                <a:cubicBezTo>
                  <a:pt x="174" y="1320"/>
                  <a:pt x="254" y="1400"/>
                  <a:pt x="350" y="1400"/>
                </a:cubicBezTo>
                <a:cubicBezTo>
                  <a:pt x="445" y="1400"/>
                  <a:pt x="525" y="1320"/>
                  <a:pt x="525" y="1225"/>
                </a:cubicBezTo>
                <a:cubicBezTo>
                  <a:pt x="525" y="1130"/>
                  <a:pt x="445" y="1050"/>
                  <a:pt x="350" y="1050"/>
                </a:cubicBezTo>
                <a:cubicBezTo>
                  <a:pt x="254" y="1050"/>
                  <a:pt x="174" y="1130"/>
                  <a:pt x="174" y="122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6" name="Freeform: Shape 13">
            <a:extLst>
              <a:ext uri="{FF2B5EF4-FFF2-40B4-BE49-F238E27FC236}">
                <a16:creationId xmlns:a16="http://schemas.microsoft.com/office/drawing/2014/main" id="{CF00B02A-FC55-9D42-B82B-032597A091DA}"/>
              </a:ext>
            </a:extLst>
          </p:cNvPr>
          <p:cNvSpPr/>
          <p:nvPr/>
        </p:nvSpPr>
        <p:spPr>
          <a:xfrm>
            <a:off x="10014170" y="9783535"/>
            <a:ext cx="1614600" cy="1614600"/>
          </a:xfrm>
          <a:custGeom>
            <a:avLst/>
            <a:gdLst/>
            <a:ahLst/>
            <a:cxnLst>
              <a:cxn ang="3cd4">
                <a:pos x="hc" y="t"/>
              </a:cxn>
              <a:cxn ang="cd2">
                <a:pos x="l" y="vc"/>
              </a:cxn>
              <a:cxn ang="cd4">
                <a:pos x="hc" y="b"/>
              </a:cxn>
              <a:cxn ang="0">
                <a:pos x="r" y="vc"/>
              </a:cxn>
            </a:cxnLst>
            <a:rect l="l" t="t" r="r" b="b"/>
            <a:pathLst>
              <a:path w="4486" h="4486">
                <a:moveTo>
                  <a:pt x="4486" y="2243"/>
                </a:moveTo>
                <a:cubicBezTo>
                  <a:pt x="4486" y="1002"/>
                  <a:pt x="3484" y="0"/>
                  <a:pt x="2243" y="0"/>
                </a:cubicBezTo>
                <a:cubicBezTo>
                  <a:pt x="1002" y="0"/>
                  <a:pt x="0" y="1002"/>
                  <a:pt x="0" y="2243"/>
                </a:cubicBezTo>
                <a:cubicBezTo>
                  <a:pt x="0" y="2625"/>
                  <a:pt x="96" y="3007"/>
                  <a:pt x="270" y="3325"/>
                </a:cubicBezTo>
                <a:cubicBezTo>
                  <a:pt x="287" y="3325"/>
                  <a:pt x="287" y="3341"/>
                  <a:pt x="287" y="3341"/>
                </a:cubicBezTo>
                <a:cubicBezTo>
                  <a:pt x="668" y="4009"/>
                  <a:pt x="1384" y="4470"/>
                  <a:pt x="2211" y="4486"/>
                </a:cubicBezTo>
                <a:cubicBezTo>
                  <a:pt x="2227" y="4486"/>
                  <a:pt x="2227" y="4486"/>
                  <a:pt x="2243" y="4486"/>
                </a:cubicBezTo>
                <a:cubicBezTo>
                  <a:pt x="2259" y="4486"/>
                  <a:pt x="2275" y="4486"/>
                  <a:pt x="2275" y="4486"/>
                </a:cubicBezTo>
                <a:cubicBezTo>
                  <a:pt x="3102" y="4470"/>
                  <a:pt x="3818" y="4009"/>
                  <a:pt x="4199" y="3341"/>
                </a:cubicBezTo>
                <a:cubicBezTo>
                  <a:pt x="4199" y="3341"/>
                  <a:pt x="4199" y="3325"/>
                  <a:pt x="4215" y="3325"/>
                </a:cubicBezTo>
                <a:cubicBezTo>
                  <a:pt x="4390" y="3007"/>
                  <a:pt x="4486" y="2641"/>
                  <a:pt x="4486" y="2243"/>
                </a:cubicBezTo>
                <a:close/>
                <a:moveTo>
                  <a:pt x="159" y="2323"/>
                </a:moveTo>
                <a:cubicBezTo>
                  <a:pt x="986" y="2323"/>
                  <a:pt x="986" y="2323"/>
                  <a:pt x="986" y="2323"/>
                </a:cubicBezTo>
                <a:cubicBezTo>
                  <a:pt x="1002" y="2641"/>
                  <a:pt x="1034" y="2943"/>
                  <a:pt x="1114" y="3214"/>
                </a:cubicBezTo>
                <a:cubicBezTo>
                  <a:pt x="398" y="3214"/>
                  <a:pt x="398" y="3214"/>
                  <a:pt x="398" y="3214"/>
                </a:cubicBezTo>
                <a:cubicBezTo>
                  <a:pt x="255" y="2943"/>
                  <a:pt x="175" y="2641"/>
                  <a:pt x="159" y="2323"/>
                </a:cubicBezTo>
                <a:close/>
                <a:moveTo>
                  <a:pt x="398" y="1273"/>
                </a:moveTo>
                <a:cubicBezTo>
                  <a:pt x="1114" y="1273"/>
                  <a:pt x="1114" y="1273"/>
                  <a:pt x="1114" y="1273"/>
                </a:cubicBezTo>
                <a:cubicBezTo>
                  <a:pt x="1034" y="1544"/>
                  <a:pt x="1002" y="1846"/>
                  <a:pt x="986" y="2164"/>
                </a:cubicBezTo>
                <a:cubicBezTo>
                  <a:pt x="159" y="2164"/>
                  <a:pt x="159" y="2164"/>
                  <a:pt x="159" y="2164"/>
                </a:cubicBezTo>
                <a:cubicBezTo>
                  <a:pt x="175" y="1846"/>
                  <a:pt x="255" y="1544"/>
                  <a:pt x="398" y="1273"/>
                </a:cubicBezTo>
                <a:close/>
                <a:moveTo>
                  <a:pt x="4327" y="2164"/>
                </a:moveTo>
                <a:cubicBezTo>
                  <a:pt x="3499" y="2164"/>
                  <a:pt x="3499" y="2164"/>
                  <a:pt x="3499" y="2164"/>
                </a:cubicBezTo>
                <a:cubicBezTo>
                  <a:pt x="3484" y="1846"/>
                  <a:pt x="3452" y="1544"/>
                  <a:pt x="3372" y="1273"/>
                </a:cubicBezTo>
                <a:cubicBezTo>
                  <a:pt x="4088" y="1273"/>
                  <a:pt x="4088" y="1273"/>
                  <a:pt x="4088" y="1273"/>
                </a:cubicBezTo>
                <a:cubicBezTo>
                  <a:pt x="4231" y="1544"/>
                  <a:pt x="4311" y="1846"/>
                  <a:pt x="4327" y="2164"/>
                </a:cubicBezTo>
                <a:close/>
                <a:moveTo>
                  <a:pt x="3341" y="2164"/>
                </a:moveTo>
                <a:cubicBezTo>
                  <a:pt x="2323" y="2164"/>
                  <a:pt x="2323" y="2164"/>
                  <a:pt x="2323" y="2164"/>
                </a:cubicBezTo>
                <a:cubicBezTo>
                  <a:pt x="2323" y="1273"/>
                  <a:pt x="2323" y="1273"/>
                  <a:pt x="2323" y="1273"/>
                </a:cubicBezTo>
                <a:cubicBezTo>
                  <a:pt x="3213" y="1273"/>
                  <a:pt x="3213" y="1273"/>
                  <a:pt x="3213" y="1273"/>
                </a:cubicBezTo>
                <a:cubicBezTo>
                  <a:pt x="3293" y="1544"/>
                  <a:pt x="3324" y="1846"/>
                  <a:pt x="3341" y="2164"/>
                </a:cubicBezTo>
                <a:close/>
                <a:moveTo>
                  <a:pt x="2323" y="1114"/>
                </a:moveTo>
                <a:cubicBezTo>
                  <a:pt x="2323" y="160"/>
                  <a:pt x="2323" y="160"/>
                  <a:pt x="2323" y="160"/>
                </a:cubicBezTo>
                <a:cubicBezTo>
                  <a:pt x="2672" y="207"/>
                  <a:pt x="2975" y="573"/>
                  <a:pt x="3166" y="1114"/>
                </a:cubicBezTo>
                <a:close/>
                <a:moveTo>
                  <a:pt x="2163" y="160"/>
                </a:moveTo>
                <a:cubicBezTo>
                  <a:pt x="2163" y="1114"/>
                  <a:pt x="2163" y="1114"/>
                  <a:pt x="2163" y="1114"/>
                </a:cubicBezTo>
                <a:cubicBezTo>
                  <a:pt x="1320" y="1114"/>
                  <a:pt x="1320" y="1114"/>
                  <a:pt x="1320" y="1114"/>
                </a:cubicBezTo>
                <a:cubicBezTo>
                  <a:pt x="1511" y="573"/>
                  <a:pt x="1814" y="207"/>
                  <a:pt x="2163" y="160"/>
                </a:cubicBezTo>
                <a:close/>
                <a:moveTo>
                  <a:pt x="2163" y="1273"/>
                </a:moveTo>
                <a:cubicBezTo>
                  <a:pt x="2163" y="2164"/>
                  <a:pt x="2163" y="2164"/>
                  <a:pt x="2163" y="2164"/>
                </a:cubicBezTo>
                <a:cubicBezTo>
                  <a:pt x="1145" y="2164"/>
                  <a:pt x="1145" y="2164"/>
                  <a:pt x="1145" y="2164"/>
                </a:cubicBezTo>
                <a:cubicBezTo>
                  <a:pt x="1161" y="1846"/>
                  <a:pt x="1193" y="1544"/>
                  <a:pt x="1273" y="1273"/>
                </a:cubicBezTo>
                <a:close/>
                <a:moveTo>
                  <a:pt x="1145" y="2323"/>
                </a:moveTo>
                <a:cubicBezTo>
                  <a:pt x="2163" y="2323"/>
                  <a:pt x="2163" y="2323"/>
                  <a:pt x="2163" y="2323"/>
                </a:cubicBezTo>
                <a:cubicBezTo>
                  <a:pt x="2163" y="3214"/>
                  <a:pt x="2163" y="3214"/>
                  <a:pt x="2163" y="3214"/>
                </a:cubicBezTo>
                <a:cubicBezTo>
                  <a:pt x="1273" y="3214"/>
                  <a:pt x="1273" y="3214"/>
                  <a:pt x="1273" y="3214"/>
                </a:cubicBezTo>
                <a:cubicBezTo>
                  <a:pt x="1209" y="2943"/>
                  <a:pt x="1161" y="2641"/>
                  <a:pt x="1145" y="2323"/>
                </a:cubicBezTo>
                <a:close/>
                <a:moveTo>
                  <a:pt x="2163" y="3373"/>
                </a:moveTo>
                <a:cubicBezTo>
                  <a:pt x="2163" y="4327"/>
                  <a:pt x="2163" y="4327"/>
                  <a:pt x="2163" y="4327"/>
                </a:cubicBezTo>
                <a:cubicBezTo>
                  <a:pt x="1814" y="4279"/>
                  <a:pt x="1511" y="3913"/>
                  <a:pt x="1320" y="3373"/>
                </a:cubicBezTo>
                <a:close/>
                <a:moveTo>
                  <a:pt x="2323" y="4327"/>
                </a:moveTo>
                <a:cubicBezTo>
                  <a:pt x="2323" y="3373"/>
                  <a:pt x="2323" y="3373"/>
                  <a:pt x="2323" y="3373"/>
                </a:cubicBezTo>
                <a:cubicBezTo>
                  <a:pt x="3166" y="3373"/>
                  <a:pt x="3166" y="3373"/>
                  <a:pt x="3166" y="3373"/>
                </a:cubicBezTo>
                <a:cubicBezTo>
                  <a:pt x="2975" y="3913"/>
                  <a:pt x="2672" y="4279"/>
                  <a:pt x="2323" y="4327"/>
                </a:cubicBezTo>
                <a:close/>
                <a:moveTo>
                  <a:pt x="2323" y="3214"/>
                </a:moveTo>
                <a:cubicBezTo>
                  <a:pt x="2323" y="2323"/>
                  <a:pt x="2323" y="2323"/>
                  <a:pt x="2323" y="2323"/>
                </a:cubicBezTo>
                <a:cubicBezTo>
                  <a:pt x="3341" y="2323"/>
                  <a:pt x="3341" y="2323"/>
                  <a:pt x="3341" y="2323"/>
                </a:cubicBezTo>
                <a:cubicBezTo>
                  <a:pt x="3324" y="2641"/>
                  <a:pt x="3293" y="2943"/>
                  <a:pt x="3213" y="3214"/>
                </a:cubicBezTo>
                <a:close/>
                <a:moveTo>
                  <a:pt x="3499" y="2323"/>
                </a:moveTo>
                <a:cubicBezTo>
                  <a:pt x="4327" y="2323"/>
                  <a:pt x="4327" y="2323"/>
                  <a:pt x="4327" y="2323"/>
                </a:cubicBezTo>
                <a:cubicBezTo>
                  <a:pt x="4311" y="2641"/>
                  <a:pt x="4231" y="2943"/>
                  <a:pt x="4088" y="3214"/>
                </a:cubicBezTo>
                <a:cubicBezTo>
                  <a:pt x="3372" y="3214"/>
                  <a:pt x="3372" y="3214"/>
                  <a:pt x="3372" y="3214"/>
                </a:cubicBezTo>
                <a:cubicBezTo>
                  <a:pt x="3452" y="2943"/>
                  <a:pt x="3484" y="2641"/>
                  <a:pt x="3499" y="2323"/>
                </a:cubicBezTo>
                <a:close/>
                <a:moveTo>
                  <a:pt x="3993" y="1114"/>
                </a:moveTo>
                <a:cubicBezTo>
                  <a:pt x="3324" y="1114"/>
                  <a:pt x="3324" y="1114"/>
                  <a:pt x="3324" y="1114"/>
                </a:cubicBezTo>
                <a:cubicBezTo>
                  <a:pt x="3213" y="732"/>
                  <a:pt x="3038" y="430"/>
                  <a:pt x="2815" y="239"/>
                </a:cubicBezTo>
                <a:cubicBezTo>
                  <a:pt x="3309" y="383"/>
                  <a:pt x="3722" y="701"/>
                  <a:pt x="3993" y="1114"/>
                </a:cubicBezTo>
                <a:close/>
                <a:moveTo>
                  <a:pt x="1670" y="239"/>
                </a:moveTo>
                <a:cubicBezTo>
                  <a:pt x="1448" y="430"/>
                  <a:pt x="1273" y="732"/>
                  <a:pt x="1161" y="1114"/>
                </a:cubicBezTo>
                <a:cubicBezTo>
                  <a:pt x="493" y="1114"/>
                  <a:pt x="493" y="1114"/>
                  <a:pt x="493" y="1114"/>
                </a:cubicBezTo>
                <a:cubicBezTo>
                  <a:pt x="764" y="701"/>
                  <a:pt x="1177" y="383"/>
                  <a:pt x="1670" y="239"/>
                </a:cubicBezTo>
                <a:close/>
                <a:moveTo>
                  <a:pt x="493" y="3373"/>
                </a:moveTo>
                <a:cubicBezTo>
                  <a:pt x="1161" y="3373"/>
                  <a:pt x="1161" y="3373"/>
                  <a:pt x="1161" y="3373"/>
                </a:cubicBezTo>
                <a:cubicBezTo>
                  <a:pt x="1273" y="3754"/>
                  <a:pt x="1463" y="4056"/>
                  <a:pt x="1670" y="4247"/>
                </a:cubicBezTo>
                <a:cubicBezTo>
                  <a:pt x="1177" y="4104"/>
                  <a:pt x="764" y="3786"/>
                  <a:pt x="493" y="3373"/>
                </a:cubicBezTo>
                <a:close/>
                <a:moveTo>
                  <a:pt x="2800" y="4247"/>
                </a:moveTo>
                <a:cubicBezTo>
                  <a:pt x="3022" y="4056"/>
                  <a:pt x="3197" y="3754"/>
                  <a:pt x="3324" y="3373"/>
                </a:cubicBezTo>
                <a:cubicBezTo>
                  <a:pt x="3993" y="3373"/>
                  <a:pt x="3993" y="3373"/>
                  <a:pt x="3993" y="3373"/>
                </a:cubicBezTo>
                <a:cubicBezTo>
                  <a:pt x="3722" y="3802"/>
                  <a:pt x="3293" y="4104"/>
                  <a:pt x="2800" y="424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7" name="Freeform: Shape 14">
            <a:extLst>
              <a:ext uri="{FF2B5EF4-FFF2-40B4-BE49-F238E27FC236}">
                <a16:creationId xmlns:a16="http://schemas.microsoft.com/office/drawing/2014/main" id="{95105955-F899-7D4D-AFEF-B4B5526FE3D4}"/>
              </a:ext>
            </a:extLst>
          </p:cNvPr>
          <p:cNvSpPr/>
          <p:nvPr/>
        </p:nvSpPr>
        <p:spPr>
          <a:xfrm>
            <a:off x="21514152" y="9789655"/>
            <a:ext cx="1230480" cy="1620000"/>
          </a:xfrm>
          <a:custGeom>
            <a:avLst/>
            <a:gdLst/>
            <a:ahLst/>
            <a:cxnLst>
              <a:cxn ang="3cd4">
                <a:pos x="hc" y="t"/>
              </a:cxn>
              <a:cxn ang="cd2">
                <a:pos x="l" y="vc"/>
              </a:cxn>
              <a:cxn ang="cd4">
                <a:pos x="hc" y="b"/>
              </a:cxn>
              <a:cxn ang="0">
                <a:pos x="r" y="vc"/>
              </a:cxn>
            </a:cxnLst>
            <a:rect l="l" t="t" r="r" b="b"/>
            <a:pathLst>
              <a:path w="3419" h="4501">
                <a:moveTo>
                  <a:pt x="1717" y="4501"/>
                </a:moveTo>
                <a:cubicBezTo>
                  <a:pt x="2656" y="4501"/>
                  <a:pt x="3419" y="3737"/>
                  <a:pt x="3419" y="2783"/>
                </a:cubicBezTo>
                <a:cubicBezTo>
                  <a:pt x="3419" y="2529"/>
                  <a:pt x="3356" y="2274"/>
                  <a:pt x="3261" y="2051"/>
                </a:cubicBezTo>
                <a:lnTo>
                  <a:pt x="3261" y="2003"/>
                </a:lnTo>
                <a:lnTo>
                  <a:pt x="3261" y="1542"/>
                </a:lnTo>
                <a:cubicBezTo>
                  <a:pt x="3261" y="699"/>
                  <a:pt x="2561" y="0"/>
                  <a:pt x="1717" y="0"/>
                </a:cubicBezTo>
                <a:cubicBezTo>
                  <a:pt x="859" y="0"/>
                  <a:pt x="159" y="699"/>
                  <a:pt x="159" y="1574"/>
                </a:cubicBezTo>
                <a:lnTo>
                  <a:pt x="159" y="2003"/>
                </a:lnTo>
                <a:lnTo>
                  <a:pt x="159" y="2051"/>
                </a:lnTo>
                <a:cubicBezTo>
                  <a:pt x="63" y="2274"/>
                  <a:pt x="0" y="2529"/>
                  <a:pt x="0" y="2783"/>
                </a:cubicBezTo>
                <a:cubicBezTo>
                  <a:pt x="0" y="3737"/>
                  <a:pt x="763" y="4501"/>
                  <a:pt x="1717" y="4501"/>
                </a:cubicBezTo>
                <a:close/>
                <a:moveTo>
                  <a:pt x="1717" y="4342"/>
                </a:moveTo>
                <a:cubicBezTo>
                  <a:pt x="859" y="4342"/>
                  <a:pt x="159" y="3642"/>
                  <a:pt x="159" y="2783"/>
                </a:cubicBezTo>
                <a:cubicBezTo>
                  <a:pt x="159" y="1924"/>
                  <a:pt x="859" y="1240"/>
                  <a:pt x="1717" y="1240"/>
                </a:cubicBezTo>
                <a:cubicBezTo>
                  <a:pt x="2561" y="1240"/>
                  <a:pt x="3261" y="1924"/>
                  <a:pt x="3261" y="2783"/>
                </a:cubicBezTo>
                <a:cubicBezTo>
                  <a:pt x="3261" y="3642"/>
                  <a:pt x="2561" y="4342"/>
                  <a:pt x="1717" y="4342"/>
                </a:cubicBezTo>
                <a:close/>
                <a:moveTo>
                  <a:pt x="318" y="1574"/>
                </a:moveTo>
                <a:cubicBezTo>
                  <a:pt x="318" y="795"/>
                  <a:pt x="938" y="158"/>
                  <a:pt x="1717" y="158"/>
                </a:cubicBezTo>
                <a:cubicBezTo>
                  <a:pt x="2481" y="158"/>
                  <a:pt x="3101" y="779"/>
                  <a:pt x="3101" y="1542"/>
                </a:cubicBezTo>
                <a:lnTo>
                  <a:pt x="3101" y="1797"/>
                </a:lnTo>
                <a:cubicBezTo>
                  <a:pt x="2799" y="1367"/>
                  <a:pt x="2290" y="1081"/>
                  <a:pt x="1717" y="1081"/>
                </a:cubicBezTo>
                <a:cubicBezTo>
                  <a:pt x="1129" y="1081"/>
                  <a:pt x="620" y="1367"/>
                  <a:pt x="318" y="1797"/>
                </a:cubicBezTo>
                <a:close/>
                <a:moveTo>
                  <a:pt x="1717" y="1479"/>
                </a:moveTo>
                <a:cubicBezTo>
                  <a:pt x="986" y="1479"/>
                  <a:pt x="413" y="2067"/>
                  <a:pt x="413" y="2783"/>
                </a:cubicBezTo>
                <a:cubicBezTo>
                  <a:pt x="413" y="3499"/>
                  <a:pt x="986" y="4087"/>
                  <a:pt x="1717" y="4087"/>
                </a:cubicBezTo>
                <a:cubicBezTo>
                  <a:pt x="2434" y="4087"/>
                  <a:pt x="3006" y="3499"/>
                  <a:pt x="3006" y="2783"/>
                </a:cubicBezTo>
                <a:cubicBezTo>
                  <a:pt x="3006" y="2067"/>
                  <a:pt x="2434" y="1479"/>
                  <a:pt x="1717" y="1479"/>
                </a:cubicBezTo>
                <a:close/>
                <a:moveTo>
                  <a:pt x="1717" y="3928"/>
                </a:moveTo>
                <a:cubicBezTo>
                  <a:pt x="1081" y="3928"/>
                  <a:pt x="572" y="3419"/>
                  <a:pt x="572" y="2783"/>
                </a:cubicBezTo>
                <a:cubicBezTo>
                  <a:pt x="572" y="2163"/>
                  <a:pt x="1081" y="1638"/>
                  <a:pt x="1717" y="1638"/>
                </a:cubicBezTo>
                <a:cubicBezTo>
                  <a:pt x="2338" y="1638"/>
                  <a:pt x="2847" y="2163"/>
                  <a:pt x="2847" y="2783"/>
                </a:cubicBezTo>
                <a:cubicBezTo>
                  <a:pt x="2847" y="3419"/>
                  <a:pt x="2338" y="3928"/>
                  <a:pt x="1717" y="3928"/>
                </a:cubicBezTo>
                <a:close/>
                <a:moveTo>
                  <a:pt x="2464" y="2258"/>
                </a:moveTo>
                <a:lnTo>
                  <a:pt x="2130" y="2338"/>
                </a:lnTo>
                <a:cubicBezTo>
                  <a:pt x="1939" y="2147"/>
                  <a:pt x="1637" y="2115"/>
                  <a:pt x="1398" y="2242"/>
                </a:cubicBezTo>
                <a:cubicBezTo>
                  <a:pt x="1255" y="2338"/>
                  <a:pt x="1144" y="2465"/>
                  <a:pt x="1112" y="2624"/>
                </a:cubicBezTo>
                <a:cubicBezTo>
                  <a:pt x="1064" y="2783"/>
                  <a:pt x="1080" y="2958"/>
                  <a:pt x="1176" y="3101"/>
                </a:cubicBezTo>
                <a:cubicBezTo>
                  <a:pt x="1287" y="3292"/>
                  <a:pt x="1494" y="3403"/>
                  <a:pt x="1716" y="3403"/>
                </a:cubicBezTo>
                <a:cubicBezTo>
                  <a:pt x="1812" y="3403"/>
                  <a:pt x="1924" y="3372"/>
                  <a:pt x="2019" y="3324"/>
                </a:cubicBezTo>
                <a:cubicBezTo>
                  <a:pt x="2273" y="3181"/>
                  <a:pt x="2385" y="2894"/>
                  <a:pt x="2305" y="2624"/>
                </a:cubicBezTo>
                <a:lnTo>
                  <a:pt x="2543" y="2385"/>
                </a:lnTo>
                <a:cubicBezTo>
                  <a:pt x="2560" y="2354"/>
                  <a:pt x="2560" y="2322"/>
                  <a:pt x="2543" y="2290"/>
                </a:cubicBezTo>
                <a:cubicBezTo>
                  <a:pt x="2528" y="2258"/>
                  <a:pt x="2496" y="2242"/>
                  <a:pt x="2464" y="2258"/>
                </a:cubicBezTo>
                <a:close/>
                <a:moveTo>
                  <a:pt x="2146" y="2640"/>
                </a:moveTo>
                <a:cubicBezTo>
                  <a:pt x="2225" y="2847"/>
                  <a:pt x="2130" y="3069"/>
                  <a:pt x="1939" y="3181"/>
                </a:cubicBezTo>
                <a:cubicBezTo>
                  <a:pt x="1716" y="3308"/>
                  <a:pt x="1430" y="3244"/>
                  <a:pt x="1303" y="3021"/>
                </a:cubicBezTo>
                <a:cubicBezTo>
                  <a:pt x="1239" y="2910"/>
                  <a:pt x="1224" y="2783"/>
                  <a:pt x="1255" y="2672"/>
                </a:cubicBezTo>
                <a:cubicBezTo>
                  <a:pt x="1287" y="2545"/>
                  <a:pt x="1367" y="2449"/>
                  <a:pt x="1478" y="2385"/>
                </a:cubicBezTo>
                <a:cubicBezTo>
                  <a:pt x="1558" y="2354"/>
                  <a:pt x="1637" y="2322"/>
                  <a:pt x="1716" y="2322"/>
                </a:cubicBezTo>
                <a:cubicBezTo>
                  <a:pt x="1828" y="2322"/>
                  <a:pt x="1955" y="2369"/>
                  <a:pt x="2051" y="2465"/>
                </a:cubicBezTo>
                <a:cubicBezTo>
                  <a:pt x="2067" y="2497"/>
                  <a:pt x="2098" y="2497"/>
                  <a:pt x="2130" y="2497"/>
                </a:cubicBezTo>
                <a:lnTo>
                  <a:pt x="2242" y="2465"/>
                </a:lnTo>
                <a:lnTo>
                  <a:pt x="2162" y="2560"/>
                </a:lnTo>
                <a:cubicBezTo>
                  <a:pt x="2146" y="2576"/>
                  <a:pt x="2130" y="2608"/>
                  <a:pt x="2146" y="26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8" name="Freeform: Shape 15">
            <a:extLst>
              <a:ext uri="{FF2B5EF4-FFF2-40B4-BE49-F238E27FC236}">
                <a16:creationId xmlns:a16="http://schemas.microsoft.com/office/drawing/2014/main" id="{F359BBAB-AAE8-4E4D-BC85-1853EFC99200}"/>
              </a:ext>
            </a:extLst>
          </p:cNvPr>
          <p:cNvSpPr/>
          <p:nvPr/>
        </p:nvSpPr>
        <p:spPr>
          <a:xfrm>
            <a:off x="21342570" y="3134773"/>
            <a:ext cx="1820519" cy="1484279"/>
          </a:xfrm>
          <a:custGeom>
            <a:avLst/>
            <a:gdLst/>
            <a:ahLst/>
            <a:cxnLst>
              <a:cxn ang="3cd4">
                <a:pos x="hc" y="t"/>
              </a:cxn>
              <a:cxn ang="cd2">
                <a:pos x="l" y="vc"/>
              </a:cxn>
              <a:cxn ang="cd4">
                <a:pos x="hc" y="b"/>
              </a:cxn>
              <a:cxn ang="0">
                <a:pos x="r" y="vc"/>
              </a:cxn>
            </a:cxnLst>
            <a:rect l="l" t="t" r="r" b="b"/>
            <a:pathLst>
              <a:path w="5058" h="4124">
                <a:moveTo>
                  <a:pt x="4485" y="83"/>
                </a:moveTo>
                <a:cubicBezTo>
                  <a:pt x="3674" y="910"/>
                  <a:pt x="3674" y="910"/>
                  <a:pt x="3674" y="910"/>
                </a:cubicBezTo>
                <a:cubicBezTo>
                  <a:pt x="3674" y="529"/>
                  <a:pt x="3674" y="529"/>
                  <a:pt x="3674" y="529"/>
                </a:cubicBezTo>
                <a:cubicBezTo>
                  <a:pt x="3674" y="481"/>
                  <a:pt x="3626" y="449"/>
                  <a:pt x="3595" y="449"/>
                </a:cubicBezTo>
                <a:cubicBezTo>
                  <a:pt x="79" y="449"/>
                  <a:pt x="79" y="449"/>
                  <a:pt x="79" y="449"/>
                </a:cubicBezTo>
                <a:cubicBezTo>
                  <a:pt x="48" y="449"/>
                  <a:pt x="0" y="481"/>
                  <a:pt x="0" y="529"/>
                </a:cubicBezTo>
                <a:cubicBezTo>
                  <a:pt x="0" y="4044"/>
                  <a:pt x="0" y="4044"/>
                  <a:pt x="0" y="4044"/>
                </a:cubicBezTo>
                <a:cubicBezTo>
                  <a:pt x="0" y="4076"/>
                  <a:pt x="48" y="4124"/>
                  <a:pt x="79" y="4124"/>
                </a:cubicBezTo>
                <a:cubicBezTo>
                  <a:pt x="3595" y="4124"/>
                  <a:pt x="3595" y="4124"/>
                  <a:pt x="3595" y="4124"/>
                </a:cubicBezTo>
                <a:cubicBezTo>
                  <a:pt x="3626" y="4124"/>
                  <a:pt x="3674" y="4076"/>
                  <a:pt x="3674" y="4044"/>
                </a:cubicBezTo>
                <a:cubicBezTo>
                  <a:pt x="3674" y="1849"/>
                  <a:pt x="3674" y="1849"/>
                  <a:pt x="3674" y="1849"/>
                </a:cubicBezTo>
                <a:cubicBezTo>
                  <a:pt x="4947" y="561"/>
                  <a:pt x="4947" y="561"/>
                  <a:pt x="4947" y="561"/>
                </a:cubicBezTo>
                <a:cubicBezTo>
                  <a:pt x="5010" y="497"/>
                  <a:pt x="5058" y="417"/>
                  <a:pt x="5058" y="322"/>
                </a:cubicBezTo>
                <a:cubicBezTo>
                  <a:pt x="5058" y="243"/>
                  <a:pt x="5010" y="147"/>
                  <a:pt x="4947" y="83"/>
                </a:cubicBezTo>
                <a:cubicBezTo>
                  <a:pt x="4835" y="-28"/>
                  <a:pt x="4613" y="-28"/>
                  <a:pt x="4485" y="83"/>
                </a:cubicBezTo>
                <a:close/>
                <a:moveTo>
                  <a:pt x="3515" y="3964"/>
                </a:moveTo>
                <a:cubicBezTo>
                  <a:pt x="159" y="3964"/>
                  <a:pt x="159" y="3964"/>
                  <a:pt x="159" y="3964"/>
                </a:cubicBezTo>
                <a:cubicBezTo>
                  <a:pt x="159" y="608"/>
                  <a:pt x="159" y="608"/>
                  <a:pt x="159" y="608"/>
                </a:cubicBezTo>
                <a:cubicBezTo>
                  <a:pt x="3515" y="608"/>
                  <a:pt x="3515" y="608"/>
                  <a:pt x="3515" y="608"/>
                </a:cubicBezTo>
                <a:cubicBezTo>
                  <a:pt x="3515" y="1070"/>
                  <a:pt x="3515" y="1070"/>
                  <a:pt x="3515" y="1070"/>
                </a:cubicBezTo>
                <a:cubicBezTo>
                  <a:pt x="2004" y="2565"/>
                  <a:pt x="2004" y="2565"/>
                  <a:pt x="2004" y="2565"/>
                </a:cubicBezTo>
                <a:cubicBezTo>
                  <a:pt x="986" y="1547"/>
                  <a:pt x="986" y="1547"/>
                  <a:pt x="986" y="1547"/>
                </a:cubicBezTo>
                <a:cubicBezTo>
                  <a:pt x="859" y="1419"/>
                  <a:pt x="652" y="1419"/>
                  <a:pt x="525" y="1547"/>
                </a:cubicBezTo>
                <a:cubicBezTo>
                  <a:pt x="381" y="1674"/>
                  <a:pt x="397" y="1897"/>
                  <a:pt x="525" y="2024"/>
                </a:cubicBezTo>
                <a:cubicBezTo>
                  <a:pt x="1956" y="3455"/>
                  <a:pt x="1956" y="3455"/>
                  <a:pt x="1956" y="3455"/>
                </a:cubicBezTo>
                <a:cubicBezTo>
                  <a:pt x="1972" y="3471"/>
                  <a:pt x="1988" y="3471"/>
                  <a:pt x="2020" y="3471"/>
                </a:cubicBezTo>
                <a:cubicBezTo>
                  <a:pt x="2036" y="3471"/>
                  <a:pt x="2051" y="3471"/>
                  <a:pt x="2068" y="3455"/>
                </a:cubicBezTo>
                <a:cubicBezTo>
                  <a:pt x="2259" y="3264"/>
                  <a:pt x="2259" y="3264"/>
                  <a:pt x="2259" y="3264"/>
                </a:cubicBezTo>
                <a:cubicBezTo>
                  <a:pt x="3515" y="2008"/>
                  <a:pt x="3515" y="2008"/>
                  <a:pt x="3515" y="2008"/>
                </a:cubicBezTo>
                <a:close/>
                <a:moveTo>
                  <a:pt x="4835" y="449"/>
                </a:moveTo>
                <a:cubicBezTo>
                  <a:pt x="3531" y="1753"/>
                  <a:pt x="3531" y="1753"/>
                  <a:pt x="3531" y="1753"/>
                </a:cubicBezTo>
                <a:cubicBezTo>
                  <a:pt x="2147" y="3153"/>
                  <a:pt x="2147" y="3153"/>
                  <a:pt x="2147" y="3153"/>
                </a:cubicBezTo>
                <a:cubicBezTo>
                  <a:pt x="2020" y="3280"/>
                  <a:pt x="2020" y="3280"/>
                  <a:pt x="2020" y="3280"/>
                </a:cubicBezTo>
                <a:cubicBezTo>
                  <a:pt x="636" y="1913"/>
                  <a:pt x="636" y="1913"/>
                  <a:pt x="636" y="1913"/>
                </a:cubicBezTo>
                <a:cubicBezTo>
                  <a:pt x="557" y="1833"/>
                  <a:pt x="557" y="1722"/>
                  <a:pt x="636" y="1658"/>
                </a:cubicBezTo>
                <a:cubicBezTo>
                  <a:pt x="668" y="1626"/>
                  <a:pt x="715" y="1610"/>
                  <a:pt x="763" y="1610"/>
                </a:cubicBezTo>
                <a:cubicBezTo>
                  <a:pt x="795" y="1610"/>
                  <a:pt x="843" y="1626"/>
                  <a:pt x="875" y="1658"/>
                </a:cubicBezTo>
                <a:cubicBezTo>
                  <a:pt x="1956" y="2724"/>
                  <a:pt x="1956" y="2724"/>
                  <a:pt x="1956" y="2724"/>
                </a:cubicBezTo>
                <a:cubicBezTo>
                  <a:pt x="1988" y="2755"/>
                  <a:pt x="2036" y="2755"/>
                  <a:pt x="2068" y="2724"/>
                </a:cubicBezTo>
                <a:cubicBezTo>
                  <a:pt x="4596" y="210"/>
                  <a:pt x="4596" y="210"/>
                  <a:pt x="4596" y="210"/>
                </a:cubicBezTo>
                <a:cubicBezTo>
                  <a:pt x="4660" y="131"/>
                  <a:pt x="4771" y="131"/>
                  <a:pt x="4835" y="210"/>
                </a:cubicBezTo>
                <a:cubicBezTo>
                  <a:pt x="4883" y="243"/>
                  <a:pt x="4899" y="274"/>
                  <a:pt x="4899" y="322"/>
                </a:cubicBezTo>
                <a:cubicBezTo>
                  <a:pt x="4899" y="370"/>
                  <a:pt x="4883" y="417"/>
                  <a:pt x="4835" y="44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9" name="Freeform: Shape 16">
            <a:extLst>
              <a:ext uri="{FF2B5EF4-FFF2-40B4-BE49-F238E27FC236}">
                <a16:creationId xmlns:a16="http://schemas.microsoft.com/office/drawing/2014/main" id="{2D26900F-171C-C040-9EED-987C3589DEC5}"/>
              </a:ext>
            </a:extLst>
          </p:cNvPr>
          <p:cNvSpPr/>
          <p:nvPr/>
        </p:nvSpPr>
        <p:spPr>
          <a:xfrm>
            <a:off x="5947069" y="6473951"/>
            <a:ext cx="1706040" cy="1568519"/>
          </a:xfrm>
          <a:custGeom>
            <a:avLst/>
            <a:gdLst/>
            <a:ahLst/>
            <a:cxnLst>
              <a:cxn ang="3cd4">
                <a:pos x="hc" y="t"/>
              </a:cxn>
              <a:cxn ang="cd2">
                <a:pos x="l" y="vc"/>
              </a:cxn>
              <a:cxn ang="cd4">
                <a:pos x="hc" y="b"/>
              </a:cxn>
              <a:cxn ang="0">
                <a:pos x="r" y="vc"/>
              </a:cxn>
            </a:cxnLst>
            <a:rect l="l" t="t" r="r" b="b"/>
            <a:pathLst>
              <a:path w="4740" h="4358">
                <a:moveTo>
                  <a:pt x="1687" y="3149"/>
                </a:moveTo>
                <a:cubicBezTo>
                  <a:pt x="1877" y="3292"/>
                  <a:pt x="2100" y="3388"/>
                  <a:pt x="2323" y="3420"/>
                </a:cubicBezTo>
                <a:lnTo>
                  <a:pt x="2323" y="3801"/>
                </a:lnTo>
                <a:cubicBezTo>
                  <a:pt x="2323" y="3849"/>
                  <a:pt x="2354" y="3881"/>
                  <a:pt x="2402" y="3881"/>
                </a:cubicBezTo>
                <a:cubicBezTo>
                  <a:pt x="2450" y="3881"/>
                  <a:pt x="2482" y="3849"/>
                  <a:pt x="2482" y="3801"/>
                </a:cubicBezTo>
                <a:lnTo>
                  <a:pt x="2482" y="3420"/>
                </a:lnTo>
                <a:cubicBezTo>
                  <a:pt x="2720" y="3420"/>
                  <a:pt x="2991" y="3276"/>
                  <a:pt x="3070" y="3006"/>
                </a:cubicBezTo>
                <a:cubicBezTo>
                  <a:pt x="3070" y="2990"/>
                  <a:pt x="3070" y="2974"/>
                  <a:pt x="3086" y="2958"/>
                </a:cubicBezTo>
                <a:cubicBezTo>
                  <a:pt x="3102" y="2783"/>
                  <a:pt x="3054" y="2640"/>
                  <a:pt x="2943" y="2545"/>
                </a:cubicBezTo>
                <a:cubicBezTo>
                  <a:pt x="2879" y="2481"/>
                  <a:pt x="2800" y="2449"/>
                  <a:pt x="2720" y="2417"/>
                </a:cubicBezTo>
                <a:cubicBezTo>
                  <a:pt x="2625" y="2385"/>
                  <a:pt x="2529" y="2354"/>
                  <a:pt x="2434" y="2322"/>
                </a:cubicBezTo>
                <a:cubicBezTo>
                  <a:pt x="2339" y="2290"/>
                  <a:pt x="2243" y="2258"/>
                  <a:pt x="2148" y="2227"/>
                </a:cubicBezTo>
                <a:cubicBezTo>
                  <a:pt x="2052" y="2179"/>
                  <a:pt x="1988" y="2131"/>
                  <a:pt x="1957" y="2067"/>
                </a:cubicBezTo>
                <a:cubicBezTo>
                  <a:pt x="1909" y="1972"/>
                  <a:pt x="1925" y="1845"/>
                  <a:pt x="2005" y="1749"/>
                </a:cubicBezTo>
                <a:cubicBezTo>
                  <a:pt x="2132" y="1606"/>
                  <a:pt x="2386" y="1606"/>
                  <a:pt x="2514" y="1622"/>
                </a:cubicBezTo>
                <a:cubicBezTo>
                  <a:pt x="2752" y="1654"/>
                  <a:pt x="2927" y="1765"/>
                  <a:pt x="2927" y="1781"/>
                </a:cubicBezTo>
                <a:cubicBezTo>
                  <a:pt x="2959" y="1797"/>
                  <a:pt x="3006" y="1797"/>
                  <a:pt x="3038" y="1765"/>
                </a:cubicBezTo>
                <a:cubicBezTo>
                  <a:pt x="3054" y="1718"/>
                  <a:pt x="3054" y="1670"/>
                  <a:pt x="3023" y="1654"/>
                </a:cubicBezTo>
                <a:cubicBezTo>
                  <a:pt x="3006" y="1638"/>
                  <a:pt x="2816" y="1495"/>
                  <a:pt x="2529" y="1463"/>
                </a:cubicBezTo>
                <a:lnTo>
                  <a:pt x="2482" y="1463"/>
                </a:lnTo>
                <a:lnTo>
                  <a:pt x="2482" y="1081"/>
                </a:lnTo>
                <a:cubicBezTo>
                  <a:pt x="2482" y="1033"/>
                  <a:pt x="2450" y="1002"/>
                  <a:pt x="2402" y="1002"/>
                </a:cubicBezTo>
                <a:cubicBezTo>
                  <a:pt x="2354" y="1002"/>
                  <a:pt x="2323" y="1033"/>
                  <a:pt x="2323" y="1081"/>
                </a:cubicBezTo>
                <a:lnTo>
                  <a:pt x="2323" y="1463"/>
                </a:lnTo>
                <a:cubicBezTo>
                  <a:pt x="2132" y="1479"/>
                  <a:pt x="1988" y="1542"/>
                  <a:pt x="1877" y="1654"/>
                </a:cubicBezTo>
                <a:cubicBezTo>
                  <a:pt x="1766" y="1781"/>
                  <a:pt x="1734" y="1972"/>
                  <a:pt x="1814" y="2131"/>
                </a:cubicBezTo>
                <a:cubicBezTo>
                  <a:pt x="1877" y="2274"/>
                  <a:pt x="2005" y="2338"/>
                  <a:pt x="2084" y="2370"/>
                </a:cubicBezTo>
                <a:cubicBezTo>
                  <a:pt x="2179" y="2417"/>
                  <a:pt x="2291" y="2449"/>
                  <a:pt x="2386" y="2465"/>
                </a:cubicBezTo>
                <a:cubicBezTo>
                  <a:pt x="2482" y="2497"/>
                  <a:pt x="2577" y="2529"/>
                  <a:pt x="2657" y="2560"/>
                </a:cubicBezTo>
                <a:cubicBezTo>
                  <a:pt x="2720" y="2592"/>
                  <a:pt x="2784" y="2624"/>
                  <a:pt x="2848" y="2672"/>
                </a:cubicBezTo>
                <a:cubicBezTo>
                  <a:pt x="2911" y="2720"/>
                  <a:pt x="2943" y="2815"/>
                  <a:pt x="2927" y="2926"/>
                </a:cubicBezTo>
                <a:cubicBezTo>
                  <a:pt x="2927" y="2942"/>
                  <a:pt x="2911" y="2958"/>
                  <a:pt x="2911" y="2974"/>
                </a:cubicBezTo>
                <a:cubicBezTo>
                  <a:pt x="2863" y="3165"/>
                  <a:pt x="2657" y="3260"/>
                  <a:pt x="2482" y="3260"/>
                </a:cubicBezTo>
                <a:cubicBezTo>
                  <a:pt x="2227" y="3276"/>
                  <a:pt x="1988" y="3181"/>
                  <a:pt x="1782" y="3022"/>
                </a:cubicBezTo>
                <a:cubicBezTo>
                  <a:pt x="1750" y="2990"/>
                  <a:pt x="1702" y="3006"/>
                  <a:pt x="1670" y="3038"/>
                </a:cubicBezTo>
                <a:cubicBezTo>
                  <a:pt x="1655" y="3069"/>
                  <a:pt x="1655" y="3117"/>
                  <a:pt x="1687" y="3149"/>
                </a:cubicBezTo>
                <a:close/>
                <a:moveTo>
                  <a:pt x="494" y="4358"/>
                </a:moveTo>
                <a:lnTo>
                  <a:pt x="4247" y="4358"/>
                </a:lnTo>
                <a:cubicBezTo>
                  <a:pt x="4518" y="4358"/>
                  <a:pt x="4740" y="4151"/>
                  <a:pt x="4740" y="3881"/>
                </a:cubicBezTo>
                <a:lnTo>
                  <a:pt x="4740" y="1002"/>
                </a:lnTo>
                <a:cubicBezTo>
                  <a:pt x="4740" y="731"/>
                  <a:pt x="4518" y="524"/>
                  <a:pt x="4247" y="524"/>
                </a:cubicBezTo>
                <a:lnTo>
                  <a:pt x="3277" y="524"/>
                </a:lnTo>
                <a:lnTo>
                  <a:pt x="3277" y="238"/>
                </a:lnTo>
                <a:cubicBezTo>
                  <a:pt x="3277" y="111"/>
                  <a:pt x="3166" y="0"/>
                  <a:pt x="3038" y="0"/>
                </a:cubicBezTo>
                <a:lnTo>
                  <a:pt x="1702" y="0"/>
                </a:lnTo>
                <a:cubicBezTo>
                  <a:pt x="1575" y="0"/>
                  <a:pt x="1464" y="111"/>
                  <a:pt x="1464" y="238"/>
                </a:cubicBezTo>
                <a:lnTo>
                  <a:pt x="1464" y="524"/>
                </a:lnTo>
                <a:lnTo>
                  <a:pt x="494" y="524"/>
                </a:lnTo>
                <a:cubicBezTo>
                  <a:pt x="223" y="524"/>
                  <a:pt x="0" y="731"/>
                  <a:pt x="0" y="1002"/>
                </a:cubicBezTo>
                <a:lnTo>
                  <a:pt x="0" y="3881"/>
                </a:lnTo>
                <a:cubicBezTo>
                  <a:pt x="0" y="4151"/>
                  <a:pt x="223" y="4358"/>
                  <a:pt x="494" y="4358"/>
                </a:cubicBezTo>
                <a:close/>
                <a:moveTo>
                  <a:pt x="1623" y="238"/>
                </a:moveTo>
                <a:cubicBezTo>
                  <a:pt x="1623" y="191"/>
                  <a:pt x="1655" y="159"/>
                  <a:pt x="1702" y="159"/>
                </a:cubicBezTo>
                <a:lnTo>
                  <a:pt x="3038" y="159"/>
                </a:lnTo>
                <a:cubicBezTo>
                  <a:pt x="3086" y="159"/>
                  <a:pt x="3118" y="191"/>
                  <a:pt x="3118" y="238"/>
                </a:cubicBezTo>
                <a:lnTo>
                  <a:pt x="3118" y="524"/>
                </a:lnTo>
                <a:lnTo>
                  <a:pt x="1623" y="524"/>
                </a:lnTo>
                <a:close/>
                <a:moveTo>
                  <a:pt x="160" y="1002"/>
                </a:moveTo>
                <a:cubicBezTo>
                  <a:pt x="160" y="827"/>
                  <a:pt x="303" y="684"/>
                  <a:pt x="494" y="684"/>
                </a:cubicBezTo>
                <a:lnTo>
                  <a:pt x="4247" y="684"/>
                </a:lnTo>
                <a:cubicBezTo>
                  <a:pt x="4422" y="684"/>
                  <a:pt x="4581" y="827"/>
                  <a:pt x="4581" y="1002"/>
                </a:cubicBezTo>
                <a:lnTo>
                  <a:pt x="4581" y="3881"/>
                </a:lnTo>
                <a:cubicBezTo>
                  <a:pt x="4581" y="4056"/>
                  <a:pt x="4422" y="4199"/>
                  <a:pt x="4247" y="4199"/>
                </a:cubicBezTo>
                <a:lnTo>
                  <a:pt x="494" y="4199"/>
                </a:lnTo>
                <a:cubicBezTo>
                  <a:pt x="303" y="4199"/>
                  <a:pt x="160" y="4056"/>
                  <a:pt x="160" y="388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0" name="Freeform: Shape 30">
            <a:extLst>
              <a:ext uri="{FF2B5EF4-FFF2-40B4-BE49-F238E27FC236}">
                <a16:creationId xmlns:a16="http://schemas.microsoft.com/office/drawing/2014/main" id="{3DEADFA2-1EF2-E840-ADE8-14C2D9B737F0}"/>
              </a:ext>
            </a:extLst>
          </p:cNvPr>
          <p:cNvSpPr/>
          <p:nvPr/>
        </p:nvSpPr>
        <p:spPr>
          <a:xfrm>
            <a:off x="17018850" y="9607495"/>
            <a:ext cx="2375640" cy="1921680"/>
          </a:xfrm>
          <a:custGeom>
            <a:avLst/>
            <a:gdLst/>
            <a:ahLst/>
            <a:cxnLst>
              <a:cxn ang="3cd4">
                <a:pos x="hc" y="t"/>
              </a:cxn>
              <a:cxn ang="cd2">
                <a:pos x="l" y="vc"/>
              </a:cxn>
              <a:cxn ang="cd4">
                <a:pos x="hc" y="b"/>
              </a:cxn>
              <a:cxn ang="0">
                <a:pos x="r" y="vc"/>
              </a:cxn>
            </a:cxnLst>
            <a:rect l="l" t="t" r="r" b="b"/>
            <a:pathLst>
              <a:path w="6600" h="5339">
                <a:moveTo>
                  <a:pt x="6422" y="2248"/>
                </a:moveTo>
                <a:cubicBezTo>
                  <a:pt x="6535" y="2022"/>
                  <a:pt x="6600" y="1779"/>
                  <a:pt x="6600" y="1521"/>
                </a:cubicBezTo>
                <a:cubicBezTo>
                  <a:pt x="6600" y="679"/>
                  <a:pt x="5920" y="0"/>
                  <a:pt x="5095" y="0"/>
                </a:cubicBezTo>
                <a:cubicBezTo>
                  <a:pt x="4271" y="0"/>
                  <a:pt x="3607" y="647"/>
                  <a:pt x="3575" y="1456"/>
                </a:cubicBezTo>
                <a:cubicBezTo>
                  <a:pt x="3494" y="1423"/>
                  <a:pt x="3521" y="1434"/>
                  <a:pt x="3494" y="1423"/>
                </a:cubicBezTo>
                <a:lnTo>
                  <a:pt x="3494" y="258"/>
                </a:lnTo>
                <a:cubicBezTo>
                  <a:pt x="3494" y="113"/>
                  <a:pt x="3381" y="0"/>
                  <a:pt x="3235" y="0"/>
                </a:cubicBezTo>
                <a:lnTo>
                  <a:pt x="275" y="0"/>
                </a:lnTo>
                <a:cubicBezTo>
                  <a:pt x="129" y="0"/>
                  <a:pt x="0" y="113"/>
                  <a:pt x="0" y="258"/>
                </a:cubicBezTo>
                <a:lnTo>
                  <a:pt x="0" y="2200"/>
                </a:lnTo>
                <a:cubicBezTo>
                  <a:pt x="0" y="2346"/>
                  <a:pt x="129" y="2459"/>
                  <a:pt x="275" y="2459"/>
                </a:cubicBezTo>
                <a:lnTo>
                  <a:pt x="1310" y="2459"/>
                </a:lnTo>
                <a:lnTo>
                  <a:pt x="1197" y="2944"/>
                </a:lnTo>
                <a:cubicBezTo>
                  <a:pt x="1197" y="2960"/>
                  <a:pt x="1197" y="2993"/>
                  <a:pt x="1213" y="3009"/>
                </a:cubicBezTo>
                <a:cubicBezTo>
                  <a:pt x="1229" y="3025"/>
                  <a:pt x="1261" y="3041"/>
                  <a:pt x="1277" y="3041"/>
                </a:cubicBezTo>
                <a:lnTo>
                  <a:pt x="1682" y="3041"/>
                </a:lnTo>
                <a:cubicBezTo>
                  <a:pt x="1973" y="4012"/>
                  <a:pt x="2507" y="4788"/>
                  <a:pt x="3235" y="5323"/>
                </a:cubicBezTo>
                <a:cubicBezTo>
                  <a:pt x="3251" y="5339"/>
                  <a:pt x="3267" y="5339"/>
                  <a:pt x="3283" y="5339"/>
                </a:cubicBezTo>
                <a:cubicBezTo>
                  <a:pt x="3300" y="5339"/>
                  <a:pt x="3316" y="5339"/>
                  <a:pt x="3332" y="5323"/>
                </a:cubicBezTo>
                <a:cubicBezTo>
                  <a:pt x="4076" y="4788"/>
                  <a:pt x="4610" y="3996"/>
                  <a:pt x="4901" y="3025"/>
                </a:cubicBezTo>
                <a:lnTo>
                  <a:pt x="5095" y="3025"/>
                </a:lnTo>
                <a:cubicBezTo>
                  <a:pt x="5646" y="3025"/>
                  <a:pt x="6147" y="2717"/>
                  <a:pt x="6406" y="2264"/>
                </a:cubicBezTo>
                <a:cubicBezTo>
                  <a:pt x="6411" y="2259"/>
                  <a:pt x="6406" y="2248"/>
                  <a:pt x="6422" y="2248"/>
                </a:cubicBezTo>
                <a:close/>
                <a:moveTo>
                  <a:pt x="3882" y="905"/>
                </a:moveTo>
                <a:lnTo>
                  <a:pt x="4303" y="905"/>
                </a:lnTo>
                <a:cubicBezTo>
                  <a:pt x="4254" y="1068"/>
                  <a:pt x="4238" y="1246"/>
                  <a:pt x="4238" y="1440"/>
                </a:cubicBezTo>
                <a:lnTo>
                  <a:pt x="3736" y="1440"/>
                </a:lnTo>
                <a:cubicBezTo>
                  <a:pt x="3753" y="1246"/>
                  <a:pt x="3801" y="1068"/>
                  <a:pt x="3882" y="905"/>
                </a:cubicBezTo>
                <a:close/>
                <a:moveTo>
                  <a:pt x="6438" y="1440"/>
                </a:moveTo>
                <a:lnTo>
                  <a:pt x="5953" y="1440"/>
                </a:lnTo>
                <a:cubicBezTo>
                  <a:pt x="5937" y="1246"/>
                  <a:pt x="5920" y="1068"/>
                  <a:pt x="5872" y="905"/>
                </a:cubicBezTo>
                <a:lnTo>
                  <a:pt x="6293" y="905"/>
                </a:lnTo>
                <a:cubicBezTo>
                  <a:pt x="6373" y="1068"/>
                  <a:pt x="6422" y="1246"/>
                  <a:pt x="6438" y="1440"/>
                </a:cubicBezTo>
                <a:close/>
                <a:moveTo>
                  <a:pt x="5791" y="1440"/>
                </a:moveTo>
                <a:lnTo>
                  <a:pt x="5177" y="1440"/>
                </a:lnTo>
                <a:lnTo>
                  <a:pt x="5177" y="905"/>
                </a:lnTo>
                <a:lnTo>
                  <a:pt x="5710" y="905"/>
                </a:lnTo>
                <a:cubicBezTo>
                  <a:pt x="5742" y="1068"/>
                  <a:pt x="5775" y="1246"/>
                  <a:pt x="5791" y="1440"/>
                </a:cubicBezTo>
                <a:close/>
                <a:moveTo>
                  <a:pt x="5177" y="744"/>
                </a:moveTo>
                <a:cubicBezTo>
                  <a:pt x="5177" y="178"/>
                  <a:pt x="5177" y="367"/>
                  <a:pt x="5177" y="178"/>
                </a:cubicBezTo>
                <a:cubicBezTo>
                  <a:pt x="5371" y="226"/>
                  <a:pt x="5548" y="436"/>
                  <a:pt x="5662" y="744"/>
                </a:cubicBezTo>
                <a:close/>
                <a:moveTo>
                  <a:pt x="5015" y="178"/>
                </a:moveTo>
                <a:cubicBezTo>
                  <a:pt x="5015" y="744"/>
                  <a:pt x="5015" y="555"/>
                  <a:pt x="5015" y="744"/>
                </a:cubicBezTo>
                <a:lnTo>
                  <a:pt x="4513" y="744"/>
                </a:lnTo>
                <a:cubicBezTo>
                  <a:pt x="4626" y="436"/>
                  <a:pt x="4804" y="226"/>
                  <a:pt x="5015" y="178"/>
                </a:cubicBezTo>
                <a:close/>
                <a:moveTo>
                  <a:pt x="5015" y="905"/>
                </a:moveTo>
                <a:lnTo>
                  <a:pt x="5015" y="1440"/>
                </a:lnTo>
                <a:cubicBezTo>
                  <a:pt x="4400" y="1440"/>
                  <a:pt x="4605" y="1440"/>
                  <a:pt x="4400" y="1440"/>
                </a:cubicBezTo>
                <a:cubicBezTo>
                  <a:pt x="4400" y="1246"/>
                  <a:pt x="4432" y="1068"/>
                  <a:pt x="4465" y="905"/>
                </a:cubicBezTo>
                <a:close/>
                <a:moveTo>
                  <a:pt x="4238" y="1601"/>
                </a:moveTo>
                <a:lnTo>
                  <a:pt x="4238" y="1715"/>
                </a:lnTo>
                <a:lnTo>
                  <a:pt x="3930" y="1601"/>
                </a:lnTo>
                <a:close/>
                <a:moveTo>
                  <a:pt x="4400" y="1779"/>
                </a:moveTo>
                <a:cubicBezTo>
                  <a:pt x="4400" y="1715"/>
                  <a:pt x="4400" y="1666"/>
                  <a:pt x="4383" y="1601"/>
                </a:cubicBezTo>
                <a:lnTo>
                  <a:pt x="5015" y="1601"/>
                </a:lnTo>
                <a:lnTo>
                  <a:pt x="5015" y="2022"/>
                </a:lnTo>
                <a:close/>
                <a:moveTo>
                  <a:pt x="5015" y="2572"/>
                </a:moveTo>
                <a:lnTo>
                  <a:pt x="5015" y="2863"/>
                </a:lnTo>
                <a:cubicBezTo>
                  <a:pt x="4982" y="2847"/>
                  <a:pt x="4966" y="2847"/>
                  <a:pt x="4950" y="2847"/>
                </a:cubicBezTo>
                <a:cubicBezTo>
                  <a:pt x="4966" y="2750"/>
                  <a:pt x="4982" y="2669"/>
                  <a:pt x="5015" y="2572"/>
                </a:cubicBezTo>
                <a:close/>
                <a:moveTo>
                  <a:pt x="5177" y="2863"/>
                </a:moveTo>
                <a:cubicBezTo>
                  <a:pt x="5177" y="2297"/>
                  <a:pt x="5177" y="2486"/>
                  <a:pt x="5177" y="2297"/>
                </a:cubicBezTo>
                <a:lnTo>
                  <a:pt x="5646" y="2297"/>
                </a:lnTo>
                <a:cubicBezTo>
                  <a:pt x="5548" y="2605"/>
                  <a:pt x="5371" y="2815"/>
                  <a:pt x="5177" y="2863"/>
                </a:cubicBezTo>
                <a:close/>
                <a:moveTo>
                  <a:pt x="5177" y="2135"/>
                </a:moveTo>
                <a:lnTo>
                  <a:pt x="5177" y="1601"/>
                </a:lnTo>
                <a:lnTo>
                  <a:pt x="5791" y="1601"/>
                </a:lnTo>
                <a:cubicBezTo>
                  <a:pt x="5775" y="1795"/>
                  <a:pt x="5742" y="1974"/>
                  <a:pt x="5710" y="2135"/>
                </a:cubicBezTo>
                <a:close/>
                <a:moveTo>
                  <a:pt x="5953" y="1601"/>
                </a:moveTo>
                <a:lnTo>
                  <a:pt x="6438" y="1601"/>
                </a:lnTo>
                <a:cubicBezTo>
                  <a:pt x="6422" y="1795"/>
                  <a:pt x="6373" y="1974"/>
                  <a:pt x="6293" y="2135"/>
                </a:cubicBezTo>
                <a:lnTo>
                  <a:pt x="5872" y="2135"/>
                </a:lnTo>
                <a:cubicBezTo>
                  <a:pt x="5920" y="1974"/>
                  <a:pt x="5937" y="1795"/>
                  <a:pt x="5953" y="1601"/>
                </a:cubicBezTo>
                <a:close/>
                <a:moveTo>
                  <a:pt x="6195" y="744"/>
                </a:moveTo>
                <a:lnTo>
                  <a:pt x="5824" y="744"/>
                </a:lnTo>
                <a:cubicBezTo>
                  <a:pt x="5759" y="550"/>
                  <a:pt x="5678" y="372"/>
                  <a:pt x="5565" y="242"/>
                </a:cubicBezTo>
                <a:cubicBezTo>
                  <a:pt x="5824" y="340"/>
                  <a:pt x="6034" y="517"/>
                  <a:pt x="6195" y="744"/>
                </a:cubicBezTo>
                <a:close/>
                <a:moveTo>
                  <a:pt x="4610" y="242"/>
                </a:moveTo>
                <a:cubicBezTo>
                  <a:pt x="4497" y="372"/>
                  <a:pt x="4416" y="550"/>
                  <a:pt x="4351" y="744"/>
                </a:cubicBezTo>
                <a:lnTo>
                  <a:pt x="3979" y="744"/>
                </a:lnTo>
                <a:cubicBezTo>
                  <a:pt x="4141" y="517"/>
                  <a:pt x="4351" y="340"/>
                  <a:pt x="4610" y="242"/>
                </a:cubicBezTo>
                <a:close/>
                <a:moveTo>
                  <a:pt x="275" y="162"/>
                </a:moveTo>
                <a:lnTo>
                  <a:pt x="3235" y="162"/>
                </a:lnTo>
                <a:cubicBezTo>
                  <a:pt x="3283" y="162"/>
                  <a:pt x="3332" y="210"/>
                  <a:pt x="3332" y="258"/>
                </a:cubicBezTo>
                <a:lnTo>
                  <a:pt x="3332" y="1358"/>
                </a:lnTo>
                <a:cubicBezTo>
                  <a:pt x="3316" y="1342"/>
                  <a:pt x="3321" y="1347"/>
                  <a:pt x="3316" y="1342"/>
                </a:cubicBezTo>
                <a:lnTo>
                  <a:pt x="3251" y="1342"/>
                </a:lnTo>
                <a:lnTo>
                  <a:pt x="2022" y="1844"/>
                </a:lnTo>
                <a:cubicBezTo>
                  <a:pt x="161" y="1844"/>
                  <a:pt x="781" y="1844"/>
                  <a:pt x="161" y="1844"/>
                </a:cubicBezTo>
                <a:lnTo>
                  <a:pt x="161" y="258"/>
                </a:lnTo>
                <a:cubicBezTo>
                  <a:pt x="161" y="210"/>
                  <a:pt x="210" y="162"/>
                  <a:pt x="275" y="162"/>
                </a:cubicBezTo>
                <a:close/>
                <a:moveTo>
                  <a:pt x="161" y="2200"/>
                </a:moveTo>
                <a:cubicBezTo>
                  <a:pt x="161" y="2006"/>
                  <a:pt x="161" y="2071"/>
                  <a:pt x="161" y="2006"/>
                </a:cubicBezTo>
                <a:cubicBezTo>
                  <a:pt x="1617" y="2006"/>
                  <a:pt x="1132" y="2006"/>
                  <a:pt x="1617" y="2006"/>
                </a:cubicBezTo>
                <a:lnTo>
                  <a:pt x="1536" y="2038"/>
                </a:lnTo>
                <a:cubicBezTo>
                  <a:pt x="1504" y="2054"/>
                  <a:pt x="1471" y="2087"/>
                  <a:pt x="1488" y="2119"/>
                </a:cubicBezTo>
                <a:cubicBezTo>
                  <a:pt x="1488" y="2184"/>
                  <a:pt x="1504" y="2248"/>
                  <a:pt x="1504" y="2297"/>
                </a:cubicBezTo>
                <a:lnTo>
                  <a:pt x="1407" y="2297"/>
                </a:lnTo>
                <a:lnTo>
                  <a:pt x="275" y="2297"/>
                </a:lnTo>
                <a:cubicBezTo>
                  <a:pt x="210" y="2297"/>
                  <a:pt x="161" y="2248"/>
                  <a:pt x="161" y="2200"/>
                </a:cubicBezTo>
                <a:close/>
                <a:moveTo>
                  <a:pt x="1375" y="2879"/>
                </a:moveTo>
                <a:lnTo>
                  <a:pt x="1471" y="2459"/>
                </a:lnTo>
                <a:cubicBezTo>
                  <a:pt x="1536" y="2459"/>
                  <a:pt x="1514" y="2459"/>
                  <a:pt x="1536" y="2459"/>
                </a:cubicBezTo>
                <a:cubicBezTo>
                  <a:pt x="1569" y="2605"/>
                  <a:pt x="1601" y="2734"/>
                  <a:pt x="1634" y="2879"/>
                </a:cubicBezTo>
                <a:close/>
                <a:moveTo>
                  <a:pt x="3283" y="5160"/>
                </a:moveTo>
                <a:cubicBezTo>
                  <a:pt x="2410" y="4497"/>
                  <a:pt x="1844" y="3462"/>
                  <a:pt x="1650" y="2168"/>
                </a:cubicBezTo>
                <a:lnTo>
                  <a:pt x="3283" y="1504"/>
                </a:lnTo>
                <a:lnTo>
                  <a:pt x="4918" y="2168"/>
                </a:lnTo>
                <a:cubicBezTo>
                  <a:pt x="4724" y="3462"/>
                  <a:pt x="4157" y="4497"/>
                  <a:pt x="3283" y="5160"/>
                </a:cubicBezTo>
                <a:close/>
                <a:moveTo>
                  <a:pt x="5565" y="2782"/>
                </a:moveTo>
                <a:cubicBezTo>
                  <a:pt x="5678" y="2653"/>
                  <a:pt x="5759" y="2491"/>
                  <a:pt x="5824" y="2297"/>
                </a:cubicBezTo>
                <a:lnTo>
                  <a:pt x="6195" y="2297"/>
                </a:lnTo>
                <a:cubicBezTo>
                  <a:pt x="6034" y="2507"/>
                  <a:pt x="5824" y="2685"/>
                  <a:pt x="5565" y="2782"/>
                </a:cubicBezTo>
                <a:close/>
                <a:moveTo>
                  <a:pt x="4432" y="3268"/>
                </a:moveTo>
                <a:cubicBezTo>
                  <a:pt x="4416" y="3235"/>
                  <a:pt x="4400" y="3235"/>
                  <a:pt x="4367" y="3235"/>
                </a:cubicBezTo>
                <a:lnTo>
                  <a:pt x="3365" y="3235"/>
                </a:lnTo>
                <a:lnTo>
                  <a:pt x="3365" y="1828"/>
                </a:lnTo>
                <a:cubicBezTo>
                  <a:pt x="3365" y="1811"/>
                  <a:pt x="3348" y="1779"/>
                  <a:pt x="3332" y="1763"/>
                </a:cubicBezTo>
                <a:cubicBezTo>
                  <a:pt x="3316" y="1747"/>
                  <a:pt x="3283" y="1747"/>
                  <a:pt x="3251" y="1763"/>
                </a:cubicBezTo>
                <a:lnTo>
                  <a:pt x="1941" y="2281"/>
                </a:lnTo>
                <a:cubicBezTo>
                  <a:pt x="1908" y="2297"/>
                  <a:pt x="1876" y="2329"/>
                  <a:pt x="1892" y="2378"/>
                </a:cubicBezTo>
                <a:cubicBezTo>
                  <a:pt x="1941" y="2717"/>
                  <a:pt x="2006" y="3041"/>
                  <a:pt x="2119" y="3332"/>
                </a:cubicBezTo>
                <a:cubicBezTo>
                  <a:pt x="2135" y="3365"/>
                  <a:pt x="2167" y="3397"/>
                  <a:pt x="2200" y="3397"/>
                </a:cubicBezTo>
                <a:lnTo>
                  <a:pt x="3203" y="3397"/>
                </a:lnTo>
                <a:lnTo>
                  <a:pt x="3203" y="4788"/>
                </a:lnTo>
                <a:cubicBezTo>
                  <a:pt x="3203" y="4821"/>
                  <a:pt x="3219" y="4853"/>
                  <a:pt x="3251" y="4853"/>
                </a:cubicBezTo>
                <a:cubicBezTo>
                  <a:pt x="3267" y="4870"/>
                  <a:pt x="3267" y="4870"/>
                  <a:pt x="3283" y="4870"/>
                </a:cubicBezTo>
                <a:cubicBezTo>
                  <a:pt x="3300" y="4870"/>
                  <a:pt x="3316" y="4870"/>
                  <a:pt x="3332" y="4853"/>
                </a:cubicBezTo>
                <a:cubicBezTo>
                  <a:pt x="3834" y="4481"/>
                  <a:pt x="4206" y="3980"/>
                  <a:pt x="4448" y="3332"/>
                </a:cubicBezTo>
                <a:cubicBezTo>
                  <a:pt x="4465" y="3316"/>
                  <a:pt x="4448" y="3284"/>
                  <a:pt x="4432" y="3268"/>
                </a:cubicBezTo>
                <a:close/>
                <a:moveTo>
                  <a:pt x="3203" y="3235"/>
                </a:moveTo>
                <a:lnTo>
                  <a:pt x="2265" y="3235"/>
                </a:lnTo>
                <a:cubicBezTo>
                  <a:pt x="2167" y="2976"/>
                  <a:pt x="2103" y="2701"/>
                  <a:pt x="2054" y="2410"/>
                </a:cubicBezTo>
                <a:cubicBezTo>
                  <a:pt x="3203" y="1957"/>
                  <a:pt x="2820" y="2108"/>
                  <a:pt x="3203" y="1957"/>
                </a:cubicBezTo>
                <a:close/>
                <a:moveTo>
                  <a:pt x="3365" y="4627"/>
                </a:moveTo>
                <a:lnTo>
                  <a:pt x="3365" y="3397"/>
                </a:lnTo>
                <a:lnTo>
                  <a:pt x="4254" y="3397"/>
                </a:lnTo>
                <a:cubicBezTo>
                  <a:pt x="4044" y="3899"/>
                  <a:pt x="3753" y="4303"/>
                  <a:pt x="3365" y="462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1" name="Freeform: Shape 32">
            <a:extLst>
              <a:ext uri="{FF2B5EF4-FFF2-40B4-BE49-F238E27FC236}">
                <a16:creationId xmlns:a16="http://schemas.microsoft.com/office/drawing/2014/main" id="{DAD77E19-786F-A64C-9995-C39E72460889}"/>
              </a:ext>
            </a:extLst>
          </p:cNvPr>
          <p:cNvSpPr/>
          <p:nvPr/>
        </p:nvSpPr>
        <p:spPr>
          <a:xfrm>
            <a:off x="13927039" y="9781228"/>
            <a:ext cx="1648080" cy="1647720"/>
          </a:xfrm>
          <a:custGeom>
            <a:avLst/>
            <a:gdLst/>
            <a:ahLst/>
            <a:cxnLst>
              <a:cxn ang="3cd4">
                <a:pos x="hc" y="t"/>
              </a:cxn>
              <a:cxn ang="cd2">
                <a:pos x="l" y="vc"/>
              </a:cxn>
              <a:cxn ang="cd4">
                <a:pos x="hc" y="b"/>
              </a:cxn>
              <a:cxn ang="0">
                <a:pos x="r" y="vc"/>
              </a:cxn>
            </a:cxnLst>
            <a:rect l="l" t="t" r="r" b="b"/>
            <a:pathLst>
              <a:path w="4579" h="4578">
                <a:moveTo>
                  <a:pt x="4287" y="3398"/>
                </a:moveTo>
                <a:cubicBezTo>
                  <a:pt x="4465" y="3058"/>
                  <a:pt x="4579" y="2686"/>
                  <a:pt x="4579" y="2281"/>
                </a:cubicBezTo>
                <a:cubicBezTo>
                  <a:pt x="4579" y="1035"/>
                  <a:pt x="3543" y="0"/>
                  <a:pt x="2281" y="0"/>
                </a:cubicBezTo>
                <a:cubicBezTo>
                  <a:pt x="1036" y="0"/>
                  <a:pt x="0" y="1035"/>
                  <a:pt x="0" y="2281"/>
                </a:cubicBezTo>
                <a:cubicBezTo>
                  <a:pt x="0" y="2686"/>
                  <a:pt x="114" y="3058"/>
                  <a:pt x="292" y="3398"/>
                </a:cubicBezTo>
                <a:cubicBezTo>
                  <a:pt x="292" y="3398"/>
                  <a:pt x="292" y="3414"/>
                  <a:pt x="308" y="3414"/>
                </a:cubicBezTo>
                <a:cubicBezTo>
                  <a:pt x="696" y="4109"/>
                  <a:pt x="1440" y="4578"/>
                  <a:pt x="2281" y="4578"/>
                </a:cubicBezTo>
                <a:cubicBezTo>
                  <a:pt x="3139" y="4578"/>
                  <a:pt x="3883" y="4109"/>
                  <a:pt x="4287" y="3414"/>
                </a:cubicBezTo>
                <a:close/>
                <a:moveTo>
                  <a:pt x="162" y="2362"/>
                </a:moveTo>
                <a:cubicBezTo>
                  <a:pt x="599" y="2362"/>
                  <a:pt x="599" y="2362"/>
                  <a:pt x="599" y="2362"/>
                </a:cubicBezTo>
                <a:cubicBezTo>
                  <a:pt x="567" y="2556"/>
                  <a:pt x="469" y="2993"/>
                  <a:pt x="469" y="3009"/>
                </a:cubicBezTo>
                <a:cubicBezTo>
                  <a:pt x="453" y="3041"/>
                  <a:pt x="469" y="3074"/>
                  <a:pt x="486" y="3106"/>
                </a:cubicBezTo>
                <a:cubicBezTo>
                  <a:pt x="502" y="3123"/>
                  <a:pt x="534" y="3139"/>
                  <a:pt x="567" y="3139"/>
                </a:cubicBezTo>
                <a:cubicBezTo>
                  <a:pt x="615" y="3139"/>
                  <a:pt x="615" y="3139"/>
                  <a:pt x="615" y="3139"/>
                </a:cubicBezTo>
                <a:cubicBezTo>
                  <a:pt x="696" y="3139"/>
                  <a:pt x="745" y="3139"/>
                  <a:pt x="777" y="3058"/>
                </a:cubicBezTo>
                <a:cubicBezTo>
                  <a:pt x="809" y="3009"/>
                  <a:pt x="922" y="2782"/>
                  <a:pt x="987" y="2686"/>
                </a:cubicBezTo>
                <a:cubicBezTo>
                  <a:pt x="1036" y="2686"/>
                  <a:pt x="1036" y="2686"/>
                  <a:pt x="1036" y="2686"/>
                </a:cubicBezTo>
                <a:cubicBezTo>
                  <a:pt x="1052" y="2896"/>
                  <a:pt x="1084" y="3090"/>
                  <a:pt x="1133" y="3284"/>
                </a:cubicBezTo>
                <a:cubicBezTo>
                  <a:pt x="405" y="3284"/>
                  <a:pt x="405" y="3284"/>
                  <a:pt x="405" y="3284"/>
                </a:cubicBezTo>
                <a:cubicBezTo>
                  <a:pt x="259" y="3009"/>
                  <a:pt x="178" y="2702"/>
                  <a:pt x="162" y="2362"/>
                </a:cubicBezTo>
                <a:close/>
                <a:moveTo>
                  <a:pt x="405" y="1294"/>
                </a:moveTo>
                <a:cubicBezTo>
                  <a:pt x="1133" y="1294"/>
                  <a:pt x="1133" y="1294"/>
                  <a:pt x="1133" y="1294"/>
                </a:cubicBezTo>
                <a:cubicBezTo>
                  <a:pt x="1084" y="1488"/>
                  <a:pt x="1052" y="1699"/>
                  <a:pt x="1036" y="1909"/>
                </a:cubicBezTo>
                <a:cubicBezTo>
                  <a:pt x="987" y="1909"/>
                  <a:pt x="987" y="1909"/>
                  <a:pt x="987" y="1909"/>
                </a:cubicBezTo>
                <a:cubicBezTo>
                  <a:pt x="922" y="1812"/>
                  <a:pt x="809" y="1570"/>
                  <a:pt x="777" y="1521"/>
                </a:cubicBezTo>
                <a:cubicBezTo>
                  <a:pt x="745" y="1456"/>
                  <a:pt x="663" y="1456"/>
                  <a:pt x="615" y="1440"/>
                </a:cubicBezTo>
                <a:cubicBezTo>
                  <a:pt x="567" y="1440"/>
                  <a:pt x="567" y="1440"/>
                  <a:pt x="567" y="1440"/>
                </a:cubicBezTo>
                <a:cubicBezTo>
                  <a:pt x="534" y="1440"/>
                  <a:pt x="518" y="1456"/>
                  <a:pt x="486" y="1472"/>
                </a:cubicBezTo>
                <a:cubicBezTo>
                  <a:pt x="486" y="1488"/>
                  <a:pt x="469" y="1521"/>
                  <a:pt x="469" y="1570"/>
                </a:cubicBezTo>
                <a:cubicBezTo>
                  <a:pt x="469" y="1586"/>
                  <a:pt x="551" y="1974"/>
                  <a:pt x="599" y="2200"/>
                </a:cubicBezTo>
                <a:cubicBezTo>
                  <a:pt x="162" y="2200"/>
                  <a:pt x="162" y="2200"/>
                  <a:pt x="162" y="2200"/>
                </a:cubicBezTo>
                <a:cubicBezTo>
                  <a:pt x="178" y="1876"/>
                  <a:pt x="259" y="1570"/>
                  <a:pt x="405" y="1294"/>
                </a:cubicBezTo>
                <a:close/>
                <a:moveTo>
                  <a:pt x="4417" y="2200"/>
                </a:moveTo>
                <a:cubicBezTo>
                  <a:pt x="4271" y="2200"/>
                  <a:pt x="4271" y="2200"/>
                  <a:pt x="4271" y="2200"/>
                </a:cubicBezTo>
                <a:cubicBezTo>
                  <a:pt x="4223" y="2087"/>
                  <a:pt x="4077" y="1909"/>
                  <a:pt x="3818" y="1909"/>
                </a:cubicBezTo>
                <a:cubicBezTo>
                  <a:pt x="3543" y="1909"/>
                  <a:pt x="3543" y="1909"/>
                  <a:pt x="3543" y="1909"/>
                </a:cubicBezTo>
                <a:cubicBezTo>
                  <a:pt x="3527" y="1699"/>
                  <a:pt x="3495" y="1488"/>
                  <a:pt x="3446" y="1294"/>
                </a:cubicBezTo>
                <a:cubicBezTo>
                  <a:pt x="4174" y="1294"/>
                  <a:pt x="4174" y="1294"/>
                  <a:pt x="4174" y="1294"/>
                </a:cubicBezTo>
                <a:cubicBezTo>
                  <a:pt x="4320" y="1570"/>
                  <a:pt x="4401" y="1876"/>
                  <a:pt x="4417" y="2200"/>
                </a:cubicBezTo>
                <a:close/>
                <a:moveTo>
                  <a:pt x="3381" y="1909"/>
                </a:moveTo>
                <a:cubicBezTo>
                  <a:pt x="2702" y="1909"/>
                  <a:pt x="2702" y="1909"/>
                  <a:pt x="2702" y="1909"/>
                </a:cubicBezTo>
                <a:cubicBezTo>
                  <a:pt x="2637" y="1828"/>
                  <a:pt x="2508" y="1666"/>
                  <a:pt x="2362" y="1488"/>
                </a:cubicBezTo>
                <a:cubicBezTo>
                  <a:pt x="2362" y="1294"/>
                  <a:pt x="2362" y="1294"/>
                  <a:pt x="2362" y="1294"/>
                </a:cubicBezTo>
                <a:cubicBezTo>
                  <a:pt x="3268" y="1294"/>
                  <a:pt x="3268" y="1294"/>
                  <a:pt x="3268" y="1294"/>
                </a:cubicBezTo>
                <a:cubicBezTo>
                  <a:pt x="3333" y="1488"/>
                  <a:pt x="3365" y="1682"/>
                  <a:pt x="3381" y="1909"/>
                </a:cubicBezTo>
                <a:close/>
                <a:moveTo>
                  <a:pt x="2362" y="1133"/>
                </a:moveTo>
                <a:cubicBezTo>
                  <a:pt x="2362" y="178"/>
                  <a:pt x="2362" y="178"/>
                  <a:pt x="2362" y="178"/>
                </a:cubicBezTo>
                <a:cubicBezTo>
                  <a:pt x="2718" y="227"/>
                  <a:pt x="3042" y="599"/>
                  <a:pt x="3220" y="1133"/>
                </a:cubicBezTo>
                <a:close/>
                <a:moveTo>
                  <a:pt x="2200" y="178"/>
                </a:moveTo>
                <a:cubicBezTo>
                  <a:pt x="2200" y="1133"/>
                  <a:pt x="2200" y="1133"/>
                  <a:pt x="2200" y="1133"/>
                </a:cubicBezTo>
                <a:cubicBezTo>
                  <a:pt x="2104" y="1133"/>
                  <a:pt x="2104" y="1133"/>
                  <a:pt x="2104" y="1133"/>
                </a:cubicBezTo>
                <a:cubicBezTo>
                  <a:pt x="1909" y="906"/>
                  <a:pt x="1763" y="712"/>
                  <a:pt x="1763" y="712"/>
                </a:cubicBezTo>
                <a:cubicBezTo>
                  <a:pt x="1731" y="680"/>
                  <a:pt x="1699" y="631"/>
                  <a:pt x="1618" y="631"/>
                </a:cubicBezTo>
                <a:lnTo>
                  <a:pt x="1602" y="631"/>
                </a:lnTo>
                <a:cubicBezTo>
                  <a:pt x="1763" y="372"/>
                  <a:pt x="1974" y="194"/>
                  <a:pt x="2200" y="178"/>
                </a:cubicBezTo>
                <a:close/>
                <a:moveTo>
                  <a:pt x="1537" y="1294"/>
                </a:moveTo>
                <a:cubicBezTo>
                  <a:pt x="1618" y="1521"/>
                  <a:pt x="1731" y="1764"/>
                  <a:pt x="1780" y="1909"/>
                </a:cubicBezTo>
                <a:cubicBezTo>
                  <a:pt x="1198" y="1909"/>
                  <a:pt x="1198" y="1909"/>
                  <a:pt x="1198" y="1909"/>
                </a:cubicBezTo>
                <a:cubicBezTo>
                  <a:pt x="1214" y="1682"/>
                  <a:pt x="1246" y="1488"/>
                  <a:pt x="1310" y="1294"/>
                </a:cubicBezTo>
                <a:close/>
                <a:moveTo>
                  <a:pt x="1359" y="1133"/>
                </a:moveTo>
                <a:cubicBezTo>
                  <a:pt x="1375" y="1084"/>
                  <a:pt x="1392" y="1035"/>
                  <a:pt x="1408" y="987"/>
                </a:cubicBezTo>
                <a:cubicBezTo>
                  <a:pt x="1424" y="1035"/>
                  <a:pt x="1440" y="1084"/>
                  <a:pt x="1473" y="1133"/>
                </a:cubicBezTo>
                <a:close/>
                <a:moveTo>
                  <a:pt x="1198" y="2686"/>
                </a:moveTo>
                <a:cubicBezTo>
                  <a:pt x="1780" y="2686"/>
                  <a:pt x="1780" y="2686"/>
                  <a:pt x="1780" y="2686"/>
                </a:cubicBezTo>
                <a:cubicBezTo>
                  <a:pt x="1731" y="2815"/>
                  <a:pt x="1634" y="3058"/>
                  <a:pt x="1537" y="3284"/>
                </a:cubicBezTo>
                <a:cubicBezTo>
                  <a:pt x="1310" y="3284"/>
                  <a:pt x="1310" y="3284"/>
                  <a:pt x="1310" y="3284"/>
                </a:cubicBezTo>
                <a:cubicBezTo>
                  <a:pt x="1246" y="3090"/>
                  <a:pt x="1214" y="2896"/>
                  <a:pt x="1198" y="2686"/>
                </a:cubicBezTo>
                <a:close/>
                <a:moveTo>
                  <a:pt x="1473" y="3446"/>
                </a:moveTo>
                <a:cubicBezTo>
                  <a:pt x="1440" y="3494"/>
                  <a:pt x="1424" y="3543"/>
                  <a:pt x="1408" y="3592"/>
                </a:cubicBezTo>
                <a:cubicBezTo>
                  <a:pt x="1392" y="3543"/>
                  <a:pt x="1375" y="3494"/>
                  <a:pt x="1359" y="3446"/>
                </a:cubicBezTo>
                <a:close/>
                <a:moveTo>
                  <a:pt x="1974" y="2637"/>
                </a:moveTo>
                <a:cubicBezTo>
                  <a:pt x="2022" y="2524"/>
                  <a:pt x="2022" y="2524"/>
                  <a:pt x="2022" y="2524"/>
                </a:cubicBezTo>
                <a:cubicBezTo>
                  <a:pt x="874" y="2524"/>
                  <a:pt x="874" y="2524"/>
                  <a:pt x="874" y="2524"/>
                </a:cubicBezTo>
                <a:cubicBezTo>
                  <a:pt x="858" y="2556"/>
                  <a:pt x="858" y="2556"/>
                  <a:pt x="858" y="2556"/>
                </a:cubicBezTo>
                <a:cubicBezTo>
                  <a:pt x="858" y="2556"/>
                  <a:pt x="680" y="2896"/>
                  <a:pt x="647" y="2977"/>
                </a:cubicBezTo>
                <a:cubicBezTo>
                  <a:pt x="680" y="2799"/>
                  <a:pt x="777" y="2329"/>
                  <a:pt x="777" y="2313"/>
                </a:cubicBezTo>
                <a:cubicBezTo>
                  <a:pt x="777" y="2297"/>
                  <a:pt x="777" y="2297"/>
                  <a:pt x="777" y="2297"/>
                </a:cubicBezTo>
                <a:cubicBezTo>
                  <a:pt x="777" y="2281"/>
                  <a:pt x="777" y="2281"/>
                  <a:pt x="777" y="2281"/>
                </a:cubicBezTo>
                <a:lnTo>
                  <a:pt x="777" y="2265"/>
                </a:lnTo>
                <a:cubicBezTo>
                  <a:pt x="728" y="2055"/>
                  <a:pt x="663" y="1747"/>
                  <a:pt x="631" y="1618"/>
                </a:cubicBezTo>
                <a:cubicBezTo>
                  <a:pt x="647" y="1618"/>
                  <a:pt x="647" y="1618"/>
                  <a:pt x="647" y="1618"/>
                </a:cubicBezTo>
                <a:cubicBezTo>
                  <a:pt x="680" y="1699"/>
                  <a:pt x="858" y="2022"/>
                  <a:pt x="858" y="2022"/>
                </a:cubicBezTo>
                <a:cubicBezTo>
                  <a:pt x="874" y="2071"/>
                  <a:pt x="874" y="2071"/>
                  <a:pt x="874" y="2071"/>
                </a:cubicBezTo>
                <a:cubicBezTo>
                  <a:pt x="2022" y="2071"/>
                  <a:pt x="2022" y="2071"/>
                  <a:pt x="2022" y="2071"/>
                </a:cubicBezTo>
                <a:cubicBezTo>
                  <a:pt x="1974" y="1958"/>
                  <a:pt x="1974" y="1958"/>
                  <a:pt x="1974" y="1958"/>
                </a:cubicBezTo>
                <a:cubicBezTo>
                  <a:pt x="1828" y="1618"/>
                  <a:pt x="1586" y="1003"/>
                  <a:pt x="1505" y="793"/>
                </a:cubicBezTo>
                <a:lnTo>
                  <a:pt x="1505" y="776"/>
                </a:lnTo>
                <a:cubicBezTo>
                  <a:pt x="1537" y="776"/>
                  <a:pt x="1569" y="776"/>
                  <a:pt x="1602" y="793"/>
                </a:cubicBezTo>
                <a:cubicBezTo>
                  <a:pt x="1618" y="793"/>
                  <a:pt x="1618" y="793"/>
                  <a:pt x="1634" y="809"/>
                </a:cubicBezTo>
                <a:cubicBezTo>
                  <a:pt x="1651" y="825"/>
                  <a:pt x="2265" y="1618"/>
                  <a:pt x="2589" y="2039"/>
                </a:cubicBezTo>
                <a:cubicBezTo>
                  <a:pt x="2621" y="2071"/>
                  <a:pt x="2621" y="2071"/>
                  <a:pt x="2621" y="2071"/>
                </a:cubicBezTo>
                <a:cubicBezTo>
                  <a:pt x="3818" y="2071"/>
                  <a:pt x="3818" y="2071"/>
                  <a:pt x="3818" y="2071"/>
                </a:cubicBezTo>
                <a:cubicBezTo>
                  <a:pt x="4045" y="2071"/>
                  <a:pt x="4126" y="2249"/>
                  <a:pt x="4142" y="2297"/>
                </a:cubicBezTo>
                <a:cubicBezTo>
                  <a:pt x="4142" y="2313"/>
                  <a:pt x="4110" y="2362"/>
                  <a:pt x="4061" y="2427"/>
                </a:cubicBezTo>
                <a:cubicBezTo>
                  <a:pt x="4012" y="2459"/>
                  <a:pt x="3932" y="2524"/>
                  <a:pt x="3818" y="2524"/>
                </a:cubicBezTo>
                <a:cubicBezTo>
                  <a:pt x="2621" y="2524"/>
                  <a:pt x="2621" y="2524"/>
                  <a:pt x="2621" y="2524"/>
                </a:cubicBezTo>
                <a:cubicBezTo>
                  <a:pt x="2589" y="2556"/>
                  <a:pt x="2589" y="2556"/>
                  <a:pt x="2589" y="2556"/>
                </a:cubicBezTo>
                <a:cubicBezTo>
                  <a:pt x="2265" y="2961"/>
                  <a:pt x="1651" y="3753"/>
                  <a:pt x="1634" y="3770"/>
                </a:cubicBezTo>
                <a:cubicBezTo>
                  <a:pt x="1634" y="3786"/>
                  <a:pt x="1634" y="3786"/>
                  <a:pt x="1634" y="3786"/>
                </a:cubicBezTo>
                <a:cubicBezTo>
                  <a:pt x="1618" y="3802"/>
                  <a:pt x="1618" y="3802"/>
                  <a:pt x="1602" y="3802"/>
                </a:cubicBezTo>
                <a:cubicBezTo>
                  <a:pt x="1569" y="3802"/>
                  <a:pt x="1537" y="3802"/>
                  <a:pt x="1505" y="3802"/>
                </a:cubicBezTo>
                <a:lnTo>
                  <a:pt x="1505" y="3786"/>
                </a:lnTo>
                <a:cubicBezTo>
                  <a:pt x="1586" y="3576"/>
                  <a:pt x="1845" y="2977"/>
                  <a:pt x="1974" y="2637"/>
                </a:cubicBezTo>
                <a:close/>
                <a:moveTo>
                  <a:pt x="1618" y="3964"/>
                </a:moveTo>
                <a:cubicBezTo>
                  <a:pt x="1699" y="3947"/>
                  <a:pt x="1731" y="3899"/>
                  <a:pt x="1763" y="3883"/>
                </a:cubicBezTo>
                <a:cubicBezTo>
                  <a:pt x="1763" y="3867"/>
                  <a:pt x="1909" y="3672"/>
                  <a:pt x="2104" y="3446"/>
                </a:cubicBezTo>
                <a:cubicBezTo>
                  <a:pt x="2200" y="3446"/>
                  <a:pt x="2200" y="3446"/>
                  <a:pt x="2200" y="3446"/>
                </a:cubicBezTo>
                <a:cubicBezTo>
                  <a:pt x="2200" y="4400"/>
                  <a:pt x="2200" y="4400"/>
                  <a:pt x="2200" y="4400"/>
                </a:cubicBezTo>
                <a:cubicBezTo>
                  <a:pt x="1990" y="4368"/>
                  <a:pt x="1780" y="4206"/>
                  <a:pt x="1602" y="3964"/>
                </a:cubicBezTo>
                <a:close/>
                <a:moveTo>
                  <a:pt x="2362" y="4400"/>
                </a:moveTo>
                <a:cubicBezTo>
                  <a:pt x="2362" y="3446"/>
                  <a:pt x="2362" y="3446"/>
                  <a:pt x="2362" y="3446"/>
                </a:cubicBezTo>
                <a:cubicBezTo>
                  <a:pt x="3220" y="3446"/>
                  <a:pt x="3220" y="3446"/>
                  <a:pt x="3220" y="3446"/>
                </a:cubicBezTo>
                <a:cubicBezTo>
                  <a:pt x="3042" y="3996"/>
                  <a:pt x="2718" y="4352"/>
                  <a:pt x="2362" y="4400"/>
                </a:cubicBezTo>
                <a:close/>
                <a:moveTo>
                  <a:pt x="2362" y="3284"/>
                </a:moveTo>
                <a:cubicBezTo>
                  <a:pt x="2362" y="3106"/>
                  <a:pt x="2362" y="3106"/>
                  <a:pt x="2362" y="3106"/>
                </a:cubicBezTo>
                <a:cubicBezTo>
                  <a:pt x="2508" y="2912"/>
                  <a:pt x="2637" y="2750"/>
                  <a:pt x="2702" y="2686"/>
                </a:cubicBezTo>
                <a:cubicBezTo>
                  <a:pt x="3381" y="2686"/>
                  <a:pt x="3381" y="2686"/>
                  <a:pt x="3381" y="2686"/>
                </a:cubicBezTo>
                <a:cubicBezTo>
                  <a:pt x="3365" y="2896"/>
                  <a:pt x="3333" y="3090"/>
                  <a:pt x="3268" y="3284"/>
                </a:cubicBezTo>
                <a:close/>
                <a:moveTo>
                  <a:pt x="3543" y="2686"/>
                </a:moveTo>
                <a:cubicBezTo>
                  <a:pt x="3818" y="2686"/>
                  <a:pt x="3818" y="2686"/>
                  <a:pt x="3818" y="2686"/>
                </a:cubicBezTo>
                <a:cubicBezTo>
                  <a:pt x="4093" y="2686"/>
                  <a:pt x="4239" y="2492"/>
                  <a:pt x="4287" y="2362"/>
                </a:cubicBezTo>
                <a:cubicBezTo>
                  <a:pt x="4417" y="2362"/>
                  <a:pt x="4417" y="2362"/>
                  <a:pt x="4417" y="2362"/>
                </a:cubicBezTo>
                <a:cubicBezTo>
                  <a:pt x="4401" y="2702"/>
                  <a:pt x="4320" y="3009"/>
                  <a:pt x="4174" y="3284"/>
                </a:cubicBezTo>
                <a:cubicBezTo>
                  <a:pt x="3446" y="3284"/>
                  <a:pt x="3446" y="3284"/>
                  <a:pt x="3446" y="3284"/>
                </a:cubicBezTo>
                <a:cubicBezTo>
                  <a:pt x="3495" y="3090"/>
                  <a:pt x="3527" y="2896"/>
                  <a:pt x="3543" y="2686"/>
                </a:cubicBezTo>
                <a:close/>
                <a:moveTo>
                  <a:pt x="4077" y="1133"/>
                </a:moveTo>
                <a:cubicBezTo>
                  <a:pt x="3398" y="1133"/>
                  <a:pt x="3398" y="1133"/>
                  <a:pt x="3398" y="1133"/>
                </a:cubicBezTo>
                <a:cubicBezTo>
                  <a:pt x="3333" y="938"/>
                  <a:pt x="3252" y="744"/>
                  <a:pt x="3155" y="582"/>
                </a:cubicBezTo>
                <a:cubicBezTo>
                  <a:pt x="3058" y="453"/>
                  <a:pt x="2961" y="340"/>
                  <a:pt x="2864" y="243"/>
                </a:cubicBezTo>
                <a:cubicBezTo>
                  <a:pt x="3365" y="388"/>
                  <a:pt x="3802" y="712"/>
                  <a:pt x="4077" y="1133"/>
                </a:cubicBezTo>
                <a:close/>
                <a:moveTo>
                  <a:pt x="1715" y="243"/>
                </a:moveTo>
                <a:cubicBezTo>
                  <a:pt x="1618" y="340"/>
                  <a:pt x="1521" y="453"/>
                  <a:pt x="1424" y="582"/>
                </a:cubicBezTo>
                <a:cubicBezTo>
                  <a:pt x="1424" y="599"/>
                  <a:pt x="1424" y="599"/>
                  <a:pt x="1424" y="615"/>
                </a:cubicBezTo>
                <a:cubicBezTo>
                  <a:pt x="1375" y="615"/>
                  <a:pt x="1343" y="631"/>
                  <a:pt x="1327" y="647"/>
                </a:cubicBezTo>
                <a:cubicBezTo>
                  <a:pt x="1310" y="664"/>
                  <a:pt x="1294" y="712"/>
                  <a:pt x="1310" y="776"/>
                </a:cubicBezTo>
                <a:cubicBezTo>
                  <a:pt x="1327" y="776"/>
                  <a:pt x="1327" y="776"/>
                  <a:pt x="1327" y="793"/>
                </a:cubicBezTo>
                <a:cubicBezTo>
                  <a:pt x="1278" y="890"/>
                  <a:pt x="1230" y="1019"/>
                  <a:pt x="1181" y="1133"/>
                </a:cubicBezTo>
                <a:cubicBezTo>
                  <a:pt x="502" y="1133"/>
                  <a:pt x="502" y="1133"/>
                  <a:pt x="502" y="1133"/>
                </a:cubicBezTo>
                <a:cubicBezTo>
                  <a:pt x="777" y="712"/>
                  <a:pt x="1214" y="388"/>
                  <a:pt x="1715" y="243"/>
                </a:cubicBezTo>
                <a:close/>
                <a:moveTo>
                  <a:pt x="502" y="3446"/>
                </a:moveTo>
                <a:cubicBezTo>
                  <a:pt x="1181" y="3446"/>
                  <a:pt x="1181" y="3446"/>
                  <a:pt x="1181" y="3446"/>
                </a:cubicBezTo>
                <a:cubicBezTo>
                  <a:pt x="1230" y="3576"/>
                  <a:pt x="1278" y="3688"/>
                  <a:pt x="1327" y="3802"/>
                </a:cubicBezTo>
                <a:lnTo>
                  <a:pt x="1310" y="3818"/>
                </a:lnTo>
                <a:cubicBezTo>
                  <a:pt x="1294" y="3867"/>
                  <a:pt x="1310" y="3915"/>
                  <a:pt x="1327" y="3931"/>
                </a:cubicBezTo>
                <a:cubicBezTo>
                  <a:pt x="1343" y="3947"/>
                  <a:pt x="1375" y="3980"/>
                  <a:pt x="1424" y="3980"/>
                </a:cubicBezTo>
                <a:lnTo>
                  <a:pt x="1440" y="3996"/>
                </a:lnTo>
                <a:cubicBezTo>
                  <a:pt x="1521" y="4125"/>
                  <a:pt x="1618" y="4239"/>
                  <a:pt x="1715" y="4336"/>
                </a:cubicBezTo>
                <a:cubicBezTo>
                  <a:pt x="1214" y="4190"/>
                  <a:pt x="793" y="3867"/>
                  <a:pt x="502" y="3446"/>
                </a:cubicBezTo>
                <a:close/>
                <a:moveTo>
                  <a:pt x="2864" y="4336"/>
                </a:moveTo>
                <a:cubicBezTo>
                  <a:pt x="2961" y="4239"/>
                  <a:pt x="3058" y="4125"/>
                  <a:pt x="3139" y="3996"/>
                </a:cubicBezTo>
                <a:cubicBezTo>
                  <a:pt x="3252" y="3834"/>
                  <a:pt x="3333" y="3640"/>
                  <a:pt x="3398" y="3446"/>
                </a:cubicBezTo>
                <a:cubicBezTo>
                  <a:pt x="4077" y="3446"/>
                  <a:pt x="4077" y="3446"/>
                  <a:pt x="4077" y="3446"/>
                </a:cubicBezTo>
                <a:cubicBezTo>
                  <a:pt x="3786" y="3867"/>
                  <a:pt x="3365" y="4190"/>
                  <a:pt x="2864" y="433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02100226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Finance / Security - 2</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42" name="TextBox 41">
            <a:extLst>
              <a:ext uri="{FF2B5EF4-FFF2-40B4-BE49-F238E27FC236}">
                <a16:creationId xmlns:a16="http://schemas.microsoft.com/office/drawing/2014/main" id="{C7550D93-9B10-1C49-AEE9-BAFEC66FA7FD}"/>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ock Secure 2</a:t>
            </a:r>
          </a:p>
        </p:txBody>
      </p:sp>
      <p:sp>
        <p:nvSpPr>
          <p:cNvPr id="52" name="TextBox 51">
            <a:extLst>
              <a:ext uri="{FF2B5EF4-FFF2-40B4-BE49-F238E27FC236}">
                <a16:creationId xmlns:a16="http://schemas.microsoft.com/office/drawing/2014/main" id="{AC4E19F6-FC79-FC4E-A021-AFCE68296564}"/>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eeting Accounting</a:t>
            </a:r>
          </a:p>
        </p:txBody>
      </p:sp>
      <p:sp>
        <p:nvSpPr>
          <p:cNvPr id="53" name="TextBox 52">
            <a:extLst>
              <a:ext uri="{FF2B5EF4-FFF2-40B4-BE49-F238E27FC236}">
                <a16:creationId xmlns:a16="http://schemas.microsoft.com/office/drawing/2014/main" id="{8B7A5175-8598-0843-B631-6FE19033D14B}"/>
              </a:ext>
            </a:extLst>
          </p:cNvPr>
          <p:cNvSpPr txBox="1"/>
          <p:nvPr/>
        </p:nvSpPr>
        <p:spPr>
          <a:xfrm>
            <a:off x="9084538" y="5164929"/>
            <a:ext cx="3564662"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onitor Graph Presentation Follow</a:t>
            </a:r>
          </a:p>
        </p:txBody>
      </p:sp>
      <p:sp>
        <p:nvSpPr>
          <p:cNvPr id="54" name="TextBox 53">
            <a:extLst>
              <a:ext uri="{FF2B5EF4-FFF2-40B4-BE49-F238E27FC236}">
                <a16:creationId xmlns:a16="http://schemas.microsoft.com/office/drawing/2014/main" id="{B11196C3-F970-374C-889D-E2CD1D7895E4}"/>
              </a:ext>
            </a:extLst>
          </p:cNvPr>
          <p:cNvSpPr txBox="1"/>
          <p:nvPr/>
        </p:nvSpPr>
        <p:spPr>
          <a:xfrm>
            <a:off x="12867894" y="5164929"/>
            <a:ext cx="3829648"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Monitor Graph Presentation Follow 2</a:t>
            </a:r>
            <a:endParaRPr lang="en-US" sz="2800" dirty="0"/>
          </a:p>
        </p:txBody>
      </p:sp>
      <p:sp>
        <p:nvSpPr>
          <p:cNvPr id="55" name="TextBox 54">
            <a:extLst>
              <a:ext uri="{FF2B5EF4-FFF2-40B4-BE49-F238E27FC236}">
                <a16:creationId xmlns:a16="http://schemas.microsoft.com/office/drawing/2014/main" id="{3ABC091C-37CD-1848-864D-AB3A1B10FA99}"/>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rofit</a:t>
            </a:r>
          </a:p>
        </p:txBody>
      </p:sp>
      <p:sp>
        <p:nvSpPr>
          <p:cNvPr id="56" name="TextBox 55">
            <a:extLst>
              <a:ext uri="{FF2B5EF4-FFF2-40B4-BE49-F238E27FC236}">
                <a16:creationId xmlns:a16="http://schemas.microsoft.com/office/drawing/2014/main" id="{6BA6DDAE-FA9D-5E47-BDCF-2F929B480629}"/>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rofit 2</a:t>
            </a:r>
          </a:p>
        </p:txBody>
      </p:sp>
      <p:sp>
        <p:nvSpPr>
          <p:cNvPr id="57" name="TextBox 56">
            <a:extLst>
              <a:ext uri="{FF2B5EF4-FFF2-40B4-BE49-F238E27FC236}">
                <a16:creationId xmlns:a16="http://schemas.microsoft.com/office/drawing/2014/main" id="{E0FDB6FD-5FB5-E243-A055-CACF022D67D5}"/>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cure Process</a:t>
            </a:r>
          </a:p>
        </p:txBody>
      </p:sp>
      <p:sp>
        <p:nvSpPr>
          <p:cNvPr id="58" name="TextBox 57">
            <a:extLst>
              <a:ext uri="{FF2B5EF4-FFF2-40B4-BE49-F238E27FC236}">
                <a16:creationId xmlns:a16="http://schemas.microsoft.com/office/drawing/2014/main" id="{04F76668-4267-B746-9F36-D2D2D339BA95}"/>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curity</a:t>
            </a:r>
          </a:p>
        </p:txBody>
      </p:sp>
      <p:sp>
        <p:nvSpPr>
          <p:cNvPr id="59" name="TextBox 58">
            <a:extLst>
              <a:ext uri="{FF2B5EF4-FFF2-40B4-BE49-F238E27FC236}">
                <a16:creationId xmlns:a16="http://schemas.microsoft.com/office/drawing/2014/main" id="{6A52B546-8B2C-D948-B63A-79B6F990139B}"/>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hopping</a:t>
            </a:r>
          </a:p>
        </p:txBody>
      </p:sp>
      <p:sp>
        <p:nvSpPr>
          <p:cNvPr id="60" name="TextBox 59">
            <a:extLst>
              <a:ext uri="{FF2B5EF4-FFF2-40B4-BE49-F238E27FC236}">
                <a16:creationId xmlns:a16="http://schemas.microsoft.com/office/drawing/2014/main" id="{3644AED8-C278-C349-AFFC-7A1B81EEE671}"/>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llar</a:t>
            </a:r>
          </a:p>
        </p:txBody>
      </p:sp>
      <p:sp>
        <p:nvSpPr>
          <p:cNvPr id="61" name="TextBox 60">
            <a:extLst>
              <a:ext uri="{FF2B5EF4-FFF2-40B4-BE49-F238E27FC236}">
                <a16:creationId xmlns:a16="http://schemas.microsoft.com/office/drawing/2014/main" id="{AC71DA9A-6E0E-BB4C-8E90-725868CA1C68}"/>
              </a:ext>
            </a:extLst>
          </p:cNvPr>
          <p:cNvSpPr txBox="1"/>
          <p:nvPr/>
        </p:nvSpPr>
        <p:spPr>
          <a:xfrm>
            <a:off x="-47946" y="11657695"/>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ound</a:t>
            </a:r>
          </a:p>
        </p:txBody>
      </p:sp>
      <p:sp>
        <p:nvSpPr>
          <p:cNvPr id="62" name="TextBox 61">
            <a:extLst>
              <a:ext uri="{FF2B5EF4-FFF2-40B4-BE49-F238E27FC236}">
                <a16:creationId xmlns:a16="http://schemas.microsoft.com/office/drawing/2014/main" id="{942A937B-5E61-5243-8CBD-3FA69041C744}"/>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uro</a:t>
            </a:r>
          </a:p>
        </p:txBody>
      </p:sp>
      <p:sp>
        <p:nvSpPr>
          <p:cNvPr id="63" name="TextBox 62">
            <a:extLst>
              <a:ext uri="{FF2B5EF4-FFF2-40B4-BE49-F238E27FC236}">
                <a16:creationId xmlns:a16="http://schemas.microsoft.com/office/drawing/2014/main" id="{32F7920F-39E1-2641-89C4-486E9496D3F2}"/>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ternet Security 2</a:t>
            </a:r>
          </a:p>
        </p:txBody>
      </p:sp>
      <p:sp>
        <p:nvSpPr>
          <p:cNvPr id="64" name="TextBox 63">
            <a:extLst>
              <a:ext uri="{FF2B5EF4-FFF2-40B4-BE49-F238E27FC236}">
                <a16:creationId xmlns:a16="http://schemas.microsoft.com/office/drawing/2014/main" id="{BFC7E4EE-704F-C544-BD3A-0D180F23AD04}"/>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orrect 2</a:t>
            </a:r>
          </a:p>
        </p:txBody>
      </p:sp>
      <p:sp>
        <p:nvSpPr>
          <p:cNvPr id="65" name="TextBox 64">
            <a:extLst>
              <a:ext uri="{FF2B5EF4-FFF2-40B4-BE49-F238E27FC236}">
                <a16:creationId xmlns:a16="http://schemas.microsoft.com/office/drawing/2014/main" id="{07BD5245-0FC5-C54B-9278-25209659CBC7}"/>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oin Stack</a:t>
            </a:r>
          </a:p>
        </p:txBody>
      </p:sp>
      <p:sp>
        <p:nvSpPr>
          <p:cNvPr id="66" name="Freeform: Shape 26">
            <a:extLst>
              <a:ext uri="{FF2B5EF4-FFF2-40B4-BE49-F238E27FC236}">
                <a16:creationId xmlns:a16="http://schemas.microsoft.com/office/drawing/2014/main" id="{2F60A171-B5D6-984F-B6C0-93600C561356}"/>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7" name="TextBox 66">
            <a:extLst>
              <a:ext uri="{FF2B5EF4-FFF2-40B4-BE49-F238E27FC236}">
                <a16:creationId xmlns:a16="http://schemas.microsoft.com/office/drawing/2014/main" id="{3616B2FA-27A8-F240-B05A-20B86040B916}"/>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iggy Bank</a:t>
            </a:r>
          </a:p>
        </p:txBody>
      </p:sp>
      <p:sp>
        <p:nvSpPr>
          <p:cNvPr id="68" name="TextBox 67">
            <a:extLst>
              <a:ext uri="{FF2B5EF4-FFF2-40B4-BE49-F238E27FC236}">
                <a16:creationId xmlns:a16="http://schemas.microsoft.com/office/drawing/2014/main" id="{8E792CFE-9FD6-9A45-8923-1730BE14344F}"/>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lendar</a:t>
            </a:r>
          </a:p>
        </p:txBody>
      </p:sp>
      <p:sp>
        <p:nvSpPr>
          <p:cNvPr id="69" name="TextBox 68">
            <a:extLst>
              <a:ext uri="{FF2B5EF4-FFF2-40B4-BE49-F238E27FC236}">
                <a16:creationId xmlns:a16="http://schemas.microsoft.com/office/drawing/2014/main" id="{289C39FE-48DC-1F4D-A855-EBB1FF12E165}"/>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oney Bag</a:t>
            </a:r>
          </a:p>
        </p:txBody>
      </p:sp>
      <p:sp>
        <p:nvSpPr>
          <p:cNvPr id="70" name="TextBox 69">
            <a:extLst>
              <a:ext uri="{FF2B5EF4-FFF2-40B4-BE49-F238E27FC236}">
                <a16:creationId xmlns:a16="http://schemas.microsoft.com/office/drawing/2014/main" id="{DCB37BE7-FB09-F54F-9B42-8F0EE5856FA6}"/>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71" name="Freeform: Shape 13">
            <a:extLst>
              <a:ext uri="{FF2B5EF4-FFF2-40B4-BE49-F238E27FC236}">
                <a16:creationId xmlns:a16="http://schemas.microsoft.com/office/drawing/2014/main" id="{A3D48360-55EE-B743-BB01-978EE8CDAA9D}"/>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2" name="Freeform: Shape 1">
            <a:extLst>
              <a:ext uri="{FF2B5EF4-FFF2-40B4-BE49-F238E27FC236}">
                <a16:creationId xmlns:a16="http://schemas.microsoft.com/office/drawing/2014/main" id="{1F79D72D-0CB5-B142-B3FC-C7C1F8452FA4}"/>
              </a:ext>
            </a:extLst>
          </p:cNvPr>
          <p:cNvSpPr/>
          <p:nvPr/>
        </p:nvSpPr>
        <p:spPr>
          <a:xfrm>
            <a:off x="21331966" y="9781228"/>
            <a:ext cx="1293840" cy="1545839"/>
          </a:xfrm>
          <a:custGeom>
            <a:avLst/>
            <a:gdLst/>
            <a:ahLst/>
            <a:cxnLst>
              <a:cxn ang="3cd4">
                <a:pos x="hc" y="t"/>
              </a:cxn>
              <a:cxn ang="cd2">
                <a:pos x="l" y="vc"/>
              </a:cxn>
              <a:cxn ang="cd4">
                <a:pos x="hc" y="b"/>
              </a:cxn>
              <a:cxn ang="0">
                <a:pos x="r" y="vc"/>
              </a:cxn>
            </a:cxnLst>
            <a:rect l="l" t="t" r="r" b="b"/>
            <a:pathLst>
              <a:path w="3595" h="4295">
                <a:moveTo>
                  <a:pt x="0" y="3642"/>
                </a:moveTo>
                <a:cubicBezTo>
                  <a:pt x="0" y="4072"/>
                  <a:pt x="923" y="4295"/>
                  <a:pt x="1798" y="4295"/>
                </a:cubicBezTo>
                <a:cubicBezTo>
                  <a:pt x="2656" y="4295"/>
                  <a:pt x="3595" y="4072"/>
                  <a:pt x="3595" y="3642"/>
                </a:cubicBezTo>
                <a:cubicBezTo>
                  <a:pt x="3595" y="653"/>
                  <a:pt x="3595" y="653"/>
                  <a:pt x="3595" y="653"/>
                </a:cubicBezTo>
                <a:cubicBezTo>
                  <a:pt x="3595" y="223"/>
                  <a:pt x="2656" y="0"/>
                  <a:pt x="1798" y="0"/>
                </a:cubicBezTo>
                <a:cubicBezTo>
                  <a:pt x="923" y="0"/>
                  <a:pt x="0" y="223"/>
                  <a:pt x="0" y="653"/>
                </a:cubicBezTo>
                <a:close/>
                <a:moveTo>
                  <a:pt x="191" y="954"/>
                </a:moveTo>
                <a:lnTo>
                  <a:pt x="191" y="971"/>
                </a:lnTo>
                <a:cubicBezTo>
                  <a:pt x="207" y="971"/>
                  <a:pt x="223" y="986"/>
                  <a:pt x="254" y="1002"/>
                </a:cubicBezTo>
                <a:cubicBezTo>
                  <a:pt x="271" y="1018"/>
                  <a:pt x="302" y="1034"/>
                  <a:pt x="318" y="1050"/>
                </a:cubicBezTo>
                <a:lnTo>
                  <a:pt x="334" y="1050"/>
                </a:lnTo>
                <a:cubicBezTo>
                  <a:pt x="350" y="1066"/>
                  <a:pt x="382" y="1066"/>
                  <a:pt x="398" y="1082"/>
                </a:cubicBezTo>
                <a:lnTo>
                  <a:pt x="414" y="1082"/>
                </a:lnTo>
                <a:cubicBezTo>
                  <a:pt x="429" y="1098"/>
                  <a:pt x="462" y="1114"/>
                  <a:pt x="493" y="1114"/>
                </a:cubicBezTo>
                <a:cubicBezTo>
                  <a:pt x="525" y="1129"/>
                  <a:pt x="557" y="1145"/>
                  <a:pt x="589" y="1145"/>
                </a:cubicBezTo>
                <a:cubicBezTo>
                  <a:pt x="620" y="1162"/>
                  <a:pt x="652" y="1177"/>
                  <a:pt x="684" y="1177"/>
                </a:cubicBezTo>
                <a:cubicBezTo>
                  <a:pt x="716" y="1193"/>
                  <a:pt x="748" y="1193"/>
                  <a:pt x="780" y="1209"/>
                </a:cubicBezTo>
                <a:cubicBezTo>
                  <a:pt x="795" y="1209"/>
                  <a:pt x="795" y="1209"/>
                  <a:pt x="795" y="1209"/>
                </a:cubicBezTo>
                <a:cubicBezTo>
                  <a:pt x="827" y="1209"/>
                  <a:pt x="859" y="1225"/>
                  <a:pt x="891" y="1225"/>
                </a:cubicBezTo>
                <a:lnTo>
                  <a:pt x="907" y="1225"/>
                </a:lnTo>
                <a:cubicBezTo>
                  <a:pt x="938" y="1241"/>
                  <a:pt x="971" y="1241"/>
                  <a:pt x="1002" y="1257"/>
                </a:cubicBezTo>
                <a:lnTo>
                  <a:pt x="1018" y="1257"/>
                </a:lnTo>
                <a:cubicBezTo>
                  <a:pt x="1050" y="1257"/>
                  <a:pt x="1081" y="1257"/>
                  <a:pt x="1129" y="1273"/>
                </a:cubicBezTo>
                <a:cubicBezTo>
                  <a:pt x="1161" y="1273"/>
                  <a:pt x="1209" y="1273"/>
                  <a:pt x="1241" y="1289"/>
                </a:cubicBezTo>
                <a:lnTo>
                  <a:pt x="1257" y="1289"/>
                </a:lnTo>
                <a:cubicBezTo>
                  <a:pt x="1289" y="1289"/>
                  <a:pt x="1320" y="1289"/>
                  <a:pt x="1352" y="1289"/>
                </a:cubicBezTo>
                <a:cubicBezTo>
                  <a:pt x="1368" y="1289"/>
                  <a:pt x="1368" y="1289"/>
                  <a:pt x="1368" y="1289"/>
                </a:cubicBezTo>
                <a:cubicBezTo>
                  <a:pt x="1400" y="1305"/>
                  <a:pt x="1447" y="1305"/>
                  <a:pt x="1480" y="1305"/>
                </a:cubicBezTo>
                <a:lnTo>
                  <a:pt x="1495" y="1305"/>
                </a:lnTo>
                <a:cubicBezTo>
                  <a:pt x="1527" y="1305"/>
                  <a:pt x="1559" y="1305"/>
                  <a:pt x="1607" y="1305"/>
                </a:cubicBezTo>
                <a:lnTo>
                  <a:pt x="1623" y="1305"/>
                </a:lnTo>
                <a:cubicBezTo>
                  <a:pt x="1638" y="1305"/>
                  <a:pt x="1654" y="1305"/>
                  <a:pt x="1670" y="1305"/>
                </a:cubicBezTo>
                <a:cubicBezTo>
                  <a:pt x="1686" y="1320"/>
                  <a:pt x="1702" y="1320"/>
                  <a:pt x="1718" y="1320"/>
                </a:cubicBezTo>
                <a:cubicBezTo>
                  <a:pt x="1734" y="1320"/>
                  <a:pt x="1734" y="1320"/>
                  <a:pt x="1734" y="1320"/>
                </a:cubicBezTo>
                <a:cubicBezTo>
                  <a:pt x="1750" y="1320"/>
                  <a:pt x="1781" y="1320"/>
                  <a:pt x="1798" y="1320"/>
                </a:cubicBezTo>
                <a:cubicBezTo>
                  <a:pt x="1813" y="1320"/>
                  <a:pt x="1829" y="1320"/>
                  <a:pt x="1845" y="1320"/>
                </a:cubicBezTo>
                <a:lnTo>
                  <a:pt x="1861" y="1320"/>
                </a:lnTo>
                <a:cubicBezTo>
                  <a:pt x="1877" y="1320"/>
                  <a:pt x="1893" y="1320"/>
                  <a:pt x="1909" y="1305"/>
                </a:cubicBezTo>
                <a:cubicBezTo>
                  <a:pt x="1941" y="1305"/>
                  <a:pt x="1956" y="1305"/>
                  <a:pt x="1972" y="1305"/>
                </a:cubicBezTo>
                <a:lnTo>
                  <a:pt x="1988" y="1305"/>
                </a:lnTo>
                <a:cubicBezTo>
                  <a:pt x="2020" y="1305"/>
                  <a:pt x="2052" y="1305"/>
                  <a:pt x="2099" y="1305"/>
                </a:cubicBezTo>
                <a:cubicBezTo>
                  <a:pt x="2147" y="1305"/>
                  <a:pt x="2179" y="1305"/>
                  <a:pt x="2211" y="1289"/>
                </a:cubicBezTo>
                <a:cubicBezTo>
                  <a:pt x="2227" y="1289"/>
                  <a:pt x="2227" y="1289"/>
                  <a:pt x="2227" y="1289"/>
                </a:cubicBezTo>
                <a:cubicBezTo>
                  <a:pt x="2259" y="1289"/>
                  <a:pt x="2307" y="1289"/>
                  <a:pt x="2338" y="1289"/>
                </a:cubicBezTo>
                <a:lnTo>
                  <a:pt x="2354" y="1289"/>
                </a:lnTo>
                <a:cubicBezTo>
                  <a:pt x="2386" y="1273"/>
                  <a:pt x="2418" y="1273"/>
                  <a:pt x="2450" y="1273"/>
                </a:cubicBezTo>
                <a:cubicBezTo>
                  <a:pt x="2465" y="1273"/>
                  <a:pt x="2465" y="1273"/>
                  <a:pt x="2465" y="1273"/>
                </a:cubicBezTo>
                <a:cubicBezTo>
                  <a:pt x="2497" y="1257"/>
                  <a:pt x="2529" y="1257"/>
                  <a:pt x="2577" y="1257"/>
                </a:cubicBezTo>
                <a:cubicBezTo>
                  <a:pt x="2608" y="1241"/>
                  <a:pt x="2656" y="1241"/>
                  <a:pt x="2688" y="1225"/>
                </a:cubicBezTo>
                <a:cubicBezTo>
                  <a:pt x="2720" y="1225"/>
                  <a:pt x="2752" y="1209"/>
                  <a:pt x="2799" y="1209"/>
                </a:cubicBezTo>
                <a:cubicBezTo>
                  <a:pt x="2831" y="1193"/>
                  <a:pt x="2863" y="1193"/>
                  <a:pt x="2895" y="1177"/>
                </a:cubicBezTo>
                <a:lnTo>
                  <a:pt x="2911" y="1177"/>
                </a:lnTo>
                <a:cubicBezTo>
                  <a:pt x="2943" y="1177"/>
                  <a:pt x="2974" y="1162"/>
                  <a:pt x="2990" y="1145"/>
                </a:cubicBezTo>
                <a:cubicBezTo>
                  <a:pt x="3006" y="1145"/>
                  <a:pt x="3006" y="1145"/>
                  <a:pt x="3006" y="1145"/>
                </a:cubicBezTo>
                <a:cubicBezTo>
                  <a:pt x="3038" y="1145"/>
                  <a:pt x="3070" y="1129"/>
                  <a:pt x="3086" y="1114"/>
                </a:cubicBezTo>
                <a:lnTo>
                  <a:pt x="3102" y="1114"/>
                </a:lnTo>
                <a:cubicBezTo>
                  <a:pt x="3134" y="1114"/>
                  <a:pt x="3149" y="1098"/>
                  <a:pt x="3181" y="1082"/>
                </a:cubicBezTo>
                <a:cubicBezTo>
                  <a:pt x="3213" y="1066"/>
                  <a:pt x="3229" y="1066"/>
                  <a:pt x="3261" y="1050"/>
                </a:cubicBezTo>
                <a:cubicBezTo>
                  <a:pt x="3293" y="1034"/>
                  <a:pt x="3308" y="1018"/>
                  <a:pt x="3325" y="1002"/>
                </a:cubicBezTo>
                <a:cubicBezTo>
                  <a:pt x="3340" y="1002"/>
                  <a:pt x="3340" y="1002"/>
                  <a:pt x="3340" y="1002"/>
                </a:cubicBezTo>
                <a:cubicBezTo>
                  <a:pt x="3356" y="986"/>
                  <a:pt x="3372" y="971"/>
                  <a:pt x="3404" y="971"/>
                </a:cubicBezTo>
                <a:cubicBezTo>
                  <a:pt x="3404" y="954"/>
                  <a:pt x="3404" y="954"/>
                  <a:pt x="3404" y="954"/>
                </a:cubicBezTo>
                <a:cubicBezTo>
                  <a:pt x="3420" y="954"/>
                  <a:pt x="3420" y="939"/>
                  <a:pt x="3436" y="939"/>
                </a:cubicBezTo>
                <a:cubicBezTo>
                  <a:pt x="3436" y="1654"/>
                  <a:pt x="3436" y="1654"/>
                  <a:pt x="3436" y="1654"/>
                </a:cubicBezTo>
                <a:cubicBezTo>
                  <a:pt x="3436" y="1893"/>
                  <a:pt x="2752" y="2147"/>
                  <a:pt x="1798" y="2147"/>
                </a:cubicBezTo>
                <a:cubicBezTo>
                  <a:pt x="827" y="2147"/>
                  <a:pt x="159" y="1893"/>
                  <a:pt x="159" y="1654"/>
                </a:cubicBezTo>
                <a:cubicBezTo>
                  <a:pt x="159" y="939"/>
                  <a:pt x="159" y="939"/>
                  <a:pt x="159" y="939"/>
                </a:cubicBezTo>
                <a:cubicBezTo>
                  <a:pt x="159" y="939"/>
                  <a:pt x="175" y="954"/>
                  <a:pt x="191" y="954"/>
                </a:cubicBezTo>
                <a:close/>
                <a:moveTo>
                  <a:pt x="3436" y="2641"/>
                </a:moveTo>
                <a:cubicBezTo>
                  <a:pt x="3436" y="2879"/>
                  <a:pt x="2752" y="3150"/>
                  <a:pt x="1798" y="3150"/>
                </a:cubicBezTo>
                <a:cubicBezTo>
                  <a:pt x="827" y="3150"/>
                  <a:pt x="159" y="2879"/>
                  <a:pt x="159" y="2641"/>
                </a:cubicBezTo>
                <a:cubicBezTo>
                  <a:pt x="159" y="1941"/>
                  <a:pt x="159" y="1941"/>
                  <a:pt x="159" y="1941"/>
                </a:cubicBezTo>
                <a:cubicBezTo>
                  <a:pt x="462" y="2180"/>
                  <a:pt x="1145" y="2307"/>
                  <a:pt x="1798" y="2307"/>
                </a:cubicBezTo>
                <a:cubicBezTo>
                  <a:pt x="2450" y="2307"/>
                  <a:pt x="3134" y="2180"/>
                  <a:pt x="3436" y="1941"/>
                </a:cubicBezTo>
                <a:close/>
                <a:moveTo>
                  <a:pt x="1798" y="4136"/>
                </a:moveTo>
                <a:cubicBezTo>
                  <a:pt x="827" y="4136"/>
                  <a:pt x="159" y="3881"/>
                  <a:pt x="159" y="3642"/>
                </a:cubicBezTo>
                <a:cubicBezTo>
                  <a:pt x="159" y="2927"/>
                  <a:pt x="159" y="2927"/>
                  <a:pt x="159" y="2927"/>
                </a:cubicBezTo>
                <a:cubicBezTo>
                  <a:pt x="462" y="3181"/>
                  <a:pt x="1145" y="3308"/>
                  <a:pt x="1798" y="3308"/>
                </a:cubicBezTo>
                <a:cubicBezTo>
                  <a:pt x="2450" y="3308"/>
                  <a:pt x="3134" y="3181"/>
                  <a:pt x="3436" y="2927"/>
                </a:cubicBezTo>
                <a:cubicBezTo>
                  <a:pt x="3436" y="3642"/>
                  <a:pt x="3436" y="3642"/>
                  <a:pt x="3436" y="3642"/>
                </a:cubicBezTo>
                <a:cubicBezTo>
                  <a:pt x="3436" y="3881"/>
                  <a:pt x="2752" y="4136"/>
                  <a:pt x="1798" y="4136"/>
                </a:cubicBezTo>
                <a:close/>
                <a:moveTo>
                  <a:pt x="1798" y="159"/>
                </a:moveTo>
                <a:cubicBezTo>
                  <a:pt x="2752" y="159"/>
                  <a:pt x="3436" y="414"/>
                  <a:pt x="3436" y="653"/>
                </a:cubicBezTo>
                <a:cubicBezTo>
                  <a:pt x="3436" y="891"/>
                  <a:pt x="2752" y="1162"/>
                  <a:pt x="1798" y="1162"/>
                </a:cubicBezTo>
                <a:cubicBezTo>
                  <a:pt x="827" y="1162"/>
                  <a:pt x="159" y="891"/>
                  <a:pt x="159" y="653"/>
                </a:cubicBezTo>
                <a:cubicBezTo>
                  <a:pt x="159" y="414"/>
                  <a:pt x="827" y="159"/>
                  <a:pt x="1798" y="1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3" name="Freeform: Shape 2">
            <a:extLst>
              <a:ext uri="{FF2B5EF4-FFF2-40B4-BE49-F238E27FC236}">
                <a16:creationId xmlns:a16="http://schemas.microsoft.com/office/drawing/2014/main" id="{04766B3D-63F9-954E-AFBE-0FB0FE2D052A}"/>
              </a:ext>
            </a:extLst>
          </p:cNvPr>
          <p:cNvSpPr/>
          <p:nvPr/>
        </p:nvSpPr>
        <p:spPr>
          <a:xfrm>
            <a:off x="21760920" y="6551171"/>
            <a:ext cx="678960" cy="1385280"/>
          </a:xfrm>
          <a:custGeom>
            <a:avLst/>
            <a:gdLst/>
            <a:ahLst/>
            <a:cxnLst>
              <a:cxn ang="3cd4">
                <a:pos x="hc" y="t"/>
              </a:cxn>
              <a:cxn ang="cd2">
                <a:pos x="l" y="vc"/>
              </a:cxn>
              <a:cxn ang="cd4">
                <a:pos x="hc" y="b"/>
              </a:cxn>
              <a:cxn ang="0">
                <a:pos x="r" y="vc"/>
              </a:cxn>
            </a:cxnLst>
            <a:rect l="l" t="t" r="r" b="b"/>
            <a:pathLst>
              <a:path w="1887" h="3849">
                <a:moveTo>
                  <a:pt x="1703" y="2656"/>
                </a:moveTo>
                <a:cubicBezTo>
                  <a:pt x="1624" y="2927"/>
                  <a:pt x="1337" y="3070"/>
                  <a:pt x="1083" y="3070"/>
                </a:cubicBezTo>
                <a:cubicBezTo>
                  <a:pt x="749" y="3086"/>
                  <a:pt x="415" y="2959"/>
                  <a:pt x="129" y="2736"/>
                </a:cubicBezTo>
                <a:cubicBezTo>
                  <a:pt x="97" y="2704"/>
                  <a:pt x="49" y="2704"/>
                  <a:pt x="17" y="2752"/>
                </a:cubicBezTo>
                <a:cubicBezTo>
                  <a:pt x="-15" y="2784"/>
                  <a:pt x="1" y="2831"/>
                  <a:pt x="33" y="2863"/>
                </a:cubicBezTo>
                <a:cubicBezTo>
                  <a:pt x="287" y="3070"/>
                  <a:pt x="590" y="3197"/>
                  <a:pt x="908" y="3229"/>
                </a:cubicBezTo>
                <a:cubicBezTo>
                  <a:pt x="908" y="3770"/>
                  <a:pt x="908" y="3770"/>
                  <a:pt x="908" y="3770"/>
                </a:cubicBezTo>
                <a:cubicBezTo>
                  <a:pt x="908" y="3817"/>
                  <a:pt x="939" y="3849"/>
                  <a:pt x="987" y="3849"/>
                </a:cubicBezTo>
                <a:cubicBezTo>
                  <a:pt x="1035" y="3849"/>
                  <a:pt x="1067" y="3817"/>
                  <a:pt x="1067" y="3770"/>
                </a:cubicBezTo>
                <a:cubicBezTo>
                  <a:pt x="1067" y="3229"/>
                  <a:pt x="1067" y="3229"/>
                  <a:pt x="1067" y="3229"/>
                </a:cubicBezTo>
                <a:lnTo>
                  <a:pt x="1083" y="3229"/>
                </a:lnTo>
                <a:cubicBezTo>
                  <a:pt x="1401" y="3213"/>
                  <a:pt x="1767" y="3054"/>
                  <a:pt x="1862" y="2688"/>
                </a:cubicBezTo>
                <a:cubicBezTo>
                  <a:pt x="1862" y="2672"/>
                  <a:pt x="1862" y="2641"/>
                  <a:pt x="1878" y="2624"/>
                </a:cubicBezTo>
                <a:cubicBezTo>
                  <a:pt x="1910" y="2402"/>
                  <a:pt x="1846" y="2211"/>
                  <a:pt x="1703" y="2084"/>
                </a:cubicBezTo>
                <a:cubicBezTo>
                  <a:pt x="1608" y="2004"/>
                  <a:pt x="1512" y="1956"/>
                  <a:pt x="1401" y="1925"/>
                </a:cubicBezTo>
                <a:cubicBezTo>
                  <a:pt x="1274" y="1861"/>
                  <a:pt x="1147" y="1829"/>
                  <a:pt x="1003" y="1781"/>
                </a:cubicBezTo>
                <a:cubicBezTo>
                  <a:pt x="876" y="1750"/>
                  <a:pt x="749" y="1702"/>
                  <a:pt x="621" y="1654"/>
                </a:cubicBezTo>
                <a:cubicBezTo>
                  <a:pt x="478" y="1590"/>
                  <a:pt x="399" y="1527"/>
                  <a:pt x="351" y="1432"/>
                </a:cubicBezTo>
                <a:cubicBezTo>
                  <a:pt x="287" y="1289"/>
                  <a:pt x="320" y="1098"/>
                  <a:pt x="415" y="971"/>
                </a:cubicBezTo>
                <a:cubicBezTo>
                  <a:pt x="606" y="763"/>
                  <a:pt x="956" y="763"/>
                  <a:pt x="1147" y="795"/>
                </a:cubicBezTo>
                <a:cubicBezTo>
                  <a:pt x="1481" y="827"/>
                  <a:pt x="1703" y="1002"/>
                  <a:pt x="1703" y="1002"/>
                </a:cubicBezTo>
                <a:cubicBezTo>
                  <a:pt x="1735" y="1018"/>
                  <a:pt x="1799" y="1018"/>
                  <a:pt x="1814" y="986"/>
                </a:cubicBezTo>
                <a:cubicBezTo>
                  <a:pt x="1846" y="954"/>
                  <a:pt x="1830" y="891"/>
                  <a:pt x="1799" y="875"/>
                </a:cubicBezTo>
                <a:cubicBezTo>
                  <a:pt x="1799" y="859"/>
                  <a:pt x="1528" y="668"/>
                  <a:pt x="1162" y="636"/>
                </a:cubicBezTo>
                <a:cubicBezTo>
                  <a:pt x="1130" y="620"/>
                  <a:pt x="1099" y="620"/>
                  <a:pt x="1067" y="620"/>
                </a:cubicBezTo>
                <a:cubicBezTo>
                  <a:pt x="1067" y="80"/>
                  <a:pt x="1067" y="80"/>
                  <a:pt x="1067" y="80"/>
                </a:cubicBezTo>
                <a:cubicBezTo>
                  <a:pt x="1067" y="32"/>
                  <a:pt x="1035" y="0"/>
                  <a:pt x="987" y="0"/>
                </a:cubicBezTo>
                <a:cubicBezTo>
                  <a:pt x="939" y="0"/>
                  <a:pt x="908" y="32"/>
                  <a:pt x="908" y="80"/>
                </a:cubicBezTo>
                <a:cubicBezTo>
                  <a:pt x="908" y="620"/>
                  <a:pt x="908" y="620"/>
                  <a:pt x="908" y="620"/>
                </a:cubicBezTo>
                <a:cubicBezTo>
                  <a:pt x="638" y="636"/>
                  <a:pt x="430" y="716"/>
                  <a:pt x="303" y="875"/>
                </a:cubicBezTo>
                <a:cubicBezTo>
                  <a:pt x="144" y="1050"/>
                  <a:pt x="112" y="1289"/>
                  <a:pt x="208" y="1495"/>
                </a:cubicBezTo>
                <a:cubicBezTo>
                  <a:pt x="287" y="1670"/>
                  <a:pt x="447" y="1750"/>
                  <a:pt x="558" y="1798"/>
                </a:cubicBezTo>
                <a:cubicBezTo>
                  <a:pt x="701" y="1861"/>
                  <a:pt x="828" y="1893"/>
                  <a:pt x="956" y="1941"/>
                </a:cubicBezTo>
                <a:cubicBezTo>
                  <a:pt x="1083" y="1972"/>
                  <a:pt x="1226" y="2020"/>
                  <a:pt x="1337" y="2068"/>
                </a:cubicBezTo>
                <a:cubicBezTo>
                  <a:pt x="1433" y="2099"/>
                  <a:pt x="1528" y="2147"/>
                  <a:pt x="1592" y="2211"/>
                </a:cubicBezTo>
                <a:cubicBezTo>
                  <a:pt x="1687" y="2290"/>
                  <a:pt x="1735" y="2434"/>
                  <a:pt x="1719" y="2593"/>
                </a:cubicBezTo>
                <a:cubicBezTo>
                  <a:pt x="1719" y="2608"/>
                  <a:pt x="1703" y="2624"/>
                  <a:pt x="1703" y="265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4" name="Freeform: Shape 3">
            <a:extLst>
              <a:ext uri="{FF2B5EF4-FFF2-40B4-BE49-F238E27FC236}">
                <a16:creationId xmlns:a16="http://schemas.microsoft.com/office/drawing/2014/main" id="{F9F9F159-6BB5-B04C-BEA0-F42B183D8373}"/>
              </a:ext>
            </a:extLst>
          </p:cNvPr>
          <p:cNvSpPr/>
          <p:nvPr/>
        </p:nvSpPr>
        <p:spPr>
          <a:xfrm>
            <a:off x="21641386" y="3088164"/>
            <a:ext cx="675000" cy="1545480"/>
          </a:xfrm>
          <a:custGeom>
            <a:avLst/>
            <a:gdLst/>
            <a:ahLst/>
            <a:cxnLst>
              <a:cxn ang="3cd4">
                <a:pos x="hc" y="t"/>
              </a:cxn>
              <a:cxn ang="cd2">
                <a:pos x="l" y="vc"/>
              </a:cxn>
              <a:cxn ang="cd4">
                <a:pos x="hc" y="b"/>
              </a:cxn>
              <a:cxn ang="0">
                <a:pos x="r" y="vc"/>
              </a:cxn>
            </a:cxnLst>
            <a:rect l="l" t="t" r="r" b="b"/>
            <a:pathLst>
              <a:path w="1876" h="4294">
                <a:moveTo>
                  <a:pt x="1709" y="3101"/>
                </a:moveTo>
                <a:cubicBezTo>
                  <a:pt x="1630" y="3372"/>
                  <a:pt x="1328" y="3515"/>
                  <a:pt x="1089" y="3515"/>
                </a:cubicBezTo>
                <a:cubicBezTo>
                  <a:pt x="755" y="3531"/>
                  <a:pt x="405" y="3404"/>
                  <a:pt x="135" y="3181"/>
                </a:cubicBezTo>
                <a:cubicBezTo>
                  <a:pt x="103" y="3149"/>
                  <a:pt x="39" y="3149"/>
                  <a:pt x="23" y="3197"/>
                </a:cubicBezTo>
                <a:cubicBezTo>
                  <a:pt x="-8" y="3229"/>
                  <a:pt x="-8" y="3276"/>
                  <a:pt x="23" y="3308"/>
                </a:cubicBezTo>
                <a:cubicBezTo>
                  <a:pt x="294" y="3515"/>
                  <a:pt x="596" y="3642"/>
                  <a:pt x="914" y="3674"/>
                </a:cubicBezTo>
                <a:cubicBezTo>
                  <a:pt x="914" y="4215"/>
                  <a:pt x="914" y="4215"/>
                  <a:pt x="914" y="4215"/>
                </a:cubicBezTo>
                <a:cubicBezTo>
                  <a:pt x="914" y="4262"/>
                  <a:pt x="946" y="4294"/>
                  <a:pt x="994" y="4294"/>
                </a:cubicBezTo>
                <a:cubicBezTo>
                  <a:pt x="1025" y="4294"/>
                  <a:pt x="1073" y="4262"/>
                  <a:pt x="1073" y="4215"/>
                </a:cubicBezTo>
                <a:cubicBezTo>
                  <a:pt x="1073" y="3674"/>
                  <a:pt x="1073" y="3674"/>
                  <a:pt x="1073" y="3674"/>
                </a:cubicBezTo>
                <a:lnTo>
                  <a:pt x="1089" y="3674"/>
                </a:lnTo>
                <a:cubicBezTo>
                  <a:pt x="1407" y="3658"/>
                  <a:pt x="1773" y="3499"/>
                  <a:pt x="1852" y="3133"/>
                </a:cubicBezTo>
                <a:cubicBezTo>
                  <a:pt x="1868" y="3117"/>
                  <a:pt x="1868" y="3086"/>
                  <a:pt x="1868" y="3069"/>
                </a:cubicBezTo>
                <a:cubicBezTo>
                  <a:pt x="1900" y="2847"/>
                  <a:pt x="1837" y="2656"/>
                  <a:pt x="1709" y="2529"/>
                </a:cubicBezTo>
                <a:cubicBezTo>
                  <a:pt x="1614" y="2449"/>
                  <a:pt x="1503" y="2401"/>
                  <a:pt x="1407" y="2370"/>
                </a:cubicBezTo>
                <a:cubicBezTo>
                  <a:pt x="1280" y="2306"/>
                  <a:pt x="1137" y="2274"/>
                  <a:pt x="1010" y="2226"/>
                </a:cubicBezTo>
                <a:cubicBezTo>
                  <a:pt x="882" y="2195"/>
                  <a:pt x="755" y="2147"/>
                  <a:pt x="628" y="2099"/>
                </a:cubicBezTo>
                <a:cubicBezTo>
                  <a:pt x="485" y="2035"/>
                  <a:pt x="389" y="1972"/>
                  <a:pt x="358" y="1877"/>
                </a:cubicBezTo>
                <a:cubicBezTo>
                  <a:pt x="294" y="1734"/>
                  <a:pt x="310" y="1543"/>
                  <a:pt x="421" y="1416"/>
                </a:cubicBezTo>
                <a:cubicBezTo>
                  <a:pt x="612" y="1208"/>
                  <a:pt x="946" y="1208"/>
                  <a:pt x="1137" y="1240"/>
                </a:cubicBezTo>
                <a:cubicBezTo>
                  <a:pt x="1471" y="1272"/>
                  <a:pt x="1709" y="1447"/>
                  <a:pt x="1709" y="1447"/>
                </a:cubicBezTo>
                <a:cubicBezTo>
                  <a:pt x="1741" y="1463"/>
                  <a:pt x="1789" y="1463"/>
                  <a:pt x="1821" y="1431"/>
                </a:cubicBezTo>
                <a:cubicBezTo>
                  <a:pt x="1852" y="1399"/>
                  <a:pt x="1837" y="1336"/>
                  <a:pt x="1805" y="1320"/>
                </a:cubicBezTo>
                <a:cubicBezTo>
                  <a:pt x="1789" y="1304"/>
                  <a:pt x="1534" y="1113"/>
                  <a:pt x="1153" y="1081"/>
                </a:cubicBezTo>
                <a:cubicBezTo>
                  <a:pt x="1121" y="1065"/>
                  <a:pt x="1089" y="1065"/>
                  <a:pt x="1073" y="1065"/>
                </a:cubicBezTo>
                <a:cubicBezTo>
                  <a:pt x="1073" y="270"/>
                  <a:pt x="1073" y="270"/>
                  <a:pt x="1073" y="270"/>
                </a:cubicBezTo>
                <a:cubicBezTo>
                  <a:pt x="1486" y="699"/>
                  <a:pt x="1486" y="699"/>
                  <a:pt x="1486" y="699"/>
                </a:cubicBezTo>
                <a:cubicBezTo>
                  <a:pt x="1503" y="716"/>
                  <a:pt x="1534" y="731"/>
                  <a:pt x="1550" y="731"/>
                </a:cubicBezTo>
                <a:cubicBezTo>
                  <a:pt x="1566" y="731"/>
                  <a:pt x="1582" y="716"/>
                  <a:pt x="1598" y="699"/>
                </a:cubicBezTo>
                <a:cubicBezTo>
                  <a:pt x="1630" y="668"/>
                  <a:pt x="1630" y="620"/>
                  <a:pt x="1598" y="588"/>
                </a:cubicBezTo>
                <a:cubicBezTo>
                  <a:pt x="1057" y="47"/>
                  <a:pt x="1057" y="47"/>
                  <a:pt x="1057" y="47"/>
                </a:cubicBezTo>
                <a:cubicBezTo>
                  <a:pt x="1041" y="16"/>
                  <a:pt x="1025" y="0"/>
                  <a:pt x="994" y="0"/>
                </a:cubicBezTo>
                <a:cubicBezTo>
                  <a:pt x="978" y="0"/>
                  <a:pt x="978" y="0"/>
                  <a:pt x="978" y="0"/>
                </a:cubicBezTo>
                <a:cubicBezTo>
                  <a:pt x="962" y="0"/>
                  <a:pt x="946" y="0"/>
                  <a:pt x="930" y="16"/>
                </a:cubicBezTo>
                <a:cubicBezTo>
                  <a:pt x="358" y="588"/>
                  <a:pt x="358" y="588"/>
                  <a:pt x="358" y="588"/>
                </a:cubicBezTo>
                <a:cubicBezTo>
                  <a:pt x="325" y="620"/>
                  <a:pt x="325" y="668"/>
                  <a:pt x="358" y="699"/>
                </a:cubicBezTo>
                <a:cubicBezTo>
                  <a:pt x="373" y="716"/>
                  <a:pt x="389" y="731"/>
                  <a:pt x="405" y="731"/>
                </a:cubicBezTo>
                <a:cubicBezTo>
                  <a:pt x="437" y="731"/>
                  <a:pt x="453" y="716"/>
                  <a:pt x="469" y="699"/>
                </a:cubicBezTo>
                <a:cubicBezTo>
                  <a:pt x="914" y="270"/>
                  <a:pt x="914" y="270"/>
                  <a:pt x="914" y="270"/>
                </a:cubicBezTo>
                <a:cubicBezTo>
                  <a:pt x="914" y="1065"/>
                  <a:pt x="914" y="1065"/>
                  <a:pt x="914" y="1065"/>
                </a:cubicBezTo>
                <a:cubicBezTo>
                  <a:pt x="644" y="1081"/>
                  <a:pt x="437" y="1161"/>
                  <a:pt x="294" y="1320"/>
                </a:cubicBezTo>
                <a:cubicBezTo>
                  <a:pt x="150" y="1495"/>
                  <a:pt x="119" y="1734"/>
                  <a:pt x="214" y="1940"/>
                </a:cubicBezTo>
                <a:cubicBezTo>
                  <a:pt x="278" y="2115"/>
                  <a:pt x="453" y="2195"/>
                  <a:pt x="564" y="2243"/>
                </a:cubicBezTo>
                <a:cubicBezTo>
                  <a:pt x="691" y="2306"/>
                  <a:pt x="834" y="2338"/>
                  <a:pt x="962" y="2386"/>
                </a:cubicBezTo>
                <a:cubicBezTo>
                  <a:pt x="1089" y="2417"/>
                  <a:pt x="1216" y="2465"/>
                  <a:pt x="1343" y="2513"/>
                </a:cubicBezTo>
                <a:cubicBezTo>
                  <a:pt x="1439" y="2544"/>
                  <a:pt x="1534" y="2592"/>
                  <a:pt x="1598" y="2656"/>
                </a:cubicBezTo>
                <a:cubicBezTo>
                  <a:pt x="1694" y="2735"/>
                  <a:pt x="1741" y="2879"/>
                  <a:pt x="1725" y="3038"/>
                </a:cubicBezTo>
                <a:cubicBezTo>
                  <a:pt x="1709" y="3053"/>
                  <a:pt x="1709" y="3069"/>
                  <a:pt x="1709" y="310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5" name="Freeform: Shape 4">
            <a:extLst>
              <a:ext uri="{FF2B5EF4-FFF2-40B4-BE49-F238E27FC236}">
                <a16:creationId xmlns:a16="http://schemas.microsoft.com/office/drawing/2014/main" id="{C8F53741-2873-B44B-986D-D7ED06F90B22}"/>
              </a:ext>
            </a:extLst>
          </p:cNvPr>
          <p:cNvSpPr/>
          <p:nvPr/>
        </p:nvSpPr>
        <p:spPr>
          <a:xfrm>
            <a:off x="1983599" y="3094271"/>
            <a:ext cx="1351080" cy="1620000"/>
          </a:xfrm>
          <a:custGeom>
            <a:avLst/>
            <a:gdLst/>
            <a:ahLst/>
            <a:cxnLst>
              <a:cxn ang="3cd4">
                <a:pos x="hc" y="t"/>
              </a:cxn>
              <a:cxn ang="cd2">
                <a:pos x="l" y="vc"/>
              </a:cxn>
              <a:cxn ang="cd4">
                <a:pos x="hc" y="b"/>
              </a:cxn>
              <a:cxn ang="0">
                <a:pos x="r" y="vc"/>
              </a:cxn>
            </a:cxnLst>
            <a:rect l="l" t="t" r="r" b="b"/>
            <a:pathLst>
              <a:path w="3754" h="4501">
                <a:moveTo>
                  <a:pt x="0" y="2083"/>
                </a:moveTo>
                <a:cubicBezTo>
                  <a:pt x="0" y="4183"/>
                  <a:pt x="0" y="4183"/>
                  <a:pt x="0" y="4183"/>
                </a:cubicBezTo>
                <a:cubicBezTo>
                  <a:pt x="0" y="4358"/>
                  <a:pt x="143" y="4501"/>
                  <a:pt x="302" y="4501"/>
                </a:cubicBezTo>
                <a:cubicBezTo>
                  <a:pt x="3436" y="4501"/>
                  <a:pt x="3436" y="4501"/>
                  <a:pt x="3436" y="4501"/>
                </a:cubicBezTo>
                <a:cubicBezTo>
                  <a:pt x="3611" y="4501"/>
                  <a:pt x="3754" y="4358"/>
                  <a:pt x="3754" y="4183"/>
                </a:cubicBezTo>
                <a:cubicBezTo>
                  <a:pt x="3754" y="2083"/>
                  <a:pt x="3754" y="2083"/>
                  <a:pt x="3754" y="2083"/>
                </a:cubicBezTo>
                <a:cubicBezTo>
                  <a:pt x="3754" y="1908"/>
                  <a:pt x="3611" y="1781"/>
                  <a:pt x="3436" y="1781"/>
                </a:cubicBezTo>
                <a:cubicBezTo>
                  <a:pt x="3356" y="1781"/>
                  <a:pt x="3356" y="1781"/>
                  <a:pt x="3356" y="1781"/>
                </a:cubicBezTo>
                <a:cubicBezTo>
                  <a:pt x="3356" y="1702"/>
                  <a:pt x="3356" y="1638"/>
                  <a:pt x="3356" y="1558"/>
                </a:cubicBezTo>
                <a:cubicBezTo>
                  <a:pt x="3356" y="699"/>
                  <a:pt x="2704" y="0"/>
                  <a:pt x="1893" y="0"/>
                </a:cubicBezTo>
                <a:cubicBezTo>
                  <a:pt x="1082" y="0"/>
                  <a:pt x="414" y="699"/>
                  <a:pt x="414" y="1558"/>
                </a:cubicBezTo>
                <a:cubicBezTo>
                  <a:pt x="414" y="1638"/>
                  <a:pt x="414" y="1702"/>
                  <a:pt x="430" y="1781"/>
                </a:cubicBezTo>
                <a:cubicBezTo>
                  <a:pt x="302" y="1781"/>
                  <a:pt x="302" y="1781"/>
                  <a:pt x="302" y="1781"/>
                </a:cubicBezTo>
                <a:cubicBezTo>
                  <a:pt x="143" y="1781"/>
                  <a:pt x="0" y="1908"/>
                  <a:pt x="0" y="2083"/>
                </a:cubicBezTo>
                <a:close/>
                <a:moveTo>
                  <a:pt x="3595" y="2083"/>
                </a:moveTo>
                <a:cubicBezTo>
                  <a:pt x="3595" y="4183"/>
                  <a:pt x="3595" y="4183"/>
                  <a:pt x="3595" y="4183"/>
                </a:cubicBezTo>
                <a:cubicBezTo>
                  <a:pt x="3595" y="4262"/>
                  <a:pt x="3531" y="4342"/>
                  <a:pt x="3436" y="4342"/>
                </a:cubicBezTo>
                <a:cubicBezTo>
                  <a:pt x="302" y="4342"/>
                  <a:pt x="302" y="4342"/>
                  <a:pt x="302" y="4342"/>
                </a:cubicBezTo>
                <a:cubicBezTo>
                  <a:pt x="223" y="4342"/>
                  <a:pt x="159" y="4262"/>
                  <a:pt x="159" y="4183"/>
                </a:cubicBezTo>
                <a:cubicBezTo>
                  <a:pt x="159" y="2083"/>
                  <a:pt x="159" y="2083"/>
                  <a:pt x="159" y="2083"/>
                </a:cubicBezTo>
                <a:cubicBezTo>
                  <a:pt x="159" y="2003"/>
                  <a:pt x="223" y="1940"/>
                  <a:pt x="302" y="1940"/>
                </a:cubicBezTo>
                <a:cubicBezTo>
                  <a:pt x="3436" y="1940"/>
                  <a:pt x="3436" y="1940"/>
                  <a:pt x="3436" y="1940"/>
                </a:cubicBezTo>
                <a:cubicBezTo>
                  <a:pt x="3531" y="1940"/>
                  <a:pt x="3595" y="2003"/>
                  <a:pt x="3595" y="2083"/>
                </a:cubicBezTo>
                <a:close/>
                <a:moveTo>
                  <a:pt x="573" y="1558"/>
                </a:moveTo>
                <a:cubicBezTo>
                  <a:pt x="573" y="795"/>
                  <a:pt x="1161" y="158"/>
                  <a:pt x="1893" y="158"/>
                </a:cubicBezTo>
                <a:cubicBezTo>
                  <a:pt x="2609" y="158"/>
                  <a:pt x="3197" y="795"/>
                  <a:pt x="3197" y="1558"/>
                </a:cubicBezTo>
                <a:cubicBezTo>
                  <a:pt x="3197" y="1638"/>
                  <a:pt x="3197" y="1702"/>
                  <a:pt x="3181" y="1781"/>
                </a:cubicBezTo>
                <a:cubicBezTo>
                  <a:pt x="588" y="1781"/>
                  <a:pt x="588" y="1781"/>
                  <a:pt x="588" y="1781"/>
                </a:cubicBezTo>
                <a:cubicBezTo>
                  <a:pt x="573" y="1702"/>
                  <a:pt x="573" y="1638"/>
                  <a:pt x="573" y="155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6" name="Freeform: Shape 5">
            <a:extLst>
              <a:ext uri="{FF2B5EF4-FFF2-40B4-BE49-F238E27FC236}">
                <a16:creationId xmlns:a16="http://schemas.microsoft.com/office/drawing/2014/main" id="{6DF480AB-23B0-504F-A7A6-7C3E3DE40D6E}"/>
              </a:ext>
            </a:extLst>
          </p:cNvPr>
          <p:cNvSpPr/>
          <p:nvPr/>
        </p:nvSpPr>
        <p:spPr>
          <a:xfrm>
            <a:off x="17544255" y="6513910"/>
            <a:ext cx="1459800" cy="1568519"/>
          </a:xfrm>
          <a:custGeom>
            <a:avLst/>
            <a:gdLst/>
            <a:ahLst/>
            <a:cxnLst>
              <a:cxn ang="3cd4">
                <a:pos x="hc" y="t"/>
              </a:cxn>
              <a:cxn ang="cd2">
                <a:pos x="l" y="vc"/>
              </a:cxn>
              <a:cxn ang="cd4">
                <a:pos x="hc" y="b"/>
              </a:cxn>
              <a:cxn ang="0">
                <a:pos x="r" y="vc"/>
              </a:cxn>
            </a:cxnLst>
            <a:rect l="l" t="t" r="r" b="b"/>
            <a:pathLst>
              <a:path w="4056" h="4358">
                <a:moveTo>
                  <a:pt x="318" y="4358"/>
                </a:moveTo>
                <a:lnTo>
                  <a:pt x="3738" y="4358"/>
                </a:lnTo>
                <a:cubicBezTo>
                  <a:pt x="3913" y="4358"/>
                  <a:pt x="4056" y="4215"/>
                  <a:pt x="4056" y="4040"/>
                </a:cubicBezTo>
                <a:lnTo>
                  <a:pt x="4056" y="620"/>
                </a:lnTo>
                <a:cubicBezTo>
                  <a:pt x="4056" y="445"/>
                  <a:pt x="3913" y="302"/>
                  <a:pt x="3738" y="302"/>
                </a:cubicBezTo>
                <a:lnTo>
                  <a:pt x="3102" y="302"/>
                </a:lnTo>
                <a:lnTo>
                  <a:pt x="3102" y="79"/>
                </a:lnTo>
                <a:cubicBezTo>
                  <a:pt x="3102" y="31"/>
                  <a:pt x="3054" y="0"/>
                  <a:pt x="3022" y="0"/>
                </a:cubicBezTo>
                <a:cubicBezTo>
                  <a:pt x="2974" y="0"/>
                  <a:pt x="2942" y="31"/>
                  <a:pt x="2942" y="79"/>
                </a:cubicBezTo>
                <a:lnTo>
                  <a:pt x="2942" y="302"/>
                </a:lnTo>
                <a:lnTo>
                  <a:pt x="1129" y="302"/>
                </a:lnTo>
                <a:lnTo>
                  <a:pt x="1129" y="79"/>
                </a:lnTo>
                <a:cubicBezTo>
                  <a:pt x="1129" y="31"/>
                  <a:pt x="1082" y="0"/>
                  <a:pt x="1050" y="0"/>
                </a:cubicBezTo>
                <a:cubicBezTo>
                  <a:pt x="1002" y="0"/>
                  <a:pt x="970" y="31"/>
                  <a:pt x="970" y="79"/>
                </a:cubicBezTo>
                <a:lnTo>
                  <a:pt x="970" y="302"/>
                </a:lnTo>
                <a:lnTo>
                  <a:pt x="318" y="302"/>
                </a:lnTo>
                <a:cubicBezTo>
                  <a:pt x="143" y="302"/>
                  <a:pt x="0" y="445"/>
                  <a:pt x="0" y="620"/>
                </a:cubicBezTo>
                <a:lnTo>
                  <a:pt x="0" y="4040"/>
                </a:lnTo>
                <a:cubicBezTo>
                  <a:pt x="0" y="4215"/>
                  <a:pt x="143" y="4358"/>
                  <a:pt x="318" y="4358"/>
                </a:cubicBezTo>
                <a:close/>
                <a:moveTo>
                  <a:pt x="3738" y="4199"/>
                </a:moveTo>
                <a:lnTo>
                  <a:pt x="318" y="4199"/>
                </a:lnTo>
                <a:cubicBezTo>
                  <a:pt x="239" y="4199"/>
                  <a:pt x="159" y="4119"/>
                  <a:pt x="159" y="4040"/>
                </a:cubicBezTo>
                <a:lnTo>
                  <a:pt x="159" y="1447"/>
                </a:lnTo>
                <a:lnTo>
                  <a:pt x="3897" y="1447"/>
                </a:lnTo>
                <a:lnTo>
                  <a:pt x="3897" y="4040"/>
                </a:lnTo>
                <a:cubicBezTo>
                  <a:pt x="3897" y="4119"/>
                  <a:pt x="3833" y="4199"/>
                  <a:pt x="3738" y="4199"/>
                </a:cubicBezTo>
                <a:close/>
                <a:moveTo>
                  <a:pt x="318" y="461"/>
                </a:moveTo>
                <a:lnTo>
                  <a:pt x="970" y="461"/>
                </a:lnTo>
                <a:lnTo>
                  <a:pt x="970" y="684"/>
                </a:lnTo>
                <a:cubicBezTo>
                  <a:pt x="970" y="731"/>
                  <a:pt x="1002" y="763"/>
                  <a:pt x="1050" y="763"/>
                </a:cubicBezTo>
                <a:cubicBezTo>
                  <a:pt x="1082" y="763"/>
                  <a:pt x="1129" y="731"/>
                  <a:pt x="1129" y="684"/>
                </a:cubicBezTo>
                <a:lnTo>
                  <a:pt x="1129" y="461"/>
                </a:lnTo>
                <a:lnTo>
                  <a:pt x="2942" y="461"/>
                </a:lnTo>
                <a:lnTo>
                  <a:pt x="2942" y="684"/>
                </a:lnTo>
                <a:cubicBezTo>
                  <a:pt x="2942" y="731"/>
                  <a:pt x="2974" y="763"/>
                  <a:pt x="3022" y="763"/>
                </a:cubicBezTo>
                <a:cubicBezTo>
                  <a:pt x="3054" y="763"/>
                  <a:pt x="3102" y="731"/>
                  <a:pt x="3102" y="684"/>
                </a:cubicBezTo>
                <a:lnTo>
                  <a:pt x="3102" y="461"/>
                </a:lnTo>
                <a:lnTo>
                  <a:pt x="3738" y="461"/>
                </a:lnTo>
                <a:cubicBezTo>
                  <a:pt x="3833" y="461"/>
                  <a:pt x="3897" y="525"/>
                  <a:pt x="3897" y="620"/>
                </a:cubicBezTo>
                <a:lnTo>
                  <a:pt x="3897" y="1288"/>
                </a:lnTo>
                <a:lnTo>
                  <a:pt x="159" y="1288"/>
                </a:lnTo>
                <a:lnTo>
                  <a:pt x="159" y="620"/>
                </a:lnTo>
                <a:cubicBezTo>
                  <a:pt x="159" y="525"/>
                  <a:pt x="239" y="461"/>
                  <a:pt x="318" y="461"/>
                </a:cubicBezTo>
                <a:close/>
                <a:moveTo>
                  <a:pt x="1415" y="2067"/>
                </a:moveTo>
                <a:lnTo>
                  <a:pt x="1368" y="2067"/>
                </a:lnTo>
                <a:lnTo>
                  <a:pt x="1352" y="2067"/>
                </a:lnTo>
                <a:lnTo>
                  <a:pt x="1066" y="2194"/>
                </a:lnTo>
                <a:cubicBezTo>
                  <a:pt x="1050" y="2194"/>
                  <a:pt x="1034" y="2227"/>
                  <a:pt x="1050" y="2242"/>
                </a:cubicBezTo>
                <a:lnTo>
                  <a:pt x="1066" y="2290"/>
                </a:lnTo>
                <a:cubicBezTo>
                  <a:pt x="1082" y="2306"/>
                  <a:pt x="1097" y="2322"/>
                  <a:pt x="1113" y="2306"/>
                </a:cubicBezTo>
                <a:lnTo>
                  <a:pt x="1320" y="2227"/>
                </a:lnTo>
                <a:lnTo>
                  <a:pt x="1320" y="3435"/>
                </a:lnTo>
                <a:cubicBezTo>
                  <a:pt x="1320" y="3451"/>
                  <a:pt x="1336" y="3467"/>
                  <a:pt x="1352" y="3467"/>
                </a:cubicBezTo>
                <a:lnTo>
                  <a:pt x="1415" y="3467"/>
                </a:lnTo>
                <a:cubicBezTo>
                  <a:pt x="1431" y="3467"/>
                  <a:pt x="1448" y="3451"/>
                  <a:pt x="1448" y="3435"/>
                </a:cubicBezTo>
                <a:lnTo>
                  <a:pt x="1448" y="2115"/>
                </a:lnTo>
                <a:cubicBezTo>
                  <a:pt x="1448" y="2084"/>
                  <a:pt x="1431" y="2067"/>
                  <a:pt x="1415" y="2067"/>
                </a:cubicBezTo>
                <a:close/>
                <a:moveTo>
                  <a:pt x="2974" y="3340"/>
                </a:moveTo>
                <a:lnTo>
                  <a:pt x="2275" y="3340"/>
                </a:lnTo>
                <a:lnTo>
                  <a:pt x="2704" y="2926"/>
                </a:lnTo>
                <a:cubicBezTo>
                  <a:pt x="2927" y="2719"/>
                  <a:pt x="3006" y="2608"/>
                  <a:pt x="3006" y="2433"/>
                </a:cubicBezTo>
                <a:cubicBezTo>
                  <a:pt x="3006" y="2227"/>
                  <a:pt x="2815" y="2067"/>
                  <a:pt x="2576" y="2067"/>
                </a:cubicBezTo>
                <a:cubicBezTo>
                  <a:pt x="2370" y="2067"/>
                  <a:pt x="2211" y="2163"/>
                  <a:pt x="2084" y="2370"/>
                </a:cubicBezTo>
                <a:cubicBezTo>
                  <a:pt x="2084" y="2385"/>
                  <a:pt x="2084" y="2402"/>
                  <a:pt x="2100" y="2417"/>
                </a:cubicBezTo>
                <a:lnTo>
                  <a:pt x="2147" y="2449"/>
                </a:lnTo>
                <a:lnTo>
                  <a:pt x="2179" y="2449"/>
                </a:lnTo>
                <a:cubicBezTo>
                  <a:pt x="2195" y="2449"/>
                  <a:pt x="2190" y="2438"/>
                  <a:pt x="2195" y="2433"/>
                </a:cubicBezTo>
                <a:cubicBezTo>
                  <a:pt x="2290" y="2274"/>
                  <a:pt x="2418" y="2194"/>
                  <a:pt x="2576" y="2194"/>
                </a:cubicBezTo>
                <a:cubicBezTo>
                  <a:pt x="2736" y="2194"/>
                  <a:pt x="2863" y="2306"/>
                  <a:pt x="2863" y="2449"/>
                </a:cubicBezTo>
                <a:cubicBezTo>
                  <a:pt x="2863" y="2545"/>
                  <a:pt x="2815" y="2656"/>
                  <a:pt x="2624" y="2847"/>
                </a:cubicBezTo>
                <a:lnTo>
                  <a:pt x="2067" y="3372"/>
                </a:lnTo>
                <a:cubicBezTo>
                  <a:pt x="2052" y="3372"/>
                  <a:pt x="2057" y="3383"/>
                  <a:pt x="2052" y="3388"/>
                </a:cubicBezTo>
                <a:lnTo>
                  <a:pt x="2052" y="3435"/>
                </a:lnTo>
                <a:cubicBezTo>
                  <a:pt x="2052" y="3451"/>
                  <a:pt x="2067" y="3467"/>
                  <a:pt x="2084" y="3467"/>
                </a:cubicBezTo>
                <a:lnTo>
                  <a:pt x="2974" y="3467"/>
                </a:lnTo>
                <a:cubicBezTo>
                  <a:pt x="3006" y="3467"/>
                  <a:pt x="3022" y="3451"/>
                  <a:pt x="3022" y="3435"/>
                </a:cubicBezTo>
                <a:lnTo>
                  <a:pt x="3022" y="3372"/>
                </a:lnTo>
                <a:cubicBezTo>
                  <a:pt x="3022" y="3356"/>
                  <a:pt x="3006" y="3340"/>
                  <a:pt x="2974" y="33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7" name="Freeform: Shape 6">
            <a:extLst>
              <a:ext uri="{FF2B5EF4-FFF2-40B4-BE49-F238E27FC236}">
                <a16:creationId xmlns:a16="http://schemas.microsoft.com/office/drawing/2014/main" id="{D64D3D0B-CB95-404E-A791-0ECDC228D7F1}"/>
              </a:ext>
            </a:extLst>
          </p:cNvPr>
          <p:cNvSpPr/>
          <p:nvPr/>
        </p:nvSpPr>
        <p:spPr>
          <a:xfrm>
            <a:off x="14029361" y="6933711"/>
            <a:ext cx="1538280" cy="1121759"/>
          </a:xfrm>
          <a:custGeom>
            <a:avLst/>
            <a:gdLst/>
            <a:ahLst/>
            <a:cxnLst>
              <a:cxn ang="3cd4">
                <a:pos x="hc" y="t"/>
              </a:cxn>
              <a:cxn ang="cd2">
                <a:pos x="l" y="vc"/>
              </a:cxn>
              <a:cxn ang="cd4">
                <a:pos x="hc" y="b"/>
              </a:cxn>
              <a:cxn ang="0">
                <a:pos x="r" y="vc"/>
              </a:cxn>
            </a:cxnLst>
            <a:rect l="l" t="t" r="r" b="b"/>
            <a:pathLst>
              <a:path w="4274" h="3117">
                <a:moveTo>
                  <a:pt x="1479" y="2274"/>
                </a:moveTo>
                <a:cubicBezTo>
                  <a:pt x="1495" y="2306"/>
                  <a:pt x="1527" y="2322"/>
                  <a:pt x="1559" y="2322"/>
                </a:cubicBezTo>
                <a:lnTo>
                  <a:pt x="3674" y="2322"/>
                </a:lnTo>
                <a:cubicBezTo>
                  <a:pt x="3706" y="2322"/>
                  <a:pt x="3738" y="2306"/>
                  <a:pt x="3753" y="2274"/>
                </a:cubicBezTo>
                <a:lnTo>
                  <a:pt x="4262" y="875"/>
                </a:lnTo>
                <a:cubicBezTo>
                  <a:pt x="4278" y="859"/>
                  <a:pt x="4278" y="843"/>
                  <a:pt x="4262" y="811"/>
                </a:cubicBezTo>
                <a:cubicBezTo>
                  <a:pt x="4247" y="795"/>
                  <a:pt x="4231" y="780"/>
                  <a:pt x="4199" y="780"/>
                </a:cubicBezTo>
                <a:lnTo>
                  <a:pt x="1368" y="366"/>
                </a:lnTo>
                <a:cubicBezTo>
                  <a:pt x="1336" y="350"/>
                  <a:pt x="1288" y="381"/>
                  <a:pt x="1288" y="429"/>
                </a:cubicBezTo>
                <a:cubicBezTo>
                  <a:pt x="1272" y="477"/>
                  <a:pt x="1304" y="509"/>
                  <a:pt x="1352" y="525"/>
                </a:cubicBezTo>
                <a:lnTo>
                  <a:pt x="4087" y="923"/>
                </a:lnTo>
                <a:lnTo>
                  <a:pt x="3626" y="2163"/>
                </a:lnTo>
                <a:lnTo>
                  <a:pt x="1606" y="2163"/>
                </a:lnTo>
                <a:lnTo>
                  <a:pt x="795" y="48"/>
                </a:lnTo>
                <a:cubicBezTo>
                  <a:pt x="795" y="16"/>
                  <a:pt x="763" y="0"/>
                  <a:pt x="732" y="0"/>
                </a:cubicBezTo>
                <a:lnTo>
                  <a:pt x="79" y="0"/>
                </a:lnTo>
                <a:cubicBezTo>
                  <a:pt x="32" y="0"/>
                  <a:pt x="0" y="32"/>
                  <a:pt x="0" y="80"/>
                </a:cubicBezTo>
                <a:lnTo>
                  <a:pt x="0" y="318"/>
                </a:lnTo>
                <a:cubicBezTo>
                  <a:pt x="0" y="366"/>
                  <a:pt x="32" y="398"/>
                  <a:pt x="79" y="398"/>
                </a:cubicBezTo>
                <a:cubicBezTo>
                  <a:pt x="127" y="398"/>
                  <a:pt x="159" y="366"/>
                  <a:pt x="159" y="318"/>
                </a:cubicBezTo>
                <a:lnTo>
                  <a:pt x="159" y="159"/>
                </a:lnTo>
                <a:lnTo>
                  <a:pt x="668" y="159"/>
                </a:lnTo>
                <a:close/>
                <a:moveTo>
                  <a:pt x="2370" y="2799"/>
                </a:moveTo>
                <a:cubicBezTo>
                  <a:pt x="2370" y="2625"/>
                  <a:pt x="2226" y="2481"/>
                  <a:pt x="2051" y="2481"/>
                </a:cubicBezTo>
                <a:cubicBezTo>
                  <a:pt x="1877" y="2481"/>
                  <a:pt x="1750" y="2625"/>
                  <a:pt x="1750" y="2799"/>
                </a:cubicBezTo>
                <a:cubicBezTo>
                  <a:pt x="1750" y="2974"/>
                  <a:pt x="1877" y="3117"/>
                  <a:pt x="2051" y="3117"/>
                </a:cubicBezTo>
                <a:cubicBezTo>
                  <a:pt x="2226" y="3117"/>
                  <a:pt x="2370" y="2974"/>
                  <a:pt x="2370" y="2799"/>
                </a:cubicBezTo>
                <a:close/>
                <a:moveTo>
                  <a:pt x="1893" y="2799"/>
                </a:moveTo>
                <a:cubicBezTo>
                  <a:pt x="1893" y="2720"/>
                  <a:pt x="1972" y="2640"/>
                  <a:pt x="2051" y="2640"/>
                </a:cubicBezTo>
                <a:cubicBezTo>
                  <a:pt x="2147" y="2640"/>
                  <a:pt x="2211" y="2720"/>
                  <a:pt x="2211" y="2799"/>
                </a:cubicBezTo>
                <a:cubicBezTo>
                  <a:pt x="2211" y="2895"/>
                  <a:pt x="2147" y="2958"/>
                  <a:pt x="2051" y="2958"/>
                </a:cubicBezTo>
                <a:cubicBezTo>
                  <a:pt x="1972" y="2958"/>
                  <a:pt x="1893" y="2895"/>
                  <a:pt x="1893" y="2799"/>
                </a:cubicBezTo>
                <a:close/>
                <a:moveTo>
                  <a:pt x="3483" y="2799"/>
                </a:moveTo>
                <a:cubicBezTo>
                  <a:pt x="3483" y="2625"/>
                  <a:pt x="3340" y="2481"/>
                  <a:pt x="3181" y="2481"/>
                </a:cubicBezTo>
                <a:cubicBezTo>
                  <a:pt x="3006" y="2481"/>
                  <a:pt x="2863" y="2625"/>
                  <a:pt x="2863" y="2799"/>
                </a:cubicBezTo>
                <a:cubicBezTo>
                  <a:pt x="2863" y="2974"/>
                  <a:pt x="3006" y="3117"/>
                  <a:pt x="3181" y="3117"/>
                </a:cubicBezTo>
                <a:cubicBezTo>
                  <a:pt x="3340" y="3117"/>
                  <a:pt x="3483" y="2974"/>
                  <a:pt x="3483" y="2799"/>
                </a:cubicBezTo>
                <a:close/>
                <a:moveTo>
                  <a:pt x="3022" y="2799"/>
                </a:moveTo>
                <a:cubicBezTo>
                  <a:pt x="3022" y="2720"/>
                  <a:pt x="3086" y="2640"/>
                  <a:pt x="3181" y="2640"/>
                </a:cubicBezTo>
                <a:cubicBezTo>
                  <a:pt x="3260" y="2640"/>
                  <a:pt x="3324" y="2720"/>
                  <a:pt x="3324" y="2799"/>
                </a:cubicBezTo>
                <a:cubicBezTo>
                  <a:pt x="3324" y="2895"/>
                  <a:pt x="3260" y="2958"/>
                  <a:pt x="3181" y="2958"/>
                </a:cubicBezTo>
                <a:cubicBezTo>
                  <a:pt x="3086" y="2958"/>
                  <a:pt x="3022" y="2895"/>
                  <a:pt x="3022" y="279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8" name="Freeform: Shape 7">
            <a:extLst>
              <a:ext uri="{FF2B5EF4-FFF2-40B4-BE49-F238E27FC236}">
                <a16:creationId xmlns:a16="http://schemas.microsoft.com/office/drawing/2014/main" id="{F38EB113-BE4E-6045-95D3-B71D4059CB97}"/>
              </a:ext>
            </a:extLst>
          </p:cNvPr>
          <p:cNvSpPr/>
          <p:nvPr/>
        </p:nvSpPr>
        <p:spPr>
          <a:xfrm>
            <a:off x="10155767" y="3368604"/>
            <a:ext cx="1379519" cy="1196280"/>
          </a:xfrm>
          <a:custGeom>
            <a:avLst/>
            <a:gdLst/>
            <a:ahLst/>
            <a:cxnLst>
              <a:cxn ang="3cd4">
                <a:pos x="hc" y="t"/>
              </a:cxn>
              <a:cxn ang="cd2">
                <a:pos x="l" y="vc"/>
              </a:cxn>
              <a:cxn ang="cd4">
                <a:pos x="hc" y="b"/>
              </a:cxn>
              <a:cxn ang="0">
                <a:pos x="r" y="vc"/>
              </a:cxn>
            </a:cxnLst>
            <a:rect l="l" t="t" r="r" b="b"/>
            <a:pathLst>
              <a:path w="3833" h="3324">
                <a:moveTo>
                  <a:pt x="365" y="1765"/>
                </a:moveTo>
                <a:lnTo>
                  <a:pt x="604" y="1765"/>
                </a:lnTo>
                <a:cubicBezTo>
                  <a:pt x="652" y="1765"/>
                  <a:pt x="683" y="1734"/>
                  <a:pt x="683" y="1686"/>
                </a:cubicBezTo>
                <a:lnTo>
                  <a:pt x="683" y="1479"/>
                </a:lnTo>
                <a:lnTo>
                  <a:pt x="1352" y="811"/>
                </a:lnTo>
                <a:lnTo>
                  <a:pt x="1527" y="811"/>
                </a:lnTo>
                <a:lnTo>
                  <a:pt x="2195" y="1479"/>
                </a:lnTo>
                <a:lnTo>
                  <a:pt x="2195" y="1686"/>
                </a:lnTo>
                <a:cubicBezTo>
                  <a:pt x="2195" y="1734"/>
                  <a:pt x="2227" y="1765"/>
                  <a:pt x="2274" y="1765"/>
                </a:cubicBezTo>
                <a:lnTo>
                  <a:pt x="2513" y="1765"/>
                </a:lnTo>
                <a:cubicBezTo>
                  <a:pt x="2561" y="1765"/>
                  <a:pt x="2592" y="1734"/>
                  <a:pt x="2592" y="1686"/>
                </a:cubicBezTo>
                <a:lnTo>
                  <a:pt x="2592" y="1479"/>
                </a:lnTo>
                <a:lnTo>
                  <a:pt x="3260" y="811"/>
                </a:lnTo>
                <a:lnTo>
                  <a:pt x="3483" y="811"/>
                </a:lnTo>
                <a:cubicBezTo>
                  <a:pt x="3515" y="811"/>
                  <a:pt x="3563" y="780"/>
                  <a:pt x="3563" y="732"/>
                </a:cubicBezTo>
                <a:lnTo>
                  <a:pt x="3563" y="493"/>
                </a:lnTo>
                <a:cubicBezTo>
                  <a:pt x="3563" y="446"/>
                  <a:pt x="3515" y="414"/>
                  <a:pt x="3483" y="414"/>
                </a:cubicBezTo>
                <a:lnTo>
                  <a:pt x="3228" y="414"/>
                </a:lnTo>
                <a:cubicBezTo>
                  <a:pt x="3181" y="414"/>
                  <a:pt x="3149" y="446"/>
                  <a:pt x="3149" y="493"/>
                </a:cubicBezTo>
                <a:lnTo>
                  <a:pt x="3149" y="700"/>
                </a:lnTo>
                <a:lnTo>
                  <a:pt x="2497" y="1368"/>
                </a:lnTo>
                <a:lnTo>
                  <a:pt x="2306" y="1368"/>
                </a:lnTo>
                <a:lnTo>
                  <a:pt x="1638" y="700"/>
                </a:lnTo>
                <a:lnTo>
                  <a:pt x="1638" y="493"/>
                </a:lnTo>
                <a:cubicBezTo>
                  <a:pt x="1638" y="446"/>
                  <a:pt x="1606" y="414"/>
                  <a:pt x="1558" y="414"/>
                </a:cubicBezTo>
                <a:lnTo>
                  <a:pt x="1320" y="414"/>
                </a:lnTo>
                <a:cubicBezTo>
                  <a:pt x="1272" y="414"/>
                  <a:pt x="1240" y="446"/>
                  <a:pt x="1240" y="493"/>
                </a:cubicBezTo>
                <a:lnTo>
                  <a:pt x="1240" y="700"/>
                </a:lnTo>
                <a:lnTo>
                  <a:pt x="572" y="1368"/>
                </a:lnTo>
                <a:lnTo>
                  <a:pt x="365" y="1368"/>
                </a:lnTo>
                <a:cubicBezTo>
                  <a:pt x="318" y="1368"/>
                  <a:pt x="286" y="1400"/>
                  <a:pt x="286" y="1447"/>
                </a:cubicBezTo>
                <a:lnTo>
                  <a:pt x="286" y="1686"/>
                </a:lnTo>
                <a:cubicBezTo>
                  <a:pt x="286" y="1734"/>
                  <a:pt x="318" y="1765"/>
                  <a:pt x="365" y="1765"/>
                </a:cubicBezTo>
                <a:close/>
                <a:moveTo>
                  <a:pt x="3308" y="573"/>
                </a:moveTo>
                <a:lnTo>
                  <a:pt x="3403" y="573"/>
                </a:lnTo>
                <a:lnTo>
                  <a:pt x="3403" y="652"/>
                </a:lnTo>
                <a:lnTo>
                  <a:pt x="3308" y="652"/>
                </a:lnTo>
                <a:close/>
                <a:moveTo>
                  <a:pt x="2354" y="1527"/>
                </a:moveTo>
                <a:lnTo>
                  <a:pt x="2433" y="1527"/>
                </a:lnTo>
                <a:lnTo>
                  <a:pt x="2433" y="1607"/>
                </a:lnTo>
                <a:lnTo>
                  <a:pt x="2354" y="1607"/>
                </a:lnTo>
                <a:close/>
                <a:moveTo>
                  <a:pt x="1400" y="573"/>
                </a:moveTo>
                <a:lnTo>
                  <a:pt x="1479" y="573"/>
                </a:lnTo>
                <a:lnTo>
                  <a:pt x="1479" y="652"/>
                </a:lnTo>
                <a:lnTo>
                  <a:pt x="1400" y="652"/>
                </a:lnTo>
                <a:close/>
                <a:moveTo>
                  <a:pt x="445" y="1527"/>
                </a:moveTo>
                <a:lnTo>
                  <a:pt x="525" y="1527"/>
                </a:lnTo>
                <a:lnTo>
                  <a:pt x="525" y="1607"/>
                </a:lnTo>
                <a:lnTo>
                  <a:pt x="445" y="1607"/>
                </a:lnTo>
                <a:close/>
                <a:moveTo>
                  <a:pt x="3546" y="0"/>
                </a:moveTo>
                <a:lnTo>
                  <a:pt x="286" y="0"/>
                </a:lnTo>
                <a:cubicBezTo>
                  <a:pt x="127" y="0"/>
                  <a:pt x="0" y="128"/>
                  <a:pt x="0" y="286"/>
                </a:cubicBezTo>
                <a:lnTo>
                  <a:pt x="0" y="2402"/>
                </a:lnTo>
                <a:cubicBezTo>
                  <a:pt x="0" y="2561"/>
                  <a:pt x="127" y="2688"/>
                  <a:pt x="286" y="2688"/>
                </a:cubicBezTo>
                <a:lnTo>
                  <a:pt x="1447" y="2688"/>
                </a:lnTo>
                <a:lnTo>
                  <a:pt x="1320" y="3229"/>
                </a:lnTo>
                <a:cubicBezTo>
                  <a:pt x="1320" y="3245"/>
                  <a:pt x="1320" y="3277"/>
                  <a:pt x="1336" y="3292"/>
                </a:cubicBezTo>
                <a:cubicBezTo>
                  <a:pt x="1352" y="3308"/>
                  <a:pt x="1383" y="3324"/>
                  <a:pt x="1400" y="3324"/>
                </a:cubicBezTo>
                <a:lnTo>
                  <a:pt x="2354" y="3324"/>
                </a:lnTo>
                <a:cubicBezTo>
                  <a:pt x="2370" y="3324"/>
                  <a:pt x="2401" y="3308"/>
                  <a:pt x="2401" y="3292"/>
                </a:cubicBezTo>
                <a:cubicBezTo>
                  <a:pt x="2418" y="3277"/>
                  <a:pt x="2433" y="3245"/>
                  <a:pt x="2418" y="3229"/>
                </a:cubicBezTo>
                <a:lnTo>
                  <a:pt x="2306" y="2688"/>
                </a:lnTo>
                <a:lnTo>
                  <a:pt x="3546" y="2688"/>
                </a:lnTo>
                <a:cubicBezTo>
                  <a:pt x="3706" y="2688"/>
                  <a:pt x="3833" y="2561"/>
                  <a:pt x="3833" y="2402"/>
                </a:cubicBezTo>
                <a:lnTo>
                  <a:pt x="3833" y="286"/>
                </a:lnTo>
                <a:cubicBezTo>
                  <a:pt x="3833" y="128"/>
                  <a:pt x="3706" y="0"/>
                  <a:pt x="3546" y="0"/>
                </a:cubicBezTo>
                <a:close/>
                <a:moveTo>
                  <a:pt x="286" y="159"/>
                </a:moveTo>
                <a:lnTo>
                  <a:pt x="3546" y="159"/>
                </a:lnTo>
                <a:cubicBezTo>
                  <a:pt x="3626" y="159"/>
                  <a:pt x="3674" y="207"/>
                  <a:pt x="3674" y="286"/>
                </a:cubicBezTo>
                <a:lnTo>
                  <a:pt x="3674" y="2020"/>
                </a:lnTo>
                <a:lnTo>
                  <a:pt x="159" y="2020"/>
                </a:lnTo>
                <a:lnTo>
                  <a:pt x="159" y="286"/>
                </a:lnTo>
                <a:cubicBezTo>
                  <a:pt x="159" y="207"/>
                  <a:pt x="222" y="159"/>
                  <a:pt x="286" y="159"/>
                </a:cubicBezTo>
                <a:close/>
                <a:moveTo>
                  <a:pt x="2242" y="3165"/>
                </a:moveTo>
                <a:lnTo>
                  <a:pt x="1495" y="3165"/>
                </a:lnTo>
                <a:lnTo>
                  <a:pt x="1606" y="2688"/>
                </a:lnTo>
                <a:lnTo>
                  <a:pt x="2147" y="2688"/>
                </a:lnTo>
                <a:close/>
                <a:moveTo>
                  <a:pt x="3546" y="2529"/>
                </a:moveTo>
                <a:lnTo>
                  <a:pt x="2210" y="2529"/>
                </a:lnTo>
                <a:lnTo>
                  <a:pt x="1543" y="2529"/>
                </a:lnTo>
                <a:lnTo>
                  <a:pt x="286" y="2529"/>
                </a:lnTo>
                <a:cubicBezTo>
                  <a:pt x="222" y="2529"/>
                  <a:pt x="159" y="2482"/>
                  <a:pt x="159" y="2402"/>
                </a:cubicBezTo>
                <a:lnTo>
                  <a:pt x="159" y="2179"/>
                </a:lnTo>
                <a:lnTo>
                  <a:pt x="3674" y="2179"/>
                </a:lnTo>
                <a:lnTo>
                  <a:pt x="3674" y="2402"/>
                </a:lnTo>
                <a:cubicBezTo>
                  <a:pt x="3674" y="2482"/>
                  <a:pt x="3626" y="2529"/>
                  <a:pt x="3546" y="252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9" name="Freeform: Shape 8">
            <a:extLst>
              <a:ext uri="{FF2B5EF4-FFF2-40B4-BE49-F238E27FC236}">
                <a16:creationId xmlns:a16="http://schemas.microsoft.com/office/drawing/2014/main" id="{88ADE3D7-CA74-014E-BCD1-AF5E5CDE333F}"/>
              </a:ext>
            </a:extLst>
          </p:cNvPr>
          <p:cNvSpPr/>
          <p:nvPr/>
        </p:nvSpPr>
        <p:spPr>
          <a:xfrm>
            <a:off x="13776217" y="2752727"/>
            <a:ext cx="2140920" cy="1952280"/>
          </a:xfrm>
          <a:custGeom>
            <a:avLst/>
            <a:gdLst/>
            <a:ahLst/>
            <a:cxnLst>
              <a:cxn ang="3cd4">
                <a:pos x="hc" y="t"/>
              </a:cxn>
              <a:cxn ang="cd2">
                <a:pos x="l" y="vc"/>
              </a:cxn>
              <a:cxn ang="cd4">
                <a:pos x="hc" y="b"/>
              </a:cxn>
              <a:cxn ang="0">
                <a:pos x="r" y="vc"/>
              </a:cxn>
            </a:cxnLst>
            <a:rect l="l" t="t" r="r" b="b"/>
            <a:pathLst>
              <a:path w="5948" h="5424">
                <a:moveTo>
                  <a:pt x="1367" y="3165"/>
                </a:moveTo>
                <a:lnTo>
                  <a:pt x="1622" y="3165"/>
                </a:lnTo>
                <a:cubicBezTo>
                  <a:pt x="1670" y="3165"/>
                  <a:pt x="1701" y="3118"/>
                  <a:pt x="1701" y="3086"/>
                </a:cubicBezTo>
                <a:lnTo>
                  <a:pt x="1701" y="2863"/>
                </a:lnTo>
                <a:lnTo>
                  <a:pt x="2385" y="2179"/>
                </a:lnTo>
                <a:lnTo>
                  <a:pt x="2576" y="2179"/>
                </a:lnTo>
                <a:lnTo>
                  <a:pt x="3244" y="2863"/>
                </a:lnTo>
                <a:lnTo>
                  <a:pt x="3244" y="3086"/>
                </a:lnTo>
                <a:cubicBezTo>
                  <a:pt x="3244" y="3118"/>
                  <a:pt x="3276" y="3165"/>
                  <a:pt x="3324" y="3165"/>
                </a:cubicBezTo>
                <a:lnTo>
                  <a:pt x="3578" y="3165"/>
                </a:lnTo>
                <a:cubicBezTo>
                  <a:pt x="3626" y="3165"/>
                  <a:pt x="3658" y="3118"/>
                  <a:pt x="3658" y="3086"/>
                </a:cubicBezTo>
                <a:lnTo>
                  <a:pt x="3658" y="2863"/>
                </a:lnTo>
                <a:lnTo>
                  <a:pt x="4342" y="2179"/>
                </a:lnTo>
                <a:lnTo>
                  <a:pt x="4564" y="2179"/>
                </a:lnTo>
                <a:cubicBezTo>
                  <a:pt x="4612" y="2179"/>
                  <a:pt x="4644" y="2147"/>
                  <a:pt x="4644" y="2100"/>
                </a:cubicBezTo>
                <a:lnTo>
                  <a:pt x="4644" y="1845"/>
                </a:lnTo>
                <a:cubicBezTo>
                  <a:pt x="4644" y="1797"/>
                  <a:pt x="4612" y="1766"/>
                  <a:pt x="4564" y="1766"/>
                </a:cubicBezTo>
                <a:lnTo>
                  <a:pt x="4310" y="1766"/>
                </a:lnTo>
                <a:cubicBezTo>
                  <a:pt x="4262" y="1766"/>
                  <a:pt x="4230" y="1797"/>
                  <a:pt x="4230" y="1845"/>
                </a:cubicBezTo>
                <a:lnTo>
                  <a:pt x="4230" y="2068"/>
                </a:lnTo>
                <a:lnTo>
                  <a:pt x="3563" y="2752"/>
                </a:lnTo>
                <a:lnTo>
                  <a:pt x="3355" y="2752"/>
                </a:lnTo>
                <a:lnTo>
                  <a:pt x="2688" y="2068"/>
                </a:lnTo>
                <a:lnTo>
                  <a:pt x="2688" y="1845"/>
                </a:lnTo>
                <a:cubicBezTo>
                  <a:pt x="2688" y="1797"/>
                  <a:pt x="2640" y="1766"/>
                  <a:pt x="2608" y="1766"/>
                </a:cubicBezTo>
                <a:lnTo>
                  <a:pt x="2354" y="1766"/>
                </a:lnTo>
                <a:cubicBezTo>
                  <a:pt x="2306" y="1766"/>
                  <a:pt x="2274" y="1797"/>
                  <a:pt x="2274" y="1845"/>
                </a:cubicBezTo>
                <a:lnTo>
                  <a:pt x="2274" y="2068"/>
                </a:lnTo>
                <a:lnTo>
                  <a:pt x="1590" y="2752"/>
                </a:lnTo>
                <a:lnTo>
                  <a:pt x="1367" y="2752"/>
                </a:lnTo>
                <a:cubicBezTo>
                  <a:pt x="1320" y="2752"/>
                  <a:pt x="1288" y="2784"/>
                  <a:pt x="1288" y="2832"/>
                </a:cubicBezTo>
                <a:lnTo>
                  <a:pt x="1288" y="3086"/>
                </a:lnTo>
                <a:cubicBezTo>
                  <a:pt x="1288" y="3118"/>
                  <a:pt x="1320" y="3165"/>
                  <a:pt x="1367" y="3165"/>
                </a:cubicBezTo>
                <a:close/>
                <a:moveTo>
                  <a:pt x="4390" y="1924"/>
                </a:moveTo>
                <a:lnTo>
                  <a:pt x="4485" y="1924"/>
                </a:lnTo>
                <a:lnTo>
                  <a:pt x="4485" y="2020"/>
                </a:lnTo>
                <a:lnTo>
                  <a:pt x="4390" y="2020"/>
                </a:lnTo>
                <a:close/>
                <a:moveTo>
                  <a:pt x="3403" y="2911"/>
                </a:moveTo>
                <a:lnTo>
                  <a:pt x="3499" y="2911"/>
                </a:lnTo>
                <a:lnTo>
                  <a:pt x="3499" y="3006"/>
                </a:lnTo>
                <a:lnTo>
                  <a:pt x="3403" y="3006"/>
                </a:lnTo>
                <a:close/>
                <a:moveTo>
                  <a:pt x="2433" y="1924"/>
                </a:moveTo>
                <a:lnTo>
                  <a:pt x="2528" y="1924"/>
                </a:lnTo>
                <a:lnTo>
                  <a:pt x="2528" y="2020"/>
                </a:lnTo>
                <a:lnTo>
                  <a:pt x="2433" y="2020"/>
                </a:lnTo>
                <a:close/>
                <a:moveTo>
                  <a:pt x="1447" y="2911"/>
                </a:moveTo>
                <a:lnTo>
                  <a:pt x="1542" y="2911"/>
                </a:lnTo>
                <a:lnTo>
                  <a:pt x="1542" y="3006"/>
                </a:lnTo>
                <a:lnTo>
                  <a:pt x="1447" y="3006"/>
                </a:lnTo>
                <a:close/>
                <a:moveTo>
                  <a:pt x="429" y="4040"/>
                </a:moveTo>
                <a:cubicBezTo>
                  <a:pt x="429" y="4263"/>
                  <a:pt x="604" y="4438"/>
                  <a:pt x="811" y="4438"/>
                </a:cubicBezTo>
                <a:lnTo>
                  <a:pt x="2322" y="4438"/>
                </a:lnTo>
                <a:lnTo>
                  <a:pt x="1606" y="5297"/>
                </a:lnTo>
                <a:cubicBezTo>
                  <a:pt x="1590" y="5313"/>
                  <a:pt x="1590" y="5344"/>
                  <a:pt x="1606" y="5376"/>
                </a:cubicBezTo>
                <a:cubicBezTo>
                  <a:pt x="1622" y="5408"/>
                  <a:pt x="1638" y="5424"/>
                  <a:pt x="1670" y="5424"/>
                </a:cubicBezTo>
                <a:lnTo>
                  <a:pt x="2258" y="5424"/>
                </a:lnTo>
                <a:cubicBezTo>
                  <a:pt x="2274" y="5424"/>
                  <a:pt x="2290" y="5408"/>
                  <a:pt x="2306" y="5408"/>
                </a:cubicBezTo>
                <a:lnTo>
                  <a:pt x="2974" y="4740"/>
                </a:lnTo>
                <a:lnTo>
                  <a:pt x="3626" y="5408"/>
                </a:lnTo>
                <a:cubicBezTo>
                  <a:pt x="3642" y="5408"/>
                  <a:pt x="3658" y="5424"/>
                  <a:pt x="3690" y="5424"/>
                </a:cubicBezTo>
                <a:lnTo>
                  <a:pt x="4262" y="5424"/>
                </a:lnTo>
                <a:cubicBezTo>
                  <a:pt x="4294" y="5424"/>
                  <a:pt x="4326" y="5408"/>
                  <a:pt x="4342" y="5376"/>
                </a:cubicBezTo>
                <a:cubicBezTo>
                  <a:pt x="4358" y="5344"/>
                  <a:pt x="4342" y="5313"/>
                  <a:pt x="4326" y="5297"/>
                </a:cubicBezTo>
                <a:lnTo>
                  <a:pt x="3610" y="4438"/>
                </a:lnTo>
                <a:lnTo>
                  <a:pt x="5121" y="4438"/>
                </a:lnTo>
                <a:cubicBezTo>
                  <a:pt x="5344" y="4438"/>
                  <a:pt x="5519" y="4263"/>
                  <a:pt x="5519" y="4040"/>
                </a:cubicBezTo>
                <a:lnTo>
                  <a:pt x="5519" y="1145"/>
                </a:lnTo>
                <a:lnTo>
                  <a:pt x="5709" y="1145"/>
                </a:lnTo>
                <a:cubicBezTo>
                  <a:pt x="5837" y="1145"/>
                  <a:pt x="5948" y="1034"/>
                  <a:pt x="5948" y="907"/>
                </a:cubicBezTo>
                <a:lnTo>
                  <a:pt x="5948" y="732"/>
                </a:lnTo>
                <a:cubicBezTo>
                  <a:pt x="5948" y="605"/>
                  <a:pt x="5837" y="493"/>
                  <a:pt x="5709" y="493"/>
                </a:cubicBezTo>
                <a:lnTo>
                  <a:pt x="3292" y="493"/>
                </a:lnTo>
                <a:lnTo>
                  <a:pt x="3292" y="79"/>
                </a:lnTo>
                <a:cubicBezTo>
                  <a:pt x="3292" y="32"/>
                  <a:pt x="3260" y="0"/>
                  <a:pt x="3212" y="0"/>
                </a:cubicBezTo>
                <a:lnTo>
                  <a:pt x="2719" y="0"/>
                </a:lnTo>
                <a:cubicBezTo>
                  <a:pt x="2688" y="0"/>
                  <a:pt x="2640" y="32"/>
                  <a:pt x="2640" y="79"/>
                </a:cubicBezTo>
                <a:lnTo>
                  <a:pt x="2640" y="493"/>
                </a:lnTo>
                <a:lnTo>
                  <a:pt x="238" y="493"/>
                </a:lnTo>
                <a:cubicBezTo>
                  <a:pt x="111" y="493"/>
                  <a:pt x="0" y="605"/>
                  <a:pt x="0" y="732"/>
                </a:cubicBezTo>
                <a:lnTo>
                  <a:pt x="0" y="907"/>
                </a:lnTo>
                <a:cubicBezTo>
                  <a:pt x="0" y="1034"/>
                  <a:pt x="111" y="1145"/>
                  <a:pt x="238" y="1145"/>
                </a:cubicBezTo>
                <a:lnTo>
                  <a:pt x="429" y="1145"/>
                </a:lnTo>
                <a:close/>
                <a:moveTo>
                  <a:pt x="4103" y="5265"/>
                </a:moveTo>
                <a:lnTo>
                  <a:pt x="3721" y="5265"/>
                </a:lnTo>
                <a:lnTo>
                  <a:pt x="3022" y="4581"/>
                </a:lnTo>
                <a:cubicBezTo>
                  <a:pt x="2990" y="4549"/>
                  <a:pt x="2942" y="4549"/>
                  <a:pt x="2910" y="4581"/>
                </a:cubicBezTo>
                <a:lnTo>
                  <a:pt x="2227" y="5265"/>
                </a:lnTo>
                <a:lnTo>
                  <a:pt x="1845" y="5265"/>
                </a:lnTo>
                <a:lnTo>
                  <a:pt x="2528" y="4438"/>
                </a:lnTo>
                <a:lnTo>
                  <a:pt x="3403" y="4438"/>
                </a:lnTo>
                <a:close/>
                <a:moveTo>
                  <a:pt x="5360" y="4040"/>
                </a:moveTo>
                <a:cubicBezTo>
                  <a:pt x="5360" y="4168"/>
                  <a:pt x="5248" y="4279"/>
                  <a:pt x="5121" y="4279"/>
                </a:cubicBezTo>
                <a:lnTo>
                  <a:pt x="3451" y="4279"/>
                </a:lnTo>
                <a:lnTo>
                  <a:pt x="2497" y="4279"/>
                </a:lnTo>
                <a:lnTo>
                  <a:pt x="811" y="4279"/>
                </a:lnTo>
                <a:cubicBezTo>
                  <a:pt x="683" y="4279"/>
                  <a:pt x="588" y="4168"/>
                  <a:pt x="588" y="4040"/>
                </a:cubicBezTo>
                <a:lnTo>
                  <a:pt x="588" y="1145"/>
                </a:lnTo>
                <a:lnTo>
                  <a:pt x="5360" y="1145"/>
                </a:lnTo>
                <a:close/>
                <a:moveTo>
                  <a:pt x="2799" y="159"/>
                </a:moveTo>
                <a:lnTo>
                  <a:pt x="3133" y="159"/>
                </a:lnTo>
                <a:lnTo>
                  <a:pt x="3133" y="493"/>
                </a:lnTo>
                <a:lnTo>
                  <a:pt x="2799" y="493"/>
                </a:lnTo>
                <a:close/>
                <a:moveTo>
                  <a:pt x="159" y="907"/>
                </a:moveTo>
                <a:lnTo>
                  <a:pt x="159" y="732"/>
                </a:lnTo>
                <a:cubicBezTo>
                  <a:pt x="159" y="684"/>
                  <a:pt x="191" y="652"/>
                  <a:pt x="238" y="652"/>
                </a:cubicBezTo>
                <a:lnTo>
                  <a:pt x="2719" y="652"/>
                </a:lnTo>
                <a:lnTo>
                  <a:pt x="3212" y="652"/>
                </a:lnTo>
                <a:lnTo>
                  <a:pt x="5709" y="652"/>
                </a:lnTo>
                <a:cubicBezTo>
                  <a:pt x="5757" y="652"/>
                  <a:pt x="5789" y="684"/>
                  <a:pt x="5789" y="732"/>
                </a:cubicBezTo>
                <a:lnTo>
                  <a:pt x="5789" y="907"/>
                </a:lnTo>
                <a:cubicBezTo>
                  <a:pt x="5789" y="954"/>
                  <a:pt x="5757" y="986"/>
                  <a:pt x="5709" y="986"/>
                </a:cubicBezTo>
                <a:lnTo>
                  <a:pt x="238" y="986"/>
                </a:lnTo>
                <a:cubicBezTo>
                  <a:pt x="191" y="986"/>
                  <a:pt x="159" y="954"/>
                  <a:pt x="159" y="90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0" name="Freeform: Shape 9">
            <a:extLst>
              <a:ext uri="{FF2B5EF4-FFF2-40B4-BE49-F238E27FC236}">
                <a16:creationId xmlns:a16="http://schemas.microsoft.com/office/drawing/2014/main" id="{E3CD8FC5-E1A9-D842-9E67-DA456B75A1A1}"/>
              </a:ext>
            </a:extLst>
          </p:cNvPr>
          <p:cNvSpPr/>
          <p:nvPr/>
        </p:nvSpPr>
        <p:spPr>
          <a:xfrm>
            <a:off x="1401452" y="6456670"/>
            <a:ext cx="2444760" cy="1585800"/>
          </a:xfrm>
          <a:custGeom>
            <a:avLst/>
            <a:gdLst/>
            <a:ahLst/>
            <a:cxnLst>
              <a:cxn ang="3cd4">
                <a:pos x="hc" y="t"/>
              </a:cxn>
              <a:cxn ang="cd2">
                <a:pos x="l" y="vc"/>
              </a:cxn>
              <a:cxn ang="cd4">
                <a:pos x="hc" y="b"/>
              </a:cxn>
              <a:cxn ang="0">
                <a:pos x="r" y="vc"/>
              </a:cxn>
            </a:cxnLst>
            <a:rect l="l" t="t" r="r" b="b"/>
            <a:pathLst>
              <a:path w="6792" h="4406">
                <a:moveTo>
                  <a:pt x="6713" y="3993"/>
                </a:moveTo>
                <a:lnTo>
                  <a:pt x="5217" y="3993"/>
                </a:lnTo>
                <a:lnTo>
                  <a:pt x="5217" y="1463"/>
                </a:lnTo>
                <a:cubicBezTo>
                  <a:pt x="5217" y="1416"/>
                  <a:pt x="5186" y="1384"/>
                  <a:pt x="5138" y="1384"/>
                </a:cubicBezTo>
                <a:cubicBezTo>
                  <a:pt x="5090" y="1384"/>
                  <a:pt x="5058" y="1416"/>
                  <a:pt x="5058" y="1463"/>
                </a:cubicBezTo>
                <a:lnTo>
                  <a:pt x="5058" y="3993"/>
                </a:lnTo>
                <a:lnTo>
                  <a:pt x="4183" y="3993"/>
                </a:lnTo>
                <a:lnTo>
                  <a:pt x="4183" y="2513"/>
                </a:lnTo>
                <a:cubicBezTo>
                  <a:pt x="4183" y="2466"/>
                  <a:pt x="4136" y="2434"/>
                  <a:pt x="4104" y="2434"/>
                </a:cubicBezTo>
                <a:cubicBezTo>
                  <a:pt x="4056" y="2434"/>
                  <a:pt x="4025" y="2466"/>
                  <a:pt x="4025" y="2513"/>
                </a:cubicBezTo>
                <a:lnTo>
                  <a:pt x="4025" y="3993"/>
                </a:lnTo>
                <a:lnTo>
                  <a:pt x="3134" y="3993"/>
                </a:lnTo>
                <a:lnTo>
                  <a:pt x="3134" y="1639"/>
                </a:lnTo>
                <a:cubicBezTo>
                  <a:pt x="3134" y="1591"/>
                  <a:pt x="3102" y="1559"/>
                  <a:pt x="3054" y="1559"/>
                </a:cubicBezTo>
                <a:cubicBezTo>
                  <a:pt x="3007" y="1559"/>
                  <a:pt x="2975" y="1591"/>
                  <a:pt x="2975" y="1639"/>
                </a:cubicBezTo>
                <a:lnTo>
                  <a:pt x="2975" y="3993"/>
                </a:lnTo>
                <a:lnTo>
                  <a:pt x="2100" y="3993"/>
                </a:lnTo>
                <a:lnTo>
                  <a:pt x="2100" y="2513"/>
                </a:lnTo>
                <a:cubicBezTo>
                  <a:pt x="2100" y="2466"/>
                  <a:pt x="2052" y="2434"/>
                  <a:pt x="2020" y="2434"/>
                </a:cubicBezTo>
                <a:cubicBezTo>
                  <a:pt x="1972" y="2434"/>
                  <a:pt x="1941" y="2466"/>
                  <a:pt x="1941" y="2513"/>
                </a:cubicBezTo>
                <a:lnTo>
                  <a:pt x="1941" y="3993"/>
                </a:lnTo>
                <a:lnTo>
                  <a:pt x="589" y="3993"/>
                </a:lnTo>
                <a:lnTo>
                  <a:pt x="589" y="80"/>
                </a:lnTo>
                <a:cubicBezTo>
                  <a:pt x="589" y="32"/>
                  <a:pt x="557" y="0"/>
                  <a:pt x="509" y="0"/>
                </a:cubicBezTo>
                <a:cubicBezTo>
                  <a:pt x="462" y="0"/>
                  <a:pt x="430" y="32"/>
                  <a:pt x="430" y="80"/>
                </a:cubicBezTo>
                <a:lnTo>
                  <a:pt x="430" y="3993"/>
                </a:lnTo>
                <a:lnTo>
                  <a:pt x="80" y="3993"/>
                </a:lnTo>
                <a:cubicBezTo>
                  <a:pt x="32" y="3993"/>
                  <a:pt x="0" y="4024"/>
                  <a:pt x="0" y="4072"/>
                </a:cubicBezTo>
                <a:cubicBezTo>
                  <a:pt x="0" y="4120"/>
                  <a:pt x="32" y="4151"/>
                  <a:pt x="80" y="4151"/>
                </a:cubicBezTo>
                <a:lnTo>
                  <a:pt x="430" y="4151"/>
                </a:lnTo>
                <a:lnTo>
                  <a:pt x="430" y="4326"/>
                </a:lnTo>
                <a:cubicBezTo>
                  <a:pt x="430" y="4374"/>
                  <a:pt x="462" y="4406"/>
                  <a:pt x="509" y="4406"/>
                </a:cubicBezTo>
                <a:cubicBezTo>
                  <a:pt x="557" y="4406"/>
                  <a:pt x="589" y="4374"/>
                  <a:pt x="589" y="4326"/>
                </a:cubicBezTo>
                <a:lnTo>
                  <a:pt x="589" y="4151"/>
                </a:lnTo>
                <a:lnTo>
                  <a:pt x="6713" y="4151"/>
                </a:lnTo>
                <a:cubicBezTo>
                  <a:pt x="6760" y="4151"/>
                  <a:pt x="6792" y="4120"/>
                  <a:pt x="6792" y="4072"/>
                </a:cubicBezTo>
                <a:cubicBezTo>
                  <a:pt x="6792" y="4024"/>
                  <a:pt x="6760" y="3993"/>
                  <a:pt x="6713" y="3993"/>
                </a:cubicBezTo>
                <a:close/>
                <a:moveTo>
                  <a:pt x="5265" y="318"/>
                </a:moveTo>
                <a:lnTo>
                  <a:pt x="3993" y="1591"/>
                </a:lnTo>
                <a:lnTo>
                  <a:pt x="3198" y="795"/>
                </a:lnTo>
                <a:cubicBezTo>
                  <a:pt x="3165" y="764"/>
                  <a:pt x="3118" y="764"/>
                  <a:pt x="3086" y="779"/>
                </a:cubicBezTo>
                <a:lnTo>
                  <a:pt x="1559" y="2068"/>
                </a:lnTo>
                <a:cubicBezTo>
                  <a:pt x="1527" y="2100"/>
                  <a:pt x="1527" y="2148"/>
                  <a:pt x="1559" y="2179"/>
                </a:cubicBezTo>
                <a:cubicBezTo>
                  <a:pt x="1575" y="2195"/>
                  <a:pt x="1591" y="2211"/>
                  <a:pt x="1623" y="2211"/>
                </a:cubicBezTo>
                <a:cubicBezTo>
                  <a:pt x="1639" y="2211"/>
                  <a:pt x="1654" y="2211"/>
                  <a:pt x="1671" y="2195"/>
                </a:cubicBezTo>
                <a:lnTo>
                  <a:pt x="3134" y="954"/>
                </a:lnTo>
                <a:lnTo>
                  <a:pt x="3945" y="1766"/>
                </a:lnTo>
                <a:cubicBezTo>
                  <a:pt x="3961" y="1782"/>
                  <a:pt x="3977" y="1782"/>
                  <a:pt x="3993" y="1782"/>
                </a:cubicBezTo>
                <a:cubicBezTo>
                  <a:pt x="4025" y="1782"/>
                  <a:pt x="4040" y="1782"/>
                  <a:pt x="4056" y="1766"/>
                </a:cubicBezTo>
                <a:lnTo>
                  <a:pt x="5376" y="430"/>
                </a:lnTo>
                <a:cubicBezTo>
                  <a:pt x="5408" y="398"/>
                  <a:pt x="5408" y="350"/>
                  <a:pt x="5376" y="318"/>
                </a:cubicBezTo>
                <a:cubicBezTo>
                  <a:pt x="5344" y="286"/>
                  <a:pt x="5297" y="286"/>
                  <a:pt x="5265" y="31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1" name="Freeform: Shape 10">
            <a:extLst>
              <a:ext uri="{FF2B5EF4-FFF2-40B4-BE49-F238E27FC236}">
                <a16:creationId xmlns:a16="http://schemas.microsoft.com/office/drawing/2014/main" id="{D44715CF-E3BD-3242-B91F-2136DCF12D01}"/>
              </a:ext>
            </a:extLst>
          </p:cNvPr>
          <p:cNvSpPr/>
          <p:nvPr/>
        </p:nvSpPr>
        <p:spPr>
          <a:xfrm>
            <a:off x="6096283" y="6365230"/>
            <a:ext cx="1374120" cy="1585440"/>
          </a:xfrm>
          <a:custGeom>
            <a:avLst/>
            <a:gdLst/>
            <a:ahLst/>
            <a:cxnLst>
              <a:cxn ang="3cd4">
                <a:pos x="hc" y="t"/>
              </a:cxn>
              <a:cxn ang="cd2">
                <a:pos x="l" y="vc"/>
              </a:cxn>
              <a:cxn ang="cd4">
                <a:pos x="hc" y="b"/>
              </a:cxn>
              <a:cxn ang="0">
                <a:pos x="r" y="vc"/>
              </a:cxn>
            </a:cxnLst>
            <a:rect l="l" t="t" r="r" b="b"/>
            <a:pathLst>
              <a:path w="3818" h="4405">
                <a:moveTo>
                  <a:pt x="2927" y="0"/>
                </a:moveTo>
                <a:cubicBezTo>
                  <a:pt x="80" y="0"/>
                  <a:pt x="80" y="0"/>
                  <a:pt x="80" y="0"/>
                </a:cubicBezTo>
                <a:cubicBezTo>
                  <a:pt x="32" y="0"/>
                  <a:pt x="0" y="31"/>
                  <a:pt x="0" y="79"/>
                </a:cubicBezTo>
                <a:cubicBezTo>
                  <a:pt x="0" y="3706"/>
                  <a:pt x="0" y="3706"/>
                  <a:pt x="0" y="3706"/>
                </a:cubicBezTo>
                <a:cubicBezTo>
                  <a:pt x="0" y="3753"/>
                  <a:pt x="32" y="3785"/>
                  <a:pt x="80" y="3785"/>
                </a:cubicBezTo>
                <a:cubicBezTo>
                  <a:pt x="1861" y="3785"/>
                  <a:pt x="1861" y="3785"/>
                  <a:pt x="1861" y="3785"/>
                </a:cubicBezTo>
                <a:cubicBezTo>
                  <a:pt x="1861" y="4215"/>
                  <a:pt x="1861" y="4215"/>
                  <a:pt x="1861" y="4215"/>
                </a:cubicBezTo>
                <a:cubicBezTo>
                  <a:pt x="1861" y="4310"/>
                  <a:pt x="1956" y="4405"/>
                  <a:pt x="2052" y="4405"/>
                </a:cubicBezTo>
                <a:cubicBezTo>
                  <a:pt x="3627" y="4405"/>
                  <a:pt x="3627" y="4405"/>
                  <a:pt x="3627" y="4405"/>
                </a:cubicBezTo>
                <a:cubicBezTo>
                  <a:pt x="3738" y="4405"/>
                  <a:pt x="3818" y="4310"/>
                  <a:pt x="3818" y="4215"/>
                </a:cubicBezTo>
                <a:cubicBezTo>
                  <a:pt x="3818" y="3165"/>
                  <a:pt x="3818" y="3165"/>
                  <a:pt x="3818" y="3165"/>
                </a:cubicBezTo>
                <a:cubicBezTo>
                  <a:pt x="3818" y="3054"/>
                  <a:pt x="3738" y="2974"/>
                  <a:pt x="3627" y="2974"/>
                </a:cubicBezTo>
                <a:cubicBezTo>
                  <a:pt x="3627" y="2942"/>
                  <a:pt x="3627" y="2926"/>
                  <a:pt x="3627" y="2910"/>
                </a:cubicBezTo>
                <a:cubicBezTo>
                  <a:pt x="3627" y="2512"/>
                  <a:pt x="3356" y="2179"/>
                  <a:pt x="3006" y="2099"/>
                </a:cubicBezTo>
                <a:cubicBezTo>
                  <a:pt x="3006" y="79"/>
                  <a:pt x="3006" y="79"/>
                  <a:pt x="3006" y="79"/>
                </a:cubicBezTo>
                <a:cubicBezTo>
                  <a:pt x="3006" y="31"/>
                  <a:pt x="2974" y="0"/>
                  <a:pt x="2927" y="0"/>
                </a:cubicBezTo>
                <a:close/>
                <a:moveTo>
                  <a:pt x="159" y="3626"/>
                </a:moveTo>
                <a:cubicBezTo>
                  <a:pt x="159" y="158"/>
                  <a:pt x="159" y="158"/>
                  <a:pt x="159" y="158"/>
                </a:cubicBezTo>
                <a:cubicBezTo>
                  <a:pt x="2847" y="158"/>
                  <a:pt x="2847" y="158"/>
                  <a:pt x="2847" y="158"/>
                </a:cubicBezTo>
                <a:cubicBezTo>
                  <a:pt x="2847" y="2083"/>
                  <a:pt x="2847" y="2083"/>
                  <a:pt x="2847" y="2083"/>
                </a:cubicBezTo>
                <a:cubicBezTo>
                  <a:pt x="2736" y="2083"/>
                  <a:pt x="2624" y="2115"/>
                  <a:pt x="2529" y="2147"/>
                </a:cubicBezTo>
                <a:cubicBezTo>
                  <a:pt x="2529" y="1670"/>
                  <a:pt x="2529" y="1670"/>
                  <a:pt x="2529" y="1670"/>
                </a:cubicBezTo>
                <a:cubicBezTo>
                  <a:pt x="2529" y="1622"/>
                  <a:pt x="2497" y="1590"/>
                  <a:pt x="2449" y="1590"/>
                </a:cubicBezTo>
                <a:cubicBezTo>
                  <a:pt x="1988" y="1590"/>
                  <a:pt x="1988" y="1590"/>
                  <a:pt x="1988" y="1590"/>
                </a:cubicBezTo>
                <a:cubicBezTo>
                  <a:pt x="1956" y="1590"/>
                  <a:pt x="1909" y="1622"/>
                  <a:pt x="1909" y="1670"/>
                </a:cubicBezTo>
                <a:cubicBezTo>
                  <a:pt x="1909" y="1829"/>
                  <a:pt x="1909" y="1829"/>
                  <a:pt x="1909" y="1829"/>
                </a:cubicBezTo>
                <a:cubicBezTo>
                  <a:pt x="1718" y="1829"/>
                  <a:pt x="1718" y="1829"/>
                  <a:pt x="1718" y="1829"/>
                </a:cubicBezTo>
                <a:cubicBezTo>
                  <a:pt x="1718" y="1208"/>
                  <a:pt x="1718" y="1208"/>
                  <a:pt x="1718" y="1208"/>
                </a:cubicBezTo>
                <a:cubicBezTo>
                  <a:pt x="1909" y="1208"/>
                  <a:pt x="1909" y="1208"/>
                  <a:pt x="1909" y="1208"/>
                </a:cubicBezTo>
                <a:cubicBezTo>
                  <a:pt x="1909" y="1367"/>
                  <a:pt x="1909" y="1367"/>
                  <a:pt x="1909" y="1367"/>
                </a:cubicBezTo>
                <a:cubicBezTo>
                  <a:pt x="1909" y="1415"/>
                  <a:pt x="1956" y="1447"/>
                  <a:pt x="1988" y="1447"/>
                </a:cubicBezTo>
                <a:cubicBezTo>
                  <a:pt x="2449" y="1447"/>
                  <a:pt x="2449" y="1447"/>
                  <a:pt x="2449" y="1447"/>
                </a:cubicBezTo>
                <a:cubicBezTo>
                  <a:pt x="2497" y="1447"/>
                  <a:pt x="2529" y="1415"/>
                  <a:pt x="2529" y="1367"/>
                </a:cubicBezTo>
                <a:cubicBezTo>
                  <a:pt x="2529" y="875"/>
                  <a:pt x="2529" y="875"/>
                  <a:pt x="2529" y="875"/>
                </a:cubicBezTo>
                <a:cubicBezTo>
                  <a:pt x="2529" y="827"/>
                  <a:pt x="2497" y="795"/>
                  <a:pt x="2449" y="795"/>
                </a:cubicBezTo>
                <a:cubicBezTo>
                  <a:pt x="1988" y="795"/>
                  <a:pt x="1988" y="795"/>
                  <a:pt x="1988" y="795"/>
                </a:cubicBezTo>
                <a:cubicBezTo>
                  <a:pt x="1956" y="795"/>
                  <a:pt x="1909" y="827"/>
                  <a:pt x="1909" y="875"/>
                </a:cubicBezTo>
                <a:cubicBezTo>
                  <a:pt x="1909" y="1049"/>
                  <a:pt x="1909" y="1049"/>
                  <a:pt x="1909" y="1049"/>
                </a:cubicBezTo>
                <a:cubicBezTo>
                  <a:pt x="1479" y="1049"/>
                  <a:pt x="1479" y="1049"/>
                  <a:pt x="1479" y="1049"/>
                </a:cubicBezTo>
                <a:cubicBezTo>
                  <a:pt x="1479" y="827"/>
                  <a:pt x="1479" y="827"/>
                  <a:pt x="1479" y="827"/>
                </a:cubicBezTo>
                <a:cubicBezTo>
                  <a:pt x="1479" y="779"/>
                  <a:pt x="1431" y="747"/>
                  <a:pt x="1400" y="747"/>
                </a:cubicBezTo>
                <a:cubicBezTo>
                  <a:pt x="556" y="747"/>
                  <a:pt x="556" y="747"/>
                  <a:pt x="556" y="747"/>
                </a:cubicBezTo>
                <a:cubicBezTo>
                  <a:pt x="525" y="747"/>
                  <a:pt x="477" y="779"/>
                  <a:pt x="477" y="827"/>
                </a:cubicBezTo>
                <a:cubicBezTo>
                  <a:pt x="477" y="1320"/>
                  <a:pt x="477" y="1320"/>
                  <a:pt x="477" y="1320"/>
                </a:cubicBezTo>
                <a:cubicBezTo>
                  <a:pt x="477" y="1367"/>
                  <a:pt x="525" y="1399"/>
                  <a:pt x="556" y="1399"/>
                </a:cubicBezTo>
                <a:cubicBezTo>
                  <a:pt x="1400" y="1399"/>
                  <a:pt x="1400" y="1399"/>
                  <a:pt x="1400" y="1399"/>
                </a:cubicBezTo>
                <a:cubicBezTo>
                  <a:pt x="1431" y="1399"/>
                  <a:pt x="1479" y="1367"/>
                  <a:pt x="1479" y="1320"/>
                </a:cubicBezTo>
                <a:cubicBezTo>
                  <a:pt x="1479" y="1208"/>
                  <a:pt x="1479" y="1208"/>
                  <a:pt x="1479" y="1208"/>
                </a:cubicBezTo>
                <a:cubicBezTo>
                  <a:pt x="1559" y="1208"/>
                  <a:pt x="1559" y="1208"/>
                  <a:pt x="1559" y="1208"/>
                </a:cubicBezTo>
                <a:cubicBezTo>
                  <a:pt x="1559" y="2703"/>
                  <a:pt x="1559" y="2703"/>
                  <a:pt x="1559" y="2703"/>
                </a:cubicBezTo>
                <a:cubicBezTo>
                  <a:pt x="1559" y="2720"/>
                  <a:pt x="1574" y="2735"/>
                  <a:pt x="1574" y="2751"/>
                </a:cubicBezTo>
                <a:cubicBezTo>
                  <a:pt x="1591" y="2767"/>
                  <a:pt x="1622" y="2783"/>
                  <a:pt x="1638" y="2783"/>
                </a:cubicBezTo>
                <a:cubicBezTo>
                  <a:pt x="2083" y="2783"/>
                  <a:pt x="2083" y="2783"/>
                  <a:pt x="2083" y="2783"/>
                </a:cubicBezTo>
                <a:cubicBezTo>
                  <a:pt x="2068" y="2815"/>
                  <a:pt x="2068" y="2863"/>
                  <a:pt x="2068" y="2910"/>
                </a:cubicBezTo>
                <a:cubicBezTo>
                  <a:pt x="2068" y="2926"/>
                  <a:pt x="2068" y="2942"/>
                  <a:pt x="2068" y="2974"/>
                </a:cubicBezTo>
                <a:cubicBezTo>
                  <a:pt x="2052" y="2974"/>
                  <a:pt x="2052" y="2974"/>
                  <a:pt x="2052" y="2974"/>
                </a:cubicBezTo>
                <a:cubicBezTo>
                  <a:pt x="1956" y="2974"/>
                  <a:pt x="1861" y="3054"/>
                  <a:pt x="1861" y="3165"/>
                </a:cubicBezTo>
                <a:cubicBezTo>
                  <a:pt x="1861" y="3626"/>
                  <a:pt x="1861" y="3626"/>
                  <a:pt x="1861" y="3626"/>
                </a:cubicBezTo>
                <a:close/>
                <a:moveTo>
                  <a:pt x="2116" y="2624"/>
                </a:moveTo>
                <a:cubicBezTo>
                  <a:pt x="1718" y="2624"/>
                  <a:pt x="1718" y="2624"/>
                  <a:pt x="1718" y="2624"/>
                </a:cubicBezTo>
                <a:cubicBezTo>
                  <a:pt x="1718" y="1988"/>
                  <a:pt x="1718" y="1988"/>
                  <a:pt x="1718" y="1988"/>
                </a:cubicBezTo>
                <a:cubicBezTo>
                  <a:pt x="1909" y="1988"/>
                  <a:pt x="1909" y="1988"/>
                  <a:pt x="1909" y="1988"/>
                </a:cubicBezTo>
                <a:cubicBezTo>
                  <a:pt x="1909" y="2163"/>
                  <a:pt x="1909" y="2163"/>
                  <a:pt x="1909" y="2163"/>
                </a:cubicBezTo>
                <a:cubicBezTo>
                  <a:pt x="1909" y="2211"/>
                  <a:pt x="1956" y="2242"/>
                  <a:pt x="1988" y="2242"/>
                </a:cubicBezTo>
                <a:cubicBezTo>
                  <a:pt x="2386" y="2242"/>
                  <a:pt x="2386" y="2242"/>
                  <a:pt x="2386" y="2242"/>
                </a:cubicBezTo>
                <a:cubicBezTo>
                  <a:pt x="2259" y="2338"/>
                  <a:pt x="2163" y="2465"/>
                  <a:pt x="2116" y="2624"/>
                </a:cubicBezTo>
                <a:close/>
                <a:moveTo>
                  <a:pt x="2068" y="2083"/>
                </a:moveTo>
                <a:cubicBezTo>
                  <a:pt x="2068" y="1749"/>
                  <a:pt x="2068" y="1749"/>
                  <a:pt x="2068" y="1749"/>
                </a:cubicBezTo>
                <a:cubicBezTo>
                  <a:pt x="2370" y="1749"/>
                  <a:pt x="2370" y="1749"/>
                  <a:pt x="2370" y="1749"/>
                </a:cubicBezTo>
                <a:cubicBezTo>
                  <a:pt x="2370" y="2083"/>
                  <a:pt x="2370" y="2083"/>
                  <a:pt x="2370" y="2083"/>
                </a:cubicBezTo>
                <a:close/>
                <a:moveTo>
                  <a:pt x="2068" y="1288"/>
                </a:moveTo>
                <a:cubicBezTo>
                  <a:pt x="2068" y="954"/>
                  <a:pt x="2068" y="954"/>
                  <a:pt x="2068" y="954"/>
                </a:cubicBezTo>
                <a:cubicBezTo>
                  <a:pt x="2370" y="954"/>
                  <a:pt x="2370" y="954"/>
                  <a:pt x="2370" y="954"/>
                </a:cubicBezTo>
                <a:cubicBezTo>
                  <a:pt x="2370" y="1288"/>
                  <a:pt x="2370" y="1288"/>
                  <a:pt x="2370" y="1288"/>
                </a:cubicBezTo>
                <a:close/>
                <a:moveTo>
                  <a:pt x="1320" y="906"/>
                </a:moveTo>
                <a:cubicBezTo>
                  <a:pt x="1320" y="1240"/>
                  <a:pt x="1320" y="1240"/>
                  <a:pt x="1320" y="1240"/>
                </a:cubicBezTo>
                <a:cubicBezTo>
                  <a:pt x="636" y="1240"/>
                  <a:pt x="636" y="1240"/>
                  <a:pt x="636" y="1240"/>
                </a:cubicBezTo>
                <a:cubicBezTo>
                  <a:pt x="636" y="906"/>
                  <a:pt x="636" y="906"/>
                  <a:pt x="636" y="906"/>
                </a:cubicBezTo>
                <a:close/>
                <a:moveTo>
                  <a:pt x="3658" y="3165"/>
                </a:moveTo>
                <a:cubicBezTo>
                  <a:pt x="3658" y="4215"/>
                  <a:pt x="3658" y="4215"/>
                  <a:pt x="3658" y="4215"/>
                </a:cubicBezTo>
                <a:cubicBezTo>
                  <a:pt x="3658" y="4230"/>
                  <a:pt x="3642" y="4247"/>
                  <a:pt x="3627" y="4247"/>
                </a:cubicBezTo>
                <a:cubicBezTo>
                  <a:pt x="2052" y="4247"/>
                  <a:pt x="2052" y="4247"/>
                  <a:pt x="2052" y="4247"/>
                </a:cubicBezTo>
                <a:cubicBezTo>
                  <a:pt x="2036" y="4247"/>
                  <a:pt x="2020" y="4230"/>
                  <a:pt x="2020" y="4215"/>
                </a:cubicBezTo>
                <a:cubicBezTo>
                  <a:pt x="2020" y="3165"/>
                  <a:pt x="2020" y="3165"/>
                  <a:pt x="2020" y="3165"/>
                </a:cubicBezTo>
                <a:cubicBezTo>
                  <a:pt x="2020" y="3149"/>
                  <a:pt x="2036" y="3133"/>
                  <a:pt x="2052" y="3133"/>
                </a:cubicBezTo>
                <a:cubicBezTo>
                  <a:pt x="3627" y="3133"/>
                  <a:pt x="3627" y="3133"/>
                  <a:pt x="3627" y="3133"/>
                </a:cubicBezTo>
                <a:cubicBezTo>
                  <a:pt x="3642" y="3133"/>
                  <a:pt x="3658" y="3149"/>
                  <a:pt x="3658" y="3165"/>
                </a:cubicBezTo>
                <a:close/>
                <a:moveTo>
                  <a:pt x="3467" y="2910"/>
                </a:moveTo>
                <a:cubicBezTo>
                  <a:pt x="3467" y="2926"/>
                  <a:pt x="3467" y="2942"/>
                  <a:pt x="3467" y="2974"/>
                </a:cubicBezTo>
                <a:cubicBezTo>
                  <a:pt x="2227" y="2974"/>
                  <a:pt x="2227" y="2974"/>
                  <a:pt x="2227" y="2974"/>
                </a:cubicBezTo>
                <a:cubicBezTo>
                  <a:pt x="2227" y="2942"/>
                  <a:pt x="2227" y="2926"/>
                  <a:pt x="2227" y="2910"/>
                </a:cubicBezTo>
                <a:cubicBezTo>
                  <a:pt x="2227" y="2545"/>
                  <a:pt x="2513" y="2242"/>
                  <a:pt x="2847" y="2242"/>
                </a:cubicBezTo>
                <a:cubicBezTo>
                  <a:pt x="3181" y="2242"/>
                  <a:pt x="3467" y="2545"/>
                  <a:pt x="3467" y="291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2" name="Freeform: Shape 11">
            <a:extLst>
              <a:ext uri="{FF2B5EF4-FFF2-40B4-BE49-F238E27FC236}">
                <a16:creationId xmlns:a16="http://schemas.microsoft.com/office/drawing/2014/main" id="{12E84306-6204-FC4C-944C-C5E60E83EA67}"/>
              </a:ext>
            </a:extLst>
          </p:cNvPr>
          <p:cNvSpPr/>
          <p:nvPr/>
        </p:nvSpPr>
        <p:spPr>
          <a:xfrm>
            <a:off x="9830348" y="6428230"/>
            <a:ext cx="1902960" cy="1591200"/>
          </a:xfrm>
          <a:custGeom>
            <a:avLst/>
            <a:gdLst/>
            <a:ahLst/>
            <a:cxnLst>
              <a:cxn ang="3cd4">
                <a:pos x="hc" y="t"/>
              </a:cxn>
              <a:cxn ang="cd2">
                <a:pos x="l" y="vc"/>
              </a:cxn>
              <a:cxn ang="cd4">
                <a:pos x="hc" y="b"/>
              </a:cxn>
              <a:cxn ang="0">
                <a:pos x="r" y="vc"/>
              </a:cxn>
            </a:cxnLst>
            <a:rect l="l" t="t" r="r" b="b"/>
            <a:pathLst>
              <a:path w="5287" h="4421">
                <a:moveTo>
                  <a:pt x="1718" y="2703"/>
                </a:moveTo>
                <a:cubicBezTo>
                  <a:pt x="1734" y="2703"/>
                  <a:pt x="1750" y="2703"/>
                  <a:pt x="1750" y="2703"/>
                </a:cubicBezTo>
                <a:cubicBezTo>
                  <a:pt x="2736" y="2242"/>
                  <a:pt x="2736" y="2242"/>
                  <a:pt x="2736" y="2242"/>
                </a:cubicBezTo>
                <a:cubicBezTo>
                  <a:pt x="2736" y="3228"/>
                  <a:pt x="2736" y="3228"/>
                  <a:pt x="2736" y="3228"/>
                </a:cubicBezTo>
                <a:cubicBezTo>
                  <a:pt x="2736" y="3260"/>
                  <a:pt x="2752" y="3292"/>
                  <a:pt x="2768" y="3308"/>
                </a:cubicBezTo>
                <a:cubicBezTo>
                  <a:pt x="5170" y="4405"/>
                  <a:pt x="5170" y="4405"/>
                  <a:pt x="5170" y="4405"/>
                </a:cubicBezTo>
                <a:cubicBezTo>
                  <a:pt x="5185" y="4421"/>
                  <a:pt x="5201" y="4421"/>
                  <a:pt x="5201" y="4421"/>
                </a:cubicBezTo>
                <a:cubicBezTo>
                  <a:pt x="5233" y="4421"/>
                  <a:pt x="5265" y="4405"/>
                  <a:pt x="5281" y="4373"/>
                </a:cubicBezTo>
                <a:cubicBezTo>
                  <a:pt x="5297" y="4326"/>
                  <a:pt x="5281" y="4278"/>
                  <a:pt x="5233" y="4262"/>
                </a:cubicBezTo>
                <a:cubicBezTo>
                  <a:pt x="2895" y="3181"/>
                  <a:pt x="2895" y="3181"/>
                  <a:pt x="2895" y="3181"/>
                </a:cubicBezTo>
                <a:cubicBezTo>
                  <a:pt x="2895" y="2179"/>
                  <a:pt x="2895" y="2179"/>
                  <a:pt x="2895" y="2179"/>
                </a:cubicBezTo>
                <a:cubicBezTo>
                  <a:pt x="3293" y="1988"/>
                  <a:pt x="3293" y="1988"/>
                  <a:pt x="3293" y="1988"/>
                </a:cubicBezTo>
                <a:cubicBezTo>
                  <a:pt x="3293" y="2767"/>
                  <a:pt x="3293" y="2767"/>
                  <a:pt x="3293" y="2767"/>
                </a:cubicBezTo>
                <a:cubicBezTo>
                  <a:pt x="3293" y="2799"/>
                  <a:pt x="3308" y="2831"/>
                  <a:pt x="3340" y="2831"/>
                </a:cubicBezTo>
                <a:cubicBezTo>
                  <a:pt x="5090" y="3578"/>
                  <a:pt x="5090" y="3578"/>
                  <a:pt x="5090" y="3578"/>
                </a:cubicBezTo>
                <a:cubicBezTo>
                  <a:pt x="5090" y="3594"/>
                  <a:pt x="5106" y="3594"/>
                  <a:pt x="5122" y="3594"/>
                </a:cubicBezTo>
                <a:cubicBezTo>
                  <a:pt x="5138" y="3594"/>
                  <a:pt x="5170" y="3578"/>
                  <a:pt x="5185" y="3546"/>
                </a:cubicBezTo>
                <a:cubicBezTo>
                  <a:pt x="5201" y="3499"/>
                  <a:pt x="5185" y="3451"/>
                  <a:pt x="5138" y="3435"/>
                </a:cubicBezTo>
                <a:cubicBezTo>
                  <a:pt x="3452" y="2719"/>
                  <a:pt x="3452" y="2719"/>
                  <a:pt x="3452" y="2719"/>
                </a:cubicBezTo>
                <a:cubicBezTo>
                  <a:pt x="3452" y="1972"/>
                  <a:pt x="3452" y="1972"/>
                  <a:pt x="3452" y="1972"/>
                </a:cubicBezTo>
                <a:cubicBezTo>
                  <a:pt x="3452" y="1956"/>
                  <a:pt x="3436" y="1940"/>
                  <a:pt x="3420" y="1924"/>
                </a:cubicBezTo>
                <a:cubicBezTo>
                  <a:pt x="4501" y="1415"/>
                  <a:pt x="4501" y="1415"/>
                  <a:pt x="4501" y="1415"/>
                </a:cubicBezTo>
                <a:cubicBezTo>
                  <a:pt x="4533" y="1399"/>
                  <a:pt x="4549" y="1352"/>
                  <a:pt x="4533" y="1319"/>
                </a:cubicBezTo>
                <a:cubicBezTo>
                  <a:pt x="3945" y="47"/>
                  <a:pt x="3945" y="47"/>
                  <a:pt x="3945" y="47"/>
                </a:cubicBezTo>
                <a:cubicBezTo>
                  <a:pt x="3945" y="31"/>
                  <a:pt x="3929" y="15"/>
                  <a:pt x="3897" y="0"/>
                </a:cubicBezTo>
                <a:cubicBezTo>
                  <a:pt x="3881" y="0"/>
                  <a:pt x="3865" y="0"/>
                  <a:pt x="3849" y="15"/>
                </a:cubicBezTo>
                <a:cubicBezTo>
                  <a:pt x="48" y="1781"/>
                  <a:pt x="48" y="1781"/>
                  <a:pt x="48" y="1781"/>
                </a:cubicBezTo>
                <a:cubicBezTo>
                  <a:pt x="16" y="1797"/>
                  <a:pt x="0" y="1828"/>
                  <a:pt x="0" y="1861"/>
                </a:cubicBezTo>
                <a:cubicBezTo>
                  <a:pt x="0" y="1876"/>
                  <a:pt x="16" y="1908"/>
                  <a:pt x="48" y="1924"/>
                </a:cubicBezTo>
                <a:cubicBezTo>
                  <a:pt x="1686" y="2703"/>
                  <a:pt x="1686" y="2703"/>
                  <a:pt x="1686" y="2703"/>
                </a:cubicBezTo>
                <a:cubicBezTo>
                  <a:pt x="1702" y="2703"/>
                  <a:pt x="1718" y="2703"/>
                  <a:pt x="1718" y="2703"/>
                </a:cubicBezTo>
                <a:close/>
                <a:moveTo>
                  <a:pt x="1718" y="2545"/>
                </a:moveTo>
                <a:cubicBezTo>
                  <a:pt x="811" y="2115"/>
                  <a:pt x="811" y="2115"/>
                  <a:pt x="811" y="2115"/>
                </a:cubicBezTo>
                <a:cubicBezTo>
                  <a:pt x="3992" y="620"/>
                  <a:pt x="3992" y="620"/>
                  <a:pt x="3992" y="620"/>
                </a:cubicBezTo>
                <a:cubicBezTo>
                  <a:pt x="4008" y="620"/>
                  <a:pt x="4024" y="604"/>
                  <a:pt x="4024" y="604"/>
                </a:cubicBezTo>
                <a:cubicBezTo>
                  <a:pt x="4358" y="1304"/>
                  <a:pt x="4358" y="1304"/>
                  <a:pt x="4358" y="1304"/>
                </a:cubicBezTo>
                <a:close/>
                <a:moveTo>
                  <a:pt x="3834" y="191"/>
                </a:moveTo>
                <a:cubicBezTo>
                  <a:pt x="3977" y="477"/>
                  <a:pt x="3977" y="477"/>
                  <a:pt x="3977" y="477"/>
                </a:cubicBezTo>
                <a:cubicBezTo>
                  <a:pt x="3961" y="477"/>
                  <a:pt x="3945" y="477"/>
                  <a:pt x="3929" y="477"/>
                </a:cubicBezTo>
                <a:cubicBezTo>
                  <a:pt x="636" y="2019"/>
                  <a:pt x="636" y="2019"/>
                  <a:pt x="636" y="2019"/>
                </a:cubicBezTo>
                <a:lnTo>
                  <a:pt x="620" y="2019"/>
                </a:lnTo>
                <a:cubicBezTo>
                  <a:pt x="271" y="1861"/>
                  <a:pt x="271" y="1861"/>
                  <a:pt x="271" y="186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3" name="Freeform: Shape 12">
            <a:extLst>
              <a:ext uri="{FF2B5EF4-FFF2-40B4-BE49-F238E27FC236}">
                <a16:creationId xmlns:a16="http://schemas.microsoft.com/office/drawing/2014/main" id="{BDE15758-EE37-A944-8BEB-45289E2BCE68}"/>
              </a:ext>
            </a:extLst>
          </p:cNvPr>
          <p:cNvSpPr/>
          <p:nvPr/>
        </p:nvSpPr>
        <p:spPr>
          <a:xfrm>
            <a:off x="2221510" y="9815788"/>
            <a:ext cx="755280" cy="1385280"/>
          </a:xfrm>
          <a:custGeom>
            <a:avLst/>
            <a:gdLst/>
            <a:ahLst/>
            <a:cxnLst>
              <a:cxn ang="3cd4">
                <a:pos x="hc" y="t"/>
              </a:cxn>
              <a:cxn ang="cd2">
                <a:pos x="l" y="vc"/>
              </a:cxn>
              <a:cxn ang="cd4">
                <a:pos x="hc" y="b"/>
              </a:cxn>
              <a:cxn ang="0">
                <a:pos x="r" y="vc"/>
              </a:cxn>
            </a:cxnLst>
            <a:rect l="l" t="t" r="r" b="b"/>
            <a:pathLst>
              <a:path w="2099" h="3849">
                <a:moveTo>
                  <a:pt x="0" y="2338"/>
                </a:moveTo>
                <a:cubicBezTo>
                  <a:pt x="0" y="2385"/>
                  <a:pt x="31" y="2417"/>
                  <a:pt x="79" y="2417"/>
                </a:cubicBezTo>
                <a:cubicBezTo>
                  <a:pt x="429" y="2417"/>
                  <a:pt x="429" y="2417"/>
                  <a:pt x="429" y="2417"/>
                </a:cubicBezTo>
                <a:cubicBezTo>
                  <a:pt x="445" y="2624"/>
                  <a:pt x="445" y="2831"/>
                  <a:pt x="397" y="3006"/>
                </a:cubicBezTo>
                <a:cubicBezTo>
                  <a:pt x="397" y="3037"/>
                  <a:pt x="397" y="3037"/>
                  <a:pt x="397" y="3037"/>
                </a:cubicBezTo>
                <a:cubicBezTo>
                  <a:pt x="334" y="3260"/>
                  <a:pt x="286" y="3483"/>
                  <a:pt x="111" y="3721"/>
                </a:cubicBezTo>
                <a:cubicBezTo>
                  <a:pt x="95" y="3738"/>
                  <a:pt x="95" y="3769"/>
                  <a:pt x="111" y="3801"/>
                </a:cubicBezTo>
                <a:cubicBezTo>
                  <a:pt x="111" y="3833"/>
                  <a:pt x="143" y="3849"/>
                  <a:pt x="175" y="3849"/>
                </a:cubicBezTo>
                <a:cubicBezTo>
                  <a:pt x="2020" y="3849"/>
                  <a:pt x="2020" y="3849"/>
                  <a:pt x="2020" y="3849"/>
                </a:cubicBezTo>
                <a:cubicBezTo>
                  <a:pt x="2067" y="3849"/>
                  <a:pt x="2099" y="3801"/>
                  <a:pt x="2099" y="3769"/>
                </a:cubicBezTo>
                <a:cubicBezTo>
                  <a:pt x="2099" y="3721"/>
                  <a:pt x="2067" y="3690"/>
                  <a:pt x="2020" y="3690"/>
                </a:cubicBezTo>
                <a:cubicBezTo>
                  <a:pt x="318" y="3690"/>
                  <a:pt x="318" y="3690"/>
                  <a:pt x="318" y="3690"/>
                </a:cubicBezTo>
                <a:cubicBezTo>
                  <a:pt x="445" y="3467"/>
                  <a:pt x="493" y="3276"/>
                  <a:pt x="556" y="3069"/>
                </a:cubicBezTo>
                <a:cubicBezTo>
                  <a:pt x="556" y="3054"/>
                  <a:pt x="556" y="3054"/>
                  <a:pt x="556" y="3054"/>
                </a:cubicBezTo>
                <a:cubicBezTo>
                  <a:pt x="604" y="2863"/>
                  <a:pt x="604" y="2640"/>
                  <a:pt x="588" y="2417"/>
                </a:cubicBezTo>
                <a:cubicBezTo>
                  <a:pt x="1495" y="2417"/>
                  <a:pt x="1495" y="2417"/>
                  <a:pt x="1495" y="2417"/>
                </a:cubicBezTo>
                <a:cubicBezTo>
                  <a:pt x="1543" y="2417"/>
                  <a:pt x="1574" y="2385"/>
                  <a:pt x="1574" y="2338"/>
                </a:cubicBezTo>
                <a:cubicBezTo>
                  <a:pt x="1574" y="2306"/>
                  <a:pt x="1543" y="2258"/>
                  <a:pt x="1495" y="2258"/>
                </a:cubicBezTo>
                <a:cubicBezTo>
                  <a:pt x="588" y="2258"/>
                  <a:pt x="588" y="2258"/>
                  <a:pt x="588" y="2258"/>
                </a:cubicBezTo>
                <a:cubicBezTo>
                  <a:pt x="588" y="2227"/>
                  <a:pt x="573" y="2211"/>
                  <a:pt x="573" y="2179"/>
                </a:cubicBezTo>
                <a:cubicBezTo>
                  <a:pt x="573" y="2163"/>
                  <a:pt x="445" y="1177"/>
                  <a:pt x="445" y="890"/>
                </a:cubicBezTo>
                <a:cubicBezTo>
                  <a:pt x="445" y="397"/>
                  <a:pt x="668" y="159"/>
                  <a:pt x="1129" y="159"/>
                </a:cubicBezTo>
                <a:cubicBezTo>
                  <a:pt x="1415" y="159"/>
                  <a:pt x="1686" y="302"/>
                  <a:pt x="1781" y="349"/>
                </a:cubicBezTo>
                <a:cubicBezTo>
                  <a:pt x="1813" y="381"/>
                  <a:pt x="1861" y="366"/>
                  <a:pt x="1892" y="318"/>
                </a:cubicBezTo>
                <a:cubicBezTo>
                  <a:pt x="1909" y="286"/>
                  <a:pt x="1892" y="238"/>
                  <a:pt x="1861" y="222"/>
                </a:cubicBezTo>
                <a:cubicBezTo>
                  <a:pt x="1749" y="159"/>
                  <a:pt x="1447" y="0"/>
                  <a:pt x="1129" y="0"/>
                </a:cubicBezTo>
                <a:cubicBezTo>
                  <a:pt x="573" y="0"/>
                  <a:pt x="286" y="318"/>
                  <a:pt x="286" y="890"/>
                </a:cubicBezTo>
                <a:cubicBezTo>
                  <a:pt x="286" y="1193"/>
                  <a:pt x="413" y="2163"/>
                  <a:pt x="413" y="2194"/>
                </a:cubicBezTo>
                <a:cubicBezTo>
                  <a:pt x="429" y="2211"/>
                  <a:pt x="429" y="2242"/>
                  <a:pt x="429" y="2258"/>
                </a:cubicBezTo>
                <a:cubicBezTo>
                  <a:pt x="79" y="2258"/>
                  <a:pt x="79" y="2258"/>
                  <a:pt x="79" y="2258"/>
                </a:cubicBezTo>
                <a:cubicBezTo>
                  <a:pt x="31" y="2258"/>
                  <a:pt x="0" y="2306"/>
                  <a:pt x="0" y="233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4" name="Freeform: Shape 13">
            <a:extLst>
              <a:ext uri="{FF2B5EF4-FFF2-40B4-BE49-F238E27FC236}">
                <a16:creationId xmlns:a16="http://schemas.microsoft.com/office/drawing/2014/main" id="{0C18F90D-E941-EC49-A0F9-E6BD45AA193A}"/>
              </a:ext>
            </a:extLst>
          </p:cNvPr>
          <p:cNvSpPr/>
          <p:nvPr/>
        </p:nvSpPr>
        <p:spPr>
          <a:xfrm>
            <a:off x="6054310" y="9815788"/>
            <a:ext cx="1192680" cy="1385280"/>
          </a:xfrm>
          <a:custGeom>
            <a:avLst/>
            <a:gdLst/>
            <a:ahLst/>
            <a:cxnLst>
              <a:cxn ang="3cd4">
                <a:pos x="hc" y="t"/>
              </a:cxn>
              <a:cxn ang="cd2">
                <a:pos x="l" y="vc"/>
              </a:cxn>
              <a:cxn ang="cd4">
                <a:pos x="hc" y="b"/>
              </a:cxn>
              <a:cxn ang="0">
                <a:pos x="r" y="vc"/>
              </a:cxn>
            </a:cxnLst>
            <a:rect l="l" t="t" r="r" b="b"/>
            <a:pathLst>
              <a:path w="3314" h="3849">
                <a:moveTo>
                  <a:pt x="0" y="2545"/>
                </a:moveTo>
                <a:cubicBezTo>
                  <a:pt x="0" y="2576"/>
                  <a:pt x="32" y="2624"/>
                  <a:pt x="79" y="2624"/>
                </a:cubicBezTo>
                <a:cubicBezTo>
                  <a:pt x="716" y="2624"/>
                  <a:pt x="716" y="2624"/>
                  <a:pt x="716" y="2624"/>
                </a:cubicBezTo>
                <a:cubicBezTo>
                  <a:pt x="986" y="3340"/>
                  <a:pt x="1686" y="3849"/>
                  <a:pt x="2497" y="3849"/>
                </a:cubicBezTo>
                <a:cubicBezTo>
                  <a:pt x="2767" y="3849"/>
                  <a:pt x="3022" y="3785"/>
                  <a:pt x="3276" y="3674"/>
                </a:cubicBezTo>
                <a:cubicBezTo>
                  <a:pt x="3308" y="3658"/>
                  <a:pt x="3324" y="3610"/>
                  <a:pt x="3308" y="3578"/>
                </a:cubicBezTo>
                <a:cubicBezTo>
                  <a:pt x="3293" y="3531"/>
                  <a:pt x="3245" y="3515"/>
                  <a:pt x="3213" y="3531"/>
                </a:cubicBezTo>
                <a:cubicBezTo>
                  <a:pt x="2990" y="3626"/>
                  <a:pt x="2752" y="3690"/>
                  <a:pt x="2497" y="3690"/>
                </a:cubicBezTo>
                <a:cubicBezTo>
                  <a:pt x="1782" y="3690"/>
                  <a:pt x="1145" y="3245"/>
                  <a:pt x="875" y="2624"/>
                </a:cubicBezTo>
                <a:cubicBezTo>
                  <a:pt x="2211" y="2624"/>
                  <a:pt x="2211" y="2624"/>
                  <a:pt x="2211" y="2624"/>
                </a:cubicBezTo>
                <a:cubicBezTo>
                  <a:pt x="2243" y="2624"/>
                  <a:pt x="2291" y="2576"/>
                  <a:pt x="2291" y="2545"/>
                </a:cubicBezTo>
                <a:cubicBezTo>
                  <a:pt x="2291" y="2497"/>
                  <a:pt x="2243" y="2465"/>
                  <a:pt x="2211" y="2465"/>
                </a:cubicBezTo>
                <a:cubicBezTo>
                  <a:pt x="827" y="2465"/>
                  <a:pt x="827" y="2465"/>
                  <a:pt x="827" y="2465"/>
                </a:cubicBezTo>
                <a:cubicBezTo>
                  <a:pt x="764" y="2290"/>
                  <a:pt x="731" y="2099"/>
                  <a:pt x="731" y="1924"/>
                </a:cubicBezTo>
                <a:cubicBezTo>
                  <a:pt x="731" y="1876"/>
                  <a:pt x="731" y="1845"/>
                  <a:pt x="748" y="1813"/>
                </a:cubicBezTo>
                <a:cubicBezTo>
                  <a:pt x="2211" y="1813"/>
                  <a:pt x="2211" y="1813"/>
                  <a:pt x="2211" y="1813"/>
                </a:cubicBezTo>
                <a:cubicBezTo>
                  <a:pt x="2243" y="1813"/>
                  <a:pt x="2291" y="1781"/>
                  <a:pt x="2291" y="1733"/>
                </a:cubicBezTo>
                <a:cubicBezTo>
                  <a:pt x="2291" y="1685"/>
                  <a:pt x="2243" y="1654"/>
                  <a:pt x="2211" y="1654"/>
                </a:cubicBezTo>
                <a:cubicBezTo>
                  <a:pt x="764" y="1654"/>
                  <a:pt x="764" y="1654"/>
                  <a:pt x="764" y="1654"/>
                </a:cubicBezTo>
                <a:cubicBezTo>
                  <a:pt x="891" y="811"/>
                  <a:pt x="1622" y="159"/>
                  <a:pt x="2497" y="159"/>
                </a:cubicBezTo>
                <a:cubicBezTo>
                  <a:pt x="2752" y="159"/>
                  <a:pt x="2990" y="206"/>
                  <a:pt x="3213" y="302"/>
                </a:cubicBezTo>
                <a:cubicBezTo>
                  <a:pt x="3245" y="318"/>
                  <a:pt x="3293" y="302"/>
                  <a:pt x="3308" y="254"/>
                </a:cubicBezTo>
                <a:cubicBezTo>
                  <a:pt x="3324" y="222"/>
                  <a:pt x="3308" y="175"/>
                  <a:pt x="3276" y="159"/>
                </a:cubicBezTo>
                <a:cubicBezTo>
                  <a:pt x="3022" y="48"/>
                  <a:pt x="2767" y="0"/>
                  <a:pt x="2497" y="0"/>
                </a:cubicBezTo>
                <a:cubicBezTo>
                  <a:pt x="1527" y="0"/>
                  <a:pt x="731" y="715"/>
                  <a:pt x="588" y="1654"/>
                </a:cubicBezTo>
                <a:cubicBezTo>
                  <a:pt x="79" y="1654"/>
                  <a:pt x="79" y="1654"/>
                  <a:pt x="79" y="1654"/>
                </a:cubicBezTo>
                <a:cubicBezTo>
                  <a:pt x="32" y="1654"/>
                  <a:pt x="0" y="1685"/>
                  <a:pt x="0" y="1733"/>
                </a:cubicBezTo>
                <a:cubicBezTo>
                  <a:pt x="0" y="1781"/>
                  <a:pt x="32" y="1813"/>
                  <a:pt x="79" y="1813"/>
                </a:cubicBezTo>
                <a:cubicBezTo>
                  <a:pt x="588" y="1813"/>
                  <a:pt x="588" y="1813"/>
                  <a:pt x="588" y="1813"/>
                </a:cubicBezTo>
                <a:cubicBezTo>
                  <a:pt x="573" y="1845"/>
                  <a:pt x="573" y="1876"/>
                  <a:pt x="573" y="1924"/>
                </a:cubicBezTo>
                <a:cubicBezTo>
                  <a:pt x="573" y="2099"/>
                  <a:pt x="604" y="2290"/>
                  <a:pt x="652" y="2465"/>
                </a:cubicBezTo>
                <a:cubicBezTo>
                  <a:pt x="79" y="2465"/>
                  <a:pt x="79" y="2465"/>
                  <a:pt x="79" y="2465"/>
                </a:cubicBezTo>
                <a:cubicBezTo>
                  <a:pt x="32" y="2465"/>
                  <a:pt x="0" y="2497"/>
                  <a:pt x="0" y="254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Freeform: Shape 14">
            <a:extLst>
              <a:ext uri="{FF2B5EF4-FFF2-40B4-BE49-F238E27FC236}">
                <a16:creationId xmlns:a16="http://schemas.microsoft.com/office/drawing/2014/main" id="{D76CFD80-E507-2341-A967-06581427373D}"/>
              </a:ext>
            </a:extLst>
          </p:cNvPr>
          <p:cNvSpPr/>
          <p:nvPr/>
        </p:nvSpPr>
        <p:spPr>
          <a:xfrm>
            <a:off x="16931022" y="3017271"/>
            <a:ext cx="2330280" cy="1621439"/>
          </a:xfrm>
          <a:custGeom>
            <a:avLst/>
            <a:gdLst/>
            <a:ahLst/>
            <a:cxnLst>
              <a:cxn ang="3cd4">
                <a:pos x="hc" y="t"/>
              </a:cxn>
              <a:cxn ang="cd2">
                <a:pos x="l" y="vc"/>
              </a:cxn>
              <a:cxn ang="cd4">
                <a:pos x="hc" y="b"/>
              </a:cxn>
              <a:cxn ang="0">
                <a:pos x="r" y="vc"/>
              </a:cxn>
            </a:cxnLst>
            <a:rect l="l" t="t" r="r" b="b"/>
            <a:pathLst>
              <a:path w="6474" h="4505">
                <a:moveTo>
                  <a:pt x="6235" y="2039"/>
                </a:moveTo>
                <a:cubicBezTo>
                  <a:pt x="6140" y="2007"/>
                  <a:pt x="6108" y="2007"/>
                  <a:pt x="6044" y="1943"/>
                </a:cubicBezTo>
                <a:cubicBezTo>
                  <a:pt x="5980" y="1880"/>
                  <a:pt x="5933" y="1800"/>
                  <a:pt x="5901" y="1689"/>
                </a:cubicBezTo>
                <a:cubicBezTo>
                  <a:pt x="5853" y="1434"/>
                  <a:pt x="5774" y="1307"/>
                  <a:pt x="5647" y="1148"/>
                </a:cubicBezTo>
                <a:cubicBezTo>
                  <a:pt x="5853" y="1021"/>
                  <a:pt x="5980" y="894"/>
                  <a:pt x="6092" y="671"/>
                </a:cubicBezTo>
                <a:cubicBezTo>
                  <a:pt x="6123" y="624"/>
                  <a:pt x="6140" y="544"/>
                  <a:pt x="6123" y="480"/>
                </a:cubicBezTo>
                <a:cubicBezTo>
                  <a:pt x="6108" y="449"/>
                  <a:pt x="6092" y="417"/>
                  <a:pt x="6028" y="385"/>
                </a:cubicBezTo>
                <a:cubicBezTo>
                  <a:pt x="5487" y="146"/>
                  <a:pt x="4851" y="194"/>
                  <a:pt x="4644" y="226"/>
                </a:cubicBezTo>
                <a:cubicBezTo>
                  <a:pt x="3547" y="-188"/>
                  <a:pt x="1686" y="-140"/>
                  <a:pt x="954" y="1291"/>
                </a:cubicBezTo>
                <a:lnTo>
                  <a:pt x="923" y="1339"/>
                </a:lnTo>
                <a:cubicBezTo>
                  <a:pt x="875" y="1339"/>
                  <a:pt x="779" y="1324"/>
                  <a:pt x="700" y="1212"/>
                </a:cubicBezTo>
                <a:cubicBezTo>
                  <a:pt x="859" y="1148"/>
                  <a:pt x="923" y="1037"/>
                  <a:pt x="938" y="958"/>
                </a:cubicBezTo>
                <a:cubicBezTo>
                  <a:pt x="970" y="846"/>
                  <a:pt x="923" y="719"/>
                  <a:pt x="859" y="655"/>
                </a:cubicBezTo>
                <a:cubicBezTo>
                  <a:pt x="811" y="607"/>
                  <a:pt x="715" y="624"/>
                  <a:pt x="636" y="671"/>
                </a:cubicBezTo>
                <a:cubicBezTo>
                  <a:pt x="525" y="751"/>
                  <a:pt x="445" y="910"/>
                  <a:pt x="493" y="1116"/>
                </a:cubicBezTo>
                <a:cubicBezTo>
                  <a:pt x="397" y="1133"/>
                  <a:pt x="334" y="1133"/>
                  <a:pt x="286" y="1133"/>
                </a:cubicBezTo>
                <a:cubicBezTo>
                  <a:pt x="191" y="1133"/>
                  <a:pt x="201" y="1122"/>
                  <a:pt x="159" y="1116"/>
                </a:cubicBezTo>
                <a:cubicBezTo>
                  <a:pt x="175" y="1069"/>
                  <a:pt x="143" y="1037"/>
                  <a:pt x="96" y="1021"/>
                </a:cubicBezTo>
                <a:cubicBezTo>
                  <a:pt x="48" y="1021"/>
                  <a:pt x="16" y="1053"/>
                  <a:pt x="0" y="1101"/>
                </a:cubicBezTo>
                <a:cubicBezTo>
                  <a:pt x="16" y="1143"/>
                  <a:pt x="0" y="1164"/>
                  <a:pt x="48" y="1228"/>
                </a:cubicBezTo>
                <a:cubicBezTo>
                  <a:pt x="127" y="1291"/>
                  <a:pt x="286" y="1307"/>
                  <a:pt x="525" y="1276"/>
                </a:cubicBezTo>
                <a:cubicBezTo>
                  <a:pt x="536" y="1271"/>
                  <a:pt x="541" y="1260"/>
                  <a:pt x="557" y="1260"/>
                </a:cubicBezTo>
                <a:cubicBezTo>
                  <a:pt x="636" y="1419"/>
                  <a:pt x="763" y="1482"/>
                  <a:pt x="859" y="1498"/>
                </a:cubicBezTo>
                <a:cubicBezTo>
                  <a:pt x="572" y="2707"/>
                  <a:pt x="1272" y="3534"/>
                  <a:pt x="1813" y="4187"/>
                </a:cubicBezTo>
                <a:cubicBezTo>
                  <a:pt x="1861" y="4250"/>
                  <a:pt x="1909" y="4314"/>
                  <a:pt x="1956" y="4361"/>
                </a:cubicBezTo>
                <a:cubicBezTo>
                  <a:pt x="2020" y="4441"/>
                  <a:pt x="2099" y="4505"/>
                  <a:pt x="2242" y="4505"/>
                </a:cubicBezTo>
                <a:lnTo>
                  <a:pt x="2927" y="4505"/>
                </a:lnTo>
                <a:cubicBezTo>
                  <a:pt x="2942" y="4505"/>
                  <a:pt x="2959" y="4505"/>
                  <a:pt x="2974" y="4488"/>
                </a:cubicBezTo>
                <a:cubicBezTo>
                  <a:pt x="2990" y="4457"/>
                  <a:pt x="3006" y="4441"/>
                  <a:pt x="2990" y="4409"/>
                </a:cubicBezTo>
                <a:cubicBezTo>
                  <a:pt x="2990" y="4345"/>
                  <a:pt x="2974" y="4234"/>
                  <a:pt x="2959" y="4123"/>
                </a:cubicBezTo>
                <a:cubicBezTo>
                  <a:pt x="3260" y="4155"/>
                  <a:pt x="3642" y="4155"/>
                  <a:pt x="3913" y="4123"/>
                </a:cubicBezTo>
                <a:cubicBezTo>
                  <a:pt x="3960" y="4218"/>
                  <a:pt x="4008" y="4330"/>
                  <a:pt x="4056" y="4393"/>
                </a:cubicBezTo>
                <a:cubicBezTo>
                  <a:pt x="4120" y="4457"/>
                  <a:pt x="4167" y="4505"/>
                  <a:pt x="4295" y="4505"/>
                </a:cubicBezTo>
                <a:lnTo>
                  <a:pt x="4978" y="4505"/>
                </a:lnTo>
                <a:cubicBezTo>
                  <a:pt x="4995" y="4505"/>
                  <a:pt x="5010" y="4505"/>
                  <a:pt x="5026" y="4488"/>
                </a:cubicBezTo>
                <a:cubicBezTo>
                  <a:pt x="5042" y="4473"/>
                  <a:pt x="5058" y="4441"/>
                  <a:pt x="5058" y="4425"/>
                </a:cubicBezTo>
                <a:lnTo>
                  <a:pt x="5042" y="4361"/>
                </a:lnTo>
                <a:cubicBezTo>
                  <a:pt x="5042" y="4234"/>
                  <a:pt x="5010" y="4043"/>
                  <a:pt x="5026" y="3884"/>
                </a:cubicBezTo>
                <a:cubicBezTo>
                  <a:pt x="5313" y="3709"/>
                  <a:pt x="5456" y="3550"/>
                  <a:pt x="5614" y="3312"/>
                </a:cubicBezTo>
                <a:lnTo>
                  <a:pt x="5631" y="3312"/>
                </a:lnTo>
                <a:cubicBezTo>
                  <a:pt x="5710" y="3312"/>
                  <a:pt x="5837" y="3296"/>
                  <a:pt x="5949" y="3248"/>
                </a:cubicBezTo>
                <a:cubicBezTo>
                  <a:pt x="6028" y="3232"/>
                  <a:pt x="6108" y="3184"/>
                  <a:pt x="6171" y="3105"/>
                </a:cubicBezTo>
                <a:cubicBezTo>
                  <a:pt x="6235" y="3041"/>
                  <a:pt x="6283" y="2961"/>
                  <a:pt x="6331" y="2866"/>
                </a:cubicBezTo>
                <a:cubicBezTo>
                  <a:pt x="6410" y="2707"/>
                  <a:pt x="6458" y="2516"/>
                  <a:pt x="6474" y="2342"/>
                </a:cubicBezTo>
                <a:cubicBezTo>
                  <a:pt x="6474" y="2182"/>
                  <a:pt x="6442" y="2087"/>
                  <a:pt x="6235" y="2039"/>
                </a:cubicBezTo>
                <a:close/>
                <a:moveTo>
                  <a:pt x="684" y="830"/>
                </a:moveTo>
                <a:cubicBezTo>
                  <a:pt x="732" y="798"/>
                  <a:pt x="737" y="798"/>
                  <a:pt x="763" y="782"/>
                </a:cubicBezTo>
                <a:cubicBezTo>
                  <a:pt x="779" y="798"/>
                  <a:pt x="811" y="862"/>
                  <a:pt x="779" y="926"/>
                </a:cubicBezTo>
                <a:cubicBezTo>
                  <a:pt x="763" y="989"/>
                  <a:pt x="715" y="1037"/>
                  <a:pt x="652" y="1069"/>
                </a:cubicBezTo>
                <a:cubicBezTo>
                  <a:pt x="620" y="942"/>
                  <a:pt x="668" y="862"/>
                  <a:pt x="684" y="830"/>
                </a:cubicBezTo>
                <a:close/>
                <a:moveTo>
                  <a:pt x="6314" y="2325"/>
                </a:moveTo>
                <a:cubicBezTo>
                  <a:pt x="6314" y="2485"/>
                  <a:pt x="6267" y="2660"/>
                  <a:pt x="6187" y="2803"/>
                </a:cubicBezTo>
                <a:cubicBezTo>
                  <a:pt x="6156" y="2882"/>
                  <a:pt x="6108" y="2946"/>
                  <a:pt x="6060" y="3009"/>
                </a:cubicBezTo>
                <a:cubicBezTo>
                  <a:pt x="6013" y="3057"/>
                  <a:pt x="5949" y="3089"/>
                  <a:pt x="5901" y="3105"/>
                </a:cubicBezTo>
                <a:cubicBezTo>
                  <a:pt x="5805" y="3137"/>
                  <a:pt x="5694" y="3152"/>
                  <a:pt x="5614" y="3152"/>
                </a:cubicBezTo>
                <a:lnTo>
                  <a:pt x="5567" y="3169"/>
                </a:lnTo>
                <a:cubicBezTo>
                  <a:pt x="5551" y="3169"/>
                  <a:pt x="5519" y="3184"/>
                  <a:pt x="5519" y="3200"/>
                </a:cubicBezTo>
                <a:cubicBezTo>
                  <a:pt x="5344" y="3439"/>
                  <a:pt x="5201" y="3598"/>
                  <a:pt x="4915" y="3773"/>
                </a:cubicBezTo>
                <a:cubicBezTo>
                  <a:pt x="4883" y="3789"/>
                  <a:pt x="4867" y="3805"/>
                  <a:pt x="4867" y="3836"/>
                </a:cubicBezTo>
                <a:cubicBezTo>
                  <a:pt x="4851" y="4011"/>
                  <a:pt x="4867" y="4202"/>
                  <a:pt x="4883" y="4345"/>
                </a:cubicBezTo>
                <a:lnTo>
                  <a:pt x="4295" y="4345"/>
                </a:lnTo>
                <a:cubicBezTo>
                  <a:pt x="4231" y="4345"/>
                  <a:pt x="4215" y="4345"/>
                  <a:pt x="4183" y="4298"/>
                </a:cubicBezTo>
                <a:cubicBezTo>
                  <a:pt x="4135" y="4250"/>
                  <a:pt x="4088" y="4123"/>
                  <a:pt x="4056" y="4043"/>
                </a:cubicBezTo>
                <a:lnTo>
                  <a:pt x="4040" y="4011"/>
                </a:lnTo>
                <a:cubicBezTo>
                  <a:pt x="4024" y="3979"/>
                  <a:pt x="4008" y="3964"/>
                  <a:pt x="3977" y="3964"/>
                </a:cubicBezTo>
                <a:lnTo>
                  <a:pt x="3960" y="3964"/>
                </a:lnTo>
                <a:cubicBezTo>
                  <a:pt x="3674" y="3995"/>
                  <a:pt x="3197" y="3995"/>
                  <a:pt x="2895" y="3948"/>
                </a:cubicBezTo>
                <a:cubicBezTo>
                  <a:pt x="2863" y="3948"/>
                  <a:pt x="2847" y="3948"/>
                  <a:pt x="2831" y="3964"/>
                </a:cubicBezTo>
                <a:cubicBezTo>
                  <a:pt x="2815" y="3979"/>
                  <a:pt x="2799" y="4011"/>
                  <a:pt x="2799" y="4027"/>
                </a:cubicBezTo>
                <a:cubicBezTo>
                  <a:pt x="2799" y="4123"/>
                  <a:pt x="2815" y="4250"/>
                  <a:pt x="2831" y="4345"/>
                </a:cubicBezTo>
                <a:lnTo>
                  <a:pt x="2242" y="4345"/>
                </a:lnTo>
                <a:cubicBezTo>
                  <a:pt x="2163" y="4345"/>
                  <a:pt x="2131" y="4330"/>
                  <a:pt x="2084" y="4266"/>
                </a:cubicBezTo>
                <a:cubicBezTo>
                  <a:pt x="2036" y="4202"/>
                  <a:pt x="1988" y="4155"/>
                  <a:pt x="1941" y="4091"/>
                </a:cubicBezTo>
                <a:cubicBezTo>
                  <a:pt x="1384" y="3423"/>
                  <a:pt x="748" y="2660"/>
                  <a:pt x="1002" y="1546"/>
                </a:cubicBezTo>
                <a:lnTo>
                  <a:pt x="1097" y="1355"/>
                </a:lnTo>
                <a:cubicBezTo>
                  <a:pt x="1781" y="3"/>
                  <a:pt x="3563" y="-29"/>
                  <a:pt x="4597" y="385"/>
                </a:cubicBezTo>
                <a:lnTo>
                  <a:pt x="4644" y="385"/>
                </a:lnTo>
                <a:cubicBezTo>
                  <a:pt x="4819" y="369"/>
                  <a:pt x="5440" y="289"/>
                  <a:pt x="5980" y="528"/>
                </a:cubicBezTo>
                <a:cubicBezTo>
                  <a:pt x="5970" y="549"/>
                  <a:pt x="5980" y="544"/>
                  <a:pt x="5949" y="592"/>
                </a:cubicBezTo>
                <a:cubicBezTo>
                  <a:pt x="5837" y="815"/>
                  <a:pt x="5726" y="926"/>
                  <a:pt x="5504" y="1053"/>
                </a:cubicBezTo>
                <a:cubicBezTo>
                  <a:pt x="5471" y="1069"/>
                  <a:pt x="5456" y="1085"/>
                  <a:pt x="5456" y="1116"/>
                </a:cubicBezTo>
                <a:cubicBezTo>
                  <a:pt x="5456" y="1133"/>
                  <a:pt x="5456" y="1148"/>
                  <a:pt x="5471" y="1180"/>
                </a:cubicBezTo>
                <a:cubicBezTo>
                  <a:pt x="5614" y="1371"/>
                  <a:pt x="5694" y="1467"/>
                  <a:pt x="5758" y="1737"/>
                </a:cubicBezTo>
                <a:cubicBezTo>
                  <a:pt x="5790" y="1864"/>
                  <a:pt x="5837" y="1976"/>
                  <a:pt x="5933" y="2055"/>
                </a:cubicBezTo>
                <a:cubicBezTo>
                  <a:pt x="6028" y="2151"/>
                  <a:pt x="6092" y="2166"/>
                  <a:pt x="6203" y="2198"/>
                </a:cubicBezTo>
                <a:cubicBezTo>
                  <a:pt x="6314" y="2214"/>
                  <a:pt x="6314" y="2246"/>
                  <a:pt x="6314" y="2325"/>
                </a:cubicBezTo>
                <a:close/>
                <a:moveTo>
                  <a:pt x="3833" y="2342"/>
                </a:moveTo>
                <a:cubicBezTo>
                  <a:pt x="3769" y="2294"/>
                  <a:pt x="3706" y="2278"/>
                  <a:pt x="3658" y="2246"/>
                </a:cubicBezTo>
                <a:cubicBezTo>
                  <a:pt x="3579" y="2214"/>
                  <a:pt x="3499" y="2198"/>
                  <a:pt x="3420" y="2166"/>
                </a:cubicBezTo>
                <a:cubicBezTo>
                  <a:pt x="3356" y="2151"/>
                  <a:pt x="3292" y="2134"/>
                  <a:pt x="3213" y="2103"/>
                </a:cubicBezTo>
                <a:cubicBezTo>
                  <a:pt x="3149" y="2071"/>
                  <a:pt x="3102" y="2039"/>
                  <a:pt x="3086" y="1991"/>
                </a:cubicBezTo>
                <a:cubicBezTo>
                  <a:pt x="3054" y="1928"/>
                  <a:pt x="3070" y="1833"/>
                  <a:pt x="3117" y="1769"/>
                </a:cubicBezTo>
                <a:cubicBezTo>
                  <a:pt x="3213" y="1673"/>
                  <a:pt x="3388" y="1673"/>
                  <a:pt x="3483" y="1689"/>
                </a:cubicBezTo>
                <a:cubicBezTo>
                  <a:pt x="3658" y="1705"/>
                  <a:pt x="3685" y="1763"/>
                  <a:pt x="3786" y="1800"/>
                </a:cubicBezTo>
                <a:cubicBezTo>
                  <a:pt x="3817" y="1816"/>
                  <a:pt x="3865" y="1816"/>
                  <a:pt x="3897" y="1785"/>
                </a:cubicBezTo>
                <a:cubicBezTo>
                  <a:pt x="3929" y="1737"/>
                  <a:pt x="3913" y="1689"/>
                  <a:pt x="3881" y="1673"/>
                </a:cubicBezTo>
                <a:cubicBezTo>
                  <a:pt x="3881" y="1657"/>
                  <a:pt x="3722" y="1546"/>
                  <a:pt x="3499" y="1530"/>
                </a:cubicBezTo>
                <a:lnTo>
                  <a:pt x="3483" y="1530"/>
                </a:lnTo>
                <a:lnTo>
                  <a:pt x="3483" y="1260"/>
                </a:lnTo>
                <a:cubicBezTo>
                  <a:pt x="3483" y="1212"/>
                  <a:pt x="3451" y="1180"/>
                  <a:pt x="3404" y="1180"/>
                </a:cubicBezTo>
                <a:cubicBezTo>
                  <a:pt x="3356" y="1180"/>
                  <a:pt x="3324" y="1212"/>
                  <a:pt x="3324" y="1260"/>
                </a:cubicBezTo>
                <a:lnTo>
                  <a:pt x="3324" y="1530"/>
                </a:lnTo>
                <a:cubicBezTo>
                  <a:pt x="3181" y="1530"/>
                  <a:pt x="3070" y="1594"/>
                  <a:pt x="2990" y="1673"/>
                </a:cubicBezTo>
                <a:cubicBezTo>
                  <a:pt x="2895" y="1785"/>
                  <a:pt x="2879" y="1928"/>
                  <a:pt x="2942" y="2055"/>
                </a:cubicBezTo>
                <a:cubicBezTo>
                  <a:pt x="2974" y="2134"/>
                  <a:pt x="3038" y="2198"/>
                  <a:pt x="3149" y="2246"/>
                </a:cubicBezTo>
                <a:cubicBezTo>
                  <a:pt x="3229" y="2278"/>
                  <a:pt x="3308" y="2309"/>
                  <a:pt x="3388" y="2325"/>
                </a:cubicBezTo>
                <a:cubicBezTo>
                  <a:pt x="3451" y="2342"/>
                  <a:pt x="3531" y="2373"/>
                  <a:pt x="3595" y="2389"/>
                </a:cubicBezTo>
                <a:cubicBezTo>
                  <a:pt x="3642" y="2421"/>
                  <a:pt x="3690" y="2437"/>
                  <a:pt x="3722" y="2468"/>
                </a:cubicBezTo>
                <a:cubicBezTo>
                  <a:pt x="3769" y="2500"/>
                  <a:pt x="3786" y="2580"/>
                  <a:pt x="3786" y="2660"/>
                </a:cubicBezTo>
                <a:cubicBezTo>
                  <a:pt x="3769" y="2660"/>
                  <a:pt x="3774" y="2670"/>
                  <a:pt x="3769" y="2675"/>
                </a:cubicBezTo>
                <a:cubicBezTo>
                  <a:pt x="3738" y="2818"/>
                  <a:pt x="3579" y="2882"/>
                  <a:pt x="3451" y="2882"/>
                </a:cubicBezTo>
                <a:cubicBezTo>
                  <a:pt x="3277" y="2898"/>
                  <a:pt x="3102" y="2834"/>
                  <a:pt x="2942" y="2707"/>
                </a:cubicBezTo>
                <a:cubicBezTo>
                  <a:pt x="2911" y="2675"/>
                  <a:pt x="2863" y="2691"/>
                  <a:pt x="2831" y="2723"/>
                </a:cubicBezTo>
                <a:cubicBezTo>
                  <a:pt x="2815" y="2755"/>
                  <a:pt x="2815" y="2803"/>
                  <a:pt x="2847" y="2834"/>
                </a:cubicBezTo>
                <a:cubicBezTo>
                  <a:pt x="2990" y="2946"/>
                  <a:pt x="3149" y="3009"/>
                  <a:pt x="3324" y="3041"/>
                </a:cubicBezTo>
                <a:lnTo>
                  <a:pt x="3324" y="3312"/>
                </a:lnTo>
                <a:cubicBezTo>
                  <a:pt x="3324" y="3359"/>
                  <a:pt x="3356" y="3391"/>
                  <a:pt x="3404" y="3391"/>
                </a:cubicBezTo>
                <a:cubicBezTo>
                  <a:pt x="3451" y="3391"/>
                  <a:pt x="3483" y="3359"/>
                  <a:pt x="3483" y="3312"/>
                </a:cubicBezTo>
                <a:lnTo>
                  <a:pt x="3483" y="3041"/>
                </a:lnTo>
                <a:cubicBezTo>
                  <a:pt x="3674" y="3025"/>
                  <a:pt x="3865" y="2930"/>
                  <a:pt x="3929" y="2723"/>
                </a:cubicBezTo>
                <a:lnTo>
                  <a:pt x="3929" y="2675"/>
                </a:lnTo>
                <a:cubicBezTo>
                  <a:pt x="3960" y="2548"/>
                  <a:pt x="3913" y="2421"/>
                  <a:pt x="3833" y="234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6" name="Freeform: Shape 15">
            <a:extLst>
              <a:ext uri="{FF2B5EF4-FFF2-40B4-BE49-F238E27FC236}">
                <a16:creationId xmlns:a16="http://schemas.microsoft.com/office/drawing/2014/main" id="{B2915B10-723F-F147-AC90-387CF90B1644}"/>
              </a:ext>
            </a:extLst>
          </p:cNvPr>
          <p:cNvSpPr/>
          <p:nvPr/>
        </p:nvSpPr>
        <p:spPr>
          <a:xfrm>
            <a:off x="17535450" y="9797788"/>
            <a:ext cx="1342440" cy="1414800"/>
          </a:xfrm>
          <a:custGeom>
            <a:avLst/>
            <a:gdLst/>
            <a:ahLst/>
            <a:cxnLst>
              <a:cxn ang="3cd4">
                <a:pos x="hc" y="t"/>
              </a:cxn>
              <a:cxn ang="cd2">
                <a:pos x="l" y="vc"/>
              </a:cxn>
              <a:cxn ang="cd4">
                <a:pos x="hc" y="b"/>
              </a:cxn>
              <a:cxn ang="0">
                <a:pos x="r" y="vc"/>
              </a:cxn>
            </a:cxnLst>
            <a:rect l="l" t="t" r="r" b="b"/>
            <a:pathLst>
              <a:path w="3730" h="3931">
                <a:moveTo>
                  <a:pt x="7" y="3596"/>
                </a:moveTo>
                <a:cubicBezTo>
                  <a:pt x="7" y="3771"/>
                  <a:pt x="214" y="3931"/>
                  <a:pt x="389" y="3931"/>
                </a:cubicBezTo>
                <a:lnTo>
                  <a:pt x="3348" y="3931"/>
                </a:lnTo>
                <a:cubicBezTo>
                  <a:pt x="3522" y="3931"/>
                  <a:pt x="3730" y="3788"/>
                  <a:pt x="3730" y="3613"/>
                </a:cubicBezTo>
                <a:lnTo>
                  <a:pt x="3730" y="3470"/>
                </a:lnTo>
                <a:cubicBezTo>
                  <a:pt x="3602" y="2944"/>
                  <a:pt x="2727" y="1306"/>
                  <a:pt x="2680" y="1227"/>
                </a:cubicBezTo>
                <a:cubicBezTo>
                  <a:pt x="2664" y="1211"/>
                  <a:pt x="2648" y="1195"/>
                  <a:pt x="2616" y="1195"/>
                </a:cubicBezTo>
                <a:lnTo>
                  <a:pt x="1137" y="1195"/>
                </a:lnTo>
                <a:cubicBezTo>
                  <a:pt x="1105" y="1195"/>
                  <a:pt x="1073" y="1211"/>
                  <a:pt x="1057" y="1227"/>
                </a:cubicBezTo>
                <a:cubicBezTo>
                  <a:pt x="1025" y="1306"/>
                  <a:pt x="135" y="2961"/>
                  <a:pt x="7" y="3485"/>
                </a:cubicBezTo>
                <a:cubicBezTo>
                  <a:pt x="-8" y="3517"/>
                  <a:pt x="7" y="3581"/>
                  <a:pt x="7" y="3596"/>
                </a:cubicBezTo>
                <a:close/>
                <a:moveTo>
                  <a:pt x="167" y="3517"/>
                </a:moveTo>
                <a:cubicBezTo>
                  <a:pt x="278" y="3056"/>
                  <a:pt x="1041" y="1608"/>
                  <a:pt x="1185" y="1354"/>
                </a:cubicBezTo>
                <a:lnTo>
                  <a:pt x="2568" y="1354"/>
                </a:lnTo>
                <a:cubicBezTo>
                  <a:pt x="2712" y="1608"/>
                  <a:pt x="3459" y="3040"/>
                  <a:pt x="3570" y="3501"/>
                </a:cubicBezTo>
                <a:lnTo>
                  <a:pt x="3570" y="3613"/>
                </a:lnTo>
                <a:cubicBezTo>
                  <a:pt x="3570" y="3692"/>
                  <a:pt x="3443" y="3771"/>
                  <a:pt x="3348" y="3771"/>
                </a:cubicBezTo>
                <a:lnTo>
                  <a:pt x="389" y="3771"/>
                </a:lnTo>
                <a:cubicBezTo>
                  <a:pt x="278" y="3771"/>
                  <a:pt x="167" y="3676"/>
                  <a:pt x="167" y="3596"/>
                </a:cubicBezTo>
                <a:close/>
                <a:moveTo>
                  <a:pt x="1343" y="828"/>
                </a:moveTo>
                <a:lnTo>
                  <a:pt x="1359" y="828"/>
                </a:lnTo>
                <a:lnTo>
                  <a:pt x="1694" y="828"/>
                </a:lnTo>
                <a:cubicBezTo>
                  <a:pt x="1725" y="828"/>
                  <a:pt x="1741" y="812"/>
                  <a:pt x="1757" y="796"/>
                </a:cubicBezTo>
                <a:cubicBezTo>
                  <a:pt x="1773" y="780"/>
                  <a:pt x="1773" y="764"/>
                  <a:pt x="1773" y="733"/>
                </a:cubicBezTo>
                <a:cubicBezTo>
                  <a:pt x="1694" y="303"/>
                  <a:pt x="1439" y="33"/>
                  <a:pt x="1121" y="1"/>
                </a:cubicBezTo>
                <a:cubicBezTo>
                  <a:pt x="898" y="-15"/>
                  <a:pt x="676" y="112"/>
                  <a:pt x="596" y="303"/>
                </a:cubicBezTo>
                <a:cubicBezTo>
                  <a:pt x="580" y="383"/>
                  <a:pt x="580" y="462"/>
                  <a:pt x="628" y="526"/>
                </a:cubicBezTo>
                <a:cubicBezTo>
                  <a:pt x="771" y="764"/>
                  <a:pt x="1296" y="828"/>
                  <a:pt x="1343" y="828"/>
                </a:cubicBezTo>
                <a:close/>
                <a:moveTo>
                  <a:pt x="755" y="351"/>
                </a:moveTo>
                <a:cubicBezTo>
                  <a:pt x="802" y="224"/>
                  <a:pt x="946" y="160"/>
                  <a:pt x="1105" y="160"/>
                </a:cubicBezTo>
                <a:cubicBezTo>
                  <a:pt x="1328" y="176"/>
                  <a:pt x="1519" y="367"/>
                  <a:pt x="1598" y="669"/>
                </a:cubicBezTo>
                <a:lnTo>
                  <a:pt x="1359" y="669"/>
                </a:lnTo>
                <a:cubicBezTo>
                  <a:pt x="1168" y="653"/>
                  <a:pt x="834" y="574"/>
                  <a:pt x="755" y="446"/>
                </a:cubicBezTo>
                <a:cubicBezTo>
                  <a:pt x="739" y="415"/>
                  <a:pt x="739" y="383"/>
                  <a:pt x="755" y="351"/>
                </a:cubicBezTo>
                <a:close/>
                <a:moveTo>
                  <a:pt x="2361" y="828"/>
                </a:moveTo>
                <a:lnTo>
                  <a:pt x="2377" y="828"/>
                </a:lnTo>
                <a:cubicBezTo>
                  <a:pt x="2425" y="828"/>
                  <a:pt x="2950" y="764"/>
                  <a:pt x="3093" y="526"/>
                </a:cubicBezTo>
                <a:cubicBezTo>
                  <a:pt x="3141" y="462"/>
                  <a:pt x="3141" y="383"/>
                  <a:pt x="3125" y="303"/>
                </a:cubicBezTo>
                <a:cubicBezTo>
                  <a:pt x="3046" y="112"/>
                  <a:pt x="2823" y="-15"/>
                  <a:pt x="2600" y="1"/>
                </a:cubicBezTo>
                <a:cubicBezTo>
                  <a:pt x="2282" y="33"/>
                  <a:pt x="2028" y="303"/>
                  <a:pt x="1948" y="733"/>
                </a:cubicBezTo>
                <a:cubicBezTo>
                  <a:pt x="1948" y="764"/>
                  <a:pt x="1948" y="780"/>
                  <a:pt x="1964" y="796"/>
                </a:cubicBezTo>
                <a:cubicBezTo>
                  <a:pt x="1980" y="812"/>
                  <a:pt x="1995" y="828"/>
                  <a:pt x="2028" y="828"/>
                </a:cubicBezTo>
                <a:close/>
                <a:moveTo>
                  <a:pt x="2616" y="160"/>
                </a:moveTo>
                <a:cubicBezTo>
                  <a:pt x="2775" y="144"/>
                  <a:pt x="2918" y="224"/>
                  <a:pt x="2966" y="351"/>
                </a:cubicBezTo>
                <a:cubicBezTo>
                  <a:pt x="2982" y="383"/>
                  <a:pt x="2982" y="415"/>
                  <a:pt x="2966" y="446"/>
                </a:cubicBezTo>
                <a:cubicBezTo>
                  <a:pt x="2886" y="574"/>
                  <a:pt x="2552" y="653"/>
                  <a:pt x="2361" y="669"/>
                </a:cubicBezTo>
                <a:lnTo>
                  <a:pt x="2123" y="669"/>
                </a:lnTo>
                <a:cubicBezTo>
                  <a:pt x="2203" y="367"/>
                  <a:pt x="2394" y="176"/>
                  <a:pt x="2616" y="160"/>
                </a:cubicBezTo>
                <a:close/>
                <a:moveTo>
                  <a:pt x="1423" y="3040"/>
                </a:moveTo>
                <a:cubicBezTo>
                  <a:pt x="1534" y="3119"/>
                  <a:pt x="1677" y="3183"/>
                  <a:pt x="1805" y="3215"/>
                </a:cubicBezTo>
                <a:lnTo>
                  <a:pt x="1805" y="3422"/>
                </a:lnTo>
                <a:cubicBezTo>
                  <a:pt x="1805" y="3470"/>
                  <a:pt x="1852" y="3501"/>
                  <a:pt x="1885" y="3501"/>
                </a:cubicBezTo>
                <a:cubicBezTo>
                  <a:pt x="1932" y="3501"/>
                  <a:pt x="1964" y="3470"/>
                  <a:pt x="1964" y="3422"/>
                </a:cubicBezTo>
                <a:lnTo>
                  <a:pt x="1964" y="3215"/>
                </a:lnTo>
                <a:cubicBezTo>
                  <a:pt x="2123" y="3199"/>
                  <a:pt x="2298" y="3104"/>
                  <a:pt x="2346" y="2929"/>
                </a:cubicBezTo>
                <a:lnTo>
                  <a:pt x="2346" y="2897"/>
                </a:lnTo>
                <a:cubicBezTo>
                  <a:pt x="2361" y="2786"/>
                  <a:pt x="2330" y="2674"/>
                  <a:pt x="2250" y="2610"/>
                </a:cubicBezTo>
                <a:cubicBezTo>
                  <a:pt x="2203" y="2563"/>
                  <a:pt x="2155" y="2547"/>
                  <a:pt x="2107" y="2515"/>
                </a:cubicBezTo>
                <a:cubicBezTo>
                  <a:pt x="2043" y="2499"/>
                  <a:pt x="1980" y="2483"/>
                  <a:pt x="1916" y="2452"/>
                </a:cubicBezTo>
                <a:cubicBezTo>
                  <a:pt x="1852" y="2435"/>
                  <a:pt x="1805" y="2420"/>
                  <a:pt x="1741" y="2404"/>
                </a:cubicBezTo>
                <a:cubicBezTo>
                  <a:pt x="1677" y="2372"/>
                  <a:pt x="1646" y="2340"/>
                  <a:pt x="1630" y="2308"/>
                </a:cubicBezTo>
                <a:cubicBezTo>
                  <a:pt x="1614" y="2261"/>
                  <a:pt x="1614" y="2197"/>
                  <a:pt x="1662" y="2149"/>
                </a:cubicBezTo>
                <a:cubicBezTo>
                  <a:pt x="1725" y="2054"/>
                  <a:pt x="1885" y="2054"/>
                  <a:pt x="1964" y="2069"/>
                </a:cubicBezTo>
                <a:cubicBezTo>
                  <a:pt x="2107" y="2086"/>
                  <a:pt x="2123" y="2133"/>
                  <a:pt x="2203" y="2165"/>
                </a:cubicBezTo>
                <a:cubicBezTo>
                  <a:pt x="2234" y="2181"/>
                  <a:pt x="2298" y="2181"/>
                  <a:pt x="2314" y="2149"/>
                </a:cubicBezTo>
                <a:cubicBezTo>
                  <a:pt x="2346" y="2101"/>
                  <a:pt x="2330" y="2054"/>
                  <a:pt x="2298" y="2038"/>
                </a:cubicBezTo>
                <a:cubicBezTo>
                  <a:pt x="2298" y="2022"/>
                  <a:pt x="2171" y="1943"/>
                  <a:pt x="1980" y="1911"/>
                </a:cubicBezTo>
                <a:lnTo>
                  <a:pt x="1964" y="1911"/>
                </a:lnTo>
                <a:lnTo>
                  <a:pt x="1964" y="1688"/>
                </a:lnTo>
                <a:cubicBezTo>
                  <a:pt x="1964" y="1656"/>
                  <a:pt x="1932" y="1625"/>
                  <a:pt x="1885" y="1625"/>
                </a:cubicBezTo>
                <a:cubicBezTo>
                  <a:pt x="1852" y="1625"/>
                  <a:pt x="1805" y="1656"/>
                  <a:pt x="1805" y="1688"/>
                </a:cubicBezTo>
                <a:lnTo>
                  <a:pt x="1805" y="1911"/>
                </a:lnTo>
                <a:cubicBezTo>
                  <a:pt x="1694" y="1926"/>
                  <a:pt x="1598" y="1974"/>
                  <a:pt x="1534" y="2038"/>
                </a:cubicBezTo>
                <a:cubicBezTo>
                  <a:pt x="1455" y="2134"/>
                  <a:pt x="1439" y="2261"/>
                  <a:pt x="1486" y="2372"/>
                </a:cubicBezTo>
                <a:cubicBezTo>
                  <a:pt x="1519" y="2452"/>
                  <a:pt x="1582" y="2499"/>
                  <a:pt x="1677" y="2547"/>
                </a:cubicBezTo>
                <a:cubicBezTo>
                  <a:pt x="1741" y="2563"/>
                  <a:pt x="1805" y="2595"/>
                  <a:pt x="1868" y="2610"/>
                </a:cubicBezTo>
                <a:cubicBezTo>
                  <a:pt x="1932" y="2626"/>
                  <a:pt x="1980" y="2643"/>
                  <a:pt x="2043" y="2674"/>
                </a:cubicBezTo>
                <a:cubicBezTo>
                  <a:pt x="2091" y="2690"/>
                  <a:pt x="2123" y="2706"/>
                  <a:pt x="2155" y="2722"/>
                </a:cubicBezTo>
                <a:cubicBezTo>
                  <a:pt x="2186" y="2753"/>
                  <a:pt x="2203" y="2817"/>
                  <a:pt x="2186" y="2865"/>
                </a:cubicBezTo>
                <a:lnTo>
                  <a:pt x="2186" y="2897"/>
                </a:lnTo>
                <a:cubicBezTo>
                  <a:pt x="2155" y="3008"/>
                  <a:pt x="2043" y="3056"/>
                  <a:pt x="1932" y="3056"/>
                </a:cubicBezTo>
                <a:cubicBezTo>
                  <a:pt x="1789" y="3056"/>
                  <a:pt x="1646" y="3008"/>
                  <a:pt x="1519" y="2913"/>
                </a:cubicBezTo>
                <a:cubicBezTo>
                  <a:pt x="1486" y="2881"/>
                  <a:pt x="1439" y="2881"/>
                  <a:pt x="1407" y="2929"/>
                </a:cubicBezTo>
                <a:cubicBezTo>
                  <a:pt x="1376" y="2961"/>
                  <a:pt x="1376" y="3008"/>
                  <a:pt x="1423" y="30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7" name="Freeform: Shape 16">
            <a:extLst>
              <a:ext uri="{FF2B5EF4-FFF2-40B4-BE49-F238E27FC236}">
                <a16:creationId xmlns:a16="http://schemas.microsoft.com/office/drawing/2014/main" id="{53941A62-E769-BF45-880B-143DDA520E40}"/>
              </a:ext>
            </a:extLst>
          </p:cNvPr>
          <p:cNvSpPr/>
          <p:nvPr/>
        </p:nvSpPr>
        <p:spPr>
          <a:xfrm>
            <a:off x="14029361" y="9861867"/>
            <a:ext cx="1505519" cy="1499759"/>
          </a:xfrm>
          <a:custGeom>
            <a:avLst/>
            <a:gdLst/>
            <a:ahLst/>
            <a:cxnLst>
              <a:cxn ang="3cd4">
                <a:pos x="hc" y="t"/>
              </a:cxn>
              <a:cxn ang="cd2">
                <a:pos x="l" y="vc"/>
              </a:cxn>
              <a:cxn ang="cd4">
                <a:pos x="hc" y="b"/>
              </a:cxn>
              <a:cxn ang="0">
                <a:pos x="r" y="vc"/>
              </a:cxn>
            </a:cxnLst>
            <a:rect l="l" t="t" r="r" b="b"/>
            <a:pathLst>
              <a:path w="4183" h="4167">
                <a:moveTo>
                  <a:pt x="255" y="763"/>
                </a:moveTo>
                <a:cubicBezTo>
                  <a:pt x="255" y="3404"/>
                  <a:pt x="255" y="3404"/>
                  <a:pt x="255" y="3404"/>
                </a:cubicBezTo>
                <a:cubicBezTo>
                  <a:pt x="111" y="3547"/>
                  <a:pt x="111" y="3547"/>
                  <a:pt x="111" y="3547"/>
                </a:cubicBezTo>
                <a:cubicBezTo>
                  <a:pt x="-32" y="3690"/>
                  <a:pt x="-32" y="3929"/>
                  <a:pt x="111" y="4072"/>
                </a:cubicBezTo>
                <a:cubicBezTo>
                  <a:pt x="175" y="4135"/>
                  <a:pt x="270" y="4167"/>
                  <a:pt x="366" y="4167"/>
                </a:cubicBezTo>
                <a:cubicBezTo>
                  <a:pt x="461" y="4167"/>
                  <a:pt x="556" y="4135"/>
                  <a:pt x="620" y="4056"/>
                </a:cubicBezTo>
                <a:cubicBezTo>
                  <a:pt x="764" y="3913"/>
                  <a:pt x="764" y="3913"/>
                  <a:pt x="764" y="3913"/>
                </a:cubicBezTo>
                <a:cubicBezTo>
                  <a:pt x="3419" y="3913"/>
                  <a:pt x="3419" y="3913"/>
                  <a:pt x="3419" y="3913"/>
                </a:cubicBezTo>
                <a:cubicBezTo>
                  <a:pt x="3563" y="4056"/>
                  <a:pt x="3563" y="4056"/>
                  <a:pt x="3563" y="4056"/>
                </a:cubicBezTo>
                <a:cubicBezTo>
                  <a:pt x="3706" y="4199"/>
                  <a:pt x="3945" y="4199"/>
                  <a:pt x="4072" y="4056"/>
                </a:cubicBezTo>
                <a:cubicBezTo>
                  <a:pt x="4136" y="3992"/>
                  <a:pt x="4183" y="3897"/>
                  <a:pt x="4183" y="3801"/>
                </a:cubicBezTo>
                <a:cubicBezTo>
                  <a:pt x="4183" y="3706"/>
                  <a:pt x="4136" y="3626"/>
                  <a:pt x="4072" y="3547"/>
                </a:cubicBezTo>
                <a:cubicBezTo>
                  <a:pt x="3897" y="3372"/>
                  <a:pt x="3897" y="3372"/>
                  <a:pt x="3897" y="3372"/>
                </a:cubicBezTo>
                <a:cubicBezTo>
                  <a:pt x="3897" y="779"/>
                  <a:pt x="3897" y="779"/>
                  <a:pt x="3897" y="779"/>
                </a:cubicBezTo>
                <a:cubicBezTo>
                  <a:pt x="4072" y="604"/>
                  <a:pt x="4072" y="604"/>
                  <a:pt x="4072" y="604"/>
                </a:cubicBezTo>
                <a:cubicBezTo>
                  <a:pt x="4215" y="461"/>
                  <a:pt x="4215" y="238"/>
                  <a:pt x="4072" y="95"/>
                </a:cubicBezTo>
                <a:cubicBezTo>
                  <a:pt x="3928" y="-32"/>
                  <a:pt x="3690" y="-32"/>
                  <a:pt x="3563" y="95"/>
                </a:cubicBezTo>
                <a:cubicBezTo>
                  <a:pt x="3404" y="254"/>
                  <a:pt x="3404" y="254"/>
                  <a:pt x="3404" y="254"/>
                </a:cubicBezTo>
                <a:cubicBezTo>
                  <a:pt x="764" y="254"/>
                  <a:pt x="764" y="254"/>
                  <a:pt x="764" y="254"/>
                </a:cubicBezTo>
                <a:cubicBezTo>
                  <a:pt x="620" y="95"/>
                  <a:pt x="620" y="95"/>
                  <a:pt x="620" y="95"/>
                </a:cubicBezTo>
                <a:cubicBezTo>
                  <a:pt x="477" y="-32"/>
                  <a:pt x="238" y="-32"/>
                  <a:pt x="111" y="95"/>
                </a:cubicBezTo>
                <a:cubicBezTo>
                  <a:pt x="32" y="175"/>
                  <a:pt x="0" y="254"/>
                  <a:pt x="0" y="350"/>
                </a:cubicBezTo>
                <a:cubicBezTo>
                  <a:pt x="0" y="445"/>
                  <a:pt x="32" y="541"/>
                  <a:pt x="111" y="604"/>
                </a:cubicBezTo>
                <a:close/>
                <a:moveTo>
                  <a:pt x="413" y="923"/>
                </a:moveTo>
                <a:cubicBezTo>
                  <a:pt x="1574" y="2084"/>
                  <a:pt x="1574" y="2084"/>
                  <a:pt x="1574" y="2084"/>
                </a:cubicBezTo>
                <a:cubicBezTo>
                  <a:pt x="779" y="2879"/>
                  <a:pt x="779" y="2879"/>
                  <a:pt x="779" y="2879"/>
                </a:cubicBezTo>
                <a:cubicBezTo>
                  <a:pt x="779" y="2879"/>
                  <a:pt x="779" y="2894"/>
                  <a:pt x="764" y="2894"/>
                </a:cubicBezTo>
                <a:cubicBezTo>
                  <a:pt x="413" y="3245"/>
                  <a:pt x="413" y="3245"/>
                  <a:pt x="413" y="3245"/>
                </a:cubicBezTo>
                <a:close/>
                <a:moveTo>
                  <a:pt x="922" y="3754"/>
                </a:moveTo>
                <a:cubicBezTo>
                  <a:pt x="2083" y="2593"/>
                  <a:pt x="2083" y="2593"/>
                  <a:pt x="2083" y="2593"/>
                </a:cubicBezTo>
                <a:cubicBezTo>
                  <a:pt x="2895" y="3388"/>
                  <a:pt x="2895" y="3388"/>
                  <a:pt x="2895" y="3388"/>
                </a:cubicBezTo>
                <a:cubicBezTo>
                  <a:pt x="2895" y="3388"/>
                  <a:pt x="2895" y="3404"/>
                  <a:pt x="2910" y="3404"/>
                </a:cubicBezTo>
                <a:cubicBezTo>
                  <a:pt x="3261" y="3754"/>
                  <a:pt x="3261" y="3754"/>
                  <a:pt x="3261" y="3754"/>
                </a:cubicBezTo>
                <a:close/>
                <a:moveTo>
                  <a:pt x="3738" y="3213"/>
                </a:moveTo>
                <a:cubicBezTo>
                  <a:pt x="2608" y="2084"/>
                  <a:pt x="2608" y="2084"/>
                  <a:pt x="2608" y="2084"/>
                </a:cubicBezTo>
                <a:cubicBezTo>
                  <a:pt x="3404" y="1288"/>
                  <a:pt x="3404" y="1288"/>
                  <a:pt x="3404" y="1288"/>
                </a:cubicBezTo>
                <a:cubicBezTo>
                  <a:pt x="3404" y="1272"/>
                  <a:pt x="3404" y="1272"/>
                  <a:pt x="3404" y="1272"/>
                </a:cubicBezTo>
                <a:cubicBezTo>
                  <a:pt x="3738" y="938"/>
                  <a:pt x="3738" y="938"/>
                  <a:pt x="3738" y="938"/>
                </a:cubicBezTo>
                <a:close/>
                <a:moveTo>
                  <a:pt x="3245" y="414"/>
                </a:moveTo>
                <a:cubicBezTo>
                  <a:pt x="2083" y="1575"/>
                  <a:pt x="2083" y="1575"/>
                  <a:pt x="2083" y="1575"/>
                </a:cubicBezTo>
                <a:cubicBezTo>
                  <a:pt x="1288" y="763"/>
                  <a:pt x="1288" y="763"/>
                  <a:pt x="1288" y="763"/>
                </a:cubicBezTo>
                <a:lnTo>
                  <a:pt x="1273" y="763"/>
                </a:lnTo>
                <a:cubicBezTo>
                  <a:pt x="922" y="414"/>
                  <a:pt x="922" y="414"/>
                  <a:pt x="922" y="414"/>
                </a:cubicBezTo>
                <a:close/>
                <a:moveTo>
                  <a:pt x="223" y="206"/>
                </a:moveTo>
                <a:cubicBezTo>
                  <a:pt x="302" y="143"/>
                  <a:pt x="429" y="143"/>
                  <a:pt x="509" y="206"/>
                </a:cubicBezTo>
                <a:cubicBezTo>
                  <a:pt x="684" y="381"/>
                  <a:pt x="684" y="381"/>
                  <a:pt x="684" y="381"/>
                </a:cubicBezTo>
                <a:cubicBezTo>
                  <a:pt x="1177" y="890"/>
                  <a:pt x="1177" y="890"/>
                  <a:pt x="1177" y="890"/>
                </a:cubicBezTo>
                <a:lnTo>
                  <a:pt x="1193" y="890"/>
                </a:lnTo>
                <a:cubicBezTo>
                  <a:pt x="2036" y="1733"/>
                  <a:pt x="2036" y="1733"/>
                  <a:pt x="2036" y="1733"/>
                </a:cubicBezTo>
                <a:cubicBezTo>
                  <a:pt x="2068" y="1765"/>
                  <a:pt x="2115" y="1765"/>
                  <a:pt x="2147" y="1733"/>
                </a:cubicBezTo>
                <a:cubicBezTo>
                  <a:pt x="3499" y="381"/>
                  <a:pt x="3499" y="381"/>
                  <a:pt x="3499" y="381"/>
                </a:cubicBezTo>
                <a:cubicBezTo>
                  <a:pt x="3674" y="206"/>
                  <a:pt x="3674" y="206"/>
                  <a:pt x="3674" y="206"/>
                </a:cubicBezTo>
                <a:cubicBezTo>
                  <a:pt x="3754" y="127"/>
                  <a:pt x="3881" y="127"/>
                  <a:pt x="3961" y="206"/>
                </a:cubicBezTo>
                <a:cubicBezTo>
                  <a:pt x="4040" y="286"/>
                  <a:pt x="4040" y="414"/>
                  <a:pt x="3961" y="493"/>
                </a:cubicBezTo>
                <a:cubicBezTo>
                  <a:pt x="3770" y="684"/>
                  <a:pt x="3770" y="684"/>
                  <a:pt x="3770" y="684"/>
                </a:cubicBezTo>
                <a:cubicBezTo>
                  <a:pt x="3770" y="700"/>
                  <a:pt x="3754" y="700"/>
                  <a:pt x="3754" y="700"/>
                </a:cubicBezTo>
                <a:cubicBezTo>
                  <a:pt x="3292" y="1161"/>
                  <a:pt x="3292" y="1161"/>
                  <a:pt x="3292" y="1161"/>
                </a:cubicBezTo>
                <a:cubicBezTo>
                  <a:pt x="3276" y="1177"/>
                  <a:pt x="3276" y="1177"/>
                  <a:pt x="3276" y="1177"/>
                </a:cubicBezTo>
                <a:cubicBezTo>
                  <a:pt x="2434" y="2020"/>
                  <a:pt x="2434" y="2020"/>
                  <a:pt x="2434" y="2020"/>
                </a:cubicBezTo>
                <a:cubicBezTo>
                  <a:pt x="2402" y="2051"/>
                  <a:pt x="2402" y="2099"/>
                  <a:pt x="2434" y="2131"/>
                </a:cubicBezTo>
                <a:cubicBezTo>
                  <a:pt x="3961" y="3658"/>
                  <a:pt x="3961" y="3658"/>
                  <a:pt x="3961" y="3658"/>
                </a:cubicBezTo>
                <a:cubicBezTo>
                  <a:pt x="3992" y="3706"/>
                  <a:pt x="4024" y="3754"/>
                  <a:pt x="4024" y="3801"/>
                </a:cubicBezTo>
                <a:cubicBezTo>
                  <a:pt x="4024" y="3865"/>
                  <a:pt x="3992" y="3913"/>
                  <a:pt x="3961" y="3944"/>
                </a:cubicBezTo>
                <a:cubicBezTo>
                  <a:pt x="3881" y="4024"/>
                  <a:pt x="3754" y="4024"/>
                  <a:pt x="3674" y="3944"/>
                </a:cubicBezTo>
                <a:cubicBezTo>
                  <a:pt x="3006" y="3277"/>
                  <a:pt x="3006" y="3277"/>
                  <a:pt x="3006" y="3277"/>
                </a:cubicBezTo>
                <a:cubicBezTo>
                  <a:pt x="3006" y="3277"/>
                  <a:pt x="2990" y="3277"/>
                  <a:pt x="2990" y="3260"/>
                </a:cubicBezTo>
                <a:cubicBezTo>
                  <a:pt x="2147" y="2417"/>
                  <a:pt x="2147" y="2417"/>
                  <a:pt x="2147" y="2417"/>
                </a:cubicBezTo>
                <a:cubicBezTo>
                  <a:pt x="2115" y="2402"/>
                  <a:pt x="2068" y="2402"/>
                  <a:pt x="2036" y="2417"/>
                </a:cubicBezTo>
                <a:cubicBezTo>
                  <a:pt x="684" y="3786"/>
                  <a:pt x="684" y="3786"/>
                  <a:pt x="684" y="3786"/>
                </a:cubicBezTo>
                <a:cubicBezTo>
                  <a:pt x="509" y="3944"/>
                  <a:pt x="509" y="3944"/>
                  <a:pt x="509" y="3944"/>
                </a:cubicBezTo>
                <a:cubicBezTo>
                  <a:pt x="429" y="4024"/>
                  <a:pt x="302" y="4024"/>
                  <a:pt x="223" y="3944"/>
                </a:cubicBezTo>
                <a:cubicBezTo>
                  <a:pt x="143" y="3865"/>
                  <a:pt x="143" y="3738"/>
                  <a:pt x="223" y="3674"/>
                </a:cubicBezTo>
                <a:cubicBezTo>
                  <a:pt x="398" y="3499"/>
                  <a:pt x="398" y="3499"/>
                  <a:pt x="398" y="3499"/>
                </a:cubicBezTo>
                <a:cubicBezTo>
                  <a:pt x="891" y="2990"/>
                  <a:pt x="891" y="2990"/>
                  <a:pt x="891" y="2990"/>
                </a:cubicBezTo>
                <a:cubicBezTo>
                  <a:pt x="891" y="2990"/>
                  <a:pt x="907" y="2990"/>
                  <a:pt x="907" y="2974"/>
                </a:cubicBezTo>
                <a:cubicBezTo>
                  <a:pt x="1749" y="2131"/>
                  <a:pt x="1749" y="2131"/>
                  <a:pt x="1749" y="2131"/>
                </a:cubicBezTo>
                <a:cubicBezTo>
                  <a:pt x="1782" y="2099"/>
                  <a:pt x="1782" y="2051"/>
                  <a:pt x="1749" y="2020"/>
                </a:cubicBezTo>
                <a:cubicBezTo>
                  <a:pt x="398" y="668"/>
                  <a:pt x="398" y="668"/>
                  <a:pt x="398" y="668"/>
                </a:cubicBezTo>
                <a:cubicBezTo>
                  <a:pt x="223" y="493"/>
                  <a:pt x="223" y="493"/>
                  <a:pt x="223" y="493"/>
                </a:cubicBezTo>
                <a:cubicBezTo>
                  <a:pt x="175" y="461"/>
                  <a:pt x="159" y="414"/>
                  <a:pt x="159" y="350"/>
                </a:cubicBezTo>
                <a:cubicBezTo>
                  <a:pt x="159" y="302"/>
                  <a:pt x="175" y="254"/>
                  <a:pt x="223" y="20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8" name="Freeform: Shape 17">
            <a:extLst>
              <a:ext uri="{FF2B5EF4-FFF2-40B4-BE49-F238E27FC236}">
                <a16:creationId xmlns:a16="http://schemas.microsoft.com/office/drawing/2014/main" id="{D7B5F4A2-31A9-CD41-91E4-9EB15947B692}"/>
              </a:ext>
            </a:extLst>
          </p:cNvPr>
          <p:cNvSpPr/>
          <p:nvPr/>
        </p:nvSpPr>
        <p:spPr>
          <a:xfrm>
            <a:off x="5673105" y="3200111"/>
            <a:ext cx="2354760" cy="1508399"/>
          </a:xfrm>
          <a:custGeom>
            <a:avLst/>
            <a:gdLst/>
            <a:ahLst/>
            <a:cxnLst>
              <a:cxn ang="3cd4">
                <a:pos x="hc" y="t"/>
              </a:cxn>
              <a:cxn ang="cd2">
                <a:pos x="l" y="vc"/>
              </a:cxn>
              <a:cxn ang="cd4">
                <a:pos x="hc" y="b"/>
              </a:cxn>
              <a:cxn ang="0">
                <a:pos x="r" y="vc"/>
              </a:cxn>
            </a:cxnLst>
            <a:rect l="l" t="t" r="r" b="b"/>
            <a:pathLst>
              <a:path w="6542" h="4191">
                <a:moveTo>
                  <a:pt x="6346" y="1311"/>
                </a:moveTo>
                <a:cubicBezTo>
                  <a:pt x="6216" y="1295"/>
                  <a:pt x="6136" y="1376"/>
                  <a:pt x="6103" y="1473"/>
                </a:cubicBezTo>
                <a:cubicBezTo>
                  <a:pt x="6087" y="1327"/>
                  <a:pt x="6071" y="1197"/>
                  <a:pt x="6022" y="1117"/>
                </a:cubicBezTo>
                <a:cubicBezTo>
                  <a:pt x="5974" y="1036"/>
                  <a:pt x="5909" y="955"/>
                  <a:pt x="5812" y="923"/>
                </a:cubicBezTo>
                <a:cubicBezTo>
                  <a:pt x="5974" y="842"/>
                  <a:pt x="6071" y="680"/>
                  <a:pt x="6071" y="486"/>
                </a:cubicBezTo>
                <a:cubicBezTo>
                  <a:pt x="6071" y="211"/>
                  <a:pt x="5860" y="0"/>
                  <a:pt x="5585" y="0"/>
                </a:cubicBezTo>
                <a:cubicBezTo>
                  <a:pt x="5310" y="0"/>
                  <a:pt x="5084" y="211"/>
                  <a:pt x="5084" y="486"/>
                </a:cubicBezTo>
                <a:cubicBezTo>
                  <a:pt x="5084" y="696"/>
                  <a:pt x="5230" y="890"/>
                  <a:pt x="5424" y="955"/>
                </a:cubicBezTo>
                <a:cubicBezTo>
                  <a:pt x="5359" y="987"/>
                  <a:pt x="5310" y="1020"/>
                  <a:pt x="5278" y="1052"/>
                </a:cubicBezTo>
                <a:lnTo>
                  <a:pt x="4857" y="1359"/>
                </a:lnTo>
                <a:lnTo>
                  <a:pt x="4453" y="1020"/>
                </a:lnTo>
                <a:cubicBezTo>
                  <a:pt x="4340" y="923"/>
                  <a:pt x="4162" y="939"/>
                  <a:pt x="4065" y="1052"/>
                </a:cubicBezTo>
                <a:cubicBezTo>
                  <a:pt x="4016" y="1117"/>
                  <a:pt x="4000" y="1181"/>
                  <a:pt x="4000" y="1262"/>
                </a:cubicBezTo>
                <a:cubicBezTo>
                  <a:pt x="4000" y="1327"/>
                  <a:pt x="4032" y="1408"/>
                  <a:pt x="4097" y="1456"/>
                </a:cubicBezTo>
                <a:lnTo>
                  <a:pt x="4663" y="1925"/>
                </a:lnTo>
                <a:cubicBezTo>
                  <a:pt x="4760" y="2023"/>
                  <a:pt x="4906" y="2023"/>
                  <a:pt x="5019" y="1942"/>
                </a:cubicBezTo>
                <a:lnTo>
                  <a:pt x="5148" y="1845"/>
                </a:lnTo>
                <a:cubicBezTo>
                  <a:pt x="5165" y="2023"/>
                  <a:pt x="5148" y="2217"/>
                  <a:pt x="5148" y="2362"/>
                </a:cubicBezTo>
                <a:lnTo>
                  <a:pt x="4534" y="2476"/>
                </a:lnTo>
                <a:cubicBezTo>
                  <a:pt x="4469" y="2492"/>
                  <a:pt x="4421" y="2508"/>
                  <a:pt x="4388" y="2524"/>
                </a:cubicBezTo>
                <a:cubicBezTo>
                  <a:pt x="4388" y="3333"/>
                  <a:pt x="4388" y="3063"/>
                  <a:pt x="4388" y="3333"/>
                </a:cubicBezTo>
                <a:lnTo>
                  <a:pt x="4453" y="3899"/>
                </a:lnTo>
                <a:cubicBezTo>
                  <a:pt x="4469" y="4061"/>
                  <a:pt x="4615" y="4191"/>
                  <a:pt x="4777" y="4191"/>
                </a:cubicBezTo>
                <a:lnTo>
                  <a:pt x="4809" y="4191"/>
                </a:lnTo>
                <a:cubicBezTo>
                  <a:pt x="4906" y="4174"/>
                  <a:pt x="4971" y="4142"/>
                  <a:pt x="5036" y="4077"/>
                </a:cubicBezTo>
                <a:cubicBezTo>
                  <a:pt x="5052" y="4045"/>
                  <a:pt x="5068" y="4013"/>
                  <a:pt x="5084" y="3997"/>
                </a:cubicBezTo>
                <a:cubicBezTo>
                  <a:pt x="5084" y="4045"/>
                  <a:pt x="5100" y="4077"/>
                  <a:pt x="5132" y="4109"/>
                </a:cubicBezTo>
                <a:cubicBezTo>
                  <a:pt x="5213" y="4191"/>
                  <a:pt x="5327" y="4191"/>
                  <a:pt x="5407" y="4109"/>
                </a:cubicBezTo>
                <a:lnTo>
                  <a:pt x="5489" y="4029"/>
                </a:lnTo>
                <a:lnTo>
                  <a:pt x="5860" y="4029"/>
                </a:lnTo>
                <a:lnTo>
                  <a:pt x="5958" y="4109"/>
                </a:lnTo>
                <a:cubicBezTo>
                  <a:pt x="6022" y="4191"/>
                  <a:pt x="6152" y="4191"/>
                  <a:pt x="6216" y="4109"/>
                </a:cubicBezTo>
                <a:cubicBezTo>
                  <a:pt x="6249" y="4077"/>
                  <a:pt x="6265" y="4029"/>
                  <a:pt x="6281" y="3980"/>
                </a:cubicBezTo>
                <a:cubicBezTo>
                  <a:pt x="6281" y="3932"/>
                  <a:pt x="6249" y="3883"/>
                  <a:pt x="6216" y="3851"/>
                </a:cubicBezTo>
                <a:cubicBezTo>
                  <a:pt x="6054" y="3689"/>
                  <a:pt x="6108" y="3743"/>
                  <a:pt x="6054" y="3689"/>
                </a:cubicBezTo>
                <a:cubicBezTo>
                  <a:pt x="6038" y="3673"/>
                  <a:pt x="6022" y="3673"/>
                  <a:pt x="6006" y="3656"/>
                </a:cubicBezTo>
                <a:lnTo>
                  <a:pt x="5909" y="3656"/>
                </a:lnTo>
                <a:lnTo>
                  <a:pt x="5909" y="3171"/>
                </a:lnTo>
                <a:lnTo>
                  <a:pt x="6006" y="3171"/>
                </a:lnTo>
                <a:cubicBezTo>
                  <a:pt x="6200" y="3171"/>
                  <a:pt x="6362" y="3026"/>
                  <a:pt x="6378" y="2832"/>
                </a:cubicBezTo>
                <a:lnTo>
                  <a:pt x="6540" y="1554"/>
                </a:lnTo>
                <a:cubicBezTo>
                  <a:pt x="6556" y="1440"/>
                  <a:pt x="6491" y="1327"/>
                  <a:pt x="6346" y="1311"/>
                </a:cubicBezTo>
                <a:close/>
                <a:moveTo>
                  <a:pt x="5246" y="486"/>
                </a:moveTo>
                <a:cubicBezTo>
                  <a:pt x="5246" y="308"/>
                  <a:pt x="5391" y="162"/>
                  <a:pt x="5585" y="162"/>
                </a:cubicBezTo>
                <a:cubicBezTo>
                  <a:pt x="5763" y="162"/>
                  <a:pt x="5909" y="308"/>
                  <a:pt x="5909" y="486"/>
                </a:cubicBezTo>
                <a:cubicBezTo>
                  <a:pt x="5909" y="664"/>
                  <a:pt x="5763" y="826"/>
                  <a:pt x="5585" y="826"/>
                </a:cubicBezTo>
                <a:cubicBezTo>
                  <a:pt x="5391" y="826"/>
                  <a:pt x="5246" y="664"/>
                  <a:pt x="5246" y="486"/>
                </a:cubicBezTo>
                <a:close/>
                <a:moveTo>
                  <a:pt x="5132" y="3851"/>
                </a:moveTo>
                <a:cubicBezTo>
                  <a:pt x="5116" y="3867"/>
                  <a:pt x="5116" y="3883"/>
                  <a:pt x="5100" y="3883"/>
                </a:cubicBezTo>
                <a:lnTo>
                  <a:pt x="5100" y="3835"/>
                </a:lnTo>
                <a:lnTo>
                  <a:pt x="5036" y="3171"/>
                </a:lnTo>
                <a:cubicBezTo>
                  <a:pt x="5052" y="3187"/>
                  <a:pt x="5068" y="3187"/>
                  <a:pt x="5084" y="3187"/>
                </a:cubicBezTo>
                <a:lnTo>
                  <a:pt x="5472" y="3171"/>
                </a:lnTo>
                <a:lnTo>
                  <a:pt x="5472" y="3640"/>
                </a:lnTo>
                <a:lnTo>
                  <a:pt x="5343" y="3656"/>
                </a:lnTo>
                <a:cubicBezTo>
                  <a:pt x="5327" y="3673"/>
                  <a:pt x="5310" y="3673"/>
                  <a:pt x="5294" y="3689"/>
                </a:cubicBezTo>
                <a:close/>
                <a:moveTo>
                  <a:pt x="6378" y="1537"/>
                </a:moveTo>
                <a:lnTo>
                  <a:pt x="6216" y="2815"/>
                </a:lnTo>
                <a:cubicBezTo>
                  <a:pt x="6200" y="2929"/>
                  <a:pt x="6119" y="3009"/>
                  <a:pt x="5990" y="3009"/>
                </a:cubicBezTo>
                <a:cubicBezTo>
                  <a:pt x="5828" y="3009"/>
                  <a:pt x="5882" y="3009"/>
                  <a:pt x="5828" y="3009"/>
                </a:cubicBezTo>
                <a:cubicBezTo>
                  <a:pt x="5796" y="3009"/>
                  <a:pt x="5747" y="3042"/>
                  <a:pt x="5747" y="3091"/>
                </a:cubicBezTo>
                <a:lnTo>
                  <a:pt x="5747" y="3721"/>
                </a:lnTo>
                <a:cubicBezTo>
                  <a:pt x="5747" y="3770"/>
                  <a:pt x="5779" y="3802"/>
                  <a:pt x="5828" y="3802"/>
                </a:cubicBezTo>
                <a:lnTo>
                  <a:pt x="5958" y="3819"/>
                </a:lnTo>
                <a:lnTo>
                  <a:pt x="6103" y="3964"/>
                </a:lnTo>
                <a:lnTo>
                  <a:pt x="6119" y="3980"/>
                </a:lnTo>
                <a:lnTo>
                  <a:pt x="6103" y="3997"/>
                </a:lnTo>
                <a:cubicBezTo>
                  <a:pt x="6087" y="4013"/>
                  <a:pt x="6071" y="4013"/>
                  <a:pt x="6071" y="3997"/>
                </a:cubicBezTo>
                <a:lnTo>
                  <a:pt x="5958" y="3883"/>
                </a:lnTo>
                <a:cubicBezTo>
                  <a:pt x="5942" y="3867"/>
                  <a:pt x="5925" y="3867"/>
                  <a:pt x="5893" y="3867"/>
                </a:cubicBezTo>
                <a:lnTo>
                  <a:pt x="5456" y="3867"/>
                </a:lnTo>
                <a:cubicBezTo>
                  <a:pt x="5440" y="3867"/>
                  <a:pt x="5407" y="3867"/>
                  <a:pt x="5391" y="3883"/>
                </a:cubicBezTo>
                <a:lnTo>
                  <a:pt x="5278" y="3997"/>
                </a:lnTo>
                <a:cubicBezTo>
                  <a:pt x="5278" y="4013"/>
                  <a:pt x="5262" y="4013"/>
                  <a:pt x="5246" y="3997"/>
                </a:cubicBezTo>
                <a:lnTo>
                  <a:pt x="5246" y="3980"/>
                </a:lnTo>
                <a:lnTo>
                  <a:pt x="5246" y="3964"/>
                </a:lnTo>
                <a:lnTo>
                  <a:pt x="5391" y="3819"/>
                </a:lnTo>
                <a:lnTo>
                  <a:pt x="5553" y="3802"/>
                </a:lnTo>
                <a:cubicBezTo>
                  <a:pt x="5601" y="3786"/>
                  <a:pt x="5634" y="3754"/>
                  <a:pt x="5634" y="3721"/>
                </a:cubicBezTo>
                <a:lnTo>
                  <a:pt x="5634" y="3091"/>
                </a:lnTo>
                <a:cubicBezTo>
                  <a:pt x="5634" y="3074"/>
                  <a:pt x="5618" y="3058"/>
                  <a:pt x="5601" y="3042"/>
                </a:cubicBezTo>
                <a:cubicBezTo>
                  <a:pt x="5585" y="3026"/>
                  <a:pt x="5569" y="3009"/>
                  <a:pt x="5553" y="3009"/>
                </a:cubicBezTo>
                <a:lnTo>
                  <a:pt x="5084" y="3026"/>
                </a:lnTo>
                <a:cubicBezTo>
                  <a:pt x="5052" y="3026"/>
                  <a:pt x="5019" y="3009"/>
                  <a:pt x="5019" y="2977"/>
                </a:cubicBezTo>
                <a:cubicBezTo>
                  <a:pt x="5003" y="2929"/>
                  <a:pt x="4971" y="2913"/>
                  <a:pt x="4922" y="2913"/>
                </a:cubicBezTo>
                <a:cubicBezTo>
                  <a:pt x="4874" y="2929"/>
                  <a:pt x="4841" y="2961"/>
                  <a:pt x="4857" y="3009"/>
                </a:cubicBezTo>
                <a:cubicBezTo>
                  <a:pt x="4938" y="3851"/>
                  <a:pt x="4911" y="3570"/>
                  <a:pt x="4938" y="3851"/>
                </a:cubicBezTo>
                <a:cubicBezTo>
                  <a:pt x="4954" y="3883"/>
                  <a:pt x="4938" y="3932"/>
                  <a:pt x="4906" y="3964"/>
                </a:cubicBezTo>
                <a:cubicBezTo>
                  <a:pt x="4874" y="3997"/>
                  <a:pt x="4841" y="4029"/>
                  <a:pt x="4793" y="4029"/>
                </a:cubicBezTo>
                <a:cubicBezTo>
                  <a:pt x="4712" y="4045"/>
                  <a:pt x="4615" y="3980"/>
                  <a:pt x="4615" y="3883"/>
                </a:cubicBezTo>
                <a:lnTo>
                  <a:pt x="4501" y="2751"/>
                </a:lnTo>
                <a:cubicBezTo>
                  <a:pt x="4485" y="2654"/>
                  <a:pt x="4485" y="2654"/>
                  <a:pt x="4550" y="2638"/>
                </a:cubicBezTo>
                <a:lnTo>
                  <a:pt x="5246" y="2508"/>
                </a:lnTo>
                <a:cubicBezTo>
                  <a:pt x="5278" y="2492"/>
                  <a:pt x="5310" y="2460"/>
                  <a:pt x="5310" y="2427"/>
                </a:cubicBezTo>
                <a:cubicBezTo>
                  <a:pt x="5310" y="2233"/>
                  <a:pt x="5327" y="1942"/>
                  <a:pt x="5310" y="1683"/>
                </a:cubicBezTo>
                <a:cubicBezTo>
                  <a:pt x="5310" y="1650"/>
                  <a:pt x="5294" y="1618"/>
                  <a:pt x="5262" y="1602"/>
                </a:cubicBezTo>
                <a:lnTo>
                  <a:pt x="5230" y="1602"/>
                </a:lnTo>
                <a:cubicBezTo>
                  <a:pt x="5213" y="1602"/>
                  <a:pt x="5197" y="1602"/>
                  <a:pt x="5181" y="1618"/>
                </a:cubicBezTo>
                <a:cubicBezTo>
                  <a:pt x="4922" y="1812"/>
                  <a:pt x="5008" y="1747"/>
                  <a:pt x="4922" y="1812"/>
                </a:cubicBezTo>
                <a:cubicBezTo>
                  <a:pt x="4874" y="1845"/>
                  <a:pt x="4809" y="1845"/>
                  <a:pt x="4777" y="1812"/>
                </a:cubicBezTo>
                <a:lnTo>
                  <a:pt x="4760" y="1812"/>
                </a:lnTo>
                <a:lnTo>
                  <a:pt x="4194" y="1327"/>
                </a:lnTo>
                <a:cubicBezTo>
                  <a:pt x="4178" y="1311"/>
                  <a:pt x="4162" y="1279"/>
                  <a:pt x="4162" y="1246"/>
                </a:cubicBezTo>
                <a:cubicBezTo>
                  <a:pt x="4162" y="1214"/>
                  <a:pt x="4162" y="1181"/>
                  <a:pt x="4194" y="1165"/>
                </a:cubicBezTo>
                <a:cubicBezTo>
                  <a:pt x="4226" y="1117"/>
                  <a:pt x="4307" y="1101"/>
                  <a:pt x="4356" y="1149"/>
                </a:cubicBezTo>
                <a:lnTo>
                  <a:pt x="4809" y="1537"/>
                </a:lnTo>
                <a:cubicBezTo>
                  <a:pt x="4825" y="1554"/>
                  <a:pt x="4874" y="1554"/>
                  <a:pt x="4906" y="1537"/>
                </a:cubicBezTo>
                <a:lnTo>
                  <a:pt x="5375" y="1181"/>
                </a:lnTo>
                <a:cubicBezTo>
                  <a:pt x="5456" y="1117"/>
                  <a:pt x="5521" y="1068"/>
                  <a:pt x="5601" y="1052"/>
                </a:cubicBezTo>
                <a:cubicBezTo>
                  <a:pt x="5715" y="1036"/>
                  <a:pt x="5828" y="1101"/>
                  <a:pt x="5893" y="1197"/>
                </a:cubicBezTo>
                <a:cubicBezTo>
                  <a:pt x="6006" y="1424"/>
                  <a:pt x="5942" y="2281"/>
                  <a:pt x="5877" y="2573"/>
                </a:cubicBezTo>
                <a:cubicBezTo>
                  <a:pt x="5860" y="2670"/>
                  <a:pt x="5844" y="2702"/>
                  <a:pt x="5779" y="2751"/>
                </a:cubicBezTo>
                <a:cubicBezTo>
                  <a:pt x="5763" y="2767"/>
                  <a:pt x="5747" y="2815"/>
                  <a:pt x="5763" y="2848"/>
                </a:cubicBezTo>
                <a:cubicBezTo>
                  <a:pt x="5779" y="2864"/>
                  <a:pt x="5812" y="2897"/>
                  <a:pt x="5844" y="2897"/>
                </a:cubicBezTo>
                <a:cubicBezTo>
                  <a:pt x="5974" y="2897"/>
                  <a:pt x="5930" y="2897"/>
                  <a:pt x="5974" y="2897"/>
                </a:cubicBezTo>
                <a:lnTo>
                  <a:pt x="5990" y="2897"/>
                </a:lnTo>
                <a:cubicBezTo>
                  <a:pt x="6054" y="2880"/>
                  <a:pt x="6103" y="2848"/>
                  <a:pt x="6103" y="2767"/>
                </a:cubicBezTo>
                <a:lnTo>
                  <a:pt x="6265" y="1521"/>
                </a:lnTo>
                <a:cubicBezTo>
                  <a:pt x="6265" y="1456"/>
                  <a:pt x="6313" y="1456"/>
                  <a:pt x="6330" y="1473"/>
                </a:cubicBezTo>
                <a:cubicBezTo>
                  <a:pt x="6346" y="1473"/>
                  <a:pt x="6394" y="1473"/>
                  <a:pt x="6378" y="1537"/>
                </a:cubicBezTo>
                <a:close/>
                <a:moveTo>
                  <a:pt x="4388" y="2395"/>
                </a:moveTo>
                <a:lnTo>
                  <a:pt x="4647" y="2395"/>
                </a:lnTo>
                <a:cubicBezTo>
                  <a:pt x="4695" y="2395"/>
                  <a:pt x="4728" y="2362"/>
                  <a:pt x="4728" y="2314"/>
                </a:cubicBezTo>
                <a:lnTo>
                  <a:pt x="4728" y="2087"/>
                </a:lnTo>
                <a:cubicBezTo>
                  <a:pt x="4728" y="2055"/>
                  <a:pt x="4695" y="2007"/>
                  <a:pt x="4647" y="2007"/>
                </a:cubicBezTo>
                <a:lnTo>
                  <a:pt x="2447" y="2007"/>
                </a:lnTo>
                <a:cubicBezTo>
                  <a:pt x="2528" y="1974"/>
                  <a:pt x="2577" y="1925"/>
                  <a:pt x="2609" y="1861"/>
                </a:cubicBezTo>
                <a:cubicBezTo>
                  <a:pt x="2625" y="1780"/>
                  <a:pt x="2625" y="1699"/>
                  <a:pt x="2593" y="1634"/>
                </a:cubicBezTo>
                <a:cubicBezTo>
                  <a:pt x="2528" y="1489"/>
                  <a:pt x="2366" y="1408"/>
                  <a:pt x="2220" y="1473"/>
                </a:cubicBezTo>
                <a:lnTo>
                  <a:pt x="1897" y="1618"/>
                </a:lnTo>
                <a:cubicBezTo>
                  <a:pt x="1557" y="1101"/>
                  <a:pt x="1670" y="1273"/>
                  <a:pt x="1557" y="1101"/>
                </a:cubicBezTo>
                <a:cubicBezTo>
                  <a:pt x="1525" y="1052"/>
                  <a:pt x="1493" y="1020"/>
                  <a:pt x="1444" y="987"/>
                </a:cubicBezTo>
                <a:cubicBezTo>
                  <a:pt x="1671" y="939"/>
                  <a:pt x="1832" y="728"/>
                  <a:pt x="1832" y="502"/>
                </a:cubicBezTo>
                <a:cubicBezTo>
                  <a:pt x="1832" y="227"/>
                  <a:pt x="1622" y="17"/>
                  <a:pt x="1347" y="17"/>
                </a:cubicBezTo>
                <a:cubicBezTo>
                  <a:pt x="1072" y="17"/>
                  <a:pt x="845" y="227"/>
                  <a:pt x="845" y="502"/>
                </a:cubicBezTo>
                <a:cubicBezTo>
                  <a:pt x="845" y="664"/>
                  <a:pt x="926" y="809"/>
                  <a:pt x="1056" y="906"/>
                </a:cubicBezTo>
                <a:cubicBezTo>
                  <a:pt x="975" y="923"/>
                  <a:pt x="894" y="987"/>
                  <a:pt x="829" y="1068"/>
                </a:cubicBezTo>
                <a:cubicBezTo>
                  <a:pt x="667" y="1279"/>
                  <a:pt x="571" y="1796"/>
                  <a:pt x="522" y="2185"/>
                </a:cubicBezTo>
                <a:lnTo>
                  <a:pt x="441" y="1505"/>
                </a:lnTo>
                <a:cubicBezTo>
                  <a:pt x="425" y="1424"/>
                  <a:pt x="376" y="1359"/>
                  <a:pt x="312" y="1327"/>
                </a:cubicBezTo>
                <a:cubicBezTo>
                  <a:pt x="230" y="1295"/>
                  <a:pt x="150" y="1295"/>
                  <a:pt x="85" y="1343"/>
                </a:cubicBezTo>
                <a:cubicBezTo>
                  <a:pt x="20" y="1392"/>
                  <a:pt x="-12" y="1473"/>
                  <a:pt x="4" y="1554"/>
                </a:cubicBezTo>
                <a:lnTo>
                  <a:pt x="150" y="2799"/>
                </a:lnTo>
                <a:cubicBezTo>
                  <a:pt x="182" y="2993"/>
                  <a:pt x="328" y="3107"/>
                  <a:pt x="522" y="3123"/>
                </a:cubicBezTo>
                <a:lnTo>
                  <a:pt x="619" y="3139"/>
                </a:lnTo>
                <a:lnTo>
                  <a:pt x="619" y="3656"/>
                </a:lnTo>
                <a:lnTo>
                  <a:pt x="522" y="3656"/>
                </a:lnTo>
                <a:cubicBezTo>
                  <a:pt x="506" y="3673"/>
                  <a:pt x="489" y="3673"/>
                  <a:pt x="473" y="3689"/>
                </a:cubicBezTo>
                <a:cubicBezTo>
                  <a:pt x="312" y="3851"/>
                  <a:pt x="366" y="3797"/>
                  <a:pt x="312" y="3851"/>
                </a:cubicBezTo>
                <a:cubicBezTo>
                  <a:pt x="279" y="3883"/>
                  <a:pt x="263" y="3932"/>
                  <a:pt x="263" y="3980"/>
                </a:cubicBezTo>
                <a:cubicBezTo>
                  <a:pt x="263" y="4029"/>
                  <a:pt x="279" y="4077"/>
                  <a:pt x="328" y="4109"/>
                </a:cubicBezTo>
                <a:cubicBezTo>
                  <a:pt x="392" y="4191"/>
                  <a:pt x="506" y="4191"/>
                  <a:pt x="587" y="4109"/>
                </a:cubicBezTo>
                <a:lnTo>
                  <a:pt x="667" y="4029"/>
                </a:lnTo>
                <a:lnTo>
                  <a:pt x="1056" y="4029"/>
                </a:lnTo>
                <a:lnTo>
                  <a:pt x="1136" y="4109"/>
                </a:lnTo>
                <a:cubicBezTo>
                  <a:pt x="1201" y="4191"/>
                  <a:pt x="1330" y="4191"/>
                  <a:pt x="1395" y="4109"/>
                </a:cubicBezTo>
                <a:cubicBezTo>
                  <a:pt x="1428" y="4077"/>
                  <a:pt x="1460" y="4045"/>
                  <a:pt x="1460" y="3997"/>
                </a:cubicBezTo>
                <a:cubicBezTo>
                  <a:pt x="1509" y="4093"/>
                  <a:pt x="1606" y="4174"/>
                  <a:pt x="1719" y="4191"/>
                </a:cubicBezTo>
                <a:lnTo>
                  <a:pt x="1767" y="4191"/>
                </a:lnTo>
                <a:cubicBezTo>
                  <a:pt x="1929" y="4191"/>
                  <a:pt x="2075" y="4061"/>
                  <a:pt x="2091" y="3899"/>
                </a:cubicBezTo>
                <a:lnTo>
                  <a:pt x="2204" y="2783"/>
                </a:lnTo>
                <a:cubicBezTo>
                  <a:pt x="2220" y="2654"/>
                  <a:pt x="2220" y="2524"/>
                  <a:pt x="2010" y="2476"/>
                </a:cubicBezTo>
                <a:lnTo>
                  <a:pt x="1379" y="2362"/>
                </a:lnTo>
                <a:cubicBezTo>
                  <a:pt x="1395" y="2233"/>
                  <a:pt x="1412" y="2103"/>
                  <a:pt x="1428" y="1974"/>
                </a:cubicBezTo>
                <a:lnTo>
                  <a:pt x="1541" y="2136"/>
                </a:lnTo>
                <a:cubicBezTo>
                  <a:pt x="1606" y="2249"/>
                  <a:pt x="1767" y="2298"/>
                  <a:pt x="1897" y="2249"/>
                </a:cubicBezTo>
                <a:lnTo>
                  <a:pt x="2010" y="2201"/>
                </a:lnTo>
                <a:lnTo>
                  <a:pt x="2010" y="2314"/>
                </a:lnTo>
                <a:cubicBezTo>
                  <a:pt x="2010" y="2362"/>
                  <a:pt x="2059" y="2395"/>
                  <a:pt x="2091" y="2395"/>
                </a:cubicBezTo>
                <a:lnTo>
                  <a:pt x="2350" y="2395"/>
                </a:lnTo>
                <a:lnTo>
                  <a:pt x="2350" y="4093"/>
                </a:lnTo>
                <a:cubicBezTo>
                  <a:pt x="2350" y="4142"/>
                  <a:pt x="2382" y="4174"/>
                  <a:pt x="2431" y="4174"/>
                </a:cubicBezTo>
                <a:cubicBezTo>
                  <a:pt x="4307" y="4174"/>
                  <a:pt x="3682" y="4174"/>
                  <a:pt x="4307" y="4174"/>
                </a:cubicBezTo>
                <a:cubicBezTo>
                  <a:pt x="4356" y="4174"/>
                  <a:pt x="4388" y="4142"/>
                  <a:pt x="4388" y="4093"/>
                </a:cubicBezTo>
                <a:lnTo>
                  <a:pt x="4388" y="3333"/>
                </a:lnTo>
                <a:cubicBezTo>
                  <a:pt x="4388" y="2524"/>
                  <a:pt x="4388" y="2794"/>
                  <a:pt x="4388" y="2524"/>
                </a:cubicBezTo>
                <a:close/>
                <a:moveTo>
                  <a:pt x="1347" y="162"/>
                </a:moveTo>
                <a:cubicBezTo>
                  <a:pt x="1525" y="162"/>
                  <a:pt x="1671" y="324"/>
                  <a:pt x="1671" y="502"/>
                </a:cubicBezTo>
                <a:cubicBezTo>
                  <a:pt x="1671" y="680"/>
                  <a:pt x="1525" y="826"/>
                  <a:pt x="1347" y="826"/>
                </a:cubicBezTo>
                <a:cubicBezTo>
                  <a:pt x="1153" y="826"/>
                  <a:pt x="1007" y="680"/>
                  <a:pt x="1007" y="502"/>
                </a:cubicBezTo>
                <a:cubicBezTo>
                  <a:pt x="1007" y="324"/>
                  <a:pt x="1153" y="162"/>
                  <a:pt x="1347" y="162"/>
                </a:cubicBezTo>
                <a:close/>
                <a:moveTo>
                  <a:pt x="1428" y="3835"/>
                </a:moveTo>
                <a:lnTo>
                  <a:pt x="1428" y="3883"/>
                </a:lnTo>
                <a:cubicBezTo>
                  <a:pt x="1417" y="3872"/>
                  <a:pt x="1412" y="3867"/>
                  <a:pt x="1395" y="3851"/>
                </a:cubicBezTo>
                <a:cubicBezTo>
                  <a:pt x="1234" y="3689"/>
                  <a:pt x="1288" y="3743"/>
                  <a:pt x="1234" y="3689"/>
                </a:cubicBezTo>
                <a:cubicBezTo>
                  <a:pt x="1234" y="3673"/>
                  <a:pt x="1218" y="3673"/>
                  <a:pt x="1185" y="3656"/>
                </a:cubicBezTo>
                <a:cubicBezTo>
                  <a:pt x="1072" y="3640"/>
                  <a:pt x="1110" y="3645"/>
                  <a:pt x="1072" y="3640"/>
                </a:cubicBezTo>
                <a:lnTo>
                  <a:pt x="1072" y="3155"/>
                </a:lnTo>
                <a:lnTo>
                  <a:pt x="1444" y="3187"/>
                </a:lnTo>
                <a:cubicBezTo>
                  <a:pt x="1460" y="3187"/>
                  <a:pt x="1493" y="3187"/>
                  <a:pt x="1509" y="3171"/>
                </a:cubicBezTo>
                <a:close/>
                <a:moveTo>
                  <a:pt x="1832" y="2103"/>
                </a:moveTo>
                <a:cubicBezTo>
                  <a:pt x="1783" y="2119"/>
                  <a:pt x="1703" y="2103"/>
                  <a:pt x="1671" y="2039"/>
                </a:cubicBezTo>
                <a:cubicBezTo>
                  <a:pt x="1460" y="1731"/>
                  <a:pt x="1530" y="1834"/>
                  <a:pt x="1460" y="1731"/>
                </a:cubicBezTo>
                <a:cubicBezTo>
                  <a:pt x="1444" y="1699"/>
                  <a:pt x="1412" y="1699"/>
                  <a:pt x="1379" y="1699"/>
                </a:cubicBezTo>
                <a:cubicBezTo>
                  <a:pt x="1347" y="1699"/>
                  <a:pt x="1330" y="1731"/>
                  <a:pt x="1314" y="1764"/>
                </a:cubicBezTo>
                <a:cubicBezTo>
                  <a:pt x="1298" y="1812"/>
                  <a:pt x="1298" y="1861"/>
                  <a:pt x="1282" y="1925"/>
                </a:cubicBezTo>
                <a:cubicBezTo>
                  <a:pt x="1250" y="2087"/>
                  <a:pt x="1218" y="2265"/>
                  <a:pt x="1201" y="2427"/>
                </a:cubicBezTo>
                <a:cubicBezTo>
                  <a:pt x="1201" y="2460"/>
                  <a:pt x="1234" y="2508"/>
                  <a:pt x="1282" y="2508"/>
                </a:cubicBezTo>
                <a:cubicBezTo>
                  <a:pt x="1978" y="2638"/>
                  <a:pt x="1746" y="2595"/>
                  <a:pt x="1978" y="2638"/>
                </a:cubicBezTo>
                <a:cubicBezTo>
                  <a:pt x="2059" y="2654"/>
                  <a:pt x="2059" y="2654"/>
                  <a:pt x="2042" y="2751"/>
                </a:cubicBezTo>
                <a:lnTo>
                  <a:pt x="1929" y="3883"/>
                </a:lnTo>
                <a:cubicBezTo>
                  <a:pt x="1913" y="3980"/>
                  <a:pt x="1832" y="4045"/>
                  <a:pt x="1735" y="4029"/>
                </a:cubicBezTo>
                <a:cubicBezTo>
                  <a:pt x="1654" y="4013"/>
                  <a:pt x="1589" y="3932"/>
                  <a:pt x="1589" y="3851"/>
                </a:cubicBezTo>
                <a:cubicBezTo>
                  <a:pt x="1687" y="3009"/>
                  <a:pt x="1654" y="3290"/>
                  <a:pt x="1687" y="3009"/>
                </a:cubicBezTo>
                <a:cubicBezTo>
                  <a:pt x="1687" y="2961"/>
                  <a:pt x="1671" y="2929"/>
                  <a:pt x="1622" y="2913"/>
                </a:cubicBezTo>
                <a:lnTo>
                  <a:pt x="1606" y="2913"/>
                </a:lnTo>
                <a:cubicBezTo>
                  <a:pt x="1557" y="2913"/>
                  <a:pt x="1525" y="2945"/>
                  <a:pt x="1525" y="2977"/>
                </a:cubicBezTo>
                <a:cubicBezTo>
                  <a:pt x="1509" y="3009"/>
                  <a:pt x="1493" y="3026"/>
                  <a:pt x="1460" y="3026"/>
                </a:cubicBezTo>
                <a:lnTo>
                  <a:pt x="991" y="2993"/>
                </a:lnTo>
                <a:cubicBezTo>
                  <a:pt x="975" y="2993"/>
                  <a:pt x="942" y="2993"/>
                  <a:pt x="926" y="3009"/>
                </a:cubicBezTo>
                <a:cubicBezTo>
                  <a:pt x="910" y="3026"/>
                  <a:pt x="910" y="3058"/>
                  <a:pt x="910" y="3074"/>
                </a:cubicBezTo>
                <a:lnTo>
                  <a:pt x="910" y="3721"/>
                </a:lnTo>
                <a:cubicBezTo>
                  <a:pt x="910" y="3754"/>
                  <a:pt x="942" y="3786"/>
                  <a:pt x="975" y="3802"/>
                </a:cubicBezTo>
                <a:lnTo>
                  <a:pt x="1136" y="3819"/>
                </a:lnTo>
                <a:lnTo>
                  <a:pt x="1282" y="3964"/>
                </a:lnTo>
                <a:cubicBezTo>
                  <a:pt x="1298" y="3964"/>
                  <a:pt x="1293" y="3974"/>
                  <a:pt x="1298" y="3980"/>
                </a:cubicBezTo>
                <a:cubicBezTo>
                  <a:pt x="1293" y="3985"/>
                  <a:pt x="1298" y="3997"/>
                  <a:pt x="1282" y="3997"/>
                </a:cubicBezTo>
                <a:cubicBezTo>
                  <a:pt x="1282" y="4013"/>
                  <a:pt x="1266" y="4013"/>
                  <a:pt x="1250" y="3997"/>
                </a:cubicBezTo>
                <a:lnTo>
                  <a:pt x="1136" y="3883"/>
                </a:lnTo>
                <a:cubicBezTo>
                  <a:pt x="1120" y="3867"/>
                  <a:pt x="1104" y="3867"/>
                  <a:pt x="1088" y="3867"/>
                </a:cubicBezTo>
                <a:cubicBezTo>
                  <a:pt x="635" y="3867"/>
                  <a:pt x="786" y="3867"/>
                  <a:pt x="635" y="3867"/>
                </a:cubicBezTo>
                <a:cubicBezTo>
                  <a:pt x="619" y="3867"/>
                  <a:pt x="603" y="3867"/>
                  <a:pt x="587" y="3883"/>
                </a:cubicBezTo>
                <a:lnTo>
                  <a:pt x="473" y="3997"/>
                </a:lnTo>
                <a:cubicBezTo>
                  <a:pt x="457" y="4013"/>
                  <a:pt x="441" y="4013"/>
                  <a:pt x="441" y="3997"/>
                </a:cubicBezTo>
                <a:cubicBezTo>
                  <a:pt x="425" y="3997"/>
                  <a:pt x="430" y="3985"/>
                  <a:pt x="425" y="3980"/>
                </a:cubicBezTo>
                <a:cubicBezTo>
                  <a:pt x="430" y="3974"/>
                  <a:pt x="425" y="3964"/>
                  <a:pt x="441" y="3964"/>
                </a:cubicBezTo>
                <a:lnTo>
                  <a:pt x="571" y="3819"/>
                </a:lnTo>
                <a:lnTo>
                  <a:pt x="716" y="3802"/>
                </a:lnTo>
                <a:cubicBezTo>
                  <a:pt x="748" y="3802"/>
                  <a:pt x="781" y="3770"/>
                  <a:pt x="781" y="3721"/>
                </a:cubicBezTo>
                <a:lnTo>
                  <a:pt x="781" y="3058"/>
                </a:lnTo>
                <a:cubicBezTo>
                  <a:pt x="781" y="3009"/>
                  <a:pt x="748" y="2977"/>
                  <a:pt x="716" y="2977"/>
                </a:cubicBezTo>
                <a:lnTo>
                  <a:pt x="538" y="2961"/>
                </a:lnTo>
                <a:cubicBezTo>
                  <a:pt x="425" y="2961"/>
                  <a:pt x="328" y="2897"/>
                  <a:pt x="312" y="2767"/>
                </a:cubicBezTo>
                <a:cubicBezTo>
                  <a:pt x="150" y="1537"/>
                  <a:pt x="204" y="1947"/>
                  <a:pt x="150" y="1537"/>
                </a:cubicBezTo>
                <a:cubicBezTo>
                  <a:pt x="150" y="1505"/>
                  <a:pt x="166" y="1489"/>
                  <a:pt x="182" y="1473"/>
                </a:cubicBezTo>
                <a:cubicBezTo>
                  <a:pt x="198" y="1473"/>
                  <a:pt x="230" y="1456"/>
                  <a:pt x="247" y="1473"/>
                </a:cubicBezTo>
                <a:cubicBezTo>
                  <a:pt x="263" y="1473"/>
                  <a:pt x="279" y="1489"/>
                  <a:pt x="279" y="1521"/>
                </a:cubicBezTo>
                <a:lnTo>
                  <a:pt x="425" y="2751"/>
                </a:lnTo>
                <a:cubicBezTo>
                  <a:pt x="441" y="2799"/>
                  <a:pt x="473" y="2848"/>
                  <a:pt x="538" y="2848"/>
                </a:cubicBezTo>
                <a:lnTo>
                  <a:pt x="651" y="2848"/>
                </a:lnTo>
                <a:cubicBezTo>
                  <a:pt x="700" y="2864"/>
                  <a:pt x="732" y="2832"/>
                  <a:pt x="732" y="2799"/>
                </a:cubicBezTo>
                <a:cubicBezTo>
                  <a:pt x="748" y="2767"/>
                  <a:pt x="748" y="2734"/>
                  <a:pt x="716" y="2718"/>
                </a:cubicBezTo>
                <a:cubicBezTo>
                  <a:pt x="667" y="2670"/>
                  <a:pt x="651" y="2589"/>
                  <a:pt x="651" y="2508"/>
                </a:cubicBezTo>
                <a:cubicBezTo>
                  <a:pt x="667" y="2152"/>
                  <a:pt x="797" y="1376"/>
                  <a:pt x="959" y="1165"/>
                </a:cubicBezTo>
                <a:cubicBezTo>
                  <a:pt x="1040" y="1052"/>
                  <a:pt x="1169" y="1020"/>
                  <a:pt x="1282" y="1068"/>
                </a:cubicBezTo>
                <a:cubicBezTo>
                  <a:pt x="1347" y="1101"/>
                  <a:pt x="1379" y="1133"/>
                  <a:pt x="1412" y="1181"/>
                </a:cubicBezTo>
                <a:lnTo>
                  <a:pt x="1800" y="1764"/>
                </a:lnTo>
                <a:cubicBezTo>
                  <a:pt x="1816" y="1796"/>
                  <a:pt x="1865" y="1812"/>
                  <a:pt x="1897" y="1796"/>
                </a:cubicBezTo>
                <a:lnTo>
                  <a:pt x="2285" y="1618"/>
                </a:lnTo>
                <a:cubicBezTo>
                  <a:pt x="2350" y="1602"/>
                  <a:pt x="2431" y="1634"/>
                  <a:pt x="2447" y="1699"/>
                </a:cubicBezTo>
                <a:cubicBezTo>
                  <a:pt x="2463" y="1731"/>
                  <a:pt x="2463" y="1764"/>
                  <a:pt x="2447" y="1796"/>
                </a:cubicBezTo>
                <a:cubicBezTo>
                  <a:pt x="2447" y="1828"/>
                  <a:pt x="2415" y="1845"/>
                  <a:pt x="2382" y="1861"/>
                </a:cubicBezTo>
                <a:close/>
                <a:moveTo>
                  <a:pt x="4226" y="2314"/>
                </a:moveTo>
                <a:lnTo>
                  <a:pt x="4226" y="4013"/>
                </a:lnTo>
                <a:lnTo>
                  <a:pt x="2512" y="4013"/>
                </a:lnTo>
                <a:lnTo>
                  <a:pt x="2512" y="2314"/>
                </a:lnTo>
                <a:cubicBezTo>
                  <a:pt x="2512" y="2265"/>
                  <a:pt x="2479" y="2233"/>
                  <a:pt x="2431" y="2233"/>
                </a:cubicBezTo>
                <a:lnTo>
                  <a:pt x="2172" y="2233"/>
                </a:lnTo>
                <a:lnTo>
                  <a:pt x="2172" y="2168"/>
                </a:lnTo>
                <a:lnTo>
                  <a:pt x="4566" y="2168"/>
                </a:lnTo>
                <a:lnTo>
                  <a:pt x="4566" y="2233"/>
                </a:lnTo>
                <a:lnTo>
                  <a:pt x="4307" y="2233"/>
                </a:lnTo>
                <a:cubicBezTo>
                  <a:pt x="4275" y="2233"/>
                  <a:pt x="4226" y="2265"/>
                  <a:pt x="4226" y="231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9" name="Freeform: Shape 18">
            <a:extLst>
              <a:ext uri="{FF2B5EF4-FFF2-40B4-BE49-F238E27FC236}">
                <a16:creationId xmlns:a16="http://schemas.microsoft.com/office/drawing/2014/main" id="{FD87E6EB-A882-B146-B1F5-5C01D742D6CC}"/>
              </a:ext>
            </a:extLst>
          </p:cNvPr>
          <p:cNvSpPr/>
          <p:nvPr/>
        </p:nvSpPr>
        <p:spPr>
          <a:xfrm>
            <a:off x="10155767" y="9861867"/>
            <a:ext cx="1298520" cy="1437840"/>
          </a:xfrm>
          <a:custGeom>
            <a:avLst/>
            <a:gdLst/>
            <a:ahLst/>
            <a:cxnLst>
              <a:cxn ang="3cd4">
                <a:pos x="hc" y="t"/>
              </a:cxn>
              <a:cxn ang="cd2">
                <a:pos x="l" y="vc"/>
              </a:cxn>
              <a:cxn ang="cd4">
                <a:pos x="hc" y="b"/>
              </a:cxn>
              <a:cxn ang="0">
                <a:pos x="r" y="vc"/>
              </a:cxn>
            </a:cxnLst>
            <a:rect l="l" t="t" r="r" b="b"/>
            <a:pathLst>
              <a:path w="3608" h="3995">
                <a:moveTo>
                  <a:pt x="1812" y="3995"/>
                </a:moveTo>
                <a:cubicBezTo>
                  <a:pt x="1796" y="3995"/>
                  <a:pt x="1780" y="3979"/>
                  <a:pt x="1763" y="3979"/>
                </a:cubicBezTo>
                <a:cubicBezTo>
                  <a:pt x="809" y="3284"/>
                  <a:pt x="194" y="2167"/>
                  <a:pt x="0" y="776"/>
                </a:cubicBezTo>
                <a:cubicBezTo>
                  <a:pt x="0" y="744"/>
                  <a:pt x="16" y="696"/>
                  <a:pt x="65" y="679"/>
                </a:cubicBezTo>
                <a:cubicBezTo>
                  <a:pt x="1780" y="0"/>
                  <a:pt x="1780" y="0"/>
                  <a:pt x="1780" y="0"/>
                </a:cubicBezTo>
                <a:cubicBezTo>
                  <a:pt x="1796" y="0"/>
                  <a:pt x="1812" y="0"/>
                  <a:pt x="1845" y="0"/>
                </a:cubicBezTo>
                <a:cubicBezTo>
                  <a:pt x="3559" y="679"/>
                  <a:pt x="3559" y="679"/>
                  <a:pt x="3559" y="679"/>
                </a:cubicBezTo>
                <a:cubicBezTo>
                  <a:pt x="3592" y="696"/>
                  <a:pt x="3608" y="744"/>
                  <a:pt x="3608" y="776"/>
                </a:cubicBezTo>
                <a:cubicBezTo>
                  <a:pt x="3414" y="2167"/>
                  <a:pt x="2815" y="3284"/>
                  <a:pt x="1861" y="3979"/>
                </a:cubicBezTo>
                <a:cubicBezTo>
                  <a:pt x="1845" y="3979"/>
                  <a:pt x="1828" y="3995"/>
                  <a:pt x="1812" y="3995"/>
                </a:cubicBezTo>
                <a:close/>
                <a:moveTo>
                  <a:pt x="178" y="808"/>
                </a:moveTo>
                <a:cubicBezTo>
                  <a:pt x="372" y="2119"/>
                  <a:pt x="939" y="3155"/>
                  <a:pt x="1812" y="3818"/>
                </a:cubicBezTo>
                <a:cubicBezTo>
                  <a:pt x="2686" y="3155"/>
                  <a:pt x="3252" y="2119"/>
                  <a:pt x="3446" y="808"/>
                </a:cubicBezTo>
                <a:cubicBezTo>
                  <a:pt x="1812" y="161"/>
                  <a:pt x="1812" y="161"/>
                  <a:pt x="1812" y="161"/>
                </a:cubicBezTo>
                <a:close/>
                <a:moveTo>
                  <a:pt x="1812" y="3526"/>
                </a:moveTo>
                <a:cubicBezTo>
                  <a:pt x="1796" y="3526"/>
                  <a:pt x="1780" y="3510"/>
                  <a:pt x="1780" y="3510"/>
                </a:cubicBezTo>
                <a:cubicBezTo>
                  <a:pt x="1747" y="3494"/>
                  <a:pt x="1731" y="3478"/>
                  <a:pt x="1731" y="3446"/>
                </a:cubicBezTo>
                <a:cubicBezTo>
                  <a:pt x="1731" y="2038"/>
                  <a:pt x="1731" y="2038"/>
                  <a:pt x="1731" y="2038"/>
                </a:cubicBezTo>
                <a:cubicBezTo>
                  <a:pt x="728" y="2038"/>
                  <a:pt x="728" y="2038"/>
                  <a:pt x="728" y="2038"/>
                </a:cubicBezTo>
                <a:cubicBezTo>
                  <a:pt x="696" y="2038"/>
                  <a:pt x="663" y="2022"/>
                  <a:pt x="647" y="1990"/>
                </a:cubicBezTo>
                <a:cubicBezTo>
                  <a:pt x="534" y="1698"/>
                  <a:pt x="453" y="1375"/>
                  <a:pt x="404" y="1019"/>
                </a:cubicBezTo>
                <a:cubicBezTo>
                  <a:pt x="404" y="986"/>
                  <a:pt x="421" y="954"/>
                  <a:pt x="453" y="938"/>
                </a:cubicBezTo>
                <a:cubicBezTo>
                  <a:pt x="1780" y="404"/>
                  <a:pt x="1780" y="404"/>
                  <a:pt x="1780" y="404"/>
                </a:cubicBezTo>
                <a:cubicBezTo>
                  <a:pt x="1796" y="404"/>
                  <a:pt x="1828" y="404"/>
                  <a:pt x="1861" y="420"/>
                </a:cubicBezTo>
                <a:cubicBezTo>
                  <a:pt x="1877" y="436"/>
                  <a:pt x="1893" y="453"/>
                  <a:pt x="1893" y="485"/>
                </a:cubicBezTo>
                <a:cubicBezTo>
                  <a:pt x="1893" y="1876"/>
                  <a:pt x="1893" y="1876"/>
                  <a:pt x="1893" y="1876"/>
                </a:cubicBezTo>
                <a:cubicBezTo>
                  <a:pt x="2896" y="1876"/>
                  <a:pt x="2896" y="1876"/>
                  <a:pt x="2896" y="1876"/>
                </a:cubicBezTo>
                <a:cubicBezTo>
                  <a:pt x="2928" y="1876"/>
                  <a:pt x="2945" y="1892"/>
                  <a:pt x="2961" y="1908"/>
                </a:cubicBezTo>
                <a:cubicBezTo>
                  <a:pt x="2977" y="1941"/>
                  <a:pt x="2977" y="1973"/>
                  <a:pt x="2977" y="1990"/>
                </a:cubicBezTo>
                <a:cubicBezTo>
                  <a:pt x="2734" y="2620"/>
                  <a:pt x="2362" y="3138"/>
                  <a:pt x="1861" y="3510"/>
                </a:cubicBezTo>
                <a:cubicBezTo>
                  <a:pt x="1845" y="3510"/>
                  <a:pt x="1828" y="3526"/>
                  <a:pt x="1812" y="3526"/>
                </a:cubicBezTo>
                <a:close/>
                <a:moveTo>
                  <a:pt x="1893" y="2038"/>
                </a:moveTo>
                <a:cubicBezTo>
                  <a:pt x="1893" y="3267"/>
                  <a:pt x="1893" y="3267"/>
                  <a:pt x="1893" y="3267"/>
                </a:cubicBezTo>
                <a:cubicBezTo>
                  <a:pt x="2281" y="2960"/>
                  <a:pt x="2572" y="2540"/>
                  <a:pt x="2783" y="2038"/>
                </a:cubicBezTo>
                <a:close/>
                <a:moveTo>
                  <a:pt x="777" y="1876"/>
                </a:moveTo>
                <a:cubicBezTo>
                  <a:pt x="1731" y="1876"/>
                  <a:pt x="1731" y="1876"/>
                  <a:pt x="1731" y="1876"/>
                </a:cubicBezTo>
                <a:cubicBezTo>
                  <a:pt x="1731" y="598"/>
                  <a:pt x="1731" y="598"/>
                  <a:pt x="1731" y="598"/>
                </a:cubicBezTo>
                <a:cubicBezTo>
                  <a:pt x="583" y="1067"/>
                  <a:pt x="583" y="1067"/>
                  <a:pt x="583" y="1067"/>
                </a:cubicBezTo>
                <a:cubicBezTo>
                  <a:pt x="615" y="1359"/>
                  <a:pt x="696" y="1634"/>
                  <a:pt x="777" y="187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07020061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Finance / Security - 3</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70" name="TextBox 69">
            <a:extLst>
              <a:ext uri="{FF2B5EF4-FFF2-40B4-BE49-F238E27FC236}">
                <a16:creationId xmlns:a16="http://schemas.microsoft.com/office/drawing/2014/main" id="{DCB37BE7-FB09-F54F-9B42-8F0EE5856FA6}"/>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44" name="TextBox 43">
            <a:extLst>
              <a:ext uri="{FF2B5EF4-FFF2-40B4-BE49-F238E27FC236}">
                <a16:creationId xmlns:a16="http://schemas.microsoft.com/office/drawing/2014/main" id="{B1683796-0434-7248-B546-50AC4058ED77}"/>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llar</a:t>
            </a:r>
          </a:p>
        </p:txBody>
      </p:sp>
      <p:sp>
        <p:nvSpPr>
          <p:cNvPr id="45" name="TextBox 44">
            <a:extLst>
              <a:ext uri="{FF2B5EF4-FFF2-40B4-BE49-F238E27FC236}">
                <a16:creationId xmlns:a16="http://schemas.microsoft.com/office/drawing/2014/main" id="{EB433363-7AF5-764B-AFB3-BE6240F17A07}"/>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Yen</a:t>
            </a:r>
          </a:p>
        </p:txBody>
      </p:sp>
      <p:sp>
        <p:nvSpPr>
          <p:cNvPr id="46" name="TextBox 45">
            <a:extLst>
              <a:ext uri="{FF2B5EF4-FFF2-40B4-BE49-F238E27FC236}">
                <a16:creationId xmlns:a16="http://schemas.microsoft.com/office/drawing/2014/main" id="{E06257B7-E855-5A4E-A7CC-15DADE534A0A}"/>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ound</a:t>
            </a:r>
          </a:p>
        </p:txBody>
      </p:sp>
      <p:sp>
        <p:nvSpPr>
          <p:cNvPr id="47" name="TextBox 46">
            <a:extLst>
              <a:ext uri="{FF2B5EF4-FFF2-40B4-BE49-F238E27FC236}">
                <a16:creationId xmlns:a16="http://schemas.microsoft.com/office/drawing/2014/main" id="{424E4986-996A-4142-9EBD-0E5F545B1229}"/>
              </a:ext>
            </a:extLst>
          </p:cNvPr>
          <p:cNvSpPr txBox="1"/>
          <p:nvPr/>
        </p:nvSpPr>
        <p:spPr>
          <a:xfrm>
            <a:off x="12867894"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uro</a:t>
            </a:r>
          </a:p>
        </p:txBody>
      </p:sp>
      <p:sp>
        <p:nvSpPr>
          <p:cNvPr id="48" name="TextBox 47">
            <a:extLst>
              <a:ext uri="{FF2B5EF4-FFF2-40B4-BE49-F238E27FC236}">
                <a16:creationId xmlns:a16="http://schemas.microsoft.com/office/drawing/2014/main" id="{5EAE8F8B-D2FA-E04B-A7E0-CF2AD8F1E0C7}"/>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uro</a:t>
            </a:r>
          </a:p>
        </p:txBody>
      </p:sp>
      <p:sp>
        <p:nvSpPr>
          <p:cNvPr id="49" name="TextBox 48">
            <a:extLst>
              <a:ext uri="{FF2B5EF4-FFF2-40B4-BE49-F238E27FC236}">
                <a16:creationId xmlns:a16="http://schemas.microsoft.com/office/drawing/2014/main" id="{7E1FC877-3848-584F-9521-3FE3076647EE}"/>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ound</a:t>
            </a:r>
          </a:p>
        </p:txBody>
      </p:sp>
      <p:sp>
        <p:nvSpPr>
          <p:cNvPr id="50" name="TextBox 49">
            <a:extLst>
              <a:ext uri="{FF2B5EF4-FFF2-40B4-BE49-F238E27FC236}">
                <a16:creationId xmlns:a16="http://schemas.microsoft.com/office/drawing/2014/main" id="{E531F8A8-AC24-A549-8AC3-65BD91638C68}"/>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oin</a:t>
            </a:r>
          </a:p>
        </p:txBody>
      </p:sp>
      <p:sp>
        <p:nvSpPr>
          <p:cNvPr id="51" name="TextBox 50">
            <a:extLst>
              <a:ext uri="{FF2B5EF4-FFF2-40B4-BE49-F238E27FC236}">
                <a16:creationId xmlns:a16="http://schemas.microsoft.com/office/drawing/2014/main" id="{93839A60-0B2A-A440-A4CA-6EA71BB1E1E4}"/>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llar Coin 1</a:t>
            </a:r>
          </a:p>
        </p:txBody>
      </p:sp>
      <p:sp>
        <p:nvSpPr>
          <p:cNvPr id="90" name="TextBox 89">
            <a:extLst>
              <a:ext uri="{FF2B5EF4-FFF2-40B4-BE49-F238E27FC236}">
                <a16:creationId xmlns:a16="http://schemas.microsoft.com/office/drawing/2014/main" id="{52C06333-A1D0-D445-8D60-E8DD2FBABD29}"/>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llar Coin 2</a:t>
            </a:r>
          </a:p>
        </p:txBody>
      </p:sp>
      <p:sp>
        <p:nvSpPr>
          <p:cNvPr id="91" name="TextBox 90">
            <a:extLst>
              <a:ext uri="{FF2B5EF4-FFF2-40B4-BE49-F238E27FC236}">
                <a16:creationId xmlns:a16="http://schemas.microsoft.com/office/drawing/2014/main" id="{9EE97796-2993-B14B-81A0-6EE0F1E001A0}"/>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urrency</a:t>
            </a:r>
          </a:p>
        </p:txBody>
      </p:sp>
      <p:sp>
        <p:nvSpPr>
          <p:cNvPr id="92" name="TextBox 91">
            <a:extLst>
              <a:ext uri="{FF2B5EF4-FFF2-40B4-BE49-F238E27FC236}">
                <a16:creationId xmlns:a16="http://schemas.microsoft.com/office/drawing/2014/main" id="{B954D1CD-C1BE-7743-A727-1960AF151461}"/>
              </a:ext>
            </a:extLst>
          </p:cNvPr>
          <p:cNvSpPr txBox="1"/>
          <p:nvPr/>
        </p:nvSpPr>
        <p:spPr>
          <a:xfrm>
            <a:off x="-47946" y="11657695"/>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llar Coin 4</a:t>
            </a:r>
          </a:p>
        </p:txBody>
      </p:sp>
      <p:sp>
        <p:nvSpPr>
          <p:cNvPr id="93" name="TextBox 92">
            <a:extLst>
              <a:ext uri="{FF2B5EF4-FFF2-40B4-BE49-F238E27FC236}">
                <a16:creationId xmlns:a16="http://schemas.microsoft.com/office/drawing/2014/main" id="{24F02D78-878A-E74E-ADBD-2EE650C574CB}"/>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uro Coin</a:t>
            </a:r>
          </a:p>
        </p:txBody>
      </p:sp>
      <p:sp>
        <p:nvSpPr>
          <p:cNvPr id="94" name="TextBox 93">
            <a:extLst>
              <a:ext uri="{FF2B5EF4-FFF2-40B4-BE49-F238E27FC236}">
                <a16:creationId xmlns:a16="http://schemas.microsoft.com/office/drawing/2014/main" id="{02A62F67-816B-D742-89BF-999ED75ACC97}"/>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ound Coin</a:t>
            </a:r>
          </a:p>
        </p:txBody>
      </p:sp>
      <p:sp>
        <p:nvSpPr>
          <p:cNvPr id="95" name="TextBox 94">
            <a:extLst>
              <a:ext uri="{FF2B5EF4-FFF2-40B4-BE49-F238E27FC236}">
                <a16:creationId xmlns:a16="http://schemas.microsoft.com/office/drawing/2014/main" id="{422C9610-324F-E846-AF56-4645CF2C8245}"/>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egister</a:t>
            </a:r>
          </a:p>
        </p:txBody>
      </p:sp>
      <p:sp>
        <p:nvSpPr>
          <p:cNvPr id="96" name="TextBox 95">
            <a:extLst>
              <a:ext uri="{FF2B5EF4-FFF2-40B4-BE49-F238E27FC236}">
                <a16:creationId xmlns:a16="http://schemas.microsoft.com/office/drawing/2014/main" id="{AB258DED-69DB-6849-8D12-5004610C324C}"/>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Upward</a:t>
            </a:r>
          </a:p>
        </p:txBody>
      </p:sp>
      <p:sp>
        <p:nvSpPr>
          <p:cNvPr id="97" name="Freeform: Shape 26">
            <a:extLst>
              <a:ext uri="{FF2B5EF4-FFF2-40B4-BE49-F238E27FC236}">
                <a16:creationId xmlns:a16="http://schemas.microsoft.com/office/drawing/2014/main" id="{47EE32DC-9D3A-8A48-8E95-7D4E0771665F}"/>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8" name="TextBox 97">
            <a:extLst>
              <a:ext uri="{FF2B5EF4-FFF2-40B4-BE49-F238E27FC236}">
                <a16:creationId xmlns:a16="http://schemas.microsoft.com/office/drawing/2014/main" id="{8994F576-55FE-F441-9E90-B016D153D423}"/>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llar</a:t>
            </a:r>
          </a:p>
        </p:txBody>
      </p:sp>
      <p:sp>
        <p:nvSpPr>
          <p:cNvPr id="99" name="TextBox 98">
            <a:extLst>
              <a:ext uri="{FF2B5EF4-FFF2-40B4-BE49-F238E27FC236}">
                <a16:creationId xmlns:a16="http://schemas.microsoft.com/office/drawing/2014/main" id="{1FFDFF7C-CCF1-5D46-8179-A5627BA8CB41}"/>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llar Coin 3</a:t>
            </a:r>
          </a:p>
        </p:txBody>
      </p:sp>
      <p:sp>
        <p:nvSpPr>
          <p:cNvPr id="100" name="TextBox 99">
            <a:extLst>
              <a:ext uri="{FF2B5EF4-FFF2-40B4-BE49-F238E27FC236}">
                <a16:creationId xmlns:a16="http://schemas.microsoft.com/office/drawing/2014/main" id="{DCC71A41-F3BF-2E47-B952-F47C3E2C6F6F}"/>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ome</a:t>
            </a:r>
          </a:p>
        </p:txBody>
      </p:sp>
      <p:sp>
        <p:nvSpPr>
          <p:cNvPr id="101" name="Freeform: Shape 13">
            <a:extLst>
              <a:ext uri="{FF2B5EF4-FFF2-40B4-BE49-F238E27FC236}">
                <a16:creationId xmlns:a16="http://schemas.microsoft.com/office/drawing/2014/main" id="{34CE22A3-48E6-0848-9C4A-89603D4582B8}"/>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2" name="Freeform: Shape 1">
            <a:extLst>
              <a:ext uri="{FF2B5EF4-FFF2-40B4-BE49-F238E27FC236}">
                <a16:creationId xmlns:a16="http://schemas.microsoft.com/office/drawing/2014/main" id="{FD8F4054-FA24-954D-A129-BDFFE8D4FC29}"/>
              </a:ext>
            </a:extLst>
          </p:cNvPr>
          <p:cNvSpPr/>
          <p:nvPr/>
        </p:nvSpPr>
        <p:spPr>
          <a:xfrm>
            <a:off x="10052029" y="9612020"/>
            <a:ext cx="1717560" cy="1711800"/>
          </a:xfrm>
          <a:custGeom>
            <a:avLst/>
            <a:gdLst/>
            <a:ahLst/>
            <a:cxnLst>
              <a:cxn ang="3cd4">
                <a:pos x="hc" y="t"/>
              </a:cxn>
              <a:cxn ang="cd2">
                <a:pos x="l" y="vc"/>
              </a:cxn>
              <a:cxn ang="cd4">
                <a:pos x="hc" y="b"/>
              </a:cxn>
              <a:cxn ang="0">
                <a:pos x="r" y="vc"/>
              </a:cxn>
            </a:cxnLst>
            <a:rect l="l" t="t" r="r" b="b"/>
            <a:pathLst>
              <a:path w="4772" h="4756">
                <a:moveTo>
                  <a:pt x="2387" y="0"/>
                </a:moveTo>
                <a:cubicBezTo>
                  <a:pt x="1066" y="0"/>
                  <a:pt x="0" y="1066"/>
                  <a:pt x="0" y="2385"/>
                </a:cubicBezTo>
                <a:cubicBezTo>
                  <a:pt x="0" y="3690"/>
                  <a:pt x="1066" y="4756"/>
                  <a:pt x="2387" y="4756"/>
                </a:cubicBezTo>
                <a:cubicBezTo>
                  <a:pt x="3707" y="4756"/>
                  <a:pt x="4772" y="3690"/>
                  <a:pt x="4772" y="2385"/>
                </a:cubicBezTo>
                <a:cubicBezTo>
                  <a:pt x="4772" y="1066"/>
                  <a:pt x="3707" y="0"/>
                  <a:pt x="2387" y="0"/>
                </a:cubicBezTo>
                <a:close/>
                <a:moveTo>
                  <a:pt x="2387" y="4612"/>
                </a:moveTo>
                <a:cubicBezTo>
                  <a:pt x="1162" y="4612"/>
                  <a:pt x="160" y="3610"/>
                  <a:pt x="160" y="2385"/>
                </a:cubicBezTo>
                <a:cubicBezTo>
                  <a:pt x="160" y="1161"/>
                  <a:pt x="1162" y="159"/>
                  <a:pt x="2387" y="159"/>
                </a:cubicBezTo>
                <a:cubicBezTo>
                  <a:pt x="3611" y="159"/>
                  <a:pt x="4613" y="1161"/>
                  <a:pt x="4613" y="2385"/>
                </a:cubicBezTo>
                <a:cubicBezTo>
                  <a:pt x="4613" y="3610"/>
                  <a:pt x="3611" y="4612"/>
                  <a:pt x="2387" y="4612"/>
                </a:cubicBezTo>
                <a:close/>
                <a:moveTo>
                  <a:pt x="3150" y="3833"/>
                </a:moveTo>
                <a:lnTo>
                  <a:pt x="1862" y="3833"/>
                </a:lnTo>
                <a:cubicBezTo>
                  <a:pt x="1973" y="3594"/>
                  <a:pt x="2021" y="3515"/>
                  <a:pt x="2068" y="3340"/>
                </a:cubicBezTo>
                <a:cubicBezTo>
                  <a:pt x="2116" y="3149"/>
                  <a:pt x="2100" y="2926"/>
                  <a:pt x="2084" y="2720"/>
                </a:cubicBezTo>
                <a:lnTo>
                  <a:pt x="2832" y="2720"/>
                </a:lnTo>
                <a:cubicBezTo>
                  <a:pt x="2880" y="2720"/>
                  <a:pt x="2911" y="2688"/>
                  <a:pt x="2911" y="2640"/>
                </a:cubicBezTo>
                <a:cubicBezTo>
                  <a:pt x="2911" y="2592"/>
                  <a:pt x="2880" y="2560"/>
                  <a:pt x="2832" y="2560"/>
                </a:cubicBezTo>
                <a:lnTo>
                  <a:pt x="2068" y="2560"/>
                </a:lnTo>
                <a:cubicBezTo>
                  <a:pt x="2036" y="2354"/>
                  <a:pt x="1973" y="1797"/>
                  <a:pt x="1973" y="1606"/>
                </a:cubicBezTo>
                <a:cubicBezTo>
                  <a:pt x="1973" y="1224"/>
                  <a:pt x="2148" y="1033"/>
                  <a:pt x="2498" y="1033"/>
                </a:cubicBezTo>
                <a:cubicBezTo>
                  <a:pt x="2689" y="1033"/>
                  <a:pt x="2848" y="1129"/>
                  <a:pt x="2943" y="1193"/>
                </a:cubicBezTo>
                <a:lnTo>
                  <a:pt x="2975" y="1209"/>
                </a:lnTo>
                <a:cubicBezTo>
                  <a:pt x="3023" y="1224"/>
                  <a:pt x="3071" y="1209"/>
                  <a:pt x="3086" y="1176"/>
                </a:cubicBezTo>
                <a:cubicBezTo>
                  <a:pt x="3102" y="1145"/>
                  <a:pt x="3102" y="1097"/>
                  <a:pt x="3054" y="1066"/>
                </a:cubicBezTo>
                <a:lnTo>
                  <a:pt x="3023" y="1049"/>
                </a:lnTo>
                <a:cubicBezTo>
                  <a:pt x="2911" y="986"/>
                  <a:pt x="2720" y="875"/>
                  <a:pt x="2498" y="875"/>
                </a:cubicBezTo>
                <a:cubicBezTo>
                  <a:pt x="2053" y="875"/>
                  <a:pt x="1814" y="1145"/>
                  <a:pt x="1814" y="1606"/>
                </a:cubicBezTo>
                <a:cubicBezTo>
                  <a:pt x="1814" y="1797"/>
                  <a:pt x="1878" y="2338"/>
                  <a:pt x="1909" y="2560"/>
                </a:cubicBezTo>
                <a:lnTo>
                  <a:pt x="1559" y="2560"/>
                </a:lnTo>
                <a:cubicBezTo>
                  <a:pt x="1512" y="2560"/>
                  <a:pt x="1480" y="2592"/>
                  <a:pt x="1480" y="2640"/>
                </a:cubicBezTo>
                <a:cubicBezTo>
                  <a:pt x="1480" y="2688"/>
                  <a:pt x="1512" y="2720"/>
                  <a:pt x="1559" y="2720"/>
                </a:cubicBezTo>
                <a:lnTo>
                  <a:pt x="1925" y="2720"/>
                </a:lnTo>
                <a:cubicBezTo>
                  <a:pt x="1941" y="2911"/>
                  <a:pt x="1957" y="3133"/>
                  <a:pt x="1909" y="3292"/>
                </a:cubicBezTo>
                <a:cubicBezTo>
                  <a:pt x="1862" y="3467"/>
                  <a:pt x="1830" y="3547"/>
                  <a:pt x="1718" y="3785"/>
                </a:cubicBezTo>
                <a:lnTo>
                  <a:pt x="1671" y="3881"/>
                </a:lnTo>
                <a:cubicBezTo>
                  <a:pt x="1655" y="3896"/>
                  <a:pt x="1655" y="3929"/>
                  <a:pt x="1671" y="3944"/>
                </a:cubicBezTo>
                <a:cubicBezTo>
                  <a:pt x="1687" y="3976"/>
                  <a:pt x="1718" y="3992"/>
                  <a:pt x="1750" y="3992"/>
                </a:cubicBezTo>
                <a:lnTo>
                  <a:pt x="3150" y="3992"/>
                </a:lnTo>
                <a:cubicBezTo>
                  <a:pt x="3182" y="3992"/>
                  <a:pt x="3229" y="3960"/>
                  <a:pt x="3229" y="3912"/>
                </a:cubicBezTo>
                <a:cubicBezTo>
                  <a:pt x="3229" y="3865"/>
                  <a:pt x="3182" y="3833"/>
                  <a:pt x="3150" y="383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3" name="Freeform: Shape 2">
            <a:extLst>
              <a:ext uri="{FF2B5EF4-FFF2-40B4-BE49-F238E27FC236}">
                <a16:creationId xmlns:a16="http://schemas.microsoft.com/office/drawing/2014/main" id="{170911E0-F8D2-9744-A31B-034C319BEDA5}"/>
              </a:ext>
            </a:extLst>
          </p:cNvPr>
          <p:cNvSpPr/>
          <p:nvPr/>
        </p:nvSpPr>
        <p:spPr>
          <a:xfrm>
            <a:off x="6056985" y="9606260"/>
            <a:ext cx="1711800" cy="1717560"/>
          </a:xfrm>
          <a:custGeom>
            <a:avLst/>
            <a:gdLst/>
            <a:ahLst/>
            <a:cxnLst>
              <a:cxn ang="3cd4">
                <a:pos x="hc" y="t"/>
              </a:cxn>
              <a:cxn ang="cd2">
                <a:pos x="l" y="vc"/>
              </a:cxn>
              <a:cxn ang="cd4">
                <a:pos x="hc" y="b"/>
              </a:cxn>
              <a:cxn ang="0">
                <a:pos x="r" y="vc"/>
              </a:cxn>
            </a:cxnLst>
            <a:rect l="l" t="t" r="r" b="b"/>
            <a:pathLst>
              <a:path w="4756" h="4772">
                <a:moveTo>
                  <a:pt x="970" y="2704"/>
                </a:moveTo>
                <a:cubicBezTo>
                  <a:pt x="923" y="2704"/>
                  <a:pt x="891" y="2736"/>
                  <a:pt x="891" y="2784"/>
                </a:cubicBezTo>
                <a:cubicBezTo>
                  <a:pt x="891" y="2831"/>
                  <a:pt x="923" y="2863"/>
                  <a:pt x="970" y="2863"/>
                </a:cubicBezTo>
                <a:lnTo>
                  <a:pt x="1432" y="2863"/>
                </a:lnTo>
                <a:cubicBezTo>
                  <a:pt x="1639" y="3404"/>
                  <a:pt x="2148" y="3786"/>
                  <a:pt x="2752" y="3786"/>
                </a:cubicBezTo>
                <a:cubicBezTo>
                  <a:pt x="2943" y="3786"/>
                  <a:pt x="3134" y="3754"/>
                  <a:pt x="3309" y="3675"/>
                </a:cubicBezTo>
                <a:cubicBezTo>
                  <a:pt x="3356" y="3658"/>
                  <a:pt x="3372" y="3611"/>
                  <a:pt x="3356" y="3563"/>
                </a:cubicBezTo>
                <a:cubicBezTo>
                  <a:pt x="3341" y="3531"/>
                  <a:pt x="3293" y="3500"/>
                  <a:pt x="3245" y="3515"/>
                </a:cubicBezTo>
                <a:cubicBezTo>
                  <a:pt x="3086" y="3595"/>
                  <a:pt x="2927" y="3627"/>
                  <a:pt x="2752" y="3627"/>
                </a:cubicBezTo>
                <a:cubicBezTo>
                  <a:pt x="2243" y="3627"/>
                  <a:pt x="1797" y="3309"/>
                  <a:pt x="1607" y="2863"/>
                </a:cubicBezTo>
                <a:lnTo>
                  <a:pt x="2482" y="2863"/>
                </a:lnTo>
                <a:cubicBezTo>
                  <a:pt x="2529" y="2863"/>
                  <a:pt x="2561" y="2831"/>
                  <a:pt x="2561" y="2784"/>
                </a:cubicBezTo>
                <a:cubicBezTo>
                  <a:pt x="2561" y="2736"/>
                  <a:pt x="2529" y="2704"/>
                  <a:pt x="2482" y="2704"/>
                </a:cubicBezTo>
                <a:lnTo>
                  <a:pt x="1559" y="2704"/>
                </a:lnTo>
                <a:cubicBezTo>
                  <a:pt x="1527" y="2609"/>
                  <a:pt x="1511" y="2513"/>
                  <a:pt x="1511" y="2418"/>
                </a:cubicBezTo>
                <a:lnTo>
                  <a:pt x="2482" y="2418"/>
                </a:lnTo>
                <a:cubicBezTo>
                  <a:pt x="2529" y="2418"/>
                  <a:pt x="2561" y="2370"/>
                  <a:pt x="2561" y="2339"/>
                </a:cubicBezTo>
                <a:cubicBezTo>
                  <a:pt x="2561" y="2291"/>
                  <a:pt x="2529" y="2259"/>
                  <a:pt x="2482" y="2259"/>
                </a:cubicBezTo>
                <a:lnTo>
                  <a:pt x="1527" y="2259"/>
                </a:lnTo>
                <a:cubicBezTo>
                  <a:pt x="1591" y="1639"/>
                  <a:pt x="2116" y="1146"/>
                  <a:pt x="2752" y="1146"/>
                </a:cubicBezTo>
                <a:cubicBezTo>
                  <a:pt x="2927" y="1146"/>
                  <a:pt x="3086" y="1177"/>
                  <a:pt x="3245" y="1257"/>
                </a:cubicBezTo>
                <a:cubicBezTo>
                  <a:pt x="3293" y="1273"/>
                  <a:pt x="3341" y="1257"/>
                  <a:pt x="3356" y="1209"/>
                </a:cubicBezTo>
                <a:cubicBezTo>
                  <a:pt x="3372" y="1177"/>
                  <a:pt x="3356" y="1130"/>
                  <a:pt x="3309" y="1113"/>
                </a:cubicBezTo>
                <a:cubicBezTo>
                  <a:pt x="3134" y="1034"/>
                  <a:pt x="2943" y="986"/>
                  <a:pt x="2752" y="986"/>
                </a:cubicBezTo>
                <a:cubicBezTo>
                  <a:pt x="2036" y="986"/>
                  <a:pt x="1432" y="1543"/>
                  <a:pt x="1368" y="2259"/>
                </a:cubicBezTo>
                <a:lnTo>
                  <a:pt x="970" y="2259"/>
                </a:lnTo>
                <a:cubicBezTo>
                  <a:pt x="923" y="2259"/>
                  <a:pt x="891" y="2291"/>
                  <a:pt x="891" y="2339"/>
                </a:cubicBezTo>
                <a:cubicBezTo>
                  <a:pt x="891" y="2370"/>
                  <a:pt x="923" y="2418"/>
                  <a:pt x="970" y="2418"/>
                </a:cubicBezTo>
                <a:lnTo>
                  <a:pt x="1352" y="2418"/>
                </a:lnTo>
                <a:cubicBezTo>
                  <a:pt x="1352" y="2513"/>
                  <a:pt x="1368" y="2609"/>
                  <a:pt x="1400" y="2704"/>
                </a:cubicBezTo>
                <a:close/>
                <a:moveTo>
                  <a:pt x="2370" y="4772"/>
                </a:moveTo>
                <a:cubicBezTo>
                  <a:pt x="3690" y="4772"/>
                  <a:pt x="4756" y="3706"/>
                  <a:pt x="4756" y="2386"/>
                </a:cubicBezTo>
                <a:cubicBezTo>
                  <a:pt x="4756" y="1066"/>
                  <a:pt x="3690" y="0"/>
                  <a:pt x="2370" y="0"/>
                </a:cubicBezTo>
                <a:cubicBezTo>
                  <a:pt x="1066" y="0"/>
                  <a:pt x="0" y="1066"/>
                  <a:pt x="0" y="2386"/>
                </a:cubicBezTo>
                <a:cubicBezTo>
                  <a:pt x="0" y="3706"/>
                  <a:pt x="1066" y="4772"/>
                  <a:pt x="2370" y="4772"/>
                </a:cubicBezTo>
                <a:close/>
                <a:moveTo>
                  <a:pt x="2370" y="159"/>
                </a:moveTo>
                <a:cubicBezTo>
                  <a:pt x="3595" y="159"/>
                  <a:pt x="4597" y="1161"/>
                  <a:pt x="4597" y="2386"/>
                </a:cubicBezTo>
                <a:cubicBezTo>
                  <a:pt x="4597" y="3611"/>
                  <a:pt x="3595" y="4613"/>
                  <a:pt x="2370" y="4613"/>
                </a:cubicBezTo>
                <a:cubicBezTo>
                  <a:pt x="1145" y="4613"/>
                  <a:pt x="160" y="3611"/>
                  <a:pt x="160" y="2386"/>
                </a:cubicBezTo>
                <a:cubicBezTo>
                  <a:pt x="160" y="1161"/>
                  <a:pt x="1145" y="159"/>
                  <a:pt x="2370" y="1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4" name="Freeform: Shape 3">
            <a:extLst>
              <a:ext uri="{FF2B5EF4-FFF2-40B4-BE49-F238E27FC236}">
                <a16:creationId xmlns:a16="http://schemas.microsoft.com/office/drawing/2014/main" id="{AEDF9A74-3697-3F4A-9259-8C09FF6B5109}"/>
              </a:ext>
            </a:extLst>
          </p:cNvPr>
          <p:cNvSpPr/>
          <p:nvPr/>
        </p:nvSpPr>
        <p:spPr>
          <a:xfrm>
            <a:off x="1767932" y="6694524"/>
            <a:ext cx="1711800" cy="972000"/>
          </a:xfrm>
          <a:custGeom>
            <a:avLst/>
            <a:gdLst/>
            <a:ahLst/>
            <a:cxnLst>
              <a:cxn ang="3cd4">
                <a:pos x="hc" y="t"/>
              </a:cxn>
              <a:cxn ang="cd2">
                <a:pos x="l" y="vc"/>
              </a:cxn>
              <a:cxn ang="cd4">
                <a:pos x="hc" y="b"/>
              </a:cxn>
              <a:cxn ang="0">
                <a:pos x="r" y="vc"/>
              </a:cxn>
            </a:cxnLst>
            <a:rect l="l" t="t" r="r" b="b"/>
            <a:pathLst>
              <a:path w="4756" h="2701">
                <a:moveTo>
                  <a:pt x="2529" y="1923"/>
                </a:moveTo>
                <a:lnTo>
                  <a:pt x="2084" y="1923"/>
                </a:lnTo>
                <a:cubicBezTo>
                  <a:pt x="2163" y="1764"/>
                  <a:pt x="2195" y="1621"/>
                  <a:pt x="2195" y="1446"/>
                </a:cubicBezTo>
                <a:lnTo>
                  <a:pt x="2370" y="1446"/>
                </a:lnTo>
                <a:cubicBezTo>
                  <a:pt x="2418" y="1446"/>
                  <a:pt x="2450" y="1414"/>
                  <a:pt x="2450" y="1366"/>
                </a:cubicBezTo>
                <a:cubicBezTo>
                  <a:pt x="2450" y="1334"/>
                  <a:pt x="2418" y="1303"/>
                  <a:pt x="2370" y="1303"/>
                </a:cubicBezTo>
                <a:lnTo>
                  <a:pt x="2179" y="1303"/>
                </a:lnTo>
                <a:cubicBezTo>
                  <a:pt x="2163" y="1207"/>
                  <a:pt x="2131" y="1112"/>
                  <a:pt x="2100" y="1016"/>
                </a:cubicBezTo>
                <a:cubicBezTo>
                  <a:pt x="2084" y="968"/>
                  <a:pt x="2084" y="921"/>
                  <a:pt x="2116" y="873"/>
                </a:cubicBezTo>
                <a:cubicBezTo>
                  <a:pt x="2148" y="825"/>
                  <a:pt x="2195" y="809"/>
                  <a:pt x="2259" y="809"/>
                </a:cubicBezTo>
                <a:cubicBezTo>
                  <a:pt x="2354" y="809"/>
                  <a:pt x="2386" y="857"/>
                  <a:pt x="2386" y="968"/>
                </a:cubicBezTo>
                <a:cubicBezTo>
                  <a:pt x="2386" y="1016"/>
                  <a:pt x="2434" y="1048"/>
                  <a:pt x="2466" y="1048"/>
                </a:cubicBezTo>
                <a:cubicBezTo>
                  <a:pt x="2513" y="1048"/>
                  <a:pt x="2545" y="1016"/>
                  <a:pt x="2545" y="968"/>
                </a:cubicBezTo>
                <a:cubicBezTo>
                  <a:pt x="2545" y="730"/>
                  <a:pt x="2386" y="650"/>
                  <a:pt x="2259" y="650"/>
                </a:cubicBezTo>
                <a:cubicBezTo>
                  <a:pt x="2148" y="650"/>
                  <a:pt x="2052" y="698"/>
                  <a:pt x="1988" y="777"/>
                </a:cubicBezTo>
                <a:cubicBezTo>
                  <a:pt x="1925" y="873"/>
                  <a:pt x="1909" y="968"/>
                  <a:pt x="1941" y="1080"/>
                </a:cubicBezTo>
                <a:cubicBezTo>
                  <a:pt x="1973" y="1159"/>
                  <a:pt x="2004" y="1223"/>
                  <a:pt x="2004" y="1303"/>
                </a:cubicBezTo>
                <a:lnTo>
                  <a:pt x="1734" y="1303"/>
                </a:lnTo>
                <a:cubicBezTo>
                  <a:pt x="1702" y="1303"/>
                  <a:pt x="1655" y="1334"/>
                  <a:pt x="1655" y="1366"/>
                </a:cubicBezTo>
                <a:cubicBezTo>
                  <a:pt x="1655" y="1414"/>
                  <a:pt x="1702" y="1446"/>
                  <a:pt x="1734" y="1446"/>
                </a:cubicBezTo>
                <a:lnTo>
                  <a:pt x="2036" y="1446"/>
                </a:lnTo>
                <a:cubicBezTo>
                  <a:pt x="2036" y="1621"/>
                  <a:pt x="1988" y="1779"/>
                  <a:pt x="1877" y="1970"/>
                </a:cubicBezTo>
                <a:cubicBezTo>
                  <a:pt x="1861" y="1986"/>
                  <a:pt x="1861" y="2018"/>
                  <a:pt x="1877" y="2050"/>
                </a:cubicBezTo>
                <a:cubicBezTo>
                  <a:pt x="1893" y="2066"/>
                  <a:pt x="1925" y="2082"/>
                  <a:pt x="1941" y="2082"/>
                </a:cubicBezTo>
                <a:lnTo>
                  <a:pt x="2529" y="2082"/>
                </a:lnTo>
                <a:cubicBezTo>
                  <a:pt x="2577" y="2082"/>
                  <a:pt x="2609" y="2050"/>
                  <a:pt x="2609" y="2002"/>
                </a:cubicBezTo>
                <a:cubicBezTo>
                  <a:pt x="2609" y="1970"/>
                  <a:pt x="2577" y="1923"/>
                  <a:pt x="2529" y="1923"/>
                </a:cubicBezTo>
                <a:close/>
                <a:moveTo>
                  <a:pt x="4756" y="2526"/>
                </a:moveTo>
                <a:lnTo>
                  <a:pt x="4756" y="140"/>
                </a:lnTo>
                <a:cubicBezTo>
                  <a:pt x="4756" y="109"/>
                  <a:pt x="4724" y="76"/>
                  <a:pt x="4692" y="61"/>
                </a:cubicBezTo>
                <a:cubicBezTo>
                  <a:pt x="3818" y="-51"/>
                  <a:pt x="3149" y="13"/>
                  <a:pt x="2450" y="76"/>
                </a:cubicBezTo>
                <a:cubicBezTo>
                  <a:pt x="1750" y="140"/>
                  <a:pt x="1034" y="204"/>
                  <a:pt x="80" y="93"/>
                </a:cubicBezTo>
                <a:cubicBezTo>
                  <a:pt x="64" y="93"/>
                  <a:pt x="32" y="93"/>
                  <a:pt x="16" y="109"/>
                </a:cubicBezTo>
                <a:cubicBezTo>
                  <a:pt x="0" y="124"/>
                  <a:pt x="0" y="156"/>
                  <a:pt x="0" y="172"/>
                </a:cubicBezTo>
                <a:lnTo>
                  <a:pt x="0" y="2558"/>
                </a:lnTo>
                <a:cubicBezTo>
                  <a:pt x="0" y="2590"/>
                  <a:pt x="16" y="2621"/>
                  <a:pt x="64" y="2638"/>
                </a:cubicBezTo>
                <a:cubicBezTo>
                  <a:pt x="446" y="2685"/>
                  <a:pt x="795" y="2701"/>
                  <a:pt x="1113" y="2701"/>
                </a:cubicBezTo>
                <a:cubicBezTo>
                  <a:pt x="1607" y="2701"/>
                  <a:pt x="2036" y="2653"/>
                  <a:pt x="2466" y="2621"/>
                </a:cubicBezTo>
                <a:cubicBezTo>
                  <a:pt x="3149" y="2558"/>
                  <a:pt x="3818" y="2494"/>
                  <a:pt x="4661" y="2606"/>
                </a:cubicBezTo>
                <a:cubicBezTo>
                  <a:pt x="4692" y="2606"/>
                  <a:pt x="4708" y="2606"/>
                  <a:pt x="4724" y="2590"/>
                </a:cubicBezTo>
                <a:cubicBezTo>
                  <a:pt x="4740" y="2574"/>
                  <a:pt x="4756" y="2558"/>
                  <a:pt x="4756" y="2526"/>
                </a:cubicBezTo>
                <a:close/>
                <a:moveTo>
                  <a:pt x="4597" y="2430"/>
                </a:moveTo>
                <a:cubicBezTo>
                  <a:pt x="3770" y="2335"/>
                  <a:pt x="3118" y="2399"/>
                  <a:pt x="2450" y="2463"/>
                </a:cubicBezTo>
                <a:cubicBezTo>
                  <a:pt x="1766" y="2526"/>
                  <a:pt x="1066" y="2590"/>
                  <a:pt x="159" y="2478"/>
                </a:cubicBezTo>
                <a:lnTo>
                  <a:pt x="159" y="267"/>
                </a:lnTo>
                <a:cubicBezTo>
                  <a:pt x="1082" y="363"/>
                  <a:pt x="1782" y="299"/>
                  <a:pt x="2466" y="236"/>
                </a:cubicBezTo>
                <a:cubicBezTo>
                  <a:pt x="3134" y="172"/>
                  <a:pt x="3770" y="109"/>
                  <a:pt x="4597" y="220"/>
                </a:cubicBezTo>
                <a:close/>
                <a:moveTo>
                  <a:pt x="1130" y="2145"/>
                </a:moveTo>
                <a:cubicBezTo>
                  <a:pt x="923" y="2145"/>
                  <a:pt x="732" y="2130"/>
                  <a:pt x="525" y="2113"/>
                </a:cubicBezTo>
                <a:cubicBezTo>
                  <a:pt x="494" y="2113"/>
                  <a:pt x="446" y="2145"/>
                  <a:pt x="446" y="2193"/>
                </a:cubicBezTo>
                <a:cubicBezTo>
                  <a:pt x="446" y="2241"/>
                  <a:pt x="477" y="2273"/>
                  <a:pt x="525" y="2273"/>
                </a:cubicBezTo>
                <a:cubicBezTo>
                  <a:pt x="732" y="2288"/>
                  <a:pt x="923" y="2304"/>
                  <a:pt x="1130" y="2304"/>
                </a:cubicBezTo>
                <a:cubicBezTo>
                  <a:pt x="1177" y="2304"/>
                  <a:pt x="1209" y="2273"/>
                  <a:pt x="1209" y="2225"/>
                </a:cubicBezTo>
                <a:cubicBezTo>
                  <a:pt x="1209" y="2177"/>
                  <a:pt x="1177" y="2145"/>
                  <a:pt x="1130" y="2145"/>
                </a:cubicBezTo>
                <a:close/>
                <a:moveTo>
                  <a:pt x="3611" y="475"/>
                </a:moveTo>
                <a:cubicBezTo>
                  <a:pt x="3611" y="523"/>
                  <a:pt x="3643" y="555"/>
                  <a:pt x="3690" y="555"/>
                </a:cubicBezTo>
                <a:cubicBezTo>
                  <a:pt x="3897" y="555"/>
                  <a:pt x="4088" y="571"/>
                  <a:pt x="4295" y="586"/>
                </a:cubicBezTo>
                <a:cubicBezTo>
                  <a:pt x="4342" y="586"/>
                  <a:pt x="4375" y="555"/>
                  <a:pt x="4375" y="507"/>
                </a:cubicBezTo>
                <a:cubicBezTo>
                  <a:pt x="4375" y="475"/>
                  <a:pt x="4342" y="428"/>
                  <a:pt x="4295" y="428"/>
                </a:cubicBezTo>
                <a:cubicBezTo>
                  <a:pt x="4104" y="412"/>
                  <a:pt x="3897" y="396"/>
                  <a:pt x="3690" y="396"/>
                </a:cubicBezTo>
                <a:cubicBezTo>
                  <a:pt x="3643" y="396"/>
                  <a:pt x="3611" y="443"/>
                  <a:pt x="3611" y="47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5" name="Freeform: Shape 4">
            <a:extLst>
              <a:ext uri="{FF2B5EF4-FFF2-40B4-BE49-F238E27FC236}">
                <a16:creationId xmlns:a16="http://schemas.microsoft.com/office/drawing/2014/main" id="{9A8FDE1D-CCFA-5B4B-87AB-DE41E31DC633}"/>
              </a:ext>
            </a:extLst>
          </p:cNvPr>
          <p:cNvSpPr/>
          <p:nvPr/>
        </p:nvSpPr>
        <p:spPr>
          <a:xfrm>
            <a:off x="21122986" y="3398198"/>
            <a:ext cx="1711800" cy="972000"/>
          </a:xfrm>
          <a:custGeom>
            <a:avLst/>
            <a:gdLst/>
            <a:ahLst/>
            <a:cxnLst>
              <a:cxn ang="3cd4">
                <a:pos x="hc" y="t"/>
              </a:cxn>
              <a:cxn ang="cd2">
                <a:pos x="l" y="vc"/>
              </a:cxn>
              <a:cxn ang="cd4">
                <a:pos x="hc" y="b"/>
              </a:cxn>
              <a:cxn ang="0">
                <a:pos x="r" y="vc"/>
              </a:cxn>
            </a:cxnLst>
            <a:rect l="l" t="t" r="r" b="b"/>
            <a:pathLst>
              <a:path w="4756" h="2701">
                <a:moveTo>
                  <a:pt x="4741" y="2590"/>
                </a:moveTo>
                <a:cubicBezTo>
                  <a:pt x="4756" y="2574"/>
                  <a:pt x="4756" y="2558"/>
                  <a:pt x="4756" y="2526"/>
                </a:cubicBezTo>
                <a:lnTo>
                  <a:pt x="4756" y="140"/>
                </a:lnTo>
                <a:cubicBezTo>
                  <a:pt x="4756" y="109"/>
                  <a:pt x="4741" y="76"/>
                  <a:pt x="4693" y="61"/>
                </a:cubicBezTo>
                <a:cubicBezTo>
                  <a:pt x="3818" y="-51"/>
                  <a:pt x="3150" y="13"/>
                  <a:pt x="2450" y="76"/>
                </a:cubicBezTo>
                <a:cubicBezTo>
                  <a:pt x="1766" y="140"/>
                  <a:pt x="1034" y="204"/>
                  <a:pt x="80" y="93"/>
                </a:cubicBezTo>
                <a:cubicBezTo>
                  <a:pt x="64" y="93"/>
                  <a:pt x="48" y="93"/>
                  <a:pt x="32" y="109"/>
                </a:cubicBezTo>
                <a:cubicBezTo>
                  <a:pt x="16" y="124"/>
                  <a:pt x="0" y="156"/>
                  <a:pt x="0" y="172"/>
                </a:cubicBezTo>
                <a:lnTo>
                  <a:pt x="0" y="2558"/>
                </a:lnTo>
                <a:cubicBezTo>
                  <a:pt x="0" y="2590"/>
                  <a:pt x="32" y="2621"/>
                  <a:pt x="64" y="2638"/>
                </a:cubicBezTo>
                <a:cubicBezTo>
                  <a:pt x="462" y="2685"/>
                  <a:pt x="796" y="2701"/>
                  <a:pt x="1130" y="2701"/>
                </a:cubicBezTo>
                <a:cubicBezTo>
                  <a:pt x="1607" y="2701"/>
                  <a:pt x="2036" y="2653"/>
                  <a:pt x="2466" y="2621"/>
                </a:cubicBezTo>
                <a:cubicBezTo>
                  <a:pt x="3166" y="2558"/>
                  <a:pt x="3818" y="2494"/>
                  <a:pt x="4677" y="2606"/>
                </a:cubicBezTo>
                <a:cubicBezTo>
                  <a:pt x="4693" y="2606"/>
                  <a:pt x="4724" y="2606"/>
                  <a:pt x="4741" y="2590"/>
                </a:cubicBezTo>
                <a:close/>
                <a:moveTo>
                  <a:pt x="4597" y="2430"/>
                </a:moveTo>
                <a:cubicBezTo>
                  <a:pt x="3770" y="2335"/>
                  <a:pt x="3134" y="2399"/>
                  <a:pt x="2450" y="2463"/>
                </a:cubicBezTo>
                <a:cubicBezTo>
                  <a:pt x="1782" y="2526"/>
                  <a:pt x="1082" y="2590"/>
                  <a:pt x="160" y="2478"/>
                </a:cubicBezTo>
                <a:lnTo>
                  <a:pt x="160" y="267"/>
                </a:lnTo>
                <a:cubicBezTo>
                  <a:pt x="1082" y="363"/>
                  <a:pt x="1782" y="299"/>
                  <a:pt x="2466" y="236"/>
                </a:cubicBezTo>
                <a:cubicBezTo>
                  <a:pt x="3150" y="172"/>
                  <a:pt x="3786" y="109"/>
                  <a:pt x="4597" y="220"/>
                </a:cubicBezTo>
                <a:close/>
                <a:moveTo>
                  <a:pt x="1130" y="2145"/>
                </a:moveTo>
                <a:cubicBezTo>
                  <a:pt x="939" y="2145"/>
                  <a:pt x="732" y="2130"/>
                  <a:pt x="541" y="2113"/>
                </a:cubicBezTo>
                <a:cubicBezTo>
                  <a:pt x="494" y="2113"/>
                  <a:pt x="446" y="2145"/>
                  <a:pt x="446" y="2193"/>
                </a:cubicBezTo>
                <a:cubicBezTo>
                  <a:pt x="446" y="2241"/>
                  <a:pt x="478" y="2273"/>
                  <a:pt x="525" y="2273"/>
                </a:cubicBezTo>
                <a:cubicBezTo>
                  <a:pt x="732" y="2288"/>
                  <a:pt x="923" y="2304"/>
                  <a:pt x="1130" y="2304"/>
                </a:cubicBezTo>
                <a:cubicBezTo>
                  <a:pt x="1178" y="2304"/>
                  <a:pt x="1209" y="2273"/>
                  <a:pt x="1209" y="2225"/>
                </a:cubicBezTo>
                <a:cubicBezTo>
                  <a:pt x="1209" y="2177"/>
                  <a:pt x="1178" y="2145"/>
                  <a:pt x="1130" y="2145"/>
                </a:cubicBezTo>
                <a:close/>
                <a:moveTo>
                  <a:pt x="3611" y="475"/>
                </a:moveTo>
                <a:cubicBezTo>
                  <a:pt x="3611" y="523"/>
                  <a:pt x="3643" y="555"/>
                  <a:pt x="3691" y="555"/>
                </a:cubicBezTo>
                <a:cubicBezTo>
                  <a:pt x="3897" y="555"/>
                  <a:pt x="4088" y="571"/>
                  <a:pt x="4295" y="586"/>
                </a:cubicBezTo>
                <a:cubicBezTo>
                  <a:pt x="4343" y="586"/>
                  <a:pt x="4375" y="555"/>
                  <a:pt x="4375" y="507"/>
                </a:cubicBezTo>
                <a:cubicBezTo>
                  <a:pt x="4390" y="475"/>
                  <a:pt x="4343" y="428"/>
                  <a:pt x="4311" y="428"/>
                </a:cubicBezTo>
                <a:cubicBezTo>
                  <a:pt x="4104" y="412"/>
                  <a:pt x="3897" y="396"/>
                  <a:pt x="3691" y="396"/>
                </a:cubicBezTo>
                <a:cubicBezTo>
                  <a:pt x="3643" y="396"/>
                  <a:pt x="3611" y="443"/>
                  <a:pt x="3611" y="475"/>
                </a:cubicBezTo>
                <a:close/>
                <a:moveTo>
                  <a:pt x="2641" y="762"/>
                </a:moveTo>
                <a:cubicBezTo>
                  <a:pt x="2705" y="762"/>
                  <a:pt x="2784" y="777"/>
                  <a:pt x="2848" y="809"/>
                </a:cubicBezTo>
                <a:cubicBezTo>
                  <a:pt x="2879" y="825"/>
                  <a:pt x="2927" y="809"/>
                  <a:pt x="2943" y="762"/>
                </a:cubicBezTo>
                <a:cubicBezTo>
                  <a:pt x="2975" y="714"/>
                  <a:pt x="2943" y="682"/>
                  <a:pt x="2911" y="650"/>
                </a:cubicBezTo>
                <a:cubicBezTo>
                  <a:pt x="2816" y="618"/>
                  <a:pt x="2736" y="603"/>
                  <a:pt x="2641" y="603"/>
                </a:cubicBezTo>
                <a:cubicBezTo>
                  <a:pt x="2370" y="603"/>
                  <a:pt x="2148" y="762"/>
                  <a:pt x="2036" y="984"/>
                </a:cubicBezTo>
                <a:lnTo>
                  <a:pt x="1750" y="984"/>
                </a:lnTo>
                <a:cubicBezTo>
                  <a:pt x="1702" y="984"/>
                  <a:pt x="1670" y="1016"/>
                  <a:pt x="1670" y="1064"/>
                </a:cubicBezTo>
                <a:cubicBezTo>
                  <a:pt x="1670" y="1095"/>
                  <a:pt x="1702" y="1143"/>
                  <a:pt x="1750" y="1143"/>
                </a:cubicBezTo>
                <a:lnTo>
                  <a:pt x="1973" y="1143"/>
                </a:lnTo>
                <a:cubicBezTo>
                  <a:pt x="1973" y="1175"/>
                  <a:pt x="1957" y="1223"/>
                  <a:pt x="1957" y="1271"/>
                </a:cubicBezTo>
                <a:lnTo>
                  <a:pt x="1957" y="1303"/>
                </a:lnTo>
                <a:lnTo>
                  <a:pt x="1750" y="1303"/>
                </a:lnTo>
                <a:cubicBezTo>
                  <a:pt x="1702" y="1303"/>
                  <a:pt x="1670" y="1334"/>
                  <a:pt x="1670" y="1366"/>
                </a:cubicBezTo>
                <a:cubicBezTo>
                  <a:pt x="1670" y="1414"/>
                  <a:pt x="1702" y="1446"/>
                  <a:pt x="1750" y="1446"/>
                </a:cubicBezTo>
                <a:lnTo>
                  <a:pt x="1988" y="1446"/>
                </a:lnTo>
                <a:cubicBezTo>
                  <a:pt x="2068" y="1732"/>
                  <a:pt x="2323" y="1955"/>
                  <a:pt x="2641" y="1955"/>
                </a:cubicBezTo>
                <a:cubicBezTo>
                  <a:pt x="2736" y="1955"/>
                  <a:pt x="2816" y="1923"/>
                  <a:pt x="2911" y="1891"/>
                </a:cubicBezTo>
                <a:cubicBezTo>
                  <a:pt x="2943" y="1875"/>
                  <a:pt x="2975" y="1827"/>
                  <a:pt x="2943" y="1795"/>
                </a:cubicBezTo>
                <a:cubicBezTo>
                  <a:pt x="2927" y="1748"/>
                  <a:pt x="2879" y="1732"/>
                  <a:pt x="2848" y="1748"/>
                </a:cubicBezTo>
                <a:cubicBezTo>
                  <a:pt x="2784" y="1779"/>
                  <a:pt x="2705" y="1795"/>
                  <a:pt x="2641" y="1795"/>
                </a:cubicBezTo>
                <a:cubicBezTo>
                  <a:pt x="2418" y="1795"/>
                  <a:pt x="2227" y="1652"/>
                  <a:pt x="2148" y="1446"/>
                </a:cubicBezTo>
                <a:lnTo>
                  <a:pt x="2386" y="1446"/>
                </a:lnTo>
                <a:cubicBezTo>
                  <a:pt x="2418" y="1446"/>
                  <a:pt x="2466" y="1414"/>
                  <a:pt x="2466" y="1366"/>
                </a:cubicBezTo>
                <a:cubicBezTo>
                  <a:pt x="2466" y="1334"/>
                  <a:pt x="2418" y="1303"/>
                  <a:pt x="2386" y="1303"/>
                </a:cubicBezTo>
                <a:lnTo>
                  <a:pt x="2116" y="1303"/>
                </a:lnTo>
                <a:lnTo>
                  <a:pt x="2116" y="1271"/>
                </a:lnTo>
                <a:cubicBezTo>
                  <a:pt x="2116" y="1223"/>
                  <a:pt x="2132" y="1175"/>
                  <a:pt x="2148" y="1143"/>
                </a:cubicBezTo>
                <a:lnTo>
                  <a:pt x="2386" y="1143"/>
                </a:lnTo>
                <a:cubicBezTo>
                  <a:pt x="2418" y="1143"/>
                  <a:pt x="2466" y="1095"/>
                  <a:pt x="2466" y="1064"/>
                </a:cubicBezTo>
                <a:cubicBezTo>
                  <a:pt x="2466" y="1016"/>
                  <a:pt x="2418" y="984"/>
                  <a:pt x="2386" y="984"/>
                </a:cubicBezTo>
                <a:lnTo>
                  <a:pt x="2211" y="984"/>
                </a:lnTo>
                <a:cubicBezTo>
                  <a:pt x="2307" y="841"/>
                  <a:pt x="2466" y="762"/>
                  <a:pt x="2641" y="76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6" name="Freeform: Shape 5">
            <a:extLst>
              <a:ext uri="{FF2B5EF4-FFF2-40B4-BE49-F238E27FC236}">
                <a16:creationId xmlns:a16="http://schemas.microsoft.com/office/drawing/2014/main" id="{CFA49184-5708-4847-A785-1C412EC093C9}"/>
              </a:ext>
            </a:extLst>
          </p:cNvPr>
          <p:cNvSpPr/>
          <p:nvPr/>
        </p:nvSpPr>
        <p:spPr>
          <a:xfrm>
            <a:off x="17383680" y="3398198"/>
            <a:ext cx="1717560" cy="972000"/>
          </a:xfrm>
          <a:custGeom>
            <a:avLst/>
            <a:gdLst/>
            <a:ahLst/>
            <a:cxnLst>
              <a:cxn ang="3cd4">
                <a:pos x="hc" y="t"/>
              </a:cxn>
              <a:cxn ang="cd2">
                <a:pos x="l" y="vc"/>
              </a:cxn>
              <a:cxn ang="cd4">
                <a:pos x="hc" y="b"/>
              </a:cxn>
              <a:cxn ang="0">
                <a:pos x="r" y="vc"/>
              </a:cxn>
            </a:cxnLst>
            <a:rect l="l" t="t" r="r" b="b"/>
            <a:pathLst>
              <a:path w="4772" h="2701">
                <a:moveTo>
                  <a:pt x="4693" y="61"/>
                </a:moveTo>
                <a:cubicBezTo>
                  <a:pt x="3818" y="-51"/>
                  <a:pt x="3166" y="13"/>
                  <a:pt x="2450" y="76"/>
                </a:cubicBezTo>
                <a:cubicBezTo>
                  <a:pt x="1766" y="140"/>
                  <a:pt x="1050" y="204"/>
                  <a:pt x="96" y="93"/>
                </a:cubicBezTo>
                <a:cubicBezTo>
                  <a:pt x="64" y="93"/>
                  <a:pt x="48" y="93"/>
                  <a:pt x="32" y="109"/>
                </a:cubicBezTo>
                <a:cubicBezTo>
                  <a:pt x="17" y="124"/>
                  <a:pt x="0" y="156"/>
                  <a:pt x="0" y="172"/>
                </a:cubicBezTo>
                <a:lnTo>
                  <a:pt x="0" y="2558"/>
                </a:lnTo>
                <a:cubicBezTo>
                  <a:pt x="0" y="2590"/>
                  <a:pt x="32" y="2621"/>
                  <a:pt x="80" y="2638"/>
                </a:cubicBezTo>
                <a:cubicBezTo>
                  <a:pt x="462" y="2685"/>
                  <a:pt x="812" y="2701"/>
                  <a:pt x="1130" y="2701"/>
                </a:cubicBezTo>
                <a:cubicBezTo>
                  <a:pt x="1623" y="2701"/>
                  <a:pt x="2053" y="2653"/>
                  <a:pt x="2466" y="2621"/>
                </a:cubicBezTo>
                <a:cubicBezTo>
                  <a:pt x="3166" y="2558"/>
                  <a:pt x="3818" y="2494"/>
                  <a:pt x="4677" y="2606"/>
                </a:cubicBezTo>
                <a:cubicBezTo>
                  <a:pt x="4709" y="2606"/>
                  <a:pt x="4725" y="2606"/>
                  <a:pt x="4741" y="2590"/>
                </a:cubicBezTo>
                <a:cubicBezTo>
                  <a:pt x="4756" y="2574"/>
                  <a:pt x="4772" y="2558"/>
                  <a:pt x="4772" y="2526"/>
                </a:cubicBezTo>
                <a:lnTo>
                  <a:pt x="4772" y="140"/>
                </a:lnTo>
                <a:cubicBezTo>
                  <a:pt x="4772" y="109"/>
                  <a:pt x="4741" y="76"/>
                  <a:pt x="4693" y="61"/>
                </a:cubicBezTo>
                <a:close/>
                <a:moveTo>
                  <a:pt x="4613" y="2430"/>
                </a:moveTo>
                <a:cubicBezTo>
                  <a:pt x="3786" y="2335"/>
                  <a:pt x="3134" y="2399"/>
                  <a:pt x="2450" y="2463"/>
                </a:cubicBezTo>
                <a:cubicBezTo>
                  <a:pt x="1782" y="2526"/>
                  <a:pt x="1082" y="2590"/>
                  <a:pt x="160" y="2478"/>
                </a:cubicBezTo>
                <a:lnTo>
                  <a:pt x="160" y="267"/>
                </a:lnTo>
                <a:cubicBezTo>
                  <a:pt x="1082" y="363"/>
                  <a:pt x="1798" y="299"/>
                  <a:pt x="2466" y="236"/>
                </a:cubicBezTo>
                <a:cubicBezTo>
                  <a:pt x="3150" y="172"/>
                  <a:pt x="3786" y="109"/>
                  <a:pt x="4613" y="220"/>
                </a:cubicBezTo>
                <a:close/>
                <a:moveTo>
                  <a:pt x="1146" y="2145"/>
                </a:moveTo>
                <a:cubicBezTo>
                  <a:pt x="939" y="2145"/>
                  <a:pt x="748" y="2130"/>
                  <a:pt x="541" y="2113"/>
                </a:cubicBezTo>
                <a:cubicBezTo>
                  <a:pt x="494" y="2113"/>
                  <a:pt x="462" y="2145"/>
                  <a:pt x="462" y="2193"/>
                </a:cubicBezTo>
                <a:cubicBezTo>
                  <a:pt x="446" y="2241"/>
                  <a:pt x="478" y="2273"/>
                  <a:pt x="526" y="2273"/>
                </a:cubicBezTo>
                <a:cubicBezTo>
                  <a:pt x="732" y="2288"/>
                  <a:pt x="939" y="2304"/>
                  <a:pt x="1146" y="2304"/>
                </a:cubicBezTo>
                <a:cubicBezTo>
                  <a:pt x="1178" y="2304"/>
                  <a:pt x="1226" y="2273"/>
                  <a:pt x="1226" y="2225"/>
                </a:cubicBezTo>
                <a:cubicBezTo>
                  <a:pt x="1226" y="2177"/>
                  <a:pt x="1178" y="2145"/>
                  <a:pt x="1146" y="2145"/>
                </a:cubicBezTo>
                <a:close/>
                <a:moveTo>
                  <a:pt x="3611" y="475"/>
                </a:moveTo>
                <a:cubicBezTo>
                  <a:pt x="3611" y="523"/>
                  <a:pt x="3659" y="555"/>
                  <a:pt x="3691" y="555"/>
                </a:cubicBezTo>
                <a:cubicBezTo>
                  <a:pt x="3898" y="555"/>
                  <a:pt x="4104" y="571"/>
                  <a:pt x="4295" y="586"/>
                </a:cubicBezTo>
                <a:lnTo>
                  <a:pt x="4311" y="586"/>
                </a:lnTo>
                <a:cubicBezTo>
                  <a:pt x="4343" y="586"/>
                  <a:pt x="4375" y="555"/>
                  <a:pt x="4390" y="507"/>
                </a:cubicBezTo>
                <a:cubicBezTo>
                  <a:pt x="4390" y="475"/>
                  <a:pt x="4359" y="428"/>
                  <a:pt x="4311" y="428"/>
                </a:cubicBezTo>
                <a:cubicBezTo>
                  <a:pt x="4104" y="412"/>
                  <a:pt x="3913" y="396"/>
                  <a:pt x="3691" y="396"/>
                </a:cubicBezTo>
                <a:cubicBezTo>
                  <a:pt x="3659" y="396"/>
                  <a:pt x="3611" y="443"/>
                  <a:pt x="3611" y="475"/>
                </a:cubicBezTo>
                <a:close/>
                <a:moveTo>
                  <a:pt x="2402" y="1223"/>
                </a:moveTo>
                <a:lnTo>
                  <a:pt x="2323" y="1191"/>
                </a:lnTo>
                <a:cubicBezTo>
                  <a:pt x="2196" y="1112"/>
                  <a:pt x="2180" y="1112"/>
                  <a:pt x="2180" y="1048"/>
                </a:cubicBezTo>
                <a:cubicBezTo>
                  <a:pt x="2180" y="952"/>
                  <a:pt x="2291" y="937"/>
                  <a:pt x="2323" y="937"/>
                </a:cubicBezTo>
                <a:cubicBezTo>
                  <a:pt x="2371" y="937"/>
                  <a:pt x="2466" y="952"/>
                  <a:pt x="2466" y="1048"/>
                </a:cubicBezTo>
                <a:cubicBezTo>
                  <a:pt x="2466" y="1095"/>
                  <a:pt x="2514" y="1127"/>
                  <a:pt x="2545" y="1127"/>
                </a:cubicBezTo>
                <a:cubicBezTo>
                  <a:pt x="2593" y="1127"/>
                  <a:pt x="2625" y="1095"/>
                  <a:pt x="2625" y="1048"/>
                </a:cubicBezTo>
                <a:cubicBezTo>
                  <a:pt x="2625" y="905"/>
                  <a:pt x="2530" y="809"/>
                  <a:pt x="2387" y="777"/>
                </a:cubicBezTo>
                <a:lnTo>
                  <a:pt x="2387" y="666"/>
                </a:lnTo>
                <a:cubicBezTo>
                  <a:pt x="2387" y="618"/>
                  <a:pt x="2354" y="586"/>
                  <a:pt x="2307" y="586"/>
                </a:cubicBezTo>
                <a:cubicBezTo>
                  <a:pt x="2259" y="586"/>
                  <a:pt x="2227" y="618"/>
                  <a:pt x="2227" y="666"/>
                </a:cubicBezTo>
                <a:lnTo>
                  <a:pt x="2227" y="794"/>
                </a:lnTo>
                <a:cubicBezTo>
                  <a:pt x="2100" y="825"/>
                  <a:pt x="2021" y="921"/>
                  <a:pt x="2021" y="1048"/>
                </a:cubicBezTo>
                <a:cubicBezTo>
                  <a:pt x="2021" y="1207"/>
                  <a:pt x="2132" y="1271"/>
                  <a:pt x="2259" y="1334"/>
                </a:cubicBezTo>
                <a:lnTo>
                  <a:pt x="2323" y="1366"/>
                </a:lnTo>
                <a:cubicBezTo>
                  <a:pt x="2466" y="1430"/>
                  <a:pt x="2482" y="1446"/>
                  <a:pt x="2482" y="1509"/>
                </a:cubicBezTo>
                <a:cubicBezTo>
                  <a:pt x="2482" y="1604"/>
                  <a:pt x="2371" y="1604"/>
                  <a:pt x="2323" y="1604"/>
                </a:cubicBezTo>
                <a:cubicBezTo>
                  <a:pt x="2291" y="1604"/>
                  <a:pt x="2180" y="1604"/>
                  <a:pt x="2180" y="1509"/>
                </a:cubicBezTo>
                <a:cubicBezTo>
                  <a:pt x="2180" y="1461"/>
                  <a:pt x="2148" y="1430"/>
                  <a:pt x="2100" y="1430"/>
                </a:cubicBezTo>
                <a:cubicBezTo>
                  <a:pt x="2053" y="1430"/>
                  <a:pt x="2021" y="1461"/>
                  <a:pt x="2021" y="1509"/>
                </a:cubicBezTo>
                <a:cubicBezTo>
                  <a:pt x="2021" y="1636"/>
                  <a:pt x="2100" y="1732"/>
                  <a:pt x="2227" y="1764"/>
                </a:cubicBezTo>
                <a:lnTo>
                  <a:pt x="2227" y="1923"/>
                </a:lnTo>
                <a:cubicBezTo>
                  <a:pt x="2227" y="1970"/>
                  <a:pt x="2259" y="2002"/>
                  <a:pt x="2307" y="2002"/>
                </a:cubicBezTo>
                <a:cubicBezTo>
                  <a:pt x="2354" y="2002"/>
                  <a:pt x="2387" y="1970"/>
                  <a:pt x="2387" y="1923"/>
                </a:cubicBezTo>
                <a:lnTo>
                  <a:pt x="2387" y="1764"/>
                </a:lnTo>
                <a:cubicBezTo>
                  <a:pt x="2530" y="1748"/>
                  <a:pt x="2641" y="1652"/>
                  <a:pt x="2641" y="1509"/>
                </a:cubicBezTo>
                <a:cubicBezTo>
                  <a:pt x="2641" y="1334"/>
                  <a:pt x="2530" y="1286"/>
                  <a:pt x="2402" y="122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7" name="Freeform: Shape 6">
            <a:extLst>
              <a:ext uri="{FF2B5EF4-FFF2-40B4-BE49-F238E27FC236}">
                <a16:creationId xmlns:a16="http://schemas.microsoft.com/office/drawing/2014/main" id="{2F11850E-1A15-1A4E-9D84-D74904E56FE9}"/>
              </a:ext>
            </a:extLst>
          </p:cNvPr>
          <p:cNvSpPr/>
          <p:nvPr/>
        </p:nvSpPr>
        <p:spPr>
          <a:xfrm>
            <a:off x="21246106" y="9787700"/>
            <a:ext cx="1465560" cy="1478160"/>
          </a:xfrm>
          <a:custGeom>
            <a:avLst/>
            <a:gdLst/>
            <a:ahLst/>
            <a:cxnLst>
              <a:cxn ang="3cd4">
                <a:pos x="hc" y="t"/>
              </a:cxn>
              <a:cxn ang="cd2">
                <a:pos x="l" y="vc"/>
              </a:cxn>
              <a:cxn ang="cd4">
                <a:pos x="hc" y="b"/>
              </a:cxn>
              <a:cxn ang="0">
                <a:pos x="r" y="vc"/>
              </a:cxn>
            </a:cxnLst>
            <a:rect l="l" t="t" r="r" b="b"/>
            <a:pathLst>
              <a:path w="4072" h="4107">
                <a:moveTo>
                  <a:pt x="3992" y="3407"/>
                </a:moveTo>
                <a:cubicBezTo>
                  <a:pt x="3134" y="3407"/>
                  <a:pt x="3134" y="3407"/>
                  <a:pt x="3134" y="3407"/>
                </a:cubicBezTo>
                <a:cubicBezTo>
                  <a:pt x="3134" y="1006"/>
                  <a:pt x="3134" y="1006"/>
                  <a:pt x="3134" y="1006"/>
                </a:cubicBezTo>
                <a:cubicBezTo>
                  <a:pt x="3563" y="1006"/>
                  <a:pt x="3563" y="1006"/>
                  <a:pt x="3563" y="1006"/>
                </a:cubicBezTo>
                <a:cubicBezTo>
                  <a:pt x="3579" y="1006"/>
                  <a:pt x="3611" y="990"/>
                  <a:pt x="3626" y="958"/>
                </a:cubicBezTo>
                <a:cubicBezTo>
                  <a:pt x="3643" y="942"/>
                  <a:pt x="3643" y="910"/>
                  <a:pt x="3626" y="878"/>
                </a:cubicBezTo>
                <a:cubicBezTo>
                  <a:pt x="3117" y="35"/>
                  <a:pt x="3117" y="35"/>
                  <a:pt x="3117" y="35"/>
                </a:cubicBezTo>
                <a:cubicBezTo>
                  <a:pt x="3086" y="-12"/>
                  <a:pt x="3007" y="-12"/>
                  <a:pt x="2974" y="35"/>
                </a:cubicBezTo>
                <a:cubicBezTo>
                  <a:pt x="2481" y="878"/>
                  <a:pt x="2481" y="878"/>
                  <a:pt x="2481" y="878"/>
                </a:cubicBezTo>
                <a:cubicBezTo>
                  <a:pt x="2465" y="910"/>
                  <a:pt x="2465" y="942"/>
                  <a:pt x="2481" y="958"/>
                </a:cubicBezTo>
                <a:cubicBezTo>
                  <a:pt x="2481" y="990"/>
                  <a:pt x="2513" y="1006"/>
                  <a:pt x="2545" y="1006"/>
                </a:cubicBezTo>
                <a:cubicBezTo>
                  <a:pt x="2974" y="1006"/>
                  <a:pt x="2974" y="1006"/>
                  <a:pt x="2974" y="1006"/>
                </a:cubicBezTo>
                <a:cubicBezTo>
                  <a:pt x="2974" y="3407"/>
                  <a:pt x="2974" y="3407"/>
                  <a:pt x="2974" y="3407"/>
                </a:cubicBezTo>
                <a:cubicBezTo>
                  <a:pt x="1241" y="3407"/>
                  <a:pt x="1241" y="3407"/>
                  <a:pt x="1241" y="3407"/>
                </a:cubicBezTo>
                <a:cubicBezTo>
                  <a:pt x="1241" y="1006"/>
                  <a:pt x="1241" y="1006"/>
                  <a:pt x="1241" y="1006"/>
                </a:cubicBezTo>
                <a:cubicBezTo>
                  <a:pt x="1670" y="1006"/>
                  <a:pt x="1670" y="1006"/>
                  <a:pt x="1670" y="1006"/>
                </a:cubicBezTo>
                <a:cubicBezTo>
                  <a:pt x="1686" y="1006"/>
                  <a:pt x="1718" y="990"/>
                  <a:pt x="1734" y="958"/>
                </a:cubicBezTo>
                <a:cubicBezTo>
                  <a:pt x="1750" y="942"/>
                  <a:pt x="1750" y="910"/>
                  <a:pt x="1734" y="878"/>
                </a:cubicBezTo>
                <a:cubicBezTo>
                  <a:pt x="1225" y="35"/>
                  <a:pt x="1225" y="35"/>
                  <a:pt x="1225" y="35"/>
                </a:cubicBezTo>
                <a:cubicBezTo>
                  <a:pt x="1193" y="-12"/>
                  <a:pt x="1114" y="-12"/>
                  <a:pt x="1098" y="35"/>
                </a:cubicBezTo>
                <a:cubicBezTo>
                  <a:pt x="589" y="878"/>
                  <a:pt x="589" y="878"/>
                  <a:pt x="589" y="878"/>
                </a:cubicBezTo>
                <a:cubicBezTo>
                  <a:pt x="573" y="910"/>
                  <a:pt x="573" y="942"/>
                  <a:pt x="589" y="958"/>
                </a:cubicBezTo>
                <a:cubicBezTo>
                  <a:pt x="605" y="990"/>
                  <a:pt x="620" y="1006"/>
                  <a:pt x="652" y="1006"/>
                </a:cubicBezTo>
                <a:cubicBezTo>
                  <a:pt x="1082" y="1006"/>
                  <a:pt x="1082" y="1006"/>
                  <a:pt x="1082" y="1006"/>
                </a:cubicBezTo>
                <a:cubicBezTo>
                  <a:pt x="1082" y="3407"/>
                  <a:pt x="1082" y="3407"/>
                  <a:pt x="1082" y="3407"/>
                </a:cubicBezTo>
                <a:cubicBezTo>
                  <a:pt x="80" y="3407"/>
                  <a:pt x="80" y="3407"/>
                  <a:pt x="80" y="3407"/>
                </a:cubicBezTo>
                <a:cubicBezTo>
                  <a:pt x="32" y="3407"/>
                  <a:pt x="0" y="3440"/>
                  <a:pt x="0" y="3487"/>
                </a:cubicBezTo>
                <a:cubicBezTo>
                  <a:pt x="0" y="4028"/>
                  <a:pt x="0" y="4028"/>
                  <a:pt x="0" y="4028"/>
                </a:cubicBezTo>
                <a:cubicBezTo>
                  <a:pt x="0" y="4076"/>
                  <a:pt x="32" y="4107"/>
                  <a:pt x="80" y="4107"/>
                </a:cubicBezTo>
                <a:cubicBezTo>
                  <a:pt x="3992" y="4107"/>
                  <a:pt x="3992" y="4107"/>
                  <a:pt x="3992" y="4107"/>
                </a:cubicBezTo>
                <a:cubicBezTo>
                  <a:pt x="4040" y="4107"/>
                  <a:pt x="4072" y="4076"/>
                  <a:pt x="4072" y="4028"/>
                </a:cubicBezTo>
                <a:cubicBezTo>
                  <a:pt x="4072" y="3487"/>
                  <a:pt x="4072" y="3487"/>
                  <a:pt x="4072" y="3487"/>
                </a:cubicBezTo>
                <a:cubicBezTo>
                  <a:pt x="4072" y="3440"/>
                  <a:pt x="4040" y="3407"/>
                  <a:pt x="3992" y="3407"/>
                </a:cubicBezTo>
                <a:close/>
                <a:moveTo>
                  <a:pt x="3054" y="226"/>
                </a:moveTo>
                <a:cubicBezTo>
                  <a:pt x="3420" y="847"/>
                  <a:pt x="3420" y="847"/>
                  <a:pt x="3420" y="847"/>
                </a:cubicBezTo>
                <a:cubicBezTo>
                  <a:pt x="2688" y="847"/>
                  <a:pt x="2688" y="847"/>
                  <a:pt x="2688" y="847"/>
                </a:cubicBezTo>
                <a:close/>
                <a:moveTo>
                  <a:pt x="1161" y="226"/>
                </a:moveTo>
                <a:cubicBezTo>
                  <a:pt x="1527" y="847"/>
                  <a:pt x="1527" y="847"/>
                  <a:pt x="1527" y="847"/>
                </a:cubicBezTo>
                <a:cubicBezTo>
                  <a:pt x="795" y="847"/>
                  <a:pt x="795" y="847"/>
                  <a:pt x="795" y="847"/>
                </a:cubicBezTo>
                <a:close/>
                <a:moveTo>
                  <a:pt x="3913" y="3949"/>
                </a:moveTo>
                <a:cubicBezTo>
                  <a:pt x="159" y="3949"/>
                  <a:pt x="159" y="3949"/>
                  <a:pt x="159" y="3949"/>
                </a:cubicBezTo>
                <a:cubicBezTo>
                  <a:pt x="159" y="3567"/>
                  <a:pt x="159" y="3567"/>
                  <a:pt x="159" y="3567"/>
                </a:cubicBezTo>
                <a:cubicBezTo>
                  <a:pt x="3913" y="3567"/>
                  <a:pt x="3913" y="3567"/>
                  <a:pt x="3913" y="356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8" name="Freeform: Shape 7">
            <a:extLst>
              <a:ext uri="{FF2B5EF4-FFF2-40B4-BE49-F238E27FC236}">
                <a16:creationId xmlns:a16="http://schemas.microsoft.com/office/drawing/2014/main" id="{0F88078A-CA28-0845-B83B-C4348AFC7FAE}"/>
              </a:ext>
            </a:extLst>
          </p:cNvPr>
          <p:cNvSpPr/>
          <p:nvPr/>
        </p:nvSpPr>
        <p:spPr>
          <a:xfrm>
            <a:off x="17424210" y="9712099"/>
            <a:ext cx="1564919" cy="1628639"/>
          </a:xfrm>
          <a:custGeom>
            <a:avLst/>
            <a:gdLst/>
            <a:ahLst/>
            <a:cxnLst>
              <a:cxn ang="3cd4">
                <a:pos x="hc" y="t"/>
              </a:cxn>
              <a:cxn ang="cd2">
                <a:pos x="l" y="vc"/>
              </a:cxn>
              <a:cxn ang="cd4">
                <a:pos x="hc" y="b"/>
              </a:cxn>
              <a:cxn ang="0">
                <a:pos x="r" y="vc"/>
              </a:cxn>
            </a:cxnLst>
            <a:rect l="l" t="t" r="r" b="b"/>
            <a:pathLst>
              <a:path w="4348" h="4525">
                <a:moveTo>
                  <a:pt x="801" y="4525"/>
                </a:moveTo>
                <a:lnTo>
                  <a:pt x="1724" y="4525"/>
                </a:lnTo>
                <a:lnTo>
                  <a:pt x="2630" y="4525"/>
                </a:lnTo>
                <a:lnTo>
                  <a:pt x="3553" y="4525"/>
                </a:lnTo>
                <a:cubicBezTo>
                  <a:pt x="3855" y="4525"/>
                  <a:pt x="4157" y="4223"/>
                  <a:pt x="4157" y="3905"/>
                </a:cubicBezTo>
                <a:lnTo>
                  <a:pt x="4157" y="1630"/>
                </a:lnTo>
                <a:lnTo>
                  <a:pt x="4269" y="1630"/>
                </a:lnTo>
                <a:cubicBezTo>
                  <a:pt x="4300" y="1630"/>
                  <a:pt x="4332" y="1598"/>
                  <a:pt x="4348" y="1567"/>
                </a:cubicBezTo>
                <a:cubicBezTo>
                  <a:pt x="4348" y="1535"/>
                  <a:pt x="4348" y="1503"/>
                  <a:pt x="4316" y="1487"/>
                </a:cubicBezTo>
                <a:lnTo>
                  <a:pt x="2201" y="24"/>
                </a:lnTo>
                <a:cubicBezTo>
                  <a:pt x="2185" y="-8"/>
                  <a:pt x="2137" y="-8"/>
                  <a:pt x="2121" y="24"/>
                </a:cubicBezTo>
                <a:lnTo>
                  <a:pt x="38" y="1487"/>
                </a:lnTo>
                <a:cubicBezTo>
                  <a:pt x="6" y="1503"/>
                  <a:pt x="-10" y="1535"/>
                  <a:pt x="6" y="1567"/>
                </a:cubicBezTo>
                <a:cubicBezTo>
                  <a:pt x="22" y="1598"/>
                  <a:pt x="38" y="1630"/>
                  <a:pt x="85" y="1630"/>
                </a:cubicBezTo>
                <a:lnTo>
                  <a:pt x="197" y="1630"/>
                </a:lnTo>
                <a:lnTo>
                  <a:pt x="197" y="3905"/>
                </a:lnTo>
                <a:cubicBezTo>
                  <a:pt x="197" y="4223"/>
                  <a:pt x="499" y="4525"/>
                  <a:pt x="801" y="4525"/>
                </a:cubicBezTo>
                <a:close/>
                <a:moveTo>
                  <a:pt x="1803" y="4366"/>
                </a:moveTo>
                <a:lnTo>
                  <a:pt x="1803" y="3300"/>
                </a:lnTo>
                <a:lnTo>
                  <a:pt x="2551" y="3300"/>
                </a:lnTo>
                <a:lnTo>
                  <a:pt x="2551" y="4366"/>
                </a:lnTo>
                <a:close/>
                <a:moveTo>
                  <a:pt x="3999" y="3905"/>
                </a:moveTo>
                <a:cubicBezTo>
                  <a:pt x="3999" y="4127"/>
                  <a:pt x="3760" y="4366"/>
                  <a:pt x="3553" y="4366"/>
                </a:cubicBezTo>
                <a:lnTo>
                  <a:pt x="2710" y="4366"/>
                </a:lnTo>
                <a:lnTo>
                  <a:pt x="2710" y="3221"/>
                </a:lnTo>
                <a:cubicBezTo>
                  <a:pt x="2710" y="3173"/>
                  <a:pt x="2678" y="3142"/>
                  <a:pt x="2630" y="3142"/>
                </a:cubicBezTo>
                <a:lnTo>
                  <a:pt x="1724" y="3142"/>
                </a:lnTo>
                <a:cubicBezTo>
                  <a:pt x="1676" y="3142"/>
                  <a:pt x="1644" y="3173"/>
                  <a:pt x="1644" y="3221"/>
                </a:cubicBezTo>
                <a:lnTo>
                  <a:pt x="1644" y="4366"/>
                </a:lnTo>
                <a:lnTo>
                  <a:pt x="801" y="4366"/>
                </a:lnTo>
                <a:cubicBezTo>
                  <a:pt x="579" y="4366"/>
                  <a:pt x="356" y="4127"/>
                  <a:pt x="356" y="3905"/>
                </a:cubicBezTo>
                <a:lnTo>
                  <a:pt x="356" y="1630"/>
                </a:lnTo>
                <a:lnTo>
                  <a:pt x="3999" y="1630"/>
                </a:lnTo>
                <a:close/>
                <a:moveTo>
                  <a:pt x="2153" y="183"/>
                </a:moveTo>
                <a:lnTo>
                  <a:pt x="4014" y="1471"/>
                </a:lnTo>
                <a:lnTo>
                  <a:pt x="324" y="1471"/>
                </a:lnTo>
                <a:close/>
                <a:moveTo>
                  <a:pt x="2630" y="2998"/>
                </a:moveTo>
                <a:lnTo>
                  <a:pt x="3394" y="2998"/>
                </a:lnTo>
                <a:cubicBezTo>
                  <a:pt x="3442" y="2998"/>
                  <a:pt x="3473" y="2966"/>
                  <a:pt x="3473" y="2919"/>
                </a:cubicBezTo>
                <a:lnTo>
                  <a:pt x="3473" y="2155"/>
                </a:lnTo>
                <a:cubicBezTo>
                  <a:pt x="3473" y="2107"/>
                  <a:pt x="3442" y="2076"/>
                  <a:pt x="3394" y="2076"/>
                </a:cubicBezTo>
                <a:lnTo>
                  <a:pt x="2630" y="2076"/>
                </a:lnTo>
                <a:cubicBezTo>
                  <a:pt x="2583" y="2076"/>
                  <a:pt x="2551" y="2107"/>
                  <a:pt x="2551" y="2155"/>
                </a:cubicBezTo>
                <a:lnTo>
                  <a:pt x="2551" y="2919"/>
                </a:lnTo>
                <a:cubicBezTo>
                  <a:pt x="2551" y="2966"/>
                  <a:pt x="2583" y="2998"/>
                  <a:pt x="2630" y="2998"/>
                </a:cubicBezTo>
                <a:close/>
                <a:moveTo>
                  <a:pt x="2710" y="2235"/>
                </a:moveTo>
                <a:lnTo>
                  <a:pt x="3314" y="2235"/>
                </a:lnTo>
                <a:lnTo>
                  <a:pt x="3314" y="2839"/>
                </a:lnTo>
                <a:lnTo>
                  <a:pt x="2710" y="2839"/>
                </a:lnTo>
                <a:close/>
                <a:moveTo>
                  <a:pt x="960" y="2998"/>
                </a:moveTo>
                <a:lnTo>
                  <a:pt x="1724" y="2998"/>
                </a:lnTo>
                <a:cubicBezTo>
                  <a:pt x="1755" y="2998"/>
                  <a:pt x="1803" y="2966"/>
                  <a:pt x="1803" y="2919"/>
                </a:cubicBezTo>
                <a:lnTo>
                  <a:pt x="1803" y="2155"/>
                </a:lnTo>
                <a:cubicBezTo>
                  <a:pt x="1803" y="2107"/>
                  <a:pt x="1755" y="2076"/>
                  <a:pt x="1724" y="2076"/>
                </a:cubicBezTo>
                <a:lnTo>
                  <a:pt x="960" y="2076"/>
                </a:lnTo>
                <a:cubicBezTo>
                  <a:pt x="913" y="2076"/>
                  <a:pt x="881" y="2107"/>
                  <a:pt x="881" y="2155"/>
                </a:cubicBezTo>
                <a:lnTo>
                  <a:pt x="881" y="2919"/>
                </a:lnTo>
                <a:cubicBezTo>
                  <a:pt x="881" y="2966"/>
                  <a:pt x="913" y="2998"/>
                  <a:pt x="960" y="2998"/>
                </a:cubicBezTo>
                <a:close/>
                <a:moveTo>
                  <a:pt x="1040" y="2235"/>
                </a:moveTo>
                <a:lnTo>
                  <a:pt x="1644" y="2235"/>
                </a:lnTo>
                <a:lnTo>
                  <a:pt x="1644" y="2839"/>
                </a:lnTo>
                <a:lnTo>
                  <a:pt x="1040" y="283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9" name="Freeform: Shape 8">
            <a:extLst>
              <a:ext uri="{FF2B5EF4-FFF2-40B4-BE49-F238E27FC236}">
                <a16:creationId xmlns:a16="http://schemas.microsoft.com/office/drawing/2014/main" id="{AEDCA34B-BE9B-9641-B8D8-C91924A6A526}"/>
              </a:ext>
            </a:extLst>
          </p:cNvPr>
          <p:cNvSpPr/>
          <p:nvPr/>
        </p:nvSpPr>
        <p:spPr>
          <a:xfrm>
            <a:off x="14113897" y="9795260"/>
            <a:ext cx="1465560" cy="1465560"/>
          </a:xfrm>
          <a:custGeom>
            <a:avLst/>
            <a:gdLst/>
            <a:ahLst/>
            <a:cxnLst>
              <a:cxn ang="3cd4">
                <a:pos x="hc" y="t"/>
              </a:cxn>
              <a:cxn ang="cd2">
                <a:pos x="l" y="vc"/>
              </a:cxn>
              <a:cxn ang="cd4">
                <a:pos x="hc" y="b"/>
              </a:cxn>
              <a:cxn ang="0">
                <a:pos x="r" y="vc"/>
              </a:cxn>
            </a:cxnLst>
            <a:rect l="l" t="t" r="r" b="b"/>
            <a:pathLst>
              <a:path w="4072" h="4072">
                <a:moveTo>
                  <a:pt x="3309" y="0"/>
                </a:moveTo>
                <a:lnTo>
                  <a:pt x="748" y="0"/>
                </a:lnTo>
                <a:cubicBezTo>
                  <a:pt x="700" y="0"/>
                  <a:pt x="669" y="31"/>
                  <a:pt x="669" y="79"/>
                </a:cubicBezTo>
                <a:lnTo>
                  <a:pt x="669" y="1209"/>
                </a:lnTo>
                <a:cubicBezTo>
                  <a:pt x="351" y="1320"/>
                  <a:pt x="207" y="2449"/>
                  <a:pt x="207" y="3101"/>
                </a:cubicBezTo>
                <a:lnTo>
                  <a:pt x="80" y="3101"/>
                </a:lnTo>
                <a:cubicBezTo>
                  <a:pt x="32" y="3101"/>
                  <a:pt x="0" y="3133"/>
                  <a:pt x="0" y="3181"/>
                </a:cubicBezTo>
                <a:lnTo>
                  <a:pt x="0" y="3992"/>
                </a:lnTo>
                <a:cubicBezTo>
                  <a:pt x="0" y="4040"/>
                  <a:pt x="32" y="4072"/>
                  <a:pt x="80" y="4072"/>
                </a:cubicBezTo>
                <a:lnTo>
                  <a:pt x="3993" y="4072"/>
                </a:lnTo>
                <a:cubicBezTo>
                  <a:pt x="4024" y="4072"/>
                  <a:pt x="4072" y="4040"/>
                  <a:pt x="4072" y="3992"/>
                </a:cubicBezTo>
                <a:lnTo>
                  <a:pt x="4072" y="3181"/>
                </a:lnTo>
                <a:cubicBezTo>
                  <a:pt x="4072" y="3133"/>
                  <a:pt x="4024" y="3101"/>
                  <a:pt x="3993" y="3101"/>
                </a:cubicBezTo>
                <a:lnTo>
                  <a:pt x="3929" y="3101"/>
                </a:lnTo>
                <a:cubicBezTo>
                  <a:pt x="3913" y="2417"/>
                  <a:pt x="3770" y="1209"/>
                  <a:pt x="3420" y="1209"/>
                </a:cubicBezTo>
                <a:lnTo>
                  <a:pt x="3388" y="1209"/>
                </a:lnTo>
                <a:lnTo>
                  <a:pt x="3388" y="79"/>
                </a:lnTo>
                <a:cubicBezTo>
                  <a:pt x="3388" y="31"/>
                  <a:pt x="3357" y="0"/>
                  <a:pt x="3309" y="0"/>
                </a:cubicBezTo>
                <a:close/>
                <a:moveTo>
                  <a:pt x="827" y="158"/>
                </a:moveTo>
                <a:lnTo>
                  <a:pt x="3229" y="158"/>
                </a:lnTo>
                <a:lnTo>
                  <a:pt x="3229" y="1209"/>
                </a:lnTo>
                <a:lnTo>
                  <a:pt x="827" y="1209"/>
                </a:lnTo>
                <a:close/>
                <a:moveTo>
                  <a:pt x="3913" y="3912"/>
                </a:moveTo>
                <a:lnTo>
                  <a:pt x="160" y="3912"/>
                </a:lnTo>
                <a:lnTo>
                  <a:pt x="160" y="3260"/>
                </a:lnTo>
                <a:lnTo>
                  <a:pt x="3913" y="3260"/>
                </a:lnTo>
                <a:close/>
                <a:moveTo>
                  <a:pt x="3770" y="3101"/>
                </a:moveTo>
                <a:lnTo>
                  <a:pt x="366" y="3101"/>
                </a:lnTo>
                <a:cubicBezTo>
                  <a:pt x="366" y="2147"/>
                  <a:pt x="605" y="1367"/>
                  <a:pt x="716" y="1367"/>
                </a:cubicBezTo>
                <a:lnTo>
                  <a:pt x="748" y="1367"/>
                </a:lnTo>
                <a:lnTo>
                  <a:pt x="3309" y="1367"/>
                </a:lnTo>
                <a:lnTo>
                  <a:pt x="3420" y="1367"/>
                </a:lnTo>
                <a:cubicBezTo>
                  <a:pt x="3532" y="1367"/>
                  <a:pt x="3754" y="2147"/>
                  <a:pt x="3770" y="3101"/>
                </a:cubicBezTo>
                <a:close/>
                <a:moveTo>
                  <a:pt x="2911" y="397"/>
                </a:moveTo>
                <a:lnTo>
                  <a:pt x="1146" y="397"/>
                </a:lnTo>
                <a:cubicBezTo>
                  <a:pt x="1114" y="397"/>
                  <a:pt x="1066" y="429"/>
                  <a:pt x="1066" y="477"/>
                </a:cubicBezTo>
                <a:lnTo>
                  <a:pt x="1066" y="890"/>
                </a:lnTo>
                <a:cubicBezTo>
                  <a:pt x="1066" y="922"/>
                  <a:pt x="1114" y="970"/>
                  <a:pt x="1146" y="970"/>
                </a:cubicBezTo>
                <a:lnTo>
                  <a:pt x="2911" y="970"/>
                </a:lnTo>
                <a:cubicBezTo>
                  <a:pt x="2959" y="970"/>
                  <a:pt x="2991" y="922"/>
                  <a:pt x="2991" y="890"/>
                </a:cubicBezTo>
                <a:lnTo>
                  <a:pt x="2991" y="477"/>
                </a:lnTo>
                <a:cubicBezTo>
                  <a:pt x="2991" y="429"/>
                  <a:pt x="2959" y="397"/>
                  <a:pt x="2911" y="397"/>
                </a:cubicBezTo>
                <a:close/>
                <a:moveTo>
                  <a:pt x="2831" y="811"/>
                </a:moveTo>
                <a:lnTo>
                  <a:pt x="1225" y="811"/>
                </a:lnTo>
                <a:lnTo>
                  <a:pt x="1225" y="557"/>
                </a:lnTo>
                <a:lnTo>
                  <a:pt x="2831" y="557"/>
                </a:lnTo>
                <a:close/>
                <a:moveTo>
                  <a:pt x="1146" y="1622"/>
                </a:moveTo>
                <a:lnTo>
                  <a:pt x="875" y="1622"/>
                </a:lnTo>
                <a:cubicBezTo>
                  <a:pt x="843" y="1622"/>
                  <a:pt x="812" y="1654"/>
                  <a:pt x="812" y="1685"/>
                </a:cubicBezTo>
                <a:lnTo>
                  <a:pt x="812" y="1956"/>
                </a:lnTo>
                <a:cubicBezTo>
                  <a:pt x="812" y="2004"/>
                  <a:pt x="843" y="2036"/>
                  <a:pt x="875" y="2036"/>
                </a:cubicBezTo>
                <a:lnTo>
                  <a:pt x="1146" y="2036"/>
                </a:lnTo>
                <a:cubicBezTo>
                  <a:pt x="1193" y="2036"/>
                  <a:pt x="1225" y="2004"/>
                  <a:pt x="1225" y="1956"/>
                </a:cubicBezTo>
                <a:lnTo>
                  <a:pt x="1225" y="1685"/>
                </a:lnTo>
                <a:cubicBezTo>
                  <a:pt x="1225" y="1654"/>
                  <a:pt x="1193" y="1622"/>
                  <a:pt x="1146" y="1622"/>
                </a:cubicBezTo>
                <a:close/>
                <a:moveTo>
                  <a:pt x="1066" y="1876"/>
                </a:moveTo>
                <a:lnTo>
                  <a:pt x="955" y="1876"/>
                </a:lnTo>
                <a:lnTo>
                  <a:pt x="955" y="1765"/>
                </a:lnTo>
                <a:lnTo>
                  <a:pt x="1066" y="1765"/>
                </a:lnTo>
                <a:close/>
                <a:moveTo>
                  <a:pt x="1830" y="1622"/>
                </a:moveTo>
                <a:lnTo>
                  <a:pt x="1559" y="1622"/>
                </a:lnTo>
                <a:cubicBezTo>
                  <a:pt x="1512" y="1622"/>
                  <a:pt x="1479" y="1654"/>
                  <a:pt x="1479" y="1685"/>
                </a:cubicBezTo>
                <a:lnTo>
                  <a:pt x="1479" y="1956"/>
                </a:lnTo>
                <a:cubicBezTo>
                  <a:pt x="1479" y="2004"/>
                  <a:pt x="1512" y="2036"/>
                  <a:pt x="1559" y="2036"/>
                </a:cubicBezTo>
                <a:lnTo>
                  <a:pt x="1830" y="2036"/>
                </a:lnTo>
                <a:cubicBezTo>
                  <a:pt x="1877" y="2036"/>
                  <a:pt x="1909" y="2004"/>
                  <a:pt x="1909" y="1956"/>
                </a:cubicBezTo>
                <a:lnTo>
                  <a:pt x="1909" y="1685"/>
                </a:lnTo>
                <a:cubicBezTo>
                  <a:pt x="1909" y="1654"/>
                  <a:pt x="1877" y="1622"/>
                  <a:pt x="1830" y="1622"/>
                </a:cubicBezTo>
                <a:close/>
                <a:moveTo>
                  <a:pt x="1750" y="1876"/>
                </a:moveTo>
                <a:lnTo>
                  <a:pt x="1639" y="1876"/>
                </a:lnTo>
                <a:lnTo>
                  <a:pt x="1639" y="1765"/>
                </a:lnTo>
                <a:lnTo>
                  <a:pt x="1750" y="1765"/>
                </a:lnTo>
                <a:close/>
                <a:moveTo>
                  <a:pt x="2497" y="1622"/>
                </a:moveTo>
                <a:lnTo>
                  <a:pt x="2227" y="1622"/>
                </a:lnTo>
                <a:cubicBezTo>
                  <a:pt x="2196" y="1622"/>
                  <a:pt x="2148" y="1654"/>
                  <a:pt x="2148" y="1685"/>
                </a:cubicBezTo>
                <a:lnTo>
                  <a:pt x="2148" y="1956"/>
                </a:lnTo>
                <a:cubicBezTo>
                  <a:pt x="2148" y="2004"/>
                  <a:pt x="2196" y="2036"/>
                  <a:pt x="2227" y="2036"/>
                </a:cubicBezTo>
                <a:lnTo>
                  <a:pt x="2497" y="2036"/>
                </a:lnTo>
                <a:cubicBezTo>
                  <a:pt x="2545" y="2036"/>
                  <a:pt x="2577" y="2004"/>
                  <a:pt x="2577" y="1956"/>
                </a:cubicBezTo>
                <a:lnTo>
                  <a:pt x="2577" y="1685"/>
                </a:lnTo>
                <a:cubicBezTo>
                  <a:pt x="2577" y="1654"/>
                  <a:pt x="2545" y="1622"/>
                  <a:pt x="2497" y="1622"/>
                </a:cubicBezTo>
                <a:close/>
                <a:moveTo>
                  <a:pt x="2418" y="1876"/>
                </a:moveTo>
                <a:lnTo>
                  <a:pt x="2307" y="1876"/>
                </a:lnTo>
                <a:lnTo>
                  <a:pt x="2307" y="1765"/>
                </a:lnTo>
                <a:lnTo>
                  <a:pt x="2418" y="1765"/>
                </a:lnTo>
                <a:close/>
                <a:moveTo>
                  <a:pt x="1146" y="2147"/>
                </a:moveTo>
                <a:lnTo>
                  <a:pt x="875" y="2147"/>
                </a:lnTo>
                <a:cubicBezTo>
                  <a:pt x="843" y="2147"/>
                  <a:pt x="812" y="2194"/>
                  <a:pt x="812" y="2226"/>
                </a:cubicBezTo>
                <a:lnTo>
                  <a:pt x="812" y="2497"/>
                </a:lnTo>
                <a:cubicBezTo>
                  <a:pt x="812" y="2545"/>
                  <a:pt x="843" y="2576"/>
                  <a:pt x="875" y="2576"/>
                </a:cubicBezTo>
                <a:lnTo>
                  <a:pt x="1146" y="2576"/>
                </a:lnTo>
                <a:cubicBezTo>
                  <a:pt x="1193" y="2576"/>
                  <a:pt x="1225" y="2545"/>
                  <a:pt x="1225" y="2497"/>
                </a:cubicBezTo>
                <a:lnTo>
                  <a:pt x="1225" y="2226"/>
                </a:lnTo>
                <a:cubicBezTo>
                  <a:pt x="1225" y="2194"/>
                  <a:pt x="1193" y="2147"/>
                  <a:pt x="1146" y="2147"/>
                </a:cubicBezTo>
                <a:close/>
                <a:moveTo>
                  <a:pt x="1066" y="2417"/>
                </a:moveTo>
                <a:lnTo>
                  <a:pt x="955" y="2417"/>
                </a:lnTo>
                <a:lnTo>
                  <a:pt x="955" y="2306"/>
                </a:lnTo>
                <a:lnTo>
                  <a:pt x="1066" y="2306"/>
                </a:lnTo>
                <a:close/>
                <a:moveTo>
                  <a:pt x="1830" y="2147"/>
                </a:moveTo>
                <a:lnTo>
                  <a:pt x="1559" y="2147"/>
                </a:lnTo>
                <a:cubicBezTo>
                  <a:pt x="1512" y="2147"/>
                  <a:pt x="1479" y="2194"/>
                  <a:pt x="1479" y="2226"/>
                </a:cubicBezTo>
                <a:lnTo>
                  <a:pt x="1479" y="2497"/>
                </a:lnTo>
                <a:cubicBezTo>
                  <a:pt x="1479" y="2545"/>
                  <a:pt x="1512" y="2576"/>
                  <a:pt x="1559" y="2576"/>
                </a:cubicBezTo>
                <a:lnTo>
                  <a:pt x="1830" y="2576"/>
                </a:lnTo>
                <a:cubicBezTo>
                  <a:pt x="1877" y="2576"/>
                  <a:pt x="1909" y="2545"/>
                  <a:pt x="1909" y="2497"/>
                </a:cubicBezTo>
                <a:lnTo>
                  <a:pt x="1909" y="2226"/>
                </a:lnTo>
                <a:cubicBezTo>
                  <a:pt x="1909" y="2194"/>
                  <a:pt x="1877" y="2147"/>
                  <a:pt x="1830" y="2147"/>
                </a:cubicBezTo>
                <a:close/>
                <a:moveTo>
                  <a:pt x="1750" y="2417"/>
                </a:moveTo>
                <a:lnTo>
                  <a:pt x="1639" y="2417"/>
                </a:lnTo>
                <a:lnTo>
                  <a:pt x="1639" y="2306"/>
                </a:lnTo>
                <a:lnTo>
                  <a:pt x="1750" y="2306"/>
                </a:lnTo>
                <a:close/>
                <a:moveTo>
                  <a:pt x="2497" y="2147"/>
                </a:moveTo>
                <a:lnTo>
                  <a:pt x="2227" y="2147"/>
                </a:lnTo>
                <a:cubicBezTo>
                  <a:pt x="2196" y="2147"/>
                  <a:pt x="2148" y="2194"/>
                  <a:pt x="2148" y="2226"/>
                </a:cubicBezTo>
                <a:lnTo>
                  <a:pt x="2148" y="2497"/>
                </a:lnTo>
                <a:cubicBezTo>
                  <a:pt x="2148" y="2545"/>
                  <a:pt x="2196" y="2576"/>
                  <a:pt x="2227" y="2576"/>
                </a:cubicBezTo>
                <a:lnTo>
                  <a:pt x="2497" y="2576"/>
                </a:lnTo>
                <a:cubicBezTo>
                  <a:pt x="2545" y="2576"/>
                  <a:pt x="2577" y="2545"/>
                  <a:pt x="2577" y="2497"/>
                </a:cubicBezTo>
                <a:lnTo>
                  <a:pt x="2577" y="2226"/>
                </a:lnTo>
                <a:cubicBezTo>
                  <a:pt x="2577" y="2194"/>
                  <a:pt x="2545" y="2147"/>
                  <a:pt x="2497" y="2147"/>
                </a:cubicBezTo>
                <a:close/>
                <a:moveTo>
                  <a:pt x="2418" y="2417"/>
                </a:moveTo>
                <a:lnTo>
                  <a:pt x="2307" y="2417"/>
                </a:lnTo>
                <a:lnTo>
                  <a:pt x="2307" y="2306"/>
                </a:lnTo>
                <a:lnTo>
                  <a:pt x="2418" y="2306"/>
                </a:lnTo>
                <a:close/>
                <a:moveTo>
                  <a:pt x="3182" y="1749"/>
                </a:moveTo>
                <a:lnTo>
                  <a:pt x="2911" y="1749"/>
                </a:lnTo>
                <a:cubicBezTo>
                  <a:pt x="2863" y="1749"/>
                  <a:pt x="2831" y="1781"/>
                  <a:pt x="2831" y="1829"/>
                </a:cubicBezTo>
                <a:lnTo>
                  <a:pt x="2831" y="2497"/>
                </a:lnTo>
                <a:cubicBezTo>
                  <a:pt x="2831" y="2545"/>
                  <a:pt x="2863" y="2576"/>
                  <a:pt x="2911" y="2576"/>
                </a:cubicBezTo>
                <a:lnTo>
                  <a:pt x="3182" y="2576"/>
                </a:lnTo>
                <a:cubicBezTo>
                  <a:pt x="3229" y="2576"/>
                  <a:pt x="3261" y="2545"/>
                  <a:pt x="3261" y="2497"/>
                </a:cubicBezTo>
                <a:lnTo>
                  <a:pt x="3261" y="1829"/>
                </a:lnTo>
                <a:cubicBezTo>
                  <a:pt x="3261" y="1781"/>
                  <a:pt x="3229" y="1749"/>
                  <a:pt x="3182" y="1749"/>
                </a:cubicBezTo>
                <a:close/>
                <a:moveTo>
                  <a:pt x="3102" y="2417"/>
                </a:moveTo>
                <a:lnTo>
                  <a:pt x="2991" y="2417"/>
                </a:lnTo>
                <a:lnTo>
                  <a:pt x="2991" y="1908"/>
                </a:lnTo>
                <a:lnTo>
                  <a:pt x="3102" y="1908"/>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0" name="Freeform: Shape 9">
            <a:extLst>
              <a:ext uri="{FF2B5EF4-FFF2-40B4-BE49-F238E27FC236}">
                <a16:creationId xmlns:a16="http://schemas.microsoft.com/office/drawing/2014/main" id="{C1A5D009-1177-8D4C-BCFE-5C515A850D08}"/>
              </a:ext>
            </a:extLst>
          </p:cNvPr>
          <p:cNvSpPr/>
          <p:nvPr/>
        </p:nvSpPr>
        <p:spPr>
          <a:xfrm>
            <a:off x="21221640" y="6808284"/>
            <a:ext cx="1757519" cy="898559"/>
          </a:xfrm>
          <a:custGeom>
            <a:avLst/>
            <a:gdLst/>
            <a:ahLst/>
            <a:cxnLst>
              <a:cxn ang="3cd4">
                <a:pos x="hc" y="t"/>
              </a:cxn>
              <a:cxn ang="cd2">
                <a:pos x="l" y="vc"/>
              </a:cxn>
              <a:cxn ang="cd4">
                <a:pos x="hc" y="b"/>
              </a:cxn>
              <a:cxn ang="0">
                <a:pos x="r" y="vc"/>
              </a:cxn>
            </a:cxnLst>
            <a:rect l="l" t="t" r="r" b="b"/>
            <a:pathLst>
              <a:path w="4883" h="2497">
                <a:moveTo>
                  <a:pt x="605" y="541"/>
                </a:moveTo>
                <a:lnTo>
                  <a:pt x="621" y="541"/>
                </a:lnTo>
                <a:close/>
                <a:moveTo>
                  <a:pt x="859" y="827"/>
                </a:moveTo>
                <a:cubicBezTo>
                  <a:pt x="859" y="843"/>
                  <a:pt x="859" y="843"/>
                  <a:pt x="844" y="843"/>
                </a:cubicBezTo>
                <a:cubicBezTo>
                  <a:pt x="859" y="843"/>
                  <a:pt x="859" y="843"/>
                  <a:pt x="859" y="827"/>
                </a:cubicBezTo>
                <a:close/>
                <a:moveTo>
                  <a:pt x="573" y="652"/>
                </a:moveTo>
                <a:cubicBezTo>
                  <a:pt x="573" y="684"/>
                  <a:pt x="589" y="732"/>
                  <a:pt x="605" y="748"/>
                </a:cubicBezTo>
                <a:cubicBezTo>
                  <a:pt x="589" y="732"/>
                  <a:pt x="573" y="684"/>
                  <a:pt x="573" y="652"/>
                </a:cubicBezTo>
                <a:close/>
                <a:moveTo>
                  <a:pt x="844" y="843"/>
                </a:moveTo>
                <a:lnTo>
                  <a:pt x="827" y="843"/>
                </a:lnTo>
                <a:close/>
                <a:moveTo>
                  <a:pt x="796" y="843"/>
                </a:moveTo>
                <a:close/>
                <a:moveTo>
                  <a:pt x="827" y="843"/>
                </a:moveTo>
                <a:lnTo>
                  <a:pt x="812" y="843"/>
                </a:lnTo>
                <a:close/>
                <a:moveTo>
                  <a:pt x="636" y="509"/>
                </a:moveTo>
                <a:close/>
                <a:moveTo>
                  <a:pt x="589" y="605"/>
                </a:moveTo>
                <a:close/>
                <a:moveTo>
                  <a:pt x="589" y="589"/>
                </a:moveTo>
                <a:close/>
                <a:moveTo>
                  <a:pt x="589" y="573"/>
                </a:moveTo>
                <a:close/>
                <a:moveTo>
                  <a:pt x="605" y="557"/>
                </a:moveTo>
                <a:close/>
                <a:moveTo>
                  <a:pt x="653" y="493"/>
                </a:moveTo>
                <a:close/>
                <a:moveTo>
                  <a:pt x="669" y="493"/>
                </a:moveTo>
                <a:lnTo>
                  <a:pt x="669" y="478"/>
                </a:lnTo>
                <a:close/>
                <a:moveTo>
                  <a:pt x="621" y="525"/>
                </a:moveTo>
                <a:close/>
                <a:moveTo>
                  <a:pt x="573" y="636"/>
                </a:moveTo>
                <a:lnTo>
                  <a:pt x="573" y="621"/>
                </a:lnTo>
                <a:close/>
                <a:moveTo>
                  <a:pt x="684" y="478"/>
                </a:moveTo>
                <a:close/>
                <a:moveTo>
                  <a:pt x="971" y="652"/>
                </a:moveTo>
                <a:close/>
                <a:moveTo>
                  <a:pt x="971" y="700"/>
                </a:moveTo>
                <a:close/>
                <a:moveTo>
                  <a:pt x="700" y="478"/>
                </a:moveTo>
                <a:lnTo>
                  <a:pt x="700" y="461"/>
                </a:lnTo>
                <a:close/>
                <a:moveTo>
                  <a:pt x="971" y="668"/>
                </a:moveTo>
                <a:lnTo>
                  <a:pt x="971" y="684"/>
                </a:lnTo>
                <a:close/>
                <a:moveTo>
                  <a:pt x="971" y="716"/>
                </a:moveTo>
                <a:close/>
                <a:moveTo>
                  <a:pt x="971" y="732"/>
                </a:moveTo>
                <a:lnTo>
                  <a:pt x="955" y="732"/>
                </a:lnTo>
                <a:close/>
                <a:moveTo>
                  <a:pt x="875" y="827"/>
                </a:moveTo>
                <a:close/>
                <a:moveTo>
                  <a:pt x="716" y="461"/>
                </a:moveTo>
                <a:lnTo>
                  <a:pt x="732" y="461"/>
                </a:lnTo>
                <a:close/>
                <a:moveTo>
                  <a:pt x="732" y="461"/>
                </a:moveTo>
                <a:lnTo>
                  <a:pt x="748" y="461"/>
                </a:lnTo>
                <a:close/>
                <a:moveTo>
                  <a:pt x="891" y="811"/>
                </a:moveTo>
                <a:lnTo>
                  <a:pt x="891" y="827"/>
                </a:lnTo>
                <a:close/>
                <a:moveTo>
                  <a:pt x="923" y="796"/>
                </a:moveTo>
                <a:lnTo>
                  <a:pt x="907" y="796"/>
                </a:lnTo>
                <a:close/>
                <a:moveTo>
                  <a:pt x="907" y="811"/>
                </a:moveTo>
                <a:close/>
                <a:moveTo>
                  <a:pt x="748" y="461"/>
                </a:moveTo>
                <a:lnTo>
                  <a:pt x="764" y="461"/>
                </a:lnTo>
                <a:close/>
                <a:moveTo>
                  <a:pt x="939" y="764"/>
                </a:moveTo>
                <a:close/>
                <a:moveTo>
                  <a:pt x="971" y="621"/>
                </a:moveTo>
                <a:close/>
                <a:moveTo>
                  <a:pt x="955" y="748"/>
                </a:moveTo>
                <a:close/>
                <a:moveTo>
                  <a:pt x="907" y="509"/>
                </a:moveTo>
                <a:cubicBezTo>
                  <a:pt x="859" y="478"/>
                  <a:pt x="827" y="461"/>
                  <a:pt x="780" y="461"/>
                </a:cubicBezTo>
                <a:cubicBezTo>
                  <a:pt x="827" y="461"/>
                  <a:pt x="859" y="478"/>
                  <a:pt x="907" y="509"/>
                </a:cubicBezTo>
                <a:close/>
                <a:moveTo>
                  <a:pt x="939" y="779"/>
                </a:moveTo>
                <a:lnTo>
                  <a:pt x="923" y="779"/>
                </a:lnTo>
                <a:close/>
                <a:moveTo>
                  <a:pt x="971" y="621"/>
                </a:moveTo>
                <a:cubicBezTo>
                  <a:pt x="971" y="573"/>
                  <a:pt x="939" y="541"/>
                  <a:pt x="923" y="509"/>
                </a:cubicBezTo>
                <a:lnTo>
                  <a:pt x="907" y="509"/>
                </a:lnTo>
                <a:cubicBezTo>
                  <a:pt x="859" y="478"/>
                  <a:pt x="827" y="461"/>
                  <a:pt x="780" y="461"/>
                </a:cubicBezTo>
                <a:lnTo>
                  <a:pt x="764" y="461"/>
                </a:lnTo>
                <a:lnTo>
                  <a:pt x="748" y="461"/>
                </a:lnTo>
                <a:lnTo>
                  <a:pt x="732" y="461"/>
                </a:lnTo>
                <a:lnTo>
                  <a:pt x="716" y="461"/>
                </a:lnTo>
                <a:lnTo>
                  <a:pt x="700" y="461"/>
                </a:lnTo>
                <a:lnTo>
                  <a:pt x="700" y="478"/>
                </a:lnTo>
                <a:lnTo>
                  <a:pt x="684" y="478"/>
                </a:lnTo>
                <a:lnTo>
                  <a:pt x="669" y="478"/>
                </a:lnTo>
                <a:lnTo>
                  <a:pt x="669" y="493"/>
                </a:lnTo>
                <a:lnTo>
                  <a:pt x="653" y="493"/>
                </a:lnTo>
                <a:cubicBezTo>
                  <a:pt x="653" y="509"/>
                  <a:pt x="642" y="504"/>
                  <a:pt x="636" y="509"/>
                </a:cubicBezTo>
                <a:cubicBezTo>
                  <a:pt x="631" y="514"/>
                  <a:pt x="636" y="525"/>
                  <a:pt x="621" y="525"/>
                </a:cubicBezTo>
                <a:lnTo>
                  <a:pt x="621" y="541"/>
                </a:lnTo>
                <a:lnTo>
                  <a:pt x="605" y="541"/>
                </a:lnTo>
                <a:lnTo>
                  <a:pt x="605" y="557"/>
                </a:lnTo>
                <a:lnTo>
                  <a:pt x="589" y="573"/>
                </a:lnTo>
                <a:lnTo>
                  <a:pt x="589" y="589"/>
                </a:lnTo>
                <a:lnTo>
                  <a:pt x="589" y="605"/>
                </a:lnTo>
                <a:cubicBezTo>
                  <a:pt x="589" y="621"/>
                  <a:pt x="589" y="621"/>
                  <a:pt x="573" y="621"/>
                </a:cubicBezTo>
                <a:lnTo>
                  <a:pt x="573" y="636"/>
                </a:lnTo>
                <a:lnTo>
                  <a:pt x="573" y="652"/>
                </a:lnTo>
                <a:cubicBezTo>
                  <a:pt x="573" y="684"/>
                  <a:pt x="589" y="732"/>
                  <a:pt x="605" y="748"/>
                </a:cubicBezTo>
                <a:cubicBezTo>
                  <a:pt x="653" y="811"/>
                  <a:pt x="716" y="843"/>
                  <a:pt x="780" y="843"/>
                </a:cubicBezTo>
                <a:lnTo>
                  <a:pt x="796" y="843"/>
                </a:lnTo>
                <a:lnTo>
                  <a:pt x="812" y="843"/>
                </a:lnTo>
                <a:lnTo>
                  <a:pt x="827" y="843"/>
                </a:lnTo>
                <a:lnTo>
                  <a:pt x="844" y="843"/>
                </a:lnTo>
                <a:cubicBezTo>
                  <a:pt x="859" y="843"/>
                  <a:pt x="859" y="843"/>
                  <a:pt x="859" y="827"/>
                </a:cubicBezTo>
                <a:lnTo>
                  <a:pt x="875" y="827"/>
                </a:lnTo>
                <a:lnTo>
                  <a:pt x="891" y="827"/>
                </a:lnTo>
                <a:lnTo>
                  <a:pt x="891" y="811"/>
                </a:lnTo>
                <a:lnTo>
                  <a:pt x="907" y="811"/>
                </a:lnTo>
                <a:lnTo>
                  <a:pt x="907" y="796"/>
                </a:lnTo>
                <a:lnTo>
                  <a:pt x="923" y="796"/>
                </a:lnTo>
                <a:lnTo>
                  <a:pt x="923" y="779"/>
                </a:lnTo>
                <a:lnTo>
                  <a:pt x="939" y="779"/>
                </a:lnTo>
                <a:lnTo>
                  <a:pt x="939" y="764"/>
                </a:lnTo>
                <a:cubicBezTo>
                  <a:pt x="955" y="764"/>
                  <a:pt x="955" y="764"/>
                  <a:pt x="955" y="748"/>
                </a:cubicBezTo>
                <a:lnTo>
                  <a:pt x="955" y="732"/>
                </a:lnTo>
                <a:lnTo>
                  <a:pt x="971" y="732"/>
                </a:lnTo>
                <a:lnTo>
                  <a:pt x="971" y="716"/>
                </a:lnTo>
                <a:lnTo>
                  <a:pt x="971" y="700"/>
                </a:lnTo>
                <a:lnTo>
                  <a:pt x="971" y="684"/>
                </a:lnTo>
                <a:lnTo>
                  <a:pt x="971" y="668"/>
                </a:lnTo>
                <a:lnTo>
                  <a:pt x="971" y="652"/>
                </a:lnTo>
                <a:close/>
                <a:moveTo>
                  <a:pt x="4343" y="811"/>
                </a:moveTo>
                <a:close/>
                <a:moveTo>
                  <a:pt x="4231" y="875"/>
                </a:moveTo>
                <a:lnTo>
                  <a:pt x="4216" y="875"/>
                </a:lnTo>
                <a:close/>
                <a:moveTo>
                  <a:pt x="4263" y="859"/>
                </a:moveTo>
                <a:close/>
                <a:moveTo>
                  <a:pt x="4327" y="811"/>
                </a:moveTo>
                <a:lnTo>
                  <a:pt x="4327" y="827"/>
                </a:lnTo>
                <a:close/>
                <a:moveTo>
                  <a:pt x="4374" y="748"/>
                </a:moveTo>
                <a:cubicBezTo>
                  <a:pt x="4374" y="764"/>
                  <a:pt x="4374" y="764"/>
                  <a:pt x="4359" y="764"/>
                </a:cubicBezTo>
                <a:cubicBezTo>
                  <a:pt x="4374" y="764"/>
                  <a:pt x="4374" y="764"/>
                  <a:pt x="4374" y="748"/>
                </a:cubicBezTo>
                <a:close/>
                <a:moveTo>
                  <a:pt x="4359" y="796"/>
                </a:moveTo>
                <a:lnTo>
                  <a:pt x="4343" y="796"/>
                </a:lnTo>
                <a:close/>
                <a:moveTo>
                  <a:pt x="4247" y="859"/>
                </a:moveTo>
                <a:lnTo>
                  <a:pt x="4247" y="875"/>
                </a:lnTo>
                <a:close/>
                <a:moveTo>
                  <a:pt x="4359" y="779"/>
                </a:moveTo>
                <a:close/>
                <a:moveTo>
                  <a:pt x="3993" y="621"/>
                </a:moveTo>
                <a:lnTo>
                  <a:pt x="3993" y="605"/>
                </a:lnTo>
                <a:close/>
                <a:moveTo>
                  <a:pt x="4216" y="875"/>
                </a:moveTo>
                <a:lnTo>
                  <a:pt x="4199" y="875"/>
                </a:lnTo>
                <a:close/>
                <a:moveTo>
                  <a:pt x="3993" y="652"/>
                </a:moveTo>
                <a:close/>
                <a:moveTo>
                  <a:pt x="4279" y="843"/>
                </a:moveTo>
                <a:lnTo>
                  <a:pt x="4279" y="859"/>
                </a:lnTo>
                <a:close/>
                <a:moveTo>
                  <a:pt x="3993" y="636"/>
                </a:moveTo>
                <a:close/>
                <a:moveTo>
                  <a:pt x="3993" y="605"/>
                </a:moveTo>
                <a:cubicBezTo>
                  <a:pt x="4008" y="605"/>
                  <a:pt x="4003" y="594"/>
                  <a:pt x="4008" y="589"/>
                </a:cubicBezTo>
                <a:cubicBezTo>
                  <a:pt x="4003" y="594"/>
                  <a:pt x="4008" y="605"/>
                  <a:pt x="3993" y="605"/>
                </a:cubicBezTo>
                <a:close/>
                <a:moveTo>
                  <a:pt x="4295" y="843"/>
                </a:moveTo>
                <a:close/>
                <a:moveTo>
                  <a:pt x="4041" y="541"/>
                </a:moveTo>
                <a:lnTo>
                  <a:pt x="4041" y="525"/>
                </a:lnTo>
                <a:close/>
                <a:moveTo>
                  <a:pt x="4008" y="589"/>
                </a:moveTo>
                <a:lnTo>
                  <a:pt x="4008" y="573"/>
                </a:lnTo>
                <a:close/>
                <a:moveTo>
                  <a:pt x="4311" y="827"/>
                </a:moveTo>
                <a:lnTo>
                  <a:pt x="4311" y="843"/>
                </a:lnTo>
                <a:close/>
                <a:moveTo>
                  <a:pt x="3993" y="668"/>
                </a:moveTo>
                <a:cubicBezTo>
                  <a:pt x="3993" y="779"/>
                  <a:pt x="4072" y="875"/>
                  <a:pt x="4184" y="875"/>
                </a:cubicBezTo>
                <a:cubicBezTo>
                  <a:pt x="4072" y="875"/>
                  <a:pt x="3993" y="779"/>
                  <a:pt x="3993" y="668"/>
                </a:cubicBezTo>
                <a:close/>
                <a:moveTo>
                  <a:pt x="4390" y="700"/>
                </a:moveTo>
                <a:close/>
                <a:moveTo>
                  <a:pt x="4136" y="478"/>
                </a:moveTo>
                <a:lnTo>
                  <a:pt x="4152" y="478"/>
                </a:lnTo>
                <a:close/>
                <a:moveTo>
                  <a:pt x="4120" y="493"/>
                </a:moveTo>
                <a:lnTo>
                  <a:pt x="4136" y="493"/>
                </a:lnTo>
                <a:close/>
                <a:moveTo>
                  <a:pt x="4374" y="716"/>
                </a:moveTo>
                <a:lnTo>
                  <a:pt x="4374" y="732"/>
                </a:lnTo>
                <a:close/>
                <a:moveTo>
                  <a:pt x="4104" y="493"/>
                </a:moveTo>
                <a:lnTo>
                  <a:pt x="4120" y="493"/>
                </a:lnTo>
                <a:close/>
                <a:moveTo>
                  <a:pt x="4025" y="557"/>
                </a:moveTo>
                <a:lnTo>
                  <a:pt x="4041" y="541"/>
                </a:lnTo>
                <a:close/>
                <a:moveTo>
                  <a:pt x="4374" y="636"/>
                </a:moveTo>
                <a:cubicBezTo>
                  <a:pt x="4359" y="557"/>
                  <a:pt x="4279" y="478"/>
                  <a:pt x="4184" y="478"/>
                </a:cubicBezTo>
                <a:cubicBezTo>
                  <a:pt x="4279" y="478"/>
                  <a:pt x="4359" y="557"/>
                  <a:pt x="4374" y="636"/>
                </a:cubicBezTo>
                <a:close/>
                <a:moveTo>
                  <a:pt x="4168" y="478"/>
                </a:moveTo>
                <a:close/>
                <a:moveTo>
                  <a:pt x="4374" y="636"/>
                </a:moveTo>
                <a:cubicBezTo>
                  <a:pt x="4374" y="652"/>
                  <a:pt x="4385" y="657"/>
                  <a:pt x="4390" y="668"/>
                </a:cubicBezTo>
                <a:cubicBezTo>
                  <a:pt x="4385" y="657"/>
                  <a:pt x="4374" y="652"/>
                  <a:pt x="4374" y="636"/>
                </a:cubicBezTo>
                <a:close/>
                <a:moveTo>
                  <a:pt x="4025" y="573"/>
                </a:moveTo>
                <a:lnTo>
                  <a:pt x="4025" y="557"/>
                </a:lnTo>
                <a:close/>
                <a:moveTo>
                  <a:pt x="4088" y="509"/>
                </a:moveTo>
                <a:lnTo>
                  <a:pt x="4088" y="493"/>
                </a:lnTo>
                <a:close/>
                <a:moveTo>
                  <a:pt x="4072" y="509"/>
                </a:moveTo>
                <a:close/>
                <a:moveTo>
                  <a:pt x="4056" y="525"/>
                </a:moveTo>
                <a:close/>
                <a:moveTo>
                  <a:pt x="4374" y="732"/>
                </a:moveTo>
                <a:lnTo>
                  <a:pt x="4374" y="748"/>
                </a:lnTo>
                <a:close/>
                <a:moveTo>
                  <a:pt x="4374" y="636"/>
                </a:moveTo>
                <a:cubicBezTo>
                  <a:pt x="4359" y="557"/>
                  <a:pt x="4279" y="478"/>
                  <a:pt x="4184" y="478"/>
                </a:cubicBezTo>
                <a:lnTo>
                  <a:pt x="4168" y="478"/>
                </a:lnTo>
                <a:lnTo>
                  <a:pt x="4152" y="478"/>
                </a:lnTo>
                <a:lnTo>
                  <a:pt x="4136" y="478"/>
                </a:lnTo>
                <a:lnTo>
                  <a:pt x="4136" y="493"/>
                </a:lnTo>
                <a:lnTo>
                  <a:pt x="4120" y="493"/>
                </a:lnTo>
                <a:lnTo>
                  <a:pt x="4104" y="493"/>
                </a:lnTo>
                <a:lnTo>
                  <a:pt x="4088" y="493"/>
                </a:lnTo>
                <a:lnTo>
                  <a:pt x="4088" y="509"/>
                </a:lnTo>
                <a:lnTo>
                  <a:pt x="4072" y="509"/>
                </a:lnTo>
                <a:cubicBezTo>
                  <a:pt x="4067" y="514"/>
                  <a:pt x="4072" y="525"/>
                  <a:pt x="4056" y="525"/>
                </a:cubicBezTo>
                <a:lnTo>
                  <a:pt x="4041" y="525"/>
                </a:lnTo>
                <a:lnTo>
                  <a:pt x="4041" y="541"/>
                </a:lnTo>
                <a:lnTo>
                  <a:pt x="4025" y="557"/>
                </a:lnTo>
                <a:lnTo>
                  <a:pt x="4025" y="573"/>
                </a:lnTo>
                <a:lnTo>
                  <a:pt x="4008" y="573"/>
                </a:lnTo>
                <a:lnTo>
                  <a:pt x="4008" y="589"/>
                </a:lnTo>
                <a:cubicBezTo>
                  <a:pt x="4003" y="594"/>
                  <a:pt x="4008" y="605"/>
                  <a:pt x="3993" y="605"/>
                </a:cubicBezTo>
                <a:lnTo>
                  <a:pt x="3993" y="621"/>
                </a:lnTo>
                <a:lnTo>
                  <a:pt x="3993" y="636"/>
                </a:lnTo>
                <a:lnTo>
                  <a:pt x="3993" y="652"/>
                </a:lnTo>
                <a:lnTo>
                  <a:pt x="3993" y="668"/>
                </a:lnTo>
                <a:cubicBezTo>
                  <a:pt x="3993" y="779"/>
                  <a:pt x="4072" y="875"/>
                  <a:pt x="4184" y="875"/>
                </a:cubicBezTo>
                <a:lnTo>
                  <a:pt x="4199" y="875"/>
                </a:lnTo>
                <a:lnTo>
                  <a:pt x="4216" y="875"/>
                </a:lnTo>
                <a:lnTo>
                  <a:pt x="4231" y="875"/>
                </a:lnTo>
                <a:lnTo>
                  <a:pt x="4247" y="875"/>
                </a:lnTo>
                <a:lnTo>
                  <a:pt x="4247" y="859"/>
                </a:lnTo>
                <a:lnTo>
                  <a:pt x="4263" y="859"/>
                </a:lnTo>
                <a:lnTo>
                  <a:pt x="4279" y="859"/>
                </a:lnTo>
                <a:lnTo>
                  <a:pt x="4279" y="843"/>
                </a:lnTo>
                <a:lnTo>
                  <a:pt x="4295" y="843"/>
                </a:lnTo>
                <a:lnTo>
                  <a:pt x="4311" y="843"/>
                </a:lnTo>
                <a:lnTo>
                  <a:pt x="4311" y="827"/>
                </a:lnTo>
                <a:lnTo>
                  <a:pt x="4327" y="827"/>
                </a:lnTo>
                <a:lnTo>
                  <a:pt x="4327" y="811"/>
                </a:lnTo>
                <a:lnTo>
                  <a:pt x="4343" y="811"/>
                </a:lnTo>
                <a:lnTo>
                  <a:pt x="4343" y="796"/>
                </a:lnTo>
                <a:lnTo>
                  <a:pt x="4359" y="796"/>
                </a:lnTo>
                <a:lnTo>
                  <a:pt x="4359" y="779"/>
                </a:lnTo>
                <a:lnTo>
                  <a:pt x="4359" y="764"/>
                </a:lnTo>
                <a:cubicBezTo>
                  <a:pt x="4374" y="764"/>
                  <a:pt x="4374" y="764"/>
                  <a:pt x="4374" y="748"/>
                </a:cubicBezTo>
                <a:lnTo>
                  <a:pt x="4374" y="732"/>
                </a:lnTo>
                <a:lnTo>
                  <a:pt x="4374" y="716"/>
                </a:lnTo>
                <a:lnTo>
                  <a:pt x="4390" y="700"/>
                </a:lnTo>
                <a:lnTo>
                  <a:pt x="4390" y="684"/>
                </a:lnTo>
                <a:lnTo>
                  <a:pt x="4390" y="668"/>
                </a:lnTo>
                <a:cubicBezTo>
                  <a:pt x="4385" y="657"/>
                  <a:pt x="4374" y="652"/>
                  <a:pt x="4374" y="636"/>
                </a:cubicBezTo>
                <a:close/>
                <a:moveTo>
                  <a:pt x="955" y="1925"/>
                </a:moveTo>
                <a:close/>
                <a:moveTo>
                  <a:pt x="971" y="1909"/>
                </a:moveTo>
                <a:lnTo>
                  <a:pt x="955" y="1909"/>
                </a:lnTo>
                <a:close/>
                <a:moveTo>
                  <a:pt x="939" y="1941"/>
                </a:moveTo>
                <a:close/>
                <a:moveTo>
                  <a:pt x="971" y="1893"/>
                </a:moveTo>
                <a:close/>
                <a:moveTo>
                  <a:pt x="939" y="1957"/>
                </a:moveTo>
                <a:lnTo>
                  <a:pt x="923" y="1957"/>
                </a:lnTo>
                <a:close/>
                <a:moveTo>
                  <a:pt x="971" y="1861"/>
                </a:moveTo>
                <a:lnTo>
                  <a:pt x="971" y="1877"/>
                </a:lnTo>
                <a:close/>
                <a:moveTo>
                  <a:pt x="971" y="1845"/>
                </a:moveTo>
                <a:lnTo>
                  <a:pt x="971" y="1861"/>
                </a:lnTo>
                <a:close/>
                <a:moveTo>
                  <a:pt x="971" y="1829"/>
                </a:moveTo>
                <a:close/>
                <a:moveTo>
                  <a:pt x="605" y="1718"/>
                </a:moveTo>
                <a:lnTo>
                  <a:pt x="621" y="1702"/>
                </a:lnTo>
                <a:close/>
                <a:moveTo>
                  <a:pt x="669" y="1670"/>
                </a:moveTo>
                <a:lnTo>
                  <a:pt x="669" y="1654"/>
                </a:lnTo>
                <a:close/>
                <a:moveTo>
                  <a:pt x="684" y="1654"/>
                </a:moveTo>
                <a:close/>
                <a:moveTo>
                  <a:pt x="621" y="1702"/>
                </a:moveTo>
                <a:lnTo>
                  <a:pt x="621" y="1686"/>
                </a:lnTo>
                <a:close/>
                <a:moveTo>
                  <a:pt x="923" y="1972"/>
                </a:moveTo>
                <a:lnTo>
                  <a:pt x="907" y="1972"/>
                </a:lnTo>
                <a:close/>
                <a:moveTo>
                  <a:pt x="636" y="1686"/>
                </a:moveTo>
                <a:close/>
                <a:moveTo>
                  <a:pt x="653" y="1670"/>
                </a:moveTo>
                <a:close/>
                <a:moveTo>
                  <a:pt x="748" y="1639"/>
                </a:moveTo>
                <a:lnTo>
                  <a:pt x="764" y="1623"/>
                </a:lnTo>
                <a:close/>
                <a:moveTo>
                  <a:pt x="732" y="1639"/>
                </a:moveTo>
                <a:lnTo>
                  <a:pt x="748" y="1639"/>
                </a:lnTo>
                <a:close/>
                <a:moveTo>
                  <a:pt x="573" y="1829"/>
                </a:moveTo>
                <a:cubicBezTo>
                  <a:pt x="573" y="1893"/>
                  <a:pt x="605" y="1941"/>
                  <a:pt x="653" y="1972"/>
                </a:cubicBezTo>
                <a:cubicBezTo>
                  <a:pt x="605" y="1941"/>
                  <a:pt x="573" y="1893"/>
                  <a:pt x="573" y="1829"/>
                </a:cubicBezTo>
                <a:close/>
                <a:moveTo>
                  <a:pt x="716" y="1639"/>
                </a:moveTo>
                <a:lnTo>
                  <a:pt x="732" y="1639"/>
                </a:lnTo>
                <a:close/>
                <a:moveTo>
                  <a:pt x="971" y="1797"/>
                </a:moveTo>
                <a:cubicBezTo>
                  <a:pt x="955" y="1702"/>
                  <a:pt x="875" y="1639"/>
                  <a:pt x="780" y="1623"/>
                </a:cubicBezTo>
                <a:cubicBezTo>
                  <a:pt x="875" y="1639"/>
                  <a:pt x="955" y="1702"/>
                  <a:pt x="971" y="1797"/>
                </a:cubicBezTo>
                <a:close/>
                <a:moveTo>
                  <a:pt x="700" y="1639"/>
                </a:moveTo>
                <a:close/>
                <a:moveTo>
                  <a:pt x="875" y="2005"/>
                </a:moveTo>
                <a:close/>
                <a:moveTo>
                  <a:pt x="859" y="2005"/>
                </a:moveTo>
                <a:lnTo>
                  <a:pt x="844" y="2005"/>
                </a:lnTo>
                <a:close/>
                <a:moveTo>
                  <a:pt x="844" y="2020"/>
                </a:moveTo>
                <a:lnTo>
                  <a:pt x="827" y="2020"/>
                </a:lnTo>
                <a:close/>
                <a:moveTo>
                  <a:pt x="891" y="1988"/>
                </a:moveTo>
                <a:close/>
                <a:moveTo>
                  <a:pt x="907" y="1972"/>
                </a:moveTo>
                <a:lnTo>
                  <a:pt x="907" y="1988"/>
                </a:lnTo>
                <a:close/>
                <a:moveTo>
                  <a:pt x="827" y="2020"/>
                </a:moveTo>
                <a:lnTo>
                  <a:pt x="812" y="2020"/>
                </a:lnTo>
                <a:close/>
                <a:moveTo>
                  <a:pt x="589" y="1782"/>
                </a:moveTo>
                <a:close/>
                <a:moveTo>
                  <a:pt x="589" y="1766"/>
                </a:moveTo>
                <a:close/>
                <a:moveTo>
                  <a:pt x="589" y="1750"/>
                </a:moveTo>
                <a:lnTo>
                  <a:pt x="605" y="1734"/>
                </a:lnTo>
                <a:close/>
                <a:moveTo>
                  <a:pt x="605" y="1734"/>
                </a:moveTo>
                <a:lnTo>
                  <a:pt x="605" y="1718"/>
                </a:lnTo>
                <a:close/>
                <a:moveTo>
                  <a:pt x="796" y="2020"/>
                </a:moveTo>
                <a:close/>
                <a:moveTo>
                  <a:pt x="573" y="1797"/>
                </a:moveTo>
                <a:close/>
                <a:moveTo>
                  <a:pt x="971" y="1797"/>
                </a:moveTo>
                <a:cubicBezTo>
                  <a:pt x="955" y="1702"/>
                  <a:pt x="875" y="1639"/>
                  <a:pt x="780" y="1623"/>
                </a:cubicBezTo>
                <a:lnTo>
                  <a:pt x="764" y="1623"/>
                </a:lnTo>
                <a:lnTo>
                  <a:pt x="748" y="1639"/>
                </a:lnTo>
                <a:lnTo>
                  <a:pt x="732" y="1639"/>
                </a:lnTo>
                <a:lnTo>
                  <a:pt x="716" y="1639"/>
                </a:lnTo>
                <a:lnTo>
                  <a:pt x="700" y="1639"/>
                </a:lnTo>
                <a:lnTo>
                  <a:pt x="684" y="1654"/>
                </a:lnTo>
                <a:lnTo>
                  <a:pt x="669" y="1654"/>
                </a:lnTo>
                <a:lnTo>
                  <a:pt x="669" y="1670"/>
                </a:lnTo>
                <a:lnTo>
                  <a:pt x="653" y="1670"/>
                </a:lnTo>
                <a:cubicBezTo>
                  <a:pt x="647" y="1675"/>
                  <a:pt x="636" y="1670"/>
                  <a:pt x="636" y="1686"/>
                </a:cubicBezTo>
                <a:lnTo>
                  <a:pt x="621" y="1686"/>
                </a:lnTo>
                <a:lnTo>
                  <a:pt x="621" y="1702"/>
                </a:lnTo>
                <a:lnTo>
                  <a:pt x="605" y="1718"/>
                </a:lnTo>
                <a:lnTo>
                  <a:pt x="605" y="1734"/>
                </a:lnTo>
                <a:lnTo>
                  <a:pt x="589" y="1750"/>
                </a:lnTo>
                <a:lnTo>
                  <a:pt x="589" y="1766"/>
                </a:lnTo>
                <a:lnTo>
                  <a:pt x="589" y="1782"/>
                </a:lnTo>
                <a:cubicBezTo>
                  <a:pt x="589" y="1797"/>
                  <a:pt x="589" y="1797"/>
                  <a:pt x="573" y="1797"/>
                </a:cubicBezTo>
                <a:lnTo>
                  <a:pt x="573" y="1829"/>
                </a:lnTo>
                <a:cubicBezTo>
                  <a:pt x="573" y="1893"/>
                  <a:pt x="605" y="1941"/>
                  <a:pt x="653" y="1972"/>
                </a:cubicBezTo>
                <a:cubicBezTo>
                  <a:pt x="684" y="2005"/>
                  <a:pt x="732" y="2020"/>
                  <a:pt x="780" y="2020"/>
                </a:cubicBezTo>
                <a:lnTo>
                  <a:pt x="796" y="2020"/>
                </a:lnTo>
                <a:lnTo>
                  <a:pt x="812" y="2020"/>
                </a:lnTo>
                <a:lnTo>
                  <a:pt x="827" y="2020"/>
                </a:lnTo>
                <a:lnTo>
                  <a:pt x="844" y="2020"/>
                </a:lnTo>
                <a:lnTo>
                  <a:pt x="844" y="2005"/>
                </a:lnTo>
                <a:lnTo>
                  <a:pt x="859" y="2005"/>
                </a:lnTo>
                <a:lnTo>
                  <a:pt x="875" y="2005"/>
                </a:lnTo>
                <a:lnTo>
                  <a:pt x="891" y="1988"/>
                </a:lnTo>
                <a:lnTo>
                  <a:pt x="907" y="1988"/>
                </a:lnTo>
                <a:lnTo>
                  <a:pt x="907" y="1972"/>
                </a:lnTo>
                <a:lnTo>
                  <a:pt x="923" y="1972"/>
                </a:lnTo>
                <a:lnTo>
                  <a:pt x="923" y="1957"/>
                </a:lnTo>
                <a:lnTo>
                  <a:pt x="939" y="1957"/>
                </a:lnTo>
                <a:lnTo>
                  <a:pt x="939" y="1941"/>
                </a:lnTo>
                <a:cubicBezTo>
                  <a:pt x="955" y="1941"/>
                  <a:pt x="950" y="1930"/>
                  <a:pt x="955" y="1925"/>
                </a:cubicBezTo>
                <a:lnTo>
                  <a:pt x="955" y="1909"/>
                </a:lnTo>
                <a:lnTo>
                  <a:pt x="971" y="1909"/>
                </a:lnTo>
                <a:lnTo>
                  <a:pt x="971" y="1893"/>
                </a:lnTo>
                <a:lnTo>
                  <a:pt x="971" y="1877"/>
                </a:lnTo>
                <a:lnTo>
                  <a:pt x="971" y="1861"/>
                </a:lnTo>
                <a:lnTo>
                  <a:pt x="971" y="1845"/>
                </a:lnTo>
                <a:lnTo>
                  <a:pt x="971" y="1829"/>
                </a:lnTo>
                <a:close/>
                <a:moveTo>
                  <a:pt x="4025" y="1718"/>
                </a:moveTo>
                <a:lnTo>
                  <a:pt x="4041" y="1718"/>
                </a:lnTo>
                <a:close/>
                <a:moveTo>
                  <a:pt x="4216" y="2052"/>
                </a:moveTo>
                <a:lnTo>
                  <a:pt x="4199" y="2052"/>
                </a:lnTo>
                <a:close/>
                <a:moveTo>
                  <a:pt x="4327" y="1988"/>
                </a:moveTo>
                <a:cubicBezTo>
                  <a:pt x="4343" y="1988"/>
                  <a:pt x="4338" y="1977"/>
                  <a:pt x="4343" y="1972"/>
                </a:cubicBezTo>
                <a:cubicBezTo>
                  <a:pt x="4338" y="1977"/>
                  <a:pt x="4343" y="1988"/>
                  <a:pt x="4327" y="1988"/>
                </a:cubicBezTo>
                <a:close/>
                <a:moveTo>
                  <a:pt x="3993" y="1814"/>
                </a:moveTo>
                <a:lnTo>
                  <a:pt x="3993" y="1797"/>
                </a:lnTo>
                <a:close/>
                <a:moveTo>
                  <a:pt x="3993" y="1797"/>
                </a:moveTo>
                <a:lnTo>
                  <a:pt x="3993" y="1782"/>
                </a:lnTo>
                <a:close/>
                <a:moveTo>
                  <a:pt x="4025" y="1734"/>
                </a:moveTo>
                <a:close/>
                <a:moveTo>
                  <a:pt x="3993" y="1829"/>
                </a:moveTo>
                <a:lnTo>
                  <a:pt x="3993" y="1814"/>
                </a:lnTo>
                <a:close/>
                <a:moveTo>
                  <a:pt x="3993" y="1845"/>
                </a:moveTo>
                <a:close/>
                <a:moveTo>
                  <a:pt x="4231" y="2036"/>
                </a:moveTo>
                <a:cubicBezTo>
                  <a:pt x="4231" y="2052"/>
                  <a:pt x="4221" y="2047"/>
                  <a:pt x="4216" y="2052"/>
                </a:cubicBezTo>
                <a:cubicBezTo>
                  <a:pt x="4221" y="2047"/>
                  <a:pt x="4231" y="2052"/>
                  <a:pt x="4231" y="2036"/>
                </a:cubicBezTo>
                <a:close/>
                <a:moveTo>
                  <a:pt x="4056" y="1702"/>
                </a:moveTo>
                <a:lnTo>
                  <a:pt x="4056" y="1686"/>
                </a:lnTo>
                <a:close/>
                <a:moveTo>
                  <a:pt x="4072" y="1686"/>
                </a:moveTo>
                <a:close/>
                <a:moveTo>
                  <a:pt x="4008" y="1750"/>
                </a:moveTo>
                <a:close/>
                <a:moveTo>
                  <a:pt x="4359" y="1941"/>
                </a:moveTo>
                <a:lnTo>
                  <a:pt x="4359" y="1957"/>
                </a:lnTo>
                <a:close/>
                <a:moveTo>
                  <a:pt x="4374" y="1925"/>
                </a:moveTo>
                <a:cubicBezTo>
                  <a:pt x="4369" y="1930"/>
                  <a:pt x="4374" y="1941"/>
                  <a:pt x="4359" y="1941"/>
                </a:cubicBezTo>
                <a:cubicBezTo>
                  <a:pt x="4374" y="1941"/>
                  <a:pt x="4369" y="1930"/>
                  <a:pt x="4374" y="1925"/>
                </a:cubicBezTo>
                <a:close/>
                <a:moveTo>
                  <a:pt x="4041" y="1718"/>
                </a:moveTo>
                <a:cubicBezTo>
                  <a:pt x="4041" y="1702"/>
                  <a:pt x="4041" y="1702"/>
                  <a:pt x="4056" y="1702"/>
                </a:cubicBezTo>
                <a:cubicBezTo>
                  <a:pt x="4041" y="1702"/>
                  <a:pt x="4041" y="1702"/>
                  <a:pt x="4041" y="1718"/>
                </a:cubicBezTo>
                <a:close/>
                <a:moveTo>
                  <a:pt x="4008" y="1925"/>
                </a:moveTo>
                <a:cubicBezTo>
                  <a:pt x="4041" y="2005"/>
                  <a:pt x="4104" y="2052"/>
                  <a:pt x="4184" y="2052"/>
                </a:cubicBezTo>
                <a:cubicBezTo>
                  <a:pt x="4104" y="2052"/>
                  <a:pt x="4041" y="2005"/>
                  <a:pt x="4008" y="1925"/>
                </a:cubicBezTo>
                <a:close/>
                <a:moveTo>
                  <a:pt x="4359" y="1957"/>
                </a:moveTo>
                <a:cubicBezTo>
                  <a:pt x="4359" y="1972"/>
                  <a:pt x="4348" y="1967"/>
                  <a:pt x="4343" y="1972"/>
                </a:cubicBezTo>
                <a:cubicBezTo>
                  <a:pt x="4348" y="1967"/>
                  <a:pt x="4359" y="1972"/>
                  <a:pt x="4359" y="1957"/>
                </a:cubicBezTo>
                <a:close/>
                <a:moveTo>
                  <a:pt x="3993" y="1766"/>
                </a:moveTo>
                <a:lnTo>
                  <a:pt x="4008" y="1766"/>
                </a:lnTo>
                <a:close/>
                <a:moveTo>
                  <a:pt x="4374" y="1909"/>
                </a:moveTo>
                <a:lnTo>
                  <a:pt x="4374" y="1925"/>
                </a:lnTo>
                <a:close/>
                <a:moveTo>
                  <a:pt x="4279" y="2020"/>
                </a:moveTo>
                <a:lnTo>
                  <a:pt x="4279" y="2036"/>
                </a:lnTo>
                <a:close/>
                <a:moveTo>
                  <a:pt x="4136" y="1654"/>
                </a:moveTo>
                <a:lnTo>
                  <a:pt x="4152" y="1654"/>
                </a:lnTo>
                <a:close/>
                <a:moveTo>
                  <a:pt x="4120" y="1670"/>
                </a:moveTo>
                <a:cubicBezTo>
                  <a:pt x="4120" y="1654"/>
                  <a:pt x="4131" y="1659"/>
                  <a:pt x="4136" y="1654"/>
                </a:cubicBezTo>
                <a:cubicBezTo>
                  <a:pt x="4131" y="1659"/>
                  <a:pt x="4120" y="1654"/>
                  <a:pt x="4120" y="1670"/>
                </a:cubicBezTo>
                <a:close/>
                <a:moveTo>
                  <a:pt x="4104" y="1670"/>
                </a:moveTo>
                <a:lnTo>
                  <a:pt x="4120" y="1670"/>
                </a:lnTo>
                <a:close/>
                <a:moveTo>
                  <a:pt x="4168" y="1654"/>
                </a:moveTo>
                <a:close/>
                <a:moveTo>
                  <a:pt x="4374" y="1829"/>
                </a:moveTo>
                <a:cubicBezTo>
                  <a:pt x="4379" y="1834"/>
                  <a:pt x="4390" y="1829"/>
                  <a:pt x="4390" y="1845"/>
                </a:cubicBezTo>
                <a:cubicBezTo>
                  <a:pt x="4390" y="1829"/>
                  <a:pt x="4379" y="1834"/>
                  <a:pt x="4374" y="1829"/>
                </a:cubicBezTo>
                <a:close/>
                <a:moveTo>
                  <a:pt x="4374" y="1893"/>
                </a:moveTo>
                <a:close/>
                <a:moveTo>
                  <a:pt x="4390" y="1877"/>
                </a:moveTo>
                <a:close/>
                <a:moveTo>
                  <a:pt x="4327" y="1988"/>
                </a:moveTo>
                <a:lnTo>
                  <a:pt x="4327" y="2005"/>
                </a:lnTo>
                <a:close/>
                <a:moveTo>
                  <a:pt x="4295" y="2020"/>
                </a:moveTo>
                <a:close/>
                <a:moveTo>
                  <a:pt x="4263" y="2036"/>
                </a:moveTo>
                <a:close/>
                <a:moveTo>
                  <a:pt x="4088" y="1670"/>
                </a:moveTo>
                <a:close/>
                <a:moveTo>
                  <a:pt x="4311" y="2005"/>
                </a:moveTo>
                <a:close/>
                <a:moveTo>
                  <a:pt x="4247" y="2036"/>
                </a:moveTo>
                <a:lnTo>
                  <a:pt x="4231" y="2036"/>
                </a:lnTo>
                <a:close/>
                <a:moveTo>
                  <a:pt x="4343" y="1972"/>
                </a:moveTo>
                <a:cubicBezTo>
                  <a:pt x="4348" y="1967"/>
                  <a:pt x="4359" y="1972"/>
                  <a:pt x="4359" y="1957"/>
                </a:cubicBezTo>
                <a:lnTo>
                  <a:pt x="4359" y="1941"/>
                </a:lnTo>
                <a:cubicBezTo>
                  <a:pt x="4374" y="1941"/>
                  <a:pt x="4369" y="1930"/>
                  <a:pt x="4374" y="1925"/>
                </a:cubicBezTo>
                <a:lnTo>
                  <a:pt x="4374" y="1909"/>
                </a:lnTo>
                <a:lnTo>
                  <a:pt x="4374" y="1893"/>
                </a:lnTo>
                <a:lnTo>
                  <a:pt x="4390" y="1877"/>
                </a:lnTo>
                <a:lnTo>
                  <a:pt x="4390" y="1845"/>
                </a:lnTo>
                <a:cubicBezTo>
                  <a:pt x="4390" y="1829"/>
                  <a:pt x="4379" y="1834"/>
                  <a:pt x="4374" y="1829"/>
                </a:cubicBezTo>
                <a:cubicBezTo>
                  <a:pt x="4359" y="1734"/>
                  <a:pt x="4279" y="1654"/>
                  <a:pt x="4184" y="1654"/>
                </a:cubicBezTo>
                <a:lnTo>
                  <a:pt x="4168" y="1654"/>
                </a:lnTo>
                <a:lnTo>
                  <a:pt x="4152" y="1654"/>
                </a:lnTo>
                <a:lnTo>
                  <a:pt x="4136" y="1654"/>
                </a:lnTo>
                <a:cubicBezTo>
                  <a:pt x="4131" y="1659"/>
                  <a:pt x="4120" y="1654"/>
                  <a:pt x="4120" y="1670"/>
                </a:cubicBezTo>
                <a:lnTo>
                  <a:pt x="4104" y="1670"/>
                </a:lnTo>
                <a:lnTo>
                  <a:pt x="4088" y="1670"/>
                </a:lnTo>
                <a:cubicBezTo>
                  <a:pt x="4088" y="1686"/>
                  <a:pt x="4088" y="1686"/>
                  <a:pt x="4072" y="1686"/>
                </a:cubicBezTo>
                <a:lnTo>
                  <a:pt x="4056" y="1686"/>
                </a:lnTo>
                <a:lnTo>
                  <a:pt x="4056" y="1702"/>
                </a:lnTo>
                <a:cubicBezTo>
                  <a:pt x="4041" y="1702"/>
                  <a:pt x="4041" y="1702"/>
                  <a:pt x="4041" y="1718"/>
                </a:cubicBezTo>
                <a:lnTo>
                  <a:pt x="4025" y="1718"/>
                </a:lnTo>
                <a:lnTo>
                  <a:pt x="4025" y="1734"/>
                </a:lnTo>
                <a:lnTo>
                  <a:pt x="4008" y="1750"/>
                </a:lnTo>
                <a:lnTo>
                  <a:pt x="4008" y="1766"/>
                </a:lnTo>
                <a:lnTo>
                  <a:pt x="3993" y="1766"/>
                </a:lnTo>
                <a:lnTo>
                  <a:pt x="3993" y="1782"/>
                </a:lnTo>
                <a:lnTo>
                  <a:pt x="3993" y="1797"/>
                </a:lnTo>
                <a:lnTo>
                  <a:pt x="3993" y="1814"/>
                </a:lnTo>
                <a:lnTo>
                  <a:pt x="3993" y="1829"/>
                </a:lnTo>
                <a:lnTo>
                  <a:pt x="3993" y="1845"/>
                </a:lnTo>
                <a:cubicBezTo>
                  <a:pt x="3993" y="1877"/>
                  <a:pt x="3993" y="1909"/>
                  <a:pt x="4008" y="1925"/>
                </a:cubicBezTo>
                <a:cubicBezTo>
                  <a:pt x="4041" y="2005"/>
                  <a:pt x="4104" y="2052"/>
                  <a:pt x="4184" y="2052"/>
                </a:cubicBezTo>
                <a:lnTo>
                  <a:pt x="4199" y="2052"/>
                </a:lnTo>
                <a:lnTo>
                  <a:pt x="4216" y="2052"/>
                </a:lnTo>
                <a:cubicBezTo>
                  <a:pt x="4221" y="2047"/>
                  <a:pt x="4231" y="2052"/>
                  <a:pt x="4231" y="2036"/>
                </a:cubicBezTo>
                <a:lnTo>
                  <a:pt x="4247" y="2036"/>
                </a:lnTo>
                <a:lnTo>
                  <a:pt x="4263" y="2036"/>
                </a:lnTo>
                <a:lnTo>
                  <a:pt x="4279" y="2036"/>
                </a:lnTo>
                <a:lnTo>
                  <a:pt x="4279" y="2020"/>
                </a:lnTo>
                <a:lnTo>
                  <a:pt x="4295" y="2020"/>
                </a:lnTo>
                <a:lnTo>
                  <a:pt x="4311" y="2005"/>
                </a:lnTo>
                <a:lnTo>
                  <a:pt x="4327" y="2005"/>
                </a:lnTo>
                <a:lnTo>
                  <a:pt x="4327" y="1988"/>
                </a:lnTo>
                <a:cubicBezTo>
                  <a:pt x="4343" y="1988"/>
                  <a:pt x="4338" y="1977"/>
                  <a:pt x="4343" y="1972"/>
                </a:cubicBezTo>
                <a:close/>
                <a:moveTo>
                  <a:pt x="2450" y="382"/>
                </a:moveTo>
                <a:cubicBezTo>
                  <a:pt x="2291" y="366"/>
                  <a:pt x="2132" y="446"/>
                  <a:pt x="2005" y="573"/>
                </a:cubicBezTo>
                <a:cubicBezTo>
                  <a:pt x="1845" y="732"/>
                  <a:pt x="1750" y="987"/>
                  <a:pt x="1766" y="1241"/>
                </a:cubicBezTo>
                <a:cubicBezTo>
                  <a:pt x="1766" y="1734"/>
                  <a:pt x="2100" y="2115"/>
                  <a:pt x="2482" y="2132"/>
                </a:cubicBezTo>
                <a:lnTo>
                  <a:pt x="2498" y="2132"/>
                </a:lnTo>
                <a:cubicBezTo>
                  <a:pt x="2657" y="2132"/>
                  <a:pt x="2816" y="2052"/>
                  <a:pt x="2927" y="1941"/>
                </a:cubicBezTo>
                <a:cubicBezTo>
                  <a:pt x="3102" y="1766"/>
                  <a:pt x="3181" y="1527"/>
                  <a:pt x="3181" y="1257"/>
                </a:cubicBezTo>
                <a:cubicBezTo>
                  <a:pt x="3166" y="779"/>
                  <a:pt x="2847" y="382"/>
                  <a:pt x="2450" y="382"/>
                </a:cubicBezTo>
                <a:close/>
                <a:moveTo>
                  <a:pt x="2816" y="1829"/>
                </a:moveTo>
                <a:cubicBezTo>
                  <a:pt x="2720" y="1925"/>
                  <a:pt x="2609" y="1972"/>
                  <a:pt x="2482" y="1972"/>
                </a:cubicBezTo>
                <a:cubicBezTo>
                  <a:pt x="2180" y="1972"/>
                  <a:pt x="1925" y="1639"/>
                  <a:pt x="1925" y="1241"/>
                </a:cubicBezTo>
                <a:cubicBezTo>
                  <a:pt x="1909" y="1018"/>
                  <a:pt x="1989" y="811"/>
                  <a:pt x="2116" y="684"/>
                </a:cubicBezTo>
                <a:cubicBezTo>
                  <a:pt x="2211" y="589"/>
                  <a:pt x="2323" y="541"/>
                  <a:pt x="2450" y="541"/>
                </a:cubicBezTo>
                <a:cubicBezTo>
                  <a:pt x="2768" y="541"/>
                  <a:pt x="3023" y="859"/>
                  <a:pt x="3023" y="1257"/>
                </a:cubicBezTo>
                <a:cubicBezTo>
                  <a:pt x="3023" y="1479"/>
                  <a:pt x="2959" y="1686"/>
                  <a:pt x="2816" y="1829"/>
                </a:cubicBezTo>
                <a:close/>
                <a:moveTo>
                  <a:pt x="4804" y="16"/>
                </a:moveTo>
                <a:lnTo>
                  <a:pt x="80" y="0"/>
                </a:lnTo>
                <a:cubicBezTo>
                  <a:pt x="48" y="0"/>
                  <a:pt x="32" y="16"/>
                  <a:pt x="16" y="32"/>
                </a:cubicBezTo>
                <a:cubicBezTo>
                  <a:pt x="0" y="48"/>
                  <a:pt x="0" y="64"/>
                  <a:pt x="0" y="80"/>
                </a:cubicBezTo>
                <a:lnTo>
                  <a:pt x="0" y="2418"/>
                </a:lnTo>
                <a:cubicBezTo>
                  <a:pt x="0" y="2450"/>
                  <a:pt x="32" y="2497"/>
                  <a:pt x="80" y="2497"/>
                </a:cubicBezTo>
                <a:lnTo>
                  <a:pt x="4804" y="2497"/>
                </a:lnTo>
                <a:cubicBezTo>
                  <a:pt x="4820" y="2497"/>
                  <a:pt x="4852" y="2481"/>
                  <a:pt x="4852" y="2466"/>
                </a:cubicBezTo>
                <a:cubicBezTo>
                  <a:pt x="4868" y="2466"/>
                  <a:pt x="4883" y="2434"/>
                  <a:pt x="4883" y="2418"/>
                </a:cubicBezTo>
                <a:lnTo>
                  <a:pt x="4883" y="96"/>
                </a:lnTo>
                <a:cubicBezTo>
                  <a:pt x="4883" y="48"/>
                  <a:pt x="4852" y="16"/>
                  <a:pt x="4804" y="16"/>
                </a:cubicBezTo>
                <a:close/>
                <a:moveTo>
                  <a:pt x="160" y="2338"/>
                </a:moveTo>
                <a:lnTo>
                  <a:pt x="160" y="159"/>
                </a:lnTo>
                <a:lnTo>
                  <a:pt x="4725" y="175"/>
                </a:lnTo>
                <a:lnTo>
                  <a:pt x="4725" y="2338"/>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1" name="Freeform: Shape 10">
            <a:extLst>
              <a:ext uri="{FF2B5EF4-FFF2-40B4-BE49-F238E27FC236}">
                <a16:creationId xmlns:a16="http://schemas.microsoft.com/office/drawing/2014/main" id="{4356C7F8-16BD-1F45-BDEA-E325CA7EAD31}"/>
              </a:ext>
            </a:extLst>
          </p:cNvPr>
          <p:cNvSpPr/>
          <p:nvPr/>
        </p:nvSpPr>
        <p:spPr>
          <a:xfrm>
            <a:off x="14105321" y="3066624"/>
            <a:ext cx="1386359" cy="1482479"/>
          </a:xfrm>
          <a:custGeom>
            <a:avLst/>
            <a:gdLst/>
            <a:ahLst/>
            <a:cxnLst>
              <a:cxn ang="3cd4">
                <a:pos x="hc" y="t"/>
              </a:cxn>
              <a:cxn ang="cd2">
                <a:pos x="l" y="vc"/>
              </a:cxn>
              <a:cxn ang="cd4">
                <a:pos x="hc" y="b"/>
              </a:cxn>
              <a:cxn ang="0">
                <a:pos x="r" y="vc"/>
              </a:cxn>
            </a:cxnLst>
            <a:rect l="l" t="t" r="r" b="b"/>
            <a:pathLst>
              <a:path w="3852" h="4119">
                <a:moveTo>
                  <a:pt x="827" y="2863"/>
                </a:moveTo>
                <a:cubicBezTo>
                  <a:pt x="1145" y="3626"/>
                  <a:pt x="1909" y="4119"/>
                  <a:pt x="2736" y="4119"/>
                </a:cubicBezTo>
                <a:cubicBezTo>
                  <a:pt x="3054" y="4119"/>
                  <a:pt x="3372" y="4056"/>
                  <a:pt x="3658" y="3913"/>
                </a:cubicBezTo>
                <a:cubicBezTo>
                  <a:pt x="3818" y="3833"/>
                  <a:pt x="3881" y="3642"/>
                  <a:pt x="3802" y="3483"/>
                </a:cubicBezTo>
                <a:cubicBezTo>
                  <a:pt x="3722" y="3340"/>
                  <a:pt x="3531" y="3277"/>
                  <a:pt x="3388" y="3356"/>
                </a:cubicBezTo>
                <a:cubicBezTo>
                  <a:pt x="3181" y="3452"/>
                  <a:pt x="2958" y="3499"/>
                  <a:pt x="2736" y="3499"/>
                </a:cubicBezTo>
                <a:cubicBezTo>
                  <a:pt x="2243" y="3499"/>
                  <a:pt x="1797" y="3261"/>
                  <a:pt x="1527" y="2863"/>
                </a:cubicBezTo>
                <a:cubicBezTo>
                  <a:pt x="3166" y="2863"/>
                  <a:pt x="3166" y="2863"/>
                  <a:pt x="3166" y="2863"/>
                </a:cubicBezTo>
                <a:cubicBezTo>
                  <a:pt x="3340" y="2863"/>
                  <a:pt x="3467" y="2720"/>
                  <a:pt x="3467" y="2545"/>
                </a:cubicBezTo>
                <a:cubicBezTo>
                  <a:pt x="3467" y="2386"/>
                  <a:pt x="3340" y="2243"/>
                  <a:pt x="3166" y="2243"/>
                </a:cubicBezTo>
                <a:cubicBezTo>
                  <a:pt x="1304" y="2243"/>
                  <a:pt x="1304" y="2243"/>
                  <a:pt x="1304" y="2243"/>
                </a:cubicBezTo>
                <a:cubicBezTo>
                  <a:pt x="1288" y="2179"/>
                  <a:pt x="1288" y="2116"/>
                  <a:pt x="1288" y="2068"/>
                </a:cubicBezTo>
                <a:cubicBezTo>
                  <a:pt x="1288" y="2036"/>
                  <a:pt x="1288" y="2004"/>
                  <a:pt x="1288" y="1988"/>
                </a:cubicBezTo>
                <a:cubicBezTo>
                  <a:pt x="3166" y="1988"/>
                  <a:pt x="3166" y="1988"/>
                  <a:pt x="3166" y="1988"/>
                </a:cubicBezTo>
                <a:cubicBezTo>
                  <a:pt x="3340" y="1988"/>
                  <a:pt x="3467" y="1845"/>
                  <a:pt x="3467" y="1670"/>
                </a:cubicBezTo>
                <a:cubicBezTo>
                  <a:pt x="3467" y="1511"/>
                  <a:pt x="3340" y="1368"/>
                  <a:pt x="3166" y="1368"/>
                </a:cubicBezTo>
                <a:cubicBezTo>
                  <a:pt x="1464" y="1368"/>
                  <a:pt x="1464" y="1368"/>
                  <a:pt x="1464" y="1368"/>
                </a:cubicBezTo>
                <a:cubicBezTo>
                  <a:pt x="1718" y="907"/>
                  <a:pt x="2211" y="620"/>
                  <a:pt x="2736" y="620"/>
                </a:cubicBezTo>
                <a:cubicBezTo>
                  <a:pt x="2975" y="620"/>
                  <a:pt x="3197" y="668"/>
                  <a:pt x="3404" y="779"/>
                </a:cubicBezTo>
                <a:cubicBezTo>
                  <a:pt x="3467" y="827"/>
                  <a:pt x="3563" y="827"/>
                  <a:pt x="3643" y="795"/>
                </a:cubicBezTo>
                <a:cubicBezTo>
                  <a:pt x="3722" y="779"/>
                  <a:pt x="3786" y="716"/>
                  <a:pt x="3818" y="652"/>
                </a:cubicBezTo>
                <a:cubicBezTo>
                  <a:pt x="3897" y="493"/>
                  <a:pt x="3833" y="318"/>
                  <a:pt x="3690" y="238"/>
                </a:cubicBezTo>
                <a:cubicBezTo>
                  <a:pt x="3388" y="80"/>
                  <a:pt x="3070" y="0"/>
                  <a:pt x="2736" y="0"/>
                </a:cubicBezTo>
                <a:cubicBezTo>
                  <a:pt x="1861" y="0"/>
                  <a:pt x="1082" y="541"/>
                  <a:pt x="795" y="1368"/>
                </a:cubicBezTo>
                <a:cubicBezTo>
                  <a:pt x="303" y="1368"/>
                  <a:pt x="303" y="1368"/>
                  <a:pt x="303" y="1368"/>
                </a:cubicBezTo>
                <a:cubicBezTo>
                  <a:pt x="127" y="1368"/>
                  <a:pt x="0" y="1511"/>
                  <a:pt x="0" y="1670"/>
                </a:cubicBezTo>
                <a:cubicBezTo>
                  <a:pt x="0" y="1845"/>
                  <a:pt x="127" y="1988"/>
                  <a:pt x="303" y="1988"/>
                </a:cubicBezTo>
                <a:cubicBezTo>
                  <a:pt x="668" y="1988"/>
                  <a:pt x="668" y="1988"/>
                  <a:pt x="668" y="1988"/>
                </a:cubicBezTo>
                <a:cubicBezTo>
                  <a:pt x="668" y="2004"/>
                  <a:pt x="668" y="2036"/>
                  <a:pt x="668" y="2068"/>
                </a:cubicBezTo>
                <a:cubicBezTo>
                  <a:pt x="668" y="2116"/>
                  <a:pt x="668" y="2179"/>
                  <a:pt x="684" y="2243"/>
                </a:cubicBezTo>
                <a:cubicBezTo>
                  <a:pt x="303" y="2243"/>
                  <a:pt x="303" y="2243"/>
                  <a:pt x="303" y="2243"/>
                </a:cubicBezTo>
                <a:cubicBezTo>
                  <a:pt x="127" y="2243"/>
                  <a:pt x="0" y="2386"/>
                  <a:pt x="0" y="2545"/>
                </a:cubicBezTo>
                <a:cubicBezTo>
                  <a:pt x="0" y="2720"/>
                  <a:pt x="127" y="2863"/>
                  <a:pt x="303" y="2863"/>
                </a:cubicBezTo>
                <a:close/>
                <a:moveTo>
                  <a:pt x="159" y="2545"/>
                </a:moveTo>
                <a:cubicBezTo>
                  <a:pt x="159" y="2465"/>
                  <a:pt x="223" y="2402"/>
                  <a:pt x="303" y="2402"/>
                </a:cubicBezTo>
                <a:cubicBezTo>
                  <a:pt x="764" y="2402"/>
                  <a:pt x="764" y="2402"/>
                  <a:pt x="764" y="2402"/>
                </a:cubicBezTo>
                <a:cubicBezTo>
                  <a:pt x="795" y="2402"/>
                  <a:pt x="812" y="2386"/>
                  <a:pt x="827" y="2370"/>
                </a:cubicBezTo>
                <a:cubicBezTo>
                  <a:pt x="843" y="2354"/>
                  <a:pt x="843" y="2338"/>
                  <a:pt x="843" y="2306"/>
                </a:cubicBezTo>
                <a:cubicBezTo>
                  <a:pt x="827" y="2211"/>
                  <a:pt x="827" y="2131"/>
                  <a:pt x="827" y="2068"/>
                </a:cubicBezTo>
                <a:cubicBezTo>
                  <a:pt x="827" y="2004"/>
                  <a:pt x="827" y="1956"/>
                  <a:pt x="843" y="1908"/>
                </a:cubicBezTo>
                <a:cubicBezTo>
                  <a:pt x="843" y="1893"/>
                  <a:pt x="827" y="1861"/>
                  <a:pt x="812" y="1845"/>
                </a:cubicBezTo>
                <a:cubicBezTo>
                  <a:pt x="795" y="1829"/>
                  <a:pt x="779" y="1829"/>
                  <a:pt x="764" y="1829"/>
                </a:cubicBezTo>
                <a:cubicBezTo>
                  <a:pt x="303" y="1829"/>
                  <a:pt x="303" y="1829"/>
                  <a:pt x="303" y="1829"/>
                </a:cubicBezTo>
                <a:cubicBezTo>
                  <a:pt x="223" y="1829"/>
                  <a:pt x="159" y="1765"/>
                  <a:pt x="159" y="1670"/>
                </a:cubicBezTo>
                <a:cubicBezTo>
                  <a:pt x="159" y="1590"/>
                  <a:pt x="223" y="1527"/>
                  <a:pt x="303" y="1527"/>
                </a:cubicBezTo>
                <a:cubicBezTo>
                  <a:pt x="843" y="1527"/>
                  <a:pt x="843" y="1527"/>
                  <a:pt x="843" y="1527"/>
                </a:cubicBezTo>
                <a:cubicBezTo>
                  <a:pt x="875" y="1527"/>
                  <a:pt x="907" y="1495"/>
                  <a:pt x="922" y="1463"/>
                </a:cubicBezTo>
                <a:cubicBezTo>
                  <a:pt x="1177" y="684"/>
                  <a:pt x="1909" y="159"/>
                  <a:pt x="2736" y="159"/>
                </a:cubicBezTo>
                <a:cubicBezTo>
                  <a:pt x="3038" y="159"/>
                  <a:pt x="3340" y="238"/>
                  <a:pt x="3611" y="366"/>
                </a:cubicBezTo>
                <a:cubicBezTo>
                  <a:pt x="3690" y="413"/>
                  <a:pt x="3722" y="509"/>
                  <a:pt x="3675" y="572"/>
                </a:cubicBezTo>
                <a:cubicBezTo>
                  <a:pt x="3658" y="604"/>
                  <a:pt x="3627" y="636"/>
                  <a:pt x="3595" y="652"/>
                </a:cubicBezTo>
                <a:cubicBezTo>
                  <a:pt x="3547" y="668"/>
                  <a:pt x="3515" y="652"/>
                  <a:pt x="3467" y="636"/>
                </a:cubicBezTo>
                <a:cubicBezTo>
                  <a:pt x="3245" y="525"/>
                  <a:pt x="2991" y="461"/>
                  <a:pt x="2736" y="461"/>
                </a:cubicBezTo>
                <a:cubicBezTo>
                  <a:pt x="2100" y="461"/>
                  <a:pt x="1527" y="827"/>
                  <a:pt x="1273" y="1416"/>
                </a:cubicBezTo>
                <a:cubicBezTo>
                  <a:pt x="1257" y="1431"/>
                  <a:pt x="1257" y="1463"/>
                  <a:pt x="1273" y="1495"/>
                </a:cubicBezTo>
                <a:cubicBezTo>
                  <a:pt x="1288" y="1511"/>
                  <a:pt x="1321" y="1527"/>
                  <a:pt x="1336" y="1527"/>
                </a:cubicBezTo>
                <a:cubicBezTo>
                  <a:pt x="3166" y="1527"/>
                  <a:pt x="3166" y="1527"/>
                  <a:pt x="3166" y="1527"/>
                </a:cubicBezTo>
                <a:cubicBezTo>
                  <a:pt x="3245" y="1527"/>
                  <a:pt x="3309" y="1590"/>
                  <a:pt x="3309" y="1670"/>
                </a:cubicBezTo>
                <a:cubicBezTo>
                  <a:pt x="3309" y="1765"/>
                  <a:pt x="3245" y="1829"/>
                  <a:pt x="3166" y="1829"/>
                </a:cubicBezTo>
                <a:cubicBezTo>
                  <a:pt x="1225" y="1829"/>
                  <a:pt x="1225" y="1829"/>
                  <a:pt x="1225" y="1829"/>
                </a:cubicBezTo>
                <a:cubicBezTo>
                  <a:pt x="1177" y="1829"/>
                  <a:pt x="1145" y="1861"/>
                  <a:pt x="1145" y="1893"/>
                </a:cubicBezTo>
                <a:cubicBezTo>
                  <a:pt x="1130" y="1956"/>
                  <a:pt x="1130" y="2004"/>
                  <a:pt x="1130" y="2068"/>
                </a:cubicBezTo>
                <a:cubicBezTo>
                  <a:pt x="1130" y="2147"/>
                  <a:pt x="1145" y="2243"/>
                  <a:pt x="1161" y="2338"/>
                </a:cubicBezTo>
                <a:cubicBezTo>
                  <a:pt x="1161" y="2370"/>
                  <a:pt x="1193" y="2402"/>
                  <a:pt x="1225" y="2402"/>
                </a:cubicBezTo>
                <a:cubicBezTo>
                  <a:pt x="3166" y="2402"/>
                  <a:pt x="3166" y="2402"/>
                  <a:pt x="3166" y="2402"/>
                </a:cubicBezTo>
                <a:cubicBezTo>
                  <a:pt x="3245" y="2402"/>
                  <a:pt x="3309" y="2465"/>
                  <a:pt x="3309" y="2545"/>
                </a:cubicBezTo>
                <a:cubicBezTo>
                  <a:pt x="3309" y="2640"/>
                  <a:pt x="3245" y="2704"/>
                  <a:pt x="3166" y="2704"/>
                </a:cubicBezTo>
                <a:cubicBezTo>
                  <a:pt x="1384" y="2704"/>
                  <a:pt x="1384" y="2704"/>
                  <a:pt x="1384" y="2704"/>
                </a:cubicBezTo>
                <a:cubicBezTo>
                  <a:pt x="1368" y="2704"/>
                  <a:pt x="1336" y="2720"/>
                  <a:pt x="1321" y="2735"/>
                </a:cubicBezTo>
                <a:cubicBezTo>
                  <a:pt x="1304" y="2768"/>
                  <a:pt x="1304" y="2799"/>
                  <a:pt x="1321" y="2815"/>
                </a:cubicBezTo>
                <a:cubicBezTo>
                  <a:pt x="1607" y="3340"/>
                  <a:pt x="2148" y="3658"/>
                  <a:pt x="2736" y="3658"/>
                </a:cubicBezTo>
                <a:cubicBezTo>
                  <a:pt x="2991" y="3658"/>
                  <a:pt x="3229" y="3610"/>
                  <a:pt x="3452" y="3499"/>
                </a:cubicBezTo>
                <a:cubicBezTo>
                  <a:pt x="3531" y="3452"/>
                  <a:pt x="3611" y="3483"/>
                  <a:pt x="3658" y="3563"/>
                </a:cubicBezTo>
                <a:cubicBezTo>
                  <a:pt x="3690" y="3642"/>
                  <a:pt x="3658" y="3722"/>
                  <a:pt x="3595" y="3770"/>
                </a:cubicBezTo>
                <a:cubicBezTo>
                  <a:pt x="3324" y="3897"/>
                  <a:pt x="3038" y="3961"/>
                  <a:pt x="2736" y="3961"/>
                </a:cubicBezTo>
                <a:cubicBezTo>
                  <a:pt x="1957" y="3961"/>
                  <a:pt x="1241" y="3483"/>
                  <a:pt x="955" y="2752"/>
                </a:cubicBezTo>
                <a:cubicBezTo>
                  <a:pt x="955" y="2720"/>
                  <a:pt x="922" y="2704"/>
                  <a:pt x="891" y="2704"/>
                </a:cubicBezTo>
                <a:cubicBezTo>
                  <a:pt x="303" y="2704"/>
                  <a:pt x="303" y="2704"/>
                  <a:pt x="303" y="2704"/>
                </a:cubicBezTo>
                <a:cubicBezTo>
                  <a:pt x="223" y="2704"/>
                  <a:pt x="159" y="2640"/>
                  <a:pt x="159" y="254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2" name="Freeform: Shape 11">
            <a:extLst>
              <a:ext uri="{FF2B5EF4-FFF2-40B4-BE49-F238E27FC236}">
                <a16:creationId xmlns:a16="http://schemas.microsoft.com/office/drawing/2014/main" id="{4DF20274-B79B-974E-B2B1-E76467226111}"/>
              </a:ext>
            </a:extLst>
          </p:cNvPr>
          <p:cNvSpPr/>
          <p:nvPr/>
        </p:nvSpPr>
        <p:spPr>
          <a:xfrm>
            <a:off x="2221510" y="2912184"/>
            <a:ext cx="950400" cy="1791720"/>
          </a:xfrm>
          <a:custGeom>
            <a:avLst/>
            <a:gdLst/>
            <a:ahLst/>
            <a:cxnLst>
              <a:cxn ang="3cd4">
                <a:pos x="hc" y="t"/>
              </a:cxn>
              <a:cxn ang="cd2">
                <a:pos x="l" y="vc"/>
              </a:cxn>
              <a:cxn ang="cd4">
                <a:pos x="hc" y="b"/>
              </a:cxn>
              <a:cxn ang="0">
                <a:pos x="r" y="vc"/>
              </a:cxn>
            </a:cxnLst>
            <a:rect l="l" t="t" r="r" b="b"/>
            <a:pathLst>
              <a:path w="2641" h="4978">
                <a:moveTo>
                  <a:pt x="2040" y="3292"/>
                </a:moveTo>
                <a:cubicBezTo>
                  <a:pt x="1977" y="3530"/>
                  <a:pt x="1706" y="3642"/>
                  <a:pt x="1483" y="3642"/>
                </a:cubicBezTo>
                <a:cubicBezTo>
                  <a:pt x="1134" y="3658"/>
                  <a:pt x="784" y="3530"/>
                  <a:pt x="481" y="3292"/>
                </a:cubicBezTo>
                <a:cubicBezTo>
                  <a:pt x="418" y="3244"/>
                  <a:pt x="338" y="3212"/>
                  <a:pt x="259" y="3228"/>
                </a:cubicBezTo>
                <a:cubicBezTo>
                  <a:pt x="195" y="3228"/>
                  <a:pt x="116" y="3276"/>
                  <a:pt x="68" y="3340"/>
                </a:cubicBezTo>
                <a:cubicBezTo>
                  <a:pt x="20" y="3403"/>
                  <a:pt x="-12" y="3483"/>
                  <a:pt x="4" y="3562"/>
                </a:cubicBezTo>
                <a:cubicBezTo>
                  <a:pt x="4" y="3642"/>
                  <a:pt x="52" y="3706"/>
                  <a:pt x="116" y="3753"/>
                </a:cubicBezTo>
                <a:cubicBezTo>
                  <a:pt x="402" y="3976"/>
                  <a:pt x="736" y="4135"/>
                  <a:pt x="1070" y="4199"/>
                </a:cubicBezTo>
                <a:cubicBezTo>
                  <a:pt x="1070" y="4676"/>
                  <a:pt x="1070" y="4676"/>
                  <a:pt x="1070" y="4676"/>
                </a:cubicBezTo>
                <a:cubicBezTo>
                  <a:pt x="1070" y="4851"/>
                  <a:pt x="1213" y="4978"/>
                  <a:pt x="1372" y="4978"/>
                </a:cubicBezTo>
                <a:cubicBezTo>
                  <a:pt x="1531" y="4978"/>
                  <a:pt x="1674" y="4851"/>
                  <a:pt x="1674" y="4676"/>
                </a:cubicBezTo>
                <a:cubicBezTo>
                  <a:pt x="1674" y="4214"/>
                  <a:pt x="1674" y="4214"/>
                  <a:pt x="1674" y="4214"/>
                </a:cubicBezTo>
                <a:cubicBezTo>
                  <a:pt x="2056" y="4167"/>
                  <a:pt x="2486" y="3928"/>
                  <a:pt x="2613" y="3451"/>
                </a:cubicBezTo>
                <a:cubicBezTo>
                  <a:pt x="2613" y="3419"/>
                  <a:pt x="2629" y="3372"/>
                  <a:pt x="2629" y="3340"/>
                </a:cubicBezTo>
                <a:cubicBezTo>
                  <a:pt x="2676" y="3021"/>
                  <a:pt x="2581" y="2719"/>
                  <a:pt x="2358" y="2528"/>
                </a:cubicBezTo>
                <a:cubicBezTo>
                  <a:pt x="2231" y="2417"/>
                  <a:pt x="2088" y="2354"/>
                  <a:pt x="1961" y="2306"/>
                </a:cubicBezTo>
                <a:cubicBezTo>
                  <a:pt x="1786" y="2226"/>
                  <a:pt x="1626" y="2179"/>
                  <a:pt x="1468" y="2131"/>
                </a:cubicBezTo>
                <a:cubicBezTo>
                  <a:pt x="1308" y="2083"/>
                  <a:pt x="1165" y="2036"/>
                  <a:pt x="1022" y="1988"/>
                </a:cubicBezTo>
                <a:cubicBezTo>
                  <a:pt x="911" y="1940"/>
                  <a:pt x="831" y="1876"/>
                  <a:pt x="799" y="1813"/>
                </a:cubicBezTo>
                <a:cubicBezTo>
                  <a:pt x="768" y="1717"/>
                  <a:pt x="784" y="1590"/>
                  <a:pt x="863" y="1494"/>
                </a:cubicBezTo>
                <a:cubicBezTo>
                  <a:pt x="1022" y="1304"/>
                  <a:pt x="1388" y="1319"/>
                  <a:pt x="1531" y="1351"/>
                </a:cubicBezTo>
                <a:cubicBezTo>
                  <a:pt x="1849" y="1383"/>
                  <a:pt x="2088" y="1542"/>
                  <a:pt x="2120" y="1558"/>
                </a:cubicBezTo>
                <a:cubicBezTo>
                  <a:pt x="2167" y="1606"/>
                  <a:pt x="2247" y="1622"/>
                  <a:pt x="2326" y="1606"/>
                </a:cubicBezTo>
                <a:cubicBezTo>
                  <a:pt x="2406" y="1590"/>
                  <a:pt x="2486" y="1558"/>
                  <a:pt x="2533" y="1494"/>
                </a:cubicBezTo>
                <a:cubicBezTo>
                  <a:pt x="2581" y="1431"/>
                  <a:pt x="2597" y="1351"/>
                  <a:pt x="2581" y="1272"/>
                </a:cubicBezTo>
                <a:cubicBezTo>
                  <a:pt x="2565" y="1192"/>
                  <a:pt x="2533" y="1129"/>
                  <a:pt x="2470" y="1081"/>
                </a:cubicBezTo>
                <a:cubicBezTo>
                  <a:pt x="2438" y="1049"/>
                  <a:pt x="2135" y="842"/>
                  <a:pt x="1674" y="763"/>
                </a:cubicBezTo>
                <a:cubicBezTo>
                  <a:pt x="1674" y="301"/>
                  <a:pt x="1674" y="301"/>
                  <a:pt x="1674" y="301"/>
                </a:cubicBezTo>
                <a:cubicBezTo>
                  <a:pt x="1674" y="143"/>
                  <a:pt x="1531" y="0"/>
                  <a:pt x="1372" y="0"/>
                </a:cubicBezTo>
                <a:cubicBezTo>
                  <a:pt x="1213" y="0"/>
                  <a:pt x="1070" y="143"/>
                  <a:pt x="1070" y="301"/>
                </a:cubicBezTo>
                <a:cubicBezTo>
                  <a:pt x="1070" y="763"/>
                  <a:pt x="1070" y="763"/>
                  <a:pt x="1070" y="763"/>
                </a:cubicBezTo>
                <a:cubicBezTo>
                  <a:pt x="799" y="810"/>
                  <a:pt x="561" y="922"/>
                  <a:pt x="402" y="1113"/>
                </a:cubicBezTo>
                <a:cubicBezTo>
                  <a:pt x="179" y="1367"/>
                  <a:pt x="116" y="1749"/>
                  <a:pt x="259" y="2067"/>
                </a:cubicBezTo>
                <a:cubicBezTo>
                  <a:pt x="354" y="2258"/>
                  <a:pt x="529" y="2417"/>
                  <a:pt x="799" y="2528"/>
                </a:cubicBezTo>
                <a:cubicBezTo>
                  <a:pt x="959" y="2608"/>
                  <a:pt x="1134" y="2655"/>
                  <a:pt x="1293" y="2703"/>
                </a:cubicBezTo>
                <a:cubicBezTo>
                  <a:pt x="1436" y="2751"/>
                  <a:pt x="1595" y="2783"/>
                  <a:pt x="1722" y="2846"/>
                </a:cubicBezTo>
                <a:cubicBezTo>
                  <a:pt x="1817" y="2878"/>
                  <a:pt x="1913" y="2926"/>
                  <a:pt x="1977" y="2974"/>
                </a:cubicBezTo>
                <a:cubicBezTo>
                  <a:pt x="2024" y="3037"/>
                  <a:pt x="2056" y="3133"/>
                  <a:pt x="2040" y="3260"/>
                </a:cubicBezTo>
                <a:cubicBezTo>
                  <a:pt x="2040" y="3276"/>
                  <a:pt x="2040" y="3276"/>
                  <a:pt x="2040" y="3292"/>
                </a:cubicBezTo>
                <a:close/>
                <a:moveTo>
                  <a:pt x="2183" y="3340"/>
                </a:moveTo>
                <a:cubicBezTo>
                  <a:pt x="2199" y="3324"/>
                  <a:pt x="2199" y="3292"/>
                  <a:pt x="2199" y="3276"/>
                </a:cubicBezTo>
                <a:cubicBezTo>
                  <a:pt x="2231" y="3101"/>
                  <a:pt x="2183" y="2958"/>
                  <a:pt x="2072" y="2863"/>
                </a:cubicBezTo>
                <a:cubicBezTo>
                  <a:pt x="1992" y="2783"/>
                  <a:pt x="1897" y="2751"/>
                  <a:pt x="1786" y="2703"/>
                </a:cubicBezTo>
                <a:cubicBezTo>
                  <a:pt x="1643" y="2640"/>
                  <a:pt x="1499" y="2592"/>
                  <a:pt x="1340" y="2545"/>
                </a:cubicBezTo>
                <a:cubicBezTo>
                  <a:pt x="1181" y="2497"/>
                  <a:pt x="1022" y="2449"/>
                  <a:pt x="863" y="2385"/>
                </a:cubicBezTo>
                <a:cubicBezTo>
                  <a:pt x="625" y="2290"/>
                  <a:pt x="481" y="2163"/>
                  <a:pt x="402" y="1988"/>
                </a:cubicBezTo>
                <a:cubicBezTo>
                  <a:pt x="290" y="1733"/>
                  <a:pt x="338" y="1431"/>
                  <a:pt x="529" y="1208"/>
                </a:cubicBezTo>
                <a:cubicBezTo>
                  <a:pt x="672" y="1049"/>
                  <a:pt x="895" y="938"/>
                  <a:pt x="1165" y="906"/>
                </a:cubicBezTo>
                <a:cubicBezTo>
                  <a:pt x="1213" y="906"/>
                  <a:pt x="1229" y="874"/>
                  <a:pt x="1229" y="827"/>
                </a:cubicBezTo>
                <a:cubicBezTo>
                  <a:pt x="1229" y="301"/>
                  <a:pt x="1229" y="301"/>
                  <a:pt x="1229" y="301"/>
                </a:cubicBezTo>
                <a:cubicBezTo>
                  <a:pt x="1229" y="222"/>
                  <a:pt x="1293" y="158"/>
                  <a:pt x="1372" y="158"/>
                </a:cubicBezTo>
                <a:cubicBezTo>
                  <a:pt x="1452" y="158"/>
                  <a:pt x="1515" y="222"/>
                  <a:pt x="1515" y="301"/>
                </a:cubicBezTo>
                <a:cubicBezTo>
                  <a:pt x="1515" y="827"/>
                  <a:pt x="1515" y="827"/>
                  <a:pt x="1515" y="827"/>
                </a:cubicBezTo>
                <a:cubicBezTo>
                  <a:pt x="1515" y="874"/>
                  <a:pt x="1547" y="906"/>
                  <a:pt x="1579" y="906"/>
                </a:cubicBezTo>
                <a:cubicBezTo>
                  <a:pt x="2040" y="970"/>
                  <a:pt x="2358" y="1192"/>
                  <a:pt x="2374" y="1208"/>
                </a:cubicBezTo>
                <a:cubicBezTo>
                  <a:pt x="2406" y="1224"/>
                  <a:pt x="2422" y="1256"/>
                  <a:pt x="2422" y="1288"/>
                </a:cubicBezTo>
                <a:cubicBezTo>
                  <a:pt x="2438" y="1336"/>
                  <a:pt x="2422" y="1367"/>
                  <a:pt x="2406" y="1399"/>
                </a:cubicBezTo>
                <a:cubicBezTo>
                  <a:pt x="2374" y="1431"/>
                  <a:pt x="2343" y="1447"/>
                  <a:pt x="2310" y="1447"/>
                </a:cubicBezTo>
                <a:cubicBezTo>
                  <a:pt x="2279" y="1462"/>
                  <a:pt x="2231" y="1447"/>
                  <a:pt x="2199" y="1431"/>
                </a:cubicBezTo>
                <a:cubicBezTo>
                  <a:pt x="2152" y="1399"/>
                  <a:pt x="1913" y="1224"/>
                  <a:pt x="1547" y="1192"/>
                </a:cubicBezTo>
                <a:cubicBezTo>
                  <a:pt x="1340" y="1161"/>
                  <a:pt x="943" y="1161"/>
                  <a:pt x="736" y="1399"/>
                </a:cubicBezTo>
                <a:cubicBezTo>
                  <a:pt x="625" y="1527"/>
                  <a:pt x="593" y="1717"/>
                  <a:pt x="656" y="1876"/>
                </a:cubicBezTo>
                <a:cubicBezTo>
                  <a:pt x="704" y="1988"/>
                  <a:pt x="799" y="2067"/>
                  <a:pt x="974" y="2131"/>
                </a:cubicBezTo>
                <a:cubicBezTo>
                  <a:pt x="1117" y="2194"/>
                  <a:pt x="1261" y="2242"/>
                  <a:pt x="1420" y="2290"/>
                </a:cubicBezTo>
                <a:cubicBezTo>
                  <a:pt x="1579" y="2322"/>
                  <a:pt x="1738" y="2385"/>
                  <a:pt x="1897" y="2449"/>
                </a:cubicBezTo>
                <a:cubicBezTo>
                  <a:pt x="2008" y="2497"/>
                  <a:pt x="2135" y="2560"/>
                  <a:pt x="2247" y="2655"/>
                </a:cubicBezTo>
                <a:cubicBezTo>
                  <a:pt x="2438" y="2799"/>
                  <a:pt x="2517" y="3053"/>
                  <a:pt x="2470" y="3324"/>
                </a:cubicBezTo>
                <a:cubicBezTo>
                  <a:pt x="2470" y="3355"/>
                  <a:pt x="2470" y="3372"/>
                  <a:pt x="2454" y="3403"/>
                </a:cubicBezTo>
                <a:cubicBezTo>
                  <a:pt x="2343" y="3849"/>
                  <a:pt x="1929" y="4039"/>
                  <a:pt x="1579" y="4071"/>
                </a:cubicBezTo>
                <a:cubicBezTo>
                  <a:pt x="1547" y="4071"/>
                  <a:pt x="1515" y="4103"/>
                  <a:pt x="1515" y="4151"/>
                </a:cubicBezTo>
                <a:cubicBezTo>
                  <a:pt x="1515" y="4676"/>
                  <a:pt x="1515" y="4676"/>
                  <a:pt x="1515" y="4676"/>
                </a:cubicBezTo>
                <a:cubicBezTo>
                  <a:pt x="1515" y="4755"/>
                  <a:pt x="1452" y="4819"/>
                  <a:pt x="1372" y="4819"/>
                </a:cubicBezTo>
                <a:cubicBezTo>
                  <a:pt x="1293" y="4819"/>
                  <a:pt x="1229" y="4755"/>
                  <a:pt x="1229" y="4676"/>
                </a:cubicBezTo>
                <a:cubicBezTo>
                  <a:pt x="1229" y="4135"/>
                  <a:pt x="1229" y="4135"/>
                  <a:pt x="1229" y="4135"/>
                </a:cubicBezTo>
                <a:cubicBezTo>
                  <a:pt x="1229" y="4103"/>
                  <a:pt x="1213" y="4071"/>
                  <a:pt x="1165" y="4055"/>
                </a:cubicBezTo>
                <a:cubicBezTo>
                  <a:pt x="831" y="4008"/>
                  <a:pt x="497" y="3864"/>
                  <a:pt x="211" y="3626"/>
                </a:cubicBezTo>
                <a:cubicBezTo>
                  <a:pt x="179" y="3610"/>
                  <a:pt x="163" y="3578"/>
                  <a:pt x="163" y="3546"/>
                </a:cubicBezTo>
                <a:cubicBezTo>
                  <a:pt x="163" y="3498"/>
                  <a:pt x="163" y="3467"/>
                  <a:pt x="195" y="3435"/>
                </a:cubicBezTo>
                <a:cubicBezTo>
                  <a:pt x="211" y="3403"/>
                  <a:pt x="243" y="3387"/>
                  <a:pt x="290" y="3387"/>
                </a:cubicBezTo>
                <a:lnTo>
                  <a:pt x="307" y="3387"/>
                </a:lnTo>
                <a:cubicBezTo>
                  <a:pt x="322" y="3387"/>
                  <a:pt x="354" y="3387"/>
                  <a:pt x="386" y="3419"/>
                </a:cubicBezTo>
                <a:cubicBezTo>
                  <a:pt x="720" y="3673"/>
                  <a:pt x="1102" y="3817"/>
                  <a:pt x="1483" y="3801"/>
                </a:cubicBezTo>
                <a:cubicBezTo>
                  <a:pt x="1770" y="3801"/>
                  <a:pt x="2104" y="3642"/>
                  <a:pt x="2183" y="33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3" name="Freeform: Shape 12">
            <a:extLst>
              <a:ext uri="{FF2B5EF4-FFF2-40B4-BE49-F238E27FC236}">
                <a16:creationId xmlns:a16="http://schemas.microsoft.com/office/drawing/2014/main" id="{F2F8A878-750E-DE48-B377-A142A0CADFBA}"/>
              </a:ext>
            </a:extLst>
          </p:cNvPr>
          <p:cNvSpPr/>
          <p:nvPr/>
        </p:nvSpPr>
        <p:spPr>
          <a:xfrm>
            <a:off x="6322764" y="3029904"/>
            <a:ext cx="1187640" cy="1559520"/>
          </a:xfrm>
          <a:custGeom>
            <a:avLst/>
            <a:gdLst/>
            <a:ahLst/>
            <a:cxnLst>
              <a:cxn ang="3cd4">
                <a:pos x="hc" y="t"/>
              </a:cxn>
              <a:cxn ang="cd2">
                <a:pos x="l" y="vc"/>
              </a:cxn>
              <a:cxn ang="cd4">
                <a:pos x="hc" y="b"/>
              </a:cxn>
              <a:cxn ang="0">
                <a:pos x="r" y="vc"/>
              </a:cxn>
            </a:cxnLst>
            <a:rect l="l" t="t" r="r" b="b"/>
            <a:pathLst>
              <a:path w="3300" h="4333">
                <a:moveTo>
                  <a:pt x="3294" y="245"/>
                </a:moveTo>
                <a:cubicBezTo>
                  <a:pt x="3279" y="165"/>
                  <a:pt x="3231" y="102"/>
                  <a:pt x="3167" y="54"/>
                </a:cubicBezTo>
                <a:cubicBezTo>
                  <a:pt x="3088" y="6"/>
                  <a:pt x="3008" y="-9"/>
                  <a:pt x="2928" y="6"/>
                </a:cubicBezTo>
                <a:cubicBezTo>
                  <a:pt x="2849" y="22"/>
                  <a:pt x="2785" y="70"/>
                  <a:pt x="2738" y="150"/>
                </a:cubicBezTo>
                <a:cubicBezTo>
                  <a:pt x="1656" y="1804"/>
                  <a:pt x="1656" y="1804"/>
                  <a:pt x="1656" y="1804"/>
                </a:cubicBezTo>
                <a:cubicBezTo>
                  <a:pt x="574" y="165"/>
                  <a:pt x="574" y="165"/>
                  <a:pt x="574" y="165"/>
                </a:cubicBezTo>
                <a:cubicBezTo>
                  <a:pt x="479" y="38"/>
                  <a:pt x="288" y="-9"/>
                  <a:pt x="145" y="86"/>
                </a:cubicBezTo>
                <a:cubicBezTo>
                  <a:pt x="2" y="182"/>
                  <a:pt x="-46" y="372"/>
                  <a:pt x="50" y="515"/>
                </a:cubicBezTo>
                <a:cubicBezTo>
                  <a:pt x="1068" y="2027"/>
                  <a:pt x="1068" y="2027"/>
                  <a:pt x="1068" y="2027"/>
                </a:cubicBezTo>
                <a:cubicBezTo>
                  <a:pt x="447" y="2042"/>
                  <a:pt x="447" y="2042"/>
                  <a:pt x="447" y="2042"/>
                </a:cubicBezTo>
                <a:cubicBezTo>
                  <a:pt x="352" y="2042"/>
                  <a:pt x="288" y="2074"/>
                  <a:pt x="225" y="2122"/>
                </a:cubicBezTo>
                <a:cubicBezTo>
                  <a:pt x="161" y="2185"/>
                  <a:pt x="129" y="2265"/>
                  <a:pt x="129" y="2345"/>
                </a:cubicBezTo>
                <a:cubicBezTo>
                  <a:pt x="129" y="2519"/>
                  <a:pt x="273" y="2662"/>
                  <a:pt x="447" y="2662"/>
                </a:cubicBezTo>
                <a:cubicBezTo>
                  <a:pt x="1338" y="2647"/>
                  <a:pt x="1338" y="2647"/>
                  <a:pt x="1338" y="2647"/>
                </a:cubicBezTo>
                <a:cubicBezTo>
                  <a:pt x="1338" y="2774"/>
                  <a:pt x="1338" y="2774"/>
                  <a:pt x="1338" y="2774"/>
                </a:cubicBezTo>
                <a:cubicBezTo>
                  <a:pt x="447" y="2790"/>
                  <a:pt x="447" y="2790"/>
                  <a:pt x="447" y="2790"/>
                </a:cubicBezTo>
                <a:cubicBezTo>
                  <a:pt x="352" y="2790"/>
                  <a:pt x="288" y="2822"/>
                  <a:pt x="225" y="2870"/>
                </a:cubicBezTo>
                <a:cubicBezTo>
                  <a:pt x="161" y="2933"/>
                  <a:pt x="129" y="3013"/>
                  <a:pt x="129" y="3092"/>
                </a:cubicBezTo>
                <a:cubicBezTo>
                  <a:pt x="129" y="3267"/>
                  <a:pt x="273" y="3394"/>
                  <a:pt x="447" y="3394"/>
                </a:cubicBezTo>
                <a:cubicBezTo>
                  <a:pt x="1338" y="3394"/>
                  <a:pt x="1338" y="3394"/>
                  <a:pt x="1338" y="3394"/>
                </a:cubicBezTo>
                <a:cubicBezTo>
                  <a:pt x="1338" y="4015"/>
                  <a:pt x="1338" y="4015"/>
                  <a:pt x="1338" y="4015"/>
                </a:cubicBezTo>
                <a:cubicBezTo>
                  <a:pt x="1338" y="4094"/>
                  <a:pt x="1370" y="4174"/>
                  <a:pt x="1434" y="4237"/>
                </a:cubicBezTo>
                <a:cubicBezTo>
                  <a:pt x="1497" y="4301"/>
                  <a:pt x="1561" y="4333"/>
                  <a:pt x="1656" y="4333"/>
                </a:cubicBezTo>
                <a:cubicBezTo>
                  <a:pt x="1815" y="4333"/>
                  <a:pt x="1958" y="4190"/>
                  <a:pt x="1958" y="4015"/>
                </a:cubicBezTo>
                <a:cubicBezTo>
                  <a:pt x="1958" y="3394"/>
                  <a:pt x="1958" y="3394"/>
                  <a:pt x="1958" y="3394"/>
                </a:cubicBezTo>
                <a:cubicBezTo>
                  <a:pt x="2865" y="3394"/>
                  <a:pt x="2865" y="3394"/>
                  <a:pt x="2865" y="3394"/>
                </a:cubicBezTo>
                <a:cubicBezTo>
                  <a:pt x="3040" y="3379"/>
                  <a:pt x="3167" y="3251"/>
                  <a:pt x="3167" y="3076"/>
                </a:cubicBezTo>
                <a:cubicBezTo>
                  <a:pt x="3167" y="2901"/>
                  <a:pt x="3024" y="2774"/>
                  <a:pt x="2865" y="2774"/>
                </a:cubicBezTo>
                <a:cubicBezTo>
                  <a:pt x="1958" y="2774"/>
                  <a:pt x="1958" y="2774"/>
                  <a:pt x="1958" y="2774"/>
                </a:cubicBezTo>
                <a:cubicBezTo>
                  <a:pt x="1958" y="2647"/>
                  <a:pt x="1958" y="2647"/>
                  <a:pt x="1958" y="2647"/>
                </a:cubicBezTo>
                <a:cubicBezTo>
                  <a:pt x="2865" y="2647"/>
                  <a:pt x="2865" y="2647"/>
                  <a:pt x="2865" y="2647"/>
                </a:cubicBezTo>
                <a:cubicBezTo>
                  <a:pt x="2945" y="2647"/>
                  <a:pt x="3024" y="2615"/>
                  <a:pt x="3088" y="2551"/>
                </a:cubicBezTo>
                <a:cubicBezTo>
                  <a:pt x="3136" y="2488"/>
                  <a:pt x="3167" y="2408"/>
                  <a:pt x="3167" y="2328"/>
                </a:cubicBezTo>
                <a:cubicBezTo>
                  <a:pt x="3167" y="2153"/>
                  <a:pt x="3024" y="2027"/>
                  <a:pt x="2865" y="2027"/>
                </a:cubicBezTo>
                <a:cubicBezTo>
                  <a:pt x="2245" y="2027"/>
                  <a:pt x="2245" y="2027"/>
                  <a:pt x="2245" y="2027"/>
                </a:cubicBezTo>
                <a:cubicBezTo>
                  <a:pt x="3247" y="483"/>
                  <a:pt x="3247" y="483"/>
                  <a:pt x="3247" y="483"/>
                </a:cubicBezTo>
                <a:cubicBezTo>
                  <a:pt x="3294" y="404"/>
                  <a:pt x="3310" y="325"/>
                  <a:pt x="3294" y="245"/>
                </a:cubicBezTo>
                <a:close/>
                <a:moveTo>
                  <a:pt x="3119" y="388"/>
                </a:moveTo>
                <a:cubicBezTo>
                  <a:pt x="2038" y="2058"/>
                  <a:pt x="2038" y="2058"/>
                  <a:pt x="2038" y="2058"/>
                </a:cubicBezTo>
                <a:cubicBezTo>
                  <a:pt x="2022" y="2090"/>
                  <a:pt x="2022" y="2122"/>
                  <a:pt x="2022" y="2138"/>
                </a:cubicBezTo>
                <a:cubicBezTo>
                  <a:pt x="2038" y="2170"/>
                  <a:pt x="2070" y="2185"/>
                  <a:pt x="2101" y="2185"/>
                </a:cubicBezTo>
                <a:cubicBezTo>
                  <a:pt x="2865" y="2185"/>
                  <a:pt x="2865" y="2185"/>
                  <a:pt x="2865" y="2185"/>
                </a:cubicBezTo>
                <a:cubicBezTo>
                  <a:pt x="2945" y="2185"/>
                  <a:pt x="3008" y="2249"/>
                  <a:pt x="3008" y="2328"/>
                </a:cubicBezTo>
                <a:cubicBezTo>
                  <a:pt x="3008" y="2376"/>
                  <a:pt x="2992" y="2408"/>
                  <a:pt x="2961" y="2440"/>
                </a:cubicBezTo>
                <a:cubicBezTo>
                  <a:pt x="2945" y="2472"/>
                  <a:pt x="2897" y="2488"/>
                  <a:pt x="2865" y="2488"/>
                </a:cubicBezTo>
                <a:cubicBezTo>
                  <a:pt x="1879" y="2488"/>
                  <a:pt x="1879" y="2488"/>
                  <a:pt x="1879" y="2488"/>
                </a:cubicBezTo>
                <a:cubicBezTo>
                  <a:pt x="1847" y="2488"/>
                  <a:pt x="1800" y="2519"/>
                  <a:pt x="1800" y="2567"/>
                </a:cubicBezTo>
                <a:cubicBezTo>
                  <a:pt x="1800" y="2854"/>
                  <a:pt x="1800" y="2854"/>
                  <a:pt x="1800" y="2854"/>
                </a:cubicBezTo>
                <a:cubicBezTo>
                  <a:pt x="1800" y="2870"/>
                  <a:pt x="1815" y="2901"/>
                  <a:pt x="1831" y="2901"/>
                </a:cubicBezTo>
                <a:cubicBezTo>
                  <a:pt x="1847" y="2917"/>
                  <a:pt x="1863" y="2933"/>
                  <a:pt x="1879" y="2933"/>
                </a:cubicBezTo>
                <a:cubicBezTo>
                  <a:pt x="2865" y="2933"/>
                  <a:pt x="2865" y="2933"/>
                  <a:pt x="2865" y="2933"/>
                </a:cubicBezTo>
                <a:cubicBezTo>
                  <a:pt x="2945" y="2933"/>
                  <a:pt x="3008" y="2997"/>
                  <a:pt x="3008" y="3076"/>
                </a:cubicBezTo>
                <a:cubicBezTo>
                  <a:pt x="3008" y="3156"/>
                  <a:pt x="2945" y="3235"/>
                  <a:pt x="2865" y="3235"/>
                </a:cubicBezTo>
                <a:cubicBezTo>
                  <a:pt x="1879" y="3235"/>
                  <a:pt x="1879" y="3235"/>
                  <a:pt x="1879" y="3235"/>
                </a:cubicBezTo>
                <a:cubicBezTo>
                  <a:pt x="1831" y="3235"/>
                  <a:pt x="1800" y="3267"/>
                  <a:pt x="1800" y="3315"/>
                </a:cubicBezTo>
                <a:cubicBezTo>
                  <a:pt x="1800" y="4015"/>
                  <a:pt x="1800" y="4015"/>
                  <a:pt x="1800" y="4015"/>
                </a:cubicBezTo>
                <a:cubicBezTo>
                  <a:pt x="1800" y="4094"/>
                  <a:pt x="1736" y="4174"/>
                  <a:pt x="1656" y="4174"/>
                </a:cubicBezTo>
                <a:cubicBezTo>
                  <a:pt x="1609" y="4174"/>
                  <a:pt x="1577" y="4158"/>
                  <a:pt x="1545" y="4126"/>
                </a:cubicBezTo>
                <a:cubicBezTo>
                  <a:pt x="1513" y="4094"/>
                  <a:pt x="1497" y="4063"/>
                  <a:pt x="1497" y="4015"/>
                </a:cubicBezTo>
                <a:cubicBezTo>
                  <a:pt x="1497" y="3315"/>
                  <a:pt x="1497" y="3315"/>
                  <a:pt x="1497" y="3315"/>
                </a:cubicBezTo>
                <a:cubicBezTo>
                  <a:pt x="1497" y="3299"/>
                  <a:pt x="1497" y="3267"/>
                  <a:pt x="1481" y="3267"/>
                </a:cubicBezTo>
                <a:cubicBezTo>
                  <a:pt x="1465" y="3251"/>
                  <a:pt x="1449" y="3235"/>
                  <a:pt x="1418" y="3235"/>
                </a:cubicBezTo>
                <a:cubicBezTo>
                  <a:pt x="447" y="3235"/>
                  <a:pt x="447" y="3235"/>
                  <a:pt x="447" y="3235"/>
                </a:cubicBezTo>
                <a:cubicBezTo>
                  <a:pt x="368" y="3235"/>
                  <a:pt x="288" y="3171"/>
                  <a:pt x="288" y="3092"/>
                </a:cubicBezTo>
                <a:cubicBezTo>
                  <a:pt x="288" y="3060"/>
                  <a:pt x="304" y="3013"/>
                  <a:pt x="336" y="2981"/>
                </a:cubicBezTo>
                <a:cubicBezTo>
                  <a:pt x="368" y="2965"/>
                  <a:pt x="400" y="2949"/>
                  <a:pt x="447" y="2933"/>
                </a:cubicBezTo>
                <a:cubicBezTo>
                  <a:pt x="1418" y="2933"/>
                  <a:pt x="1418" y="2933"/>
                  <a:pt x="1418" y="2933"/>
                </a:cubicBezTo>
                <a:cubicBezTo>
                  <a:pt x="1465" y="2933"/>
                  <a:pt x="1497" y="2901"/>
                  <a:pt x="1497" y="2854"/>
                </a:cubicBezTo>
                <a:cubicBezTo>
                  <a:pt x="1497" y="2567"/>
                  <a:pt x="1497" y="2567"/>
                  <a:pt x="1497" y="2567"/>
                </a:cubicBezTo>
                <a:cubicBezTo>
                  <a:pt x="1497" y="2551"/>
                  <a:pt x="1497" y="2536"/>
                  <a:pt x="1481" y="2519"/>
                </a:cubicBezTo>
                <a:cubicBezTo>
                  <a:pt x="1465" y="2504"/>
                  <a:pt x="1434" y="2488"/>
                  <a:pt x="1418" y="2488"/>
                </a:cubicBezTo>
                <a:cubicBezTo>
                  <a:pt x="447" y="2504"/>
                  <a:pt x="447" y="2504"/>
                  <a:pt x="447" y="2504"/>
                </a:cubicBezTo>
                <a:cubicBezTo>
                  <a:pt x="368" y="2504"/>
                  <a:pt x="288" y="2424"/>
                  <a:pt x="288" y="2345"/>
                </a:cubicBezTo>
                <a:cubicBezTo>
                  <a:pt x="288" y="2313"/>
                  <a:pt x="304" y="2265"/>
                  <a:pt x="336" y="2233"/>
                </a:cubicBezTo>
                <a:cubicBezTo>
                  <a:pt x="368" y="2218"/>
                  <a:pt x="400" y="2201"/>
                  <a:pt x="447" y="2201"/>
                </a:cubicBezTo>
                <a:cubicBezTo>
                  <a:pt x="1211" y="2185"/>
                  <a:pt x="1211" y="2185"/>
                  <a:pt x="1211" y="2185"/>
                </a:cubicBezTo>
                <a:cubicBezTo>
                  <a:pt x="1243" y="2185"/>
                  <a:pt x="1274" y="2170"/>
                  <a:pt x="1291" y="2153"/>
                </a:cubicBezTo>
                <a:cubicBezTo>
                  <a:pt x="1291" y="2122"/>
                  <a:pt x="1291" y="2090"/>
                  <a:pt x="1274" y="2074"/>
                </a:cubicBezTo>
                <a:cubicBezTo>
                  <a:pt x="193" y="436"/>
                  <a:pt x="193" y="436"/>
                  <a:pt x="193" y="436"/>
                </a:cubicBezTo>
                <a:cubicBezTo>
                  <a:pt x="145" y="356"/>
                  <a:pt x="161" y="261"/>
                  <a:pt x="225" y="213"/>
                </a:cubicBezTo>
                <a:cubicBezTo>
                  <a:pt x="304" y="182"/>
                  <a:pt x="384" y="197"/>
                  <a:pt x="431" y="261"/>
                </a:cubicBezTo>
                <a:cubicBezTo>
                  <a:pt x="1592" y="1995"/>
                  <a:pt x="1592" y="1995"/>
                  <a:pt x="1592" y="1995"/>
                </a:cubicBezTo>
                <a:cubicBezTo>
                  <a:pt x="1609" y="2010"/>
                  <a:pt x="1624" y="2027"/>
                  <a:pt x="1656" y="2027"/>
                </a:cubicBezTo>
                <a:cubicBezTo>
                  <a:pt x="1688" y="2027"/>
                  <a:pt x="1704" y="2010"/>
                  <a:pt x="1720" y="1979"/>
                </a:cubicBezTo>
                <a:cubicBezTo>
                  <a:pt x="2865" y="229"/>
                  <a:pt x="2865" y="229"/>
                  <a:pt x="2865" y="229"/>
                </a:cubicBezTo>
                <a:cubicBezTo>
                  <a:pt x="2881" y="197"/>
                  <a:pt x="2928" y="165"/>
                  <a:pt x="2961" y="165"/>
                </a:cubicBezTo>
                <a:cubicBezTo>
                  <a:pt x="3008" y="150"/>
                  <a:pt x="3040" y="165"/>
                  <a:pt x="3072" y="182"/>
                </a:cubicBezTo>
                <a:cubicBezTo>
                  <a:pt x="3104" y="213"/>
                  <a:pt x="3136" y="245"/>
                  <a:pt x="3136" y="277"/>
                </a:cubicBezTo>
                <a:cubicBezTo>
                  <a:pt x="3151" y="325"/>
                  <a:pt x="3136" y="356"/>
                  <a:pt x="3119" y="38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4" name="Freeform: Shape 13">
            <a:extLst>
              <a:ext uri="{FF2B5EF4-FFF2-40B4-BE49-F238E27FC236}">
                <a16:creationId xmlns:a16="http://schemas.microsoft.com/office/drawing/2014/main" id="{C601FEDE-332A-B542-9F45-605073F29E46}"/>
              </a:ext>
            </a:extLst>
          </p:cNvPr>
          <p:cNvSpPr/>
          <p:nvPr/>
        </p:nvSpPr>
        <p:spPr>
          <a:xfrm>
            <a:off x="10201127" y="3044304"/>
            <a:ext cx="1207799" cy="1527840"/>
          </a:xfrm>
          <a:custGeom>
            <a:avLst/>
            <a:gdLst/>
            <a:ahLst/>
            <a:cxnLst>
              <a:cxn ang="3cd4">
                <a:pos x="hc" y="t"/>
              </a:cxn>
              <a:cxn ang="cd2">
                <a:pos x="l" y="vc"/>
              </a:cxn>
              <a:cxn ang="cd4">
                <a:pos x="hc" y="b"/>
              </a:cxn>
              <a:cxn ang="0">
                <a:pos x="r" y="vc"/>
              </a:cxn>
            </a:cxnLst>
            <a:rect l="l" t="t" r="r" b="b"/>
            <a:pathLst>
              <a:path w="3356" h="4245">
                <a:moveTo>
                  <a:pt x="302" y="3609"/>
                </a:moveTo>
                <a:cubicBezTo>
                  <a:pt x="127" y="3609"/>
                  <a:pt x="0" y="3752"/>
                  <a:pt x="0" y="3927"/>
                </a:cubicBezTo>
                <a:cubicBezTo>
                  <a:pt x="0" y="4102"/>
                  <a:pt x="127" y="4229"/>
                  <a:pt x="302" y="4229"/>
                </a:cubicBezTo>
                <a:cubicBezTo>
                  <a:pt x="875" y="4229"/>
                  <a:pt x="875" y="4229"/>
                  <a:pt x="875" y="4229"/>
                </a:cubicBezTo>
                <a:cubicBezTo>
                  <a:pt x="875" y="4245"/>
                  <a:pt x="891" y="4245"/>
                  <a:pt x="922" y="4245"/>
                </a:cubicBezTo>
                <a:cubicBezTo>
                  <a:pt x="938" y="4245"/>
                  <a:pt x="955" y="4245"/>
                  <a:pt x="970" y="4229"/>
                </a:cubicBezTo>
                <a:cubicBezTo>
                  <a:pt x="3054" y="4229"/>
                  <a:pt x="3054" y="4229"/>
                  <a:pt x="3054" y="4229"/>
                </a:cubicBezTo>
                <a:cubicBezTo>
                  <a:pt x="3229" y="4229"/>
                  <a:pt x="3356" y="4102"/>
                  <a:pt x="3356" y="3927"/>
                </a:cubicBezTo>
                <a:cubicBezTo>
                  <a:pt x="3356" y="3752"/>
                  <a:pt x="3229" y="3609"/>
                  <a:pt x="3054" y="3609"/>
                </a:cubicBezTo>
                <a:cubicBezTo>
                  <a:pt x="1225" y="3609"/>
                  <a:pt x="1225" y="3609"/>
                  <a:pt x="1225" y="3609"/>
                </a:cubicBezTo>
                <a:cubicBezTo>
                  <a:pt x="1225" y="2575"/>
                  <a:pt x="1225" y="2575"/>
                  <a:pt x="1225" y="2575"/>
                </a:cubicBezTo>
                <a:cubicBezTo>
                  <a:pt x="2656" y="2575"/>
                  <a:pt x="2656" y="2575"/>
                  <a:pt x="2656" y="2575"/>
                </a:cubicBezTo>
                <a:cubicBezTo>
                  <a:pt x="2831" y="2575"/>
                  <a:pt x="2974" y="2432"/>
                  <a:pt x="2974" y="2273"/>
                </a:cubicBezTo>
                <a:cubicBezTo>
                  <a:pt x="2974" y="2098"/>
                  <a:pt x="2831" y="1955"/>
                  <a:pt x="2656" y="1955"/>
                </a:cubicBezTo>
                <a:cubicBezTo>
                  <a:pt x="1225" y="1955"/>
                  <a:pt x="1225" y="1955"/>
                  <a:pt x="1225" y="1955"/>
                </a:cubicBezTo>
                <a:cubicBezTo>
                  <a:pt x="1225" y="1493"/>
                  <a:pt x="1225" y="1493"/>
                  <a:pt x="1225" y="1493"/>
                </a:cubicBezTo>
                <a:cubicBezTo>
                  <a:pt x="1225" y="1461"/>
                  <a:pt x="1193" y="794"/>
                  <a:pt x="1750" y="651"/>
                </a:cubicBezTo>
                <a:cubicBezTo>
                  <a:pt x="2338" y="507"/>
                  <a:pt x="2672" y="1016"/>
                  <a:pt x="2672" y="1016"/>
                </a:cubicBezTo>
                <a:cubicBezTo>
                  <a:pt x="2768" y="1160"/>
                  <a:pt x="2958" y="1207"/>
                  <a:pt x="3101" y="1112"/>
                </a:cubicBezTo>
                <a:cubicBezTo>
                  <a:pt x="3181" y="1080"/>
                  <a:pt x="3229" y="1000"/>
                  <a:pt x="3245" y="921"/>
                </a:cubicBezTo>
                <a:cubicBezTo>
                  <a:pt x="3261" y="841"/>
                  <a:pt x="3245" y="762"/>
                  <a:pt x="3197" y="698"/>
                </a:cubicBezTo>
                <a:cubicBezTo>
                  <a:pt x="3006" y="380"/>
                  <a:pt x="2418" y="-161"/>
                  <a:pt x="1607" y="46"/>
                </a:cubicBezTo>
                <a:cubicBezTo>
                  <a:pt x="764" y="269"/>
                  <a:pt x="589" y="1095"/>
                  <a:pt x="604" y="1509"/>
                </a:cubicBezTo>
                <a:cubicBezTo>
                  <a:pt x="604" y="1955"/>
                  <a:pt x="604" y="1955"/>
                  <a:pt x="604" y="1955"/>
                </a:cubicBezTo>
                <a:cubicBezTo>
                  <a:pt x="302" y="1955"/>
                  <a:pt x="302" y="1955"/>
                  <a:pt x="302" y="1955"/>
                </a:cubicBezTo>
                <a:cubicBezTo>
                  <a:pt x="127" y="1955"/>
                  <a:pt x="0" y="2098"/>
                  <a:pt x="0" y="2273"/>
                </a:cubicBezTo>
                <a:cubicBezTo>
                  <a:pt x="0" y="2432"/>
                  <a:pt x="127" y="2575"/>
                  <a:pt x="302" y="2575"/>
                </a:cubicBezTo>
                <a:cubicBezTo>
                  <a:pt x="604" y="2575"/>
                  <a:pt x="604" y="2575"/>
                  <a:pt x="604" y="2575"/>
                </a:cubicBezTo>
                <a:cubicBezTo>
                  <a:pt x="604" y="3609"/>
                  <a:pt x="604" y="3609"/>
                  <a:pt x="604" y="3609"/>
                </a:cubicBezTo>
                <a:close/>
                <a:moveTo>
                  <a:pt x="684" y="2416"/>
                </a:moveTo>
                <a:cubicBezTo>
                  <a:pt x="302" y="2416"/>
                  <a:pt x="302" y="2416"/>
                  <a:pt x="302" y="2416"/>
                </a:cubicBezTo>
                <a:cubicBezTo>
                  <a:pt x="223" y="2416"/>
                  <a:pt x="159" y="2352"/>
                  <a:pt x="159" y="2273"/>
                </a:cubicBezTo>
                <a:cubicBezTo>
                  <a:pt x="159" y="2178"/>
                  <a:pt x="223" y="2113"/>
                  <a:pt x="302" y="2113"/>
                </a:cubicBezTo>
                <a:cubicBezTo>
                  <a:pt x="684" y="2113"/>
                  <a:pt x="684" y="2113"/>
                  <a:pt x="684" y="2113"/>
                </a:cubicBezTo>
                <a:cubicBezTo>
                  <a:pt x="732" y="2113"/>
                  <a:pt x="764" y="2082"/>
                  <a:pt x="764" y="2034"/>
                </a:cubicBezTo>
                <a:cubicBezTo>
                  <a:pt x="764" y="1509"/>
                  <a:pt x="764" y="1509"/>
                  <a:pt x="764" y="1509"/>
                </a:cubicBezTo>
                <a:cubicBezTo>
                  <a:pt x="747" y="1143"/>
                  <a:pt x="907" y="396"/>
                  <a:pt x="1638" y="205"/>
                </a:cubicBezTo>
                <a:cubicBezTo>
                  <a:pt x="2370" y="14"/>
                  <a:pt x="2895" y="491"/>
                  <a:pt x="3070" y="778"/>
                </a:cubicBezTo>
                <a:cubicBezTo>
                  <a:pt x="3086" y="809"/>
                  <a:pt x="3101" y="857"/>
                  <a:pt x="3086" y="889"/>
                </a:cubicBezTo>
                <a:cubicBezTo>
                  <a:pt x="3086" y="937"/>
                  <a:pt x="3054" y="969"/>
                  <a:pt x="3022" y="984"/>
                </a:cubicBezTo>
                <a:cubicBezTo>
                  <a:pt x="2943" y="1032"/>
                  <a:pt x="2863" y="1000"/>
                  <a:pt x="2815" y="937"/>
                </a:cubicBezTo>
                <a:cubicBezTo>
                  <a:pt x="2815" y="937"/>
                  <a:pt x="2418" y="316"/>
                  <a:pt x="1718" y="491"/>
                </a:cubicBezTo>
                <a:cubicBezTo>
                  <a:pt x="1034" y="666"/>
                  <a:pt x="1066" y="1461"/>
                  <a:pt x="1066" y="1493"/>
                </a:cubicBezTo>
                <a:cubicBezTo>
                  <a:pt x="1066" y="2034"/>
                  <a:pt x="1066" y="2034"/>
                  <a:pt x="1066" y="2034"/>
                </a:cubicBezTo>
                <a:cubicBezTo>
                  <a:pt x="1066" y="2082"/>
                  <a:pt x="1113" y="2113"/>
                  <a:pt x="1145" y="2113"/>
                </a:cubicBezTo>
                <a:cubicBezTo>
                  <a:pt x="2656" y="2113"/>
                  <a:pt x="2656" y="2113"/>
                  <a:pt x="2656" y="2113"/>
                </a:cubicBezTo>
                <a:cubicBezTo>
                  <a:pt x="2736" y="2113"/>
                  <a:pt x="2815" y="2178"/>
                  <a:pt x="2815" y="2273"/>
                </a:cubicBezTo>
                <a:cubicBezTo>
                  <a:pt x="2815" y="2352"/>
                  <a:pt x="2736" y="2416"/>
                  <a:pt x="2656" y="2416"/>
                </a:cubicBezTo>
                <a:cubicBezTo>
                  <a:pt x="1145" y="2416"/>
                  <a:pt x="1145" y="2416"/>
                  <a:pt x="1145" y="2416"/>
                </a:cubicBezTo>
                <a:cubicBezTo>
                  <a:pt x="1129" y="2416"/>
                  <a:pt x="1113" y="2432"/>
                  <a:pt x="1098" y="2448"/>
                </a:cubicBezTo>
                <a:cubicBezTo>
                  <a:pt x="1082" y="2464"/>
                  <a:pt x="1066" y="2479"/>
                  <a:pt x="1066" y="2496"/>
                </a:cubicBezTo>
                <a:cubicBezTo>
                  <a:pt x="1066" y="3688"/>
                  <a:pt x="1066" y="3688"/>
                  <a:pt x="1066" y="3688"/>
                </a:cubicBezTo>
                <a:cubicBezTo>
                  <a:pt x="1066" y="3736"/>
                  <a:pt x="1113" y="3768"/>
                  <a:pt x="1145" y="3768"/>
                </a:cubicBezTo>
                <a:cubicBezTo>
                  <a:pt x="3054" y="3768"/>
                  <a:pt x="3054" y="3768"/>
                  <a:pt x="3054" y="3768"/>
                </a:cubicBezTo>
                <a:cubicBezTo>
                  <a:pt x="3134" y="3768"/>
                  <a:pt x="3197" y="3847"/>
                  <a:pt x="3197" y="3927"/>
                </a:cubicBezTo>
                <a:cubicBezTo>
                  <a:pt x="3197" y="4006"/>
                  <a:pt x="3134" y="4070"/>
                  <a:pt x="3054" y="4070"/>
                </a:cubicBezTo>
                <a:cubicBezTo>
                  <a:pt x="955" y="4070"/>
                  <a:pt x="955" y="4070"/>
                  <a:pt x="955" y="4070"/>
                </a:cubicBezTo>
                <a:cubicBezTo>
                  <a:pt x="955" y="4070"/>
                  <a:pt x="938" y="4086"/>
                  <a:pt x="922" y="4086"/>
                </a:cubicBezTo>
                <a:cubicBezTo>
                  <a:pt x="907" y="4086"/>
                  <a:pt x="907" y="4086"/>
                  <a:pt x="907" y="4086"/>
                </a:cubicBezTo>
                <a:lnTo>
                  <a:pt x="875" y="4070"/>
                </a:lnTo>
                <a:cubicBezTo>
                  <a:pt x="302" y="4070"/>
                  <a:pt x="302" y="4070"/>
                  <a:pt x="302" y="4070"/>
                </a:cubicBezTo>
                <a:cubicBezTo>
                  <a:pt x="223" y="4070"/>
                  <a:pt x="159" y="4006"/>
                  <a:pt x="159" y="3927"/>
                </a:cubicBezTo>
                <a:cubicBezTo>
                  <a:pt x="159" y="3847"/>
                  <a:pt x="223" y="3768"/>
                  <a:pt x="302" y="3768"/>
                </a:cubicBezTo>
                <a:cubicBezTo>
                  <a:pt x="684" y="3768"/>
                  <a:pt x="684" y="3768"/>
                  <a:pt x="684" y="3768"/>
                </a:cubicBezTo>
                <a:cubicBezTo>
                  <a:pt x="732" y="3768"/>
                  <a:pt x="764" y="3736"/>
                  <a:pt x="764" y="3688"/>
                </a:cubicBezTo>
                <a:cubicBezTo>
                  <a:pt x="764" y="2496"/>
                  <a:pt x="764" y="2496"/>
                  <a:pt x="764" y="2496"/>
                </a:cubicBezTo>
                <a:cubicBezTo>
                  <a:pt x="764" y="2448"/>
                  <a:pt x="732" y="2416"/>
                  <a:pt x="684" y="241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5" name="Freeform: Shape 14">
            <a:extLst>
              <a:ext uri="{FF2B5EF4-FFF2-40B4-BE49-F238E27FC236}">
                <a16:creationId xmlns:a16="http://schemas.microsoft.com/office/drawing/2014/main" id="{EA8D8C6A-01A9-F942-8F5A-E0163B1D8B06}"/>
              </a:ext>
            </a:extLst>
          </p:cNvPr>
          <p:cNvSpPr/>
          <p:nvPr/>
        </p:nvSpPr>
        <p:spPr>
          <a:xfrm>
            <a:off x="10052029" y="6321564"/>
            <a:ext cx="1717560" cy="1717560"/>
          </a:xfrm>
          <a:custGeom>
            <a:avLst/>
            <a:gdLst/>
            <a:ahLst/>
            <a:cxnLst>
              <a:cxn ang="3cd4">
                <a:pos x="hc" y="t"/>
              </a:cxn>
              <a:cxn ang="cd2">
                <a:pos x="l" y="vc"/>
              </a:cxn>
              <a:cxn ang="cd4">
                <a:pos x="hc" y="b"/>
              </a:cxn>
              <a:cxn ang="0">
                <a:pos x="r" y="vc"/>
              </a:cxn>
            </a:cxnLst>
            <a:rect l="l" t="t" r="r" b="b"/>
            <a:pathLst>
              <a:path w="4772" h="4772">
                <a:moveTo>
                  <a:pt x="2386" y="4167"/>
                </a:moveTo>
                <a:cubicBezTo>
                  <a:pt x="3372" y="4167"/>
                  <a:pt x="4167" y="3372"/>
                  <a:pt x="4167" y="2386"/>
                </a:cubicBezTo>
                <a:cubicBezTo>
                  <a:pt x="4167" y="1400"/>
                  <a:pt x="3372" y="604"/>
                  <a:pt x="2386" y="604"/>
                </a:cubicBezTo>
                <a:cubicBezTo>
                  <a:pt x="1400" y="604"/>
                  <a:pt x="605" y="1400"/>
                  <a:pt x="605" y="2386"/>
                </a:cubicBezTo>
                <a:cubicBezTo>
                  <a:pt x="605" y="3372"/>
                  <a:pt x="1400" y="4167"/>
                  <a:pt x="2386" y="4167"/>
                </a:cubicBezTo>
                <a:close/>
                <a:moveTo>
                  <a:pt x="2386" y="764"/>
                </a:moveTo>
                <a:cubicBezTo>
                  <a:pt x="3277" y="764"/>
                  <a:pt x="4008" y="1495"/>
                  <a:pt x="4008" y="2386"/>
                </a:cubicBezTo>
                <a:cubicBezTo>
                  <a:pt x="4008" y="3293"/>
                  <a:pt x="3277" y="4009"/>
                  <a:pt x="2386" y="4009"/>
                </a:cubicBezTo>
                <a:cubicBezTo>
                  <a:pt x="1495" y="4009"/>
                  <a:pt x="763" y="3293"/>
                  <a:pt x="763" y="2386"/>
                </a:cubicBezTo>
                <a:cubicBezTo>
                  <a:pt x="763" y="1495"/>
                  <a:pt x="1495" y="764"/>
                  <a:pt x="2386" y="764"/>
                </a:cubicBezTo>
                <a:close/>
                <a:moveTo>
                  <a:pt x="2386" y="4772"/>
                </a:moveTo>
                <a:cubicBezTo>
                  <a:pt x="3706" y="4772"/>
                  <a:pt x="4772" y="3706"/>
                  <a:pt x="4772" y="2386"/>
                </a:cubicBezTo>
                <a:cubicBezTo>
                  <a:pt x="4772" y="1066"/>
                  <a:pt x="3706" y="0"/>
                  <a:pt x="2386" y="0"/>
                </a:cubicBezTo>
                <a:cubicBezTo>
                  <a:pt x="1066" y="0"/>
                  <a:pt x="0" y="1066"/>
                  <a:pt x="0" y="2386"/>
                </a:cubicBezTo>
                <a:cubicBezTo>
                  <a:pt x="0" y="3706"/>
                  <a:pt x="1066" y="4772"/>
                  <a:pt x="2386" y="4772"/>
                </a:cubicBezTo>
                <a:close/>
                <a:moveTo>
                  <a:pt x="2386" y="159"/>
                </a:moveTo>
                <a:cubicBezTo>
                  <a:pt x="3611" y="159"/>
                  <a:pt x="4613" y="1161"/>
                  <a:pt x="4613" y="2386"/>
                </a:cubicBezTo>
                <a:cubicBezTo>
                  <a:pt x="4613" y="3611"/>
                  <a:pt x="3611" y="4613"/>
                  <a:pt x="2386" y="4613"/>
                </a:cubicBezTo>
                <a:cubicBezTo>
                  <a:pt x="1161" y="4613"/>
                  <a:pt x="159" y="3611"/>
                  <a:pt x="159" y="2386"/>
                </a:cubicBezTo>
                <a:cubicBezTo>
                  <a:pt x="159" y="1161"/>
                  <a:pt x="1161" y="159"/>
                  <a:pt x="2386" y="159"/>
                </a:cubicBezTo>
                <a:close/>
                <a:moveTo>
                  <a:pt x="1845" y="2927"/>
                </a:moveTo>
                <a:cubicBezTo>
                  <a:pt x="1988" y="3038"/>
                  <a:pt x="2147" y="3102"/>
                  <a:pt x="2322" y="3134"/>
                </a:cubicBezTo>
                <a:lnTo>
                  <a:pt x="2322" y="3404"/>
                </a:lnTo>
                <a:cubicBezTo>
                  <a:pt x="2322" y="3436"/>
                  <a:pt x="2354" y="3467"/>
                  <a:pt x="2402" y="3467"/>
                </a:cubicBezTo>
                <a:cubicBezTo>
                  <a:pt x="2433" y="3467"/>
                  <a:pt x="2481" y="3436"/>
                  <a:pt x="2481" y="3404"/>
                </a:cubicBezTo>
                <a:lnTo>
                  <a:pt x="2481" y="3134"/>
                </a:lnTo>
                <a:cubicBezTo>
                  <a:pt x="2656" y="3118"/>
                  <a:pt x="2847" y="3022"/>
                  <a:pt x="2911" y="2815"/>
                </a:cubicBezTo>
                <a:lnTo>
                  <a:pt x="2911" y="2768"/>
                </a:lnTo>
                <a:cubicBezTo>
                  <a:pt x="2927" y="2640"/>
                  <a:pt x="2895" y="2529"/>
                  <a:pt x="2815" y="2450"/>
                </a:cubicBezTo>
                <a:cubicBezTo>
                  <a:pt x="2751" y="2402"/>
                  <a:pt x="2688" y="2386"/>
                  <a:pt x="2641" y="2354"/>
                </a:cubicBezTo>
                <a:cubicBezTo>
                  <a:pt x="2561" y="2322"/>
                  <a:pt x="2497" y="2307"/>
                  <a:pt x="2418" y="2275"/>
                </a:cubicBezTo>
                <a:cubicBezTo>
                  <a:pt x="2354" y="2259"/>
                  <a:pt x="2275" y="2243"/>
                  <a:pt x="2211" y="2211"/>
                </a:cubicBezTo>
                <a:cubicBezTo>
                  <a:pt x="2147" y="2179"/>
                  <a:pt x="2099" y="2148"/>
                  <a:pt x="2084" y="2100"/>
                </a:cubicBezTo>
                <a:cubicBezTo>
                  <a:pt x="2052" y="2036"/>
                  <a:pt x="2068" y="1957"/>
                  <a:pt x="2115" y="1893"/>
                </a:cubicBezTo>
                <a:cubicBezTo>
                  <a:pt x="2211" y="1798"/>
                  <a:pt x="2386" y="1798"/>
                  <a:pt x="2481" y="1813"/>
                </a:cubicBezTo>
                <a:cubicBezTo>
                  <a:pt x="2641" y="1830"/>
                  <a:pt x="2672" y="1877"/>
                  <a:pt x="2768" y="1909"/>
                </a:cubicBezTo>
                <a:cubicBezTo>
                  <a:pt x="2799" y="1941"/>
                  <a:pt x="2847" y="1941"/>
                  <a:pt x="2879" y="1893"/>
                </a:cubicBezTo>
                <a:cubicBezTo>
                  <a:pt x="2911" y="1861"/>
                  <a:pt x="2895" y="1813"/>
                  <a:pt x="2863" y="1782"/>
                </a:cubicBezTo>
                <a:cubicBezTo>
                  <a:pt x="2741" y="1739"/>
                  <a:pt x="2704" y="1670"/>
                  <a:pt x="2497" y="1654"/>
                </a:cubicBezTo>
                <a:lnTo>
                  <a:pt x="2481" y="1654"/>
                </a:lnTo>
                <a:lnTo>
                  <a:pt x="2481" y="1384"/>
                </a:lnTo>
                <a:cubicBezTo>
                  <a:pt x="2481" y="1336"/>
                  <a:pt x="2433" y="1304"/>
                  <a:pt x="2402" y="1304"/>
                </a:cubicBezTo>
                <a:cubicBezTo>
                  <a:pt x="2354" y="1304"/>
                  <a:pt x="2322" y="1336"/>
                  <a:pt x="2322" y="1384"/>
                </a:cubicBezTo>
                <a:lnTo>
                  <a:pt x="2322" y="1639"/>
                </a:lnTo>
                <a:cubicBezTo>
                  <a:pt x="2195" y="1654"/>
                  <a:pt x="2084" y="1702"/>
                  <a:pt x="1988" y="1798"/>
                </a:cubicBezTo>
                <a:cubicBezTo>
                  <a:pt x="1909" y="1893"/>
                  <a:pt x="1877" y="2052"/>
                  <a:pt x="1941" y="2163"/>
                </a:cubicBezTo>
                <a:cubicBezTo>
                  <a:pt x="1972" y="2243"/>
                  <a:pt x="2036" y="2307"/>
                  <a:pt x="2147" y="2354"/>
                </a:cubicBezTo>
                <a:cubicBezTo>
                  <a:pt x="2227" y="2386"/>
                  <a:pt x="2290" y="2418"/>
                  <a:pt x="2370" y="2434"/>
                </a:cubicBezTo>
                <a:cubicBezTo>
                  <a:pt x="2433" y="2450"/>
                  <a:pt x="2513" y="2466"/>
                  <a:pt x="2577" y="2497"/>
                </a:cubicBezTo>
                <a:cubicBezTo>
                  <a:pt x="2624" y="2529"/>
                  <a:pt x="2672" y="2545"/>
                  <a:pt x="2704" y="2577"/>
                </a:cubicBezTo>
                <a:cubicBezTo>
                  <a:pt x="2751" y="2609"/>
                  <a:pt x="2768" y="2672"/>
                  <a:pt x="2751" y="2752"/>
                </a:cubicBezTo>
                <a:lnTo>
                  <a:pt x="2751" y="2768"/>
                </a:lnTo>
                <a:cubicBezTo>
                  <a:pt x="2720" y="2911"/>
                  <a:pt x="2561" y="2975"/>
                  <a:pt x="2450" y="2975"/>
                </a:cubicBezTo>
                <a:cubicBezTo>
                  <a:pt x="2275" y="2991"/>
                  <a:pt x="2099" y="2927"/>
                  <a:pt x="1956" y="2800"/>
                </a:cubicBezTo>
                <a:cubicBezTo>
                  <a:pt x="1924" y="2768"/>
                  <a:pt x="1861" y="2784"/>
                  <a:pt x="1845" y="2815"/>
                </a:cubicBezTo>
                <a:cubicBezTo>
                  <a:pt x="1813" y="2848"/>
                  <a:pt x="1813" y="2895"/>
                  <a:pt x="1845" y="292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6" name="Freeform: Shape 15">
            <a:extLst>
              <a:ext uri="{FF2B5EF4-FFF2-40B4-BE49-F238E27FC236}">
                <a16:creationId xmlns:a16="http://schemas.microsoft.com/office/drawing/2014/main" id="{01137461-1C76-CF45-9F3A-FC75061199B1}"/>
              </a:ext>
            </a:extLst>
          </p:cNvPr>
          <p:cNvSpPr/>
          <p:nvPr/>
        </p:nvSpPr>
        <p:spPr>
          <a:xfrm>
            <a:off x="13942600" y="6321564"/>
            <a:ext cx="1711800" cy="1717560"/>
          </a:xfrm>
          <a:custGeom>
            <a:avLst/>
            <a:gdLst/>
            <a:ahLst/>
            <a:cxnLst>
              <a:cxn ang="3cd4">
                <a:pos x="hc" y="t"/>
              </a:cxn>
              <a:cxn ang="cd2">
                <a:pos x="l" y="vc"/>
              </a:cxn>
              <a:cxn ang="cd4">
                <a:pos x="hc" y="b"/>
              </a:cxn>
              <a:cxn ang="0">
                <a:pos x="r" y="vc"/>
              </a:cxn>
            </a:cxnLst>
            <a:rect l="l" t="t" r="r" b="b"/>
            <a:pathLst>
              <a:path w="4756" h="4772">
                <a:moveTo>
                  <a:pt x="2386" y="0"/>
                </a:moveTo>
                <a:cubicBezTo>
                  <a:pt x="1066" y="0"/>
                  <a:pt x="0" y="1066"/>
                  <a:pt x="0" y="2386"/>
                </a:cubicBezTo>
                <a:cubicBezTo>
                  <a:pt x="0" y="3706"/>
                  <a:pt x="1066" y="4772"/>
                  <a:pt x="2386" y="4772"/>
                </a:cubicBezTo>
                <a:cubicBezTo>
                  <a:pt x="3690" y="4772"/>
                  <a:pt x="4756" y="3706"/>
                  <a:pt x="4756" y="2386"/>
                </a:cubicBezTo>
                <a:cubicBezTo>
                  <a:pt x="4756" y="1066"/>
                  <a:pt x="3690" y="0"/>
                  <a:pt x="2386" y="0"/>
                </a:cubicBezTo>
                <a:close/>
                <a:moveTo>
                  <a:pt x="2386" y="4613"/>
                </a:moveTo>
                <a:cubicBezTo>
                  <a:pt x="1161" y="4613"/>
                  <a:pt x="159" y="3611"/>
                  <a:pt x="159" y="2386"/>
                </a:cubicBezTo>
                <a:cubicBezTo>
                  <a:pt x="159" y="1161"/>
                  <a:pt x="1161" y="159"/>
                  <a:pt x="2386" y="159"/>
                </a:cubicBezTo>
                <a:cubicBezTo>
                  <a:pt x="3611" y="159"/>
                  <a:pt x="4597" y="1161"/>
                  <a:pt x="4597" y="2386"/>
                </a:cubicBezTo>
                <a:cubicBezTo>
                  <a:pt x="4597" y="3611"/>
                  <a:pt x="3611" y="4613"/>
                  <a:pt x="2386" y="4613"/>
                </a:cubicBezTo>
                <a:close/>
                <a:moveTo>
                  <a:pt x="2386" y="875"/>
                </a:moveTo>
                <a:cubicBezTo>
                  <a:pt x="2417" y="875"/>
                  <a:pt x="2465" y="875"/>
                  <a:pt x="2513" y="891"/>
                </a:cubicBezTo>
                <a:cubicBezTo>
                  <a:pt x="2561" y="891"/>
                  <a:pt x="2593" y="859"/>
                  <a:pt x="2593" y="812"/>
                </a:cubicBezTo>
                <a:cubicBezTo>
                  <a:pt x="2608" y="764"/>
                  <a:pt x="2577" y="732"/>
                  <a:pt x="2529" y="732"/>
                </a:cubicBezTo>
                <a:cubicBezTo>
                  <a:pt x="2481" y="716"/>
                  <a:pt x="2434" y="716"/>
                  <a:pt x="2386" y="716"/>
                </a:cubicBezTo>
                <a:lnTo>
                  <a:pt x="2370" y="716"/>
                </a:lnTo>
                <a:cubicBezTo>
                  <a:pt x="2322" y="716"/>
                  <a:pt x="2290" y="748"/>
                  <a:pt x="2290" y="795"/>
                </a:cubicBezTo>
                <a:cubicBezTo>
                  <a:pt x="2290" y="843"/>
                  <a:pt x="2338" y="875"/>
                  <a:pt x="2386" y="875"/>
                </a:cubicBezTo>
                <a:close/>
                <a:moveTo>
                  <a:pt x="1813" y="3785"/>
                </a:moveTo>
                <a:cubicBezTo>
                  <a:pt x="1765" y="3769"/>
                  <a:pt x="1718" y="3737"/>
                  <a:pt x="1670" y="3721"/>
                </a:cubicBezTo>
                <a:cubicBezTo>
                  <a:pt x="1638" y="3705"/>
                  <a:pt x="1590" y="3721"/>
                  <a:pt x="1559" y="3753"/>
                </a:cubicBezTo>
                <a:cubicBezTo>
                  <a:pt x="1543" y="3785"/>
                  <a:pt x="1559" y="3832"/>
                  <a:pt x="1607" y="3865"/>
                </a:cubicBezTo>
                <a:cubicBezTo>
                  <a:pt x="1654" y="3880"/>
                  <a:pt x="1702" y="3912"/>
                  <a:pt x="1750" y="3928"/>
                </a:cubicBezTo>
                <a:lnTo>
                  <a:pt x="1781" y="3928"/>
                </a:lnTo>
                <a:cubicBezTo>
                  <a:pt x="1813" y="3928"/>
                  <a:pt x="1845" y="3912"/>
                  <a:pt x="1845" y="3880"/>
                </a:cubicBezTo>
                <a:cubicBezTo>
                  <a:pt x="1861" y="3848"/>
                  <a:pt x="1845" y="3801"/>
                  <a:pt x="1813" y="3785"/>
                </a:cubicBezTo>
                <a:close/>
                <a:moveTo>
                  <a:pt x="875" y="2386"/>
                </a:moveTo>
                <a:lnTo>
                  <a:pt x="875" y="2243"/>
                </a:lnTo>
                <a:cubicBezTo>
                  <a:pt x="875" y="2211"/>
                  <a:pt x="843" y="2163"/>
                  <a:pt x="811" y="2163"/>
                </a:cubicBezTo>
                <a:cubicBezTo>
                  <a:pt x="763" y="2163"/>
                  <a:pt x="716" y="2195"/>
                  <a:pt x="716" y="2227"/>
                </a:cubicBezTo>
                <a:lnTo>
                  <a:pt x="716" y="2386"/>
                </a:lnTo>
                <a:lnTo>
                  <a:pt x="795" y="2402"/>
                </a:lnTo>
                <a:lnTo>
                  <a:pt x="716" y="2402"/>
                </a:lnTo>
                <a:cubicBezTo>
                  <a:pt x="716" y="2434"/>
                  <a:pt x="747" y="2466"/>
                  <a:pt x="795" y="2466"/>
                </a:cubicBezTo>
                <a:cubicBezTo>
                  <a:pt x="843" y="2466"/>
                  <a:pt x="875" y="2434"/>
                  <a:pt x="875" y="2386"/>
                </a:cubicBezTo>
                <a:close/>
                <a:moveTo>
                  <a:pt x="3816" y="1941"/>
                </a:moveTo>
                <a:cubicBezTo>
                  <a:pt x="3832" y="1973"/>
                  <a:pt x="3864" y="1988"/>
                  <a:pt x="3896" y="1988"/>
                </a:cubicBezTo>
                <a:lnTo>
                  <a:pt x="3912" y="1988"/>
                </a:lnTo>
                <a:cubicBezTo>
                  <a:pt x="3960" y="1973"/>
                  <a:pt x="3975" y="1925"/>
                  <a:pt x="3975" y="1893"/>
                </a:cubicBezTo>
                <a:cubicBezTo>
                  <a:pt x="3960" y="1830"/>
                  <a:pt x="3928" y="1782"/>
                  <a:pt x="3912" y="1734"/>
                </a:cubicBezTo>
                <a:cubicBezTo>
                  <a:pt x="3896" y="1686"/>
                  <a:pt x="3848" y="1670"/>
                  <a:pt x="3800" y="1686"/>
                </a:cubicBezTo>
                <a:cubicBezTo>
                  <a:pt x="3769" y="1702"/>
                  <a:pt x="3753" y="1750"/>
                  <a:pt x="3769" y="1798"/>
                </a:cubicBezTo>
                <a:cubicBezTo>
                  <a:pt x="3785" y="1845"/>
                  <a:pt x="3800" y="1893"/>
                  <a:pt x="3816" y="1941"/>
                </a:cubicBezTo>
                <a:close/>
                <a:moveTo>
                  <a:pt x="4040" y="2369"/>
                </a:moveTo>
                <a:cubicBezTo>
                  <a:pt x="4040" y="2321"/>
                  <a:pt x="4008" y="2290"/>
                  <a:pt x="3961" y="2306"/>
                </a:cubicBezTo>
                <a:cubicBezTo>
                  <a:pt x="3929" y="2306"/>
                  <a:pt x="3881" y="2338"/>
                  <a:pt x="3881" y="2385"/>
                </a:cubicBezTo>
                <a:lnTo>
                  <a:pt x="3881" y="2528"/>
                </a:lnTo>
                <a:cubicBezTo>
                  <a:pt x="3881" y="2576"/>
                  <a:pt x="3913" y="2624"/>
                  <a:pt x="3944" y="2624"/>
                </a:cubicBezTo>
                <a:lnTo>
                  <a:pt x="3961" y="2624"/>
                </a:lnTo>
                <a:cubicBezTo>
                  <a:pt x="3992" y="2624"/>
                  <a:pt x="4040" y="2592"/>
                  <a:pt x="4040" y="2544"/>
                </a:cubicBezTo>
                <a:lnTo>
                  <a:pt x="4040" y="2385"/>
                </a:lnTo>
                <a:close/>
                <a:moveTo>
                  <a:pt x="1017" y="1574"/>
                </a:moveTo>
                <a:cubicBezTo>
                  <a:pt x="969" y="1558"/>
                  <a:pt x="922" y="1574"/>
                  <a:pt x="906" y="1606"/>
                </a:cubicBezTo>
                <a:cubicBezTo>
                  <a:pt x="874" y="1653"/>
                  <a:pt x="858" y="1701"/>
                  <a:pt x="826" y="1765"/>
                </a:cubicBezTo>
                <a:cubicBezTo>
                  <a:pt x="810" y="1797"/>
                  <a:pt x="842" y="1844"/>
                  <a:pt x="874" y="1860"/>
                </a:cubicBezTo>
                <a:lnTo>
                  <a:pt x="906" y="1860"/>
                </a:lnTo>
                <a:cubicBezTo>
                  <a:pt x="937" y="1860"/>
                  <a:pt x="969" y="1844"/>
                  <a:pt x="985" y="1812"/>
                </a:cubicBezTo>
                <a:cubicBezTo>
                  <a:pt x="1001" y="1765"/>
                  <a:pt x="1017" y="1733"/>
                  <a:pt x="1049" y="1685"/>
                </a:cubicBezTo>
                <a:cubicBezTo>
                  <a:pt x="1065" y="1653"/>
                  <a:pt x="1049" y="1590"/>
                  <a:pt x="1017" y="1574"/>
                </a:cubicBezTo>
                <a:close/>
                <a:moveTo>
                  <a:pt x="1304" y="1112"/>
                </a:moveTo>
                <a:cubicBezTo>
                  <a:pt x="1272" y="1145"/>
                  <a:pt x="1225" y="1176"/>
                  <a:pt x="1193" y="1208"/>
                </a:cubicBezTo>
                <a:cubicBezTo>
                  <a:pt x="1161" y="1240"/>
                  <a:pt x="1161" y="1303"/>
                  <a:pt x="1193" y="1335"/>
                </a:cubicBezTo>
                <a:cubicBezTo>
                  <a:pt x="1209" y="1351"/>
                  <a:pt x="1225" y="1351"/>
                  <a:pt x="1241" y="1351"/>
                </a:cubicBezTo>
                <a:cubicBezTo>
                  <a:pt x="1272" y="1351"/>
                  <a:pt x="1289" y="1335"/>
                  <a:pt x="1304" y="1335"/>
                </a:cubicBezTo>
                <a:cubicBezTo>
                  <a:pt x="1336" y="1288"/>
                  <a:pt x="1368" y="1256"/>
                  <a:pt x="1416" y="1224"/>
                </a:cubicBezTo>
                <a:cubicBezTo>
                  <a:pt x="1447" y="1192"/>
                  <a:pt x="1447" y="1145"/>
                  <a:pt x="1416" y="1112"/>
                </a:cubicBezTo>
                <a:cubicBezTo>
                  <a:pt x="1399" y="1081"/>
                  <a:pt x="1352" y="1081"/>
                  <a:pt x="1304" y="1112"/>
                </a:cubicBezTo>
                <a:close/>
                <a:moveTo>
                  <a:pt x="938" y="2831"/>
                </a:moveTo>
                <a:cubicBezTo>
                  <a:pt x="923" y="2784"/>
                  <a:pt x="875" y="2768"/>
                  <a:pt x="843" y="2784"/>
                </a:cubicBezTo>
                <a:cubicBezTo>
                  <a:pt x="795" y="2800"/>
                  <a:pt x="780" y="2831"/>
                  <a:pt x="780" y="2879"/>
                </a:cubicBezTo>
                <a:cubicBezTo>
                  <a:pt x="795" y="2927"/>
                  <a:pt x="827" y="2991"/>
                  <a:pt x="843" y="3038"/>
                </a:cubicBezTo>
                <a:cubicBezTo>
                  <a:pt x="859" y="3070"/>
                  <a:pt x="890" y="3086"/>
                  <a:pt x="923" y="3086"/>
                </a:cubicBezTo>
                <a:cubicBezTo>
                  <a:pt x="928" y="3081"/>
                  <a:pt x="938" y="3086"/>
                  <a:pt x="938" y="3070"/>
                </a:cubicBezTo>
                <a:cubicBezTo>
                  <a:pt x="986" y="3054"/>
                  <a:pt x="1002" y="3006"/>
                  <a:pt x="986" y="2975"/>
                </a:cubicBezTo>
                <a:close/>
                <a:moveTo>
                  <a:pt x="1225" y="3356"/>
                </a:moveTo>
                <a:cubicBezTo>
                  <a:pt x="1193" y="3308"/>
                  <a:pt x="1145" y="3308"/>
                  <a:pt x="1098" y="3339"/>
                </a:cubicBezTo>
                <a:cubicBezTo>
                  <a:pt x="1066" y="3371"/>
                  <a:pt x="1066" y="3419"/>
                  <a:pt x="1098" y="3451"/>
                </a:cubicBezTo>
                <a:cubicBezTo>
                  <a:pt x="1129" y="3499"/>
                  <a:pt x="1161" y="3530"/>
                  <a:pt x="1209" y="3578"/>
                </a:cubicBezTo>
                <a:cubicBezTo>
                  <a:pt x="1225" y="3578"/>
                  <a:pt x="1241" y="3594"/>
                  <a:pt x="1256" y="3594"/>
                </a:cubicBezTo>
                <a:cubicBezTo>
                  <a:pt x="1289" y="3594"/>
                  <a:pt x="1304" y="3578"/>
                  <a:pt x="1320" y="3578"/>
                </a:cubicBezTo>
                <a:cubicBezTo>
                  <a:pt x="1352" y="3546"/>
                  <a:pt x="1352" y="3483"/>
                  <a:pt x="1320" y="3451"/>
                </a:cubicBezTo>
                <a:cubicBezTo>
                  <a:pt x="1289" y="3419"/>
                  <a:pt x="1256" y="3387"/>
                  <a:pt x="1225" y="3356"/>
                </a:cubicBezTo>
                <a:close/>
                <a:moveTo>
                  <a:pt x="3880" y="2926"/>
                </a:moveTo>
                <a:cubicBezTo>
                  <a:pt x="3832" y="2910"/>
                  <a:pt x="3785" y="2926"/>
                  <a:pt x="3769" y="2958"/>
                </a:cubicBezTo>
                <a:cubicBezTo>
                  <a:pt x="3753" y="3005"/>
                  <a:pt x="3737" y="3053"/>
                  <a:pt x="3705" y="3101"/>
                </a:cubicBezTo>
                <a:cubicBezTo>
                  <a:pt x="3689" y="3133"/>
                  <a:pt x="3705" y="3180"/>
                  <a:pt x="3737" y="3196"/>
                </a:cubicBezTo>
                <a:cubicBezTo>
                  <a:pt x="3753" y="3212"/>
                  <a:pt x="3769" y="3212"/>
                  <a:pt x="3785" y="3212"/>
                </a:cubicBezTo>
                <a:cubicBezTo>
                  <a:pt x="3800" y="3212"/>
                  <a:pt x="3832" y="3196"/>
                  <a:pt x="3848" y="3165"/>
                </a:cubicBezTo>
                <a:cubicBezTo>
                  <a:pt x="3880" y="3117"/>
                  <a:pt x="3896" y="3069"/>
                  <a:pt x="3912" y="3021"/>
                </a:cubicBezTo>
                <a:cubicBezTo>
                  <a:pt x="3943" y="2990"/>
                  <a:pt x="3912" y="2942"/>
                  <a:pt x="3880" y="2926"/>
                </a:cubicBezTo>
                <a:close/>
                <a:moveTo>
                  <a:pt x="2386" y="3897"/>
                </a:moveTo>
                <a:cubicBezTo>
                  <a:pt x="2338" y="3897"/>
                  <a:pt x="2290" y="3897"/>
                  <a:pt x="2243" y="3881"/>
                </a:cubicBezTo>
                <a:cubicBezTo>
                  <a:pt x="2195" y="3881"/>
                  <a:pt x="2147" y="3913"/>
                  <a:pt x="2147" y="3961"/>
                </a:cubicBezTo>
                <a:cubicBezTo>
                  <a:pt x="2147" y="4009"/>
                  <a:pt x="2179" y="4040"/>
                  <a:pt x="2227" y="4040"/>
                </a:cubicBezTo>
                <a:cubicBezTo>
                  <a:pt x="2274" y="4056"/>
                  <a:pt x="2322" y="4056"/>
                  <a:pt x="2370" y="4056"/>
                </a:cubicBezTo>
                <a:lnTo>
                  <a:pt x="2386" y="4056"/>
                </a:lnTo>
                <a:cubicBezTo>
                  <a:pt x="2434" y="4056"/>
                  <a:pt x="2465" y="4024"/>
                  <a:pt x="2465" y="3976"/>
                </a:cubicBezTo>
                <a:cubicBezTo>
                  <a:pt x="2465" y="3929"/>
                  <a:pt x="2417" y="3897"/>
                  <a:pt x="2386" y="3897"/>
                </a:cubicBezTo>
                <a:close/>
                <a:moveTo>
                  <a:pt x="2957" y="3785"/>
                </a:moveTo>
                <a:cubicBezTo>
                  <a:pt x="2910" y="3801"/>
                  <a:pt x="2862" y="3817"/>
                  <a:pt x="2814" y="3832"/>
                </a:cubicBezTo>
                <a:cubicBezTo>
                  <a:pt x="2782" y="3848"/>
                  <a:pt x="2751" y="3880"/>
                  <a:pt x="2767" y="3928"/>
                </a:cubicBezTo>
                <a:cubicBezTo>
                  <a:pt x="2782" y="3960"/>
                  <a:pt x="2814" y="3992"/>
                  <a:pt x="2846" y="3992"/>
                </a:cubicBezTo>
                <a:lnTo>
                  <a:pt x="2862" y="3975"/>
                </a:lnTo>
                <a:cubicBezTo>
                  <a:pt x="2925" y="3960"/>
                  <a:pt x="2973" y="3944"/>
                  <a:pt x="3021" y="3928"/>
                </a:cubicBezTo>
                <a:cubicBezTo>
                  <a:pt x="3053" y="3912"/>
                  <a:pt x="3085" y="3865"/>
                  <a:pt x="3069" y="3817"/>
                </a:cubicBezTo>
                <a:cubicBezTo>
                  <a:pt x="3053" y="3785"/>
                  <a:pt x="3005" y="3769"/>
                  <a:pt x="2957" y="3785"/>
                </a:cubicBezTo>
                <a:close/>
                <a:moveTo>
                  <a:pt x="3546" y="1193"/>
                </a:moveTo>
                <a:cubicBezTo>
                  <a:pt x="3514" y="1161"/>
                  <a:pt x="3466" y="1161"/>
                  <a:pt x="3434" y="1193"/>
                </a:cubicBezTo>
                <a:cubicBezTo>
                  <a:pt x="3403" y="1225"/>
                  <a:pt x="3403" y="1273"/>
                  <a:pt x="3434" y="1304"/>
                </a:cubicBezTo>
                <a:cubicBezTo>
                  <a:pt x="3466" y="1336"/>
                  <a:pt x="3498" y="1384"/>
                  <a:pt x="3530" y="1416"/>
                </a:cubicBezTo>
                <a:cubicBezTo>
                  <a:pt x="3546" y="1432"/>
                  <a:pt x="3578" y="1448"/>
                  <a:pt x="3594" y="1448"/>
                </a:cubicBezTo>
                <a:cubicBezTo>
                  <a:pt x="3610" y="1448"/>
                  <a:pt x="3625" y="1448"/>
                  <a:pt x="3642" y="1432"/>
                </a:cubicBezTo>
                <a:cubicBezTo>
                  <a:pt x="3673" y="1400"/>
                  <a:pt x="3689" y="1352"/>
                  <a:pt x="3657" y="1321"/>
                </a:cubicBezTo>
                <a:cubicBezTo>
                  <a:pt x="3625" y="1273"/>
                  <a:pt x="3578" y="1241"/>
                  <a:pt x="3546" y="1193"/>
                </a:cubicBezTo>
                <a:close/>
                <a:moveTo>
                  <a:pt x="3149" y="907"/>
                </a:moveTo>
                <a:cubicBezTo>
                  <a:pt x="3102" y="891"/>
                  <a:pt x="3054" y="859"/>
                  <a:pt x="3006" y="843"/>
                </a:cubicBezTo>
                <a:cubicBezTo>
                  <a:pt x="2958" y="827"/>
                  <a:pt x="2911" y="843"/>
                  <a:pt x="2895" y="891"/>
                </a:cubicBezTo>
                <a:cubicBezTo>
                  <a:pt x="2879" y="923"/>
                  <a:pt x="2895" y="970"/>
                  <a:pt x="2943" y="986"/>
                </a:cubicBezTo>
                <a:cubicBezTo>
                  <a:pt x="2990" y="1002"/>
                  <a:pt x="3038" y="1034"/>
                  <a:pt x="3070" y="1050"/>
                </a:cubicBezTo>
                <a:cubicBezTo>
                  <a:pt x="3086" y="1050"/>
                  <a:pt x="3102" y="1066"/>
                  <a:pt x="3117" y="1066"/>
                </a:cubicBezTo>
                <a:cubicBezTo>
                  <a:pt x="3149" y="1066"/>
                  <a:pt x="3165" y="1050"/>
                  <a:pt x="3181" y="1018"/>
                </a:cubicBezTo>
                <a:cubicBezTo>
                  <a:pt x="3197" y="970"/>
                  <a:pt x="3197" y="923"/>
                  <a:pt x="3149" y="907"/>
                </a:cubicBezTo>
                <a:close/>
                <a:moveTo>
                  <a:pt x="3451" y="3452"/>
                </a:moveTo>
                <a:cubicBezTo>
                  <a:pt x="3419" y="3484"/>
                  <a:pt x="3371" y="3515"/>
                  <a:pt x="3339" y="3547"/>
                </a:cubicBezTo>
                <a:cubicBezTo>
                  <a:pt x="3307" y="3579"/>
                  <a:pt x="3291" y="3627"/>
                  <a:pt x="3323" y="3658"/>
                </a:cubicBezTo>
                <a:cubicBezTo>
                  <a:pt x="3339" y="3690"/>
                  <a:pt x="3371" y="3690"/>
                  <a:pt x="3387" y="3690"/>
                </a:cubicBezTo>
                <a:cubicBezTo>
                  <a:pt x="3403" y="3690"/>
                  <a:pt x="3419" y="3690"/>
                  <a:pt x="3434" y="3675"/>
                </a:cubicBezTo>
                <a:cubicBezTo>
                  <a:pt x="3482" y="3643"/>
                  <a:pt x="3514" y="3611"/>
                  <a:pt x="3562" y="3563"/>
                </a:cubicBezTo>
                <a:cubicBezTo>
                  <a:pt x="3594" y="3531"/>
                  <a:pt x="3594" y="3484"/>
                  <a:pt x="3562" y="3452"/>
                </a:cubicBezTo>
                <a:cubicBezTo>
                  <a:pt x="3530" y="3420"/>
                  <a:pt x="3482" y="3420"/>
                  <a:pt x="3451" y="3452"/>
                </a:cubicBezTo>
                <a:close/>
                <a:moveTo>
                  <a:pt x="1988" y="843"/>
                </a:moveTo>
                <a:cubicBezTo>
                  <a:pt x="1972" y="812"/>
                  <a:pt x="1925" y="780"/>
                  <a:pt x="1877" y="795"/>
                </a:cubicBezTo>
                <a:cubicBezTo>
                  <a:pt x="1829" y="812"/>
                  <a:pt x="1781" y="827"/>
                  <a:pt x="1734" y="859"/>
                </a:cubicBezTo>
                <a:cubicBezTo>
                  <a:pt x="1686" y="875"/>
                  <a:pt x="1670" y="923"/>
                  <a:pt x="1686" y="955"/>
                </a:cubicBezTo>
                <a:cubicBezTo>
                  <a:pt x="1702" y="986"/>
                  <a:pt x="1734" y="1002"/>
                  <a:pt x="1765" y="1002"/>
                </a:cubicBezTo>
                <a:lnTo>
                  <a:pt x="1798" y="1002"/>
                </a:lnTo>
                <a:cubicBezTo>
                  <a:pt x="1829" y="986"/>
                  <a:pt x="1877" y="955"/>
                  <a:pt x="1925" y="955"/>
                </a:cubicBezTo>
                <a:cubicBezTo>
                  <a:pt x="1972" y="939"/>
                  <a:pt x="1988" y="891"/>
                  <a:pt x="1988" y="843"/>
                </a:cubicBezTo>
                <a:close/>
                <a:moveTo>
                  <a:pt x="2799" y="2720"/>
                </a:moveTo>
                <a:lnTo>
                  <a:pt x="2799" y="2688"/>
                </a:lnTo>
                <a:cubicBezTo>
                  <a:pt x="2815" y="2577"/>
                  <a:pt x="2783" y="2482"/>
                  <a:pt x="2720" y="2418"/>
                </a:cubicBezTo>
                <a:cubicBezTo>
                  <a:pt x="2672" y="2386"/>
                  <a:pt x="2625" y="2370"/>
                  <a:pt x="2577" y="2339"/>
                </a:cubicBezTo>
                <a:cubicBezTo>
                  <a:pt x="2529" y="2322"/>
                  <a:pt x="2465" y="2307"/>
                  <a:pt x="2417" y="2291"/>
                </a:cubicBezTo>
                <a:cubicBezTo>
                  <a:pt x="2354" y="2275"/>
                  <a:pt x="2306" y="2259"/>
                  <a:pt x="2259" y="2243"/>
                </a:cubicBezTo>
                <a:cubicBezTo>
                  <a:pt x="2211" y="2211"/>
                  <a:pt x="2179" y="2195"/>
                  <a:pt x="2179" y="2163"/>
                </a:cubicBezTo>
                <a:cubicBezTo>
                  <a:pt x="2147" y="2131"/>
                  <a:pt x="2163" y="2068"/>
                  <a:pt x="2195" y="2036"/>
                </a:cubicBezTo>
                <a:cubicBezTo>
                  <a:pt x="2259" y="1957"/>
                  <a:pt x="2386" y="1973"/>
                  <a:pt x="2450" y="1973"/>
                </a:cubicBezTo>
                <a:cubicBezTo>
                  <a:pt x="2561" y="1988"/>
                  <a:pt x="2587" y="2026"/>
                  <a:pt x="2656" y="2052"/>
                </a:cubicBezTo>
                <a:cubicBezTo>
                  <a:pt x="2688" y="2068"/>
                  <a:pt x="2736" y="2068"/>
                  <a:pt x="2768" y="2036"/>
                </a:cubicBezTo>
                <a:cubicBezTo>
                  <a:pt x="2799" y="2004"/>
                  <a:pt x="2783" y="1941"/>
                  <a:pt x="2752" y="1925"/>
                </a:cubicBezTo>
                <a:cubicBezTo>
                  <a:pt x="2656" y="1888"/>
                  <a:pt x="2640" y="1830"/>
                  <a:pt x="2465" y="1813"/>
                </a:cubicBezTo>
                <a:lnTo>
                  <a:pt x="2465" y="1639"/>
                </a:lnTo>
                <a:cubicBezTo>
                  <a:pt x="2465" y="1591"/>
                  <a:pt x="2434" y="1559"/>
                  <a:pt x="2386" y="1559"/>
                </a:cubicBezTo>
                <a:cubicBezTo>
                  <a:pt x="2338" y="1559"/>
                  <a:pt x="2306" y="1591"/>
                  <a:pt x="2306" y="1639"/>
                </a:cubicBezTo>
                <a:lnTo>
                  <a:pt x="2306" y="1813"/>
                </a:lnTo>
                <a:cubicBezTo>
                  <a:pt x="2211" y="1830"/>
                  <a:pt x="2131" y="1861"/>
                  <a:pt x="2068" y="1925"/>
                </a:cubicBezTo>
                <a:cubicBezTo>
                  <a:pt x="2004" y="2020"/>
                  <a:pt x="1988" y="2131"/>
                  <a:pt x="2020" y="2227"/>
                </a:cubicBezTo>
                <a:cubicBezTo>
                  <a:pt x="2052" y="2291"/>
                  <a:pt x="2116" y="2354"/>
                  <a:pt x="2195" y="2386"/>
                </a:cubicBezTo>
                <a:cubicBezTo>
                  <a:pt x="2259" y="2402"/>
                  <a:pt x="2306" y="2418"/>
                  <a:pt x="2370" y="2434"/>
                </a:cubicBezTo>
                <a:cubicBezTo>
                  <a:pt x="2417" y="2450"/>
                  <a:pt x="2465" y="2466"/>
                  <a:pt x="2513" y="2497"/>
                </a:cubicBezTo>
                <a:cubicBezTo>
                  <a:pt x="2545" y="2513"/>
                  <a:pt x="2577" y="2513"/>
                  <a:pt x="2608" y="2545"/>
                </a:cubicBezTo>
                <a:cubicBezTo>
                  <a:pt x="2640" y="2561"/>
                  <a:pt x="2656" y="2609"/>
                  <a:pt x="2640" y="2672"/>
                </a:cubicBezTo>
                <a:cubicBezTo>
                  <a:pt x="2608" y="2768"/>
                  <a:pt x="2513" y="2815"/>
                  <a:pt x="2434" y="2815"/>
                </a:cubicBezTo>
                <a:cubicBezTo>
                  <a:pt x="2290" y="2815"/>
                  <a:pt x="2179" y="2768"/>
                  <a:pt x="2068" y="2688"/>
                </a:cubicBezTo>
                <a:cubicBezTo>
                  <a:pt x="2036" y="2657"/>
                  <a:pt x="1988" y="2657"/>
                  <a:pt x="1956" y="2704"/>
                </a:cubicBezTo>
                <a:cubicBezTo>
                  <a:pt x="1925" y="2736"/>
                  <a:pt x="1941" y="2784"/>
                  <a:pt x="1972" y="2815"/>
                </a:cubicBezTo>
                <a:cubicBezTo>
                  <a:pt x="2068" y="2895"/>
                  <a:pt x="2195" y="2943"/>
                  <a:pt x="2306" y="2959"/>
                </a:cubicBezTo>
                <a:lnTo>
                  <a:pt x="2306" y="3149"/>
                </a:lnTo>
                <a:cubicBezTo>
                  <a:pt x="2306" y="3197"/>
                  <a:pt x="2338" y="3229"/>
                  <a:pt x="2386" y="3229"/>
                </a:cubicBezTo>
                <a:cubicBezTo>
                  <a:pt x="2434" y="3229"/>
                  <a:pt x="2465" y="3197"/>
                  <a:pt x="2465" y="3149"/>
                </a:cubicBezTo>
                <a:lnTo>
                  <a:pt x="2465" y="2975"/>
                </a:lnTo>
                <a:cubicBezTo>
                  <a:pt x="2608" y="2959"/>
                  <a:pt x="2752" y="2879"/>
                  <a:pt x="2799" y="272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7" name="Freeform: Shape 16">
            <a:extLst>
              <a:ext uri="{FF2B5EF4-FFF2-40B4-BE49-F238E27FC236}">
                <a16:creationId xmlns:a16="http://schemas.microsoft.com/office/drawing/2014/main" id="{A4AAFE34-4AF4-A947-8C98-125DC16E851B}"/>
              </a:ext>
            </a:extLst>
          </p:cNvPr>
          <p:cNvSpPr/>
          <p:nvPr/>
        </p:nvSpPr>
        <p:spPr>
          <a:xfrm>
            <a:off x="17503936" y="6350364"/>
            <a:ext cx="1500119" cy="1499759"/>
          </a:xfrm>
          <a:custGeom>
            <a:avLst/>
            <a:gdLst/>
            <a:ahLst/>
            <a:cxnLst>
              <a:cxn ang="3cd4">
                <a:pos x="hc" y="t"/>
              </a:cxn>
              <a:cxn ang="cd2">
                <a:pos x="l" y="vc"/>
              </a:cxn>
              <a:cxn ang="cd4">
                <a:pos x="hc" y="b"/>
              </a:cxn>
              <a:cxn ang="0">
                <a:pos x="r" y="vc"/>
              </a:cxn>
            </a:cxnLst>
            <a:rect l="l" t="t" r="r" b="b"/>
            <a:pathLst>
              <a:path w="4168" h="4167">
                <a:moveTo>
                  <a:pt x="0" y="1574"/>
                </a:moveTo>
                <a:cubicBezTo>
                  <a:pt x="0" y="2195"/>
                  <a:pt x="366" y="2751"/>
                  <a:pt x="907" y="2990"/>
                </a:cubicBezTo>
                <a:lnTo>
                  <a:pt x="954" y="3117"/>
                </a:lnTo>
                <a:cubicBezTo>
                  <a:pt x="1209" y="3753"/>
                  <a:pt x="1814" y="4167"/>
                  <a:pt x="2498" y="4167"/>
                </a:cubicBezTo>
                <a:cubicBezTo>
                  <a:pt x="3420" y="4167"/>
                  <a:pt x="4168" y="3420"/>
                  <a:pt x="4168" y="2497"/>
                </a:cubicBezTo>
                <a:cubicBezTo>
                  <a:pt x="4168" y="1813"/>
                  <a:pt x="3754" y="1209"/>
                  <a:pt x="3118" y="954"/>
                </a:cubicBezTo>
                <a:lnTo>
                  <a:pt x="2975" y="890"/>
                </a:lnTo>
                <a:cubicBezTo>
                  <a:pt x="2720" y="366"/>
                  <a:pt x="2180" y="0"/>
                  <a:pt x="1559" y="0"/>
                </a:cubicBezTo>
                <a:cubicBezTo>
                  <a:pt x="700" y="0"/>
                  <a:pt x="0" y="715"/>
                  <a:pt x="0" y="1574"/>
                </a:cubicBezTo>
                <a:close/>
                <a:moveTo>
                  <a:pt x="3054" y="1097"/>
                </a:moveTo>
                <a:cubicBezTo>
                  <a:pt x="3627" y="1336"/>
                  <a:pt x="4008" y="1877"/>
                  <a:pt x="4008" y="2497"/>
                </a:cubicBezTo>
                <a:cubicBezTo>
                  <a:pt x="4008" y="3324"/>
                  <a:pt x="3325" y="4008"/>
                  <a:pt x="2498" y="4008"/>
                </a:cubicBezTo>
                <a:cubicBezTo>
                  <a:pt x="1877" y="4008"/>
                  <a:pt x="1336" y="3642"/>
                  <a:pt x="1114" y="3069"/>
                </a:cubicBezTo>
                <a:cubicBezTo>
                  <a:pt x="1209" y="3101"/>
                  <a:pt x="1305" y="3117"/>
                  <a:pt x="1400" y="3133"/>
                </a:cubicBezTo>
                <a:cubicBezTo>
                  <a:pt x="1623" y="3531"/>
                  <a:pt x="2052" y="3769"/>
                  <a:pt x="2498" y="3769"/>
                </a:cubicBezTo>
                <a:cubicBezTo>
                  <a:pt x="3198" y="3769"/>
                  <a:pt x="3770" y="3197"/>
                  <a:pt x="3770" y="2497"/>
                </a:cubicBezTo>
                <a:cubicBezTo>
                  <a:pt x="3770" y="2036"/>
                  <a:pt x="3516" y="1622"/>
                  <a:pt x="3118" y="1399"/>
                </a:cubicBezTo>
                <a:cubicBezTo>
                  <a:pt x="3102" y="1288"/>
                  <a:pt x="3086" y="1193"/>
                  <a:pt x="3054" y="1097"/>
                </a:cubicBezTo>
                <a:close/>
                <a:moveTo>
                  <a:pt x="3134" y="1590"/>
                </a:moveTo>
                <a:cubicBezTo>
                  <a:pt x="3420" y="1797"/>
                  <a:pt x="3611" y="2131"/>
                  <a:pt x="3611" y="2497"/>
                </a:cubicBezTo>
                <a:cubicBezTo>
                  <a:pt x="3611" y="3101"/>
                  <a:pt x="3102" y="3610"/>
                  <a:pt x="2498" y="3610"/>
                </a:cubicBezTo>
                <a:cubicBezTo>
                  <a:pt x="2132" y="3610"/>
                  <a:pt x="1798" y="3435"/>
                  <a:pt x="1591" y="3133"/>
                </a:cubicBezTo>
                <a:cubicBezTo>
                  <a:pt x="2434" y="3117"/>
                  <a:pt x="3118" y="2433"/>
                  <a:pt x="3134" y="1590"/>
                </a:cubicBezTo>
                <a:close/>
                <a:moveTo>
                  <a:pt x="1559" y="159"/>
                </a:moveTo>
                <a:cubicBezTo>
                  <a:pt x="2338" y="159"/>
                  <a:pt x="2975" y="795"/>
                  <a:pt x="2975" y="1574"/>
                </a:cubicBezTo>
                <a:cubicBezTo>
                  <a:pt x="2975" y="2354"/>
                  <a:pt x="2338" y="2974"/>
                  <a:pt x="1559" y="2974"/>
                </a:cubicBezTo>
                <a:cubicBezTo>
                  <a:pt x="780" y="2974"/>
                  <a:pt x="159" y="2354"/>
                  <a:pt x="159" y="1574"/>
                </a:cubicBezTo>
                <a:cubicBezTo>
                  <a:pt x="159" y="795"/>
                  <a:pt x="780" y="159"/>
                  <a:pt x="1559" y="159"/>
                </a:cubicBezTo>
                <a:close/>
                <a:moveTo>
                  <a:pt x="1559" y="2640"/>
                </a:moveTo>
                <a:cubicBezTo>
                  <a:pt x="2148" y="2640"/>
                  <a:pt x="2641" y="2163"/>
                  <a:pt x="2641" y="1574"/>
                </a:cubicBezTo>
                <a:cubicBezTo>
                  <a:pt x="2641" y="986"/>
                  <a:pt x="2148" y="493"/>
                  <a:pt x="1559" y="493"/>
                </a:cubicBezTo>
                <a:cubicBezTo>
                  <a:pt x="971" y="493"/>
                  <a:pt x="493" y="986"/>
                  <a:pt x="493" y="1574"/>
                </a:cubicBezTo>
                <a:cubicBezTo>
                  <a:pt x="493" y="2163"/>
                  <a:pt x="971" y="2640"/>
                  <a:pt x="1559" y="2640"/>
                </a:cubicBezTo>
                <a:close/>
                <a:moveTo>
                  <a:pt x="1559" y="652"/>
                </a:moveTo>
                <a:cubicBezTo>
                  <a:pt x="2068" y="652"/>
                  <a:pt x="2481" y="1066"/>
                  <a:pt x="2481" y="1574"/>
                </a:cubicBezTo>
                <a:cubicBezTo>
                  <a:pt x="2481" y="2083"/>
                  <a:pt x="2068" y="2481"/>
                  <a:pt x="1559" y="2481"/>
                </a:cubicBezTo>
                <a:cubicBezTo>
                  <a:pt x="1066" y="2481"/>
                  <a:pt x="653" y="2083"/>
                  <a:pt x="653" y="1574"/>
                </a:cubicBezTo>
                <a:cubicBezTo>
                  <a:pt x="653" y="1066"/>
                  <a:pt x="1066" y="652"/>
                  <a:pt x="1559" y="652"/>
                </a:cubicBezTo>
                <a:close/>
                <a:moveTo>
                  <a:pt x="1257" y="1893"/>
                </a:moveTo>
                <a:cubicBezTo>
                  <a:pt x="1336" y="1956"/>
                  <a:pt x="1416" y="1988"/>
                  <a:pt x="1496" y="2004"/>
                </a:cubicBezTo>
                <a:lnTo>
                  <a:pt x="1496" y="2115"/>
                </a:lnTo>
                <a:cubicBezTo>
                  <a:pt x="1496" y="2163"/>
                  <a:pt x="1527" y="2195"/>
                  <a:pt x="1575" y="2195"/>
                </a:cubicBezTo>
                <a:cubicBezTo>
                  <a:pt x="1623" y="2195"/>
                  <a:pt x="1654" y="2163"/>
                  <a:pt x="1654" y="2115"/>
                </a:cubicBezTo>
                <a:lnTo>
                  <a:pt x="1654" y="2004"/>
                </a:lnTo>
                <a:cubicBezTo>
                  <a:pt x="1750" y="1988"/>
                  <a:pt x="1861" y="1924"/>
                  <a:pt x="1893" y="1813"/>
                </a:cubicBezTo>
                <a:lnTo>
                  <a:pt x="1893" y="1781"/>
                </a:lnTo>
                <a:cubicBezTo>
                  <a:pt x="1909" y="1702"/>
                  <a:pt x="1877" y="1622"/>
                  <a:pt x="1829" y="1574"/>
                </a:cubicBezTo>
                <a:cubicBezTo>
                  <a:pt x="1798" y="1542"/>
                  <a:pt x="1750" y="1527"/>
                  <a:pt x="1718" y="1527"/>
                </a:cubicBezTo>
                <a:cubicBezTo>
                  <a:pt x="1686" y="1495"/>
                  <a:pt x="1639" y="1495"/>
                  <a:pt x="1607" y="1479"/>
                </a:cubicBezTo>
                <a:cubicBezTo>
                  <a:pt x="1559" y="1463"/>
                  <a:pt x="1527" y="1463"/>
                  <a:pt x="1496" y="1447"/>
                </a:cubicBezTo>
                <a:cubicBezTo>
                  <a:pt x="1463" y="1431"/>
                  <a:pt x="1448" y="1415"/>
                  <a:pt x="1432" y="1399"/>
                </a:cubicBezTo>
                <a:cubicBezTo>
                  <a:pt x="1432" y="1384"/>
                  <a:pt x="1432" y="1352"/>
                  <a:pt x="1448" y="1320"/>
                </a:cubicBezTo>
                <a:cubicBezTo>
                  <a:pt x="1496" y="1288"/>
                  <a:pt x="1575" y="1288"/>
                  <a:pt x="1623" y="1288"/>
                </a:cubicBezTo>
                <a:cubicBezTo>
                  <a:pt x="1702" y="1304"/>
                  <a:pt x="1707" y="1320"/>
                  <a:pt x="1750" y="1336"/>
                </a:cubicBezTo>
                <a:cubicBezTo>
                  <a:pt x="1798" y="1368"/>
                  <a:pt x="1845" y="1368"/>
                  <a:pt x="1861" y="1320"/>
                </a:cubicBezTo>
                <a:cubicBezTo>
                  <a:pt x="1893" y="1288"/>
                  <a:pt x="1893" y="1241"/>
                  <a:pt x="1845" y="1209"/>
                </a:cubicBezTo>
                <a:cubicBezTo>
                  <a:pt x="1781" y="1182"/>
                  <a:pt x="1766" y="1161"/>
                  <a:pt x="1654" y="1129"/>
                </a:cubicBezTo>
                <a:lnTo>
                  <a:pt x="1654" y="1018"/>
                </a:lnTo>
                <a:cubicBezTo>
                  <a:pt x="1654" y="986"/>
                  <a:pt x="1623" y="938"/>
                  <a:pt x="1575" y="938"/>
                </a:cubicBezTo>
                <a:cubicBezTo>
                  <a:pt x="1527" y="938"/>
                  <a:pt x="1496" y="986"/>
                  <a:pt x="1496" y="1018"/>
                </a:cubicBezTo>
                <a:lnTo>
                  <a:pt x="1496" y="1129"/>
                </a:lnTo>
                <a:cubicBezTo>
                  <a:pt x="1432" y="1145"/>
                  <a:pt x="1368" y="1177"/>
                  <a:pt x="1336" y="1224"/>
                </a:cubicBezTo>
                <a:cubicBezTo>
                  <a:pt x="1273" y="1288"/>
                  <a:pt x="1257" y="1384"/>
                  <a:pt x="1289" y="1463"/>
                </a:cubicBezTo>
                <a:cubicBezTo>
                  <a:pt x="1320" y="1511"/>
                  <a:pt x="1368" y="1559"/>
                  <a:pt x="1432" y="1590"/>
                </a:cubicBezTo>
                <a:cubicBezTo>
                  <a:pt x="1463" y="1606"/>
                  <a:pt x="1511" y="1622"/>
                  <a:pt x="1559" y="1622"/>
                </a:cubicBezTo>
                <a:cubicBezTo>
                  <a:pt x="1591" y="1638"/>
                  <a:pt x="1623" y="1654"/>
                  <a:pt x="1654" y="1670"/>
                </a:cubicBezTo>
                <a:cubicBezTo>
                  <a:pt x="1686" y="1670"/>
                  <a:pt x="1702" y="1686"/>
                  <a:pt x="1718" y="1702"/>
                </a:cubicBezTo>
                <a:cubicBezTo>
                  <a:pt x="1734" y="1718"/>
                  <a:pt x="1734" y="1733"/>
                  <a:pt x="1734" y="1765"/>
                </a:cubicBezTo>
                <a:cubicBezTo>
                  <a:pt x="1718" y="1829"/>
                  <a:pt x="1654" y="1861"/>
                  <a:pt x="1607" y="1861"/>
                </a:cubicBezTo>
                <a:cubicBezTo>
                  <a:pt x="1527" y="1861"/>
                  <a:pt x="1432" y="1829"/>
                  <a:pt x="1352" y="1765"/>
                </a:cubicBezTo>
                <a:cubicBezTo>
                  <a:pt x="1320" y="1733"/>
                  <a:pt x="1273" y="1750"/>
                  <a:pt x="1241" y="1781"/>
                </a:cubicBezTo>
                <a:cubicBezTo>
                  <a:pt x="1225" y="1813"/>
                  <a:pt x="1225" y="1861"/>
                  <a:pt x="1257" y="189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8" name="Freeform: Shape 17">
            <a:extLst>
              <a:ext uri="{FF2B5EF4-FFF2-40B4-BE49-F238E27FC236}">
                <a16:creationId xmlns:a16="http://schemas.microsoft.com/office/drawing/2014/main" id="{C6ACE66D-9139-9E4E-B0DB-C3A757091B2C}"/>
              </a:ext>
            </a:extLst>
          </p:cNvPr>
          <p:cNvSpPr/>
          <p:nvPr/>
        </p:nvSpPr>
        <p:spPr>
          <a:xfrm>
            <a:off x="1654231" y="9606260"/>
            <a:ext cx="1711800" cy="1717560"/>
          </a:xfrm>
          <a:custGeom>
            <a:avLst/>
            <a:gdLst/>
            <a:ahLst/>
            <a:cxnLst>
              <a:cxn ang="3cd4">
                <a:pos x="hc" y="t"/>
              </a:cxn>
              <a:cxn ang="cd2">
                <a:pos x="l" y="vc"/>
              </a:cxn>
              <a:cxn ang="cd4">
                <a:pos x="hc" y="b"/>
              </a:cxn>
              <a:cxn ang="0">
                <a:pos x="r" y="vc"/>
              </a:cxn>
            </a:cxnLst>
            <a:rect l="l" t="t" r="r" b="b"/>
            <a:pathLst>
              <a:path w="4756" h="4772">
                <a:moveTo>
                  <a:pt x="2386" y="4772"/>
                </a:moveTo>
                <a:cubicBezTo>
                  <a:pt x="3690" y="4772"/>
                  <a:pt x="4756" y="3706"/>
                  <a:pt x="4756" y="2386"/>
                </a:cubicBezTo>
                <a:cubicBezTo>
                  <a:pt x="4756" y="1066"/>
                  <a:pt x="3690" y="0"/>
                  <a:pt x="2386" y="0"/>
                </a:cubicBezTo>
                <a:cubicBezTo>
                  <a:pt x="1066" y="0"/>
                  <a:pt x="0" y="1066"/>
                  <a:pt x="0" y="2386"/>
                </a:cubicBezTo>
                <a:cubicBezTo>
                  <a:pt x="0" y="3706"/>
                  <a:pt x="1066" y="4772"/>
                  <a:pt x="2386" y="4772"/>
                </a:cubicBezTo>
                <a:close/>
                <a:moveTo>
                  <a:pt x="2386" y="159"/>
                </a:moveTo>
                <a:cubicBezTo>
                  <a:pt x="3611" y="159"/>
                  <a:pt x="4597" y="1161"/>
                  <a:pt x="4597" y="2386"/>
                </a:cubicBezTo>
                <a:cubicBezTo>
                  <a:pt x="4597" y="3611"/>
                  <a:pt x="3611" y="4613"/>
                  <a:pt x="2386" y="4613"/>
                </a:cubicBezTo>
                <a:cubicBezTo>
                  <a:pt x="1162" y="4613"/>
                  <a:pt x="160" y="3611"/>
                  <a:pt x="160" y="2386"/>
                </a:cubicBezTo>
                <a:cubicBezTo>
                  <a:pt x="160" y="1161"/>
                  <a:pt x="1162" y="159"/>
                  <a:pt x="2386" y="159"/>
                </a:cubicBezTo>
                <a:close/>
                <a:moveTo>
                  <a:pt x="1702" y="3086"/>
                </a:moveTo>
                <a:cubicBezTo>
                  <a:pt x="1893" y="3229"/>
                  <a:pt x="2116" y="3324"/>
                  <a:pt x="2339" y="3340"/>
                </a:cubicBezTo>
                <a:lnTo>
                  <a:pt x="2339" y="3722"/>
                </a:lnTo>
                <a:cubicBezTo>
                  <a:pt x="2339" y="3770"/>
                  <a:pt x="2371" y="3802"/>
                  <a:pt x="2418" y="3802"/>
                </a:cubicBezTo>
                <a:cubicBezTo>
                  <a:pt x="2450" y="3802"/>
                  <a:pt x="2498" y="3770"/>
                  <a:pt x="2498" y="3722"/>
                </a:cubicBezTo>
                <a:lnTo>
                  <a:pt x="2498" y="3357"/>
                </a:lnTo>
                <a:cubicBezTo>
                  <a:pt x="2736" y="3340"/>
                  <a:pt x="2991" y="3213"/>
                  <a:pt x="3070" y="2943"/>
                </a:cubicBezTo>
                <a:cubicBezTo>
                  <a:pt x="3070" y="2927"/>
                  <a:pt x="3070" y="2911"/>
                  <a:pt x="3086" y="2895"/>
                </a:cubicBezTo>
                <a:cubicBezTo>
                  <a:pt x="3102" y="2736"/>
                  <a:pt x="3054" y="2577"/>
                  <a:pt x="2943" y="2482"/>
                </a:cubicBezTo>
                <a:cubicBezTo>
                  <a:pt x="2880" y="2434"/>
                  <a:pt x="2800" y="2402"/>
                  <a:pt x="2720" y="2370"/>
                </a:cubicBezTo>
                <a:cubicBezTo>
                  <a:pt x="2625" y="2322"/>
                  <a:pt x="2529" y="2291"/>
                  <a:pt x="2434" y="2259"/>
                </a:cubicBezTo>
                <a:cubicBezTo>
                  <a:pt x="2339" y="2243"/>
                  <a:pt x="2243" y="2211"/>
                  <a:pt x="2163" y="2179"/>
                </a:cubicBezTo>
                <a:cubicBezTo>
                  <a:pt x="2068" y="2131"/>
                  <a:pt x="2005" y="2084"/>
                  <a:pt x="1973" y="2020"/>
                </a:cubicBezTo>
                <a:cubicBezTo>
                  <a:pt x="1925" y="1925"/>
                  <a:pt x="1941" y="1798"/>
                  <a:pt x="2020" y="1718"/>
                </a:cubicBezTo>
                <a:cubicBezTo>
                  <a:pt x="2148" y="1559"/>
                  <a:pt x="2386" y="1575"/>
                  <a:pt x="2529" y="1591"/>
                </a:cubicBezTo>
                <a:cubicBezTo>
                  <a:pt x="2752" y="1607"/>
                  <a:pt x="2794" y="1686"/>
                  <a:pt x="2927" y="1734"/>
                </a:cubicBezTo>
                <a:cubicBezTo>
                  <a:pt x="2959" y="1766"/>
                  <a:pt x="3007" y="1750"/>
                  <a:pt x="3038" y="1718"/>
                </a:cubicBezTo>
                <a:cubicBezTo>
                  <a:pt x="3054" y="1686"/>
                  <a:pt x="3054" y="1622"/>
                  <a:pt x="3023" y="1607"/>
                </a:cubicBezTo>
                <a:cubicBezTo>
                  <a:pt x="3007" y="1591"/>
                  <a:pt x="2816" y="1464"/>
                  <a:pt x="2545" y="1432"/>
                </a:cubicBezTo>
                <a:cubicBezTo>
                  <a:pt x="2529" y="1432"/>
                  <a:pt x="2514" y="1416"/>
                  <a:pt x="2498" y="1416"/>
                </a:cubicBezTo>
                <a:lnTo>
                  <a:pt x="2498" y="1050"/>
                </a:lnTo>
                <a:cubicBezTo>
                  <a:pt x="2498" y="1002"/>
                  <a:pt x="2450" y="970"/>
                  <a:pt x="2418" y="970"/>
                </a:cubicBezTo>
                <a:cubicBezTo>
                  <a:pt x="2371" y="970"/>
                  <a:pt x="2339" y="1002"/>
                  <a:pt x="2339" y="1050"/>
                </a:cubicBezTo>
                <a:lnTo>
                  <a:pt x="2339" y="1416"/>
                </a:lnTo>
                <a:cubicBezTo>
                  <a:pt x="2148" y="1432"/>
                  <a:pt x="2005" y="1495"/>
                  <a:pt x="1893" y="1607"/>
                </a:cubicBezTo>
                <a:cubicBezTo>
                  <a:pt x="1782" y="1734"/>
                  <a:pt x="1766" y="1925"/>
                  <a:pt x="1830" y="2084"/>
                </a:cubicBezTo>
                <a:cubicBezTo>
                  <a:pt x="1893" y="2211"/>
                  <a:pt x="2020" y="2275"/>
                  <a:pt x="2100" y="2322"/>
                </a:cubicBezTo>
                <a:cubicBezTo>
                  <a:pt x="2196" y="2354"/>
                  <a:pt x="2291" y="2386"/>
                  <a:pt x="2386" y="2418"/>
                </a:cubicBezTo>
                <a:cubicBezTo>
                  <a:pt x="2482" y="2450"/>
                  <a:pt x="2577" y="2466"/>
                  <a:pt x="2672" y="2513"/>
                </a:cubicBezTo>
                <a:cubicBezTo>
                  <a:pt x="2736" y="2545"/>
                  <a:pt x="2800" y="2561"/>
                  <a:pt x="2848" y="2609"/>
                </a:cubicBezTo>
                <a:cubicBezTo>
                  <a:pt x="2911" y="2672"/>
                  <a:pt x="2943" y="2768"/>
                  <a:pt x="2927" y="2863"/>
                </a:cubicBezTo>
                <a:cubicBezTo>
                  <a:pt x="2927" y="2879"/>
                  <a:pt x="2911" y="2895"/>
                  <a:pt x="2911" y="2911"/>
                </a:cubicBezTo>
                <a:cubicBezTo>
                  <a:pt x="2863" y="3102"/>
                  <a:pt x="2657" y="3197"/>
                  <a:pt x="2482" y="3197"/>
                </a:cubicBezTo>
                <a:cubicBezTo>
                  <a:pt x="2243" y="3197"/>
                  <a:pt x="2005" y="3118"/>
                  <a:pt x="1814" y="2959"/>
                </a:cubicBezTo>
                <a:cubicBezTo>
                  <a:pt x="1766" y="2927"/>
                  <a:pt x="1718" y="2927"/>
                  <a:pt x="1687" y="2975"/>
                </a:cubicBezTo>
                <a:cubicBezTo>
                  <a:pt x="1671" y="3006"/>
                  <a:pt x="1671" y="3054"/>
                  <a:pt x="1702" y="308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9" name="Freeform: Shape 18">
            <a:extLst>
              <a:ext uri="{FF2B5EF4-FFF2-40B4-BE49-F238E27FC236}">
                <a16:creationId xmlns:a16="http://schemas.microsoft.com/office/drawing/2014/main" id="{4E4F98B9-24DE-9D48-954F-0A891DE84D56}"/>
              </a:ext>
            </a:extLst>
          </p:cNvPr>
          <p:cNvSpPr/>
          <p:nvPr/>
        </p:nvSpPr>
        <p:spPr>
          <a:xfrm>
            <a:off x="5944187" y="6424524"/>
            <a:ext cx="1654560" cy="1482840"/>
          </a:xfrm>
          <a:custGeom>
            <a:avLst/>
            <a:gdLst/>
            <a:ahLst/>
            <a:cxnLst>
              <a:cxn ang="3cd4">
                <a:pos x="hc" y="t"/>
              </a:cxn>
              <a:cxn ang="cd2">
                <a:pos x="l" y="vc"/>
              </a:cxn>
              <a:cxn ang="cd4">
                <a:pos x="hc" y="b"/>
              </a:cxn>
              <a:cxn ang="0">
                <a:pos x="r" y="vc"/>
              </a:cxn>
            </a:cxnLst>
            <a:rect l="l" t="t" r="r" b="b"/>
            <a:pathLst>
              <a:path w="4597" h="4120">
                <a:moveTo>
                  <a:pt x="477" y="2657"/>
                </a:moveTo>
                <a:cubicBezTo>
                  <a:pt x="477" y="2991"/>
                  <a:pt x="477" y="2991"/>
                  <a:pt x="477" y="2991"/>
                </a:cubicBezTo>
                <a:cubicBezTo>
                  <a:pt x="477" y="3054"/>
                  <a:pt x="494" y="3102"/>
                  <a:pt x="541" y="3134"/>
                </a:cubicBezTo>
                <a:cubicBezTo>
                  <a:pt x="509" y="3150"/>
                  <a:pt x="494" y="3150"/>
                  <a:pt x="477" y="3166"/>
                </a:cubicBezTo>
                <a:cubicBezTo>
                  <a:pt x="382" y="3198"/>
                  <a:pt x="319" y="3261"/>
                  <a:pt x="319" y="3357"/>
                </a:cubicBezTo>
                <a:cubicBezTo>
                  <a:pt x="319" y="3754"/>
                  <a:pt x="319" y="3754"/>
                  <a:pt x="319" y="3754"/>
                </a:cubicBezTo>
                <a:cubicBezTo>
                  <a:pt x="319" y="4041"/>
                  <a:pt x="1114" y="4120"/>
                  <a:pt x="1575" y="4120"/>
                </a:cubicBezTo>
                <a:cubicBezTo>
                  <a:pt x="2021" y="4120"/>
                  <a:pt x="2847" y="4041"/>
                  <a:pt x="2847" y="3754"/>
                </a:cubicBezTo>
                <a:cubicBezTo>
                  <a:pt x="2847" y="3675"/>
                  <a:pt x="2847" y="3675"/>
                  <a:pt x="2847" y="3675"/>
                </a:cubicBezTo>
                <a:cubicBezTo>
                  <a:pt x="3006" y="3690"/>
                  <a:pt x="3166" y="3707"/>
                  <a:pt x="3325" y="3707"/>
                </a:cubicBezTo>
                <a:cubicBezTo>
                  <a:pt x="3802" y="3707"/>
                  <a:pt x="4597" y="3627"/>
                  <a:pt x="4597" y="3325"/>
                </a:cubicBezTo>
                <a:cubicBezTo>
                  <a:pt x="4597" y="398"/>
                  <a:pt x="4597" y="398"/>
                  <a:pt x="4597" y="398"/>
                </a:cubicBezTo>
                <a:cubicBezTo>
                  <a:pt x="4597" y="382"/>
                  <a:pt x="4597" y="382"/>
                  <a:pt x="4597" y="382"/>
                </a:cubicBezTo>
                <a:cubicBezTo>
                  <a:pt x="4597" y="80"/>
                  <a:pt x="3770" y="0"/>
                  <a:pt x="3325" y="0"/>
                </a:cubicBezTo>
                <a:cubicBezTo>
                  <a:pt x="2895" y="0"/>
                  <a:pt x="2052" y="80"/>
                  <a:pt x="2052" y="382"/>
                </a:cubicBezTo>
                <a:lnTo>
                  <a:pt x="2052" y="398"/>
                </a:lnTo>
                <a:cubicBezTo>
                  <a:pt x="2052" y="1655"/>
                  <a:pt x="2052" y="1655"/>
                  <a:pt x="2052" y="1655"/>
                </a:cubicBezTo>
                <a:cubicBezTo>
                  <a:pt x="1798" y="1607"/>
                  <a:pt x="1480" y="1591"/>
                  <a:pt x="1257" y="1591"/>
                </a:cubicBezTo>
                <a:cubicBezTo>
                  <a:pt x="827" y="1591"/>
                  <a:pt x="0" y="1671"/>
                  <a:pt x="0" y="1957"/>
                </a:cubicBezTo>
                <a:cubicBezTo>
                  <a:pt x="0" y="1973"/>
                  <a:pt x="0" y="1973"/>
                  <a:pt x="0" y="1973"/>
                </a:cubicBezTo>
                <a:cubicBezTo>
                  <a:pt x="0" y="2354"/>
                  <a:pt x="0" y="2354"/>
                  <a:pt x="0" y="2354"/>
                </a:cubicBezTo>
                <a:cubicBezTo>
                  <a:pt x="0" y="2514"/>
                  <a:pt x="207" y="2609"/>
                  <a:pt x="477" y="2657"/>
                </a:cubicBezTo>
                <a:close/>
                <a:moveTo>
                  <a:pt x="159" y="2354"/>
                </a:moveTo>
                <a:cubicBezTo>
                  <a:pt x="159" y="2164"/>
                  <a:pt x="159" y="2164"/>
                  <a:pt x="159" y="2164"/>
                </a:cubicBezTo>
                <a:cubicBezTo>
                  <a:pt x="414" y="2291"/>
                  <a:pt x="923" y="2339"/>
                  <a:pt x="1257" y="2339"/>
                </a:cubicBezTo>
                <a:cubicBezTo>
                  <a:pt x="1607" y="2339"/>
                  <a:pt x="2116" y="2291"/>
                  <a:pt x="2370" y="2164"/>
                </a:cubicBezTo>
                <a:cubicBezTo>
                  <a:pt x="2370" y="2354"/>
                  <a:pt x="2370" y="2354"/>
                  <a:pt x="2370" y="2354"/>
                </a:cubicBezTo>
                <a:cubicBezTo>
                  <a:pt x="2370" y="2418"/>
                  <a:pt x="2004" y="2577"/>
                  <a:pt x="1257" y="2577"/>
                </a:cubicBezTo>
                <a:cubicBezTo>
                  <a:pt x="1003" y="2577"/>
                  <a:pt x="780" y="2562"/>
                  <a:pt x="605" y="2529"/>
                </a:cubicBezTo>
                <a:cubicBezTo>
                  <a:pt x="589" y="2498"/>
                  <a:pt x="557" y="2482"/>
                  <a:pt x="525" y="2482"/>
                </a:cubicBezTo>
                <a:cubicBezTo>
                  <a:pt x="509" y="2482"/>
                  <a:pt x="494" y="2482"/>
                  <a:pt x="477" y="2498"/>
                </a:cubicBezTo>
                <a:cubicBezTo>
                  <a:pt x="271" y="2450"/>
                  <a:pt x="159" y="2402"/>
                  <a:pt x="159" y="2354"/>
                </a:cubicBezTo>
                <a:close/>
                <a:moveTo>
                  <a:pt x="3325" y="748"/>
                </a:moveTo>
                <a:cubicBezTo>
                  <a:pt x="3675" y="748"/>
                  <a:pt x="4184" y="716"/>
                  <a:pt x="4438" y="573"/>
                </a:cubicBezTo>
                <a:cubicBezTo>
                  <a:pt x="4438" y="971"/>
                  <a:pt x="4438" y="971"/>
                  <a:pt x="4438" y="971"/>
                </a:cubicBezTo>
                <a:cubicBezTo>
                  <a:pt x="4422" y="1050"/>
                  <a:pt x="4024" y="1193"/>
                  <a:pt x="3325" y="1193"/>
                </a:cubicBezTo>
                <a:cubicBezTo>
                  <a:pt x="2641" y="1193"/>
                  <a:pt x="2227" y="1050"/>
                  <a:pt x="2211" y="971"/>
                </a:cubicBezTo>
                <a:cubicBezTo>
                  <a:pt x="2211" y="573"/>
                  <a:pt x="2211" y="573"/>
                  <a:pt x="2211" y="573"/>
                </a:cubicBezTo>
                <a:cubicBezTo>
                  <a:pt x="2482" y="716"/>
                  <a:pt x="2991" y="748"/>
                  <a:pt x="3325" y="748"/>
                </a:cubicBezTo>
                <a:close/>
                <a:moveTo>
                  <a:pt x="4438" y="2752"/>
                </a:moveTo>
                <a:cubicBezTo>
                  <a:pt x="4422" y="2832"/>
                  <a:pt x="4024" y="2975"/>
                  <a:pt x="3325" y="2975"/>
                </a:cubicBezTo>
                <a:cubicBezTo>
                  <a:pt x="3277" y="2975"/>
                  <a:pt x="3229" y="2975"/>
                  <a:pt x="3166" y="2975"/>
                </a:cubicBezTo>
                <a:cubicBezTo>
                  <a:pt x="3166" y="2959"/>
                  <a:pt x="3166" y="2959"/>
                  <a:pt x="3166" y="2959"/>
                </a:cubicBezTo>
                <a:cubicBezTo>
                  <a:pt x="3166" y="2895"/>
                  <a:pt x="3134" y="2816"/>
                  <a:pt x="3006" y="2752"/>
                </a:cubicBezTo>
                <a:cubicBezTo>
                  <a:pt x="3006" y="2529"/>
                  <a:pt x="3006" y="2529"/>
                  <a:pt x="3006" y="2529"/>
                </a:cubicBezTo>
                <a:cubicBezTo>
                  <a:pt x="3134" y="2529"/>
                  <a:pt x="3245" y="2545"/>
                  <a:pt x="3325" y="2545"/>
                </a:cubicBezTo>
                <a:cubicBezTo>
                  <a:pt x="3675" y="2545"/>
                  <a:pt x="4184" y="2498"/>
                  <a:pt x="4438" y="2354"/>
                </a:cubicBezTo>
                <a:close/>
                <a:moveTo>
                  <a:pt x="1893" y="3563"/>
                </a:moveTo>
                <a:cubicBezTo>
                  <a:pt x="1830" y="3563"/>
                  <a:pt x="1782" y="3563"/>
                  <a:pt x="1718" y="3563"/>
                </a:cubicBezTo>
                <a:lnTo>
                  <a:pt x="1702" y="3563"/>
                </a:lnTo>
                <a:cubicBezTo>
                  <a:pt x="1130" y="3547"/>
                  <a:pt x="795" y="3420"/>
                  <a:pt x="795" y="3357"/>
                </a:cubicBezTo>
                <a:cubicBezTo>
                  <a:pt x="795" y="3261"/>
                  <a:pt x="795" y="3261"/>
                  <a:pt x="795" y="3261"/>
                </a:cubicBezTo>
                <a:cubicBezTo>
                  <a:pt x="1066" y="3341"/>
                  <a:pt x="1464" y="3372"/>
                  <a:pt x="1734" y="3372"/>
                </a:cubicBezTo>
                <a:cubicBezTo>
                  <a:pt x="2179" y="3372"/>
                  <a:pt x="3006" y="3293"/>
                  <a:pt x="3006" y="2991"/>
                </a:cubicBezTo>
                <a:cubicBezTo>
                  <a:pt x="3006" y="2959"/>
                  <a:pt x="3006" y="2959"/>
                  <a:pt x="3006" y="2959"/>
                </a:cubicBezTo>
                <a:cubicBezTo>
                  <a:pt x="3006" y="3357"/>
                  <a:pt x="3006" y="3357"/>
                  <a:pt x="3006" y="3357"/>
                </a:cubicBezTo>
                <a:cubicBezTo>
                  <a:pt x="3006" y="3404"/>
                  <a:pt x="2641" y="3563"/>
                  <a:pt x="1893" y="3563"/>
                </a:cubicBezTo>
                <a:close/>
                <a:moveTo>
                  <a:pt x="637" y="2768"/>
                </a:moveTo>
                <a:cubicBezTo>
                  <a:pt x="891" y="2895"/>
                  <a:pt x="1384" y="2943"/>
                  <a:pt x="1718" y="2943"/>
                </a:cubicBezTo>
                <a:cubicBezTo>
                  <a:pt x="2068" y="2943"/>
                  <a:pt x="2577" y="2895"/>
                  <a:pt x="2831" y="2752"/>
                </a:cubicBezTo>
                <a:lnTo>
                  <a:pt x="2831" y="2768"/>
                </a:lnTo>
                <a:cubicBezTo>
                  <a:pt x="2816" y="2800"/>
                  <a:pt x="2831" y="2832"/>
                  <a:pt x="2847" y="2848"/>
                </a:cubicBezTo>
                <a:cubicBezTo>
                  <a:pt x="2847" y="2991"/>
                  <a:pt x="2847" y="2991"/>
                  <a:pt x="2847" y="2991"/>
                </a:cubicBezTo>
                <a:cubicBezTo>
                  <a:pt x="2847" y="3054"/>
                  <a:pt x="2482" y="3214"/>
                  <a:pt x="1734" y="3214"/>
                </a:cubicBezTo>
                <a:cubicBezTo>
                  <a:pt x="1273" y="3214"/>
                  <a:pt x="939" y="3150"/>
                  <a:pt x="764" y="3086"/>
                </a:cubicBezTo>
                <a:cubicBezTo>
                  <a:pt x="748" y="3071"/>
                  <a:pt x="732" y="3054"/>
                  <a:pt x="716" y="3054"/>
                </a:cubicBezTo>
                <a:cubicBezTo>
                  <a:pt x="700" y="3054"/>
                  <a:pt x="700" y="3054"/>
                  <a:pt x="700" y="3054"/>
                </a:cubicBezTo>
                <a:cubicBezTo>
                  <a:pt x="652" y="3038"/>
                  <a:pt x="637" y="3023"/>
                  <a:pt x="637" y="2991"/>
                </a:cubicBezTo>
                <a:close/>
                <a:moveTo>
                  <a:pt x="2482" y="2482"/>
                </a:moveTo>
                <a:cubicBezTo>
                  <a:pt x="2497" y="2482"/>
                  <a:pt x="2497" y="2482"/>
                  <a:pt x="2497" y="2482"/>
                </a:cubicBezTo>
                <a:cubicBezTo>
                  <a:pt x="2577" y="2498"/>
                  <a:pt x="2673" y="2498"/>
                  <a:pt x="2784" y="2514"/>
                </a:cubicBezTo>
                <a:cubicBezTo>
                  <a:pt x="2816" y="2529"/>
                  <a:pt x="2831" y="2562"/>
                  <a:pt x="2831" y="2562"/>
                </a:cubicBezTo>
                <a:cubicBezTo>
                  <a:pt x="2816" y="2625"/>
                  <a:pt x="2402" y="2784"/>
                  <a:pt x="1718" y="2784"/>
                </a:cubicBezTo>
                <a:cubicBezTo>
                  <a:pt x="1480" y="2784"/>
                  <a:pt x="1273" y="2752"/>
                  <a:pt x="1098" y="2736"/>
                </a:cubicBezTo>
                <a:cubicBezTo>
                  <a:pt x="1161" y="2736"/>
                  <a:pt x="1209" y="2736"/>
                  <a:pt x="1257" y="2736"/>
                </a:cubicBezTo>
                <a:cubicBezTo>
                  <a:pt x="1639" y="2736"/>
                  <a:pt x="2291" y="2673"/>
                  <a:pt x="2482" y="2482"/>
                </a:cubicBezTo>
                <a:close/>
                <a:moveTo>
                  <a:pt x="3325" y="1353"/>
                </a:moveTo>
                <a:cubicBezTo>
                  <a:pt x="3675" y="1353"/>
                  <a:pt x="4184" y="1305"/>
                  <a:pt x="4438" y="1178"/>
                </a:cubicBezTo>
                <a:cubicBezTo>
                  <a:pt x="4438" y="1559"/>
                  <a:pt x="4438" y="1559"/>
                  <a:pt x="4438" y="1559"/>
                </a:cubicBezTo>
                <a:cubicBezTo>
                  <a:pt x="4422" y="1639"/>
                  <a:pt x="4024" y="1782"/>
                  <a:pt x="3325" y="1782"/>
                </a:cubicBezTo>
                <a:cubicBezTo>
                  <a:pt x="2641" y="1782"/>
                  <a:pt x="2227" y="1639"/>
                  <a:pt x="2211" y="1559"/>
                </a:cubicBezTo>
                <a:cubicBezTo>
                  <a:pt x="2211" y="1178"/>
                  <a:pt x="2211" y="1178"/>
                  <a:pt x="2211" y="1178"/>
                </a:cubicBezTo>
                <a:cubicBezTo>
                  <a:pt x="2482" y="1305"/>
                  <a:pt x="2991" y="1353"/>
                  <a:pt x="3325" y="1353"/>
                </a:cubicBezTo>
                <a:close/>
                <a:moveTo>
                  <a:pt x="3325" y="1941"/>
                </a:moveTo>
                <a:cubicBezTo>
                  <a:pt x="3675" y="1941"/>
                  <a:pt x="4184" y="1893"/>
                  <a:pt x="4438" y="1766"/>
                </a:cubicBezTo>
                <a:cubicBezTo>
                  <a:pt x="4438" y="2164"/>
                  <a:pt x="4438" y="2164"/>
                  <a:pt x="4438" y="2164"/>
                </a:cubicBezTo>
                <a:cubicBezTo>
                  <a:pt x="4422" y="2243"/>
                  <a:pt x="4024" y="2386"/>
                  <a:pt x="3325" y="2386"/>
                </a:cubicBezTo>
                <a:cubicBezTo>
                  <a:pt x="3118" y="2386"/>
                  <a:pt x="2720" y="2354"/>
                  <a:pt x="2530" y="2323"/>
                </a:cubicBezTo>
                <a:cubicBezTo>
                  <a:pt x="2530" y="1973"/>
                  <a:pt x="2530" y="1973"/>
                  <a:pt x="2530" y="1973"/>
                </a:cubicBezTo>
                <a:lnTo>
                  <a:pt x="2530" y="1957"/>
                </a:lnTo>
                <a:cubicBezTo>
                  <a:pt x="2530" y="1925"/>
                  <a:pt x="2530" y="1893"/>
                  <a:pt x="2497" y="1862"/>
                </a:cubicBezTo>
                <a:cubicBezTo>
                  <a:pt x="2768" y="1925"/>
                  <a:pt x="3086" y="1941"/>
                  <a:pt x="3325" y="1941"/>
                </a:cubicBezTo>
                <a:close/>
                <a:moveTo>
                  <a:pt x="637" y="3277"/>
                </a:moveTo>
                <a:cubicBezTo>
                  <a:pt x="637" y="3357"/>
                  <a:pt x="637" y="3357"/>
                  <a:pt x="637" y="3357"/>
                </a:cubicBezTo>
                <a:cubicBezTo>
                  <a:pt x="637" y="3389"/>
                  <a:pt x="637" y="3420"/>
                  <a:pt x="652" y="3436"/>
                </a:cubicBezTo>
                <a:cubicBezTo>
                  <a:pt x="541" y="3404"/>
                  <a:pt x="477" y="3372"/>
                  <a:pt x="477" y="3357"/>
                </a:cubicBezTo>
                <a:cubicBezTo>
                  <a:pt x="477" y="3341"/>
                  <a:pt x="494" y="3309"/>
                  <a:pt x="637" y="3277"/>
                </a:cubicBezTo>
                <a:close/>
                <a:moveTo>
                  <a:pt x="1575" y="3961"/>
                </a:moveTo>
                <a:cubicBezTo>
                  <a:pt x="891" y="3961"/>
                  <a:pt x="477" y="3818"/>
                  <a:pt x="477" y="3754"/>
                </a:cubicBezTo>
                <a:cubicBezTo>
                  <a:pt x="477" y="3532"/>
                  <a:pt x="477" y="3532"/>
                  <a:pt x="477" y="3532"/>
                </a:cubicBezTo>
                <a:cubicBezTo>
                  <a:pt x="716" y="3659"/>
                  <a:pt x="1225" y="3723"/>
                  <a:pt x="1686" y="3723"/>
                </a:cubicBezTo>
                <a:cubicBezTo>
                  <a:pt x="1702" y="3723"/>
                  <a:pt x="1702" y="3723"/>
                  <a:pt x="1702" y="3723"/>
                </a:cubicBezTo>
                <a:cubicBezTo>
                  <a:pt x="1782" y="3723"/>
                  <a:pt x="1845" y="3723"/>
                  <a:pt x="1893" y="3723"/>
                </a:cubicBezTo>
                <a:cubicBezTo>
                  <a:pt x="2116" y="3723"/>
                  <a:pt x="2434" y="3707"/>
                  <a:pt x="2688" y="3659"/>
                </a:cubicBezTo>
                <a:cubicBezTo>
                  <a:pt x="2688" y="3754"/>
                  <a:pt x="2688" y="3754"/>
                  <a:pt x="2688" y="3754"/>
                </a:cubicBezTo>
                <a:cubicBezTo>
                  <a:pt x="2688" y="3802"/>
                  <a:pt x="2322" y="3961"/>
                  <a:pt x="1575" y="3961"/>
                </a:cubicBezTo>
                <a:close/>
                <a:moveTo>
                  <a:pt x="3325" y="3547"/>
                </a:moveTo>
                <a:cubicBezTo>
                  <a:pt x="3229" y="3547"/>
                  <a:pt x="3134" y="3532"/>
                  <a:pt x="3039" y="3532"/>
                </a:cubicBezTo>
                <a:cubicBezTo>
                  <a:pt x="3118" y="3484"/>
                  <a:pt x="3166" y="3420"/>
                  <a:pt x="3166" y="3357"/>
                </a:cubicBezTo>
                <a:cubicBezTo>
                  <a:pt x="3166" y="3134"/>
                  <a:pt x="3166" y="3134"/>
                  <a:pt x="3166" y="3134"/>
                </a:cubicBezTo>
                <a:cubicBezTo>
                  <a:pt x="3229" y="3134"/>
                  <a:pt x="3277" y="3134"/>
                  <a:pt x="3325" y="3134"/>
                </a:cubicBezTo>
                <a:cubicBezTo>
                  <a:pt x="3675" y="3134"/>
                  <a:pt x="4184" y="3086"/>
                  <a:pt x="4438" y="2959"/>
                </a:cubicBezTo>
                <a:cubicBezTo>
                  <a:pt x="4438" y="3325"/>
                  <a:pt x="4438" y="3325"/>
                  <a:pt x="4438" y="3325"/>
                </a:cubicBezTo>
                <a:cubicBezTo>
                  <a:pt x="4422" y="3389"/>
                  <a:pt x="4024" y="3547"/>
                  <a:pt x="3325" y="3547"/>
                </a:cubicBezTo>
                <a:close/>
                <a:moveTo>
                  <a:pt x="3325" y="160"/>
                </a:moveTo>
                <a:cubicBezTo>
                  <a:pt x="4024" y="160"/>
                  <a:pt x="4422" y="303"/>
                  <a:pt x="4438" y="382"/>
                </a:cubicBezTo>
                <a:cubicBezTo>
                  <a:pt x="4422" y="446"/>
                  <a:pt x="4024" y="589"/>
                  <a:pt x="3325" y="589"/>
                </a:cubicBezTo>
                <a:cubicBezTo>
                  <a:pt x="2641" y="589"/>
                  <a:pt x="2227" y="446"/>
                  <a:pt x="2211" y="382"/>
                </a:cubicBezTo>
                <a:cubicBezTo>
                  <a:pt x="2227" y="303"/>
                  <a:pt x="2641" y="160"/>
                  <a:pt x="3325" y="160"/>
                </a:cubicBezTo>
                <a:close/>
                <a:moveTo>
                  <a:pt x="1257" y="1750"/>
                </a:moveTo>
                <a:cubicBezTo>
                  <a:pt x="1607" y="1750"/>
                  <a:pt x="1877" y="1782"/>
                  <a:pt x="2052" y="1830"/>
                </a:cubicBezTo>
                <a:cubicBezTo>
                  <a:pt x="2052" y="1862"/>
                  <a:pt x="2100" y="1893"/>
                  <a:pt x="2132" y="1893"/>
                </a:cubicBezTo>
                <a:cubicBezTo>
                  <a:pt x="2164" y="1893"/>
                  <a:pt x="2195" y="1877"/>
                  <a:pt x="2211" y="1862"/>
                </a:cubicBezTo>
                <a:cubicBezTo>
                  <a:pt x="2307" y="1893"/>
                  <a:pt x="2370" y="1941"/>
                  <a:pt x="2370" y="1957"/>
                </a:cubicBezTo>
                <a:cubicBezTo>
                  <a:pt x="2354" y="2036"/>
                  <a:pt x="1957" y="2180"/>
                  <a:pt x="1257" y="2180"/>
                </a:cubicBezTo>
                <a:cubicBezTo>
                  <a:pt x="573" y="2180"/>
                  <a:pt x="175" y="2036"/>
                  <a:pt x="159" y="1957"/>
                </a:cubicBezTo>
                <a:cubicBezTo>
                  <a:pt x="175" y="1893"/>
                  <a:pt x="573" y="1750"/>
                  <a:pt x="1257" y="175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59235281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Finance / Security - 4</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70" name="TextBox 69">
            <a:extLst>
              <a:ext uri="{FF2B5EF4-FFF2-40B4-BE49-F238E27FC236}">
                <a16:creationId xmlns:a16="http://schemas.microsoft.com/office/drawing/2014/main" id="{DCB37BE7-FB09-F54F-9B42-8F0EE5856FA6}"/>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121" name="TextBox 120">
            <a:extLst>
              <a:ext uri="{FF2B5EF4-FFF2-40B4-BE49-F238E27FC236}">
                <a16:creationId xmlns:a16="http://schemas.microsoft.com/office/drawing/2014/main" id="{434E7A3F-D0E9-054B-8426-00B8CCA41B58}"/>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allet 1</a:t>
            </a:r>
          </a:p>
        </p:txBody>
      </p:sp>
      <p:sp>
        <p:nvSpPr>
          <p:cNvPr id="122" name="TextBox 121">
            <a:extLst>
              <a:ext uri="{FF2B5EF4-FFF2-40B4-BE49-F238E27FC236}">
                <a16:creationId xmlns:a16="http://schemas.microsoft.com/office/drawing/2014/main" id="{C5EB2826-13D4-9844-BFF3-2A2930BC6753}"/>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allet 2</a:t>
            </a:r>
          </a:p>
        </p:txBody>
      </p:sp>
      <p:sp>
        <p:nvSpPr>
          <p:cNvPr id="123" name="TextBox 122">
            <a:extLst>
              <a:ext uri="{FF2B5EF4-FFF2-40B4-BE49-F238E27FC236}">
                <a16:creationId xmlns:a16="http://schemas.microsoft.com/office/drawing/2014/main" id="{7D012C68-BDA4-3C46-B8E8-D976E58EC51E}"/>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old</a:t>
            </a:r>
          </a:p>
        </p:txBody>
      </p:sp>
      <p:sp>
        <p:nvSpPr>
          <p:cNvPr id="124" name="TextBox 123">
            <a:extLst>
              <a:ext uri="{FF2B5EF4-FFF2-40B4-BE49-F238E27FC236}">
                <a16:creationId xmlns:a16="http://schemas.microsoft.com/office/drawing/2014/main" id="{D3D4A718-87F2-9241-A527-D49B72743A6B}"/>
              </a:ext>
            </a:extLst>
          </p:cNvPr>
          <p:cNvSpPr txBox="1"/>
          <p:nvPr/>
        </p:nvSpPr>
        <p:spPr>
          <a:xfrm>
            <a:off x="12867894"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redit Card 1</a:t>
            </a:r>
          </a:p>
        </p:txBody>
      </p:sp>
      <p:sp>
        <p:nvSpPr>
          <p:cNvPr id="125" name="TextBox 124">
            <a:extLst>
              <a:ext uri="{FF2B5EF4-FFF2-40B4-BE49-F238E27FC236}">
                <a16:creationId xmlns:a16="http://schemas.microsoft.com/office/drawing/2014/main" id="{295EF980-5D02-594D-B2FB-14C9568BE5E1}"/>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redit Card 3</a:t>
            </a:r>
          </a:p>
        </p:txBody>
      </p:sp>
      <p:sp>
        <p:nvSpPr>
          <p:cNvPr id="126" name="TextBox 125">
            <a:extLst>
              <a:ext uri="{FF2B5EF4-FFF2-40B4-BE49-F238E27FC236}">
                <a16:creationId xmlns:a16="http://schemas.microsoft.com/office/drawing/2014/main" id="{A68388E2-14CD-CB45-869F-4C65CC32CD09}"/>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iamond</a:t>
            </a:r>
          </a:p>
        </p:txBody>
      </p:sp>
      <p:sp>
        <p:nvSpPr>
          <p:cNvPr id="127" name="TextBox 126">
            <a:extLst>
              <a:ext uri="{FF2B5EF4-FFF2-40B4-BE49-F238E27FC236}">
                <a16:creationId xmlns:a16="http://schemas.microsoft.com/office/drawing/2014/main" id="{06101CCB-36A3-1345-B941-3613C61EAB40}"/>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ster Card</a:t>
            </a:r>
          </a:p>
        </p:txBody>
      </p:sp>
      <p:sp>
        <p:nvSpPr>
          <p:cNvPr id="128" name="TextBox 127">
            <a:extLst>
              <a:ext uri="{FF2B5EF4-FFF2-40B4-BE49-F238E27FC236}">
                <a16:creationId xmlns:a16="http://schemas.microsoft.com/office/drawing/2014/main" id="{22909239-3EA0-9143-9475-62A42C4E0A15}"/>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Visa</a:t>
            </a:r>
          </a:p>
        </p:txBody>
      </p:sp>
      <p:sp>
        <p:nvSpPr>
          <p:cNvPr id="129" name="TextBox 128">
            <a:extLst>
              <a:ext uri="{FF2B5EF4-FFF2-40B4-BE49-F238E27FC236}">
                <a16:creationId xmlns:a16="http://schemas.microsoft.com/office/drawing/2014/main" id="{81E891AB-882C-6542-8B96-0881A5FF7EB7}"/>
              </a:ext>
            </a:extLst>
          </p:cNvPr>
          <p:cNvSpPr txBox="1"/>
          <p:nvPr/>
        </p:nvSpPr>
        <p:spPr>
          <a:xfrm>
            <a:off x="16670653"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lculator 2</a:t>
            </a:r>
          </a:p>
        </p:txBody>
      </p:sp>
      <p:sp>
        <p:nvSpPr>
          <p:cNvPr id="130" name="TextBox 129">
            <a:extLst>
              <a:ext uri="{FF2B5EF4-FFF2-40B4-BE49-F238E27FC236}">
                <a16:creationId xmlns:a16="http://schemas.microsoft.com/office/drawing/2014/main" id="{093F1AA9-69B0-7144-B530-A205FB2E3080}"/>
              </a:ext>
            </a:extLst>
          </p:cNvPr>
          <p:cNvSpPr txBox="1"/>
          <p:nvPr/>
        </p:nvSpPr>
        <p:spPr>
          <a:xfrm>
            <a:off x="-47946" y="11657695"/>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r Chart 1</a:t>
            </a:r>
          </a:p>
        </p:txBody>
      </p:sp>
      <p:sp>
        <p:nvSpPr>
          <p:cNvPr id="131" name="TextBox 130">
            <a:extLst>
              <a:ext uri="{FF2B5EF4-FFF2-40B4-BE49-F238E27FC236}">
                <a16:creationId xmlns:a16="http://schemas.microsoft.com/office/drawing/2014/main" id="{3C014B39-44F4-B545-A9E0-F0E4352B1F84}"/>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r Chart 2</a:t>
            </a:r>
          </a:p>
        </p:txBody>
      </p:sp>
      <p:sp>
        <p:nvSpPr>
          <p:cNvPr id="132" name="TextBox 131">
            <a:extLst>
              <a:ext uri="{FF2B5EF4-FFF2-40B4-BE49-F238E27FC236}">
                <a16:creationId xmlns:a16="http://schemas.microsoft.com/office/drawing/2014/main" id="{FFA774E0-AB75-9B49-844D-C2F0DFF25FED}"/>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r Chart 3</a:t>
            </a:r>
          </a:p>
        </p:txBody>
      </p:sp>
      <p:sp>
        <p:nvSpPr>
          <p:cNvPr id="133" name="TextBox 132">
            <a:extLst>
              <a:ext uri="{FF2B5EF4-FFF2-40B4-BE49-F238E27FC236}">
                <a16:creationId xmlns:a16="http://schemas.microsoft.com/office/drawing/2014/main" id="{62889D77-8FC6-6F42-83BF-6F3D53D4714D}"/>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r Chart 4</a:t>
            </a:r>
          </a:p>
        </p:txBody>
      </p:sp>
      <p:sp>
        <p:nvSpPr>
          <p:cNvPr id="134" name="TextBox 133">
            <a:extLst>
              <a:ext uri="{FF2B5EF4-FFF2-40B4-BE49-F238E27FC236}">
                <a16:creationId xmlns:a16="http://schemas.microsoft.com/office/drawing/2014/main" id="{F5E578E9-1571-434F-95BB-DCB9CA92D9CB}"/>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eceipt 2</a:t>
            </a:r>
          </a:p>
        </p:txBody>
      </p:sp>
      <p:sp>
        <p:nvSpPr>
          <p:cNvPr id="135" name="Freeform: Shape 26">
            <a:extLst>
              <a:ext uri="{FF2B5EF4-FFF2-40B4-BE49-F238E27FC236}">
                <a16:creationId xmlns:a16="http://schemas.microsoft.com/office/drawing/2014/main" id="{1A484D9F-8633-B84C-B754-31B68031F06C}"/>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6" name="TextBox 135">
            <a:extLst>
              <a:ext uri="{FF2B5EF4-FFF2-40B4-BE49-F238E27FC236}">
                <a16:creationId xmlns:a16="http://schemas.microsoft.com/office/drawing/2014/main" id="{CA5D38AC-5F03-C843-BEBD-188FA8B1FD85}"/>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redit Card 2</a:t>
            </a:r>
          </a:p>
        </p:txBody>
      </p:sp>
      <p:sp>
        <p:nvSpPr>
          <p:cNvPr id="137" name="TextBox 136">
            <a:extLst>
              <a:ext uri="{FF2B5EF4-FFF2-40B4-BE49-F238E27FC236}">
                <a16:creationId xmlns:a16="http://schemas.microsoft.com/office/drawing/2014/main" id="{5D4B65C3-F976-8546-9088-F18DC1CF70C1}"/>
              </a:ext>
            </a:extLst>
          </p:cNvPr>
          <p:cNvSpPr txBox="1"/>
          <p:nvPr/>
        </p:nvSpPr>
        <p:spPr>
          <a:xfrm>
            <a:off x="12864585"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lculator 1</a:t>
            </a:r>
          </a:p>
        </p:txBody>
      </p:sp>
      <p:sp>
        <p:nvSpPr>
          <p:cNvPr id="138" name="TextBox 137">
            <a:extLst>
              <a:ext uri="{FF2B5EF4-FFF2-40B4-BE49-F238E27FC236}">
                <a16:creationId xmlns:a16="http://schemas.microsoft.com/office/drawing/2014/main" id="{6A26AA48-2C26-1248-9809-6B5ECCA093BE}"/>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eceipt 1</a:t>
            </a:r>
          </a:p>
        </p:txBody>
      </p:sp>
      <p:sp>
        <p:nvSpPr>
          <p:cNvPr id="139" name="Freeform: Shape 13">
            <a:extLst>
              <a:ext uri="{FF2B5EF4-FFF2-40B4-BE49-F238E27FC236}">
                <a16:creationId xmlns:a16="http://schemas.microsoft.com/office/drawing/2014/main" id="{6F4136E2-389C-6A42-8FC1-2AE451AA3BCA}"/>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0" name="Freeform: Shape 1">
            <a:extLst>
              <a:ext uri="{FF2B5EF4-FFF2-40B4-BE49-F238E27FC236}">
                <a16:creationId xmlns:a16="http://schemas.microsoft.com/office/drawing/2014/main" id="{A7902DCE-202D-9549-8EA9-803FDAEF9F13}"/>
              </a:ext>
            </a:extLst>
          </p:cNvPr>
          <p:cNvSpPr/>
          <p:nvPr/>
        </p:nvSpPr>
        <p:spPr>
          <a:xfrm>
            <a:off x="1767932" y="6555774"/>
            <a:ext cx="1625760" cy="1373759"/>
          </a:xfrm>
          <a:custGeom>
            <a:avLst/>
            <a:gdLst/>
            <a:ahLst/>
            <a:cxnLst>
              <a:cxn ang="3cd4">
                <a:pos x="hc" y="t"/>
              </a:cxn>
              <a:cxn ang="cd2">
                <a:pos x="l" y="vc"/>
              </a:cxn>
              <a:cxn ang="cd4">
                <a:pos x="hc" y="b"/>
              </a:cxn>
              <a:cxn ang="0">
                <a:pos x="r" y="vc"/>
              </a:cxn>
            </a:cxnLst>
            <a:rect l="l" t="t" r="r" b="b"/>
            <a:pathLst>
              <a:path w="4517" h="3817">
                <a:moveTo>
                  <a:pt x="4517" y="747"/>
                </a:moveTo>
                <a:cubicBezTo>
                  <a:pt x="4517" y="731"/>
                  <a:pt x="4501" y="715"/>
                  <a:pt x="4485" y="699"/>
                </a:cubicBezTo>
                <a:cubicBezTo>
                  <a:pt x="3292" y="0"/>
                  <a:pt x="3292" y="0"/>
                  <a:pt x="3292" y="0"/>
                </a:cubicBezTo>
                <a:cubicBezTo>
                  <a:pt x="3277" y="0"/>
                  <a:pt x="3261" y="0"/>
                  <a:pt x="3244" y="0"/>
                </a:cubicBezTo>
                <a:cubicBezTo>
                  <a:pt x="1272" y="0"/>
                  <a:pt x="1272" y="0"/>
                  <a:pt x="1272" y="0"/>
                </a:cubicBezTo>
                <a:cubicBezTo>
                  <a:pt x="1256" y="0"/>
                  <a:pt x="1241" y="0"/>
                  <a:pt x="1225" y="0"/>
                </a:cubicBezTo>
                <a:cubicBezTo>
                  <a:pt x="32" y="699"/>
                  <a:pt x="32" y="699"/>
                  <a:pt x="32" y="699"/>
                </a:cubicBezTo>
                <a:cubicBezTo>
                  <a:pt x="16" y="715"/>
                  <a:pt x="0" y="731"/>
                  <a:pt x="0" y="747"/>
                </a:cubicBezTo>
                <a:cubicBezTo>
                  <a:pt x="0" y="779"/>
                  <a:pt x="0" y="795"/>
                  <a:pt x="16" y="811"/>
                </a:cubicBezTo>
                <a:cubicBezTo>
                  <a:pt x="2195" y="3785"/>
                  <a:pt x="2195" y="3785"/>
                  <a:pt x="2195" y="3785"/>
                </a:cubicBezTo>
                <a:cubicBezTo>
                  <a:pt x="2211" y="3817"/>
                  <a:pt x="2226" y="3817"/>
                  <a:pt x="2259" y="3817"/>
                </a:cubicBezTo>
                <a:cubicBezTo>
                  <a:pt x="2290" y="3817"/>
                  <a:pt x="2306" y="3817"/>
                  <a:pt x="2322" y="3785"/>
                </a:cubicBezTo>
                <a:cubicBezTo>
                  <a:pt x="4501" y="811"/>
                  <a:pt x="4501" y="811"/>
                  <a:pt x="4501" y="811"/>
                </a:cubicBezTo>
                <a:cubicBezTo>
                  <a:pt x="4517" y="795"/>
                  <a:pt x="4517" y="779"/>
                  <a:pt x="4517" y="747"/>
                </a:cubicBezTo>
                <a:close/>
                <a:moveTo>
                  <a:pt x="4326" y="795"/>
                </a:moveTo>
                <a:cubicBezTo>
                  <a:pt x="4310" y="795"/>
                  <a:pt x="4294" y="795"/>
                  <a:pt x="4294" y="795"/>
                </a:cubicBezTo>
                <a:cubicBezTo>
                  <a:pt x="3149" y="795"/>
                  <a:pt x="3149" y="795"/>
                  <a:pt x="3149" y="795"/>
                </a:cubicBezTo>
                <a:cubicBezTo>
                  <a:pt x="3324" y="206"/>
                  <a:pt x="3324" y="206"/>
                  <a:pt x="3324" y="206"/>
                </a:cubicBezTo>
                <a:cubicBezTo>
                  <a:pt x="4326" y="795"/>
                  <a:pt x="4326" y="795"/>
                  <a:pt x="4326" y="795"/>
                </a:cubicBezTo>
                <a:close/>
                <a:moveTo>
                  <a:pt x="1193" y="206"/>
                </a:moveTo>
                <a:cubicBezTo>
                  <a:pt x="1368" y="795"/>
                  <a:pt x="1368" y="795"/>
                  <a:pt x="1368" y="795"/>
                </a:cubicBezTo>
                <a:cubicBezTo>
                  <a:pt x="191" y="795"/>
                  <a:pt x="191" y="795"/>
                  <a:pt x="191" y="795"/>
                </a:cubicBezTo>
                <a:close/>
                <a:moveTo>
                  <a:pt x="1527" y="795"/>
                </a:moveTo>
                <a:cubicBezTo>
                  <a:pt x="1336" y="158"/>
                  <a:pt x="1336" y="158"/>
                  <a:pt x="1336" y="158"/>
                </a:cubicBezTo>
                <a:cubicBezTo>
                  <a:pt x="3181" y="158"/>
                  <a:pt x="3181" y="158"/>
                  <a:pt x="3181" y="158"/>
                </a:cubicBezTo>
                <a:cubicBezTo>
                  <a:pt x="2990" y="795"/>
                  <a:pt x="2990" y="795"/>
                  <a:pt x="2990" y="795"/>
                </a:cubicBezTo>
                <a:close/>
                <a:moveTo>
                  <a:pt x="2943" y="954"/>
                </a:moveTo>
                <a:cubicBezTo>
                  <a:pt x="2259" y="3260"/>
                  <a:pt x="2259" y="3260"/>
                  <a:pt x="2259" y="3260"/>
                </a:cubicBezTo>
                <a:cubicBezTo>
                  <a:pt x="1574" y="954"/>
                  <a:pt x="1574" y="954"/>
                  <a:pt x="1574" y="954"/>
                </a:cubicBezTo>
                <a:close/>
                <a:moveTo>
                  <a:pt x="1416" y="954"/>
                </a:moveTo>
                <a:cubicBezTo>
                  <a:pt x="2147" y="3467"/>
                  <a:pt x="2147" y="3467"/>
                  <a:pt x="2147" y="3467"/>
                </a:cubicBezTo>
                <a:cubicBezTo>
                  <a:pt x="302" y="954"/>
                  <a:pt x="302" y="954"/>
                  <a:pt x="302" y="954"/>
                </a:cubicBezTo>
                <a:close/>
                <a:moveTo>
                  <a:pt x="3101" y="954"/>
                </a:moveTo>
                <a:cubicBezTo>
                  <a:pt x="4215" y="954"/>
                  <a:pt x="4215" y="954"/>
                  <a:pt x="4215" y="954"/>
                </a:cubicBezTo>
                <a:cubicBezTo>
                  <a:pt x="2370" y="3467"/>
                  <a:pt x="2370" y="3467"/>
                  <a:pt x="2370" y="346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1" name="Freeform: Shape 3">
            <a:extLst>
              <a:ext uri="{FF2B5EF4-FFF2-40B4-BE49-F238E27FC236}">
                <a16:creationId xmlns:a16="http://schemas.microsoft.com/office/drawing/2014/main" id="{353333B5-BDD9-2548-90D3-FE62088FDB48}"/>
              </a:ext>
            </a:extLst>
          </p:cNvPr>
          <p:cNvSpPr/>
          <p:nvPr/>
        </p:nvSpPr>
        <p:spPr>
          <a:xfrm>
            <a:off x="9940712" y="6727135"/>
            <a:ext cx="1769040" cy="1030680"/>
          </a:xfrm>
          <a:custGeom>
            <a:avLst/>
            <a:gdLst/>
            <a:ahLst/>
            <a:cxnLst>
              <a:cxn ang="3cd4">
                <a:pos x="hc" y="t"/>
              </a:cxn>
              <a:cxn ang="cd2">
                <a:pos x="l" y="vc"/>
              </a:cxn>
              <a:cxn ang="cd4">
                <a:pos x="hc" y="b"/>
              </a:cxn>
              <a:cxn ang="0">
                <a:pos x="r" y="vc"/>
              </a:cxn>
            </a:cxnLst>
            <a:rect l="l" t="t" r="r" b="b"/>
            <a:pathLst>
              <a:path w="4915" h="2864">
                <a:moveTo>
                  <a:pt x="3436" y="1798"/>
                </a:moveTo>
                <a:cubicBezTo>
                  <a:pt x="3594" y="1257"/>
                  <a:pt x="2863" y="1289"/>
                  <a:pt x="3006" y="955"/>
                </a:cubicBezTo>
                <a:cubicBezTo>
                  <a:pt x="3117" y="669"/>
                  <a:pt x="3483" y="955"/>
                  <a:pt x="3531" y="987"/>
                </a:cubicBezTo>
                <a:cubicBezTo>
                  <a:pt x="3579" y="923"/>
                  <a:pt x="3642" y="828"/>
                  <a:pt x="3674" y="764"/>
                </a:cubicBezTo>
                <a:cubicBezTo>
                  <a:pt x="3547" y="605"/>
                  <a:pt x="2974" y="446"/>
                  <a:pt x="2688" y="812"/>
                </a:cubicBezTo>
                <a:cubicBezTo>
                  <a:pt x="2195" y="1416"/>
                  <a:pt x="3197" y="1591"/>
                  <a:pt x="3022" y="1830"/>
                </a:cubicBezTo>
                <a:cubicBezTo>
                  <a:pt x="2910" y="1989"/>
                  <a:pt x="2608" y="1973"/>
                  <a:pt x="2386" y="1814"/>
                </a:cubicBezTo>
                <a:cubicBezTo>
                  <a:pt x="2354" y="1878"/>
                  <a:pt x="2290" y="1983"/>
                  <a:pt x="2242" y="2068"/>
                </a:cubicBezTo>
                <a:cubicBezTo>
                  <a:pt x="2433" y="2180"/>
                  <a:pt x="2561" y="2212"/>
                  <a:pt x="2751" y="2212"/>
                </a:cubicBezTo>
                <a:cubicBezTo>
                  <a:pt x="2942" y="2212"/>
                  <a:pt x="3324" y="2180"/>
                  <a:pt x="3436" y="1798"/>
                </a:cubicBezTo>
                <a:close/>
                <a:moveTo>
                  <a:pt x="2481" y="637"/>
                </a:moveTo>
                <a:lnTo>
                  <a:pt x="2083" y="637"/>
                </a:lnTo>
                <a:lnTo>
                  <a:pt x="1495" y="2227"/>
                </a:lnTo>
                <a:lnTo>
                  <a:pt x="1892" y="2227"/>
                </a:lnTo>
                <a:close/>
                <a:moveTo>
                  <a:pt x="4787" y="2227"/>
                </a:moveTo>
                <a:lnTo>
                  <a:pt x="4676" y="637"/>
                </a:lnTo>
                <a:lnTo>
                  <a:pt x="4278" y="637"/>
                </a:lnTo>
                <a:lnTo>
                  <a:pt x="3436" y="2227"/>
                </a:lnTo>
                <a:lnTo>
                  <a:pt x="3769" y="2227"/>
                </a:lnTo>
                <a:lnTo>
                  <a:pt x="3928" y="1893"/>
                </a:lnTo>
                <a:lnTo>
                  <a:pt x="4374" y="1893"/>
                </a:lnTo>
                <a:lnTo>
                  <a:pt x="4374" y="2227"/>
                </a:lnTo>
                <a:close/>
                <a:moveTo>
                  <a:pt x="4374" y="1591"/>
                </a:moveTo>
                <a:lnTo>
                  <a:pt x="4072" y="1591"/>
                </a:lnTo>
                <a:lnTo>
                  <a:pt x="4374" y="1003"/>
                </a:lnTo>
                <a:close/>
                <a:moveTo>
                  <a:pt x="1002" y="2227"/>
                </a:moveTo>
                <a:lnTo>
                  <a:pt x="1892" y="637"/>
                </a:lnTo>
                <a:lnTo>
                  <a:pt x="1495" y="637"/>
                </a:lnTo>
                <a:lnTo>
                  <a:pt x="874" y="1607"/>
                </a:lnTo>
                <a:lnTo>
                  <a:pt x="874" y="637"/>
                </a:lnTo>
                <a:lnTo>
                  <a:pt x="302" y="637"/>
                </a:lnTo>
                <a:cubicBezTo>
                  <a:pt x="445" y="796"/>
                  <a:pt x="556" y="828"/>
                  <a:pt x="556" y="1018"/>
                </a:cubicBezTo>
                <a:lnTo>
                  <a:pt x="556" y="2227"/>
                </a:lnTo>
                <a:close/>
                <a:moveTo>
                  <a:pt x="0" y="80"/>
                </a:moveTo>
                <a:cubicBezTo>
                  <a:pt x="0" y="128"/>
                  <a:pt x="31" y="160"/>
                  <a:pt x="79" y="160"/>
                </a:cubicBezTo>
                <a:lnTo>
                  <a:pt x="4835" y="160"/>
                </a:lnTo>
                <a:cubicBezTo>
                  <a:pt x="4883" y="160"/>
                  <a:pt x="4915" y="128"/>
                  <a:pt x="4915" y="80"/>
                </a:cubicBezTo>
                <a:cubicBezTo>
                  <a:pt x="4915" y="33"/>
                  <a:pt x="4883" y="0"/>
                  <a:pt x="4835" y="0"/>
                </a:cubicBezTo>
                <a:lnTo>
                  <a:pt x="79" y="0"/>
                </a:lnTo>
                <a:cubicBezTo>
                  <a:pt x="31" y="0"/>
                  <a:pt x="0" y="33"/>
                  <a:pt x="0" y="80"/>
                </a:cubicBezTo>
                <a:close/>
                <a:moveTo>
                  <a:pt x="79" y="2864"/>
                </a:moveTo>
                <a:lnTo>
                  <a:pt x="4835" y="2864"/>
                </a:lnTo>
                <a:cubicBezTo>
                  <a:pt x="4883" y="2864"/>
                  <a:pt x="4915" y="2832"/>
                  <a:pt x="4915" y="2784"/>
                </a:cubicBezTo>
                <a:cubicBezTo>
                  <a:pt x="4915" y="2736"/>
                  <a:pt x="4883" y="2705"/>
                  <a:pt x="4835" y="2705"/>
                </a:cubicBezTo>
                <a:lnTo>
                  <a:pt x="79" y="2705"/>
                </a:lnTo>
                <a:cubicBezTo>
                  <a:pt x="31" y="2705"/>
                  <a:pt x="0" y="2736"/>
                  <a:pt x="0" y="2784"/>
                </a:cubicBezTo>
                <a:cubicBezTo>
                  <a:pt x="0" y="2832"/>
                  <a:pt x="31" y="2864"/>
                  <a:pt x="79" y="286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2" name="Freeform: Shape 4">
            <a:extLst>
              <a:ext uri="{FF2B5EF4-FFF2-40B4-BE49-F238E27FC236}">
                <a16:creationId xmlns:a16="http://schemas.microsoft.com/office/drawing/2014/main" id="{519FB584-1093-944A-9DC9-2CC0588CF226}"/>
              </a:ext>
            </a:extLst>
          </p:cNvPr>
          <p:cNvSpPr/>
          <p:nvPr/>
        </p:nvSpPr>
        <p:spPr>
          <a:xfrm>
            <a:off x="5761483" y="6607255"/>
            <a:ext cx="2043719" cy="1270800"/>
          </a:xfrm>
          <a:custGeom>
            <a:avLst/>
            <a:gdLst/>
            <a:ahLst/>
            <a:cxnLst>
              <a:cxn ang="3cd4">
                <a:pos x="hc" y="t"/>
              </a:cxn>
              <a:cxn ang="cd2">
                <a:pos x="l" y="vc"/>
              </a:cxn>
              <a:cxn ang="cd4">
                <a:pos x="hc" y="b"/>
              </a:cxn>
              <a:cxn ang="0">
                <a:pos x="r" y="vc"/>
              </a:cxn>
            </a:cxnLst>
            <a:rect l="l" t="t" r="r" b="b"/>
            <a:pathLst>
              <a:path w="5678" h="3531">
                <a:moveTo>
                  <a:pt x="3913" y="0"/>
                </a:moveTo>
                <a:cubicBezTo>
                  <a:pt x="3531" y="0"/>
                  <a:pt x="3149" y="127"/>
                  <a:pt x="2847" y="366"/>
                </a:cubicBezTo>
                <a:cubicBezTo>
                  <a:pt x="2529" y="127"/>
                  <a:pt x="2163" y="0"/>
                  <a:pt x="1766" y="0"/>
                </a:cubicBezTo>
                <a:cubicBezTo>
                  <a:pt x="795" y="0"/>
                  <a:pt x="0" y="795"/>
                  <a:pt x="0" y="1765"/>
                </a:cubicBezTo>
                <a:cubicBezTo>
                  <a:pt x="0" y="2735"/>
                  <a:pt x="795" y="3531"/>
                  <a:pt x="1766" y="3531"/>
                </a:cubicBezTo>
                <a:cubicBezTo>
                  <a:pt x="2163" y="3531"/>
                  <a:pt x="2529" y="3404"/>
                  <a:pt x="2847" y="3165"/>
                </a:cubicBezTo>
                <a:cubicBezTo>
                  <a:pt x="3149" y="3404"/>
                  <a:pt x="3531" y="3531"/>
                  <a:pt x="3913" y="3531"/>
                </a:cubicBezTo>
                <a:cubicBezTo>
                  <a:pt x="4899" y="3531"/>
                  <a:pt x="5678" y="2735"/>
                  <a:pt x="5678" y="1765"/>
                </a:cubicBezTo>
                <a:cubicBezTo>
                  <a:pt x="5678" y="795"/>
                  <a:pt x="4899" y="0"/>
                  <a:pt x="3913" y="0"/>
                </a:cubicBezTo>
                <a:close/>
                <a:moveTo>
                  <a:pt x="2847" y="2958"/>
                </a:moveTo>
                <a:cubicBezTo>
                  <a:pt x="2497" y="2656"/>
                  <a:pt x="2306" y="2226"/>
                  <a:pt x="2306" y="1765"/>
                </a:cubicBezTo>
                <a:cubicBezTo>
                  <a:pt x="2306" y="1304"/>
                  <a:pt x="2497" y="875"/>
                  <a:pt x="2847" y="572"/>
                </a:cubicBezTo>
                <a:cubicBezTo>
                  <a:pt x="3181" y="875"/>
                  <a:pt x="3372" y="1304"/>
                  <a:pt x="3372" y="1765"/>
                </a:cubicBezTo>
                <a:cubicBezTo>
                  <a:pt x="3372" y="2226"/>
                  <a:pt x="3181" y="2656"/>
                  <a:pt x="2847" y="2958"/>
                </a:cubicBezTo>
                <a:close/>
                <a:moveTo>
                  <a:pt x="1766" y="3372"/>
                </a:moveTo>
                <a:cubicBezTo>
                  <a:pt x="875" y="3372"/>
                  <a:pt x="159" y="2656"/>
                  <a:pt x="159" y="1765"/>
                </a:cubicBezTo>
                <a:cubicBezTo>
                  <a:pt x="159" y="875"/>
                  <a:pt x="875" y="159"/>
                  <a:pt x="1766" y="159"/>
                </a:cubicBezTo>
                <a:cubicBezTo>
                  <a:pt x="2116" y="159"/>
                  <a:pt x="2449" y="270"/>
                  <a:pt x="2720" y="461"/>
                </a:cubicBezTo>
                <a:cubicBezTo>
                  <a:pt x="2354" y="795"/>
                  <a:pt x="2148" y="1272"/>
                  <a:pt x="2148" y="1765"/>
                </a:cubicBezTo>
                <a:cubicBezTo>
                  <a:pt x="2148" y="2258"/>
                  <a:pt x="2354" y="2735"/>
                  <a:pt x="2720" y="3069"/>
                </a:cubicBezTo>
                <a:cubicBezTo>
                  <a:pt x="2449" y="3260"/>
                  <a:pt x="2116" y="3372"/>
                  <a:pt x="1766" y="3372"/>
                </a:cubicBezTo>
                <a:close/>
                <a:moveTo>
                  <a:pt x="3913" y="3372"/>
                </a:moveTo>
                <a:cubicBezTo>
                  <a:pt x="3579" y="3372"/>
                  <a:pt x="3245" y="3260"/>
                  <a:pt x="2958" y="3069"/>
                </a:cubicBezTo>
                <a:cubicBezTo>
                  <a:pt x="3324" y="2735"/>
                  <a:pt x="3531" y="2258"/>
                  <a:pt x="3531" y="1765"/>
                </a:cubicBezTo>
                <a:cubicBezTo>
                  <a:pt x="3531" y="1272"/>
                  <a:pt x="3324" y="795"/>
                  <a:pt x="2958" y="461"/>
                </a:cubicBezTo>
                <a:cubicBezTo>
                  <a:pt x="3245" y="270"/>
                  <a:pt x="3579" y="159"/>
                  <a:pt x="3913" y="159"/>
                </a:cubicBezTo>
                <a:cubicBezTo>
                  <a:pt x="4804" y="159"/>
                  <a:pt x="5520" y="875"/>
                  <a:pt x="5520" y="1765"/>
                </a:cubicBezTo>
                <a:cubicBezTo>
                  <a:pt x="5520" y="2656"/>
                  <a:pt x="4804" y="3372"/>
                  <a:pt x="3913" y="33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3" name="Freeform: Shape 5">
            <a:extLst>
              <a:ext uri="{FF2B5EF4-FFF2-40B4-BE49-F238E27FC236}">
                <a16:creationId xmlns:a16="http://schemas.microsoft.com/office/drawing/2014/main" id="{0A1D69A3-D1BC-264F-A15C-4FB7D4CF019B}"/>
              </a:ext>
            </a:extLst>
          </p:cNvPr>
          <p:cNvSpPr/>
          <p:nvPr/>
        </p:nvSpPr>
        <p:spPr>
          <a:xfrm>
            <a:off x="13958085" y="3291470"/>
            <a:ext cx="1717560" cy="1202400"/>
          </a:xfrm>
          <a:custGeom>
            <a:avLst/>
            <a:gdLst/>
            <a:ahLst/>
            <a:cxnLst>
              <a:cxn ang="3cd4">
                <a:pos x="hc" y="t"/>
              </a:cxn>
              <a:cxn ang="cd2">
                <a:pos x="l" y="vc"/>
              </a:cxn>
              <a:cxn ang="cd4">
                <a:pos x="hc" y="b"/>
              </a:cxn>
              <a:cxn ang="0">
                <a:pos x="r" y="vc"/>
              </a:cxn>
            </a:cxnLst>
            <a:rect l="l" t="t" r="r" b="b"/>
            <a:pathLst>
              <a:path w="4772" h="3341">
                <a:moveTo>
                  <a:pt x="3992" y="0"/>
                </a:moveTo>
                <a:cubicBezTo>
                  <a:pt x="779" y="0"/>
                  <a:pt x="779" y="0"/>
                  <a:pt x="779" y="0"/>
                </a:cubicBezTo>
                <a:cubicBezTo>
                  <a:pt x="350" y="0"/>
                  <a:pt x="0" y="351"/>
                  <a:pt x="0" y="780"/>
                </a:cubicBezTo>
                <a:cubicBezTo>
                  <a:pt x="0" y="2561"/>
                  <a:pt x="0" y="2561"/>
                  <a:pt x="0" y="2561"/>
                </a:cubicBezTo>
                <a:cubicBezTo>
                  <a:pt x="0" y="2991"/>
                  <a:pt x="350" y="3341"/>
                  <a:pt x="779" y="3341"/>
                </a:cubicBezTo>
                <a:cubicBezTo>
                  <a:pt x="3992" y="3341"/>
                  <a:pt x="3992" y="3341"/>
                  <a:pt x="3992" y="3341"/>
                </a:cubicBezTo>
                <a:cubicBezTo>
                  <a:pt x="4421" y="3341"/>
                  <a:pt x="4772" y="2991"/>
                  <a:pt x="4772" y="2561"/>
                </a:cubicBezTo>
                <a:cubicBezTo>
                  <a:pt x="4772" y="780"/>
                  <a:pt x="4772" y="780"/>
                  <a:pt x="4772" y="780"/>
                </a:cubicBezTo>
                <a:cubicBezTo>
                  <a:pt x="4772" y="351"/>
                  <a:pt x="4421" y="0"/>
                  <a:pt x="3992" y="0"/>
                </a:cubicBezTo>
                <a:close/>
                <a:moveTo>
                  <a:pt x="3992" y="3181"/>
                </a:moveTo>
                <a:cubicBezTo>
                  <a:pt x="779" y="3181"/>
                  <a:pt x="779" y="3181"/>
                  <a:pt x="779" y="3181"/>
                </a:cubicBezTo>
                <a:cubicBezTo>
                  <a:pt x="445" y="3181"/>
                  <a:pt x="159" y="2895"/>
                  <a:pt x="159" y="2561"/>
                </a:cubicBezTo>
                <a:cubicBezTo>
                  <a:pt x="159" y="955"/>
                  <a:pt x="159" y="955"/>
                  <a:pt x="159" y="955"/>
                </a:cubicBezTo>
                <a:cubicBezTo>
                  <a:pt x="4612" y="955"/>
                  <a:pt x="4612" y="955"/>
                  <a:pt x="4612" y="955"/>
                </a:cubicBezTo>
                <a:cubicBezTo>
                  <a:pt x="4612" y="2561"/>
                  <a:pt x="4612" y="2561"/>
                  <a:pt x="4612" y="2561"/>
                </a:cubicBezTo>
                <a:cubicBezTo>
                  <a:pt x="4612" y="2895"/>
                  <a:pt x="4326" y="3181"/>
                  <a:pt x="3992" y="3181"/>
                </a:cubicBezTo>
                <a:close/>
                <a:moveTo>
                  <a:pt x="4612" y="796"/>
                </a:moveTo>
                <a:cubicBezTo>
                  <a:pt x="159" y="796"/>
                  <a:pt x="159" y="796"/>
                  <a:pt x="159" y="796"/>
                </a:cubicBezTo>
                <a:cubicBezTo>
                  <a:pt x="159" y="780"/>
                  <a:pt x="159" y="780"/>
                  <a:pt x="159" y="780"/>
                </a:cubicBezTo>
                <a:cubicBezTo>
                  <a:pt x="159" y="430"/>
                  <a:pt x="445" y="160"/>
                  <a:pt x="779" y="160"/>
                </a:cubicBezTo>
                <a:cubicBezTo>
                  <a:pt x="3992" y="160"/>
                  <a:pt x="3992" y="160"/>
                  <a:pt x="3992" y="160"/>
                </a:cubicBezTo>
                <a:cubicBezTo>
                  <a:pt x="4326" y="160"/>
                  <a:pt x="4612" y="430"/>
                  <a:pt x="4612" y="78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4" name="Freeform: Shape 6">
            <a:extLst>
              <a:ext uri="{FF2B5EF4-FFF2-40B4-BE49-F238E27FC236}">
                <a16:creationId xmlns:a16="http://schemas.microsoft.com/office/drawing/2014/main" id="{04ED7537-B835-334F-B488-0B1C28463B7A}"/>
              </a:ext>
            </a:extLst>
          </p:cNvPr>
          <p:cNvSpPr/>
          <p:nvPr/>
        </p:nvSpPr>
        <p:spPr>
          <a:xfrm>
            <a:off x="5949767" y="3085550"/>
            <a:ext cx="1643399" cy="1613880"/>
          </a:xfrm>
          <a:custGeom>
            <a:avLst/>
            <a:gdLst/>
            <a:ahLst/>
            <a:cxnLst>
              <a:cxn ang="3cd4">
                <a:pos x="hc" y="t"/>
              </a:cxn>
              <a:cxn ang="cd2">
                <a:pos x="l" y="vc"/>
              </a:cxn>
              <a:cxn ang="cd4">
                <a:pos x="hc" y="b"/>
              </a:cxn>
              <a:cxn ang="0">
                <a:pos x="r" y="vc"/>
              </a:cxn>
            </a:cxnLst>
            <a:rect l="l" t="t" r="r" b="b"/>
            <a:pathLst>
              <a:path w="4566" h="4484">
                <a:moveTo>
                  <a:pt x="4566" y="1414"/>
                </a:moveTo>
                <a:cubicBezTo>
                  <a:pt x="4566" y="1032"/>
                  <a:pt x="4279" y="714"/>
                  <a:pt x="3913" y="667"/>
                </a:cubicBezTo>
                <a:lnTo>
                  <a:pt x="3866" y="365"/>
                </a:lnTo>
                <a:cubicBezTo>
                  <a:pt x="3849" y="253"/>
                  <a:pt x="3786" y="142"/>
                  <a:pt x="3691" y="78"/>
                </a:cubicBezTo>
                <a:cubicBezTo>
                  <a:pt x="3595" y="-1"/>
                  <a:pt x="3468" y="-17"/>
                  <a:pt x="3357" y="15"/>
                </a:cubicBezTo>
                <a:lnTo>
                  <a:pt x="716" y="667"/>
                </a:lnTo>
                <a:cubicBezTo>
                  <a:pt x="319" y="683"/>
                  <a:pt x="0" y="1001"/>
                  <a:pt x="0" y="1414"/>
                </a:cubicBezTo>
                <a:lnTo>
                  <a:pt x="0" y="3737"/>
                </a:lnTo>
                <a:cubicBezTo>
                  <a:pt x="0" y="4134"/>
                  <a:pt x="334" y="4484"/>
                  <a:pt x="748" y="4484"/>
                </a:cubicBezTo>
                <a:lnTo>
                  <a:pt x="3818" y="4484"/>
                </a:lnTo>
                <a:cubicBezTo>
                  <a:pt x="4231" y="4484"/>
                  <a:pt x="4566" y="4134"/>
                  <a:pt x="4566" y="3737"/>
                </a:cubicBezTo>
                <a:close/>
                <a:moveTo>
                  <a:pt x="4406" y="3403"/>
                </a:moveTo>
                <a:lnTo>
                  <a:pt x="3834" y="3403"/>
                </a:lnTo>
                <a:cubicBezTo>
                  <a:pt x="3468" y="3403"/>
                  <a:pt x="3150" y="3100"/>
                  <a:pt x="3150" y="2719"/>
                </a:cubicBezTo>
                <a:cubicBezTo>
                  <a:pt x="3150" y="2353"/>
                  <a:pt x="3468" y="2035"/>
                  <a:pt x="3834" y="2035"/>
                </a:cubicBezTo>
                <a:lnTo>
                  <a:pt x="4406" y="2035"/>
                </a:lnTo>
                <a:close/>
                <a:moveTo>
                  <a:pt x="3388" y="158"/>
                </a:moveTo>
                <a:cubicBezTo>
                  <a:pt x="3468" y="142"/>
                  <a:pt x="3531" y="158"/>
                  <a:pt x="3595" y="205"/>
                </a:cubicBezTo>
                <a:cubicBezTo>
                  <a:pt x="3659" y="253"/>
                  <a:pt x="3706" y="317"/>
                  <a:pt x="3706" y="380"/>
                </a:cubicBezTo>
                <a:lnTo>
                  <a:pt x="3754" y="667"/>
                </a:lnTo>
                <a:lnTo>
                  <a:pt x="1384" y="667"/>
                </a:lnTo>
                <a:close/>
                <a:moveTo>
                  <a:pt x="3818" y="4325"/>
                </a:moveTo>
                <a:lnTo>
                  <a:pt x="748" y="4325"/>
                </a:lnTo>
                <a:cubicBezTo>
                  <a:pt x="414" y="4325"/>
                  <a:pt x="159" y="4055"/>
                  <a:pt x="159" y="3737"/>
                </a:cubicBezTo>
                <a:lnTo>
                  <a:pt x="159" y="1414"/>
                </a:lnTo>
                <a:cubicBezTo>
                  <a:pt x="159" y="1080"/>
                  <a:pt x="414" y="826"/>
                  <a:pt x="748" y="826"/>
                </a:cubicBezTo>
                <a:lnTo>
                  <a:pt x="3818" y="826"/>
                </a:lnTo>
                <a:cubicBezTo>
                  <a:pt x="4152" y="826"/>
                  <a:pt x="4406" y="1080"/>
                  <a:pt x="4406" y="1414"/>
                </a:cubicBezTo>
                <a:lnTo>
                  <a:pt x="4406" y="1876"/>
                </a:lnTo>
                <a:lnTo>
                  <a:pt x="3834" y="1876"/>
                </a:lnTo>
                <a:cubicBezTo>
                  <a:pt x="3372" y="1876"/>
                  <a:pt x="2991" y="2258"/>
                  <a:pt x="2991" y="2719"/>
                </a:cubicBezTo>
                <a:cubicBezTo>
                  <a:pt x="2991" y="3180"/>
                  <a:pt x="3372" y="3562"/>
                  <a:pt x="3834" y="3562"/>
                </a:cubicBezTo>
                <a:lnTo>
                  <a:pt x="4406" y="3562"/>
                </a:lnTo>
                <a:lnTo>
                  <a:pt x="4406" y="3737"/>
                </a:lnTo>
                <a:cubicBezTo>
                  <a:pt x="4406" y="4055"/>
                  <a:pt x="4152" y="4325"/>
                  <a:pt x="3818" y="4325"/>
                </a:cubicBezTo>
                <a:close/>
                <a:moveTo>
                  <a:pt x="3468" y="2577"/>
                </a:moveTo>
                <a:cubicBezTo>
                  <a:pt x="3468" y="2720"/>
                  <a:pt x="3595" y="2847"/>
                  <a:pt x="3738" y="2847"/>
                </a:cubicBezTo>
                <a:cubicBezTo>
                  <a:pt x="3897" y="2847"/>
                  <a:pt x="4009" y="2720"/>
                  <a:pt x="4009" y="2577"/>
                </a:cubicBezTo>
                <a:cubicBezTo>
                  <a:pt x="4009" y="2417"/>
                  <a:pt x="3897" y="2306"/>
                  <a:pt x="3738" y="2306"/>
                </a:cubicBezTo>
                <a:cubicBezTo>
                  <a:pt x="3595" y="2306"/>
                  <a:pt x="3468" y="2417"/>
                  <a:pt x="3468" y="2577"/>
                </a:cubicBezTo>
                <a:close/>
                <a:moveTo>
                  <a:pt x="3849" y="2577"/>
                </a:moveTo>
                <a:cubicBezTo>
                  <a:pt x="3849" y="2640"/>
                  <a:pt x="3802" y="2688"/>
                  <a:pt x="3738" y="2688"/>
                </a:cubicBezTo>
                <a:cubicBezTo>
                  <a:pt x="3691" y="2688"/>
                  <a:pt x="3627" y="2640"/>
                  <a:pt x="3627" y="2577"/>
                </a:cubicBezTo>
                <a:cubicBezTo>
                  <a:pt x="3627" y="2513"/>
                  <a:pt x="3691" y="2465"/>
                  <a:pt x="3738" y="2465"/>
                </a:cubicBezTo>
                <a:cubicBezTo>
                  <a:pt x="3802" y="2465"/>
                  <a:pt x="3849" y="2513"/>
                  <a:pt x="3849" y="2577"/>
                </a:cubicBezTo>
                <a:close/>
                <a:moveTo>
                  <a:pt x="1050" y="1272"/>
                </a:moveTo>
                <a:lnTo>
                  <a:pt x="589" y="1272"/>
                </a:lnTo>
                <a:cubicBezTo>
                  <a:pt x="541" y="1272"/>
                  <a:pt x="509" y="1304"/>
                  <a:pt x="509" y="1352"/>
                </a:cubicBezTo>
                <a:cubicBezTo>
                  <a:pt x="509" y="1399"/>
                  <a:pt x="541" y="1432"/>
                  <a:pt x="589" y="1432"/>
                </a:cubicBezTo>
                <a:lnTo>
                  <a:pt x="1050" y="1432"/>
                </a:lnTo>
                <a:cubicBezTo>
                  <a:pt x="1098" y="1432"/>
                  <a:pt x="1130" y="1399"/>
                  <a:pt x="1130" y="1352"/>
                </a:cubicBezTo>
                <a:cubicBezTo>
                  <a:pt x="1130" y="1304"/>
                  <a:pt x="1098" y="1272"/>
                  <a:pt x="1050" y="1272"/>
                </a:cubicBezTo>
                <a:close/>
                <a:moveTo>
                  <a:pt x="1798" y="1272"/>
                </a:moveTo>
                <a:lnTo>
                  <a:pt x="1337" y="1272"/>
                </a:lnTo>
                <a:cubicBezTo>
                  <a:pt x="1289" y="1272"/>
                  <a:pt x="1257" y="1304"/>
                  <a:pt x="1257" y="1352"/>
                </a:cubicBezTo>
                <a:cubicBezTo>
                  <a:pt x="1257" y="1399"/>
                  <a:pt x="1289" y="1432"/>
                  <a:pt x="1337" y="1432"/>
                </a:cubicBezTo>
                <a:lnTo>
                  <a:pt x="1798" y="1432"/>
                </a:lnTo>
                <a:cubicBezTo>
                  <a:pt x="1846" y="1432"/>
                  <a:pt x="1877" y="1399"/>
                  <a:pt x="1877" y="1352"/>
                </a:cubicBezTo>
                <a:cubicBezTo>
                  <a:pt x="1877" y="1304"/>
                  <a:pt x="1846" y="1272"/>
                  <a:pt x="1798" y="1272"/>
                </a:cubicBezTo>
                <a:close/>
                <a:moveTo>
                  <a:pt x="2545" y="1272"/>
                </a:moveTo>
                <a:lnTo>
                  <a:pt x="2084" y="1272"/>
                </a:lnTo>
                <a:cubicBezTo>
                  <a:pt x="2036" y="1272"/>
                  <a:pt x="2004" y="1304"/>
                  <a:pt x="2004" y="1352"/>
                </a:cubicBezTo>
                <a:cubicBezTo>
                  <a:pt x="2004" y="1399"/>
                  <a:pt x="2036" y="1432"/>
                  <a:pt x="2084" y="1432"/>
                </a:cubicBezTo>
                <a:lnTo>
                  <a:pt x="2545" y="1432"/>
                </a:lnTo>
                <a:cubicBezTo>
                  <a:pt x="2593" y="1432"/>
                  <a:pt x="2625" y="1399"/>
                  <a:pt x="2625" y="1352"/>
                </a:cubicBezTo>
                <a:cubicBezTo>
                  <a:pt x="2625" y="1304"/>
                  <a:pt x="2593" y="1272"/>
                  <a:pt x="2545" y="1272"/>
                </a:cubicBezTo>
                <a:close/>
                <a:moveTo>
                  <a:pt x="2831" y="1432"/>
                </a:moveTo>
                <a:lnTo>
                  <a:pt x="3293" y="1432"/>
                </a:lnTo>
                <a:cubicBezTo>
                  <a:pt x="3325" y="1432"/>
                  <a:pt x="3372" y="1399"/>
                  <a:pt x="3372" y="1352"/>
                </a:cubicBezTo>
                <a:cubicBezTo>
                  <a:pt x="3372" y="1304"/>
                  <a:pt x="3325" y="1272"/>
                  <a:pt x="3293" y="1272"/>
                </a:cubicBezTo>
                <a:lnTo>
                  <a:pt x="2831" y="1272"/>
                </a:lnTo>
                <a:cubicBezTo>
                  <a:pt x="2784" y="1272"/>
                  <a:pt x="2752" y="1304"/>
                  <a:pt x="2752" y="1352"/>
                </a:cubicBezTo>
                <a:cubicBezTo>
                  <a:pt x="2752" y="1399"/>
                  <a:pt x="2784" y="1432"/>
                  <a:pt x="2831" y="1432"/>
                </a:cubicBezTo>
                <a:close/>
                <a:moveTo>
                  <a:pt x="3579" y="1432"/>
                </a:moveTo>
                <a:lnTo>
                  <a:pt x="4040" y="1432"/>
                </a:lnTo>
                <a:cubicBezTo>
                  <a:pt x="4072" y="1432"/>
                  <a:pt x="4120" y="1399"/>
                  <a:pt x="4120" y="1352"/>
                </a:cubicBezTo>
                <a:cubicBezTo>
                  <a:pt x="4120" y="1304"/>
                  <a:pt x="4072" y="1272"/>
                  <a:pt x="4040" y="1272"/>
                </a:cubicBezTo>
                <a:lnTo>
                  <a:pt x="3579" y="1272"/>
                </a:lnTo>
                <a:cubicBezTo>
                  <a:pt x="3531" y="1272"/>
                  <a:pt x="3500" y="1304"/>
                  <a:pt x="3500" y="1352"/>
                </a:cubicBezTo>
                <a:cubicBezTo>
                  <a:pt x="3500" y="1399"/>
                  <a:pt x="3531" y="1432"/>
                  <a:pt x="3579" y="1432"/>
                </a:cubicBezTo>
                <a:close/>
                <a:moveTo>
                  <a:pt x="1050" y="3706"/>
                </a:moveTo>
                <a:lnTo>
                  <a:pt x="589" y="3706"/>
                </a:lnTo>
                <a:cubicBezTo>
                  <a:pt x="541" y="3706"/>
                  <a:pt x="509" y="3738"/>
                  <a:pt x="509" y="3786"/>
                </a:cubicBezTo>
                <a:cubicBezTo>
                  <a:pt x="509" y="3833"/>
                  <a:pt x="541" y="3865"/>
                  <a:pt x="589" y="3865"/>
                </a:cubicBezTo>
                <a:lnTo>
                  <a:pt x="1050" y="3865"/>
                </a:lnTo>
                <a:cubicBezTo>
                  <a:pt x="1098" y="3865"/>
                  <a:pt x="1130" y="3833"/>
                  <a:pt x="1130" y="3786"/>
                </a:cubicBezTo>
                <a:cubicBezTo>
                  <a:pt x="1130" y="3738"/>
                  <a:pt x="1098" y="3706"/>
                  <a:pt x="1050" y="3706"/>
                </a:cubicBezTo>
                <a:close/>
                <a:moveTo>
                  <a:pt x="1798" y="3706"/>
                </a:moveTo>
                <a:lnTo>
                  <a:pt x="1337" y="3706"/>
                </a:lnTo>
                <a:cubicBezTo>
                  <a:pt x="1289" y="3706"/>
                  <a:pt x="1257" y="3738"/>
                  <a:pt x="1257" y="3786"/>
                </a:cubicBezTo>
                <a:cubicBezTo>
                  <a:pt x="1257" y="3833"/>
                  <a:pt x="1289" y="3865"/>
                  <a:pt x="1337" y="3865"/>
                </a:cubicBezTo>
                <a:lnTo>
                  <a:pt x="1798" y="3865"/>
                </a:lnTo>
                <a:cubicBezTo>
                  <a:pt x="1846" y="3865"/>
                  <a:pt x="1877" y="3833"/>
                  <a:pt x="1877" y="3786"/>
                </a:cubicBezTo>
                <a:cubicBezTo>
                  <a:pt x="1877" y="3738"/>
                  <a:pt x="1846" y="3706"/>
                  <a:pt x="1798" y="3706"/>
                </a:cubicBezTo>
                <a:close/>
                <a:moveTo>
                  <a:pt x="2545" y="3706"/>
                </a:moveTo>
                <a:lnTo>
                  <a:pt x="2084" y="3706"/>
                </a:lnTo>
                <a:cubicBezTo>
                  <a:pt x="2036" y="3706"/>
                  <a:pt x="2004" y="3738"/>
                  <a:pt x="2004" y="3786"/>
                </a:cubicBezTo>
                <a:cubicBezTo>
                  <a:pt x="2004" y="3833"/>
                  <a:pt x="2036" y="3865"/>
                  <a:pt x="2084" y="3865"/>
                </a:cubicBezTo>
                <a:lnTo>
                  <a:pt x="2545" y="3865"/>
                </a:lnTo>
                <a:cubicBezTo>
                  <a:pt x="2593" y="3865"/>
                  <a:pt x="2625" y="3833"/>
                  <a:pt x="2625" y="3786"/>
                </a:cubicBezTo>
                <a:cubicBezTo>
                  <a:pt x="2625" y="3738"/>
                  <a:pt x="2593" y="3706"/>
                  <a:pt x="2545" y="3706"/>
                </a:cubicBezTo>
                <a:close/>
                <a:moveTo>
                  <a:pt x="3293" y="3706"/>
                </a:moveTo>
                <a:lnTo>
                  <a:pt x="2831" y="3706"/>
                </a:lnTo>
                <a:cubicBezTo>
                  <a:pt x="2784" y="3706"/>
                  <a:pt x="2752" y="3738"/>
                  <a:pt x="2752" y="3786"/>
                </a:cubicBezTo>
                <a:cubicBezTo>
                  <a:pt x="2752" y="3833"/>
                  <a:pt x="2784" y="3865"/>
                  <a:pt x="2831" y="3865"/>
                </a:cubicBezTo>
                <a:lnTo>
                  <a:pt x="3293" y="3865"/>
                </a:lnTo>
                <a:cubicBezTo>
                  <a:pt x="3325" y="3865"/>
                  <a:pt x="3372" y="3833"/>
                  <a:pt x="3372" y="3786"/>
                </a:cubicBezTo>
                <a:cubicBezTo>
                  <a:pt x="3372" y="3738"/>
                  <a:pt x="3325" y="3706"/>
                  <a:pt x="3293" y="3706"/>
                </a:cubicBezTo>
                <a:close/>
                <a:moveTo>
                  <a:pt x="4040" y="3706"/>
                </a:moveTo>
                <a:lnTo>
                  <a:pt x="3579" y="3706"/>
                </a:lnTo>
                <a:cubicBezTo>
                  <a:pt x="3531" y="3706"/>
                  <a:pt x="3500" y="3738"/>
                  <a:pt x="3500" y="3786"/>
                </a:cubicBezTo>
                <a:cubicBezTo>
                  <a:pt x="3500" y="3833"/>
                  <a:pt x="3531" y="3865"/>
                  <a:pt x="3579" y="3865"/>
                </a:cubicBezTo>
                <a:lnTo>
                  <a:pt x="4040" y="3865"/>
                </a:lnTo>
                <a:cubicBezTo>
                  <a:pt x="4072" y="3865"/>
                  <a:pt x="4120" y="3833"/>
                  <a:pt x="4120" y="3786"/>
                </a:cubicBezTo>
                <a:cubicBezTo>
                  <a:pt x="4120" y="3738"/>
                  <a:pt x="4072" y="3706"/>
                  <a:pt x="4040" y="370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5" name="Freeform: Shape 7">
            <a:extLst>
              <a:ext uri="{FF2B5EF4-FFF2-40B4-BE49-F238E27FC236}">
                <a16:creationId xmlns:a16="http://schemas.microsoft.com/office/drawing/2014/main" id="{EEFBEEFC-E275-6E4A-A1F8-DF6B53829FEA}"/>
              </a:ext>
            </a:extLst>
          </p:cNvPr>
          <p:cNvSpPr/>
          <p:nvPr/>
        </p:nvSpPr>
        <p:spPr>
          <a:xfrm>
            <a:off x="1767932" y="3079790"/>
            <a:ext cx="1625760" cy="1625760"/>
          </a:xfrm>
          <a:custGeom>
            <a:avLst/>
            <a:gdLst/>
            <a:ahLst/>
            <a:cxnLst>
              <a:cxn ang="3cd4">
                <a:pos x="hc" y="t"/>
              </a:cxn>
              <a:cxn ang="cd2">
                <a:pos x="l" y="vc"/>
              </a:cxn>
              <a:cxn ang="cd4">
                <a:pos x="hc" y="b"/>
              </a:cxn>
              <a:cxn ang="0">
                <a:pos x="r" y="vc"/>
              </a:cxn>
            </a:cxnLst>
            <a:rect l="l" t="t" r="r" b="b"/>
            <a:pathLst>
              <a:path w="4517" h="4517">
                <a:moveTo>
                  <a:pt x="4517" y="731"/>
                </a:moveTo>
                <a:cubicBezTo>
                  <a:pt x="4517" y="334"/>
                  <a:pt x="4183" y="0"/>
                  <a:pt x="3786" y="0"/>
                </a:cubicBezTo>
                <a:lnTo>
                  <a:pt x="732" y="0"/>
                </a:lnTo>
                <a:cubicBezTo>
                  <a:pt x="334" y="0"/>
                  <a:pt x="0" y="334"/>
                  <a:pt x="0" y="731"/>
                </a:cubicBezTo>
                <a:lnTo>
                  <a:pt x="0" y="3769"/>
                </a:lnTo>
                <a:cubicBezTo>
                  <a:pt x="0" y="4183"/>
                  <a:pt x="334" y="4517"/>
                  <a:pt x="732" y="4517"/>
                </a:cubicBezTo>
                <a:lnTo>
                  <a:pt x="3786" y="4517"/>
                </a:lnTo>
                <a:cubicBezTo>
                  <a:pt x="4183" y="4517"/>
                  <a:pt x="4517" y="4183"/>
                  <a:pt x="4517" y="3769"/>
                </a:cubicBezTo>
                <a:close/>
                <a:moveTo>
                  <a:pt x="4359" y="3006"/>
                </a:moveTo>
                <a:lnTo>
                  <a:pt x="3786" y="3006"/>
                </a:lnTo>
                <a:cubicBezTo>
                  <a:pt x="3420" y="3006"/>
                  <a:pt x="3118" y="2704"/>
                  <a:pt x="3118" y="2322"/>
                </a:cubicBezTo>
                <a:cubicBezTo>
                  <a:pt x="3118" y="1956"/>
                  <a:pt x="3420" y="1654"/>
                  <a:pt x="3786" y="1654"/>
                </a:cubicBezTo>
                <a:lnTo>
                  <a:pt x="4359" y="1654"/>
                </a:lnTo>
                <a:close/>
                <a:moveTo>
                  <a:pt x="3786" y="4358"/>
                </a:moveTo>
                <a:lnTo>
                  <a:pt x="732" y="4358"/>
                </a:lnTo>
                <a:cubicBezTo>
                  <a:pt x="414" y="4358"/>
                  <a:pt x="159" y="4088"/>
                  <a:pt x="159" y="3769"/>
                </a:cubicBezTo>
                <a:lnTo>
                  <a:pt x="159" y="731"/>
                </a:lnTo>
                <a:cubicBezTo>
                  <a:pt x="159" y="413"/>
                  <a:pt x="414" y="159"/>
                  <a:pt x="732" y="159"/>
                </a:cubicBezTo>
                <a:lnTo>
                  <a:pt x="3786" y="159"/>
                </a:lnTo>
                <a:cubicBezTo>
                  <a:pt x="4104" y="159"/>
                  <a:pt x="4359" y="413"/>
                  <a:pt x="4359" y="731"/>
                </a:cubicBezTo>
                <a:lnTo>
                  <a:pt x="4359" y="1495"/>
                </a:lnTo>
                <a:lnTo>
                  <a:pt x="3786" y="1495"/>
                </a:lnTo>
                <a:cubicBezTo>
                  <a:pt x="3341" y="1495"/>
                  <a:pt x="2959" y="1877"/>
                  <a:pt x="2959" y="2322"/>
                </a:cubicBezTo>
                <a:cubicBezTo>
                  <a:pt x="2959" y="2784"/>
                  <a:pt x="3341" y="3165"/>
                  <a:pt x="3786" y="3165"/>
                </a:cubicBezTo>
                <a:lnTo>
                  <a:pt x="4359" y="3165"/>
                </a:lnTo>
                <a:lnTo>
                  <a:pt x="4359" y="3769"/>
                </a:lnTo>
                <a:cubicBezTo>
                  <a:pt x="4359" y="4088"/>
                  <a:pt x="4104" y="4358"/>
                  <a:pt x="3786" y="4358"/>
                </a:cubicBezTo>
                <a:close/>
                <a:moveTo>
                  <a:pt x="3436" y="2322"/>
                </a:moveTo>
                <a:cubicBezTo>
                  <a:pt x="3436" y="2481"/>
                  <a:pt x="3547" y="2593"/>
                  <a:pt x="3690" y="2593"/>
                </a:cubicBezTo>
                <a:cubicBezTo>
                  <a:pt x="3850" y="2593"/>
                  <a:pt x="3961" y="2481"/>
                  <a:pt x="3961" y="2322"/>
                </a:cubicBezTo>
                <a:cubicBezTo>
                  <a:pt x="3961" y="2179"/>
                  <a:pt x="3850" y="2067"/>
                  <a:pt x="3690" y="2067"/>
                </a:cubicBezTo>
                <a:cubicBezTo>
                  <a:pt x="3547" y="2067"/>
                  <a:pt x="3436" y="2179"/>
                  <a:pt x="3436" y="2322"/>
                </a:cubicBezTo>
                <a:close/>
                <a:moveTo>
                  <a:pt x="3802" y="2322"/>
                </a:moveTo>
                <a:cubicBezTo>
                  <a:pt x="3802" y="2386"/>
                  <a:pt x="3754" y="2433"/>
                  <a:pt x="3690" y="2433"/>
                </a:cubicBezTo>
                <a:cubicBezTo>
                  <a:pt x="3642" y="2433"/>
                  <a:pt x="3595" y="2386"/>
                  <a:pt x="3595" y="2322"/>
                </a:cubicBezTo>
                <a:cubicBezTo>
                  <a:pt x="3595" y="2275"/>
                  <a:pt x="3642" y="2227"/>
                  <a:pt x="3690" y="2227"/>
                </a:cubicBezTo>
                <a:cubicBezTo>
                  <a:pt x="3754" y="2227"/>
                  <a:pt x="3802" y="2275"/>
                  <a:pt x="3802" y="232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6" name="Freeform: Shape 8">
            <a:extLst>
              <a:ext uri="{FF2B5EF4-FFF2-40B4-BE49-F238E27FC236}">
                <a16:creationId xmlns:a16="http://schemas.microsoft.com/office/drawing/2014/main" id="{100A5EB5-8B47-2543-B90B-667E83317876}"/>
              </a:ext>
            </a:extLst>
          </p:cNvPr>
          <p:cNvSpPr/>
          <p:nvPr/>
        </p:nvSpPr>
        <p:spPr>
          <a:xfrm>
            <a:off x="21313951" y="9909741"/>
            <a:ext cx="1465560" cy="1396800"/>
          </a:xfrm>
          <a:custGeom>
            <a:avLst/>
            <a:gdLst/>
            <a:ahLst/>
            <a:cxnLst>
              <a:cxn ang="3cd4">
                <a:pos x="hc" y="t"/>
              </a:cxn>
              <a:cxn ang="cd2">
                <a:pos x="l" y="vc"/>
              </a:cxn>
              <a:cxn ang="cd4">
                <a:pos x="hc" y="b"/>
              </a:cxn>
              <a:cxn ang="0">
                <a:pos x="r" y="vc"/>
              </a:cxn>
            </a:cxnLst>
            <a:rect l="l" t="t" r="r" b="b"/>
            <a:pathLst>
              <a:path w="4072" h="3881">
                <a:moveTo>
                  <a:pt x="3245" y="1273"/>
                </a:moveTo>
                <a:lnTo>
                  <a:pt x="811" y="1273"/>
                </a:lnTo>
                <a:cubicBezTo>
                  <a:pt x="780" y="1273"/>
                  <a:pt x="732" y="1305"/>
                  <a:pt x="732" y="1353"/>
                </a:cubicBezTo>
                <a:cubicBezTo>
                  <a:pt x="732" y="1400"/>
                  <a:pt x="780" y="1432"/>
                  <a:pt x="811" y="1432"/>
                </a:cubicBezTo>
                <a:lnTo>
                  <a:pt x="3245" y="1432"/>
                </a:lnTo>
                <a:cubicBezTo>
                  <a:pt x="3293" y="1432"/>
                  <a:pt x="3325" y="1400"/>
                  <a:pt x="3325" y="1353"/>
                </a:cubicBezTo>
                <a:cubicBezTo>
                  <a:pt x="3325" y="1305"/>
                  <a:pt x="3293" y="1273"/>
                  <a:pt x="3245" y="1273"/>
                </a:cubicBezTo>
                <a:close/>
                <a:moveTo>
                  <a:pt x="3245" y="1814"/>
                </a:moveTo>
                <a:lnTo>
                  <a:pt x="811" y="1814"/>
                </a:lnTo>
                <a:cubicBezTo>
                  <a:pt x="780" y="1814"/>
                  <a:pt x="732" y="1845"/>
                  <a:pt x="732" y="1893"/>
                </a:cubicBezTo>
                <a:cubicBezTo>
                  <a:pt x="732" y="1941"/>
                  <a:pt x="780" y="1972"/>
                  <a:pt x="811" y="1972"/>
                </a:cubicBezTo>
                <a:lnTo>
                  <a:pt x="3245" y="1972"/>
                </a:lnTo>
                <a:cubicBezTo>
                  <a:pt x="3293" y="1972"/>
                  <a:pt x="3325" y="1941"/>
                  <a:pt x="3325" y="1893"/>
                </a:cubicBezTo>
                <a:cubicBezTo>
                  <a:pt x="3325" y="1845"/>
                  <a:pt x="3293" y="1814"/>
                  <a:pt x="3245" y="1814"/>
                </a:cubicBezTo>
                <a:close/>
                <a:moveTo>
                  <a:pt x="3245" y="2354"/>
                </a:moveTo>
                <a:lnTo>
                  <a:pt x="811" y="2354"/>
                </a:lnTo>
                <a:cubicBezTo>
                  <a:pt x="780" y="2354"/>
                  <a:pt x="732" y="2386"/>
                  <a:pt x="732" y="2434"/>
                </a:cubicBezTo>
                <a:cubicBezTo>
                  <a:pt x="732" y="2481"/>
                  <a:pt x="780" y="2514"/>
                  <a:pt x="811" y="2514"/>
                </a:cubicBezTo>
                <a:lnTo>
                  <a:pt x="3245" y="2514"/>
                </a:lnTo>
                <a:cubicBezTo>
                  <a:pt x="3293" y="2514"/>
                  <a:pt x="3325" y="2481"/>
                  <a:pt x="3325" y="2434"/>
                </a:cubicBezTo>
                <a:cubicBezTo>
                  <a:pt x="3325" y="2386"/>
                  <a:pt x="3293" y="2354"/>
                  <a:pt x="3245" y="2354"/>
                </a:cubicBezTo>
                <a:close/>
                <a:moveTo>
                  <a:pt x="4072" y="430"/>
                </a:moveTo>
                <a:cubicBezTo>
                  <a:pt x="4072" y="207"/>
                  <a:pt x="3897" y="16"/>
                  <a:pt x="3674" y="16"/>
                </a:cubicBezTo>
                <a:cubicBezTo>
                  <a:pt x="3531" y="16"/>
                  <a:pt x="3420" y="80"/>
                  <a:pt x="3340" y="175"/>
                </a:cubicBezTo>
                <a:cubicBezTo>
                  <a:pt x="3261" y="80"/>
                  <a:pt x="3150" y="16"/>
                  <a:pt x="3022" y="16"/>
                </a:cubicBezTo>
                <a:cubicBezTo>
                  <a:pt x="2879" y="16"/>
                  <a:pt x="2768" y="80"/>
                  <a:pt x="2688" y="175"/>
                </a:cubicBezTo>
                <a:cubicBezTo>
                  <a:pt x="2609" y="80"/>
                  <a:pt x="2497" y="16"/>
                  <a:pt x="2354" y="16"/>
                </a:cubicBezTo>
                <a:cubicBezTo>
                  <a:pt x="2227" y="16"/>
                  <a:pt x="2116" y="80"/>
                  <a:pt x="2036" y="175"/>
                </a:cubicBezTo>
                <a:cubicBezTo>
                  <a:pt x="1956" y="80"/>
                  <a:pt x="1845" y="16"/>
                  <a:pt x="1702" y="16"/>
                </a:cubicBezTo>
                <a:cubicBezTo>
                  <a:pt x="1575" y="16"/>
                  <a:pt x="1464" y="80"/>
                  <a:pt x="1384" y="175"/>
                </a:cubicBezTo>
                <a:cubicBezTo>
                  <a:pt x="1320" y="80"/>
                  <a:pt x="1193" y="0"/>
                  <a:pt x="1066" y="0"/>
                </a:cubicBezTo>
                <a:cubicBezTo>
                  <a:pt x="938" y="0"/>
                  <a:pt x="828" y="80"/>
                  <a:pt x="748" y="175"/>
                </a:cubicBezTo>
                <a:cubicBezTo>
                  <a:pt x="668" y="80"/>
                  <a:pt x="557" y="0"/>
                  <a:pt x="414" y="0"/>
                </a:cubicBezTo>
                <a:cubicBezTo>
                  <a:pt x="191" y="0"/>
                  <a:pt x="0" y="191"/>
                  <a:pt x="0" y="414"/>
                </a:cubicBezTo>
                <a:lnTo>
                  <a:pt x="0" y="3468"/>
                </a:lnTo>
                <a:cubicBezTo>
                  <a:pt x="0" y="3707"/>
                  <a:pt x="191" y="3881"/>
                  <a:pt x="414" y="3881"/>
                </a:cubicBezTo>
                <a:cubicBezTo>
                  <a:pt x="557" y="3881"/>
                  <a:pt x="668" y="3818"/>
                  <a:pt x="748" y="3722"/>
                </a:cubicBezTo>
                <a:cubicBezTo>
                  <a:pt x="828" y="3818"/>
                  <a:pt x="938" y="3881"/>
                  <a:pt x="1066" y="3881"/>
                </a:cubicBezTo>
                <a:cubicBezTo>
                  <a:pt x="1193" y="3881"/>
                  <a:pt x="1320" y="3818"/>
                  <a:pt x="1384" y="3722"/>
                </a:cubicBezTo>
                <a:cubicBezTo>
                  <a:pt x="1464" y="3818"/>
                  <a:pt x="1575" y="3881"/>
                  <a:pt x="1702" y="3881"/>
                </a:cubicBezTo>
                <a:cubicBezTo>
                  <a:pt x="1845" y="3881"/>
                  <a:pt x="1956" y="3818"/>
                  <a:pt x="2036" y="3707"/>
                </a:cubicBezTo>
                <a:cubicBezTo>
                  <a:pt x="2116" y="3818"/>
                  <a:pt x="2227" y="3881"/>
                  <a:pt x="2354" y="3881"/>
                </a:cubicBezTo>
                <a:cubicBezTo>
                  <a:pt x="2497" y="3881"/>
                  <a:pt x="2609" y="3818"/>
                  <a:pt x="2688" y="3707"/>
                </a:cubicBezTo>
                <a:cubicBezTo>
                  <a:pt x="2768" y="3818"/>
                  <a:pt x="2879" y="3881"/>
                  <a:pt x="3022" y="3881"/>
                </a:cubicBezTo>
                <a:cubicBezTo>
                  <a:pt x="3150" y="3881"/>
                  <a:pt x="3261" y="3818"/>
                  <a:pt x="3340" y="3707"/>
                </a:cubicBezTo>
                <a:cubicBezTo>
                  <a:pt x="3420" y="3818"/>
                  <a:pt x="3531" y="3881"/>
                  <a:pt x="3674" y="3881"/>
                </a:cubicBezTo>
                <a:cubicBezTo>
                  <a:pt x="3897" y="3881"/>
                  <a:pt x="4072" y="3690"/>
                  <a:pt x="4072" y="3468"/>
                </a:cubicBezTo>
                <a:close/>
                <a:moveTo>
                  <a:pt x="3913" y="3468"/>
                </a:moveTo>
                <a:cubicBezTo>
                  <a:pt x="3913" y="3611"/>
                  <a:pt x="3802" y="3722"/>
                  <a:pt x="3674" y="3722"/>
                </a:cubicBezTo>
                <a:cubicBezTo>
                  <a:pt x="3531" y="3722"/>
                  <a:pt x="3420" y="3611"/>
                  <a:pt x="3420" y="3468"/>
                </a:cubicBezTo>
                <a:cubicBezTo>
                  <a:pt x="3420" y="3420"/>
                  <a:pt x="3388" y="3388"/>
                  <a:pt x="3340" y="3388"/>
                </a:cubicBezTo>
                <a:cubicBezTo>
                  <a:pt x="3293" y="3388"/>
                  <a:pt x="3261" y="3420"/>
                  <a:pt x="3261" y="3468"/>
                </a:cubicBezTo>
                <a:cubicBezTo>
                  <a:pt x="3261" y="3611"/>
                  <a:pt x="3150" y="3722"/>
                  <a:pt x="3022" y="3722"/>
                </a:cubicBezTo>
                <a:cubicBezTo>
                  <a:pt x="2879" y="3722"/>
                  <a:pt x="2768" y="3611"/>
                  <a:pt x="2768" y="3468"/>
                </a:cubicBezTo>
                <a:cubicBezTo>
                  <a:pt x="2768" y="3420"/>
                  <a:pt x="2736" y="3388"/>
                  <a:pt x="2688" y="3388"/>
                </a:cubicBezTo>
                <a:cubicBezTo>
                  <a:pt x="2641" y="3388"/>
                  <a:pt x="2609" y="3420"/>
                  <a:pt x="2609" y="3468"/>
                </a:cubicBezTo>
                <a:cubicBezTo>
                  <a:pt x="2609" y="3611"/>
                  <a:pt x="2497" y="3722"/>
                  <a:pt x="2354" y="3722"/>
                </a:cubicBezTo>
                <a:cubicBezTo>
                  <a:pt x="2227" y="3722"/>
                  <a:pt x="2116" y="3611"/>
                  <a:pt x="2116" y="3468"/>
                </a:cubicBezTo>
                <a:cubicBezTo>
                  <a:pt x="2116" y="3420"/>
                  <a:pt x="2084" y="3388"/>
                  <a:pt x="2036" y="3388"/>
                </a:cubicBezTo>
                <a:cubicBezTo>
                  <a:pt x="1989" y="3388"/>
                  <a:pt x="1956" y="3420"/>
                  <a:pt x="1956" y="3468"/>
                </a:cubicBezTo>
                <a:cubicBezTo>
                  <a:pt x="1956" y="3611"/>
                  <a:pt x="1845" y="3722"/>
                  <a:pt x="1702" y="3722"/>
                </a:cubicBezTo>
                <a:cubicBezTo>
                  <a:pt x="1575" y="3722"/>
                  <a:pt x="1464" y="3611"/>
                  <a:pt x="1464" y="3468"/>
                </a:cubicBezTo>
                <a:cubicBezTo>
                  <a:pt x="1464" y="3420"/>
                  <a:pt x="1432" y="3388"/>
                  <a:pt x="1384" y="3388"/>
                </a:cubicBezTo>
                <a:cubicBezTo>
                  <a:pt x="1336" y="3388"/>
                  <a:pt x="1304" y="3420"/>
                  <a:pt x="1304" y="3468"/>
                </a:cubicBezTo>
                <a:cubicBezTo>
                  <a:pt x="1304" y="3611"/>
                  <a:pt x="1209" y="3722"/>
                  <a:pt x="1066" y="3722"/>
                </a:cubicBezTo>
                <a:cubicBezTo>
                  <a:pt x="938" y="3722"/>
                  <a:pt x="843" y="3611"/>
                  <a:pt x="843" y="3468"/>
                </a:cubicBezTo>
                <a:cubicBezTo>
                  <a:pt x="843" y="3420"/>
                  <a:pt x="811" y="3388"/>
                  <a:pt x="764" y="3388"/>
                </a:cubicBezTo>
                <a:cubicBezTo>
                  <a:pt x="716" y="3388"/>
                  <a:pt x="684" y="3420"/>
                  <a:pt x="684" y="3468"/>
                </a:cubicBezTo>
                <a:cubicBezTo>
                  <a:pt x="684" y="3611"/>
                  <a:pt x="557" y="3722"/>
                  <a:pt x="414" y="3722"/>
                </a:cubicBezTo>
                <a:cubicBezTo>
                  <a:pt x="271" y="3722"/>
                  <a:pt x="159" y="3611"/>
                  <a:pt x="159" y="3468"/>
                </a:cubicBezTo>
                <a:lnTo>
                  <a:pt x="159" y="414"/>
                </a:lnTo>
                <a:cubicBezTo>
                  <a:pt x="159" y="287"/>
                  <a:pt x="271" y="159"/>
                  <a:pt x="414" y="159"/>
                </a:cubicBezTo>
                <a:cubicBezTo>
                  <a:pt x="557" y="159"/>
                  <a:pt x="684" y="287"/>
                  <a:pt x="684" y="430"/>
                </a:cubicBezTo>
                <a:cubicBezTo>
                  <a:pt x="684" y="478"/>
                  <a:pt x="716" y="509"/>
                  <a:pt x="764" y="509"/>
                </a:cubicBezTo>
                <a:cubicBezTo>
                  <a:pt x="811" y="509"/>
                  <a:pt x="843" y="478"/>
                  <a:pt x="843" y="430"/>
                </a:cubicBezTo>
                <a:lnTo>
                  <a:pt x="843" y="414"/>
                </a:lnTo>
                <a:cubicBezTo>
                  <a:pt x="843" y="271"/>
                  <a:pt x="938" y="159"/>
                  <a:pt x="1066" y="159"/>
                </a:cubicBezTo>
                <a:cubicBezTo>
                  <a:pt x="1209" y="159"/>
                  <a:pt x="1304" y="271"/>
                  <a:pt x="1304" y="430"/>
                </a:cubicBezTo>
                <a:cubicBezTo>
                  <a:pt x="1304" y="478"/>
                  <a:pt x="1336" y="509"/>
                  <a:pt x="1384" y="509"/>
                </a:cubicBezTo>
                <a:cubicBezTo>
                  <a:pt x="1432" y="509"/>
                  <a:pt x="1464" y="478"/>
                  <a:pt x="1464" y="430"/>
                </a:cubicBezTo>
                <a:cubicBezTo>
                  <a:pt x="1464" y="287"/>
                  <a:pt x="1575" y="175"/>
                  <a:pt x="1702" y="175"/>
                </a:cubicBezTo>
                <a:cubicBezTo>
                  <a:pt x="1845" y="175"/>
                  <a:pt x="1956" y="287"/>
                  <a:pt x="1956" y="430"/>
                </a:cubicBezTo>
                <a:cubicBezTo>
                  <a:pt x="1956" y="478"/>
                  <a:pt x="1989" y="509"/>
                  <a:pt x="2036" y="509"/>
                </a:cubicBezTo>
                <a:cubicBezTo>
                  <a:pt x="2084" y="509"/>
                  <a:pt x="2116" y="478"/>
                  <a:pt x="2116" y="430"/>
                </a:cubicBezTo>
                <a:cubicBezTo>
                  <a:pt x="2116" y="287"/>
                  <a:pt x="2227" y="175"/>
                  <a:pt x="2354" y="175"/>
                </a:cubicBezTo>
                <a:cubicBezTo>
                  <a:pt x="2497" y="175"/>
                  <a:pt x="2609" y="287"/>
                  <a:pt x="2609" y="430"/>
                </a:cubicBezTo>
                <a:cubicBezTo>
                  <a:pt x="2609" y="478"/>
                  <a:pt x="2641" y="509"/>
                  <a:pt x="2688" y="509"/>
                </a:cubicBezTo>
                <a:cubicBezTo>
                  <a:pt x="2736" y="509"/>
                  <a:pt x="2768" y="478"/>
                  <a:pt x="2768" y="430"/>
                </a:cubicBezTo>
                <a:cubicBezTo>
                  <a:pt x="2768" y="287"/>
                  <a:pt x="2879" y="175"/>
                  <a:pt x="3022" y="175"/>
                </a:cubicBezTo>
                <a:cubicBezTo>
                  <a:pt x="3150" y="175"/>
                  <a:pt x="3261" y="287"/>
                  <a:pt x="3261" y="430"/>
                </a:cubicBezTo>
                <a:cubicBezTo>
                  <a:pt x="3261" y="478"/>
                  <a:pt x="3293" y="509"/>
                  <a:pt x="3340" y="509"/>
                </a:cubicBezTo>
                <a:cubicBezTo>
                  <a:pt x="3388" y="509"/>
                  <a:pt x="3420" y="478"/>
                  <a:pt x="3420" y="430"/>
                </a:cubicBezTo>
                <a:cubicBezTo>
                  <a:pt x="3420" y="287"/>
                  <a:pt x="3531" y="175"/>
                  <a:pt x="3674" y="175"/>
                </a:cubicBezTo>
                <a:cubicBezTo>
                  <a:pt x="3802" y="175"/>
                  <a:pt x="3913" y="287"/>
                  <a:pt x="3913" y="43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7" name="Freeform: Shape 9">
            <a:extLst>
              <a:ext uri="{FF2B5EF4-FFF2-40B4-BE49-F238E27FC236}">
                <a16:creationId xmlns:a16="http://schemas.microsoft.com/office/drawing/2014/main" id="{3627B3B0-2C5C-E248-A33F-0376AE7E08D4}"/>
              </a:ext>
            </a:extLst>
          </p:cNvPr>
          <p:cNvSpPr/>
          <p:nvPr/>
        </p:nvSpPr>
        <p:spPr>
          <a:xfrm>
            <a:off x="17517809" y="9898581"/>
            <a:ext cx="1471320" cy="1425239"/>
          </a:xfrm>
          <a:custGeom>
            <a:avLst/>
            <a:gdLst/>
            <a:ahLst/>
            <a:cxnLst>
              <a:cxn ang="3cd4">
                <a:pos x="hc" y="t"/>
              </a:cxn>
              <a:cxn ang="cd2">
                <a:pos x="l" y="vc"/>
              </a:cxn>
              <a:cxn ang="cd4">
                <a:pos x="hc" y="b"/>
              </a:cxn>
              <a:cxn ang="0">
                <a:pos x="r" y="vc"/>
              </a:cxn>
            </a:cxnLst>
            <a:rect l="l" t="t" r="r" b="b"/>
            <a:pathLst>
              <a:path w="4088" h="3960">
                <a:moveTo>
                  <a:pt x="3325" y="397"/>
                </a:moveTo>
                <a:lnTo>
                  <a:pt x="764" y="397"/>
                </a:lnTo>
                <a:cubicBezTo>
                  <a:pt x="716" y="397"/>
                  <a:pt x="685" y="445"/>
                  <a:pt x="685" y="477"/>
                </a:cubicBezTo>
                <a:lnTo>
                  <a:pt x="685" y="890"/>
                </a:lnTo>
                <a:cubicBezTo>
                  <a:pt x="685" y="922"/>
                  <a:pt x="716" y="970"/>
                  <a:pt x="764" y="970"/>
                </a:cubicBezTo>
                <a:lnTo>
                  <a:pt x="3325" y="970"/>
                </a:lnTo>
                <a:cubicBezTo>
                  <a:pt x="3372" y="970"/>
                  <a:pt x="3404" y="922"/>
                  <a:pt x="3404" y="890"/>
                </a:cubicBezTo>
                <a:lnTo>
                  <a:pt x="3404" y="477"/>
                </a:lnTo>
                <a:cubicBezTo>
                  <a:pt x="3404" y="445"/>
                  <a:pt x="3372" y="397"/>
                  <a:pt x="3325" y="397"/>
                </a:cubicBezTo>
                <a:close/>
                <a:moveTo>
                  <a:pt x="3245" y="811"/>
                </a:moveTo>
                <a:lnTo>
                  <a:pt x="843" y="811"/>
                </a:lnTo>
                <a:lnTo>
                  <a:pt x="843" y="556"/>
                </a:lnTo>
                <a:lnTo>
                  <a:pt x="3245" y="556"/>
                </a:lnTo>
                <a:close/>
                <a:moveTo>
                  <a:pt x="3261" y="1479"/>
                </a:moveTo>
                <a:lnTo>
                  <a:pt x="828" y="1479"/>
                </a:lnTo>
                <a:cubicBezTo>
                  <a:pt x="780" y="1479"/>
                  <a:pt x="748" y="1511"/>
                  <a:pt x="748" y="1558"/>
                </a:cubicBezTo>
                <a:cubicBezTo>
                  <a:pt x="748" y="1606"/>
                  <a:pt x="780" y="1638"/>
                  <a:pt x="828" y="1638"/>
                </a:cubicBezTo>
                <a:lnTo>
                  <a:pt x="3261" y="1638"/>
                </a:lnTo>
                <a:cubicBezTo>
                  <a:pt x="3293" y="1638"/>
                  <a:pt x="3340" y="1606"/>
                  <a:pt x="3340" y="1558"/>
                </a:cubicBezTo>
                <a:cubicBezTo>
                  <a:pt x="3340" y="1511"/>
                  <a:pt x="3293" y="1479"/>
                  <a:pt x="3261" y="1479"/>
                </a:cubicBezTo>
                <a:close/>
                <a:moveTo>
                  <a:pt x="3261" y="2020"/>
                </a:moveTo>
                <a:lnTo>
                  <a:pt x="828" y="2020"/>
                </a:lnTo>
                <a:cubicBezTo>
                  <a:pt x="780" y="2020"/>
                  <a:pt x="748" y="2051"/>
                  <a:pt x="748" y="2099"/>
                </a:cubicBezTo>
                <a:cubicBezTo>
                  <a:pt x="748" y="2147"/>
                  <a:pt x="780" y="2179"/>
                  <a:pt x="828" y="2179"/>
                </a:cubicBezTo>
                <a:lnTo>
                  <a:pt x="3261" y="2179"/>
                </a:lnTo>
                <a:cubicBezTo>
                  <a:pt x="3293" y="2179"/>
                  <a:pt x="3340" y="2147"/>
                  <a:pt x="3340" y="2099"/>
                </a:cubicBezTo>
                <a:cubicBezTo>
                  <a:pt x="3340" y="2051"/>
                  <a:pt x="3293" y="2020"/>
                  <a:pt x="3261" y="2020"/>
                </a:cubicBezTo>
                <a:close/>
                <a:moveTo>
                  <a:pt x="3261" y="2560"/>
                </a:moveTo>
                <a:lnTo>
                  <a:pt x="828" y="2560"/>
                </a:lnTo>
                <a:cubicBezTo>
                  <a:pt x="780" y="2560"/>
                  <a:pt x="748" y="2592"/>
                  <a:pt x="748" y="2640"/>
                </a:cubicBezTo>
                <a:cubicBezTo>
                  <a:pt x="748" y="2688"/>
                  <a:pt x="780" y="2720"/>
                  <a:pt x="828" y="2720"/>
                </a:cubicBezTo>
                <a:lnTo>
                  <a:pt x="3261" y="2720"/>
                </a:lnTo>
                <a:cubicBezTo>
                  <a:pt x="3293" y="2720"/>
                  <a:pt x="3340" y="2688"/>
                  <a:pt x="3340" y="2640"/>
                </a:cubicBezTo>
                <a:cubicBezTo>
                  <a:pt x="3340" y="2592"/>
                  <a:pt x="3293" y="2560"/>
                  <a:pt x="3261" y="2560"/>
                </a:cubicBezTo>
                <a:close/>
                <a:moveTo>
                  <a:pt x="4088" y="3530"/>
                </a:moveTo>
                <a:lnTo>
                  <a:pt x="4072" y="556"/>
                </a:lnTo>
                <a:cubicBezTo>
                  <a:pt x="4072" y="270"/>
                  <a:pt x="3802" y="0"/>
                  <a:pt x="3531" y="0"/>
                </a:cubicBezTo>
                <a:lnTo>
                  <a:pt x="557" y="0"/>
                </a:lnTo>
                <a:cubicBezTo>
                  <a:pt x="271" y="0"/>
                  <a:pt x="0" y="270"/>
                  <a:pt x="0" y="556"/>
                </a:cubicBezTo>
                <a:lnTo>
                  <a:pt x="16" y="3547"/>
                </a:lnTo>
                <a:cubicBezTo>
                  <a:pt x="16" y="3769"/>
                  <a:pt x="191" y="3960"/>
                  <a:pt x="430" y="3960"/>
                </a:cubicBezTo>
                <a:cubicBezTo>
                  <a:pt x="557" y="3960"/>
                  <a:pt x="685" y="3896"/>
                  <a:pt x="764" y="3785"/>
                </a:cubicBezTo>
                <a:cubicBezTo>
                  <a:pt x="828" y="3896"/>
                  <a:pt x="939" y="3960"/>
                  <a:pt x="1082" y="3960"/>
                </a:cubicBezTo>
                <a:cubicBezTo>
                  <a:pt x="1209" y="3960"/>
                  <a:pt x="1321" y="3896"/>
                  <a:pt x="1400" y="3785"/>
                </a:cubicBezTo>
                <a:cubicBezTo>
                  <a:pt x="1464" y="3881"/>
                  <a:pt x="1591" y="3960"/>
                  <a:pt x="1718" y="3960"/>
                </a:cubicBezTo>
                <a:cubicBezTo>
                  <a:pt x="1846" y="3960"/>
                  <a:pt x="1973" y="3881"/>
                  <a:pt x="2036" y="3785"/>
                </a:cubicBezTo>
                <a:cubicBezTo>
                  <a:pt x="2116" y="3881"/>
                  <a:pt x="2243" y="3944"/>
                  <a:pt x="2370" y="3944"/>
                </a:cubicBezTo>
                <a:cubicBezTo>
                  <a:pt x="2498" y="3944"/>
                  <a:pt x="2625" y="3881"/>
                  <a:pt x="2704" y="3785"/>
                </a:cubicBezTo>
                <a:cubicBezTo>
                  <a:pt x="2768" y="3881"/>
                  <a:pt x="2895" y="3944"/>
                  <a:pt x="3022" y="3944"/>
                </a:cubicBezTo>
                <a:cubicBezTo>
                  <a:pt x="3150" y="3944"/>
                  <a:pt x="3277" y="3881"/>
                  <a:pt x="3357" y="3785"/>
                </a:cubicBezTo>
                <a:cubicBezTo>
                  <a:pt x="3420" y="3881"/>
                  <a:pt x="3548" y="3944"/>
                  <a:pt x="3675" y="3944"/>
                </a:cubicBezTo>
                <a:cubicBezTo>
                  <a:pt x="3897" y="3944"/>
                  <a:pt x="4088" y="3769"/>
                  <a:pt x="4088" y="3530"/>
                </a:cubicBezTo>
                <a:close/>
                <a:moveTo>
                  <a:pt x="3675" y="3785"/>
                </a:moveTo>
                <a:cubicBezTo>
                  <a:pt x="3548" y="3785"/>
                  <a:pt x="3436" y="3674"/>
                  <a:pt x="3436" y="3530"/>
                </a:cubicBezTo>
                <a:cubicBezTo>
                  <a:pt x="3436" y="3499"/>
                  <a:pt x="3388" y="3451"/>
                  <a:pt x="3357" y="3451"/>
                </a:cubicBezTo>
                <a:cubicBezTo>
                  <a:pt x="3309" y="3451"/>
                  <a:pt x="3277" y="3499"/>
                  <a:pt x="3277" y="3530"/>
                </a:cubicBezTo>
                <a:cubicBezTo>
                  <a:pt x="3277" y="3674"/>
                  <a:pt x="3166" y="3785"/>
                  <a:pt x="3022" y="3785"/>
                </a:cubicBezTo>
                <a:cubicBezTo>
                  <a:pt x="2879" y="3785"/>
                  <a:pt x="2784" y="3674"/>
                  <a:pt x="2784" y="3530"/>
                </a:cubicBezTo>
                <a:cubicBezTo>
                  <a:pt x="2784" y="3499"/>
                  <a:pt x="2736" y="3451"/>
                  <a:pt x="2704" y="3451"/>
                </a:cubicBezTo>
                <a:cubicBezTo>
                  <a:pt x="2657" y="3451"/>
                  <a:pt x="2625" y="3499"/>
                  <a:pt x="2625" y="3530"/>
                </a:cubicBezTo>
                <a:cubicBezTo>
                  <a:pt x="2625" y="3674"/>
                  <a:pt x="2513" y="3801"/>
                  <a:pt x="2370" y="3801"/>
                </a:cubicBezTo>
                <a:cubicBezTo>
                  <a:pt x="2227" y="3801"/>
                  <a:pt x="2116" y="3674"/>
                  <a:pt x="2116" y="3530"/>
                </a:cubicBezTo>
                <a:cubicBezTo>
                  <a:pt x="2116" y="3499"/>
                  <a:pt x="2084" y="3451"/>
                  <a:pt x="2036" y="3451"/>
                </a:cubicBezTo>
                <a:cubicBezTo>
                  <a:pt x="2004" y="3451"/>
                  <a:pt x="1957" y="3499"/>
                  <a:pt x="1957" y="3530"/>
                </a:cubicBezTo>
                <a:cubicBezTo>
                  <a:pt x="1957" y="3674"/>
                  <a:pt x="1846" y="3801"/>
                  <a:pt x="1718" y="3801"/>
                </a:cubicBezTo>
                <a:cubicBezTo>
                  <a:pt x="1575" y="3801"/>
                  <a:pt x="1464" y="3674"/>
                  <a:pt x="1464" y="3530"/>
                </a:cubicBezTo>
                <a:cubicBezTo>
                  <a:pt x="1464" y="3499"/>
                  <a:pt x="1432" y="3451"/>
                  <a:pt x="1384" y="3451"/>
                </a:cubicBezTo>
                <a:cubicBezTo>
                  <a:pt x="1352" y="3451"/>
                  <a:pt x="1304" y="3499"/>
                  <a:pt x="1304" y="3530"/>
                </a:cubicBezTo>
                <a:cubicBezTo>
                  <a:pt x="1304" y="3690"/>
                  <a:pt x="1209" y="3801"/>
                  <a:pt x="1082" y="3801"/>
                </a:cubicBezTo>
                <a:cubicBezTo>
                  <a:pt x="939" y="3801"/>
                  <a:pt x="843" y="3690"/>
                  <a:pt x="843" y="3530"/>
                </a:cubicBezTo>
                <a:cubicBezTo>
                  <a:pt x="843" y="3499"/>
                  <a:pt x="812" y="3451"/>
                  <a:pt x="764" y="3451"/>
                </a:cubicBezTo>
                <a:cubicBezTo>
                  <a:pt x="732" y="3451"/>
                  <a:pt x="685" y="3499"/>
                  <a:pt x="685" y="3530"/>
                </a:cubicBezTo>
                <a:cubicBezTo>
                  <a:pt x="685" y="3674"/>
                  <a:pt x="573" y="3801"/>
                  <a:pt x="430" y="3801"/>
                </a:cubicBezTo>
                <a:cubicBezTo>
                  <a:pt x="287" y="3801"/>
                  <a:pt x="176" y="3690"/>
                  <a:pt x="176" y="3547"/>
                </a:cubicBezTo>
                <a:lnTo>
                  <a:pt x="159" y="556"/>
                </a:lnTo>
                <a:cubicBezTo>
                  <a:pt x="159" y="366"/>
                  <a:pt x="366" y="158"/>
                  <a:pt x="557" y="158"/>
                </a:cubicBezTo>
                <a:lnTo>
                  <a:pt x="3531" y="158"/>
                </a:lnTo>
                <a:cubicBezTo>
                  <a:pt x="3722" y="158"/>
                  <a:pt x="3913" y="366"/>
                  <a:pt x="3913" y="556"/>
                </a:cubicBezTo>
                <a:lnTo>
                  <a:pt x="3929" y="3530"/>
                </a:lnTo>
                <a:cubicBezTo>
                  <a:pt x="3929" y="3674"/>
                  <a:pt x="3818" y="3785"/>
                  <a:pt x="3675" y="378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8" name="Freeform: Shape 10">
            <a:extLst>
              <a:ext uri="{FF2B5EF4-FFF2-40B4-BE49-F238E27FC236}">
                <a16:creationId xmlns:a16="http://schemas.microsoft.com/office/drawing/2014/main" id="{AA8A4D7F-0FD7-4346-AD67-851CFB0BC310}"/>
              </a:ext>
            </a:extLst>
          </p:cNvPr>
          <p:cNvSpPr/>
          <p:nvPr/>
        </p:nvSpPr>
        <p:spPr>
          <a:xfrm>
            <a:off x="21122986" y="3291470"/>
            <a:ext cx="1711800" cy="1202400"/>
          </a:xfrm>
          <a:custGeom>
            <a:avLst/>
            <a:gdLst/>
            <a:ahLst/>
            <a:cxnLst>
              <a:cxn ang="3cd4">
                <a:pos x="hc" y="t"/>
              </a:cxn>
              <a:cxn ang="cd2">
                <a:pos x="l" y="vc"/>
              </a:cxn>
              <a:cxn ang="cd4">
                <a:pos x="hc" y="b"/>
              </a:cxn>
              <a:cxn ang="0">
                <a:pos x="r" y="vc"/>
              </a:cxn>
            </a:cxnLst>
            <a:rect l="l" t="t" r="r" b="b"/>
            <a:pathLst>
              <a:path w="4756" h="3341">
                <a:moveTo>
                  <a:pt x="764" y="3341"/>
                </a:moveTo>
                <a:lnTo>
                  <a:pt x="3977" y="3341"/>
                </a:lnTo>
                <a:cubicBezTo>
                  <a:pt x="4406" y="3341"/>
                  <a:pt x="4756" y="2991"/>
                  <a:pt x="4756" y="2561"/>
                </a:cubicBezTo>
                <a:lnTo>
                  <a:pt x="4756" y="780"/>
                </a:lnTo>
                <a:cubicBezTo>
                  <a:pt x="4756" y="351"/>
                  <a:pt x="4406" y="0"/>
                  <a:pt x="3977" y="0"/>
                </a:cubicBezTo>
                <a:lnTo>
                  <a:pt x="764" y="0"/>
                </a:lnTo>
                <a:cubicBezTo>
                  <a:pt x="334" y="0"/>
                  <a:pt x="0" y="351"/>
                  <a:pt x="0" y="780"/>
                </a:cubicBezTo>
                <a:lnTo>
                  <a:pt x="0" y="2561"/>
                </a:lnTo>
                <a:cubicBezTo>
                  <a:pt x="0" y="2991"/>
                  <a:pt x="334" y="3341"/>
                  <a:pt x="764" y="3341"/>
                </a:cubicBezTo>
                <a:close/>
                <a:moveTo>
                  <a:pt x="160" y="780"/>
                </a:moveTo>
                <a:cubicBezTo>
                  <a:pt x="160" y="430"/>
                  <a:pt x="430" y="160"/>
                  <a:pt x="764" y="160"/>
                </a:cubicBezTo>
                <a:lnTo>
                  <a:pt x="3977" y="160"/>
                </a:lnTo>
                <a:cubicBezTo>
                  <a:pt x="4327" y="160"/>
                  <a:pt x="4597" y="430"/>
                  <a:pt x="4597" y="780"/>
                </a:cubicBezTo>
                <a:lnTo>
                  <a:pt x="4597" y="2561"/>
                </a:lnTo>
                <a:cubicBezTo>
                  <a:pt x="4597" y="2895"/>
                  <a:pt x="4327" y="3181"/>
                  <a:pt x="3977" y="3181"/>
                </a:cubicBezTo>
                <a:lnTo>
                  <a:pt x="764" y="3181"/>
                </a:lnTo>
                <a:cubicBezTo>
                  <a:pt x="430" y="3181"/>
                  <a:pt x="160" y="2895"/>
                  <a:pt x="160" y="2561"/>
                </a:cubicBezTo>
                <a:close/>
                <a:moveTo>
                  <a:pt x="3563" y="2879"/>
                </a:moveTo>
                <a:cubicBezTo>
                  <a:pt x="3643" y="2879"/>
                  <a:pt x="3706" y="2863"/>
                  <a:pt x="3770" y="2816"/>
                </a:cubicBezTo>
                <a:cubicBezTo>
                  <a:pt x="3643" y="2752"/>
                  <a:pt x="3563" y="2625"/>
                  <a:pt x="3563" y="2482"/>
                </a:cubicBezTo>
                <a:cubicBezTo>
                  <a:pt x="3563" y="2339"/>
                  <a:pt x="3643" y="2211"/>
                  <a:pt x="3770" y="2132"/>
                </a:cubicBezTo>
                <a:cubicBezTo>
                  <a:pt x="3706" y="2100"/>
                  <a:pt x="3643" y="2084"/>
                  <a:pt x="3563" y="2084"/>
                </a:cubicBezTo>
                <a:cubicBezTo>
                  <a:pt x="3341" y="2084"/>
                  <a:pt x="3166" y="2259"/>
                  <a:pt x="3166" y="2482"/>
                </a:cubicBezTo>
                <a:cubicBezTo>
                  <a:pt x="3166" y="2705"/>
                  <a:pt x="3341" y="2879"/>
                  <a:pt x="3563" y="2879"/>
                </a:cubicBezTo>
                <a:close/>
                <a:moveTo>
                  <a:pt x="3961" y="2482"/>
                </a:moveTo>
                <a:cubicBezTo>
                  <a:pt x="3961" y="2625"/>
                  <a:pt x="3881" y="2752"/>
                  <a:pt x="3770" y="2816"/>
                </a:cubicBezTo>
                <a:cubicBezTo>
                  <a:pt x="3818" y="2863"/>
                  <a:pt x="3897" y="2879"/>
                  <a:pt x="3961" y="2879"/>
                </a:cubicBezTo>
                <a:cubicBezTo>
                  <a:pt x="4184" y="2879"/>
                  <a:pt x="4359" y="2705"/>
                  <a:pt x="4359" y="2482"/>
                </a:cubicBezTo>
                <a:cubicBezTo>
                  <a:pt x="4359" y="2259"/>
                  <a:pt x="4184" y="2084"/>
                  <a:pt x="3961" y="2084"/>
                </a:cubicBezTo>
                <a:cubicBezTo>
                  <a:pt x="3897" y="2084"/>
                  <a:pt x="3818" y="2100"/>
                  <a:pt x="3770" y="2132"/>
                </a:cubicBezTo>
                <a:cubicBezTo>
                  <a:pt x="3881" y="2211"/>
                  <a:pt x="3961" y="2339"/>
                  <a:pt x="3961" y="2482"/>
                </a:cubicBezTo>
                <a:close/>
                <a:moveTo>
                  <a:pt x="716" y="2227"/>
                </a:moveTo>
                <a:lnTo>
                  <a:pt x="2163" y="2227"/>
                </a:lnTo>
                <a:cubicBezTo>
                  <a:pt x="2211" y="2227"/>
                  <a:pt x="2243" y="2179"/>
                  <a:pt x="2243" y="2148"/>
                </a:cubicBezTo>
                <a:cubicBezTo>
                  <a:pt x="2243" y="2100"/>
                  <a:pt x="2211" y="2068"/>
                  <a:pt x="2163" y="2068"/>
                </a:cubicBezTo>
                <a:lnTo>
                  <a:pt x="716" y="2068"/>
                </a:lnTo>
                <a:cubicBezTo>
                  <a:pt x="669" y="2068"/>
                  <a:pt x="636" y="2100"/>
                  <a:pt x="636" y="2148"/>
                </a:cubicBezTo>
                <a:cubicBezTo>
                  <a:pt x="636" y="2179"/>
                  <a:pt x="669" y="2227"/>
                  <a:pt x="716" y="2227"/>
                </a:cubicBezTo>
                <a:close/>
                <a:moveTo>
                  <a:pt x="716" y="1909"/>
                </a:moveTo>
                <a:lnTo>
                  <a:pt x="1368" y="1909"/>
                </a:lnTo>
                <a:cubicBezTo>
                  <a:pt x="1400" y="1909"/>
                  <a:pt x="1448" y="1861"/>
                  <a:pt x="1448" y="1830"/>
                </a:cubicBezTo>
                <a:cubicBezTo>
                  <a:pt x="1448" y="1782"/>
                  <a:pt x="1400" y="1750"/>
                  <a:pt x="1368" y="1750"/>
                </a:cubicBezTo>
                <a:lnTo>
                  <a:pt x="716" y="1750"/>
                </a:lnTo>
                <a:cubicBezTo>
                  <a:pt x="669" y="1750"/>
                  <a:pt x="636" y="1782"/>
                  <a:pt x="636" y="1830"/>
                </a:cubicBezTo>
                <a:cubicBezTo>
                  <a:pt x="636" y="1861"/>
                  <a:pt x="669" y="1909"/>
                  <a:pt x="716" y="19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9" name="Freeform: Shape 11">
            <a:extLst>
              <a:ext uri="{FF2B5EF4-FFF2-40B4-BE49-F238E27FC236}">
                <a16:creationId xmlns:a16="http://schemas.microsoft.com/office/drawing/2014/main" id="{B08A8AC7-F23A-F84F-AA37-8201B9629871}"/>
              </a:ext>
            </a:extLst>
          </p:cNvPr>
          <p:cNvSpPr/>
          <p:nvPr/>
        </p:nvSpPr>
        <p:spPr>
          <a:xfrm>
            <a:off x="17347232" y="3291470"/>
            <a:ext cx="1711800" cy="1202400"/>
          </a:xfrm>
          <a:custGeom>
            <a:avLst/>
            <a:gdLst/>
            <a:ahLst/>
            <a:cxnLst>
              <a:cxn ang="3cd4">
                <a:pos x="hc" y="t"/>
              </a:cxn>
              <a:cxn ang="cd2">
                <a:pos x="l" y="vc"/>
              </a:cxn>
              <a:cxn ang="cd4">
                <a:pos x="hc" y="b"/>
              </a:cxn>
              <a:cxn ang="0">
                <a:pos x="r" y="vc"/>
              </a:cxn>
            </a:cxnLst>
            <a:rect l="l" t="t" r="r" b="b"/>
            <a:pathLst>
              <a:path w="4756" h="3341">
                <a:moveTo>
                  <a:pt x="4756" y="780"/>
                </a:moveTo>
                <a:cubicBezTo>
                  <a:pt x="4756" y="351"/>
                  <a:pt x="4422" y="0"/>
                  <a:pt x="3993" y="0"/>
                </a:cubicBezTo>
                <a:lnTo>
                  <a:pt x="780" y="0"/>
                </a:lnTo>
                <a:cubicBezTo>
                  <a:pt x="350" y="0"/>
                  <a:pt x="0" y="351"/>
                  <a:pt x="0" y="780"/>
                </a:cubicBezTo>
                <a:lnTo>
                  <a:pt x="0" y="2561"/>
                </a:lnTo>
                <a:cubicBezTo>
                  <a:pt x="0" y="2991"/>
                  <a:pt x="350" y="3341"/>
                  <a:pt x="780" y="3341"/>
                </a:cubicBezTo>
                <a:lnTo>
                  <a:pt x="3993" y="3341"/>
                </a:lnTo>
                <a:cubicBezTo>
                  <a:pt x="4422" y="3341"/>
                  <a:pt x="4756" y="2991"/>
                  <a:pt x="4756" y="2561"/>
                </a:cubicBezTo>
                <a:close/>
                <a:moveTo>
                  <a:pt x="780" y="160"/>
                </a:moveTo>
                <a:lnTo>
                  <a:pt x="3993" y="160"/>
                </a:lnTo>
                <a:cubicBezTo>
                  <a:pt x="4327" y="160"/>
                  <a:pt x="4597" y="430"/>
                  <a:pt x="4597" y="780"/>
                </a:cubicBezTo>
                <a:lnTo>
                  <a:pt x="4597" y="796"/>
                </a:lnTo>
                <a:lnTo>
                  <a:pt x="160" y="796"/>
                </a:lnTo>
                <a:lnTo>
                  <a:pt x="160" y="780"/>
                </a:lnTo>
                <a:cubicBezTo>
                  <a:pt x="160" y="430"/>
                  <a:pt x="430" y="160"/>
                  <a:pt x="780" y="160"/>
                </a:cubicBezTo>
                <a:close/>
                <a:moveTo>
                  <a:pt x="3993" y="3181"/>
                </a:moveTo>
                <a:lnTo>
                  <a:pt x="780" y="3181"/>
                </a:lnTo>
                <a:cubicBezTo>
                  <a:pt x="430" y="3181"/>
                  <a:pt x="160" y="2895"/>
                  <a:pt x="160" y="2561"/>
                </a:cubicBezTo>
                <a:lnTo>
                  <a:pt x="160" y="955"/>
                </a:lnTo>
                <a:lnTo>
                  <a:pt x="4597" y="955"/>
                </a:lnTo>
                <a:lnTo>
                  <a:pt x="4597" y="2561"/>
                </a:lnTo>
                <a:cubicBezTo>
                  <a:pt x="4597" y="2895"/>
                  <a:pt x="4327" y="3181"/>
                  <a:pt x="3993" y="3181"/>
                </a:cubicBezTo>
                <a:close/>
                <a:moveTo>
                  <a:pt x="2163" y="2068"/>
                </a:moveTo>
                <a:lnTo>
                  <a:pt x="700" y="2068"/>
                </a:lnTo>
                <a:cubicBezTo>
                  <a:pt x="653" y="2068"/>
                  <a:pt x="621" y="2100"/>
                  <a:pt x="621" y="2148"/>
                </a:cubicBezTo>
                <a:cubicBezTo>
                  <a:pt x="621" y="2179"/>
                  <a:pt x="653" y="2227"/>
                  <a:pt x="700" y="2227"/>
                </a:cubicBezTo>
                <a:lnTo>
                  <a:pt x="2163" y="2227"/>
                </a:lnTo>
                <a:cubicBezTo>
                  <a:pt x="2196" y="2227"/>
                  <a:pt x="2243" y="2179"/>
                  <a:pt x="2243" y="2148"/>
                </a:cubicBezTo>
                <a:cubicBezTo>
                  <a:pt x="2243" y="2100"/>
                  <a:pt x="2196" y="2068"/>
                  <a:pt x="2163" y="2068"/>
                </a:cubicBezTo>
                <a:close/>
                <a:moveTo>
                  <a:pt x="700" y="1909"/>
                </a:moveTo>
                <a:lnTo>
                  <a:pt x="1353" y="1909"/>
                </a:lnTo>
                <a:cubicBezTo>
                  <a:pt x="1400" y="1909"/>
                  <a:pt x="1432" y="1861"/>
                  <a:pt x="1432" y="1830"/>
                </a:cubicBezTo>
                <a:cubicBezTo>
                  <a:pt x="1432" y="1782"/>
                  <a:pt x="1400" y="1750"/>
                  <a:pt x="1353" y="1750"/>
                </a:cubicBezTo>
                <a:lnTo>
                  <a:pt x="700" y="1750"/>
                </a:lnTo>
                <a:cubicBezTo>
                  <a:pt x="653" y="1750"/>
                  <a:pt x="621" y="1782"/>
                  <a:pt x="621" y="1830"/>
                </a:cubicBezTo>
                <a:cubicBezTo>
                  <a:pt x="621" y="1861"/>
                  <a:pt x="653" y="1909"/>
                  <a:pt x="700" y="19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50" name="Freeform: Shape 12">
            <a:extLst>
              <a:ext uri="{FF2B5EF4-FFF2-40B4-BE49-F238E27FC236}">
                <a16:creationId xmlns:a16="http://schemas.microsoft.com/office/drawing/2014/main" id="{38D1E650-44C9-3A42-B9E8-90869EA91712}"/>
              </a:ext>
            </a:extLst>
          </p:cNvPr>
          <p:cNvSpPr/>
          <p:nvPr/>
        </p:nvSpPr>
        <p:spPr>
          <a:xfrm>
            <a:off x="14063450" y="6521215"/>
            <a:ext cx="1442519" cy="1442519"/>
          </a:xfrm>
          <a:custGeom>
            <a:avLst/>
            <a:gdLst/>
            <a:ahLst/>
            <a:cxnLst>
              <a:cxn ang="3cd4">
                <a:pos x="hc" y="t"/>
              </a:cxn>
              <a:cxn ang="cd2">
                <a:pos x="l" y="vc"/>
              </a:cxn>
              <a:cxn ang="cd4">
                <a:pos x="hc" y="b"/>
              </a:cxn>
              <a:cxn ang="0">
                <a:pos x="r" y="vc"/>
              </a:cxn>
            </a:cxnLst>
            <a:rect l="l" t="t" r="r" b="b"/>
            <a:pathLst>
              <a:path w="4008" h="4008">
                <a:moveTo>
                  <a:pt x="3340" y="4008"/>
                </a:moveTo>
                <a:cubicBezTo>
                  <a:pt x="3706" y="4008"/>
                  <a:pt x="4008" y="3706"/>
                  <a:pt x="4008" y="3340"/>
                </a:cubicBezTo>
                <a:lnTo>
                  <a:pt x="4008" y="668"/>
                </a:lnTo>
                <a:cubicBezTo>
                  <a:pt x="4008" y="302"/>
                  <a:pt x="3706" y="0"/>
                  <a:pt x="3340" y="0"/>
                </a:cubicBezTo>
                <a:lnTo>
                  <a:pt x="667" y="0"/>
                </a:lnTo>
                <a:cubicBezTo>
                  <a:pt x="302" y="0"/>
                  <a:pt x="0" y="302"/>
                  <a:pt x="0" y="668"/>
                </a:cubicBezTo>
                <a:lnTo>
                  <a:pt x="0" y="3340"/>
                </a:lnTo>
                <a:cubicBezTo>
                  <a:pt x="0" y="3706"/>
                  <a:pt x="302" y="4008"/>
                  <a:pt x="667" y="4008"/>
                </a:cubicBezTo>
                <a:close/>
                <a:moveTo>
                  <a:pt x="159" y="3340"/>
                </a:moveTo>
                <a:lnTo>
                  <a:pt x="159" y="668"/>
                </a:lnTo>
                <a:cubicBezTo>
                  <a:pt x="159" y="382"/>
                  <a:pt x="381" y="159"/>
                  <a:pt x="667" y="159"/>
                </a:cubicBezTo>
                <a:lnTo>
                  <a:pt x="3340" y="159"/>
                </a:lnTo>
                <a:cubicBezTo>
                  <a:pt x="3626" y="159"/>
                  <a:pt x="3849" y="382"/>
                  <a:pt x="3849" y="668"/>
                </a:cubicBezTo>
                <a:lnTo>
                  <a:pt x="3849" y="3340"/>
                </a:lnTo>
                <a:cubicBezTo>
                  <a:pt x="3849" y="3626"/>
                  <a:pt x="3626" y="3849"/>
                  <a:pt x="3340" y="3849"/>
                </a:cubicBezTo>
                <a:lnTo>
                  <a:pt x="667" y="3849"/>
                </a:lnTo>
                <a:cubicBezTo>
                  <a:pt x="381" y="3849"/>
                  <a:pt x="159" y="3626"/>
                  <a:pt x="159" y="3340"/>
                </a:cubicBezTo>
                <a:close/>
                <a:moveTo>
                  <a:pt x="763" y="1225"/>
                </a:moveTo>
                <a:lnTo>
                  <a:pt x="1097" y="1225"/>
                </a:lnTo>
                <a:lnTo>
                  <a:pt x="1097" y="1559"/>
                </a:lnTo>
                <a:cubicBezTo>
                  <a:pt x="1097" y="1607"/>
                  <a:pt x="1129" y="1638"/>
                  <a:pt x="1177" y="1638"/>
                </a:cubicBezTo>
                <a:cubicBezTo>
                  <a:pt x="1208" y="1638"/>
                  <a:pt x="1256" y="1607"/>
                  <a:pt x="1256" y="1559"/>
                </a:cubicBezTo>
                <a:lnTo>
                  <a:pt x="1256" y="1225"/>
                </a:lnTo>
                <a:lnTo>
                  <a:pt x="1574" y="1225"/>
                </a:lnTo>
                <a:cubicBezTo>
                  <a:pt x="1622" y="1225"/>
                  <a:pt x="1654" y="1193"/>
                  <a:pt x="1654" y="1145"/>
                </a:cubicBezTo>
                <a:cubicBezTo>
                  <a:pt x="1654" y="1114"/>
                  <a:pt x="1622" y="1066"/>
                  <a:pt x="1574" y="1066"/>
                </a:cubicBezTo>
                <a:lnTo>
                  <a:pt x="1256" y="1066"/>
                </a:lnTo>
                <a:lnTo>
                  <a:pt x="1256" y="748"/>
                </a:lnTo>
                <a:cubicBezTo>
                  <a:pt x="1256" y="700"/>
                  <a:pt x="1208" y="668"/>
                  <a:pt x="1177" y="668"/>
                </a:cubicBezTo>
                <a:cubicBezTo>
                  <a:pt x="1129" y="668"/>
                  <a:pt x="1097" y="700"/>
                  <a:pt x="1097" y="748"/>
                </a:cubicBezTo>
                <a:lnTo>
                  <a:pt x="1097" y="1066"/>
                </a:lnTo>
                <a:lnTo>
                  <a:pt x="763" y="1066"/>
                </a:lnTo>
                <a:cubicBezTo>
                  <a:pt x="715" y="1066"/>
                  <a:pt x="684" y="1114"/>
                  <a:pt x="684" y="1145"/>
                </a:cubicBezTo>
                <a:cubicBezTo>
                  <a:pt x="684" y="1193"/>
                  <a:pt x="715" y="1225"/>
                  <a:pt x="763" y="1225"/>
                </a:cubicBezTo>
                <a:close/>
                <a:moveTo>
                  <a:pt x="2433" y="1225"/>
                </a:moveTo>
                <a:lnTo>
                  <a:pt x="3244" y="1225"/>
                </a:lnTo>
                <a:cubicBezTo>
                  <a:pt x="3292" y="1225"/>
                  <a:pt x="3324" y="1193"/>
                  <a:pt x="3324" y="1145"/>
                </a:cubicBezTo>
                <a:cubicBezTo>
                  <a:pt x="3324" y="1114"/>
                  <a:pt x="3292" y="1066"/>
                  <a:pt x="3244" y="1066"/>
                </a:cubicBezTo>
                <a:lnTo>
                  <a:pt x="2433" y="1066"/>
                </a:lnTo>
                <a:cubicBezTo>
                  <a:pt x="2386" y="1066"/>
                  <a:pt x="2354" y="1114"/>
                  <a:pt x="2354" y="1145"/>
                </a:cubicBezTo>
                <a:cubicBezTo>
                  <a:pt x="2354" y="1193"/>
                  <a:pt x="2386" y="1225"/>
                  <a:pt x="2433" y="1225"/>
                </a:cubicBezTo>
                <a:close/>
                <a:moveTo>
                  <a:pt x="2942" y="2401"/>
                </a:moveTo>
                <a:cubicBezTo>
                  <a:pt x="2895" y="2385"/>
                  <a:pt x="2847" y="2417"/>
                  <a:pt x="2847" y="2449"/>
                </a:cubicBezTo>
                <a:lnTo>
                  <a:pt x="2672" y="3244"/>
                </a:lnTo>
                <a:cubicBezTo>
                  <a:pt x="2656" y="3292"/>
                  <a:pt x="2688" y="3339"/>
                  <a:pt x="2735" y="3339"/>
                </a:cubicBezTo>
                <a:lnTo>
                  <a:pt x="2751" y="3339"/>
                </a:lnTo>
                <a:cubicBezTo>
                  <a:pt x="2783" y="3339"/>
                  <a:pt x="2815" y="3324"/>
                  <a:pt x="2831" y="3276"/>
                </a:cubicBezTo>
                <a:lnTo>
                  <a:pt x="3006" y="2480"/>
                </a:lnTo>
                <a:cubicBezTo>
                  <a:pt x="3006" y="2449"/>
                  <a:pt x="2974" y="2401"/>
                  <a:pt x="2942" y="2401"/>
                </a:cubicBezTo>
                <a:close/>
                <a:moveTo>
                  <a:pt x="1511" y="2464"/>
                </a:moveTo>
                <a:cubicBezTo>
                  <a:pt x="1479" y="2433"/>
                  <a:pt x="1431" y="2433"/>
                  <a:pt x="1399" y="2464"/>
                </a:cubicBezTo>
                <a:lnTo>
                  <a:pt x="1177" y="2703"/>
                </a:lnTo>
                <a:lnTo>
                  <a:pt x="938" y="2464"/>
                </a:lnTo>
                <a:cubicBezTo>
                  <a:pt x="906" y="2433"/>
                  <a:pt x="859" y="2433"/>
                  <a:pt x="827" y="2464"/>
                </a:cubicBezTo>
                <a:cubicBezTo>
                  <a:pt x="795" y="2496"/>
                  <a:pt x="795" y="2544"/>
                  <a:pt x="827" y="2576"/>
                </a:cubicBezTo>
                <a:lnTo>
                  <a:pt x="1065" y="2815"/>
                </a:lnTo>
                <a:lnTo>
                  <a:pt x="827" y="3037"/>
                </a:lnTo>
                <a:cubicBezTo>
                  <a:pt x="795" y="3069"/>
                  <a:pt x="795" y="3116"/>
                  <a:pt x="827" y="3148"/>
                </a:cubicBezTo>
                <a:cubicBezTo>
                  <a:pt x="843" y="3164"/>
                  <a:pt x="859" y="3180"/>
                  <a:pt x="890" y="3180"/>
                </a:cubicBezTo>
                <a:cubicBezTo>
                  <a:pt x="906" y="3180"/>
                  <a:pt x="922" y="3164"/>
                  <a:pt x="938" y="3148"/>
                </a:cubicBezTo>
                <a:lnTo>
                  <a:pt x="1177" y="2926"/>
                </a:lnTo>
                <a:lnTo>
                  <a:pt x="1399" y="3148"/>
                </a:lnTo>
                <a:cubicBezTo>
                  <a:pt x="1415" y="3164"/>
                  <a:pt x="1431" y="3180"/>
                  <a:pt x="1463" y="3180"/>
                </a:cubicBezTo>
                <a:cubicBezTo>
                  <a:pt x="1479" y="3180"/>
                  <a:pt x="1495" y="3164"/>
                  <a:pt x="1511" y="3148"/>
                </a:cubicBezTo>
                <a:cubicBezTo>
                  <a:pt x="1542" y="3116"/>
                  <a:pt x="1542" y="3069"/>
                  <a:pt x="1511" y="3037"/>
                </a:cubicBezTo>
                <a:lnTo>
                  <a:pt x="1288" y="2815"/>
                </a:lnTo>
                <a:lnTo>
                  <a:pt x="1511" y="2576"/>
                </a:lnTo>
                <a:cubicBezTo>
                  <a:pt x="1542" y="2544"/>
                  <a:pt x="1542" y="2496"/>
                  <a:pt x="1511" y="246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51" name="Freeform: Shape 13">
            <a:extLst>
              <a:ext uri="{FF2B5EF4-FFF2-40B4-BE49-F238E27FC236}">
                <a16:creationId xmlns:a16="http://schemas.microsoft.com/office/drawing/2014/main" id="{C70178B3-B06F-8C4A-9D09-354428DBD22B}"/>
              </a:ext>
            </a:extLst>
          </p:cNvPr>
          <p:cNvSpPr/>
          <p:nvPr/>
        </p:nvSpPr>
        <p:spPr>
          <a:xfrm>
            <a:off x="17571806" y="6383695"/>
            <a:ext cx="1253520" cy="1717560"/>
          </a:xfrm>
          <a:custGeom>
            <a:avLst/>
            <a:gdLst/>
            <a:ahLst/>
            <a:cxnLst>
              <a:cxn ang="3cd4">
                <a:pos x="hc" y="t"/>
              </a:cxn>
              <a:cxn ang="cd2">
                <a:pos x="l" y="vc"/>
              </a:cxn>
              <a:cxn ang="cd4">
                <a:pos x="hc" y="b"/>
              </a:cxn>
              <a:cxn ang="0">
                <a:pos x="r" y="vc"/>
              </a:cxn>
            </a:cxnLst>
            <a:rect l="l" t="t" r="r" b="b"/>
            <a:pathLst>
              <a:path w="3483" h="4772">
                <a:moveTo>
                  <a:pt x="2911" y="4772"/>
                </a:moveTo>
                <a:cubicBezTo>
                  <a:pt x="3229" y="4772"/>
                  <a:pt x="3483" y="4422"/>
                  <a:pt x="3483" y="3993"/>
                </a:cubicBezTo>
                <a:lnTo>
                  <a:pt x="3483" y="780"/>
                </a:lnTo>
                <a:cubicBezTo>
                  <a:pt x="3483" y="350"/>
                  <a:pt x="3229" y="0"/>
                  <a:pt x="2911" y="0"/>
                </a:cubicBezTo>
                <a:lnTo>
                  <a:pt x="573" y="0"/>
                </a:lnTo>
                <a:cubicBezTo>
                  <a:pt x="254" y="0"/>
                  <a:pt x="0" y="350"/>
                  <a:pt x="0" y="780"/>
                </a:cubicBezTo>
                <a:lnTo>
                  <a:pt x="0" y="3993"/>
                </a:lnTo>
                <a:cubicBezTo>
                  <a:pt x="0" y="4422"/>
                  <a:pt x="254" y="4772"/>
                  <a:pt x="573" y="4772"/>
                </a:cubicBezTo>
                <a:close/>
                <a:moveTo>
                  <a:pt x="159" y="3993"/>
                </a:moveTo>
                <a:lnTo>
                  <a:pt x="159" y="780"/>
                </a:lnTo>
                <a:cubicBezTo>
                  <a:pt x="159" y="446"/>
                  <a:pt x="350" y="159"/>
                  <a:pt x="573" y="159"/>
                </a:cubicBezTo>
                <a:lnTo>
                  <a:pt x="2911" y="159"/>
                </a:lnTo>
                <a:cubicBezTo>
                  <a:pt x="3134" y="159"/>
                  <a:pt x="3325" y="446"/>
                  <a:pt x="3325" y="780"/>
                </a:cubicBezTo>
                <a:lnTo>
                  <a:pt x="3325" y="3993"/>
                </a:lnTo>
                <a:cubicBezTo>
                  <a:pt x="3325" y="4327"/>
                  <a:pt x="3134" y="4613"/>
                  <a:pt x="2911" y="4613"/>
                </a:cubicBezTo>
                <a:lnTo>
                  <a:pt x="573" y="4613"/>
                </a:lnTo>
                <a:cubicBezTo>
                  <a:pt x="350" y="4613"/>
                  <a:pt x="159" y="4327"/>
                  <a:pt x="159" y="3993"/>
                </a:cubicBezTo>
                <a:close/>
                <a:moveTo>
                  <a:pt x="3022" y="1972"/>
                </a:moveTo>
                <a:lnTo>
                  <a:pt x="3022" y="684"/>
                </a:lnTo>
                <a:cubicBezTo>
                  <a:pt x="3022" y="636"/>
                  <a:pt x="2990" y="605"/>
                  <a:pt x="2943" y="605"/>
                </a:cubicBezTo>
                <a:lnTo>
                  <a:pt x="541" y="605"/>
                </a:lnTo>
                <a:cubicBezTo>
                  <a:pt x="493" y="605"/>
                  <a:pt x="462" y="636"/>
                  <a:pt x="462" y="684"/>
                </a:cubicBezTo>
                <a:lnTo>
                  <a:pt x="462" y="1972"/>
                </a:lnTo>
                <a:cubicBezTo>
                  <a:pt x="462" y="2020"/>
                  <a:pt x="493" y="2052"/>
                  <a:pt x="541" y="2052"/>
                </a:cubicBezTo>
                <a:lnTo>
                  <a:pt x="2943" y="2052"/>
                </a:lnTo>
                <a:cubicBezTo>
                  <a:pt x="2990" y="2052"/>
                  <a:pt x="3022" y="2020"/>
                  <a:pt x="3022" y="1972"/>
                </a:cubicBezTo>
                <a:close/>
                <a:moveTo>
                  <a:pt x="2863" y="1893"/>
                </a:moveTo>
                <a:lnTo>
                  <a:pt x="620" y="1893"/>
                </a:lnTo>
                <a:lnTo>
                  <a:pt x="620" y="764"/>
                </a:lnTo>
                <a:lnTo>
                  <a:pt x="2863" y="764"/>
                </a:lnTo>
                <a:close/>
                <a:moveTo>
                  <a:pt x="2799" y="2657"/>
                </a:moveTo>
                <a:lnTo>
                  <a:pt x="2338" y="2657"/>
                </a:lnTo>
                <a:cubicBezTo>
                  <a:pt x="2290" y="2657"/>
                  <a:pt x="2259" y="2689"/>
                  <a:pt x="2259" y="2736"/>
                </a:cubicBezTo>
                <a:lnTo>
                  <a:pt x="2259" y="3198"/>
                </a:lnTo>
                <a:cubicBezTo>
                  <a:pt x="2259" y="3245"/>
                  <a:pt x="2290" y="3277"/>
                  <a:pt x="2338" y="3277"/>
                </a:cubicBezTo>
                <a:lnTo>
                  <a:pt x="2799" y="3277"/>
                </a:lnTo>
                <a:cubicBezTo>
                  <a:pt x="2847" y="3277"/>
                  <a:pt x="2879" y="3245"/>
                  <a:pt x="2879" y="3198"/>
                </a:cubicBezTo>
                <a:lnTo>
                  <a:pt x="2879" y="2736"/>
                </a:lnTo>
                <a:cubicBezTo>
                  <a:pt x="2879" y="2689"/>
                  <a:pt x="2847" y="2657"/>
                  <a:pt x="2799" y="2657"/>
                </a:cubicBezTo>
                <a:close/>
                <a:moveTo>
                  <a:pt x="2736" y="3118"/>
                </a:moveTo>
                <a:lnTo>
                  <a:pt x="2418" y="3118"/>
                </a:lnTo>
                <a:lnTo>
                  <a:pt x="2418" y="2816"/>
                </a:lnTo>
                <a:lnTo>
                  <a:pt x="2736" y="2816"/>
                </a:lnTo>
                <a:close/>
                <a:moveTo>
                  <a:pt x="1145" y="2657"/>
                </a:moveTo>
                <a:lnTo>
                  <a:pt x="684" y="2657"/>
                </a:lnTo>
                <a:cubicBezTo>
                  <a:pt x="636" y="2657"/>
                  <a:pt x="605" y="2689"/>
                  <a:pt x="605" y="2736"/>
                </a:cubicBezTo>
                <a:lnTo>
                  <a:pt x="605" y="3198"/>
                </a:lnTo>
                <a:cubicBezTo>
                  <a:pt x="605" y="3245"/>
                  <a:pt x="636" y="3277"/>
                  <a:pt x="684" y="3277"/>
                </a:cubicBezTo>
                <a:lnTo>
                  <a:pt x="1145" y="3277"/>
                </a:lnTo>
                <a:cubicBezTo>
                  <a:pt x="1193" y="3277"/>
                  <a:pt x="1225" y="3245"/>
                  <a:pt x="1225" y="3198"/>
                </a:cubicBezTo>
                <a:lnTo>
                  <a:pt x="1225" y="2736"/>
                </a:lnTo>
                <a:cubicBezTo>
                  <a:pt x="1225" y="2689"/>
                  <a:pt x="1193" y="2657"/>
                  <a:pt x="1145" y="2657"/>
                </a:cubicBezTo>
                <a:close/>
                <a:moveTo>
                  <a:pt x="1066" y="3118"/>
                </a:moveTo>
                <a:lnTo>
                  <a:pt x="763" y="3118"/>
                </a:lnTo>
                <a:lnTo>
                  <a:pt x="763" y="2816"/>
                </a:lnTo>
                <a:lnTo>
                  <a:pt x="1066" y="2816"/>
                </a:lnTo>
                <a:close/>
                <a:moveTo>
                  <a:pt x="1972" y="2657"/>
                </a:moveTo>
                <a:lnTo>
                  <a:pt x="1511" y="2657"/>
                </a:lnTo>
                <a:cubicBezTo>
                  <a:pt x="1463" y="2657"/>
                  <a:pt x="1432" y="2689"/>
                  <a:pt x="1432" y="2736"/>
                </a:cubicBezTo>
                <a:lnTo>
                  <a:pt x="1432" y="3198"/>
                </a:lnTo>
                <a:cubicBezTo>
                  <a:pt x="1432" y="3245"/>
                  <a:pt x="1463" y="3277"/>
                  <a:pt x="1511" y="3277"/>
                </a:cubicBezTo>
                <a:lnTo>
                  <a:pt x="1972" y="3277"/>
                </a:lnTo>
                <a:cubicBezTo>
                  <a:pt x="2020" y="3277"/>
                  <a:pt x="2052" y="3245"/>
                  <a:pt x="2052" y="3198"/>
                </a:cubicBezTo>
                <a:lnTo>
                  <a:pt x="2052" y="2736"/>
                </a:lnTo>
                <a:cubicBezTo>
                  <a:pt x="2052" y="2689"/>
                  <a:pt x="2020" y="2657"/>
                  <a:pt x="1972" y="2657"/>
                </a:cubicBezTo>
                <a:close/>
                <a:moveTo>
                  <a:pt x="1893" y="3118"/>
                </a:moveTo>
                <a:lnTo>
                  <a:pt x="1591" y="3118"/>
                </a:lnTo>
                <a:lnTo>
                  <a:pt x="1591" y="2816"/>
                </a:lnTo>
                <a:lnTo>
                  <a:pt x="1893" y="2816"/>
                </a:lnTo>
                <a:close/>
                <a:moveTo>
                  <a:pt x="2799" y="3452"/>
                </a:moveTo>
                <a:lnTo>
                  <a:pt x="2338" y="3452"/>
                </a:lnTo>
                <a:cubicBezTo>
                  <a:pt x="2290" y="3452"/>
                  <a:pt x="2259" y="3484"/>
                  <a:pt x="2259" y="3531"/>
                </a:cubicBezTo>
                <a:lnTo>
                  <a:pt x="2259" y="4008"/>
                </a:lnTo>
                <a:cubicBezTo>
                  <a:pt x="2259" y="4056"/>
                  <a:pt x="2290" y="4088"/>
                  <a:pt x="2338" y="4088"/>
                </a:cubicBezTo>
                <a:lnTo>
                  <a:pt x="2799" y="4088"/>
                </a:lnTo>
                <a:cubicBezTo>
                  <a:pt x="2847" y="4088"/>
                  <a:pt x="2879" y="4056"/>
                  <a:pt x="2879" y="4008"/>
                </a:cubicBezTo>
                <a:lnTo>
                  <a:pt x="2879" y="3531"/>
                </a:lnTo>
                <a:cubicBezTo>
                  <a:pt x="2879" y="3484"/>
                  <a:pt x="2847" y="3452"/>
                  <a:pt x="2799" y="3452"/>
                </a:cubicBezTo>
                <a:close/>
                <a:moveTo>
                  <a:pt x="2736" y="3929"/>
                </a:moveTo>
                <a:lnTo>
                  <a:pt x="2418" y="3929"/>
                </a:lnTo>
                <a:lnTo>
                  <a:pt x="2418" y="3611"/>
                </a:lnTo>
                <a:lnTo>
                  <a:pt x="2736" y="3611"/>
                </a:lnTo>
                <a:close/>
                <a:moveTo>
                  <a:pt x="1145" y="3452"/>
                </a:moveTo>
                <a:lnTo>
                  <a:pt x="684" y="3452"/>
                </a:lnTo>
                <a:cubicBezTo>
                  <a:pt x="636" y="3452"/>
                  <a:pt x="605" y="3484"/>
                  <a:pt x="605" y="3531"/>
                </a:cubicBezTo>
                <a:lnTo>
                  <a:pt x="605" y="4008"/>
                </a:lnTo>
                <a:cubicBezTo>
                  <a:pt x="605" y="4056"/>
                  <a:pt x="636" y="4088"/>
                  <a:pt x="684" y="4088"/>
                </a:cubicBezTo>
                <a:lnTo>
                  <a:pt x="1145" y="4088"/>
                </a:lnTo>
                <a:cubicBezTo>
                  <a:pt x="1193" y="4088"/>
                  <a:pt x="1225" y="4056"/>
                  <a:pt x="1225" y="4008"/>
                </a:cubicBezTo>
                <a:lnTo>
                  <a:pt x="1225" y="3531"/>
                </a:lnTo>
                <a:cubicBezTo>
                  <a:pt x="1225" y="3484"/>
                  <a:pt x="1193" y="3452"/>
                  <a:pt x="1145" y="3452"/>
                </a:cubicBezTo>
                <a:close/>
                <a:moveTo>
                  <a:pt x="1066" y="3929"/>
                </a:moveTo>
                <a:lnTo>
                  <a:pt x="763" y="3929"/>
                </a:lnTo>
                <a:lnTo>
                  <a:pt x="763" y="3611"/>
                </a:lnTo>
                <a:lnTo>
                  <a:pt x="1066" y="3611"/>
                </a:lnTo>
                <a:close/>
                <a:moveTo>
                  <a:pt x="1972" y="3452"/>
                </a:moveTo>
                <a:lnTo>
                  <a:pt x="1511" y="3452"/>
                </a:lnTo>
                <a:cubicBezTo>
                  <a:pt x="1463" y="3452"/>
                  <a:pt x="1432" y="3484"/>
                  <a:pt x="1432" y="3531"/>
                </a:cubicBezTo>
                <a:lnTo>
                  <a:pt x="1432" y="4008"/>
                </a:lnTo>
                <a:cubicBezTo>
                  <a:pt x="1432" y="4056"/>
                  <a:pt x="1463" y="4088"/>
                  <a:pt x="1511" y="4088"/>
                </a:cubicBezTo>
                <a:lnTo>
                  <a:pt x="1972" y="4088"/>
                </a:lnTo>
                <a:cubicBezTo>
                  <a:pt x="2020" y="4088"/>
                  <a:pt x="2052" y="4056"/>
                  <a:pt x="2052" y="4008"/>
                </a:cubicBezTo>
                <a:lnTo>
                  <a:pt x="2052" y="3531"/>
                </a:lnTo>
                <a:cubicBezTo>
                  <a:pt x="2052" y="3484"/>
                  <a:pt x="2020" y="3452"/>
                  <a:pt x="1972" y="3452"/>
                </a:cubicBezTo>
                <a:close/>
                <a:moveTo>
                  <a:pt x="1893" y="3929"/>
                </a:moveTo>
                <a:lnTo>
                  <a:pt x="1591" y="3929"/>
                </a:lnTo>
                <a:lnTo>
                  <a:pt x="1591" y="3611"/>
                </a:lnTo>
                <a:lnTo>
                  <a:pt x="1893" y="3611"/>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52" name="Freeform: Shape 14">
            <a:extLst>
              <a:ext uri="{FF2B5EF4-FFF2-40B4-BE49-F238E27FC236}">
                <a16:creationId xmlns:a16="http://schemas.microsoft.com/office/drawing/2014/main" id="{44D153D2-7AB6-8248-9734-D55928D76B3A}"/>
              </a:ext>
            </a:extLst>
          </p:cNvPr>
          <p:cNvSpPr/>
          <p:nvPr/>
        </p:nvSpPr>
        <p:spPr>
          <a:xfrm>
            <a:off x="6157245" y="9816186"/>
            <a:ext cx="1511279" cy="1511279"/>
          </a:xfrm>
          <a:custGeom>
            <a:avLst/>
            <a:gdLst/>
            <a:ahLst/>
            <a:cxnLst>
              <a:cxn ang="3cd4">
                <a:pos x="hc" y="t"/>
              </a:cxn>
              <a:cxn ang="cd2">
                <a:pos x="l" y="vc"/>
              </a:cxn>
              <a:cxn ang="cd4">
                <a:pos x="hc" y="b"/>
              </a:cxn>
              <a:cxn ang="0">
                <a:pos x="r" y="vc"/>
              </a:cxn>
            </a:cxnLst>
            <a:rect l="l" t="t" r="r" b="b"/>
            <a:pathLst>
              <a:path w="4199" h="4199">
                <a:moveTo>
                  <a:pt x="414" y="0"/>
                </a:moveTo>
                <a:cubicBezTo>
                  <a:pt x="366" y="0"/>
                  <a:pt x="334" y="31"/>
                  <a:pt x="334" y="79"/>
                </a:cubicBezTo>
                <a:lnTo>
                  <a:pt x="334" y="3849"/>
                </a:lnTo>
                <a:lnTo>
                  <a:pt x="79" y="3849"/>
                </a:lnTo>
                <a:cubicBezTo>
                  <a:pt x="32" y="3849"/>
                  <a:pt x="0" y="3881"/>
                  <a:pt x="0" y="3929"/>
                </a:cubicBezTo>
                <a:cubicBezTo>
                  <a:pt x="0" y="3960"/>
                  <a:pt x="32" y="4008"/>
                  <a:pt x="79" y="4008"/>
                </a:cubicBezTo>
                <a:lnTo>
                  <a:pt x="334" y="4008"/>
                </a:lnTo>
                <a:lnTo>
                  <a:pt x="334" y="4119"/>
                </a:lnTo>
                <a:cubicBezTo>
                  <a:pt x="334" y="4167"/>
                  <a:pt x="366" y="4199"/>
                  <a:pt x="414" y="4199"/>
                </a:cubicBezTo>
                <a:cubicBezTo>
                  <a:pt x="461" y="4199"/>
                  <a:pt x="493" y="4167"/>
                  <a:pt x="493" y="4119"/>
                </a:cubicBezTo>
                <a:lnTo>
                  <a:pt x="493" y="4008"/>
                </a:lnTo>
                <a:lnTo>
                  <a:pt x="4120" y="4008"/>
                </a:lnTo>
                <a:cubicBezTo>
                  <a:pt x="4167" y="4008"/>
                  <a:pt x="4199" y="3960"/>
                  <a:pt x="4199" y="3929"/>
                </a:cubicBezTo>
                <a:cubicBezTo>
                  <a:pt x="4199" y="3881"/>
                  <a:pt x="4167" y="3849"/>
                  <a:pt x="4120" y="3849"/>
                </a:cubicBezTo>
                <a:lnTo>
                  <a:pt x="493" y="3849"/>
                </a:lnTo>
                <a:lnTo>
                  <a:pt x="493" y="79"/>
                </a:lnTo>
                <a:cubicBezTo>
                  <a:pt x="493" y="31"/>
                  <a:pt x="461" y="0"/>
                  <a:pt x="414" y="0"/>
                </a:cubicBezTo>
                <a:close/>
                <a:moveTo>
                  <a:pt x="1177" y="3515"/>
                </a:moveTo>
                <a:lnTo>
                  <a:pt x="1177" y="954"/>
                </a:lnTo>
                <a:cubicBezTo>
                  <a:pt x="1177" y="906"/>
                  <a:pt x="1145" y="875"/>
                  <a:pt x="1097" y="875"/>
                </a:cubicBezTo>
                <a:cubicBezTo>
                  <a:pt x="1050" y="875"/>
                  <a:pt x="1018" y="906"/>
                  <a:pt x="1018" y="954"/>
                </a:cubicBezTo>
                <a:lnTo>
                  <a:pt x="1018" y="3515"/>
                </a:lnTo>
                <a:cubicBezTo>
                  <a:pt x="1018" y="3563"/>
                  <a:pt x="1050" y="3594"/>
                  <a:pt x="1097" y="3594"/>
                </a:cubicBezTo>
                <a:cubicBezTo>
                  <a:pt x="1145" y="3594"/>
                  <a:pt x="1177" y="3563"/>
                  <a:pt x="1177" y="3515"/>
                </a:cubicBezTo>
                <a:close/>
                <a:moveTo>
                  <a:pt x="1988" y="3515"/>
                </a:moveTo>
                <a:lnTo>
                  <a:pt x="1988" y="2703"/>
                </a:lnTo>
                <a:cubicBezTo>
                  <a:pt x="1988" y="2656"/>
                  <a:pt x="1941" y="2624"/>
                  <a:pt x="1909" y="2624"/>
                </a:cubicBezTo>
                <a:cubicBezTo>
                  <a:pt x="1861" y="2624"/>
                  <a:pt x="1829" y="2656"/>
                  <a:pt x="1829" y="2703"/>
                </a:cubicBezTo>
                <a:lnTo>
                  <a:pt x="1829" y="3515"/>
                </a:lnTo>
                <a:cubicBezTo>
                  <a:pt x="1829" y="3563"/>
                  <a:pt x="1861" y="3594"/>
                  <a:pt x="1909" y="3594"/>
                </a:cubicBezTo>
                <a:cubicBezTo>
                  <a:pt x="1941" y="3594"/>
                  <a:pt x="1988" y="3563"/>
                  <a:pt x="1988" y="3515"/>
                </a:cubicBezTo>
                <a:close/>
                <a:moveTo>
                  <a:pt x="2784" y="3515"/>
                </a:moveTo>
                <a:lnTo>
                  <a:pt x="2784" y="2163"/>
                </a:lnTo>
                <a:cubicBezTo>
                  <a:pt x="2784" y="2131"/>
                  <a:pt x="2751" y="2083"/>
                  <a:pt x="2704" y="2083"/>
                </a:cubicBezTo>
                <a:cubicBezTo>
                  <a:pt x="2672" y="2083"/>
                  <a:pt x="2624" y="2131"/>
                  <a:pt x="2624" y="2163"/>
                </a:cubicBezTo>
                <a:lnTo>
                  <a:pt x="2624" y="3515"/>
                </a:lnTo>
                <a:cubicBezTo>
                  <a:pt x="2624" y="3563"/>
                  <a:pt x="2672" y="3594"/>
                  <a:pt x="2704" y="3594"/>
                </a:cubicBezTo>
                <a:cubicBezTo>
                  <a:pt x="2751" y="3594"/>
                  <a:pt x="2784" y="3563"/>
                  <a:pt x="2784" y="3515"/>
                </a:cubicBezTo>
                <a:close/>
                <a:moveTo>
                  <a:pt x="3595" y="3515"/>
                </a:moveTo>
                <a:lnTo>
                  <a:pt x="3595" y="2847"/>
                </a:lnTo>
                <a:cubicBezTo>
                  <a:pt x="3595" y="2799"/>
                  <a:pt x="3563" y="2767"/>
                  <a:pt x="3515" y="2767"/>
                </a:cubicBezTo>
                <a:cubicBezTo>
                  <a:pt x="3468" y="2767"/>
                  <a:pt x="3436" y="2799"/>
                  <a:pt x="3436" y="2847"/>
                </a:cubicBezTo>
                <a:lnTo>
                  <a:pt x="3436" y="3515"/>
                </a:lnTo>
                <a:cubicBezTo>
                  <a:pt x="3436" y="3563"/>
                  <a:pt x="3468" y="3594"/>
                  <a:pt x="3515" y="3594"/>
                </a:cubicBezTo>
                <a:cubicBezTo>
                  <a:pt x="3563" y="3594"/>
                  <a:pt x="3595" y="3563"/>
                  <a:pt x="3595" y="351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53" name="Freeform: Shape 15">
            <a:extLst>
              <a:ext uri="{FF2B5EF4-FFF2-40B4-BE49-F238E27FC236}">
                <a16:creationId xmlns:a16="http://schemas.microsoft.com/office/drawing/2014/main" id="{E10C33D7-4F5B-694E-B316-4177A121E1AF}"/>
              </a:ext>
            </a:extLst>
          </p:cNvPr>
          <p:cNvSpPr/>
          <p:nvPr/>
        </p:nvSpPr>
        <p:spPr>
          <a:xfrm>
            <a:off x="10209529" y="9867666"/>
            <a:ext cx="1402559" cy="1408319"/>
          </a:xfrm>
          <a:custGeom>
            <a:avLst/>
            <a:gdLst/>
            <a:ahLst/>
            <a:cxnLst>
              <a:cxn ang="3cd4">
                <a:pos x="hc" y="t"/>
              </a:cxn>
              <a:cxn ang="cd2">
                <a:pos x="l" y="vc"/>
              </a:cxn>
              <a:cxn ang="cd4">
                <a:pos x="hc" y="b"/>
              </a:cxn>
              <a:cxn ang="0">
                <a:pos x="r" y="vc"/>
              </a:cxn>
            </a:cxnLst>
            <a:rect l="l" t="t" r="r" b="b"/>
            <a:pathLst>
              <a:path w="3897" h="3913">
                <a:moveTo>
                  <a:pt x="397" y="0"/>
                </a:moveTo>
                <a:cubicBezTo>
                  <a:pt x="350" y="0"/>
                  <a:pt x="318" y="48"/>
                  <a:pt x="318" y="79"/>
                </a:cubicBezTo>
                <a:lnTo>
                  <a:pt x="318" y="3563"/>
                </a:lnTo>
                <a:lnTo>
                  <a:pt x="79" y="3563"/>
                </a:lnTo>
                <a:cubicBezTo>
                  <a:pt x="32" y="3563"/>
                  <a:pt x="0" y="3595"/>
                  <a:pt x="0" y="3642"/>
                </a:cubicBezTo>
                <a:cubicBezTo>
                  <a:pt x="0" y="3690"/>
                  <a:pt x="32" y="3722"/>
                  <a:pt x="79" y="3722"/>
                </a:cubicBezTo>
                <a:lnTo>
                  <a:pt x="318" y="3722"/>
                </a:lnTo>
                <a:lnTo>
                  <a:pt x="318" y="3833"/>
                </a:lnTo>
                <a:cubicBezTo>
                  <a:pt x="318" y="3865"/>
                  <a:pt x="350" y="3913"/>
                  <a:pt x="397" y="3913"/>
                </a:cubicBezTo>
                <a:cubicBezTo>
                  <a:pt x="429" y="3913"/>
                  <a:pt x="477" y="3865"/>
                  <a:pt x="477" y="3833"/>
                </a:cubicBezTo>
                <a:lnTo>
                  <a:pt x="477" y="3722"/>
                </a:lnTo>
                <a:lnTo>
                  <a:pt x="3817" y="3722"/>
                </a:lnTo>
                <a:cubicBezTo>
                  <a:pt x="3865" y="3722"/>
                  <a:pt x="3897" y="3690"/>
                  <a:pt x="3897" y="3642"/>
                </a:cubicBezTo>
                <a:cubicBezTo>
                  <a:pt x="3897" y="3595"/>
                  <a:pt x="3865" y="3563"/>
                  <a:pt x="3817" y="3563"/>
                </a:cubicBezTo>
                <a:lnTo>
                  <a:pt x="3340" y="3563"/>
                </a:lnTo>
                <a:lnTo>
                  <a:pt x="3340" y="1765"/>
                </a:lnTo>
                <a:cubicBezTo>
                  <a:pt x="3340" y="1733"/>
                  <a:pt x="3308" y="1686"/>
                  <a:pt x="3260" y="1686"/>
                </a:cubicBezTo>
                <a:cubicBezTo>
                  <a:pt x="3213" y="1686"/>
                  <a:pt x="3181" y="1733"/>
                  <a:pt x="3181" y="1765"/>
                </a:cubicBezTo>
                <a:lnTo>
                  <a:pt x="3181" y="3563"/>
                </a:lnTo>
                <a:lnTo>
                  <a:pt x="2593" y="3563"/>
                </a:lnTo>
                <a:lnTo>
                  <a:pt x="2593" y="2513"/>
                </a:lnTo>
                <a:cubicBezTo>
                  <a:pt x="2593" y="2481"/>
                  <a:pt x="2561" y="2433"/>
                  <a:pt x="2513" y="2433"/>
                </a:cubicBezTo>
                <a:cubicBezTo>
                  <a:pt x="2465" y="2433"/>
                  <a:pt x="2433" y="2481"/>
                  <a:pt x="2433" y="2513"/>
                </a:cubicBezTo>
                <a:lnTo>
                  <a:pt x="2433" y="3563"/>
                </a:lnTo>
                <a:lnTo>
                  <a:pt x="1845" y="3563"/>
                </a:lnTo>
                <a:lnTo>
                  <a:pt x="1845" y="1893"/>
                </a:lnTo>
                <a:cubicBezTo>
                  <a:pt x="1845" y="1845"/>
                  <a:pt x="1813" y="1813"/>
                  <a:pt x="1766" y="1813"/>
                </a:cubicBezTo>
                <a:cubicBezTo>
                  <a:pt x="1718" y="1813"/>
                  <a:pt x="1686" y="1845"/>
                  <a:pt x="1686" y="1893"/>
                </a:cubicBezTo>
                <a:lnTo>
                  <a:pt x="1686" y="3563"/>
                </a:lnTo>
                <a:lnTo>
                  <a:pt x="1097" y="3563"/>
                </a:lnTo>
                <a:lnTo>
                  <a:pt x="1097" y="2513"/>
                </a:lnTo>
                <a:cubicBezTo>
                  <a:pt x="1097" y="2481"/>
                  <a:pt x="1066" y="2433"/>
                  <a:pt x="1018" y="2433"/>
                </a:cubicBezTo>
                <a:cubicBezTo>
                  <a:pt x="970" y="2433"/>
                  <a:pt x="938" y="2481"/>
                  <a:pt x="938" y="2513"/>
                </a:cubicBezTo>
                <a:lnTo>
                  <a:pt x="938" y="3563"/>
                </a:lnTo>
                <a:lnTo>
                  <a:pt x="477" y="3563"/>
                </a:lnTo>
                <a:lnTo>
                  <a:pt x="477" y="79"/>
                </a:lnTo>
                <a:cubicBezTo>
                  <a:pt x="477" y="48"/>
                  <a:pt x="429" y="0"/>
                  <a:pt x="397" y="0"/>
                </a:cubicBezTo>
                <a:close/>
                <a:moveTo>
                  <a:pt x="778" y="2306"/>
                </a:moveTo>
                <a:lnTo>
                  <a:pt x="1812" y="1432"/>
                </a:lnTo>
                <a:lnTo>
                  <a:pt x="2385" y="2004"/>
                </a:lnTo>
                <a:cubicBezTo>
                  <a:pt x="2401" y="2020"/>
                  <a:pt x="2417" y="2020"/>
                  <a:pt x="2432" y="2020"/>
                </a:cubicBezTo>
                <a:cubicBezTo>
                  <a:pt x="2464" y="2020"/>
                  <a:pt x="2480" y="2020"/>
                  <a:pt x="2496" y="2004"/>
                </a:cubicBezTo>
                <a:lnTo>
                  <a:pt x="3435" y="1050"/>
                </a:lnTo>
                <a:cubicBezTo>
                  <a:pt x="3467" y="1018"/>
                  <a:pt x="3467" y="954"/>
                  <a:pt x="3435" y="938"/>
                </a:cubicBezTo>
                <a:cubicBezTo>
                  <a:pt x="3403" y="906"/>
                  <a:pt x="3355" y="906"/>
                  <a:pt x="3323" y="938"/>
                </a:cubicBezTo>
                <a:lnTo>
                  <a:pt x="2432" y="1829"/>
                </a:lnTo>
                <a:lnTo>
                  <a:pt x="1876" y="1272"/>
                </a:lnTo>
                <a:cubicBezTo>
                  <a:pt x="1844" y="1241"/>
                  <a:pt x="1796" y="1241"/>
                  <a:pt x="1765" y="1256"/>
                </a:cubicBezTo>
                <a:lnTo>
                  <a:pt x="683" y="2179"/>
                </a:lnTo>
                <a:cubicBezTo>
                  <a:pt x="651" y="2211"/>
                  <a:pt x="635" y="2259"/>
                  <a:pt x="667" y="2290"/>
                </a:cubicBezTo>
                <a:cubicBezTo>
                  <a:pt x="683" y="2322"/>
                  <a:pt x="715" y="2322"/>
                  <a:pt x="731" y="2322"/>
                </a:cubicBezTo>
                <a:cubicBezTo>
                  <a:pt x="747" y="2322"/>
                  <a:pt x="762" y="2322"/>
                  <a:pt x="778" y="230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54" name="Freeform: Shape 16">
            <a:extLst>
              <a:ext uri="{FF2B5EF4-FFF2-40B4-BE49-F238E27FC236}">
                <a16:creationId xmlns:a16="http://schemas.microsoft.com/office/drawing/2014/main" id="{EFFE7A4F-EF42-3047-B073-DB3F7B392513}"/>
              </a:ext>
            </a:extLst>
          </p:cNvPr>
          <p:cNvSpPr/>
          <p:nvPr/>
        </p:nvSpPr>
        <p:spPr>
          <a:xfrm>
            <a:off x="14236059" y="9976386"/>
            <a:ext cx="1402559" cy="1402559"/>
          </a:xfrm>
          <a:custGeom>
            <a:avLst/>
            <a:gdLst/>
            <a:ahLst/>
            <a:cxnLst>
              <a:cxn ang="3cd4">
                <a:pos x="hc" y="t"/>
              </a:cxn>
              <a:cxn ang="cd2">
                <a:pos x="l" y="vc"/>
              </a:cxn>
              <a:cxn ang="cd4">
                <a:pos x="hc" y="b"/>
              </a:cxn>
              <a:cxn ang="0">
                <a:pos x="r" y="vc"/>
              </a:cxn>
            </a:cxnLst>
            <a:rect l="l" t="t" r="r" b="b"/>
            <a:pathLst>
              <a:path w="3897" h="3897">
                <a:moveTo>
                  <a:pt x="382" y="0"/>
                </a:moveTo>
                <a:cubicBezTo>
                  <a:pt x="349" y="0"/>
                  <a:pt x="302" y="32"/>
                  <a:pt x="302" y="79"/>
                </a:cubicBezTo>
                <a:lnTo>
                  <a:pt x="302" y="3547"/>
                </a:lnTo>
                <a:lnTo>
                  <a:pt x="79" y="3547"/>
                </a:lnTo>
                <a:cubicBezTo>
                  <a:pt x="31" y="3547"/>
                  <a:pt x="0" y="3579"/>
                  <a:pt x="0" y="3627"/>
                </a:cubicBezTo>
                <a:cubicBezTo>
                  <a:pt x="0" y="3674"/>
                  <a:pt x="31" y="3706"/>
                  <a:pt x="79" y="3706"/>
                </a:cubicBezTo>
                <a:lnTo>
                  <a:pt x="302" y="3706"/>
                </a:lnTo>
                <a:lnTo>
                  <a:pt x="302" y="3817"/>
                </a:lnTo>
                <a:cubicBezTo>
                  <a:pt x="302" y="3865"/>
                  <a:pt x="349" y="3897"/>
                  <a:pt x="382" y="3897"/>
                </a:cubicBezTo>
                <a:cubicBezTo>
                  <a:pt x="429" y="3897"/>
                  <a:pt x="461" y="3865"/>
                  <a:pt x="461" y="3817"/>
                </a:cubicBezTo>
                <a:lnTo>
                  <a:pt x="461" y="3706"/>
                </a:lnTo>
                <a:lnTo>
                  <a:pt x="3817" y="3706"/>
                </a:lnTo>
                <a:cubicBezTo>
                  <a:pt x="3865" y="3706"/>
                  <a:pt x="3897" y="3674"/>
                  <a:pt x="3897" y="3627"/>
                </a:cubicBezTo>
                <a:cubicBezTo>
                  <a:pt x="3897" y="3579"/>
                  <a:pt x="3865" y="3547"/>
                  <a:pt x="3817" y="3547"/>
                </a:cubicBezTo>
                <a:lnTo>
                  <a:pt x="461" y="3547"/>
                </a:lnTo>
                <a:lnTo>
                  <a:pt x="461" y="79"/>
                </a:lnTo>
                <a:cubicBezTo>
                  <a:pt x="461" y="32"/>
                  <a:pt x="429" y="0"/>
                  <a:pt x="382" y="0"/>
                </a:cubicBezTo>
                <a:close/>
                <a:moveTo>
                  <a:pt x="1097" y="3245"/>
                </a:moveTo>
                <a:lnTo>
                  <a:pt x="1097" y="2402"/>
                </a:lnTo>
                <a:cubicBezTo>
                  <a:pt x="1097" y="2354"/>
                  <a:pt x="1049" y="2322"/>
                  <a:pt x="1018" y="2322"/>
                </a:cubicBezTo>
                <a:cubicBezTo>
                  <a:pt x="970" y="2322"/>
                  <a:pt x="938" y="2354"/>
                  <a:pt x="938" y="2402"/>
                </a:cubicBezTo>
                <a:lnTo>
                  <a:pt x="938" y="3245"/>
                </a:lnTo>
                <a:cubicBezTo>
                  <a:pt x="938" y="3276"/>
                  <a:pt x="970" y="3324"/>
                  <a:pt x="1018" y="3324"/>
                </a:cubicBezTo>
                <a:cubicBezTo>
                  <a:pt x="1049" y="3324"/>
                  <a:pt x="1097" y="3276"/>
                  <a:pt x="1097" y="3245"/>
                </a:cubicBezTo>
                <a:close/>
                <a:moveTo>
                  <a:pt x="1638" y="3245"/>
                </a:moveTo>
                <a:lnTo>
                  <a:pt x="1638" y="1273"/>
                </a:lnTo>
                <a:cubicBezTo>
                  <a:pt x="1638" y="1225"/>
                  <a:pt x="1590" y="1193"/>
                  <a:pt x="1558" y="1193"/>
                </a:cubicBezTo>
                <a:cubicBezTo>
                  <a:pt x="1511" y="1193"/>
                  <a:pt x="1479" y="1225"/>
                  <a:pt x="1479" y="1273"/>
                </a:cubicBezTo>
                <a:lnTo>
                  <a:pt x="1479" y="3245"/>
                </a:lnTo>
                <a:cubicBezTo>
                  <a:pt x="1479" y="3276"/>
                  <a:pt x="1511" y="3324"/>
                  <a:pt x="1558" y="3324"/>
                </a:cubicBezTo>
                <a:cubicBezTo>
                  <a:pt x="1590" y="3324"/>
                  <a:pt x="1638" y="3276"/>
                  <a:pt x="1638" y="3245"/>
                </a:cubicBezTo>
                <a:close/>
                <a:moveTo>
                  <a:pt x="2179" y="3245"/>
                </a:moveTo>
                <a:lnTo>
                  <a:pt x="2179" y="1495"/>
                </a:lnTo>
                <a:cubicBezTo>
                  <a:pt x="2179" y="1463"/>
                  <a:pt x="2147" y="1416"/>
                  <a:pt x="2099" y="1416"/>
                </a:cubicBezTo>
                <a:cubicBezTo>
                  <a:pt x="2052" y="1416"/>
                  <a:pt x="2020" y="1463"/>
                  <a:pt x="2020" y="1495"/>
                </a:cubicBezTo>
                <a:lnTo>
                  <a:pt x="2020" y="3245"/>
                </a:lnTo>
                <a:cubicBezTo>
                  <a:pt x="2020" y="3276"/>
                  <a:pt x="2052" y="3324"/>
                  <a:pt x="2099" y="3324"/>
                </a:cubicBezTo>
                <a:cubicBezTo>
                  <a:pt x="2147" y="3324"/>
                  <a:pt x="2179" y="3276"/>
                  <a:pt x="2179" y="3245"/>
                </a:cubicBezTo>
                <a:close/>
                <a:moveTo>
                  <a:pt x="2720" y="3245"/>
                </a:moveTo>
                <a:lnTo>
                  <a:pt x="2720" y="207"/>
                </a:lnTo>
                <a:cubicBezTo>
                  <a:pt x="2720" y="159"/>
                  <a:pt x="2688" y="127"/>
                  <a:pt x="2640" y="127"/>
                </a:cubicBezTo>
                <a:cubicBezTo>
                  <a:pt x="2593" y="127"/>
                  <a:pt x="2561" y="159"/>
                  <a:pt x="2561" y="207"/>
                </a:cubicBezTo>
                <a:lnTo>
                  <a:pt x="2561" y="3245"/>
                </a:lnTo>
                <a:cubicBezTo>
                  <a:pt x="2561" y="3276"/>
                  <a:pt x="2593" y="3324"/>
                  <a:pt x="2640" y="3324"/>
                </a:cubicBezTo>
                <a:cubicBezTo>
                  <a:pt x="2688" y="3324"/>
                  <a:pt x="2720" y="3276"/>
                  <a:pt x="2720" y="3245"/>
                </a:cubicBezTo>
                <a:close/>
                <a:moveTo>
                  <a:pt x="3260" y="3245"/>
                </a:moveTo>
                <a:lnTo>
                  <a:pt x="3260" y="1495"/>
                </a:lnTo>
                <a:cubicBezTo>
                  <a:pt x="3260" y="1463"/>
                  <a:pt x="3229" y="1416"/>
                  <a:pt x="3181" y="1416"/>
                </a:cubicBezTo>
                <a:cubicBezTo>
                  <a:pt x="3133" y="1416"/>
                  <a:pt x="3102" y="1463"/>
                  <a:pt x="3102" y="1495"/>
                </a:cubicBezTo>
                <a:lnTo>
                  <a:pt x="3102" y="3245"/>
                </a:lnTo>
                <a:cubicBezTo>
                  <a:pt x="3102" y="3276"/>
                  <a:pt x="3133" y="3324"/>
                  <a:pt x="3181" y="3324"/>
                </a:cubicBezTo>
                <a:cubicBezTo>
                  <a:pt x="3229" y="3324"/>
                  <a:pt x="3260" y="3276"/>
                  <a:pt x="3260" y="324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55" name="Freeform: Shape 17">
            <a:extLst>
              <a:ext uri="{FF2B5EF4-FFF2-40B4-BE49-F238E27FC236}">
                <a16:creationId xmlns:a16="http://schemas.microsoft.com/office/drawing/2014/main" id="{9EFBA5B9-EED0-7544-8F9C-88C408E08D23}"/>
              </a:ext>
            </a:extLst>
          </p:cNvPr>
          <p:cNvSpPr/>
          <p:nvPr/>
        </p:nvSpPr>
        <p:spPr>
          <a:xfrm>
            <a:off x="1923512" y="9861906"/>
            <a:ext cx="1442519" cy="1419840"/>
          </a:xfrm>
          <a:custGeom>
            <a:avLst/>
            <a:gdLst/>
            <a:ahLst/>
            <a:cxnLst>
              <a:cxn ang="3cd4">
                <a:pos x="hc" y="t"/>
              </a:cxn>
              <a:cxn ang="cd2">
                <a:pos x="l" y="vc"/>
              </a:cxn>
              <a:cxn ang="cd4">
                <a:pos x="hc" y="b"/>
              </a:cxn>
              <a:cxn ang="0">
                <a:pos x="r" y="vc"/>
              </a:cxn>
            </a:cxnLst>
            <a:rect l="l" t="t" r="r" b="b"/>
            <a:pathLst>
              <a:path w="4008" h="3945">
                <a:moveTo>
                  <a:pt x="0" y="3865"/>
                </a:moveTo>
                <a:cubicBezTo>
                  <a:pt x="0" y="3913"/>
                  <a:pt x="48" y="3945"/>
                  <a:pt x="79" y="3945"/>
                </a:cubicBezTo>
                <a:lnTo>
                  <a:pt x="3929" y="3945"/>
                </a:lnTo>
                <a:cubicBezTo>
                  <a:pt x="3976" y="3945"/>
                  <a:pt x="4008" y="3913"/>
                  <a:pt x="4008" y="3865"/>
                </a:cubicBezTo>
                <a:cubicBezTo>
                  <a:pt x="4008" y="3817"/>
                  <a:pt x="3976" y="3785"/>
                  <a:pt x="3929" y="3785"/>
                </a:cubicBezTo>
                <a:lnTo>
                  <a:pt x="79" y="3785"/>
                </a:lnTo>
                <a:cubicBezTo>
                  <a:pt x="48" y="3785"/>
                  <a:pt x="0" y="3817"/>
                  <a:pt x="0" y="3865"/>
                </a:cubicBezTo>
                <a:close/>
                <a:moveTo>
                  <a:pt x="63" y="716"/>
                </a:moveTo>
                <a:cubicBezTo>
                  <a:pt x="63" y="763"/>
                  <a:pt x="111" y="795"/>
                  <a:pt x="143" y="795"/>
                </a:cubicBezTo>
                <a:cubicBezTo>
                  <a:pt x="191" y="795"/>
                  <a:pt x="222" y="763"/>
                  <a:pt x="222" y="716"/>
                </a:cubicBezTo>
                <a:lnTo>
                  <a:pt x="222" y="557"/>
                </a:lnTo>
                <a:cubicBezTo>
                  <a:pt x="222" y="509"/>
                  <a:pt x="191" y="477"/>
                  <a:pt x="143" y="477"/>
                </a:cubicBezTo>
                <a:cubicBezTo>
                  <a:pt x="111" y="477"/>
                  <a:pt x="63" y="509"/>
                  <a:pt x="63" y="557"/>
                </a:cubicBezTo>
                <a:close/>
                <a:moveTo>
                  <a:pt x="63" y="2147"/>
                </a:moveTo>
                <a:cubicBezTo>
                  <a:pt x="63" y="2195"/>
                  <a:pt x="111" y="2227"/>
                  <a:pt x="143" y="2227"/>
                </a:cubicBezTo>
                <a:cubicBezTo>
                  <a:pt x="191" y="2227"/>
                  <a:pt x="222" y="2195"/>
                  <a:pt x="222" y="2147"/>
                </a:cubicBezTo>
                <a:lnTo>
                  <a:pt x="222" y="1988"/>
                </a:lnTo>
                <a:cubicBezTo>
                  <a:pt x="222" y="1940"/>
                  <a:pt x="191" y="1909"/>
                  <a:pt x="143" y="1909"/>
                </a:cubicBezTo>
                <a:cubicBezTo>
                  <a:pt x="111" y="1909"/>
                  <a:pt x="63" y="1940"/>
                  <a:pt x="63" y="1988"/>
                </a:cubicBezTo>
                <a:close/>
                <a:moveTo>
                  <a:pt x="63" y="3102"/>
                </a:moveTo>
                <a:cubicBezTo>
                  <a:pt x="63" y="3149"/>
                  <a:pt x="111" y="3181"/>
                  <a:pt x="143" y="3181"/>
                </a:cubicBezTo>
                <a:cubicBezTo>
                  <a:pt x="191" y="3181"/>
                  <a:pt x="222" y="3149"/>
                  <a:pt x="222" y="3102"/>
                </a:cubicBezTo>
                <a:lnTo>
                  <a:pt x="222" y="2942"/>
                </a:lnTo>
                <a:cubicBezTo>
                  <a:pt x="222" y="2895"/>
                  <a:pt x="191" y="2863"/>
                  <a:pt x="143" y="2863"/>
                </a:cubicBezTo>
                <a:cubicBezTo>
                  <a:pt x="111" y="2863"/>
                  <a:pt x="63" y="2895"/>
                  <a:pt x="63" y="2942"/>
                </a:cubicBezTo>
                <a:close/>
                <a:moveTo>
                  <a:pt x="63" y="2624"/>
                </a:moveTo>
                <a:cubicBezTo>
                  <a:pt x="63" y="2672"/>
                  <a:pt x="111" y="2704"/>
                  <a:pt x="143" y="2704"/>
                </a:cubicBezTo>
                <a:cubicBezTo>
                  <a:pt x="191" y="2704"/>
                  <a:pt x="222" y="2672"/>
                  <a:pt x="222" y="2624"/>
                </a:cubicBezTo>
                <a:lnTo>
                  <a:pt x="222" y="2465"/>
                </a:lnTo>
                <a:cubicBezTo>
                  <a:pt x="222" y="2418"/>
                  <a:pt x="191" y="2386"/>
                  <a:pt x="143" y="2386"/>
                </a:cubicBezTo>
                <a:cubicBezTo>
                  <a:pt x="111" y="2386"/>
                  <a:pt x="63" y="2418"/>
                  <a:pt x="63" y="2465"/>
                </a:cubicBezTo>
                <a:close/>
                <a:moveTo>
                  <a:pt x="63" y="1193"/>
                </a:moveTo>
                <a:cubicBezTo>
                  <a:pt x="63" y="1240"/>
                  <a:pt x="111" y="1272"/>
                  <a:pt x="143" y="1272"/>
                </a:cubicBezTo>
                <a:cubicBezTo>
                  <a:pt x="191" y="1272"/>
                  <a:pt x="222" y="1240"/>
                  <a:pt x="222" y="1193"/>
                </a:cubicBezTo>
                <a:lnTo>
                  <a:pt x="222" y="1034"/>
                </a:lnTo>
                <a:cubicBezTo>
                  <a:pt x="222" y="986"/>
                  <a:pt x="191" y="954"/>
                  <a:pt x="143" y="954"/>
                </a:cubicBezTo>
                <a:cubicBezTo>
                  <a:pt x="111" y="954"/>
                  <a:pt x="63" y="986"/>
                  <a:pt x="63" y="1034"/>
                </a:cubicBezTo>
                <a:close/>
                <a:moveTo>
                  <a:pt x="143" y="318"/>
                </a:moveTo>
                <a:cubicBezTo>
                  <a:pt x="191" y="318"/>
                  <a:pt x="222" y="286"/>
                  <a:pt x="222" y="239"/>
                </a:cubicBezTo>
                <a:lnTo>
                  <a:pt x="222" y="79"/>
                </a:lnTo>
                <a:cubicBezTo>
                  <a:pt x="222" y="32"/>
                  <a:pt x="191" y="0"/>
                  <a:pt x="143" y="0"/>
                </a:cubicBezTo>
                <a:cubicBezTo>
                  <a:pt x="111" y="0"/>
                  <a:pt x="63" y="32"/>
                  <a:pt x="63" y="79"/>
                </a:cubicBezTo>
                <a:lnTo>
                  <a:pt x="63" y="239"/>
                </a:lnTo>
                <a:cubicBezTo>
                  <a:pt x="63" y="286"/>
                  <a:pt x="111" y="318"/>
                  <a:pt x="143" y="318"/>
                </a:cubicBezTo>
                <a:close/>
                <a:moveTo>
                  <a:pt x="63" y="1670"/>
                </a:moveTo>
                <a:cubicBezTo>
                  <a:pt x="63" y="1718"/>
                  <a:pt x="111" y="1749"/>
                  <a:pt x="143" y="1749"/>
                </a:cubicBezTo>
                <a:cubicBezTo>
                  <a:pt x="191" y="1749"/>
                  <a:pt x="222" y="1718"/>
                  <a:pt x="222" y="1670"/>
                </a:cubicBezTo>
                <a:lnTo>
                  <a:pt x="222" y="1511"/>
                </a:lnTo>
                <a:cubicBezTo>
                  <a:pt x="222" y="1463"/>
                  <a:pt x="191" y="1431"/>
                  <a:pt x="143" y="1431"/>
                </a:cubicBezTo>
                <a:cubicBezTo>
                  <a:pt x="111" y="1431"/>
                  <a:pt x="63" y="1463"/>
                  <a:pt x="63" y="1511"/>
                </a:cubicBezTo>
                <a:close/>
                <a:moveTo>
                  <a:pt x="63" y="3579"/>
                </a:moveTo>
                <a:cubicBezTo>
                  <a:pt x="63" y="3626"/>
                  <a:pt x="111" y="3658"/>
                  <a:pt x="143" y="3658"/>
                </a:cubicBezTo>
                <a:cubicBezTo>
                  <a:pt x="191" y="3658"/>
                  <a:pt x="222" y="3626"/>
                  <a:pt x="222" y="3579"/>
                </a:cubicBezTo>
                <a:lnTo>
                  <a:pt x="222" y="3420"/>
                </a:lnTo>
                <a:cubicBezTo>
                  <a:pt x="222" y="3372"/>
                  <a:pt x="191" y="3340"/>
                  <a:pt x="143" y="3340"/>
                </a:cubicBezTo>
                <a:cubicBezTo>
                  <a:pt x="111" y="3340"/>
                  <a:pt x="63" y="3372"/>
                  <a:pt x="63" y="3420"/>
                </a:cubicBezTo>
                <a:close/>
                <a:moveTo>
                  <a:pt x="1002" y="3467"/>
                </a:moveTo>
                <a:lnTo>
                  <a:pt x="1002" y="2656"/>
                </a:lnTo>
                <a:cubicBezTo>
                  <a:pt x="1002" y="2624"/>
                  <a:pt x="970" y="2576"/>
                  <a:pt x="922" y="2576"/>
                </a:cubicBezTo>
                <a:cubicBezTo>
                  <a:pt x="875" y="2576"/>
                  <a:pt x="843" y="2624"/>
                  <a:pt x="843" y="2656"/>
                </a:cubicBezTo>
                <a:lnTo>
                  <a:pt x="843" y="3467"/>
                </a:lnTo>
                <a:cubicBezTo>
                  <a:pt x="843" y="3499"/>
                  <a:pt x="875" y="3547"/>
                  <a:pt x="922" y="3547"/>
                </a:cubicBezTo>
                <a:cubicBezTo>
                  <a:pt x="970" y="3547"/>
                  <a:pt x="1002" y="3499"/>
                  <a:pt x="1002" y="3467"/>
                </a:cubicBezTo>
                <a:close/>
                <a:moveTo>
                  <a:pt x="1765" y="3467"/>
                </a:moveTo>
                <a:lnTo>
                  <a:pt x="1765" y="1304"/>
                </a:lnTo>
                <a:cubicBezTo>
                  <a:pt x="1765" y="1257"/>
                  <a:pt x="1733" y="1225"/>
                  <a:pt x="1685" y="1225"/>
                </a:cubicBezTo>
                <a:cubicBezTo>
                  <a:pt x="1638" y="1225"/>
                  <a:pt x="1606" y="1257"/>
                  <a:pt x="1606" y="1304"/>
                </a:cubicBezTo>
                <a:lnTo>
                  <a:pt x="1606" y="3467"/>
                </a:lnTo>
                <a:cubicBezTo>
                  <a:pt x="1606" y="3499"/>
                  <a:pt x="1638" y="3547"/>
                  <a:pt x="1685" y="3547"/>
                </a:cubicBezTo>
                <a:cubicBezTo>
                  <a:pt x="1733" y="3547"/>
                  <a:pt x="1765" y="3499"/>
                  <a:pt x="1765" y="3467"/>
                </a:cubicBezTo>
                <a:close/>
                <a:moveTo>
                  <a:pt x="2529" y="3467"/>
                </a:moveTo>
                <a:lnTo>
                  <a:pt x="2529" y="2195"/>
                </a:lnTo>
                <a:cubicBezTo>
                  <a:pt x="2529" y="2147"/>
                  <a:pt x="2497" y="2115"/>
                  <a:pt x="2449" y="2115"/>
                </a:cubicBezTo>
                <a:cubicBezTo>
                  <a:pt x="2417" y="2115"/>
                  <a:pt x="2370" y="2147"/>
                  <a:pt x="2370" y="2195"/>
                </a:cubicBezTo>
                <a:lnTo>
                  <a:pt x="2370" y="3467"/>
                </a:lnTo>
                <a:cubicBezTo>
                  <a:pt x="2370" y="3499"/>
                  <a:pt x="2417" y="3547"/>
                  <a:pt x="2449" y="3547"/>
                </a:cubicBezTo>
                <a:cubicBezTo>
                  <a:pt x="2497" y="3547"/>
                  <a:pt x="2529" y="3499"/>
                  <a:pt x="2529" y="3467"/>
                </a:cubicBezTo>
                <a:close/>
                <a:moveTo>
                  <a:pt x="3308" y="3467"/>
                </a:moveTo>
                <a:lnTo>
                  <a:pt x="3308" y="3102"/>
                </a:lnTo>
                <a:cubicBezTo>
                  <a:pt x="3308" y="3054"/>
                  <a:pt x="3276" y="3022"/>
                  <a:pt x="3229" y="3022"/>
                </a:cubicBezTo>
                <a:cubicBezTo>
                  <a:pt x="3181" y="3022"/>
                  <a:pt x="3149" y="3054"/>
                  <a:pt x="3149" y="3102"/>
                </a:cubicBezTo>
                <a:lnTo>
                  <a:pt x="3149" y="3467"/>
                </a:lnTo>
                <a:cubicBezTo>
                  <a:pt x="3149" y="3499"/>
                  <a:pt x="3181" y="3547"/>
                  <a:pt x="3229" y="3547"/>
                </a:cubicBezTo>
                <a:cubicBezTo>
                  <a:pt x="3276" y="3547"/>
                  <a:pt x="3308" y="3499"/>
                  <a:pt x="3308" y="346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56" name="Freeform: Shape 18">
            <a:extLst>
              <a:ext uri="{FF2B5EF4-FFF2-40B4-BE49-F238E27FC236}">
                <a16:creationId xmlns:a16="http://schemas.microsoft.com/office/drawing/2014/main" id="{D470A3D6-D505-1245-BF6E-DCE2224A9FA8}"/>
              </a:ext>
            </a:extLst>
          </p:cNvPr>
          <p:cNvSpPr/>
          <p:nvPr/>
        </p:nvSpPr>
        <p:spPr>
          <a:xfrm>
            <a:off x="9887072" y="2979350"/>
            <a:ext cx="1822680" cy="1823399"/>
          </a:xfrm>
          <a:custGeom>
            <a:avLst/>
            <a:gdLst/>
            <a:ahLst/>
            <a:cxnLst>
              <a:cxn ang="3cd4">
                <a:pos x="hc" y="t"/>
              </a:cxn>
              <a:cxn ang="cd2">
                <a:pos x="l" y="vc"/>
              </a:cxn>
              <a:cxn ang="cd4">
                <a:pos x="hc" y="b"/>
              </a:cxn>
              <a:cxn ang="0">
                <a:pos x="r" y="vc"/>
              </a:cxn>
            </a:cxnLst>
            <a:rect l="l" t="t" r="r" b="b"/>
            <a:pathLst>
              <a:path w="5064" h="5066">
                <a:moveTo>
                  <a:pt x="4755" y="2188"/>
                </a:moveTo>
                <a:lnTo>
                  <a:pt x="4755" y="2172"/>
                </a:lnTo>
                <a:lnTo>
                  <a:pt x="4740" y="2172"/>
                </a:lnTo>
                <a:cubicBezTo>
                  <a:pt x="4740" y="2156"/>
                  <a:pt x="4740" y="2156"/>
                  <a:pt x="4740" y="2156"/>
                </a:cubicBezTo>
                <a:cubicBezTo>
                  <a:pt x="4724" y="2156"/>
                  <a:pt x="4724" y="2140"/>
                  <a:pt x="4724" y="2140"/>
                </a:cubicBezTo>
                <a:cubicBezTo>
                  <a:pt x="1686" y="24"/>
                  <a:pt x="1686" y="24"/>
                  <a:pt x="1686" y="24"/>
                </a:cubicBezTo>
                <a:cubicBezTo>
                  <a:pt x="1654" y="-8"/>
                  <a:pt x="1622" y="-8"/>
                  <a:pt x="1590" y="24"/>
                </a:cubicBezTo>
                <a:cubicBezTo>
                  <a:pt x="270" y="1154"/>
                  <a:pt x="270" y="1154"/>
                  <a:pt x="270" y="1154"/>
                </a:cubicBezTo>
                <a:cubicBezTo>
                  <a:pt x="270" y="1154"/>
                  <a:pt x="270" y="1170"/>
                  <a:pt x="254" y="1170"/>
                </a:cubicBezTo>
                <a:lnTo>
                  <a:pt x="254" y="1185"/>
                </a:lnTo>
                <a:lnTo>
                  <a:pt x="254" y="1201"/>
                </a:lnTo>
                <a:cubicBezTo>
                  <a:pt x="0" y="2108"/>
                  <a:pt x="0" y="2108"/>
                  <a:pt x="0" y="2108"/>
                </a:cubicBezTo>
                <a:cubicBezTo>
                  <a:pt x="0" y="2140"/>
                  <a:pt x="16" y="2172"/>
                  <a:pt x="31" y="2188"/>
                </a:cubicBezTo>
                <a:cubicBezTo>
                  <a:pt x="3324" y="5051"/>
                  <a:pt x="3324" y="5051"/>
                  <a:pt x="3324" y="5051"/>
                </a:cubicBezTo>
                <a:cubicBezTo>
                  <a:pt x="3340" y="5051"/>
                  <a:pt x="3356" y="5066"/>
                  <a:pt x="3372" y="5066"/>
                </a:cubicBezTo>
                <a:cubicBezTo>
                  <a:pt x="3403" y="5066"/>
                  <a:pt x="3419" y="5051"/>
                  <a:pt x="3436" y="5035"/>
                </a:cubicBezTo>
                <a:cubicBezTo>
                  <a:pt x="5042" y="3301"/>
                  <a:pt x="5042" y="3301"/>
                  <a:pt x="5042" y="3301"/>
                </a:cubicBezTo>
                <a:cubicBezTo>
                  <a:pt x="5058" y="3285"/>
                  <a:pt x="5073" y="3253"/>
                  <a:pt x="5058" y="3221"/>
                </a:cubicBezTo>
                <a:close/>
                <a:moveTo>
                  <a:pt x="1638" y="183"/>
                </a:moveTo>
                <a:cubicBezTo>
                  <a:pt x="4549" y="2219"/>
                  <a:pt x="4549" y="2219"/>
                  <a:pt x="4549" y="2219"/>
                </a:cubicBezTo>
                <a:cubicBezTo>
                  <a:pt x="3292" y="3444"/>
                  <a:pt x="3292" y="3444"/>
                  <a:pt x="3292" y="3444"/>
                </a:cubicBezTo>
                <a:cubicBezTo>
                  <a:pt x="445" y="1218"/>
                  <a:pt x="445" y="1218"/>
                  <a:pt x="445" y="1218"/>
                </a:cubicBezTo>
                <a:close/>
                <a:moveTo>
                  <a:pt x="365" y="1361"/>
                </a:moveTo>
                <a:cubicBezTo>
                  <a:pt x="3213" y="3587"/>
                  <a:pt x="3213" y="3587"/>
                  <a:pt x="3213" y="3587"/>
                </a:cubicBezTo>
                <a:cubicBezTo>
                  <a:pt x="3292" y="4796"/>
                  <a:pt x="3292" y="4796"/>
                  <a:pt x="3292" y="4796"/>
                </a:cubicBezTo>
                <a:cubicBezTo>
                  <a:pt x="174" y="2108"/>
                  <a:pt x="174" y="2108"/>
                  <a:pt x="174" y="2108"/>
                </a:cubicBezTo>
                <a:close/>
                <a:moveTo>
                  <a:pt x="3451" y="4796"/>
                </a:moveTo>
                <a:cubicBezTo>
                  <a:pt x="3372" y="3587"/>
                  <a:pt x="3372" y="3587"/>
                  <a:pt x="3372" y="3587"/>
                </a:cubicBezTo>
                <a:cubicBezTo>
                  <a:pt x="4644" y="2363"/>
                  <a:pt x="4644" y="2363"/>
                  <a:pt x="4644" y="2363"/>
                </a:cubicBezTo>
                <a:cubicBezTo>
                  <a:pt x="4899" y="3221"/>
                  <a:pt x="4899" y="3221"/>
                  <a:pt x="4899" y="322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57" name="TextBox 156">
            <a:extLst>
              <a:ext uri="{FF2B5EF4-FFF2-40B4-BE49-F238E27FC236}">
                <a16:creationId xmlns:a16="http://schemas.microsoft.com/office/drawing/2014/main" id="{C8DA4732-3CE4-6046-8B2A-21CFDC67846F}"/>
              </a:ext>
            </a:extLst>
          </p:cNvPr>
          <p:cNvSpPr txBox="1"/>
          <p:nvPr/>
        </p:nvSpPr>
        <p:spPr>
          <a:xfrm>
            <a:off x="20066858"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oin</a:t>
            </a:r>
          </a:p>
        </p:txBody>
      </p:sp>
      <p:sp>
        <p:nvSpPr>
          <p:cNvPr id="158" name="Freeform: Shape 6">
            <a:extLst>
              <a:ext uri="{FF2B5EF4-FFF2-40B4-BE49-F238E27FC236}">
                <a16:creationId xmlns:a16="http://schemas.microsoft.com/office/drawing/2014/main" id="{06FD8326-B9DF-0847-92A3-7F042E20A0AA}"/>
              </a:ext>
            </a:extLst>
          </p:cNvPr>
          <p:cNvSpPr/>
          <p:nvPr/>
        </p:nvSpPr>
        <p:spPr>
          <a:xfrm>
            <a:off x="21110149" y="6263929"/>
            <a:ext cx="1717200" cy="1717560"/>
          </a:xfrm>
          <a:custGeom>
            <a:avLst/>
            <a:gdLst/>
            <a:ahLst/>
            <a:cxnLst>
              <a:cxn ang="3cd4">
                <a:pos x="hc" y="t"/>
              </a:cxn>
              <a:cxn ang="cd2">
                <a:pos x="l" y="vc"/>
              </a:cxn>
              <a:cxn ang="cd4">
                <a:pos x="hc" y="b"/>
              </a:cxn>
              <a:cxn ang="0">
                <a:pos x="r" y="vc"/>
              </a:cxn>
            </a:cxnLst>
            <a:rect l="l" t="t" r="r" b="b"/>
            <a:pathLst>
              <a:path w="4771" h="4772">
                <a:moveTo>
                  <a:pt x="2385" y="4772"/>
                </a:moveTo>
                <a:cubicBezTo>
                  <a:pt x="3690" y="4772"/>
                  <a:pt x="4771" y="3706"/>
                  <a:pt x="4771" y="2386"/>
                </a:cubicBezTo>
                <a:cubicBezTo>
                  <a:pt x="4771" y="1066"/>
                  <a:pt x="3690" y="0"/>
                  <a:pt x="2385" y="0"/>
                </a:cubicBezTo>
                <a:cubicBezTo>
                  <a:pt x="1065" y="0"/>
                  <a:pt x="0" y="1066"/>
                  <a:pt x="0" y="2386"/>
                </a:cubicBezTo>
                <a:cubicBezTo>
                  <a:pt x="0" y="3706"/>
                  <a:pt x="1065" y="4772"/>
                  <a:pt x="2385" y="4772"/>
                </a:cubicBezTo>
                <a:close/>
                <a:moveTo>
                  <a:pt x="2385" y="159"/>
                </a:moveTo>
                <a:cubicBezTo>
                  <a:pt x="3610" y="159"/>
                  <a:pt x="4612" y="1161"/>
                  <a:pt x="4612" y="2386"/>
                </a:cubicBezTo>
                <a:cubicBezTo>
                  <a:pt x="4612" y="3611"/>
                  <a:pt x="3610" y="4613"/>
                  <a:pt x="2385" y="4613"/>
                </a:cubicBezTo>
                <a:cubicBezTo>
                  <a:pt x="1161" y="4613"/>
                  <a:pt x="158" y="3611"/>
                  <a:pt x="158" y="2386"/>
                </a:cubicBezTo>
                <a:cubicBezTo>
                  <a:pt x="158" y="1161"/>
                  <a:pt x="1161" y="159"/>
                  <a:pt x="2385" y="159"/>
                </a:cubicBezTo>
                <a:close/>
                <a:moveTo>
                  <a:pt x="1622" y="3834"/>
                </a:moveTo>
                <a:lnTo>
                  <a:pt x="2019" y="3834"/>
                </a:lnTo>
                <a:lnTo>
                  <a:pt x="2019" y="4152"/>
                </a:lnTo>
                <a:cubicBezTo>
                  <a:pt x="2019" y="4199"/>
                  <a:pt x="2067" y="4231"/>
                  <a:pt x="2099" y="4231"/>
                </a:cubicBezTo>
                <a:cubicBezTo>
                  <a:pt x="2147" y="4231"/>
                  <a:pt x="2179" y="4199"/>
                  <a:pt x="2179" y="4152"/>
                </a:cubicBezTo>
                <a:lnTo>
                  <a:pt x="2179" y="3834"/>
                </a:lnTo>
                <a:lnTo>
                  <a:pt x="2337" y="3834"/>
                </a:lnTo>
                <a:lnTo>
                  <a:pt x="2337" y="4152"/>
                </a:lnTo>
                <a:cubicBezTo>
                  <a:pt x="2337" y="4199"/>
                  <a:pt x="2385" y="4231"/>
                  <a:pt x="2417" y="4231"/>
                </a:cubicBezTo>
                <a:cubicBezTo>
                  <a:pt x="2465" y="4231"/>
                  <a:pt x="2497" y="4199"/>
                  <a:pt x="2497" y="4152"/>
                </a:cubicBezTo>
                <a:lnTo>
                  <a:pt x="2497" y="3834"/>
                </a:lnTo>
                <a:lnTo>
                  <a:pt x="2735" y="3834"/>
                </a:lnTo>
                <a:cubicBezTo>
                  <a:pt x="3197" y="3834"/>
                  <a:pt x="3546" y="3483"/>
                  <a:pt x="3546" y="3038"/>
                </a:cubicBezTo>
                <a:cubicBezTo>
                  <a:pt x="3546" y="2688"/>
                  <a:pt x="3324" y="2402"/>
                  <a:pt x="3006" y="2290"/>
                </a:cubicBezTo>
                <a:cubicBezTo>
                  <a:pt x="3197" y="2147"/>
                  <a:pt x="3324" y="1909"/>
                  <a:pt x="3324" y="1686"/>
                </a:cubicBezTo>
                <a:cubicBezTo>
                  <a:pt x="3324" y="1352"/>
                  <a:pt x="3085" y="971"/>
                  <a:pt x="2735" y="971"/>
                </a:cubicBezTo>
                <a:lnTo>
                  <a:pt x="2497" y="971"/>
                </a:lnTo>
                <a:lnTo>
                  <a:pt x="2497" y="652"/>
                </a:lnTo>
                <a:cubicBezTo>
                  <a:pt x="2497" y="620"/>
                  <a:pt x="2465" y="573"/>
                  <a:pt x="2417" y="573"/>
                </a:cubicBezTo>
                <a:cubicBezTo>
                  <a:pt x="2385" y="573"/>
                  <a:pt x="2337" y="620"/>
                  <a:pt x="2337" y="652"/>
                </a:cubicBezTo>
                <a:lnTo>
                  <a:pt x="2337" y="971"/>
                </a:lnTo>
                <a:lnTo>
                  <a:pt x="2179" y="971"/>
                </a:lnTo>
                <a:lnTo>
                  <a:pt x="2179" y="652"/>
                </a:lnTo>
                <a:cubicBezTo>
                  <a:pt x="2179" y="620"/>
                  <a:pt x="2147" y="573"/>
                  <a:pt x="2099" y="573"/>
                </a:cubicBezTo>
                <a:cubicBezTo>
                  <a:pt x="2067" y="573"/>
                  <a:pt x="2019" y="620"/>
                  <a:pt x="2019" y="652"/>
                </a:cubicBezTo>
                <a:lnTo>
                  <a:pt x="2019" y="971"/>
                </a:lnTo>
                <a:lnTo>
                  <a:pt x="1622" y="971"/>
                </a:lnTo>
                <a:cubicBezTo>
                  <a:pt x="1590" y="971"/>
                  <a:pt x="1542" y="1002"/>
                  <a:pt x="1542" y="1050"/>
                </a:cubicBezTo>
                <a:lnTo>
                  <a:pt x="1542" y="3754"/>
                </a:lnTo>
                <a:cubicBezTo>
                  <a:pt x="1542" y="3802"/>
                  <a:pt x="1590" y="3834"/>
                  <a:pt x="1622" y="3834"/>
                </a:cubicBezTo>
                <a:close/>
                <a:moveTo>
                  <a:pt x="1701" y="1129"/>
                </a:moveTo>
                <a:lnTo>
                  <a:pt x="2735" y="1129"/>
                </a:lnTo>
                <a:cubicBezTo>
                  <a:pt x="2974" y="1129"/>
                  <a:pt x="3165" y="1432"/>
                  <a:pt x="3165" y="1686"/>
                </a:cubicBezTo>
                <a:cubicBezTo>
                  <a:pt x="3165" y="1941"/>
                  <a:pt x="2942" y="2243"/>
                  <a:pt x="2672" y="2243"/>
                </a:cubicBezTo>
                <a:lnTo>
                  <a:pt x="1701" y="2243"/>
                </a:lnTo>
                <a:close/>
                <a:moveTo>
                  <a:pt x="1701" y="2402"/>
                </a:moveTo>
                <a:lnTo>
                  <a:pt x="2735" y="2402"/>
                </a:lnTo>
                <a:cubicBezTo>
                  <a:pt x="3101" y="2402"/>
                  <a:pt x="3387" y="2688"/>
                  <a:pt x="3387" y="3038"/>
                </a:cubicBezTo>
                <a:cubicBezTo>
                  <a:pt x="3387" y="3388"/>
                  <a:pt x="3101" y="3674"/>
                  <a:pt x="2735" y="3674"/>
                </a:cubicBezTo>
                <a:lnTo>
                  <a:pt x="1701" y="3674"/>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74094264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Finance / Security - 5</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70" name="TextBox 69">
            <a:extLst>
              <a:ext uri="{FF2B5EF4-FFF2-40B4-BE49-F238E27FC236}">
                <a16:creationId xmlns:a16="http://schemas.microsoft.com/office/drawing/2014/main" id="{DCB37BE7-FB09-F54F-9B42-8F0EE5856FA6}"/>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44" name="TextBox 43">
            <a:extLst>
              <a:ext uri="{FF2B5EF4-FFF2-40B4-BE49-F238E27FC236}">
                <a16:creationId xmlns:a16="http://schemas.microsoft.com/office/drawing/2014/main" id="{9C9DEEBA-EB02-0C4D-AD36-614CEB273D1F}"/>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eceipt 3</a:t>
            </a:r>
          </a:p>
        </p:txBody>
      </p:sp>
      <p:sp>
        <p:nvSpPr>
          <p:cNvPr id="45" name="TextBox 44">
            <a:extLst>
              <a:ext uri="{FF2B5EF4-FFF2-40B4-BE49-F238E27FC236}">
                <a16:creationId xmlns:a16="http://schemas.microsoft.com/office/drawing/2014/main" id="{539EE1CF-C86B-074E-AAF4-5DD9CC01EE8E}"/>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raph Chart 1</a:t>
            </a:r>
          </a:p>
        </p:txBody>
      </p:sp>
      <p:sp>
        <p:nvSpPr>
          <p:cNvPr id="46" name="TextBox 45">
            <a:extLst>
              <a:ext uri="{FF2B5EF4-FFF2-40B4-BE49-F238E27FC236}">
                <a16:creationId xmlns:a16="http://schemas.microsoft.com/office/drawing/2014/main" id="{AE02D5D2-E493-8049-93DF-3C21C9150C5A}"/>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raph Chart 2</a:t>
            </a:r>
          </a:p>
        </p:txBody>
      </p:sp>
      <p:sp>
        <p:nvSpPr>
          <p:cNvPr id="47" name="TextBox 46">
            <a:extLst>
              <a:ext uri="{FF2B5EF4-FFF2-40B4-BE49-F238E27FC236}">
                <a16:creationId xmlns:a16="http://schemas.microsoft.com/office/drawing/2014/main" id="{979E2A50-9EF2-BD4C-826E-3ABC23CB47A0}"/>
              </a:ext>
            </a:extLst>
          </p:cNvPr>
          <p:cNvSpPr txBox="1"/>
          <p:nvPr/>
        </p:nvSpPr>
        <p:spPr>
          <a:xfrm>
            <a:off x="12867894"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raph Chart 3</a:t>
            </a:r>
          </a:p>
        </p:txBody>
      </p:sp>
      <p:sp>
        <p:nvSpPr>
          <p:cNvPr id="48" name="TextBox 47">
            <a:extLst>
              <a:ext uri="{FF2B5EF4-FFF2-40B4-BE49-F238E27FC236}">
                <a16:creationId xmlns:a16="http://schemas.microsoft.com/office/drawing/2014/main" id="{3C51964B-E0DA-904C-BAD4-8CFAD700941F}"/>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oney Bag 2</a:t>
            </a:r>
          </a:p>
        </p:txBody>
      </p:sp>
      <p:sp>
        <p:nvSpPr>
          <p:cNvPr id="49" name="TextBox 48">
            <a:extLst>
              <a:ext uri="{FF2B5EF4-FFF2-40B4-BE49-F238E27FC236}">
                <a16:creationId xmlns:a16="http://schemas.microsoft.com/office/drawing/2014/main" id="{EBA726AF-E310-F844-A040-6D975C87FB39}"/>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ap</a:t>
            </a:r>
          </a:p>
        </p:txBody>
      </p:sp>
      <p:sp>
        <p:nvSpPr>
          <p:cNvPr id="50" name="TextBox 49">
            <a:extLst>
              <a:ext uri="{FF2B5EF4-FFF2-40B4-BE49-F238E27FC236}">
                <a16:creationId xmlns:a16="http://schemas.microsoft.com/office/drawing/2014/main" id="{DAA51863-4618-1C44-829A-D938C77DD4B0}"/>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and Coins</a:t>
            </a:r>
          </a:p>
        </p:txBody>
      </p:sp>
      <p:sp>
        <p:nvSpPr>
          <p:cNvPr id="51" name="TextBox 50">
            <a:extLst>
              <a:ext uri="{FF2B5EF4-FFF2-40B4-BE49-F238E27FC236}">
                <a16:creationId xmlns:a16="http://schemas.microsoft.com/office/drawing/2014/main" id="{45B1DA73-3CA7-604F-8FEA-3E801E36BBF7}"/>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rcode</a:t>
            </a:r>
          </a:p>
        </p:txBody>
      </p:sp>
      <p:sp>
        <p:nvSpPr>
          <p:cNvPr id="52" name="TextBox 51">
            <a:extLst>
              <a:ext uri="{FF2B5EF4-FFF2-40B4-BE49-F238E27FC236}">
                <a16:creationId xmlns:a16="http://schemas.microsoft.com/office/drawing/2014/main" id="{93B782F0-2B82-4D44-B9A7-7AE7ECD5117C}"/>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rt +</a:t>
            </a:r>
          </a:p>
        </p:txBody>
      </p:sp>
      <p:sp>
        <p:nvSpPr>
          <p:cNvPr id="53" name="TextBox 52">
            <a:extLst>
              <a:ext uri="{FF2B5EF4-FFF2-40B4-BE49-F238E27FC236}">
                <a16:creationId xmlns:a16="http://schemas.microsoft.com/office/drawing/2014/main" id="{BDCA5E28-9814-0242-9BD4-6936781FFDFA}"/>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rt Full</a:t>
            </a:r>
          </a:p>
        </p:txBody>
      </p:sp>
      <p:sp>
        <p:nvSpPr>
          <p:cNvPr id="54" name="TextBox 53">
            <a:extLst>
              <a:ext uri="{FF2B5EF4-FFF2-40B4-BE49-F238E27FC236}">
                <a16:creationId xmlns:a16="http://schemas.microsoft.com/office/drawing/2014/main" id="{E4104B0E-73CE-E84A-9E40-E7DB9C6B57AE}"/>
              </a:ext>
            </a:extLst>
          </p:cNvPr>
          <p:cNvSpPr txBox="1"/>
          <p:nvPr/>
        </p:nvSpPr>
        <p:spPr>
          <a:xfrm>
            <a:off x="-47946" y="11657695"/>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rt Check</a:t>
            </a:r>
          </a:p>
        </p:txBody>
      </p:sp>
      <p:sp>
        <p:nvSpPr>
          <p:cNvPr id="55" name="TextBox 54">
            <a:extLst>
              <a:ext uri="{FF2B5EF4-FFF2-40B4-BE49-F238E27FC236}">
                <a16:creationId xmlns:a16="http://schemas.microsoft.com/office/drawing/2014/main" id="{BDCCC802-4044-6E40-9A17-2ABB83729EAB}"/>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rt 3</a:t>
            </a:r>
          </a:p>
        </p:txBody>
      </p:sp>
      <p:sp>
        <p:nvSpPr>
          <p:cNvPr id="56" name="TextBox 55">
            <a:extLst>
              <a:ext uri="{FF2B5EF4-FFF2-40B4-BE49-F238E27FC236}">
                <a16:creationId xmlns:a16="http://schemas.microsoft.com/office/drawing/2014/main" id="{B2CBBADE-50B0-CD43-A53B-D4F55944B1C2}"/>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rt $ Coin</a:t>
            </a:r>
          </a:p>
        </p:txBody>
      </p:sp>
      <p:sp>
        <p:nvSpPr>
          <p:cNvPr id="57" name="TextBox 56">
            <a:extLst>
              <a:ext uri="{FF2B5EF4-FFF2-40B4-BE49-F238E27FC236}">
                <a16:creationId xmlns:a16="http://schemas.microsoft.com/office/drawing/2014/main" id="{B90D6C66-2625-AD48-BF5B-E7BC2A9F0918}"/>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rt $</a:t>
            </a:r>
          </a:p>
        </p:txBody>
      </p:sp>
      <p:sp>
        <p:nvSpPr>
          <p:cNvPr id="58" name="TextBox 57">
            <a:extLst>
              <a:ext uri="{FF2B5EF4-FFF2-40B4-BE49-F238E27FC236}">
                <a16:creationId xmlns:a16="http://schemas.microsoft.com/office/drawing/2014/main" id="{5D4313B8-B1D9-0540-8B58-A06DEC230AAF}"/>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llar Bills</a:t>
            </a:r>
          </a:p>
        </p:txBody>
      </p:sp>
      <p:sp>
        <p:nvSpPr>
          <p:cNvPr id="59" name="Freeform: Shape 26">
            <a:extLst>
              <a:ext uri="{FF2B5EF4-FFF2-40B4-BE49-F238E27FC236}">
                <a16:creationId xmlns:a16="http://schemas.microsoft.com/office/drawing/2014/main" id="{FA669DE1-7297-D04F-BD25-2B8714FBA2BE}"/>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TextBox 59">
            <a:extLst>
              <a:ext uri="{FF2B5EF4-FFF2-40B4-BE49-F238E27FC236}">
                <a16:creationId xmlns:a16="http://schemas.microsoft.com/office/drawing/2014/main" id="{8DF8A5D8-4DAE-084A-873E-BB203EEA67D1}"/>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raph Chart 4</a:t>
            </a:r>
          </a:p>
        </p:txBody>
      </p:sp>
      <p:sp>
        <p:nvSpPr>
          <p:cNvPr id="61" name="TextBox 60">
            <a:extLst>
              <a:ext uri="{FF2B5EF4-FFF2-40B4-BE49-F238E27FC236}">
                <a16:creationId xmlns:a16="http://schemas.microsoft.com/office/drawing/2014/main" id="{E0E66CBD-3524-5A47-A162-4B15A6516715}"/>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rt –</a:t>
            </a:r>
          </a:p>
        </p:txBody>
      </p:sp>
      <p:sp>
        <p:nvSpPr>
          <p:cNvPr id="62" name="TextBox 61">
            <a:extLst>
              <a:ext uri="{FF2B5EF4-FFF2-40B4-BE49-F238E27FC236}">
                <a16:creationId xmlns:a16="http://schemas.microsoft.com/office/drawing/2014/main" id="{CB0ED7A0-CD16-5544-8383-38D466AF1E2A}"/>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ill</a:t>
            </a:r>
          </a:p>
        </p:txBody>
      </p:sp>
      <p:sp>
        <p:nvSpPr>
          <p:cNvPr id="63" name="Freeform: Shape 13">
            <a:extLst>
              <a:ext uri="{FF2B5EF4-FFF2-40B4-BE49-F238E27FC236}">
                <a16:creationId xmlns:a16="http://schemas.microsoft.com/office/drawing/2014/main" id="{01EF4329-BC55-7D4F-B541-73825B6EF584}"/>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4" name="Freeform: Shape 2">
            <a:extLst>
              <a:ext uri="{FF2B5EF4-FFF2-40B4-BE49-F238E27FC236}">
                <a16:creationId xmlns:a16="http://schemas.microsoft.com/office/drawing/2014/main" id="{E8C16374-BDE5-9648-A284-D50EEBD5F902}"/>
              </a:ext>
            </a:extLst>
          </p:cNvPr>
          <p:cNvSpPr/>
          <p:nvPr/>
        </p:nvSpPr>
        <p:spPr>
          <a:xfrm>
            <a:off x="5938426" y="6448651"/>
            <a:ext cx="1666079" cy="1414080"/>
          </a:xfrm>
          <a:custGeom>
            <a:avLst/>
            <a:gdLst/>
            <a:ahLst/>
            <a:cxnLst>
              <a:cxn ang="3cd4">
                <a:pos x="hc" y="t"/>
              </a:cxn>
              <a:cxn ang="cd2">
                <a:pos x="l" y="vc"/>
              </a:cxn>
              <a:cxn ang="cd4">
                <a:pos x="hc" y="b"/>
              </a:cxn>
              <a:cxn ang="0">
                <a:pos x="r" y="vc"/>
              </a:cxn>
            </a:cxnLst>
            <a:rect l="l" t="t" r="r" b="b"/>
            <a:pathLst>
              <a:path w="4629" h="3929">
                <a:moveTo>
                  <a:pt x="0" y="1925"/>
                </a:moveTo>
                <a:lnTo>
                  <a:pt x="0" y="3611"/>
                </a:lnTo>
                <a:cubicBezTo>
                  <a:pt x="0" y="3643"/>
                  <a:pt x="32" y="3690"/>
                  <a:pt x="79" y="3690"/>
                </a:cubicBezTo>
                <a:lnTo>
                  <a:pt x="1161" y="3690"/>
                </a:lnTo>
                <a:cubicBezTo>
                  <a:pt x="1193" y="3690"/>
                  <a:pt x="1241" y="3643"/>
                  <a:pt x="1241" y="3611"/>
                </a:cubicBezTo>
                <a:lnTo>
                  <a:pt x="1241" y="3404"/>
                </a:lnTo>
                <a:cubicBezTo>
                  <a:pt x="1336" y="3436"/>
                  <a:pt x="1479" y="3499"/>
                  <a:pt x="1638" y="3579"/>
                </a:cubicBezTo>
                <a:cubicBezTo>
                  <a:pt x="1956" y="3738"/>
                  <a:pt x="2370" y="3929"/>
                  <a:pt x="2688" y="3929"/>
                </a:cubicBezTo>
                <a:cubicBezTo>
                  <a:pt x="3245" y="3929"/>
                  <a:pt x="4629" y="3213"/>
                  <a:pt x="4629" y="2831"/>
                </a:cubicBezTo>
                <a:cubicBezTo>
                  <a:pt x="4629" y="2577"/>
                  <a:pt x="4469" y="2418"/>
                  <a:pt x="4215" y="2418"/>
                </a:cubicBezTo>
                <a:cubicBezTo>
                  <a:pt x="4104" y="2418"/>
                  <a:pt x="3992" y="2529"/>
                  <a:pt x="3833" y="2641"/>
                </a:cubicBezTo>
                <a:cubicBezTo>
                  <a:pt x="3690" y="2768"/>
                  <a:pt x="3515" y="2911"/>
                  <a:pt x="3388" y="2927"/>
                </a:cubicBezTo>
                <a:lnTo>
                  <a:pt x="3372" y="2927"/>
                </a:lnTo>
                <a:cubicBezTo>
                  <a:pt x="3372" y="2847"/>
                  <a:pt x="3356" y="2784"/>
                  <a:pt x="3308" y="2720"/>
                </a:cubicBezTo>
                <a:cubicBezTo>
                  <a:pt x="3149" y="2545"/>
                  <a:pt x="2799" y="2561"/>
                  <a:pt x="2561" y="2561"/>
                </a:cubicBezTo>
                <a:lnTo>
                  <a:pt x="2465" y="2561"/>
                </a:lnTo>
                <a:cubicBezTo>
                  <a:pt x="2418" y="2561"/>
                  <a:pt x="2354" y="2529"/>
                  <a:pt x="2259" y="2465"/>
                </a:cubicBezTo>
                <a:cubicBezTo>
                  <a:pt x="2068" y="2354"/>
                  <a:pt x="1797" y="2163"/>
                  <a:pt x="1241" y="2147"/>
                </a:cubicBezTo>
                <a:lnTo>
                  <a:pt x="1241" y="1925"/>
                </a:lnTo>
                <a:cubicBezTo>
                  <a:pt x="1241" y="1877"/>
                  <a:pt x="1193" y="1845"/>
                  <a:pt x="1161" y="1845"/>
                </a:cubicBezTo>
                <a:lnTo>
                  <a:pt x="79" y="1845"/>
                </a:lnTo>
                <a:cubicBezTo>
                  <a:pt x="32" y="1845"/>
                  <a:pt x="0" y="1877"/>
                  <a:pt x="0" y="1925"/>
                </a:cubicBezTo>
                <a:close/>
                <a:moveTo>
                  <a:pt x="2179" y="2608"/>
                </a:moveTo>
                <a:cubicBezTo>
                  <a:pt x="2290" y="2672"/>
                  <a:pt x="2370" y="2720"/>
                  <a:pt x="2465" y="2720"/>
                </a:cubicBezTo>
                <a:lnTo>
                  <a:pt x="2561" y="2720"/>
                </a:lnTo>
                <a:cubicBezTo>
                  <a:pt x="2751" y="2720"/>
                  <a:pt x="3086" y="2704"/>
                  <a:pt x="3181" y="2831"/>
                </a:cubicBezTo>
                <a:cubicBezTo>
                  <a:pt x="3213" y="2847"/>
                  <a:pt x="3213" y="2879"/>
                  <a:pt x="3213" y="2911"/>
                </a:cubicBezTo>
                <a:lnTo>
                  <a:pt x="1972" y="2911"/>
                </a:lnTo>
                <a:cubicBezTo>
                  <a:pt x="1924" y="2911"/>
                  <a:pt x="1893" y="2943"/>
                  <a:pt x="1893" y="2990"/>
                </a:cubicBezTo>
                <a:cubicBezTo>
                  <a:pt x="1893" y="3038"/>
                  <a:pt x="1924" y="3070"/>
                  <a:pt x="1972" y="3070"/>
                </a:cubicBezTo>
                <a:lnTo>
                  <a:pt x="3277" y="3070"/>
                </a:lnTo>
                <a:cubicBezTo>
                  <a:pt x="3499" y="3117"/>
                  <a:pt x="3738" y="2943"/>
                  <a:pt x="3929" y="2768"/>
                </a:cubicBezTo>
                <a:cubicBezTo>
                  <a:pt x="4040" y="2688"/>
                  <a:pt x="4167" y="2577"/>
                  <a:pt x="4215" y="2577"/>
                </a:cubicBezTo>
                <a:cubicBezTo>
                  <a:pt x="4390" y="2577"/>
                  <a:pt x="4469" y="2656"/>
                  <a:pt x="4469" y="2831"/>
                </a:cubicBezTo>
                <a:cubicBezTo>
                  <a:pt x="4469" y="3022"/>
                  <a:pt x="3308" y="3770"/>
                  <a:pt x="2688" y="3770"/>
                </a:cubicBezTo>
                <a:cubicBezTo>
                  <a:pt x="2402" y="3770"/>
                  <a:pt x="2004" y="3579"/>
                  <a:pt x="1702" y="3436"/>
                </a:cubicBezTo>
                <a:cubicBezTo>
                  <a:pt x="1511" y="3340"/>
                  <a:pt x="1352" y="3261"/>
                  <a:pt x="1241" y="3245"/>
                </a:cubicBezTo>
                <a:lnTo>
                  <a:pt x="1241" y="2307"/>
                </a:lnTo>
                <a:cubicBezTo>
                  <a:pt x="1750" y="2322"/>
                  <a:pt x="1988" y="2481"/>
                  <a:pt x="2179" y="2608"/>
                </a:cubicBezTo>
                <a:close/>
                <a:moveTo>
                  <a:pt x="159" y="2004"/>
                </a:moveTo>
                <a:lnTo>
                  <a:pt x="1081" y="2004"/>
                </a:lnTo>
                <a:lnTo>
                  <a:pt x="1081" y="3293"/>
                </a:lnTo>
                <a:cubicBezTo>
                  <a:pt x="1066" y="3293"/>
                  <a:pt x="1071" y="3303"/>
                  <a:pt x="1066" y="3308"/>
                </a:cubicBezTo>
                <a:cubicBezTo>
                  <a:pt x="1066" y="3325"/>
                  <a:pt x="1066" y="3325"/>
                  <a:pt x="1081" y="3325"/>
                </a:cubicBezTo>
                <a:lnTo>
                  <a:pt x="1081" y="3531"/>
                </a:lnTo>
                <a:lnTo>
                  <a:pt x="159" y="3531"/>
                </a:lnTo>
                <a:close/>
                <a:moveTo>
                  <a:pt x="3833" y="271"/>
                </a:moveTo>
                <a:cubicBezTo>
                  <a:pt x="3833" y="127"/>
                  <a:pt x="3722" y="0"/>
                  <a:pt x="3563" y="0"/>
                </a:cubicBezTo>
                <a:lnTo>
                  <a:pt x="3038" y="0"/>
                </a:lnTo>
                <a:cubicBezTo>
                  <a:pt x="2879" y="0"/>
                  <a:pt x="2768" y="127"/>
                  <a:pt x="2768" y="271"/>
                </a:cubicBezTo>
                <a:lnTo>
                  <a:pt x="2768" y="350"/>
                </a:lnTo>
                <a:cubicBezTo>
                  <a:pt x="2768" y="493"/>
                  <a:pt x="2879" y="620"/>
                  <a:pt x="3038" y="620"/>
                </a:cubicBezTo>
                <a:lnTo>
                  <a:pt x="3563" y="620"/>
                </a:lnTo>
                <a:cubicBezTo>
                  <a:pt x="3722" y="620"/>
                  <a:pt x="3833" y="493"/>
                  <a:pt x="3833" y="350"/>
                </a:cubicBezTo>
                <a:close/>
                <a:moveTo>
                  <a:pt x="3674" y="350"/>
                </a:moveTo>
                <a:cubicBezTo>
                  <a:pt x="3674" y="414"/>
                  <a:pt x="3626" y="462"/>
                  <a:pt x="3563" y="462"/>
                </a:cubicBezTo>
                <a:lnTo>
                  <a:pt x="3038" y="462"/>
                </a:lnTo>
                <a:cubicBezTo>
                  <a:pt x="2974" y="462"/>
                  <a:pt x="2911" y="414"/>
                  <a:pt x="2911" y="350"/>
                </a:cubicBezTo>
                <a:lnTo>
                  <a:pt x="2911" y="271"/>
                </a:lnTo>
                <a:cubicBezTo>
                  <a:pt x="2911" y="207"/>
                  <a:pt x="2974" y="159"/>
                  <a:pt x="3038" y="159"/>
                </a:cubicBezTo>
                <a:lnTo>
                  <a:pt x="3563" y="159"/>
                </a:lnTo>
                <a:cubicBezTo>
                  <a:pt x="3626" y="159"/>
                  <a:pt x="3674" y="207"/>
                  <a:pt x="3674" y="271"/>
                </a:cubicBezTo>
                <a:close/>
                <a:moveTo>
                  <a:pt x="2911" y="1114"/>
                </a:moveTo>
                <a:lnTo>
                  <a:pt x="2911" y="1034"/>
                </a:lnTo>
                <a:cubicBezTo>
                  <a:pt x="2911" y="891"/>
                  <a:pt x="2799" y="763"/>
                  <a:pt x="2640" y="763"/>
                </a:cubicBezTo>
                <a:lnTo>
                  <a:pt x="2115" y="763"/>
                </a:lnTo>
                <a:cubicBezTo>
                  <a:pt x="1956" y="763"/>
                  <a:pt x="1845" y="891"/>
                  <a:pt x="1845" y="1034"/>
                </a:cubicBezTo>
                <a:lnTo>
                  <a:pt x="1845" y="1114"/>
                </a:lnTo>
                <a:cubicBezTo>
                  <a:pt x="1845" y="1257"/>
                  <a:pt x="1956" y="1384"/>
                  <a:pt x="2115" y="1384"/>
                </a:cubicBezTo>
                <a:lnTo>
                  <a:pt x="2640" y="1384"/>
                </a:lnTo>
                <a:cubicBezTo>
                  <a:pt x="2799" y="1384"/>
                  <a:pt x="2911" y="1257"/>
                  <a:pt x="2911" y="1114"/>
                </a:cubicBezTo>
                <a:close/>
                <a:moveTo>
                  <a:pt x="2768" y="1114"/>
                </a:moveTo>
                <a:cubicBezTo>
                  <a:pt x="2768" y="1177"/>
                  <a:pt x="2704" y="1225"/>
                  <a:pt x="2640" y="1225"/>
                </a:cubicBezTo>
                <a:lnTo>
                  <a:pt x="2115" y="1225"/>
                </a:lnTo>
                <a:cubicBezTo>
                  <a:pt x="2052" y="1225"/>
                  <a:pt x="2004" y="1177"/>
                  <a:pt x="2004" y="1114"/>
                </a:cubicBezTo>
                <a:lnTo>
                  <a:pt x="2004" y="1034"/>
                </a:lnTo>
                <a:cubicBezTo>
                  <a:pt x="2004" y="971"/>
                  <a:pt x="2052" y="923"/>
                  <a:pt x="2115" y="923"/>
                </a:cubicBezTo>
                <a:lnTo>
                  <a:pt x="2640" y="923"/>
                </a:lnTo>
                <a:cubicBezTo>
                  <a:pt x="2704" y="923"/>
                  <a:pt x="2768" y="971"/>
                  <a:pt x="2768" y="1034"/>
                </a:cubicBezTo>
                <a:close/>
                <a:moveTo>
                  <a:pt x="3038" y="2147"/>
                </a:moveTo>
                <a:lnTo>
                  <a:pt x="3563" y="2147"/>
                </a:lnTo>
                <a:cubicBezTo>
                  <a:pt x="3722" y="2147"/>
                  <a:pt x="3833" y="2036"/>
                  <a:pt x="3833" y="1877"/>
                </a:cubicBezTo>
                <a:lnTo>
                  <a:pt x="3833" y="1798"/>
                </a:lnTo>
                <a:cubicBezTo>
                  <a:pt x="3833" y="1654"/>
                  <a:pt x="3722" y="1527"/>
                  <a:pt x="3563" y="1527"/>
                </a:cubicBezTo>
                <a:lnTo>
                  <a:pt x="3038" y="1527"/>
                </a:lnTo>
                <a:cubicBezTo>
                  <a:pt x="2879" y="1527"/>
                  <a:pt x="2768" y="1654"/>
                  <a:pt x="2768" y="1798"/>
                </a:cubicBezTo>
                <a:lnTo>
                  <a:pt x="2768" y="1877"/>
                </a:lnTo>
                <a:cubicBezTo>
                  <a:pt x="2768" y="2036"/>
                  <a:pt x="2879" y="2147"/>
                  <a:pt x="3038" y="2147"/>
                </a:cubicBezTo>
                <a:close/>
                <a:moveTo>
                  <a:pt x="2911" y="1798"/>
                </a:moveTo>
                <a:cubicBezTo>
                  <a:pt x="2911" y="1750"/>
                  <a:pt x="2974" y="1686"/>
                  <a:pt x="3038" y="1686"/>
                </a:cubicBezTo>
                <a:lnTo>
                  <a:pt x="3563" y="1686"/>
                </a:lnTo>
                <a:cubicBezTo>
                  <a:pt x="3626" y="1686"/>
                  <a:pt x="3674" y="1750"/>
                  <a:pt x="3674" y="1798"/>
                </a:cubicBezTo>
                <a:lnTo>
                  <a:pt x="3674" y="1877"/>
                </a:lnTo>
                <a:cubicBezTo>
                  <a:pt x="3674" y="1941"/>
                  <a:pt x="3626" y="1989"/>
                  <a:pt x="3563" y="1989"/>
                </a:cubicBezTo>
                <a:lnTo>
                  <a:pt x="3038" y="1989"/>
                </a:lnTo>
                <a:cubicBezTo>
                  <a:pt x="2974" y="1989"/>
                  <a:pt x="2911" y="1941"/>
                  <a:pt x="2911" y="187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5" name="Freeform: Shape 3">
            <a:extLst>
              <a:ext uri="{FF2B5EF4-FFF2-40B4-BE49-F238E27FC236}">
                <a16:creationId xmlns:a16="http://schemas.microsoft.com/office/drawing/2014/main" id="{77912D11-97F8-CD46-94A2-7CFFDF1515F3}"/>
              </a:ext>
            </a:extLst>
          </p:cNvPr>
          <p:cNvSpPr/>
          <p:nvPr/>
        </p:nvSpPr>
        <p:spPr>
          <a:xfrm>
            <a:off x="1923512" y="6305371"/>
            <a:ext cx="1554119" cy="1700280"/>
          </a:xfrm>
          <a:custGeom>
            <a:avLst/>
            <a:gdLst/>
            <a:ahLst/>
            <a:cxnLst>
              <a:cxn ang="3cd4">
                <a:pos x="hc" y="t"/>
              </a:cxn>
              <a:cxn ang="cd2">
                <a:pos x="l" y="vc"/>
              </a:cxn>
              <a:cxn ang="cd4">
                <a:pos x="hc" y="b"/>
              </a:cxn>
              <a:cxn ang="0">
                <a:pos x="r" y="vc"/>
              </a:cxn>
            </a:cxnLst>
            <a:rect l="l" t="t" r="r" b="b"/>
            <a:pathLst>
              <a:path w="4318" h="4724">
                <a:moveTo>
                  <a:pt x="700" y="3070"/>
                </a:moveTo>
                <a:cubicBezTo>
                  <a:pt x="16" y="3802"/>
                  <a:pt x="16" y="3802"/>
                  <a:pt x="16" y="3802"/>
                </a:cubicBezTo>
                <a:cubicBezTo>
                  <a:pt x="0" y="3818"/>
                  <a:pt x="0" y="3850"/>
                  <a:pt x="0" y="3866"/>
                </a:cubicBezTo>
                <a:cubicBezTo>
                  <a:pt x="0" y="3897"/>
                  <a:pt x="16" y="3913"/>
                  <a:pt x="32" y="3929"/>
                </a:cubicBezTo>
                <a:cubicBezTo>
                  <a:pt x="1352" y="4708"/>
                  <a:pt x="1352" y="4708"/>
                  <a:pt x="1352" y="4708"/>
                </a:cubicBezTo>
                <a:cubicBezTo>
                  <a:pt x="1368" y="4724"/>
                  <a:pt x="1384" y="4724"/>
                  <a:pt x="1400" y="4724"/>
                </a:cubicBezTo>
                <a:lnTo>
                  <a:pt x="1416" y="4724"/>
                </a:lnTo>
                <a:cubicBezTo>
                  <a:pt x="1432" y="4708"/>
                  <a:pt x="1448" y="4693"/>
                  <a:pt x="1464" y="4677"/>
                </a:cubicBezTo>
                <a:cubicBezTo>
                  <a:pt x="1893" y="3850"/>
                  <a:pt x="1893" y="3850"/>
                  <a:pt x="1893" y="3850"/>
                </a:cubicBezTo>
                <a:cubicBezTo>
                  <a:pt x="1925" y="3802"/>
                  <a:pt x="1909" y="3754"/>
                  <a:pt x="1877" y="3738"/>
                </a:cubicBezTo>
                <a:cubicBezTo>
                  <a:pt x="1861" y="3738"/>
                  <a:pt x="1861" y="3738"/>
                  <a:pt x="1861" y="3738"/>
                </a:cubicBezTo>
                <a:cubicBezTo>
                  <a:pt x="1877" y="3723"/>
                  <a:pt x="1893" y="3723"/>
                  <a:pt x="1893" y="3706"/>
                </a:cubicBezTo>
                <a:cubicBezTo>
                  <a:pt x="1957" y="3611"/>
                  <a:pt x="2100" y="3515"/>
                  <a:pt x="2227" y="3420"/>
                </a:cubicBezTo>
                <a:cubicBezTo>
                  <a:pt x="2339" y="3341"/>
                  <a:pt x="2466" y="3261"/>
                  <a:pt x="2545" y="3182"/>
                </a:cubicBezTo>
                <a:cubicBezTo>
                  <a:pt x="2561" y="3150"/>
                  <a:pt x="2593" y="3118"/>
                  <a:pt x="2609" y="3070"/>
                </a:cubicBezTo>
                <a:cubicBezTo>
                  <a:pt x="2815" y="3150"/>
                  <a:pt x="2815" y="3150"/>
                  <a:pt x="2815" y="3150"/>
                </a:cubicBezTo>
                <a:cubicBezTo>
                  <a:pt x="2815" y="3166"/>
                  <a:pt x="2831" y="3182"/>
                  <a:pt x="2847" y="3197"/>
                </a:cubicBezTo>
                <a:cubicBezTo>
                  <a:pt x="3436" y="3611"/>
                  <a:pt x="3436" y="3611"/>
                  <a:pt x="3436" y="3611"/>
                </a:cubicBezTo>
                <a:cubicBezTo>
                  <a:pt x="3436" y="3611"/>
                  <a:pt x="3452" y="3611"/>
                  <a:pt x="3467" y="3611"/>
                </a:cubicBezTo>
                <a:cubicBezTo>
                  <a:pt x="3484" y="3611"/>
                  <a:pt x="3484" y="3611"/>
                  <a:pt x="3500" y="3611"/>
                </a:cubicBezTo>
                <a:cubicBezTo>
                  <a:pt x="3515" y="3611"/>
                  <a:pt x="3531" y="3595"/>
                  <a:pt x="3547" y="3579"/>
                </a:cubicBezTo>
                <a:cubicBezTo>
                  <a:pt x="4311" y="2132"/>
                  <a:pt x="4311" y="2132"/>
                  <a:pt x="4311" y="2132"/>
                </a:cubicBezTo>
                <a:cubicBezTo>
                  <a:pt x="4311" y="2116"/>
                  <a:pt x="4327" y="2100"/>
                  <a:pt x="4311" y="2068"/>
                </a:cubicBezTo>
                <a:cubicBezTo>
                  <a:pt x="4311" y="2052"/>
                  <a:pt x="4295" y="2036"/>
                  <a:pt x="4279" y="2021"/>
                </a:cubicBezTo>
                <a:cubicBezTo>
                  <a:pt x="3675" y="1718"/>
                  <a:pt x="3675" y="1718"/>
                  <a:pt x="3675" y="1718"/>
                </a:cubicBezTo>
                <a:cubicBezTo>
                  <a:pt x="3627" y="1687"/>
                  <a:pt x="3595" y="1702"/>
                  <a:pt x="3563" y="1734"/>
                </a:cubicBezTo>
                <a:cubicBezTo>
                  <a:pt x="3197" y="1670"/>
                  <a:pt x="2879" y="1416"/>
                  <a:pt x="2768" y="1130"/>
                </a:cubicBezTo>
                <a:cubicBezTo>
                  <a:pt x="2768" y="1114"/>
                  <a:pt x="2752" y="1098"/>
                  <a:pt x="2736" y="1098"/>
                </a:cubicBezTo>
                <a:cubicBezTo>
                  <a:pt x="2752" y="971"/>
                  <a:pt x="2720" y="891"/>
                  <a:pt x="2672" y="843"/>
                </a:cubicBezTo>
                <a:cubicBezTo>
                  <a:pt x="2672" y="843"/>
                  <a:pt x="2688" y="843"/>
                  <a:pt x="2688" y="827"/>
                </a:cubicBezTo>
                <a:cubicBezTo>
                  <a:pt x="2720" y="366"/>
                  <a:pt x="2561" y="80"/>
                  <a:pt x="2386" y="16"/>
                </a:cubicBezTo>
                <a:cubicBezTo>
                  <a:pt x="2306" y="-15"/>
                  <a:pt x="2227" y="0"/>
                  <a:pt x="2148" y="64"/>
                </a:cubicBezTo>
                <a:cubicBezTo>
                  <a:pt x="1988" y="175"/>
                  <a:pt x="1893" y="398"/>
                  <a:pt x="1893" y="669"/>
                </a:cubicBezTo>
                <a:cubicBezTo>
                  <a:pt x="1782" y="700"/>
                  <a:pt x="1702" y="780"/>
                  <a:pt x="1654" y="875"/>
                </a:cubicBezTo>
                <a:cubicBezTo>
                  <a:pt x="1448" y="764"/>
                  <a:pt x="1257" y="621"/>
                  <a:pt x="1098" y="509"/>
                </a:cubicBezTo>
                <a:cubicBezTo>
                  <a:pt x="1018" y="446"/>
                  <a:pt x="955" y="398"/>
                  <a:pt x="907" y="382"/>
                </a:cubicBezTo>
                <a:cubicBezTo>
                  <a:pt x="827" y="334"/>
                  <a:pt x="748" y="319"/>
                  <a:pt x="668" y="366"/>
                </a:cubicBezTo>
                <a:cubicBezTo>
                  <a:pt x="621" y="382"/>
                  <a:pt x="573" y="430"/>
                  <a:pt x="541" y="557"/>
                </a:cubicBezTo>
                <a:cubicBezTo>
                  <a:pt x="398" y="525"/>
                  <a:pt x="334" y="605"/>
                  <a:pt x="303" y="652"/>
                </a:cubicBezTo>
                <a:cubicBezTo>
                  <a:pt x="223" y="764"/>
                  <a:pt x="239" y="939"/>
                  <a:pt x="303" y="1066"/>
                </a:cubicBezTo>
                <a:cubicBezTo>
                  <a:pt x="255" y="1130"/>
                  <a:pt x="223" y="1193"/>
                  <a:pt x="223" y="1273"/>
                </a:cubicBezTo>
                <a:cubicBezTo>
                  <a:pt x="207" y="1384"/>
                  <a:pt x="271" y="1496"/>
                  <a:pt x="366" y="1623"/>
                </a:cubicBezTo>
                <a:cubicBezTo>
                  <a:pt x="255" y="1909"/>
                  <a:pt x="398" y="2179"/>
                  <a:pt x="812" y="2434"/>
                </a:cubicBezTo>
                <a:cubicBezTo>
                  <a:pt x="779" y="2625"/>
                  <a:pt x="764" y="2848"/>
                  <a:pt x="748" y="3054"/>
                </a:cubicBezTo>
                <a:cubicBezTo>
                  <a:pt x="732" y="3054"/>
                  <a:pt x="716" y="3070"/>
                  <a:pt x="700" y="3070"/>
                </a:cubicBezTo>
                <a:close/>
                <a:moveTo>
                  <a:pt x="1368" y="4533"/>
                </a:moveTo>
                <a:cubicBezTo>
                  <a:pt x="207" y="3834"/>
                  <a:pt x="207" y="3834"/>
                  <a:pt x="207" y="3834"/>
                </a:cubicBezTo>
                <a:cubicBezTo>
                  <a:pt x="779" y="3229"/>
                  <a:pt x="779" y="3229"/>
                  <a:pt x="779" y="3229"/>
                </a:cubicBezTo>
                <a:cubicBezTo>
                  <a:pt x="1718" y="3834"/>
                  <a:pt x="1718" y="3834"/>
                  <a:pt x="1718" y="3834"/>
                </a:cubicBezTo>
                <a:close/>
                <a:moveTo>
                  <a:pt x="4136" y="2132"/>
                </a:moveTo>
                <a:cubicBezTo>
                  <a:pt x="3452" y="3420"/>
                  <a:pt x="3452" y="3420"/>
                  <a:pt x="3452" y="3420"/>
                </a:cubicBezTo>
                <a:cubicBezTo>
                  <a:pt x="2991" y="3102"/>
                  <a:pt x="2991" y="3102"/>
                  <a:pt x="2991" y="3102"/>
                </a:cubicBezTo>
                <a:cubicBezTo>
                  <a:pt x="3658" y="1893"/>
                  <a:pt x="3658" y="1893"/>
                  <a:pt x="3658" y="1893"/>
                </a:cubicBezTo>
                <a:close/>
                <a:moveTo>
                  <a:pt x="3484" y="1878"/>
                </a:moveTo>
                <a:cubicBezTo>
                  <a:pt x="2863" y="3006"/>
                  <a:pt x="2863" y="3006"/>
                  <a:pt x="2863" y="3006"/>
                </a:cubicBezTo>
                <a:cubicBezTo>
                  <a:pt x="2688" y="2943"/>
                  <a:pt x="2688" y="2943"/>
                  <a:pt x="2688" y="2943"/>
                </a:cubicBezTo>
                <a:cubicBezTo>
                  <a:pt x="2736" y="2848"/>
                  <a:pt x="2768" y="2736"/>
                  <a:pt x="2815" y="2641"/>
                </a:cubicBezTo>
                <a:cubicBezTo>
                  <a:pt x="2831" y="2561"/>
                  <a:pt x="2863" y="2482"/>
                  <a:pt x="2895" y="2450"/>
                </a:cubicBezTo>
                <a:cubicBezTo>
                  <a:pt x="2895" y="2418"/>
                  <a:pt x="2911" y="2402"/>
                  <a:pt x="2943" y="2370"/>
                </a:cubicBezTo>
                <a:cubicBezTo>
                  <a:pt x="3022" y="2259"/>
                  <a:pt x="3118" y="2116"/>
                  <a:pt x="3086" y="1988"/>
                </a:cubicBezTo>
                <a:cubicBezTo>
                  <a:pt x="3070" y="1941"/>
                  <a:pt x="3038" y="1893"/>
                  <a:pt x="3006" y="1861"/>
                </a:cubicBezTo>
                <a:cubicBezTo>
                  <a:pt x="2927" y="1830"/>
                  <a:pt x="2847" y="1814"/>
                  <a:pt x="2768" y="1830"/>
                </a:cubicBezTo>
                <a:cubicBezTo>
                  <a:pt x="2688" y="1861"/>
                  <a:pt x="2625" y="1893"/>
                  <a:pt x="2577" y="1941"/>
                </a:cubicBezTo>
                <a:cubicBezTo>
                  <a:pt x="2609" y="1750"/>
                  <a:pt x="2657" y="1512"/>
                  <a:pt x="2688" y="1321"/>
                </a:cubicBezTo>
                <a:cubicBezTo>
                  <a:pt x="2847" y="1591"/>
                  <a:pt x="3149" y="1798"/>
                  <a:pt x="3484" y="1878"/>
                </a:cubicBezTo>
                <a:close/>
                <a:moveTo>
                  <a:pt x="2227" y="191"/>
                </a:moveTo>
                <a:cubicBezTo>
                  <a:pt x="2275" y="160"/>
                  <a:pt x="2306" y="160"/>
                  <a:pt x="2322" y="160"/>
                </a:cubicBezTo>
                <a:cubicBezTo>
                  <a:pt x="2386" y="191"/>
                  <a:pt x="2513" y="334"/>
                  <a:pt x="2529" y="637"/>
                </a:cubicBezTo>
                <a:cubicBezTo>
                  <a:pt x="2497" y="605"/>
                  <a:pt x="2466" y="573"/>
                  <a:pt x="2402" y="541"/>
                </a:cubicBezTo>
                <a:cubicBezTo>
                  <a:pt x="2339" y="509"/>
                  <a:pt x="2259" y="494"/>
                  <a:pt x="2195" y="525"/>
                </a:cubicBezTo>
                <a:cubicBezTo>
                  <a:pt x="2148" y="541"/>
                  <a:pt x="2084" y="589"/>
                  <a:pt x="2052" y="652"/>
                </a:cubicBezTo>
                <a:cubicBezTo>
                  <a:pt x="2052" y="398"/>
                  <a:pt x="2148" y="255"/>
                  <a:pt x="2227" y="191"/>
                </a:cubicBezTo>
                <a:close/>
                <a:moveTo>
                  <a:pt x="1973" y="812"/>
                </a:moveTo>
                <a:cubicBezTo>
                  <a:pt x="1893" y="1066"/>
                  <a:pt x="1702" y="1623"/>
                  <a:pt x="1670" y="1766"/>
                </a:cubicBezTo>
                <a:cubicBezTo>
                  <a:pt x="1654" y="1798"/>
                  <a:pt x="1670" y="1845"/>
                  <a:pt x="1718" y="1861"/>
                </a:cubicBezTo>
                <a:cubicBezTo>
                  <a:pt x="1734" y="1861"/>
                  <a:pt x="1734" y="1861"/>
                  <a:pt x="1734" y="1861"/>
                </a:cubicBezTo>
                <a:cubicBezTo>
                  <a:pt x="1782" y="1861"/>
                  <a:pt x="1813" y="1845"/>
                  <a:pt x="1813" y="1798"/>
                </a:cubicBezTo>
                <a:cubicBezTo>
                  <a:pt x="1861" y="1639"/>
                  <a:pt x="2116" y="891"/>
                  <a:pt x="2163" y="764"/>
                </a:cubicBezTo>
                <a:cubicBezTo>
                  <a:pt x="2195" y="716"/>
                  <a:pt x="2227" y="684"/>
                  <a:pt x="2259" y="669"/>
                </a:cubicBezTo>
                <a:cubicBezTo>
                  <a:pt x="2275" y="669"/>
                  <a:pt x="2306" y="669"/>
                  <a:pt x="2339" y="684"/>
                </a:cubicBezTo>
                <a:cubicBezTo>
                  <a:pt x="2386" y="716"/>
                  <a:pt x="2418" y="748"/>
                  <a:pt x="2418" y="780"/>
                </a:cubicBezTo>
                <a:cubicBezTo>
                  <a:pt x="2418" y="780"/>
                  <a:pt x="2402" y="780"/>
                  <a:pt x="2402" y="796"/>
                </a:cubicBezTo>
                <a:cubicBezTo>
                  <a:pt x="2370" y="860"/>
                  <a:pt x="2116" y="1416"/>
                  <a:pt x="2020" y="1878"/>
                </a:cubicBezTo>
                <a:cubicBezTo>
                  <a:pt x="2004" y="1925"/>
                  <a:pt x="2036" y="1973"/>
                  <a:pt x="2084" y="1973"/>
                </a:cubicBezTo>
                <a:lnTo>
                  <a:pt x="2100" y="1973"/>
                </a:lnTo>
                <a:cubicBezTo>
                  <a:pt x="2131" y="1973"/>
                  <a:pt x="2163" y="1957"/>
                  <a:pt x="2179" y="1909"/>
                </a:cubicBezTo>
                <a:cubicBezTo>
                  <a:pt x="2243" y="1591"/>
                  <a:pt x="2402" y="1178"/>
                  <a:pt x="2513" y="939"/>
                </a:cubicBezTo>
                <a:cubicBezTo>
                  <a:pt x="2513" y="939"/>
                  <a:pt x="2529" y="939"/>
                  <a:pt x="2529" y="923"/>
                </a:cubicBezTo>
                <a:cubicBezTo>
                  <a:pt x="2529" y="923"/>
                  <a:pt x="2545" y="939"/>
                  <a:pt x="2561" y="955"/>
                </a:cubicBezTo>
                <a:cubicBezTo>
                  <a:pt x="2577" y="987"/>
                  <a:pt x="2593" y="1050"/>
                  <a:pt x="2577" y="1114"/>
                </a:cubicBezTo>
                <a:cubicBezTo>
                  <a:pt x="2513" y="1384"/>
                  <a:pt x="2370" y="2227"/>
                  <a:pt x="2354" y="2259"/>
                </a:cubicBezTo>
                <a:cubicBezTo>
                  <a:pt x="2354" y="2291"/>
                  <a:pt x="2370" y="2339"/>
                  <a:pt x="2418" y="2339"/>
                </a:cubicBezTo>
                <a:cubicBezTo>
                  <a:pt x="2449" y="2354"/>
                  <a:pt x="2482" y="2339"/>
                  <a:pt x="2513" y="2307"/>
                </a:cubicBezTo>
                <a:cubicBezTo>
                  <a:pt x="2545" y="2227"/>
                  <a:pt x="2672" y="2021"/>
                  <a:pt x="2800" y="1988"/>
                </a:cubicBezTo>
                <a:cubicBezTo>
                  <a:pt x="2847" y="1973"/>
                  <a:pt x="2879" y="1988"/>
                  <a:pt x="2911" y="2005"/>
                </a:cubicBezTo>
                <a:cubicBezTo>
                  <a:pt x="2927" y="2005"/>
                  <a:pt x="2927" y="2021"/>
                  <a:pt x="2927" y="2021"/>
                </a:cubicBezTo>
                <a:cubicBezTo>
                  <a:pt x="2943" y="2084"/>
                  <a:pt x="2847" y="2211"/>
                  <a:pt x="2800" y="2291"/>
                </a:cubicBezTo>
                <a:cubicBezTo>
                  <a:pt x="2784" y="2307"/>
                  <a:pt x="2768" y="2339"/>
                  <a:pt x="2752" y="2370"/>
                </a:cubicBezTo>
                <a:cubicBezTo>
                  <a:pt x="2720" y="2418"/>
                  <a:pt x="2688" y="2497"/>
                  <a:pt x="2657" y="2593"/>
                </a:cubicBezTo>
                <a:cubicBezTo>
                  <a:pt x="2625" y="2705"/>
                  <a:pt x="2577" y="2832"/>
                  <a:pt x="2513" y="2943"/>
                </a:cubicBezTo>
                <a:cubicBezTo>
                  <a:pt x="2482" y="2991"/>
                  <a:pt x="2449" y="3039"/>
                  <a:pt x="2418" y="3070"/>
                </a:cubicBezTo>
                <a:cubicBezTo>
                  <a:pt x="2354" y="3134"/>
                  <a:pt x="2243" y="3214"/>
                  <a:pt x="2148" y="3293"/>
                </a:cubicBezTo>
                <a:cubicBezTo>
                  <a:pt x="1988" y="3404"/>
                  <a:pt x="1830" y="3500"/>
                  <a:pt x="1766" y="3627"/>
                </a:cubicBezTo>
                <a:cubicBezTo>
                  <a:pt x="1750" y="3643"/>
                  <a:pt x="1750" y="3643"/>
                  <a:pt x="1750" y="3659"/>
                </a:cubicBezTo>
                <a:cubicBezTo>
                  <a:pt x="907" y="3134"/>
                  <a:pt x="907" y="3134"/>
                  <a:pt x="907" y="3134"/>
                </a:cubicBezTo>
                <a:lnTo>
                  <a:pt x="907" y="3118"/>
                </a:lnTo>
                <a:cubicBezTo>
                  <a:pt x="923" y="2879"/>
                  <a:pt x="939" y="2625"/>
                  <a:pt x="986" y="2402"/>
                </a:cubicBezTo>
                <a:cubicBezTo>
                  <a:pt x="1002" y="2275"/>
                  <a:pt x="1034" y="2148"/>
                  <a:pt x="1082" y="2052"/>
                </a:cubicBezTo>
                <a:cubicBezTo>
                  <a:pt x="1161" y="1830"/>
                  <a:pt x="1321" y="1496"/>
                  <a:pt x="1464" y="1289"/>
                </a:cubicBezTo>
                <a:cubicBezTo>
                  <a:pt x="1400" y="1512"/>
                  <a:pt x="1352" y="1750"/>
                  <a:pt x="1352" y="1941"/>
                </a:cubicBezTo>
                <a:cubicBezTo>
                  <a:pt x="1352" y="1988"/>
                  <a:pt x="1384" y="2021"/>
                  <a:pt x="1432" y="2021"/>
                </a:cubicBezTo>
                <a:cubicBezTo>
                  <a:pt x="1464" y="2021"/>
                  <a:pt x="1511" y="1988"/>
                  <a:pt x="1511" y="1941"/>
                </a:cubicBezTo>
                <a:cubicBezTo>
                  <a:pt x="1511" y="1670"/>
                  <a:pt x="1639" y="1273"/>
                  <a:pt x="1718" y="1050"/>
                </a:cubicBezTo>
                <a:cubicBezTo>
                  <a:pt x="1734" y="1018"/>
                  <a:pt x="1734" y="1018"/>
                  <a:pt x="1734" y="1018"/>
                </a:cubicBezTo>
                <a:cubicBezTo>
                  <a:pt x="1830" y="891"/>
                  <a:pt x="1877" y="812"/>
                  <a:pt x="1973" y="812"/>
                </a:cubicBezTo>
                <a:close/>
                <a:moveTo>
                  <a:pt x="493" y="1750"/>
                </a:moveTo>
                <a:cubicBezTo>
                  <a:pt x="541" y="1782"/>
                  <a:pt x="589" y="1814"/>
                  <a:pt x="621" y="1845"/>
                </a:cubicBezTo>
                <a:cubicBezTo>
                  <a:pt x="652" y="1878"/>
                  <a:pt x="652" y="1878"/>
                  <a:pt x="652" y="1878"/>
                </a:cubicBezTo>
                <a:cubicBezTo>
                  <a:pt x="668" y="1893"/>
                  <a:pt x="684" y="1893"/>
                  <a:pt x="716" y="1893"/>
                </a:cubicBezTo>
                <a:cubicBezTo>
                  <a:pt x="732" y="1893"/>
                  <a:pt x="748" y="1893"/>
                  <a:pt x="764" y="1878"/>
                </a:cubicBezTo>
                <a:cubicBezTo>
                  <a:pt x="795" y="1830"/>
                  <a:pt x="795" y="1782"/>
                  <a:pt x="764" y="1766"/>
                </a:cubicBezTo>
                <a:cubicBezTo>
                  <a:pt x="716" y="1718"/>
                  <a:pt x="716" y="1718"/>
                  <a:pt x="716" y="1718"/>
                </a:cubicBezTo>
                <a:cubicBezTo>
                  <a:pt x="652" y="1670"/>
                  <a:pt x="573" y="1607"/>
                  <a:pt x="525" y="1559"/>
                </a:cubicBezTo>
                <a:cubicBezTo>
                  <a:pt x="430" y="1448"/>
                  <a:pt x="366" y="1352"/>
                  <a:pt x="382" y="1289"/>
                </a:cubicBezTo>
                <a:cubicBezTo>
                  <a:pt x="382" y="1241"/>
                  <a:pt x="398" y="1209"/>
                  <a:pt x="414" y="1178"/>
                </a:cubicBezTo>
                <a:cubicBezTo>
                  <a:pt x="493" y="1225"/>
                  <a:pt x="589" y="1305"/>
                  <a:pt x="668" y="1369"/>
                </a:cubicBezTo>
                <a:cubicBezTo>
                  <a:pt x="732" y="1416"/>
                  <a:pt x="795" y="1448"/>
                  <a:pt x="812" y="1464"/>
                </a:cubicBezTo>
                <a:cubicBezTo>
                  <a:pt x="827" y="1479"/>
                  <a:pt x="843" y="1479"/>
                  <a:pt x="859" y="1479"/>
                </a:cubicBezTo>
                <a:cubicBezTo>
                  <a:pt x="875" y="1479"/>
                  <a:pt x="907" y="1464"/>
                  <a:pt x="923" y="1448"/>
                </a:cubicBezTo>
                <a:cubicBezTo>
                  <a:pt x="955" y="1416"/>
                  <a:pt x="939" y="1369"/>
                  <a:pt x="907" y="1336"/>
                </a:cubicBezTo>
                <a:cubicBezTo>
                  <a:pt x="891" y="1321"/>
                  <a:pt x="827" y="1289"/>
                  <a:pt x="764" y="1241"/>
                </a:cubicBezTo>
                <a:cubicBezTo>
                  <a:pt x="668" y="1161"/>
                  <a:pt x="525" y="1066"/>
                  <a:pt x="461" y="1018"/>
                </a:cubicBezTo>
                <a:cubicBezTo>
                  <a:pt x="414" y="955"/>
                  <a:pt x="382" y="812"/>
                  <a:pt x="430" y="732"/>
                </a:cubicBezTo>
                <a:cubicBezTo>
                  <a:pt x="446" y="732"/>
                  <a:pt x="461" y="684"/>
                  <a:pt x="573" y="716"/>
                </a:cubicBezTo>
                <a:cubicBezTo>
                  <a:pt x="621" y="764"/>
                  <a:pt x="970" y="1034"/>
                  <a:pt x="1098" y="1114"/>
                </a:cubicBezTo>
                <a:cubicBezTo>
                  <a:pt x="1113" y="1130"/>
                  <a:pt x="1130" y="1130"/>
                  <a:pt x="1145" y="1130"/>
                </a:cubicBezTo>
                <a:cubicBezTo>
                  <a:pt x="1177" y="1130"/>
                  <a:pt x="1193" y="1114"/>
                  <a:pt x="1209" y="1098"/>
                </a:cubicBezTo>
                <a:cubicBezTo>
                  <a:pt x="1241" y="1066"/>
                  <a:pt x="1225" y="1018"/>
                  <a:pt x="1193" y="987"/>
                </a:cubicBezTo>
                <a:cubicBezTo>
                  <a:pt x="1066" y="907"/>
                  <a:pt x="779" y="684"/>
                  <a:pt x="684" y="621"/>
                </a:cubicBezTo>
                <a:cubicBezTo>
                  <a:pt x="700" y="557"/>
                  <a:pt x="716" y="509"/>
                  <a:pt x="748" y="494"/>
                </a:cubicBezTo>
                <a:cubicBezTo>
                  <a:pt x="779" y="478"/>
                  <a:pt x="812" y="509"/>
                  <a:pt x="827" y="509"/>
                </a:cubicBezTo>
                <a:cubicBezTo>
                  <a:pt x="875" y="541"/>
                  <a:pt x="939" y="589"/>
                  <a:pt x="1002" y="637"/>
                </a:cubicBezTo>
                <a:cubicBezTo>
                  <a:pt x="1145" y="748"/>
                  <a:pt x="1336" y="875"/>
                  <a:pt x="1527" y="987"/>
                </a:cubicBezTo>
                <a:cubicBezTo>
                  <a:pt x="1273" y="1193"/>
                  <a:pt x="1002" y="1782"/>
                  <a:pt x="923" y="2005"/>
                </a:cubicBezTo>
                <a:cubicBezTo>
                  <a:pt x="891" y="2084"/>
                  <a:pt x="875" y="2164"/>
                  <a:pt x="859" y="2259"/>
                </a:cubicBezTo>
                <a:cubicBezTo>
                  <a:pt x="573" y="2084"/>
                  <a:pt x="461" y="1925"/>
                  <a:pt x="493" y="175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6" name="Freeform: Shape 4">
            <a:extLst>
              <a:ext uri="{FF2B5EF4-FFF2-40B4-BE49-F238E27FC236}">
                <a16:creationId xmlns:a16="http://schemas.microsoft.com/office/drawing/2014/main" id="{135E420C-D51C-494E-A155-E9A5023702D4}"/>
              </a:ext>
            </a:extLst>
          </p:cNvPr>
          <p:cNvSpPr/>
          <p:nvPr/>
        </p:nvSpPr>
        <p:spPr>
          <a:xfrm>
            <a:off x="21244679" y="9920540"/>
            <a:ext cx="1711439" cy="1059480"/>
          </a:xfrm>
          <a:custGeom>
            <a:avLst/>
            <a:gdLst/>
            <a:ahLst/>
            <a:cxnLst>
              <a:cxn ang="3cd4">
                <a:pos x="hc" y="t"/>
              </a:cxn>
              <a:cxn ang="cd2">
                <a:pos x="l" y="vc"/>
              </a:cxn>
              <a:cxn ang="cd4">
                <a:pos x="hc" y="b"/>
              </a:cxn>
              <a:cxn ang="0">
                <a:pos x="r" y="vc"/>
              </a:cxn>
            </a:cxnLst>
            <a:rect l="l" t="t" r="r" b="b"/>
            <a:pathLst>
              <a:path w="4755" h="2944">
                <a:moveTo>
                  <a:pt x="1973" y="2881"/>
                </a:moveTo>
                <a:cubicBezTo>
                  <a:pt x="2561" y="2833"/>
                  <a:pt x="3181" y="2769"/>
                  <a:pt x="3993" y="2864"/>
                </a:cubicBezTo>
                <a:cubicBezTo>
                  <a:pt x="4008" y="2864"/>
                  <a:pt x="4024" y="2864"/>
                  <a:pt x="4056" y="2849"/>
                </a:cubicBezTo>
                <a:cubicBezTo>
                  <a:pt x="4072" y="2833"/>
                  <a:pt x="4072" y="2817"/>
                  <a:pt x="4072" y="2785"/>
                </a:cubicBezTo>
                <a:lnTo>
                  <a:pt x="4072" y="765"/>
                </a:lnTo>
                <a:cubicBezTo>
                  <a:pt x="4072" y="717"/>
                  <a:pt x="4041" y="685"/>
                  <a:pt x="4008" y="685"/>
                </a:cubicBezTo>
                <a:cubicBezTo>
                  <a:pt x="3181" y="590"/>
                  <a:pt x="2561" y="638"/>
                  <a:pt x="1973" y="701"/>
                </a:cubicBezTo>
                <a:cubicBezTo>
                  <a:pt x="1368" y="749"/>
                  <a:pt x="812" y="797"/>
                  <a:pt x="96" y="701"/>
                </a:cubicBezTo>
                <a:cubicBezTo>
                  <a:pt x="64" y="701"/>
                  <a:pt x="48" y="717"/>
                  <a:pt x="32" y="733"/>
                </a:cubicBezTo>
                <a:cubicBezTo>
                  <a:pt x="16" y="749"/>
                  <a:pt x="0" y="765"/>
                  <a:pt x="0" y="781"/>
                </a:cubicBezTo>
                <a:lnTo>
                  <a:pt x="0" y="2817"/>
                </a:lnTo>
                <a:cubicBezTo>
                  <a:pt x="0" y="2849"/>
                  <a:pt x="32" y="2881"/>
                  <a:pt x="64" y="2896"/>
                </a:cubicBezTo>
                <a:cubicBezTo>
                  <a:pt x="382" y="2928"/>
                  <a:pt x="652" y="2944"/>
                  <a:pt x="907" y="2944"/>
                </a:cubicBezTo>
                <a:cubicBezTo>
                  <a:pt x="1288" y="2944"/>
                  <a:pt x="1623" y="2912"/>
                  <a:pt x="1973" y="2881"/>
                </a:cubicBezTo>
                <a:close/>
                <a:moveTo>
                  <a:pt x="160" y="2737"/>
                </a:moveTo>
                <a:lnTo>
                  <a:pt x="160" y="876"/>
                </a:lnTo>
                <a:cubicBezTo>
                  <a:pt x="859" y="956"/>
                  <a:pt x="1400" y="908"/>
                  <a:pt x="1973" y="860"/>
                </a:cubicBezTo>
                <a:cubicBezTo>
                  <a:pt x="2545" y="797"/>
                  <a:pt x="3150" y="749"/>
                  <a:pt x="3913" y="828"/>
                </a:cubicBezTo>
                <a:lnTo>
                  <a:pt x="3913" y="2706"/>
                </a:lnTo>
                <a:cubicBezTo>
                  <a:pt x="3134" y="2610"/>
                  <a:pt x="2545" y="2673"/>
                  <a:pt x="1957" y="2721"/>
                </a:cubicBezTo>
                <a:cubicBezTo>
                  <a:pt x="1400" y="2769"/>
                  <a:pt x="859" y="2833"/>
                  <a:pt x="160" y="2737"/>
                </a:cubicBezTo>
                <a:close/>
                <a:moveTo>
                  <a:pt x="4263" y="2593"/>
                </a:moveTo>
                <a:cubicBezTo>
                  <a:pt x="4311" y="2593"/>
                  <a:pt x="4342" y="2561"/>
                  <a:pt x="4342" y="2514"/>
                </a:cubicBezTo>
                <a:lnTo>
                  <a:pt x="4342" y="462"/>
                </a:lnTo>
                <a:cubicBezTo>
                  <a:pt x="4342" y="430"/>
                  <a:pt x="4311" y="398"/>
                  <a:pt x="4279" y="382"/>
                </a:cubicBezTo>
                <a:cubicBezTo>
                  <a:pt x="3532" y="287"/>
                  <a:pt x="2927" y="350"/>
                  <a:pt x="2354" y="398"/>
                </a:cubicBezTo>
                <a:cubicBezTo>
                  <a:pt x="1766" y="462"/>
                  <a:pt x="1161" y="526"/>
                  <a:pt x="398" y="414"/>
                </a:cubicBezTo>
                <a:cubicBezTo>
                  <a:pt x="350" y="414"/>
                  <a:pt x="318" y="446"/>
                  <a:pt x="303" y="493"/>
                </a:cubicBezTo>
                <a:cubicBezTo>
                  <a:pt x="303" y="541"/>
                  <a:pt x="334" y="573"/>
                  <a:pt x="382" y="573"/>
                </a:cubicBezTo>
                <a:cubicBezTo>
                  <a:pt x="1161" y="684"/>
                  <a:pt x="1782" y="621"/>
                  <a:pt x="2370" y="557"/>
                </a:cubicBezTo>
                <a:cubicBezTo>
                  <a:pt x="2943" y="509"/>
                  <a:pt x="3484" y="446"/>
                  <a:pt x="4184" y="541"/>
                </a:cubicBezTo>
                <a:lnTo>
                  <a:pt x="4184" y="2514"/>
                </a:lnTo>
                <a:cubicBezTo>
                  <a:pt x="4184" y="2561"/>
                  <a:pt x="4215" y="2593"/>
                  <a:pt x="4263" y="2593"/>
                </a:cubicBezTo>
                <a:close/>
                <a:moveTo>
                  <a:pt x="4676" y="2323"/>
                </a:moveTo>
                <a:cubicBezTo>
                  <a:pt x="4707" y="2323"/>
                  <a:pt x="4755" y="2291"/>
                  <a:pt x="4755" y="2243"/>
                </a:cubicBezTo>
                <a:lnTo>
                  <a:pt x="4755" y="128"/>
                </a:lnTo>
                <a:cubicBezTo>
                  <a:pt x="4755" y="96"/>
                  <a:pt x="4723" y="48"/>
                  <a:pt x="4676" y="48"/>
                </a:cubicBezTo>
                <a:cubicBezTo>
                  <a:pt x="3864" y="-47"/>
                  <a:pt x="3260" y="17"/>
                  <a:pt x="2687" y="80"/>
                </a:cubicBezTo>
                <a:cubicBezTo>
                  <a:pt x="2115" y="160"/>
                  <a:pt x="1558" y="207"/>
                  <a:pt x="795" y="112"/>
                </a:cubicBezTo>
                <a:cubicBezTo>
                  <a:pt x="763" y="112"/>
                  <a:pt x="715" y="144"/>
                  <a:pt x="715" y="191"/>
                </a:cubicBezTo>
                <a:cubicBezTo>
                  <a:pt x="699" y="239"/>
                  <a:pt x="731" y="271"/>
                  <a:pt x="778" y="271"/>
                </a:cubicBezTo>
                <a:cubicBezTo>
                  <a:pt x="1558" y="382"/>
                  <a:pt x="2147" y="303"/>
                  <a:pt x="2703" y="239"/>
                </a:cubicBezTo>
                <a:cubicBezTo>
                  <a:pt x="3260" y="175"/>
                  <a:pt x="3817" y="112"/>
                  <a:pt x="4596" y="207"/>
                </a:cubicBezTo>
                <a:lnTo>
                  <a:pt x="4596" y="2243"/>
                </a:lnTo>
                <a:cubicBezTo>
                  <a:pt x="4596" y="2291"/>
                  <a:pt x="4628" y="2323"/>
                  <a:pt x="4676" y="2323"/>
                </a:cubicBezTo>
                <a:close/>
                <a:moveTo>
                  <a:pt x="907" y="2451"/>
                </a:moveTo>
                <a:cubicBezTo>
                  <a:pt x="748" y="2451"/>
                  <a:pt x="573" y="2435"/>
                  <a:pt x="398" y="2435"/>
                </a:cubicBezTo>
                <a:cubicBezTo>
                  <a:pt x="366" y="2435"/>
                  <a:pt x="318" y="2451"/>
                  <a:pt x="318" y="2499"/>
                </a:cubicBezTo>
                <a:cubicBezTo>
                  <a:pt x="318" y="2546"/>
                  <a:pt x="350" y="2578"/>
                  <a:pt x="398" y="2594"/>
                </a:cubicBezTo>
                <a:cubicBezTo>
                  <a:pt x="573" y="2594"/>
                  <a:pt x="732" y="2610"/>
                  <a:pt x="907" y="2610"/>
                </a:cubicBezTo>
                <a:cubicBezTo>
                  <a:pt x="955" y="2610"/>
                  <a:pt x="987" y="2578"/>
                  <a:pt x="987" y="2530"/>
                </a:cubicBezTo>
                <a:cubicBezTo>
                  <a:pt x="987" y="2483"/>
                  <a:pt x="955" y="2451"/>
                  <a:pt x="907" y="2451"/>
                </a:cubicBezTo>
                <a:close/>
                <a:moveTo>
                  <a:pt x="3086" y="1131"/>
                </a:moveTo>
                <a:cubicBezTo>
                  <a:pt x="3261" y="1131"/>
                  <a:pt x="3420" y="1131"/>
                  <a:pt x="3595" y="1146"/>
                </a:cubicBezTo>
                <a:lnTo>
                  <a:pt x="3611" y="1146"/>
                </a:lnTo>
                <a:cubicBezTo>
                  <a:pt x="3643" y="1146"/>
                  <a:pt x="3675" y="1115"/>
                  <a:pt x="3675" y="1083"/>
                </a:cubicBezTo>
                <a:cubicBezTo>
                  <a:pt x="3690" y="1036"/>
                  <a:pt x="3659" y="988"/>
                  <a:pt x="3611" y="988"/>
                </a:cubicBezTo>
                <a:cubicBezTo>
                  <a:pt x="3436" y="972"/>
                  <a:pt x="3261" y="972"/>
                  <a:pt x="3086" y="972"/>
                </a:cubicBezTo>
                <a:cubicBezTo>
                  <a:pt x="3038" y="972"/>
                  <a:pt x="3006" y="1003"/>
                  <a:pt x="3006" y="1051"/>
                </a:cubicBezTo>
                <a:cubicBezTo>
                  <a:pt x="3006" y="1099"/>
                  <a:pt x="3038" y="1131"/>
                  <a:pt x="3086" y="1131"/>
                </a:cubicBezTo>
                <a:close/>
                <a:moveTo>
                  <a:pt x="2019" y="2340"/>
                </a:moveTo>
                <a:lnTo>
                  <a:pt x="2019" y="2197"/>
                </a:lnTo>
                <a:cubicBezTo>
                  <a:pt x="2131" y="2181"/>
                  <a:pt x="2242" y="2117"/>
                  <a:pt x="2274" y="1990"/>
                </a:cubicBezTo>
                <a:cubicBezTo>
                  <a:pt x="2274" y="1974"/>
                  <a:pt x="2290" y="1974"/>
                  <a:pt x="2290" y="1958"/>
                </a:cubicBezTo>
                <a:cubicBezTo>
                  <a:pt x="2290" y="1878"/>
                  <a:pt x="2274" y="1783"/>
                  <a:pt x="2210" y="1735"/>
                </a:cubicBezTo>
                <a:cubicBezTo>
                  <a:pt x="2178" y="1703"/>
                  <a:pt x="2131" y="1688"/>
                  <a:pt x="2099" y="1672"/>
                </a:cubicBezTo>
                <a:cubicBezTo>
                  <a:pt x="2051" y="1655"/>
                  <a:pt x="2004" y="1640"/>
                  <a:pt x="1956" y="1624"/>
                </a:cubicBezTo>
                <a:cubicBezTo>
                  <a:pt x="1924" y="1608"/>
                  <a:pt x="1876" y="1608"/>
                  <a:pt x="1844" y="1592"/>
                </a:cubicBezTo>
                <a:cubicBezTo>
                  <a:pt x="1796" y="1576"/>
                  <a:pt x="1781" y="1560"/>
                  <a:pt x="1781" y="1545"/>
                </a:cubicBezTo>
                <a:cubicBezTo>
                  <a:pt x="1765" y="1512"/>
                  <a:pt x="1765" y="1465"/>
                  <a:pt x="1796" y="1449"/>
                </a:cubicBezTo>
                <a:cubicBezTo>
                  <a:pt x="1829" y="1385"/>
                  <a:pt x="1924" y="1385"/>
                  <a:pt x="1987" y="1401"/>
                </a:cubicBezTo>
                <a:cubicBezTo>
                  <a:pt x="2083" y="1417"/>
                  <a:pt x="2147" y="1449"/>
                  <a:pt x="2147" y="1465"/>
                </a:cubicBezTo>
                <a:cubicBezTo>
                  <a:pt x="2178" y="1481"/>
                  <a:pt x="2226" y="1481"/>
                  <a:pt x="2258" y="1449"/>
                </a:cubicBezTo>
                <a:cubicBezTo>
                  <a:pt x="2274" y="1401"/>
                  <a:pt x="2274" y="1354"/>
                  <a:pt x="2242" y="1337"/>
                </a:cubicBezTo>
                <a:cubicBezTo>
                  <a:pt x="2226" y="1322"/>
                  <a:pt x="2147" y="1258"/>
                  <a:pt x="2019" y="1242"/>
                </a:cubicBezTo>
                <a:lnTo>
                  <a:pt x="2019" y="1115"/>
                </a:lnTo>
                <a:cubicBezTo>
                  <a:pt x="2019" y="1067"/>
                  <a:pt x="1987" y="1036"/>
                  <a:pt x="1940" y="1036"/>
                </a:cubicBezTo>
                <a:cubicBezTo>
                  <a:pt x="1892" y="1036"/>
                  <a:pt x="1860" y="1067"/>
                  <a:pt x="1860" y="1115"/>
                </a:cubicBezTo>
                <a:lnTo>
                  <a:pt x="1860" y="1242"/>
                </a:lnTo>
                <a:cubicBezTo>
                  <a:pt x="1781" y="1258"/>
                  <a:pt x="1717" y="1290"/>
                  <a:pt x="1669" y="1337"/>
                </a:cubicBezTo>
                <a:cubicBezTo>
                  <a:pt x="1606" y="1417"/>
                  <a:pt x="1590" y="1512"/>
                  <a:pt x="1638" y="1608"/>
                </a:cubicBezTo>
                <a:cubicBezTo>
                  <a:pt x="1653" y="1655"/>
                  <a:pt x="1701" y="1703"/>
                  <a:pt x="1781" y="1735"/>
                </a:cubicBezTo>
                <a:cubicBezTo>
                  <a:pt x="1829" y="1751"/>
                  <a:pt x="1876" y="1767"/>
                  <a:pt x="1908" y="1783"/>
                </a:cubicBezTo>
                <a:cubicBezTo>
                  <a:pt x="1956" y="1783"/>
                  <a:pt x="2004" y="1799"/>
                  <a:pt x="2035" y="1815"/>
                </a:cubicBezTo>
                <a:cubicBezTo>
                  <a:pt x="2067" y="1831"/>
                  <a:pt x="2083" y="1846"/>
                  <a:pt x="2099" y="1863"/>
                </a:cubicBezTo>
                <a:cubicBezTo>
                  <a:pt x="2131" y="1878"/>
                  <a:pt x="2131" y="1910"/>
                  <a:pt x="2131" y="1942"/>
                </a:cubicBezTo>
                <a:cubicBezTo>
                  <a:pt x="2115" y="2021"/>
                  <a:pt x="2035" y="2054"/>
                  <a:pt x="1972" y="2054"/>
                </a:cubicBezTo>
                <a:cubicBezTo>
                  <a:pt x="1860" y="2054"/>
                  <a:pt x="1765" y="2021"/>
                  <a:pt x="1686" y="1942"/>
                </a:cubicBezTo>
                <a:cubicBezTo>
                  <a:pt x="1653" y="1926"/>
                  <a:pt x="1606" y="1926"/>
                  <a:pt x="1574" y="1958"/>
                </a:cubicBezTo>
                <a:cubicBezTo>
                  <a:pt x="1542" y="1990"/>
                  <a:pt x="1558" y="2054"/>
                  <a:pt x="1590" y="2069"/>
                </a:cubicBezTo>
                <a:cubicBezTo>
                  <a:pt x="1669" y="2133"/>
                  <a:pt x="1765" y="2181"/>
                  <a:pt x="1860" y="2197"/>
                </a:cubicBezTo>
                <a:lnTo>
                  <a:pt x="1860" y="2340"/>
                </a:lnTo>
                <a:cubicBezTo>
                  <a:pt x="1860" y="2372"/>
                  <a:pt x="1892" y="2419"/>
                  <a:pt x="1940" y="2419"/>
                </a:cubicBezTo>
                <a:cubicBezTo>
                  <a:pt x="1987" y="2419"/>
                  <a:pt x="2019" y="2372"/>
                  <a:pt x="2019" y="23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7" name="Freeform: Shape 5">
            <a:extLst>
              <a:ext uri="{FF2B5EF4-FFF2-40B4-BE49-F238E27FC236}">
                <a16:creationId xmlns:a16="http://schemas.microsoft.com/office/drawing/2014/main" id="{0121D6F2-1C98-CF41-8D7A-E78F0B6E47A2}"/>
              </a:ext>
            </a:extLst>
          </p:cNvPr>
          <p:cNvSpPr/>
          <p:nvPr/>
        </p:nvSpPr>
        <p:spPr>
          <a:xfrm>
            <a:off x="17377548" y="9967701"/>
            <a:ext cx="1711800" cy="966240"/>
          </a:xfrm>
          <a:custGeom>
            <a:avLst/>
            <a:gdLst/>
            <a:ahLst/>
            <a:cxnLst>
              <a:cxn ang="3cd4">
                <a:pos x="hc" y="t"/>
              </a:cxn>
              <a:cxn ang="cd2">
                <a:pos x="l" y="vc"/>
              </a:cxn>
              <a:cxn ang="cd4">
                <a:pos x="hc" y="b"/>
              </a:cxn>
              <a:cxn ang="0">
                <a:pos x="r" y="vc"/>
              </a:cxn>
            </a:cxnLst>
            <a:rect l="l" t="t" r="r" b="b"/>
            <a:pathLst>
              <a:path w="4756" h="2685">
                <a:moveTo>
                  <a:pt x="32" y="108"/>
                </a:moveTo>
                <a:cubicBezTo>
                  <a:pt x="17" y="124"/>
                  <a:pt x="0" y="140"/>
                  <a:pt x="0" y="172"/>
                </a:cubicBezTo>
                <a:lnTo>
                  <a:pt x="0" y="2541"/>
                </a:lnTo>
                <a:cubicBezTo>
                  <a:pt x="0" y="2589"/>
                  <a:pt x="32" y="2621"/>
                  <a:pt x="64" y="2621"/>
                </a:cubicBezTo>
                <a:cubicBezTo>
                  <a:pt x="462" y="2669"/>
                  <a:pt x="796" y="2685"/>
                  <a:pt x="1130" y="2685"/>
                </a:cubicBezTo>
                <a:cubicBezTo>
                  <a:pt x="1607" y="2685"/>
                  <a:pt x="2036" y="2653"/>
                  <a:pt x="2466" y="2605"/>
                </a:cubicBezTo>
                <a:cubicBezTo>
                  <a:pt x="3166" y="2541"/>
                  <a:pt x="3818" y="2478"/>
                  <a:pt x="4677" y="2605"/>
                </a:cubicBezTo>
                <a:cubicBezTo>
                  <a:pt x="4693" y="2605"/>
                  <a:pt x="4725" y="2589"/>
                  <a:pt x="4740" y="2574"/>
                </a:cubicBezTo>
                <a:cubicBezTo>
                  <a:pt x="4756" y="2558"/>
                  <a:pt x="4756" y="2541"/>
                  <a:pt x="4756" y="2526"/>
                </a:cubicBezTo>
                <a:lnTo>
                  <a:pt x="4756" y="140"/>
                </a:lnTo>
                <a:cubicBezTo>
                  <a:pt x="4756" y="92"/>
                  <a:pt x="4740" y="60"/>
                  <a:pt x="4693" y="60"/>
                </a:cubicBezTo>
                <a:cubicBezTo>
                  <a:pt x="3818" y="-51"/>
                  <a:pt x="3150" y="13"/>
                  <a:pt x="2450" y="76"/>
                </a:cubicBezTo>
                <a:cubicBezTo>
                  <a:pt x="1766" y="140"/>
                  <a:pt x="1035" y="204"/>
                  <a:pt x="96" y="92"/>
                </a:cubicBezTo>
                <a:cubicBezTo>
                  <a:pt x="64" y="76"/>
                  <a:pt x="48" y="92"/>
                  <a:pt x="32" y="108"/>
                </a:cubicBezTo>
                <a:close/>
                <a:moveTo>
                  <a:pt x="160" y="251"/>
                </a:moveTo>
                <a:cubicBezTo>
                  <a:pt x="1082" y="362"/>
                  <a:pt x="1782" y="283"/>
                  <a:pt x="2466" y="235"/>
                </a:cubicBezTo>
                <a:cubicBezTo>
                  <a:pt x="3150" y="172"/>
                  <a:pt x="3786" y="108"/>
                  <a:pt x="4597" y="204"/>
                </a:cubicBezTo>
                <a:lnTo>
                  <a:pt x="4597" y="2430"/>
                </a:lnTo>
                <a:cubicBezTo>
                  <a:pt x="3770" y="2335"/>
                  <a:pt x="3134" y="2383"/>
                  <a:pt x="2450" y="2446"/>
                </a:cubicBezTo>
                <a:cubicBezTo>
                  <a:pt x="1782" y="2510"/>
                  <a:pt x="1082" y="2574"/>
                  <a:pt x="160" y="2478"/>
                </a:cubicBezTo>
                <a:close/>
                <a:moveTo>
                  <a:pt x="3627" y="2145"/>
                </a:moveTo>
                <a:cubicBezTo>
                  <a:pt x="3818" y="2145"/>
                  <a:pt x="4025" y="2145"/>
                  <a:pt x="4359" y="2161"/>
                </a:cubicBezTo>
                <a:cubicBezTo>
                  <a:pt x="4390" y="2161"/>
                  <a:pt x="4407" y="2161"/>
                  <a:pt x="4422" y="2145"/>
                </a:cubicBezTo>
                <a:cubicBezTo>
                  <a:pt x="4438" y="2129"/>
                  <a:pt x="4438" y="2097"/>
                  <a:pt x="4438" y="2081"/>
                </a:cubicBezTo>
                <a:lnTo>
                  <a:pt x="4438" y="491"/>
                </a:lnTo>
                <a:cubicBezTo>
                  <a:pt x="4438" y="459"/>
                  <a:pt x="4407" y="427"/>
                  <a:pt x="4375" y="411"/>
                </a:cubicBezTo>
                <a:cubicBezTo>
                  <a:pt x="4041" y="396"/>
                  <a:pt x="3802" y="396"/>
                  <a:pt x="3611" y="396"/>
                </a:cubicBezTo>
                <a:cubicBezTo>
                  <a:pt x="3198" y="396"/>
                  <a:pt x="2880" y="427"/>
                  <a:pt x="2514" y="459"/>
                </a:cubicBezTo>
                <a:lnTo>
                  <a:pt x="2402" y="475"/>
                </a:lnTo>
                <a:cubicBezTo>
                  <a:pt x="2005" y="507"/>
                  <a:pt x="1527" y="539"/>
                  <a:pt x="1050" y="539"/>
                </a:cubicBezTo>
                <a:lnTo>
                  <a:pt x="812" y="539"/>
                </a:lnTo>
                <a:cubicBezTo>
                  <a:pt x="764" y="539"/>
                  <a:pt x="684" y="523"/>
                  <a:pt x="557" y="523"/>
                </a:cubicBezTo>
                <a:cubicBezTo>
                  <a:pt x="541" y="523"/>
                  <a:pt x="509" y="539"/>
                  <a:pt x="494" y="539"/>
                </a:cubicBezTo>
                <a:cubicBezTo>
                  <a:pt x="478" y="554"/>
                  <a:pt x="478" y="586"/>
                  <a:pt x="478" y="602"/>
                </a:cubicBezTo>
                <a:lnTo>
                  <a:pt x="478" y="2193"/>
                </a:lnTo>
                <a:cubicBezTo>
                  <a:pt x="478" y="2224"/>
                  <a:pt x="509" y="2272"/>
                  <a:pt x="557" y="2272"/>
                </a:cubicBezTo>
                <a:cubicBezTo>
                  <a:pt x="684" y="2272"/>
                  <a:pt x="748" y="2272"/>
                  <a:pt x="812" y="2288"/>
                </a:cubicBezTo>
                <a:lnTo>
                  <a:pt x="1050" y="2288"/>
                </a:lnTo>
                <a:cubicBezTo>
                  <a:pt x="1496" y="2288"/>
                  <a:pt x="1909" y="2256"/>
                  <a:pt x="2307" y="2224"/>
                </a:cubicBezTo>
                <a:cubicBezTo>
                  <a:pt x="2705" y="2177"/>
                  <a:pt x="3150" y="2145"/>
                  <a:pt x="3627" y="2145"/>
                </a:cubicBezTo>
                <a:close/>
                <a:moveTo>
                  <a:pt x="1050" y="2129"/>
                </a:moveTo>
                <a:lnTo>
                  <a:pt x="812" y="2129"/>
                </a:lnTo>
                <a:cubicBezTo>
                  <a:pt x="780" y="2129"/>
                  <a:pt x="716" y="2113"/>
                  <a:pt x="637" y="2113"/>
                </a:cubicBezTo>
                <a:lnTo>
                  <a:pt x="637" y="682"/>
                </a:lnTo>
                <a:cubicBezTo>
                  <a:pt x="716" y="697"/>
                  <a:pt x="764" y="697"/>
                  <a:pt x="796" y="697"/>
                </a:cubicBezTo>
                <a:lnTo>
                  <a:pt x="1050" y="697"/>
                </a:lnTo>
                <a:cubicBezTo>
                  <a:pt x="1511" y="697"/>
                  <a:pt x="1989" y="666"/>
                  <a:pt x="2418" y="618"/>
                </a:cubicBezTo>
                <a:lnTo>
                  <a:pt x="2529" y="618"/>
                </a:lnTo>
                <a:cubicBezTo>
                  <a:pt x="2895" y="586"/>
                  <a:pt x="3214" y="554"/>
                  <a:pt x="3611" y="554"/>
                </a:cubicBezTo>
                <a:cubicBezTo>
                  <a:pt x="3786" y="554"/>
                  <a:pt x="3993" y="554"/>
                  <a:pt x="4279" y="570"/>
                </a:cubicBezTo>
                <a:lnTo>
                  <a:pt x="4279" y="2002"/>
                </a:lnTo>
                <a:cubicBezTo>
                  <a:pt x="3993" y="1986"/>
                  <a:pt x="3802" y="1986"/>
                  <a:pt x="3627" y="1986"/>
                </a:cubicBezTo>
                <a:cubicBezTo>
                  <a:pt x="3134" y="1986"/>
                  <a:pt x="2689" y="2018"/>
                  <a:pt x="2291" y="2066"/>
                </a:cubicBezTo>
                <a:cubicBezTo>
                  <a:pt x="1893" y="2097"/>
                  <a:pt x="1496" y="2129"/>
                  <a:pt x="1050" y="2129"/>
                </a:cubicBezTo>
                <a:close/>
                <a:moveTo>
                  <a:pt x="2323" y="872"/>
                </a:moveTo>
                <a:cubicBezTo>
                  <a:pt x="2036" y="872"/>
                  <a:pt x="1814" y="1095"/>
                  <a:pt x="1814" y="1366"/>
                </a:cubicBezTo>
                <a:cubicBezTo>
                  <a:pt x="1814" y="1636"/>
                  <a:pt x="2036" y="1859"/>
                  <a:pt x="2323" y="1859"/>
                </a:cubicBezTo>
                <a:cubicBezTo>
                  <a:pt x="2593" y="1859"/>
                  <a:pt x="2816" y="1636"/>
                  <a:pt x="2816" y="1366"/>
                </a:cubicBezTo>
                <a:cubicBezTo>
                  <a:pt x="2816" y="1095"/>
                  <a:pt x="2593" y="872"/>
                  <a:pt x="2323" y="872"/>
                </a:cubicBezTo>
                <a:close/>
                <a:moveTo>
                  <a:pt x="2323" y="1700"/>
                </a:moveTo>
                <a:cubicBezTo>
                  <a:pt x="2132" y="1700"/>
                  <a:pt x="1973" y="1557"/>
                  <a:pt x="1973" y="1366"/>
                </a:cubicBezTo>
                <a:cubicBezTo>
                  <a:pt x="1973" y="1175"/>
                  <a:pt x="2132" y="1032"/>
                  <a:pt x="2323" y="1032"/>
                </a:cubicBezTo>
                <a:cubicBezTo>
                  <a:pt x="2498" y="1032"/>
                  <a:pt x="2657" y="1175"/>
                  <a:pt x="2657" y="1366"/>
                </a:cubicBezTo>
                <a:cubicBezTo>
                  <a:pt x="2657" y="1557"/>
                  <a:pt x="2498" y="1700"/>
                  <a:pt x="2323" y="170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8" name="Freeform: Shape 6">
            <a:extLst>
              <a:ext uri="{FF2B5EF4-FFF2-40B4-BE49-F238E27FC236}">
                <a16:creationId xmlns:a16="http://schemas.microsoft.com/office/drawing/2014/main" id="{12EF84D0-5F65-5E42-AAA7-E6E67FEBEA41}"/>
              </a:ext>
            </a:extLst>
          </p:cNvPr>
          <p:cNvSpPr/>
          <p:nvPr/>
        </p:nvSpPr>
        <p:spPr>
          <a:xfrm>
            <a:off x="17281973" y="2924919"/>
            <a:ext cx="1769040" cy="1769040"/>
          </a:xfrm>
          <a:custGeom>
            <a:avLst/>
            <a:gdLst/>
            <a:ahLst/>
            <a:cxnLst>
              <a:cxn ang="3cd4">
                <a:pos x="hc" y="t"/>
              </a:cxn>
              <a:cxn ang="cd2">
                <a:pos x="l" y="vc"/>
              </a:cxn>
              <a:cxn ang="cd4">
                <a:pos x="hc" y="b"/>
              </a:cxn>
              <a:cxn ang="0">
                <a:pos x="r" y="vc"/>
              </a:cxn>
            </a:cxnLst>
            <a:rect l="l" t="t" r="r" b="b"/>
            <a:pathLst>
              <a:path w="4915" h="4915">
                <a:moveTo>
                  <a:pt x="4836" y="4199"/>
                </a:moveTo>
                <a:lnTo>
                  <a:pt x="700" y="4199"/>
                </a:lnTo>
                <a:lnTo>
                  <a:pt x="700" y="80"/>
                </a:lnTo>
                <a:cubicBezTo>
                  <a:pt x="700" y="32"/>
                  <a:pt x="668" y="0"/>
                  <a:pt x="621" y="0"/>
                </a:cubicBezTo>
                <a:cubicBezTo>
                  <a:pt x="589" y="0"/>
                  <a:pt x="541" y="32"/>
                  <a:pt x="541" y="80"/>
                </a:cubicBezTo>
                <a:lnTo>
                  <a:pt x="541" y="4199"/>
                </a:lnTo>
                <a:lnTo>
                  <a:pt x="80" y="4199"/>
                </a:lnTo>
                <a:cubicBezTo>
                  <a:pt x="32" y="4199"/>
                  <a:pt x="0" y="4231"/>
                  <a:pt x="0" y="4279"/>
                </a:cubicBezTo>
                <a:cubicBezTo>
                  <a:pt x="0" y="4327"/>
                  <a:pt x="32" y="4358"/>
                  <a:pt x="80" y="4358"/>
                </a:cubicBezTo>
                <a:lnTo>
                  <a:pt x="541" y="4358"/>
                </a:lnTo>
                <a:lnTo>
                  <a:pt x="541" y="4836"/>
                </a:lnTo>
                <a:cubicBezTo>
                  <a:pt x="541" y="4883"/>
                  <a:pt x="589" y="4915"/>
                  <a:pt x="621" y="4915"/>
                </a:cubicBezTo>
                <a:cubicBezTo>
                  <a:pt x="668" y="4915"/>
                  <a:pt x="700" y="4883"/>
                  <a:pt x="700" y="4836"/>
                </a:cubicBezTo>
                <a:lnTo>
                  <a:pt x="700" y="4358"/>
                </a:lnTo>
                <a:lnTo>
                  <a:pt x="4836" y="4358"/>
                </a:lnTo>
                <a:cubicBezTo>
                  <a:pt x="4884" y="4358"/>
                  <a:pt x="4915" y="4327"/>
                  <a:pt x="4915" y="4279"/>
                </a:cubicBezTo>
                <a:cubicBezTo>
                  <a:pt x="4915" y="4231"/>
                  <a:pt x="4884" y="4199"/>
                  <a:pt x="4836" y="4199"/>
                </a:cubicBezTo>
                <a:close/>
                <a:moveTo>
                  <a:pt x="1097" y="3897"/>
                </a:moveTo>
                <a:lnTo>
                  <a:pt x="1145" y="3897"/>
                </a:lnTo>
                <a:lnTo>
                  <a:pt x="2099" y="3309"/>
                </a:lnTo>
                <a:lnTo>
                  <a:pt x="3260" y="3706"/>
                </a:lnTo>
                <a:cubicBezTo>
                  <a:pt x="3292" y="3706"/>
                  <a:pt x="3323" y="3706"/>
                  <a:pt x="3339" y="3674"/>
                </a:cubicBezTo>
                <a:lnTo>
                  <a:pt x="4723" y="2291"/>
                </a:lnTo>
                <a:cubicBezTo>
                  <a:pt x="4755" y="2259"/>
                  <a:pt x="4755" y="2211"/>
                  <a:pt x="4723" y="2179"/>
                </a:cubicBezTo>
                <a:cubicBezTo>
                  <a:pt x="4692" y="2147"/>
                  <a:pt x="4644" y="2147"/>
                  <a:pt x="4612" y="2179"/>
                </a:cubicBezTo>
                <a:lnTo>
                  <a:pt x="3260" y="3531"/>
                </a:lnTo>
                <a:lnTo>
                  <a:pt x="2115" y="3149"/>
                </a:lnTo>
                <a:cubicBezTo>
                  <a:pt x="2099" y="3149"/>
                  <a:pt x="2067" y="3149"/>
                  <a:pt x="2051" y="3165"/>
                </a:cubicBezTo>
                <a:lnTo>
                  <a:pt x="1049" y="3754"/>
                </a:lnTo>
                <a:cubicBezTo>
                  <a:pt x="1017" y="3786"/>
                  <a:pt x="1001" y="3833"/>
                  <a:pt x="1033" y="3865"/>
                </a:cubicBezTo>
                <a:cubicBezTo>
                  <a:pt x="1049" y="3897"/>
                  <a:pt x="1065" y="3897"/>
                  <a:pt x="1097" y="3897"/>
                </a:cubicBezTo>
                <a:close/>
                <a:moveTo>
                  <a:pt x="1718" y="2767"/>
                </a:moveTo>
                <a:lnTo>
                  <a:pt x="2307" y="2608"/>
                </a:lnTo>
                <a:lnTo>
                  <a:pt x="3277" y="2608"/>
                </a:lnTo>
                <a:cubicBezTo>
                  <a:pt x="3293" y="2608"/>
                  <a:pt x="3309" y="2608"/>
                  <a:pt x="3324" y="2591"/>
                </a:cubicBezTo>
                <a:lnTo>
                  <a:pt x="4676" y="1685"/>
                </a:lnTo>
                <a:cubicBezTo>
                  <a:pt x="4708" y="1653"/>
                  <a:pt x="4724" y="1606"/>
                  <a:pt x="4708" y="1573"/>
                </a:cubicBezTo>
                <a:cubicBezTo>
                  <a:pt x="4676" y="1542"/>
                  <a:pt x="4629" y="1526"/>
                  <a:pt x="4597" y="1558"/>
                </a:cubicBezTo>
                <a:lnTo>
                  <a:pt x="3261" y="2448"/>
                </a:lnTo>
                <a:lnTo>
                  <a:pt x="2291" y="2448"/>
                </a:lnTo>
                <a:lnTo>
                  <a:pt x="2275" y="2448"/>
                </a:lnTo>
                <a:lnTo>
                  <a:pt x="1686" y="2608"/>
                </a:lnTo>
                <a:lnTo>
                  <a:pt x="1018" y="2608"/>
                </a:lnTo>
                <a:cubicBezTo>
                  <a:pt x="986" y="2608"/>
                  <a:pt x="939" y="2655"/>
                  <a:pt x="939" y="2687"/>
                </a:cubicBezTo>
                <a:cubicBezTo>
                  <a:pt x="939" y="2735"/>
                  <a:pt x="986" y="2767"/>
                  <a:pt x="1018" y="2767"/>
                </a:cubicBezTo>
                <a:lnTo>
                  <a:pt x="1686" y="2767"/>
                </a:lnTo>
                <a:close/>
                <a:moveTo>
                  <a:pt x="4676" y="859"/>
                </a:moveTo>
                <a:lnTo>
                  <a:pt x="3881" y="859"/>
                </a:lnTo>
                <a:cubicBezTo>
                  <a:pt x="3849" y="859"/>
                  <a:pt x="3833" y="875"/>
                  <a:pt x="3818" y="891"/>
                </a:cubicBezTo>
                <a:lnTo>
                  <a:pt x="3261" y="1591"/>
                </a:lnTo>
                <a:lnTo>
                  <a:pt x="2736" y="1193"/>
                </a:lnTo>
                <a:cubicBezTo>
                  <a:pt x="2704" y="1177"/>
                  <a:pt x="2657" y="1177"/>
                  <a:pt x="2625" y="1193"/>
                </a:cubicBezTo>
                <a:lnTo>
                  <a:pt x="1861" y="1973"/>
                </a:lnTo>
                <a:lnTo>
                  <a:pt x="1113" y="1813"/>
                </a:lnTo>
                <a:cubicBezTo>
                  <a:pt x="1082" y="1797"/>
                  <a:pt x="1034" y="1829"/>
                  <a:pt x="1018" y="1877"/>
                </a:cubicBezTo>
                <a:cubicBezTo>
                  <a:pt x="1018" y="1909"/>
                  <a:pt x="1034" y="1956"/>
                  <a:pt x="1082" y="1973"/>
                </a:cubicBezTo>
                <a:lnTo>
                  <a:pt x="1877" y="2147"/>
                </a:lnTo>
                <a:lnTo>
                  <a:pt x="1893" y="2147"/>
                </a:lnTo>
                <a:cubicBezTo>
                  <a:pt x="1909" y="2147"/>
                  <a:pt x="1941" y="2131"/>
                  <a:pt x="1957" y="2116"/>
                </a:cubicBezTo>
                <a:lnTo>
                  <a:pt x="2688" y="1368"/>
                </a:lnTo>
                <a:lnTo>
                  <a:pt x="3229" y="1765"/>
                </a:lnTo>
                <a:cubicBezTo>
                  <a:pt x="3277" y="1782"/>
                  <a:pt x="3324" y="1782"/>
                  <a:pt x="3340" y="1750"/>
                </a:cubicBezTo>
                <a:lnTo>
                  <a:pt x="3913" y="1018"/>
                </a:lnTo>
                <a:lnTo>
                  <a:pt x="4676" y="1018"/>
                </a:lnTo>
                <a:cubicBezTo>
                  <a:pt x="4724" y="1018"/>
                  <a:pt x="4756" y="986"/>
                  <a:pt x="4756" y="938"/>
                </a:cubicBezTo>
                <a:cubicBezTo>
                  <a:pt x="4756" y="907"/>
                  <a:pt x="4724" y="859"/>
                  <a:pt x="4676" y="8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9" name="Freeform: Shape 7">
            <a:extLst>
              <a:ext uri="{FF2B5EF4-FFF2-40B4-BE49-F238E27FC236}">
                <a16:creationId xmlns:a16="http://schemas.microsoft.com/office/drawing/2014/main" id="{496EFE40-1AD0-3643-B3B3-E3C3BA9E2D96}"/>
              </a:ext>
            </a:extLst>
          </p:cNvPr>
          <p:cNvSpPr/>
          <p:nvPr/>
        </p:nvSpPr>
        <p:spPr>
          <a:xfrm>
            <a:off x="13898198" y="2924919"/>
            <a:ext cx="1769040" cy="1769040"/>
          </a:xfrm>
          <a:custGeom>
            <a:avLst/>
            <a:gdLst/>
            <a:ahLst/>
            <a:cxnLst>
              <a:cxn ang="3cd4">
                <a:pos x="hc" y="t"/>
              </a:cxn>
              <a:cxn ang="cd2">
                <a:pos x="l" y="vc"/>
              </a:cxn>
              <a:cxn ang="cd4">
                <a:pos x="hc" y="b"/>
              </a:cxn>
              <a:cxn ang="0">
                <a:pos x="r" y="vc"/>
              </a:cxn>
            </a:cxnLst>
            <a:rect l="l" t="t" r="r" b="b"/>
            <a:pathLst>
              <a:path w="4915" h="4915">
                <a:moveTo>
                  <a:pt x="4836" y="4199"/>
                </a:moveTo>
                <a:lnTo>
                  <a:pt x="716" y="4199"/>
                </a:lnTo>
                <a:lnTo>
                  <a:pt x="716" y="80"/>
                </a:lnTo>
                <a:cubicBezTo>
                  <a:pt x="716" y="32"/>
                  <a:pt x="684" y="0"/>
                  <a:pt x="637" y="0"/>
                </a:cubicBezTo>
                <a:cubicBezTo>
                  <a:pt x="589" y="0"/>
                  <a:pt x="557" y="32"/>
                  <a:pt x="557" y="80"/>
                </a:cubicBezTo>
                <a:lnTo>
                  <a:pt x="557" y="4199"/>
                </a:lnTo>
                <a:lnTo>
                  <a:pt x="80" y="4199"/>
                </a:lnTo>
                <a:cubicBezTo>
                  <a:pt x="32" y="4199"/>
                  <a:pt x="0" y="4231"/>
                  <a:pt x="0" y="4279"/>
                </a:cubicBezTo>
                <a:cubicBezTo>
                  <a:pt x="0" y="4327"/>
                  <a:pt x="32" y="4358"/>
                  <a:pt x="80" y="4358"/>
                </a:cubicBezTo>
                <a:lnTo>
                  <a:pt x="557" y="4358"/>
                </a:lnTo>
                <a:lnTo>
                  <a:pt x="557" y="4836"/>
                </a:lnTo>
                <a:cubicBezTo>
                  <a:pt x="557" y="4883"/>
                  <a:pt x="589" y="4915"/>
                  <a:pt x="637" y="4915"/>
                </a:cubicBezTo>
                <a:cubicBezTo>
                  <a:pt x="684" y="4915"/>
                  <a:pt x="716" y="4883"/>
                  <a:pt x="716" y="4836"/>
                </a:cubicBezTo>
                <a:lnTo>
                  <a:pt x="716" y="4358"/>
                </a:lnTo>
                <a:lnTo>
                  <a:pt x="4836" y="4358"/>
                </a:lnTo>
                <a:cubicBezTo>
                  <a:pt x="4884" y="4358"/>
                  <a:pt x="4915" y="4327"/>
                  <a:pt x="4915" y="4279"/>
                </a:cubicBezTo>
                <a:cubicBezTo>
                  <a:pt x="4915" y="4231"/>
                  <a:pt x="4884" y="4199"/>
                  <a:pt x="4836" y="4199"/>
                </a:cubicBezTo>
                <a:close/>
                <a:moveTo>
                  <a:pt x="4518" y="3563"/>
                </a:moveTo>
                <a:lnTo>
                  <a:pt x="3532" y="2958"/>
                </a:lnTo>
                <a:cubicBezTo>
                  <a:pt x="3500" y="2943"/>
                  <a:pt x="3468" y="2943"/>
                  <a:pt x="3436" y="2974"/>
                </a:cubicBezTo>
                <a:lnTo>
                  <a:pt x="2673" y="3547"/>
                </a:lnTo>
                <a:lnTo>
                  <a:pt x="1718" y="3356"/>
                </a:lnTo>
                <a:cubicBezTo>
                  <a:pt x="1687" y="3340"/>
                  <a:pt x="1670" y="3356"/>
                  <a:pt x="1655" y="3356"/>
                </a:cubicBezTo>
                <a:lnTo>
                  <a:pt x="1066" y="3754"/>
                </a:lnTo>
                <a:cubicBezTo>
                  <a:pt x="1018" y="3786"/>
                  <a:pt x="1018" y="3833"/>
                  <a:pt x="1034" y="3865"/>
                </a:cubicBezTo>
                <a:cubicBezTo>
                  <a:pt x="1050" y="3897"/>
                  <a:pt x="1082" y="3897"/>
                  <a:pt x="1098" y="3897"/>
                </a:cubicBezTo>
                <a:lnTo>
                  <a:pt x="1146" y="3897"/>
                </a:lnTo>
                <a:lnTo>
                  <a:pt x="1718" y="3515"/>
                </a:lnTo>
                <a:lnTo>
                  <a:pt x="2673" y="3706"/>
                </a:lnTo>
                <a:cubicBezTo>
                  <a:pt x="2705" y="3706"/>
                  <a:pt x="2720" y="3706"/>
                  <a:pt x="2736" y="3690"/>
                </a:cubicBezTo>
                <a:lnTo>
                  <a:pt x="3484" y="3134"/>
                </a:lnTo>
                <a:lnTo>
                  <a:pt x="4438" y="3690"/>
                </a:lnTo>
                <a:cubicBezTo>
                  <a:pt x="4470" y="3722"/>
                  <a:pt x="4518" y="3706"/>
                  <a:pt x="4550" y="3674"/>
                </a:cubicBezTo>
                <a:cubicBezTo>
                  <a:pt x="4565" y="3627"/>
                  <a:pt x="4550" y="3579"/>
                  <a:pt x="4518" y="3563"/>
                </a:cubicBezTo>
                <a:close/>
                <a:moveTo>
                  <a:pt x="4550" y="2020"/>
                </a:moveTo>
                <a:cubicBezTo>
                  <a:pt x="4518" y="1988"/>
                  <a:pt x="4470" y="1973"/>
                  <a:pt x="4438" y="2004"/>
                </a:cubicBezTo>
                <a:lnTo>
                  <a:pt x="3897" y="2354"/>
                </a:lnTo>
                <a:lnTo>
                  <a:pt x="3357" y="1638"/>
                </a:lnTo>
                <a:cubicBezTo>
                  <a:pt x="3341" y="1607"/>
                  <a:pt x="3309" y="1607"/>
                  <a:pt x="3277" y="1607"/>
                </a:cubicBezTo>
                <a:cubicBezTo>
                  <a:pt x="3245" y="1607"/>
                  <a:pt x="3229" y="1622"/>
                  <a:pt x="3214" y="1654"/>
                </a:cubicBezTo>
                <a:lnTo>
                  <a:pt x="2641" y="2927"/>
                </a:lnTo>
                <a:lnTo>
                  <a:pt x="1909" y="2927"/>
                </a:lnTo>
                <a:lnTo>
                  <a:pt x="1130" y="2688"/>
                </a:lnTo>
                <a:cubicBezTo>
                  <a:pt x="1082" y="2688"/>
                  <a:pt x="1034" y="2704"/>
                  <a:pt x="1034" y="2752"/>
                </a:cubicBezTo>
                <a:cubicBezTo>
                  <a:pt x="1018" y="2783"/>
                  <a:pt x="1034" y="2831"/>
                  <a:pt x="1082" y="2847"/>
                </a:cubicBezTo>
                <a:lnTo>
                  <a:pt x="1878" y="3086"/>
                </a:lnTo>
                <a:lnTo>
                  <a:pt x="1893" y="3086"/>
                </a:lnTo>
                <a:lnTo>
                  <a:pt x="2688" y="3086"/>
                </a:lnTo>
                <a:cubicBezTo>
                  <a:pt x="2720" y="3086"/>
                  <a:pt x="2752" y="3070"/>
                  <a:pt x="2768" y="3038"/>
                </a:cubicBezTo>
                <a:lnTo>
                  <a:pt x="3309" y="1829"/>
                </a:lnTo>
                <a:lnTo>
                  <a:pt x="3818" y="2497"/>
                </a:lnTo>
                <a:cubicBezTo>
                  <a:pt x="3850" y="2529"/>
                  <a:pt x="3897" y="2545"/>
                  <a:pt x="3929" y="2513"/>
                </a:cubicBezTo>
                <a:lnTo>
                  <a:pt x="4518" y="2131"/>
                </a:lnTo>
                <a:cubicBezTo>
                  <a:pt x="4565" y="2116"/>
                  <a:pt x="4565" y="2068"/>
                  <a:pt x="4550" y="202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1" name="Freeform: Shape 8">
            <a:extLst>
              <a:ext uri="{FF2B5EF4-FFF2-40B4-BE49-F238E27FC236}">
                <a16:creationId xmlns:a16="http://schemas.microsoft.com/office/drawing/2014/main" id="{7EFF850C-C8BA-4E40-AD63-F4CD8A7D57EB}"/>
              </a:ext>
            </a:extLst>
          </p:cNvPr>
          <p:cNvSpPr/>
          <p:nvPr/>
        </p:nvSpPr>
        <p:spPr>
          <a:xfrm>
            <a:off x="9911012" y="2924919"/>
            <a:ext cx="1774800" cy="1769040"/>
          </a:xfrm>
          <a:custGeom>
            <a:avLst/>
            <a:gdLst/>
            <a:ahLst/>
            <a:cxnLst>
              <a:cxn ang="3cd4">
                <a:pos x="hc" y="t"/>
              </a:cxn>
              <a:cxn ang="cd2">
                <a:pos x="l" y="vc"/>
              </a:cxn>
              <a:cxn ang="cd4">
                <a:pos x="hc" y="b"/>
              </a:cxn>
              <a:cxn ang="0">
                <a:pos x="r" y="vc"/>
              </a:cxn>
            </a:cxnLst>
            <a:rect l="l" t="t" r="r" b="b"/>
            <a:pathLst>
              <a:path w="4931" h="4915">
                <a:moveTo>
                  <a:pt x="4852" y="4199"/>
                </a:moveTo>
                <a:lnTo>
                  <a:pt x="716" y="4199"/>
                </a:lnTo>
                <a:lnTo>
                  <a:pt x="716" y="80"/>
                </a:lnTo>
                <a:cubicBezTo>
                  <a:pt x="716" y="32"/>
                  <a:pt x="685" y="0"/>
                  <a:pt x="637" y="0"/>
                </a:cubicBezTo>
                <a:cubicBezTo>
                  <a:pt x="589" y="0"/>
                  <a:pt x="557" y="32"/>
                  <a:pt x="557" y="80"/>
                </a:cubicBezTo>
                <a:lnTo>
                  <a:pt x="557" y="4199"/>
                </a:lnTo>
                <a:lnTo>
                  <a:pt x="80" y="4199"/>
                </a:lnTo>
                <a:cubicBezTo>
                  <a:pt x="32" y="4199"/>
                  <a:pt x="0" y="4231"/>
                  <a:pt x="0" y="4279"/>
                </a:cubicBezTo>
                <a:cubicBezTo>
                  <a:pt x="0" y="4327"/>
                  <a:pt x="32" y="4358"/>
                  <a:pt x="80" y="4358"/>
                </a:cubicBezTo>
                <a:lnTo>
                  <a:pt x="557" y="4358"/>
                </a:lnTo>
                <a:lnTo>
                  <a:pt x="557" y="4836"/>
                </a:lnTo>
                <a:cubicBezTo>
                  <a:pt x="557" y="4883"/>
                  <a:pt x="589" y="4915"/>
                  <a:pt x="637" y="4915"/>
                </a:cubicBezTo>
                <a:cubicBezTo>
                  <a:pt x="685" y="4915"/>
                  <a:pt x="716" y="4883"/>
                  <a:pt x="716" y="4836"/>
                </a:cubicBezTo>
                <a:lnTo>
                  <a:pt x="716" y="4358"/>
                </a:lnTo>
                <a:lnTo>
                  <a:pt x="4852" y="4358"/>
                </a:lnTo>
                <a:cubicBezTo>
                  <a:pt x="4884" y="4358"/>
                  <a:pt x="4931" y="4327"/>
                  <a:pt x="4931" y="4279"/>
                </a:cubicBezTo>
                <a:cubicBezTo>
                  <a:pt x="4931" y="4231"/>
                  <a:pt x="4884" y="4199"/>
                  <a:pt x="4852" y="4199"/>
                </a:cubicBezTo>
                <a:close/>
                <a:moveTo>
                  <a:pt x="1114" y="3897"/>
                </a:moveTo>
                <a:cubicBezTo>
                  <a:pt x="3007" y="3897"/>
                  <a:pt x="4566" y="2354"/>
                  <a:pt x="4566" y="446"/>
                </a:cubicBezTo>
                <a:cubicBezTo>
                  <a:pt x="4566" y="414"/>
                  <a:pt x="4534" y="366"/>
                  <a:pt x="4486" y="366"/>
                </a:cubicBezTo>
                <a:cubicBezTo>
                  <a:pt x="4438" y="366"/>
                  <a:pt x="4406" y="414"/>
                  <a:pt x="4406" y="446"/>
                </a:cubicBezTo>
                <a:cubicBezTo>
                  <a:pt x="4406" y="2259"/>
                  <a:pt x="2927" y="3738"/>
                  <a:pt x="1114" y="3738"/>
                </a:cubicBezTo>
                <a:cubicBezTo>
                  <a:pt x="1066" y="3738"/>
                  <a:pt x="1034" y="3786"/>
                  <a:pt x="1034" y="3818"/>
                </a:cubicBezTo>
                <a:cubicBezTo>
                  <a:pt x="1034" y="3865"/>
                  <a:pt x="1066" y="3897"/>
                  <a:pt x="1114" y="389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2" name="Freeform: Shape 9">
            <a:extLst>
              <a:ext uri="{FF2B5EF4-FFF2-40B4-BE49-F238E27FC236}">
                <a16:creationId xmlns:a16="http://schemas.microsoft.com/office/drawing/2014/main" id="{7742BF94-0608-1749-9962-DDFCAB76A078}"/>
              </a:ext>
            </a:extLst>
          </p:cNvPr>
          <p:cNvSpPr/>
          <p:nvPr/>
        </p:nvSpPr>
        <p:spPr>
          <a:xfrm>
            <a:off x="5796152" y="2924919"/>
            <a:ext cx="1769400" cy="1769040"/>
          </a:xfrm>
          <a:custGeom>
            <a:avLst/>
            <a:gdLst/>
            <a:ahLst/>
            <a:cxnLst>
              <a:cxn ang="3cd4">
                <a:pos x="hc" y="t"/>
              </a:cxn>
              <a:cxn ang="cd2">
                <a:pos x="l" y="vc"/>
              </a:cxn>
              <a:cxn ang="cd4">
                <a:pos x="hc" y="b"/>
              </a:cxn>
              <a:cxn ang="0">
                <a:pos x="r" y="vc"/>
              </a:cxn>
            </a:cxnLst>
            <a:rect l="l" t="t" r="r" b="b"/>
            <a:pathLst>
              <a:path w="4916" h="4915">
                <a:moveTo>
                  <a:pt x="4836" y="4199"/>
                </a:moveTo>
                <a:lnTo>
                  <a:pt x="700" y="4199"/>
                </a:lnTo>
                <a:lnTo>
                  <a:pt x="700" y="80"/>
                </a:lnTo>
                <a:cubicBezTo>
                  <a:pt x="700" y="32"/>
                  <a:pt x="669" y="0"/>
                  <a:pt x="621" y="0"/>
                </a:cubicBezTo>
                <a:cubicBezTo>
                  <a:pt x="589" y="0"/>
                  <a:pt x="541" y="32"/>
                  <a:pt x="541" y="80"/>
                </a:cubicBezTo>
                <a:lnTo>
                  <a:pt x="541" y="4199"/>
                </a:lnTo>
                <a:lnTo>
                  <a:pt x="80" y="4199"/>
                </a:lnTo>
                <a:cubicBezTo>
                  <a:pt x="32" y="4199"/>
                  <a:pt x="0" y="4231"/>
                  <a:pt x="0" y="4279"/>
                </a:cubicBezTo>
                <a:cubicBezTo>
                  <a:pt x="0" y="4327"/>
                  <a:pt x="32" y="4358"/>
                  <a:pt x="80" y="4358"/>
                </a:cubicBezTo>
                <a:lnTo>
                  <a:pt x="541" y="4358"/>
                </a:lnTo>
                <a:lnTo>
                  <a:pt x="541" y="4836"/>
                </a:lnTo>
                <a:cubicBezTo>
                  <a:pt x="541" y="4883"/>
                  <a:pt x="589" y="4915"/>
                  <a:pt x="621" y="4915"/>
                </a:cubicBezTo>
                <a:cubicBezTo>
                  <a:pt x="669" y="4915"/>
                  <a:pt x="700" y="4883"/>
                  <a:pt x="700" y="4836"/>
                </a:cubicBezTo>
                <a:lnTo>
                  <a:pt x="700" y="4358"/>
                </a:lnTo>
                <a:lnTo>
                  <a:pt x="4836" y="4358"/>
                </a:lnTo>
                <a:cubicBezTo>
                  <a:pt x="4884" y="4358"/>
                  <a:pt x="4916" y="4327"/>
                  <a:pt x="4916" y="4279"/>
                </a:cubicBezTo>
                <a:cubicBezTo>
                  <a:pt x="4916" y="4231"/>
                  <a:pt x="4884" y="4199"/>
                  <a:pt x="4836" y="4199"/>
                </a:cubicBezTo>
                <a:close/>
                <a:moveTo>
                  <a:pt x="1098" y="4104"/>
                </a:moveTo>
                <a:cubicBezTo>
                  <a:pt x="1114" y="4104"/>
                  <a:pt x="1146" y="4088"/>
                  <a:pt x="1162" y="4072"/>
                </a:cubicBezTo>
                <a:lnTo>
                  <a:pt x="1893" y="3340"/>
                </a:lnTo>
                <a:lnTo>
                  <a:pt x="2434" y="3881"/>
                </a:lnTo>
                <a:cubicBezTo>
                  <a:pt x="2450" y="3897"/>
                  <a:pt x="2482" y="3913"/>
                  <a:pt x="2514" y="3897"/>
                </a:cubicBezTo>
                <a:cubicBezTo>
                  <a:pt x="2545" y="3897"/>
                  <a:pt x="2562" y="3865"/>
                  <a:pt x="2562" y="3849"/>
                </a:cubicBezTo>
                <a:lnTo>
                  <a:pt x="3134" y="1400"/>
                </a:lnTo>
                <a:lnTo>
                  <a:pt x="3818" y="2100"/>
                </a:lnTo>
                <a:cubicBezTo>
                  <a:pt x="3834" y="2116"/>
                  <a:pt x="3866" y="2116"/>
                  <a:pt x="3898" y="2116"/>
                </a:cubicBezTo>
                <a:cubicBezTo>
                  <a:pt x="3913" y="2116"/>
                  <a:pt x="3945" y="2083"/>
                  <a:pt x="3945" y="2068"/>
                </a:cubicBezTo>
                <a:lnTo>
                  <a:pt x="4550" y="477"/>
                </a:lnTo>
                <a:cubicBezTo>
                  <a:pt x="4565" y="429"/>
                  <a:pt x="4550" y="398"/>
                  <a:pt x="4502" y="382"/>
                </a:cubicBezTo>
                <a:cubicBezTo>
                  <a:pt x="4454" y="366"/>
                  <a:pt x="4422" y="382"/>
                  <a:pt x="4407" y="429"/>
                </a:cubicBezTo>
                <a:lnTo>
                  <a:pt x="3850" y="1893"/>
                </a:lnTo>
                <a:lnTo>
                  <a:pt x="3134" y="1193"/>
                </a:lnTo>
                <a:cubicBezTo>
                  <a:pt x="3118" y="1161"/>
                  <a:pt x="3086" y="1161"/>
                  <a:pt x="3054" y="1161"/>
                </a:cubicBezTo>
                <a:cubicBezTo>
                  <a:pt x="3038" y="1177"/>
                  <a:pt x="3006" y="1193"/>
                  <a:pt x="3006" y="1225"/>
                </a:cubicBezTo>
                <a:lnTo>
                  <a:pt x="2450" y="3674"/>
                </a:lnTo>
                <a:lnTo>
                  <a:pt x="1957" y="3165"/>
                </a:lnTo>
                <a:cubicBezTo>
                  <a:pt x="1925" y="3149"/>
                  <a:pt x="1862" y="3149"/>
                  <a:pt x="1830" y="3165"/>
                </a:cubicBezTo>
                <a:lnTo>
                  <a:pt x="1050" y="3961"/>
                </a:lnTo>
                <a:cubicBezTo>
                  <a:pt x="1018" y="3992"/>
                  <a:pt x="1018" y="4040"/>
                  <a:pt x="1050" y="4072"/>
                </a:cubicBezTo>
                <a:cubicBezTo>
                  <a:pt x="1066" y="4088"/>
                  <a:pt x="1082" y="4104"/>
                  <a:pt x="1098" y="410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3" name="Freeform: Shape 10">
            <a:extLst>
              <a:ext uri="{FF2B5EF4-FFF2-40B4-BE49-F238E27FC236}">
                <a16:creationId xmlns:a16="http://schemas.microsoft.com/office/drawing/2014/main" id="{E9939B70-3989-1D42-80C4-365FA721EC91}"/>
              </a:ext>
            </a:extLst>
          </p:cNvPr>
          <p:cNvSpPr/>
          <p:nvPr/>
        </p:nvSpPr>
        <p:spPr>
          <a:xfrm>
            <a:off x="10203769" y="6476255"/>
            <a:ext cx="1408319" cy="1408319"/>
          </a:xfrm>
          <a:custGeom>
            <a:avLst/>
            <a:gdLst/>
            <a:ahLst/>
            <a:cxnLst>
              <a:cxn ang="3cd4">
                <a:pos x="hc" y="t"/>
              </a:cxn>
              <a:cxn ang="cd2">
                <a:pos x="l" y="vc"/>
              </a:cxn>
              <a:cxn ang="cd4">
                <a:pos x="hc" y="b"/>
              </a:cxn>
              <a:cxn ang="0">
                <a:pos x="r" y="vc"/>
              </a:cxn>
            </a:cxnLst>
            <a:rect l="l" t="t" r="r" b="b"/>
            <a:pathLst>
              <a:path w="3913" h="3913">
                <a:moveTo>
                  <a:pt x="0" y="0"/>
                </a:moveTo>
                <a:lnTo>
                  <a:pt x="0" y="3913"/>
                </a:lnTo>
                <a:lnTo>
                  <a:pt x="127" y="3913"/>
                </a:lnTo>
                <a:lnTo>
                  <a:pt x="127" y="0"/>
                </a:lnTo>
                <a:close/>
                <a:moveTo>
                  <a:pt x="509" y="3913"/>
                </a:moveTo>
                <a:lnTo>
                  <a:pt x="779" y="3913"/>
                </a:lnTo>
                <a:lnTo>
                  <a:pt x="779" y="0"/>
                </a:lnTo>
                <a:lnTo>
                  <a:pt x="509" y="0"/>
                </a:lnTo>
                <a:close/>
                <a:moveTo>
                  <a:pt x="1034" y="0"/>
                </a:moveTo>
                <a:lnTo>
                  <a:pt x="1034" y="3913"/>
                </a:lnTo>
                <a:lnTo>
                  <a:pt x="1161" y="3913"/>
                </a:lnTo>
                <a:lnTo>
                  <a:pt x="1161" y="0"/>
                </a:lnTo>
                <a:close/>
                <a:moveTo>
                  <a:pt x="1304" y="0"/>
                </a:moveTo>
                <a:lnTo>
                  <a:pt x="1304" y="3913"/>
                </a:lnTo>
                <a:lnTo>
                  <a:pt x="1432" y="3913"/>
                </a:lnTo>
                <a:lnTo>
                  <a:pt x="1432" y="0"/>
                </a:lnTo>
                <a:close/>
                <a:moveTo>
                  <a:pt x="1829" y="0"/>
                </a:moveTo>
                <a:lnTo>
                  <a:pt x="1686" y="0"/>
                </a:lnTo>
                <a:lnTo>
                  <a:pt x="1686" y="3913"/>
                </a:lnTo>
                <a:lnTo>
                  <a:pt x="1829" y="3913"/>
                </a:lnTo>
                <a:close/>
                <a:moveTo>
                  <a:pt x="1956" y="0"/>
                </a:moveTo>
                <a:lnTo>
                  <a:pt x="1956" y="3913"/>
                </a:lnTo>
                <a:lnTo>
                  <a:pt x="2338" y="3913"/>
                </a:lnTo>
                <a:lnTo>
                  <a:pt x="2338" y="0"/>
                </a:lnTo>
                <a:close/>
                <a:moveTo>
                  <a:pt x="2481" y="3913"/>
                </a:moveTo>
                <a:lnTo>
                  <a:pt x="2736" y="3913"/>
                </a:lnTo>
                <a:lnTo>
                  <a:pt x="2736" y="0"/>
                </a:lnTo>
                <a:lnTo>
                  <a:pt x="2481" y="0"/>
                </a:lnTo>
                <a:close/>
                <a:moveTo>
                  <a:pt x="3133" y="0"/>
                </a:moveTo>
                <a:lnTo>
                  <a:pt x="3133" y="3913"/>
                </a:lnTo>
                <a:lnTo>
                  <a:pt x="3260" y="3913"/>
                </a:lnTo>
                <a:lnTo>
                  <a:pt x="3260" y="0"/>
                </a:lnTo>
                <a:close/>
                <a:moveTo>
                  <a:pt x="3642" y="0"/>
                </a:moveTo>
                <a:lnTo>
                  <a:pt x="3388" y="0"/>
                </a:lnTo>
                <a:lnTo>
                  <a:pt x="3388" y="3913"/>
                </a:lnTo>
                <a:lnTo>
                  <a:pt x="3642" y="3913"/>
                </a:lnTo>
                <a:close/>
                <a:moveTo>
                  <a:pt x="3786" y="0"/>
                </a:moveTo>
                <a:lnTo>
                  <a:pt x="3786" y="3913"/>
                </a:lnTo>
                <a:lnTo>
                  <a:pt x="3913" y="3913"/>
                </a:lnTo>
                <a:lnTo>
                  <a:pt x="3913" y="0"/>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4" name="Freeform: Shape 11">
            <a:extLst>
              <a:ext uri="{FF2B5EF4-FFF2-40B4-BE49-F238E27FC236}">
                <a16:creationId xmlns:a16="http://schemas.microsoft.com/office/drawing/2014/main" id="{A085BF4D-9C17-D344-A2E4-149BB26CA4B3}"/>
              </a:ext>
            </a:extLst>
          </p:cNvPr>
          <p:cNvSpPr/>
          <p:nvPr/>
        </p:nvSpPr>
        <p:spPr>
          <a:xfrm>
            <a:off x="21236026" y="2942199"/>
            <a:ext cx="1485719" cy="1734479"/>
          </a:xfrm>
          <a:custGeom>
            <a:avLst/>
            <a:gdLst/>
            <a:ahLst/>
            <a:cxnLst>
              <a:cxn ang="3cd4">
                <a:pos x="hc" y="t"/>
              </a:cxn>
              <a:cxn ang="cd2">
                <a:pos x="l" y="vc"/>
              </a:cxn>
              <a:cxn ang="cd4">
                <a:pos x="hc" y="b"/>
              </a:cxn>
              <a:cxn ang="0">
                <a:pos x="r" y="vc"/>
              </a:cxn>
            </a:cxnLst>
            <a:rect l="l" t="t" r="r" b="b"/>
            <a:pathLst>
              <a:path w="4128" h="4819">
                <a:moveTo>
                  <a:pt x="4107" y="3753"/>
                </a:moveTo>
                <a:cubicBezTo>
                  <a:pt x="4043" y="3451"/>
                  <a:pt x="3884" y="3165"/>
                  <a:pt x="3741" y="2895"/>
                </a:cubicBezTo>
                <a:lnTo>
                  <a:pt x="3709" y="2831"/>
                </a:lnTo>
                <a:cubicBezTo>
                  <a:pt x="3502" y="2465"/>
                  <a:pt x="3311" y="2115"/>
                  <a:pt x="3057" y="1813"/>
                </a:cubicBezTo>
                <a:cubicBezTo>
                  <a:pt x="3041" y="1797"/>
                  <a:pt x="3025" y="1765"/>
                  <a:pt x="2993" y="1734"/>
                </a:cubicBezTo>
                <a:cubicBezTo>
                  <a:pt x="2834" y="1543"/>
                  <a:pt x="2659" y="1336"/>
                  <a:pt x="2532" y="1240"/>
                </a:cubicBezTo>
                <a:lnTo>
                  <a:pt x="3168" y="127"/>
                </a:lnTo>
                <a:cubicBezTo>
                  <a:pt x="3184" y="95"/>
                  <a:pt x="3184" y="63"/>
                  <a:pt x="3168" y="47"/>
                </a:cubicBezTo>
                <a:cubicBezTo>
                  <a:pt x="3153" y="16"/>
                  <a:pt x="3136" y="0"/>
                  <a:pt x="3105" y="0"/>
                </a:cubicBezTo>
                <a:lnTo>
                  <a:pt x="1021" y="0"/>
                </a:lnTo>
                <a:cubicBezTo>
                  <a:pt x="1005" y="0"/>
                  <a:pt x="973" y="16"/>
                  <a:pt x="957" y="32"/>
                </a:cubicBezTo>
                <a:cubicBezTo>
                  <a:pt x="941" y="63"/>
                  <a:pt x="941" y="79"/>
                  <a:pt x="957" y="111"/>
                </a:cubicBezTo>
                <a:lnTo>
                  <a:pt x="1387" y="1288"/>
                </a:lnTo>
                <a:cubicBezTo>
                  <a:pt x="1117" y="1479"/>
                  <a:pt x="1016" y="1723"/>
                  <a:pt x="830" y="1940"/>
                </a:cubicBezTo>
                <a:cubicBezTo>
                  <a:pt x="798" y="2004"/>
                  <a:pt x="751" y="2068"/>
                  <a:pt x="703" y="2131"/>
                </a:cubicBezTo>
                <a:cubicBezTo>
                  <a:pt x="639" y="2211"/>
                  <a:pt x="576" y="2274"/>
                  <a:pt x="544" y="2370"/>
                </a:cubicBezTo>
                <a:cubicBezTo>
                  <a:pt x="496" y="2449"/>
                  <a:pt x="464" y="2529"/>
                  <a:pt x="433" y="2608"/>
                </a:cubicBezTo>
                <a:cubicBezTo>
                  <a:pt x="400" y="2672"/>
                  <a:pt x="385" y="2735"/>
                  <a:pt x="353" y="2799"/>
                </a:cubicBezTo>
                <a:lnTo>
                  <a:pt x="305" y="2895"/>
                </a:lnTo>
                <a:cubicBezTo>
                  <a:pt x="226" y="3038"/>
                  <a:pt x="162" y="3181"/>
                  <a:pt x="114" y="3340"/>
                </a:cubicBezTo>
                <a:cubicBezTo>
                  <a:pt x="35" y="3579"/>
                  <a:pt x="-61" y="4040"/>
                  <a:pt x="51" y="4326"/>
                </a:cubicBezTo>
                <a:cubicBezTo>
                  <a:pt x="210" y="4740"/>
                  <a:pt x="941" y="4771"/>
                  <a:pt x="1180" y="4771"/>
                </a:cubicBezTo>
                <a:cubicBezTo>
                  <a:pt x="1387" y="4771"/>
                  <a:pt x="1593" y="4771"/>
                  <a:pt x="1800" y="4788"/>
                </a:cubicBezTo>
                <a:cubicBezTo>
                  <a:pt x="2007" y="4803"/>
                  <a:pt x="2230" y="4819"/>
                  <a:pt x="2436" y="4819"/>
                </a:cubicBezTo>
                <a:cubicBezTo>
                  <a:pt x="2500" y="4819"/>
                  <a:pt x="2580" y="4803"/>
                  <a:pt x="2644" y="4803"/>
                </a:cubicBezTo>
                <a:cubicBezTo>
                  <a:pt x="2977" y="4788"/>
                  <a:pt x="3375" y="4771"/>
                  <a:pt x="3677" y="4660"/>
                </a:cubicBezTo>
                <a:cubicBezTo>
                  <a:pt x="4043" y="4533"/>
                  <a:pt x="4186" y="4071"/>
                  <a:pt x="4107" y="3753"/>
                </a:cubicBezTo>
                <a:close/>
                <a:moveTo>
                  <a:pt x="2962" y="159"/>
                </a:moveTo>
                <a:lnTo>
                  <a:pt x="2389" y="1193"/>
                </a:lnTo>
                <a:cubicBezTo>
                  <a:pt x="2262" y="1161"/>
                  <a:pt x="2135" y="1177"/>
                  <a:pt x="2023" y="1193"/>
                </a:cubicBezTo>
                <a:lnTo>
                  <a:pt x="1514" y="1193"/>
                </a:lnTo>
                <a:lnTo>
                  <a:pt x="1148" y="159"/>
                </a:lnTo>
                <a:close/>
                <a:moveTo>
                  <a:pt x="2644" y="4644"/>
                </a:moveTo>
                <a:cubicBezTo>
                  <a:pt x="2357" y="4660"/>
                  <a:pt x="2087" y="4644"/>
                  <a:pt x="1816" y="4628"/>
                </a:cubicBezTo>
                <a:cubicBezTo>
                  <a:pt x="1609" y="4628"/>
                  <a:pt x="1403" y="4612"/>
                  <a:pt x="1180" y="4612"/>
                </a:cubicBezTo>
                <a:lnTo>
                  <a:pt x="1164" y="4612"/>
                </a:lnTo>
                <a:cubicBezTo>
                  <a:pt x="782" y="4612"/>
                  <a:pt x="289" y="4517"/>
                  <a:pt x="194" y="4279"/>
                </a:cubicBezTo>
                <a:cubicBezTo>
                  <a:pt x="99" y="4024"/>
                  <a:pt x="210" y="3562"/>
                  <a:pt x="273" y="3388"/>
                </a:cubicBezTo>
                <a:cubicBezTo>
                  <a:pt x="305" y="3244"/>
                  <a:pt x="369" y="3101"/>
                  <a:pt x="448" y="2974"/>
                </a:cubicBezTo>
                <a:lnTo>
                  <a:pt x="496" y="2863"/>
                </a:lnTo>
                <a:cubicBezTo>
                  <a:pt x="528" y="2799"/>
                  <a:pt x="544" y="2735"/>
                  <a:pt x="576" y="2672"/>
                </a:cubicBezTo>
                <a:cubicBezTo>
                  <a:pt x="608" y="2592"/>
                  <a:pt x="639" y="2513"/>
                  <a:pt x="671" y="2449"/>
                </a:cubicBezTo>
                <a:cubicBezTo>
                  <a:pt x="719" y="2370"/>
                  <a:pt x="766" y="2306"/>
                  <a:pt x="830" y="2226"/>
                </a:cubicBezTo>
                <a:cubicBezTo>
                  <a:pt x="878" y="2163"/>
                  <a:pt x="926" y="2099"/>
                  <a:pt x="973" y="2035"/>
                </a:cubicBezTo>
                <a:cubicBezTo>
                  <a:pt x="1100" y="1813"/>
                  <a:pt x="1418" y="1399"/>
                  <a:pt x="1578" y="1368"/>
                </a:cubicBezTo>
                <a:cubicBezTo>
                  <a:pt x="1641" y="1352"/>
                  <a:pt x="1673" y="1352"/>
                  <a:pt x="1705" y="1352"/>
                </a:cubicBezTo>
                <a:cubicBezTo>
                  <a:pt x="1737" y="1352"/>
                  <a:pt x="1769" y="1368"/>
                  <a:pt x="1816" y="1368"/>
                </a:cubicBezTo>
                <a:cubicBezTo>
                  <a:pt x="1896" y="1368"/>
                  <a:pt x="1959" y="1352"/>
                  <a:pt x="2039" y="1352"/>
                </a:cubicBezTo>
                <a:lnTo>
                  <a:pt x="2373" y="1352"/>
                </a:lnTo>
                <a:lnTo>
                  <a:pt x="2405" y="1352"/>
                </a:lnTo>
                <a:cubicBezTo>
                  <a:pt x="2516" y="1383"/>
                  <a:pt x="2771" y="1717"/>
                  <a:pt x="2866" y="1829"/>
                </a:cubicBezTo>
                <a:cubicBezTo>
                  <a:pt x="2898" y="1877"/>
                  <a:pt x="2914" y="1892"/>
                  <a:pt x="2930" y="1925"/>
                </a:cubicBezTo>
                <a:cubicBezTo>
                  <a:pt x="3184" y="2211"/>
                  <a:pt x="3375" y="2544"/>
                  <a:pt x="3566" y="2910"/>
                </a:cubicBezTo>
                <a:lnTo>
                  <a:pt x="3598" y="2974"/>
                </a:lnTo>
                <a:cubicBezTo>
                  <a:pt x="3741" y="3244"/>
                  <a:pt x="3884" y="3499"/>
                  <a:pt x="3963" y="3785"/>
                </a:cubicBezTo>
                <a:cubicBezTo>
                  <a:pt x="4011" y="4024"/>
                  <a:pt x="3916" y="4406"/>
                  <a:pt x="3629" y="4517"/>
                </a:cubicBezTo>
                <a:cubicBezTo>
                  <a:pt x="3343" y="4628"/>
                  <a:pt x="2945" y="4644"/>
                  <a:pt x="2644" y="4644"/>
                </a:cubicBezTo>
                <a:close/>
                <a:moveTo>
                  <a:pt x="2515" y="3197"/>
                </a:moveTo>
                <a:cubicBezTo>
                  <a:pt x="2467" y="3133"/>
                  <a:pt x="2388" y="3117"/>
                  <a:pt x="2324" y="3086"/>
                </a:cubicBezTo>
                <a:cubicBezTo>
                  <a:pt x="2245" y="3053"/>
                  <a:pt x="2165" y="3022"/>
                  <a:pt x="2086" y="3006"/>
                </a:cubicBezTo>
                <a:cubicBezTo>
                  <a:pt x="2006" y="2974"/>
                  <a:pt x="1926" y="2958"/>
                  <a:pt x="1863" y="2926"/>
                </a:cubicBezTo>
                <a:cubicBezTo>
                  <a:pt x="1783" y="2895"/>
                  <a:pt x="1736" y="2847"/>
                  <a:pt x="1704" y="2799"/>
                </a:cubicBezTo>
                <a:cubicBezTo>
                  <a:pt x="1672" y="2720"/>
                  <a:pt x="1688" y="2624"/>
                  <a:pt x="1752" y="2561"/>
                </a:cubicBezTo>
                <a:cubicBezTo>
                  <a:pt x="1847" y="2449"/>
                  <a:pt x="2038" y="2449"/>
                  <a:pt x="2149" y="2465"/>
                </a:cubicBezTo>
                <a:cubicBezTo>
                  <a:pt x="2340" y="2481"/>
                  <a:pt x="2372" y="2540"/>
                  <a:pt x="2483" y="2577"/>
                </a:cubicBezTo>
                <a:cubicBezTo>
                  <a:pt x="2515" y="2608"/>
                  <a:pt x="2563" y="2592"/>
                  <a:pt x="2595" y="2561"/>
                </a:cubicBezTo>
                <a:cubicBezTo>
                  <a:pt x="2626" y="2529"/>
                  <a:pt x="2610" y="2481"/>
                  <a:pt x="2579" y="2449"/>
                </a:cubicBezTo>
                <a:cubicBezTo>
                  <a:pt x="2563" y="2449"/>
                  <a:pt x="2404" y="2322"/>
                  <a:pt x="2165" y="2306"/>
                </a:cubicBezTo>
                <a:lnTo>
                  <a:pt x="2149" y="2290"/>
                </a:lnTo>
                <a:lnTo>
                  <a:pt x="2149" y="2004"/>
                </a:lnTo>
                <a:cubicBezTo>
                  <a:pt x="2149" y="1956"/>
                  <a:pt x="2101" y="1925"/>
                  <a:pt x="2070" y="1925"/>
                </a:cubicBezTo>
                <a:cubicBezTo>
                  <a:pt x="2022" y="1925"/>
                  <a:pt x="1990" y="1956"/>
                  <a:pt x="1990" y="2004"/>
                </a:cubicBezTo>
                <a:lnTo>
                  <a:pt x="1990" y="2290"/>
                </a:lnTo>
                <a:cubicBezTo>
                  <a:pt x="1847" y="2306"/>
                  <a:pt x="1720" y="2354"/>
                  <a:pt x="1625" y="2449"/>
                </a:cubicBezTo>
                <a:cubicBezTo>
                  <a:pt x="1529" y="2577"/>
                  <a:pt x="1497" y="2735"/>
                  <a:pt x="1561" y="2863"/>
                </a:cubicBezTo>
                <a:cubicBezTo>
                  <a:pt x="1608" y="2974"/>
                  <a:pt x="1720" y="3038"/>
                  <a:pt x="1799" y="3070"/>
                </a:cubicBezTo>
                <a:cubicBezTo>
                  <a:pt x="1879" y="3101"/>
                  <a:pt x="1958" y="3133"/>
                  <a:pt x="2038" y="3149"/>
                </a:cubicBezTo>
                <a:cubicBezTo>
                  <a:pt x="2117" y="3181"/>
                  <a:pt x="2197" y="3197"/>
                  <a:pt x="2277" y="3229"/>
                </a:cubicBezTo>
                <a:cubicBezTo>
                  <a:pt x="2324" y="3244"/>
                  <a:pt x="2372" y="3276"/>
                  <a:pt x="2420" y="3308"/>
                </a:cubicBezTo>
                <a:cubicBezTo>
                  <a:pt x="2467" y="3356"/>
                  <a:pt x="2483" y="3435"/>
                  <a:pt x="2483" y="3515"/>
                </a:cubicBezTo>
                <a:cubicBezTo>
                  <a:pt x="2467" y="3531"/>
                  <a:pt x="2467" y="3531"/>
                  <a:pt x="2467" y="3547"/>
                </a:cubicBezTo>
                <a:cubicBezTo>
                  <a:pt x="2435" y="3706"/>
                  <a:pt x="2261" y="3770"/>
                  <a:pt x="2117" y="3770"/>
                </a:cubicBezTo>
                <a:cubicBezTo>
                  <a:pt x="1926" y="3785"/>
                  <a:pt x="1720" y="3706"/>
                  <a:pt x="1561" y="3579"/>
                </a:cubicBezTo>
                <a:cubicBezTo>
                  <a:pt x="1529" y="3547"/>
                  <a:pt x="1481" y="3562"/>
                  <a:pt x="1449" y="3594"/>
                </a:cubicBezTo>
                <a:cubicBezTo>
                  <a:pt x="1417" y="3626"/>
                  <a:pt x="1434" y="3674"/>
                  <a:pt x="1465" y="3706"/>
                </a:cubicBezTo>
                <a:cubicBezTo>
                  <a:pt x="1625" y="3833"/>
                  <a:pt x="1799" y="3897"/>
                  <a:pt x="1990" y="3928"/>
                </a:cubicBezTo>
                <a:lnTo>
                  <a:pt x="1990" y="4231"/>
                </a:lnTo>
                <a:cubicBezTo>
                  <a:pt x="1990" y="4279"/>
                  <a:pt x="2022" y="4310"/>
                  <a:pt x="2070" y="4310"/>
                </a:cubicBezTo>
                <a:cubicBezTo>
                  <a:pt x="2101" y="4310"/>
                  <a:pt x="2149" y="4279"/>
                  <a:pt x="2149" y="4231"/>
                </a:cubicBezTo>
                <a:lnTo>
                  <a:pt x="2149" y="3928"/>
                </a:lnTo>
                <a:cubicBezTo>
                  <a:pt x="2340" y="3928"/>
                  <a:pt x="2563" y="3817"/>
                  <a:pt x="2626" y="3579"/>
                </a:cubicBezTo>
                <a:lnTo>
                  <a:pt x="2626" y="3547"/>
                </a:lnTo>
                <a:cubicBezTo>
                  <a:pt x="2658" y="3404"/>
                  <a:pt x="2610" y="3276"/>
                  <a:pt x="2515" y="319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5" name="Freeform: Shape 12">
            <a:extLst>
              <a:ext uri="{FF2B5EF4-FFF2-40B4-BE49-F238E27FC236}">
                <a16:creationId xmlns:a16="http://schemas.microsoft.com/office/drawing/2014/main" id="{AE2B487F-7E4E-FB49-A818-F71F67179CE9}"/>
              </a:ext>
            </a:extLst>
          </p:cNvPr>
          <p:cNvSpPr/>
          <p:nvPr/>
        </p:nvSpPr>
        <p:spPr>
          <a:xfrm>
            <a:off x="1693412" y="2993679"/>
            <a:ext cx="1700280" cy="1711800"/>
          </a:xfrm>
          <a:custGeom>
            <a:avLst/>
            <a:gdLst/>
            <a:ahLst/>
            <a:cxnLst>
              <a:cxn ang="3cd4">
                <a:pos x="hc" y="t"/>
              </a:cxn>
              <a:cxn ang="cd2">
                <a:pos x="l" y="vc"/>
              </a:cxn>
              <a:cxn ang="cd4">
                <a:pos x="hc" y="b"/>
              </a:cxn>
              <a:cxn ang="0">
                <a:pos x="r" y="vc"/>
              </a:cxn>
            </a:cxnLst>
            <a:rect l="l" t="t" r="r" b="b"/>
            <a:pathLst>
              <a:path w="4724" h="4756">
                <a:moveTo>
                  <a:pt x="3960" y="0"/>
                </a:moveTo>
                <a:lnTo>
                  <a:pt x="1527" y="0"/>
                </a:lnTo>
                <a:lnTo>
                  <a:pt x="1511" y="0"/>
                </a:lnTo>
                <a:cubicBezTo>
                  <a:pt x="1225" y="32"/>
                  <a:pt x="1066" y="334"/>
                  <a:pt x="1066" y="620"/>
                </a:cubicBezTo>
                <a:lnTo>
                  <a:pt x="1066" y="3801"/>
                </a:lnTo>
                <a:lnTo>
                  <a:pt x="79" y="3801"/>
                </a:lnTo>
                <a:cubicBezTo>
                  <a:pt x="48" y="3801"/>
                  <a:pt x="0" y="3833"/>
                  <a:pt x="0" y="3881"/>
                </a:cubicBezTo>
                <a:cubicBezTo>
                  <a:pt x="0" y="4247"/>
                  <a:pt x="302" y="4756"/>
                  <a:pt x="779" y="4756"/>
                </a:cubicBezTo>
                <a:lnTo>
                  <a:pt x="2768" y="4756"/>
                </a:lnTo>
                <a:cubicBezTo>
                  <a:pt x="3245" y="4756"/>
                  <a:pt x="3754" y="4294"/>
                  <a:pt x="3754" y="3849"/>
                </a:cubicBezTo>
                <a:lnTo>
                  <a:pt x="3754" y="938"/>
                </a:lnTo>
                <a:lnTo>
                  <a:pt x="4644" y="938"/>
                </a:lnTo>
                <a:cubicBezTo>
                  <a:pt x="4692" y="938"/>
                  <a:pt x="4724" y="907"/>
                  <a:pt x="4724" y="859"/>
                </a:cubicBezTo>
                <a:cubicBezTo>
                  <a:pt x="4724" y="445"/>
                  <a:pt x="4454" y="0"/>
                  <a:pt x="3960" y="0"/>
                </a:cubicBezTo>
                <a:close/>
                <a:moveTo>
                  <a:pt x="779" y="4597"/>
                </a:moveTo>
                <a:cubicBezTo>
                  <a:pt x="430" y="4597"/>
                  <a:pt x="207" y="4247"/>
                  <a:pt x="175" y="3960"/>
                </a:cubicBezTo>
                <a:lnTo>
                  <a:pt x="1797" y="3960"/>
                </a:lnTo>
                <a:cubicBezTo>
                  <a:pt x="1829" y="4183"/>
                  <a:pt x="2036" y="4437"/>
                  <a:pt x="2275" y="4597"/>
                </a:cubicBezTo>
                <a:close/>
                <a:moveTo>
                  <a:pt x="3595" y="3849"/>
                </a:moveTo>
                <a:cubicBezTo>
                  <a:pt x="3595" y="4199"/>
                  <a:pt x="3150" y="4597"/>
                  <a:pt x="2768" y="4597"/>
                </a:cubicBezTo>
                <a:cubicBezTo>
                  <a:pt x="2354" y="4597"/>
                  <a:pt x="1956" y="4151"/>
                  <a:pt x="1956" y="3881"/>
                </a:cubicBezTo>
                <a:cubicBezTo>
                  <a:pt x="1956" y="3833"/>
                  <a:pt x="1909" y="3801"/>
                  <a:pt x="1877" y="3801"/>
                </a:cubicBezTo>
                <a:lnTo>
                  <a:pt x="1225" y="3801"/>
                </a:lnTo>
                <a:lnTo>
                  <a:pt x="1225" y="620"/>
                </a:lnTo>
                <a:cubicBezTo>
                  <a:pt x="1225" y="398"/>
                  <a:pt x="1352" y="159"/>
                  <a:pt x="1575" y="159"/>
                </a:cubicBezTo>
                <a:lnTo>
                  <a:pt x="3595" y="159"/>
                </a:lnTo>
                <a:close/>
                <a:moveTo>
                  <a:pt x="3754" y="779"/>
                </a:moveTo>
                <a:lnTo>
                  <a:pt x="3754" y="159"/>
                </a:lnTo>
                <a:lnTo>
                  <a:pt x="3960" y="159"/>
                </a:lnTo>
                <a:cubicBezTo>
                  <a:pt x="4326" y="159"/>
                  <a:pt x="4533" y="461"/>
                  <a:pt x="4565" y="779"/>
                </a:cubicBezTo>
                <a:close/>
                <a:moveTo>
                  <a:pt x="1686" y="1416"/>
                </a:moveTo>
                <a:lnTo>
                  <a:pt x="3117" y="1416"/>
                </a:lnTo>
                <a:cubicBezTo>
                  <a:pt x="3165" y="1416"/>
                  <a:pt x="3197" y="1383"/>
                  <a:pt x="3197" y="1336"/>
                </a:cubicBezTo>
                <a:cubicBezTo>
                  <a:pt x="3197" y="1304"/>
                  <a:pt x="3165" y="1256"/>
                  <a:pt x="3117" y="1256"/>
                </a:cubicBezTo>
                <a:lnTo>
                  <a:pt x="1686" y="1256"/>
                </a:lnTo>
                <a:cubicBezTo>
                  <a:pt x="1654" y="1256"/>
                  <a:pt x="1606" y="1304"/>
                  <a:pt x="1606" y="1336"/>
                </a:cubicBezTo>
                <a:cubicBezTo>
                  <a:pt x="1606" y="1383"/>
                  <a:pt x="1654" y="1416"/>
                  <a:pt x="1686" y="1416"/>
                </a:cubicBezTo>
                <a:close/>
                <a:moveTo>
                  <a:pt x="1686" y="1892"/>
                </a:moveTo>
                <a:lnTo>
                  <a:pt x="3117" y="1892"/>
                </a:lnTo>
                <a:cubicBezTo>
                  <a:pt x="3165" y="1892"/>
                  <a:pt x="3197" y="1861"/>
                  <a:pt x="3197" y="1813"/>
                </a:cubicBezTo>
                <a:cubicBezTo>
                  <a:pt x="3197" y="1782"/>
                  <a:pt x="3165" y="1734"/>
                  <a:pt x="3117" y="1734"/>
                </a:cubicBezTo>
                <a:lnTo>
                  <a:pt x="1686" y="1734"/>
                </a:lnTo>
                <a:cubicBezTo>
                  <a:pt x="1654" y="1734"/>
                  <a:pt x="1606" y="1782"/>
                  <a:pt x="1606" y="1813"/>
                </a:cubicBezTo>
                <a:cubicBezTo>
                  <a:pt x="1606" y="1861"/>
                  <a:pt x="1654" y="1892"/>
                  <a:pt x="1686" y="1892"/>
                </a:cubicBezTo>
                <a:close/>
                <a:moveTo>
                  <a:pt x="1686" y="2370"/>
                </a:moveTo>
                <a:lnTo>
                  <a:pt x="3117" y="2370"/>
                </a:lnTo>
                <a:cubicBezTo>
                  <a:pt x="3165" y="2370"/>
                  <a:pt x="3197" y="2338"/>
                  <a:pt x="3197" y="2291"/>
                </a:cubicBezTo>
                <a:cubicBezTo>
                  <a:pt x="3197" y="2258"/>
                  <a:pt x="3165" y="2211"/>
                  <a:pt x="3117" y="2211"/>
                </a:cubicBezTo>
                <a:lnTo>
                  <a:pt x="1686" y="2211"/>
                </a:lnTo>
                <a:cubicBezTo>
                  <a:pt x="1654" y="2211"/>
                  <a:pt x="1606" y="2258"/>
                  <a:pt x="1606" y="2291"/>
                </a:cubicBezTo>
                <a:cubicBezTo>
                  <a:pt x="1606" y="2338"/>
                  <a:pt x="1654" y="2370"/>
                  <a:pt x="1686" y="237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6" name="Freeform: Shape 13">
            <a:extLst>
              <a:ext uri="{FF2B5EF4-FFF2-40B4-BE49-F238E27FC236}">
                <a16:creationId xmlns:a16="http://schemas.microsoft.com/office/drawing/2014/main" id="{897641D4-E7E8-A54F-B5B8-579DD19737A2}"/>
              </a:ext>
            </a:extLst>
          </p:cNvPr>
          <p:cNvSpPr/>
          <p:nvPr/>
        </p:nvSpPr>
        <p:spPr>
          <a:xfrm>
            <a:off x="5888857" y="9675021"/>
            <a:ext cx="1540080" cy="1580040"/>
          </a:xfrm>
          <a:custGeom>
            <a:avLst/>
            <a:gdLst/>
            <a:ahLst/>
            <a:cxnLst>
              <a:cxn ang="3cd4">
                <a:pos x="hc" y="t"/>
              </a:cxn>
              <a:cxn ang="cd2">
                <a:pos x="l" y="vc"/>
              </a:cxn>
              <a:cxn ang="cd4">
                <a:pos x="hc" y="b"/>
              </a:cxn>
              <a:cxn ang="0">
                <a:pos x="r" y="vc"/>
              </a:cxn>
            </a:cxnLst>
            <a:rect l="l" t="t" r="r" b="b"/>
            <a:pathLst>
              <a:path w="4279" h="4390">
                <a:moveTo>
                  <a:pt x="812" y="1256"/>
                </a:moveTo>
                <a:cubicBezTo>
                  <a:pt x="796" y="1224"/>
                  <a:pt x="764" y="1192"/>
                  <a:pt x="732" y="1192"/>
                </a:cubicBezTo>
                <a:lnTo>
                  <a:pt x="80" y="1192"/>
                </a:lnTo>
                <a:cubicBezTo>
                  <a:pt x="48" y="1192"/>
                  <a:pt x="0" y="1240"/>
                  <a:pt x="0" y="1272"/>
                </a:cubicBezTo>
                <a:lnTo>
                  <a:pt x="0" y="1510"/>
                </a:lnTo>
                <a:cubicBezTo>
                  <a:pt x="0" y="1558"/>
                  <a:pt x="48" y="1590"/>
                  <a:pt x="80" y="1590"/>
                </a:cubicBezTo>
                <a:cubicBezTo>
                  <a:pt x="128" y="1590"/>
                  <a:pt x="160" y="1558"/>
                  <a:pt x="160" y="1510"/>
                </a:cubicBezTo>
                <a:lnTo>
                  <a:pt x="160" y="1352"/>
                </a:lnTo>
                <a:lnTo>
                  <a:pt x="685" y="1352"/>
                </a:lnTo>
                <a:lnTo>
                  <a:pt x="1480" y="3467"/>
                </a:lnTo>
                <a:cubicBezTo>
                  <a:pt x="1496" y="3499"/>
                  <a:pt x="1527" y="3515"/>
                  <a:pt x="1560" y="3515"/>
                </a:cubicBezTo>
                <a:lnTo>
                  <a:pt x="3675" y="3515"/>
                </a:lnTo>
                <a:cubicBezTo>
                  <a:pt x="3723" y="3515"/>
                  <a:pt x="3738" y="3499"/>
                  <a:pt x="3754" y="3467"/>
                </a:cubicBezTo>
                <a:lnTo>
                  <a:pt x="4279" y="2083"/>
                </a:lnTo>
                <a:cubicBezTo>
                  <a:pt x="4279" y="2051"/>
                  <a:pt x="4279" y="2036"/>
                  <a:pt x="4263" y="2004"/>
                </a:cubicBezTo>
                <a:cubicBezTo>
                  <a:pt x="4247" y="1988"/>
                  <a:pt x="4232" y="1972"/>
                  <a:pt x="4215" y="1972"/>
                </a:cubicBezTo>
                <a:lnTo>
                  <a:pt x="1384" y="1558"/>
                </a:lnTo>
                <a:cubicBezTo>
                  <a:pt x="1337" y="1558"/>
                  <a:pt x="1289" y="1574"/>
                  <a:pt x="1289" y="1622"/>
                </a:cubicBezTo>
                <a:cubicBezTo>
                  <a:pt x="1289" y="1670"/>
                  <a:pt x="1321" y="1701"/>
                  <a:pt x="1352" y="1718"/>
                </a:cubicBezTo>
                <a:lnTo>
                  <a:pt x="4088" y="2115"/>
                </a:lnTo>
                <a:lnTo>
                  <a:pt x="3627" y="3355"/>
                </a:lnTo>
                <a:lnTo>
                  <a:pt x="1607" y="3355"/>
                </a:lnTo>
                <a:close/>
                <a:moveTo>
                  <a:pt x="1670" y="3992"/>
                </a:moveTo>
                <a:cubicBezTo>
                  <a:pt x="1670" y="4215"/>
                  <a:pt x="1846" y="4390"/>
                  <a:pt x="2068" y="4390"/>
                </a:cubicBezTo>
                <a:cubicBezTo>
                  <a:pt x="2275" y="4390"/>
                  <a:pt x="2450" y="4215"/>
                  <a:pt x="2450" y="3992"/>
                </a:cubicBezTo>
                <a:cubicBezTo>
                  <a:pt x="2450" y="3785"/>
                  <a:pt x="2275" y="3594"/>
                  <a:pt x="2068" y="3594"/>
                </a:cubicBezTo>
                <a:cubicBezTo>
                  <a:pt x="1846" y="3594"/>
                  <a:pt x="1670" y="3785"/>
                  <a:pt x="1670" y="3992"/>
                </a:cubicBezTo>
                <a:close/>
                <a:moveTo>
                  <a:pt x="2291" y="3992"/>
                </a:moveTo>
                <a:cubicBezTo>
                  <a:pt x="2291" y="4119"/>
                  <a:pt x="2196" y="4230"/>
                  <a:pt x="2068" y="4230"/>
                </a:cubicBezTo>
                <a:cubicBezTo>
                  <a:pt x="1925" y="4230"/>
                  <a:pt x="1830" y="4119"/>
                  <a:pt x="1830" y="3992"/>
                </a:cubicBezTo>
                <a:cubicBezTo>
                  <a:pt x="1830" y="3864"/>
                  <a:pt x="1925" y="3753"/>
                  <a:pt x="2068" y="3753"/>
                </a:cubicBezTo>
                <a:cubicBezTo>
                  <a:pt x="2196" y="3753"/>
                  <a:pt x="2291" y="3864"/>
                  <a:pt x="2291" y="3992"/>
                </a:cubicBezTo>
                <a:close/>
                <a:moveTo>
                  <a:pt x="2784" y="3992"/>
                </a:moveTo>
                <a:cubicBezTo>
                  <a:pt x="2784" y="4215"/>
                  <a:pt x="2959" y="4390"/>
                  <a:pt x="3182" y="4390"/>
                </a:cubicBezTo>
                <a:cubicBezTo>
                  <a:pt x="3388" y="4390"/>
                  <a:pt x="3579" y="4215"/>
                  <a:pt x="3579" y="3992"/>
                </a:cubicBezTo>
                <a:cubicBezTo>
                  <a:pt x="3579" y="3785"/>
                  <a:pt x="3388" y="3594"/>
                  <a:pt x="3182" y="3594"/>
                </a:cubicBezTo>
                <a:cubicBezTo>
                  <a:pt x="2959" y="3594"/>
                  <a:pt x="2784" y="3785"/>
                  <a:pt x="2784" y="3992"/>
                </a:cubicBezTo>
                <a:close/>
                <a:moveTo>
                  <a:pt x="3420" y="3992"/>
                </a:moveTo>
                <a:cubicBezTo>
                  <a:pt x="3420" y="4119"/>
                  <a:pt x="3309" y="4230"/>
                  <a:pt x="3182" y="4230"/>
                </a:cubicBezTo>
                <a:cubicBezTo>
                  <a:pt x="3054" y="4230"/>
                  <a:pt x="2943" y="4119"/>
                  <a:pt x="2943" y="3992"/>
                </a:cubicBezTo>
                <a:cubicBezTo>
                  <a:pt x="2943" y="3864"/>
                  <a:pt x="3054" y="3753"/>
                  <a:pt x="3182" y="3753"/>
                </a:cubicBezTo>
                <a:cubicBezTo>
                  <a:pt x="3309" y="3753"/>
                  <a:pt x="3420" y="3864"/>
                  <a:pt x="3420" y="3992"/>
                </a:cubicBezTo>
                <a:close/>
                <a:moveTo>
                  <a:pt x="1703" y="3054"/>
                </a:moveTo>
                <a:lnTo>
                  <a:pt x="3563" y="3054"/>
                </a:lnTo>
                <a:cubicBezTo>
                  <a:pt x="3611" y="3054"/>
                  <a:pt x="3643" y="3022"/>
                  <a:pt x="3643" y="2974"/>
                </a:cubicBezTo>
                <a:cubicBezTo>
                  <a:pt x="3643" y="2926"/>
                  <a:pt x="3611" y="2894"/>
                  <a:pt x="3563" y="2894"/>
                </a:cubicBezTo>
                <a:lnTo>
                  <a:pt x="1703" y="2894"/>
                </a:lnTo>
                <a:cubicBezTo>
                  <a:pt x="1670" y="2894"/>
                  <a:pt x="1623" y="2926"/>
                  <a:pt x="1623" y="2974"/>
                </a:cubicBezTo>
                <a:cubicBezTo>
                  <a:pt x="1623" y="3022"/>
                  <a:pt x="1670" y="3054"/>
                  <a:pt x="1703" y="3054"/>
                </a:cubicBezTo>
                <a:close/>
                <a:moveTo>
                  <a:pt x="1703" y="2751"/>
                </a:moveTo>
                <a:lnTo>
                  <a:pt x="3563" y="2751"/>
                </a:lnTo>
                <a:cubicBezTo>
                  <a:pt x="3611" y="2751"/>
                  <a:pt x="3643" y="2703"/>
                  <a:pt x="3643" y="2672"/>
                </a:cubicBezTo>
                <a:cubicBezTo>
                  <a:pt x="3643" y="2624"/>
                  <a:pt x="3611" y="2592"/>
                  <a:pt x="3563" y="2592"/>
                </a:cubicBezTo>
                <a:lnTo>
                  <a:pt x="1703" y="2592"/>
                </a:lnTo>
                <a:cubicBezTo>
                  <a:pt x="1670" y="2592"/>
                  <a:pt x="1623" y="2624"/>
                  <a:pt x="1623" y="2672"/>
                </a:cubicBezTo>
                <a:cubicBezTo>
                  <a:pt x="1623" y="2703"/>
                  <a:pt x="1670" y="2751"/>
                  <a:pt x="1703" y="2751"/>
                </a:cubicBezTo>
                <a:close/>
                <a:moveTo>
                  <a:pt x="1703" y="2433"/>
                </a:moveTo>
                <a:lnTo>
                  <a:pt x="3102" y="2433"/>
                </a:lnTo>
                <a:cubicBezTo>
                  <a:pt x="3134" y="2433"/>
                  <a:pt x="3182" y="2401"/>
                  <a:pt x="3182" y="2354"/>
                </a:cubicBezTo>
                <a:cubicBezTo>
                  <a:pt x="3182" y="2322"/>
                  <a:pt x="3134" y="2274"/>
                  <a:pt x="3102" y="2274"/>
                </a:cubicBezTo>
                <a:lnTo>
                  <a:pt x="1703" y="2274"/>
                </a:lnTo>
                <a:cubicBezTo>
                  <a:pt x="1670" y="2274"/>
                  <a:pt x="1623" y="2322"/>
                  <a:pt x="1623" y="2354"/>
                </a:cubicBezTo>
                <a:cubicBezTo>
                  <a:pt x="1623" y="2401"/>
                  <a:pt x="1670" y="2433"/>
                  <a:pt x="1703" y="2433"/>
                </a:cubicBezTo>
                <a:close/>
                <a:moveTo>
                  <a:pt x="3914" y="1161"/>
                </a:moveTo>
                <a:cubicBezTo>
                  <a:pt x="3786" y="1161"/>
                  <a:pt x="3691" y="1065"/>
                  <a:pt x="3691" y="954"/>
                </a:cubicBezTo>
                <a:cubicBezTo>
                  <a:pt x="3691" y="906"/>
                  <a:pt x="3659" y="874"/>
                  <a:pt x="3611" y="874"/>
                </a:cubicBezTo>
                <a:cubicBezTo>
                  <a:pt x="3579" y="874"/>
                  <a:pt x="3532" y="906"/>
                  <a:pt x="3532" y="954"/>
                </a:cubicBezTo>
                <a:cubicBezTo>
                  <a:pt x="3532" y="1145"/>
                  <a:pt x="3706" y="1320"/>
                  <a:pt x="3914" y="1320"/>
                </a:cubicBezTo>
                <a:cubicBezTo>
                  <a:pt x="4104" y="1320"/>
                  <a:pt x="4279" y="1145"/>
                  <a:pt x="4279" y="954"/>
                </a:cubicBezTo>
                <a:cubicBezTo>
                  <a:pt x="4279" y="827"/>
                  <a:pt x="4215" y="731"/>
                  <a:pt x="4136" y="652"/>
                </a:cubicBezTo>
                <a:cubicBezTo>
                  <a:pt x="4215" y="588"/>
                  <a:pt x="4279" y="492"/>
                  <a:pt x="4279" y="365"/>
                </a:cubicBezTo>
                <a:cubicBezTo>
                  <a:pt x="4279" y="159"/>
                  <a:pt x="4104" y="0"/>
                  <a:pt x="3914" y="0"/>
                </a:cubicBezTo>
                <a:cubicBezTo>
                  <a:pt x="3706" y="0"/>
                  <a:pt x="3532" y="159"/>
                  <a:pt x="3532" y="365"/>
                </a:cubicBezTo>
                <a:cubicBezTo>
                  <a:pt x="3532" y="413"/>
                  <a:pt x="3579" y="445"/>
                  <a:pt x="3611" y="445"/>
                </a:cubicBezTo>
                <a:cubicBezTo>
                  <a:pt x="3659" y="445"/>
                  <a:pt x="3691" y="413"/>
                  <a:pt x="3691" y="365"/>
                </a:cubicBezTo>
                <a:cubicBezTo>
                  <a:pt x="3691" y="254"/>
                  <a:pt x="3786" y="159"/>
                  <a:pt x="3914" y="159"/>
                </a:cubicBezTo>
                <a:cubicBezTo>
                  <a:pt x="4025" y="159"/>
                  <a:pt x="4120" y="254"/>
                  <a:pt x="4120" y="365"/>
                </a:cubicBezTo>
                <a:cubicBezTo>
                  <a:pt x="4120" y="492"/>
                  <a:pt x="4025" y="572"/>
                  <a:pt x="3914" y="572"/>
                </a:cubicBezTo>
                <a:cubicBezTo>
                  <a:pt x="3866" y="572"/>
                  <a:pt x="3834" y="620"/>
                  <a:pt x="3834" y="652"/>
                </a:cubicBezTo>
                <a:cubicBezTo>
                  <a:pt x="3834" y="700"/>
                  <a:pt x="3866" y="731"/>
                  <a:pt x="3914" y="731"/>
                </a:cubicBezTo>
                <a:cubicBezTo>
                  <a:pt x="4025" y="731"/>
                  <a:pt x="4120" y="827"/>
                  <a:pt x="4120" y="954"/>
                </a:cubicBezTo>
                <a:cubicBezTo>
                  <a:pt x="4120" y="1065"/>
                  <a:pt x="4025" y="1161"/>
                  <a:pt x="3914" y="116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7" name="Freeform: Shape 14">
            <a:extLst>
              <a:ext uri="{FF2B5EF4-FFF2-40B4-BE49-F238E27FC236}">
                <a16:creationId xmlns:a16="http://schemas.microsoft.com/office/drawing/2014/main" id="{A13C210A-51A3-B348-98C1-ED91047D09FF}"/>
              </a:ext>
            </a:extLst>
          </p:cNvPr>
          <p:cNvSpPr/>
          <p:nvPr/>
        </p:nvSpPr>
        <p:spPr>
          <a:xfrm>
            <a:off x="1670497" y="9708501"/>
            <a:ext cx="1536840" cy="1512000"/>
          </a:xfrm>
          <a:custGeom>
            <a:avLst/>
            <a:gdLst/>
            <a:ahLst/>
            <a:cxnLst>
              <a:cxn ang="3cd4">
                <a:pos x="hc" y="t"/>
              </a:cxn>
              <a:cxn ang="cd2">
                <a:pos x="l" y="vc"/>
              </a:cxn>
              <a:cxn ang="cd4">
                <a:pos x="hc" y="b"/>
              </a:cxn>
              <a:cxn ang="0">
                <a:pos x="r" y="vc"/>
              </a:cxn>
            </a:cxnLst>
            <a:rect l="l" t="t" r="r" b="b"/>
            <a:pathLst>
              <a:path w="4270" h="4201">
                <a:moveTo>
                  <a:pt x="780" y="1131"/>
                </a:moveTo>
                <a:cubicBezTo>
                  <a:pt x="764" y="1099"/>
                  <a:pt x="748" y="1083"/>
                  <a:pt x="700" y="1083"/>
                </a:cubicBezTo>
                <a:lnTo>
                  <a:pt x="80" y="1083"/>
                </a:lnTo>
                <a:cubicBezTo>
                  <a:pt x="32" y="1083"/>
                  <a:pt x="0" y="1116"/>
                  <a:pt x="0" y="1163"/>
                </a:cubicBezTo>
                <a:lnTo>
                  <a:pt x="0" y="1386"/>
                </a:lnTo>
                <a:cubicBezTo>
                  <a:pt x="0" y="1434"/>
                  <a:pt x="32" y="1465"/>
                  <a:pt x="80" y="1465"/>
                </a:cubicBezTo>
                <a:cubicBezTo>
                  <a:pt x="112" y="1465"/>
                  <a:pt x="160" y="1434"/>
                  <a:pt x="160" y="1386"/>
                </a:cubicBezTo>
                <a:lnTo>
                  <a:pt x="160" y="1243"/>
                </a:lnTo>
                <a:lnTo>
                  <a:pt x="652" y="1243"/>
                </a:lnTo>
                <a:lnTo>
                  <a:pt x="1448" y="3295"/>
                </a:lnTo>
                <a:cubicBezTo>
                  <a:pt x="1448" y="3326"/>
                  <a:pt x="1479" y="3342"/>
                  <a:pt x="1512" y="3342"/>
                </a:cubicBezTo>
                <a:lnTo>
                  <a:pt x="3595" y="3342"/>
                </a:lnTo>
                <a:cubicBezTo>
                  <a:pt x="3627" y="3342"/>
                  <a:pt x="3659" y="3326"/>
                  <a:pt x="3659" y="3295"/>
                </a:cubicBezTo>
                <a:lnTo>
                  <a:pt x="4168" y="1943"/>
                </a:lnTo>
                <a:cubicBezTo>
                  <a:pt x="4184" y="1911"/>
                  <a:pt x="4168" y="1895"/>
                  <a:pt x="4168" y="1879"/>
                </a:cubicBezTo>
                <a:cubicBezTo>
                  <a:pt x="4152" y="1847"/>
                  <a:pt x="4136" y="1831"/>
                  <a:pt x="4104" y="1831"/>
                </a:cubicBezTo>
                <a:lnTo>
                  <a:pt x="1336" y="1434"/>
                </a:lnTo>
                <a:cubicBezTo>
                  <a:pt x="1305" y="1417"/>
                  <a:pt x="1257" y="1449"/>
                  <a:pt x="1257" y="1497"/>
                </a:cubicBezTo>
                <a:cubicBezTo>
                  <a:pt x="1241" y="1545"/>
                  <a:pt x="1273" y="1577"/>
                  <a:pt x="1321" y="1592"/>
                </a:cubicBezTo>
                <a:lnTo>
                  <a:pt x="3993" y="1974"/>
                </a:lnTo>
                <a:lnTo>
                  <a:pt x="3532" y="3199"/>
                </a:lnTo>
                <a:lnTo>
                  <a:pt x="1575" y="3199"/>
                </a:lnTo>
                <a:close/>
                <a:moveTo>
                  <a:pt x="1623" y="3819"/>
                </a:moveTo>
                <a:cubicBezTo>
                  <a:pt x="1623" y="4026"/>
                  <a:pt x="1798" y="4201"/>
                  <a:pt x="2005" y="4201"/>
                </a:cubicBezTo>
                <a:cubicBezTo>
                  <a:pt x="2227" y="4201"/>
                  <a:pt x="2402" y="4026"/>
                  <a:pt x="2402" y="3819"/>
                </a:cubicBezTo>
                <a:cubicBezTo>
                  <a:pt x="2402" y="3597"/>
                  <a:pt x="2227" y="3422"/>
                  <a:pt x="2005" y="3422"/>
                </a:cubicBezTo>
                <a:cubicBezTo>
                  <a:pt x="1798" y="3422"/>
                  <a:pt x="1623" y="3597"/>
                  <a:pt x="1623" y="3819"/>
                </a:cubicBezTo>
                <a:close/>
                <a:moveTo>
                  <a:pt x="2243" y="3819"/>
                </a:moveTo>
                <a:cubicBezTo>
                  <a:pt x="2243" y="3947"/>
                  <a:pt x="2132" y="4042"/>
                  <a:pt x="2005" y="4042"/>
                </a:cubicBezTo>
                <a:cubicBezTo>
                  <a:pt x="1878" y="4042"/>
                  <a:pt x="1782" y="3947"/>
                  <a:pt x="1782" y="3819"/>
                </a:cubicBezTo>
                <a:cubicBezTo>
                  <a:pt x="1782" y="3692"/>
                  <a:pt x="1878" y="3581"/>
                  <a:pt x="2005" y="3581"/>
                </a:cubicBezTo>
                <a:cubicBezTo>
                  <a:pt x="2132" y="3581"/>
                  <a:pt x="2243" y="3692"/>
                  <a:pt x="2243" y="3819"/>
                </a:cubicBezTo>
                <a:close/>
                <a:moveTo>
                  <a:pt x="2705" y="3819"/>
                </a:moveTo>
                <a:cubicBezTo>
                  <a:pt x="2705" y="4026"/>
                  <a:pt x="2879" y="4201"/>
                  <a:pt x="3102" y="4201"/>
                </a:cubicBezTo>
                <a:cubicBezTo>
                  <a:pt x="3309" y="4201"/>
                  <a:pt x="3484" y="4026"/>
                  <a:pt x="3484" y="3819"/>
                </a:cubicBezTo>
                <a:cubicBezTo>
                  <a:pt x="3484" y="3597"/>
                  <a:pt x="3309" y="3422"/>
                  <a:pt x="3102" y="3422"/>
                </a:cubicBezTo>
                <a:cubicBezTo>
                  <a:pt x="2879" y="3422"/>
                  <a:pt x="2705" y="3597"/>
                  <a:pt x="2705" y="3819"/>
                </a:cubicBezTo>
                <a:close/>
                <a:moveTo>
                  <a:pt x="3325" y="3819"/>
                </a:moveTo>
                <a:cubicBezTo>
                  <a:pt x="3325" y="3947"/>
                  <a:pt x="3229" y="4042"/>
                  <a:pt x="3102" y="4042"/>
                </a:cubicBezTo>
                <a:cubicBezTo>
                  <a:pt x="2975" y="4042"/>
                  <a:pt x="2863" y="3947"/>
                  <a:pt x="2863" y="3819"/>
                </a:cubicBezTo>
                <a:cubicBezTo>
                  <a:pt x="2863" y="3692"/>
                  <a:pt x="2975" y="3581"/>
                  <a:pt x="3102" y="3581"/>
                </a:cubicBezTo>
                <a:cubicBezTo>
                  <a:pt x="3229" y="3581"/>
                  <a:pt x="3325" y="3692"/>
                  <a:pt x="3325" y="3819"/>
                </a:cubicBezTo>
                <a:close/>
                <a:moveTo>
                  <a:pt x="1655" y="2897"/>
                </a:moveTo>
                <a:lnTo>
                  <a:pt x="3468" y="2897"/>
                </a:lnTo>
                <a:cubicBezTo>
                  <a:pt x="3515" y="2897"/>
                  <a:pt x="3548" y="2865"/>
                  <a:pt x="3548" y="2817"/>
                </a:cubicBezTo>
                <a:cubicBezTo>
                  <a:pt x="3548" y="2770"/>
                  <a:pt x="3515" y="2738"/>
                  <a:pt x="3468" y="2738"/>
                </a:cubicBezTo>
                <a:lnTo>
                  <a:pt x="1655" y="2738"/>
                </a:lnTo>
                <a:cubicBezTo>
                  <a:pt x="1623" y="2738"/>
                  <a:pt x="1575" y="2770"/>
                  <a:pt x="1575" y="2817"/>
                </a:cubicBezTo>
                <a:cubicBezTo>
                  <a:pt x="1575" y="2865"/>
                  <a:pt x="1623" y="2897"/>
                  <a:pt x="1655" y="2897"/>
                </a:cubicBezTo>
                <a:close/>
                <a:moveTo>
                  <a:pt x="1655" y="2595"/>
                </a:moveTo>
                <a:lnTo>
                  <a:pt x="3468" y="2595"/>
                </a:lnTo>
                <a:cubicBezTo>
                  <a:pt x="3515" y="2595"/>
                  <a:pt x="3548" y="2563"/>
                  <a:pt x="3548" y="2515"/>
                </a:cubicBezTo>
                <a:cubicBezTo>
                  <a:pt x="3548" y="2467"/>
                  <a:pt x="3515" y="2435"/>
                  <a:pt x="3468" y="2435"/>
                </a:cubicBezTo>
                <a:lnTo>
                  <a:pt x="1655" y="2435"/>
                </a:lnTo>
                <a:cubicBezTo>
                  <a:pt x="1623" y="2435"/>
                  <a:pt x="1575" y="2467"/>
                  <a:pt x="1575" y="2515"/>
                </a:cubicBezTo>
                <a:cubicBezTo>
                  <a:pt x="1575" y="2563"/>
                  <a:pt x="1623" y="2595"/>
                  <a:pt x="1655" y="2595"/>
                </a:cubicBezTo>
                <a:close/>
                <a:moveTo>
                  <a:pt x="1655" y="2292"/>
                </a:moveTo>
                <a:lnTo>
                  <a:pt x="3023" y="2292"/>
                </a:lnTo>
                <a:cubicBezTo>
                  <a:pt x="3070" y="2292"/>
                  <a:pt x="3102" y="2261"/>
                  <a:pt x="3102" y="2213"/>
                </a:cubicBezTo>
                <a:cubicBezTo>
                  <a:pt x="3102" y="2165"/>
                  <a:pt x="3070" y="2134"/>
                  <a:pt x="3023" y="2134"/>
                </a:cubicBezTo>
                <a:lnTo>
                  <a:pt x="1655" y="2134"/>
                </a:lnTo>
                <a:cubicBezTo>
                  <a:pt x="1623" y="2134"/>
                  <a:pt x="1575" y="2165"/>
                  <a:pt x="1575" y="2213"/>
                </a:cubicBezTo>
                <a:cubicBezTo>
                  <a:pt x="1575" y="2261"/>
                  <a:pt x="1623" y="2292"/>
                  <a:pt x="1655" y="2292"/>
                </a:cubicBezTo>
                <a:close/>
                <a:moveTo>
                  <a:pt x="3436" y="1098"/>
                </a:moveTo>
                <a:cubicBezTo>
                  <a:pt x="3452" y="1098"/>
                  <a:pt x="3484" y="1098"/>
                  <a:pt x="3500" y="1067"/>
                </a:cubicBezTo>
                <a:lnTo>
                  <a:pt x="4247" y="128"/>
                </a:lnTo>
                <a:cubicBezTo>
                  <a:pt x="4279" y="97"/>
                  <a:pt x="4279" y="49"/>
                  <a:pt x="4232" y="17"/>
                </a:cubicBezTo>
                <a:cubicBezTo>
                  <a:pt x="4200" y="-15"/>
                  <a:pt x="4152" y="1"/>
                  <a:pt x="4120" y="33"/>
                </a:cubicBezTo>
                <a:lnTo>
                  <a:pt x="3420" y="907"/>
                </a:lnTo>
                <a:lnTo>
                  <a:pt x="3118" y="589"/>
                </a:lnTo>
                <a:cubicBezTo>
                  <a:pt x="3086" y="558"/>
                  <a:pt x="3023" y="558"/>
                  <a:pt x="3006" y="589"/>
                </a:cubicBezTo>
                <a:cubicBezTo>
                  <a:pt x="2975" y="621"/>
                  <a:pt x="2975" y="669"/>
                  <a:pt x="3006" y="701"/>
                </a:cubicBezTo>
                <a:lnTo>
                  <a:pt x="3372" y="1082"/>
                </a:lnTo>
                <a:cubicBezTo>
                  <a:pt x="3388" y="1098"/>
                  <a:pt x="3404" y="1098"/>
                  <a:pt x="3436" y="109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8" name="Freeform: Shape 15">
            <a:extLst>
              <a:ext uri="{FF2B5EF4-FFF2-40B4-BE49-F238E27FC236}">
                <a16:creationId xmlns:a16="http://schemas.microsoft.com/office/drawing/2014/main" id="{0C6E9534-D1C9-AB40-B137-EB2197BE7281}"/>
              </a:ext>
            </a:extLst>
          </p:cNvPr>
          <p:cNvSpPr/>
          <p:nvPr/>
        </p:nvSpPr>
        <p:spPr>
          <a:xfrm>
            <a:off x="21205080" y="6568056"/>
            <a:ext cx="1538640" cy="1144800"/>
          </a:xfrm>
          <a:custGeom>
            <a:avLst/>
            <a:gdLst/>
            <a:ahLst/>
            <a:cxnLst>
              <a:cxn ang="3cd4">
                <a:pos x="hc" y="t"/>
              </a:cxn>
              <a:cxn ang="cd2">
                <a:pos x="l" y="vc"/>
              </a:cxn>
              <a:cxn ang="cd4">
                <a:pos x="hc" y="b"/>
              </a:cxn>
              <a:cxn ang="0">
                <a:pos x="r" y="vc"/>
              </a:cxn>
            </a:cxnLst>
            <a:rect l="l" t="t" r="r" b="b"/>
            <a:pathLst>
              <a:path w="4275" h="3181">
                <a:moveTo>
                  <a:pt x="796" y="48"/>
                </a:moveTo>
                <a:cubicBezTo>
                  <a:pt x="796" y="16"/>
                  <a:pt x="764" y="0"/>
                  <a:pt x="732" y="0"/>
                </a:cubicBezTo>
                <a:lnTo>
                  <a:pt x="80" y="0"/>
                </a:lnTo>
                <a:cubicBezTo>
                  <a:pt x="33" y="0"/>
                  <a:pt x="0" y="32"/>
                  <a:pt x="0" y="79"/>
                </a:cubicBezTo>
                <a:lnTo>
                  <a:pt x="0" y="302"/>
                </a:lnTo>
                <a:cubicBezTo>
                  <a:pt x="0" y="350"/>
                  <a:pt x="33" y="382"/>
                  <a:pt x="80" y="382"/>
                </a:cubicBezTo>
                <a:cubicBezTo>
                  <a:pt x="128" y="382"/>
                  <a:pt x="160" y="350"/>
                  <a:pt x="160" y="302"/>
                </a:cubicBezTo>
                <a:lnTo>
                  <a:pt x="160" y="159"/>
                </a:lnTo>
                <a:lnTo>
                  <a:pt x="669" y="159"/>
                </a:lnTo>
                <a:lnTo>
                  <a:pt x="1480" y="2259"/>
                </a:lnTo>
                <a:cubicBezTo>
                  <a:pt x="1496" y="2290"/>
                  <a:pt x="1527" y="2322"/>
                  <a:pt x="1559" y="2322"/>
                </a:cubicBezTo>
                <a:lnTo>
                  <a:pt x="3675" y="2322"/>
                </a:lnTo>
                <a:cubicBezTo>
                  <a:pt x="3707" y="2322"/>
                  <a:pt x="3738" y="2290"/>
                  <a:pt x="3754" y="2259"/>
                </a:cubicBezTo>
                <a:lnTo>
                  <a:pt x="4263" y="875"/>
                </a:lnTo>
                <a:cubicBezTo>
                  <a:pt x="4279" y="859"/>
                  <a:pt x="4279" y="827"/>
                  <a:pt x="4263" y="811"/>
                </a:cubicBezTo>
                <a:cubicBezTo>
                  <a:pt x="4247" y="779"/>
                  <a:pt x="4232" y="779"/>
                  <a:pt x="4200" y="763"/>
                </a:cubicBezTo>
                <a:lnTo>
                  <a:pt x="1369" y="350"/>
                </a:lnTo>
                <a:cubicBezTo>
                  <a:pt x="1337" y="350"/>
                  <a:pt x="1289" y="382"/>
                  <a:pt x="1289" y="414"/>
                </a:cubicBezTo>
                <a:cubicBezTo>
                  <a:pt x="1273" y="461"/>
                  <a:pt x="1305" y="509"/>
                  <a:pt x="1353" y="509"/>
                </a:cubicBezTo>
                <a:lnTo>
                  <a:pt x="4089" y="906"/>
                </a:lnTo>
                <a:lnTo>
                  <a:pt x="3627" y="2163"/>
                </a:lnTo>
                <a:lnTo>
                  <a:pt x="1607" y="2163"/>
                </a:lnTo>
                <a:close/>
                <a:moveTo>
                  <a:pt x="2450" y="2799"/>
                </a:moveTo>
                <a:cubicBezTo>
                  <a:pt x="2450" y="2577"/>
                  <a:pt x="2275" y="2402"/>
                  <a:pt x="2053" y="2402"/>
                </a:cubicBezTo>
                <a:cubicBezTo>
                  <a:pt x="1846" y="2402"/>
                  <a:pt x="1655" y="2577"/>
                  <a:pt x="1655" y="2799"/>
                </a:cubicBezTo>
                <a:cubicBezTo>
                  <a:pt x="1655" y="3006"/>
                  <a:pt x="1846" y="3181"/>
                  <a:pt x="2053" y="3181"/>
                </a:cubicBezTo>
                <a:cubicBezTo>
                  <a:pt x="2275" y="3181"/>
                  <a:pt x="2450" y="3006"/>
                  <a:pt x="2450" y="2799"/>
                </a:cubicBezTo>
                <a:close/>
                <a:moveTo>
                  <a:pt x="1814" y="2799"/>
                </a:moveTo>
                <a:cubicBezTo>
                  <a:pt x="1814" y="2656"/>
                  <a:pt x="1925" y="2561"/>
                  <a:pt x="2053" y="2561"/>
                </a:cubicBezTo>
                <a:cubicBezTo>
                  <a:pt x="2196" y="2561"/>
                  <a:pt x="2291" y="2656"/>
                  <a:pt x="2291" y="2799"/>
                </a:cubicBezTo>
                <a:cubicBezTo>
                  <a:pt x="2291" y="2927"/>
                  <a:pt x="2196" y="3022"/>
                  <a:pt x="2053" y="3022"/>
                </a:cubicBezTo>
                <a:cubicBezTo>
                  <a:pt x="1925" y="3022"/>
                  <a:pt x="1814" y="2927"/>
                  <a:pt x="1814" y="2799"/>
                </a:cubicBezTo>
                <a:close/>
                <a:moveTo>
                  <a:pt x="3563" y="2799"/>
                </a:moveTo>
                <a:cubicBezTo>
                  <a:pt x="3563" y="2577"/>
                  <a:pt x="3389" y="2402"/>
                  <a:pt x="3166" y="2402"/>
                </a:cubicBezTo>
                <a:cubicBezTo>
                  <a:pt x="2959" y="2402"/>
                  <a:pt x="2784" y="2577"/>
                  <a:pt x="2784" y="2799"/>
                </a:cubicBezTo>
                <a:cubicBezTo>
                  <a:pt x="2784" y="3006"/>
                  <a:pt x="2959" y="3181"/>
                  <a:pt x="3166" y="3181"/>
                </a:cubicBezTo>
                <a:cubicBezTo>
                  <a:pt x="3389" y="3181"/>
                  <a:pt x="3563" y="3006"/>
                  <a:pt x="3563" y="2799"/>
                </a:cubicBezTo>
                <a:close/>
                <a:moveTo>
                  <a:pt x="2943" y="2799"/>
                </a:moveTo>
                <a:cubicBezTo>
                  <a:pt x="2943" y="2656"/>
                  <a:pt x="3039" y="2561"/>
                  <a:pt x="3166" y="2561"/>
                </a:cubicBezTo>
                <a:cubicBezTo>
                  <a:pt x="3309" y="2561"/>
                  <a:pt x="3405" y="2656"/>
                  <a:pt x="3405" y="2799"/>
                </a:cubicBezTo>
                <a:cubicBezTo>
                  <a:pt x="3405" y="2927"/>
                  <a:pt x="3309" y="3022"/>
                  <a:pt x="3166" y="3022"/>
                </a:cubicBezTo>
                <a:cubicBezTo>
                  <a:pt x="3039" y="3022"/>
                  <a:pt x="2943" y="2927"/>
                  <a:pt x="2943" y="2799"/>
                </a:cubicBezTo>
                <a:close/>
                <a:moveTo>
                  <a:pt x="1702" y="1861"/>
                </a:moveTo>
                <a:lnTo>
                  <a:pt x="3563" y="1861"/>
                </a:lnTo>
                <a:cubicBezTo>
                  <a:pt x="3595" y="1861"/>
                  <a:pt x="3643" y="1813"/>
                  <a:pt x="3643" y="1781"/>
                </a:cubicBezTo>
                <a:cubicBezTo>
                  <a:pt x="3643" y="1733"/>
                  <a:pt x="3595" y="1702"/>
                  <a:pt x="3563" y="1702"/>
                </a:cubicBezTo>
                <a:lnTo>
                  <a:pt x="1702" y="1702"/>
                </a:lnTo>
                <a:cubicBezTo>
                  <a:pt x="1655" y="1702"/>
                  <a:pt x="1623" y="1733"/>
                  <a:pt x="1623" y="1781"/>
                </a:cubicBezTo>
                <a:cubicBezTo>
                  <a:pt x="1623" y="1813"/>
                  <a:pt x="1655" y="1861"/>
                  <a:pt x="1702" y="1861"/>
                </a:cubicBezTo>
                <a:close/>
                <a:moveTo>
                  <a:pt x="1702" y="1543"/>
                </a:moveTo>
                <a:lnTo>
                  <a:pt x="3563" y="1543"/>
                </a:lnTo>
                <a:cubicBezTo>
                  <a:pt x="3595" y="1543"/>
                  <a:pt x="3643" y="1511"/>
                  <a:pt x="3643" y="1463"/>
                </a:cubicBezTo>
                <a:cubicBezTo>
                  <a:pt x="3643" y="1415"/>
                  <a:pt x="3595" y="1384"/>
                  <a:pt x="3563" y="1384"/>
                </a:cubicBezTo>
                <a:lnTo>
                  <a:pt x="1702" y="1384"/>
                </a:lnTo>
                <a:cubicBezTo>
                  <a:pt x="1655" y="1384"/>
                  <a:pt x="1623" y="1415"/>
                  <a:pt x="1623" y="1463"/>
                </a:cubicBezTo>
                <a:cubicBezTo>
                  <a:pt x="1623" y="1511"/>
                  <a:pt x="1655" y="1543"/>
                  <a:pt x="1702" y="1543"/>
                </a:cubicBezTo>
                <a:close/>
                <a:moveTo>
                  <a:pt x="1702" y="1241"/>
                </a:moveTo>
                <a:lnTo>
                  <a:pt x="3086" y="1241"/>
                </a:lnTo>
                <a:cubicBezTo>
                  <a:pt x="3134" y="1241"/>
                  <a:pt x="3166" y="1193"/>
                  <a:pt x="3166" y="1161"/>
                </a:cubicBezTo>
                <a:cubicBezTo>
                  <a:pt x="3166" y="1114"/>
                  <a:pt x="3134" y="1081"/>
                  <a:pt x="3086" y="1081"/>
                </a:cubicBezTo>
                <a:lnTo>
                  <a:pt x="1702" y="1081"/>
                </a:lnTo>
                <a:cubicBezTo>
                  <a:pt x="1655" y="1081"/>
                  <a:pt x="1623" y="1114"/>
                  <a:pt x="1623" y="1161"/>
                </a:cubicBezTo>
                <a:cubicBezTo>
                  <a:pt x="1623" y="1193"/>
                  <a:pt x="1655" y="1241"/>
                  <a:pt x="1702" y="124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9" name="Freeform: Shape 16">
            <a:extLst>
              <a:ext uri="{FF2B5EF4-FFF2-40B4-BE49-F238E27FC236}">
                <a16:creationId xmlns:a16="http://schemas.microsoft.com/office/drawing/2014/main" id="{CAB8939E-9E52-1A47-A2AD-E067A43B36A3}"/>
              </a:ext>
            </a:extLst>
          </p:cNvPr>
          <p:cNvSpPr/>
          <p:nvPr/>
        </p:nvSpPr>
        <p:spPr>
          <a:xfrm>
            <a:off x="17568186" y="6476255"/>
            <a:ext cx="1540080" cy="1328400"/>
          </a:xfrm>
          <a:custGeom>
            <a:avLst/>
            <a:gdLst/>
            <a:ahLst/>
            <a:cxnLst>
              <a:cxn ang="3cd4">
                <a:pos x="hc" y="t"/>
              </a:cxn>
              <a:cxn ang="cd2">
                <a:pos x="l" y="vc"/>
              </a:cxn>
              <a:cxn ang="cd4">
                <a:pos x="hc" y="b"/>
              </a:cxn>
              <a:cxn ang="0">
                <a:pos x="r" y="vc"/>
              </a:cxn>
            </a:cxnLst>
            <a:rect l="l" t="t" r="r" b="b"/>
            <a:pathLst>
              <a:path w="4279" h="3691">
                <a:moveTo>
                  <a:pt x="1559" y="2688"/>
                </a:moveTo>
                <a:lnTo>
                  <a:pt x="779" y="652"/>
                </a:lnTo>
                <a:cubicBezTo>
                  <a:pt x="763" y="621"/>
                  <a:pt x="731" y="589"/>
                  <a:pt x="700" y="589"/>
                </a:cubicBezTo>
                <a:lnTo>
                  <a:pt x="79" y="589"/>
                </a:lnTo>
                <a:cubicBezTo>
                  <a:pt x="32" y="589"/>
                  <a:pt x="0" y="637"/>
                  <a:pt x="0" y="669"/>
                </a:cubicBezTo>
                <a:lnTo>
                  <a:pt x="0" y="907"/>
                </a:lnTo>
                <a:cubicBezTo>
                  <a:pt x="0" y="939"/>
                  <a:pt x="32" y="987"/>
                  <a:pt x="79" y="987"/>
                </a:cubicBezTo>
                <a:cubicBezTo>
                  <a:pt x="127" y="987"/>
                  <a:pt x="159" y="939"/>
                  <a:pt x="159" y="907"/>
                </a:cubicBezTo>
                <a:lnTo>
                  <a:pt x="159" y="748"/>
                </a:lnTo>
                <a:lnTo>
                  <a:pt x="652" y="748"/>
                </a:lnTo>
                <a:lnTo>
                  <a:pt x="1431" y="2800"/>
                </a:lnTo>
                <a:cubicBezTo>
                  <a:pt x="1447" y="2832"/>
                  <a:pt x="1479" y="2848"/>
                  <a:pt x="1511" y="2848"/>
                </a:cubicBezTo>
                <a:lnTo>
                  <a:pt x="3563" y="2848"/>
                </a:lnTo>
                <a:cubicBezTo>
                  <a:pt x="3594" y="2848"/>
                  <a:pt x="3627" y="2832"/>
                  <a:pt x="3642" y="2800"/>
                </a:cubicBezTo>
                <a:lnTo>
                  <a:pt x="4136" y="1448"/>
                </a:lnTo>
                <a:lnTo>
                  <a:pt x="4136" y="1384"/>
                </a:lnTo>
                <a:cubicBezTo>
                  <a:pt x="4119" y="1369"/>
                  <a:pt x="4088" y="1352"/>
                  <a:pt x="4072" y="1352"/>
                </a:cubicBezTo>
                <a:lnTo>
                  <a:pt x="1336" y="939"/>
                </a:lnTo>
                <a:cubicBezTo>
                  <a:pt x="1288" y="939"/>
                  <a:pt x="1256" y="971"/>
                  <a:pt x="1240" y="1003"/>
                </a:cubicBezTo>
                <a:cubicBezTo>
                  <a:pt x="1240" y="1050"/>
                  <a:pt x="1272" y="1098"/>
                  <a:pt x="1304" y="1098"/>
                </a:cubicBezTo>
                <a:lnTo>
                  <a:pt x="3945" y="1496"/>
                </a:lnTo>
                <a:lnTo>
                  <a:pt x="3499" y="2688"/>
                </a:lnTo>
                <a:close/>
                <a:moveTo>
                  <a:pt x="2386" y="3309"/>
                </a:moveTo>
                <a:cubicBezTo>
                  <a:pt x="2386" y="3086"/>
                  <a:pt x="2211" y="2927"/>
                  <a:pt x="1988" y="2927"/>
                </a:cubicBezTo>
                <a:cubicBezTo>
                  <a:pt x="1781" y="2927"/>
                  <a:pt x="1606" y="3086"/>
                  <a:pt x="1606" y="3309"/>
                </a:cubicBezTo>
                <a:cubicBezTo>
                  <a:pt x="1606" y="3515"/>
                  <a:pt x="1781" y="3691"/>
                  <a:pt x="1988" y="3691"/>
                </a:cubicBezTo>
                <a:cubicBezTo>
                  <a:pt x="2211" y="3691"/>
                  <a:pt x="2386" y="3515"/>
                  <a:pt x="2386" y="3309"/>
                </a:cubicBezTo>
                <a:close/>
                <a:moveTo>
                  <a:pt x="1765" y="3309"/>
                </a:moveTo>
                <a:cubicBezTo>
                  <a:pt x="1765" y="3182"/>
                  <a:pt x="1861" y="3086"/>
                  <a:pt x="1988" y="3086"/>
                </a:cubicBezTo>
                <a:cubicBezTo>
                  <a:pt x="2115" y="3086"/>
                  <a:pt x="2227" y="3182"/>
                  <a:pt x="2227" y="3309"/>
                </a:cubicBezTo>
                <a:cubicBezTo>
                  <a:pt x="2227" y="3436"/>
                  <a:pt x="2115" y="3532"/>
                  <a:pt x="1988" y="3532"/>
                </a:cubicBezTo>
                <a:cubicBezTo>
                  <a:pt x="1861" y="3532"/>
                  <a:pt x="1765" y="3436"/>
                  <a:pt x="1765" y="3309"/>
                </a:cubicBezTo>
                <a:close/>
                <a:moveTo>
                  <a:pt x="3467" y="3309"/>
                </a:moveTo>
                <a:cubicBezTo>
                  <a:pt x="3467" y="3086"/>
                  <a:pt x="3292" y="2927"/>
                  <a:pt x="3070" y="2927"/>
                </a:cubicBezTo>
                <a:cubicBezTo>
                  <a:pt x="2863" y="2927"/>
                  <a:pt x="2688" y="3086"/>
                  <a:pt x="2688" y="3309"/>
                </a:cubicBezTo>
                <a:cubicBezTo>
                  <a:pt x="2688" y="3515"/>
                  <a:pt x="2863" y="3691"/>
                  <a:pt x="3070" y="3691"/>
                </a:cubicBezTo>
                <a:cubicBezTo>
                  <a:pt x="3292" y="3691"/>
                  <a:pt x="3467" y="3515"/>
                  <a:pt x="3467" y="3309"/>
                </a:cubicBezTo>
                <a:close/>
                <a:moveTo>
                  <a:pt x="2847" y="3309"/>
                </a:moveTo>
                <a:cubicBezTo>
                  <a:pt x="2847" y="3182"/>
                  <a:pt x="2942" y="3086"/>
                  <a:pt x="3070" y="3086"/>
                </a:cubicBezTo>
                <a:cubicBezTo>
                  <a:pt x="3197" y="3086"/>
                  <a:pt x="3308" y="3182"/>
                  <a:pt x="3308" y="3309"/>
                </a:cubicBezTo>
                <a:cubicBezTo>
                  <a:pt x="3308" y="3436"/>
                  <a:pt x="3197" y="3532"/>
                  <a:pt x="3070" y="3532"/>
                </a:cubicBezTo>
                <a:cubicBezTo>
                  <a:pt x="2942" y="3532"/>
                  <a:pt x="2847" y="3436"/>
                  <a:pt x="2847" y="3309"/>
                </a:cubicBezTo>
                <a:close/>
                <a:moveTo>
                  <a:pt x="4279" y="80"/>
                </a:moveTo>
                <a:cubicBezTo>
                  <a:pt x="4279" y="32"/>
                  <a:pt x="4231" y="0"/>
                  <a:pt x="4199" y="0"/>
                </a:cubicBezTo>
                <a:lnTo>
                  <a:pt x="3149" y="0"/>
                </a:lnTo>
                <a:cubicBezTo>
                  <a:pt x="3101" y="0"/>
                  <a:pt x="3070" y="32"/>
                  <a:pt x="3070" y="80"/>
                </a:cubicBezTo>
                <a:cubicBezTo>
                  <a:pt x="3070" y="128"/>
                  <a:pt x="3101" y="160"/>
                  <a:pt x="3149" y="160"/>
                </a:cubicBezTo>
                <a:lnTo>
                  <a:pt x="4199" y="160"/>
                </a:lnTo>
                <a:cubicBezTo>
                  <a:pt x="4231" y="160"/>
                  <a:pt x="4279" y="128"/>
                  <a:pt x="4279" y="8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0" name="Freeform: Shape 17">
            <a:extLst>
              <a:ext uri="{FF2B5EF4-FFF2-40B4-BE49-F238E27FC236}">
                <a16:creationId xmlns:a16="http://schemas.microsoft.com/office/drawing/2014/main" id="{65BB9302-55D0-7A42-B9AE-C72988FCE373}"/>
              </a:ext>
            </a:extLst>
          </p:cNvPr>
          <p:cNvSpPr/>
          <p:nvPr/>
        </p:nvSpPr>
        <p:spPr>
          <a:xfrm>
            <a:off x="13859418" y="6356016"/>
            <a:ext cx="1540080" cy="1568519"/>
          </a:xfrm>
          <a:custGeom>
            <a:avLst/>
            <a:gdLst/>
            <a:ahLst/>
            <a:cxnLst>
              <a:cxn ang="3cd4">
                <a:pos x="hc" y="t"/>
              </a:cxn>
              <a:cxn ang="cd2">
                <a:pos x="l" y="vc"/>
              </a:cxn>
              <a:cxn ang="cd4">
                <a:pos x="hc" y="b"/>
              </a:cxn>
              <a:cxn ang="0">
                <a:pos x="r" y="vc"/>
              </a:cxn>
            </a:cxnLst>
            <a:rect l="l" t="t" r="r" b="b"/>
            <a:pathLst>
              <a:path w="4279" h="4358">
                <a:moveTo>
                  <a:pt x="0" y="1241"/>
                </a:moveTo>
                <a:lnTo>
                  <a:pt x="0" y="1480"/>
                </a:lnTo>
                <a:cubicBezTo>
                  <a:pt x="0" y="1512"/>
                  <a:pt x="47" y="1559"/>
                  <a:pt x="79" y="1559"/>
                </a:cubicBezTo>
                <a:cubicBezTo>
                  <a:pt x="127" y="1559"/>
                  <a:pt x="159" y="1512"/>
                  <a:pt x="159" y="1480"/>
                </a:cubicBezTo>
                <a:lnTo>
                  <a:pt x="159" y="1321"/>
                </a:lnTo>
                <a:lnTo>
                  <a:pt x="684" y="1321"/>
                </a:lnTo>
                <a:lnTo>
                  <a:pt x="1479" y="3436"/>
                </a:lnTo>
                <a:cubicBezTo>
                  <a:pt x="1495" y="3468"/>
                  <a:pt x="1527" y="3484"/>
                  <a:pt x="1559" y="3484"/>
                </a:cubicBezTo>
                <a:lnTo>
                  <a:pt x="3690" y="3484"/>
                </a:lnTo>
                <a:cubicBezTo>
                  <a:pt x="3722" y="3484"/>
                  <a:pt x="3738" y="3468"/>
                  <a:pt x="3754" y="3436"/>
                </a:cubicBezTo>
                <a:lnTo>
                  <a:pt x="4279" y="2036"/>
                </a:lnTo>
                <a:cubicBezTo>
                  <a:pt x="4279" y="2021"/>
                  <a:pt x="4279" y="1989"/>
                  <a:pt x="4263" y="1973"/>
                </a:cubicBezTo>
                <a:cubicBezTo>
                  <a:pt x="4247" y="1957"/>
                  <a:pt x="4231" y="1941"/>
                  <a:pt x="4215" y="1941"/>
                </a:cubicBezTo>
                <a:lnTo>
                  <a:pt x="1384" y="1527"/>
                </a:lnTo>
                <a:cubicBezTo>
                  <a:pt x="1336" y="1512"/>
                  <a:pt x="1304" y="1543"/>
                  <a:pt x="1288" y="1591"/>
                </a:cubicBezTo>
                <a:cubicBezTo>
                  <a:pt x="1288" y="1639"/>
                  <a:pt x="1320" y="1670"/>
                  <a:pt x="1352" y="1686"/>
                </a:cubicBezTo>
                <a:lnTo>
                  <a:pt x="4088" y="2084"/>
                </a:lnTo>
                <a:lnTo>
                  <a:pt x="3627" y="3325"/>
                </a:lnTo>
                <a:lnTo>
                  <a:pt x="1606" y="3325"/>
                </a:lnTo>
                <a:lnTo>
                  <a:pt x="811" y="1209"/>
                </a:lnTo>
                <a:cubicBezTo>
                  <a:pt x="795" y="1177"/>
                  <a:pt x="764" y="1161"/>
                  <a:pt x="731" y="1161"/>
                </a:cubicBezTo>
                <a:lnTo>
                  <a:pt x="79" y="1161"/>
                </a:lnTo>
                <a:cubicBezTo>
                  <a:pt x="47" y="1161"/>
                  <a:pt x="0" y="1194"/>
                  <a:pt x="0" y="1241"/>
                </a:cubicBezTo>
                <a:close/>
                <a:moveTo>
                  <a:pt x="2449" y="3961"/>
                </a:moveTo>
                <a:cubicBezTo>
                  <a:pt x="2449" y="3738"/>
                  <a:pt x="2275" y="3563"/>
                  <a:pt x="2068" y="3563"/>
                </a:cubicBezTo>
                <a:cubicBezTo>
                  <a:pt x="1845" y="3563"/>
                  <a:pt x="1670" y="3738"/>
                  <a:pt x="1670" y="3961"/>
                </a:cubicBezTo>
                <a:cubicBezTo>
                  <a:pt x="1670" y="4184"/>
                  <a:pt x="1845" y="4358"/>
                  <a:pt x="2068" y="4358"/>
                </a:cubicBezTo>
                <a:cubicBezTo>
                  <a:pt x="2275" y="4358"/>
                  <a:pt x="2449" y="4184"/>
                  <a:pt x="2449" y="3961"/>
                </a:cubicBezTo>
                <a:close/>
                <a:moveTo>
                  <a:pt x="1829" y="3961"/>
                </a:moveTo>
                <a:cubicBezTo>
                  <a:pt x="1829" y="3834"/>
                  <a:pt x="1925" y="3722"/>
                  <a:pt x="2068" y="3722"/>
                </a:cubicBezTo>
                <a:cubicBezTo>
                  <a:pt x="2195" y="3722"/>
                  <a:pt x="2306" y="3834"/>
                  <a:pt x="2306" y="3961"/>
                </a:cubicBezTo>
                <a:cubicBezTo>
                  <a:pt x="2306" y="4088"/>
                  <a:pt x="2195" y="4200"/>
                  <a:pt x="2068" y="4200"/>
                </a:cubicBezTo>
                <a:cubicBezTo>
                  <a:pt x="1925" y="4200"/>
                  <a:pt x="1829" y="4088"/>
                  <a:pt x="1829" y="3961"/>
                </a:cubicBezTo>
                <a:close/>
                <a:moveTo>
                  <a:pt x="3579" y="3961"/>
                </a:moveTo>
                <a:cubicBezTo>
                  <a:pt x="3579" y="3738"/>
                  <a:pt x="3404" y="3563"/>
                  <a:pt x="3181" y="3563"/>
                </a:cubicBezTo>
                <a:cubicBezTo>
                  <a:pt x="2958" y="3563"/>
                  <a:pt x="2784" y="3738"/>
                  <a:pt x="2784" y="3961"/>
                </a:cubicBezTo>
                <a:cubicBezTo>
                  <a:pt x="2784" y="4184"/>
                  <a:pt x="2958" y="4358"/>
                  <a:pt x="3181" y="4358"/>
                </a:cubicBezTo>
                <a:cubicBezTo>
                  <a:pt x="3404" y="4358"/>
                  <a:pt x="3579" y="4184"/>
                  <a:pt x="3579" y="3961"/>
                </a:cubicBezTo>
                <a:close/>
                <a:moveTo>
                  <a:pt x="2943" y="3961"/>
                </a:moveTo>
                <a:cubicBezTo>
                  <a:pt x="2943" y="3834"/>
                  <a:pt x="3054" y="3722"/>
                  <a:pt x="3181" y="3722"/>
                </a:cubicBezTo>
                <a:cubicBezTo>
                  <a:pt x="3308" y="3722"/>
                  <a:pt x="3420" y="3834"/>
                  <a:pt x="3420" y="3961"/>
                </a:cubicBezTo>
                <a:cubicBezTo>
                  <a:pt x="3420" y="4088"/>
                  <a:pt x="3308" y="4200"/>
                  <a:pt x="3181" y="4200"/>
                </a:cubicBezTo>
                <a:cubicBezTo>
                  <a:pt x="3054" y="4200"/>
                  <a:pt x="2943" y="4088"/>
                  <a:pt x="2943" y="3961"/>
                </a:cubicBezTo>
                <a:close/>
                <a:moveTo>
                  <a:pt x="3642" y="1241"/>
                </a:moveTo>
                <a:cubicBezTo>
                  <a:pt x="3690" y="1241"/>
                  <a:pt x="3722" y="1209"/>
                  <a:pt x="3722" y="1161"/>
                </a:cubicBezTo>
                <a:lnTo>
                  <a:pt x="3722" y="700"/>
                </a:lnTo>
                <a:lnTo>
                  <a:pt x="4183" y="700"/>
                </a:lnTo>
                <a:cubicBezTo>
                  <a:pt x="4231" y="700"/>
                  <a:pt x="4263" y="668"/>
                  <a:pt x="4263" y="621"/>
                </a:cubicBezTo>
                <a:cubicBezTo>
                  <a:pt x="4263" y="573"/>
                  <a:pt x="4231" y="541"/>
                  <a:pt x="4183" y="541"/>
                </a:cubicBezTo>
                <a:lnTo>
                  <a:pt x="3722" y="541"/>
                </a:lnTo>
                <a:lnTo>
                  <a:pt x="3722" y="80"/>
                </a:lnTo>
                <a:cubicBezTo>
                  <a:pt x="3722" y="32"/>
                  <a:pt x="3690" y="0"/>
                  <a:pt x="3642" y="0"/>
                </a:cubicBezTo>
                <a:cubicBezTo>
                  <a:pt x="3595" y="0"/>
                  <a:pt x="3563" y="32"/>
                  <a:pt x="3563" y="80"/>
                </a:cubicBezTo>
                <a:lnTo>
                  <a:pt x="3563" y="541"/>
                </a:lnTo>
                <a:lnTo>
                  <a:pt x="3101" y="541"/>
                </a:lnTo>
                <a:cubicBezTo>
                  <a:pt x="3054" y="541"/>
                  <a:pt x="3022" y="573"/>
                  <a:pt x="3022" y="621"/>
                </a:cubicBezTo>
                <a:cubicBezTo>
                  <a:pt x="3022" y="668"/>
                  <a:pt x="3054" y="700"/>
                  <a:pt x="3101" y="700"/>
                </a:cubicBezTo>
                <a:lnTo>
                  <a:pt x="3563" y="700"/>
                </a:lnTo>
                <a:lnTo>
                  <a:pt x="3563" y="1161"/>
                </a:lnTo>
                <a:cubicBezTo>
                  <a:pt x="3563" y="1209"/>
                  <a:pt x="3595" y="1241"/>
                  <a:pt x="3642" y="124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1" name="Freeform: Shape 18">
            <a:extLst>
              <a:ext uri="{FF2B5EF4-FFF2-40B4-BE49-F238E27FC236}">
                <a16:creationId xmlns:a16="http://schemas.microsoft.com/office/drawing/2014/main" id="{6C8D4CFC-439F-0844-894C-9758646BB306}"/>
              </a:ext>
            </a:extLst>
          </p:cNvPr>
          <p:cNvSpPr/>
          <p:nvPr/>
        </p:nvSpPr>
        <p:spPr>
          <a:xfrm>
            <a:off x="9897813" y="9674301"/>
            <a:ext cx="1538640" cy="1580760"/>
          </a:xfrm>
          <a:custGeom>
            <a:avLst/>
            <a:gdLst/>
            <a:ahLst/>
            <a:cxnLst>
              <a:cxn ang="3cd4">
                <a:pos x="hc" y="t"/>
              </a:cxn>
              <a:cxn ang="cd2">
                <a:pos x="l" y="vc"/>
              </a:cxn>
              <a:cxn ang="cd4">
                <a:pos x="hc" y="b"/>
              </a:cxn>
              <a:cxn ang="0">
                <a:pos x="r" y="vc"/>
              </a:cxn>
            </a:cxnLst>
            <a:rect l="l" t="t" r="r" b="b"/>
            <a:pathLst>
              <a:path w="4275" h="4392">
                <a:moveTo>
                  <a:pt x="795" y="1258"/>
                </a:moveTo>
                <a:cubicBezTo>
                  <a:pt x="795" y="1226"/>
                  <a:pt x="764" y="1211"/>
                  <a:pt x="732" y="1211"/>
                </a:cubicBezTo>
                <a:lnTo>
                  <a:pt x="80" y="1211"/>
                </a:lnTo>
                <a:cubicBezTo>
                  <a:pt x="32" y="1211"/>
                  <a:pt x="0" y="1242"/>
                  <a:pt x="0" y="1290"/>
                </a:cubicBezTo>
                <a:lnTo>
                  <a:pt x="0" y="1512"/>
                </a:lnTo>
                <a:cubicBezTo>
                  <a:pt x="0" y="1560"/>
                  <a:pt x="32" y="1592"/>
                  <a:pt x="80" y="1592"/>
                </a:cubicBezTo>
                <a:cubicBezTo>
                  <a:pt x="128" y="1592"/>
                  <a:pt x="159" y="1560"/>
                  <a:pt x="159" y="1512"/>
                </a:cubicBezTo>
                <a:lnTo>
                  <a:pt x="159" y="1369"/>
                </a:lnTo>
                <a:lnTo>
                  <a:pt x="668" y="1369"/>
                </a:lnTo>
                <a:lnTo>
                  <a:pt x="1480" y="3469"/>
                </a:lnTo>
                <a:cubicBezTo>
                  <a:pt x="1495" y="3501"/>
                  <a:pt x="1527" y="3533"/>
                  <a:pt x="1559" y="3533"/>
                </a:cubicBezTo>
                <a:lnTo>
                  <a:pt x="3675" y="3533"/>
                </a:lnTo>
                <a:cubicBezTo>
                  <a:pt x="3706" y="3533"/>
                  <a:pt x="3738" y="3501"/>
                  <a:pt x="3754" y="3469"/>
                </a:cubicBezTo>
                <a:lnTo>
                  <a:pt x="4263" y="2085"/>
                </a:lnTo>
                <a:cubicBezTo>
                  <a:pt x="4279" y="2069"/>
                  <a:pt x="4279" y="2038"/>
                  <a:pt x="4263" y="2021"/>
                </a:cubicBezTo>
                <a:cubicBezTo>
                  <a:pt x="4247" y="1990"/>
                  <a:pt x="4231" y="1990"/>
                  <a:pt x="4200" y="1974"/>
                </a:cubicBezTo>
                <a:lnTo>
                  <a:pt x="1368" y="1560"/>
                </a:lnTo>
                <a:cubicBezTo>
                  <a:pt x="1337" y="1560"/>
                  <a:pt x="1289" y="1592"/>
                  <a:pt x="1289" y="1624"/>
                </a:cubicBezTo>
                <a:cubicBezTo>
                  <a:pt x="1273" y="1672"/>
                  <a:pt x="1304" y="1720"/>
                  <a:pt x="1352" y="1720"/>
                </a:cubicBezTo>
                <a:lnTo>
                  <a:pt x="4088" y="2117"/>
                </a:lnTo>
                <a:lnTo>
                  <a:pt x="3627" y="3374"/>
                </a:lnTo>
                <a:lnTo>
                  <a:pt x="1607" y="3374"/>
                </a:lnTo>
                <a:close/>
                <a:moveTo>
                  <a:pt x="1655" y="4010"/>
                </a:moveTo>
                <a:cubicBezTo>
                  <a:pt x="1655" y="4217"/>
                  <a:pt x="1845" y="4392"/>
                  <a:pt x="2052" y="4392"/>
                </a:cubicBezTo>
                <a:cubicBezTo>
                  <a:pt x="2275" y="4392"/>
                  <a:pt x="2450" y="4217"/>
                  <a:pt x="2450" y="4010"/>
                </a:cubicBezTo>
                <a:cubicBezTo>
                  <a:pt x="2450" y="3787"/>
                  <a:pt x="2275" y="3612"/>
                  <a:pt x="2052" y="3612"/>
                </a:cubicBezTo>
                <a:cubicBezTo>
                  <a:pt x="1845" y="3612"/>
                  <a:pt x="1655" y="3787"/>
                  <a:pt x="1655" y="4010"/>
                </a:cubicBezTo>
                <a:close/>
                <a:moveTo>
                  <a:pt x="2291" y="4010"/>
                </a:moveTo>
                <a:cubicBezTo>
                  <a:pt x="2291" y="4137"/>
                  <a:pt x="2195" y="4232"/>
                  <a:pt x="2052" y="4232"/>
                </a:cubicBezTo>
                <a:cubicBezTo>
                  <a:pt x="1925" y="4232"/>
                  <a:pt x="1813" y="4137"/>
                  <a:pt x="1813" y="4010"/>
                </a:cubicBezTo>
                <a:cubicBezTo>
                  <a:pt x="1813" y="3866"/>
                  <a:pt x="1925" y="3771"/>
                  <a:pt x="2052" y="3771"/>
                </a:cubicBezTo>
                <a:cubicBezTo>
                  <a:pt x="2195" y="3771"/>
                  <a:pt x="2291" y="3866"/>
                  <a:pt x="2291" y="4010"/>
                </a:cubicBezTo>
                <a:close/>
                <a:moveTo>
                  <a:pt x="2784" y="4010"/>
                </a:moveTo>
                <a:cubicBezTo>
                  <a:pt x="2784" y="4217"/>
                  <a:pt x="2959" y="4392"/>
                  <a:pt x="3166" y="4392"/>
                </a:cubicBezTo>
                <a:cubicBezTo>
                  <a:pt x="3388" y="4392"/>
                  <a:pt x="3563" y="4217"/>
                  <a:pt x="3563" y="4010"/>
                </a:cubicBezTo>
                <a:cubicBezTo>
                  <a:pt x="3563" y="3787"/>
                  <a:pt x="3388" y="3612"/>
                  <a:pt x="3166" y="3612"/>
                </a:cubicBezTo>
                <a:cubicBezTo>
                  <a:pt x="2959" y="3612"/>
                  <a:pt x="2784" y="3787"/>
                  <a:pt x="2784" y="4010"/>
                </a:cubicBezTo>
                <a:close/>
                <a:moveTo>
                  <a:pt x="3404" y="4010"/>
                </a:moveTo>
                <a:cubicBezTo>
                  <a:pt x="3404" y="4137"/>
                  <a:pt x="3309" y="4232"/>
                  <a:pt x="3166" y="4232"/>
                </a:cubicBezTo>
                <a:cubicBezTo>
                  <a:pt x="3039" y="4232"/>
                  <a:pt x="2943" y="4137"/>
                  <a:pt x="2943" y="4010"/>
                </a:cubicBezTo>
                <a:cubicBezTo>
                  <a:pt x="2943" y="3866"/>
                  <a:pt x="3039" y="3771"/>
                  <a:pt x="3166" y="3771"/>
                </a:cubicBezTo>
                <a:cubicBezTo>
                  <a:pt x="3309" y="3771"/>
                  <a:pt x="3404" y="3866"/>
                  <a:pt x="3404" y="4010"/>
                </a:cubicBezTo>
                <a:close/>
                <a:moveTo>
                  <a:pt x="1702" y="3071"/>
                </a:moveTo>
                <a:lnTo>
                  <a:pt x="3563" y="3071"/>
                </a:lnTo>
                <a:cubicBezTo>
                  <a:pt x="3595" y="3071"/>
                  <a:pt x="3643" y="3024"/>
                  <a:pt x="3643" y="2992"/>
                </a:cubicBezTo>
                <a:cubicBezTo>
                  <a:pt x="3643" y="2944"/>
                  <a:pt x="3595" y="2912"/>
                  <a:pt x="3563" y="2912"/>
                </a:cubicBezTo>
                <a:lnTo>
                  <a:pt x="1702" y="2912"/>
                </a:lnTo>
                <a:cubicBezTo>
                  <a:pt x="1655" y="2912"/>
                  <a:pt x="1623" y="2944"/>
                  <a:pt x="1623" y="2992"/>
                </a:cubicBezTo>
                <a:cubicBezTo>
                  <a:pt x="1623" y="3024"/>
                  <a:pt x="1655" y="3071"/>
                  <a:pt x="1702" y="3071"/>
                </a:cubicBezTo>
                <a:close/>
                <a:moveTo>
                  <a:pt x="1702" y="2753"/>
                </a:moveTo>
                <a:lnTo>
                  <a:pt x="3563" y="2753"/>
                </a:lnTo>
                <a:cubicBezTo>
                  <a:pt x="3595" y="2753"/>
                  <a:pt x="3643" y="2721"/>
                  <a:pt x="3643" y="2674"/>
                </a:cubicBezTo>
                <a:cubicBezTo>
                  <a:pt x="3643" y="2626"/>
                  <a:pt x="3595" y="2594"/>
                  <a:pt x="3563" y="2594"/>
                </a:cubicBezTo>
                <a:lnTo>
                  <a:pt x="1702" y="2594"/>
                </a:lnTo>
                <a:cubicBezTo>
                  <a:pt x="1655" y="2594"/>
                  <a:pt x="1623" y="2626"/>
                  <a:pt x="1623" y="2674"/>
                </a:cubicBezTo>
                <a:cubicBezTo>
                  <a:pt x="1623" y="2721"/>
                  <a:pt x="1655" y="2753"/>
                  <a:pt x="1702" y="2753"/>
                </a:cubicBezTo>
                <a:close/>
                <a:moveTo>
                  <a:pt x="1702" y="2451"/>
                </a:moveTo>
                <a:lnTo>
                  <a:pt x="3086" y="2451"/>
                </a:lnTo>
                <a:cubicBezTo>
                  <a:pt x="3134" y="2451"/>
                  <a:pt x="3166" y="2403"/>
                  <a:pt x="3166" y="2372"/>
                </a:cubicBezTo>
                <a:cubicBezTo>
                  <a:pt x="3166" y="2324"/>
                  <a:pt x="3134" y="2292"/>
                  <a:pt x="3086" y="2292"/>
                </a:cubicBezTo>
                <a:lnTo>
                  <a:pt x="1702" y="2292"/>
                </a:lnTo>
                <a:cubicBezTo>
                  <a:pt x="1655" y="2292"/>
                  <a:pt x="1623" y="2324"/>
                  <a:pt x="1623" y="2372"/>
                </a:cubicBezTo>
                <a:cubicBezTo>
                  <a:pt x="1623" y="2403"/>
                  <a:pt x="1655" y="2451"/>
                  <a:pt x="1702" y="2451"/>
                </a:cubicBezTo>
                <a:close/>
                <a:moveTo>
                  <a:pt x="3913" y="1496"/>
                </a:moveTo>
                <a:lnTo>
                  <a:pt x="3913" y="1511"/>
                </a:lnTo>
                <a:cubicBezTo>
                  <a:pt x="3961" y="1511"/>
                  <a:pt x="3993" y="1480"/>
                  <a:pt x="3993" y="1432"/>
                </a:cubicBezTo>
                <a:cubicBezTo>
                  <a:pt x="4104" y="764"/>
                  <a:pt x="3643" y="128"/>
                  <a:pt x="2975" y="16"/>
                </a:cubicBezTo>
                <a:cubicBezTo>
                  <a:pt x="2291" y="-95"/>
                  <a:pt x="1655" y="366"/>
                  <a:pt x="1543" y="1050"/>
                </a:cubicBezTo>
                <a:cubicBezTo>
                  <a:pt x="1527" y="1082"/>
                  <a:pt x="1559" y="1130"/>
                  <a:pt x="1607" y="1130"/>
                </a:cubicBezTo>
                <a:cubicBezTo>
                  <a:pt x="1655" y="1146"/>
                  <a:pt x="1686" y="1114"/>
                  <a:pt x="1702" y="1066"/>
                </a:cubicBezTo>
                <a:cubicBezTo>
                  <a:pt x="1798" y="478"/>
                  <a:pt x="2354" y="80"/>
                  <a:pt x="2943" y="175"/>
                </a:cubicBezTo>
                <a:cubicBezTo>
                  <a:pt x="3531" y="255"/>
                  <a:pt x="3929" y="828"/>
                  <a:pt x="3849" y="1416"/>
                </a:cubicBezTo>
                <a:cubicBezTo>
                  <a:pt x="3834" y="1448"/>
                  <a:pt x="3866" y="1496"/>
                  <a:pt x="3913" y="1496"/>
                </a:cubicBezTo>
                <a:close/>
                <a:moveTo>
                  <a:pt x="3070" y="1640"/>
                </a:moveTo>
                <a:lnTo>
                  <a:pt x="3102" y="1640"/>
                </a:lnTo>
                <a:cubicBezTo>
                  <a:pt x="3134" y="1640"/>
                  <a:pt x="3166" y="1624"/>
                  <a:pt x="3166" y="1592"/>
                </a:cubicBezTo>
                <a:cubicBezTo>
                  <a:pt x="3182" y="1576"/>
                  <a:pt x="3177" y="1571"/>
                  <a:pt x="3182" y="1560"/>
                </a:cubicBezTo>
                <a:cubicBezTo>
                  <a:pt x="3197" y="1465"/>
                  <a:pt x="3166" y="1369"/>
                  <a:pt x="3102" y="1306"/>
                </a:cubicBezTo>
                <a:cubicBezTo>
                  <a:pt x="3054" y="1274"/>
                  <a:pt x="3022" y="1258"/>
                  <a:pt x="2975" y="1242"/>
                </a:cubicBezTo>
                <a:cubicBezTo>
                  <a:pt x="2927" y="1211"/>
                  <a:pt x="2863" y="1194"/>
                  <a:pt x="2816" y="1178"/>
                </a:cubicBezTo>
                <a:cubicBezTo>
                  <a:pt x="2768" y="1178"/>
                  <a:pt x="2720" y="1163"/>
                  <a:pt x="2673" y="1131"/>
                </a:cubicBezTo>
                <a:cubicBezTo>
                  <a:pt x="2641" y="1115"/>
                  <a:pt x="2609" y="1099"/>
                  <a:pt x="2593" y="1083"/>
                </a:cubicBezTo>
                <a:cubicBezTo>
                  <a:pt x="2577" y="1035"/>
                  <a:pt x="2593" y="988"/>
                  <a:pt x="2609" y="956"/>
                </a:cubicBezTo>
                <a:cubicBezTo>
                  <a:pt x="2673" y="892"/>
                  <a:pt x="2784" y="892"/>
                  <a:pt x="2848" y="908"/>
                </a:cubicBezTo>
                <a:cubicBezTo>
                  <a:pt x="2959" y="924"/>
                  <a:pt x="2975" y="951"/>
                  <a:pt x="3039" y="972"/>
                </a:cubicBezTo>
                <a:cubicBezTo>
                  <a:pt x="3070" y="1003"/>
                  <a:pt x="3118" y="988"/>
                  <a:pt x="3150" y="956"/>
                </a:cubicBezTo>
                <a:cubicBezTo>
                  <a:pt x="3182" y="924"/>
                  <a:pt x="3166" y="876"/>
                  <a:pt x="3134" y="845"/>
                </a:cubicBezTo>
                <a:cubicBezTo>
                  <a:pt x="3049" y="813"/>
                  <a:pt x="3022" y="765"/>
                  <a:pt x="2879" y="749"/>
                </a:cubicBezTo>
                <a:lnTo>
                  <a:pt x="2879" y="590"/>
                </a:lnTo>
                <a:cubicBezTo>
                  <a:pt x="2879" y="542"/>
                  <a:pt x="2831" y="511"/>
                  <a:pt x="2800" y="511"/>
                </a:cubicBezTo>
                <a:cubicBezTo>
                  <a:pt x="2752" y="511"/>
                  <a:pt x="2720" y="542"/>
                  <a:pt x="2720" y="590"/>
                </a:cubicBezTo>
                <a:lnTo>
                  <a:pt x="2720" y="749"/>
                </a:lnTo>
                <a:cubicBezTo>
                  <a:pt x="2641" y="749"/>
                  <a:pt x="2561" y="781"/>
                  <a:pt x="2498" y="860"/>
                </a:cubicBezTo>
                <a:cubicBezTo>
                  <a:pt x="2434" y="940"/>
                  <a:pt x="2418" y="1051"/>
                  <a:pt x="2450" y="1147"/>
                </a:cubicBezTo>
                <a:cubicBezTo>
                  <a:pt x="2482" y="1211"/>
                  <a:pt x="2530" y="1242"/>
                  <a:pt x="2609" y="1290"/>
                </a:cubicBezTo>
                <a:cubicBezTo>
                  <a:pt x="2673" y="1306"/>
                  <a:pt x="2720" y="1322"/>
                  <a:pt x="2768" y="1338"/>
                </a:cubicBezTo>
                <a:cubicBezTo>
                  <a:pt x="2816" y="1354"/>
                  <a:pt x="2863" y="1369"/>
                  <a:pt x="2911" y="1385"/>
                </a:cubicBezTo>
                <a:cubicBezTo>
                  <a:pt x="2943" y="1401"/>
                  <a:pt x="2975" y="1417"/>
                  <a:pt x="2991" y="1433"/>
                </a:cubicBezTo>
                <a:cubicBezTo>
                  <a:pt x="3022" y="1449"/>
                  <a:pt x="3022" y="1481"/>
                  <a:pt x="3022" y="1544"/>
                </a:cubicBezTo>
                <a:cubicBezTo>
                  <a:pt x="3006" y="1592"/>
                  <a:pt x="3039" y="1640"/>
                  <a:pt x="3070" y="164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2" name="Freeform: Shape 19">
            <a:extLst>
              <a:ext uri="{FF2B5EF4-FFF2-40B4-BE49-F238E27FC236}">
                <a16:creationId xmlns:a16="http://schemas.microsoft.com/office/drawing/2014/main" id="{94CD96D0-3CD1-F54A-8F72-5B1BAAE9A19B}"/>
              </a:ext>
            </a:extLst>
          </p:cNvPr>
          <p:cNvSpPr/>
          <p:nvPr/>
        </p:nvSpPr>
        <p:spPr>
          <a:xfrm>
            <a:off x="13852354" y="9623181"/>
            <a:ext cx="1534319" cy="1683360"/>
          </a:xfrm>
          <a:custGeom>
            <a:avLst/>
            <a:gdLst/>
            <a:ahLst/>
            <a:cxnLst>
              <a:cxn ang="3cd4">
                <a:pos x="hc" y="t"/>
              </a:cxn>
              <a:cxn ang="cd2">
                <a:pos x="l" y="vc"/>
              </a:cxn>
              <a:cxn ang="cd4">
                <a:pos x="hc" y="b"/>
              </a:cxn>
              <a:cxn ang="0">
                <a:pos x="r" y="vc"/>
              </a:cxn>
            </a:cxnLst>
            <a:rect l="l" t="t" r="r" b="b"/>
            <a:pathLst>
              <a:path w="4263" h="4677">
                <a:moveTo>
                  <a:pt x="0" y="1480"/>
                </a:moveTo>
                <a:lnTo>
                  <a:pt x="0" y="1718"/>
                </a:lnTo>
                <a:cubicBezTo>
                  <a:pt x="0" y="1766"/>
                  <a:pt x="32" y="1798"/>
                  <a:pt x="80" y="1798"/>
                </a:cubicBezTo>
                <a:cubicBezTo>
                  <a:pt x="111" y="1798"/>
                  <a:pt x="159" y="1766"/>
                  <a:pt x="159" y="1718"/>
                </a:cubicBezTo>
                <a:lnTo>
                  <a:pt x="159" y="1559"/>
                </a:lnTo>
                <a:lnTo>
                  <a:pt x="573" y="1559"/>
                </a:lnTo>
                <a:lnTo>
                  <a:pt x="1400" y="3738"/>
                </a:lnTo>
                <a:cubicBezTo>
                  <a:pt x="1416" y="3770"/>
                  <a:pt x="1432" y="3786"/>
                  <a:pt x="1464" y="3786"/>
                </a:cubicBezTo>
                <a:lnTo>
                  <a:pt x="3658" y="3786"/>
                </a:lnTo>
                <a:cubicBezTo>
                  <a:pt x="3691" y="3786"/>
                  <a:pt x="3722" y="3754"/>
                  <a:pt x="3738" y="3738"/>
                </a:cubicBezTo>
                <a:lnTo>
                  <a:pt x="4263" y="2307"/>
                </a:lnTo>
                <a:lnTo>
                  <a:pt x="4263" y="2227"/>
                </a:lnTo>
                <a:cubicBezTo>
                  <a:pt x="4247" y="2211"/>
                  <a:pt x="4215" y="2195"/>
                  <a:pt x="4199" y="2195"/>
                </a:cubicBezTo>
                <a:lnTo>
                  <a:pt x="1352" y="1766"/>
                </a:lnTo>
                <a:cubicBezTo>
                  <a:pt x="1304" y="1766"/>
                  <a:pt x="1257" y="1798"/>
                  <a:pt x="1257" y="1829"/>
                </a:cubicBezTo>
                <a:cubicBezTo>
                  <a:pt x="1257" y="1877"/>
                  <a:pt x="1289" y="1909"/>
                  <a:pt x="1320" y="1925"/>
                </a:cubicBezTo>
                <a:lnTo>
                  <a:pt x="4072" y="2338"/>
                </a:lnTo>
                <a:lnTo>
                  <a:pt x="3595" y="3627"/>
                </a:lnTo>
                <a:lnTo>
                  <a:pt x="1527" y="3627"/>
                </a:lnTo>
                <a:lnTo>
                  <a:pt x="700" y="1448"/>
                </a:lnTo>
                <a:cubicBezTo>
                  <a:pt x="684" y="1416"/>
                  <a:pt x="652" y="1400"/>
                  <a:pt x="620" y="1400"/>
                </a:cubicBezTo>
                <a:lnTo>
                  <a:pt x="80" y="1400"/>
                </a:lnTo>
                <a:cubicBezTo>
                  <a:pt x="32" y="1400"/>
                  <a:pt x="0" y="1432"/>
                  <a:pt x="0" y="1480"/>
                </a:cubicBezTo>
                <a:close/>
                <a:moveTo>
                  <a:pt x="1591" y="4279"/>
                </a:moveTo>
                <a:cubicBezTo>
                  <a:pt x="1591" y="4502"/>
                  <a:pt x="1766" y="4677"/>
                  <a:pt x="1988" y="4677"/>
                </a:cubicBezTo>
                <a:cubicBezTo>
                  <a:pt x="2211" y="4677"/>
                  <a:pt x="2386" y="4502"/>
                  <a:pt x="2386" y="4279"/>
                </a:cubicBezTo>
                <a:cubicBezTo>
                  <a:pt x="2386" y="4056"/>
                  <a:pt x="2211" y="3881"/>
                  <a:pt x="1988" y="3881"/>
                </a:cubicBezTo>
                <a:cubicBezTo>
                  <a:pt x="1766" y="3881"/>
                  <a:pt x="1591" y="4056"/>
                  <a:pt x="1591" y="4279"/>
                </a:cubicBezTo>
                <a:close/>
                <a:moveTo>
                  <a:pt x="2227" y="4279"/>
                </a:moveTo>
                <a:cubicBezTo>
                  <a:pt x="2227" y="4406"/>
                  <a:pt x="2131" y="4517"/>
                  <a:pt x="1988" y="4517"/>
                </a:cubicBezTo>
                <a:cubicBezTo>
                  <a:pt x="1861" y="4517"/>
                  <a:pt x="1750" y="4406"/>
                  <a:pt x="1750" y="4279"/>
                </a:cubicBezTo>
                <a:cubicBezTo>
                  <a:pt x="1750" y="4136"/>
                  <a:pt x="1861" y="4025"/>
                  <a:pt x="1988" y="4025"/>
                </a:cubicBezTo>
                <a:cubicBezTo>
                  <a:pt x="2131" y="4025"/>
                  <a:pt x="2227" y="4136"/>
                  <a:pt x="2227" y="4279"/>
                </a:cubicBezTo>
                <a:close/>
                <a:moveTo>
                  <a:pt x="2736" y="4279"/>
                </a:moveTo>
                <a:cubicBezTo>
                  <a:pt x="2736" y="4502"/>
                  <a:pt x="2911" y="4677"/>
                  <a:pt x="3134" y="4677"/>
                </a:cubicBezTo>
                <a:cubicBezTo>
                  <a:pt x="3356" y="4677"/>
                  <a:pt x="3547" y="4502"/>
                  <a:pt x="3547" y="4279"/>
                </a:cubicBezTo>
                <a:cubicBezTo>
                  <a:pt x="3547" y="4056"/>
                  <a:pt x="3356" y="3881"/>
                  <a:pt x="3134" y="3881"/>
                </a:cubicBezTo>
                <a:cubicBezTo>
                  <a:pt x="2911" y="3881"/>
                  <a:pt x="2736" y="4056"/>
                  <a:pt x="2736" y="4279"/>
                </a:cubicBezTo>
                <a:close/>
                <a:moveTo>
                  <a:pt x="3388" y="4279"/>
                </a:moveTo>
                <a:cubicBezTo>
                  <a:pt x="3388" y="4406"/>
                  <a:pt x="3277" y="4517"/>
                  <a:pt x="3134" y="4517"/>
                </a:cubicBezTo>
                <a:cubicBezTo>
                  <a:pt x="3006" y="4517"/>
                  <a:pt x="2895" y="4406"/>
                  <a:pt x="2895" y="4279"/>
                </a:cubicBezTo>
                <a:cubicBezTo>
                  <a:pt x="2895" y="4136"/>
                  <a:pt x="3006" y="4025"/>
                  <a:pt x="3134" y="4025"/>
                </a:cubicBezTo>
                <a:cubicBezTo>
                  <a:pt x="3277" y="4025"/>
                  <a:pt x="3388" y="4136"/>
                  <a:pt x="3388" y="4279"/>
                </a:cubicBezTo>
                <a:close/>
                <a:moveTo>
                  <a:pt x="1750" y="3309"/>
                </a:moveTo>
                <a:lnTo>
                  <a:pt x="3500" y="3309"/>
                </a:lnTo>
                <a:cubicBezTo>
                  <a:pt x="3531" y="3309"/>
                  <a:pt x="3579" y="3277"/>
                  <a:pt x="3579" y="3229"/>
                </a:cubicBezTo>
                <a:cubicBezTo>
                  <a:pt x="3579" y="3181"/>
                  <a:pt x="3531" y="3150"/>
                  <a:pt x="3500" y="3150"/>
                </a:cubicBezTo>
                <a:lnTo>
                  <a:pt x="1750" y="3150"/>
                </a:lnTo>
                <a:cubicBezTo>
                  <a:pt x="1702" y="3150"/>
                  <a:pt x="1670" y="3181"/>
                  <a:pt x="1670" y="3229"/>
                </a:cubicBezTo>
                <a:cubicBezTo>
                  <a:pt x="1670" y="3277"/>
                  <a:pt x="1702" y="3309"/>
                  <a:pt x="1750" y="3309"/>
                </a:cubicBezTo>
                <a:close/>
                <a:moveTo>
                  <a:pt x="1750" y="2990"/>
                </a:moveTo>
                <a:lnTo>
                  <a:pt x="3500" y="2990"/>
                </a:lnTo>
                <a:cubicBezTo>
                  <a:pt x="3531" y="2990"/>
                  <a:pt x="3579" y="2959"/>
                  <a:pt x="3579" y="2911"/>
                </a:cubicBezTo>
                <a:cubicBezTo>
                  <a:pt x="3579" y="2863"/>
                  <a:pt x="3531" y="2832"/>
                  <a:pt x="3500" y="2832"/>
                </a:cubicBezTo>
                <a:lnTo>
                  <a:pt x="1750" y="2832"/>
                </a:lnTo>
                <a:cubicBezTo>
                  <a:pt x="1702" y="2832"/>
                  <a:pt x="1670" y="2863"/>
                  <a:pt x="1670" y="2911"/>
                </a:cubicBezTo>
                <a:cubicBezTo>
                  <a:pt x="1670" y="2959"/>
                  <a:pt x="1702" y="2990"/>
                  <a:pt x="1750" y="2990"/>
                </a:cubicBezTo>
                <a:close/>
                <a:moveTo>
                  <a:pt x="1750" y="2672"/>
                </a:moveTo>
                <a:lnTo>
                  <a:pt x="3022" y="2672"/>
                </a:lnTo>
                <a:cubicBezTo>
                  <a:pt x="3054" y="2672"/>
                  <a:pt x="3102" y="2641"/>
                  <a:pt x="3102" y="2593"/>
                </a:cubicBezTo>
                <a:cubicBezTo>
                  <a:pt x="3102" y="2545"/>
                  <a:pt x="3054" y="2514"/>
                  <a:pt x="3022" y="2514"/>
                </a:cubicBezTo>
                <a:lnTo>
                  <a:pt x="1750" y="2514"/>
                </a:lnTo>
                <a:cubicBezTo>
                  <a:pt x="1702" y="2514"/>
                  <a:pt x="1670" y="2545"/>
                  <a:pt x="1670" y="2593"/>
                </a:cubicBezTo>
                <a:cubicBezTo>
                  <a:pt x="1670" y="2641"/>
                  <a:pt x="1702" y="2672"/>
                  <a:pt x="1750" y="2672"/>
                </a:cubicBezTo>
                <a:close/>
                <a:moveTo>
                  <a:pt x="2783" y="1734"/>
                </a:moveTo>
                <a:cubicBezTo>
                  <a:pt x="2831" y="1734"/>
                  <a:pt x="2863" y="1686"/>
                  <a:pt x="2863" y="1654"/>
                </a:cubicBezTo>
                <a:lnTo>
                  <a:pt x="2863" y="1464"/>
                </a:lnTo>
                <a:cubicBezTo>
                  <a:pt x="3006" y="1448"/>
                  <a:pt x="3165" y="1368"/>
                  <a:pt x="3213" y="1193"/>
                </a:cubicBezTo>
                <a:lnTo>
                  <a:pt x="3213" y="1162"/>
                </a:lnTo>
                <a:cubicBezTo>
                  <a:pt x="3229" y="1066"/>
                  <a:pt x="3197" y="955"/>
                  <a:pt x="3118" y="907"/>
                </a:cubicBezTo>
                <a:cubicBezTo>
                  <a:pt x="3086" y="859"/>
                  <a:pt x="3038" y="844"/>
                  <a:pt x="2991" y="827"/>
                </a:cubicBezTo>
                <a:cubicBezTo>
                  <a:pt x="2927" y="796"/>
                  <a:pt x="2879" y="780"/>
                  <a:pt x="2816" y="764"/>
                </a:cubicBezTo>
                <a:cubicBezTo>
                  <a:pt x="2768" y="748"/>
                  <a:pt x="2704" y="732"/>
                  <a:pt x="2656" y="716"/>
                </a:cubicBezTo>
                <a:cubicBezTo>
                  <a:pt x="2609" y="684"/>
                  <a:pt x="2577" y="668"/>
                  <a:pt x="2561" y="636"/>
                </a:cubicBezTo>
                <a:cubicBezTo>
                  <a:pt x="2545" y="589"/>
                  <a:pt x="2545" y="525"/>
                  <a:pt x="2593" y="493"/>
                </a:cubicBezTo>
                <a:cubicBezTo>
                  <a:pt x="2656" y="414"/>
                  <a:pt x="2783" y="414"/>
                  <a:pt x="2847" y="430"/>
                </a:cubicBezTo>
                <a:cubicBezTo>
                  <a:pt x="2974" y="446"/>
                  <a:pt x="2995" y="483"/>
                  <a:pt x="3070" y="509"/>
                </a:cubicBezTo>
                <a:cubicBezTo>
                  <a:pt x="3102" y="541"/>
                  <a:pt x="3149" y="525"/>
                  <a:pt x="3182" y="493"/>
                </a:cubicBezTo>
                <a:cubicBezTo>
                  <a:pt x="3213" y="462"/>
                  <a:pt x="3197" y="414"/>
                  <a:pt x="3165" y="382"/>
                </a:cubicBezTo>
                <a:cubicBezTo>
                  <a:pt x="3064" y="345"/>
                  <a:pt x="3038" y="287"/>
                  <a:pt x="2863" y="271"/>
                </a:cubicBezTo>
                <a:lnTo>
                  <a:pt x="2863" y="80"/>
                </a:lnTo>
                <a:cubicBezTo>
                  <a:pt x="2863" y="32"/>
                  <a:pt x="2831" y="0"/>
                  <a:pt x="2783" y="0"/>
                </a:cubicBezTo>
                <a:cubicBezTo>
                  <a:pt x="2752" y="0"/>
                  <a:pt x="2720" y="32"/>
                  <a:pt x="2720" y="80"/>
                </a:cubicBezTo>
                <a:lnTo>
                  <a:pt x="2720" y="271"/>
                </a:lnTo>
                <a:cubicBezTo>
                  <a:pt x="2609" y="287"/>
                  <a:pt x="2529" y="318"/>
                  <a:pt x="2465" y="382"/>
                </a:cubicBezTo>
                <a:cubicBezTo>
                  <a:pt x="2386" y="478"/>
                  <a:pt x="2370" y="589"/>
                  <a:pt x="2418" y="700"/>
                </a:cubicBezTo>
                <a:cubicBezTo>
                  <a:pt x="2450" y="764"/>
                  <a:pt x="2513" y="812"/>
                  <a:pt x="2593" y="859"/>
                </a:cubicBezTo>
                <a:cubicBezTo>
                  <a:pt x="2656" y="875"/>
                  <a:pt x="2704" y="891"/>
                  <a:pt x="2768" y="907"/>
                </a:cubicBezTo>
                <a:cubicBezTo>
                  <a:pt x="2816" y="923"/>
                  <a:pt x="2879" y="939"/>
                  <a:pt x="2927" y="971"/>
                </a:cubicBezTo>
                <a:cubicBezTo>
                  <a:pt x="2959" y="987"/>
                  <a:pt x="2991" y="1002"/>
                  <a:pt x="3022" y="1018"/>
                </a:cubicBezTo>
                <a:cubicBezTo>
                  <a:pt x="3054" y="1050"/>
                  <a:pt x="3070" y="1098"/>
                  <a:pt x="3054" y="1162"/>
                </a:cubicBezTo>
                <a:cubicBezTo>
                  <a:pt x="3022" y="1257"/>
                  <a:pt x="2927" y="1305"/>
                  <a:pt x="2831" y="1305"/>
                </a:cubicBezTo>
                <a:cubicBezTo>
                  <a:pt x="2704" y="1305"/>
                  <a:pt x="2561" y="1257"/>
                  <a:pt x="2450" y="1177"/>
                </a:cubicBezTo>
                <a:cubicBezTo>
                  <a:pt x="2418" y="1145"/>
                  <a:pt x="2370" y="1145"/>
                  <a:pt x="2338" y="1177"/>
                </a:cubicBezTo>
                <a:cubicBezTo>
                  <a:pt x="2322" y="1225"/>
                  <a:pt x="2322" y="1273"/>
                  <a:pt x="2354" y="1289"/>
                </a:cubicBezTo>
                <a:cubicBezTo>
                  <a:pt x="2465" y="1384"/>
                  <a:pt x="2593" y="1432"/>
                  <a:pt x="2720" y="1448"/>
                </a:cubicBezTo>
                <a:lnTo>
                  <a:pt x="2720" y="1654"/>
                </a:lnTo>
                <a:cubicBezTo>
                  <a:pt x="2720" y="1686"/>
                  <a:pt x="2752" y="1734"/>
                  <a:pt x="2783" y="173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52929558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Finance / Security - 6</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70" name="TextBox 69">
            <a:extLst>
              <a:ext uri="{FF2B5EF4-FFF2-40B4-BE49-F238E27FC236}">
                <a16:creationId xmlns:a16="http://schemas.microsoft.com/office/drawing/2014/main" id="{DCB37BE7-FB09-F54F-9B42-8F0EE5856FA6}"/>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83" name="TextBox 82">
            <a:extLst>
              <a:ext uri="{FF2B5EF4-FFF2-40B4-BE49-F238E27FC236}">
                <a16:creationId xmlns:a16="http://schemas.microsoft.com/office/drawing/2014/main" id="{897B08E0-EC11-DF4E-ADD8-8DC83656B34E}"/>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up Coin</a:t>
            </a:r>
          </a:p>
        </p:txBody>
      </p:sp>
      <p:sp>
        <p:nvSpPr>
          <p:cNvPr id="84" name="TextBox 83">
            <a:extLst>
              <a:ext uri="{FF2B5EF4-FFF2-40B4-BE49-F238E27FC236}">
                <a16:creationId xmlns:a16="http://schemas.microsoft.com/office/drawing/2014/main" id="{FBFA60B2-DF86-1E43-984A-96B725131CB2}"/>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e 1</a:t>
            </a:r>
          </a:p>
        </p:txBody>
      </p:sp>
      <p:sp>
        <p:nvSpPr>
          <p:cNvPr id="85" name="TextBox 84">
            <a:extLst>
              <a:ext uri="{FF2B5EF4-FFF2-40B4-BE49-F238E27FC236}">
                <a16:creationId xmlns:a16="http://schemas.microsoft.com/office/drawing/2014/main" id="{A58FCF56-B086-7948-A896-448297019B0E}"/>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e 2</a:t>
            </a:r>
          </a:p>
        </p:txBody>
      </p:sp>
      <p:sp>
        <p:nvSpPr>
          <p:cNvPr id="86" name="TextBox 85">
            <a:extLst>
              <a:ext uri="{FF2B5EF4-FFF2-40B4-BE49-F238E27FC236}">
                <a16:creationId xmlns:a16="http://schemas.microsoft.com/office/drawing/2014/main" id="{6725331C-9E2B-A841-B17E-93FEAD9CA851}"/>
              </a:ext>
            </a:extLst>
          </p:cNvPr>
          <p:cNvSpPr txBox="1"/>
          <p:nvPr/>
        </p:nvSpPr>
        <p:spPr>
          <a:xfrm>
            <a:off x="12867894"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e 3</a:t>
            </a:r>
          </a:p>
        </p:txBody>
      </p:sp>
      <p:sp>
        <p:nvSpPr>
          <p:cNvPr id="87" name="TextBox 86">
            <a:extLst>
              <a:ext uri="{FF2B5EF4-FFF2-40B4-BE49-F238E27FC236}">
                <a16:creationId xmlns:a16="http://schemas.microsoft.com/office/drawing/2014/main" id="{9E3DEE16-FE51-3849-9773-7467BBD7AEFE}"/>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Note</a:t>
            </a:r>
          </a:p>
        </p:txBody>
      </p:sp>
      <p:sp>
        <p:nvSpPr>
          <p:cNvPr id="88" name="TextBox 87">
            <a:extLst>
              <a:ext uri="{FF2B5EF4-FFF2-40B4-BE49-F238E27FC236}">
                <a16:creationId xmlns:a16="http://schemas.microsoft.com/office/drawing/2014/main" id="{5CC0D2D6-BEDB-3445-9537-6E61E105DCF0}"/>
              </a:ext>
            </a:extLst>
          </p:cNvPr>
          <p:cNvSpPr txBox="1"/>
          <p:nvPr/>
        </p:nvSpPr>
        <p:spPr>
          <a:xfrm>
            <a:off x="999709"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Key</a:t>
            </a:r>
          </a:p>
        </p:txBody>
      </p:sp>
      <p:sp>
        <p:nvSpPr>
          <p:cNvPr id="89" name="TextBox 88">
            <a:extLst>
              <a:ext uri="{FF2B5EF4-FFF2-40B4-BE49-F238E27FC236}">
                <a16:creationId xmlns:a16="http://schemas.microsoft.com/office/drawing/2014/main" id="{280A0363-9448-4E49-8BC2-E5F278F76753}"/>
              </a:ext>
            </a:extLst>
          </p:cNvPr>
          <p:cNvSpPr txBox="1"/>
          <p:nvPr/>
        </p:nvSpPr>
        <p:spPr>
          <a:xfrm>
            <a:off x="5051961"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g 1</a:t>
            </a:r>
          </a:p>
        </p:txBody>
      </p:sp>
      <p:sp>
        <p:nvSpPr>
          <p:cNvPr id="90" name="TextBox 89">
            <a:extLst>
              <a:ext uri="{FF2B5EF4-FFF2-40B4-BE49-F238E27FC236}">
                <a16:creationId xmlns:a16="http://schemas.microsoft.com/office/drawing/2014/main" id="{70978566-4319-2746-A7EF-CD24FF983F51}"/>
              </a:ext>
            </a:extLst>
          </p:cNvPr>
          <p:cNvSpPr txBox="1"/>
          <p:nvPr/>
        </p:nvSpPr>
        <p:spPr>
          <a:xfrm>
            <a:off x="9084895"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g 2</a:t>
            </a:r>
          </a:p>
        </p:txBody>
      </p:sp>
      <p:sp>
        <p:nvSpPr>
          <p:cNvPr id="91" name="TextBox 90">
            <a:extLst>
              <a:ext uri="{FF2B5EF4-FFF2-40B4-BE49-F238E27FC236}">
                <a16:creationId xmlns:a16="http://schemas.microsoft.com/office/drawing/2014/main" id="{468C69DB-F025-2942-B135-2B16CC4449BA}"/>
              </a:ext>
            </a:extLst>
          </p:cNvPr>
          <p:cNvSpPr txBox="1"/>
          <p:nvPr/>
        </p:nvSpPr>
        <p:spPr>
          <a:xfrm>
            <a:off x="16539909"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g 4</a:t>
            </a:r>
          </a:p>
        </p:txBody>
      </p:sp>
      <p:sp>
        <p:nvSpPr>
          <p:cNvPr id="92" name="Freeform: Shape 26">
            <a:extLst>
              <a:ext uri="{FF2B5EF4-FFF2-40B4-BE49-F238E27FC236}">
                <a16:creationId xmlns:a16="http://schemas.microsoft.com/office/drawing/2014/main" id="{DBA29B0A-4F12-AB4D-9230-E44DAA3A417F}"/>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TextBox 92">
            <a:extLst>
              <a:ext uri="{FF2B5EF4-FFF2-40B4-BE49-F238E27FC236}">
                <a16:creationId xmlns:a16="http://schemas.microsoft.com/office/drawing/2014/main" id="{EBC71955-84FA-2945-91CD-639B54329E7A}"/>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re 4</a:t>
            </a:r>
          </a:p>
        </p:txBody>
      </p:sp>
      <p:sp>
        <p:nvSpPr>
          <p:cNvPr id="94" name="TextBox 93">
            <a:extLst>
              <a:ext uri="{FF2B5EF4-FFF2-40B4-BE49-F238E27FC236}">
                <a16:creationId xmlns:a16="http://schemas.microsoft.com/office/drawing/2014/main" id="{B10C8021-999E-B142-8382-FED801C4E022}"/>
              </a:ext>
            </a:extLst>
          </p:cNvPr>
          <p:cNvSpPr txBox="1"/>
          <p:nvPr/>
        </p:nvSpPr>
        <p:spPr>
          <a:xfrm>
            <a:off x="12415387"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g 3</a:t>
            </a:r>
          </a:p>
        </p:txBody>
      </p:sp>
      <p:sp>
        <p:nvSpPr>
          <p:cNvPr id="95" name="Freeform: Shape 13">
            <a:extLst>
              <a:ext uri="{FF2B5EF4-FFF2-40B4-BE49-F238E27FC236}">
                <a16:creationId xmlns:a16="http://schemas.microsoft.com/office/drawing/2014/main" id="{6F9B63AF-CF0D-B94C-9514-4EE2852E32EB}"/>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6" name="Freeform: Shape 1">
            <a:extLst>
              <a:ext uri="{FF2B5EF4-FFF2-40B4-BE49-F238E27FC236}">
                <a16:creationId xmlns:a16="http://schemas.microsoft.com/office/drawing/2014/main" id="{E00F26A2-D593-894D-B7CB-CF9E16CE78D5}"/>
              </a:ext>
            </a:extLst>
          </p:cNvPr>
          <p:cNvSpPr/>
          <p:nvPr/>
        </p:nvSpPr>
        <p:spPr>
          <a:xfrm>
            <a:off x="17156359" y="6708341"/>
            <a:ext cx="1733039" cy="801360"/>
          </a:xfrm>
          <a:custGeom>
            <a:avLst/>
            <a:gdLst/>
            <a:ahLst/>
            <a:cxnLst>
              <a:cxn ang="3cd4">
                <a:pos x="hc" y="t"/>
              </a:cxn>
              <a:cxn ang="cd2">
                <a:pos x="l" y="vc"/>
              </a:cxn>
              <a:cxn ang="cd4">
                <a:pos x="hc" y="b"/>
              </a:cxn>
              <a:cxn ang="0">
                <a:pos x="r" y="vc"/>
              </a:cxn>
            </a:cxnLst>
            <a:rect l="l" t="t" r="r" b="b"/>
            <a:pathLst>
              <a:path w="4815" h="2227">
                <a:moveTo>
                  <a:pt x="4804" y="47"/>
                </a:moveTo>
                <a:cubicBezTo>
                  <a:pt x="4787" y="16"/>
                  <a:pt x="4772" y="0"/>
                  <a:pt x="4740" y="0"/>
                </a:cubicBezTo>
                <a:lnTo>
                  <a:pt x="859" y="0"/>
                </a:lnTo>
                <a:cubicBezTo>
                  <a:pt x="843" y="0"/>
                  <a:pt x="827" y="16"/>
                  <a:pt x="811" y="32"/>
                </a:cubicBezTo>
                <a:lnTo>
                  <a:pt x="191" y="652"/>
                </a:lnTo>
                <a:cubicBezTo>
                  <a:pt x="63" y="779"/>
                  <a:pt x="0" y="938"/>
                  <a:pt x="0" y="1097"/>
                </a:cubicBezTo>
                <a:cubicBezTo>
                  <a:pt x="0" y="1256"/>
                  <a:pt x="63" y="1431"/>
                  <a:pt x="191" y="1559"/>
                </a:cubicBezTo>
                <a:lnTo>
                  <a:pt x="811" y="2195"/>
                </a:lnTo>
                <a:cubicBezTo>
                  <a:pt x="827" y="2211"/>
                  <a:pt x="843" y="2227"/>
                  <a:pt x="859" y="2227"/>
                </a:cubicBezTo>
                <a:lnTo>
                  <a:pt x="4740" y="2227"/>
                </a:lnTo>
                <a:cubicBezTo>
                  <a:pt x="4772" y="2227"/>
                  <a:pt x="4787" y="2211"/>
                  <a:pt x="4804" y="2179"/>
                </a:cubicBezTo>
                <a:cubicBezTo>
                  <a:pt x="4819" y="2147"/>
                  <a:pt x="4819" y="2115"/>
                  <a:pt x="4804" y="2100"/>
                </a:cubicBezTo>
                <a:lnTo>
                  <a:pt x="4040" y="1113"/>
                </a:lnTo>
                <a:lnTo>
                  <a:pt x="4804" y="127"/>
                </a:lnTo>
                <a:cubicBezTo>
                  <a:pt x="4819" y="111"/>
                  <a:pt x="4819" y="79"/>
                  <a:pt x="4804" y="47"/>
                </a:cubicBezTo>
                <a:close/>
                <a:moveTo>
                  <a:pt x="3881" y="1065"/>
                </a:moveTo>
                <a:cubicBezTo>
                  <a:pt x="3865" y="1097"/>
                  <a:pt x="3865" y="1129"/>
                  <a:pt x="3881" y="1161"/>
                </a:cubicBezTo>
                <a:lnTo>
                  <a:pt x="4581" y="2068"/>
                </a:lnTo>
                <a:lnTo>
                  <a:pt x="906" y="2068"/>
                </a:lnTo>
                <a:lnTo>
                  <a:pt x="302" y="1447"/>
                </a:lnTo>
                <a:cubicBezTo>
                  <a:pt x="207" y="1336"/>
                  <a:pt x="159" y="1225"/>
                  <a:pt x="159" y="1097"/>
                </a:cubicBezTo>
                <a:cubicBezTo>
                  <a:pt x="159" y="970"/>
                  <a:pt x="207" y="859"/>
                  <a:pt x="302" y="764"/>
                </a:cubicBezTo>
                <a:lnTo>
                  <a:pt x="906" y="159"/>
                </a:lnTo>
                <a:lnTo>
                  <a:pt x="4581" y="159"/>
                </a:lnTo>
                <a:close/>
                <a:moveTo>
                  <a:pt x="588" y="1097"/>
                </a:moveTo>
                <a:cubicBezTo>
                  <a:pt x="588" y="1352"/>
                  <a:pt x="795" y="1574"/>
                  <a:pt x="1066" y="1574"/>
                </a:cubicBezTo>
                <a:cubicBezTo>
                  <a:pt x="1320" y="1574"/>
                  <a:pt x="1543" y="1352"/>
                  <a:pt x="1543" y="1097"/>
                </a:cubicBezTo>
                <a:cubicBezTo>
                  <a:pt x="1543" y="827"/>
                  <a:pt x="1320" y="620"/>
                  <a:pt x="1066" y="620"/>
                </a:cubicBezTo>
                <a:cubicBezTo>
                  <a:pt x="795" y="620"/>
                  <a:pt x="588" y="827"/>
                  <a:pt x="588" y="1097"/>
                </a:cubicBezTo>
                <a:close/>
                <a:moveTo>
                  <a:pt x="1066" y="779"/>
                </a:moveTo>
                <a:cubicBezTo>
                  <a:pt x="1241" y="779"/>
                  <a:pt x="1384" y="922"/>
                  <a:pt x="1384" y="1097"/>
                </a:cubicBezTo>
                <a:cubicBezTo>
                  <a:pt x="1384" y="1273"/>
                  <a:pt x="1241" y="1416"/>
                  <a:pt x="1066" y="1416"/>
                </a:cubicBezTo>
                <a:cubicBezTo>
                  <a:pt x="891" y="1416"/>
                  <a:pt x="748" y="1273"/>
                  <a:pt x="748" y="1097"/>
                </a:cubicBezTo>
                <a:cubicBezTo>
                  <a:pt x="748" y="922"/>
                  <a:pt x="891" y="779"/>
                  <a:pt x="1066" y="779"/>
                </a:cubicBezTo>
                <a:close/>
                <a:moveTo>
                  <a:pt x="2099" y="954"/>
                </a:moveTo>
                <a:lnTo>
                  <a:pt x="3054" y="954"/>
                </a:lnTo>
                <a:cubicBezTo>
                  <a:pt x="3102" y="954"/>
                  <a:pt x="3133" y="922"/>
                  <a:pt x="3133" y="875"/>
                </a:cubicBezTo>
                <a:cubicBezTo>
                  <a:pt x="3133" y="827"/>
                  <a:pt x="3102" y="795"/>
                  <a:pt x="3054" y="795"/>
                </a:cubicBezTo>
                <a:lnTo>
                  <a:pt x="2099" y="795"/>
                </a:lnTo>
                <a:cubicBezTo>
                  <a:pt x="2052" y="795"/>
                  <a:pt x="2020" y="827"/>
                  <a:pt x="2020" y="875"/>
                </a:cubicBezTo>
                <a:cubicBezTo>
                  <a:pt x="2020" y="922"/>
                  <a:pt x="2052" y="954"/>
                  <a:pt x="2099" y="954"/>
                </a:cubicBezTo>
                <a:close/>
                <a:moveTo>
                  <a:pt x="2099" y="1431"/>
                </a:moveTo>
                <a:lnTo>
                  <a:pt x="3054" y="1431"/>
                </a:lnTo>
                <a:cubicBezTo>
                  <a:pt x="3102" y="1431"/>
                  <a:pt x="3133" y="1400"/>
                  <a:pt x="3133" y="1352"/>
                </a:cubicBezTo>
                <a:cubicBezTo>
                  <a:pt x="3133" y="1304"/>
                  <a:pt x="3102" y="1273"/>
                  <a:pt x="3054" y="1273"/>
                </a:cubicBezTo>
                <a:lnTo>
                  <a:pt x="2099" y="1273"/>
                </a:lnTo>
                <a:cubicBezTo>
                  <a:pt x="2052" y="1273"/>
                  <a:pt x="2020" y="1304"/>
                  <a:pt x="2020" y="1352"/>
                </a:cubicBezTo>
                <a:cubicBezTo>
                  <a:pt x="2020" y="1400"/>
                  <a:pt x="2052" y="1431"/>
                  <a:pt x="2099" y="143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7" name="Freeform: Shape 2">
            <a:extLst>
              <a:ext uri="{FF2B5EF4-FFF2-40B4-BE49-F238E27FC236}">
                <a16:creationId xmlns:a16="http://schemas.microsoft.com/office/drawing/2014/main" id="{45FF5006-E7CD-254D-A21F-76B521CF4CC3}"/>
              </a:ext>
            </a:extLst>
          </p:cNvPr>
          <p:cNvSpPr/>
          <p:nvPr/>
        </p:nvSpPr>
        <p:spPr>
          <a:xfrm>
            <a:off x="13283957" y="6708341"/>
            <a:ext cx="1734479" cy="801360"/>
          </a:xfrm>
          <a:custGeom>
            <a:avLst/>
            <a:gdLst/>
            <a:ahLst/>
            <a:cxnLst>
              <a:cxn ang="3cd4">
                <a:pos x="hc" y="t"/>
              </a:cxn>
              <a:cxn ang="cd2">
                <a:pos x="l" y="vc"/>
              </a:cxn>
              <a:cxn ang="cd4">
                <a:pos x="hc" y="b"/>
              </a:cxn>
              <a:cxn ang="0">
                <a:pos x="r" y="vc"/>
              </a:cxn>
            </a:cxnLst>
            <a:rect l="l" t="t" r="r" b="b"/>
            <a:pathLst>
              <a:path w="4819" h="2227">
                <a:moveTo>
                  <a:pt x="4740" y="0"/>
                </a:moveTo>
                <a:lnTo>
                  <a:pt x="875" y="0"/>
                </a:lnTo>
                <a:cubicBezTo>
                  <a:pt x="859" y="0"/>
                  <a:pt x="843" y="16"/>
                  <a:pt x="827" y="32"/>
                </a:cubicBezTo>
                <a:lnTo>
                  <a:pt x="207" y="652"/>
                </a:lnTo>
                <a:cubicBezTo>
                  <a:pt x="80" y="779"/>
                  <a:pt x="0" y="938"/>
                  <a:pt x="0" y="1097"/>
                </a:cubicBezTo>
                <a:cubicBezTo>
                  <a:pt x="0" y="1256"/>
                  <a:pt x="80" y="1431"/>
                  <a:pt x="207" y="1559"/>
                </a:cubicBezTo>
                <a:lnTo>
                  <a:pt x="827" y="2195"/>
                </a:lnTo>
                <a:cubicBezTo>
                  <a:pt x="843" y="2211"/>
                  <a:pt x="859" y="2227"/>
                  <a:pt x="875" y="2227"/>
                </a:cubicBezTo>
                <a:lnTo>
                  <a:pt x="4740" y="2227"/>
                </a:lnTo>
                <a:cubicBezTo>
                  <a:pt x="4772" y="2227"/>
                  <a:pt x="4819" y="2195"/>
                  <a:pt x="4819" y="2147"/>
                </a:cubicBezTo>
                <a:lnTo>
                  <a:pt x="4819" y="79"/>
                </a:lnTo>
                <a:cubicBezTo>
                  <a:pt x="4819" y="32"/>
                  <a:pt x="4772" y="0"/>
                  <a:pt x="4740" y="0"/>
                </a:cubicBezTo>
                <a:close/>
                <a:moveTo>
                  <a:pt x="4661" y="2068"/>
                </a:moveTo>
                <a:lnTo>
                  <a:pt x="923" y="2068"/>
                </a:lnTo>
                <a:lnTo>
                  <a:pt x="318" y="1447"/>
                </a:lnTo>
                <a:cubicBezTo>
                  <a:pt x="223" y="1336"/>
                  <a:pt x="159" y="1225"/>
                  <a:pt x="159" y="1097"/>
                </a:cubicBezTo>
                <a:cubicBezTo>
                  <a:pt x="159" y="970"/>
                  <a:pt x="223" y="859"/>
                  <a:pt x="318" y="764"/>
                </a:cubicBezTo>
                <a:lnTo>
                  <a:pt x="907" y="159"/>
                </a:lnTo>
                <a:lnTo>
                  <a:pt x="4661" y="159"/>
                </a:lnTo>
                <a:close/>
                <a:moveTo>
                  <a:pt x="605" y="1097"/>
                </a:moveTo>
                <a:cubicBezTo>
                  <a:pt x="605" y="1352"/>
                  <a:pt x="811" y="1574"/>
                  <a:pt x="1082" y="1574"/>
                </a:cubicBezTo>
                <a:cubicBezTo>
                  <a:pt x="1336" y="1574"/>
                  <a:pt x="1559" y="1352"/>
                  <a:pt x="1559" y="1097"/>
                </a:cubicBezTo>
                <a:cubicBezTo>
                  <a:pt x="1559" y="827"/>
                  <a:pt x="1336" y="620"/>
                  <a:pt x="1082" y="620"/>
                </a:cubicBezTo>
                <a:cubicBezTo>
                  <a:pt x="811" y="620"/>
                  <a:pt x="605" y="827"/>
                  <a:pt x="605" y="1097"/>
                </a:cubicBezTo>
                <a:close/>
                <a:moveTo>
                  <a:pt x="1082" y="779"/>
                </a:moveTo>
                <a:cubicBezTo>
                  <a:pt x="1257" y="779"/>
                  <a:pt x="1400" y="922"/>
                  <a:pt x="1400" y="1097"/>
                </a:cubicBezTo>
                <a:cubicBezTo>
                  <a:pt x="1400" y="1273"/>
                  <a:pt x="1257" y="1416"/>
                  <a:pt x="1082" y="1416"/>
                </a:cubicBezTo>
                <a:cubicBezTo>
                  <a:pt x="907" y="1416"/>
                  <a:pt x="763" y="1273"/>
                  <a:pt x="763" y="1097"/>
                </a:cubicBezTo>
                <a:cubicBezTo>
                  <a:pt x="763" y="922"/>
                  <a:pt x="907" y="779"/>
                  <a:pt x="1082" y="779"/>
                </a:cubicBezTo>
                <a:close/>
                <a:moveTo>
                  <a:pt x="2116" y="954"/>
                </a:moveTo>
                <a:lnTo>
                  <a:pt x="4024" y="954"/>
                </a:lnTo>
                <a:cubicBezTo>
                  <a:pt x="4056" y="954"/>
                  <a:pt x="4104" y="922"/>
                  <a:pt x="4104" y="875"/>
                </a:cubicBezTo>
                <a:cubicBezTo>
                  <a:pt x="4104" y="827"/>
                  <a:pt x="4056" y="795"/>
                  <a:pt x="4024" y="795"/>
                </a:cubicBezTo>
                <a:lnTo>
                  <a:pt x="2116" y="795"/>
                </a:lnTo>
                <a:cubicBezTo>
                  <a:pt x="2068" y="795"/>
                  <a:pt x="2036" y="827"/>
                  <a:pt x="2036" y="875"/>
                </a:cubicBezTo>
                <a:cubicBezTo>
                  <a:pt x="2036" y="922"/>
                  <a:pt x="2068" y="954"/>
                  <a:pt x="2116" y="954"/>
                </a:cubicBezTo>
                <a:close/>
                <a:moveTo>
                  <a:pt x="2116" y="1431"/>
                </a:moveTo>
                <a:lnTo>
                  <a:pt x="4024" y="1431"/>
                </a:lnTo>
                <a:cubicBezTo>
                  <a:pt x="4056" y="1431"/>
                  <a:pt x="4104" y="1400"/>
                  <a:pt x="4104" y="1352"/>
                </a:cubicBezTo>
                <a:cubicBezTo>
                  <a:pt x="4104" y="1304"/>
                  <a:pt x="4056" y="1273"/>
                  <a:pt x="4024" y="1273"/>
                </a:cubicBezTo>
                <a:lnTo>
                  <a:pt x="2116" y="1273"/>
                </a:lnTo>
                <a:cubicBezTo>
                  <a:pt x="2068" y="1273"/>
                  <a:pt x="2036" y="1304"/>
                  <a:pt x="2036" y="1352"/>
                </a:cubicBezTo>
                <a:cubicBezTo>
                  <a:pt x="2036" y="1400"/>
                  <a:pt x="2068" y="1431"/>
                  <a:pt x="2116" y="143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8" name="Freeform: Shape 3">
            <a:extLst>
              <a:ext uri="{FF2B5EF4-FFF2-40B4-BE49-F238E27FC236}">
                <a16:creationId xmlns:a16="http://schemas.microsoft.com/office/drawing/2014/main" id="{36F62AFA-D797-A146-AA1D-2D585235B700}"/>
              </a:ext>
            </a:extLst>
          </p:cNvPr>
          <p:cNvSpPr/>
          <p:nvPr/>
        </p:nvSpPr>
        <p:spPr>
          <a:xfrm>
            <a:off x="9941068" y="6332688"/>
            <a:ext cx="1622519" cy="1625760"/>
          </a:xfrm>
          <a:custGeom>
            <a:avLst/>
            <a:gdLst/>
            <a:ahLst/>
            <a:cxnLst>
              <a:cxn ang="3cd4">
                <a:pos x="hc" y="t"/>
              </a:cxn>
              <a:cxn ang="cd2">
                <a:pos x="l" y="vc"/>
              </a:cxn>
              <a:cxn ang="cd4">
                <a:pos x="hc" y="b"/>
              </a:cxn>
              <a:cxn ang="0">
                <a:pos x="r" y="vc"/>
              </a:cxn>
            </a:cxnLst>
            <a:rect l="l" t="t" r="r" b="b"/>
            <a:pathLst>
              <a:path w="4508" h="4517">
                <a:moveTo>
                  <a:pt x="4278" y="239"/>
                </a:moveTo>
                <a:cubicBezTo>
                  <a:pt x="4151" y="111"/>
                  <a:pt x="3976" y="48"/>
                  <a:pt x="3801" y="48"/>
                </a:cubicBezTo>
                <a:lnTo>
                  <a:pt x="2895" y="0"/>
                </a:lnTo>
                <a:cubicBezTo>
                  <a:pt x="2863" y="0"/>
                  <a:pt x="2847" y="16"/>
                  <a:pt x="2831" y="32"/>
                </a:cubicBezTo>
                <a:lnTo>
                  <a:pt x="16" y="2831"/>
                </a:lnTo>
                <a:cubicBezTo>
                  <a:pt x="0" y="2847"/>
                  <a:pt x="0" y="2863"/>
                  <a:pt x="0" y="2895"/>
                </a:cubicBezTo>
                <a:cubicBezTo>
                  <a:pt x="0" y="2911"/>
                  <a:pt x="0" y="2926"/>
                  <a:pt x="16" y="2943"/>
                </a:cubicBezTo>
                <a:lnTo>
                  <a:pt x="1559" y="4486"/>
                </a:lnTo>
                <a:cubicBezTo>
                  <a:pt x="1575" y="4501"/>
                  <a:pt x="1606" y="4517"/>
                  <a:pt x="1622" y="4517"/>
                </a:cubicBezTo>
                <a:cubicBezTo>
                  <a:pt x="1638" y="4517"/>
                  <a:pt x="1670" y="4501"/>
                  <a:pt x="1686" y="4486"/>
                </a:cubicBezTo>
                <a:lnTo>
                  <a:pt x="4485" y="1686"/>
                </a:lnTo>
                <a:cubicBezTo>
                  <a:pt x="4501" y="1670"/>
                  <a:pt x="4517" y="1654"/>
                  <a:pt x="4501" y="1622"/>
                </a:cubicBezTo>
                <a:lnTo>
                  <a:pt x="4469" y="716"/>
                </a:lnTo>
                <a:cubicBezTo>
                  <a:pt x="4469" y="541"/>
                  <a:pt x="4406" y="366"/>
                  <a:pt x="4278" y="239"/>
                </a:cubicBezTo>
                <a:close/>
                <a:moveTo>
                  <a:pt x="1622" y="4326"/>
                </a:moveTo>
                <a:lnTo>
                  <a:pt x="191" y="2895"/>
                </a:lnTo>
                <a:lnTo>
                  <a:pt x="2911" y="159"/>
                </a:lnTo>
                <a:lnTo>
                  <a:pt x="3801" y="207"/>
                </a:lnTo>
                <a:cubicBezTo>
                  <a:pt x="3929" y="207"/>
                  <a:pt x="4072" y="254"/>
                  <a:pt x="4167" y="350"/>
                </a:cubicBezTo>
                <a:cubicBezTo>
                  <a:pt x="4262" y="445"/>
                  <a:pt x="4310" y="572"/>
                  <a:pt x="4310" y="716"/>
                </a:cubicBezTo>
                <a:lnTo>
                  <a:pt x="4342" y="1590"/>
                </a:lnTo>
                <a:close/>
                <a:moveTo>
                  <a:pt x="3323" y="525"/>
                </a:moveTo>
                <a:cubicBezTo>
                  <a:pt x="3132" y="700"/>
                  <a:pt x="3132" y="1002"/>
                  <a:pt x="3323" y="1193"/>
                </a:cubicBezTo>
                <a:cubicBezTo>
                  <a:pt x="3419" y="1289"/>
                  <a:pt x="3530" y="1336"/>
                  <a:pt x="3657" y="1336"/>
                </a:cubicBezTo>
                <a:cubicBezTo>
                  <a:pt x="3785" y="1336"/>
                  <a:pt x="3896" y="1289"/>
                  <a:pt x="3991" y="1193"/>
                </a:cubicBezTo>
                <a:cubicBezTo>
                  <a:pt x="4182" y="1002"/>
                  <a:pt x="4182" y="700"/>
                  <a:pt x="3991" y="525"/>
                </a:cubicBezTo>
                <a:cubicBezTo>
                  <a:pt x="3816" y="334"/>
                  <a:pt x="3498" y="334"/>
                  <a:pt x="3323" y="525"/>
                </a:cubicBezTo>
                <a:close/>
                <a:moveTo>
                  <a:pt x="3880" y="1081"/>
                </a:moveTo>
                <a:cubicBezTo>
                  <a:pt x="3752" y="1209"/>
                  <a:pt x="3562" y="1209"/>
                  <a:pt x="3434" y="1081"/>
                </a:cubicBezTo>
                <a:cubicBezTo>
                  <a:pt x="3307" y="954"/>
                  <a:pt x="3307" y="763"/>
                  <a:pt x="3434" y="636"/>
                </a:cubicBezTo>
                <a:cubicBezTo>
                  <a:pt x="3498" y="572"/>
                  <a:pt x="3577" y="541"/>
                  <a:pt x="3657" y="541"/>
                </a:cubicBezTo>
                <a:cubicBezTo>
                  <a:pt x="3737" y="541"/>
                  <a:pt x="3816" y="572"/>
                  <a:pt x="3880" y="636"/>
                </a:cubicBezTo>
                <a:cubicBezTo>
                  <a:pt x="4007" y="763"/>
                  <a:pt x="4007" y="954"/>
                  <a:pt x="3880" y="108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9" name="Freeform: Shape 4">
            <a:extLst>
              <a:ext uri="{FF2B5EF4-FFF2-40B4-BE49-F238E27FC236}">
                <a16:creationId xmlns:a16="http://schemas.microsoft.com/office/drawing/2014/main" id="{7A12661A-C05B-B94F-900A-B061E99B158A}"/>
              </a:ext>
            </a:extLst>
          </p:cNvPr>
          <p:cNvSpPr/>
          <p:nvPr/>
        </p:nvSpPr>
        <p:spPr>
          <a:xfrm>
            <a:off x="5997921" y="6744889"/>
            <a:ext cx="1729080" cy="801360"/>
          </a:xfrm>
          <a:custGeom>
            <a:avLst/>
            <a:gdLst/>
            <a:ahLst/>
            <a:cxnLst>
              <a:cxn ang="3cd4">
                <a:pos x="hc" y="t"/>
              </a:cxn>
              <a:cxn ang="cd2">
                <a:pos x="l" y="vc"/>
              </a:cxn>
              <a:cxn ang="cd4">
                <a:pos x="hc" y="b"/>
              </a:cxn>
              <a:cxn ang="0">
                <a:pos x="r" y="vc"/>
              </a:cxn>
            </a:cxnLst>
            <a:rect l="l" t="t" r="r" b="b"/>
            <a:pathLst>
              <a:path w="4804" h="2227">
                <a:moveTo>
                  <a:pt x="4724" y="0"/>
                </a:moveTo>
                <a:lnTo>
                  <a:pt x="875" y="0"/>
                </a:lnTo>
                <a:cubicBezTo>
                  <a:pt x="859" y="0"/>
                  <a:pt x="827" y="16"/>
                  <a:pt x="811" y="32"/>
                </a:cubicBezTo>
                <a:lnTo>
                  <a:pt x="191" y="653"/>
                </a:lnTo>
                <a:cubicBezTo>
                  <a:pt x="63" y="780"/>
                  <a:pt x="0" y="939"/>
                  <a:pt x="0" y="1098"/>
                </a:cubicBezTo>
                <a:cubicBezTo>
                  <a:pt x="0" y="1257"/>
                  <a:pt x="63" y="1432"/>
                  <a:pt x="191" y="1559"/>
                </a:cubicBezTo>
                <a:lnTo>
                  <a:pt x="811" y="2195"/>
                </a:lnTo>
                <a:cubicBezTo>
                  <a:pt x="827" y="2211"/>
                  <a:pt x="843" y="2227"/>
                  <a:pt x="875" y="2227"/>
                </a:cubicBezTo>
                <a:lnTo>
                  <a:pt x="4724" y="2227"/>
                </a:lnTo>
                <a:cubicBezTo>
                  <a:pt x="4772" y="2227"/>
                  <a:pt x="4804" y="2195"/>
                  <a:pt x="4804" y="2147"/>
                </a:cubicBezTo>
                <a:lnTo>
                  <a:pt x="4804" y="80"/>
                </a:lnTo>
                <a:cubicBezTo>
                  <a:pt x="4804" y="32"/>
                  <a:pt x="4772" y="0"/>
                  <a:pt x="4724" y="0"/>
                </a:cubicBezTo>
                <a:close/>
                <a:moveTo>
                  <a:pt x="4644" y="2068"/>
                </a:moveTo>
                <a:lnTo>
                  <a:pt x="906" y="2068"/>
                </a:lnTo>
                <a:lnTo>
                  <a:pt x="318" y="1448"/>
                </a:lnTo>
                <a:lnTo>
                  <a:pt x="302" y="1448"/>
                </a:lnTo>
                <a:cubicBezTo>
                  <a:pt x="206" y="1336"/>
                  <a:pt x="159" y="1225"/>
                  <a:pt x="159" y="1098"/>
                </a:cubicBezTo>
                <a:cubicBezTo>
                  <a:pt x="159" y="971"/>
                  <a:pt x="206" y="859"/>
                  <a:pt x="302" y="764"/>
                </a:cubicBezTo>
                <a:lnTo>
                  <a:pt x="906" y="159"/>
                </a:lnTo>
                <a:lnTo>
                  <a:pt x="4644" y="159"/>
                </a:lnTo>
                <a:close/>
                <a:moveTo>
                  <a:pt x="397" y="1098"/>
                </a:moveTo>
                <a:cubicBezTo>
                  <a:pt x="397" y="1352"/>
                  <a:pt x="604" y="1575"/>
                  <a:pt x="875" y="1575"/>
                </a:cubicBezTo>
                <a:cubicBezTo>
                  <a:pt x="1129" y="1575"/>
                  <a:pt x="1352" y="1352"/>
                  <a:pt x="1352" y="1098"/>
                </a:cubicBezTo>
                <a:cubicBezTo>
                  <a:pt x="1352" y="827"/>
                  <a:pt x="1129" y="620"/>
                  <a:pt x="875" y="620"/>
                </a:cubicBezTo>
                <a:cubicBezTo>
                  <a:pt x="604" y="620"/>
                  <a:pt x="397" y="827"/>
                  <a:pt x="397" y="1098"/>
                </a:cubicBezTo>
                <a:close/>
                <a:moveTo>
                  <a:pt x="1193" y="1098"/>
                </a:moveTo>
                <a:cubicBezTo>
                  <a:pt x="1193" y="1272"/>
                  <a:pt x="1050" y="1416"/>
                  <a:pt x="875" y="1416"/>
                </a:cubicBezTo>
                <a:cubicBezTo>
                  <a:pt x="700" y="1416"/>
                  <a:pt x="557" y="1272"/>
                  <a:pt x="557" y="1098"/>
                </a:cubicBezTo>
                <a:cubicBezTo>
                  <a:pt x="557" y="923"/>
                  <a:pt x="700" y="780"/>
                  <a:pt x="875" y="780"/>
                </a:cubicBezTo>
                <a:cubicBezTo>
                  <a:pt x="1050" y="780"/>
                  <a:pt x="1193" y="923"/>
                  <a:pt x="1193" y="109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0" name="Freeform: Shape 5">
            <a:extLst>
              <a:ext uri="{FF2B5EF4-FFF2-40B4-BE49-F238E27FC236}">
                <a16:creationId xmlns:a16="http://schemas.microsoft.com/office/drawing/2014/main" id="{33D06712-7387-2048-9C2A-90CFCABF2746}"/>
              </a:ext>
            </a:extLst>
          </p:cNvPr>
          <p:cNvSpPr/>
          <p:nvPr/>
        </p:nvSpPr>
        <p:spPr>
          <a:xfrm>
            <a:off x="1846440" y="6796729"/>
            <a:ext cx="1631520" cy="698039"/>
          </a:xfrm>
          <a:custGeom>
            <a:avLst/>
            <a:gdLst/>
            <a:ahLst/>
            <a:cxnLst>
              <a:cxn ang="3cd4">
                <a:pos x="hc" y="t"/>
              </a:cxn>
              <a:cxn ang="cd2">
                <a:pos x="l" y="vc"/>
              </a:cxn>
              <a:cxn ang="cd4">
                <a:pos x="hc" y="b"/>
              </a:cxn>
              <a:cxn ang="0">
                <a:pos x="r" y="vc"/>
              </a:cxn>
            </a:cxnLst>
            <a:rect l="l" t="t" r="r" b="b"/>
            <a:pathLst>
              <a:path w="4533" h="1940">
                <a:moveTo>
                  <a:pt x="4295" y="1049"/>
                </a:moveTo>
                <a:cubicBezTo>
                  <a:pt x="4454" y="1049"/>
                  <a:pt x="4454" y="1049"/>
                  <a:pt x="4454" y="1049"/>
                </a:cubicBezTo>
                <a:cubicBezTo>
                  <a:pt x="4486" y="1049"/>
                  <a:pt x="4533" y="1018"/>
                  <a:pt x="4533" y="970"/>
                </a:cubicBezTo>
                <a:cubicBezTo>
                  <a:pt x="4533" y="922"/>
                  <a:pt x="4486" y="890"/>
                  <a:pt x="4454" y="890"/>
                </a:cubicBezTo>
                <a:cubicBezTo>
                  <a:pt x="1941" y="890"/>
                  <a:pt x="1941" y="890"/>
                  <a:pt x="1941" y="890"/>
                </a:cubicBezTo>
                <a:cubicBezTo>
                  <a:pt x="1893" y="397"/>
                  <a:pt x="1479" y="0"/>
                  <a:pt x="970" y="0"/>
                </a:cubicBezTo>
                <a:cubicBezTo>
                  <a:pt x="429" y="0"/>
                  <a:pt x="0" y="429"/>
                  <a:pt x="0" y="970"/>
                </a:cubicBezTo>
                <a:cubicBezTo>
                  <a:pt x="0" y="1510"/>
                  <a:pt x="429" y="1940"/>
                  <a:pt x="970" y="1940"/>
                </a:cubicBezTo>
                <a:cubicBezTo>
                  <a:pt x="1479" y="1940"/>
                  <a:pt x="1893" y="1542"/>
                  <a:pt x="1941" y="1049"/>
                </a:cubicBezTo>
                <a:cubicBezTo>
                  <a:pt x="3500" y="1049"/>
                  <a:pt x="3500" y="1049"/>
                  <a:pt x="3500" y="1049"/>
                </a:cubicBezTo>
                <a:cubicBezTo>
                  <a:pt x="3500" y="1527"/>
                  <a:pt x="3500" y="1527"/>
                  <a:pt x="3500" y="1527"/>
                </a:cubicBezTo>
                <a:cubicBezTo>
                  <a:pt x="3500" y="1574"/>
                  <a:pt x="3531" y="1606"/>
                  <a:pt x="3579" y="1606"/>
                </a:cubicBezTo>
                <a:cubicBezTo>
                  <a:pt x="3611" y="1606"/>
                  <a:pt x="3658" y="1574"/>
                  <a:pt x="3658" y="1527"/>
                </a:cubicBezTo>
                <a:cubicBezTo>
                  <a:pt x="3658" y="1049"/>
                  <a:pt x="3658" y="1049"/>
                  <a:pt x="3658" y="1049"/>
                </a:cubicBezTo>
                <a:cubicBezTo>
                  <a:pt x="4136" y="1049"/>
                  <a:pt x="4136" y="1049"/>
                  <a:pt x="4136" y="1049"/>
                </a:cubicBezTo>
                <a:cubicBezTo>
                  <a:pt x="4136" y="1685"/>
                  <a:pt x="4136" y="1685"/>
                  <a:pt x="4136" y="1685"/>
                </a:cubicBezTo>
                <a:cubicBezTo>
                  <a:pt x="4136" y="1733"/>
                  <a:pt x="4167" y="1765"/>
                  <a:pt x="4215" y="1765"/>
                </a:cubicBezTo>
                <a:cubicBezTo>
                  <a:pt x="4247" y="1765"/>
                  <a:pt x="4295" y="1733"/>
                  <a:pt x="4295" y="1685"/>
                </a:cubicBezTo>
                <a:close/>
                <a:moveTo>
                  <a:pt x="970" y="1781"/>
                </a:moveTo>
                <a:cubicBezTo>
                  <a:pt x="525" y="1781"/>
                  <a:pt x="159" y="1415"/>
                  <a:pt x="159" y="970"/>
                </a:cubicBezTo>
                <a:cubicBezTo>
                  <a:pt x="159" y="524"/>
                  <a:pt x="525" y="158"/>
                  <a:pt x="970" y="158"/>
                </a:cubicBezTo>
                <a:cubicBezTo>
                  <a:pt x="1416" y="158"/>
                  <a:pt x="1782" y="524"/>
                  <a:pt x="1782" y="970"/>
                </a:cubicBezTo>
                <a:cubicBezTo>
                  <a:pt x="1782" y="1415"/>
                  <a:pt x="1416" y="1781"/>
                  <a:pt x="970" y="178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1" name="Freeform: Shape 7">
            <a:extLst>
              <a:ext uri="{FF2B5EF4-FFF2-40B4-BE49-F238E27FC236}">
                <a16:creationId xmlns:a16="http://schemas.microsoft.com/office/drawing/2014/main" id="{2D4F8903-C071-BE4C-A83D-F2398EEC316C}"/>
              </a:ext>
            </a:extLst>
          </p:cNvPr>
          <p:cNvSpPr/>
          <p:nvPr/>
        </p:nvSpPr>
        <p:spPr>
          <a:xfrm>
            <a:off x="21236026" y="3046252"/>
            <a:ext cx="1465560" cy="1465560"/>
          </a:xfrm>
          <a:custGeom>
            <a:avLst/>
            <a:gdLst/>
            <a:ahLst/>
            <a:cxnLst>
              <a:cxn ang="3cd4">
                <a:pos x="hc" y="t"/>
              </a:cxn>
              <a:cxn ang="cd2">
                <a:pos x="l" y="vc"/>
              </a:cxn>
              <a:cxn ang="cd4">
                <a:pos x="hc" y="b"/>
              </a:cxn>
              <a:cxn ang="0">
                <a:pos x="r" y="vc"/>
              </a:cxn>
            </a:cxnLst>
            <a:rect l="l" t="t" r="r" b="b"/>
            <a:pathLst>
              <a:path w="4072" h="4072">
                <a:moveTo>
                  <a:pt x="0" y="541"/>
                </a:moveTo>
                <a:lnTo>
                  <a:pt x="0" y="3515"/>
                </a:lnTo>
                <a:cubicBezTo>
                  <a:pt x="0" y="3802"/>
                  <a:pt x="271" y="4072"/>
                  <a:pt x="557" y="4072"/>
                </a:cubicBezTo>
                <a:lnTo>
                  <a:pt x="3516" y="4072"/>
                </a:lnTo>
                <a:cubicBezTo>
                  <a:pt x="3802" y="4072"/>
                  <a:pt x="4072" y="3802"/>
                  <a:pt x="4072" y="3515"/>
                </a:cubicBezTo>
                <a:lnTo>
                  <a:pt x="4072" y="541"/>
                </a:lnTo>
                <a:cubicBezTo>
                  <a:pt x="4072" y="270"/>
                  <a:pt x="3802" y="0"/>
                  <a:pt x="3516" y="0"/>
                </a:cubicBezTo>
                <a:lnTo>
                  <a:pt x="557" y="0"/>
                </a:lnTo>
                <a:cubicBezTo>
                  <a:pt x="271" y="0"/>
                  <a:pt x="0" y="270"/>
                  <a:pt x="0" y="541"/>
                </a:cubicBezTo>
                <a:close/>
                <a:moveTo>
                  <a:pt x="557" y="159"/>
                </a:moveTo>
                <a:lnTo>
                  <a:pt x="3516" y="159"/>
                </a:lnTo>
                <a:cubicBezTo>
                  <a:pt x="3707" y="159"/>
                  <a:pt x="3913" y="350"/>
                  <a:pt x="3913" y="541"/>
                </a:cubicBezTo>
                <a:lnTo>
                  <a:pt x="3913" y="3515"/>
                </a:lnTo>
                <a:cubicBezTo>
                  <a:pt x="3913" y="3706"/>
                  <a:pt x="3707" y="3913"/>
                  <a:pt x="3516" y="3913"/>
                </a:cubicBezTo>
                <a:lnTo>
                  <a:pt x="557" y="3913"/>
                </a:lnTo>
                <a:cubicBezTo>
                  <a:pt x="366" y="3913"/>
                  <a:pt x="160" y="3706"/>
                  <a:pt x="160" y="3515"/>
                </a:cubicBezTo>
                <a:lnTo>
                  <a:pt x="160" y="541"/>
                </a:lnTo>
                <a:cubicBezTo>
                  <a:pt x="160" y="350"/>
                  <a:pt x="366" y="159"/>
                  <a:pt x="557" y="159"/>
                </a:cubicBezTo>
                <a:close/>
                <a:moveTo>
                  <a:pt x="557" y="827"/>
                </a:moveTo>
                <a:lnTo>
                  <a:pt x="3516" y="827"/>
                </a:lnTo>
                <a:cubicBezTo>
                  <a:pt x="3563" y="827"/>
                  <a:pt x="3595" y="795"/>
                  <a:pt x="3595" y="748"/>
                </a:cubicBezTo>
                <a:cubicBezTo>
                  <a:pt x="3595" y="700"/>
                  <a:pt x="3563" y="668"/>
                  <a:pt x="3516" y="668"/>
                </a:cubicBezTo>
                <a:lnTo>
                  <a:pt x="557" y="668"/>
                </a:lnTo>
                <a:cubicBezTo>
                  <a:pt x="509" y="668"/>
                  <a:pt x="478" y="700"/>
                  <a:pt x="478" y="748"/>
                </a:cubicBezTo>
                <a:cubicBezTo>
                  <a:pt x="478" y="795"/>
                  <a:pt x="509" y="827"/>
                  <a:pt x="557" y="827"/>
                </a:cubicBezTo>
                <a:close/>
                <a:moveTo>
                  <a:pt x="557" y="1511"/>
                </a:moveTo>
                <a:lnTo>
                  <a:pt x="1766" y="1511"/>
                </a:lnTo>
                <a:cubicBezTo>
                  <a:pt x="1814" y="1511"/>
                  <a:pt x="1845" y="1463"/>
                  <a:pt x="1845" y="1431"/>
                </a:cubicBezTo>
                <a:cubicBezTo>
                  <a:pt x="1845" y="1384"/>
                  <a:pt x="1814" y="1352"/>
                  <a:pt x="1766" y="1352"/>
                </a:cubicBezTo>
                <a:lnTo>
                  <a:pt x="557" y="1352"/>
                </a:lnTo>
                <a:cubicBezTo>
                  <a:pt x="509" y="1352"/>
                  <a:pt x="478" y="1384"/>
                  <a:pt x="478" y="1431"/>
                </a:cubicBezTo>
                <a:cubicBezTo>
                  <a:pt x="478" y="1463"/>
                  <a:pt x="509" y="1511"/>
                  <a:pt x="557" y="1511"/>
                </a:cubicBezTo>
                <a:close/>
                <a:moveTo>
                  <a:pt x="3516" y="1352"/>
                </a:moveTo>
                <a:lnTo>
                  <a:pt x="2450" y="1352"/>
                </a:lnTo>
                <a:cubicBezTo>
                  <a:pt x="2402" y="1352"/>
                  <a:pt x="2371" y="1384"/>
                  <a:pt x="2371" y="1431"/>
                </a:cubicBezTo>
                <a:cubicBezTo>
                  <a:pt x="2371" y="1463"/>
                  <a:pt x="2402" y="1511"/>
                  <a:pt x="2450" y="1511"/>
                </a:cubicBezTo>
                <a:lnTo>
                  <a:pt x="3516" y="1511"/>
                </a:lnTo>
                <a:cubicBezTo>
                  <a:pt x="3563" y="1511"/>
                  <a:pt x="3595" y="1463"/>
                  <a:pt x="3595" y="1431"/>
                </a:cubicBezTo>
                <a:cubicBezTo>
                  <a:pt x="3595" y="1384"/>
                  <a:pt x="3563" y="1352"/>
                  <a:pt x="3516" y="1352"/>
                </a:cubicBezTo>
                <a:close/>
                <a:moveTo>
                  <a:pt x="557" y="2179"/>
                </a:moveTo>
                <a:lnTo>
                  <a:pt x="1766" y="2179"/>
                </a:lnTo>
                <a:cubicBezTo>
                  <a:pt x="1814" y="2179"/>
                  <a:pt x="1845" y="2148"/>
                  <a:pt x="1845" y="2100"/>
                </a:cubicBezTo>
                <a:cubicBezTo>
                  <a:pt x="1845" y="2052"/>
                  <a:pt x="1814" y="2020"/>
                  <a:pt x="1766" y="2020"/>
                </a:cubicBezTo>
                <a:lnTo>
                  <a:pt x="557" y="2020"/>
                </a:lnTo>
                <a:cubicBezTo>
                  <a:pt x="509" y="2020"/>
                  <a:pt x="478" y="2052"/>
                  <a:pt x="478" y="2100"/>
                </a:cubicBezTo>
                <a:cubicBezTo>
                  <a:pt x="478" y="2148"/>
                  <a:pt x="509" y="2179"/>
                  <a:pt x="557" y="2179"/>
                </a:cubicBezTo>
                <a:close/>
                <a:moveTo>
                  <a:pt x="3516" y="2020"/>
                </a:moveTo>
                <a:lnTo>
                  <a:pt x="2450" y="2020"/>
                </a:lnTo>
                <a:cubicBezTo>
                  <a:pt x="2402" y="2020"/>
                  <a:pt x="2371" y="2052"/>
                  <a:pt x="2371" y="2100"/>
                </a:cubicBezTo>
                <a:cubicBezTo>
                  <a:pt x="2371" y="2148"/>
                  <a:pt x="2402" y="2179"/>
                  <a:pt x="2450" y="2179"/>
                </a:cubicBezTo>
                <a:lnTo>
                  <a:pt x="3516" y="2179"/>
                </a:lnTo>
                <a:cubicBezTo>
                  <a:pt x="3563" y="2179"/>
                  <a:pt x="3595" y="2148"/>
                  <a:pt x="3595" y="2100"/>
                </a:cubicBezTo>
                <a:cubicBezTo>
                  <a:pt x="3595" y="2052"/>
                  <a:pt x="3563" y="2020"/>
                  <a:pt x="3516" y="2020"/>
                </a:cubicBezTo>
                <a:close/>
                <a:moveTo>
                  <a:pt x="557" y="2847"/>
                </a:moveTo>
                <a:lnTo>
                  <a:pt x="1766" y="2847"/>
                </a:lnTo>
                <a:cubicBezTo>
                  <a:pt x="1814" y="2847"/>
                  <a:pt x="1845" y="2815"/>
                  <a:pt x="1845" y="2784"/>
                </a:cubicBezTo>
                <a:cubicBezTo>
                  <a:pt x="1845" y="2736"/>
                  <a:pt x="1814" y="2704"/>
                  <a:pt x="1766" y="2704"/>
                </a:cubicBezTo>
                <a:lnTo>
                  <a:pt x="557" y="2704"/>
                </a:lnTo>
                <a:cubicBezTo>
                  <a:pt x="509" y="2704"/>
                  <a:pt x="478" y="2736"/>
                  <a:pt x="478" y="2784"/>
                </a:cubicBezTo>
                <a:cubicBezTo>
                  <a:pt x="478" y="2815"/>
                  <a:pt x="509" y="2847"/>
                  <a:pt x="557" y="2847"/>
                </a:cubicBezTo>
                <a:close/>
                <a:moveTo>
                  <a:pt x="3516" y="2704"/>
                </a:moveTo>
                <a:lnTo>
                  <a:pt x="2450" y="2704"/>
                </a:lnTo>
                <a:cubicBezTo>
                  <a:pt x="2402" y="2704"/>
                  <a:pt x="2371" y="2736"/>
                  <a:pt x="2371" y="2784"/>
                </a:cubicBezTo>
                <a:cubicBezTo>
                  <a:pt x="2371" y="2815"/>
                  <a:pt x="2402" y="2847"/>
                  <a:pt x="2450" y="2847"/>
                </a:cubicBezTo>
                <a:lnTo>
                  <a:pt x="3516" y="2847"/>
                </a:lnTo>
                <a:cubicBezTo>
                  <a:pt x="3563" y="2847"/>
                  <a:pt x="3595" y="2815"/>
                  <a:pt x="3595" y="2784"/>
                </a:cubicBezTo>
                <a:cubicBezTo>
                  <a:pt x="3595" y="2736"/>
                  <a:pt x="3563" y="2704"/>
                  <a:pt x="3516" y="270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2" name="Freeform: Shape 8">
            <a:extLst>
              <a:ext uri="{FF2B5EF4-FFF2-40B4-BE49-F238E27FC236}">
                <a16:creationId xmlns:a16="http://schemas.microsoft.com/office/drawing/2014/main" id="{53967BDD-FE5F-3444-8412-4DE3F935DC90}"/>
              </a:ext>
            </a:extLst>
          </p:cNvPr>
          <p:cNvSpPr/>
          <p:nvPr/>
        </p:nvSpPr>
        <p:spPr>
          <a:xfrm>
            <a:off x="17479446" y="2920252"/>
            <a:ext cx="1717560" cy="1717560"/>
          </a:xfrm>
          <a:custGeom>
            <a:avLst/>
            <a:gdLst/>
            <a:ahLst/>
            <a:cxnLst>
              <a:cxn ang="3cd4">
                <a:pos x="hc" y="t"/>
              </a:cxn>
              <a:cxn ang="cd2">
                <a:pos x="l" y="vc"/>
              </a:cxn>
              <a:cxn ang="cd4">
                <a:pos x="hc" y="b"/>
              </a:cxn>
              <a:cxn ang="0">
                <a:pos x="r" y="vc"/>
              </a:cxn>
            </a:cxnLst>
            <a:rect l="l" t="t" r="r" b="b"/>
            <a:pathLst>
              <a:path w="4772" h="4772">
                <a:moveTo>
                  <a:pt x="4278" y="1463"/>
                </a:moveTo>
                <a:cubicBezTo>
                  <a:pt x="4263" y="1448"/>
                  <a:pt x="4231" y="1432"/>
                  <a:pt x="4215" y="1432"/>
                </a:cubicBezTo>
                <a:cubicBezTo>
                  <a:pt x="3054" y="1432"/>
                  <a:pt x="3054" y="1432"/>
                  <a:pt x="3054" y="1432"/>
                </a:cubicBezTo>
                <a:cubicBezTo>
                  <a:pt x="3054" y="954"/>
                  <a:pt x="3054" y="954"/>
                  <a:pt x="3054" y="954"/>
                </a:cubicBezTo>
                <a:cubicBezTo>
                  <a:pt x="3579" y="954"/>
                  <a:pt x="3579" y="954"/>
                  <a:pt x="3579" y="954"/>
                </a:cubicBezTo>
                <a:cubicBezTo>
                  <a:pt x="3626" y="954"/>
                  <a:pt x="3658" y="923"/>
                  <a:pt x="3658" y="875"/>
                </a:cubicBezTo>
                <a:cubicBezTo>
                  <a:pt x="3658" y="80"/>
                  <a:pt x="3658" y="80"/>
                  <a:pt x="3658" y="80"/>
                </a:cubicBezTo>
                <a:cubicBezTo>
                  <a:pt x="3658" y="32"/>
                  <a:pt x="3626" y="0"/>
                  <a:pt x="3579" y="0"/>
                </a:cubicBezTo>
                <a:cubicBezTo>
                  <a:pt x="1193" y="0"/>
                  <a:pt x="1193" y="0"/>
                  <a:pt x="1193" y="0"/>
                </a:cubicBezTo>
                <a:cubicBezTo>
                  <a:pt x="1145" y="0"/>
                  <a:pt x="1113" y="32"/>
                  <a:pt x="1113" y="80"/>
                </a:cubicBezTo>
                <a:cubicBezTo>
                  <a:pt x="1113" y="875"/>
                  <a:pt x="1113" y="875"/>
                  <a:pt x="1113" y="875"/>
                </a:cubicBezTo>
                <a:cubicBezTo>
                  <a:pt x="1113" y="923"/>
                  <a:pt x="1145" y="954"/>
                  <a:pt x="1193" y="954"/>
                </a:cubicBezTo>
                <a:cubicBezTo>
                  <a:pt x="1718" y="954"/>
                  <a:pt x="1718" y="954"/>
                  <a:pt x="1718" y="954"/>
                </a:cubicBezTo>
                <a:cubicBezTo>
                  <a:pt x="1718" y="1432"/>
                  <a:pt x="1718" y="1432"/>
                  <a:pt x="1718" y="1432"/>
                </a:cubicBezTo>
                <a:cubicBezTo>
                  <a:pt x="636" y="1432"/>
                  <a:pt x="636" y="1432"/>
                  <a:pt x="636" y="1432"/>
                </a:cubicBezTo>
                <a:cubicBezTo>
                  <a:pt x="605" y="1432"/>
                  <a:pt x="588" y="1448"/>
                  <a:pt x="573" y="1463"/>
                </a:cubicBezTo>
                <a:cubicBezTo>
                  <a:pt x="16" y="2211"/>
                  <a:pt x="16" y="2211"/>
                  <a:pt x="16" y="2211"/>
                </a:cubicBezTo>
                <a:cubicBezTo>
                  <a:pt x="16" y="2227"/>
                  <a:pt x="0" y="2243"/>
                  <a:pt x="0" y="2259"/>
                </a:cubicBezTo>
                <a:cubicBezTo>
                  <a:pt x="0" y="2370"/>
                  <a:pt x="0" y="2370"/>
                  <a:pt x="0" y="2370"/>
                </a:cubicBezTo>
                <a:cubicBezTo>
                  <a:pt x="0" y="2577"/>
                  <a:pt x="143" y="2784"/>
                  <a:pt x="318" y="2831"/>
                </a:cubicBezTo>
                <a:cubicBezTo>
                  <a:pt x="318" y="4692"/>
                  <a:pt x="318" y="4692"/>
                  <a:pt x="318" y="4692"/>
                </a:cubicBezTo>
                <a:cubicBezTo>
                  <a:pt x="318" y="4724"/>
                  <a:pt x="350" y="4772"/>
                  <a:pt x="397" y="4772"/>
                </a:cubicBezTo>
                <a:cubicBezTo>
                  <a:pt x="4374" y="4772"/>
                  <a:pt x="4374" y="4772"/>
                  <a:pt x="4374" y="4772"/>
                </a:cubicBezTo>
                <a:cubicBezTo>
                  <a:pt x="4422" y="4772"/>
                  <a:pt x="4454" y="4724"/>
                  <a:pt x="4454" y="4692"/>
                </a:cubicBezTo>
                <a:cubicBezTo>
                  <a:pt x="4454" y="2831"/>
                  <a:pt x="4454" y="2831"/>
                  <a:pt x="4454" y="2831"/>
                </a:cubicBezTo>
                <a:cubicBezTo>
                  <a:pt x="4644" y="2784"/>
                  <a:pt x="4772" y="2608"/>
                  <a:pt x="4772" y="2370"/>
                </a:cubicBezTo>
                <a:cubicBezTo>
                  <a:pt x="4772" y="2259"/>
                  <a:pt x="4772" y="2259"/>
                  <a:pt x="4772" y="2259"/>
                </a:cubicBezTo>
                <a:cubicBezTo>
                  <a:pt x="4772" y="2243"/>
                  <a:pt x="4756" y="2227"/>
                  <a:pt x="4756" y="2227"/>
                </a:cubicBezTo>
                <a:close/>
                <a:moveTo>
                  <a:pt x="1272" y="159"/>
                </a:moveTo>
                <a:cubicBezTo>
                  <a:pt x="3499" y="159"/>
                  <a:pt x="3499" y="159"/>
                  <a:pt x="3499" y="159"/>
                </a:cubicBezTo>
                <a:cubicBezTo>
                  <a:pt x="3499" y="795"/>
                  <a:pt x="3499" y="795"/>
                  <a:pt x="3499" y="795"/>
                </a:cubicBezTo>
                <a:cubicBezTo>
                  <a:pt x="1272" y="795"/>
                  <a:pt x="1272" y="795"/>
                  <a:pt x="1272" y="795"/>
                </a:cubicBezTo>
                <a:close/>
                <a:moveTo>
                  <a:pt x="1877" y="954"/>
                </a:moveTo>
                <a:cubicBezTo>
                  <a:pt x="2895" y="954"/>
                  <a:pt x="2895" y="954"/>
                  <a:pt x="2895" y="954"/>
                </a:cubicBezTo>
                <a:cubicBezTo>
                  <a:pt x="2895" y="1432"/>
                  <a:pt x="2895" y="1432"/>
                  <a:pt x="2895" y="1432"/>
                </a:cubicBezTo>
                <a:cubicBezTo>
                  <a:pt x="1877" y="1432"/>
                  <a:pt x="1877" y="1432"/>
                  <a:pt x="1877" y="1432"/>
                </a:cubicBezTo>
                <a:close/>
                <a:moveTo>
                  <a:pt x="477" y="4613"/>
                </a:moveTo>
                <a:cubicBezTo>
                  <a:pt x="477" y="2831"/>
                  <a:pt x="477" y="2831"/>
                  <a:pt x="477" y="2831"/>
                </a:cubicBezTo>
                <a:cubicBezTo>
                  <a:pt x="605" y="2816"/>
                  <a:pt x="716" y="2752"/>
                  <a:pt x="795" y="2656"/>
                </a:cubicBezTo>
                <a:cubicBezTo>
                  <a:pt x="795" y="4215"/>
                  <a:pt x="795" y="4215"/>
                  <a:pt x="795" y="4215"/>
                </a:cubicBezTo>
                <a:cubicBezTo>
                  <a:pt x="795" y="4247"/>
                  <a:pt x="827" y="4295"/>
                  <a:pt x="875" y="4295"/>
                </a:cubicBezTo>
                <a:cubicBezTo>
                  <a:pt x="3897" y="4295"/>
                  <a:pt x="3897" y="4295"/>
                  <a:pt x="3897" y="4295"/>
                </a:cubicBezTo>
                <a:cubicBezTo>
                  <a:pt x="3945" y="4295"/>
                  <a:pt x="3977" y="4247"/>
                  <a:pt x="3977" y="4215"/>
                </a:cubicBezTo>
                <a:cubicBezTo>
                  <a:pt x="3977" y="2672"/>
                  <a:pt x="3977" y="2672"/>
                  <a:pt x="3977" y="2672"/>
                </a:cubicBezTo>
                <a:cubicBezTo>
                  <a:pt x="3977" y="2672"/>
                  <a:pt x="3992" y="2656"/>
                  <a:pt x="4008" y="2641"/>
                </a:cubicBezTo>
                <a:cubicBezTo>
                  <a:pt x="4072" y="2752"/>
                  <a:pt x="4167" y="2816"/>
                  <a:pt x="4294" y="2831"/>
                </a:cubicBezTo>
                <a:cubicBezTo>
                  <a:pt x="4294" y="4613"/>
                  <a:pt x="4294" y="4613"/>
                  <a:pt x="4294" y="4613"/>
                </a:cubicBezTo>
                <a:close/>
                <a:moveTo>
                  <a:pt x="954" y="2752"/>
                </a:moveTo>
                <a:cubicBezTo>
                  <a:pt x="1034" y="2816"/>
                  <a:pt x="1129" y="2847"/>
                  <a:pt x="1225" y="2847"/>
                </a:cubicBezTo>
                <a:cubicBezTo>
                  <a:pt x="1400" y="2847"/>
                  <a:pt x="1543" y="2752"/>
                  <a:pt x="1623" y="2625"/>
                </a:cubicBezTo>
                <a:cubicBezTo>
                  <a:pt x="1718" y="2752"/>
                  <a:pt x="1861" y="2847"/>
                  <a:pt x="2020" y="2847"/>
                </a:cubicBezTo>
                <a:cubicBezTo>
                  <a:pt x="2195" y="2847"/>
                  <a:pt x="2338" y="2752"/>
                  <a:pt x="2418" y="2625"/>
                </a:cubicBezTo>
                <a:cubicBezTo>
                  <a:pt x="2513" y="2752"/>
                  <a:pt x="2656" y="2847"/>
                  <a:pt x="2815" y="2847"/>
                </a:cubicBezTo>
                <a:cubicBezTo>
                  <a:pt x="2990" y="2847"/>
                  <a:pt x="3133" y="2752"/>
                  <a:pt x="3213" y="2625"/>
                </a:cubicBezTo>
                <a:cubicBezTo>
                  <a:pt x="3308" y="2752"/>
                  <a:pt x="3451" y="2847"/>
                  <a:pt x="3611" y="2847"/>
                </a:cubicBezTo>
                <a:cubicBezTo>
                  <a:pt x="3690" y="2847"/>
                  <a:pt x="3754" y="2831"/>
                  <a:pt x="3817" y="2799"/>
                </a:cubicBezTo>
                <a:cubicBezTo>
                  <a:pt x="3817" y="4135"/>
                  <a:pt x="3817" y="4135"/>
                  <a:pt x="3817" y="4135"/>
                </a:cubicBezTo>
                <a:cubicBezTo>
                  <a:pt x="954" y="4135"/>
                  <a:pt x="954" y="4135"/>
                  <a:pt x="954" y="4135"/>
                </a:cubicBezTo>
                <a:close/>
                <a:moveTo>
                  <a:pt x="4613" y="2370"/>
                </a:moveTo>
                <a:cubicBezTo>
                  <a:pt x="4613" y="2481"/>
                  <a:pt x="4565" y="2625"/>
                  <a:pt x="4438" y="2672"/>
                </a:cubicBezTo>
                <a:cubicBezTo>
                  <a:pt x="4422" y="2641"/>
                  <a:pt x="4406" y="2625"/>
                  <a:pt x="4374" y="2625"/>
                </a:cubicBezTo>
                <a:cubicBezTo>
                  <a:pt x="4342" y="2625"/>
                  <a:pt x="4310" y="2641"/>
                  <a:pt x="4294" y="2672"/>
                </a:cubicBezTo>
                <a:cubicBezTo>
                  <a:pt x="4151" y="2641"/>
                  <a:pt x="4088" y="2498"/>
                  <a:pt x="4088" y="2370"/>
                </a:cubicBezTo>
                <a:cubicBezTo>
                  <a:pt x="4088" y="2322"/>
                  <a:pt x="4056" y="2290"/>
                  <a:pt x="4008" y="2290"/>
                </a:cubicBezTo>
                <a:cubicBezTo>
                  <a:pt x="3960" y="2290"/>
                  <a:pt x="3929" y="2322"/>
                  <a:pt x="3929" y="2370"/>
                </a:cubicBezTo>
                <a:cubicBezTo>
                  <a:pt x="3929" y="2545"/>
                  <a:pt x="3786" y="2688"/>
                  <a:pt x="3611" y="2688"/>
                </a:cubicBezTo>
                <a:cubicBezTo>
                  <a:pt x="3436" y="2688"/>
                  <a:pt x="3293" y="2545"/>
                  <a:pt x="3293" y="2370"/>
                </a:cubicBezTo>
                <a:cubicBezTo>
                  <a:pt x="3293" y="2322"/>
                  <a:pt x="3260" y="2290"/>
                  <a:pt x="3213" y="2290"/>
                </a:cubicBezTo>
                <a:cubicBezTo>
                  <a:pt x="3181" y="2290"/>
                  <a:pt x="3133" y="2322"/>
                  <a:pt x="3133" y="2370"/>
                </a:cubicBezTo>
                <a:cubicBezTo>
                  <a:pt x="3133" y="2545"/>
                  <a:pt x="2990" y="2688"/>
                  <a:pt x="2815" y="2688"/>
                </a:cubicBezTo>
                <a:cubicBezTo>
                  <a:pt x="2641" y="2688"/>
                  <a:pt x="2497" y="2545"/>
                  <a:pt x="2497" y="2370"/>
                </a:cubicBezTo>
                <a:cubicBezTo>
                  <a:pt x="2497" y="2322"/>
                  <a:pt x="2465" y="2290"/>
                  <a:pt x="2418" y="2290"/>
                </a:cubicBezTo>
                <a:cubicBezTo>
                  <a:pt x="2386" y="2290"/>
                  <a:pt x="2338" y="2322"/>
                  <a:pt x="2338" y="2370"/>
                </a:cubicBezTo>
                <a:cubicBezTo>
                  <a:pt x="2338" y="2545"/>
                  <a:pt x="2195" y="2688"/>
                  <a:pt x="2020" y="2688"/>
                </a:cubicBezTo>
                <a:cubicBezTo>
                  <a:pt x="1845" y="2688"/>
                  <a:pt x="1702" y="2545"/>
                  <a:pt x="1702" y="2370"/>
                </a:cubicBezTo>
                <a:cubicBezTo>
                  <a:pt x="1702" y="2322"/>
                  <a:pt x="1670" y="2290"/>
                  <a:pt x="1623" y="2290"/>
                </a:cubicBezTo>
                <a:cubicBezTo>
                  <a:pt x="1575" y="2290"/>
                  <a:pt x="1543" y="2322"/>
                  <a:pt x="1543" y="2370"/>
                </a:cubicBezTo>
                <a:cubicBezTo>
                  <a:pt x="1543" y="2545"/>
                  <a:pt x="1400" y="2688"/>
                  <a:pt x="1225" y="2688"/>
                </a:cubicBezTo>
                <a:cubicBezTo>
                  <a:pt x="1049" y="2688"/>
                  <a:pt x="906" y="2529"/>
                  <a:pt x="906" y="2370"/>
                </a:cubicBezTo>
                <a:cubicBezTo>
                  <a:pt x="906" y="2322"/>
                  <a:pt x="859" y="2290"/>
                  <a:pt x="827" y="2290"/>
                </a:cubicBezTo>
                <a:cubicBezTo>
                  <a:pt x="779" y="2290"/>
                  <a:pt x="748" y="2322"/>
                  <a:pt x="748" y="2370"/>
                </a:cubicBezTo>
                <a:cubicBezTo>
                  <a:pt x="748" y="2513"/>
                  <a:pt x="620" y="2641"/>
                  <a:pt x="477" y="2672"/>
                </a:cubicBezTo>
                <a:cubicBezTo>
                  <a:pt x="461" y="2641"/>
                  <a:pt x="429" y="2625"/>
                  <a:pt x="397" y="2625"/>
                </a:cubicBezTo>
                <a:cubicBezTo>
                  <a:pt x="366" y="2625"/>
                  <a:pt x="350" y="2641"/>
                  <a:pt x="334" y="2656"/>
                </a:cubicBezTo>
                <a:cubicBezTo>
                  <a:pt x="239" y="2625"/>
                  <a:pt x="159" y="2498"/>
                  <a:pt x="159" y="2370"/>
                </a:cubicBezTo>
                <a:cubicBezTo>
                  <a:pt x="159" y="2290"/>
                  <a:pt x="159" y="2290"/>
                  <a:pt x="159" y="2290"/>
                </a:cubicBezTo>
                <a:cubicBezTo>
                  <a:pt x="668" y="1591"/>
                  <a:pt x="668" y="1591"/>
                  <a:pt x="668" y="1591"/>
                </a:cubicBezTo>
                <a:cubicBezTo>
                  <a:pt x="4167" y="1591"/>
                  <a:pt x="4167" y="1591"/>
                  <a:pt x="4167" y="1591"/>
                </a:cubicBezTo>
                <a:cubicBezTo>
                  <a:pt x="4613" y="2290"/>
                  <a:pt x="4613" y="2290"/>
                  <a:pt x="4613" y="229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3" name="Freeform: Shape 9">
            <a:extLst>
              <a:ext uri="{FF2B5EF4-FFF2-40B4-BE49-F238E27FC236}">
                <a16:creationId xmlns:a16="http://schemas.microsoft.com/office/drawing/2014/main" id="{4571A6B4-E51C-FB45-8DC7-949FA97799DF}"/>
              </a:ext>
            </a:extLst>
          </p:cNvPr>
          <p:cNvSpPr/>
          <p:nvPr/>
        </p:nvSpPr>
        <p:spPr>
          <a:xfrm>
            <a:off x="14049938" y="3046252"/>
            <a:ext cx="1465560" cy="1465560"/>
          </a:xfrm>
          <a:custGeom>
            <a:avLst/>
            <a:gdLst/>
            <a:ahLst/>
            <a:cxnLst>
              <a:cxn ang="3cd4">
                <a:pos x="hc" y="t"/>
              </a:cxn>
              <a:cxn ang="cd2">
                <a:pos x="l" y="vc"/>
              </a:cxn>
              <a:cxn ang="cd4">
                <a:pos x="hc" y="b"/>
              </a:cxn>
              <a:cxn ang="0">
                <a:pos x="r" y="vc"/>
              </a:cxn>
            </a:cxnLst>
            <a:rect l="l" t="t" r="r" b="b"/>
            <a:pathLst>
              <a:path w="4072" h="4072">
                <a:moveTo>
                  <a:pt x="4072" y="1257"/>
                </a:moveTo>
                <a:cubicBezTo>
                  <a:pt x="4072" y="1241"/>
                  <a:pt x="4072" y="1241"/>
                  <a:pt x="4072" y="1225"/>
                </a:cubicBezTo>
                <a:cubicBezTo>
                  <a:pt x="3658" y="48"/>
                  <a:pt x="3658" y="48"/>
                  <a:pt x="3658" y="48"/>
                </a:cubicBezTo>
                <a:cubicBezTo>
                  <a:pt x="3658" y="16"/>
                  <a:pt x="3627" y="0"/>
                  <a:pt x="3595" y="0"/>
                </a:cubicBezTo>
                <a:cubicBezTo>
                  <a:pt x="557" y="0"/>
                  <a:pt x="557" y="0"/>
                  <a:pt x="557" y="0"/>
                </a:cubicBezTo>
                <a:cubicBezTo>
                  <a:pt x="509" y="0"/>
                  <a:pt x="493" y="16"/>
                  <a:pt x="477" y="48"/>
                </a:cubicBezTo>
                <a:cubicBezTo>
                  <a:pt x="16" y="1225"/>
                  <a:pt x="16" y="1225"/>
                  <a:pt x="16" y="1225"/>
                </a:cubicBezTo>
                <a:cubicBezTo>
                  <a:pt x="0" y="1241"/>
                  <a:pt x="0" y="1241"/>
                  <a:pt x="0" y="1257"/>
                </a:cubicBezTo>
                <a:cubicBezTo>
                  <a:pt x="0" y="1336"/>
                  <a:pt x="0" y="1336"/>
                  <a:pt x="0" y="1336"/>
                </a:cubicBezTo>
                <a:cubicBezTo>
                  <a:pt x="0" y="1527"/>
                  <a:pt x="127" y="1702"/>
                  <a:pt x="270" y="1750"/>
                </a:cubicBezTo>
                <a:cubicBezTo>
                  <a:pt x="270" y="3993"/>
                  <a:pt x="270" y="3993"/>
                  <a:pt x="270" y="3993"/>
                </a:cubicBezTo>
                <a:cubicBezTo>
                  <a:pt x="270" y="4040"/>
                  <a:pt x="302" y="4072"/>
                  <a:pt x="350" y="4072"/>
                </a:cubicBezTo>
                <a:cubicBezTo>
                  <a:pt x="3722" y="4072"/>
                  <a:pt x="3722" y="4072"/>
                  <a:pt x="3722" y="4072"/>
                </a:cubicBezTo>
                <a:cubicBezTo>
                  <a:pt x="3770" y="4072"/>
                  <a:pt x="3802" y="4040"/>
                  <a:pt x="3802" y="3993"/>
                </a:cubicBezTo>
                <a:cubicBezTo>
                  <a:pt x="3802" y="1750"/>
                  <a:pt x="3802" y="1750"/>
                  <a:pt x="3802" y="1750"/>
                </a:cubicBezTo>
                <a:cubicBezTo>
                  <a:pt x="3976" y="1702"/>
                  <a:pt x="4072" y="1543"/>
                  <a:pt x="4072" y="1336"/>
                </a:cubicBezTo>
                <a:close/>
                <a:moveTo>
                  <a:pt x="430" y="3913"/>
                </a:moveTo>
                <a:cubicBezTo>
                  <a:pt x="430" y="1750"/>
                  <a:pt x="430" y="1750"/>
                  <a:pt x="430" y="1750"/>
                </a:cubicBezTo>
                <a:cubicBezTo>
                  <a:pt x="525" y="1734"/>
                  <a:pt x="621" y="1686"/>
                  <a:pt x="684" y="1622"/>
                </a:cubicBezTo>
                <a:cubicBezTo>
                  <a:pt x="684" y="3309"/>
                  <a:pt x="684" y="3309"/>
                  <a:pt x="684" y="3309"/>
                </a:cubicBezTo>
                <a:cubicBezTo>
                  <a:pt x="684" y="3356"/>
                  <a:pt x="716" y="3388"/>
                  <a:pt x="764" y="3388"/>
                </a:cubicBezTo>
                <a:cubicBezTo>
                  <a:pt x="3324" y="3388"/>
                  <a:pt x="3324" y="3388"/>
                  <a:pt x="3324" y="3388"/>
                </a:cubicBezTo>
                <a:cubicBezTo>
                  <a:pt x="3372" y="3388"/>
                  <a:pt x="3404" y="3356"/>
                  <a:pt x="3404" y="3309"/>
                </a:cubicBezTo>
                <a:cubicBezTo>
                  <a:pt x="3404" y="1622"/>
                  <a:pt x="3404" y="1622"/>
                  <a:pt x="3404" y="1622"/>
                </a:cubicBezTo>
                <a:lnTo>
                  <a:pt x="3404" y="1606"/>
                </a:lnTo>
                <a:lnTo>
                  <a:pt x="3420" y="1591"/>
                </a:lnTo>
                <a:cubicBezTo>
                  <a:pt x="3467" y="1686"/>
                  <a:pt x="3547" y="1734"/>
                  <a:pt x="3642" y="1750"/>
                </a:cubicBezTo>
                <a:cubicBezTo>
                  <a:pt x="3642" y="3913"/>
                  <a:pt x="3642" y="3913"/>
                  <a:pt x="3642" y="3913"/>
                </a:cubicBezTo>
                <a:close/>
                <a:moveTo>
                  <a:pt x="843" y="1702"/>
                </a:moveTo>
                <a:cubicBezTo>
                  <a:pt x="907" y="1734"/>
                  <a:pt x="970" y="1766"/>
                  <a:pt x="1050" y="1766"/>
                </a:cubicBezTo>
                <a:cubicBezTo>
                  <a:pt x="1193" y="1766"/>
                  <a:pt x="1320" y="1686"/>
                  <a:pt x="1400" y="1591"/>
                </a:cubicBezTo>
                <a:cubicBezTo>
                  <a:pt x="1463" y="1686"/>
                  <a:pt x="1591" y="1766"/>
                  <a:pt x="1734" y="1766"/>
                </a:cubicBezTo>
                <a:cubicBezTo>
                  <a:pt x="1877" y="1766"/>
                  <a:pt x="1988" y="1686"/>
                  <a:pt x="2068" y="1591"/>
                </a:cubicBezTo>
                <a:cubicBezTo>
                  <a:pt x="2148" y="1686"/>
                  <a:pt x="2275" y="1766"/>
                  <a:pt x="2418" y="1766"/>
                </a:cubicBezTo>
                <a:cubicBezTo>
                  <a:pt x="2545" y="1766"/>
                  <a:pt x="2672" y="1686"/>
                  <a:pt x="2752" y="1591"/>
                </a:cubicBezTo>
                <a:cubicBezTo>
                  <a:pt x="2831" y="1686"/>
                  <a:pt x="2943" y="1766"/>
                  <a:pt x="3086" y="1766"/>
                </a:cubicBezTo>
                <a:cubicBezTo>
                  <a:pt x="3133" y="1766"/>
                  <a:pt x="3197" y="1750"/>
                  <a:pt x="3245" y="1734"/>
                </a:cubicBezTo>
                <a:cubicBezTo>
                  <a:pt x="3245" y="3229"/>
                  <a:pt x="3245" y="3229"/>
                  <a:pt x="3245" y="3229"/>
                </a:cubicBezTo>
                <a:cubicBezTo>
                  <a:pt x="843" y="3229"/>
                  <a:pt x="843" y="3229"/>
                  <a:pt x="843" y="3229"/>
                </a:cubicBezTo>
                <a:close/>
                <a:moveTo>
                  <a:pt x="3913" y="1336"/>
                </a:moveTo>
                <a:cubicBezTo>
                  <a:pt x="3913" y="1448"/>
                  <a:pt x="3881" y="1543"/>
                  <a:pt x="3785" y="1591"/>
                </a:cubicBezTo>
                <a:cubicBezTo>
                  <a:pt x="3785" y="1559"/>
                  <a:pt x="3754" y="1543"/>
                  <a:pt x="3722" y="1543"/>
                </a:cubicBezTo>
                <a:cubicBezTo>
                  <a:pt x="3690" y="1543"/>
                  <a:pt x="3674" y="1575"/>
                  <a:pt x="3658" y="1591"/>
                </a:cubicBezTo>
                <a:cubicBezTo>
                  <a:pt x="3547" y="1559"/>
                  <a:pt x="3499" y="1448"/>
                  <a:pt x="3499" y="1336"/>
                </a:cubicBezTo>
                <a:cubicBezTo>
                  <a:pt x="3499" y="1304"/>
                  <a:pt x="3467" y="1257"/>
                  <a:pt x="3420" y="1257"/>
                </a:cubicBezTo>
                <a:cubicBezTo>
                  <a:pt x="3372" y="1257"/>
                  <a:pt x="3340" y="1304"/>
                  <a:pt x="3340" y="1336"/>
                </a:cubicBezTo>
                <a:cubicBezTo>
                  <a:pt x="3340" y="1479"/>
                  <a:pt x="3229" y="1606"/>
                  <a:pt x="3086" y="1606"/>
                </a:cubicBezTo>
                <a:cubicBezTo>
                  <a:pt x="2943" y="1606"/>
                  <a:pt x="2831" y="1479"/>
                  <a:pt x="2831" y="1336"/>
                </a:cubicBezTo>
                <a:cubicBezTo>
                  <a:pt x="2831" y="1304"/>
                  <a:pt x="2784" y="1257"/>
                  <a:pt x="2752" y="1257"/>
                </a:cubicBezTo>
                <a:cubicBezTo>
                  <a:pt x="2704" y="1257"/>
                  <a:pt x="2672" y="1304"/>
                  <a:pt x="2672" y="1336"/>
                </a:cubicBezTo>
                <a:cubicBezTo>
                  <a:pt x="2672" y="1479"/>
                  <a:pt x="2545" y="1606"/>
                  <a:pt x="2418" y="1606"/>
                </a:cubicBezTo>
                <a:cubicBezTo>
                  <a:pt x="2275" y="1606"/>
                  <a:pt x="2148" y="1479"/>
                  <a:pt x="2148" y="1336"/>
                </a:cubicBezTo>
                <a:cubicBezTo>
                  <a:pt x="2148" y="1304"/>
                  <a:pt x="2115" y="1257"/>
                  <a:pt x="2068" y="1257"/>
                </a:cubicBezTo>
                <a:cubicBezTo>
                  <a:pt x="2036" y="1257"/>
                  <a:pt x="1988" y="1304"/>
                  <a:pt x="1988" y="1336"/>
                </a:cubicBezTo>
                <a:cubicBezTo>
                  <a:pt x="1988" y="1479"/>
                  <a:pt x="1877" y="1606"/>
                  <a:pt x="1734" y="1606"/>
                </a:cubicBezTo>
                <a:cubicBezTo>
                  <a:pt x="1591" y="1606"/>
                  <a:pt x="1479" y="1479"/>
                  <a:pt x="1479" y="1336"/>
                </a:cubicBezTo>
                <a:cubicBezTo>
                  <a:pt x="1479" y="1304"/>
                  <a:pt x="1431" y="1257"/>
                  <a:pt x="1400" y="1257"/>
                </a:cubicBezTo>
                <a:cubicBezTo>
                  <a:pt x="1352" y="1257"/>
                  <a:pt x="1320" y="1304"/>
                  <a:pt x="1320" y="1336"/>
                </a:cubicBezTo>
                <a:cubicBezTo>
                  <a:pt x="1320" y="1479"/>
                  <a:pt x="1193" y="1606"/>
                  <a:pt x="1050" y="1606"/>
                </a:cubicBezTo>
                <a:cubicBezTo>
                  <a:pt x="907" y="1606"/>
                  <a:pt x="795" y="1479"/>
                  <a:pt x="795" y="1336"/>
                </a:cubicBezTo>
                <a:cubicBezTo>
                  <a:pt x="795" y="1304"/>
                  <a:pt x="748" y="1257"/>
                  <a:pt x="716" y="1257"/>
                </a:cubicBezTo>
                <a:cubicBezTo>
                  <a:pt x="668" y="1257"/>
                  <a:pt x="636" y="1304"/>
                  <a:pt x="636" y="1336"/>
                </a:cubicBezTo>
                <a:cubicBezTo>
                  <a:pt x="636" y="1463"/>
                  <a:pt x="541" y="1559"/>
                  <a:pt x="430" y="1591"/>
                </a:cubicBezTo>
                <a:cubicBezTo>
                  <a:pt x="413" y="1559"/>
                  <a:pt x="382" y="1543"/>
                  <a:pt x="350" y="1543"/>
                </a:cubicBezTo>
                <a:cubicBezTo>
                  <a:pt x="334" y="1543"/>
                  <a:pt x="302" y="1559"/>
                  <a:pt x="286" y="1575"/>
                </a:cubicBezTo>
                <a:cubicBezTo>
                  <a:pt x="223" y="1543"/>
                  <a:pt x="159" y="1448"/>
                  <a:pt x="159" y="1336"/>
                </a:cubicBezTo>
                <a:cubicBezTo>
                  <a:pt x="159" y="1273"/>
                  <a:pt x="159" y="1273"/>
                  <a:pt x="159" y="1273"/>
                </a:cubicBezTo>
                <a:cubicBezTo>
                  <a:pt x="604" y="159"/>
                  <a:pt x="604" y="159"/>
                  <a:pt x="604" y="159"/>
                </a:cubicBezTo>
                <a:cubicBezTo>
                  <a:pt x="3531" y="159"/>
                  <a:pt x="3531" y="159"/>
                  <a:pt x="3531" y="159"/>
                </a:cubicBezTo>
                <a:cubicBezTo>
                  <a:pt x="3913" y="1273"/>
                  <a:pt x="3913" y="1273"/>
                  <a:pt x="3913" y="127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4" name="Freeform: Shape 10">
            <a:extLst>
              <a:ext uri="{FF2B5EF4-FFF2-40B4-BE49-F238E27FC236}">
                <a16:creationId xmlns:a16="http://schemas.microsoft.com/office/drawing/2014/main" id="{0E85B831-043A-A34D-ABA5-FB789A4BEDB7}"/>
              </a:ext>
            </a:extLst>
          </p:cNvPr>
          <p:cNvSpPr/>
          <p:nvPr/>
        </p:nvSpPr>
        <p:spPr>
          <a:xfrm>
            <a:off x="10134089" y="3046252"/>
            <a:ext cx="1465560" cy="1465560"/>
          </a:xfrm>
          <a:custGeom>
            <a:avLst/>
            <a:gdLst/>
            <a:ahLst/>
            <a:cxnLst>
              <a:cxn ang="3cd4">
                <a:pos x="hc" y="t"/>
              </a:cxn>
              <a:cxn ang="cd2">
                <a:pos x="l" y="vc"/>
              </a:cxn>
              <a:cxn ang="cd4">
                <a:pos x="hc" y="b"/>
              </a:cxn>
              <a:cxn ang="0">
                <a:pos x="r" y="vc"/>
              </a:cxn>
            </a:cxnLst>
            <a:rect l="l" t="t" r="r" b="b"/>
            <a:pathLst>
              <a:path w="4072" h="4072">
                <a:moveTo>
                  <a:pt x="4072" y="1257"/>
                </a:moveTo>
                <a:lnTo>
                  <a:pt x="4072" y="1225"/>
                </a:lnTo>
                <a:lnTo>
                  <a:pt x="3675" y="48"/>
                </a:lnTo>
                <a:cubicBezTo>
                  <a:pt x="3659" y="16"/>
                  <a:pt x="3627" y="0"/>
                  <a:pt x="3595" y="0"/>
                </a:cubicBezTo>
                <a:lnTo>
                  <a:pt x="557" y="0"/>
                </a:lnTo>
                <a:cubicBezTo>
                  <a:pt x="525" y="0"/>
                  <a:pt x="493" y="16"/>
                  <a:pt x="478" y="48"/>
                </a:cubicBezTo>
                <a:lnTo>
                  <a:pt x="16" y="1225"/>
                </a:lnTo>
                <a:cubicBezTo>
                  <a:pt x="0" y="1241"/>
                  <a:pt x="0" y="1241"/>
                  <a:pt x="0" y="1257"/>
                </a:cubicBezTo>
                <a:lnTo>
                  <a:pt x="0" y="1336"/>
                </a:lnTo>
                <a:cubicBezTo>
                  <a:pt x="0" y="1559"/>
                  <a:pt x="175" y="1766"/>
                  <a:pt x="366" y="1766"/>
                </a:cubicBezTo>
                <a:cubicBezTo>
                  <a:pt x="382" y="1766"/>
                  <a:pt x="398" y="1750"/>
                  <a:pt x="414" y="1750"/>
                </a:cubicBezTo>
                <a:lnTo>
                  <a:pt x="414" y="3993"/>
                </a:lnTo>
                <a:cubicBezTo>
                  <a:pt x="414" y="4040"/>
                  <a:pt x="446" y="4072"/>
                  <a:pt x="493" y="4072"/>
                </a:cubicBezTo>
                <a:lnTo>
                  <a:pt x="3722" y="4072"/>
                </a:lnTo>
                <a:cubicBezTo>
                  <a:pt x="3770" y="4072"/>
                  <a:pt x="3802" y="4040"/>
                  <a:pt x="3802" y="3993"/>
                </a:cubicBezTo>
                <a:lnTo>
                  <a:pt x="3802" y="1750"/>
                </a:lnTo>
                <a:cubicBezTo>
                  <a:pt x="3977" y="1702"/>
                  <a:pt x="4072" y="1543"/>
                  <a:pt x="4072" y="1336"/>
                </a:cubicBezTo>
                <a:close/>
                <a:moveTo>
                  <a:pt x="1623" y="3913"/>
                </a:moveTo>
                <a:lnTo>
                  <a:pt x="1114" y="3913"/>
                </a:lnTo>
                <a:lnTo>
                  <a:pt x="1114" y="2990"/>
                </a:lnTo>
                <a:lnTo>
                  <a:pt x="1623" y="2990"/>
                </a:lnTo>
                <a:close/>
                <a:moveTo>
                  <a:pt x="3102" y="3913"/>
                </a:moveTo>
                <a:lnTo>
                  <a:pt x="2593" y="3913"/>
                </a:lnTo>
                <a:lnTo>
                  <a:pt x="2593" y="2990"/>
                </a:lnTo>
                <a:lnTo>
                  <a:pt x="3102" y="2990"/>
                </a:lnTo>
                <a:close/>
                <a:moveTo>
                  <a:pt x="3261" y="3913"/>
                </a:moveTo>
                <a:lnTo>
                  <a:pt x="3261" y="2911"/>
                </a:lnTo>
                <a:cubicBezTo>
                  <a:pt x="3261" y="2863"/>
                  <a:pt x="3229" y="2831"/>
                  <a:pt x="3181" y="2831"/>
                </a:cubicBezTo>
                <a:lnTo>
                  <a:pt x="2514" y="2831"/>
                </a:lnTo>
                <a:cubicBezTo>
                  <a:pt x="2466" y="2831"/>
                  <a:pt x="2434" y="2863"/>
                  <a:pt x="2434" y="2911"/>
                </a:cubicBezTo>
                <a:lnTo>
                  <a:pt x="2434" y="3913"/>
                </a:lnTo>
                <a:lnTo>
                  <a:pt x="1782" y="3913"/>
                </a:lnTo>
                <a:lnTo>
                  <a:pt x="1782" y="2911"/>
                </a:lnTo>
                <a:cubicBezTo>
                  <a:pt x="1782" y="2863"/>
                  <a:pt x="1750" y="2831"/>
                  <a:pt x="1702" y="2831"/>
                </a:cubicBezTo>
                <a:lnTo>
                  <a:pt x="1034" y="2831"/>
                </a:lnTo>
                <a:cubicBezTo>
                  <a:pt x="987" y="2831"/>
                  <a:pt x="955" y="2863"/>
                  <a:pt x="955" y="2911"/>
                </a:cubicBezTo>
                <a:lnTo>
                  <a:pt x="955" y="3913"/>
                </a:lnTo>
                <a:lnTo>
                  <a:pt x="573" y="3913"/>
                </a:lnTo>
                <a:lnTo>
                  <a:pt x="573" y="1702"/>
                </a:lnTo>
                <a:cubicBezTo>
                  <a:pt x="621" y="1670"/>
                  <a:pt x="668" y="1639"/>
                  <a:pt x="716" y="1575"/>
                </a:cubicBezTo>
                <a:cubicBezTo>
                  <a:pt x="779" y="1686"/>
                  <a:pt x="907" y="1766"/>
                  <a:pt x="1050" y="1766"/>
                </a:cubicBezTo>
                <a:cubicBezTo>
                  <a:pt x="1193" y="1766"/>
                  <a:pt x="1321" y="1686"/>
                  <a:pt x="1400" y="1591"/>
                </a:cubicBezTo>
                <a:cubicBezTo>
                  <a:pt x="1479" y="1686"/>
                  <a:pt x="1591" y="1766"/>
                  <a:pt x="1734" y="1766"/>
                </a:cubicBezTo>
                <a:cubicBezTo>
                  <a:pt x="1877" y="1766"/>
                  <a:pt x="2005" y="1686"/>
                  <a:pt x="2068" y="1591"/>
                </a:cubicBezTo>
                <a:cubicBezTo>
                  <a:pt x="2148" y="1686"/>
                  <a:pt x="2275" y="1766"/>
                  <a:pt x="2418" y="1766"/>
                </a:cubicBezTo>
                <a:cubicBezTo>
                  <a:pt x="2545" y="1766"/>
                  <a:pt x="2672" y="1686"/>
                  <a:pt x="2752" y="1591"/>
                </a:cubicBezTo>
                <a:cubicBezTo>
                  <a:pt x="2832" y="1686"/>
                  <a:pt x="2943" y="1766"/>
                  <a:pt x="3086" y="1766"/>
                </a:cubicBezTo>
                <a:cubicBezTo>
                  <a:pt x="3213" y="1766"/>
                  <a:pt x="3341" y="1702"/>
                  <a:pt x="3420" y="1591"/>
                </a:cubicBezTo>
                <a:cubicBezTo>
                  <a:pt x="3468" y="1686"/>
                  <a:pt x="3547" y="1734"/>
                  <a:pt x="3642" y="1750"/>
                </a:cubicBezTo>
                <a:lnTo>
                  <a:pt x="3642" y="3913"/>
                </a:lnTo>
                <a:close/>
                <a:moveTo>
                  <a:pt x="3913" y="1336"/>
                </a:moveTo>
                <a:cubicBezTo>
                  <a:pt x="3913" y="1448"/>
                  <a:pt x="3881" y="1543"/>
                  <a:pt x="3802" y="1591"/>
                </a:cubicBezTo>
                <a:cubicBezTo>
                  <a:pt x="3786" y="1559"/>
                  <a:pt x="3754" y="1543"/>
                  <a:pt x="3722" y="1543"/>
                </a:cubicBezTo>
                <a:cubicBezTo>
                  <a:pt x="3690" y="1543"/>
                  <a:pt x="3675" y="1575"/>
                  <a:pt x="3659" y="1591"/>
                </a:cubicBezTo>
                <a:cubicBezTo>
                  <a:pt x="3547" y="1559"/>
                  <a:pt x="3499" y="1448"/>
                  <a:pt x="3499" y="1336"/>
                </a:cubicBezTo>
                <a:cubicBezTo>
                  <a:pt x="3499" y="1304"/>
                  <a:pt x="3468" y="1257"/>
                  <a:pt x="3420" y="1257"/>
                </a:cubicBezTo>
                <a:cubicBezTo>
                  <a:pt x="3372" y="1257"/>
                  <a:pt x="3341" y="1304"/>
                  <a:pt x="3341" y="1336"/>
                </a:cubicBezTo>
                <a:cubicBezTo>
                  <a:pt x="3341" y="1479"/>
                  <a:pt x="3229" y="1606"/>
                  <a:pt x="3086" y="1606"/>
                </a:cubicBezTo>
                <a:cubicBezTo>
                  <a:pt x="2943" y="1606"/>
                  <a:pt x="2832" y="1479"/>
                  <a:pt x="2832" y="1336"/>
                </a:cubicBezTo>
                <a:cubicBezTo>
                  <a:pt x="2832" y="1304"/>
                  <a:pt x="2800" y="1257"/>
                  <a:pt x="2752" y="1257"/>
                </a:cubicBezTo>
                <a:cubicBezTo>
                  <a:pt x="2704" y="1257"/>
                  <a:pt x="2672" y="1304"/>
                  <a:pt x="2672" y="1336"/>
                </a:cubicBezTo>
                <a:cubicBezTo>
                  <a:pt x="2672" y="1479"/>
                  <a:pt x="2561" y="1606"/>
                  <a:pt x="2418" y="1606"/>
                </a:cubicBezTo>
                <a:cubicBezTo>
                  <a:pt x="2275" y="1606"/>
                  <a:pt x="2148" y="1479"/>
                  <a:pt x="2148" y="1336"/>
                </a:cubicBezTo>
                <a:cubicBezTo>
                  <a:pt x="2148" y="1304"/>
                  <a:pt x="2116" y="1257"/>
                  <a:pt x="2068" y="1257"/>
                </a:cubicBezTo>
                <a:cubicBezTo>
                  <a:pt x="2036" y="1257"/>
                  <a:pt x="1988" y="1304"/>
                  <a:pt x="1988" y="1336"/>
                </a:cubicBezTo>
                <a:cubicBezTo>
                  <a:pt x="1988" y="1479"/>
                  <a:pt x="1877" y="1606"/>
                  <a:pt x="1734" y="1606"/>
                </a:cubicBezTo>
                <a:cubicBezTo>
                  <a:pt x="1591" y="1606"/>
                  <a:pt x="1479" y="1479"/>
                  <a:pt x="1479" y="1336"/>
                </a:cubicBezTo>
                <a:cubicBezTo>
                  <a:pt x="1479" y="1304"/>
                  <a:pt x="1448" y="1257"/>
                  <a:pt x="1400" y="1257"/>
                </a:cubicBezTo>
                <a:cubicBezTo>
                  <a:pt x="1352" y="1257"/>
                  <a:pt x="1321" y="1304"/>
                  <a:pt x="1321" y="1336"/>
                </a:cubicBezTo>
                <a:cubicBezTo>
                  <a:pt x="1321" y="1479"/>
                  <a:pt x="1193" y="1606"/>
                  <a:pt x="1050" y="1606"/>
                </a:cubicBezTo>
                <a:cubicBezTo>
                  <a:pt x="907" y="1606"/>
                  <a:pt x="796" y="1479"/>
                  <a:pt x="796" y="1336"/>
                </a:cubicBezTo>
                <a:cubicBezTo>
                  <a:pt x="796" y="1304"/>
                  <a:pt x="764" y="1257"/>
                  <a:pt x="716" y="1257"/>
                </a:cubicBezTo>
                <a:cubicBezTo>
                  <a:pt x="668" y="1257"/>
                  <a:pt x="636" y="1304"/>
                  <a:pt x="636" y="1336"/>
                </a:cubicBezTo>
                <a:cubicBezTo>
                  <a:pt x="636" y="1431"/>
                  <a:pt x="589" y="1511"/>
                  <a:pt x="509" y="1559"/>
                </a:cubicBezTo>
                <a:cubicBezTo>
                  <a:pt x="509" y="1543"/>
                  <a:pt x="498" y="1548"/>
                  <a:pt x="493" y="1543"/>
                </a:cubicBezTo>
                <a:cubicBezTo>
                  <a:pt x="461" y="1543"/>
                  <a:pt x="430" y="1575"/>
                  <a:pt x="414" y="1591"/>
                </a:cubicBezTo>
                <a:cubicBezTo>
                  <a:pt x="398" y="1591"/>
                  <a:pt x="382" y="1606"/>
                  <a:pt x="366" y="1606"/>
                </a:cubicBezTo>
                <a:cubicBezTo>
                  <a:pt x="270" y="1606"/>
                  <a:pt x="160" y="1479"/>
                  <a:pt x="160" y="1336"/>
                </a:cubicBezTo>
                <a:lnTo>
                  <a:pt x="160" y="1273"/>
                </a:lnTo>
                <a:lnTo>
                  <a:pt x="605" y="159"/>
                </a:lnTo>
                <a:lnTo>
                  <a:pt x="3532" y="159"/>
                </a:lnTo>
                <a:lnTo>
                  <a:pt x="3913" y="1273"/>
                </a:lnTo>
                <a:close/>
                <a:moveTo>
                  <a:pt x="3054" y="2020"/>
                </a:moveTo>
                <a:lnTo>
                  <a:pt x="1161" y="2020"/>
                </a:lnTo>
                <a:cubicBezTo>
                  <a:pt x="1114" y="2020"/>
                  <a:pt x="1082" y="2052"/>
                  <a:pt x="1082" y="2100"/>
                </a:cubicBezTo>
                <a:lnTo>
                  <a:pt x="1082" y="2513"/>
                </a:lnTo>
                <a:cubicBezTo>
                  <a:pt x="1082" y="2545"/>
                  <a:pt x="1114" y="2593"/>
                  <a:pt x="1161" y="2593"/>
                </a:cubicBezTo>
                <a:lnTo>
                  <a:pt x="3054" y="2593"/>
                </a:lnTo>
                <a:cubicBezTo>
                  <a:pt x="3102" y="2593"/>
                  <a:pt x="3134" y="2545"/>
                  <a:pt x="3134" y="2513"/>
                </a:cubicBezTo>
                <a:lnTo>
                  <a:pt x="3134" y="2100"/>
                </a:lnTo>
                <a:cubicBezTo>
                  <a:pt x="3134" y="2052"/>
                  <a:pt x="3102" y="2020"/>
                  <a:pt x="3054" y="2020"/>
                </a:cubicBezTo>
                <a:close/>
                <a:moveTo>
                  <a:pt x="2975" y="2434"/>
                </a:moveTo>
                <a:lnTo>
                  <a:pt x="1241" y="2434"/>
                </a:lnTo>
                <a:lnTo>
                  <a:pt x="1241" y="2179"/>
                </a:lnTo>
                <a:lnTo>
                  <a:pt x="2975" y="217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5" name="Freeform: Shape 11">
            <a:extLst>
              <a:ext uri="{FF2B5EF4-FFF2-40B4-BE49-F238E27FC236}">
                <a16:creationId xmlns:a16="http://schemas.microsoft.com/office/drawing/2014/main" id="{6A581311-5F21-B347-9A0F-DE9C2D0626E2}"/>
              </a:ext>
            </a:extLst>
          </p:cNvPr>
          <p:cNvSpPr/>
          <p:nvPr/>
        </p:nvSpPr>
        <p:spPr>
          <a:xfrm>
            <a:off x="5961997" y="3046252"/>
            <a:ext cx="1465560" cy="1465560"/>
          </a:xfrm>
          <a:custGeom>
            <a:avLst/>
            <a:gdLst/>
            <a:ahLst/>
            <a:cxnLst>
              <a:cxn ang="3cd4">
                <a:pos x="hc" y="t"/>
              </a:cxn>
              <a:cxn ang="cd2">
                <a:pos x="l" y="vc"/>
              </a:cxn>
              <a:cxn ang="cd4">
                <a:pos x="hc" y="b"/>
              </a:cxn>
              <a:cxn ang="0">
                <a:pos x="r" y="vc"/>
              </a:cxn>
            </a:cxnLst>
            <a:rect l="l" t="t" r="r" b="b"/>
            <a:pathLst>
              <a:path w="4072" h="4072">
                <a:moveTo>
                  <a:pt x="477" y="4072"/>
                </a:moveTo>
                <a:cubicBezTo>
                  <a:pt x="3722" y="4072"/>
                  <a:pt x="3722" y="4072"/>
                  <a:pt x="3722" y="4072"/>
                </a:cubicBezTo>
                <a:cubicBezTo>
                  <a:pt x="3754" y="4072"/>
                  <a:pt x="3802" y="4040"/>
                  <a:pt x="3802" y="3993"/>
                </a:cubicBezTo>
                <a:cubicBezTo>
                  <a:pt x="3802" y="1750"/>
                  <a:pt x="3802" y="1750"/>
                  <a:pt x="3802" y="1750"/>
                </a:cubicBezTo>
                <a:cubicBezTo>
                  <a:pt x="3961" y="1702"/>
                  <a:pt x="4072" y="1543"/>
                  <a:pt x="4072" y="1336"/>
                </a:cubicBezTo>
                <a:cubicBezTo>
                  <a:pt x="4072" y="1257"/>
                  <a:pt x="4072" y="1257"/>
                  <a:pt x="4072" y="1257"/>
                </a:cubicBezTo>
                <a:cubicBezTo>
                  <a:pt x="4072" y="1241"/>
                  <a:pt x="4072" y="1241"/>
                  <a:pt x="4056" y="1225"/>
                </a:cubicBezTo>
                <a:cubicBezTo>
                  <a:pt x="3659" y="48"/>
                  <a:pt x="3659" y="48"/>
                  <a:pt x="3659" y="48"/>
                </a:cubicBezTo>
                <a:cubicBezTo>
                  <a:pt x="3643" y="16"/>
                  <a:pt x="3611" y="0"/>
                  <a:pt x="3579" y="0"/>
                </a:cubicBezTo>
                <a:cubicBezTo>
                  <a:pt x="541" y="0"/>
                  <a:pt x="541" y="0"/>
                  <a:pt x="541" y="0"/>
                </a:cubicBezTo>
                <a:cubicBezTo>
                  <a:pt x="510" y="0"/>
                  <a:pt x="477" y="16"/>
                  <a:pt x="462" y="48"/>
                </a:cubicBezTo>
                <a:cubicBezTo>
                  <a:pt x="0" y="1225"/>
                  <a:pt x="0" y="1225"/>
                  <a:pt x="0" y="1225"/>
                </a:cubicBezTo>
                <a:cubicBezTo>
                  <a:pt x="0" y="1241"/>
                  <a:pt x="0" y="1241"/>
                  <a:pt x="0" y="1257"/>
                </a:cubicBezTo>
                <a:cubicBezTo>
                  <a:pt x="0" y="1336"/>
                  <a:pt x="0" y="1336"/>
                  <a:pt x="0" y="1336"/>
                </a:cubicBezTo>
                <a:cubicBezTo>
                  <a:pt x="0" y="1559"/>
                  <a:pt x="159" y="1766"/>
                  <a:pt x="350" y="1766"/>
                </a:cubicBezTo>
                <a:cubicBezTo>
                  <a:pt x="366" y="1766"/>
                  <a:pt x="382" y="1750"/>
                  <a:pt x="398" y="1750"/>
                </a:cubicBezTo>
                <a:cubicBezTo>
                  <a:pt x="398" y="3993"/>
                  <a:pt x="398" y="3993"/>
                  <a:pt x="398" y="3993"/>
                </a:cubicBezTo>
                <a:cubicBezTo>
                  <a:pt x="398" y="4040"/>
                  <a:pt x="430" y="4072"/>
                  <a:pt x="477" y="4072"/>
                </a:cubicBezTo>
                <a:close/>
                <a:moveTo>
                  <a:pt x="2688" y="3913"/>
                </a:moveTo>
                <a:cubicBezTo>
                  <a:pt x="1368" y="3913"/>
                  <a:pt x="1368" y="3913"/>
                  <a:pt x="1368" y="3913"/>
                </a:cubicBezTo>
                <a:cubicBezTo>
                  <a:pt x="1368" y="2593"/>
                  <a:pt x="1368" y="2593"/>
                  <a:pt x="1368" y="2593"/>
                </a:cubicBezTo>
                <a:cubicBezTo>
                  <a:pt x="2688" y="2593"/>
                  <a:pt x="2688" y="2593"/>
                  <a:pt x="2688" y="2593"/>
                </a:cubicBezTo>
                <a:close/>
                <a:moveTo>
                  <a:pt x="2847" y="3913"/>
                </a:moveTo>
                <a:cubicBezTo>
                  <a:pt x="2847" y="2513"/>
                  <a:pt x="2847" y="2513"/>
                  <a:pt x="2847" y="2513"/>
                </a:cubicBezTo>
                <a:cubicBezTo>
                  <a:pt x="2847" y="2466"/>
                  <a:pt x="2816" y="2434"/>
                  <a:pt x="2768" y="2434"/>
                </a:cubicBezTo>
                <a:cubicBezTo>
                  <a:pt x="1289" y="2434"/>
                  <a:pt x="1289" y="2434"/>
                  <a:pt x="1289" y="2434"/>
                </a:cubicBezTo>
                <a:cubicBezTo>
                  <a:pt x="1241" y="2434"/>
                  <a:pt x="1209" y="2466"/>
                  <a:pt x="1209" y="2513"/>
                </a:cubicBezTo>
                <a:cubicBezTo>
                  <a:pt x="1209" y="3913"/>
                  <a:pt x="1209" y="3913"/>
                  <a:pt x="1209" y="3913"/>
                </a:cubicBezTo>
                <a:cubicBezTo>
                  <a:pt x="557" y="3913"/>
                  <a:pt x="557" y="3913"/>
                  <a:pt x="557" y="3913"/>
                </a:cubicBezTo>
                <a:cubicBezTo>
                  <a:pt x="557" y="1702"/>
                  <a:pt x="557" y="1702"/>
                  <a:pt x="557" y="1702"/>
                </a:cubicBezTo>
                <a:cubicBezTo>
                  <a:pt x="620" y="1670"/>
                  <a:pt x="668" y="1639"/>
                  <a:pt x="700" y="1575"/>
                </a:cubicBezTo>
                <a:cubicBezTo>
                  <a:pt x="780" y="1686"/>
                  <a:pt x="907" y="1766"/>
                  <a:pt x="1050" y="1766"/>
                </a:cubicBezTo>
                <a:cubicBezTo>
                  <a:pt x="1177" y="1766"/>
                  <a:pt x="1305" y="1686"/>
                  <a:pt x="1384" y="1591"/>
                </a:cubicBezTo>
                <a:cubicBezTo>
                  <a:pt x="1464" y="1686"/>
                  <a:pt x="1591" y="1766"/>
                  <a:pt x="1718" y="1766"/>
                </a:cubicBezTo>
                <a:cubicBezTo>
                  <a:pt x="1861" y="1766"/>
                  <a:pt x="1989" y="1686"/>
                  <a:pt x="2068" y="1591"/>
                </a:cubicBezTo>
                <a:cubicBezTo>
                  <a:pt x="2132" y="1686"/>
                  <a:pt x="2259" y="1766"/>
                  <a:pt x="2402" y="1766"/>
                </a:cubicBezTo>
                <a:cubicBezTo>
                  <a:pt x="2545" y="1766"/>
                  <a:pt x="2656" y="1686"/>
                  <a:pt x="2736" y="1591"/>
                </a:cubicBezTo>
                <a:cubicBezTo>
                  <a:pt x="2816" y="1686"/>
                  <a:pt x="2943" y="1766"/>
                  <a:pt x="3070" y="1766"/>
                </a:cubicBezTo>
                <a:cubicBezTo>
                  <a:pt x="3213" y="1766"/>
                  <a:pt x="3325" y="1702"/>
                  <a:pt x="3404" y="1591"/>
                </a:cubicBezTo>
                <a:cubicBezTo>
                  <a:pt x="3452" y="1686"/>
                  <a:pt x="3531" y="1734"/>
                  <a:pt x="3643" y="1750"/>
                </a:cubicBezTo>
                <a:cubicBezTo>
                  <a:pt x="3643" y="3913"/>
                  <a:pt x="3643" y="3913"/>
                  <a:pt x="3643" y="3913"/>
                </a:cubicBezTo>
                <a:close/>
                <a:moveTo>
                  <a:pt x="159" y="1336"/>
                </a:moveTo>
                <a:cubicBezTo>
                  <a:pt x="159" y="1273"/>
                  <a:pt x="159" y="1273"/>
                  <a:pt x="159" y="1273"/>
                </a:cubicBezTo>
                <a:cubicBezTo>
                  <a:pt x="589" y="159"/>
                  <a:pt x="589" y="159"/>
                  <a:pt x="589" y="159"/>
                </a:cubicBezTo>
                <a:cubicBezTo>
                  <a:pt x="3531" y="159"/>
                  <a:pt x="3531" y="159"/>
                  <a:pt x="3531" y="159"/>
                </a:cubicBezTo>
                <a:cubicBezTo>
                  <a:pt x="3913" y="1273"/>
                  <a:pt x="3913" y="1273"/>
                  <a:pt x="3913" y="1273"/>
                </a:cubicBezTo>
                <a:cubicBezTo>
                  <a:pt x="3913" y="1336"/>
                  <a:pt x="3913" y="1336"/>
                  <a:pt x="3913" y="1336"/>
                </a:cubicBezTo>
                <a:cubicBezTo>
                  <a:pt x="3913" y="1448"/>
                  <a:pt x="3882" y="1543"/>
                  <a:pt x="3786" y="1591"/>
                </a:cubicBezTo>
                <a:cubicBezTo>
                  <a:pt x="3770" y="1559"/>
                  <a:pt x="3738" y="1543"/>
                  <a:pt x="3722" y="1543"/>
                </a:cubicBezTo>
                <a:cubicBezTo>
                  <a:pt x="3691" y="1543"/>
                  <a:pt x="3659" y="1575"/>
                  <a:pt x="3643" y="1591"/>
                </a:cubicBezTo>
                <a:cubicBezTo>
                  <a:pt x="3531" y="1559"/>
                  <a:pt x="3500" y="1448"/>
                  <a:pt x="3500" y="1336"/>
                </a:cubicBezTo>
                <a:cubicBezTo>
                  <a:pt x="3500" y="1304"/>
                  <a:pt x="3452" y="1257"/>
                  <a:pt x="3420" y="1257"/>
                </a:cubicBezTo>
                <a:cubicBezTo>
                  <a:pt x="3373" y="1257"/>
                  <a:pt x="3341" y="1304"/>
                  <a:pt x="3341" y="1336"/>
                </a:cubicBezTo>
                <a:cubicBezTo>
                  <a:pt x="3341" y="1479"/>
                  <a:pt x="3213" y="1606"/>
                  <a:pt x="3070" y="1606"/>
                </a:cubicBezTo>
                <a:cubicBezTo>
                  <a:pt x="2927" y="1606"/>
                  <a:pt x="2816" y="1479"/>
                  <a:pt x="2816" y="1336"/>
                </a:cubicBezTo>
                <a:cubicBezTo>
                  <a:pt x="2816" y="1304"/>
                  <a:pt x="2784" y="1257"/>
                  <a:pt x="2736" y="1257"/>
                </a:cubicBezTo>
                <a:cubicBezTo>
                  <a:pt x="2688" y="1257"/>
                  <a:pt x="2656" y="1304"/>
                  <a:pt x="2656" y="1336"/>
                </a:cubicBezTo>
                <a:cubicBezTo>
                  <a:pt x="2656" y="1479"/>
                  <a:pt x="2545" y="1606"/>
                  <a:pt x="2402" y="1606"/>
                </a:cubicBezTo>
                <a:cubicBezTo>
                  <a:pt x="2259" y="1606"/>
                  <a:pt x="2147" y="1479"/>
                  <a:pt x="2147" y="1336"/>
                </a:cubicBezTo>
                <a:cubicBezTo>
                  <a:pt x="2147" y="1304"/>
                  <a:pt x="2100" y="1257"/>
                  <a:pt x="2068" y="1257"/>
                </a:cubicBezTo>
                <a:cubicBezTo>
                  <a:pt x="2020" y="1257"/>
                  <a:pt x="1989" y="1304"/>
                  <a:pt x="1989" y="1336"/>
                </a:cubicBezTo>
                <a:cubicBezTo>
                  <a:pt x="1989" y="1479"/>
                  <a:pt x="1861" y="1606"/>
                  <a:pt x="1718" y="1606"/>
                </a:cubicBezTo>
                <a:cubicBezTo>
                  <a:pt x="1575" y="1606"/>
                  <a:pt x="1464" y="1479"/>
                  <a:pt x="1464" y="1336"/>
                </a:cubicBezTo>
                <a:cubicBezTo>
                  <a:pt x="1464" y="1304"/>
                  <a:pt x="1432" y="1257"/>
                  <a:pt x="1384" y="1257"/>
                </a:cubicBezTo>
                <a:cubicBezTo>
                  <a:pt x="1337" y="1257"/>
                  <a:pt x="1305" y="1304"/>
                  <a:pt x="1305" y="1336"/>
                </a:cubicBezTo>
                <a:cubicBezTo>
                  <a:pt x="1305" y="1479"/>
                  <a:pt x="1193" y="1606"/>
                  <a:pt x="1050" y="1606"/>
                </a:cubicBezTo>
                <a:cubicBezTo>
                  <a:pt x="907" y="1606"/>
                  <a:pt x="780" y="1479"/>
                  <a:pt x="780" y="1336"/>
                </a:cubicBezTo>
                <a:cubicBezTo>
                  <a:pt x="780" y="1304"/>
                  <a:pt x="748" y="1257"/>
                  <a:pt x="700" y="1257"/>
                </a:cubicBezTo>
                <a:cubicBezTo>
                  <a:pt x="653" y="1257"/>
                  <a:pt x="620" y="1304"/>
                  <a:pt x="620" y="1336"/>
                </a:cubicBezTo>
                <a:cubicBezTo>
                  <a:pt x="620" y="1431"/>
                  <a:pt x="573" y="1511"/>
                  <a:pt x="510" y="1559"/>
                </a:cubicBezTo>
                <a:cubicBezTo>
                  <a:pt x="493" y="1543"/>
                  <a:pt x="493" y="1543"/>
                  <a:pt x="477" y="1543"/>
                </a:cubicBezTo>
                <a:cubicBezTo>
                  <a:pt x="446" y="1543"/>
                  <a:pt x="414" y="1575"/>
                  <a:pt x="414" y="1591"/>
                </a:cubicBezTo>
                <a:cubicBezTo>
                  <a:pt x="382" y="1591"/>
                  <a:pt x="366" y="1606"/>
                  <a:pt x="350" y="1606"/>
                </a:cubicBezTo>
                <a:cubicBezTo>
                  <a:pt x="255" y="1606"/>
                  <a:pt x="159" y="1479"/>
                  <a:pt x="159" y="133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6" name="Freeform: Shape 12">
            <a:extLst>
              <a:ext uri="{FF2B5EF4-FFF2-40B4-BE49-F238E27FC236}">
                <a16:creationId xmlns:a16="http://schemas.microsoft.com/office/drawing/2014/main" id="{302B8021-3F6F-7E49-AA49-2D5F427DC197}"/>
              </a:ext>
            </a:extLst>
          </p:cNvPr>
          <p:cNvSpPr/>
          <p:nvPr/>
        </p:nvSpPr>
        <p:spPr>
          <a:xfrm>
            <a:off x="1846440" y="3183771"/>
            <a:ext cx="1419840" cy="1190520"/>
          </a:xfrm>
          <a:custGeom>
            <a:avLst/>
            <a:gdLst/>
            <a:ahLst/>
            <a:cxnLst>
              <a:cxn ang="3cd4">
                <a:pos x="hc" y="t"/>
              </a:cxn>
              <a:cxn ang="cd2">
                <a:pos x="l" y="vc"/>
              </a:cxn>
              <a:cxn ang="cd4">
                <a:pos x="hc" y="b"/>
              </a:cxn>
              <a:cxn ang="0">
                <a:pos x="r" y="vc"/>
              </a:cxn>
            </a:cxnLst>
            <a:rect l="l" t="t" r="r" b="b"/>
            <a:pathLst>
              <a:path w="3945" h="3308">
                <a:moveTo>
                  <a:pt x="80" y="1558"/>
                </a:moveTo>
                <a:lnTo>
                  <a:pt x="366" y="1558"/>
                </a:lnTo>
                <a:lnTo>
                  <a:pt x="748" y="3245"/>
                </a:lnTo>
                <a:cubicBezTo>
                  <a:pt x="748" y="3276"/>
                  <a:pt x="779" y="3308"/>
                  <a:pt x="827" y="3308"/>
                </a:cubicBezTo>
                <a:lnTo>
                  <a:pt x="3181" y="3308"/>
                </a:lnTo>
                <a:cubicBezTo>
                  <a:pt x="3229" y="3308"/>
                  <a:pt x="3261" y="3276"/>
                  <a:pt x="3261" y="3245"/>
                </a:cubicBezTo>
                <a:lnTo>
                  <a:pt x="3595" y="1558"/>
                </a:lnTo>
                <a:lnTo>
                  <a:pt x="3865" y="1558"/>
                </a:lnTo>
                <a:cubicBezTo>
                  <a:pt x="3913" y="1558"/>
                  <a:pt x="3945" y="1511"/>
                  <a:pt x="3945" y="1479"/>
                </a:cubicBezTo>
                <a:cubicBezTo>
                  <a:pt x="3945" y="1431"/>
                  <a:pt x="3913" y="1400"/>
                  <a:pt x="3865" y="1400"/>
                </a:cubicBezTo>
                <a:lnTo>
                  <a:pt x="3515" y="1400"/>
                </a:lnTo>
                <a:lnTo>
                  <a:pt x="80" y="1400"/>
                </a:lnTo>
                <a:cubicBezTo>
                  <a:pt x="32" y="1400"/>
                  <a:pt x="0" y="1431"/>
                  <a:pt x="0" y="1479"/>
                </a:cubicBezTo>
                <a:cubicBezTo>
                  <a:pt x="0" y="1511"/>
                  <a:pt x="32" y="1558"/>
                  <a:pt x="80" y="1558"/>
                </a:cubicBezTo>
                <a:close/>
                <a:moveTo>
                  <a:pt x="3118" y="3149"/>
                </a:moveTo>
                <a:lnTo>
                  <a:pt x="891" y="3149"/>
                </a:lnTo>
                <a:lnTo>
                  <a:pt x="541" y="1558"/>
                </a:lnTo>
                <a:lnTo>
                  <a:pt x="3420" y="1558"/>
                </a:lnTo>
                <a:close/>
                <a:moveTo>
                  <a:pt x="573" y="1081"/>
                </a:moveTo>
                <a:cubicBezTo>
                  <a:pt x="573" y="1129"/>
                  <a:pt x="604" y="1161"/>
                  <a:pt x="652" y="1161"/>
                </a:cubicBezTo>
                <a:cubicBezTo>
                  <a:pt x="700" y="1161"/>
                  <a:pt x="732" y="1129"/>
                  <a:pt x="732" y="1081"/>
                </a:cubicBezTo>
                <a:cubicBezTo>
                  <a:pt x="732" y="572"/>
                  <a:pt x="1145" y="159"/>
                  <a:pt x="1670" y="159"/>
                </a:cubicBezTo>
                <a:cubicBezTo>
                  <a:pt x="2179" y="159"/>
                  <a:pt x="2593" y="572"/>
                  <a:pt x="2593" y="1081"/>
                </a:cubicBezTo>
                <a:cubicBezTo>
                  <a:pt x="2593" y="1129"/>
                  <a:pt x="2640" y="1161"/>
                  <a:pt x="2672" y="1161"/>
                </a:cubicBezTo>
                <a:cubicBezTo>
                  <a:pt x="2720" y="1161"/>
                  <a:pt x="2752" y="1129"/>
                  <a:pt x="2752" y="1081"/>
                </a:cubicBezTo>
                <a:cubicBezTo>
                  <a:pt x="2752" y="477"/>
                  <a:pt x="2275" y="0"/>
                  <a:pt x="1670" y="0"/>
                </a:cubicBezTo>
                <a:cubicBezTo>
                  <a:pt x="1066" y="0"/>
                  <a:pt x="573" y="477"/>
                  <a:pt x="573" y="1081"/>
                </a:cubicBezTo>
                <a:close/>
                <a:moveTo>
                  <a:pt x="2434" y="79"/>
                </a:moveTo>
                <a:cubicBezTo>
                  <a:pt x="2434" y="111"/>
                  <a:pt x="2466" y="159"/>
                  <a:pt x="2513" y="159"/>
                </a:cubicBezTo>
                <a:cubicBezTo>
                  <a:pt x="3022" y="159"/>
                  <a:pt x="3436" y="572"/>
                  <a:pt x="3436" y="1081"/>
                </a:cubicBezTo>
                <a:cubicBezTo>
                  <a:pt x="3436" y="1129"/>
                  <a:pt x="3484" y="1161"/>
                  <a:pt x="3515" y="1161"/>
                </a:cubicBezTo>
                <a:cubicBezTo>
                  <a:pt x="3563" y="1161"/>
                  <a:pt x="3595" y="1129"/>
                  <a:pt x="3595" y="1081"/>
                </a:cubicBezTo>
                <a:cubicBezTo>
                  <a:pt x="3595" y="477"/>
                  <a:pt x="3118" y="0"/>
                  <a:pt x="2513" y="0"/>
                </a:cubicBezTo>
                <a:cubicBezTo>
                  <a:pt x="2466" y="0"/>
                  <a:pt x="2434" y="31"/>
                  <a:pt x="2434" y="79"/>
                </a:cubicBezTo>
                <a:close/>
                <a:moveTo>
                  <a:pt x="1591" y="318"/>
                </a:moveTo>
                <a:cubicBezTo>
                  <a:pt x="1543" y="318"/>
                  <a:pt x="1511" y="350"/>
                  <a:pt x="1511" y="397"/>
                </a:cubicBezTo>
                <a:lnTo>
                  <a:pt x="1511" y="493"/>
                </a:lnTo>
                <a:cubicBezTo>
                  <a:pt x="1400" y="525"/>
                  <a:pt x="1321" y="604"/>
                  <a:pt x="1321" y="731"/>
                </a:cubicBezTo>
                <a:cubicBezTo>
                  <a:pt x="1321" y="875"/>
                  <a:pt x="1416" y="922"/>
                  <a:pt x="1527" y="970"/>
                </a:cubicBezTo>
                <a:lnTo>
                  <a:pt x="1591" y="1002"/>
                </a:lnTo>
                <a:cubicBezTo>
                  <a:pt x="1702" y="1066"/>
                  <a:pt x="1702" y="1066"/>
                  <a:pt x="1702" y="1113"/>
                </a:cubicBezTo>
                <a:cubicBezTo>
                  <a:pt x="1702" y="1161"/>
                  <a:pt x="1734" y="1193"/>
                  <a:pt x="1782" y="1193"/>
                </a:cubicBezTo>
                <a:cubicBezTo>
                  <a:pt x="1830" y="1193"/>
                  <a:pt x="1861" y="1161"/>
                  <a:pt x="1861" y="1113"/>
                </a:cubicBezTo>
                <a:cubicBezTo>
                  <a:pt x="1861" y="970"/>
                  <a:pt x="1766" y="922"/>
                  <a:pt x="1654" y="859"/>
                </a:cubicBezTo>
                <a:lnTo>
                  <a:pt x="1591" y="827"/>
                </a:lnTo>
                <a:cubicBezTo>
                  <a:pt x="1479" y="779"/>
                  <a:pt x="1479" y="763"/>
                  <a:pt x="1479" y="731"/>
                </a:cubicBezTo>
                <a:cubicBezTo>
                  <a:pt x="1479" y="652"/>
                  <a:pt x="1559" y="636"/>
                  <a:pt x="1591" y="636"/>
                </a:cubicBezTo>
                <a:cubicBezTo>
                  <a:pt x="1622" y="636"/>
                  <a:pt x="1702" y="652"/>
                  <a:pt x="1702" y="731"/>
                </a:cubicBezTo>
                <a:cubicBezTo>
                  <a:pt x="1702" y="763"/>
                  <a:pt x="1734" y="811"/>
                  <a:pt x="1782" y="811"/>
                </a:cubicBezTo>
                <a:cubicBezTo>
                  <a:pt x="1830" y="811"/>
                  <a:pt x="1861" y="763"/>
                  <a:pt x="1861" y="731"/>
                </a:cubicBezTo>
                <a:cubicBezTo>
                  <a:pt x="1861" y="604"/>
                  <a:pt x="1782" y="525"/>
                  <a:pt x="1670" y="493"/>
                </a:cubicBezTo>
                <a:lnTo>
                  <a:pt x="1670" y="397"/>
                </a:lnTo>
                <a:cubicBezTo>
                  <a:pt x="1670" y="350"/>
                  <a:pt x="1639" y="318"/>
                  <a:pt x="1591" y="31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23105653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72F4D3-622D-264A-8791-D1FC20761367}"/>
              </a:ext>
            </a:extLst>
          </p:cNvPr>
          <p:cNvSpPr>
            <a:spLocks noGrp="1"/>
          </p:cNvSpPr>
          <p:nvPr>
            <p:ph type="title"/>
          </p:nvPr>
        </p:nvSpPr>
        <p:spPr>
          <a:xfrm>
            <a:off x="1257300" y="346075"/>
            <a:ext cx="21863051" cy="1939924"/>
          </a:xfrm>
        </p:spPr>
        <p:txBody>
          <a:bodyPr/>
          <a:lstStyle/>
          <a:p>
            <a:r>
              <a:rPr lang="en-US" dirty="0"/>
              <a:t>Slide with image example</a:t>
            </a:r>
          </a:p>
        </p:txBody>
      </p:sp>
      <p:sp>
        <p:nvSpPr>
          <p:cNvPr id="3" name="Content Placeholder 2">
            <a:extLst>
              <a:ext uri="{FF2B5EF4-FFF2-40B4-BE49-F238E27FC236}">
                <a16:creationId xmlns:a16="http://schemas.microsoft.com/office/drawing/2014/main" id="{688045B7-261B-F94C-A6A8-8A90B36383E7}"/>
              </a:ext>
            </a:extLst>
          </p:cNvPr>
          <p:cNvSpPr>
            <a:spLocks noGrp="1"/>
          </p:cNvSpPr>
          <p:nvPr>
            <p:ph sz="quarter" idx="10"/>
          </p:nvPr>
        </p:nvSpPr>
        <p:spPr>
          <a:xfrm>
            <a:off x="1257300" y="2860675"/>
            <a:ext cx="14043659" cy="9471020"/>
          </a:xfrm>
        </p:spPr>
        <p:txBody>
          <a:bodyPr/>
          <a:lstStyle/>
          <a:p>
            <a:r>
              <a:rPr lang="en-US" dirty="0"/>
              <a:t>Image and content should sit within the guides of the slide and maintain comfortable margins</a:t>
            </a:r>
          </a:p>
          <a:p>
            <a:r>
              <a:rPr lang="en-US" dirty="0"/>
              <a:t>The only exception to this style is when creating a slide with edge-to-edge imagery (shown in the following slide)</a:t>
            </a:r>
          </a:p>
          <a:p>
            <a:endParaRPr lang="en-US" dirty="0"/>
          </a:p>
        </p:txBody>
      </p:sp>
      <p:pic>
        <p:nvPicPr>
          <p:cNvPr id="4" name="Content Placeholder 6">
            <a:extLst>
              <a:ext uri="{FF2B5EF4-FFF2-40B4-BE49-F238E27FC236}">
                <a16:creationId xmlns:a16="http://schemas.microsoft.com/office/drawing/2014/main" id="{A7B57F55-1EC6-1747-BC2D-C7CA1BB1E9C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648482" y="2860674"/>
            <a:ext cx="6471868" cy="9471025"/>
          </a:xfrm>
          <a:prstGeom prst="rect">
            <a:avLst/>
          </a:prstGeom>
        </p:spPr>
      </p:pic>
    </p:spTree>
    <p:extLst>
      <p:ext uri="{BB962C8B-B14F-4D97-AF65-F5344CB8AC3E}">
        <p14:creationId xmlns:p14="http://schemas.microsoft.com/office/powerpoint/2010/main" val="297333695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Medical - 1</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70" name="TextBox 69">
            <a:extLst>
              <a:ext uri="{FF2B5EF4-FFF2-40B4-BE49-F238E27FC236}">
                <a16:creationId xmlns:a16="http://schemas.microsoft.com/office/drawing/2014/main" id="{DCB37BE7-FB09-F54F-9B42-8F0EE5856FA6}"/>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29" name="TextBox 28">
            <a:extLst>
              <a:ext uri="{FF2B5EF4-FFF2-40B4-BE49-F238E27FC236}">
                <a16:creationId xmlns:a16="http://schemas.microsoft.com/office/drawing/2014/main" id="{234898F2-C72E-B941-9E39-1C7B1DCB715D}"/>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ll Flask</a:t>
            </a:r>
          </a:p>
        </p:txBody>
      </p:sp>
      <p:sp>
        <p:nvSpPr>
          <p:cNvPr id="30" name="TextBox 29">
            <a:extLst>
              <a:ext uri="{FF2B5EF4-FFF2-40B4-BE49-F238E27FC236}">
                <a16:creationId xmlns:a16="http://schemas.microsoft.com/office/drawing/2014/main" id="{3B4CD476-1077-064E-B77B-BB393BF9D7EF}"/>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est Tube 1</a:t>
            </a:r>
          </a:p>
        </p:txBody>
      </p:sp>
      <p:sp>
        <p:nvSpPr>
          <p:cNvPr id="31" name="TextBox 30">
            <a:extLst>
              <a:ext uri="{FF2B5EF4-FFF2-40B4-BE49-F238E27FC236}">
                <a16:creationId xmlns:a16="http://schemas.microsoft.com/office/drawing/2014/main" id="{922309A3-896D-654C-BE58-4B5A567078B6}"/>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nd-Aid X</a:t>
            </a:r>
          </a:p>
        </p:txBody>
      </p:sp>
      <p:sp>
        <p:nvSpPr>
          <p:cNvPr id="32" name="TextBox 31">
            <a:extLst>
              <a:ext uri="{FF2B5EF4-FFF2-40B4-BE49-F238E27FC236}">
                <a16:creationId xmlns:a16="http://schemas.microsoft.com/office/drawing/2014/main" id="{06761911-4004-2448-916D-E049CB398CA8}"/>
              </a:ext>
            </a:extLst>
          </p:cNvPr>
          <p:cNvSpPr txBox="1"/>
          <p:nvPr/>
        </p:nvSpPr>
        <p:spPr>
          <a:xfrm>
            <a:off x="12867894"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lask Tube</a:t>
            </a:r>
          </a:p>
        </p:txBody>
      </p:sp>
      <p:sp>
        <p:nvSpPr>
          <p:cNvPr id="33" name="TextBox 32">
            <a:extLst>
              <a:ext uri="{FF2B5EF4-FFF2-40B4-BE49-F238E27FC236}">
                <a16:creationId xmlns:a16="http://schemas.microsoft.com/office/drawing/2014/main" id="{616B5B12-CFE0-7545-8BCB-2BEEC55304D0}"/>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humb drive</a:t>
            </a:r>
          </a:p>
        </p:txBody>
      </p:sp>
      <p:sp>
        <p:nvSpPr>
          <p:cNvPr id="34" name="TextBox 33">
            <a:extLst>
              <a:ext uri="{FF2B5EF4-FFF2-40B4-BE49-F238E27FC236}">
                <a16:creationId xmlns:a16="http://schemas.microsoft.com/office/drawing/2014/main" id="{6C8624BE-16CE-9C4C-AAD3-A6586C78E708}"/>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ospital</a:t>
            </a:r>
          </a:p>
        </p:txBody>
      </p:sp>
      <p:sp>
        <p:nvSpPr>
          <p:cNvPr id="35" name="TextBox 34">
            <a:extLst>
              <a:ext uri="{FF2B5EF4-FFF2-40B4-BE49-F238E27FC236}">
                <a16:creationId xmlns:a16="http://schemas.microsoft.com/office/drawing/2014/main" id="{0F394ED0-6C4A-AA44-B62F-D32EB3235469}"/>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elix</a:t>
            </a:r>
          </a:p>
        </p:txBody>
      </p:sp>
      <p:sp>
        <p:nvSpPr>
          <p:cNvPr id="36" name="TextBox 35">
            <a:extLst>
              <a:ext uri="{FF2B5EF4-FFF2-40B4-BE49-F238E27FC236}">
                <a16:creationId xmlns:a16="http://schemas.microsoft.com/office/drawing/2014/main" id="{624A6EFB-9D24-E14D-B406-B2B17673C051}"/>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rain</a:t>
            </a:r>
          </a:p>
        </p:txBody>
      </p:sp>
      <p:sp>
        <p:nvSpPr>
          <p:cNvPr id="37" name="TextBox 36">
            <a:extLst>
              <a:ext uri="{FF2B5EF4-FFF2-40B4-BE49-F238E27FC236}">
                <a16:creationId xmlns:a16="http://schemas.microsoft.com/office/drawing/2014/main" id="{A24C4D0F-AB3E-4C4F-9ACE-901B7A357EB5}"/>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edic Box</a:t>
            </a:r>
          </a:p>
        </p:txBody>
      </p:sp>
      <p:sp>
        <p:nvSpPr>
          <p:cNvPr id="38" name="TextBox 37">
            <a:extLst>
              <a:ext uri="{FF2B5EF4-FFF2-40B4-BE49-F238E27FC236}">
                <a16:creationId xmlns:a16="http://schemas.microsoft.com/office/drawing/2014/main" id="{62E7684C-7B04-5E40-91AE-85D33AD6B795}"/>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oison</a:t>
            </a:r>
          </a:p>
        </p:txBody>
      </p:sp>
      <p:sp>
        <p:nvSpPr>
          <p:cNvPr id="39" name="TextBox 38">
            <a:extLst>
              <a:ext uri="{FF2B5EF4-FFF2-40B4-BE49-F238E27FC236}">
                <a16:creationId xmlns:a16="http://schemas.microsoft.com/office/drawing/2014/main" id="{26DF77DE-84CD-0A40-9E6E-1CB27382B945}"/>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ego</a:t>
            </a:r>
          </a:p>
        </p:txBody>
      </p:sp>
      <p:sp>
        <p:nvSpPr>
          <p:cNvPr id="40" name="TextBox 39">
            <a:extLst>
              <a:ext uri="{FF2B5EF4-FFF2-40B4-BE49-F238E27FC236}">
                <a16:creationId xmlns:a16="http://schemas.microsoft.com/office/drawing/2014/main" id="{8504C4D5-AEF0-0447-AAD3-7D46FE76EE7A}"/>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ethoscope</a:t>
            </a:r>
          </a:p>
        </p:txBody>
      </p:sp>
      <p:sp>
        <p:nvSpPr>
          <p:cNvPr id="41" name="TextBox 40">
            <a:extLst>
              <a:ext uri="{FF2B5EF4-FFF2-40B4-BE49-F238E27FC236}">
                <a16:creationId xmlns:a16="http://schemas.microsoft.com/office/drawing/2014/main" id="{AA32F690-BD69-7841-88C7-495675FD0977}"/>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mbulance</a:t>
            </a:r>
          </a:p>
        </p:txBody>
      </p:sp>
      <p:sp>
        <p:nvSpPr>
          <p:cNvPr id="42" name="TextBox 41">
            <a:extLst>
              <a:ext uri="{FF2B5EF4-FFF2-40B4-BE49-F238E27FC236}">
                <a16:creationId xmlns:a16="http://schemas.microsoft.com/office/drawing/2014/main" id="{BD9032B6-CC1E-E64B-A439-B0FBF287CFB4}"/>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olecule</a:t>
            </a:r>
          </a:p>
        </p:txBody>
      </p:sp>
      <p:sp>
        <p:nvSpPr>
          <p:cNvPr id="44" name="Freeform: Shape 26">
            <a:extLst>
              <a:ext uri="{FF2B5EF4-FFF2-40B4-BE49-F238E27FC236}">
                <a16:creationId xmlns:a16="http://schemas.microsoft.com/office/drawing/2014/main" id="{01FB7E03-5342-C94A-8380-64A339E59B11}"/>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5" name="TextBox 44">
            <a:extLst>
              <a:ext uri="{FF2B5EF4-FFF2-40B4-BE49-F238E27FC236}">
                <a16:creationId xmlns:a16="http://schemas.microsoft.com/office/drawing/2014/main" id="{F057A9A1-D8FE-FC40-A9E8-EF00B4177306}"/>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emperature</a:t>
            </a:r>
          </a:p>
        </p:txBody>
      </p:sp>
      <p:sp>
        <p:nvSpPr>
          <p:cNvPr id="46" name="TextBox 45">
            <a:extLst>
              <a:ext uri="{FF2B5EF4-FFF2-40B4-BE49-F238E27FC236}">
                <a16:creationId xmlns:a16="http://schemas.microsoft.com/office/drawing/2014/main" id="{98DEA1BE-3A9C-454C-83AE-1B8592FD7DB3}"/>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ill</a:t>
            </a:r>
          </a:p>
        </p:txBody>
      </p:sp>
      <p:sp>
        <p:nvSpPr>
          <p:cNvPr id="47" name="TextBox 46">
            <a:extLst>
              <a:ext uri="{FF2B5EF4-FFF2-40B4-BE49-F238E27FC236}">
                <a16:creationId xmlns:a16="http://schemas.microsoft.com/office/drawing/2014/main" id="{F8BB7A8B-1CEA-B24E-A219-E4714F58EC67}"/>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onnect</a:t>
            </a:r>
          </a:p>
        </p:txBody>
      </p:sp>
      <p:sp>
        <p:nvSpPr>
          <p:cNvPr id="48" name="Freeform: Shape 13">
            <a:extLst>
              <a:ext uri="{FF2B5EF4-FFF2-40B4-BE49-F238E27FC236}">
                <a16:creationId xmlns:a16="http://schemas.microsoft.com/office/drawing/2014/main" id="{D8D4F98E-4181-E645-B76F-FF757104596D}"/>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9" name="Freeform: Shape 1">
            <a:extLst>
              <a:ext uri="{FF2B5EF4-FFF2-40B4-BE49-F238E27FC236}">
                <a16:creationId xmlns:a16="http://schemas.microsoft.com/office/drawing/2014/main" id="{9C847200-C67A-B04E-B551-27FD553FA333}"/>
              </a:ext>
            </a:extLst>
          </p:cNvPr>
          <p:cNvSpPr/>
          <p:nvPr/>
        </p:nvSpPr>
        <p:spPr>
          <a:xfrm>
            <a:off x="14132198" y="3061484"/>
            <a:ext cx="1301040" cy="1545480"/>
          </a:xfrm>
          <a:custGeom>
            <a:avLst/>
            <a:gdLst/>
            <a:ahLst/>
            <a:cxnLst>
              <a:cxn ang="3cd4">
                <a:pos x="hc" y="t"/>
              </a:cxn>
              <a:cxn ang="cd2">
                <a:pos x="l" y="vc"/>
              </a:cxn>
              <a:cxn ang="cd4">
                <a:pos x="hc" y="b"/>
              </a:cxn>
              <a:cxn ang="0">
                <a:pos x="r" y="vc"/>
              </a:cxn>
            </a:cxnLst>
            <a:rect l="l" t="t" r="r" b="b"/>
            <a:pathLst>
              <a:path w="3615" h="4294">
                <a:moveTo>
                  <a:pt x="956" y="2020"/>
                </a:moveTo>
                <a:lnTo>
                  <a:pt x="97" y="3324"/>
                </a:lnTo>
                <a:cubicBezTo>
                  <a:pt x="-30" y="3531"/>
                  <a:pt x="-30" y="3770"/>
                  <a:pt x="81" y="3976"/>
                </a:cubicBezTo>
                <a:cubicBezTo>
                  <a:pt x="193" y="4183"/>
                  <a:pt x="399" y="4294"/>
                  <a:pt x="622" y="4294"/>
                </a:cubicBezTo>
                <a:lnTo>
                  <a:pt x="2992" y="4294"/>
                </a:lnTo>
                <a:cubicBezTo>
                  <a:pt x="3215" y="4294"/>
                  <a:pt x="3422" y="4183"/>
                  <a:pt x="3533" y="3976"/>
                </a:cubicBezTo>
                <a:cubicBezTo>
                  <a:pt x="3644" y="3770"/>
                  <a:pt x="3644" y="3531"/>
                  <a:pt x="3517" y="3324"/>
                </a:cubicBezTo>
                <a:lnTo>
                  <a:pt x="2658" y="2020"/>
                </a:lnTo>
                <a:cubicBezTo>
                  <a:pt x="2547" y="1845"/>
                  <a:pt x="2483" y="1654"/>
                  <a:pt x="2483" y="1447"/>
                </a:cubicBezTo>
                <a:lnTo>
                  <a:pt x="2483" y="747"/>
                </a:lnTo>
                <a:cubicBezTo>
                  <a:pt x="2483" y="620"/>
                  <a:pt x="2531" y="477"/>
                  <a:pt x="2595" y="366"/>
                </a:cubicBezTo>
                <a:cubicBezTo>
                  <a:pt x="2626" y="286"/>
                  <a:pt x="2642" y="191"/>
                  <a:pt x="2595" y="127"/>
                </a:cubicBezTo>
                <a:cubicBezTo>
                  <a:pt x="2547" y="48"/>
                  <a:pt x="2467" y="0"/>
                  <a:pt x="2387" y="0"/>
                </a:cubicBezTo>
                <a:lnTo>
                  <a:pt x="1226" y="0"/>
                </a:lnTo>
                <a:cubicBezTo>
                  <a:pt x="1147" y="0"/>
                  <a:pt x="1068" y="48"/>
                  <a:pt x="1020" y="127"/>
                </a:cubicBezTo>
                <a:cubicBezTo>
                  <a:pt x="972" y="191"/>
                  <a:pt x="972" y="286"/>
                  <a:pt x="1020" y="366"/>
                </a:cubicBezTo>
                <a:cubicBezTo>
                  <a:pt x="1083" y="477"/>
                  <a:pt x="1131" y="620"/>
                  <a:pt x="1131" y="747"/>
                </a:cubicBezTo>
                <a:lnTo>
                  <a:pt x="1131" y="1447"/>
                </a:lnTo>
                <a:cubicBezTo>
                  <a:pt x="1131" y="1654"/>
                  <a:pt x="1068" y="1845"/>
                  <a:pt x="956" y="2020"/>
                </a:cubicBezTo>
                <a:close/>
                <a:moveTo>
                  <a:pt x="1195" y="270"/>
                </a:moveTo>
                <a:cubicBezTo>
                  <a:pt x="1179" y="238"/>
                  <a:pt x="1179" y="223"/>
                  <a:pt x="1195" y="223"/>
                </a:cubicBezTo>
                <a:cubicBezTo>
                  <a:pt x="1195" y="207"/>
                  <a:pt x="1211" y="191"/>
                  <a:pt x="1226" y="191"/>
                </a:cubicBezTo>
                <a:lnTo>
                  <a:pt x="2387" y="191"/>
                </a:lnTo>
                <a:cubicBezTo>
                  <a:pt x="2404" y="191"/>
                  <a:pt x="2419" y="207"/>
                  <a:pt x="2419" y="223"/>
                </a:cubicBezTo>
                <a:cubicBezTo>
                  <a:pt x="2419" y="239"/>
                  <a:pt x="2435" y="238"/>
                  <a:pt x="2419" y="270"/>
                </a:cubicBezTo>
                <a:cubicBezTo>
                  <a:pt x="2340" y="413"/>
                  <a:pt x="2292" y="589"/>
                  <a:pt x="2292" y="747"/>
                </a:cubicBezTo>
                <a:lnTo>
                  <a:pt x="2292" y="1447"/>
                </a:lnTo>
                <a:cubicBezTo>
                  <a:pt x="2292" y="1686"/>
                  <a:pt x="2356" y="1925"/>
                  <a:pt x="2499" y="2131"/>
                </a:cubicBezTo>
                <a:lnTo>
                  <a:pt x="3342" y="3436"/>
                </a:lnTo>
                <a:cubicBezTo>
                  <a:pt x="3437" y="3579"/>
                  <a:pt x="3437" y="3738"/>
                  <a:pt x="3358" y="3881"/>
                </a:cubicBezTo>
                <a:cubicBezTo>
                  <a:pt x="3294" y="4024"/>
                  <a:pt x="3151" y="4104"/>
                  <a:pt x="2992" y="4104"/>
                </a:cubicBezTo>
                <a:lnTo>
                  <a:pt x="622" y="4104"/>
                </a:lnTo>
                <a:cubicBezTo>
                  <a:pt x="463" y="4104"/>
                  <a:pt x="320" y="4024"/>
                  <a:pt x="240" y="3881"/>
                </a:cubicBezTo>
                <a:cubicBezTo>
                  <a:pt x="161" y="3738"/>
                  <a:pt x="177" y="3579"/>
                  <a:pt x="256" y="3436"/>
                </a:cubicBezTo>
                <a:lnTo>
                  <a:pt x="1115" y="2131"/>
                </a:lnTo>
                <a:cubicBezTo>
                  <a:pt x="1243" y="1925"/>
                  <a:pt x="1322" y="1686"/>
                  <a:pt x="1322" y="1447"/>
                </a:cubicBezTo>
                <a:lnTo>
                  <a:pt x="1322" y="747"/>
                </a:lnTo>
                <a:cubicBezTo>
                  <a:pt x="1322" y="589"/>
                  <a:pt x="1274" y="413"/>
                  <a:pt x="1195" y="270"/>
                </a:cubicBezTo>
                <a:close/>
                <a:moveTo>
                  <a:pt x="1052" y="2562"/>
                </a:moveTo>
                <a:lnTo>
                  <a:pt x="431" y="3548"/>
                </a:lnTo>
                <a:cubicBezTo>
                  <a:pt x="384" y="3611"/>
                  <a:pt x="384" y="3707"/>
                  <a:pt x="416" y="3771"/>
                </a:cubicBezTo>
                <a:cubicBezTo>
                  <a:pt x="463" y="3850"/>
                  <a:pt x="527" y="3882"/>
                  <a:pt x="606" y="3882"/>
                </a:cubicBezTo>
                <a:lnTo>
                  <a:pt x="2992" y="3882"/>
                </a:lnTo>
                <a:cubicBezTo>
                  <a:pt x="3071" y="3882"/>
                  <a:pt x="3151" y="3850"/>
                  <a:pt x="3199" y="3771"/>
                </a:cubicBezTo>
                <a:cubicBezTo>
                  <a:pt x="3231" y="3707"/>
                  <a:pt x="3231" y="3611"/>
                  <a:pt x="3183" y="3548"/>
                </a:cubicBezTo>
                <a:lnTo>
                  <a:pt x="2562" y="2578"/>
                </a:lnTo>
                <a:cubicBezTo>
                  <a:pt x="2515" y="2514"/>
                  <a:pt x="2452" y="2466"/>
                  <a:pt x="2356" y="2466"/>
                </a:cubicBezTo>
                <a:lnTo>
                  <a:pt x="2340" y="2466"/>
                </a:lnTo>
                <a:cubicBezTo>
                  <a:pt x="2308" y="2482"/>
                  <a:pt x="2292" y="2482"/>
                  <a:pt x="2276" y="2482"/>
                </a:cubicBezTo>
                <a:cubicBezTo>
                  <a:pt x="2244" y="2482"/>
                  <a:pt x="2229" y="2498"/>
                  <a:pt x="2133" y="2498"/>
                </a:cubicBezTo>
                <a:cubicBezTo>
                  <a:pt x="2038" y="2498"/>
                  <a:pt x="1943" y="2466"/>
                  <a:pt x="1847" y="2450"/>
                </a:cubicBezTo>
                <a:cubicBezTo>
                  <a:pt x="1704" y="2419"/>
                  <a:pt x="1497" y="2371"/>
                  <a:pt x="1258" y="2435"/>
                </a:cubicBezTo>
                <a:cubicBezTo>
                  <a:pt x="1163" y="2450"/>
                  <a:pt x="1099" y="2498"/>
                  <a:pt x="1052" y="2562"/>
                </a:cubicBezTo>
                <a:close/>
                <a:moveTo>
                  <a:pt x="1497" y="2593"/>
                </a:moveTo>
                <a:cubicBezTo>
                  <a:pt x="1608" y="2593"/>
                  <a:pt x="1704" y="2610"/>
                  <a:pt x="1815" y="2641"/>
                </a:cubicBezTo>
                <a:cubicBezTo>
                  <a:pt x="1910" y="2657"/>
                  <a:pt x="2006" y="2689"/>
                  <a:pt x="2133" y="2689"/>
                </a:cubicBezTo>
                <a:cubicBezTo>
                  <a:pt x="2229" y="2689"/>
                  <a:pt x="2276" y="2673"/>
                  <a:pt x="2308" y="2673"/>
                </a:cubicBezTo>
                <a:cubicBezTo>
                  <a:pt x="2324" y="2673"/>
                  <a:pt x="2340" y="2673"/>
                  <a:pt x="2356" y="2657"/>
                </a:cubicBezTo>
                <a:cubicBezTo>
                  <a:pt x="2372" y="2657"/>
                  <a:pt x="2387" y="2673"/>
                  <a:pt x="2404" y="2689"/>
                </a:cubicBezTo>
                <a:lnTo>
                  <a:pt x="3024" y="3659"/>
                </a:lnTo>
                <a:lnTo>
                  <a:pt x="3024" y="3675"/>
                </a:lnTo>
                <a:cubicBezTo>
                  <a:pt x="3024" y="3691"/>
                  <a:pt x="3008" y="3691"/>
                  <a:pt x="2992" y="3691"/>
                </a:cubicBezTo>
                <a:lnTo>
                  <a:pt x="606" y="3691"/>
                </a:lnTo>
                <a:cubicBezTo>
                  <a:pt x="601" y="3685"/>
                  <a:pt x="590" y="3691"/>
                  <a:pt x="590" y="3675"/>
                </a:cubicBezTo>
                <a:cubicBezTo>
                  <a:pt x="590" y="3669"/>
                  <a:pt x="574" y="3659"/>
                  <a:pt x="590" y="3659"/>
                </a:cubicBezTo>
                <a:lnTo>
                  <a:pt x="1226" y="2673"/>
                </a:lnTo>
                <a:cubicBezTo>
                  <a:pt x="1243" y="2641"/>
                  <a:pt x="1258" y="2626"/>
                  <a:pt x="1290" y="2610"/>
                </a:cubicBezTo>
                <a:cubicBezTo>
                  <a:pt x="1370" y="2610"/>
                  <a:pt x="1434" y="2593"/>
                  <a:pt x="1497" y="259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0" name="Freeform: Shape 2">
            <a:extLst>
              <a:ext uri="{FF2B5EF4-FFF2-40B4-BE49-F238E27FC236}">
                <a16:creationId xmlns:a16="http://schemas.microsoft.com/office/drawing/2014/main" id="{61EAB8D4-1744-CD44-B00B-1B546537F7BE}"/>
              </a:ext>
            </a:extLst>
          </p:cNvPr>
          <p:cNvSpPr/>
          <p:nvPr/>
        </p:nvSpPr>
        <p:spPr>
          <a:xfrm>
            <a:off x="1664505" y="9567867"/>
            <a:ext cx="1772639" cy="1702440"/>
          </a:xfrm>
          <a:custGeom>
            <a:avLst/>
            <a:gdLst/>
            <a:ahLst/>
            <a:cxnLst>
              <a:cxn ang="3cd4">
                <a:pos x="hc" y="t"/>
              </a:cxn>
              <a:cxn ang="cd2">
                <a:pos x="l" y="vc"/>
              </a:cxn>
              <a:cxn ang="cd4">
                <a:pos x="hc" y="b"/>
              </a:cxn>
              <a:cxn ang="0">
                <a:pos x="r" y="vc"/>
              </a:cxn>
            </a:cxnLst>
            <a:rect l="l" t="t" r="r" b="b"/>
            <a:pathLst>
              <a:path w="4925" h="4730">
                <a:moveTo>
                  <a:pt x="2468" y="1596"/>
                </a:moveTo>
                <a:cubicBezTo>
                  <a:pt x="2087" y="1596"/>
                  <a:pt x="1784" y="1898"/>
                  <a:pt x="1784" y="2264"/>
                </a:cubicBezTo>
                <a:cubicBezTo>
                  <a:pt x="1784" y="2646"/>
                  <a:pt x="2087" y="2948"/>
                  <a:pt x="2468" y="2948"/>
                </a:cubicBezTo>
                <a:cubicBezTo>
                  <a:pt x="2834" y="2948"/>
                  <a:pt x="3136" y="2646"/>
                  <a:pt x="3136" y="2264"/>
                </a:cubicBezTo>
                <a:cubicBezTo>
                  <a:pt x="3136" y="1898"/>
                  <a:pt x="2834" y="1596"/>
                  <a:pt x="2468" y="1596"/>
                </a:cubicBezTo>
                <a:close/>
                <a:moveTo>
                  <a:pt x="2468" y="2789"/>
                </a:moveTo>
                <a:cubicBezTo>
                  <a:pt x="2182" y="2789"/>
                  <a:pt x="1944" y="2551"/>
                  <a:pt x="1944" y="2264"/>
                </a:cubicBezTo>
                <a:cubicBezTo>
                  <a:pt x="1944" y="1994"/>
                  <a:pt x="2182" y="1755"/>
                  <a:pt x="2468" y="1755"/>
                </a:cubicBezTo>
                <a:cubicBezTo>
                  <a:pt x="2754" y="1755"/>
                  <a:pt x="2977" y="1994"/>
                  <a:pt x="2977" y="2264"/>
                </a:cubicBezTo>
                <a:cubicBezTo>
                  <a:pt x="2977" y="2551"/>
                  <a:pt x="2754" y="2789"/>
                  <a:pt x="2468" y="2789"/>
                </a:cubicBezTo>
                <a:close/>
                <a:moveTo>
                  <a:pt x="3438" y="6"/>
                </a:moveTo>
                <a:cubicBezTo>
                  <a:pt x="3391" y="-11"/>
                  <a:pt x="3343" y="6"/>
                  <a:pt x="3327" y="53"/>
                </a:cubicBezTo>
                <a:lnTo>
                  <a:pt x="2818" y="1135"/>
                </a:lnTo>
                <a:lnTo>
                  <a:pt x="2818" y="1198"/>
                </a:lnTo>
                <a:cubicBezTo>
                  <a:pt x="2834" y="1215"/>
                  <a:pt x="2850" y="1230"/>
                  <a:pt x="2866" y="1230"/>
                </a:cubicBezTo>
                <a:cubicBezTo>
                  <a:pt x="3343" y="1421"/>
                  <a:pt x="3629" y="1898"/>
                  <a:pt x="3566" y="2391"/>
                </a:cubicBezTo>
                <a:cubicBezTo>
                  <a:pt x="3566" y="2407"/>
                  <a:pt x="3566" y="2439"/>
                  <a:pt x="3582" y="2455"/>
                </a:cubicBezTo>
                <a:cubicBezTo>
                  <a:pt x="3598" y="2471"/>
                  <a:pt x="3614" y="2487"/>
                  <a:pt x="3645" y="2487"/>
                </a:cubicBezTo>
                <a:lnTo>
                  <a:pt x="4838" y="2534"/>
                </a:lnTo>
                <a:cubicBezTo>
                  <a:pt x="4870" y="2534"/>
                  <a:pt x="4918" y="2503"/>
                  <a:pt x="4918" y="2455"/>
                </a:cubicBezTo>
                <a:cubicBezTo>
                  <a:pt x="4998" y="1405"/>
                  <a:pt x="4409" y="435"/>
                  <a:pt x="3438" y="6"/>
                </a:cubicBezTo>
                <a:close/>
                <a:moveTo>
                  <a:pt x="4759" y="2376"/>
                </a:moveTo>
                <a:lnTo>
                  <a:pt x="3725" y="2328"/>
                </a:lnTo>
                <a:cubicBezTo>
                  <a:pt x="3757" y="1819"/>
                  <a:pt x="3471" y="1342"/>
                  <a:pt x="3009" y="1119"/>
                </a:cubicBezTo>
                <a:lnTo>
                  <a:pt x="3438" y="197"/>
                </a:lnTo>
                <a:cubicBezTo>
                  <a:pt x="4281" y="578"/>
                  <a:pt x="4806" y="1437"/>
                  <a:pt x="4759" y="2376"/>
                </a:cubicBezTo>
                <a:close/>
                <a:moveTo>
                  <a:pt x="1355" y="2503"/>
                </a:moveTo>
                <a:cubicBezTo>
                  <a:pt x="1371" y="2487"/>
                  <a:pt x="1371" y="2471"/>
                  <a:pt x="1371" y="2455"/>
                </a:cubicBezTo>
                <a:cubicBezTo>
                  <a:pt x="1291" y="1962"/>
                  <a:pt x="1546" y="1469"/>
                  <a:pt x="2007" y="1262"/>
                </a:cubicBezTo>
                <a:cubicBezTo>
                  <a:pt x="2023" y="1246"/>
                  <a:pt x="2039" y="1230"/>
                  <a:pt x="2055" y="1215"/>
                </a:cubicBezTo>
                <a:cubicBezTo>
                  <a:pt x="2055" y="1198"/>
                  <a:pt x="2055" y="1167"/>
                  <a:pt x="2039" y="1151"/>
                </a:cubicBezTo>
                <a:lnTo>
                  <a:pt x="1482" y="101"/>
                </a:lnTo>
                <a:cubicBezTo>
                  <a:pt x="1466" y="69"/>
                  <a:pt x="1418" y="53"/>
                  <a:pt x="1371" y="69"/>
                </a:cubicBezTo>
                <a:cubicBezTo>
                  <a:pt x="432" y="530"/>
                  <a:pt x="-109" y="1548"/>
                  <a:pt x="19" y="2582"/>
                </a:cubicBezTo>
                <a:cubicBezTo>
                  <a:pt x="35" y="2630"/>
                  <a:pt x="66" y="2662"/>
                  <a:pt x="99" y="2662"/>
                </a:cubicBezTo>
                <a:lnTo>
                  <a:pt x="114" y="2662"/>
                </a:lnTo>
                <a:lnTo>
                  <a:pt x="1291" y="2534"/>
                </a:lnTo>
                <a:cubicBezTo>
                  <a:pt x="1323" y="2534"/>
                  <a:pt x="1339" y="2534"/>
                  <a:pt x="1355" y="2503"/>
                </a:cubicBezTo>
                <a:close/>
                <a:moveTo>
                  <a:pt x="178" y="2487"/>
                </a:moveTo>
                <a:cubicBezTo>
                  <a:pt x="82" y="1564"/>
                  <a:pt x="560" y="673"/>
                  <a:pt x="1371" y="244"/>
                </a:cubicBezTo>
                <a:lnTo>
                  <a:pt x="1864" y="1151"/>
                </a:lnTo>
                <a:cubicBezTo>
                  <a:pt x="1418" y="1389"/>
                  <a:pt x="1148" y="1882"/>
                  <a:pt x="1196" y="2391"/>
                </a:cubicBezTo>
                <a:close/>
                <a:moveTo>
                  <a:pt x="1783" y="3155"/>
                </a:moveTo>
                <a:cubicBezTo>
                  <a:pt x="1768" y="3139"/>
                  <a:pt x="1751" y="3139"/>
                  <a:pt x="1720" y="3139"/>
                </a:cubicBezTo>
                <a:cubicBezTo>
                  <a:pt x="1704" y="3139"/>
                  <a:pt x="1688" y="3155"/>
                  <a:pt x="1672" y="3171"/>
                </a:cubicBezTo>
                <a:lnTo>
                  <a:pt x="1020" y="4157"/>
                </a:lnTo>
                <a:cubicBezTo>
                  <a:pt x="988" y="4205"/>
                  <a:pt x="1004" y="4252"/>
                  <a:pt x="1036" y="4268"/>
                </a:cubicBezTo>
                <a:cubicBezTo>
                  <a:pt x="1465" y="4570"/>
                  <a:pt x="1958" y="4730"/>
                  <a:pt x="2467" y="4730"/>
                </a:cubicBezTo>
                <a:cubicBezTo>
                  <a:pt x="2961" y="4730"/>
                  <a:pt x="3470" y="4570"/>
                  <a:pt x="3899" y="4268"/>
                </a:cubicBezTo>
                <a:cubicBezTo>
                  <a:pt x="3931" y="4252"/>
                  <a:pt x="3931" y="4205"/>
                  <a:pt x="3915" y="4157"/>
                </a:cubicBezTo>
                <a:lnTo>
                  <a:pt x="3247" y="3171"/>
                </a:lnTo>
                <a:cubicBezTo>
                  <a:pt x="3247" y="3155"/>
                  <a:pt x="3215" y="3139"/>
                  <a:pt x="3199" y="3139"/>
                </a:cubicBezTo>
                <a:cubicBezTo>
                  <a:pt x="3183" y="3139"/>
                  <a:pt x="3151" y="3139"/>
                  <a:pt x="3135" y="3155"/>
                </a:cubicBezTo>
                <a:cubicBezTo>
                  <a:pt x="2738" y="3457"/>
                  <a:pt x="2181" y="3457"/>
                  <a:pt x="1783" y="3155"/>
                </a:cubicBezTo>
                <a:close/>
                <a:moveTo>
                  <a:pt x="3167" y="3330"/>
                </a:moveTo>
                <a:lnTo>
                  <a:pt x="3740" y="4189"/>
                </a:lnTo>
                <a:cubicBezTo>
                  <a:pt x="2961" y="4698"/>
                  <a:pt x="1958" y="4698"/>
                  <a:pt x="1195" y="4189"/>
                </a:cubicBezTo>
                <a:lnTo>
                  <a:pt x="1751" y="3330"/>
                </a:lnTo>
                <a:cubicBezTo>
                  <a:pt x="2181" y="3616"/>
                  <a:pt x="2738" y="3616"/>
                  <a:pt x="3167" y="333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1" name="Freeform: Shape 3">
            <a:extLst>
              <a:ext uri="{FF2B5EF4-FFF2-40B4-BE49-F238E27FC236}">
                <a16:creationId xmlns:a16="http://schemas.microsoft.com/office/drawing/2014/main" id="{43B8A85C-00AD-224A-A310-CB2BE8477125}"/>
              </a:ext>
            </a:extLst>
          </p:cNvPr>
          <p:cNvSpPr/>
          <p:nvPr/>
        </p:nvSpPr>
        <p:spPr>
          <a:xfrm>
            <a:off x="13943544" y="9856228"/>
            <a:ext cx="1717560" cy="1127519"/>
          </a:xfrm>
          <a:custGeom>
            <a:avLst/>
            <a:gdLst/>
            <a:ahLst/>
            <a:cxnLst>
              <a:cxn ang="3cd4">
                <a:pos x="hc" y="t"/>
              </a:cxn>
              <a:cxn ang="cd2">
                <a:pos x="l" y="vc"/>
              </a:cxn>
              <a:cxn ang="cd4">
                <a:pos x="hc" y="b"/>
              </a:cxn>
              <a:cxn ang="0">
                <a:pos x="r" y="vc"/>
              </a:cxn>
            </a:cxnLst>
            <a:rect l="l" t="t" r="r" b="b"/>
            <a:pathLst>
              <a:path w="4772" h="3133">
                <a:moveTo>
                  <a:pt x="4693" y="318"/>
                </a:moveTo>
                <a:lnTo>
                  <a:pt x="1909" y="318"/>
                </a:lnTo>
                <a:lnTo>
                  <a:pt x="1909" y="79"/>
                </a:lnTo>
                <a:cubicBezTo>
                  <a:pt x="1909" y="32"/>
                  <a:pt x="1877" y="0"/>
                  <a:pt x="1830" y="0"/>
                </a:cubicBezTo>
                <a:lnTo>
                  <a:pt x="1511" y="0"/>
                </a:lnTo>
                <a:cubicBezTo>
                  <a:pt x="1464" y="0"/>
                  <a:pt x="1431" y="32"/>
                  <a:pt x="1431" y="79"/>
                </a:cubicBezTo>
                <a:lnTo>
                  <a:pt x="1431" y="318"/>
                </a:lnTo>
                <a:lnTo>
                  <a:pt x="1113" y="318"/>
                </a:lnTo>
                <a:cubicBezTo>
                  <a:pt x="716" y="318"/>
                  <a:pt x="477" y="588"/>
                  <a:pt x="477" y="1050"/>
                </a:cubicBezTo>
                <a:lnTo>
                  <a:pt x="477" y="1399"/>
                </a:lnTo>
                <a:lnTo>
                  <a:pt x="48" y="1590"/>
                </a:lnTo>
                <a:cubicBezTo>
                  <a:pt x="16" y="1590"/>
                  <a:pt x="0" y="1622"/>
                  <a:pt x="0" y="1654"/>
                </a:cubicBezTo>
                <a:lnTo>
                  <a:pt x="0" y="2783"/>
                </a:lnTo>
                <a:cubicBezTo>
                  <a:pt x="0" y="2815"/>
                  <a:pt x="32" y="2863"/>
                  <a:pt x="80" y="2863"/>
                </a:cubicBezTo>
                <a:lnTo>
                  <a:pt x="525" y="2863"/>
                </a:lnTo>
                <a:cubicBezTo>
                  <a:pt x="604" y="3022"/>
                  <a:pt x="764" y="3133"/>
                  <a:pt x="955" y="3133"/>
                </a:cubicBezTo>
                <a:cubicBezTo>
                  <a:pt x="1145" y="3133"/>
                  <a:pt x="1321" y="3022"/>
                  <a:pt x="1384" y="2863"/>
                </a:cubicBezTo>
                <a:lnTo>
                  <a:pt x="3499" y="2863"/>
                </a:lnTo>
                <a:cubicBezTo>
                  <a:pt x="3579" y="3022"/>
                  <a:pt x="3754" y="3133"/>
                  <a:pt x="3945" y="3133"/>
                </a:cubicBezTo>
                <a:cubicBezTo>
                  <a:pt x="4136" y="3133"/>
                  <a:pt x="4295" y="3022"/>
                  <a:pt x="4374" y="2863"/>
                </a:cubicBezTo>
                <a:lnTo>
                  <a:pt x="4693" y="2863"/>
                </a:lnTo>
                <a:cubicBezTo>
                  <a:pt x="4724" y="2863"/>
                  <a:pt x="4772" y="2815"/>
                  <a:pt x="4772" y="2783"/>
                </a:cubicBezTo>
                <a:lnTo>
                  <a:pt x="4772" y="397"/>
                </a:lnTo>
                <a:cubicBezTo>
                  <a:pt x="4772" y="350"/>
                  <a:pt x="4724" y="318"/>
                  <a:pt x="4693" y="318"/>
                </a:cubicBezTo>
                <a:close/>
                <a:moveTo>
                  <a:pt x="1591" y="159"/>
                </a:moveTo>
                <a:lnTo>
                  <a:pt x="1750" y="159"/>
                </a:lnTo>
                <a:lnTo>
                  <a:pt x="1750" y="318"/>
                </a:lnTo>
                <a:lnTo>
                  <a:pt x="1591" y="318"/>
                </a:lnTo>
                <a:close/>
                <a:moveTo>
                  <a:pt x="955" y="2974"/>
                </a:moveTo>
                <a:cubicBezTo>
                  <a:pt x="779" y="2974"/>
                  <a:pt x="636" y="2831"/>
                  <a:pt x="636" y="2656"/>
                </a:cubicBezTo>
                <a:cubicBezTo>
                  <a:pt x="636" y="2481"/>
                  <a:pt x="779" y="2338"/>
                  <a:pt x="955" y="2338"/>
                </a:cubicBezTo>
                <a:cubicBezTo>
                  <a:pt x="1130" y="2338"/>
                  <a:pt x="1273" y="2481"/>
                  <a:pt x="1273" y="2656"/>
                </a:cubicBezTo>
                <a:cubicBezTo>
                  <a:pt x="1273" y="2831"/>
                  <a:pt x="1130" y="2974"/>
                  <a:pt x="955" y="2974"/>
                </a:cubicBezTo>
                <a:close/>
                <a:moveTo>
                  <a:pt x="3945" y="2974"/>
                </a:moveTo>
                <a:cubicBezTo>
                  <a:pt x="3802" y="2974"/>
                  <a:pt x="3690" y="2895"/>
                  <a:pt x="3643" y="2768"/>
                </a:cubicBezTo>
                <a:cubicBezTo>
                  <a:pt x="3643" y="2751"/>
                  <a:pt x="3643" y="2751"/>
                  <a:pt x="3627" y="2736"/>
                </a:cubicBezTo>
                <a:lnTo>
                  <a:pt x="3627" y="2656"/>
                </a:lnTo>
                <a:cubicBezTo>
                  <a:pt x="3627" y="2481"/>
                  <a:pt x="3770" y="2338"/>
                  <a:pt x="3945" y="2338"/>
                </a:cubicBezTo>
                <a:cubicBezTo>
                  <a:pt x="4120" y="2338"/>
                  <a:pt x="4263" y="2481"/>
                  <a:pt x="4263" y="2656"/>
                </a:cubicBezTo>
                <a:cubicBezTo>
                  <a:pt x="4263" y="2831"/>
                  <a:pt x="4120" y="2974"/>
                  <a:pt x="3945" y="2974"/>
                </a:cubicBezTo>
                <a:close/>
                <a:moveTo>
                  <a:pt x="3945" y="2179"/>
                </a:moveTo>
                <a:cubicBezTo>
                  <a:pt x="3675" y="2179"/>
                  <a:pt x="3467" y="2402"/>
                  <a:pt x="3467" y="2656"/>
                </a:cubicBezTo>
                <a:lnTo>
                  <a:pt x="3467" y="2704"/>
                </a:lnTo>
                <a:lnTo>
                  <a:pt x="1431" y="2704"/>
                </a:lnTo>
                <a:lnTo>
                  <a:pt x="1431" y="2656"/>
                </a:lnTo>
                <a:cubicBezTo>
                  <a:pt x="1431" y="2402"/>
                  <a:pt x="1225" y="2179"/>
                  <a:pt x="955" y="2179"/>
                </a:cubicBezTo>
                <a:cubicBezTo>
                  <a:pt x="700" y="2179"/>
                  <a:pt x="477" y="2402"/>
                  <a:pt x="477" y="2656"/>
                </a:cubicBezTo>
                <a:cubicBezTo>
                  <a:pt x="477" y="2672"/>
                  <a:pt x="477" y="2688"/>
                  <a:pt x="493" y="2704"/>
                </a:cubicBezTo>
                <a:lnTo>
                  <a:pt x="159" y="2704"/>
                </a:lnTo>
                <a:lnTo>
                  <a:pt x="159" y="1702"/>
                </a:lnTo>
                <a:lnTo>
                  <a:pt x="589" y="1527"/>
                </a:lnTo>
                <a:cubicBezTo>
                  <a:pt x="621" y="1511"/>
                  <a:pt x="636" y="1495"/>
                  <a:pt x="636" y="1463"/>
                </a:cubicBezTo>
                <a:lnTo>
                  <a:pt x="636" y="1050"/>
                </a:lnTo>
                <a:cubicBezTo>
                  <a:pt x="636" y="795"/>
                  <a:pt x="716" y="477"/>
                  <a:pt x="1113" y="477"/>
                </a:cubicBezTo>
                <a:lnTo>
                  <a:pt x="1511" y="477"/>
                </a:lnTo>
                <a:lnTo>
                  <a:pt x="1830" y="477"/>
                </a:lnTo>
                <a:lnTo>
                  <a:pt x="4613" y="477"/>
                </a:lnTo>
                <a:lnTo>
                  <a:pt x="4613" y="2704"/>
                </a:lnTo>
                <a:lnTo>
                  <a:pt x="4406" y="2704"/>
                </a:lnTo>
                <a:cubicBezTo>
                  <a:pt x="4406" y="2688"/>
                  <a:pt x="4422" y="2672"/>
                  <a:pt x="4422" y="2656"/>
                </a:cubicBezTo>
                <a:cubicBezTo>
                  <a:pt x="4422" y="2402"/>
                  <a:pt x="4199" y="2179"/>
                  <a:pt x="3945" y="2179"/>
                </a:cubicBezTo>
                <a:close/>
                <a:moveTo>
                  <a:pt x="1511" y="652"/>
                </a:moveTo>
                <a:cubicBezTo>
                  <a:pt x="1304" y="652"/>
                  <a:pt x="812" y="923"/>
                  <a:pt x="812" y="1352"/>
                </a:cubicBezTo>
                <a:cubicBezTo>
                  <a:pt x="812" y="1399"/>
                  <a:pt x="843" y="1432"/>
                  <a:pt x="891" y="1432"/>
                </a:cubicBezTo>
                <a:lnTo>
                  <a:pt x="1511" y="1432"/>
                </a:lnTo>
                <a:cubicBezTo>
                  <a:pt x="1559" y="1432"/>
                  <a:pt x="1591" y="1399"/>
                  <a:pt x="1591" y="1352"/>
                </a:cubicBezTo>
                <a:lnTo>
                  <a:pt x="1591" y="732"/>
                </a:lnTo>
                <a:cubicBezTo>
                  <a:pt x="1591" y="700"/>
                  <a:pt x="1559" y="652"/>
                  <a:pt x="1511" y="652"/>
                </a:cubicBezTo>
                <a:close/>
                <a:moveTo>
                  <a:pt x="1431" y="1272"/>
                </a:moveTo>
                <a:lnTo>
                  <a:pt x="986" y="1272"/>
                </a:lnTo>
                <a:cubicBezTo>
                  <a:pt x="1034" y="1033"/>
                  <a:pt x="1273" y="875"/>
                  <a:pt x="1431" y="827"/>
                </a:cubicBezTo>
                <a:close/>
                <a:moveTo>
                  <a:pt x="3945" y="1002"/>
                </a:moveTo>
                <a:lnTo>
                  <a:pt x="3770" y="1002"/>
                </a:lnTo>
                <a:lnTo>
                  <a:pt x="3770" y="827"/>
                </a:lnTo>
                <a:cubicBezTo>
                  <a:pt x="3770" y="779"/>
                  <a:pt x="3738" y="747"/>
                  <a:pt x="3690" y="747"/>
                </a:cubicBezTo>
                <a:lnTo>
                  <a:pt x="3309" y="747"/>
                </a:lnTo>
                <a:cubicBezTo>
                  <a:pt x="3261" y="747"/>
                  <a:pt x="3229" y="779"/>
                  <a:pt x="3229" y="827"/>
                </a:cubicBezTo>
                <a:lnTo>
                  <a:pt x="3229" y="1002"/>
                </a:lnTo>
                <a:lnTo>
                  <a:pt x="3054" y="1002"/>
                </a:lnTo>
                <a:cubicBezTo>
                  <a:pt x="3006" y="1002"/>
                  <a:pt x="2975" y="1033"/>
                  <a:pt x="2975" y="1081"/>
                </a:cubicBezTo>
                <a:lnTo>
                  <a:pt x="2975" y="1463"/>
                </a:lnTo>
                <a:cubicBezTo>
                  <a:pt x="2975" y="1511"/>
                  <a:pt x="3006" y="1542"/>
                  <a:pt x="3054" y="1542"/>
                </a:cubicBezTo>
                <a:lnTo>
                  <a:pt x="3229" y="1542"/>
                </a:lnTo>
                <a:lnTo>
                  <a:pt x="3229" y="1718"/>
                </a:lnTo>
                <a:cubicBezTo>
                  <a:pt x="3229" y="1765"/>
                  <a:pt x="3261" y="1797"/>
                  <a:pt x="3309" y="1797"/>
                </a:cubicBezTo>
                <a:lnTo>
                  <a:pt x="3690" y="1797"/>
                </a:lnTo>
                <a:cubicBezTo>
                  <a:pt x="3738" y="1797"/>
                  <a:pt x="3770" y="1765"/>
                  <a:pt x="3770" y="1718"/>
                </a:cubicBezTo>
                <a:lnTo>
                  <a:pt x="3770" y="1542"/>
                </a:lnTo>
                <a:lnTo>
                  <a:pt x="3945" y="1542"/>
                </a:lnTo>
                <a:cubicBezTo>
                  <a:pt x="3993" y="1542"/>
                  <a:pt x="4024" y="1511"/>
                  <a:pt x="4024" y="1463"/>
                </a:cubicBezTo>
                <a:lnTo>
                  <a:pt x="4024" y="1081"/>
                </a:lnTo>
                <a:cubicBezTo>
                  <a:pt x="4024" y="1033"/>
                  <a:pt x="3993" y="1002"/>
                  <a:pt x="3945" y="1002"/>
                </a:cubicBezTo>
                <a:close/>
                <a:moveTo>
                  <a:pt x="3865" y="1384"/>
                </a:moveTo>
                <a:lnTo>
                  <a:pt x="3690" y="1384"/>
                </a:lnTo>
                <a:cubicBezTo>
                  <a:pt x="3643" y="1384"/>
                  <a:pt x="3611" y="1415"/>
                  <a:pt x="3611" y="1463"/>
                </a:cubicBezTo>
                <a:lnTo>
                  <a:pt x="3611" y="1638"/>
                </a:lnTo>
                <a:lnTo>
                  <a:pt x="3388" y="1638"/>
                </a:lnTo>
                <a:lnTo>
                  <a:pt x="3388" y="1463"/>
                </a:lnTo>
                <a:cubicBezTo>
                  <a:pt x="3388" y="1415"/>
                  <a:pt x="3340" y="1384"/>
                  <a:pt x="3309" y="1384"/>
                </a:cubicBezTo>
                <a:lnTo>
                  <a:pt x="3134" y="1384"/>
                </a:lnTo>
                <a:lnTo>
                  <a:pt x="3134" y="1161"/>
                </a:lnTo>
                <a:lnTo>
                  <a:pt x="3309" y="1161"/>
                </a:lnTo>
                <a:cubicBezTo>
                  <a:pt x="3340" y="1161"/>
                  <a:pt x="3388" y="1129"/>
                  <a:pt x="3388" y="1081"/>
                </a:cubicBezTo>
                <a:lnTo>
                  <a:pt x="3388" y="906"/>
                </a:lnTo>
                <a:lnTo>
                  <a:pt x="3611" y="906"/>
                </a:lnTo>
                <a:lnTo>
                  <a:pt x="3611" y="1081"/>
                </a:lnTo>
                <a:cubicBezTo>
                  <a:pt x="3611" y="1129"/>
                  <a:pt x="3643" y="1161"/>
                  <a:pt x="3690" y="1161"/>
                </a:cubicBezTo>
                <a:lnTo>
                  <a:pt x="3865" y="1161"/>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2" name="Freeform: Shape 4">
            <a:extLst>
              <a:ext uri="{FF2B5EF4-FFF2-40B4-BE49-F238E27FC236}">
                <a16:creationId xmlns:a16="http://schemas.microsoft.com/office/drawing/2014/main" id="{EFB7103E-9D2B-514A-BC4A-BA7E6DFC4FC7}"/>
              </a:ext>
            </a:extLst>
          </p:cNvPr>
          <p:cNvSpPr/>
          <p:nvPr/>
        </p:nvSpPr>
        <p:spPr>
          <a:xfrm>
            <a:off x="10154195" y="9632668"/>
            <a:ext cx="1545480" cy="1574639"/>
          </a:xfrm>
          <a:custGeom>
            <a:avLst/>
            <a:gdLst/>
            <a:ahLst/>
            <a:cxnLst>
              <a:cxn ang="3cd4">
                <a:pos x="hc" y="t"/>
              </a:cxn>
              <a:cxn ang="cd2">
                <a:pos x="l" y="vc"/>
              </a:cxn>
              <a:cxn ang="cd4">
                <a:pos x="hc" y="b"/>
              </a:cxn>
              <a:cxn ang="0">
                <a:pos x="r" y="vc"/>
              </a:cxn>
            </a:cxnLst>
            <a:rect l="l" t="t" r="r" b="b"/>
            <a:pathLst>
              <a:path w="4294" h="4375">
                <a:moveTo>
                  <a:pt x="731" y="80"/>
                </a:moveTo>
                <a:cubicBezTo>
                  <a:pt x="731" y="32"/>
                  <a:pt x="699" y="0"/>
                  <a:pt x="652" y="0"/>
                </a:cubicBezTo>
                <a:cubicBezTo>
                  <a:pt x="79" y="0"/>
                  <a:pt x="79" y="0"/>
                  <a:pt x="79" y="0"/>
                </a:cubicBezTo>
                <a:cubicBezTo>
                  <a:pt x="32" y="0"/>
                  <a:pt x="0" y="32"/>
                  <a:pt x="0" y="80"/>
                </a:cubicBezTo>
                <a:cubicBezTo>
                  <a:pt x="0" y="478"/>
                  <a:pt x="461" y="2371"/>
                  <a:pt x="1161" y="2514"/>
                </a:cubicBezTo>
                <a:cubicBezTo>
                  <a:pt x="1145" y="2705"/>
                  <a:pt x="1129" y="3500"/>
                  <a:pt x="1574" y="3993"/>
                </a:cubicBezTo>
                <a:cubicBezTo>
                  <a:pt x="1797" y="4247"/>
                  <a:pt x="2115" y="4375"/>
                  <a:pt x="2513" y="4375"/>
                </a:cubicBezTo>
                <a:cubicBezTo>
                  <a:pt x="2895" y="4375"/>
                  <a:pt x="3197" y="4247"/>
                  <a:pt x="3435" y="3977"/>
                </a:cubicBezTo>
                <a:cubicBezTo>
                  <a:pt x="4087" y="3229"/>
                  <a:pt x="3881" y="1718"/>
                  <a:pt x="3881" y="1654"/>
                </a:cubicBezTo>
                <a:cubicBezTo>
                  <a:pt x="3881" y="1639"/>
                  <a:pt x="3881" y="1639"/>
                  <a:pt x="3865" y="1639"/>
                </a:cubicBezTo>
                <a:cubicBezTo>
                  <a:pt x="4119" y="1591"/>
                  <a:pt x="4294" y="1368"/>
                  <a:pt x="4294" y="1114"/>
                </a:cubicBezTo>
                <a:cubicBezTo>
                  <a:pt x="4294" y="812"/>
                  <a:pt x="4056" y="573"/>
                  <a:pt x="3770" y="573"/>
                </a:cubicBezTo>
                <a:cubicBezTo>
                  <a:pt x="3467" y="573"/>
                  <a:pt x="3229" y="812"/>
                  <a:pt x="3229" y="1114"/>
                </a:cubicBezTo>
                <a:cubicBezTo>
                  <a:pt x="3229" y="1400"/>
                  <a:pt x="3435" y="1623"/>
                  <a:pt x="3722" y="1654"/>
                </a:cubicBezTo>
                <a:lnTo>
                  <a:pt x="3722" y="1671"/>
                </a:lnTo>
                <a:cubicBezTo>
                  <a:pt x="3722" y="1687"/>
                  <a:pt x="3913" y="3181"/>
                  <a:pt x="3308" y="3881"/>
                </a:cubicBezTo>
                <a:cubicBezTo>
                  <a:pt x="3117" y="4104"/>
                  <a:pt x="2847" y="4216"/>
                  <a:pt x="2513" y="4216"/>
                </a:cubicBezTo>
                <a:cubicBezTo>
                  <a:pt x="2163" y="4216"/>
                  <a:pt x="1892" y="4104"/>
                  <a:pt x="1686" y="3881"/>
                </a:cubicBezTo>
                <a:cubicBezTo>
                  <a:pt x="1272" y="3436"/>
                  <a:pt x="1304" y="2657"/>
                  <a:pt x="1320" y="2514"/>
                </a:cubicBezTo>
                <a:cubicBezTo>
                  <a:pt x="1988" y="2386"/>
                  <a:pt x="2465" y="780"/>
                  <a:pt x="2465" y="80"/>
                </a:cubicBezTo>
                <a:cubicBezTo>
                  <a:pt x="2465" y="32"/>
                  <a:pt x="2434" y="0"/>
                  <a:pt x="2386" y="0"/>
                </a:cubicBezTo>
                <a:cubicBezTo>
                  <a:pt x="2004" y="0"/>
                  <a:pt x="2004" y="0"/>
                  <a:pt x="2004" y="0"/>
                </a:cubicBezTo>
                <a:cubicBezTo>
                  <a:pt x="1956" y="0"/>
                  <a:pt x="1925" y="32"/>
                  <a:pt x="1925" y="80"/>
                </a:cubicBezTo>
                <a:cubicBezTo>
                  <a:pt x="1925" y="128"/>
                  <a:pt x="1956" y="160"/>
                  <a:pt x="2004" y="160"/>
                </a:cubicBezTo>
                <a:cubicBezTo>
                  <a:pt x="2306" y="160"/>
                  <a:pt x="2306" y="160"/>
                  <a:pt x="2306" y="160"/>
                </a:cubicBezTo>
                <a:cubicBezTo>
                  <a:pt x="2258" y="907"/>
                  <a:pt x="1765" y="2354"/>
                  <a:pt x="1225" y="2354"/>
                </a:cubicBezTo>
                <a:cubicBezTo>
                  <a:pt x="716" y="2354"/>
                  <a:pt x="207" y="748"/>
                  <a:pt x="159" y="160"/>
                </a:cubicBezTo>
                <a:cubicBezTo>
                  <a:pt x="652" y="160"/>
                  <a:pt x="652" y="160"/>
                  <a:pt x="652" y="160"/>
                </a:cubicBezTo>
                <a:cubicBezTo>
                  <a:pt x="699" y="160"/>
                  <a:pt x="731" y="128"/>
                  <a:pt x="731" y="80"/>
                </a:cubicBezTo>
                <a:close/>
                <a:moveTo>
                  <a:pt x="3388" y="1114"/>
                </a:moveTo>
                <a:cubicBezTo>
                  <a:pt x="3388" y="907"/>
                  <a:pt x="3547" y="732"/>
                  <a:pt x="3770" y="732"/>
                </a:cubicBezTo>
                <a:cubicBezTo>
                  <a:pt x="3976" y="732"/>
                  <a:pt x="4135" y="907"/>
                  <a:pt x="4135" y="1114"/>
                </a:cubicBezTo>
                <a:cubicBezTo>
                  <a:pt x="4135" y="1321"/>
                  <a:pt x="3976" y="1496"/>
                  <a:pt x="3770" y="1496"/>
                </a:cubicBezTo>
                <a:cubicBezTo>
                  <a:pt x="3547" y="1496"/>
                  <a:pt x="3388" y="1321"/>
                  <a:pt x="3388" y="111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3" name="Freeform: Shape 5">
            <a:extLst>
              <a:ext uri="{FF2B5EF4-FFF2-40B4-BE49-F238E27FC236}">
                <a16:creationId xmlns:a16="http://schemas.microsoft.com/office/drawing/2014/main" id="{D0A0FFD4-6E45-D441-86C2-D87B52D707A7}"/>
              </a:ext>
            </a:extLst>
          </p:cNvPr>
          <p:cNvSpPr/>
          <p:nvPr/>
        </p:nvSpPr>
        <p:spPr>
          <a:xfrm>
            <a:off x="17924388" y="3038804"/>
            <a:ext cx="618120" cy="1591200"/>
          </a:xfrm>
          <a:custGeom>
            <a:avLst/>
            <a:gdLst/>
            <a:ahLst/>
            <a:cxnLst>
              <a:cxn ang="3cd4">
                <a:pos x="hc" y="t"/>
              </a:cxn>
              <a:cxn ang="cd2">
                <a:pos x="l" y="vc"/>
              </a:cxn>
              <a:cxn ang="cd4">
                <a:pos x="hc" y="b"/>
              </a:cxn>
              <a:cxn ang="0">
                <a:pos x="r" y="vc"/>
              </a:cxn>
            </a:cxnLst>
            <a:rect l="l" t="t" r="r" b="b"/>
            <a:pathLst>
              <a:path w="1718" h="4421">
                <a:moveTo>
                  <a:pt x="859" y="0"/>
                </a:moveTo>
                <a:cubicBezTo>
                  <a:pt x="637" y="0"/>
                  <a:pt x="461" y="190"/>
                  <a:pt x="461" y="445"/>
                </a:cubicBezTo>
                <a:cubicBezTo>
                  <a:pt x="461" y="2799"/>
                  <a:pt x="461" y="2799"/>
                  <a:pt x="461" y="2799"/>
                </a:cubicBezTo>
                <a:cubicBezTo>
                  <a:pt x="191" y="2942"/>
                  <a:pt x="0" y="3244"/>
                  <a:pt x="0" y="3562"/>
                </a:cubicBezTo>
                <a:cubicBezTo>
                  <a:pt x="0" y="4039"/>
                  <a:pt x="382" y="4421"/>
                  <a:pt x="859" y="4421"/>
                </a:cubicBezTo>
                <a:cubicBezTo>
                  <a:pt x="1336" y="4421"/>
                  <a:pt x="1718" y="4039"/>
                  <a:pt x="1718" y="3562"/>
                </a:cubicBezTo>
                <a:cubicBezTo>
                  <a:pt x="1718" y="3244"/>
                  <a:pt x="1543" y="2942"/>
                  <a:pt x="1256" y="2799"/>
                </a:cubicBezTo>
                <a:cubicBezTo>
                  <a:pt x="1256" y="2465"/>
                  <a:pt x="1256" y="2465"/>
                  <a:pt x="1256" y="2465"/>
                </a:cubicBezTo>
                <a:cubicBezTo>
                  <a:pt x="1416" y="2465"/>
                  <a:pt x="1416" y="2465"/>
                  <a:pt x="1416" y="2465"/>
                </a:cubicBezTo>
                <a:cubicBezTo>
                  <a:pt x="1464" y="2465"/>
                  <a:pt x="1495" y="2417"/>
                  <a:pt x="1495" y="2385"/>
                </a:cubicBezTo>
                <a:cubicBezTo>
                  <a:pt x="1495" y="2337"/>
                  <a:pt x="1464" y="2306"/>
                  <a:pt x="1416" y="2306"/>
                </a:cubicBezTo>
                <a:cubicBezTo>
                  <a:pt x="1256" y="2306"/>
                  <a:pt x="1256" y="2306"/>
                  <a:pt x="1256" y="2306"/>
                </a:cubicBezTo>
                <a:cubicBezTo>
                  <a:pt x="1256" y="1892"/>
                  <a:pt x="1256" y="1892"/>
                  <a:pt x="1256" y="1892"/>
                </a:cubicBezTo>
                <a:cubicBezTo>
                  <a:pt x="1416" y="1892"/>
                  <a:pt x="1416" y="1892"/>
                  <a:pt x="1416" y="1892"/>
                </a:cubicBezTo>
                <a:cubicBezTo>
                  <a:pt x="1464" y="1892"/>
                  <a:pt x="1495" y="1860"/>
                  <a:pt x="1495" y="1813"/>
                </a:cubicBezTo>
                <a:cubicBezTo>
                  <a:pt x="1495" y="1781"/>
                  <a:pt x="1464" y="1733"/>
                  <a:pt x="1416" y="1733"/>
                </a:cubicBezTo>
                <a:cubicBezTo>
                  <a:pt x="1256" y="1733"/>
                  <a:pt x="1256" y="1733"/>
                  <a:pt x="1256" y="1733"/>
                </a:cubicBezTo>
                <a:cubicBezTo>
                  <a:pt x="1256" y="1336"/>
                  <a:pt x="1256" y="1336"/>
                  <a:pt x="1256" y="1336"/>
                </a:cubicBezTo>
                <a:cubicBezTo>
                  <a:pt x="1416" y="1336"/>
                  <a:pt x="1416" y="1336"/>
                  <a:pt x="1416" y="1336"/>
                </a:cubicBezTo>
                <a:cubicBezTo>
                  <a:pt x="1464" y="1336"/>
                  <a:pt x="1495" y="1304"/>
                  <a:pt x="1495" y="1256"/>
                </a:cubicBezTo>
                <a:cubicBezTo>
                  <a:pt x="1495" y="1208"/>
                  <a:pt x="1464" y="1176"/>
                  <a:pt x="1416" y="1176"/>
                </a:cubicBezTo>
                <a:cubicBezTo>
                  <a:pt x="1256" y="1176"/>
                  <a:pt x="1256" y="1176"/>
                  <a:pt x="1256" y="1176"/>
                </a:cubicBezTo>
                <a:cubicBezTo>
                  <a:pt x="1256" y="779"/>
                  <a:pt x="1256" y="779"/>
                  <a:pt x="1256" y="779"/>
                </a:cubicBezTo>
                <a:cubicBezTo>
                  <a:pt x="1416" y="779"/>
                  <a:pt x="1416" y="779"/>
                  <a:pt x="1416" y="779"/>
                </a:cubicBezTo>
                <a:cubicBezTo>
                  <a:pt x="1464" y="779"/>
                  <a:pt x="1495" y="747"/>
                  <a:pt x="1495" y="699"/>
                </a:cubicBezTo>
                <a:cubicBezTo>
                  <a:pt x="1495" y="652"/>
                  <a:pt x="1464" y="620"/>
                  <a:pt x="1416" y="620"/>
                </a:cubicBezTo>
                <a:cubicBezTo>
                  <a:pt x="1256" y="620"/>
                  <a:pt x="1256" y="620"/>
                  <a:pt x="1256" y="620"/>
                </a:cubicBezTo>
                <a:cubicBezTo>
                  <a:pt x="1256" y="445"/>
                  <a:pt x="1256" y="445"/>
                  <a:pt x="1256" y="445"/>
                </a:cubicBezTo>
                <a:cubicBezTo>
                  <a:pt x="1256" y="190"/>
                  <a:pt x="1098" y="0"/>
                  <a:pt x="859" y="0"/>
                </a:cubicBezTo>
                <a:close/>
                <a:moveTo>
                  <a:pt x="1146" y="2926"/>
                </a:moveTo>
                <a:cubicBezTo>
                  <a:pt x="1400" y="3037"/>
                  <a:pt x="1559" y="3292"/>
                  <a:pt x="1559" y="3562"/>
                </a:cubicBezTo>
                <a:cubicBezTo>
                  <a:pt x="1559" y="3944"/>
                  <a:pt x="1256" y="4262"/>
                  <a:pt x="859" y="4262"/>
                </a:cubicBezTo>
                <a:cubicBezTo>
                  <a:pt x="477" y="4262"/>
                  <a:pt x="159" y="3944"/>
                  <a:pt x="159" y="3562"/>
                </a:cubicBezTo>
                <a:cubicBezTo>
                  <a:pt x="159" y="3292"/>
                  <a:pt x="318" y="3037"/>
                  <a:pt x="573" y="2926"/>
                </a:cubicBezTo>
                <a:cubicBezTo>
                  <a:pt x="604" y="2910"/>
                  <a:pt x="620" y="2878"/>
                  <a:pt x="620" y="2846"/>
                </a:cubicBezTo>
                <a:cubicBezTo>
                  <a:pt x="620" y="445"/>
                  <a:pt x="620" y="445"/>
                  <a:pt x="620" y="445"/>
                </a:cubicBezTo>
                <a:cubicBezTo>
                  <a:pt x="620" y="318"/>
                  <a:pt x="684" y="158"/>
                  <a:pt x="859" y="158"/>
                </a:cubicBezTo>
                <a:cubicBezTo>
                  <a:pt x="1034" y="158"/>
                  <a:pt x="1098" y="318"/>
                  <a:pt x="1098" y="445"/>
                </a:cubicBezTo>
                <a:cubicBezTo>
                  <a:pt x="1098" y="620"/>
                  <a:pt x="1098" y="620"/>
                  <a:pt x="1098" y="620"/>
                </a:cubicBezTo>
                <a:cubicBezTo>
                  <a:pt x="938" y="620"/>
                  <a:pt x="938" y="620"/>
                  <a:pt x="938" y="620"/>
                </a:cubicBezTo>
                <a:cubicBezTo>
                  <a:pt x="938" y="540"/>
                  <a:pt x="938" y="540"/>
                  <a:pt x="938" y="540"/>
                </a:cubicBezTo>
                <a:cubicBezTo>
                  <a:pt x="938" y="492"/>
                  <a:pt x="907" y="461"/>
                  <a:pt x="859" y="461"/>
                </a:cubicBezTo>
                <a:cubicBezTo>
                  <a:pt x="827" y="461"/>
                  <a:pt x="780" y="492"/>
                  <a:pt x="780" y="540"/>
                </a:cubicBezTo>
                <a:cubicBezTo>
                  <a:pt x="780" y="3085"/>
                  <a:pt x="780" y="3085"/>
                  <a:pt x="780" y="3085"/>
                </a:cubicBezTo>
                <a:cubicBezTo>
                  <a:pt x="557" y="3117"/>
                  <a:pt x="382" y="3324"/>
                  <a:pt x="382" y="3562"/>
                </a:cubicBezTo>
                <a:cubicBezTo>
                  <a:pt x="382" y="3833"/>
                  <a:pt x="604" y="4039"/>
                  <a:pt x="859" y="4039"/>
                </a:cubicBezTo>
                <a:cubicBezTo>
                  <a:pt x="1129" y="4039"/>
                  <a:pt x="1352" y="3833"/>
                  <a:pt x="1352" y="3562"/>
                </a:cubicBezTo>
                <a:cubicBezTo>
                  <a:pt x="1352" y="3324"/>
                  <a:pt x="1177" y="3117"/>
                  <a:pt x="938" y="3085"/>
                </a:cubicBezTo>
                <a:cubicBezTo>
                  <a:pt x="938" y="2465"/>
                  <a:pt x="938" y="2465"/>
                  <a:pt x="938" y="2465"/>
                </a:cubicBezTo>
                <a:cubicBezTo>
                  <a:pt x="1098" y="2465"/>
                  <a:pt x="1098" y="2465"/>
                  <a:pt x="1098" y="2465"/>
                </a:cubicBezTo>
                <a:cubicBezTo>
                  <a:pt x="1098" y="2846"/>
                  <a:pt x="1098" y="2846"/>
                  <a:pt x="1098" y="2846"/>
                </a:cubicBezTo>
                <a:cubicBezTo>
                  <a:pt x="1098" y="2878"/>
                  <a:pt x="1113" y="2910"/>
                  <a:pt x="1146" y="2926"/>
                </a:cubicBezTo>
                <a:close/>
                <a:moveTo>
                  <a:pt x="859" y="3244"/>
                </a:moveTo>
                <a:cubicBezTo>
                  <a:pt x="1050" y="3244"/>
                  <a:pt x="1193" y="3387"/>
                  <a:pt x="1193" y="3562"/>
                </a:cubicBezTo>
                <a:cubicBezTo>
                  <a:pt x="1193" y="3737"/>
                  <a:pt x="1050" y="3881"/>
                  <a:pt x="859" y="3881"/>
                </a:cubicBezTo>
                <a:cubicBezTo>
                  <a:pt x="684" y="3881"/>
                  <a:pt x="541" y="3737"/>
                  <a:pt x="541" y="3562"/>
                </a:cubicBezTo>
                <a:cubicBezTo>
                  <a:pt x="541" y="3387"/>
                  <a:pt x="684" y="3244"/>
                  <a:pt x="859" y="3244"/>
                </a:cubicBezTo>
                <a:close/>
                <a:moveTo>
                  <a:pt x="1098" y="2306"/>
                </a:moveTo>
                <a:cubicBezTo>
                  <a:pt x="938" y="2306"/>
                  <a:pt x="938" y="2306"/>
                  <a:pt x="938" y="2306"/>
                </a:cubicBezTo>
                <a:cubicBezTo>
                  <a:pt x="938" y="1892"/>
                  <a:pt x="938" y="1892"/>
                  <a:pt x="938" y="1892"/>
                </a:cubicBezTo>
                <a:cubicBezTo>
                  <a:pt x="1098" y="1892"/>
                  <a:pt x="1098" y="1892"/>
                  <a:pt x="1098" y="1892"/>
                </a:cubicBezTo>
                <a:close/>
                <a:moveTo>
                  <a:pt x="1098" y="1733"/>
                </a:moveTo>
                <a:cubicBezTo>
                  <a:pt x="938" y="1733"/>
                  <a:pt x="938" y="1733"/>
                  <a:pt x="938" y="1733"/>
                </a:cubicBezTo>
                <a:cubicBezTo>
                  <a:pt x="938" y="1336"/>
                  <a:pt x="938" y="1336"/>
                  <a:pt x="938" y="1336"/>
                </a:cubicBezTo>
                <a:cubicBezTo>
                  <a:pt x="1098" y="1336"/>
                  <a:pt x="1098" y="1336"/>
                  <a:pt x="1098" y="1336"/>
                </a:cubicBezTo>
                <a:close/>
                <a:moveTo>
                  <a:pt x="1098" y="1176"/>
                </a:moveTo>
                <a:cubicBezTo>
                  <a:pt x="938" y="1176"/>
                  <a:pt x="938" y="1176"/>
                  <a:pt x="938" y="1176"/>
                </a:cubicBezTo>
                <a:cubicBezTo>
                  <a:pt x="938" y="779"/>
                  <a:pt x="938" y="779"/>
                  <a:pt x="938" y="779"/>
                </a:cubicBezTo>
                <a:cubicBezTo>
                  <a:pt x="1098" y="779"/>
                  <a:pt x="1098" y="779"/>
                  <a:pt x="1098" y="77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4" name="Freeform: Shape 6">
            <a:extLst>
              <a:ext uri="{FF2B5EF4-FFF2-40B4-BE49-F238E27FC236}">
                <a16:creationId xmlns:a16="http://schemas.microsoft.com/office/drawing/2014/main" id="{B0E9F92F-AA19-7845-ADC2-09C0EFC2A409}"/>
              </a:ext>
            </a:extLst>
          </p:cNvPr>
          <p:cNvSpPr/>
          <p:nvPr/>
        </p:nvSpPr>
        <p:spPr>
          <a:xfrm>
            <a:off x="17400588" y="9575427"/>
            <a:ext cx="1688760" cy="1689119"/>
          </a:xfrm>
          <a:custGeom>
            <a:avLst/>
            <a:gdLst/>
            <a:ahLst/>
            <a:cxnLst>
              <a:cxn ang="3cd4">
                <a:pos x="hc" y="t"/>
              </a:cxn>
              <a:cxn ang="cd2">
                <a:pos x="l" y="vc"/>
              </a:cxn>
              <a:cxn ang="cd4">
                <a:pos x="hc" y="b"/>
              </a:cxn>
              <a:cxn ang="0">
                <a:pos x="r" y="vc"/>
              </a:cxn>
            </a:cxnLst>
            <a:rect l="l" t="t" r="r" b="b"/>
            <a:pathLst>
              <a:path w="4692" h="4693">
                <a:moveTo>
                  <a:pt x="4040" y="3373"/>
                </a:moveTo>
                <a:cubicBezTo>
                  <a:pt x="3944" y="3373"/>
                  <a:pt x="3881" y="3388"/>
                  <a:pt x="3801" y="3420"/>
                </a:cubicBezTo>
                <a:cubicBezTo>
                  <a:pt x="2624" y="1194"/>
                  <a:pt x="2624" y="1194"/>
                  <a:pt x="2624" y="1194"/>
                </a:cubicBezTo>
                <a:cubicBezTo>
                  <a:pt x="2799" y="1082"/>
                  <a:pt x="2911" y="875"/>
                  <a:pt x="2911" y="652"/>
                </a:cubicBezTo>
                <a:cubicBezTo>
                  <a:pt x="2911" y="303"/>
                  <a:pt x="2608" y="0"/>
                  <a:pt x="2242" y="0"/>
                </a:cubicBezTo>
                <a:cubicBezTo>
                  <a:pt x="1893" y="0"/>
                  <a:pt x="1590" y="303"/>
                  <a:pt x="1590" y="652"/>
                </a:cubicBezTo>
                <a:cubicBezTo>
                  <a:pt x="1590" y="891"/>
                  <a:pt x="1718" y="1098"/>
                  <a:pt x="1893" y="1209"/>
                </a:cubicBezTo>
                <a:cubicBezTo>
                  <a:pt x="859" y="3404"/>
                  <a:pt x="859" y="3404"/>
                  <a:pt x="859" y="3404"/>
                </a:cubicBezTo>
                <a:cubicBezTo>
                  <a:pt x="795" y="3388"/>
                  <a:pt x="732" y="3373"/>
                  <a:pt x="668" y="3373"/>
                </a:cubicBezTo>
                <a:cubicBezTo>
                  <a:pt x="302" y="3373"/>
                  <a:pt x="0" y="3675"/>
                  <a:pt x="0" y="4040"/>
                </a:cubicBezTo>
                <a:cubicBezTo>
                  <a:pt x="0" y="4390"/>
                  <a:pt x="302" y="4693"/>
                  <a:pt x="668" y="4693"/>
                </a:cubicBezTo>
                <a:cubicBezTo>
                  <a:pt x="1002" y="4693"/>
                  <a:pt x="1272" y="4438"/>
                  <a:pt x="1304" y="4120"/>
                </a:cubicBezTo>
                <a:cubicBezTo>
                  <a:pt x="3388" y="4120"/>
                  <a:pt x="3388" y="4120"/>
                  <a:pt x="3388" y="4120"/>
                </a:cubicBezTo>
                <a:cubicBezTo>
                  <a:pt x="3420" y="4438"/>
                  <a:pt x="3706" y="4693"/>
                  <a:pt x="4040" y="4693"/>
                </a:cubicBezTo>
                <a:cubicBezTo>
                  <a:pt x="4390" y="4693"/>
                  <a:pt x="4692" y="4390"/>
                  <a:pt x="4692" y="4040"/>
                </a:cubicBezTo>
                <a:cubicBezTo>
                  <a:pt x="4692" y="3675"/>
                  <a:pt x="4390" y="3373"/>
                  <a:pt x="4040" y="3373"/>
                </a:cubicBezTo>
                <a:close/>
                <a:moveTo>
                  <a:pt x="1750" y="652"/>
                </a:moveTo>
                <a:cubicBezTo>
                  <a:pt x="1750" y="382"/>
                  <a:pt x="1972" y="159"/>
                  <a:pt x="2242" y="159"/>
                </a:cubicBezTo>
                <a:cubicBezTo>
                  <a:pt x="2529" y="159"/>
                  <a:pt x="2751" y="382"/>
                  <a:pt x="2751" y="652"/>
                </a:cubicBezTo>
                <a:cubicBezTo>
                  <a:pt x="2751" y="939"/>
                  <a:pt x="2529" y="1161"/>
                  <a:pt x="2242" y="1161"/>
                </a:cubicBezTo>
                <a:cubicBezTo>
                  <a:pt x="1972" y="1161"/>
                  <a:pt x="1750" y="939"/>
                  <a:pt x="1750" y="652"/>
                </a:cubicBezTo>
                <a:close/>
                <a:moveTo>
                  <a:pt x="2036" y="1289"/>
                </a:moveTo>
                <a:cubicBezTo>
                  <a:pt x="2115" y="1305"/>
                  <a:pt x="2179" y="1321"/>
                  <a:pt x="2242" y="1321"/>
                </a:cubicBezTo>
                <a:cubicBezTo>
                  <a:pt x="2338" y="1321"/>
                  <a:pt x="2417" y="1305"/>
                  <a:pt x="2481" y="1273"/>
                </a:cubicBezTo>
                <a:cubicBezTo>
                  <a:pt x="3658" y="3500"/>
                  <a:pt x="3658" y="3500"/>
                  <a:pt x="3658" y="3500"/>
                </a:cubicBezTo>
                <a:cubicBezTo>
                  <a:pt x="3515" y="3595"/>
                  <a:pt x="3404" y="3770"/>
                  <a:pt x="3388" y="3961"/>
                </a:cubicBezTo>
                <a:cubicBezTo>
                  <a:pt x="1304" y="3961"/>
                  <a:pt x="1304" y="3961"/>
                  <a:pt x="1304" y="3961"/>
                </a:cubicBezTo>
                <a:cubicBezTo>
                  <a:pt x="1288" y="3754"/>
                  <a:pt x="1177" y="3579"/>
                  <a:pt x="1002" y="3484"/>
                </a:cubicBezTo>
                <a:close/>
                <a:moveTo>
                  <a:pt x="668" y="4534"/>
                </a:moveTo>
                <a:cubicBezTo>
                  <a:pt x="381" y="4534"/>
                  <a:pt x="159" y="4311"/>
                  <a:pt x="159" y="4040"/>
                </a:cubicBezTo>
                <a:cubicBezTo>
                  <a:pt x="159" y="3754"/>
                  <a:pt x="381" y="3531"/>
                  <a:pt x="668" y="3531"/>
                </a:cubicBezTo>
                <a:cubicBezTo>
                  <a:pt x="938" y="3531"/>
                  <a:pt x="1161" y="3754"/>
                  <a:pt x="1161" y="4040"/>
                </a:cubicBezTo>
                <a:cubicBezTo>
                  <a:pt x="1161" y="4311"/>
                  <a:pt x="938" y="4534"/>
                  <a:pt x="668" y="4534"/>
                </a:cubicBezTo>
                <a:close/>
                <a:moveTo>
                  <a:pt x="4040" y="4534"/>
                </a:moveTo>
                <a:cubicBezTo>
                  <a:pt x="3769" y="4534"/>
                  <a:pt x="3547" y="4311"/>
                  <a:pt x="3547" y="4040"/>
                </a:cubicBezTo>
                <a:cubicBezTo>
                  <a:pt x="3547" y="4025"/>
                  <a:pt x="3547" y="4025"/>
                  <a:pt x="3547" y="4025"/>
                </a:cubicBezTo>
                <a:cubicBezTo>
                  <a:pt x="3547" y="3754"/>
                  <a:pt x="3769" y="3531"/>
                  <a:pt x="4040" y="3531"/>
                </a:cubicBezTo>
                <a:cubicBezTo>
                  <a:pt x="4310" y="3531"/>
                  <a:pt x="4533" y="3754"/>
                  <a:pt x="4533" y="4040"/>
                </a:cubicBezTo>
                <a:cubicBezTo>
                  <a:pt x="4533" y="4311"/>
                  <a:pt x="4310" y="4534"/>
                  <a:pt x="4040" y="453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5" name="Freeform: Shape 7">
            <a:extLst>
              <a:ext uri="{FF2B5EF4-FFF2-40B4-BE49-F238E27FC236}">
                <a16:creationId xmlns:a16="http://schemas.microsoft.com/office/drawing/2014/main" id="{CA7BEC01-21BB-0248-824E-7D6C2BF632B5}"/>
              </a:ext>
            </a:extLst>
          </p:cNvPr>
          <p:cNvSpPr/>
          <p:nvPr/>
        </p:nvSpPr>
        <p:spPr>
          <a:xfrm>
            <a:off x="21330445" y="9638788"/>
            <a:ext cx="1568879" cy="1562760"/>
          </a:xfrm>
          <a:custGeom>
            <a:avLst/>
            <a:gdLst/>
            <a:ahLst/>
            <a:cxnLst>
              <a:cxn ang="3cd4">
                <a:pos x="hc" y="t"/>
              </a:cxn>
              <a:cxn ang="cd2">
                <a:pos x="l" y="vc"/>
              </a:cxn>
              <a:cxn ang="cd4">
                <a:pos x="hc" y="b"/>
              </a:cxn>
              <a:cxn ang="0">
                <a:pos x="r" y="vc"/>
              </a:cxn>
            </a:cxnLst>
            <a:rect l="l" t="t" r="r" b="b"/>
            <a:pathLst>
              <a:path w="4359" h="4342">
                <a:moveTo>
                  <a:pt x="4359" y="524"/>
                </a:moveTo>
                <a:cubicBezTo>
                  <a:pt x="4359" y="238"/>
                  <a:pt x="4120" y="0"/>
                  <a:pt x="3834" y="0"/>
                </a:cubicBezTo>
                <a:cubicBezTo>
                  <a:pt x="3532" y="0"/>
                  <a:pt x="3293" y="238"/>
                  <a:pt x="3293" y="524"/>
                </a:cubicBezTo>
                <a:cubicBezTo>
                  <a:pt x="1989" y="524"/>
                  <a:pt x="1989" y="524"/>
                  <a:pt x="1989" y="524"/>
                </a:cubicBezTo>
                <a:cubicBezTo>
                  <a:pt x="1989" y="238"/>
                  <a:pt x="1750" y="0"/>
                  <a:pt x="1448" y="0"/>
                </a:cubicBezTo>
                <a:cubicBezTo>
                  <a:pt x="1162" y="0"/>
                  <a:pt x="923" y="238"/>
                  <a:pt x="923" y="524"/>
                </a:cubicBezTo>
                <a:cubicBezTo>
                  <a:pt x="923" y="667"/>
                  <a:pt x="971" y="795"/>
                  <a:pt x="1050" y="890"/>
                </a:cubicBezTo>
                <a:cubicBezTo>
                  <a:pt x="828" y="1161"/>
                  <a:pt x="828" y="1161"/>
                  <a:pt x="828" y="1161"/>
                </a:cubicBezTo>
                <a:cubicBezTo>
                  <a:pt x="732" y="1113"/>
                  <a:pt x="637" y="1081"/>
                  <a:pt x="542" y="1081"/>
                </a:cubicBezTo>
                <a:cubicBezTo>
                  <a:pt x="255" y="1081"/>
                  <a:pt x="0" y="1336"/>
                  <a:pt x="0" y="1622"/>
                </a:cubicBezTo>
                <a:cubicBezTo>
                  <a:pt x="0" y="1892"/>
                  <a:pt x="223" y="2131"/>
                  <a:pt x="478" y="2163"/>
                </a:cubicBezTo>
                <a:cubicBezTo>
                  <a:pt x="478" y="3276"/>
                  <a:pt x="478" y="3276"/>
                  <a:pt x="478" y="3276"/>
                </a:cubicBezTo>
                <a:cubicBezTo>
                  <a:pt x="223" y="3308"/>
                  <a:pt x="0" y="3530"/>
                  <a:pt x="0" y="3817"/>
                </a:cubicBezTo>
                <a:cubicBezTo>
                  <a:pt x="0" y="4103"/>
                  <a:pt x="255" y="4342"/>
                  <a:pt x="542" y="4342"/>
                </a:cubicBezTo>
                <a:cubicBezTo>
                  <a:pt x="812" y="4342"/>
                  <a:pt x="1035" y="4151"/>
                  <a:pt x="1066" y="3896"/>
                </a:cubicBezTo>
                <a:cubicBezTo>
                  <a:pt x="2387" y="3896"/>
                  <a:pt x="2387" y="3896"/>
                  <a:pt x="2387" y="3896"/>
                </a:cubicBezTo>
                <a:cubicBezTo>
                  <a:pt x="2418" y="4151"/>
                  <a:pt x="2641" y="4342"/>
                  <a:pt x="2911" y="4342"/>
                </a:cubicBezTo>
                <a:cubicBezTo>
                  <a:pt x="3214" y="4342"/>
                  <a:pt x="3452" y="4103"/>
                  <a:pt x="3452" y="3817"/>
                </a:cubicBezTo>
                <a:cubicBezTo>
                  <a:pt x="3452" y="3673"/>
                  <a:pt x="3405" y="3546"/>
                  <a:pt x="3309" y="3451"/>
                </a:cubicBezTo>
                <a:cubicBezTo>
                  <a:pt x="3548" y="3181"/>
                  <a:pt x="3548" y="3181"/>
                  <a:pt x="3548" y="3181"/>
                </a:cubicBezTo>
                <a:cubicBezTo>
                  <a:pt x="3627" y="3228"/>
                  <a:pt x="3723" y="3260"/>
                  <a:pt x="3834" y="3260"/>
                </a:cubicBezTo>
                <a:cubicBezTo>
                  <a:pt x="4120" y="3260"/>
                  <a:pt x="4359" y="3006"/>
                  <a:pt x="4359" y="2719"/>
                </a:cubicBezTo>
                <a:cubicBezTo>
                  <a:pt x="4359" y="2433"/>
                  <a:pt x="4136" y="2194"/>
                  <a:pt x="3850" y="2179"/>
                </a:cubicBezTo>
                <a:cubicBezTo>
                  <a:pt x="3850" y="1065"/>
                  <a:pt x="3850" y="1065"/>
                  <a:pt x="3850" y="1065"/>
                </a:cubicBezTo>
                <a:cubicBezTo>
                  <a:pt x="4136" y="1049"/>
                  <a:pt x="4359" y="810"/>
                  <a:pt x="4359" y="524"/>
                </a:cubicBezTo>
                <a:close/>
                <a:moveTo>
                  <a:pt x="3834" y="158"/>
                </a:moveTo>
                <a:cubicBezTo>
                  <a:pt x="4041" y="158"/>
                  <a:pt x="4200" y="318"/>
                  <a:pt x="4200" y="524"/>
                </a:cubicBezTo>
                <a:cubicBezTo>
                  <a:pt x="4200" y="731"/>
                  <a:pt x="4041" y="906"/>
                  <a:pt x="3834" y="906"/>
                </a:cubicBezTo>
                <a:cubicBezTo>
                  <a:pt x="3818" y="906"/>
                  <a:pt x="3818" y="906"/>
                  <a:pt x="3818" y="906"/>
                </a:cubicBezTo>
                <a:cubicBezTo>
                  <a:pt x="3802" y="890"/>
                  <a:pt x="3786" y="890"/>
                  <a:pt x="3771" y="890"/>
                </a:cubicBezTo>
                <a:cubicBezTo>
                  <a:pt x="3754" y="890"/>
                  <a:pt x="3754" y="890"/>
                  <a:pt x="3738" y="890"/>
                </a:cubicBezTo>
                <a:cubicBezTo>
                  <a:pt x="3691" y="890"/>
                  <a:pt x="3643" y="858"/>
                  <a:pt x="3595" y="827"/>
                </a:cubicBezTo>
                <a:lnTo>
                  <a:pt x="3580" y="810"/>
                </a:lnTo>
                <a:cubicBezTo>
                  <a:pt x="3532" y="763"/>
                  <a:pt x="3484" y="715"/>
                  <a:pt x="3468" y="652"/>
                </a:cubicBezTo>
                <a:cubicBezTo>
                  <a:pt x="3484" y="636"/>
                  <a:pt x="3484" y="620"/>
                  <a:pt x="3484" y="604"/>
                </a:cubicBezTo>
                <a:cubicBezTo>
                  <a:pt x="3484" y="572"/>
                  <a:pt x="3468" y="556"/>
                  <a:pt x="3452" y="540"/>
                </a:cubicBezTo>
                <a:lnTo>
                  <a:pt x="3452" y="524"/>
                </a:lnTo>
                <a:cubicBezTo>
                  <a:pt x="3452" y="318"/>
                  <a:pt x="3611" y="158"/>
                  <a:pt x="3834" y="158"/>
                </a:cubicBezTo>
                <a:close/>
                <a:moveTo>
                  <a:pt x="3293" y="2703"/>
                </a:moveTo>
                <a:cubicBezTo>
                  <a:pt x="2975" y="2703"/>
                  <a:pt x="2975" y="2703"/>
                  <a:pt x="2975" y="2703"/>
                </a:cubicBezTo>
                <a:cubicBezTo>
                  <a:pt x="2975" y="2163"/>
                  <a:pt x="2975" y="2163"/>
                  <a:pt x="2975" y="2163"/>
                </a:cubicBezTo>
                <a:cubicBezTo>
                  <a:pt x="3245" y="2131"/>
                  <a:pt x="3452" y="1892"/>
                  <a:pt x="3452" y="1622"/>
                </a:cubicBezTo>
                <a:cubicBezTo>
                  <a:pt x="3452" y="1494"/>
                  <a:pt x="3405" y="1367"/>
                  <a:pt x="3309" y="1272"/>
                </a:cubicBezTo>
                <a:cubicBezTo>
                  <a:pt x="3548" y="985"/>
                  <a:pt x="3548" y="985"/>
                  <a:pt x="3548" y="985"/>
                </a:cubicBezTo>
                <a:cubicBezTo>
                  <a:pt x="3595" y="1018"/>
                  <a:pt x="3643" y="1033"/>
                  <a:pt x="3691" y="1049"/>
                </a:cubicBezTo>
                <a:cubicBezTo>
                  <a:pt x="3691" y="2194"/>
                  <a:pt x="3691" y="2194"/>
                  <a:pt x="3691" y="2194"/>
                </a:cubicBezTo>
                <a:cubicBezTo>
                  <a:pt x="3468" y="2258"/>
                  <a:pt x="3293" y="2465"/>
                  <a:pt x="3293" y="2703"/>
                </a:cubicBezTo>
                <a:close/>
                <a:moveTo>
                  <a:pt x="2975" y="3276"/>
                </a:moveTo>
                <a:cubicBezTo>
                  <a:pt x="2975" y="2863"/>
                  <a:pt x="2975" y="2863"/>
                  <a:pt x="2975" y="2863"/>
                </a:cubicBezTo>
                <a:cubicBezTo>
                  <a:pt x="3309" y="2863"/>
                  <a:pt x="3309" y="2863"/>
                  <a:pt x="3309" y="2863"/>
                </a:cubicBezTo>
                <a:cubicBezTo>
                  <a:pt x="3341" y="2942"/>
                  <a:pt x="3372" y="3021"/>
                  <a:pt x="3420" y="3069"/>
                </a:cubicBezTo>
                <a:cubicBezTo>
                  <a:pt x="3198" y="3355"/>
                  <a:pt x="3198" y="3355"/>
                  <a:pt x="3198" y="3355"/>
                </a:cubicBezTo>
                <a:cubicBezTo>
                  <a:pt x="3134" y="3308"/>
                  <a:pt x="3054" y="3292"/>
                  <a:pt x="2975" y="3276"/>
                </a:cubicBezTo>
                <a:close/>
                <a:moveTo>
                  <a:pt x="1989" y="2703"/>
                </a:moveTo>
                <a:cubicBezTo>
                  <a:pt x="1989" y="2433"/>
                  <a:pt x="1782" y="2210"/>
                  <a:pt x="1512" y="2179"/>
                </a:cubicBezTo>
                <a:cubicBezTo>
                  <a:pt x="1512" y="1701"/>
                  <a:pt x="1512" y="1701"/>
                  <a:pt x="1512" y="1701"/>
                </a:cubicBezTo>
                <a:cubicBezTo>
                  <a:pt x="2387" y="1701"/>
                  <a:pt x="2387" y="1701"/>
                  <a:pt x="2387" y="1701"/>
                </a:cubicBezTo>
                <a:cubicBezTo>
                  <a:pt x="2418" y="1924"/>
                  <a:pt x="2593" y="2115"/>
                  <a:pt x="2816" y="2146"/>
                </a:cubicBezTo>
                <a:cubicBezTo>
                  <a:pt x="2816" y="2703"/>
                  <a:pt x="2816" y="2703"/>
                  <a:pt x="2816" y="2703"/>
                </a:cubicBezTo>
                <a:close/>
                <a:moveTo>
                  <a:pt x="1226" y="3006"/>
                </a:moveTo>
                <a:lnTo>
                  <a:pt x="1209" y="3006"/>
                </a:lnTo>
                <a:cubicBezTo>
                  <a:pt x="1130" y="2926"/>
                  <a:pt x="1082" y="2831"/>
                  <a:pt x="1082" y="2719"/>
                </a:cubicBezTo>
                <a:cubicBezTo>
                  <a:pt x="1082" y="2528"/>
                  <a:pt x="1209" y="2369"/>
                  <a:pt x="1400" y="2354"/>
                </a:cubicBezTo>
                <a:cubicBezTo>
                  <a:pt x="1400" y="2354"/>
                  <a:pt x="1416" y="2354"/>
                  <a:pt x="1432" y="2354"/>
                </a:cubicBezTo>
                <a:cubicBezTo>
                  <a:pt x="1464" y="2354"/>
                  <a:pt x="1480" y="2354"/>
                  <a:pt x="1480" y="2337"/>
                </a:cubicBezTo>
                <a:cubicBezTo>
                  <a:pt x="1687" y="2354"/>
                  <a:pt x="1830" y="2528"/>
                  <a:pt x="1830" y="2719"/>
                </a:cubicBezTo>
                <a:cubicBezTo>
                  <a:pt x="1830" y="2926"/>
                  <a:pt x="1655" y="3101"/>
                  <a:pt x="1448" y="3101"/>
                </a:cubicBezTo>
                <a:cubicBezTo>
                  <a:pt x="1369" y="3101"/>
                  <a:pt x="1289" y="3069"/>
                  <a:pt x="1226" y="3006"/>
                </a:cubicBezTo>
                <a:close/>
                <a:moveTo>
                  <a:pt x="828" y="3355"/>
                </a:moveTo>
                <a:cubicBezTo>
                  <a:pt x="764" y="3324"/>
                  <a:pt x="700" y="3292"/>
                  <a:pt x="637" y="3292"/>
                </a:cubicBezTo>
                <a:cubicBezTo>
                  <a:pt x="637" y="2146"/>
                  <a:pt x="637" y="2146"/>
                  <a:pt x="637" y="2146"/>
                </a:cubicBezTo>
                <a:cubicBezTo>
                  <a:pt x="860" y="2115"/>
                  <a:pt x="1035" y="1924"/>
                  <a:pt x="1066" y="1701"/>
                </a:cubicBezTo>
                <a:cubicBezTo>
                  <a:pt x="1353" y="1701"/>
                  <a:pt x="1353" y="1701"/>
                  <a:pt x="1353" y="1701"/>
                </a:cubicBezTo>
                <a:cubicBezTo>
                  <a:pt x="1353" y="2194"/>
                  <a:pt x="1353" y="2194"/>
                  <a:pt x="1353" y="2194"/>
                </a:cubicBezTo>
                <a:cubicBezTo>
                  <a:pt x="1114" y="2242"/>
                  <a:pt x="923" y="2449"/>
                  <a:pt x="923" y="2719"/>
                </a:cubicBezTo>
                <a:cubicBezTo>
                  <a:pt x="923" y="2846"/>
                  <a:pt x="971" y="2974"/>
                  <a:pt x="1050" y="3069"/>
                </a:cubicBezTo>
                <a:close/>
                <a:moveTo>
                  <a:pt x="1353" y="1049"/>
                </a:moveTo>
                <a:cubicBezTo>
                  <a:pt x="1353" y="1542"/>
                  <a:pt x="1353" y="1542"/>
                  <a:pt x="1353" y="1542"/>
                </a:cubicBezTo>
                <a:cubicBezTo>
                  <a:pt x="1066" y="1542"/>
                  <a:pt x="1066" y="1542"/>
                  <a:pt x="1066" y="1542"/>
                </a:cubicBezTo>
                <a:cubicBezTo>
                  <a:pt x="1050" y="1447"/>
                  <a:pt x="1003" y="1351"/>
                  <a:pt x="939" y="1272"/>
                </a:cubicBezTo>
                <a:cubicBezTo>
                  <a:pt x="1178" y="985"/>
                  <a:pt x="1178" y="985"/>
                  <a:pt x="1178" y="985"/>
                </a:cubicBezTo>
                <a:cubicBezTo>
                  <a:pt x="1226" y="1018"/>
                  <a:pt x="1289" y="1049"/>
                  <a:pt x="1353" y="1049"/>
                </a:cubicBezTo>
                <a:close/>
                <a:moveTo>
                  <a:pt x="3150" y="1336"/>
                </a:moveTo>
                <a:lnTo>
                  <a:pt x="3166" y="1336"/>
                </a:lnTo>
                <a:cubicBezTo>
                  <a:pt x="3245" y="1415"/>
                  <a:pt x="3293" y="1510"/>
                  <a:pt x="3293" y="1622"/>
                </a:cubicBezTo>
                <a:cubicBezTo>
                  <a:pt x="3293" y="1828"/>
                  <a:pt x="3118" y="2003"/>
                  <a:pt x="2911" y="2003"/>
                </a:cubicBezTo>
                <a:cubicBezTo>
                  <a:pt x="2705" y="2003"/>
                  <a:pt x="2545" y="1828"/>
                  <a:pt x="2545" y="1622"/>
                </a:cubicBezTo>
                <a:cubicBezTo>
                  <a:pt x="2545" y="1415"/>
                  <a:pt x="2705" y="1240"/>
                  <a:pt x="2911" y="1240"/>
                </a:cubicBezTo>
                <a:cubicBezTo>
                  <a:pt x="3007" y="1240"/>
                  <a:pt x="3086" y="1272"/>
                  <a:pt x="3150" y="1336"/>
                </a:cubicBezTo>
                <a:close/>
                <a:moveTo>
                  <a:pt x="1973" y="683"/>
                </a:moveTo>
                <a:cubicBezTo>
                  <a:pt x="3309" y="683"/>
                  <a:pt x="3309" y="683"/>
                  <a:pt x="3309" y="683"/>
                </a:cubicBezTo>
                <a:cubicBezTo>
                  <a:pt x="3341" y="763"/>
                  <a:pt x="3372" y="827"/>
                  <a:pt x="3420" y="890"/>
                </a:cubicBezTo>
                <a:cubicBezTo>
                  <a:pt x="3198" y="1161"/>
                  <a:pt x="3198" y="1161"/>
                  <a:pt x="3198" y="1161"/>
                </a:cubicBezTo>
                <a:cubicBezTo>
                  <a:pt x="3118" y="1113"/>
                  <a:pt x="3023" y="1081"/>
                  <a:pt x="2911" y="1081"/>
                </a:cubicBezTo>
                <a:cubicBezTo>
                  <a:pt x="2641" y="1081"/>
                  <a:pt x="2418" y="1288"/>
                  <a:pt x="2387" y="1542"/>
                </a:cubicBezTo>
                <a:cubicBezTo>
                  <a:pt x="1512" y="1542"/>
                  <a:pt x="1512" y="1542"/>
                  <a:pt x="1512" y="1542"/>
                </a:cubicBezTo>
                <a:cubicBezTo>
                  <a:pt x="1512" y="1065"/>
                  <a:pt x="1512" y="1065"/>
                  <a:pt x="1512" y="1065"/>
                </a:cubicBezTo>
                <a:cubicBezTo>
                  <a:pt x="1735" y="1033"/>
                  <a:pt x="1909" y="890"/>
                  <a:pt x="1973" y="683"/>
                </a:cubicBezTo>
                <a:close/>
                <a:moveTo>
                  <a:pt x="1448" y="158"/>
                </a:moveTo>
                <a:cubicBezTo>
                  <a:pt x="1655" y="158"/>
                  <a:pt x="1830" y="318"/>
                  <a:pt x="1830" y="524"/>
                </a:cubicBezTo>
                <a:cubicBezTo>
                  <a:pt x="1830" y="731"/>
                  <a:pt x="1687" y="890"/>
                  <a:pt x="1480" y="906"/>
                </a:cubicBezTo>
                <a:cubicBezTo>
                  <a:pt x="1480" y="890"/>
                  <a:pt x="1464" y="890"/>
                  <a:pt x="1432" y="890"/>
                </a:cubicBezTo>
                <a:cubicBezTo>
                  <a:pt x="1416" y="890"/>
                  <a:pt x="1400" y="890"/>
                  <a:pt x="1400" y="906"/>
                </a:cubicBezTo>
                <a:cubicBezTo>
                  <a:pt x="1337" y="890"/>
                  <a:pt x="1273" y="858"/>
                  <a:pt x="1226" y="827"/>
                </a:cubicBezTo>
                <a:cubicBezTo>
                  <a:pt x="1226" y="827"/>
                  <a:pt x="1209" y="827"/>
                  <a:pt x="1209" y="810"/>
                </a:cubicBezTo>
                <a:cubicBezTo>
                  <a:pt x="1130" y="747"/>
                  <a:pt x="1082" y="636"/>
                  <a:pt x="1082" y="524"/>
                </a:cubicBezTo>
                <a:cubicBezTo>
                  <a:pt x="1082" y="318"/>
                  <a:pt x="1241" y="158"/>
                  <a:pt x="1448" y="158"/>
                </a:cubicBezTo>
                <a:close/>
                <a:moveTo>
                  <a:pt x="160" y="1622"/>
                </a:moveTo>
                <a:cubicBezTo>
                  <a:pt x="160" y="1415"/>
                  <a:pt x="335" y="1240"/>
                  <a:pt x="542" y="1240"/>
                </a:cubicBezTo>
                <a:cubicBezTo>
                  <a:pt x="637" y="1240"/>
                  <a:pt x="717" y="1272"/>
                  <a:pt x="780" y="1336"/>
                </a:cubicBezTo>
                <a:cubicBezTo>
                  <a:pt x="875" y="1399"/>
                  <a:pt x="923" y="1510"/>
                  <a:pt x="923" y="1622"/>
                </a:cubicBezTo>
                <a:cubicBezTo>
                  <a:pt x="923" y="1828"/>
                  <a:pt x="748" y="2003"/>
                  <a:pt x="542" y="2003"/>
                </a:cubicBezTo>
                <a:cubicBezTo>
                  <a:pt x="335" y="2003"/>
                  <a:pt x="160" y="1828"/>
                  <a:pt x="160" y="1622"/>
                </a:cubicBezTo>
                <a:close/>
                <a:moveTo>
                  <a:pt x="542" y="4182"/>
                </a:moveTo>
                <a:cubicBezTo>
                  <a:pt x="335" y="4182"/>
                  <a:pt x="160" y="4024"/>
                  <a:pt x="160" y="3817"/>
                </a:cubicBezTo>
                <a:cubicBezTo>
                  <a:pt x="160" y="3610"/>
                  <a:pt x="335" y="3435"/>
                  <a:pt x="542" y="3435"/>
                </a:cubicBezTo>
                <a:cubicBezTo>
                  <a:pt x="637" y="3435"/>
                  <a:pt x="717" y="3467"/>
                  <a:pt x="780" y="3515"/>
                </a:cubicBezTo>
                <a:lnTo>
                  <a:pt x="780" y="3530"/>
                </a:lnTo>
                <a:cubicBezTo>
                  <a:pt x="875" y="3594"/>
                  <a:pt x="923" y="3705"/>
                  <a:pt x="923" y="3817"/>
                </a:cubicBezTo>
                <a:cubicBezTo>
                  <a:pt x="923" y="4024"/>
                  <a:pt x="748" y="4182"/>
                  <a:pt x="542" y="4182"/>
                </a:cubicBezTo>
                <a:close/>
                <a:moveTo>
                  <a:pt x="2387" y="3737"/>
                </a:moveTo>
                <a:cubicBezTo>
                  <a:pt x="1066" y="3737"/>
                  <a:pt x="1066" y="3737"/>
                  <a:pt x="1066" y="3737"/>
                </a:cubicBezTo>
                <a:cubicBezTo>
                  <a:pt x="1050" y="3626"/>
                  <a:pt x="1003" y="3530"/>
                  <a:pt x="939" y="3451"/>
                </a:cubicBezTo>
                <a:cubicBezTo>
                  <a:pt x="1178" y="3181"/>
                  <a:pt x="1178" y="3181"/>
                  <a:pt x="1178" y="3181"/>
                </a:cubicBezTo>
                <a:cubicBezTo>
                  <a:pt x="1257" y="3228"/>
                  <a:pt x="1353" y="3260"/>
                  <a:pt x="1448" y="3260"/>
                </a:cubicBezTo>
                <a:cubicBezTo>
                  <a:pt x="1702" y="3260"/>
                  <a:pt x="1909" y="3085"/>
                  <a:pt x="1973" y="2863"/>
                </a:cubicBezTo>
                <a:cubicBezTo>
                  <a:pt x="2816" y="2863"/>
                  <a:pt x="2816" y="2863"/>
                  <a:pt x="2816" y="2863"/>
                </a:cubicBezTo>
                <a:cubicBezTo>
                  <a:pt x="2816" y="3292"/>
                  <a:pt x="2816" y="3292"/>
                  <a:pt x="2816" y="3292"/>
                </a:cubicBezTo>
                <a:cubicBezTo>
                  <a:pt x="2593" y="3324"/>
                  <a:pt x="2418" y="3499"/>
                  <a:pt x="2387" y="3737"/>
                </a:cubicBezTo>
                <a:close/>
                <a:moveTo>
                  <a:pt x="2911" y="4182"/>
                </a:moveTo>
                <a:cubicBezTo>
                  <a:pt x="2705" y="4182"/>
                  <a:pt x="2545" y="4024"/>
                  <a:pt x="2545" y="3817"/>
                </a:cubicBezTo>
                <a:cubicBezTo>
                  <a:pt x="2545" y="3610"/>
                  <a:pt x="2705" y="3435"/>
                  <a:pt x="2911" y="3435"/>
                </a:cubicBezTo>
                <a:cubicBezTo>
                  <a:pt x="3007" y="3435"/>
                  <a:pt x="3086" y="3467"/>
                  <a:pt x="3150" y="3515"/>
                </a:cubicBezTo>
                <a:lnTo>
                  <a:pt x="3150" y="3530"/>
                </a:lnTo>
                <a:lnTo>
                  <a:pt x="3166" y="3530"/>
                </a:lnTo>
                <a:cubicBezTo>
                  <a:pt x="3245" y="3594"/>
                  <a:pt x="3293" y="3705"/>
                  <a:pt x="3293" y="3817"/>
                </a:cubicBezTo>
                <a:cubicBezTo>
                  <a:pt x="3293" y="4024"/>
                  <a:pt x="3118" y="4182"/>
                  <a:pt x="2911" y="4182"/>
                </a:cubicBezTo>
                <a:close/>
                <a:moveTo>
                  <a:pt x="4200" y="2719"/>
                </a:moveTo>
                <a:cubicBezTo>
                  <a:pt x="4200" y="2926"/>
                  <a:pt x="4041" y="3101"/>
                  <a:pt x="3834" y="3101"/>
                </a:cubicBezTo>
                <a:cubicBezTo>
                  <a:pt x="3738" y="3101"/>
                  <a:pt x="3659" y="3069"/>
                  <a:pt x="3595" y="3006"/>
                </a:cubicBezTo>
                <a:lnTo>
                  <a:pt x="3580" y="3006"/>
                </a:lnTo>
                <a:cubicBezTo>
                  <a:pt x="3532" y="2958"/>
                  <a:pt x="3484" y="2910"/>
                  <a:pt x="3468" y="2846"/>
                </a:cubicBezTo>
                <a:cubicBezTo>
                  <a:pt x="3484" y="2831"/>
                  <a:pt x="3484" y="2815"/>
                  <a:pt x="3484" y="2783"/>
                </a:cubicBezTo>
                <a:cubicBezTo>
                  <a:pt x="3484" y="2767"/>
                  <a:pt x="3468" y="2735"/>
                  <a:pt x="3452" y="2719"/>
                </a:cubicBezTo>
                <a:cubicBezTo>
                  <a:pt x="3452" y="2545"/>
                  <a:pt x="3580" y="2385"/>
                  <a:pt x="3738" y="2354"/>
                </a:cubicBezTo>
                <a:cubicBezTo>
                  <a:pt x="3754" y="2354"/>
                  <a:pt x="3754" y="2354"/>
                  <a:pt x="3771" y="2354"/>
                </a:cubicBezTo>
                <a:cubicBezTo>
                  <a:pt x="3786" y="2354"/>
                  <a:pt x="3802" y="2354"/>
                  <a:pt x="3818" y="2337"/>
                </a:cubicBezTo>
                <a:lnTo>
                  <a:pt x="3834" y="2337"/>
                </a:lnTo>
                <a:cubicBezTo>
                  <a:pt x="4041" y="2337"/>
                  <a:pt x="4200" y="2512"/>
                  <a:pt x="4200" y="271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6" name="Freeform: Shape 8">
            <a:extLst>
              <a:ext uri="{FF2B5EF4-FFF2-40B4-BE49-F238E27FC236}">
                <a16:creationId xmlns:a16="http://schemas.microsoft.com/office/drawing/2014/main" id="{EA4A8DCB-9096-6842-88BA-AB152CC4CC2C}"/>
              </a:ext>
            </a:extLst>
          </p:cNvPr>
          <p:cNvSpPr/>
          <p:nvPr/>
        </p:nvSpPr>
        <p:spPr>
          <a:xfrm>
            <a:off x="6200072" y="6406886"/>
            <a:ext cx="961559" cy="1591200"/>
          </a:xfrm>
          <a:custGeom>
            <a:avLst/>
            <a:gdLst/>
            <a:ahLst/>
            <a:cxnLst>
              <a:cxn ang="3cd4">
                <a:pos x="hc" y="t"/>
              </a:cxn>
              <a:cxn ang="cd2">
                <a:pos x="l" y="vc"/>
              </a:cxn>
              <a:cxn ang="cd4">
                <a:pos x="hc" y="b"/>
              </a:cxn>
              <a:cxn ang="0">
                <a:pos x="r" y="vc"/>
              </a:cxn>
            </a:cxnLst>
            <a:rect l="l" t="t" r="r" b="b"/>
            <a:pathLst>
              <a:path w="2672" h="4421">
                <a:moveTo>
                  <a:pt x="79" y="4421"/>
                </a:moveTo>
                <a:cubicBezTo>
                  <a:pt x="127" y="4421"/>
                  <a:pt x="159" y="4390"/>
                  <a:pt x="159" y="4342"/>
                </a:cubicBezTo>
                <a:cubicBezTo>
                  <a:pt x="159" y="3785"/>
                  <a:pt x="747" y="2974"/>
                  <a:pt x="1336" y="2210"/>
                </a:cubicBezTo>
                <a:cubicBezTo>
                  <a:pt x="1924" y="2974"/>
                  <a:pt x="2513" y="3785"/>
                  <a:pt x="2513" y="4342"/>
                </a:cubicBezTo>
                <a:cubicBezTo>
                  <a:pt x="2513" y="4390"/>
                  <a:pt x="2561" y="4421"/>
                  <a:pt x="2592" y="4421"/>
                </a:cubicBezTo>
                <a:cubicBezTo>
                  <a:pt x="2640" y="4421"/>
                  <a:pt x="2672" y="4390"/>
                  <a:pt x="2672" y="4342"/>
                </a:cubicBezTo>
                <a:cubicBezTo>
                  <a:pt x="2672" y="3737"/>
                  <a:pt x="2083" y="2910"/>
                  <a:pt x="1447" y="2083"/>
                </a:cubicBezTo>
                <a:cubicBezTo>
                  <a:pt x="1479" y="2036"/>
                  <a:pt x="1511" y="1988"/>
                  <a:pt x="1558" y="1940"/>
                </a:cubicBezTo>
                <a:cubicBezTo>
                  <a:pt x="2163" y="1176"/>
                  <a:pt x="2672" y="509"/>
                  <a:pt x="2672" y="79"/>
                </a:cubicBezTo>
                <a:cubicBezTo>
                  <a:pt x="2672" y="47"/>
                  <a:pt x="2640" y="0"/>
                  <a:pt x="2592" y="0"/>
                </a:cubicBezTo>
                <a:cubicBezTo>
                  <a:pt x="2561" y="0"/>
                  <a:pt x="2513" y="47"/>
                  <a:pt x="2513" y="79"/>
                </a:cubicBezTo>
                <a:cubicBezTo>
                  <a:pt x="2513" y="445"/>
                  <a:pt x="1988" y="1128"/>
                  <a:pt x="1431" y="1845"/>
                </a:cubicBezTo>
                <a:cubicBezTo>
                  <a:pt x="1400" y="1876"/>
                  <a:pt x="1367" y="1924"/>
                  <a:pt x="1336" y="1956"/>
                </a:cubicBezTo>
                <a:cubicBezTo>
                  <a:pt x="1304" y="1924"/>
                  <a:pt x="1288" y="1876"/>
                  <a:pt x="1256" y="1845"/>
                </a:cubicBezTo>
                <a:cubicBezTo>
                  <a:pt x="700" y="1128"/>
                  <a:pt x="159" y="445"/>
                  <a:pt x="159" y="79"/>
                </a:cubicBezTo>
                <a:cubicBezTo>
                  <a:pt x="159" y="47"/>
                  <a:pt x="127" y="0"/>
                  <a:pt x="79" y="0"/>
                </a:cubicBezTo>
                <a:cubicBezTo>
                  <a:pt x="47" y="0"/>
                  <a:pt x="0" y="47"/>
                  <a:pt x="0" y="79"/>
                </a:cubicBezTo>
                <a:cubicBezTo>
                  <a:pt x="0" y="509"/>
                  <a:pt x="525" y="1176"/>
                  <a:pt x="1129" y="1940"/>
                </a:cubicBezTo>
                <a:cubicBezTo>
                  <a:pt x="1161" y="1988"/>
                  <a:pt x="1209" y="2036"/>
                  <a:pt x="1240" y="2083"/>
                </a:cubicBezTo>
                <a:cubicBezTo>
                  <a:pt x="604" y="2910"/>
                  <a:pt x="0" y="3737"/>
                  <a:pt x="0" y="4342"/>
                </a:cubicBezTo>
                <a:cubicBezTo>
                  <a:pt x="0" y="4390"/>
                  <a:pt x="47" y="4421"/>
                  <a:pt x="79" y="4421"/>
                </a:cubicBezTo>
                <a:close/>
                <a:moveTo>
                  <a:pt x="2354" y="174"/>
                </a:moveTo>
                <a:cubicBezTo>
                  <a:pt x="2354" y="127"/>
                  <a:pt x="2322" y="95"/>
                  <a:pt x="2274" y="95"/>
                </a:cubicBezTo>
                <a:lnTo>
                  <a:pt x="413" y="95"/>
                </a:lnTo>
                <a:cubicBezTo>
                  <a:pt x="365" y="95"/>
                  <a:pt x="334" y="127"/>
                  <a:pt x="334" y="174"/>
                </a:cubicBezTo>
                <a:cubicBezTo>
                  <a:pt x="334" y="206"/>
                  <a:pt x="365" y="254"/>
                  <a:pt x="413" y="254"/>
                </a:cubicBezTo>
                <a:lnTo>
                  <a:pt x="2274" y="254"/>
                </a:lnTo>
                <a:cubicBezTo>
                  <a:pt x="2322" y="254"/>
                  <a:pt x="2354" y="206"/>
                  <a:pt x="2354" y="174"/>
                </a:cubicBezTo>
                <a:close/>
                <a:moveTo>
                  <a:pt x="2083" y="556"/>
                </a:moveTo>
                <a:cubicBezTo>
                  <a:pt x="2083" y="524"/>
                  <a:pt x="2036" y="476"/>
                  <a:pt x="2004" y="476"/>
                </a:cubicBezTo>
                <a:lnTo>
                  <a:pt x="668" y="476"/>
                </a:lnTo>
                <a:cubicBezTo>
                  <a:pt x="636" y="476"/>
                  <a:pt x="588" y="524"/>
                  <a:pt x="588" y="556"/>
                </a:cubicBezTo>
                <a:cubicBezTo>
                  <a:pt x="588" y="604"/>
                  <a:pt x="636" y="636"/>
                  <a:pt x="668" y="636"/>
                </a:cubicBezTo>
                <a:lnTo>
                  <a:pt x="2004" y="636"/>
                </a:lnTo>
                <a:cubicBezTo>
                  <a:pt x="2036" y="636"/>
                  <a:pt x="2083" y="604"/>
                  <a:pt x="2083" y="556"/>
                </a:cubicBezTo>
                <a:close/>
                <a:moveTo>
                  <a:pt x="1845" y="954"/>
                </a:moveTo>
                <a:cubicBezTo>
                  <a:pt x="1845" y="906"/>
                  <a:pt x="1813" y="874"/>
                  <a:pt x="1765" y="874"/>
                </a:cubicBezTo>
                <a:lnTo>
                  <a:pt x="906" y="874"/>
                </a:lnTo>
                <a:cubicBezTo>
                  <a:pt x="858" y="874"/>
                  <a:pt x="827" y="906"/>
                  <a:pt x="827" y="954"/>
                </a:cubicBezTo>
                <a:cubicBezTo>
                  <a:pt x="827" y="1001"/>
                  <a:pt x="858" y="1033"/>
                  <a:pt x="906" y="1033"/>
                </a:cubicBezTo>
                <a:lnTo>
                  <a:pt x="1765" y="1033"/>
                </a:lnTo>
                <a:cubicBezTo>
                  <a:pt x="1813" y="1033"/>
                  <a:pt x="1845" y="1001"/>
                  <a:pt x="1845" y="954"/>
                </a:cubicBezTo>
                <a:close/>
                <a:moveTo>
                  <a:pt x="1192" y="1272"/>
                </a:moveTo>
                <a:cubicBezTo>
                  <a:pt x="1145" y="1272"/>
                  <a:pt x="1113" y="1304"/>
                  <a:pt x="1113" y="1351"/>
                </a:cubicBezTo>
                <a:cubicBezTo>
                  <a:pt x="1113" y="1399"/>
                  <a:pt x="1145" y="1431"/>
                  <a:pt x="1192" y="1431"/>
                </a:cubicBezTo>
                <a:lnTo>
                  <a:pt x="1479" y="1431"/>
                </a:lnTo>
                <a:cubicBezTo>
                  <a:pt x="1511" y="1431"/>
                  <a:pt x="1558" y="1399"/>
                  <a:pt x="1558" y="1351"/>
                </a:cubicBezTo>
                <a:cubicBezTo>
                  <a:pt x="1558" y="1304"/>
                  <a:pt x="1511" y="1272"/>
                  <a:pt x="1479" y="1272"/>
                </a:cubicBezTo>
                <a:close/>
                <a:moveTo>
                  <a:pt x="588" y="3705"/>
                </a:moveTo>
                <a:cubicBezTo>
                  <a:pt x="588" y="3753"/>
                  <a:pt x="636" y="3785"/>
                  <a:pt x="668" y="3785"/>
                </a:cubicBezTo>
                <a:lnTo>
                  <a:pt x="2004" y="3785"/>
                </a:lnTo>
                <a:cubicBezTo>
                  <a:pt x="2036" y="3785"/>
                  <a:pt x="2083" y="3753"/>
                  <a:pt x="2083" y="3705"/>
                </a:cubicBezTo>
                <a:cubicBezTo>
                  <a:pt x="2083" y="3658"/>
                  <a:pt x="2036" y="3626"/>
                  <a:pt x="2004" y="3626"/>
                </a:cubicBezTo>
                <a:lnTo>
                  <a:pt x="668" y="3626"/>
                </a:lnTo>
                <a:cubicBezTo>
                  <a:pt x="636" y="3626"/>
                  <a:pt x="588" y="3658"/>
                  <a:pt x="588" y="3705"/>
                </a:cubicBezTo>
                <a:close/>
                <a:moveTo>
                  <a:pt x="334" y="4135"/>
                </a:moveTo>
                <a:cubicBezTo>
                  <a:pt x="334" y="4182"/>
                  <a:pt x="365" y="4214"/>
                  <a:pt x="413" y="4214"/>
                </a:cubicBezTo>
                <a:lnTo>
                  <a:pt x="2274" y="4214"/>
                </a:lnTo>
                <a:cubicBezTo>
                  <a:pt x="2322" y="4214"/>
                  <a:pt x="2354" y="4182"/>
                  <a:pt x="2354" y="4135"/>
                </a:cubicBezTo>
                <a:cubicBezTo>
                  <a:pt x="2354" y="4087"/>
                  <a:pt x="2322" y="4055"/>
                  <a:pt x="2274" y="4055"/>
                </a:cubicBezTo>
                <a:lnTo>
                  <a:pt x="413" y="4055"/>
                </a:lnTo>
                <a:cubicBezTo>
                  <a:pt x="365" y="4055"/>
                  <a:pt x="334" y="4087"/>
                  <a:pt x="334" y="4135"/>
                </a:cubicBezTo>
                <a:close/>
                <a:moveTo>
                  <a:pt x="827" y="3276"/>
                </a:moveTo>
                <a:cubicBezTo>
                  <a:pt x="827" y="3324"/>
                  <a:pt x="858" y="3355"/>
                  <a:pt x="906" y="3355"/>
                </a:cubicBezTo>
                <a:lnTo>
                  <a:pt x="1765" y="3355"/>
                </a:lnTo>
                <a:cubicBezTo>
                  <a:pt x="1813" y="3355"/>
                  <a:pt x="1845" y="3324"/>
                  <a:pt x="1845" y="3276"/>
                </a:cubicBezTo>
                <a:cubicBezTo>
                  <a:pt x="1845" y="3228"/>
                  <a:pt x="1813" y="3196"/>
                  <a:pt x="1765" y="3196"/>
                </a:cubicBezTo>
                <a:lnTo>
                  <a:pt x="906" y="3196"/>
                </a:lnTo>
                <a:cubicBezTo>
                  <a:pt x="858" y="3196"/>
                  <a:pt x="827" y="3228"/>
                  <a:pt x="827" y="3276"/>
                </a:cubicBezTo>
                <a:close/>
                <a:moveTo>
                  <a:pt x="1479" y="2926"/>
                </a:moveTo>
                <a:cubicBezTo>
                  <a:pt x="1511" y="2926"/>
                  <a:pt x="1558" y="2878"/>
                  <a:pt x="1558" y="2846"/>
                </a:cubicBezTo>
                <a:cubicBezTo>
                  <a:pt x="1558" y="2799"/>
                  <a:pt x="1511" y="2767"/>
                  <a:pt x="1479" y="2767"/>
                </a:cubicBezTo>
                <a:lnTo>
                  <a:pt x="1192" y="2767"/>
                </a:lnTo>
                <a:cubicBezTo>
                  <a:pt x="1145" y="2767"/>
                  <a:pt x="1113" y="2799"/>
                  <a:pt x="1113" y="2846"/>
                </a:cubicBezTo>
                <a:cubicBezTo>
                  <a:pt x="1113" y="2878"/>
                  <a:pt x="1145" y="2926"/>
                  <a:pt x="1192" y="292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7" name="Freeform: Shape 9">
            <a:extLst>
              <a:ext uri="{FF2B5EF4-FFF2-40B4-BE49-F238E27FC236}">
                <a16:creationId xmlns:a16="http://schemas.microsoft.com/office/drawing/2014/main" id="{6DE142E5-88CA-7747-B726-3652AA300BAA}"/>
              </a:ext>
            </a:extLst>
          </p:cNvPr>
          <p:cNvSpPr/>
          <p:nvPr/>
        </p:nvSpPr>
        <p:spPr>
          <a:xfrm>
            <a:off x="10151189" y="6515246"/>
            <a:ext cx="1431359" cy="1374120"/>
          </a:xfrm>
          <a:custGeom>
            <a:avLst/>
            <a:gdLst/>
            <a:ahLst/>
            <a:cxnLst>
              <a:cxn ang="3cd4">
                <a:pos x="hc" y="t"/>
              </a:cxn>
              <a:cxn ang="cd2">
                <a:pos x="l" y="vc"/>
              </a:cxn>
              <a:cxn ang="cd4">
                <a:pos x="hc" y="b"/>
              </a:cxn>
              <a:cxn ang="0">
                <a:pos x="r" y="vc"/>
              </a:cxn>
            </a:cxnLst>
            <a:rect l="l" t="t" r="r" b="b"/>
            <a:pathLst>
              <a:path w="3977" h="3818">
                <a:moveTo>
                  <a:pt x="3977" y="1512"/>
                </a:moveTo>
                <a:cubicBezTo>
                  <a:pt x="3977" y="1146"/>
                  <a:pt x="3881" y="860"/>
                  <a:pt x="3706" y="621"/>
                </a:cubicBezTo>
                <a:lnTo>
                  <a:pt x="3706" y="605"/>
                </a:lnTo>
                <a:cubicBezTo>
                  <a:pt x="3532" y="382"/>
                  <a:pt x="3277" y="223"/>
                  <a:pt x="2943" y="128"/>
                </a:cubicBezTo>
                <a:cubicBezTo>
                  <a:pt x="2927" y="112"/>
                  <a:pt x="2911" y="112"/>
                  <a:pt x="2911" y="112"/>
                </a:cubicBezTo>
                <a:cubicBezTo>
                  <a:pt x="2641" y="48"/>
                  <a:pt x="2339" y="0"/>
                  <a:pt x="1988" y="0"/>
                </a:cubicBezTo>
                <a:cubicBezTo>
                  <a:pt x="827" y="0"/>
                  <a:pt x="0" y="557"/>
                  <a:pt x="0" y="1353"/>
                </a:cubicBezTo>
                <a:cubicBezTo>
                  <a:pt x="0" y="1845"/>
                  <a:pt x="398" y="1878"/>
                  <a:pt x="796" y="1893"/>
                </a:cubicBezTo>
                <a:cubicBezTo>
                  <a:pt x="1145" y="1909"/>
                  <a:pt x="1575" y="1941"/>
                  <a:pt x="1941" y="2211"/>
                </a:cubicBezTo>
                <a:cubicBezTo>
                  <a:pt x="2148" y="2371"/>
                  <a:pt x="2450" y="2498"/>
                  <a:pt x="2736" y="2545"/>
                </a:cubicBezTo>
                <a:cubicBezTo>
                  <a:pt x="2815" y="2689"/>
                  <a:pt x="3023" y="3102"/>
                  <a:pt x="3054" y="3738"/>
                </a:cubicBezTo>
                <a:cubicBezTo>
                  <a:pt x="3054" y="3786"/>
                  <a:pt x="3086" y="3818"/>
                  <a:pt x="3134" y="3818"/>
                </a:cubicBezTo>
                <a:cubicBezTo>
                  <a:pt x="3181" y="3818"/>
                  <a:pt x="3213" y="3770"/>
                  <a:pt x="3213" y="3738"/>
                </a:cubicBezTo>
                <a:cubicBezTo>
                  <a:pt x="3197" y="3182"/>
                  <a:pt x="3038" y="2784"/>
                  <a:pt x="2927" y="2577"/>
                </a:cubicBezTo>
                <a:cubicBezTo>
                  <a:pt x="2959" y="2577"/>
                  <a:pt x="2991" y="2577"/>
                  <a:pt x="3006" y="2577"/>
                </a:cubicBezTo>
                <a:cubicBezTo>
                  <a:pt x="3023" y="2577"/>
                  <a:pt x="3054" y="2577"/>
                  <a:pt x="3070" y="2577"/>
                </a:cubicBezTo>
                <a:cubicBezTo>
                  <a:pt x="3150" y="2736"/>
                  <a:pt x="3341" y="3134"/>
                  <a:pt x="3372" y="3738"/>
                </a:cubicBezTo>
                <a:cubicBezTo>
                  <a:pt x="3372" y="3786"/>
                  <a:pt x="3404" y="3818"/>
                  <a:pt x="3452" y="3818"/>
                </a:cubicBezTo>
                <a:cubicBezTo>
                  <a:pt x="3500" y="3818"/>
                  <a:pt x="3532" y="3770"/>
                  <a:pt x="3532" y="3738"/>
                </a:cubicBezTo>
                <a:cubicBezTo>
                  <a:pt x="3500" y="3166"/>
                  <a:pt x="3341" y="2752"/>
                  <a:pt x="3245" y="2562"/>
                </a:cubicBezTo>
                <a:cubicBezTo>
                  <a:pt x="3324" y="2545"/>
                  <a:pt x="3404" y="2514"/>
                  <a:pt x="3484" y="2482"/>
                </a:cubicBezTo>
                <a:cubicBezTo>
                  <a:pt x="3706" y="2354"/>
                  <a:pt x="3977" y="2100"/>
                  <a:pt x="3977" y="1512"/>
                </a:cubicBezTo>
                <a:close/>
                <a:moveTo>
                  <a:pt x="2036" y="2084"/>
                </a:moveTo>
                <a:cubicBezTo>
                  <a:pt x="1893" y="1973"/>
                  <a:pt x="1750" y="1909"/>
                  <a:pt x="1607" y="1862"/>
                </a:cubicBezTo>
                <a:cubicBezTo>
                  <a:pt x="1893" y="1575"/>
                  <a:pt x="1893" y="1575"/>
                  <a:pt x="1893" y="1575"/>
                </a:cubicBezTo>
                <a:cubicBezTo>
                  <a:pt x="1925" y="1544"/>
                  <a:pt x="1925" y="1496"/>
                  <a:pt x="1893" y="1464"/>
                </a:cubicBezTo>
                <a:cubicBezTo>
                  <a:pt x="1861" y="1432"/>
                  <a:pt x="1797" y="1432"/>
                  <a:pt x="1782" y="1464"/>
                </a:cubicBezTo>
                <a:cubicBezTo>
                  <a:pt x="1464" y="1782"/>
                  <a:pt x="1464" y="1782"/>
                  <a:pt x="1464" y="1782"/>
                </a:cubicBezTo>
                <a:cubicBezTo>
                  <a:pt x="1448" y="1782"/>
                  <a:pt x="1448" y="1798"/>
                  <a:pt x="1432" y="1814"/>
                </a:cubicBezTo>
                <a:cubicBezTo>
                  <a:pt x="1209" y="1750"/>
                  <a:pt x="1002" y="1750"/>
                  <a:pt x="812" y="1735"/>
                </a:cubicBezTo>
                <a:cubicBezTo>
                  <a:pt x="589" y="1718"/>
                  <a:pt x="446" y="1718"/>
                  <a:pt x="334" y="1671"/>
                </a:cubicBezTo>
                <a:cubicBezTo>
                  <a:pt x="446" y="1496"/>
                  <a:pt x="684" y="1353"/>
                  <a:pt x="907" y="1305"/>
                </a:cubicBezTo>
                <a:cubicBezTo>
                  <a:pt x="1018" y="1289"/>
                  <a:pt x="1178" y="1289"/>
                  <a:pt x="1305" y="1416"/>
                </a:cubicBezTo>
                <a:cubicBezTo>
                  <a:pt x="1336" y="1448"/>
                  <a:pt x="1384" y="1448"/>
                  <a:pt x="1416" y="1416"/>
                </a:cubicBezTo>
                <a:cubicBezTo>
                  <a:pt x="1448" y="1384"/>
                  <a:pt x="1448" y="1336"/>
                  <a:pt x="1416" y="1305"/>
                </a:cubicBezTo>
                <a:cubicBezTo>
                  <a:pt x="1289" y="1162"/>
                  <a:pt x="1098" y="1114"/>
                  <a:pt x="891" y="1162"/>
                </a:cubicBezTo>
                <a:cubicBezTo>
                  <a:pt x="621" y="1193"/>
                  <a:pt x="350" y="1369"/>
                  <a:pt x="207" y="1575"/>
                </a:cubicBezTo>
                <a:cubicBezTo>
                  <a:pt x="175" y="1512"/>
                  <a:pt x="160" y="1448"/>
                  <a:pt x="160" y="1353"/>
                </a:cubicBezTo>
                <a:cubicBezTo>
                  <a:pt x="160" y="1066"/>
                  <a:pt x="287" y="827"/>
                  <a:pt x="509" y="621"/>
                </a:cubicBezTo>
                <a:cubicBezTo>
                  <a:pt x="589" y="780"/>
                  <a:pt x="716" y="875"/>
                  <a:pt x="859" y="891"/>
                </a:cubicBezTo>
                <a:cubicBezTo>
                  <a:pt x="891" y="907"/>
                  <a:pt x="907" y="907"/>
                  <a:pt x="939" y="907"/>
                </a:cubicBezTo>
                <a:cubicBezTo>
                  <a:pt x="1050" y="907"/>
                  <a:pt x="1161" y="860"/>
                  <a:pt x="1257" y="780"/>
                </a:cubicBezTo>
                <a:cubicBezTo>
                  <a:pt x="1289" y="748"/>
                  <a:pt x="1321" y="700"/>
                  <a:pt x="1352" y="669"/>
                </a:cubicBezTo>
                <a:cubicBezTo>
                  <a:pt x="1496" y="478"/>
                  <a:pt x="1607" y="382"/>
                  <a:pt x="1797" y="478"/>
                </a:cubicBezTo>
                <a:cubicBezTo>
                  <a:pt x="1830" y="494"/>
                  <a:pt x="1877" y="478"/>
                  <a:pt x="1893" y="430"/>
                </a:cubicBezTo>
                <a:cubicBezTo>
                  <a:pt x="1925" y="398"/>
                  <a:pt x="1909" y="351"/>
                  <a:pt x="1861" y="335"/>
                </a:cubicBezTo>
                <a:cubicBezTo>
                  <a:pt x="1559" y="175"/>
                  <a:pt x="1352" y="414"/>
                  <a:pt x="1225" y="557"/>
                </a:cubicBezTo>
                <a:cubicBezTo>
                  <a:pt x="1193" y="605"/>
                  <a:pt x="1161" y="637"/>
                  <a:pt x="1145" y="669"/>
                </a:cubicBezTo>
                <a:cubicBezTo>
                  <a:pt x="1082" y="732"/>
                  <a:pt x="987" y="748"/>
                  <a:pt x="891" y="748"/>
                </a:cubicBezTo>
                <a:cubicBezTo>
                  <a:pt x="780" y="717"/>
                  <a:pt x="684" y="653"/>
                  <a:pt x="636" y="526"/>
                </a:cubicBezTo>
                <a:cubicBezTo>
                  <a:pt x="955" y="303"/>
                  <a:pt x="1432" y="160"/>
                  <a:pt x="1988" y="160"/>
                </a:cubicBezTo>
                <a:cubicBezTo>
                  <a:pt x="2211" y="160"/>
                  <a:pt x="2418" y="175"/>
                  <a:pt x="2609" y="208"/>
                </a:cubicBezTo>
                <a:cubicBezTo>
                  <a:pt x="2275" y="335"/>
                  <a:pt x="2275" y="335"/>
                  <a:pt x="2275" y="335"/>
                </a:cubicBezTo>
                <a:cubicBezTo>
                  <a:pt x="2243" y="335"/>
                  <a:pt x="2211" y="382"/>
                  <a:pt x="2227" y="430"/>
                </a:cubicBezTo>
                <a:cubicBezTo>
                  <a:pt x="2243" y="462"/>
                  <a:pt x="2275" y="478"/>
                  <a:pt x="2306" y="478"/>
                </a:cubicBezTo>
                <a:cubicBezTo>
                  <a:pt x="2323" y="478"/>
                  <a:pt x="2323" y="478"/>
                  <a:pt x="2339" y="478"/>
                </a:cubicBezTo>
                <a:cubicBezTo>
                  <a:pt x="2895" y="271"/>
                  <a:pt x="2895" y="271"/>
                  <a:pt x="2895" y="271"/>
                </a:cubicBezTo>
                <a:cubicBezTo>
                  <a:pt x="3197" y="366"/>
                  <a:pt x="3404" y="494"/>
                  <a:pt x="3563" y="684"/>
                </a:cubicBezTo>
                <a:cubicBezTo>
                  <a:pt x="3547" y="971"/>
                  <a:pt x="3213" y="1273"/>
                  <a:pt x="3102" y="1273"/>
                </a:cubicBezTo>
                <a:cubicBezTo>
                  <a:pt x="2911" y="1273"/>
                  <a:pt x="2848" y="1162"/>
                  <a:pt x="2784" y="955"/>
                </a:cubicBezTo>
                <a:cubicBezTo>
                  <a:pt x="2736" y="812"/>
                  <a:pt x="2657" y="637"/>
                  <a:pt x="2466" y="637"/>
                </a:cubicBezTo>
                <a:cubicBezTo>
                  <a:pt x="2418" y="637"/>
                  <a:pt x="2386" y="669"/>
                  <a:pt x="2386" y="717"/>
                </a:cubicBezTo>
                <a:cubicBezTo>
                  <a:pt x="2386" y="764"/>
                  <a:pt x="2418" y="796"/>
                  <a:pt x="2466" y="796"/>
                </a:cubicBezTo>
                <a:cubicBezTo>
                  <a:pt x="2545" y="796"/>
                  <a:pt x="2577" y="860"/>
                  <a:pt x="2625" y="1018"/>
                </a:cubicBezTo>
                <a:cubicBezTo>
                  <a:pt x="2688" y="1193"/>
                  <a:pt x="2784" y="1432"/>
                  <a:pt x="3102" y="1432"/>
                </a:cubicBezTo>
                <a:cubicBezTo>
                  <a:pt x="3277" y="1432"/>
                  <a:pt x="3563" y="1162"/>
                  <a:pt x="3675" y="875"/>
                </a:cubicBezTo>
                <a:cubicBezTo>
                  <a:pt x="3770" y="1050"/>
                  <a:pt x="3818" y="1273"/>
                  <a:pt x="3818" y="1512"/>
                </a:cubicBezTo>
                <a:cubicBezTo>
                  <a:pt x="3818" y="1845"/>
                  <a:pt x="3722" y="2100"/>
                  <a:pt x="3532" y="2243"/>
                </a:cubicBezTo>
                <a:cubicBezTo>
                  <a:pt x="3484" y="1957"/>
                  <a:pt x="3245" y="1750"/>
                  <a:pt x="2943" y="1750"/>
                </a:cubicBezTo>
                <a:cubicBezTo>
                  <a:pt x="2800" y="1750"/>
                  <a:pt x="2354" y="1750"/>
                  <a:pt x="2211" y="1480"/>
                </a:cubicBezTo>
                <a:cubicBezTo>
                  <a:pt x="2196" y="1432"/>
                  <a:pt x="2148" y="1416"/>
                  <a:pt x="2116" y="1448"/>
                </a:cubicBezTo>
                <a:cubicBezTo>
                  <a:pt x="2068" y="1464"/>
                  <a:pt x="2052" y="1512"/>
                  <a:pt x="2084" y="1544"/>
                </a:cubicBezTo>
                <a:cubicBezTo>
                  <a:pt x="2259" y="1909"/>
                  <a:pt x="2768" y="1909"/>
                  <a:pt x="2943" y="1909"/>
                </a:cubicBezTo>
                <a:cubicBezTo>
                  <a:pt x="3197" y="1909"/>
                  <a:pt x="3372" y="2084"/>
                  <a:pt x="3388" y="2339"/>
                </a:cubicBezTo>
                <a:cubicBezTo>
                  <a:pt x="2975" y="2530"/>
                  <a:pt x="2386" y="2354"/>
                  <a:pt x="2036" y="208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8" name="Freeform: Shape 10">
            <a:extLst>
              <a:ext uri="{FF2B5EF4-FFF2-40B4-BE49-F238E27FC236}">
                <a16:creationId xmlns:a16="http://schemas.microsoft.com/office/drawing/2014/main" id="{D674D278-1BE2-B849-A3CC-2C9BE36C89B6}"/>
              </a:ext>
            </a:extLst>
          </p:cNvPr>
          <p:cNvSpPr/>
          <p:nvPr/>
        </p:nvSpPr>
        <p:spPr>
          <a:xfrm>
            <a:off x="6165945" y="9701428"/>
            <a:ext cx="1441439" cy="1437119"/>
          </a:xfrm>
          <a:custGeom>
            <a:avLst/>
            <a:gdLst/>
            <a:ahLst/>
            <a:cxnLst>
              <a:cxn ang="3cd4">
                <a:pos x="hc" y="t"/>
              </a:cxn>
              <a:cxn ang="cd2">
                <a:pos x="l" y="vc"/>
              </a:cxn>
              <a:cxn ang="cd4">
                <a:pos x="hc" y="b"/>
              </a:cxn>
              <a:cxn ang="0">
                <a:pos x="r" y="vc"/>
              </a:cxn>
            </a:cxnLst>
            <a:rect l="l" t="t" r="r" b="b"/>
            <a:pathLst>
              <a:path w="4005" h="3993">
                <a:moveTo>
                  <a:pt x="89" y="2625"/>
                </a:moveTo>
                <a:lnTo>
                  <a:pt x="1362" y="3913"/>
                </a:lnTo>
                <a:cubicBezTo>
                  <a:pt x="1425" y="3977"/>
                  <a:pt x="1489" y="3993"/>
                  <a:pt x="1569" y="3993"/>
                </a:cubicBezTo>
                <a:cubicBezTo>
                  <a:pt x="1648" y="3993"/>
                  <a:pt x="1728" y="3961"/>
                  <a:pt x="1791" y="3897"/>
                </a:cubicBezTo>
                <a:lnTo>
                  <a:pt x="3907" y="1798"/>
                </a:lnTo>
                <a:cubicBezTo>
                  <a:pt x="4034" y="1671"/>
                  <a:pt x="4034" y="1480"/>
                  <a:pt x="3923" y="1368"/>
                </a:cubicBezTo>
                <a:lnTo>
                  <a:pt x="2634" y="80"/>
                </a:lnTo>
                <a:cubicBezTo>
                  <a:pt x="2586" y="16"/>
                  <a:pt x="2523" y="0"/>
                  <a:pt x="2443" y="0"/>
                </a:cubicBezTo>
                <a:cubicBezTo>
                  <a:pt x="2348" y="0"/>
                  <a:pt x="2269" y="32"/>
                  <a:pt x="2205" y="96"/>
                </a:cubicBezTo>
                <a:lnTo>
                  <a:pt x="89" y="2195"/>
                </a:lnTo>
                <a:cubicBezTo>
                  <a:pt x="-22" y="2323"/>
                  <a:pt x="-38" y="2514"/>
                  <a:pt x="89" y="2625"/>
                </a:cubicBezTo>
                <a:close/>
                <a:moveTo>
                  <a:pt x="201" y="2323"/>
                </a:moveTo>
                <a:lnTo>
                  <a:pt x="2316" y="207"/>
                </a:lnTo>
                <a:cubicBezTo>
                  <a:pt x="2348" y="175"/>
                  <a:pt x="2396" y="144"/>
                  <a:pt x="2443" y="144"/>
                </a:cubicBezTo>
                <a:cubicBezTo>
                  <a:pt x="2475" y="144"/>
                  <a:pt x="2507" y="159"/>
                  <a:pt x="2523" y="191"/>
                </a:cubicBezTo>
                <a:lnTo>
                  <a:pt x="3812" y="1480"/>
                </a:lnTo>
                <a:cubicBezTo>
                  <a:pt x="3859" y="1527"/>
                  <a:pt x="3859" y="1623"/>
                  <a:pt x="3796" y="1671"/>
                </a:cubicBezTo>
                <a:lnTo>
                  <a:pt x="1680" y="3786"/>
                </a:lnTo>
                <a:cubicBezTo>
                  <a:pt x="1633" y="3850"/>
                  <a:pt x="1537" y="3865"/>
                  <a:pt x="1489" y="3802"/>
                </a:cubicBezTo>
                <a:lnTo>
                  <a:pt x="201" y="2514"/>
                </a:lnTo>
                <a:cubicBezTo>
                  <a:pt x="137" y="2466"/>
                  <a:pt x="153" y="2371"/>
                  <a:pt x="201" y="2323"/>
                </a:cubicBezTo>
                <a:close/>
                <a:moveTo>
                  <a:pt x="1617" y="2672"/>
                </a:moveTo>
                <a:cubicBezTo>
                  <a:pt x="1506" y="2672"/>
                  <a:pt x="1395" y="2720"/>
                  <a:pt x="1315" y="2800"/>
                </a:cubicBezTo>
                <a:cubicBezTo>
                  <a:pt x="1236" y="2879"/>
                  <a:pt x="1188" y="2990"/>
                  <a:pt x="1188" y="3102"/>
                </a:cubicBezTo>
                <a:cubicBezTo>
                  <a:pt x="1188" y="3213"/>
                  <a:pt x="1236" y="3325"/>
                  <a:pt x="1315" y="3404"/>
                </a:cubicBezTo>
                <a:cubicBezTo>
                  <a:pt x="1395" y="3484"/>
                  <a:pt x="1506" y="3531"/>
                  <a:pt x="1617" y="3531"/>
                </a:cubicBezTo>
                <a:cubicBezTo>
                  <a:pt x="1729" y="3531"/>
                  <a:pt x="1840" y="3484"/>
                  <a:pt x="1920" y="3404"/>
                </a:cubicBezTo>
                <a:cubicBezTo>
                  <a:pt x="2095" y="3229"/>
                  <a:pt x="2095" y="2959"/>
                  <a:pt x="1920" y="2800"/>
                </a:cubicBezTo>
                <a:cubicBezTo>
                  <a:pt x="1840" y="2720"/>
                  <a:pt x="1729" y="2672"/>
                  <a:pt x="1617" y="2672"/>
                </a:cubicBezTo>
                <a:close/>
                <a:moveTo>
                  <a:pt x="1808" y="3293"/>
                </a:moveTo>
                <a:cubicBezTo>
                  <a:pt x="1761" y="3341"/>
                  <a:pt x="1697" y="3372"/>
                  <a:pt x="1617" y="3372"/>
                </a:cubicBezTo>
                <a:cubicBezTo>
                  <a:pt x="1554" y="3372"/>
                  <a:pt x="1490" y="3341"/>
                  <a:pt x="1426" y="3293"/>
                </a:cubicBezTo>
                <a:cubicBezTo>
                  <a:pt x="1379" y="3245"/>
                  <a:pt x="1347" y="3166"/>
                  <a:pt x="1347" y="3102"/>
                </a:cubicBezTo>
                <a:cubicBezTo>
                  <a:pt x="1347" y="3023"/>
                  <a:pt x="1379" y="2959"/>
                  <a:pt x="1426" y="2911"/>
                </a:cubicBezTo>
                <a:cubicBezTo>
                  <a:pt x="1490" y="2863"/>
                  <a:pt x="1554" y="2832"/>
                  <a:pt x="1617" y="2832"/>
                </a:cubicBezTo>
                <a:cubicBezTo>
                  <a:pt x="1697" y="2832"/>
                  <a:pt x="1761" y="2863"/>
                  <a:pt x="1808" y="2911"/>
                </a:cubicBezTo>
                <a:cubicBezTo>
                  <a:pt x="1920" y="3023"/>
                  <a:pt x="1920" y="3181"/>
                  <a:pt x="1808" y="3293"/>
                </a:cubicBezTo>
                <a:close/>
                <a:moveTo>
                  <a:pt x="2047" y="2068"/>
                </a:moveTo>
                <a:cubicBezTo>
                  <a:pt x="1967" y="2148"/>
                  <a:pt x="1935" y="2259"/>
                  <a:pt x="1935" y="2371"/>
                </a:cubicBezTo>
                <a:cubicBezTo>
                  <a:pt x="1935" y="2481"/>
                  <a:pt x="1967" y="2593"/>
                  <a:pt x="2047" y="2672"/>
                </a:cubicBezTo>
                <a:cubicBezTo>
                  <a:pt x="2126" y="2752"/>
                  <a:pt x="2238" y="2784"/>
                  <a:pt x="2349" y="2784"/>
                </a:cubicBezTo>
                <a:cubicBezTo>
                  <a:pt x="2460" y="2784"/>
                  <a:pt x="2572" y="2752"/>
                  <a:pt x="2652" y="2672"/>
                </a:cubicBezTo>
                <a:cubicBezTo>
                  <a:pt x="2826" y="2498"/>
                  <a:pt x="2826" y="2227"/>
                  <a:pt x="2652" y="2068"/>
                </a:cubicBezTo>
                <a:cubicBezTo>
                  <a:pt x="2492" y="1893"/>
                  <a:pt x="2222" y="1893"/>
                  <a:pt x="2047" y="2068"/>
                </a:cubicBezTo>
                <a:close/>
                <a:moveTo>
                  <a:pt x="2540" y="2561"/>
                </a:moveTo>
                <a:cubicBezTo>
                  <a:pt x="2492" y="2609"/>
                  <a:pt x="2429" y="2641"/>
                  <a:pt x="2349" y="2641"/>
                </a:cubicBezTo>
                <a:cubicBezTo>
                  <a:pt x="2286" y="2625"/>
                  <a:pt x="2222" y="2609"/>
                  <a:pt x="2158" y="2561"/>
                </a:cubicBezTo>
                <a:cubicBezTo>
                  <a:pt x="2110" y="2498"/>
                  <a:pt x="2095" y="2434"/>
                  <a:pt x="2095" y="2371"/>
                </a:cubicBezTo>
                <a:cubicBezTo>
                  <a:pt x="2095" y="2291"/>
                  <a:pt x="2110" y="2227"/>
                  <a:pt x="2158" y="2180"/>
                </a:cubicBezTo>
                <a:cubicBezTo>
                  <a:pt x="2222" y="2132"/>
                  <a:pt x="2286" y="2100"/>
                  <a:pt x="2349" y="2100"/>
                </a:cubicBezTo>
                <a:cubicBezTo>
                  <a:pt x="2429" y="2100"/>
                  <a:pt x="2492" y="2132"/>
                  <a:pt x="2540" y="2180"/>
                </a:cubicBezTo>
                <a:cubicBezTo>
                  <a:pt x="2652" y="2275"/>
                  <a:pt x="2652" y="2450"/>
                  <a:pt x="2540" y="2561"/>
                </a:cubicBezTo>
                <a:close/>
                <a:moveTo>
                  <a:pt x="2795" y="1941"/>
                </a:moveTo>
                <a:cubicBezTo>
                  <a:pt x="2874" y="2020"/>
                  <a:pt x="2985" y="2052"/>
                  <a:pt x="3081" y="2052"/>
                </a:cubicBezTo>
                <a:cubicBezTo>
                  <a:pt x="3192" y="2052"/>
                  <a:pt x="3304" y="2020"/>
                  <a:pt x="3383" y="1941"/>
                </a:cubicBezTo>
                <a:cubicBezTo>
                  <a:pt x="3558" y="1766"/>
                  <a:pt x="3558" y="1496"/>
                  <a:pt x="3383" y="1336"/>
                </a:cubicBezTo>
                <a:cubicBezTo>
                  <a:pt x="3304" y="1257"/>
                  <a:pt x="3208" y="1209"/>
                  <a:pt x="3081" y="1209"/>
                </a:cubicBezTo>
                <a:cubicBezTo>
                  <a:pt x="2970" y="1209"/>
                  <a:pt x="2874" y="1257"/>
                  <a:pt x="2795" y="1336"/>
                </a:cubicBezTo>
                <a:cubicBezTo>
                  <a:pt x="2699" y="1416"/>
                  <a:pt x="2667" y="1527"/>
                  <a:pt x="2667" y="1639"/>
                </a:cubicBezTo>
                <a:cubicBezTo>
                  <a:pt x="2667" y="1750"/>
                  <a:pt x="2699" y="1862"/>
                  <a:pt x="2795" y="1941"/>
                </a:cubicBezTo>
                <a:close/>
                <a:moveTo>
                  <a:pt x="2906" y="1448"/>
                </a:moveTo>
                <a:cubicBezTo>
                  <a:pt x="2953" y="1400"/>
                  <a:pt x="3017" y="1368"/>
                  <a:pt x="3081" y="1368"/>
                </a:cubicBezTo>
                <a:cubicBezTo>
                  <a:pt x="3161" y="1368"/>
                  <a:pt x="3224" y="1400"/>
                  <a:pt x="3271" y="1448"/>
                </a:cubicBezTo>
                <a:cubicBezTo>
                  <a:pt x="3383" y="1543"/>
                  <a:pt x="3383" y="1718"/>
                  <a:pt x="3271" y="1814"/>
                </a:cubicBezTo>
                <a:cubicBezTo>
                  <a:pt x="3176" y="1925"/>
                  <a:pt x="3001" y="1925"/>
                  <a:pt x="2906" y="1814"/>
                </a:cubicBezTo>
                <a:cubicBezTo>
                  <a:pt x="2842" y="1766"/>
                  <a:pt x="2826" y="1702"/>
                  <a:pt x="2826" y="1639"/>
                </a:cubicBezTo>
                <a:cubicBezTo>
                  <a:pt x="2826" y="1559"/>
                  <a:pt x="2842" y="1496"/>
                  <a:pt x="2906" y="1448"/>
                </a:cubicBezTo>
                <a:close/>
                <a:moveTo>
                  <a:pt x="886" y="2784"/>
                </a:moveTo>
                <a:cubicBezTo>
                  <a:pt x="997" y="2784"/>
                  <a:pt x="1108" y="2752"/>
                  <a:pt x="1188" y="2672"/>
                </a:cubicBezTo>
                <a:cubicBezTo>
                  <a:pt x="1347" y="2498"/>
                  <a:pt x="1347" y="2227"/>
                  <a:pt x="1188" y="2068"/>
                </a:cubicBezTo>
                <a:cubicBezTo>
                  <a:pt x="1029" y="1893"/>
                  <a:pt x="759" y="1893"/>
                  <a:pt x="584" y="2068"/>
                </a:cubicBezTo>
                <a:cubicBezTo>
                  <a:pt x="504" y="2148"/>
                  <a:pt x="456" y="2259"/>
                  <a:pt x="456" y="2371"/>
                </a:cubicBezTo>
                <a:cubicBezTo>
                  <a:pt x="456" y="2481"/>
                  <a:pt x="504" y="2593"/>
                  <a:pt x="584" y="2672"/>
                </a:cubicBezTo>
                <a:cubicBezTo>
                  <a:pt x="663" y="2752"/>
                  <a:pt x="774" y="2784"/>
                  <a:pt x="886" y="2784"/>
                </a:cubicBezTo>
                <a:close/>
                <a:moveTo>
                  <a:pt x="695" y="2180"/>
                </a:moveTo>
                <a:cubicBezTo>
                  <a:pt x="759" y="2132"/>
                  <a:pt x="822" y="2100"/>
                  <a:pt x="886" y="2100"/>
                </a:cubicBezTo>
                <a:cubicBezTo>
                  <a:pt x="949" y="2100"/>
                  <a:pt x="1029" y="2132"/>
                  <a:pt x="1077" y="2180"/>
                </a:cubicBezTo>
                <a:cubicBezTo>
                  <a:pt x="1172" y="2275"/>
                  <a:pt x="1172" y="2450"/>
                  <a:pt x="1077" y="2561"/>
                </a:cubicBezTo>
                <a:cubicBezTo>
                  <a:pt x="1029" y="2609"/>
                  <a:pt x="965" y="2641"/>
                  <a:pt x="886" y="2641"/>
                </a:cubicBezTo>
                <a:cubicBezTo>
                  <a:pt x="822" y="2625"/>
                  <a:pt x="743" y="2609"/>
                  <a:pt x="695" y="2561"/>
                </a:cubicBezTo>
                <a:cubicBezTo>
                  <a:pt x="647" y="2498"/>
                  <a:pt x="616" y="2434"/>
                  <a:pt x="616" y="2371"/>
                </a:cubicBezTo>
                <a:cubicBezTo>
                  <a:pt x="616" y="2291"/>
                  <a:pt x="647" y="2227"/>
                  <a:pt x="695" y="2180"/>
                </a:cubicBezTo>
                <a:close/>
                <a:moveTo>
                  <a:pt x="1617" y="2052"/>
                </a:moveTo>
                <a:cubicBezTo>
                  <a:pt x="1729" y="2052"/>
                  <a:pt x="1840" y="2020"/>
                  <a:pt x="1920" y="1941"/>
                </a:cubicBezTo>
                <a:cubicBezTo>
                  <a:pt x="2095" y="1766"/>
                  <a:pt x="2095" y="1496"/>
                  <a:pt x="1920" y="1336"/>
                </a:cubicBezTo>
                <a:cubicBezTo>
                  <a:pt x="1840" y="1257"/>
                  <a:pt x="1729" y="1209"/>
                  <a:pt x="1617" y="1209"/>
                </a:cubicBezTo>
                <a:cubicBezTo>
                  <a:pt x="1506" y="1209"/>
                  <a:pt x="1395" y="1257"/>
                  <a:pt x="1315" y="1336"/>
                </a:cubicBezTo>
                <a:cubicBezTo>
                  <a:pt x="1236" y="1416"/>
                  <a:pt x="1188" y="1527"/>
                  <a:pt x="1188" y="1639"/>
                </a:cubicBezTo>
                <a:cubicBezTo>
                  <a:pt x="1188" y="1750"/>
                  <a:pt x="1236" y="1862"/>
                  <a:pt x="1315" y="1941"/>
                </a:cubicBezTo>
                <a:cubicBezTo>
                  <a:pt x="1395" y="2020"/>
                  <a:pt x="1506" y="2052"/>
                  <a:pt x="1617" y="2052"/>
                </a:cubicBezTo>
                <a:close/>
                <a:moveTo>
                  <a:pt x="1426" y="1448"/>
                </a:moveTo>
                <a:cubicBezTo>
                  <a:pt x="1490" y="1400"/>
                  <a:pt x="1554" y="1368"/>
                  <a:pt x="1617" y="1368"/>
                </a:cubicBezTo>
                <a:cubicBezTo>
                  <a:pt x="1697" y="1368"/>
                  <a:pt x="1761" y="1400"/>
                  <a:pt x="1808" y="1448"/>
                </a:cubicBezTo>
                <a:cubicBezTo>
                  <a:pt x="1920" y="1543"/>
                  <a:pt x="1920" y="1718"/>
                  <a:pt x="1808" y="1814"/>
                </a:cubicBezTo>
                <a:cubicBezTo>
                  <a:pt x="1713" y="1925"/>
                  <a:pt x="1538" y="1925"/>
                  <a:pt x="1426" y="1814"/>
                </a:cubicBezTo>
                <a:cubicBezTo>
                  <a:pt x="1379" y="1766"/>
                  <a:pt x="1347" y="1702"/>
                  <a:pt x="1347" y="1639"/>
                </a:cubicBezTo>
                <a:cubicBezTo>
                  <a:pt x="1347" y="1559"/>
                  <a:pt x="1379" y="1496"/>
                  <a:pt x="1426" y="1448"/>
                </a:cubicBezTo>
                <a:close/>
                <a:moveTo>
                  <a:pt x="2349" y="1320"/>
                </a:moveTo>
                <a:cubicBezTo>
                  <a:pt x="2460" y="1320"/>
                  <a:pt x="2572" y="1273"/>
                  <a:pt x="2652" y="1193"/>
                </a:cubicBezTo>
                <a:cubicBezTo>
                  <a:pt x="2826" y="1034"/>
                  <a:pt x="2826" y="764"/>
                  <a:pt x="2652" y="605"/>
                </a:cubicBezTo>
                <a:cubicBezTo>
                  <a:pt x="2572" y="525"/>
                  <a:pt x="2460" y="462"/>
                  <a:pt x="2349" y="478"/>
                </a:cubicBezTo>
                <a:cubicBezTo>
                  <a:pt x="2238" y="478"/>
                  <a:pt x="2126" y="525"/>
                  <a:pt x="2047" y="605"/>
                </a:cubicBezTo>
                <a:cubicBezTo>
                  <a:pt x="1967" y="684"/>
                  <a:pt x="1935" y="780"/>
                  <a:pt x="1935" y="907"/>
                </a:cubicBezTo>
                <a:cubicBezTo>
                  <a:pt x="1935" y="1018"/>
                  <a:pt x="1967" y="1114"/>
                  <a:pt x="2047" y="1193"/>
                </a:cubicBezTo>
                <a:cubicBezTo>
                  <a:pt x="2126" y="1273"/>
                  <a:pt x="2238" y="1320"/>
                  <a:pt x="2349" y="1320"/>
                </a:cubicBezTo>
                <a:close/>
                <a:moveTo>
                  <a:pt x="2158" y="716"/>
                </a:moveTo>
                <a:cubicBezTo>
                  <a:pt x="2222" y="668"/>
                  <a:pt x="2286" y="636"/>
                  <a:pt x="2349" y="636"/>
                </a:cubicBezTo>
                <a:cubicBezTo>
                  <a:pt x="2429" y="636"/>
                  <a:pt x="2492" y="668"/>
                  <a:pt x="2540" y="716"/>
                </a:cubicBezTo>
                <a:cubicBezTo>
                  <a:pt x="2652" y="811"/>
                  <a:pt x="2652" y="987"/>
                  <a:pt x="2540" y="1082"/>
                </a:cubicBezTo>
                <a:cubicBezTo>
                  <a:pt x="2444" y="1193"/>
                  <a:pt x="2270" y="1193"/>
                  <a:pt x="2158" y="1082"/>
                </a:cubicBezTo>
                <a:cubicBezTo>
                  <a:pt x="2110" y="1034"/>
                  <a:pt x="2095" y="971"/>
                  <a:pt x="2095" y="907"/>
                </a:cubicBezTo>
                <a:cubicBezTo>
                  <a:pt x="2095" y="827"/>
                  <a:pt x="2110" y="764"/>
                  <a:pt x="2158" y="71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9" name="Freeform: Shape 11">
            <a:extLst>
              <a:ext uri="{FF2B5EF4-FFF2-40B4-BE49-F238E27FC236}">
                <a16:creationId xmlns:a16="http://schemas.microsoft.com/office/drawing/2014/main" id="{9EA9AA25-FFAC-1F44-9CF5-BA53666ADD35}"/>
              </a:ext>
            </a:extLst>
          </p:cNvPr>
          <p:cNvSpPr/>
          <p:nvPr/>
        </p:nvSpPr>
        <p:spPr>
          <a:xfrm>
            <a:off x="1994552" y="3004243"/>
            <a:ext cx="1036079" cy="1660319"/>
          </a:xfrm>
          <a:custGeom>
            <a:avLst/>
            <a:gdLst/>
            <a:ahLst/>
            <a:cxnLst>
              <a:cxn ang="3cd4">
                <a:pos x="hc" y="t"/>
              </a:cxn>
              <a:cxn ang="cd2">
                <a:pos x="l" y="vc"/>
              </a:cxn>
              <a:cxn ang="cd4">
                <a:pos x="hc" y="b"/>
              </a:cxn>
              <a:cxn ang="0">
                <a:pos x="r" y="vc"/>
              </a:cxn>
            </a:cxnLst>
            <a:rect l="l" t="t" r="r" b="b"/>
            <a:pathLst>
              <a:path w="2879" h="4613">
                <a:moveTo>
                  <a:pt x="0" y="3149"/>
                </a:moveTo>
                <a:cubicBezTo>
                  <a:pt x="0" y="3960"/>
                  <a:pt x="652" y="4613"/>
                  <a:pt x="1448" y="4613"/>
                </a:cubicBezTo>
                <a:cubicBezTo>
                  <a:pt x="2243" y="4613"/>
                  <a:pt x="2879" y="3977"/>
                  <a:pt x="2879" y="3149"/>
                </a:cubicBezTo>
                <a:cubicBezTo>
                  <a:pt x="2879" y="2481"/>
                  <a:pt x="2402" y="1909"/>
                  <a:pt x="1750" y="1733"/>
                </a:cubicBezTo>
                <a:cubicBezTo>
                  <a:pt x="1750" y="954"/>
                  <a:pt x="1750" y="954"/>
                  <a:pt x="1750" y="954"/>
                </a:cubicBezTo>
                <a:cubicBezTo>
                  <a:pt x="2068" y="954"/>
                  <a:pt x="2068" y="954"/>
                  <a:pt x="2068" y="954"/>
                </a:cubicBezTo>
                <a:cubicBezTo>
                  <a:pt x="2116" y="954"/>
                  <a:pt x="2148" y="906"/>
                  <a:pt x="2148" y="875"/>
                </a:cubicBezTo>
                <a:cubicBezTo>
                  <a:pt x="2148" y="827"/>
                  <a:pt x="2116" y="795"/>
                  <a:pt x="2068" y="795"/>
                </a:cubicBezTo>
                <a:cubicBezTo>
                  <a:pt x="1909" y="795"/>
                  <a:pt x="1909" y="795"/>
                  <a:pt x="1909" y="795"/>
                </a:cubicBezTo>
                <a:cubicBezTo>
                  <a:pt x="2100" y="96"/>
                  <a:pt x="2100" y="96"/>
                  <a:pt x="2100" y="96"/>
                </a:cubicBezTo>
                <a:cubicBezTo>
                  <a:pt x="2116" y="79"/>
                  <a:pt x="2100" y="48"/>
                  <a:pt x="2084" y="32"/>
                </a:cubicBezTo>
                <a:cubicBezTo>
                  <a:pt x="2068" y="0"/>
                  <a:pt x="2052" y="0"/>
                  <a:pt x="2020" y="0"/>
                </a:cubicBezTo>
                <a:cubicBezTo>
                  <a:pt x="843" y="0"/>
                  <a:pt x="843" y="0"/>
                  <a:pt x="843" y="0"/>
                </a:cubicBezTo>
                <a:cubicBezTo>
                  <a:pt x="812" y="0"/>
                  <a:pt x="779" y="0"/>
                  <a:pt x="779" y="32"/>
                </a:cubicBezTo>
                <a:cubicBezTo>
                  <a:pt x="764" y="48"/>
                  <a:pt x="748" y="79"/>
                  <a:pt x="764" y="96"/>
                </a:cubicBezTo>
                <a:cubicBezTo>
                  <a:pt x="955" y="795"/>
                  <a:pt x="955" y="795"/>
                  <a:pt x="955" y="795"/>
                </a:cubicBezTo>
                <a:cubicBezTo>
                  <a:pt x="795" y="795"/>
                  <a:pt x="795" y="795"/>
                  <a:pt x="795" y="795"/>
                </a:cubicBezTo>
                <a:cubicBezTo>
                  <a:pt x="748" y="795"/>
                  <a:pt x="716" y="827"/>
                  <a:pt x="716" y="875"/>
                </a:cubicBezTo>
                <a:cubicBezTo>
                  <a:pt x="716" y="906"/>
                  <a:pt x="748" y="954"/>
                  <a:pt x="795" y="954"/>
                </a:cubicBezTo>
                <a:cubicBezTo>
                  <a:pt x="1113" y="954"/>
                  <a:pt x="1113" y="954"/>
                  <a:pt x="1113" y="954"/>
                </a:cubicBezTo>
                <a:cubicBezTo>
                  <a:pt x="1113" y="1733"/>
                  <a:pt x="1113" y="1733"/>
                  <a:pt x="1113" y="1733"/>
                </a:cubicBezTo>
                <a:cubicBezTo>
                  <a:pt x="461" y="1909"/>
                  <a:pt x="0" y="2481"/>
                  <a:pt x="0" y="3149"/>
                </a:cubicBezTo>
                <a:close/>
                <a:moveTo>
                  <a:pt x="1448" y="4453"/>
                </a:moveTo>
                <a:cubicBezTo>
                  <a:pt x="732" y="4453"/>
                  <a:pt x="159" y="3881"/>
                  <a:pt x="159" y="3149"/>
                </a:cubicBezTo>
                <a:cubicBezTo>
                  <a:pt x="159" y="2974"/>
                  <a:pt x="191" y="2799"/>
                  <a:pt x="270" y="2624"/>
                </a:cubicBezTo>
                <a:cubicBezTo>
                  <a:pt x="652" y="2433"/>
                  <a:pt x="1018" y="2529"/>
                  <a:pt x="1416" y="2640"/>
                </a:cubicBezTo>
                <a:cubicBezTo>
                  <a:pt x="1639" y="2688"/>
                  <a:pt x="1877" y="2751"/>
                  <a:pt x="2116" y="2751"/>
                </a:cubicBezTo>
                <a:cubicBezTo>
                  <a:pt x="2291" y="2751"/>
                  <a:pt x="2449" y="2720"/>
                  <a:pt x="2609" y="2640"/>
                </a:cubicBezTo>
                <a:cubicBezTo>
                  <a:pt x="2688" y="2799"/>
                  <a:pt x="2720" y="2974"/>
                  <a:pt x="2720" y="3149"/>
                </a:cubicBezTo>
                <a:cubicBezTo>
                  <a:pt x="2720" y="3881"/>
                  <a:pt x="2163" y="4453"/>
                  <a:pt x="1448" y="4453"/>
                </a:cubicBezTo>
                <a:close/>
                <a:moveTo>
                  <a:pt x="1113" y="748"/>
                </a:moveTo>
                <a:cubicBezTo>
                  <a:pt x="939" y="159"/>
                  <a:pt x="939" y="159"/>
                  <a:pt x="939" y="159"/>
                </a:cubicBezTo>
                <a:cubicBezTo>
                  <a:pt x="1925" y="159"/>
                  <a:pt x="1925" y="159"/>
                  <a:pt x="1925" y="159"/>
                </a:cubicBezTo>
                <a:cubicBezTo>
                  <a:pt x="1750" y="748"/>
                  <a:pt x="1750" y="748"/>
                  <a:pt x="1750" y="748"/>
                </a:cubicBezTo>
                <a:cubicBezTo>
                  <a:pt x="1750" y="763"/>
                  <a:pt x="1750" y="779"/>
                  <a:pt x="1750" y="795"/>
                </a:cubicBezTo>
                <a:cubicBezTo>
                  <a:pt x="1670" y="795"/>
                  <a:pt x="1670" y="795"/>
                  <a:pt x="1670" y="795"/>
                </a:cubicBezTo>
                <a:cubicBezTo>
                  <a:pt x="1193" y="795"/>
                  <a:pt x="1193" y="795"/>
                  <a:pt x="1193" y="795"/>
                </a:cubicBezTo>
                <a:cubicBezTo>
                  <a:pt x="1113" y="795"/>
                  <a:pt x="1113" y="795"/>
                  <a:pt x="1113" y="795"/>
                </a:cubicBezTo>
                <a:cubicBezTo>
                  <a:pt x="1113" y="779"/>
                  <a:pt x="1113" y="763"/>
                  <a:pt x="1113" y="748"/>
                </a:cubicBezTo>
                <a:close/>
                <a:moveTo>
                  <a:pt x="1591" y="954"/>
                </a:moveTo>
                <a:cubicBezTo>
                  <a:pt x="1591" y="1797"/>
                  <a:pt x="1591" y="1797"/>
                  <a:pt x="1591" y="1797"/>
                </a:cubicBezTo>
                <a:cubicBezTo>
                  <a:pt x="1591" y="1829"/>
                  <a:pt x="1622" y="1861"/>
                  <a:pt x="1654" y="1877"/>
                </a:cubicBezTo>
                <a:cubicBezTo>
                  <a:pt x="2036" y="1956"/>
                  <a:pt x="2354" y="2195"/>
                  <a:pt x="2545" y="2513"/>
                </a:cubicBezTo>
                <a:cubicBezTo>
                  <a:pt x="2179" y="2656"/>
                  <a:pt x="1830" y="2577"/>
                  <a:pt x="1448" y="2481"/>
                </a:cubicBezTo>
                <a:cubicBezTo>
                  <a:pt x="1098" y="2386"/>
                  <a:pt x="748" y="2306"/>
                  <a:pt x="398" y="2418"/>
                </a:cubicBezTo>
                <a:cubicBezTo>
                  <a:pt x="589" y="2147"/>
                  <a:pt x="875" y="1941"/>
                  <a:pt x="1209" y="1877"/>
                </a:cubicBezTo>
                <a:cubicBezTo>
                  <a:pt x="1241" y="1861"/>
                  <a:pt x="1273" y="1829"/>
                  <a:pt x="1273" y="1797"/>
                </a:cubicBezTo>
                <a:cubicBezTo>
                  <a:pt x="1273" y="954"/>
                  <a:pt x="1273" y="954"/>
                  <a:pt x="1273" y="95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Freeform: Shape 12">
            <a:extLst>
              <a:ext uri="{FF2B5EF4-FFF2-40B4-BE49-F238E27FC236}">
                <a16:creationId xmlns:a16="http://schemas.microsoft.com/office/drawing/2014/main" id="{3392D4AB-8251-034A-BE81-ED7010328202}"/>
              </a:ext>
            </a:extLst>
          </p:cNvPr>
          <p:cNvSpPr/>
          <p:nvPr/>
        </p:nvSpPr>
        <p:spPr>
          <a:xfrm>
            <a:off x="2177792" y="6343526"/>
            <a:ext cx="852839" cy="1717560"/>
          </a:xfrm>
          <a:custGeom>
            <a:avLst/>
            <a:gdLst/>
            <a:ahLst/>
            <a:cxnLst>
              <a:cxn ang="3cd4">
                <a:pos x="hc" y="t"/>
              </a:cxn>
              <a:cxn ang="cd2">
                <a:pos x="l" y="vc"/>
              </a:cxn>
              <a:cxn ang="cd4">
                <a:pos x="hc" y="b"/>
              </a:cxn>
              <a:cxn ang="0">
                <a:pos x="r" y="vc"/>
              </a:cxn>
            </a:cxnLst>
            <a:rect l="l" t="t" r="r" b="b"/>
            <a:pathLst>
              <a:path w="2370" h="4772">
                <a:moveTo>
                  <a:pt x="80" y="0"/>
                </a:moveTo>
                <a:cubicBezTo>
                  <a:pt x="32" y="0"/>
                  <a:pt x="0" y="48"/>
                  <a:pt x="0" y="80"/>
                </a:cubicBezTo>
                <a:lnTo>
                  <a:pt x="0" y="4693"/>
                </a:lnTo>
                <a:cubicBezTo>
                  <a:pt x="0" y="4740"/>
                  <a:pt x="32" y="4772"/>
                  <a:pt x="80" y="4772"/>
                </a:cubicBezTo>
                <a:lnTo>
                  <a:pt x="2290" y="4772"/>
                </a:lnTo>
                <a:cubicBezTo>
                  <a:pt x="2338" y="4772"/>
                  <a:pt x="2370" y="4740"/>
                  <a:pt x="2370" y="4693"/>
                </a:cubicBezTo>
                <a:lnTo>
                  <a:pt x="2370" y="80"/>
                </a:lnTo>
                <a:cubicBezTo>
                  <a:pt x="2370" y="48"/>
                  <a:pt x="2338" y="0"/>
                  <a:pt x="2290" y="0"/>
                </a:cubicBezTo>
                <a:close/>
                <a:moveTo>
                  <a:pt x="636" y="4613"/>
                </a:moveTo>
                <a:lnTo>
                  <a:pt x="636" y="3818"/>
                </a:lnTo>
                <a:lnTo>
                  <a:pt x="1750" y="3818"/>
                </a:lnTo>
                <a:lnTo>
                  <a:pt x="1750" y="4613"/>
                </a:lnTo>
                <a:close/>
                <a:moveTo>
                  <a:pt x="2211" y="4613"/>
                </a:moveTo>
                <a:lnTo>
                  <a:pt x="1908" y="4613"/>
                </a:lnTo>
                <a:lnTo>
                  <a:pt x="1908" y="3738"/>
                </a:lnTo>
                <a:cubicBezTo>
                  <a:pt x="1908" y="3691"/>
                  <a:pt x="1861" y="3659"/>
                  <a:pt x="1829" y="3659"/>
                </a:cubicBezTo>
                <a:lnTo>
                  <a:pt x="557" y="3659"/>
                </a:lnTo>
                <a:cubicBezTo>
                  <a:pt x="509" y="3659"/>
                  <a:pt x="477" y="3691"/>
                  <a:pt x="477" y="3738"/>
                </a:cubicBezTo>
                <a:lnTo>
                  <a:pt x="477" y="4613"/>
                </a:lnTo>
                <a:lnTo>
                  <a:pt x="159" y="4613"/>
                </a:lnTo>
                <a:lnTo>
                  <a:pt x="159" y="159"/>
                </a:lnTo>
                <a:lnTo>
                  <a:pt x="2211" y="159"/>
                </a:lnTo>
                <a:close/>
                <a:moveTo>
                  <a:pt x="398" y="3182"/>
                </a:moveTo>
                <a:lnTo>
                  <a:pt x="1034" y="3182"/>
                </a:lnTo>
                <a:cubicBezTo>
                  <a:pt x="1066" y="3182"/>
                  <a:pt x="1113" y="3150"/>
                  <a:pt x="1113" y="3102"/>
                </a:cubicBezTo>
                <a:lnTo>
                  <a:pt x="1113" y="2148"/>
                </a:lnTo>
                <a:cubicBezTo>
                  <a:pt x="1113" y="2100"/>
                  <a:pt x="1066" y="2068"/>
                  <a:pt x="1034" y="2068"/>
                </a:cubicBezTo>
                <a:lnTo>
                  <a:pt x="398" y="2068"/>
                </a:lnTo>
                <a:cubicBezTo>
                  <a:pt x="350" y="2068"/>
                  <a:pt x="318" y="2100"/>
                  <a:pt x="318" y="2148"/>
                </a:cubicBezTo>
                <a:lnTo>
                  <a:pt x="318" y="3102"/>
                </a:lnTo>
                <a:cubicBezTo>
                  <a:pt x="318" y="3150"/>
                  <a:pt x="350" y="3182"/>
                  <a:pt x="398" y="3182"/>
                </a:cubicBezTo>
                <a:close/>
                <a:moveTo>
                  <a:pt x="477" y="2227"/>
                </a:moveTo>
                <a:lnTo>
                  <a:pt x="954" y="2227"/>
                </a:lnTo>
                <a:lnTo>
                  <a:pt x="954" y="3022"/>
                </a:lnTo>
                <a:lnTo>
                  <a:pt x="477" y="3022"/>
                </a:lnTo>
                <a:close/>
                <a:moveTo>
                  <a:pt x="1272" y="2148"/>
                </a:moveTo>
                <a:lnTo>
                  <a:pt x="1272" y="3102"/>
                </a:lnTo>
                <a:cubicBezTo>
                  <a:pt x="1272" y="3150"/>
                  <a:pt x="1304" y="3182"/>
                  <a:pt x="1352" y="3182"/>
                </a:cubicBezTo>
                <a:lnTo>
                  <a:pt x="1988" y="3182"/>
                </a:lnTo>
                <a:cubicBezTo>
                  <a:pt x="2020" y="3182"/>
                  <a:pt x="2068" y="3150"/>
                  <a:pt x="2068" y="3102"/>
                </a:cubicBezTo>
                <a:lnTo>
                  <a:pt x="2068" y="2148"/>
                </a:lnTo>
                <a:cubicBezTo>
                  <a:pt x="2068" y="2100"/>
                  <a:pt x="2020" y="2068"/>
                  <a:pt x="1988" y="2068"/>
                </a:cubicBezTo>
                <a:lnTo>
                  <a:pt x="1352" y="2068"/>
                </a:lnTo>
                <a:cubicBezTo>
                  <a:pt x="1304" y="2068"/>
                  <a:pt x="1272" y="2100"/>
                  <a:pt x="1272" y="2148"/>
                </a:cubicBezTo>
                <a:close/>
                <a:moveTo>
                  <a:pt x="1431" y="2227"/>
                </a:moveTo>
                <a:lnTo>
                  <a:pt x="1908" y="2227"/>
                </a:lnTo>
                <a:lnTo>
                  <a:pt x="1908" y="3022"/>
                </a:lnTo>
                <a:lnTo>
                  <a:pt x="1431" y="3022"/>
                </a:lnTo>
                <a:close/>
                <a:moveTo>
                  <a:pt x="652" y="1241"/>
                </a:moveTo>
                <a:lnTo>
                  <a:pt x="970" y="1241"/>
                </a:lnTo>
                <a:lnTo>
                  <a:pt x="970" y="1559"/>
                </a:lnTo>
                <a:cubicBezTo>
                  <a:pt x="970" y="1607"/>
                  <a:pt x="1002" y="1639"/>
                  <a:pt x="1050" y="1639"/>
                </a:cubicBezTo>
                <a:lnTo>
                  <a:pt x="1304" y="1639"/>
                </a:lnTo>
                <a:cubicBezTo>
                  <a:pt x="1352" y="1639"/>
                  <a:pt x="1384" y="1607"/>
                  <a:pt x="1384" y="1559"/>
                </a:cubicBezTo>
                <a:lnTo>
                  <a:pt x="1384" y="1241"/>
                </a:lnTo>
                <a:lnTo>
                  <a:pt x="1702" y="1241"/>
                </a:lnTo>
                <a:cubicBezTo>
                  <a:pt x="1734" y="1241"/>
                  <a:pt x="1781" y="1209"/>
                  <a:pt x="1781" y="1161"/>
                </a:cubicBezTo>
                <a:lnTo>
                  <a:pt x="1781" y="907"/>
                </a:lnTo>
                <a:cubicBezTo>
                  <a:pt x="1781" y="859"/>
                  <a:pt x="1734" y="828"/>
                  <a:pt x="1702" y="828"/>
                </a:cubicBezTo>
                <a:lnTo>
                  <a:pt x="1384" y="828"/>
                </a:lnTo>
                <a:lnTo>
                  <a:pt x="1384" y="525"/>
                </a:lnTo>
                <a:cubicBezTo>
                  <a:pt x="1384" y="477"/>
                  <a:pt x="1352" y="446"/>
                  <a:pt x="1304" y="446"/>
                </a:cubicBezTo>
                <a:lnTo>
                  <a:pt x="1050" y="446"/>
                </a:lnTo>
                <a:cubicBezTo>
                  <a:pt x="1002" y="446"/>
                  <a:pt x="970" y="477"/>
                  <a:pt x="970" y="525"/>
                </a:cubicBezTo>
                <a:lnTo>
                  <a:pt x="970" y="828"/>
                </a:lnTo>
                <a:lnTo>
                  <a:pt x="652" y="828"/>
                </a:lnTo>
                <a:cubicBezTo>
                  <a:pt x="620" y="828"/>
                  <a:pt x="572" y="859"/>
                  <a:pt x="572" y="907"/>
                </a:cubicBezTo>
                <a:lnTo>
                  <a:pt x="572" y="1161"/>
                </a:lnTo>
                <a:cubicBezTo>
                  <a:pt x="572" y="1209"/>
                  <a:pt x="620" y="1241"/>
                  <a:pt x="652" y="1241"/>
                </a:cubicBezTo>
                <a:close/>
                <a:moveTo>
                  <a:pt x="732" y="986"/>
                </a:moveTo>
                <a:lnTo>
                  <a:pt x="1050" y="986"/>
                </a:lnTo>
                <a:cubicBezTo>
                  <a:pt x="1098" y="986"/>
                  <a:pt x="1129" y="955"/>
                  <a:pt x="1129" y="907"/>
                </a:cubicBezTo>
                <a:lnTo>
                  <a:pt x="1129" y="605"/>
                </a:lnTo>
                <a:lnTo>
                  <a:pt x="1225" y="605"/>
                </a:lnTo>
                <a:lnTo>
                  <a:pt x="1225" y="907"/>
                </a:lnTo>
                <a:cubicBezTo>
                  <a:pt x="1225" y="955"/>
                  <a:pt x="1256" y="986"/>
                  <a:pt x="1304" y="986"/>
                </a:cubicBezTo>
                <a:lnTo>
                  <a:pt x="1622" y="986"/>
                </a:lnTo>
                <a:lnTo>
                  <a:pt x="1622" y="1082"/>
                </a:lnTo>
                <a:lnTo>
                  <a:pt x="1304" y="1082"/>
                </a:lnTo>
                <a:cubicBezTo>
                  <a:pt x="1256" y="1082"/>
                  <a:pt x="1225" y="1130"/>
                  <a:pt x="1225" y="1161"/>
                </a:cubicBezTo>
                <a:lnTo>
                  <a:pt x="1225" y="1480"/>
                </a:lnTo>
                <a:lnTo>
                  <a:pt x="1129" y="1480"/>
                </a:lnTo>
                <a:lnTo>
                  <a:pt x="1129" y="1161"/>
                </a:lnTo>
                <a:cubicBezTo>
                  <a:pt x="1129" y="1130"/>
                  <a:pt x="1098" y="1082"/>
                  <a:pt x="1050" y="1082"/>
                </a:cubicBezTo>
                <a:lnTo>
                  <a:pt x="732" y="1082"/>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Freeform: Shape 13">
            <a:extLst>
              <a:ext uri="{FF2B5EF4-FFF2-40B4-BE49-F238E27FC236}">
                <a16:creationId xmlns:a16="http://schemas.microsoft.com/office/drawing/2014/main" id="{96AAD48C-9085-C045-87D9-5DC4C4D058D5}"/>
              </a:ext>
            </a:extLst>
          </p:cNvPr>
          <p:cNvSpPr/>
          <p:nvPr/>
        </p:nvSpPr>
        <p:spPr>
          <a:xfrm>
            <a:off x="6431535" y="3021524"/>
            <a:ext cx="676080" cy="1625760"/>
          </a:xfrm>
          <a:custGeom>
            <a:avLst/>
            <a:gdLst/>
            <a:ahLst/>
            <a:cxnLst>
              <a:cxn ang="3cd4">
                <a:pos x="hc" y="t"/>
              </a:cxn>
              <a:cxn ang="cd2">
                <a:pos x="l" y="vc"/>
              </a:cxn>
              <a:cxn ang="cd4">
                <a:pos x="hc" y="b"/>
              </a:cxn>
              <a:cxn ang="0">
                <a:pos x="r" y="vc"/>
              </a:cxn>
            </a:cxnLst>
            <a:rect l="l" t="t" r="r" b="b"/>
            <a:pathLst>
              <a:path w="1879" h="4517">
                <a:moveTo>
                  <a:pt x="955" y="4517"/>
                </a:moveTo>
                <a:cubicBezTo>
                  <a:pt x="1385" y="4517"/>
                  <a:pt x="1735" y="4167"/>
                  <a:pt x="1735" y="3738"/>
                </a:cubicBezTo>
                <a:lnTo>
                  <a:pt x="1735" y="652"/>
                </a:lnTo>
                <a:lnTo>
                  <a:pt x="1862" y="302"/>
                </a:lnTo>
                <a:cubicBezTo>
                  <a:pt x="1894" y="222"/>
                  <a:pt x="1878" y="159"/>
                  <a:pt x="1830" y="95"/>
                </a:cubicBezTo>
                <a:cubicBezTo>
                  <a:pt x="1799" y="31"/>
                  <a:pt x="1719" y="0"/>
                  <a:pt x="1655" y="0"/>
                </a:cubicBezTo>
                <a:lnTo>
                  <a:pt x="224" y="0"/>
                </a:lnTo>
                <a:cubicBezTo>
                  <a:pt x="144" y="0"/>
                  <a:pt x="81" y="31"/>
                  <a:pt x="33" y="95"/>
                </a:cubicBezTo>
                <a:cubicBezTo>
                  <a:pt x="1" y="159"/>
                  <a:pt x="-15" y="238"/>
                  <a:pt x="17" y="318"/>
                </a:cubicBezTo>
                <a:lnTo>
                  <a:pt x="176" y="652"/>
                </a:lnTo>
                <a:lnTo>
                  <a:pt x="176" y="3738"/>
                </a:lnTo>
                <a:cubicBezTo>
                  <a:pt x="176" y="4167"/>
                  <a:pt x="526" y="4517"/>
                  <a:pt x="955" y="4517"/>
                </a:cubicBezTo>
                <a:close/>
                <a:moveTo>
                  <a:pt x="160" y="254"/>
                </a:moveTo>
                <a:cubicBezTo>
                  <a:pt x="160" y="222"/>
                  <a:pt x="160" y="191"/>
                  <a:pt x="176" y="191"/>
                </a:cubicBezTo>
                <a:cubicBezTo>
                  <a:pt x="176" y="175"/>
                  <a:pt x="192" y="159"/>
                  <a:pt x="224" y="159"/>
                </a:cubicBezTo>
                <a:lnTo>
                  <a:pt x="1655" y="159"/>
                </a:lnTo>
                <a:cubicBezTo>
                  <a:pt x="1671" y="159"/>
                  <a:pt x="1687" y="175"/>
                  <a:pt x="1703" y="191"/>
                </a:cubicBezTo>
                <a:cubicBezTo>
                  <a:pt x="1719" y="206"/>
                  <a:pt x="1719" y="222"/>
                  <a:pt x="1719" y="238"/>
                </a:cubicBezTo>
                <a:lnTo>
                  <a:pt x="1591" y="604"/>
                </a:lnTo>
                <a:cubicBezTo>
                  <a:pt x="1576" y="620"/>
                  <a:pt x="1576" y="620"/>
                  <a:pt x="1576" y="636"/>
                </a:cubicBezTo>
                <a:lnTo>
                  <a:pt x="1576" y="3738"/>
                </a:lnTo>
                <a:cubicBezTo>
                  <a:pt x="1576" y="4087"/>
                  <a:pt x="1305" y="4358"/>
                  <a:pt x="955" y="4358"/>
                </a:cubicBezTo>
                <a:cubicBezTo>
                  <a:pt x="606" y="4358"/>
                  <a:pt x="335" y="4087"/>
                  <a:pt x="335" y="3738"/>
                </a:cubicBezTo>
                <a:lnTo>
                  <a:pt x="335" y="636"/>
                </a:lnTo>
                <a:cubicBezTo>
                  <a:pt x="335" y="620"/>
                  <a:pt x="335" y="604"/>
                  <a:pt x="319" y="604"/>
                </a:cubicBezTo>
                <a:close/>
                <a:moveTo>
                  <a:pt x="940" y="3435"/>
                </a:moveTo>
                <a:cubicBezTo>
                  <a:pt x="1131" y="3435"/>
                  <a:pt x="1291" y="3276"/>
                  <a:pt x="1291" y="3085"/>
                </a:cubicBezTo>
                <a:lnTo>
                  <a:pt x="1291" y="1161"/>
                </a:lnTo>
                <a:cubicBezTo>
                  <a:pt x="1291" y="1145"/>
                  <a:pt x="1274" y="1113"/>
                  <a:pt x="1259" y="1113"/>
                </a:cubicBezTo>
                <a:cubicBezTo>
                  <a:pt x="1243" y="1097"/>
                  <a:pt x="1227" y="1081"/>
                  <a:pt x="1211" y="1081"/>
                </a:cubicBezTo>
                <a:lnTo>
                  <a:pt x="988" y="1097"/>
                </a:lnTo>
                <a:cubicBezTo>
                  <a:pt x="956" y="1113"/>
                  <a:pt x="925" y="1113"/>
                  <a:pt x="877" y="1097"/>
                </a:cubicBezTo>
                <a:lnTo>
                  <a:pt x="670" y="1081"/>
                </a:lnTo>
                <a:cubicBezTo>
                  <a:pt x="654" y="1081"/>
                  <a:pt x="638" y="1097"/>
                  <a:pt x="622" y="1113"/>
                </a:cubicBezTo>
                <a:cubicBezTo>
                  <a:pt x="591" y="1113"/>
                  <a:pt x="591" y="1145"/>
                  <a:pt x="591" y="1161"/>
                </a:cubicBezTo>
                <a:lnTo>
                  <a:pt x="591" y="3085"/>
                </a:lnTo>
                <a:cubicBezTo>
                  <a:pt x="591" y="3276"/>
                  <a:pt x="750" y="3435"/>
                  <a:pt x="940" y="3435"/>
                </a:cubicBezTo>
                <a:close/>
                <a:moveTo>
                  <a:pt x="750" y="1256"/>
                </a:moveTo>
                <a:lnTo>
                  <a:pt x="877" y="1256"/>
                </a:lnTo>
                <a:cubicBezTo>
                  <a:pt x="909" y="1272"/>
                  <a:pt x="956" y="1272"/>
                  <a:pt x="1004" y="1256"/>
                </a:cubicBezTo>
                <a:lnTo>
                  <a:pt x="1131" y="1256"/>
                </a:lnTo>
                <a:lnTo>
                  <a:pt x="1131" y="3085"/>
                </a:lnTo>
                <a:cubicBezTo>
                  <a:pt x="1131" y="3197"/>
                  <a:pt x="1052" y="3276"/>
                  <a:pt x="940" y="3276"/>
                </a:cubicBezTo>
                <a:cubicBezTo>
                  <a:pt x="829" y="3276"/>
                  <a:pt x="750" y="3197"/>
                  <a:pt x="750" y="308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14">
            <a:extLst>
              <a:ext uri="{FF2B5EF4-FFF2-40B4-BE49-F238E27FC236}">
                <a16:creationId xmlns:a16="http://schemas.microsoft.com/office/drawing/2014/main" id="{1FFF3D64-213F-324B-BD52-B8018282B4AF}"/>
              </a:ext>
            </a:extLst>
          </p:cNvPr>
          <p:cNvSpPr/>
          <p:nvPr/>
        </p:nvSpPr>
        <p:spPr>
          <a:xfrm>
            <a:off x="10068332" y="3104683"/>
            <a:ext cx="1460160" cy="1462680"/>
          </a:xfrm>
          <a:custGeom>
            <a:avLst/>
            <a:gdLst/>
            <a:ahLst/>
            <a:cxnLst>
              <a:cxn ang="3cd4">
                <a:pos x="hc" y="t"/>
              </a:cxn>
              <a:cxn ang="cd2">
                <a:pos x="l" y="vc"/>
              </a:cxn>
              <a:cxn ang="cd4">
                <a:pos x="hc" y="b"/>
              </a:cxn>
              <a:cxn ang="0">
                <a:pos x="r" y="vc"/>
              </a:cxn>
            </a:cxnLst>
            <a:rect l="l" t="t" r="r" b="b"/>
            <a:pathLst>
              <a:path w="4057" h="4064">
                <a:moveTo>
                  <a:pt x="2021" y="1948"/>
                </a:moveTo>
                <a:cubicBezTo>
                  <a:pt x="2004" y="1948"/>
                  <a:pt x="1973" y="1948"/>
                  <a:pt x="1957" y="1963"/>
                </a:cubicBezTo>
                <a:cubicBezTo>
                  <a:pt x="1925" y="2011"/>
                  <a:pt x="1925" y="2059"/>
                  <a:pt x="1957" y="2091"/>
                </a:cubicBezTo>
                <a:cubicBezTo>
                  <a:pt x="1973" y="2107"/>
                  <a:pt x="2004" y="2123"/>
                  <a:pt x="2021" y="2123"/>
                </a:cubicBezTo>
                <a:cubicBezTo>
                  <a:pt x="2052" y="2123"/>
                  <a:pt x="2068" y="2107"/>
                  <a:pt x="2084" y="2091"/>
                </a:cubicBezTo>
                <a:cubicBezTo>
                  <a:pt x="2116" y="2059"/>
                  <a:pt x="2116" y="2011"/>
                  <a:pt x="2084" y="1963"/>
                </a:cubicBezTo>
                <a:cubicBezTo>
                  <a:pt x="2068" y="1948"/>
                  <a:pt x="2052" y="1948"/>
                  <a:pt x="2021" y="1948"/>
                </a:cubicBezTo>
                <a:close/>
                <a:moveTo>
                  <a:pt x="1750" y="1662"/>
                </a:moveTo>
                <a:cubicBezTo>
                  <a:pt x="1718" y="1662"/>
                  <a:pt x="1702" y="1677"/>
                  <a:pt x="1686" y="1693"/>
                </a:cubicBezTo>
                <a:cubicBezTo>
                  <a:pt x="1655" y="1725"/>
                  <a:pt x="1655" y="1789"/>
                  <a:pt x="1686" y="1820"/>
                </a:cubicBezTo>
                <a:cubicBezTo>
                  <a:pt x="1702" y="1836"/>
                  <a:pt x="1718" y="1853"/>
                  <a:pt x="1750" y="1853"/>
                </a:cubicBezTo>
                <a:cubicBezTo>
                  <a:pt x="1766" y="1853"/>
                  <a:pt x="1798" y="1836"/>
                  <a:pt x="1813" y="1820"/>
                </a:cubicBezTo>
                <a:cubicBezTo>
                  <a:pt x="1845" y="1789"/>
                  <a:pt x="1845" y="1725"/>
                  <a:pt x="1813" y="1693"/>
                </a:cubicBezTo>
                <a:cubicBezTo>
                  <a:pt x="1798" y="1677"/>
                  <a:pt x="1766" y="1662"/>
                  <a:pt x="1750" y="1662"/>
                </a:cubicBezTo>
                <a:close/>
                <a:moveTo>
                  <a:pt x="2307" y="2393"/>
                </a:moveTo>
                <a:cubicBezTo>
                  <a:pt x="2322" y="2393"/>
                  <a:pt x="2354" y="2393"/>
                  <a:pt x="2370" y="2377"/>
                </a:cubicBezTo>
                <a:cubicBezTo>
                  <a:pt x="2402" y="2345"/>
                  <a:pt x="2402" y="2282"/>
                  <a:pt x="2370" y="2250"/>
                </a:cubicBezTo>
                <a:cubicBezTo>
                  <a:pt x="2354" y="2234"/>
                  <a:pt x="2322" y="2218"/>
                  <a:pt x="2307" y="2218"/>
                </a:cubicBezTo>
                <a:cubicBezTo>
                  <a:pt x="2275" y="2218"/>
                  <a:pt x="2259" y="2234"/>
                  <a:pt x="2243" y="2250"/>
                </a:cubicBezTo>
                <a:cubicBezTo>
                  <a:pt x="2211" y="2282"/>
                  <a:pt x="2211" y="2345"/>
                  <a:pt x="2243" y="2377"/>
                </a:cubicBezTo>
                <a:cubicBezTo>
                  <a:pt x="2259" y="2393"/>
                  <a:pt x="2275" y="2393"/>
                  <a:pt x="2307" y="2393"/>
                </a:cubicBezTo>
                <a:close/>
                <a:moveTo>
                  <a:pt x="2339" y="1820"/>
                </a:moveTo>
                <a:cubicBezTo>
                  <a:pt x="2354" y="1820"/>
                  <a:pt x="2370" y="1805"/>
                  <a:pt x="2402" y="1789"/>
                </a:cubicBezTo>
                <a:cubicBezTo>
                  <a:pt x="2434" y="1757"/>
                  <a:pt x="2434" y="1693"/>
                  <a:pt x="2402" y="1662"/>
                </a:cubicBezTo>
                <a:cubicBezTo>
                  <a:pt x="2370" y="1645"/>
                  <a:pt x="2354" y="1645"/>
                  <a:pt x="2339" y="1645"/>
                </a:cubicBezTo>
                <a:cubicBezTo>
                  <a:pt x="2307" y="1645"/>
                  <a:pt x="2291" y="1645"/>
                  <a:pt x="2275" y="1662"/>
                </a:cubicBezTo>
                <a:cubicBezTo>
                  <a:pt x="2243" y="1693"/>
                  <a:pt x="2243" y="1757"/>
                  <a:pt x="2275" y="1789"/>
                </a:cubicBezTo>
                <a:cubicBezTo>
                  <a:pt x="2291" y="1805"/>
                  <a:pt x="2307" y="1820"/>
                  <a:pt x="2339" y="1820"/>
                </a:cubicBezTo>
                <a:close/>
                <a:moveTo>
                  <a:pt x="1989" y="1391"/>
                </a:moveTo>
                <a:cubicBezTo>
                  <a:pt x="1957" y="1423"/>
                  <a:pt x="1957" y="1471"/>
                  <a:pt x="1989" y="1518"/>
                </a:cubicBezTo>
                <a:cubicBezTo>
                  <a:pt x="2004" y="1534"/>
                  <a:pt x="2036" y="1534"/>
                  <a:pt x="2052" y="1534"/>
                </a:cubicBezTo>
                <a:cubicBezTo>
                  <a:pt x="2084" y="1534"/>
                  <a:pt x="2100" y="1534"/>
                  <a:pt x="2116" y="1518"/>
                </a:cubicBezTo>
                <a:cubicBezTo>
                  <a:pt x="2148" y="1471"/>
                  <a:pt x="2148" y="1423"/>
                  <a:pt x="2116" y="1391"/>
                </a:cubicBezTo>
                <a:cubicBezTo>
                  <a:pt x="2100" y="1375"/>
                  <a:pt x="2084" y="1359"/>
                  <a:pt x="2052" y="1359"/>
                </a:cubicBezTo>
                <a:cubicBezTo>
                  <a:pt x="2036" y="1359"/>
                  <a:pt x="2004" y="1375"/>
                  <a:pt x="1989" y="1391"/>
                </a:cubicBezTo>
                <a:close/>
                <a:moveTo>
                  <a:pt x="2609" y="2091"/>
                </a:moveTo>
                <a:cubicBezTo>
                  <a:pt x="2625" y="2091"/>
                  <a:pt x="2657" y="2091"/>
                  <a:pt x="2673" y="2075"/>
                </a:cubicBezTo>
                <a:cubicBezTo>
                  <a:pt x="2704" y="2027"/>
                  <a:pt x="2704" y="1980"/>
                  <a:pt x="2673" y="1948"/>
                </a:cubicBezTo>
                <a:cubicBezTo>
                  <a:pt x="2657" y="1932"/>
                  <a:pt x="2625" y="1916"/>
                  <a:pt x="2609" y="1916"/>
                </a:cubicBezTo>
                <a:cubicBezTo>
                  <a:pt x="2593" y="1916"/>
                  <a:pt x="2561" y="1932"/>
                  <a:pt x="2545" y="1948"/>
                </a:cubicBezTo>
                <a:cubicBezTo>
                  <a:pt x="2513" y="1980"/>
                  <a:pt x="2513" y="2027"/>
                  <a:pt x="2545" y="2075"/>
                </a:cubicBezTo>
                <a:cubicBezTo>
                  <a:pt x="2561" y="2091"/>
                  <a:pt x="2593" y="2091"/>
                  <a:pt x="2609" y="2091"/>
                </a:cubicBezTo>
                <a:close/>
                <a:moveTo>
                  <a:pt x="1734" y="2234"/>
                </a:moveTo>
                <a:cubicBezTo>
                  <a:pt x="1702" y="2234"/>
                  <a:pt x="1686" y="2250"/>
                  <a:pt x="1670" y="2266"/>
                </a:cubicBezTo>
                <a:cubicBezTo>
                  <a:pt x="1639" y="2298"/>
                  <a:pt x="1639" y="2361"/>
                  <a:pt x="1670" y="2393"/>
                </a:cubicBezTo>
                <a:cubicBezTo>
                  <a:pt x="1686" y="2409"/>
                  <a:pt x="1702" y="2425"/>
                  <a:pt x="1734" y="2425"/>
                </a:cubicBezTo>
                <a:cubicBezTo>
                  <a:pt x="1750" y="2425"/>
                  <a:pt x="1782" y="2409"/>
                  <a:pt x="1798" y="2393"/>
                </a:cubicBezTo>
                <a:cubicBezTo>
                  <a:pt x="1830" y="2361"/>
                  <a:pt x="1830" y="2298"/>
                  <a:pt x="1798" y="2266"/>
                </a:cubicBezTo>
                <a:cubicBezTo>
                  <a:pt x="1782" y="2250"/>
                  <a:pt x="1750" y="2234"/>
                  <a:pt x="1734" y="2234"/>
                </a:cubicBezTo>
                <a:close/>
                <a:moveTo>
                  <a:pt x="1448" y="1963"/>
                </a:moveTo>
                <a:cubicBezTo>
                  <a:pt x="1432" y="1963"/>
                  <a:pt x="1400" y="1980"/>
                  <a:pt x="1384" y="1996"/>
                </a:cubicBezTo>
                <a:cubicBezTo>
                  <a:pt x="1352" y="2027"/>
                  <a:pt x="1352" y="2075"/>
                  <a:pt x="1384" y="2107"/>
                </a:cubicBezTo>
                <a:cubicBezTo>
                  <a:pt x="1400" y="2139"/>
                  <a:pt x="1432" y="2139"/>
                  <a:pt x="1448" y="2139"/>
                </a:cubicBezTo>
                <a:cubicBezTo>
                  <a:pt x="1480" y="2139"/>
                  <a:pt x="1495" y="2139"/>
                  <a:pt x="1512" y="2107"/>
                </a:cubicBezTo>
                <a:cubicBezTo>
                  <a:pt x="1543" y="2075"/>
                  <a:pt x="1543" y="2027"/>
                  <a:pt x="1512" y="1996"/>
                </a:cubicBezTo>
                <a:cubicBezTo>
                  <a:pt x="1495" y="1980"/>
                  <a:pt x="1480" y="1963"/>
                  <a:pt x="1448" y="1963"/>
                </a:cubicBezTo>
                <a:close/>
                <a:moveTo>
                  <a:pt x="2004" y="2520"/>
                </a:moveTo>
                <a:cubicBezTo>
                  <a:pt x="1989" y="2520"/>
                  <a:pt x="1957" y="2520"/>
                  <a:pt x="1941" y="2552"/>
                </a:cubicBezTo>
                <a:cubicBezTo>
                  <a:pt x="1909" y="2584"/>
                  <a:pt x="1909" y="2632"/>
                  <a:pt x="1941" y="2663"/>
                </a:cubicBezTo>
                <a:cubicBezTo>
                  <a:pt x="1957" y="2680"/>
                  <a:pt x="1989" y="2695"/>
                  <a:pt x="2004" y="2695"/>
                </a:cubicBezTo>
                <a:cubicBezTo>
                  <a:pt x="2036" y="2695"/>
                  <a:pt x="2052" y="2680"/>
                  <a:pt x="2068" y="2663"/>
                </a:cubicBezTo>
                <a:cubicBezTo>
                  <a:pt x="2100" y="2632"/>
                  <a:pt x="2100" y="2584"/>
                  <a:pt x="2068" y="2552"/>
                </a:cubicBezTo>
                <a:cubicBezTo>
                  <a:pt x="2052" y="2520"/>
                  <a:pt x="2036" y="2520"/>
                  <a:pt x="2004" y="2520"/>
                </a:cubicBezTo>
                <a:close/>
                <a:moveTo>
                  <a:pt x="303" y="3778"/>
                </a:moveTo>
                <a:cubicBezTo>
                  <a:pt x="477" y="3953"/>
                  <a:pt x="700" y="4048"/>
                  <a:pt x="939" y="4048"/>
                </a:cubicBezTo>
                <a:lnTo>
                  <a:pt x="955" y="4064"/>
                </a:lnTo>
                <a:cubicBezTo>
                  <a:pt x="1193" y="4064"/>
                  <a:pt x="1416" y="3969"/>
                  <a:pt x="1575" y="3810"/>
                </a:cubicBezTo>
                <a:lnTo>
                  <a:pt x="2036" y="3333"/>
                </a:lnTo>
                <a:lnTo>
                  <a:pt x="2513" y="3794"/>
                </a:lnTo>
                <a:cubicBezTo>
                  <a:pt x="2688" y="3969"/>
                  <a:pt x="2895" y="4048"/>
                  <a:pt x="3118" y="4048"/>
                </a:cubicBezTo>
                <a:cubicBezTo>
                  <a:pt x="3357" y="4048"/>
                  <a:pt x="3595" y="3953"/>
                  <a:pt x="3786" y="3762"/>
                </a:cubicBezTo>
                <a:cubicBezTo>
                  <a:pt x="3961" y="3587"/>
                  <a:pt x="4057" y="3364"/>
                  <a:pt x="4057" y="3126"/>
                </a:cubicBezTo>
                <a:cubicBezTo>
                  <a:pt x="4057" y="2871"/>
                  <a:pt x="3977" y="2649"/>
                  <a:pt x="3802" y="2490"/>
                </a:cubicBezTo>
                <a:lnTo>
                  <a:pt x="3325" y="2012"/>
                </a:lnTo>
                <a:lnTo>
                  <a:pt x="3802" y="1535"/>
                </a:lnTo>
                <a:cubicBezTo>
                  <a:pt x="3961" y="1376"/>
                  <a:pt x="4057" y="1154"/>
                  <a:pt x="4040" y="915"/>
                </a:cubicBezTo>
                <a:cubicBezTo>
                  <a:pt x="4040" y="676"/>
                  <a:pt x="3929" y="454"/>
                  <a:pt x="3754" y="279"/>
                </a:cubicBezTo>
                <a:cubicBezTo>
                  <a:pt x="3404" y="-87"/>
                  <a:pt x="2831" y="-87"/>
                  <a:pt x="2497" y="247"/>
                </a:cubicBezTo>
                <a:lnTo>
                  <a:pt x="2021" y="724"/>
                </a:lnTo>
                <a:lnTo>
                  <a:pt x="1543" y="263"/>
                </a:lnTo>
                <a:cubicBezTo>
                  <a:pt x="1193" y="-71"/>
                  <a:pt x="637" y="-55"/>
                  <a:pt x="271" y="294"/>
                </a:cubicBezTo>
                <a:cubicBezTo>
                  <a:pt x="112" y="470"/>
                  <a:pt x="16" y="708"/>
                  <a:pt x="0" y="946"/>
                </a:cubicBezTo>
                <a:cubicBezTo>
                  <a:pt x="0" y="1185"/>
                  <a:pt x="96" y="1408"/>
                  <a:pt x="255" y="1567"/>
                </a:cubicBezTo>
                <a:lnTo>
                  <a:pt x="732" y="2044"/>
                </a:lnTo>
                <a:lnTo>
                  <a:pt x="255" y="2521"/>
                </a:lnTo>
                <a:cubicBezTo>
                  <a:pt x="-79" y="2855"/>
                  <a:pt x="-63" y="3428"/>
                  <a:pt x="303" y="3778"/>
                </a:cubicBezTo>
                <a:close/>
                <a:moveTo>
                  <a:pt x="3691" y="2601"/>
                </a:moveTo>
                <a:cubicBezTo>
                  <a:pt x="3834" y="2744"/>
                  <a:pt x="3897" y="2919"/>
                  <a:pt x="3897" y="3110"/>
                </a:cubicBezTo>
                <a:cubicBezTo>
                  <a:pt x="3897" y="3317"/>
                  <a:pt x="3818" y="3508"/>
                  <a:pt x="3675" y="3651"/>
                </a:cubicBezTo>
                <a:cubicBezTo>
                  <a:pt x="3372" y="3953"/>
                  <a:pt x="2911" y="3969"/>
                  <a:pt x="2625" y="3682"/>
                </a:cubicBezTo>
                <a:lnTo>
                  <a:pt x="2148" y="3221"/>
                </a:lnTo>
                <a:lnTo>
                  <a:pt x="3213" y="2140"/>
                </a:lnTo>
                <a:close/>
                <a:moveTo>
                  <a:pt x="2036" y="3110"/>
                </a:moveTo>
                <a:lnTo>
                  <a:pt x="955" y="2044"/>
                </a:lnTo>
                <a:lnTo>
                  <a:pt x="2021" y="963"/>
                </a:lnTo>
                <a:lnTo>
                  <a:pt x="3102" y="2028"/>
                </a:lnTo>
                <a:close/>
                <a:moveTo>
                  <a:pt x="2609" y="358"/>
                </a:moveTo>
                <a:cubicBezTo>
                  <a:pt x="2736" y="231"/>
                  <a:pt x="2911" y="167"/>
                  <a:pt x="3102" y="167"/>
                </a:cubicBezTo>
                <a:cubicBezTo>
                  <a:pt x="3293" y="167"/>
                  <a:pt x="3500" y="231"/>
                  <a:pt x="3643" y="390"/>
                </a:cubicBezTo>
                <a:cubicBezTo>
                  <a:pt x="3786" y="533"/>
                  <a:pt x="3881" y="724"/>
                  <a:pt x="3881" y="915"/>
                </a:cubicBezTo>
                <a:cubicBezTo>
                  <a:pt x="3897" y="1106"/>
                  <a:pt x="3818" y="1297"/>
                  <a:pt x="3691" y="1424"/>
                </a:cubicBezTo>
                <a:lnTo>
                  <a:pt x="3213" y="1901"/>
                </a:lnTo>
                <a:lnTo>
                  <a:pt x="2132" y="836"/>
                </a:lnTo>
                <a:close/>
                <a:moveTo>
                  <a:pt x="366" y="1455"/>
                </a:moveTo>
                <a:cubicBezTo>
                  <a:pt x="223" y="1328"/>
                  <a:pt x="159" y="1137"/>
                  <a:pt x="159" y="946"/>
                </a:cubicBezTo>
                <a:cubicBezTo>
                  <a:pt x="159" y="740"/>
                  <a:pt x="255" y="549"/>
                  <a:pt x="382" y="406"/>
                </a:cubicBezTo>
                <a:cubicBezTo>
                  <a:pt x="684" y="119"/>
                  <a:pt x="1146" y="88"/>
                  <a:pt x="1432" y="374"/>
                </a:cubicBezTo>
                <a:lnTo>
                  <a:pt x="1909" y="851"/>
                </a:lnTo>
                <a:lnTo>
                  <a:pt x="843" y="1933"/>
                </a:lnTo>
                <a:close/>
                <a:moveTo>
                  <a:pt x="843" y="2155"/>
                </a:moveTo>
                <a:lnTo>
                  <a:pt x="1925" y="3221"/>
                </a:lnTo>
                <a:lnTo>
                  <a:pt x="1464" y="3699"/>
                </a:lnTo>
                <a:cubicBezTo>
                  <a:pt x="1320" y="3826"/>
                  <a:pt x="1146" y="3905"/>
                  <a:pt x="939" y="3905"/>
                </a:cubicBezTo>
                <a:cubicBezTo>
                  <a:pt x="748" y="3889"/>
                  <a:pt x="557" y="3810"/>
                  <a:pt x="414" y="3667"/>
                </a:cubicBezTo>
                <a:cubicBezTo>
                  <a:pt x="112" y="3380"/>
                  <a:pt x="96" y="2903"/>
                  <a:pt x="366" y="263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3" name="Freeform: Shape 15">
            <a:extLst>
              <a:ext uri="{FF2B5EF4-FFF2-40B4-BE49-F238E27FC236}">
                <a16:creationId xmlns:a16="http://schemas.microsoft.com/office/drawing/2014/main" id="{12EBFA34-EB64-5841-9A20-45FA17702E04}"/>
              </a:ext>
            </a:extLst>
          </p:cNvPr>
          <p:cNvSpPr/>
          <p:nvPr/>
        </p:nvSpPr>
        <p:spPr>
          <a:xfrm>
            <a:off x="21556618" y="2975444"/>
            <a:ext cx="1087560" cy="1717560"/>
          </a:xfrm>
          <a:custGeom>
            <a:avLst/>
            <a:gdLst/>
            <a:ahLst/>
            <a:cxnLst>
              <a:cxn ang="3cd4">
                <a:pos x="hc" y="t"/>
              </a:cxn>
              <a:cxn ang="cd2">
                <a:pos x="l" y="vc"/>
              </a:cxn>
              <a:cxn ang="cd4">
                <a:pos x="hc" y="b"/>
              </a:cxn>
              <a:cxn ang="0">
                <a:pos x="r" y="vc"/>
              </a:cxn>
            </a:cxnLst>
            <a:rect l="l" t="t" r="r" b="b"/>
            <a:pathLst>
              <a:path w="3022" h="4772">
                <a:moveTo>
                  <a:pt x="2624" y="0"/>
                </a:moveTo>
                <a:lnTo>
                  <a:pt x="398" y="0"/>
                </a:lnTo>
                <a:cubicBezTo>
                  <a:pt x="350" y="0"/>
                  <a:pt x="318" y="48"/>
                  <a:pt x="318" y="80"/>
                </a:cubicBezTo>
                <a:lnTo>
                  <a:pt x="318" y="796"/>
                </a:lnTo>
                <a:lnTo>
                  <a:pt x="80" y="796"/>
                </a:lnTo>
                <a:cubicBezTo>
                  <a:pt x="32" y="796"/>
                  <a:pt x="0" y="828"/>
                  <a:pt x="0" y="875"/>
                </a:cubicBezTo>
                <a:lnTo>
                  <a:pt x="0" y="4358"/>
                </a:lnTo>
                <a:cubicBezTo>
                  <a:pt x="0" y="4549"/>
                  <a:pt x="223" y="4772"/>
                  <a:pt x="429" y="4772"/>
                </a:cubicBezTo>
                <a:lnTo>
                  <a:pt x="2624" y="4772"/>
                </a:lnTo>
                <a:cubicBezTo>
                  <a:pt x="2831" y="4772"/>
                  <a:pt x="3022" y="4566"/>
                  <a:pt x="3022" y="4358"/>
                </a:cubicBezTo>
                <a:lnTo>
                  <a:pt x="3022" y="875"/>
                </a:lnTo>
                <a:cubicBezTo>
                  <a:pt x="3022" y="828"/>
                  <a:pt x="2990" y="796"/>
                  <a:pt x="2943" y="796"/>
                </a:cubicBezTo>
                <a:lnTo>
                  <a:pt x="2704" y="796"/>
                </a:lnTo>
                <a:lnTo>
                  <a:pt x="2704" y="80"/>
                </a:lnTo>
                <a:cubicBezTo>
                  <a:pt x="2704" y="48"/>
                  <a:pt x="2672" y="0"/>
                  <a:pt x="2624" y="0"/>
                </a:cubicBezTo>
                <a:close/>
                <a:moveTo>
                  <a:pt x="477" y="159"/>
                </a:moveTo>
                <a:lnTo>
                  <a:pt x="2545" y="159"/>
                </a:lnTo>
                <a:lnTo>
                  <a:pt x="2545" y="796"/>
                </a:lnTo>
                <a:lnTo>
                  <a:pt x="477" y="796"/>
                </a:lnTo>
                <a:close/>
                <a:moveTo>
                  <a:pt x="2863" y="4358"/>
                </a:moveTo>
                <a:cubicBezTo>
                  <a:pt x="2863" y="4470"/>
                  <a:pt x="2736" y="4613"/>
                  <a:pt x="2624" y="4613"/>
                </a:cubicBezTo>
                <a:lnTo>
                  <a:pt x="429" y="4613"/>
                </a:lnTo>
                <a:cubicBezTo>
                  <a:pt x="318" y="4613"/>
                  <a:pt x="159" y="4470"/>
                  <a:pt x="159" y="4358"/>
                </a:cubicBezTo>
                <a:lnTo>
                  <a:pt x="159" y="955"/>
                </a:lnTo>
                <a:lnTo>
                  <a:pt x="398" y="955"/>
                </a:lnTo>
                <a:lnTo>
                  <a:pt x="2624" y="955"/>
                </a:lnTo>
                <a:lnTo>
                  <a:pt x="2863" y="955"/>
                </a:lnTo>
                <a:close/>
                <a:moveTo>
                  <a:pt x="636" y="589"/>
                </a:moveTo>
                <a:lnTo>
                  <a:pt x="827" y="589"/>
                </a:lnTo>
                <a:lnTo>
                  <a:pt x="827" y="382"/>
                </a:lnTo>
                <a:lnTo>
                  <a:pt x="636" y="382"/>
                </a:lnTo>
                <a:close/>
                <a:moveTo>
                  <a:pt x="1034" y="589"/>
                </a:moveTo>
                <a:lnTo>
                  <a:pt x="1225" y="589"/>
                </a:lnTo>
                <a:lnTo>
                  <a:pt x="1225" y="382"/>
                </a:lnTo>
                <a:lnTo>
                  <a:pt x="1034" y="382"/>
                </a:lnTo>
                <a:close/>
                <a:moveTo>
                  <a:pt x="1431" y="589"/>
                </a:moveTo>
                <a:lnTo>
                  <a:pt x="1622" y="589"/>
                </a:lnTo>
                <a:lnTo>
                  <a:pt x="1622" y="382"/>
                </a:lnTo>
                <a:lnTo>
                  <a:pt x="1431" y="382"/>
                </a:lnTo>
                <a:close/>
                <a:moveTo>
                  <a:pt x="1829" y="589"/>
                </a:moveTo>
                <a:lnTo>
                  <a:pt x="2020" y="589"/>
                </a:lnTo>
                <a:lnTo>
                  <a:pt x="2020" y="382"/>
                </a:lnTo>
                <a:lnTo>
                  <a:pt x="1829" y="382"/>
                </a:lnTo>
                <a:close/>
                <a:moveTo>
                  <a:pt x="2227" y="589"/>
                </a:moveTo>
                <a:lnTo>
                  <a:pt x="2418" y="589"/>
                </a:lnTo>
                <a:lnTo>
                  <a:pt x="2418" y="382"/>
                </a:lnTo>
                <a:lnTo>
                  <a:pt x="2227" y="382"/>
                </a:lnTo>
                <a:close/>
                <a:moveTo>
                  <a:pt x="2020" y="2545"/>
                </a:moveTo>
                <a:lnTo>
                  <a:pt x="1591" y="2545"/>
                </a:lnTo>
                <a:lnTo>
                  <a:pt x="1591" y="2116"/>
                </a:lnTo>
                <a:cubicBezTo>
                  <a:pt x="1591" y="2068"/>
                  <a:pt x="1559" y="2036"/>
                  <a:pt x="1511" y="2036"/>
                </a:cubicBezTo>
                <a:cubicBezTo>
                  <a:pt x="1463" y="2036"/>
                  <a:pt x="1431" y="2068"/>
                  <a:pt x="1431" y="2116"/>
                </a:cubicBezTo>
                <a:lnTo>
                  <a:pt x="1431" y="2545"/>
                </a:lnTo>
                <a:lnTo>
                  <a:pt x="1002" y="2545"/>
                </a:lnTo>
                <a:cubicBezTo>
                  <a:pt x="955" y="2545"/>
                  <a:pt x="922" y="2577"/>
                  <a:pt x="922" y="2625"/>
                </a:cubicBezTo>
                <a:cubicBezTo>
                  <a:pt x="922" y="2673"/>
                  <a:pt x="955" y="2704"/>
                  <a:pt x="1002" y="2704"/>
                </a:cubicBezTo>
                <a:lnTo>
                  <a:pt x="1431" y="2704"/>
                </a:lnTo>
                <a:lnTo>
                  <a:pt x="1431" y="3134"/>
                </a:lnTo>
                <a:cubicBezTo>
                  <a:pt x="1431" y="3182"/>
                  <a:pt x="1463" y="3213"/>
                  <a:pt x="1511" y="3213"/>
                </a:cubicBezTo>
                <a:cubicBezTo>
                  <a:pt x="1559" y="3213"/>
                  <a:pt x="1591" y="3182"/>
                  <a:pt x="1591" y="3134"/>
                </a:cubicBezTo>
                <a:lnTo>
                  <a:pt x="1591" y="2704"/>
                </a:lnTo>
                <a:lnTo>
                  <a:pt x="2020" y="2704"/>
                </a:lnTo>
                <a:cubicBezTo>
                  <a:pt x="2068" y="2704"/>
                  <a:pt x="2100" y="2673"/>
                  <a:pt x="2100" y="2625"/>
                </a:cubicBezTo>
                <a:cubicBezTo>
                  <a:pt x="2100" y="2577"/>
                  <a:pt x="2068" y="2545"/>
                  <a:pt x="2020" y="254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4" name="Freeform: Shape 16">
            <a:extLst>
              <a:ext uri="{FF2B5EF4-FFF2-40B4-BE49-F238E27FC236}">
                <a16:creationId xmlns:a16="http://schemas.microsoft.com/office/drawing/2014/main" id="{79D410F6-19F0-0741-8933-B8E7F7827A61}"/>
              </a:ext>
            </a:extLst>
          </p:cNvPr>
          <p:cNvSpPr/>
          <p:nvPr/>
        </p:nvSpPr>
        <p:spPr>
          <a:xfrm>
            <a:off x="17453975" y="6890253"/>
            <a:ext cx="1711800" cy="658080"/>
          </a:xfrm>
          <a:custGeom>
            <a:avLst/>
            <a:gdLst/>
            <a:ahLst/>
            <a:cxnLst>
              <a:cxn ang="3cd4">
                <a:pos x="hc" y="t"/>
              </a:cxn>
              <a:cxn ang="cd2">
                <a:pos x="l" y="vc"/>
              </a:cxn>
              <a:cxn ang="cd4">
                <a:pos x="hc" y="b"/>
              </a:cxn>
              <a:cxn ang="0">
                <a:pos x="r" y="vc"/>
              </a:cxn>
            </a:cxnLst>
            <a:rect l="l" t="t" r="r" b="b"/>
            <a:pathLst>
              <a:path w="4756" h="1829">
                <a:moveTo>
                  <a:pt x="2926" y="604"/>
                </a:moveTo>
                <a:lnTo>
                  <a:pt x="3913" y="604"/>
                </a:lnTo>
                <a:cubicBezTo>
                  <a:pt x="3944" y="604"/>
                  <a:pt x="3992" y="557"/>
                  <a:pt x="3992" y="525"/>
                </a:cubicBezTo>
                <a:cubicBezTo>
                  <a:pt x="3992" y="477"/>
                  <a:pt x="3944" y="445"/>
                  <a:pt x="3913" y="445"/>
                </a:cubicBezTo>
                <a:lnTo>
                  <a:pt x="2926" y="445"/>
                </a:lnTo>
                <a:cubicBezTo>
                  <a:pt x="2878" y="445"/>
                  <a:pt x="2847" y="477"/>
                  <a:pt x="2847" y="525"/>
                </a:cubicBezTo>
                <a:cubicBezTo>
                  <a:pt x="2847" y="557"/>
                  <a:pt x="2878" y="604"/>
                  <a:pt x="2926" y="604"/>
                </a:cubicBezTo>
                <a:close/>
                <a:moveTo>
                  <a:pt x="238" y="271"/>
                </a:moveTo>
                <a:cubicBezTo>
                  <a:pt x="79" y="445"/>
                  <a:pt x="0" y="668"/>
                  <a:pt x="0" y="923"/>
                </a:cubicBezTo>
                <a:cubicBezTo>
                  <a:pt x="0" y="1161"/>
                  <a:pt x="79" y="1384"/>
                  <a:pt x="238" y="1559"/>
                </a:cubicBezTo>
                <a:cubicBezTo>
                  <a:pt x="397" y="1734"/>
                  <a:pt x="620" y="1829"/>
                  <a:pt x="843" y="1829"/>
                </a:cubicBezTo>
                <a:lnTo>
                  <a:pt x="3913" y="1829"/>
                </a:lnTo>
                <a:cubicBezTo>
                  <a:pt x="4374" y="1829"/>
                  <a:pt x="4756" y="1416"/>
                  <a:pt x="4756" y="907"/>
                </a:cubicBezTo>
                <a:cubicBezTo>
                  <a:pt x="4756" y="668"/>
                  <a:pt x="4660" y="445"/>
                  <a:pt x="4501" y="271"/>
                </a:cubicBezTo>
                <a:cubicBezTo>
                  <a:pt x="4342" y="95"/>
                  <a:pt x="4135" y="0"/>
                  <a:pt x="3913" y="0"/>
                </a:cubicBezTo>
                <a:lnTo>
                  <a:pt x="843" y="0"/>
                </a:lnTo>
                <a:cubicBezTo>
                  <a:pt x="604" y="0"/>
                  <a:pt x="397" y="95"/>
                  <a:pt x="238" y="271"/>
                </a:cubicBezTo>
                <a:close/>
                <a:moveTo>
                  <a:pt x="3913" y="159"/>
                </a:moveTo>
                <a:cubicBezTo>
                  <a:pt x="4087" y="159"/>
                  <a:pt x="4262" y="238"/>
                  <a:pt x="4390" y="381"/>
                </a:cubicBezTo>
                <a:cubicBezTo>
                  <a:pt x="4517" y="525"/>
                  <a:pt x="4596" y="716"/>
                  <a:pt x="4596" y="907"/>
                </a:cubicBezTo>
                <a:cubicBezTo>
                  <a:pt x="4596" y="1320"/>
                  <a:pt x="4294" y="1670"/>
                  <a:pt x="3913" y="1670"/>
                </a:cubicBezTo>
                <a:lnTo>
                  <a:pt x="2481" y="1670"/>
                </a:lnTo>
                <a:lnTo>
                  <a:pt x="2497" y="1638"/>
                </a:lnTo>
                <a:cubicBezTo>
                  <a:pt x="2656" y="1193"/>
                  <a:pt x="2672" y="716"/>
                  <a:pt x="2513" y="271"/>
                </a:cubicBezTo>
                <a:lnTo>
                  <a:pt x="2481" y="159"/>
                </a:lnTo>
                <a:close/>
                <a:moveTo>
                  <a:pt x="2322" y="159"/>
                </a:moveTo>
                <a:lnTo>
                  <a:pt x="2369" y="334"/>
                </a:lnTo>
                <a:cubicBezTo>
                  <a:pt x="2497" y="732"/>
                  <a:pt x="2497" y="1177"/>
                  <a:pt x="2354" y="1575"/>
                </a:cubicBezTo>
                <a:lnTo>
                  <a:pt x="2322" y="1670"/>
                </a:lnTo>
                <a:lnTo>
                  <a:pt x="843" y="1670"/>
                </a:lnTo>
                <a:cubicBezTo>
                  <a:pt x="652" y="1670"/>
                  <a:pt x="493" y="1590"/>
                  <a:pt x="350" y="1447"/>
                </a:cubicBezTo>
                <a:cubicBezTo>
                  <a:pt x="223" y="1304"/>
                  <a:pt x="159" y="1113"/>
                  <a:pt x="159" y="923"/>
                </a:cubicBezTo>
                <a:cubicBezTo>
                  <a:pt x="143" y="716"/>
                  <a:pt x="223" y="525"/>
                  <a:pt x="350" y="381"/>
                </a:cubicBezTo>
                <a:cubicBezTo>
                  <a:pt x="477" y="238"/>
                  <a:pt x="652" y="159"/>
                  <a:pt x="843" y="1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5" name="Freeform: Shape 17">
            <a:extLst>
              <a:ext uri="{FF2B5EF4-FFF2-40B4-BE49-F238E27FC236}">
                <a16:creationId xmlns:a16="http://schemas.microsoft.com/office/drawing/2014/main" id="{38BD4AEF-479F-BB47-BF15-27F7779AC373}"/>
              </a:ext>
            </a:extLst>
          </p:cNvPr>
          <p:cNvSpPr/>
          <p:nvPr/>
        </p:nvSpPr>
        <p:spPr>
          <a:xfrm>
            <a:off x="21417176" y="6578133"/>
            <a:ext cx="1276560" cy="1279440"/>
          </a:xfrm>
          <a:custGeom>
            <a:avLst/>
            <a:gdLst/>
            <a:ahLst/>
            <a:cxnLst>
              <a:cxn ang="3cd4">
                <a:pos x="hc" y="t"/>
              </a:cxn>
              <a:cxn ang="cd2">
                <a:pos x="l" y="vc"/>
              </a:cxn>
              <a:cxn ang="cd4">
                <a:pos x="hc" y="b"/>
              </a:cxn>
              <a:cxn ang="0">
                <a:pos x="r" y="vc"/>
              </a:cxn>
            </a:cxnLst>
            <a:rect l="l" t="t" r="r" b="b"/>
            <a:pathLst>
              <a:path w="3547" h="3555">
                <a:moveTo>
                  <a:pt x="24" y="3428"/>
                </a:moveTo>
                <a:cubicBezTo>
                  <a:pt x="-8" y="3460"/>
                  <a:pt x="-8" y="3507"/>
                  <a:pt x="24" y="3539"/>
                </a:cubicBezTo>
                <a:cubicBezTo>
                  <a:pt x="40" y="3555"/>
                  <a:pt x="56" y="3555"/>
                  <a:pt x="71" y="3555"/>
                </a:cubicBezTo>
                <a:cubicBezTo>
                  <a:pt x="103" y="3555"/>
                  <a:pt x="119" y="3555"/>
                  <a:pt x="135" y="3539"/>
                </a:cubicBezTo>
                <a:lnTo>
                  <a:pt x="898" y="2775"/>
                </a:lnTo>
                <a:lnTo>
                  <a:pt x="898" y="3062"/>
                </a:lnTo>
                <a:cubicBezTo>
                  <a:pt x="898" y="3110"/>
                  <a:pt x="931" y="3141"/>
                  <a:pt x="978" y="3141"/>
                </a:cubicBezTo>
                <a:lnTo>
                  <a:pt x="2457" y="3141"/>
                </a:lnTo>
                <a:cubicBezTo>
                  <a:pt x="2505" y="3141"/>
                  <a:pt x="2537" y="3110"/>
                  <a:pt x="2537" y="3062"/>
                </a:cubicBezTo>
                <a:lnTo>
                  <a:pt x="2537" y="2664"/>
                </a:lnTo>
                <a:lnTo>
                  <a:pt x="3412" y="3539"/>
                </a:lnTo>
                <a:cubicBezTo>
                  <a:pt x="3428" y="3555"/>
                  <a:pt x="3443" y="3555"/>
                  <a:pt x="3460" y="3555"/>
                </a:cubicBezTo>
                <a:cubicBezTo>
                  <a:pt x="3491" y="3555"/>
                  <a:pt x="3507" y="3555"/>
                  <a:pt x="3523" y="3539"/>
                </a:cubicBezTo>
                <a:cubicBezTo>
                  <a:pt x="3555" y="3507"/>
                  <a:pt x="3555" y="3460"/>
                  <a:pt x="3523" y="3428"/>
                </a:cubicBezTo>
                <a:lnTo>
                  <a:pt x="2553" y="2442"/>
                </a:lnTo>
                <a:lnTo>
                  <a:pt x="2537" y="2442"/>
                </a:lnTo>
                <a:lnTo>
                  <a:pt x="2537" y="2299"/>
                </a:lnTo>
                <a:cubicBezTo>
                  <a:pt x="2791" y="2060"/>
                  <a:pt x="2934" y="1742"/>
                  <a:pt x="2934" y="1392"/>
                </a:cubicBezTo>
                <a:cubicBezTo>
                  <a:pt x="2934" y="1201"/>
                  <a:pt x="2887" y="1010"/>
                  <a:pt x="2807" y="851"/>
                </a:cubicBezTo>
                <a:lnTo>
                  <a:pt x="3523" y="135"/>
                </a:lnTo>
                <a:cubicBezTo>
                  <a:pt x="3555" y="103"/>
                  <a:pt x="3555" y="56"/>
                  <a:pt x="3523" y="24"/>
                </a:cubicBezTo>
                <a:cubicBezTo>
                  <a:pt x="3491" y="-8"/>
                  <a:pt x="3443" y="-8"/>
                  <a:pt x="3412" y="24"/>
                </a:cubicBezTo>
                <a:lnTo>
                  <a:pt x="2728" y="708"/>
                </a:lnTo>
                <a:cubicBezTo>
                  <a:pt x="2505" y="374"/>
                  <a:pt x="2124" y="151"/>
                  <a:pt x="1694" y="151"/>
                </a:cubicBezTo>
                <a:cubicBezTo>
                  <a:pt x="1296" y="151"/>
                  <a:pt x="962" y="342"/>
                  <a:pt x="740" y="629"/>
                </a:cubicBezTo>
                <a:lnTo>
                  <a:pt x="135" y="24"/>
                </a:lnTo>
                <a:cubicBezTo>
                  <a:pt x="103" y="-8"/>
                  <a:pt x="56" y="-8"/>
                  <a:pt x="24" y="24"/>
                </a:cubicBezTo>
                <a:cubicBezTo>
                  <a:pt x="-8" y="56"/>
                  <a:pt x="-8" y="103"/>
                  <a:pt x="24" y="135"/>
                </a:cubicBezTo>
                <a:lnTo>
                  <a:pt x="644" y="772"/>
                </a:lnTo>
                <a:cubicBezTo>
                  <a:pt x="549" y="947"/>
                  <a:pt x="485" y="1169"/>
                  <a:pt x="485" y="1392"/>
                </a:cubicBezTo>
                <a:cubicBezTo>
                  <a:pt x="485" y="1726"/>
                  <a:pt x="628" y="2060"/>
                  <a:pt x="898" y="2299"/>
                </a:cubicBezTo>
                <a:lnTo>
                  <a:pt x="898" y="2553"/>
                </a:lnTo>
                <a:close/>
                <a:moveTo>
                  <a:pt x="644" y="1392"/>
                </a:moveTo>
                <a:cubicBezTo>
                  <a:pt x="644" y="787"/>
                  <a:pt x="1106" y="310"/>
                  <a:pt x="1694" y="310"/>
                </a:cubicBezTo>
                <a:cubicBezTo>
                  <a:pt x="2298" y="310"/>
                  <a:pt x="2776" y="787"/>
                  <a:pt x="2776" y="1392"/>
                </a:cubicBezTo>
                <a:cubicBezTo>
                  <a:pt x="2776" y="1710"/>
                  <a:pt x="2648" y="1996"/>
                  <a:pt x="2410" y="2187"/>
                </a:cubicBezTo>
                <a:cubicBezTo>
                  <a:pt x="2394" y="2203"/>
                  <a:pt x="2378" y="2235"/>
                  <a:pt x="2378" y="2251"/>
                </a:cubicBezTo>
                <a:lnTo>
                  <a:pt x="2378" y="2983"/>
                </a:lnTo>
                <a:lnTo>
                  <a:pt x="2155" y="2983"/>
                </a:lnTo>
                <a:lnTo>
                  <a:pt x="2155" y="2664"/>
                </a:lnTo>
                <a:cubicBezTo>
                  <a:pt x="2155" y="2617"/>
                  <a:pt x="2124" y="2585"/>
                  <a:pt x="2076" y="2585"/>
                </a:cubicBezTo>
                <a:cubicBezTo>
                  <a:pt x="2044" y="2585"/>
                  <a:pt x="1996" y="2617"/>
                  <a:pt x="1996" y="2664"/>
                </a:cubicBezTo>
                <a:lnTo>
                  <a:pt x="1996" y="2983"/>
                </a:lnTo>
                <a:lnTo>
                  <a:pt x="1916" y="2983"/>
                </a:lnTo>
                <a:lnTo>
                  <a:pt x="1916" y="2664"/>
                </a:lnTo>
                <a:cubicBezTo>
                  <a:pt x="1916" y="2617"/>
                  <a:pt x="1885" y="2585"/>
                  <a:pt x="1837" y="2585"/>
                </a:cubicBezTo>
                <a:cubicBezTo>
                  <a:pt x="1789" y="2585"/>
                  <a:pt x="1758" y="2617"/>
                  <a:pt x="1758" y="2664"/>
                </a:cubicBezTo>
                <a:lnTo>
                  <a:pt x="1758" y="2983"/>
                </a:lnTo>
                <a:lnTo>
                  <a:pt x="1662" y="2983"/>
                </a:lnTo>
                <a:lnTo>
                  <a:pt x="1662" y="2664"/>
                </a:lnTo>
                <a:cubicBezTo>
                  <a:pt x="1662" y="2617"/>
                  <a:pt x="1630" y="2585"/>
                  <a:pt x="1583" y="2585"/>
                </a:cubicBezTo>
                <a:cubicBezTo>
                  <a:pt x="1551" y="2585"/>
                  <a:pt x="1503" y="2617"/>
                  <a:pt x="1503" y="2664"/>
                </a:cubicBezTo>
                <a:lnTo>
                  <a:pt x="1503" y="2983"/>
                </a:lnTo>
                <a:lnTo>
                  <a:pt x="1424" y="2983"/>
                </a:lnTo>
                <a:lnTo>
                  <a:pt x="1424" y="2664"/>
                </a:lnTo>
                <a:cubicBezTo>
                  <a:pt x="1424" y="2617"/>
                  <a:pt x="1376" y="2585"/>
                  <a:pt x="1344" y="2585"/>
                </a:cubicBezTo>
                <a:cubicBezTo>
                  <a:pt x="1296" y="2585"/>
                  <a:pt x="1264" y="2617"/>
                  <a:pt x="1264" y="2664"/>
                </a:cubicBezTo>
                <a:lnTo>
                  <a:pt x="1264" y="2983"/>
                </a:lnTo>
                <a:lnTo>
                  <a:pt x="1058" y="2983"/>
                </a:lnTo>
                <a:lnTo>
                  <a:pt x="1058" y="2251"/>
                </a:lnTo>
                <a:cubicBezTo>
                  <a:pt x="1058" y="2235"/>
                  <a:pt x="1042" y="2203"/>
                  <a:pt x="1026" y="2187"/>
                </a:cubicBezTo>
                <a:cubicBezTo>
                  <a:pt x="788" y="1980"/>
                  <a:pt x="644" y="1694"/>
                  <a:pt x="644" y="1392"/>
                </a:cubicBezTo>
                <a:close/>
                <a:moveTo>
                  <a:pt x="1583" y="1376"/>
                </a:moveTo>
                <a:cubicBezTo>
                  <a:pt x="1583" y="1169"/>
                  <a:pt x="1407" y="994"/>
                  <a:pt x="1201" y="994"/>
                </a:cubicBezTo>
                <a:cubicBezTo>
                  <a:pt x="978" y="994"/>
                  <a:pt x="819" y="1169"/>
                  <a:pt x="819" y="1376"/>
                </a:cubicBezTo>
                <a:cubicBezTo>
                  <a:pt x="819" y="1599"/>
                  <a:pt x="978" y="1774"/>
                  <a:pt x="1201" y="1774"/>
                </a:cubicBezTo>
                <a:cubicBezTo>
                  <a:pt x="1407" y="1774"/>
                  <a:pt x="1583" y="1599"/>
                  <a:pt x="1583" y="1376"/>
                </a:cubicBezTo>
                <a:close/>
                <a:moveTo>
                  <a:pt x="978" y="1376"/>
                </a:moveTo>
                <a:cubicBezTo>
                  <a:pt x="978" y="1265"/>
                  <a:pt x="1074" y="1153"/>
                  <a:pt x="1201" y="1153"/>
                </a:cubicBezTo>
                <a:cubicBezTo>
                  <a:pt x="1312" y="1153"/>
                  <a:pt x="1424" y="1265"/>
                  <a:pt x="1424" y="1376"/>
                </a:cubicBezTo>
                <a:cubicBezTo>
                  <a:pt x="1424" y="1503"/>
                  <a:pt x="1312" y="1614"/>
                  <a:pt x="1201" y="1614"/>
                </a:cubicBezTo>
                <a:cubicBezTo>
                  <a:pt x="1074" y="1614"/>
                  <a:pt x="978" y="1503"/>
                  <a:pt x="978" y="1376"/>
                </a:cubicBezTo>
                <a:close/>
                <a:moveTo>
                  <a:pt x="2235" y="1774"/>
                </a:moveTo>
                <a:cubicBezTo>
                  <a:pt x="2442" y="1774"/>
                  <a:pt x="2616" y="1599"/>
                  <a:pt x="2616" y="1376"/>
                </a:cubicBezTo>
                <a:cubicBezTo>
                  <a:pt x="2616" y="1169"/>
                  <a:pt x="2442" y="994"/>
                  <a:pt x="2235" y="994"/>
                </a:cubicBezTo>
                <a:cubicBezTo>
                  <a:pt x="2012" y="994"/>
                  <a:pt x="1853" y="1169"/>
                  <a:pt x="1853" y="1376"/>
                </a:cubicBezTo>
                <a:cubicBezTo>
                  <a:pt x="1853" y="1599"/>
                  <a:pt x="2012" y="1774"/>
                  <a:pt x="2235" y="1774"/>
                </a:cubicBezTo>
                <a:close/>
                <a:moveTo>
                  <a:pt x="2235" y="1153"/>
                </a:moveTo>
                <a:cubicBezTo>
                  <a:pt x="2346" y="1153"/>
                  <a:pt x="2457" y="1265"/>
                  <a:pt x="2457" y="1376"/>
                </a:cubicBezTo>
                <a:cubicBezTo>
                  <a:pt x="2457" y="1503"/>
                  <a:pt x="2346" y="1614"/>
                  <a:pt x="2235" y="1614"/>
                </a:cubicBezTo>
                <a:cubicBezTo>
                  <a:pt x="2107" y="1614"/>
                  <a:pt x="1996" y="1503"/>
                  <a:pt x="1996" y="1376"/>
                </a:cubicBezTo>
                <a:cubicBezTo>
                  <a:pt x="1996" y="1265"/>
                  <a:pt x="2107" y="1153"/>
                  <a:pt x="2235" y="1153"/>
                </a:cubicBezTo>
                <a:close/>
                <a:moveTo>
                  <a:pt x="1710" y="2362"/>
                </a:moveTo>
                <a:cubicBezTo>
                  <a:pt x="1837" y="2362"/>
                  <a:pt x="1949" y="2266"/>
                  <a:pt x="1949" y="2123"/>
                </a:cubicBezTo>
                <a:cubicBezTo>
                  <a:pt x="1949" y="2092"/>
                  <a:pt x="1901" y="1662"/>
                  <a:pt x="1710" y="1662"/>
                </a:cubicBezTo>
                <a:cubicBezTo>
                  <a:pt x="1535" y="1662"/>
                  <a:pt x="1471" y="2092"/>
                  <a:pt x="1471" y="2123"/>
                </a:cubicBezTo>
                <a:cubicBezTo>
                  <a:pt x="1471" y="2266"/>
                  <a:pt x="1583" y="2362"/>
                  <a:pt x="1710" y="2362"/>
                </a:cubicBezTo>
                <a:close/>
                <a:moveTo>
                  <a:pt x="1710" y="1853"/>
                </a:moveTo>
                <a:cubicBezTo>
                  <a:pt x="1742" y="1917"/>
                  <a:pt x="1789" y="2060"/>
                  <a:pt x="1789" y="2123"/>
                </a:cubicBezTo>
                <a:cubicBezTo>
                  <a:pt x="1789" y="2171"/>
                  <a:pt x="1758" y="2203"/>
                  <a:pt x="1710" y="2203"/>
                </a:cubicBezTo>
                <a:cubicBezTo>
                  <a:pt x="1662" y="2203"/>
                  <a:pt x="1630" y="2171"/>
                  <a:pt x="1630" y="2123"/>
                </a:cubicBezTo>
                <a:cubicBezTo>
                  <a:pt x="1630" y="2060"/>
                  <a:pt x="1678" y="1917"/>
                  <a:pt x="1710" y="185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6" name="Freeform: Shape 18">
            <a:extLst>
              <a:ext uri="{FF2B5EF4-FFF2-40B4-BE49-F238E27FC236}">
                <a16:creationId xmlns:a16="http://schemas.microsoft.com/office/drawing/2014/main" id="{4B59C4EF-4100-E74E-8849-8003CA2F4F8C}"/>
              </a:ext>
            </a:extLst>
          </p:cNvPr>
          <p:cNvSpPr/>
          <p:nvPr/>
        </p:nvSpPr>
        <p:spPr>
          <a:xfrm>
            <a:off x="14012678" y="6612806"/>
            <a:ext cx="1540080" cy="1236599"/>
          </a:xfrm>
          <a:custGeom>
            <a:avLst/>
            <a:gdLst/>
            <a:ahLst/>
            <a:cxnLst>
              <a:cxn ang="3cd4">
                <a:pos x="hc" y="t"/>
              </a:cxn>
              <a:cxn ang="cd2">
                <a:pos x="l" y="vc"/>
              </a:cxn>
              <a:cxn ang="cd4">
                <a:pos x="hc" y="b"/>
              </a:cxn>
              <a:cxn ang="0">
                <a:pos x="r" y="vc"/>
              </a:cxn>
            </a:cxnLst>
            <a:rect l="l" t="t" r="r" b="b"/>
            <a:pathLst>
              <a:path w="4279" h="3436">
                <a:moveTo>
                  <a:pt x="4199" y="573"/>
                </a:moveTo>
                <a:lnTo>
                  <a:pt x="3102" y="573"/>
                </a:lnTo>
                <a:cubicBezTo>
                  <a:pt x="3102" y="302"/>
                  <a:pt x="2879" y="0"/>
                  <a:pt x="2593" y="0"/>
                </a:cubicBezTo>
                <a:lnTo>
                  <a:pt x="1702" y="0"/>
                </a:lnTo>
                <a:cubicBezTo>
                  <a:pt x="1400" y="0"/>
                  <a:pt x="1177" y="302"/>
                  <a:pt x="1177" y="573"/>
                </a:cubicBezTo>
                <a:lnTo>
                  <a:pt x="80" y="573"/>
                </a:lnTo>
                <a:cubicBezTo>
                  <a:pt x="48" y="573"/>
                  <a:pt x="0" y="604"/>
                  <a:pt x="0" y="652"/>
                </a:cubicBezTo>
                <a:lnTo>
                  <a:pt x="0" y="3356"/>
                </a:lnTo>
                <a:cubicBezTo>
                  <a:pt x="0" y="3388"/>
                  <a:pt x="48" y="3436"/>
                  <a:pt x="80" y="3436"/>
                </a:cubicBezTo>
                <a:lnTo>
                  <a:pt x="4199" y="3436"/>
                </a:lnTo>
                <a:cubicBezTo>
                  <a:pt x="4247" y="3436"/>
                  <a:pt x="4279" y="3388"/>
                  <a:pt x="4279" y="3356"/>
                </a:cubicBezTo>
                <a:lnTo>
                  <a:pt x="4279" y="652"/>
                </a:lnTo>
                <a:cubicBezTo>
                  <a:pt x="4279" y="604"/>
                  <a:pt x="4247" y="573"/>
                  <a:pt x="4199" y="573"/>
                </a:cubicBezTo>
                <a:close/>
                <a:moveTo>
                  <a:pt x="1702" y="159"/>
                </a:moveTo>
                <a:lnTo>
                  <a:pt x="2593" y="159"/>
                </a:lnTo>
                <a:cubicBezTo>
                  <a:pt x="2784" y="159"/>
                  <a:pt x="2943" y="382"/>
                  <a:pt x="2943" y="573"/>
                </a:cubicBezTo>
                <a:lnTo>
                  <a:pt x="1336" y="573"/>
                </a:lnTo>
                <a:cubicBezTo>
                  <a:pt x="1336" y="382"/>
                  <a:pt x="1495" y="159"/>
                  <a:pt x="1702" y="159"/>
                </a:cubicBezTo>
                <a:close/>
                <a:moveTo>
                  <a:pt x="4120" y="3277"/>
                </a:moveTo>
                <a:lnTo>
                  <a:pt x="159" y="3277"/>
                </a:lnTo>
                <a:lnTo>
                  <a:pt x="159" y="732"/>
                </a:lnTo>
                <a:lnTo>
                  <a:pt x="4120" y="732"/>
                </a:lnTo>
                <a:close/>
                <a:moveTo>
                  <a:pt x="1225" y="2434"/>
                </a:moveTo>
                <a:lnTo>
                  <a:pt x="1702" y="2434"/>
                </a:lnTo>
                <a:lnTo>
                  <a:pt x="1702" y="2927"/>
                </a:lnTo>
                <a:cubicBezTo>
                  <a:pt x="1702" y="2958"/>
                  <a:pt x="1750" y="3006"/>
                  <a:pt x="1781" y="3006"/>
                </a:cubicBezTo>
                <a:lnTo>
                  <a:pt x="2497" y="3006"/>
                </a:lnTo>
                <a:cubicBezTo>
                  <a:pt x="2545" y="3006"/>
                  <a:pt x="2577" y="2958"/>
                  <a:pt x="2577" y="2927"/>
                </a:cubicBezTo>
                <a:lnTo>
                  <a:pt x="2577" y="2434"/>
                </a:lnTo>
                <a:lnTo>
                  <a:pt x="3070" y="2434"/>
                </a:lnTo>
                <a:cubicBezTo>
                  <a:pt x="3102" y="2434"/>
                  <a:pt x="3149" y="2402"/>
                  <a:pt x="3149" y="2354"/>
                </a:cubicBezTo>
                <a:lnTo>
                  <a:pt x="3149" y="1638"/>
                </a:lnTo>
                <a:cubicBezTo>
                  <a:pt x="3149" y="1607"/>
                  <a:pt x="3102" y="1559"/>
                  <a:pt x="3070" y="1559"/>
                </a:cubicBezTo>
                <a:lnTo>
                  <a:pt x="2577" y="1559"/>
                </a:lnTo>
                <a:lnTo>
                  <a:pt x="2577" y="1082"/>
                </a:lnTo>
                <a:cubicBezTo>
                  <a:pt x="2577" y="1034"/>
                  <a:pt x="2545" y="1002"/>
                  <a:pt x="2497" y="1002"/>
                </a:cubicBezTo>
                <a:lnTo>
                  <a:pt x="1781" y="1002"/>
                </a:lnTo>
                <a:cubicBezTo>
                  <a:pt x="1750" y="1002"/>
                  <a:pt x="1702" y="1034"/>
                  <a:pt x="1702" y="1082"/>
                </a:cubicBezTo>
                <a:lnTo>
                  <a:pt x="1702" y="1559"/>
                </a:lnTo>
                <a:lnTo>
                  <a:pt x="1225" y="1559"/>
                </a:lnTo>
                <a:cubicBezTo>
                  <a:pt x="1177" y="1559"/>
                  <a:pt x="1145" y="1607"/>
                  <a:pt x="1145" y="1638"/>
                </a:cubicBezTo>
                <a:lnTo>
                  <a:pt x="1145" y="2354"/>
                </a:lnTo>
                <a:cubicBezTo>
                  <a:pt x="1145" y="2402"/>
                  <a:pt x="1177" y="2434"/>
                  <a:pt x="1225" y="2434"/>
                </a:cubicBezTo>
                <a:close/>
                <a:moveTo>
                  <a:pt x="1304" y="1718"/>
                </a:moveTo>
                <a:lnTo>
                  <a:pt x="1781" y="1718"/>
                </a:lnTo>
                <a:cubicBezTo>
                  <a:pt x="1829" y="1718"/>
                  <a:pt x="1861" y="1686"/>
                  <a:pt x="1861" y="1638"/>
                </a:cubicBezTo>
                <a:lnTo>
                  <a:pt x="1861" y="1161"/>
                </a:lnTo>
                <a:lnTo>
                  <a:pt x="2418" y="1161"/>
                </a:lnTo>
                <a:lnTo>
                  <a:pt x="2418" y="1638"/>
                </a:lnTo>
                <a:cubicBezTo>
                  <a:pt x="2418" y="1686"/>
                  <a:pt x="2450" y="1718"/>
                  <a:pt x="2497" y="1718"/>
                </a:cubicBezTo>
                <a:lnTo>
                  <a:pt x="2990" y="1718"/>
                </a:lnTo>
                <a:lnTo>
                  <a:pt x="2990" y="2274"/>
                </a:lnTo>
                <a:lnTo>
                  <a:pt x="2497" y="2274"/>
                </a:lnTo>
                <a:cubicBezTo>
                  <a:pt x="2450" y="2274"/>
                  <a:pt x="2418" y="2306"/>
                  <a:pt x="2418" y="2354"/>
                </a:cubicBezTo>
                <a:lnTo>
                  <a:pt x="2418" y="2847"/>
                </a:lnTo>
                <a:lnTo>
                  <a:pt x="1861" y="2847"/>
                </a:lnTo>
                <a:lnTo>
                  <a:pt x="1861" y="2354"/>
                </a:lnTo>
                <a:cubicBezTo>
                  <a:pt x="1861" y="2306"/>
                  <a:pt x="1829" y="2274"/>
                  <a:pt x="1781" y="2274"/>
                </a:cubicBezTo>
                <a:lnTo>
                  <a:pt x="1304" y="2274"/>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7" name="TextBox 66">
            <a:extLst>
              <a:ext uri="{FF2B5EF4-FFF2-40B4-BE49-F238E27FC236}">
                <a16:creationId xmlns:a16="http://schemas.microsoft.com/office/drawing/2014/main" id="{EAA15911-3E86-BB47-8D89-6721280B6442}"/>
              </a:ext>
            </a:extLst>
          </p:cNvPr>
          <p:cNvSpPr txBox="1"/>
          <p:nvPr/>
        </p:nvSpPr>
        <p:spPr>
          <a:xfrm>
            <a:off x="-47946" y="11657695"/>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adiation</a:t>
            </a:r>
          </a:p>
        </p:txBody>
      </p:sp>
    </p:spTree>
    <p:extLst>
      <p:ext uri="{BB962C8B-B14F-4D97-AF65-F5344CB8AC3E}">
        <p14:creationId xmlns:p14="http://schemas.microsoft.com/office/powerpoint/2010/main" val="3321008428"/>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Medical - 2</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70" name="TextBox 69">
            <a:extLst>
              <a:ext uri="{FF2B5EF4-FFF2-40B4-BE49-F238E27FC236}">
                <a16:creationId xmlns:a16="http://schemas.microsoft.com/office/drawing/2014/main" id="{DCB37BE7-FB09-F54F-9B42-8F0EE5856FA6}"/>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68" name="TextBox 67">
            <a:extLst>
              <a:ext uri="{FF2B5EF4-FFF2-40B4-BE49-F238E27FC236}">
                <a16:creationId xmlns:a16="http://schemas.microsoft.com/office/drawing/2014/main" id="{63CE228E-E70A-574D-8A77-5C1A3023B07E}"/>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tom</a:t>
            </a:r>
          </a:p>
        </p:txBody>
      </p:sp>
      <p:sp>
        <p:nvSpPr>
          <p:cNvPr id="69" name="TextBox 68">
            <a:extLst>
              <a:ext uri="{FF2B5EF4-FFF2-40B4-BE49-F238E27FC236}">
                <a16:creationId xmlns:a16="http://schemas.microsoft.com/office/drawing/2014/main" id="{12B16E88-BC7F-FB46-B1FB-4342ECB63D10}"/>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icroscope</a:t>
            </a:r>
          </a:p>
        </p:txBody>
      </p:sp>
      <p:sp>
        <p:nvSpPr>
          <p:cNvPr id="71" name="TextBox 70">
            <a:extLst>
              <a:ext uri="{FF2B5EF4-FFF2-40B4-BE49-F238E27FC236}">
                <a16:creationId xmlns:a16="http://schemas.microsoft.com/office/drawing/2014/main" id="{A0D3DFAC-B4D3-2F4B-8DE5-C402B589A268}"/>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ell 1</a:t>
            </a:r>
          </a:p>
        </p:txBody>
      </p:sp>
      <p:sp>
        <p:nvSpPr>
          <p:cNvPr id="72" name="TextBox 71">
            <a:extLst>
              <a:ext uri="{FF2B5EF4-FFF2-40B4-BE49-F238E27FC236}">
                <a16:creationId xmlns:a16="http://schemas.microsoft.com/office/drawing/2014/main" id="{7DC35D6C-6E25-F548-9BB1-3E1E7F4845CE}"/>
              </a:ext>
            </a:extLst>
          </p:cNvPr>
          <p:cNvSpPr txBox="1"/>
          <p:nvPr/>
        </p:nvSpPr>
        <p:spPr>
          <a:xfrm>
            <a:off x="12867894"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ell 2</a:t>
            </a:r>
          </a:p>
        </p:txBody>
      </p:sp>
      <p:sp>
        <p:nvSpPr>
          <p:cNvPr id="73" name="TextBox 72">
            <a:extLst>
              <a:ext uri="{FF2B5EF4-FFF2-40B4-BE49-F238E27FC236}">
                <a16:creationId xmlns:a16="http://schemas.microsoft.com/office/drawing/2014/main" id="{76200228-2BD7-2D48-8332-F2B864A91708}"/>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ealthcare 1</a:t>
            </a:r>
          </a:p>
        </p:txBody>
      </p:sp>
      <p:sp>
        <p:nvSpPr>
          <p:cNvPr id="74" name="TextBox 73">
            <a:extLst>
              <a:ext uri="{FF2B5EF4-FFF2-40B4-BE49-F238E27FC236}">
                <a16:creationId xmlns:a16="http://schemas.microsoft.com/office/drawing/2014/main" id="{1BAFD3F0-068E-9144-B7D1-7F5C6B07A4B7}"/>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afety Pin</a:t>
            </a:r>
          </a:p>
        </p:txBody>
      </p:sp>
      <p:sp>
        <p:nvSpPr>
          <p:cNvPr id="75" name="TextBox 74">
            <a:extLst>
              <a:ext uri="{FF2B5EF4-FFF2-40B4-BE49-F238E27FC236}">
                <a16:creationId xmlns:a16="http://schemas.microsoft.com/office/drawing/2014/main" id="{9BD84526-3869-5F47-9FF4-A1477603033C}"/>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afety Pin 2</a:t>
            </a:r>
          </a:p>
        </p:txBody>
      </p:sp>
      <p:sp>
        <p:nvSpPr>
          <p:cNvPr id="76" name="TextBox 75">
            <a:extLst>
              <a:ext uri="{FF2B5EF4-FFF2-40B4-BE49-F238E27FC236}">
                <a16:creationId xmlns:a16="http://schemas.microsoft.com/office/drawing/2014/main" id="{951D1677-D596-BD4C-AC5A-64371E581D6B}"/>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eartbeat</a:t>
            </a:r>
          </a:p>
        </p:txBody>
      </p:sp>
      <p:sp>
        <p:nvSpPr>
          <p:cNvPr id="77" name="TextBox 76">
            <a:extLst>
              <a:ext uri="{FF2B5EF4-FFF2-40B4-BE49-F238E27FC236}">
                <a16:creationId xmlns:a16="http://schemas.microsoft.com/office/drawing/2014/main" id="{D78037B3-1C49-D646-A1DA-DF84839E2EBE}"/>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ealthcare 2</a:t>
            </a:r>
          </a:p>
        </p:txBody>
      </p:sp>
      <p:sp>
        <p:nvSpPr>
          <p:cNvPr id="78" name="TextBox 77">
            <a:extLst>
              <a:ext uri="{FF2B5EF4-FFF2-40B4-BE49-F238E27FC236}">
                <a16:creationId xmlns:a16="http://schemas.microsoft.com/office/drawing/2014/main" id="{19CEE062-0444-214A-980F-E8D211C00A99}"/>
              </a:ext>
            </a:extLst>
          </p:cNvPr>
          <p:cNvSpPr txBox="1"/>
          <p:nvPr/>
        </p:nvSpPr>
        <p:spPr>
          <a:xfrm>
            <a:off x="20539829"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lask Liquid</a:t>
            </a:r>
          </a:p>
        </p:txBody>
      </p:sp>
      <p:sp>
        <p:nvSpPr>
          <p:cNvPr id="79" name="Freeform: Shape 26">
            <a:extLst>
              <a:ext uri="{FF2B5EF4-FFF2-40B4-BE49-F238E27FC236}">
                <a16:creationId xmlns:a16="http://schemas.microsoft.com/office/drawing/2014/main" id="{03C961FF-9348-2342-8B0F-C080AA69F60F}"/>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0" name="TextBox 79">
            <a:extLst>
              <a:ext uri="{FF2B5EF4-FFF2-40B4-BE49-F238E27FC236}">
                <a16:creationId xmlns:a16="http://schemas.microsoft.com/office/drawing/2014/main" id="{32AA0106-09E3-EF44-83D9-0B45A7EC28E9}"/>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ex</a:t>
            </a:r>
          </a:p>
        </p:txBody>
      </p:sp>
      <p:sp>
        <p:nvSpPr>
          <p:cNvPr id="81" name="TextBox 80">
            <a:extLst>
              <a:ext uri="{FF2B5EF4-FFF2-40B4-BE49-F238E27FC236}">
                <a16:creationId xmlns:a16="http://schemas.microsoft.com/office/drawing/2014/main" id="{D4305B09-7019-3442-815C-6F50753F4B9F}"/>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anger</a:t>
            </a:r>
          </a:p>
        </p:txBody>
      </p:sp>
      <p:sp>
        <p:nvSpPr>
          <p:cNvPr id="82" name="Freeform: Shape 13">
            <a:extLst>
              <a:ext uri="{FF2B5EF4-FFF2-40B4-BE49-F238E27FC236}">
                <a16:creationId xmlns:a16="http://schemas.microsoft.com/office/drawing/2014/main" id="{13838199-5FDB-F64C-BEAB-7F3A66D32D7B}"/>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3" name="Freeform: Shape 1">
            <a:extLst>
              <a:ext uri="{FF2B5EF4-FFF2-40B4-BE49-F238E27FC236}">
                <a16:creationId xmlns:a16="http://schemas.microsoft.com/office/drawing/2014/main" id="{0BEDFD81-E289-864C-BE0E-492275F77934}"/>
              </a:ext>
            </a:extLst>
          </p:cNvPr>
          <p:cNvSpPr/>
          <p:nvPr/>
        </p:nvSpPr>
        <p:spPr>
          <a:xfrm>
            <a:off x="10035351" y="6645613"/>
            <a:ext cx="1597320" cy="1133640"/>
          </a:xfrm>
          <a:custGeom>
            <a:avLst/>
            <a:gdLst/>
            <a:ahLst/>
            <a:cxnLst>
              <a:cxn ang="3cd4">
                <a:pos x="hc" y="t"/>
              </a:cxn>
              <a:cxn ang="cd2">
                <a:pos x="l" y="vc"/>
              </a:cxn>
              <a:cxn ang="cd4">
                <a:pos x="hc" y="b"/>
              </a:cxn>
              <a:cxn ang="0">
                <a:pos x="r" y="vc"/>
              </a:cxn>
            </a:cxnLst>
            <a:rect l="l" t="t" r="r" b="b"/>
            <a:pathLst>
              <a:path w="4438" h="3150">
                <a:moveTo>
                  <a:pt x="4358" y="2068"/>
                </a:moveTo>
                <a:cubicBezTo>
                  <a:pt x="3197" y="2068"/>
                  <a:pt x="3197" y="2068"/>
                  <a:pt x="3197" y="2068"/>
                </a:cubicBezTo>
                <a:cubicBezTo>
                  <a:pt x="3006" y="1018"/>
                  <a:pt x="3006" y="1018"/>
                  <a:pt x="3006" y="1018"/>
                </a:cubicBezTo>
                <a:cubicBezTo>
                  <a:pt x="3006" y="986"/>
                  <a:pt x="2974" y="954"/>
                  <a:pt x="2927" y="954"/>
                </a:cubicBezTo>
                <a:cubicBezTo>
                  <a:pt x="2895" y="954"/>
                  <a:pt x="2863" y="986"/>
                  <a:pt x="2863" y="1018"/>
                </a:cubicBezTo>
                <a:cubicBezTo>
                  <a:pt x="2593" y="2450"/>
                  <a:pt x="2593" y="2450"/>
                  <a:pt x="2593" y="2450"/>
                </a:cubicBezTo>
                <a:cubicBezTo>
                  <a:pt x="2418" y="80"/>
                  <a:pt x="2418" y="80"/>
                  <a:pt x="2418" y="80"/>
                </a:cubicBezTo>
                <a:cubicBezTo>
                  <a:pt x="2418" y="32"/>
                  <a:pt x="2386" y="0"/>
                  <a:pt x="2338" y="0"/>
                </a:cubicBezTo>
                <a:cubicBezTo>
                  <a:pt x="2306" y="0"/>
                  <a:pt x="2275" y="32"/>
                  <a:pt x="2259" y="64"/>
                </a:cubicBezTo>
                <a:cubicBezTo>
                  <a:pt x="1877" y="2068"/>
                  <a:pt x="1877" y="2068"/>
                  <a:pt x="1877" y="2068"/>
                </a:cubicBezTo>
                <a:cubicBezTo>
                  <a:pt x="1813" y="2068"/>
                  <a:pt x="1813" y="2068"/>
                  <a:pt x="1813" y="2068"/>
                </a:cubicBezTo>
                <a:cubicBezTo>
                  <a:pt x="1623" y="1416"/>
                  <a:pt x="1623" y="1416"/>
                  <a:pt x="1623" y="1416"/>
                </a:cubicBezTo>
                <a:cubicBezTo>
                  <a:pt x="1606" y="1384"/>
                  <a:pt x="1575" y="1352"/>
                  <a:pt x="1543" y="1352"/>
                </a:cubicBezTo>
                <a:cubicBezTo>
                  <a:pt x="1511" y="1352"/>
                  <a:pt x="1479" y="1384"/>
                  <a:pt x="1463" y="1416"/>
                </a:cubicBezTo>
                <a:cubicBezTo>
                  <a:pt x="1288" y="2068"/>
                  <a:pt x="1288" y="2068"/>
                  <a:pt x="1288" y="2068"/>
                </a:cubicBezTo>
                <a:cubicBezTo>
                  <a:pt x="79" y="2068"/>
                  <a:pt x="79" y="2068"/>
                  <a:pt x="79" y="2068"/>
                </a:cubicBezTo>
                <a:cubicBezTo>
                  <a:pt x="32" y="2068"/>
                  <a:pt x="0" y="2099"/>
                  <a:pt x="0" y="2147"/>
                </a:cubicBezTo>
                <a:cubicBezTo>
                  <a:pt x="0" y="2179"/>
                  <a:pt x="32" y="2227"/>
                  <a:pt x="79" y="2227"/>
                </a:cubicBezTo>
                <a:cubicBezTo>
                  <a:pt x="1352" y="2227"/>
                  <a:pt x="1352" y="2227"/>
                  <a:pt x="1352" y="2227"/>
                </a:cubicBezTo>
                <a:cubicBezTo>
                  <a:pt x="1384" y="2227"/>
                  <a:pt x="1415" y="2195"/>
                  <a:pt x="1415" y="2163"/>
                </a:cubicBezTo>
                <a:cubicBezTo>
                  <a:pt x="1543" y="1718"/>
                  <a:pt x="1543" y="1718"/>
                  <a:pt x="1543" y="1718"/>
                </a:cubicBezTo>
                <a:cubicBezTo>
                  <a:pt x="1670" y="2163"/>
                  <a:pt x="1670" y="2163"/>
                  <a:pt x="1670" y="2163"/>
                </a:cubicBezTo>
                <a:cubicBezTo>
                  <a:pt x="1686" y="2195"/>
                  <a:pt x="1718" y="2227"/>
                  <a:pt x="1750" y="2227"/>
                </a:cubicBezTo>
                <a:cubicBezTo>
                  <a:pt x="1941" y="2227"/>
                  <a:pt x="1941" y="2227"/>
                  <a:pt x="1941" y="2227"/>
                </a:cubicBezTo>
                <a:cubicBezTo>
                  <a:pt x="1972" y="2227"/>
                  <a:pt x="2004" y="2195"/>
                  <a:pt x="2020" y="2163"/>
                </a:cubicBezTo>
                <a:cubicBezTo>
                  <a:pt x="2306" y="684"/>
                  <a:pt x="2306" y="684"/>
                  <a:pt x="2306" y="684"/>
                </a:cubicBezTo>
                <a:cubicBezTo>
                  <a:pt x="2481" y="3070"/>
                  <a:pt x="2481" y="3070"/>
                  <a:pt x="2481" y="3070"/>
                </a:cubicBezTo>
                <a:cubicBezTo>
                  <a:pt x="2481" y="3102"/>
                  <a:pt x="2513" y="3134"/>
                  <a:pt x="2545" y="3150"/>
                </a:cubicBezTo>
                <a:lnTo>
                  <a:pt x="2561" y="3150"/>
                </a:lnTo>
                <a:cubicBezTo>
                  <a:pt x="2593" y="3150"/>
                  <a:pt x="2624" y="3117"/>
                  <a:pt x="2624" y="3086"/>
                </a:cubicBezTo>
                <a:cubicBezTo>
                  <a:pt x="2927" y="1480"/>
                  <a:pt x="2927" y="1480"/>
                  <a:pt x="2927" y="1480"/>
                </a:cubicBezTo>
                <a:cubicBezTo>
                  <a:pt x="3054" y="2147"/>
                  <a:pt x="3054" y="2147"/>
                  <a:pt x="3054" y="2147"/>
                </a:cubicBezTo>
                <a:cubicBezTo>
                  <a:pt x="3054" y="2195"/>
                  <a:pt x="3086" y="2227"/>
                  <a:pt x="3133" y="2227"/>
                </a:cubicBezTo>
                <a:cubicBezTo>
                  <a:pt x="4358" y="2227"/>
                  <a:pt x="4358" y="2227"/>
                  <a:pt x="4358" y="2227"/>
                </a:cubicBezTo>
                <a:cubicBezTo>
                  <a:pt x="4406" y="2227"/>
                  <a:pt x="4438" y="2179"/>
                  <a:pt x="4438" y="2147"/>
                </a:cubicBezTo>
                <a:cubicBezTo>
                  <a:pt x="4438" y="2099"/>
                  <a:pt x="4406" y="2068"/>
                  <a:pt x="4358" y="206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4" name="Freeform: Shape 2">
            <a:extLst>
              <a:ext uri="{FF2B5EF4-FFF2-40B4-BE49-F238E27FC236}">
                <a16:creationId xmlns:a16="http://schemas.microsoft.com/office/drawing/2014/main" id="{47D30B22-E00E-DB40-A38A-2EB6E405FF51}"/>
              </a:ext>
            </a:extLst>
          </p:cNvPr>
          <p:cNvSpPr/>
          <p:nvPr/>
        </p:nvSpPr>
        <p:spPr>
          <a:xfrm>
            <a:off x="5918171" y="6954853"/>
            <a:ext cx="1626119" cy="514800"/>
          </a:xfrm>
          <a:custGeom>
            <a:avLst/>
            <a:gdLst/>
            <a:ahLst/>
            <a:cxnLst>
              <a:cxn ang="3cd4">
                <a:pos x="hc" y="t"/>
              </a:cxn>
              <a:cxn ang="cd2">
                <a:pos x="l" y="vc"/>
              </a:cxn>
              <a:cxn ang="cd4">
                <a:pos x="hc" y="b"/>
              </a:cxn>
              <a:cxn ang="0">
                <a:pos x="r" y="vc"/>
              </a:cxn>
            </a:cxnLst>
            <a:rect l="l" t="t" r="r" b="b"/>
            <a:pathLst>
              <a:path w="4518" h="1431">
                <a:moveTo>
                  <a:pt x="3738" y="334"/>
                </a:moveTo>
                <a:cubicBezTo>
                  <a:pt x="3531" y="334"/>
                  <a:pt x="3372" y="509"/>
                  <a:pt x="3372" y="716"/>
                </a:cubicBezTo>
                <a:cubicBezTo>
                  <a:pt x="3372" y="922"/>
                  <a:pt x="3531" y="1097"/>
                  <a:pt x="3738" y="1097"/>
                </a:cubicBezTo>
                <a:cubicBezTo>
                  <a:pt x="3961" y="1097"/>
                  <a:pt x="4120" y="922"/>
                  <a:pt x="4120" y="716"/>
                </a:cubicBezTo>
                <a:cubicBezTo>
                  <a:pt x="4120" y="509"/>
                  <a:pt x="3961" y="334"/>
                  <a:pt x="3738" y="334"/>
                </a:cubicBezTo>
                <a:close/>
                <a:moveTo>
                  <a:pt x="3738" y="939"/>
                </a:moveTo>
                <a:cubicBezTo>
                  <a:pt x="3627" y="939"/>
                  <a:pt x="3531" y="843"/>
                  <a:pt x="3531" y="716"/>
                </a:cubicBezTo>
                <a:cubicBezTo>
                  <a:pt x="3531" y="588"/>
                  <a:pt x="3627" y="493"/>
                  <a:pt x="3738" y="493"/>
                </a:cubicBezTo>
                <a:cubicBezTo>
                  <a:pt x="3866" y="493"/>
                  <a:pt x="3961" y="588"/>
                  <a:pt x="3961" y="716"/>
                </a:cubicBezTo>
                <a:cubicBezTo>
                  <a:pt x="3961" y="843"/>
                  <a:pt x="3866" y="939"/>
                  <a:pt x="3738" y="939"/>
                </a:cubicBezTo>
                <a:close/>
                <a:moveTo>
                  <a:pt x="3849" y="0"/>
                </a:moveTo>
                <a:lnTo>
                  <a:pt x="668" y="0"/>
                </a:lnTo>
                <a:cubicBezTo>
                  <a:pt x="303" y="0"/>
                  <a:pt x="0" y="334"/>
                  <a:pt x="0" y="716"/>
                </a:cubicBezTo>
                <a:cubicBezTo>
                  <a:pt x="0" y="1097"/>
                  <a:pt x="303" y="1431"/>
                  <a:pt x="668" y="1431"/>
                </a:cubicBezTo>
                <a:lnTo>
                  <a:pt x="3849" y="1431"/>
                </a:lnTo>
                <a:cubicBezTo>
                  <a:pt x="4200" y="1431"/>
                  <a:pt x="4518" y="1097"/>
                  <a:pt x="4518" y="716"/>
                </a:cubicBezTo>
                <a:cubicBezTo>
                  <a:pt x="4518" y="334"/>
                  <a:pt x="4200" y="0"/>
                  <a:pt x="3849" y="0"/>
                </a:cubicBezTo>
                <a:close/>
                <a:moveTo>
                  <a:pt x="159" y="716"/>
                </a:moveTo>
                <a:cubicBezTo>
                  <a:pt x="159" y="413"/>
                  <a:pt x="398" y="159"/>
                  <a:pt x="668" y="159"/>
                </a:cubicBezTo>
                <a:cubicBezTo>
                  <a:pt x="939" y="159"/>
                  <a:pt x="1194" y="413"/>
                  <a:pt x="1194" y="716"/>
                </a:cubicBezTo>
                <a:cubicBezTo>
                  <a:pt x="1194" y="1018"/>
                  <a:pt x="939" y="1273"/>
                  <a:pt x="668" y="1273"/>
                </a:cubicBezTo>
                <a:cubicBezTo>
                  <a:pt x="398" y="1273"/>
                  <a:pt x="159" y="1018"/>
                  <a:pt x="159" y="716"/>
                </a:cubicBezTo>
                <a:close/>
                <a:moveTo>
                  <a:pt x="2688" y="1018"/>
                </a:moveTo>
                <a:lnTo>
                  <a:pt x="2688" y="1273"/>
                </a:lnTo>
                <a:lnTo>
                  <a:pt x="1082" y="1273"/>
                </a:lnTo>
                <a:cubicBezTo>
                  <a:pt x="1241" y="1130"/>
                  <a:pt x="1337" y="939"/>
                  <a:pt x="1337" y="716"/>
                </a:cubicBezTo>
                <a:cubicBezTo>
                  <a:pt x="1337" y="493"/>
                  <a:pt x="1241" y="286"/>
                  <a:pt x="1082" y="159"/>
                </a:cubicBezTo>
                <a:lnTo>
                  <a:pt x="2688" y="159"/>
                </a:lnTo>
                <a:lnTo>
                  <a:pt x="2688" y="413"/>
                </a:lnTo>
                <a:cubicBezTo>
                  <a:pt x="2688" y="541"/>
                  <a:pt x="2816" y="652"/>
                  <a:pt x="2911" y="731"/>
                </a:cubicBezTo>
                <a:cubicBezTo>
                  <a:pt x="2816" y="795"/>
                  <a:pt x="2688" y="891"/>
                  <a:pt x="2688" y="1018"/>
                </a:cubicBezTo>
                <a:close/>
                <a:moveTo>
                  <a:pt x="3849" y="1273"/>
                </a:moveTo>
                <a:lnTo>
                  <a:pt x="2848" y="1273"/>
                </a:lnTo>
                <a:lnTo>
                  <a:pt x="2848" y="1018"/>
                </a:lnTo>
                <a:cubicBezTo>
                  <a:pt x="2848" y="939"/>
                  <a:pt x="3007" y="843"/>
                  <a:pt x="3102" y="811"/>
                </a:cubicBezTo>
                <a:cubicBezTo>
                  <a:pt x="3134" y="811"/>
                  <a:pt x="3166" y="779"/>
                  <a:pt x="3166" y="748"/>
                </a:cubicBezTo>
                <a:cubicBezTo>
                  <a:pt x="3166" y="716"/>
                  <a:pt x="3150" y="684"/>
                  <a:pt x="3118" y="668"/>
                </a:cubicBezTo>
                <a:cubicBezTo>
                  <a:pt x="3007" y="621"/>
                  <a:pt x="2848" y="493"/>
                  <a:pt x="2848" y="413"/>
                </a:cubicBezTo>
                <a:lnTo>
                  <a:pt x="2848" y="159"/>
                </a:lnTo>
                <a:lnTo>
                  <a:pt x="3849" y="159"/>
                </a:lnTo>
                <a:cubicBezTo>
                  <a:pt x="4120" y="159"/>
                  <a:pt x="4358" y="413"/>
                  <a:pt x="4358" y="716"/>
                </a:cubicBezTo>
                <a:cubicBezTo>
                  <a:pt x="4358" y="1018"/>
                  <a:pt x="4120" y="1273"/>
                  <a:pt x="3849" y="127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Freeform: Shape 3">
            <a:extLst>
              <a:ext uri="{FF2B5EF4-FFF2-40B4-BE49-F238E27FC236}">
                <a16:creationId xmlns:a16="http://schemas.microsoft.com/office/drawing/2014/main" id="{45DB3265-9DD2-E544-A099-8FFE606E7884}"/>
              </a:ext>
            </a:extLst>
          </p:cNvPr>
          <p:cNvSpPr/>
          <p:nvPr/>
        </p:nvSpPr>
        <p:spPr>
          <a:xfrm>
            <a:off x="1813570" y="6821653"/>
            <a:ext cx="1631520" cy="779760"/>
          </a:xfrm>
          <a:custGeom>
            <a:avLst/>
            <a:gdLst/>
            <a:ahLst/>
            <a:cxnLst>
              <a:cxn ang="3cd4">
                <a:pos x="hc" y="t"/>
              </a:cxn>
              <a:cxn ang="cd2">
                <a:pos x="l" y="vc"/>
              </a:cxn>
              <a:cxn ang="cd4">
                <a:pos x="hc" y="b"/>
              </a:cxn>
              <a:cxn ang="0">
                <a:pos x="r" y="vc"/>
              </a:cxn>
            </a:cxnLst>
            <a:rect l="l" t="t" r="r" b="b"/>
            <a:pathLst>
              <a:path w="4533" h="2167">
                <a:moveTo>
                  <a:pt x="3785" y="1070"/>
                </a:moveTo>
                <a:cubicBezTo>
                  <a:pt x="3578" y="1070"/>
                  <a:pt x="3403" y="1245"/>
                  <a:pt x="3403" y="1452"/>
                </a:cubicBezTo>
                <a:cubicBezTo>
                  <a:pt x="3403" y="1658"/>
                  <a:pt x="3578" y="1833"/>
                  <a:pt x="3785" y="1833"/>
                </a:cubicBezTo>
                <a:cubicBezTo>
                  <a:pt x="3992" y="1833"/>
                  <a:pt x="4167" y="1658"/>
                  <a:pt x="4167" y="1452"/>
                </a:cubicBezTo>
                <a:cubicBezTo>
                  <a:pt x="4167" y="1245"/>
                  <a:pt x="3992" y="1070"/>
                  <a:pt x="3785" y="1070"/>
                </a:cubicBezTo>
                <a:close/>
                <a:moveTo>
                  <a:pt x="3785" y="1674"/>
                </a:moveTo>
                <a:cubicBezTo>
                  <a:pt x="3673" y="1674"/>
                  <a:pt x="3562" y="1579"/>
                  <a:pt x="3562" y="1452"/>
                </a:cubicBezTo>
                <a:cubicBezTo>
                  <a:pt x="3562" y="1324"/>
                  <a:pt x="3673" y="1229"/>
                  <a:pt x="3785" y="1229"/>
                </a:cubicBezTo>
                <a:cubicBezTo>
                  <a:pt x="3912" y="1229"/>
                  <a:pt x="4007" y="1324"/>
                  <a:pt x="4007" y="1452"/>
                </a:cubicBezTo>
                <a:cubicBezTo>
                  <a:pt x="4007" y="1579"/>
                  <a:pt x="3912" y="1674"/>
                  <a:pt x="3785" y="1674"/>
                </a:cubicBezTo>
                <a:close/>
                <a:moveTo>
                  <a:pt x="3849" y="736"/>
                </a:moveTo>
                <a:lnTo>
                  <a:pt x="2831" y="736"/>
                </a:lnTo>
                <a:cubicBezTo>
                  <a:pt x="2783" y="736"/>
                  <a:pt x="2751" y="768"/>
                  <a:pt x="2751" y="815"/>
                </a:cubicBezTo>
                <a:lnTo>
                  <a:pt x="2751" y="1149"/>
                </a:lnTo>
                <a:cubicBezTo>
                  <a:pt x="2751" y="1277"/>
                  <a:pt x="2863" y="1388"/>
                  <a:pt x="2958" y="1467"/>
                </a:cubicBezTo>
                <a:cubicBezTo>
                  <a:pt x="2863" y="1531"/>
                  <a:pt x="2751" y="1627"/>
                  <a:pt x="2751" y="1754"/>
                </a:cubicBezTo>
                <a:lnTo>
                  <a:pt x="2751" y="2009"/>
                </a:lnTo>
                <a:lnTo>
                  <a:pt x="1097" y="2009"/>
                </a:lnTo>
                <a:cubicBezTo>
                  <a:pt x="1256" y="1881"/>
                  <a:pt x="1351" y="1674"/>
                  <a:pt x="1351" y="1452"/>
                </a:cubicBezTo>
                <a:cubicBezTo>
                  <a:pt x="1351" y="1197"/>
                  <a:pt x="1192" y="974"/>
                  <a:pt x="970" y="863"/>
                </a:cubicBezTo>
                <a:lnTo>
                  <a:pt x="3435" y="163"/>
                </a:lnTo>
                <a:cubicBezTo>
                  <a:pt x="3483" y="147"/>
                  <a:pt x="3515" y="100"/>
                  <a:pt x="3499" y="68"/>
                </a:cubicBezTo>
                <a:cubicBezTo>
                  <a:pt x="3483" y="20"/>
                  <a:pt x="3435" y="-12"/>
                  <a:pt x="3403" y="4"/>
                </a:cubicBezTo>
                <a:lnTo>
                  <a:pt x="652" y="783"/>
                </a:lnTo>
                <a:cubicBezTo>
                  <a:pt x="286" y="800"/>
                  <a:pt x="0" y="1101"/>
                  <a:pt x="0" y="1483"/>
                </a:cubicBezTo>
                <a:cubicBezTo>
                  <a:pt x="0" y="1849"/>
                  <a:pt x="301" y="2167"/>
                  <a:pt x="683" y="2167"/>
                </a:cubicBezTo>
                <a:lnTo>
                  <a:pt x="3849" y="2167"/>
                </a:lnTo>
                <a:cubicBezTo>
                  <a:pt x="4214" y="2167"/>
                  <a:pt x="4533" y="1833"/>
                  <a:pt x="4533" y="1452"/>
                </a:cubicBezTo>
                <a:cubicBezTo>
                  <a:pt x="4533" y="1070"/>
                  <a:pt x="4214" y="736"/>
                  <a:pt x="3849" y="736"/>
                </a:cubicBezTo>
                <a:close/>
                <a:moveTo>
                  <a:pt x="158" y="1483"/>
                </a:moveTo>
                <a:cubicBezTo>
                  <a:pt x="158" y="1181"/>
                  <a:pt x="381" y="943"/>
                  <a:pt x="667" y="943"/>
                </a:cubicBezTo>
                <a:cubicBezTo>
                  <a:pt x="953" y="943"/>
                  <a:pt x="1192" y="1165"/>
                  <a:pt x="1192" y="1452"/>
                </a:cubicBezTo>
                <a:cubicBezTo>
                  <a:pt x="1192" y="1754"/>
                  <a:pt x="953" y="2009"/>
                  <a:pt x="683" y="2009"/>
                </a:cubicBezTo>
                <a:cubicBezTo>
                  <a:pt x="397" y="2009"/>
                  <a:pt x="158" y="1770"/>
                  <a:pt x="158" y="1483"/>
                </a:cubicBezTo>
                <a:close/>
                <a:moveTo>
                  <a:pt x="3849" y="2009"/>
                </a:moveTo>
                <a:lnTo>
                  <a:pt x="2910" y="2009"/>
                </a:lnTo>
                <a:lnTo>
                  <a:pt x="2910" y="1754"/>
                </a:lnTo>
                <a:cubicBezTo>
                  <a:pt x="2910" y="1674"/>
                  <a:pt x="3053" y="1595"/>
                  <a:pt x="3149" y="1547"/>
                </a:cubicBezTo>
                <a:cubicBezTo>
                  <a:pt x="3181" y="1547"/>
                  <a:pt x="3197" y="1515"/>
                  <a:pt x="3197" y="1483"/>
                </a:cubicBezTo>
                <a:cubicBezTo>
                  <a:pt x="3197" y="1452"/>
                  <a:pt x="3181" y="1420"/>
                  <a:pt x="3164" y="1404"/>
                </a:cubicBezTo>
                <a:cubicBezTo>
                  <a:pt x="3053" y="1356"/>
                  <a:pt x="2910" y="1229"/>
                  <a:pt x="2910" y="1149"/>
                </a:cubicBezTo>
                <a:lnTo>
                  <a:pt x="2910" y="895"/>
                </a:lnTo>
                <a:lnTo>
                  <a:pt x="3849" y="895"/>
                </a:lnTo>
                <a:cubicBezTo>
                  <a:pt x="4135" y="895"/>
                  <a:pt x="4373" y="1149"/>
                  <a:pt x="4373" y="1452"/>
                </a:cubicBezTo>
                <a:cubicBezTo>
                  <a:pt x="4373" y="1754"/>
                  <a:pt x="4135" y="2009"/>
                  <a:pt x="3849" y="20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6" name="Freeform: Shape 4">
            <a:extLst>
              <a:ext uri="{FF2B5EF4-FFF2-40B4-BE49-F238E27FC236}">
                <a16:creationId xmlns:a16="http://schemas.microsoft.com/office/drawing/2014/main" id="{5970F830-417D-0E4D-94B8-CA088D2CEA4E}"/>
              </a:ext>
            </a:extLst>
          </p:cNvPr>
          <p:cNvSpPr/>
          <p:nvPr/>
        </p:nvSpPr>
        <p:spPr>
          <a:xfrm>
            <a:off x="21245276" y="3095529"/>
            <a:ext cx="1620360" cy="1568519"/>
          </a:xfrm>
          <a:custGeom>
            <a:avLst/>
            <a:gdLst/>
            <a:ahLst/>
            <a:cxnLst>
              <a:cxn ang="3cd4">
                <a:pos x="hc" y="t"/>
              </a:cxn>
              <a:cxn ang="cd2">
                <a:pos x="l" y="vc"/>
              </a:cxn>
              <a:cxn ang="cd4">
                <a:pos x="hc" y="b"/>
              </a:cxn>
              <a:cxn ang="0">
                <a:pos x="r" y="vc"/>
              </a:cxn>
            </a:cxnLst>
            <a:rect l="l" t="t" r="r" b="b"/>
            <a:pathLst>
              <a:path w="4502" h="4358">
                <a:moveTo>
                  <a:pt x="2911" y="747"/>
                </a:moveTo>
                <a:cubicBezTo>
                  <a:pt x="2863" y="747"/>
                  <a:pt x="2831" y="779"/>
                  <a:pt x="2831" y="827"/>
                </a:cubicBezTo>
                <a:cubicBezTo>
                  <a:pt x="2831" y="1209"/>
                  <a:pt x="2831" y="1352"/>
                  <a:pt x="2498" y="1511"/>
                </a:cubicBezTo>
                <a:cubicBezTo>
                  <a:pt x="2434" y="1542"/>
                  <a:pt x="2370" y="1575"/>
                  <a:pt x="2307" y="1590"/>
                </a:cubicBezTo>
                <a:lnTo>
                  <a:pt x="2307" y="1113"/>
                </a:lnTo>
                <a:lnTo>
                  <a:pt x="2307" y="1097"/>
                </a:lnTo>
                <a:cubicBezTo>
                  <a:pt x="2577" y="1066"/>
                  <a:pt x="2800" y="827"/>
                  <a:pt x="2800" y="540"/>
                </a:cubicBezTo>
                <a:cubicBezTo>
                  <a:pt x="2800" y="238"/>
                  <a:pt x="2545" y="0"/>
                  <a:pt x="2243" y="0"/>
                </a:cubicBezTo>
                <a:cubicBezTo>
                  <a:pt x="1941" y="0"/>
                  <a:pt x="1702" y="238"/>
                  <a:pt x="1702" y="540"/>
                </a:cubicBezTo>
                <a:cubicBezTo>
                  <a:pt x="1702" y="811"/>
                  <a:pt x="1893" y="1049"/>
                  <a:pt x="2164" y="1097"/>
                </a:cubicBezTo>
                <a:cubicBezTo>
                  <a:pt x="2148" y="1097"/>
                  <a:pt x="2148" y="1097"/>
                  <a:pt x="2148" y="1113"/>
                </a:cubicBezTo>
                <a:lnTo>
                  <a:pt x="2148" y="1542"/>
                </a:lnTo>
                <a:cubicBezTo>
                  <a:pt x="2132" y="1542"/>
                  <a:pt x="2100" y="1527"/>
                  <a:pt x="2068" y="1511"/>
                </a:cubicBezTo>
                <a:cubicBezTo>
                  <a:pt x="1734" y="1336"/>
                  <a:pt x="1670" y="1177"/>
                  <a:pt x="1670" y="827"/>
                </a:cubicBezTo>
                <a:cubicBezTo>
                  <a:pt x="1670" y="779"/>
                  <a:pt x="1639" y="747"/>
                  <a:pt x="1591" y="747"/>
                </a:cubicBezTo>
                <a:cubicBezTo>
                  <a:pt x="1543" y="747"/>
                  <a:pt x="1512" y="779"/>
                  <a:pt x="1512" y="827"/>
                </a:cubicBezTo>
                <a:cubicBezTo>
                  <a:pt x="1512" y="1209"/>
                  <a:pt x="1591" y="1447"/>
                  <a:pt x="2005" y="1654"/>
                </a:cubicBezTo>
                <a:cubicBezTo>
                  <a:pt x="2021" y="1670"/>
                  <a:pt x="2052" y="1670"/>
                  <a:pt x="2068" y="1686"/>
                </a:cubicBezTo>
                <a:cubicBezTo>
                  <a:pt x="1861" y="1765"/>
                  <a:pt x="1702" y="1876"/>
                  <a:pt x="1702" y="2147"/>
                </a:cubicBezTo>
                <a:cubicBezTo>
                  <a:pt x="1702" y="2338"/>
                  <a:pt x="1861" y="2433"/>
                  <a:pt x="2036" y="2529"/>
                </a:cubicBezTo>
                <a:cubicBezTo>
                  <a:pt x="1861" y="2608"/>
                  <a:pt x="1702" y="2720"/>
                  <a:pt x="1702" y="2911"/>
                </a:cubicBezTo>
                <a:cubicBezTo>
                  <a:pt x="1702" y="3085"/>
                  <a:pt x="1861" y="3197"/>
                  <a:pt x="2036" y="3276"/>
                </a:cubicBezTo>
                <a:cubicBezTo>
                  <a:pt x="1861" y="3372"/>
                  <a:pt x="1702" y="3467"/>
                  <a:pt x="1702" y="3658"/>
                </a:cubicBezTo>
                <a:cubicBezTo>
                  <a:pt x="1702" y="3833"/>
                  <a:pt x="1814" y="3944"/>
                  <a:pt x="1973" y="4008"/>
                </a:cubicBezTo>
                <a:cubicBezTo>
                  <a:pt x="1957" y="4008"/>
                  <a:pt x="1957" y="4024"/>
                  <a:pt x="1957" y="4040"/>
                </a:cubicBezTo>
                <a:cubicBezTo>
                  <a:pt x="1957" y="4072"/>
                  <a:pt x="2005" y="4119"/>
                  <a:pt x="2036" y="4119"/>
                </a:cubicBezTo>
                <a:cubicBezTo>
                  <a:pt x="2052" y="4119"/>
                  <a:pt x="2084" y="4119"/>
                  <a:pt x="2148" y="4103"/>
                </a:cubicBezTo>
                <a:lnTo>
                  <a:pt x="2148" y="4278"/>
                </a:lnTo>
                <a:cubicBezTo>
                  <a:pt x="2148" y="4326"/>
                  <a:pt x="2196" y="4358"/>
                  <a:pt x="2227" y="4358"/>
                </a:cubicBezTo>
                <a:cubicBezTo>
                  <a:pt x="2275" y="4358"/>
                  <a:pt x="2307" y="4326"/>
                  <a:pt x="2307" y="4278"/>
                </a:cubicBezTo>
                <a:lnTo>
                  <a:pt x="2307" y="4103"/>
                </a:lnTo>
                <a:cubicBezTo>
                  <a:pt x="2434" y="4119"/>
                  <a:pt x="2514" y="4119"/>
                  <a:pt x="2530" y="4119"/>
                </a:cubicBezTo>
                <a:cubicBezTo>
                  <a:pt x="2577" y="4119"/>
                  <a:pt x="2609" y="4072"/>
                  <a:pt x="2609" y="4040"/>
                </a:cubicBezTo>
                <a:cubicBezTo>
                  <a:pt x="2609" y="4024"/>
                  <a:pt x="2609" y="3992"/>
                  <a:pt x="2593" y="3992"/>
                </a:cubicBezTo>
                <a:cubicBezTo>
                  <a:pt x="2704" y="3912"/>
                  <a:pt x="2800" y="3817"/>
                  <a:pt x="2800" y="3658"/>
                </a:cubicBezTo>
                <a:cubicBezTo>
                  <a:pt x="2800" y="3467"/>
                  <a:pt x="2641" y="3372"/>
                  <a:pt x="2450" y="3276"/>
                </a:cubicBezTo>
                <a:cubicBezTo>
                  <a:pt x="2641" y="3197"/>
                  <a:pt x="2800" y="3085"/>
                  <a:pt x="2800" y="2911"/>
                </a:cubicBezTo>
                <a:cubicBezTo>
                  <a:pt x="2800" y="2720"/>
                  <a:pt x="2641" y="2608"/>
                  <a:pt x="2450" y="2529"/>
                </a:cubicBezTo>
                <a:cubicBezTo>
                  <a:pt x="2641" y="2433"/>
                  <a:pt x="2800" y="2338"/>
                  <a:pt x="2800" y="2147"/>
                </a:cubicBezTo>
                <a:cubicBezTo>
                  <a:pt x="2800" y="1893"/>
                  <a:pt x="2673" y="1781"/>
                  <a:pt x="2498" y="1686"/>
                </a:cubicBezTo>
                <a:cubicBezTo>
                  <a:pt x="2514" y="1686"/>
                  <a:pt x="2545" y="1670"/>
                  <a:pt x="2561" y="1654"/>
                </a:cubicBezTo>
                <a:cubicBezTo>
                  <a:pt x="2991" y="1447"/>
                  <a:pt x="2991" y="1209"/>
                  <a:pt x="2991" y="827"/>
                </a:cubicBezTo>
                <a:cubicBezTo>
                  <a:pt x="2991" y="779"/>
                  <a:pt x="2959" y="747"/>
                  <a:pt x="2911" y="747"/>
                </a:cubicBezTo>
                <a:close/>
                <a:moveTo>
                  <a:pt x="1861" y="540"/>
                </a:moveTo>
                <a:cubicBezTo>
                  <a:pt x="1861" y="334"/>
                  <a:pt x="2036" y="159"/>
                  <a:pt x="2243" y="159"/>
                </a:cubicBezTo>
                <a:cubicBezTo>
                  <a:pt x="2466" y="159"/>
                  <a:pt x="2641" y="334"/>
                  <a:pt x="2641" y="540"/>
                </a:cubicBezTo>
                <a:cubicBezTo>
                  <a:pt x="2641" y="763"/>
                  <a:pt x="2466" y="938"/>
                  <a:pt x="2243" y="938"/>
                </a:cubicBezTo>
                <a:cubicBezTo>
                  <a:pt x="2036" y="938"/>
                  <a:pt x="1861" y="763"/>
                  <a:pt x="1861" y="540"/>
                </a:cubicBezTo>
                <a:close/>
                <a:moveTo>
                  <a:pt x="1861" y="2147"/>
                </a:moveTo>
                <a:cubicBezTo>
                  <a:pt x="1861" y="1972"/>
                  <a:pt x="1957" y="1908"/>
                  <a:pt x="2148" y="1829"/>
                </a:cubicBezTo>
                <a:lnTo>
                  <a:pt x="2148" y="2402"/>
                </a:lnTo>
                <a:cubicBezTo>
                  <a:pt x="1989" y="2338"/>
                  <a:pt x="1861" y="2258"/>
                  <a:pt x="1861" y="2147"/>
                </a:cubicBezTo>
                <a:close/>
                <a:moveTo>
                  <a:pt x="1861" y="2911"/>
                </a:moveTo>
                <a:cubicBezTo>
                  <a:pt x="1861" y="2799"/>
                  <a:pt x="1989" y="2720"/>
                  <a:pt x="2148" y="2656"/>
                </a:cubicBezTo>
                <a:lnTo>
                  <a:pt x="2148" y="3149"/>
                </a:lnTo>
                <a:cubicBezTo>
                  <a:pt x="1989" y="3085"/>
                  <a:pt x="1861" y="3006"/>
                  <a:pt x="1861" y="2911"/>
                </a:cubicBezTo>
                <a:close/>
                <a:moveTo>
                  <a:pt x="1861" y="3658"/>
                </a:moveTo>
                <a:cubicBezTo>
                  <a:pt x="1861" y="3547"/>
                  <a:pt x="1989" y="3467"/>
                  <a:pt x="2148" y="3403"/>
                </a:cubicBezTo>
                <a:lnTo>
                  <a:pt x="2148" y="3912"/>
                </a:lnTo>
                <a:cubicBezTo>
                  <a:pt x="1989" y="3865"/>
                  <a:pt x="1861" y="3785"/>
                  <a:pt x="1861" y="3658"/>
                </a:cubicBezTo>
                <a:close/>
                <a:moveTo>
                  <a:pt x="2641" y="3658"/>
                </a:moveTo>
                <a:cubicBezTo>
                  <a:pt x="2641" y="3817"/>
                  <a:pt x="2466" y="3881"/>
                  <a:pt x="2307" y="3929"/>
                </a:cubicBezTo>
                <a:lnTo>
                  <a:pt x="2307" y="3388"/>
                </a:lnTo>
                <a:cubicBezTo>
                  <a:pt x="2482" y="3467"/>
                  <a:pt x="2641" y="3547"/>
                  <a:pt x="2641" y="3658"/>
                </a:cubicBezTo>
                <a:close/>
                <a:moveTo>
                  <a:pt x="2641" y="2911"/>
                </a:moveTo>
                <a:cubicBezTo>
                  <a:pt x="2641" y="3022"/>
                  <a:pt x="2482" y="3102"/>
                  <a:pt x="2307" y="3165"/>
                </a:cubicBezTo>
                <a:lnTo>
                  <a:pt x="2307" y="2640"/>
                </a:lnTo>
                <a:cubicBezTo>
                  <a:pt x="2482" y="2703"/>
                  <a:pt x="2641" y="2783"/>
                  <a:pt x="2641" y="2911"/>
                </a:cubicBezTo>
                <a:close/>
                <a:moveTo>
                  <a:pt x="2641" y="2147"/>
                </a:moveTo>
                <a:cubicBezTo>
                  <a:pt x="2641" y="2258"/>
                  <a:pt x="2482" y="2338"/>
                  <a:pt x="2307" y="2417"/>
                </a:cubicBezTo>
                <a:lnTo>
                  <a:pt x="2307" y="1781"/>
                </a:lnTo>
                <a:cubicBezTo>
                  <a:pt x="2545" y="1876"/>
                  <a:pt x="2641" y="1940"/>
                  <a:pt x="2641" y="2147"/>
                </a:cubicBezTo>
                <a:close/>
                <a:moveTo>
                  <a:pt x="1400" y="509"/>
                </a:moveTo>
                <a:lnTo>
                  <a:pt x="80" y="509"/>
                </a:lnTo>
                <a:cubicBezTo>
                  <a:pt x="32" y="509"/>
                  <a:pt x="0" y="540"/>
                  <a:pt x="0" y="588"/>
                </a:cubicBezTo>
                <a:cubicBezTo>
                  <a:pt x="0" y="620"/>
                  <a:pt x="16" y="1304"/>
                  <a:pt x="1193" y="1702"/>
                </a:cubicBezTo>
                <a:lnTo>
                  <a:pt x="1209" y="1702"/>
                </a:lnTo>
                <a:cubicBezTo>
                  <a:pt x="1241" y="1702"/>
                  <a:pt x="1257" y="1686"/>
                  <a:pt x="1273" y="1670"/>
                </a:cubicBezTo>
                <a:cubicBezTo>
                  <a:pt x="1289" y="1654"/>
                  <a:pt x="1305" y="1622"/>
                  <a:pt x="1289" y="1590"/>
                </a:cubicBezTo>
                <a:cubicBezTo>
                  <a:pt x="1114" y="1240"/>
                  <a:pt x="1289" y="906"/>
                  <a:pt x="1464" y="620"/>
                </a:cubicBezTo>
                <a:cubicBezTo>
                  <a:pt x="1480" y="604"/>
                  <a:pt x="1480" y="572"/>
                  <a:pt x="1464" y="540"/>
                </a:cubicBezTo>
                <a:cubicBezTo>
                  <a:pt x="1464" y="525"/>
                  <a:pt x="1432" y="509"/>
                  <a:pt x="1400" y="509"/>
                </a:cubicBezTo>
                <a:close/>
                <a:moveTo>
                  <a:pt x="1082" y="1495"/>
                </a:moveTo>
                <a:cubicBezTo>
                  <a:pt x="382" y="1209"/>
                  <a:pt x="207" y="827"/>
                  <a:pt x="176" y="668"/>
                </a:cubicBezTo>
                <a:lnTo>
                  <a:pt x="1257" y="668"/>
                </a:lnTo>
                <a:cubicBezTo>
                  <a:pt x="1130" y="875"/>
                  <a:pt x="1003" y="1177"/>
                  <a:pt x="1082" y="1495"/>
                </a:cubicBezTo>
                <a:close/>
                <a:moveTo>
                  <a:pt x="4422" y="509"/>
                </a:moveTo>
                <a:lnTo>
                  <a:pt x="3102" y="509"/>
                </a:lnTo>
                <a:cubicBezTo>
                  <a:pt x="3070" y="509"/>
                  <a:pt x="3039" y="525"/>
                  <a:pt x="3023" y="540"/>
                </a:cubicBezTo>
                <a:cubicBezTo>
                  <a:pt x="3006" y="572"/>
                  <a:pt x="3023" y="604"/>
                  <a:pt x="3023" y="620"/>
                </a:cubicBezTo>
                <a:cubicBezTo>
                  <a:pt x="3214" y="906"/>
                  <a:pt x="3388" y="1240"/>
                  <a:pt x="3214" y="1590"/>
                </a:cubicBezTo>
                <a:cubicBezTo>
                  <a:pt x="3197" y="1622"/>
                  <a:pt x="3197" y="1654"/>
                  <a:pt x="3229" y="1670"/>
                </a:cubicBezTo>
                <a:cubicBezTo>
                  <a:pt x="3245" y="1686"/>
                  <a:pt x="3261" y="1702"/>
                  <a:pt x="3293" y="1702"/>
                </a:cubicBezTo>
                <a:lnTo>
                  <a:pt x="3309" y="1702"/>
                </a:lnTo>
                <a:cubicBezTo>
                  <a:pt x="4486" y="1304"/>
                  <a:pt x="4502" y="620"/>
                  <a:pt x="4502" y="588"/>
                </a:cubicBezTo>
                <a:cubicBezTo>
                  <a:pt x="4502" y="540"/>
                  <a:pt x="4454" y="509"/>
                  <a:pt x="4422" y="509"/>
                </a:cubicBezTo>
                <a:close/>
                <a:moveTo>
                  <a:pt x="3420" y="1495"/>
                </a:moveTo>
                <a:cubicBezTo>
                  <a:pt x="3500" y="1177"/>
                  <a:pt x="3357" y="875"/>
                  <a:pt x="3245" y="668"/>
                </a:cubicBezTo>
                <a:lnTo>
                  <a:pt x="4327" y="668"/>
                </a:lnTo>
                <a:cubicBezTo>
                  <a:pt x="4295" y="827"/>
                  <a:pt x="4120" y="1209"/>
                  <a:pt x="3420" y="149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7" name="Freeform: Shape 5">
            <a:extLst>
              <a:ext uri="{FF2B5EF4-FFF2-40B4-BE49-F238E27FC236}">
                <a16:creationId xmlns:a16="http://schemas.microsoft.com/office/drawing/2014/main" id="{97D68566-3D78-0542-8126-16BE5FF04E75}"/>
              </a:ext>
            </a:extLst>
          </p:cNvPr>
          <p:cNvSpPr/>
          <p:nvPr/>
        </p:nvSpPr>
        <p:spPr>
          <a:xfrm>
            <a:off x="14033826" y="3204249"/>
            <a:ext cx="1614240" cy="1351080"/>
          </a:xfrm>
          <a:custGeom>
            <a:avLst/>
            <a:gdLst/>
            <a:ahLst/>
            <a:cxnLst>
              <a:cxn ang="3cd4">
                <a:pos x="hc" y="t"/>
              </a:cxn>
              <a:cxn ang="cd2">
                <a:pos x="l" y="vc"/>
              </a:cxn>
              <a:cxn ang="cd4">
                <a:pos x="hc" y="b"/>
              </a:cxn>
              <a:cxn ang="0">
                <a:pos x="r" y="vc"/>
              </a:cxn>
            </a:cxnLst>
            <a:rect l="l" t="t" r="r" b="b"/>
            <a:pathLst>
              <a:path w="4485" h="3754">
                <a:moveTo>
                  <a:pt x="382" y="1273"/>
                </a:moveTo>
                <a:cubicBezTo>
                  <a:pt x="334" y="1256"/>
                  <a:pt x="286" y="1256"/>
                  <a:pt x="270" y="1304"/>
                </a:cubicBezTo>
                <a:cubicBezTo>
                  <a:pt x="206" y="1400"/>
                  <a:pt x="159" y="1495"/>
                  <a:pt x="111" y="1606"/>
                </a:cubicBezTo>
                <a:cubicBezTo>
                  <a:pt x="95" y="1638"/>
                  <a:pt x="111" y="1686"/>
                  <a:pt x="159" y="1702"/>
                </a:cubicBezTo>
                <a:lnTo>
                  <a:pt x="191" y="1702"/>
                </a:lnTo>
                <a:cubicBezTo>
                  <a:pt x="222" y="1702"/>
                  <a:pt x="254" y="1686"/>
                  <a:pt x="254" y="1654"/>
                </a:cubicBezTo>
                <a:cubicBezTo>
                  <a:pt x="302" y="1559"/>
                  <a:pt x="350" y="1463"/>
                  <a:pt x="397" y="1384"/>
                </a:cubicBezTo>
                <a:cubicBezTo>
                  <a:pt x="429" y="1352"/>
                  <a:pt x="413" y="1304"/>
                  <a:pt x="382" y="1273"/>
                </a:cubicBezTo>
                <a:close/>
                <a:moveTo>
                  <a:pt x="1113" y="764"/>
                </a:moveTo>
                <a:cubicBezTo>
                  <a:pt x="1066" y="764"/>
                  <a:pt x="1034" y="811"/>
                  <a:pt x="1034" y="859"/>
                </a:cubicBezTo>
                <a:cubicBezTo>
                  <a:pt x="1049" y="891"/>
                  <a:pt x="1081" y="922"/>
                  <a:pt x="1113" y="922"/>
                </a:cubicBezTo>
                <a:lnTo>
                  <a:pt x="1129" y="922"/>
                </a:lnTo>
                <a:cubicBezTo>
                  <a:pt x="1224" y="907"/>
                  <a:pt x="1336" y="891"/>
                  <a:pt x="1447" y="891"/>
                </a:cubicBezTo>
                <a:cubicBezTo>
                  <a:pt x="1495" y="891"/>
                  <a:pt x="1527" y="843"/>
                  <a:pt x="1527" y="795"/>
                </a:cubicBezTo>
                <a:cubicBezTo>
                  <a:pt x="1511" y="764"/>
                  <a:pt x="1479" y="732"/>
                  <a:pt x="1431" y="732"/>
                </a:cubicBezTo>
                <a:cubicBezTo>
                  <a:pt x="1320" y="732"/>
                  <a:pt x="1209" y="747"/>
                  <a:pt x="1113" y="764"/>
                </a:cubicBezTo>
                <a:close/>
                <a:moveTo>
                  <a:pt x="2052" y="636"/>
                </a:moveTo>
                <a:cubicBezTo>
                  <a:pt x="1972" y="668"/>
                  <a:pt x="1861" y="684"/>
                  <a:pt x="1749" y="700"/>
                </a:cubicBezTo>
                <a:cubicBezTo>
                  <a:pt x="1702" y="700"/>
                  <a:pt x="1686" y="747"/>
                  <a:pt x="1686" y="795"/>
                </a:cubicBezTo>
                <a:cubicBezTo>
                  <a:pt x="1686" y="827"/>
                  <a:pt x="1718" y="859"/>
                  <a:pt x="1765" y="859"/>
                </a:cubicBezTo>
                <a:cubicBezTo>
                  <a:pt x="1893" y="843"/>
                  <a:pt x="2004" y="827"/>
                  <a:pt x="2099" y="795"/>
                </a:cubicBezTo>
                <a:cubicBezTo>
                  <a:pt x="2147" y="779"/>
                  <a:pt x="2163" y="747"/>
                  <a:pt x="2163" y="700"/>
                </a:cubicBezTo>
                <a:cubicBezTo>
                  <a:pt x="2147" y="652"/>
                  <a:pt x="2099" y="636"/>
                  <a:pt x="2052" y="636"/>
                </a:cubicBezTo>
                <a:close/>
                <a:moveTo>
                  <a:pt x="477" y="1145"/>
                </a:moveTo>
                <a:cubicBezTo>
                  <a:pt x="493" y="1161"/>
                  <a:pt x="525" y="1177"/>
                  <a:pt x="540" y="1177"/>
                </a:cubicBezTo>
                <a:cubicBezTo>
                  <a:pt x="557" y="1177"/>
                  <a:pt x="572" y="1161"/>
                  <a:pt x="588" y="1145"/>
                </a:cubicBezTo>
                <a:cubicBezTo>
                  <a:pt x="668" y="1082"/>
                  <a:pt x="748" y="1034"/>
                  <a:pt x="843" y="986"/>
                </a:cubicBezTo>
                <a:cubicBezTo>
                  <a:pt x="875" y="970"/>
                  <a:pt x="891" y="922"/>
                  <a:pt x="875" y="891"/>
                </a:cubicBezTo>
                <a:cubicBezTo>
                  <a:pt x="858" y="843"/>
                  <a:pt x="811" y="827"/>
                  <a:pt x="779" y="843"/>
                </a:cubicBezTo>
                <a:cubicBezTo>
                  <a:pt x="668" y="891"/>
                  <a:pt x="572" y="954"/>
                  <a:pt x="477" y="1034"/>
                </a:cubicBezTo>
                <a:cubicBezTo>
                  <a:pt x="445" y="1065"/>
                  <a:pt x="445" y="1113"/>
                  <a:pt x="477" y="1145"/>
                </a:cubicBezTo>
                <a:close/>
                <a:moveTo>
                  <a:pt x="95" y="2338"/>
                </a:moveTo>
                <a:cubicBezTo>
                  <a:pt x="127" y="2338"/>
                  <a:pt x="159" y="2306"/>
                  <a:pt x="159" y="2258"/>
                </a:cubicBezTo>
                <a:lnTo>
                  <a:pt x="159" y="2179"/>
                </a:lnTo>
                <a:cubicBezTo>
                  <a:pt x="159" y="2100"/>
                  <a:pt x="174" y="2020"/>
                  <a:pt x="174" y="1956"/>
                </a:cubicBezTo>
                <a:cubicBezTo>
                  <a:pt x="191" y="1909"/>
                  <a:pt x="159" y="1861"/>
                  <a:pt x="111" y="1861"/>
                </a:cubicBezTo>
                <a:cubicBezTo>
                  <a:pt x="63" y="1845"/>
                  <a:pt x="31" y="1877"/>
                  <a:pt x="16" y="1925"/>
                </a:cubicBezTo>
                <a:cubicBezTo>
                  <a:pt x="16" y="2004"/>
                  <a:pt x="0" y="2100"/>
                  <a:pt x="0" y="2179"/>
                </a:cubicBezTo>
                <a:lnTo>
                  <a:pt x="0" y="2258"/>
                </a:lnTo>
                <a:cubicBezTo>
                  <a:pt x="16" y="2306"/>
                  <a:pt x="48" y="2338"/>
                  <a:pt x="79" y="2338"/>
                </a:cubicBezTo>
                <a:close/>
                <a:moveTo>
                  <a:pt x="4039" y="398"/>
                </a:moveTo>
                <a:lnTo>
                  <a:pt x="4055" y="429"/>
                </a:lnTo>
                <a:cubicBezTo>
                  <a:pt x="4119" y="493"/>
                  <a:pt x="4166" y="556"/>
                  <a:pt x="4214" y="636"/>
                </a:cubicBezTo>
                <a:cubicBezTo>
                  <a:pt x="4230" y="668"/>
                  <a:pt x="4262" y="684"/>
                  <a:pt x="4277" y="684"/>
                </a:cubicBezTo>
                <a:cubicBezTo>
                  <a:pt x="4293" y="684"/>
                  <a:pt x="4309" y="684"/>
                  <a:pt x="4325" y="668"/>
                </a:cubicBezTo>
                <a:cubicBezTo>
                  <a:pt x="4357" y="652"/>
                  <a:pt x="4373" y="604"/>
                  <a:pt x="4357" y="556"/>
                </a:cubicBezTo>
                <a:cubicBezTo>
                  <a:pt x="4309" y="477"/>
                  <a:pt x="4246" y="382"/>
                  <a:pt x="4166" y="318"/>
                </a:cubicBezTo>
                <a:lnTo>
                  <a:pt x="4134" y="286"/>
                </a:lnTo>
                <a:cubicBezTo>
                  <a:pt x="4102" y="255"/>
                  <a:pt x="4055" y="255"/>
                  <a:pt x="4023" y="286"/>
                </a:cubicBezTo>
                <a:cubicBezTo>
                  <a:pt x="3991" y="318"/>
                  <a:pt x="4007" y="382"/>
                  <a:pt x="4039" y="398"/>
                </a:cubicBezTo>
                <a:close/>
                <a:moveTo>
                  <a:pt x="3181" y="16"/>
                </a:moveTo>
                <a:cubicBezTo>
                  <a:pt x="3054" y="47"/>
                  <a:pt x="2958" y="79"/>
                  <a:pt x="2847" y="143"/>
                </a:cubicBezTo>
                <a:cubicBezTo>
                  <a:pt x="2815" y="159"/>
                  <a:pt x="2799" y="223"/>
                  <a:pt x="2815" y="255"/>
                </a:cubicBezTo>
                <a:cubicBezTo>
                  <a:pt x="2831" y="270"/>
                  <a:pt x="2863" y="286"/>
                  <a:pt x="2894" y="286"/>
                </a:cubicBezTo>
                <a:lnTo>
                  <a:pt x="2926" y="286"/>
                </a:lnTo>
                <a:cubicBezTo>
                  <a:pt x="3022" y="238"/>
                  <a:pt x="3117" y="191"/>
                  <a:pt x="3213" y="175"/>
                </a:cubicBezTo>
                <a:cubicBezTo>
                  <a:pt x="3245" y="159"/>
                  <a:pt x="3276" y="127"/>
                  <a:pt x="3260" y="79"/>
                </a:cubicBezTo>
                <a:cubicBezTo>
                  <a:pt x="3260" y="32"/>
                  <a:pt x="3213" y="16"/>
                  <a:pt x="3181" y="16"/>
                </a:cubicBezTo>
                <a:close/>
                <a:moveTo>
                  <a:pt x="3849" y="95"/>
                </a:moveTo>
                <a:cubicBezTo>
                  <a:pt x="3754" y="47"/>
                  <a:pt x="3642" y="16"/>
                  <a:pt x="3515" y="0"/>
                </a:cubicBezTo>
                <a:cubicBezTo>
                  <a:pt x="3483" y="0"/>
                  <a:pt x="3435" y="32"/>
                  <a:pt x="3435" y="79"/>
                </a:cubicBezTo>
                <a:cubicBezTo>
                  <a:pt x="3435" y="111"/>
                  <a:pt x="3451" y="159"/>
                  <a:pt x="3499" y="159"/>
                </a:cubicBezTo>
                <a:cubicBezTo>
                  <a:pt x="3594" y="175"/>
                  <a:pt x="3706" y="191"/>
                  <a:pt x="3785" y="238"/>
                </a:cubicBezTo>
                <a:lnTo>
                  <a:pt x="3817" y="238"/>
                </a:lnTo>
                <a:cubicBezTo>
                  <a:pt x="3849" y="238"/>
                  <a:pt x="3881" y="223"/>
                  <a:pt x="3897" y="207"/>
                </a:cubicBezTo>
                <a:cubicBezTo>
                  <a:pt x="3912" y="159"/>
                  <a:pt x="3897" y="111"/>
                  <a:pt x="3849" y="95"/>
                </a:cubicBezTo>
                <a:close/>
                <a:moveTo>
                  <a:pt x="2593" y="350"/>
                </a:moveTo>
                <a:cubicBezTo>
                  <a:pt x="2513" y="429"/>
                  <a:pt x="2433" y="477"/>
                  <a:pt x="2338" y="525"/>
                </a:cubicBezTo>
                <a:cubicBezTo>
                  <a:pt x="2306" y="556"/>
                  <a:pt x="2290" y="604"/>
                  <a:pt x="2306" y="636"/>
                </a:cubicBezTo>
                <a:cubicBezTo>
                  <a:pt x="2322" y="668"/>
                  <a:pt x="2354" y="684"/>
                  <a:pt x="2385" y="684"/>
                </a:cubicBezTo>
                <a:cubicBezTo>
                  <a:pt x="2396" y="679"/>
                  <a:pt x="2402" y="684"/>
                  <a:pt x="2418" y="668"/>
                </a:cubicBezTo>
                <a:cubicBezTo>
                  <a:pt x="2513" y="620"/>
                  <a:pt x="2608" y="556"/>
                  <a:pt x="2688" y="477"/>
                </a:cubicBezTo>
                <a:cubicBezTo>
                  <a:pt x="2720" y="445"/>
                  <a:pt x="2736" y="398"/>
                  <a:pt x="2704" y="366"/>
                </a:cubicBezTo>
                <a:cubicBezTo>
                  <a:pt x="2672" y="334"/>
                  <a:pt x="2624" y="318"/>
                  <a:pt x="2593" y="350"/>
                </a:cubicBezTo>
                <a:close/>
                <a:moveTo>
                  <a:pt x="3340" y="2434"/>
                </a:moveTo>
                <a:lnTo>
                  <a:pt x="3117" y="2656"/>
                </a:lnTo>
                <a:cubicBezTo>
                  <a:pt x="3085" y="2688"/>
                  <a:pt x="3085" y="2736"/>
                  <a:pt x="3117" y="2767"/>
                </a:cubicBezTo>
                <a:cubicBezTo>
                  <a:pt x="3133" y="2783"/>
                  <a:pt x="3149" y="2800"/>
                  <a:pt x="3181" y="2800"/>
                </a:cubicBezTo>
                <a:cubicBezTo>
                  <a:pt x="3197" y="2800"/>
                  <a:pt x="3213" y="2783"/>
                  <a:pt x="3228" y="2767"/>
                </a:cubicBezTo>
                <a:lnTo>
                  <a:pt x="3451" y="2545"/>
                </a:lnTo>
                <a:cubicBezTo>
                  <a:pt x="3483" y="2513"/>
                  <a:pt x="3483" y="2465"/>
                  <a:pt x="3467" y="2434"/>
                </a:cubicBezTo>
                <a:cubicBezTo>
                  <a:pt x="3435" y="2401"/>
                  <a:pt x="3372" y="2401"/>
                  <a:pt x="3340" y="2434"/>
                </a:cubicBezTo>
                <a:close/>
                <a:moveTo>
                  <a:pt x="3801" y="1972"/>
                </a:moveTo>
                <a:lnTo>
                  <a:pt x="3579" y="2195"/>
                </a:lnTo>
                <a:cubicBezTo>
                  <a:pt x="3547" y="2227"/>
                  <a:pt x="3547" y="2291"/>
                  <a:pt x="3579" y="2306"/>
                </a:cubicBezTo>
                <a:cubicBezTo>
                  <a:pt x="3594" y="2322"/>
                  <a:pt x="3611" y="2338"/>
                  <a:pt x="3626" y="2338"/>
                </a:cubicBezTo>
                <a:cubicBezTo>
                  <a:pt x="3658" y="2338"/>
                  <a:pt x="3674" y="2322"/>
                  <a:pt x="3690" y="2306"/>
                </a:cubicBezTo>
                <a:lnTo>
                  <a:pt x="3912" y="2083"/>
                </a:lnTo>
                <a:cubicBezTo>
                  <a:pt x="3944" y="2052"/>
                  <a:pt x="3944" y="2004"/>
                  <a:pt x="3912" y="1972"/>
                </a:cubicBezTo>
                <a:cubicBezTo>
                  <a:pt x="3881" y="1940"/>
                  <a:pt x="3833" y="1940"/>
                  <a:pt x="3801" y="1972"/>
                </a:cubicBezTo>
                <a:close/>
                <a:moveTo>
                  <a:pt x="2433" y="3324"/>
                </a:moveTo>
                <a:cubicBezTo>
                  <a:pt x="2354" y="3388"/>
                  <a:pt x="2258" y="3436"/>
                  <a:pt x="2163" y="3467"/>
                </a:cubicBezTo>
                <a:cubicBezTo>
                  <a:pt x="2131" y="3499"/>
                  <a:pt x="2099" y="3547"/>
                  <a:pt x="2131" y="3579"/>
                </a:cubicBezTo>
                <a:cubicBezTo>
                  <a:pt x="2131" y="3610"/>
                  <a:pt x="2163" y="3627"/>
                  <a:pt x="2195" y="3627"/>
                </a:cubicBezTo>
                <a:lnTo>
                  <a:pt x="2227" y="3627"/>
                </a:lnTo>
                <a:cubicBezTo>
                  <a:pt x="2338" y="3579"/>
                  <a:pt x="2433" y="3515"/>
                  <a:pt x="2529" y="3452"/>
                </a:cubicBezTo>
                <a:cubicBezTo>
                  <a:pt x="2561" y="3419"/>
                  <a:pt x="2561" y="3372"/>
                  <a:pt x="2545" y="3340"/>
                </a:cubicBezTo>
                <a:cubicBezTo>
                  <a:pt x="2513" y="3308"/>
                  <a:pt x="2465" y="3292"/>
                  <a:pt x="2433" y="3324"/>
                </a:cubicBezTo>
                <a:close/>
                <a:moveTo>
                  <a:pt x="2894" y="2895"/>
                </a:moveTo>
                <a:lnTo>
                  <a:pt x="2656" y="3118"/>
                </a:lnTo>
                <a:cubicBezTo>
                  <a:pt x="2624" y="3149"/>
                  <a:pt x="2624" y="3197"/>
                  <a:pt x="2656" y="3229"/>
                </a:cubicBezTo>
                <a:cubicBezTo>
                  <a:pt x="2672" y="3245"/>
                  <a:pt x="2704" y="3245"/>
                  <a:pt x="2720" y="3245"/>
                </a:cubicBezTo>
                <a:cubicBezTo>
                  <a:pt x="2736" y="3245"/>
                  <a:pt x="2751" y="3245"/>
                  <a:pt x="2767" y="3229"/>
                </a:cubicBezTo>
                <a:lnTo>
                  <a:pt x="3006" y="3006"/>
                </a:lnTo>
                <a:cubicBezTo>
                  <a:pt x="3038" y="2974"/>
                  <a:pt x="3038" y="2910"/>
                  <a:pt x="3006" y="2895"/>
                </a:cubicBezTo>
                <a:cubicBezTo>
                  <a:pt x="2974" y="2863"/>
                  <a:pt x="2926" y="2863"/>
                  <a:pt x="2894" y="2895"/>
                </a:cubicBezTo>
                <a:close/>
                <a:moveTo>
                  <a:pt x="4374" y="827"/>
                </a:moveTo>
                <a:cubicBezTo>
                  <a:pt x="4326" y="827"/>
                  <a:pt x="4310" y="875"/>
                  <a:pt x="4310" y="922"/>
                </a:cubicBezTo>
                <a:cubicBezTo>
                  <a:pt x="4310" y="970"/>
                  <a:pt x="4326" y="1018"/>
                  <a:pt x="4326" y="1065"/>
                </a:cubicBezTo>
                <a:cubicBezTo>
                  <a:pt x="4326" y="1113"/>
                  <a:pt x="4326" y="1161"/>
                  <a:pt x="4310" y="1209"/>
                </a:cubicBezTo>
                <a:cubicBezTo>
                  <a:pt x="4310" y="1256"/>
                  <a:pt x="4326" y="1304"/>
                  <a:pt x="4374" y="1304"/>
                </a:cubicBezTo>
                <a:lnTo>
                  <a:pt x="4390" y="1304"/>
                </a:lnTo>
                <a:cubicBezTo>
                  <a:pt x="4421" y="1304"/>
                  <a:pt x="4453" y="1273"/>
                  <a:pt x="4469" y="1240"/>
                </a:cubicBezTo>
                <a:cubicBezTo>
                  <a:pt x="4469" y="1177"/>
                  <a:pt x="4485" y="1129"/>
                  <a:pt x="4485" y="1065"/>
                </a:cubicBezTo>
                <a:cubicBezTo>
                  <a:pt x="4485" y="1002"/>
                  <a:pt x="4469" y="954"/>
                  <a:pt x="4469" y="891"/>
                </a:cubicBezTo>
                <a:cubicBezTo>
                  <a:pt x="4453" y="843"/>
                  <a:pt x="4421" y="827"/>
                  <a:pt x="4374" y="827"/>
                </a:cubicBezTo>
                <a:close/>
                <a:moveTo>
                  <a:pt x="4326" y="1463"/>
                </a:moveTo>
                <a:cubicBezTo>
                  <a:pt x="4278" y="1447"/>
                  <a:pt x="4231" y="1463"/>
                  <a:pt x="4215" y="1495"/>
                </a:cubicBezTo>
                <a:cubicBezTo>
                  <a:pt x="4167" y="1591"/>
                  <a:pt x="4120" y="1670"/>
                  <a:pt x="4040" y="1734"/>
                </a:cubicBezTo>
                <a:lnTo>
                  <a:pt x="4040" y="1749"/>
                </a:lnTo>
                <a:cubicBezTo>
                  <a:pt x="4008" y="1782"/>
                  <a:pt x="4008" y="1813"/>
                  <a:pt x="4040" y="1845"/>
                </a:cubicBezTo>
                <a:cubicBezTo>
                  <a:pt x="4056" y="1861"/>
                  <a:pt x="4072" y="1877"/>
                  <a:pt x="4087" y="1877"/>
                </a:cubicBezTo>
                <a:cubicBezTo>
                  <a:pt x="4120" y="1877"/>
                  <a:pt x="4135" y="1861"/>
                  <a:pt x="4151" y="1845"/>
                </a:cubicBezTo>
                <a:cubicBezTo>
                  <a:pt x="4231" y="1765"/>
                  <a:pt x="4310" y="1670"/>
                  <a:pt x="4358" y="1574"/>
                </a:cubicBezTo>
                <a:cubicBezTo>
                  <a:pt x="4374" y="1527"/>
                  <a:pt x="4358" y="1479"/>
                  <a:pt x="4326" y="1463"/>
                </a:cubicBezTo>
                <a:close/>
                <a:moveTo>
                  <a:pt x="1272" y="3563"/>
                </a:moveTo>
                <a:cubicBezTo>
                  <a:pt x="1161" y="3547"/>
                  <a:pt x="1066" y="3499"/>
                  <a:pt x="986" y="3467"/>
                </a:cubicBezTo>
                <a:cubicBezTo>
                  <a:pt x="938" y="3452"/>
                  <a:pt x="891" y="3467"/>
                  <a:pt x="875" y="3499"/>
                </a:cubicBezTo>
                <a:cubicBezTo>
                  <a:pt x="858" y="3547"/>
                  <a:pt x="875" y="3595"/>
                  <a:pt x="906" y="3610"/>
                </a:cubicBezTo>
                <a:cubicBezTo>
                  <a:pt x="1018" y="3658"/>
                  <a:pt x="1129" y="3690"/>
                  <a:pt x="1224" y="3722"/>
                </a:cubicBezTo>
                <a:lnTo>
                  <a:pt x="1257" y="3722"/>
                </a:lnTo>
                <a:cubicBezTo>
                  <a:pt x="1288" y="3722"/>
                  <a:pt x="1320" y="3690"/>
                  <a:pt x="1320" y="3658"/>
                </a:cubicBezTo>
                <a:cubicBezTo>
                  <a:pt x="1336" y="3610"/>
                  <a:pt x="1304" y="3579"/>
                  <a:pt x="1272" y="3563"/>
                </a:cubicBezTo>
                <a:close/>
                <a:moveTo>
                  <a:pt x="1876" y="3563"/>
                </a:moveTo>
                <a:cubicBezTo>
                  <a:pt x="1781" y="3595"/>
                  <a:pt x="1686" y="3595"/>
                  <a:pt x="1590" y="3595"/>
                </a:cubicBezTo>
                <a:lnTo>
                  <a:pt x="1575" y="3595"/>
                </a:lnTo>
                <a:cubicBezTo>
                  <a:pt x="1527" y="3595"/>
                  <a:pt x="1495" y="3627"/>
                  <a:pt x="1495" y="3674"/>
                </a:cubicBezTo>
                <a:cubicBezTo>
                  <a:pt x="1495" y="3722"/>
                  <a:pt x="1543" y="3754"/>
                  <a:pt x="1590" y="3754"/>
                </a:cubicBezTo>
                <a:cubicBezTo>
                  <a:pt x="1686" y="3754"/>
                  <a:pt x="1797" y="3738"/>
                  <a:pt x="1909" y="3722"/>
                </a:cubicBezTo>
                <a:cubicBezTo>
                  <a:pt x="1956" y="3722"/>
                  <a:pt x="1972" y="3674"/>
                  <a:pt x="1972" y="3627"/>
                </a:cubicBezTo>
                <a:cubicBezTo>
                  <a:pt x="1956" y="3595"/>
                  <a:pt x="1924" y="3563"/>
                  <a:pt x="1876" y="3563"/>
                </a:cubicBezTo>
                <a:close/>
                <a:moveTo>
                  <a:pt x="715" y="3308"/>
                </a:moveTo>
                <a:cubicBezTo>
                  <a:pt x="668" y="3261"/>
                  <a:pt x="620" y="3229"/>
                  <a:pt x="572" y="3181"/>
                </a:cubicBezTo>
                <a:cubicBezTo>
                  <a:pt x="557" y="3149"/>
                  <a:pt x="525" y="3118"/>
                  <a:pt x="493" y="3086"/>
                </a:cubicBezTo>
                <a:cubicBezTo>
                  <a:pt x="477" y="3054"/>
                  <a:pt x="413" y="3054"/>
                  <a:pt x="382" y="3086"/>
                </a:cubicBezTo>
                <a:cubicBezTo>
                  <a:pt x="350" y="3118"/>
                  <a:pt x="350" y="3165"/>
                  <a:pt x="382" y="3197"/>
                </a:cubicBezTo>
                <a:cubicBezTo>
                  <a:pt x="397" y="3229"/>
                  <a:pt x="429" y="3261"/>
                  <a:pt x="461" y="3292"/>
                </a:cubicBezTo>
                <a:cubicBezTo>
                  <a:pt x="509" y="3340"/>
                  <a:pt x="572" y="3388"/>
                  <a:pt x="620" y="3436"/>
                </a:cubicBezTo>
                <a:cubicBezTo>
                  <a:pt x="636" y="3436"/>
                  <a:pt x="652" y="3452"/>
                  <a:pt x="668" y="3452"/>
                </a:cubicBezTo>
                <a:cubicBezTo>
                  <a:pt x="700" y="3452"/>
                  <a:pt x="715" y="3436"/>
                  <a:pt x="731" y="3419"/>
                </a:cubicBezTo>
                <a:cubicBezTo>
                  <a:pt x="763" y="3388"/>
                  <a:pt x="748" y="3324"/>
                  <a:pt x="715" y="3308"/>
                </a:cubicBezTo>
                <a:close/>
                <a:moveTo>
                  <a:pt x="206" y="2561"/>
                </a:moveTo>
                <a:cubicBezTo>
                  <a:pt x="206" y="2513"/>
                  <a:pt x="159" y="2497"/>
                  <a:pt x="111" y="2497"/>
                </a:cubicBezTo>
                <a:cubicBezTo>
                  <a:pt x="79" y="2513"/>
                  <a:pt x="48" y="2561"/>
                  <a:pt x="63" y="2592"/>
                </a:cubicBezTo>
                <a:cubicBezTo>
                  <a:pt x="95" y="2704"/>
                  <a:pt x="127" y="2815"/>
                  <a:pt x="191" y="2910"/>
                </a:cubicBezTo>
                <a:cubicBezTo>
                  <a:pt x="206" y="2943"/>
                  <a:pt x="222" y="2958"/>
                  <a:pt x="254" y="2958"/>
                </a:cubicBezTo>
                <a:cubicBezTo>
                  <a:pt x="270" y="2958"/>
                  <a:pt x="286" y="2958"/>
                  <a:pt x="286" y="2943"/>
                </a:cubicBezTo>
                <a:cubicBezTo>
                  <a:pt x="334" y="2927"/>
                  <a:pt x="350" y="2879"/>
                  <a:pt x="334" y="2847"/>
                </a:cubicBezTo>
                <a:cubicBezTo>
                  <a:pt x="286" y="2752"/>
                  <a:pt x="238" y="2656"/>
                  <a:pt x="206" y="2561"/>
                </a:cubicBezTo>
                <a:close/>
                <a:moveTo>
                  <a:pt x="748" y="3006"/>
                </a:moveTo>
                <a:cubicBezTo>
                  <a:pt x="970" y="3229"/>
                  <a:pt x="1272" y="3356"/>
                  <a:pt x="1590" y="3356"/>
                </a:cubicBezTo>
                <a:cubicBezTo>
                  <a:pt x="1909" y="3356"/>
                  <a:pt x="2211" y="3229"/>
                  <a:pt x="2433" y="3006"/>
                </a:cubicBezTo>
                <a:lnTo>
                  <a:pt x="3881" y="1574"/>
                </a:lnTo>
                <a:cubicBezTo>
                  <a:pt x="4008" y="1431"/>
                  <a:pt x="4087" y="1256"/>
                  <a:pt x="4087" y="1082"/>
                </a:cubicBezTo>
                <a:cubicBezTo>
                  <a:pt x="4087" y="891"/>
                  <a:pt x="4024" y="732"/>
                  <a:pt x="3881" y="588"/>
                </a:cubicBezTo>
                <a:cubicBezTo>
                  <a:pt x="3754" y="461"/>
                  <a:pt x="3579" y="398"/>
                  <a:pt x="3403" y="398"/>
                </a:cubicBezTo>
                <a:cubicBezTo>
                  <a:pt x="3213" y="398"/>
                  <a:pt x="3038" y="461"/>
                  <a:pt x="2911" y="604"/>
                </a:cubicBezTo>
                <a:cubicBezTo>
                  <a:pt x="2449" y="1050"/>
                  <a:pt x="1909" y="1097"/>
                  <a:pt x="1479" y="1129"/>
                </a:cubicBezTo>
                <a:cubicBezTo>
                  <a:pt x="1129" y="1145"/>
                  <a:pt x="906" y="1177"/>
                  <a:pt x="763" y="1320"/>
                </a:cubicBezTo>
                <a:cubicBezTo>
                  <a:pt x="525" y="1543"/>
                  <a:pt x="397" y="1845"/>
                  <a:pt x="397" y="2163"/>
                </a:cubicBezTo>
                <a:cubicBezTo>
                  <a:pt x="397" y="2481"/>
                  <a:pt x="525" y="2783"/>
                  <a:pt x="748" y="3006"/>
                </a:cubicBezTo>
                <a:close/>
                <a:moveTo>
                  <a:pt x="875" y="1431"/>
                </a:moveTo>
                <a:cubicBezTo>
                  <a:pt x="970" y="1320"/>
                  <a:pt x="1177" y="1304"/>
                  <a:pt x="1495" y="1288"/>
                </a:cubicBezTo>
                <a:cubicBezTo>
                  <a:pt x="1956" y="1240"/>
                  <a:pt x="2529" y="1209"/>
                  <a:pt x="3022" y="716"/>
                </a:cubicBezTo>
                <a:cubicBezTo>
                  <a:pt x="3117" y="604"/>
                  <a:pt x="3260" y="556"/>
                  <a:pt x="3403" y="556"/>
                </a:cubicBezTo>
                <a:cubicBezTo>
                  <a:pt x="3547" y="556"/>
                  <a:pt x="3674" y="604"/>
                  <a:pt x="3769" y="700"/>
                </a:cubicBezTo>
                <a:cubicBezTo>
                  <a:pt x="3881" y="811"/>
                  <a:pt x="3929" y="938"/>
                  <a:pt x="3929" y="1082"/>
                </a:cubicBezTo>
                <a:cubicBezTo>
                  <a:pt x="3929" y="1209"/>
                  <a:pt x="3865" y="1352"/>
                  <a:pt x="3769" y="1447"/>
                </a:cubicBezTo>
                <a:lnTo>
                  <a:pt x="2322" y="2895"/>
                </a:lnTo>
                <a:cubicBezTo>
                  <a:pt x="2131" y="3086"/>
                  <a:pt x="1861" y="3197"/>
                  <a:pt x="1590" y="3197"/>
                </a:cubicBezTo>
                <a:cubicBezTo>
                  <a:pt x="1304" y="3213"/>
                  <a:pt x="1049" y="3101"/>
                  <a:pt x="858" y="2895"/>
                </a:cubicBezTo>
                <a:cubicBezTo>
                  <a:pt x="668" y="2704"/>
                  <a:pt x="557" y="2449"/>
                  <a:pt x="557" y="2163"/>
                </a:cubicBezTo>
                <a:cubicBezTo>
                  <a:pt x="557" y="1892"/>
                  <a:pt x="668" y="1622"/>
                  <a:pt x="875" y="1431"/>
                </a:cubicBezTo>
                <a:close/>
                <a:moveTo>
                  <a:pt x="1511" y="2736"/>
                </a:moveTo>
                <a:cubicBezTo>
                  <a:pt x="1638" y="2736"/>
                  <a:pt x="1765" y="2704"/>
                  <a:pt x="1861" y="2609"/>
                </a:cubicBezTo>
                <a:cubicBezTo>
                  <a:pt x="2036" y="2418"/>
                  <a:pt x="2036" y="2115"/>
                  <a:pt x="1861" y="1925"/>
                </a:cubicBezTo>
                <a:cubicBezTo>
                  <a:pt x="1670" y="1749"/>
                  <a:pt x="1367" y="1749"/>
                  <a:pt x="1177" y="1925"/>
                </a:cubicBezTo>
                <a:cubicBezTo>
                  <a:pt x="1002" y="2115"/>
                  <a:pt x="1002" y="2418"/>
                  <a:pt x="1177" y="2609"/>
                </a:cubicBezTo>
                <a:cubicBezTo>
                  <a:pt x="1272" y="2704"/>
                  <a:pt x="1400" y="2736"/>
                  <a:pt x="1511" y="2736"/>
                </a:cubicBezTo>
                <a:close/>
                <a:moveTo>
                  <a:pt x="1288" y="2036"/>
                </a:moveTo>
                <a:cubicBezTo>
                  <a:pt x="1352" y="1988"/>
                  <a:pt x="1431" y="1956"/>
                  <a:pt x="1511" y="1956"/>
                </a:cubicBezTo>
                <a:cubicBezTo>
                  <a:pt x="1606" y="1956"/>
                  <a:pt x="1686" y="1988"/>
                  <a:pt x="1749" y="2036"/>
                </a:cubicBezTo>
                <a:cubicBezTo>
                  <a:pt x="1861" y="2163"/>
                  <a:pt x="1861" y="2370"/>
                  <a:pt x="1749" y="2497"/>
                </a:cubicBezTo>
                <a:cubicBezTo>
                  <a:pt x="1622" y="2609"/>
                  <a:pt x="1415" y="2609"/>
                  <a:pt x="1288" y="2497"/>
                </a:cubicBezTo>
                <a:cubicBezTo>
                  <a:pt x="1177" y="2370"/>
                  <a:pt x="1177" y="2163"/>
                  <a:pt x="1288" y="2036"/>
                </a:cubicBezTo>
                <a:close/>
                <a:moveTo>
                  <a:pt x="3340" y="1288"/>
                </a:moveTo>
                <a:cubicBezTo>
                  <a:pt x="3420" y="1288"/>
                  <a:pt x="3483" y="1256"/>
                  <a:pt x="3531" y="1193"/>
                </a:cubicBezTo>
                <a:cubicBezTo>
                  <a:pt x="3642" y="1097"/>
                  <a:pt x="3642" y="922"/>
                  <a:pt x="3531" y="811"/>
                </a:cubicBezTo>
                <a:cubicBezTo>
                  <a:pt x="3435" y="700"/>
                  <a:pt x="3260" y="700"/>
                  <a:pt x="3149" y="811"/>
                </a:cubicBezTo>
                <a:cubicBezTo>
                  <a:pt x="3038" y="922"/>
                  <a:pt x="3038" y="1097"/>
                  <a:pt x="3149" y="1193"/>
                </a:cubicBezTo>
                <a:cubicBezTo>
                  <a:pt x="3197" y="1256"/>
                  <a:pt x="3276" y="1288"/>
                  <a:pt x="3340" y="1288"/>
                </a:cubicBezTo>
                <a:close/>
                <a:moveTo>
                  <a:pt x="3260" y="922"/>
                </a:moveTo>
                <a:cubicBezTo>
                  <a:pt x="3276" y="891"/>
                  <a:pt x="3308" y="891"/>
                  <a:pt x="3340" y="891"/>
                </a:cubicBezTo>
                <a:cubicBezTo>
                  <a:pt x="3372" y="891"/>
                  <a:pt x="3403" y="891"/>
                  <a:pt x="3420" y="922"/>
                </a:cubicBezTo>
                <a:cubicBezTo>
                  <a:pt x="3467" y="970"/>
                  <a:pt x="3467" y="1034"/>
                  <a:pt x="3420" y="1082"/>
                </a:cubicBezTo>
                <a:cubicBezTo>
                  <a:pt x="3388" y="1129"/>
                  <a:pt x="3308" y="1129"/>
                  <a:pt x="3260" y="1082"/>
                </a:cubicBezTo>
                <a:cubicBezTo>
                  <a:pt x="3213" y="1050"/>
                  <a:pt x="3213" y="970"/>
                  <a:pt x="3260" y="92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8" name="Freeform: Shape 6">
            <a:extLst>
              <a:ext uri="{FF2B5EF4-FFF2-40B4-BE49-F238E27FC236}">
                <a16:creationId xmlns:a16="http://schemas.microsoft.com/office/drawing/2014/main" id="{D6F1B238-4C31-D643-8B96-6BB8FEA14B35}"/>
              </a:ext>
            </a:extLst>
          </p:cNvPr>
          <p:cNvSpPr/>
          <p:nvPr/>
        </p:nvSpPr>
        <p:spPr>
          <a:xfrm>
            <a:off x="9911154" y="3135489"/>
            <a:ext cx="1711800" cy="1488600"/>
          </a:xfrm>
          <a:custGeom>
            <a:avLst/>
            <a:gdLst/>
            <a:ahLst/>
            <a:cxnLst>
              <a:cxn ang="3cd4">
                <a:pos x="hc" y="t"/>
              </a:cxn>
              <a:cxn ang="cd2">
                <a:pos x="l" y="vc"/>
              </a:cxn>
              <a:cxn ang="cd4">
                <a:pos x="hc" y="b"/>
              </a:cxn>
              <a:cxn ang="0">
                <a:pos x="r" y="vc"/>
              </a:cxn>
            </a:cxnLst>
            <a:rect l="l" t="t" r="r" b="b"/>
            <a:pathLst>
              <a:path w="4756" h="4136">
                <a:moveTo>
                  <a:pt x="4676" y="2147"/>
                </a:moveTo>
                <a:lnTo>
                  <a:pt x="4517" y="2147"/>
                </a:lnTo>
                <a:lnTo>
                  <a:pt x="4517" y="2131"/>
                </a:lnTo>
                <a:cubicBezTo>
                  <a:pt x="4517" y="1686"/>
                  <a:pt x="4342" y="1273"/>
                  <a:pt x="4056" y="970"/>
                </a:cubicBezTo>
                <a:lnTo>
                  <a:pt x="4183" y="843"/>
                </a:lnTo>
                <a:cubicBezTo>
                  <a:pt x="4215" y="811"/>
                  <a:pt x="4215" y="764"/>
                  <a:pt x="4183" y="732"/>
                </a:cubicBezTo>
                <a:cubicBezTo>
                  <a:pt x="4151" y="700"/>
                  <a:pt x="4104" y="700"/>
                  <a:pt x="4072" y="732"/>
                </a:cubicBezTo>
                <a:lnTo>
                  <a:pt x="3944" y="875"/>
                </a:lnTo>
                <a:cubicBezTo>
                  <a:pt x="3674" y="636"/>
                  <a:pt x="3308" y="477"/>
                  <a:pt x="2926" y="461"/>
                </a:cubicBezTo>
                <a:lnTo>
                  <a:pt x="2926" y="80"/>
                </a:lnTo>
                <a:cubicBezTo>
                  <a:pt x="2926" y="32"/>
                  <a:pt x="2895" y="0"/>
                  <a:pt x="2847" y="0"/>
                </a:cubicBezTo>
                <a:cubicBezTo>
                  <a:pt x="2799" y="0"/>
                  <a:pt x="2768" y="32"/>
                  <a:pt x="2768" y="80"/>
                </a:cubicBezTo>
                <a:lnTo>
                  <a:pt x="2768" y="461"/>
                </a:lnTo>
                <a:cubicBezTo>
                  <a:pt x="2369" y="477"/>
                  <a:pt x="2004" y="636"/>
                  <a:pt x="1717" y="891"/>
                </a:cubicBezTo>
                <a:lnTo>
                  <a:pt x="1113" y="286"/>
                </a:lnTo>
                <a:cubicBezTo>
                  <a:pt x="1081" y="255"/>
                  <a:pt x="1033" y="255"/>
                  <a:pt x="1002" y="286"/>
                </a:cubicBezTo>
                <a:cubicBezTo>
                  <a:pt x="970" y="318"/>
                  <a:pt x="970" y="366"/>
                  <a:pt x="1002" y="398"/>
                </a:cubicBezTo>
                <a:lnTo>
                  <a:pt x="1606" y="1018"/>
                </a:lnTo>
                <a:cubicBezTo>
                  <a:pt x="1336" y="1304"/>
                  <a:pt x="1177" y="1702"/>
                  <a:pt x="1177" y="2131"/>
                </a:cubicBezTo>
                <a:lnTo>
                  <a:pt x="1177" y="2147"/>
                </a:lnTo>
                <a:lnTo>
                  <a:pt x="79" y="2147"/>
                </a:lnTo>
                <a:cubicBezTo>
                  <a:pt x="32" y="2147"/>
                  <a:pt x="0" y="2179"/>
                  <a:pt x="0" y="2227"/>
                </a:cubicBezTo>
                <a:cubicBezTo>
                  <a:pt x="0" y="2274"/>
                  <a:pt x="32" y="2306"/>
                  <a:pt x="79" y="2306"/>
                </a:cubicBezTo>
                <a:lnTo>
                  <a:pt x="1177" y="2306"/>
                </a:lnTo>
                <a:lnTo>
                  <a:pt x="1193" y="2306"/>
                </a:lnTo>
                <a:cubicBezTo>
                  <a:pt x="1224" y="2656"/>
                  <a:pt x="1384" y="2991"/>
                  <a:pt x="1606" y="3245"/>
                </a:cubicBezTo>
                <a:lnTo>
                  <a:pt x="1002" y="3849"/>
                </a:lnTo>
                <a:cubicBezTo>
                  <a:pt x="970" y="3881"/>
                  <a:pt x="970" y="3945"/>
                  <a:pt x="1002" y="3976"/>
                </a:cubicBezTo>
                <a:cubicBezTo>
                  <a:pt x="1018" y="3992"/>
                  <a:pt x="1050" y="3992"/>
                  <a:pt x="1065" y="3992"/>
                </a:cubicBezTo>
                <a:cubicBezTo>
                  <a:pt x="1081" y="3992"/>
                  <a:pt x="1097" y="3976"/>
                  <a:pt x="1113" y="3961"/>
                </a:cubicBezTo>
                <a:lnTo>
                  <a:pt x="1717" y="3356"/>
                </a:lnTo>
                <a:cubicBezTo>
                  <a:pt x="2004" y="3610"/>
                  <a:pt x="2369" y="3770"/>
                  <a:pt x="2768" y="3786"/>
                </a:cubicBezTo>
                <a:lnTo>
                  <a:pt x="2768" y="4056"/>
                </a:lnTo>
                <a:cubicBezTo>
                  <a:pt x="2768" y="4088"/>
                  <a:pt x="2799" y="4136"/>
                  <a:pt x="2847" y="4136"/>
                </a:cubicBezTo>
                <a:cubicBezTo>
                  <a:pt x="2895" y="4136"/>
                  <a:pt x="2926" y="4088"/>
                  <a:pt x="2926" y="4056"/>
                </a:cubicBezTo>
                <a:lnTo>
                  <a:pt x="2926" y="3786"/>
                </a:lnTo>
                <a:cubicBezTo>
                  <a:pt x="3308" y="3770"/>
                  <a:pt x="3674" y="3627"/>
                  <a:pt x="3944" y="3388"/>
                </a:cubicBezTo>
                <a:lnTo>
                  <a:pt x="4072" y="3515"/>
                </a:lnTo>
                <a:cubicBezTo>
                  <a:pt x="4087" y="3531"/>
                  <a:pt x="4104" y="3531"/>
                  <a:pt x="4119" y="3531"/>
                </a:cubicBezTo>
                <a:cubicBezTo>
                  <a:pt x="4151" y="3531"/>
                  <a:pt x="4167" y="3531"/>
                  <a:pt x="4183" y="3515"/>
                </a:cubicBezTo>
                <a:cubicBezTo>
                  <a:pt x="4215" y="3483"/>
                  <a:pt x="4215" y="3436"/>
                  <a:pt x="4183" y="3404"/>
                </a:cubicBezTo>
                <a:lnTo>
                  <a:pt x="4056" y="3277"/>
                </a:lnTo>
                <a:cubicBezTo>
                  <a:pt x="4294" y="3022"/>
                  <a:pt x="4469" y="2672"/>
                  <a:pt x="4501" y="2306"/>
                </a:cubicBezTo>
                <a:lnTo>
                  <a:pt x="4517" y="2306"/>
                </a:lnTo>
                <a:lnTo>
                  <a:pt x="4676" y="2306"/>
                </a:lnTo>
                <a:cubicBezTo>
                  <a:pt x="4724" y="2306"/>
                  <a:pt x="4756" y="2274"/>
                  <a:pt x="4756" y="2227"/>
                </a:cubicBezTo>
                <a:cubicBezTo>
                  <a:pt x="4756" y="2179"/>
                  <a:pt x="4724" y="2147"/>
                  <a:pt x="4676" y="2147"/>
                </a:cubicBezTo>
                <a:close/>
                <a:moveTo>
                  <a:pt x="2847" y="3643"/>
                </a:moveTo>
                <a:cubicBezTo>
                  <a:pt x="2020" y="3643"/>
                  <a:pt x="1336" y="2958"/>
                  <a:pt x="1336" y="2131"/>
                </a:cubicBezTo>
                <a:cubicBezTo>
                  <a:pt x="1336" y="1718"/>
                  <a:pt x="1511" y="1352"/>
                  <a:pt x="1765" y="1066"/>
                </a:cubicBezTo>
                <a:lnTo>
                  <a:pt x="1781" y="1066"/>
                </a:lnTo>
                <a:lnTo>
                  <a:pt x="1781" y="1050"/>
                </a:lnTo>
                <a:cubicBezTo>
                  <a:pt x="2051" y="779"/>
                  <a:pt x="2433" y="620"/>
                  <a:pt x="2847" y="620"/>
                </a:cubicBezTo>
                <a:cubicBezTo>
                  <a:pt x="3674" y="620"/>
                  <a:pt x="4358" y="1288"/>
                  <a:pt x="4358" y="2131"/>
                </a:cubicBezTo>
                <a:cubicBezTo>
                  <a:pt x="4358" y="2958"/>
                  <a:pt x="3674" y="3643"/>
                  <a:pt x="2847" y="3643"/>
                </a:cubicBezTo>
                <a:close/>
                <a:moveTo>
                  <a:pt x="2847" y="1654"/>
                </a:moveTo>
                <a:cubicBezTo>
                  <a:pt x="2592" y="1654"/>
                  <a:pt x="2369" y="1861"/>
                  <a:pt x="2369" y="2131"/>
                </a:cubicBezTo>
                <a:cubicBezTo>
                  <a:pt x="2369" y="2386"/>
                  <a:pt x="2592" y="2609"/>
                  <a:pt x="2847" y="2609"/>
                </a:cubicBezTo>
                <a:cubicBezTo>
                  <a:pt x="3117" y="2609"/>
                  <a:pt x="3324" y="2386"/>
                  <a:pt x="3324" y="2131"/>
                </a:cubicBezTo>
                <a:cubicBezTo>
                  <a:pt x="3324" y="1861"/>
                  <a:pt x="3117" y="1654"/>
                  <a:pt x="2847" y="1654"/>
                </a:cubicBezTo>
                <a:close/>
                <a:moveTo>
                  <a:pt x="2847" y="2449"/>
                </a:moveTo>
                <a:cubicBezTo>
                  <a:pt x="2672" y="2449"/>
                  <a:pt x="2529" y="2306"/>
                  <a:pt x="2529" y="2131"/>
                </a:cubicBezTo>
                <a:cubicBezTo>
                  <a:pt x="2529" y="1956"/>
                  <a:pt x="2672" y="1813"/>
                  <a:pt x="2847" y="1813"/>
                </a:cubicBezTo>
                <a:cubicBezTo>
                  <a:pt x="3022" y="1813"/>
                  <a:pt x="3165" y="1956"/>
                  <a:pt x="3165" y="2131"/>
                </a:cubicBezTo>
                <a:cubicBezTo>
                  <a:pt x="3165" y="2306"/>
                  <a:pt x="3022" y="2449"/>
                  <a:pt x="2847" y="244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9" name="Freeform: Shape 7">
            <a:extLst>
              <a:ext uri="{FF2B5EF4-FFF2-40B4-BE49-F238E27FC236}">
                <a16:creationId xmlns:a16="http://schemas.microsoft.com/office/drawing/2014/main" id="{C7D0AC43-FC3C-AC4F-93FE-924D319FCCB6}"/>
              </a:ext>
            </a:extLst>
          </p:cNvPr>
          <p:cNvSpPr/>
          <p:nvPr/>
        </p:nvSpPr>
        <p:spPr>
          <a:xfrm>
            <a:off x="6044741" y="2953484"/>
            <a:ext cx="1250640" cy="1674719"/>
          </a:xfrm>
          <a:custGeom>
            <a:avLst/>
            <a:gdLst/>
            <a:ahLst/>
            <a:cxnLst>
              <a:cxn ang="3cd4">
                <a:pos x="hc" y="t"/>
              </a:cxn>
              <a:cxn ang="cd2">
                <a:pos x="l" y="vc"/>
              </a:cxn>
              <a:cxn ang="cd4">
                <a:pos x="hc" y="b"/>
              </a:cxn>
              <a:cxn ang="0">
                <a:pos x="r" y="vc"/>
              </a:cxn>
            </a:cxnLst>
            <a:rect l="l" t="t" r="r" b="b"/>
            <a:pathLst>
              <a:path w="3475" h="4653">
                <a:moveTo>
                  <a:pt x="907" y="3237"/>
                </a:moveTo>
                <a:cubicBezTo>
                  <a:pt x="1097" y="3428"/>
                  <a:pt x="1320" y="3555"/>
                  <a:pt x="1559" y="3619"/>
                </a:cubicBezTo>
                <a:cubicBezTo>
                  <a:pt x="1145" y="4542"/>
                  <a:pt x="1145" y="4542"/>
                  <a:pt x="1145" y="4542"/>
                </a:cubicBezTo>
                <a:cubicBezTo>
                  <a:pt x="1145" y="4557"/>
                  <a:pt x="1145" y="4589"/>
                  <a:pt x="1161" y="4605"/>
                </a:cubicBezTo>
                <a:cubicBezTo>
                  <a:pt x="1177" y="4637"/>
                  <a:pt x="1193" y="4653"/>
                  <a:pt x="1225" y="4653"/>
                </a:cubicBezTo>
                <a:cubicBezTo>
                  <a:pt x="3022" y="4653"/>
                  <a:pt x="3022" y="4653"/>
                  <a:pt x="3022" y="4653"/>
                </a:cubicBezTo>
                <a:cubicBezTo>
                  <a:pt x="3053" y="4653"/>
                  <a:pt x="3070" y="4637"/>
                  <a:pt x="3085" y="4605"/>
                </a:cubicBezTo>
                <a:cubicBezTo>
                  <a:pt x="3101" y="4573"/>
                  <a:pt x="3101" y="4542"/>
                  <a:pt x="3085" y="4525"/>
                </a:cubicBezTo>
                <a:cubicBezTo>
                  <a:pt x="2449" y="3571"/>
                  <a:pt x="2449" y="3571"/>
                  <a:pt x="2449" y="3571"/>
                </a:cubicBezTo>
                <a:cubicBezTo>
                  <a:pt x="2624" y="3492"/>
                  <a:pt x="2799" y="3380"/>
                  <a:pt x="2942" y="3237"/>
                </a:cubicBezTo>
                <a:cubicBezTo>
                  <a:pt x="3213" y="2967"/>
                  <a:pt x="3356" y="2617"/>
                  <a:pt x="3356" y="2235"/>
                </a:cubicBezTo>
                <a:cubicBezTo>
                  <a:pt x="3356" y="1837"/>
                  <a:pt x="3213" y="1488"/>
                  <a:pt x="2942" y="1217"/>
                </a:cubicBezTo>
                <a:cubicBezTo>
                  <a:pt x="2926" y="1201"/>
                  <a:pt x="2926" y="1201"/>
                  <a:pt x="2910" y="1185"/>
                </a:cubicBezTo>
                <a:cubicBezTo>
                  <a:pt x="3276" y="819"/>
                  <a:pt x="3276" y="819"/>
                  <a:pt x="3276" y="819"/>
                </a:cubicBezTo>
                <a:cubicBezTo>
                  <a:pt x="3292" y="804"/>
                  <a:pt x="3308" y="788"/>
                  <a:pt x="3308" y="756"/>
                </a:cubicBezTo>
                <a:cubicBezTo>
                  <a:pt x="3308" y="740"/>
                  <a:pt x="3292" y="724"/>
                  <a:pt x="3276" y="708"/>
                </a:cubicBezTo>
                <a:cubicBezTo>
                  <a:pt x="3070" y="501"/>
                  <a:pt x="3070" y="501"/>
                  <a:pt x="3070" y="501"/>
                </a:cubicBezTo>
                <a:cubicBezTo>
                  <a:pt x="3085" y="501"/>
                  <a:pt x="3101" y="485"/>
                  <a:pt x="3117" y="485"/>
                </a:cubicBezTo>
                <a:cubicBezTo>
                  <a:pt x="3451" y="135"/>
                  <a:pt x="3451" y="135"/>
                  <a:pt x="3451" y="135"/>
                </a:cubicBezTo>
                <a:cubicBezTo>
                  <a:pt x="3483" y="104"/>
                  <a:pt x="3483" y="56"/>
                  <a:pt x="3451" y="24"/>
                </a:cubicBezTo>
                <a:cubicBezTo>
                  <a:pt x="3419" y="-8"/>
                  <a:pt x="3372" y="-8"/>
                  <a:pt x="3340" y="24"/>
                </a:cubicBezTo>
                <a:cubicBezTo>
                  <a:pt x="3006" y="374"/>
                  <a:pt x="3006" y="374"/>
                  <a:pt x="3006" y="374"/>
                </a:cubicBezTo>
                <a:cubicBezTo>
                  <a:pt x="2990" y="374"/>
                  <a:pt x="2974" y="390"/>
                  <a:pt x="2974" y="406"/>
                </a:cubicBezTo>
                <a:cubicBezTo>
                  <a:pt x="2767" y="199"/>
                  <a:pt x="2767" y="199"/>
                  <a:pt x="2767" y="199"/>
                </a:cubicBezTo>
                <a:cubicBezTo>
                  <a:pt x="2735" y="167"/>
                  <a:pt x="2688" y="167"/>
                  <a:pt x="2656" y="199"/>
                </a:cubicBezTo>
                <a:cubicBezTo>
                  <a:pt x="970" y="1885"/>
                  <a:pt x="970" y="1885"/>
                  <a:pt x="970" y="1885"/>
                </a:cubicBezTo>
                <a:cubicBezTo>
                  <a:pt x="938" y="1917"/>
                  <a:pt x="938" y="1965"/>
                  <a:pt x="970" y="1997"/>
                </a:cubicBezTo>
                <a:cubicBezTo>
                  <a:pt x="1479" y="2506"/>
                  <a:pt x="1479" y="2506"/>
                  <a:pt x="1479" y="2506"/>
                </a:cubicBezTo>
                <a:cubicBezTo>
                  <a:pt x="1495" y="2521"/>
                  <a:pt x="1511" y="2537"/>
                  <a:pt x="1526" y="2537"/>
                </a:cubicBezTo>
                <a:cubicBezTo>
                  <a:pt x="1559" y="2537"/>
                  <a:pt x="1574" y="2521"/>
                  <a:pt x="1590" y="2506"/>
                </a:cubicBezTo>
                <a:cubicBezTo>
                  <a:pt x="2815" y="1297"/>
                  <a:pt x="2815" y="1297"/>
                  <a:pt x="2815" y="1297"/>
                </a:cubicBezTo>
                <a:cubicBezTo>
                  <a:pt x="2815" y="1297"/>
                  <a:pt x="2815" y="1313"/>
                  <a:pt x="2831" y="1328"/>
                </a:cubicBezTo>
                <a:cubicBezTo>
                  <a:pt x="3070" y="1567"/>
                  <a:pt x="3197" y="1885"/>
                  <a:pt x="3197" y="2235"/>
                </a:cubicBezTo>
                <a:cubicBezTo>
                  <a:pt x="3197" y="2569"/>
                  <a:pt x="3070" y="2887"/>
                  <a:pt x="2831" y="3126"/>
                </a:cubicBezTo>
                <a:cubicBezTo>
                  <a:pt x="2592" y="3364"/>
                  <a:pt x="2274" y="3507"/>
                  <a:pt x="1924" y="3507"/>
                </a:cubicBezTo>
                <a:cubicBezTo>
                  <a:pt x="1622" y="3507"/>
                  <a:pt x="1352" y="3396"/>
                  <a:pt x="1113" y="3221"/>
                </a:cubicBezTo>
                <a:cubicBezTo>
                  <a:pt x="1829" y="3221"/>
                  <a:pt x="1829" y="3221"/>
                  <a:pt x="1829" y="3221"/>
                </a:cubicBezTo>
                <a:cubicBezTo>
                  <a:pt x="1877" y="3221"/>
                  <a:pt x="1908" y="3173"/>
                  <a:pt x="1908" y="3142"/>
                </a:cubicBezTo>
                <a:cubicBezTo>
                  <a:pt x="1908" y="3094"/>
                  <a:pt x="1877" y="3062"/>
                  <a:pt x="1829" y="3062"/>
                </a:cubicBezTo>
                <a:cubicBezTo>
                  <a:pt x="79" y="3062"/>
                  <a:pt x="79" y="3062"/>
                  <a:pt x="79" y="3062"/>
                </a:cubicBezTo>
                <a:cubicBezTo>
                  <a:pt x="32" y="3062"/>
                  <a:pt x="0" y="3094"/>
                  <a:pt x="0" y="3142"/>
                </a:cubicBezTo>
                <a:cubicBezTo>
                  <a:pt x="0" y="3173"/>
                  <a:pt x="32" y="3221"/>
                  <a:pt x="79" y="3221"/>
                </a:cubicBezTo>
                <a:cubicBezTo>
                  <a:pt x="890" y="3221"/>
                  <a:pt x="890" y="3221"/>
                  <a:pt x="890" y="3221"/>
                </a:cubicBezTo>
                <a:cubicBezTo>
                  <a:pt x="907" y="3221"/>
                  <a:pt x="907" y="3237"/>
                  <a:pt x="907" y="3237"/>
                </a:cubicBezTo>
                <a:close/>
                <a:moveTo>
                  <a:pt x="1526" y="2346"/>
                </a:moveTo>
                <a:cubicBezTo>
                  <a:pt x="1145" y="1949"/>
                  <a:pt x="1145" y="1949"/>
                  <a:pt x="1145" y="1949"/>
                </a:cubicBezTo>
                <a:cubicBezTo>
                  <a:pt x="2720" y="374"/>
                  <a:pt x="2720" y="374"/>
                  <a:pt x="2720" y="374"/>
                </a:cubicBezTo>
                <a:cubicBezTo>
                  <a:pt x="3117" y="756"/>
                  <a:pt x="3117" y="756"/>
                  <a:pt x="3117" y="756"/>
                </a:cubicBezTo>
                <a:close/>
                <a:moveTo>
                  <a:pt x="2290" y="3619"/>
                </a:moveTo>
                <a:cubicBezTo>
                  <a:pt x="2863" y="4494"/>
                  <a:pt x="2863" y="4494"/>
                  <a:pt x="2863" y="4494"/>
                </a:cubicBezTo>
                <a:cubicBezTo>
                  <a:pt x="1352" y="4494"/>
                  <a:pt x="1352" y="4494"/>
                  <a:pt x="1352" y="4494"/>
                </a:cubicBezTo>
                <a:cubicBezTo>
                  <a:pt x="1702" y="3682"/>
                  <a:pt x="1702" y="3682"/>
                  <a:pt x="1702" y="3682"/>
                </a:cubicBezTo>
                <a:cubicBezTo>
                  <a:pt x="1702" y="3667"/>
                  <a:pt x="1702" y="3667"/>
                  <a:pt x="1702" y="3651"/>
                </a:cubicBezTo>
                <a:cubicBezTo>
                  <a:pt x="1781" y="3651"/>
                  <a:pt x="1861" y="3667"/>
                  <a:pt x="1924" y="3667"/>
                </a:cubicBezTo>
                <a:cubicBezTo>
                  <a:pt x="2052" y="3667"/>
                  <a:pt x="2163" y="3651"/>
                  <a:pt x="2290" y="361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0" name="Freeform: Shape 8">
            <a:extLst>
              <a:ext uri="{FF2B5EF4-FFF2-40B4-BE49-F238E27FC236}">
                <a16:creationId xmlns:a16="http://schemas.microsoft.com/office/drawing/2014/main" id="{D10FC887-298B-644C-9678-44D00FC4B84D}"/>
              </a:ext>
            </a:extLst>
          </p:cNvPr>
          <p:cNvSpPr/>
          <p:nvPr/>
        </p:nvSpPr>
        <p:spPr>
          <a:xfrm>
            <a:off x="21390174" y="6336372"/>
            <a:ext cx="1376640" cy="1751759"/>
          </a:xfrm>
          <a:custGeom>
            <a:avLst/>
            <a:gdLst/>
            <a:ahLst/>
            <a:cxnLst>
              <a:cxn ang="3cd4">
                <a:pos x="hc" y="t"/>
              </a:cxn>
              <a:cxn ang="cd2">
                <a:pos x="l" y="vc"/>
              </a:cxn>
              <a:cxn ang="cd4">
                <a:pos x="hc" y="b"/>
              </a:cxn>
              <a:cxn ang="0">
                <a:pos x="r" y="vc"/>
              </a:cxn>
            </a:cxnLst>
            <a:rect l="l" t="t" r="r" b="b"/>
            <a:pathLst>
              <a:path w="3825" h="4867">
                <a:moveTo>
                  <a:pt x="3813" y="4199"/>
                </a:moveTo>
                <a:cubicBezTo>
                  <a:pt x="3765" y="3993"/>
                  <a:pt x="3654" y="3802"/>
                  <a:pt x="3559" y="3611"/>
                </a:cubicBezTo>
                <a:cubicBezTo>
                  <a:pt x="3447" y="3420"/>
                  <a:pt x="3320" y="3197"/>
                  <a:pt x="3161" y="2943"/>
                </a:cubicBezTo>
                <a:cubicBezTo>
                  <a:pt x="3081" y="2800"/>
                  <a:pt x="2986" y="2672"/>
                  <a:pt x="2907" y="2545"/>
                </a:cubicBezTo>
                <a:cubicBezTo>
                  <a:pt x="2890" y="2529"/>
                  <a:pt x="2875" y="2497"/>
                  <a:pt x="2859" y="2482"/>
                </a:cubicBezTo>
                <a:cubicBezTo>
                  <a:pt x="2811" y="2402"/>
                  <a:pt x="2747" y="2322"/>
                  <a:pt x="2747" y="2243"/>
                </a:cubicBezTo>
                <a:lnTo>
                  <a:pt x="2747" y="604"/>
                </a:lnTo>
                <a:lnTo>
                  <a:pt x="2938" y="604"/>
                </a:lnTo>
                <a:cubicBezTo>
                  <a:pt x="2986" y="604"/>
                  <a:pt x="3018" y="557"/>
                  <a:pt x="3018" y="525"/>
                </a:cubicBezTo>
                <a:lnTo>
                  <a:pt x="3018" y="80"/>
                </a:lnTo>
                <a:cubicBezTo>
                  <a:pt x="3018" y="48"/>
                  <a:pt x="2986" y="0"/>
                  <a:pt x="2938" y="0"/>
                </a:cubicBezTo>
                <a:lnTo>
                  <a:pt x="887" y="0"/>
                </a:lnTo>
                <a:cubicBezTo>
                  <a:pt x="854" y="0"/>
                  <a:pt x="807" y="48"/>
                  <a:pt x="807" y="80"/>
                </a:cubicBezTo>
                <a:lnTo>
                  <a:pt x="807" y="525"/>
                </a:lnTo>
                <a:cubicBezTo>
                  <a:pt x="807" y="557"/>
                  <a:pt x="854" y="604"/>
                  <a:pt x="887" y="604"/>
                </a:cubicBezTo>
                <a:lnTo>
                  <a:pt x="1077" y="604"/>
                </a:lnTo>
                <a:lnTo>
                  <a:pt x="1077" y="2068"/>
                </a:lnTo>
                <a:cubicBezTo>
                  <a:pt x="1077" y="2211"/>
                  <a:pt x="1077" y="2322"/>
                  <a:pt x="998" y="2434"/>
                </a:cubicBezTo>
                <a:cubicBezTo>
                  <a:pt x="966" y="2482"/>
                  <a:pt x="107" y="3881"/>
                  <a:pt x="12" y="4199"/>
                </a:cubicBezTo>
                <a:cubicBezTo>
                  <a:pt x="-20" y="4327"/>
                  <a:pt x="12" y="4470"/>
                  <a:pt x="107" y="4597"/>
                </a:cubicBezTo>
                <a:cubicBezTo>
                  <a:pt x="235" y="4756"/>
                  <a:pt x="441" y="4867"/>
                  <a:pt x="664" y="4867"/>
                </a:cubicBezTo>
                <a:lnTo>
                  <a:pt x="3177" y="4867"/>
                </a:lnTo>
                <a:cubicBezTo>
                  <a:pt x="3384" y="4867"/>
                  <a:pt x="3607" y="4756"/>
                  <a:pt x="3718" y="4597"/>
                </a:cubicBezTo>
                <a:cubicBezTo>
                  <a:pt x="3813" y="4470"/>
                  <a:pt x="3845" y="4327"/>
                  <a:pt x="3813" y="4199"/>
                </a:cubicBezTo>
                <a:close/>
                <a:moveTo>
                  <a:pt x="966" y="159"/>
                </a:moveTo>
                <a:lnTo>
                  <a:pt x="2859" y="159"/>
                </a:lnTo>
                <a:lnTo>
                  <a:pt x="2859" y="446"/>
                </a:lnTo>
                <a:lnTo>
                  <a:pt x="2668" y="446"/>
                </a:lnTo>
                <a:lnTo>
                  <a:pt x="1157" y="446"/>
                </a:lnTo>
                <a:lnTo>
                  <a:pt x="966" y="446"/>
                </a:lnTo>
                <a:close/>
                <a:moveTo>
                  <a:pt x="3607" y="4502"/>
                </a:moveTo>
                <a:cubicBezTo>
                  <a:pt x="3511" y="4613"/>
                  <a:pt x="3336" y="4708"/>
                  <a:pt x="3177" y="4708"/>
                </a:cubicBezTo>
                <a:lnTo>
                  <a:pt x="664" y="4708"/>
                </a:lnTo>
                <a:cubicBezTo>
                  <a:pt x="505" y="4708"/>
                  <a:pt x="330" y="4613"/>
                  <a:pt x="235" y="4502"/>
                </a:cubicBezTo>
                <a:cubicBezTo>
                  <a:pt x="187" y="4438"/>
                  <a:pt x="139" y="4342"/>
                  <a:pt x="171" y="4231"/>
                </a:cubicBezTo>
                <a:cubicBezTo>
                  <a:pt x="202" y="4136"/>
                  <a:pt x="330" y="3897"/>
                  <a:pt x="489" y="3611"/>
                </a:cubicBezTo>
                <a:lnTo>
                  <a:pt x="425" y="3611"/>
                </a:lnTo>
                <a:cubicBezTo>
                  <a:pt x="378" y="3595"/>
                  <a:pt x="362" y="3563"/>
                  <a:pt x="362" y="3515"/>
                </a:cubicBezTo>
                <a:cubicBezTo>
                  <a:pt x="362" y="3467"/>
                  <a:pt x="409" y="3452"/>
                  <a:pt x="457" y="3452"/>
                </a:cubicBezTo>
                <a:cubicBezTo>
                  <a:pt x="489" y="3452"/>
                  <a:pt x="536" y="3467"/>
                  <a:pt x="568" y="3467"/>
                </a:cubicBezTo>
                <a:cubicBezTo>
                  <a:pt x="823" y="3022"/>
                  <a:pt x="1093" y="2577"/>
                  <a:pt x="1125" y="2529"/>
                </a:cubicBezTo>
                <a:cubicBezTo>
                  <a:pt x="1236" y="2370"/>
                  <a:pt x="1236" y="2227"/>
                  <a:pt x="1236" y="2068"/>
                </a:cubicBezTo>
                <a:lnTo>
                  <a:pt x="1236" y="604"/>
                </a:lnTo>
                <a:lnTo>
                  <a:pt x="2589" y="604"/>
                </a:lnTo>
                <a:lnTo>
                  <a:pt x="2589" y="2116"/>
                </a:lnTo>
                <a:lnTo>
                  <a:pt x="2589" y="2243"/>
                </a:lnTo>
                <a:cubicBezTo>
                  <a:pt x="2589" y="2370"/>
                  <a:pt x="2668" y="2482"/>
                  <a:pt x="2732" y="2577"/>
                </a:cubicBezTo>
                <a:cubicBezTo>
                  <a:pt x="2747" y="2593"/>
                  <a:pt x="2763" y="2609"/>
                  <a:pt x="2763" y="2625"/>
                </a:cubicBezTo>
                <a:cubicBezTo>
                  <a:pt x="2859" y="2768"/>
                  <a:pt x="2938" y="2895"/>
                  <a:pt x="3018" y="3022"/>
                </a:cubicBezTo>
                <a:cubicBezTo>
                  <a:pt x="3098" y="3134"/>
                  <a:pt x="3161" y="3245"/>
                  <a:pt x="3209" y="3340"/>
                </a:cubicBezTo>
                <a:cubicBezTo>
                  <a:pt x="3256" y="3309"/>
                  <a:pt x="3304" y="3324"/>
                  <a:pt x="3320" y="3357"/>
                </a:cubicBezTo>
                <a:cubicBezTo>
                  <a:pt x="3352" y="3388"/>
                  <a:pt x="3336" y="3452"/>
                  <a:pt x="3304" y="3467"/>
                </a:cubicBezTo>
                <a:lnTo>
                  <a:pt x="3288" y="3467"/>
                </a:lnTo>
                <a:cubicBezTo>
                  <a:pt x="3336" y="3547"/>
                  <a:pt x="3384" y="3627"/>
                  <a:pt x="3416" y="3706"/>
                </a:cubicBezTo>
                <a:cubicBezTo>
                  <a:pt x="3511" y="3881"/>
                  <a:pt x="3607" y="4056"/>
                  <a:pt x="3654" y="4231"/>
                </a:cubicBezTo>
                <a:cubicBezTo>
                  <a:pt x="3686" y="4342"/>
                  <a:pt x="3638" y="4438"/>
                  <a:pt x="3607" y="4502"/>
                </a:cubicBezTo>
                <a:close/>
                <a:moveTo>
                  <a:pt x="1650" y="2513"/>
                </a:moveTo>
                <a:lnTo>
                  <a:pt x="1650" y="1082"/>
                </a:lnTo>
                <a:cubicBezTo>
                  <a:pt x="1650" y="1034"/>
                  <a:pt x="1618" y="1002"/>
                  <a:pt x="1571" y="1002"/>
                </a:cubicBezTo>
                <a:cubicBezTo>
                  <a:pt x="1539" y="1002"/>
                  <a:pt x="1491" y="1034"/>
                  <a:pt x="1491" y="1082"/>
                </a:cubicBezTo>
                <a:lnTo>
                  <a:pt x="1491" y="2482"/>
                </a:lnTo>
                <a:lnTo>
                  <a:pt x="966" y="3388"/>
                </a:lnTo>
                <a:cubicBezTo>
                  <a:pt x="1030" y="3357"/>
                  <a:pt x="1093" y="3324"/>
                  <a:pt x="1157" y="3261"/>
                </a:cubicBezTo>
                <a:cubicBezTo>
                  <a:pt x="1189" y="3245"/>
                  <a:pt x="1220" y="3213"/>
                  <a:pt x="1268" y="3181"/>
                </a:cubicBezTo>
                <a:lnTo>
                  <a:pt x="1650" y="2545"/>
                </a:lnTo>
                <a:close/>
                <a:moveTo>
                  <a:pt x="567" y="4072"/>
                </a:moveTo>
                <a:cubicBezTo>
                  <a:pt x="535" y="4104"/>
                  <a:pt x="552" y="4167"/>
                  <a:pt x="583" y="4184"/>
                </a:cubicBezTo>
                <a:cubicBezTo>
                  <a:pt x="599" y="4184"/>
                  <a:pt x="615" y="4199"/>
                  <a:pt x="631" y="4199"/>
                </a:cubicBezTo>
                <a:cubicBezTo>
                  <a:pt x="663" y="4199"/>
                  <a:pt x="679" y="4184"/>
                  <a:pt x="695" y="4152"/>
                </a:cubicBezTo>
                <a:lnTo>
                  <a:pt x="1076" y="3515"/>
                </a:lnTo>
                <a:cubicBezTo>
                  <a:pt x="997" y="3547"/>
                  <a:pt x="917" y="3579"/>
                  <a:pt x="838" y="3611"/>
                </a:cubicBezTo>
                <a:close/>
                <a:moveTo>
                  <a:pt x="839" y="3611"/>
                </a:moveTo>
                <a:cubicBezTo>
                  <a:pt x="918" y="3579"/>
                  <a:pt x="998" y="3547"/>
                  <a:pt x="1077" y="3515"/>
                </a:cubicBezTo>
                <a:cubicBezTo>
                  <a:pt x="1141" y="3484"/>
                  <a:pt x="1189" y="3436"/>
                  <a:pt x="1253" y="3388"/>
                </a:cubicBezTo>
                <a:cubicBezTo>
                  <a:pt x="1363" y="3293"/>
                  <a:pt x="1586" y="3149"/>
                  <a:pt x="1841" y="3197"/>
                </a:cubicBezTo>
                <a:cubicBezTo>
                  <a:pt x="1968" y="3229"/>
                  <a:pt x="2080" y="3324"/>
                  <a:pt x="2191" y="3404"/>
                </a:cubicBezTo>
                <a:cubicBezTo>
                  <a:pt x="2318" y="3500"/>
                  <a:pt x="2445" y="3611"/>
                  <a:pt x="2620" y="3643"/>
                </a:cubicBezTo>
                <a:cubicBezTo>
                  <a:pt x="2684" y="3658"/>
                  <a:pt x="2732" y="3658"/>
                  <a:pt x="2779" y="3658"/>
                </a:cubicBezTo>
                <a:cubicBezTo>
                  <a:pt x="2970" y="3658"/>
                  <a:pt x="3113" y="3579"/>
                  <a:pt x="3288" y="3467"/>
                </a:cubicBezTo>
                <a:lnTo>
                  <a:pt x="3304" y="3467"/>
                </a:lnTo>
                <a:cubicBezTo>
                  <a:pt x="3336" y="3452"/>
                  <a:pt x="3352" y="3388"/>
                  <a:pt x="3320" y="3357"/>
                </a:cubicBezTo>
                <a:cubicBezTo>
                  <a:pt x="3304" y="3324"/>
                  <a:pt x="3256" y="3309"/>
                  <a:pt x="3209" y="3340"/>
                </a:cubicBezTo>
                <a:cubicBezTo>
                  <a:pt x="3002" y="3467"/>
                  <a:pt x="2875" y="3531"/>
                  <a:pt x="2652" y="3484"/>
                </a:cubicBezTo>
                <a:cubicBezTo>
                  <a:pt x="2525" y="3452"/>
                  <a:pt x="2414" y="3372"/>
                  <a:pt x="2286" y="3277"/>
                </a:cubicBezTo>
                <a:cubicBezTo>
                  <a:pt x="2159" y="3181"/>
                  <a:pt x="2032" y="3086"/>
                  <a:pt x="1872" y="3054"/>
                </a:cubicBezTo>
                <a:cubicBezTo>
                  <a:pt x="1634" y="2991"/>
                  <a:pt x="1427" y="3086"/>
                  <a:pt x="1268" y="3181"/>
                </a:cubicBezTo>
                <a:cubicBezTo>
                  <a:pt x="1220" y="3213"/>
                  <a:pt x="1189" y="3245"/>
                  <a:pt x="1157" y="3261"/>
                </a:cubicBezTo>
                <a:cubicBezTo>
                  <a:pt x="1093" y="3324"/>
                  <a:pt x="1030" y="3357"/>
                  <a:pt x="966" y="3388"/>
                </a:cubicBezTo>
                <a:cubicBezTo>
                  <a:pt x="839" y="3452"/>
                  <a:pt x="711" y="3467"/>
                  <a:pt x="568" y="3467"/>
                </a:cubicBezTo>
                <a:cubicBezTo>
                  <a:pt x="536" y="3467"/>
                  <a:pt x="489" y="3452"/>
                  <a:pt x="457" y="3452"/>
                </a:cubicBezTo>
                <a:cubicBezTo>
                  <a:pt x="409" y="3452"/>
                  <a:pt x="362" y="3467"/>
                  <a:pt x="362" y="3515"/>
                </a:cubicBezTo>
                <a:cubicBezTo>
                  <a:pt x="362" y="3563"/>
                  <a:pt x="378" y="3595"/>
                  <a:pt x="425" y="3611"/>
                </a:cubicBezTo>
                <a:lnTo>
                  <a:pt x="489" y="3611"/>
                </a:lnTo>
                <a:cubicBezTo>
                  <a:pt x="616" y="3627"/>
                  <a:pt x="727" y="3627"/>
                  <a:pt x="839" y="361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1" name="Freeform: Shape 9">
            <a:extLst>
              <a:ext uri="{FF2B5EF4-FFF2-40B4-BE49-F238E27FC236}">
                <a16:creationId xmlns:a16="http://schemas.microsoft.com/office/drawing/2014/main" id="{19287DD4-A75C-5F43-A46D-AECDAFBF9850}"/>
              </a:ext>
            </a:extLst>
          </p:cNvPr>
          <p:cNvSpPr/>
          <p:nvPr/>
        </p:nvSpPr>
        <p:spPr>
          <a:xfrm>
            <a:off x="1920177" y="3061484"/>
            <a:ext cx="1462319" cy="1458360"/>
          </a:xfrm>
          <a:custGeom>
            <a:avLst/>
            <a:gdLst/>
            <a:ahLst/>
            <a:cxnLst>
              <a:cxn ang="3cd4">
                <a:pos x="hc" y="t"/>
              </a:cxn>
              <a:cxn ang="cd2">
                <a:pos x="l" y="vc"/>
              </a:cxn>
              <a:cxn ang="cd4">
                <a:pos x="hc" y="b"/>
              </a:cxn>
              <a:cxn ang="0">
                <a:pos x="r" y="vc"/>
              </a:cxn>
            </a:cxnLst>
            <a:rect l="l" t="t" r="r" b="b"/>
            <a:pathLst>
              <a:path w="4063" h="4052">
                <a:moveTo>
                  <a:pt x="218" y="1189"/>
                </a:moveTo>
                <a:cubicBezTo>
                  <a:pt x="346" y="1459"/>
                  <a:pt x="536" y="1729"/>
                  <a:pt x="759" y="2016"/>
                </a:cubicBezTo>
                <a:cubicBezTo>
                  <a:pt x="536" y="2318"/>
                  <a:pt x="346" y="2588"/>
                  <a:pt x="218" y="2859"/>
                </a:cubicBezTo>
                <a:cubicBezTo>
                  <a:pt x="-36" y="3352"/>
                  <a:pt x="-68" y="3734"/>
                  <a:pt x="123" y="3924"/>
                </a:cubicBezTo>
                <a:cubicBezTo>
                  <a:pt x="218" y="4004"/>
                  <a:pt x="330" y="4052"/>
                  <a:pt x="473" y="4052"/>
                </a:cubicBezTo>
                <a:cubicBezTo>
                  <a:pt x="664" y="4052"/>
                  <a:pt x="918" y="3972"/>
                  <a:pt x="1204" y="3829"/>
                </a:cubicBezTo>
                <a:cubicBezTo>
                  <a:pt x="1459" y="3702"/>
                  <a:pt x="1745" y="3511"/>
                  <a:pt x="2031" y="3288"/>
                </a:cubicBezTo>
                <a:cubicBezTo>
                  <a:pt x="2318" y="3511"/>
                  <a:pt x="2604" y="3702"/>
                  <a:pt x="2875" y="3829"/>
                </a:cubicBezTo>
                <a:cubicBezTo>
                  <a:pt x="3145" y="3972"/>
                  <a:pt x="3400" y="4052"/>
                  <a:pt x="3590" y="4052"/>
                </a:cubicBezTo>
                <a:cubicBezTo>
                  <a:pt x="3733" y="4052"/>
                  <a:pt x="3861" y="4004"/>
                  <a:pt x="3940" y="3924"/>
                </a:cubicBezTo>
                <a:cubicBezTo>
                  <a:pt x="4131" y="3734"/>
                  <a:pt x="4099" y="3352"/>
                  <a:pt x="3845" y="2859"/>
                </a:cubicBezTo>
                <a:cubicBezTo>
                  <a:pt x="3718" y="2588"/>
                  <a:pt x="3527" y="2318"/>
                  <a:pt x="3304" y="2016"/>
                </a:cubicBezTo>
                <a:cubicBezTo>
                  <a:pt x="3527" y="1729"/>
                  <a:pt x="3718" y="1459"/>
                  <a:pt x="3845" y="1189"/>
                </a:cubicBezTo>
                <a:cubicBezTo>
                  <a:pt x="4099" y="695"/>
                  <a:pt x="4131" y="314"/>
                  <a:pt x="3940" y="123"/>
                </a:cubicBezTo>
                <a:cubicBezTo>
                  <a:pt x="3749" y="-68"/>
                  <a:pt x="3367" y="-36"/>
                  <a:pt x="2875" y="218"/>
                </a:cubicBezTo>
                <a:cubicBezTo>
                  <a:pt x="2604" y="345"/>
                  <a:pt x="2318" y="536"/>
                  <a:pt x="2031" y="759"/>
                </a:cubicBezTo>
                <a:cubicBezTo>
                  <a:pt x="1745" y="536"/>
                  <a:pt x="1459" y="345"/>
                  <a:pt x="1204" y="218"/>
                </a:cubicBezTo>
                <a:cubicBezTo>
                  <a:pt x="695" y="-36"/>
                  <a:pt x="314" y="-68"/>
                  <a:pt x="123" y="123"/>
                </a:cubicBezTo>
                <a:cubicBezTo>
                  <a:pt x="-68" y="314"/>
                  <a:pt x="-36" y="695"/>
                  <a:pt x="218" y="1189"/>
                </a:cubicBezTo>
                <a:close/>
                <a:moveTo>
                  <a:pt x="1125" y="3686"/>
                </a:moveTo>
                <a:cubicBezTo>
                  <a:pt x="695" y="3908"/>
                  <a:pt x="377" y="3956"/>
                  <a:pt x="234" y="3813"/>
                </a:cubicBezTo>
                <a:cubicBezTo>
                  <a:pt x="107" y="3686"/>
                  <a:pt x="155" y="3352"/>
                  <a:pt x="361" y="2922"/>
                </a:cubicBezTo>
                <a:cubicBezTo>
                  <a:pt x="489" y="2684"/>
                  <a:pt x="664" y="2413"/>
                  <a:pt x="870" y="2143"/>
                </a:cubicBezTo>
                <a:cubicBezTo>
                  <a:pt x="1013" y="2334"/>
                  <a:pt x="1188" y="2525"/>
                  <a:pt x="1364" y="2699"/>
                </a:cubicBezTo>
                <a:cubicBezTo>
                  <a:pt x="1539" y="2874"/>
                  <a:pt x="1730" y="3034"/>
                  <a:pt x="1904" y="3193"/>
                </a:cubicBezTo>
                <a:cubicBezTo>
                  <a:pt x="1634" y="3399"/>
                  <a:pt x="1379" y="3574"/>
                  <a:pt x="1125" y="3686"/>
                </a:cubicBezTo>
                <a:close/>
                <a:moveTo>
                  <a:pt x="966" y="2016"/>
                </a:moveTo>
                <a:cubicBezTo>
                  <a:pt x="1125" y="1841"/>
                  <a:pt x="1284" y="1650"/>
                  <a:pt x="1475" y="1459"/>
                </a:cubicBezTo>
                <a:cubicBezTo>
                  <a:pt x="1650" y="1284"/>
                  <a:pt x="1840" y="1109"/>
                  <a:pt x="2031" y="950"/>
                </a:cubicBezTo>
                <a:cubicBezTo>
                  <a:pt x="2222" y="1109"/>
                  <a:pt x="2413" y="1284"/>
                  <a:pt x="2588" y="1459"/>
                </a:cubicBezTo>
                <a:cubicBezTo>
                  <a:pt x="2779" y="1650"/>
                  <a:pt x="2938" y="1841"/>
                  <a:pt x="3097" y="2016"/>
                </a:cubicBezTo>
                <a:cubicBezTo>
                  <a:pt x="2938" y="2207"/>
                  <a:pt x="2779" y="2398"/>
                  <a:pt x="2588" y="2588"/>
                </a:cubicBezTo>
                <a:cubicBezTo>
                  <a:pt x="2413" y="2763"/>
                  <a:pt x="2222" y="2938"/>
                  <a:pt x="2031" y="3097"/>
                </a:cubicBezTo>
                <a:cubicBezTo>
                  <a:pt x="1840" y="2938"/>
                  <a:pt x="1650" y="2763"/>
                  <a:pt x="1475" y="2588"/>
                </a:cubicBezTo>
                <a:cubicBezTo>
                  <a:pt x="1284" y="2398"/>
                  <a:pt x="1125" y="2207"/>
                  <a:pt x="966" y="2016"/>
                </a:cubicBezTo>
                <a:close/>
                <a:moveTo>
                  <a:pt x="3702" y="2922"/>
                </a:moveTo>
                <a:cubicBezTo>
                  <a:pt x="3908" y="3352"/>
                  <a:pt x="3956" y="3686"/>
                  <a:pt x="3829" y="3813"/>
                </a:cubicBezTo>
                <a:cubicBezTo>
                  <a:pt x="3686" y="3956"/>
                  <a:pt x="3367" y="3908"/>
                  <a:pt x="2938" y="3686"/>
                </a:cubicBezTo>
                <a:cubicBezTo>
                  <a:pt x="2684" y="3574"/>
                  <a:pt x="2429" y="3399"/>
                  <a:pt x="2159" y="3193"/>
                </a:cubicBezTo>
                <a:cubicBezTo>
                  <a:pt x="2349" y="3034"/>
                  <a:pt x="2525" y="2874"/>
                  <a:pt x="2700" y="2699"/>
                </a:cubicBezTo>
                <a:cubicBezTo>
                  <a:pt x="2875" y="2525"/>
                  <a:pt x="3049" y="2334"/>
                  <a:pt x="3193" y="2143"/>
                </a:cubicBezTo>
                <a:cubicBezTo>
                  <a:pt x="3400" y="2413"/>
                  <a:pt x="3575" y="2684"/>
                  <a:pt x="3702" y="2922"/>
                </a:cubicBezTo>
                <a:close/>
                <a:moveTo>
                  <a:pt x="2938" y="345"/>
                </a:moveTo>
                <a:cubicBezTo>
                  <a:pt x="3209" y="218"/>
                  <a:pt x="3431" y="154"/>
                  <a:pt x="3590" y="154"/>
                </a:cubicBezTo>
                <a:cubicBezTo>
                  <a:pt x="3686" y="154"/>
                  <a:pt x="3765" y="186"/>
                  <a:pt x="3829" y="234"/>
                </a:cubicBezTo>
                <a:cubicBezTo>
                  <a:pt x="3956" y="362"/>
                  <a:pt x="3908" y="695"/>
                  <a:pt x="3702" y="1125"/>
                </a:cubicBezTo>
                <a:cubicBezTo>
                  <a:pt x="3575" y="1363"/>
                  <a:pt x="3400" y="1634"/>
                  <a:pt x="3193" y="1904"/>
                </a:cubicBezTo>
                <a:cubicBezTo>
                  <a:pt x="3049" y="1713"/>
                  <a:pt x="2875" y="1523"/>
                  <a:pt x="2700" y="1347"/>
                </a:cubicBezTo>
                <a:cubicBezTo>
                  <a:pt x="2525" y="1172"/>
                  <a:pt x="2349" y="1014"/>
                  <a:pt x="2159" y="854"/>
                </a:cubicBezTo>
                <a:cubicBezTo>
                  <a:pt x="2429" y="648"/>
                  <a:pt x="2684" y="473"/>
                  <a:pt x="2938" y="345"/>
                </a:cubicBezTo>
                <a:close/>
                <a:moveTo>
                  <a:pt x="234" y="234"/>
                </a:moveTo>
                <a:cubicBezTo>
                  <a:pt x="298" y="186"/>
                  <a:pt x="377" y="154"/>
                  <a:pt x="473" y="154"/>
                </a:cubicBezTo>
                <a:cubicBezTo>
                  <a:pt x="632" y="154"/>
                  <a:pt x="870" y="218"/>
                  <a:pt x="1125" y="345"/>
                </a:cubicBezTo>
                <a:cubicBezTo>
                  <a:pt x="1379" y="473"/>
                  <a:pt x="1634" y="648"/>
                  <a:pt x="1904" y="854"/>
                </a:cubicBezTo>
                <a:cubicBezTo>
                  <a:pt x="1730" y="1014"/>
                  <a:pt x="1539" y="1172"/>
                  <a:pt x="1364" y="1347"/>
                </a:cubicBezTo>
                <a:cubicBezTo>
                  <a:pt x="1188" y="1523"/>
                  <a:pt x="1013" y="1713"/>
                  <a:pt x="870" y="1904"/>
                </a:cubicBezTo>
                <a:cubicBezTo>
                  <a:pt x="664" y="1634"/>
                  <a:pt x="489" y="1363"/>
                  <a:pt x="361" y="1125"/>
                </a:cubicBezTo>
                <a:cubicBezTo>
                  <a:pt x="155" y="695"/>
                  <a:pt x="107" y="362"/>
                  <a:pt x="234" y="234"/>
                </a:cubicBezTo>
                <a:close/>
                <a:moveTo>
                  <a:pt x="2031" y="2317"/>
                </a:moveTo>
                <a:cubicBezTo>
                  <a:pt x="2191" y="2317"/>
                  <a:pt x="2334" y="2189"/>
                  <a:pt x="2334" y="2031"/>
                </a:cubicBezTo>
                <a:cubicBezTo>
                  <a:pt x="2334" y="1855"/>
                  <a:pt x="2191" y="1728"/>
                  <a:pt x="2031" y="1728"/>
                </a:cubicBezTo>
                <a:cubicBezTo>
                  <a:pt x="1873" y="1728"/>
                  <a:pt x="1730" y="1855"/>
                  <a:pt x="1730" y="2031"/>
                </a:cubicBezTo>
                <a:cubicBezTo>
                  <a:pt x="1730" y="2189"/>
                  <a:pt x="1873" y="2317"/>
                  <a:pt x="2031" y="2317"/>
                </a:cubicBezTo>
                <a:close/>
                <a:moveTo>
                  <a:pt x="2031" y="1888"/>
                </a:moveTo>
                <a:cubicBezTo>
                  <a:pt x="2111" y="1888"/>
                  <a:pt x="2175" y="1951"/>
                  <a:pt x="2175" y="2031"/>
                </a:cubicBezTo>
                <a:cubicBezTo>
                  <a:pt x="2175" y="2094"/>
                  <a:pt x="2111" y="2158"/>
                  <a:pt x="2031" y="2158"/>
                </a:cubicBezTo>
                <a:cubicBezTo>
                  <a:pt x="1952" y="2158"/>
                  <a:pt x="1888" y="2094"/>
                  <a:pt x="1888" y="2031"/>
                </a:cubicBezTo>
                <a:cubicBezTo>
                  <a:pt x="1888" y="1951"/>
                  <a:pt x="1952" y="1888"/>
                  <a:pt x="2031" y="188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2" name="Freeform: Shape 10">
            <a:extLst>
              <a:ext uri="{FF2B5EF4-FFF2-40B4-BE49-F238E27FC236}">
                <a16:creationId xmlns:a16="http://schemas.microsoft.com/office/drawing/2014/main" id="{62C7F06A-D95F-F245-9415-793F15E503CF}"/>
              </a:ext>
            </a:extLst>
          </p:cNvPr>
          <p:cNvSpPr/>
          <p:nvPr/>
        </p:nvSpPr>
        <p:spPr>
          <a:xfrm>
            <a:off x="17550449" y="3331689"/>
            <a:ext cx="1629719" cy="1097640"/>
          </a:xfrm>
          <a:custGeom>
            <a:avLst/>
            <a:gdLst/>
            <a:ahLst/>
            <a:cxnLst>
              <a:cxn ang="3cd4">
                <a:pos x="hc" y="t"/>
              </a:cxn>
              <a:cxn ang="cd2">
                <a:pos x="l" y="vc"/>
              </a:cxn>
              <a:cxn ang="cd4">
                <a:pos x="hc" y="b"/>
              </a:cxn>
              <a:cxn ang="0">
                <a:pos x="r" y="vc"/>
              </a:cxn>
            </a:cxnLst>
            <a:rect l="l" t="t" r="r" b="b"/>
            <a:pathLst>
              <a:path w="4528" h="3050">
                <a:moveTo>
                  <a:pt x="4399" y="139"/>
                </a:moveTo>
                <a:lnTo>
                  <a:pt x="3525" y="728"/>
                </a:lnTo>
                <a:lnTo>
                  <a:pt x="2348" y="12"/>
                </a:lnTo>
                <a:cubicBezTo>
                  <a:pt x="2316" y="-4"/>
                  <a:pt x="2284" y="-4"/>
                  <a:pt x="2268" y="12"/>
                </a:cubicBezTo>
                <a:lnTo>
                  <a:pt x="1107" y="711"/>
                </a:lnTo>
                <a:lnTo>
                  <a:pt x="121" y="139"/>
                </a:lnTo>
                <a:cubicBezTo>
                  <a:pt x="73" y="123"/>
                  <a:pt x="26" y="139"/>
                  <a:pt x="9" y="171"/>
                </a:cubicBezTo>
                <a:cubicBezTo>
                  <a:pt x="-6" y="202"/>
                  <a:pt x="9" y="250"/>
                  <a:pt x="42" y="282"/>
                </a:cubicBezTo>
                <a:lnTo>
                  <a:pt x="1027" y="839"/>
                </a:lnTo>
                <a:lnTo>
                  <a:pt x="1027" y="2238"/>
                </a:lnTo>
                <a:lnTo>
                  <a:pt x="42" y="2907"/>
                </a:lnTo>
                <a:cubicBezTo>
                  <a:pt x="-6" y="2922"/>
                  <a:pt x="-6" y="2970"/>
                  <a:pt x="9" y="3018"/>
                </a:cubicBezTo>
                <a:cubicBezTo>
                  <a:pt x="26" y="3034"/>
                  <a:pt x="57" y="3050"/>
                  <a:pt x="73" y="3050"/>
                </a:cubicBezTo>
                <a:cubicBezTo>
                  <a:pt x="89" y="3050"/>
                  <a:pt x="105" y="3034"/>
                  <a:pt x="121" y="3034"/>
                </a:cubicBezTo>
                <a:lnTo>
                  <a:pt x="1139" y="2350"/>
                </a:lnTo>
                <a:lnTo>
                  <a:pt x="2268" y="3034"/>
                </a:lnTo>
                <a:cubicBezTo>
                  <a:pt x="2268" y="3050"/>
                  <a:pt x="2284" y="3050"/>
                  <a:pt x="2300" y="3050"/>
                </a:cubicBezTo>
                <a:cubicBezTo>
                  <a:pt x="2316" y="3050"/>
                  <a:pt x="2332" y="3050"/>
                  <a:pt x="2348" y="3034"/>
                </a:cubicBezTo>
                <a:lnTo>
                  <a:pt x="3541" y="2318"/>
                </a:lnTo>
                <a:cubicBezTo>
                  <a:pt x="3557" y="2302"/>
                  <a:pt x="3572" y="2270"/>
                  <a:pt x="3572" y="2238"/>
                </a:cubicBezTo>
                <a:lnTo>
                  <a:pt x="3572" y="871"/>
                </a:lnTo>
                <a:lnTo>
                  <a:pt x="3604" y="871"/>
                </a:lnTo>
                <a:lnTo>
                  <a:pt x="4495" y="282"/>
                </a:lnTo>
                <a:cubicBezTo>
                  <a:pt x="4527" y="250"/>
                  <a:pt x="4543" y="202"/>
                  <a:pt x="4511" y="171"/>
                </a:cubicBezTo>
                <a:cubicBezTo>
                  <a:pt x="4495" y="123"/>
                  <a:pt x="4447" y="123"/>
                  <a:pt x="4399" y="139"/>
                </a:cubicBezTo>
                <a:close/>
                <a:moveTo>
                  <a:pt x="3414" y="2207"/>
                </a:moveTo>
                <a:lnTo>
                  <a:pt x="2300" y="2875"/>
                </a:lnTo>
                <a:lnTo>
                  <a:pt x="1250" y="2238"/>
                </a:lnTo>
                <a:cubicBezTo>
                  <a:pt x="1250" y="2223"/>
                  <a:pt x="1250" y="2207"/>
                  <a:pt x="1235" y="2207"/>
                </a:cubicBezTo>
                <a:cubicBezTo>
                  <a:pt x="1235" y="2191"/>
                  <a:pt x="1218" y="2175"/>
                  <a:pt x="1187" y="2175"/>
                </a:cubicBezTo>
                <a:lnTo>
                  <a:pt x="1187" y="839"/>
                </a:lnTo>
                <a:lnTo>
                  <a:pt x="2300" y="171"/>
                </a:lnTo>
                <a:lnTo>
                  <a:pt x="3414" y="839"/>
                </a:lnTo>
                <a:close/>
                <a:moveTo>
                  <a:pt x="3175" y="2111"/>
                </a:moveTo>
                <a:cubicBezTo>
                  <a:pt x="3223" y="2111"/>
                  <a:pt x="3254" y="2080"/>
                  <a:pt x="3254" y="2032"/>
                </a:cubicBezTo>
                <a:lnTo>
                  <a:pt x="3254" y="1237"/>
                </a:lnTo>
                <a:cubicBezTo>
                  <a:pt x="3254" y="1189"/>
                  <a:pt x="3223" y="1157"/>
                  <a:pt x="3175" y="1157"/>
                </a:cubicBezTo>
                <a:cubicBezTo>
                  <a:pt x="3127" y="1157"/>
                  <a:pt x="3095" y="1189"/>
                  <a:pt x="3095" y="1237"/>
                </a:cubicBezTo>
                <a:lnTo>
                  <a:pt x="3095" y="2032"/>
                </a:lnTo>
                <a:cubicBezTo>
                  <a:pt x="3095" y="2080"/>
                  <a:pt x="3127" y="2111"/>
                  <a:pt x="3175" y="211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Freeform: Shape 11">
            <a:extLst>
              <a:ext uri="{FF2B5EF4-FFF2-40B4-BE49-F238E27FC236}">
                <a16:creationId xmlns:a16="http://schemas.microsoft.com/office/drawing/2014/main" id="{B5D685AB-F003-AC47-8DA2-BC25A0ABF4AF}"/>
              </a:ext>
            </a:extLst>
          </p:cNvPr>
          <p:cNvSpPr/>
          <p:nvPr/>
        </p:nvSpPr>
        <p:spPr>
          <a:xfrm>
            <a:off x="17306083" y="6336372"/>
            <a:ext cx="1774800" cy="1745999"/>
          </a:xfrm>
          <a:custGeom>
            <a:avLst/>
            <a:gdLst/>
            <a:ahLst/>
            <a:cxnLst>
              <a:cxn ang="3cd4">
                <a:pos x="hc" y="t"/>
              </a:cxn>
              <a:cxn ang="cd2">
                <a:pos x="l" y="vc"/>
              </a:cxn>
              <a:cxn ang="cd4">
                <a:pos x="hc" y="b"/>
              </a:cxn>
              <a:cxn ang="0">
                <a:pos x="r" y="vc"/>
              </a:cxn>
            </a:cxnLst>
            <a:rect l="l" t="t" r="r" b="b"/>
            <a:pathLst>
              <a:path w="4931" h="4851">
                <a:moveTo>
                  <a:pt x="3118" y="2529"/>
                </a:moveTo>
                <a:cubicBezTo>
                  <a:pt x="3245" y="2529"/>
                  <a:pt x="3404" y="2449"/>
                  <a:pt x="3404" y="2148"/>
                </a:cubicBezTo>
                <a:cubicBezTo>
                  <a:pt x="3404" y="1957"/>
                  <a:pt x="3229" y="1830"/>
                  <a:pt x="2991" y="1830"/>
                </a:cubicBezTo>
                <a:cubicBezTo>
                  <a:pt x="2783" y="1830"/>
                  <a:pt x="2640" y="2004"/>
                  <a:pt x="2640" y="2148"/>
                </a:cubicBezTo>
                <a:cubicBezTo>
                  <a:pt x="2640" y="2386"/>
                  <a:pt x="2831" y="2529"/>
                  <a:pt x="3118" y="2529"/>
                </a:cubicBezTo>
                <a:close/>
                <a:moveTo>
                  <a:pt x="1798" y="2529"/>
                </a:moveTo>
                <a:cubicBezTo>
                  <a:pt x="2100" y="2529"/>
                  <a:pt x="2291" y="2386"/>
                  <a:pt x="2291" y="2148"/>
                </a:cubicBezTo>
                <a:cubicBezTo>
                  <a:pt x="2291" y="2004"/>
                  <a:pt x="2147" y="1830"/>
                  <a:pt x="1941" y="1830"/>
                </a:cubicBezTo>
                <a:cubicBezTo>
                  <a:pt x="1702" y="1830"/>
                  <a:pt x="1527" y="1957"/>
                  <a:pt x="1527" y="2148"/>
                </a:cubicBezTo>
                <a:cubicBezTo>
                  <a:pt x="1527" y="2449"/>
                  <a:pt x="1686" y="2529"/>
                  <a:pt x="1798" y="2529"/>
                </a:cubicBezTo>
                <a:close/>
                <a:moveTo>
                  <a:pt x="2322" y="2927"/>
                </a:moveTo>
                <a:cubicBezTo>
                  <a:pt x="2354" y="2927"/>
                  <a:pt x="2402" y="2895"/>
                  <a:pt x="2450" y="2720"/>
                </a:cubicBezTo>
                <a:lnTo>
                  <a:pt x="2465" y="2720"/>
                </a:lnTo>
                <a:cubicBezTo>
                  <a:pt x="2482" y="2784"/>
                  <a:pt x="2561" y="2911"/>
                  <a:pt x="2609" y="2911"/>
                </a:cubicBezTo>
                <a:cubicBezTo>
                  <a:pt x="2673" y="2911"/>
                  <a:pt x="2704" y="2863"/>
                  <a:pt x="2704" y="2815"/>
                </a:cubicBezTo>
                <a:cubicBezTo>
                  <a:pt x="2704" y="2752"/>
                  <a:pt x="2561" y="2370"/>
                  <a:pt x="2465" y="2370"/>
                </a:cubicBezTo>
                <a:cubicBezTo>
                  <a:pt x="2370" y="2370"/>
                  <a:pt x="2243" y="2640"/>
                  <a:pt x="2243" y="2800"/>
                </a:cubicBezTo>
                <a:cubicBezTo>
                  <a:pt x="2243" y="2863"/>
                  <a:pt x="2259" y="2927"/>
                  <a:pt x="2322" y="2927"/>
                </a:cubicBezTo>
                <a:close/>
                <a:moveTo>
                  <a:pt x="4772" y="2497"/>
                </a:moveTo>
                <a:cubicBezTo>
                  <a:pt x="4819" y="2386"/>
                  <a:pt x="4804" y="2243"/>
                  <a:pt x="4708" y="2131"/>
                </a:cubicBezTo>
                <a:cubicBezTo>
                  <a:pt x="4629" y="2052"/>
                  <a:pt x="4518" y="2020"/>
                  <a:pt x="4390" y="2068"/>
                </a:cubicBezTo>
                <a:cubicBezTo>
                  <a:pt x="4215" y="2148"/>
                  <a:pt x="4199" y="2275"/>
                  <a:pt x="4183" y="2370"/>
                </a:cubicBezTo>
                <a:cubicBezTo>
                  <a:pt x="4167" y="2466"/>
                  <a:pt x="4167" y="2497"/>
                  <a:pt x="4088" y="2529"/>
                </a:cubicBezTo>
                <a:cubicBezTo>
                  <a:pt x="4009" y="2561"/>
                  <a:pt x="3897" y="2609"/>
                  <a:pt x="3801" y="2640"/>
                </a:cubicBezTo>
                <a:cubicBezTo>
                  <a:pt x="3834" y="2593"/>
                  <a:pt x="3834" y="2529"/>
                  <a:pt x="3834" y="2449"/>
                </a:cubicBezTo>
                <a:cubicBezTo>
                  <a:pt x="3834" y="2100"/>
                  <a:pt x="3913" y="2004"/>
                  <a:pt x="3977" y="1909"/>
                </a:cubicBezTo>
                <a:cubicBezTo>
                  <a:pt x="4056" y="1813"/>
                  <a:pt x="4136" y="1718"/>
                  <a:pt x="4136" y="1416"/>
                </a:cubicBezTo>
                <a:cubicBezTo>
                  <a:pt x="4136" y="668"/>
                  <a:pt x="3356" y="0"/>
                  <a:pt x="2465" y="0"/>
                </a:cubicBezTo>
                <a:cubicBezTo>
                  <a:pt x="1575" y="0"/>
                  <a:pt x="795" y="668"/>
                  <a:pt x="795" y="1416"/>
                </a:cubicBezTo>
                <a:cubicBezTo>
                  <a:pt x="795" y="1718"/>
                  <a:pt x="875" y="1813"/>
                  <a:pt x="955" y="1909"/>
                </a:cubicBezTo>
                <a:cubicBezTo>
                  <a:pt x="1018" y="2004"/>
                  <a:pt x="1098" y="2100"/>
                  <a:pt x="1098" y="2449"/>
                </a:cubicBezTo>
                <a:cubicBezTo>
                  <a:pt x="1098" y="2529"/>
                  <a:pt x="1113" y="2593"/>
                  <a:pt x="1129" y="2640"/>
                </a:cubicBezTo>
                <a:cubicBezTo>
                  <a:pt x="1034" y="2609"/>
                  <a:pt x="923" y="2561"/>
                  <a:pt x="843" y="2529"/>
                </a:cubicBezTo>
                <a:cubicBezTo>
                  <a:pt x="764" y="2497"/>
                  <a:pt x="764" y="2466"/>
                  <a:pt x="748" y="2370"/>
                </a:cubicBezTo>
                <a:cubicBezTo>
                  <a:pt x="732" y="2275"/>
                  <a:pt x="716" y="2148"/>
                  <a:pt x="541" y="2068"/>
                </a:cubicBezTo>
                <a:cubicBezTo>
                  <a:pt x="414" y="2020"/>
                  <a:pt x="302" y="2036"/>
                  <a:pt x="223" y="2131"/>
                </a:cubicBezTo>
                <a:cubicBezTo>
                  <a:pt x="128" y="2243"/>
                  <a:pt x="111" y="2386"/>
                  <a:pt x="159" y="2497"/>
                </a:cubicBezTo>
                <a:cubicBezTo>
                  <a:pt x="48" y="2577"/>
                  <a:pt x="0" y="2657"/>
                  <a:pt x="0" y="2815"/>
                </a:cubicBezTo>
                <a:cubicBezTo>
                  <a:pt x="0" y="2991"/>
                  <a:pt x="143" y="3166"/>
                  <a:pt x="302" y="3166"/>
                </a:cubicBezTo>
                <a:cubicBezTo>
                  <a:pt x="398" y="3166"/>
                  <a:pt x="446" y="3134"/>
                  <a:pt x="493" y="3118"/>
                </a:cubicBezTo>
                <a:cubicBezTo>
                  <a:pt x="525" y="3102"/>
                  <a:pt x="541" y="3086"/>
                  <a:pt x="652" y="3134"/>
                </a:cubicBezTo>
                <a:lnTo>
                  <a:pt x="1384" y="3420"/>
                </a:lnTo>
                <a:lnTo>
                  <a:pt x="1384" y="3579"/>
                </a:lnTo>
                <a:lnTo>
                  <a:pt x="1384" y="3643"/>
                </a:lnTo>
                <a:cubicBezTo>
                  <a:pt x="1352" y="3658"/>
                  <a:pt x="907" y="3881"/>
                  <a:pt x="780" y="3945"/>
                </a:cubicBezTo>
                <a:cubicBezTo>
                  <a:pt x="748" y="3945"/>
                  <a:pt x="748" y="3945"/>
                  <a:pt x="684" y="3897"/>
                </a:cubicBezTo>
                <a:cubicBezTo>
                  <a:pt x="620" y="3833"/>
                  <a:pt x="541" y="3770"/>
                  <a:pt x="414" y="3786"/>
                </a:cubicBezTo>
                <a:cubicBezTo>
                  <a:pt x="302" y="3802"/>
                  <a:pt x="239" y="3849"/>
                  <a:pt x="207" y="3897"/>
                </a:cubicBezTo>
                <a:cubicBezTo>
                  <a:pt x="143" y="3976"/>
                  <a:pt x="159" y="4088"/>
                  <a:pt x="175" y="4120"/>
                </a:cubicBezTo>
                <a:cubicBezTo>
                  <a:pt x="191" y="4295"/>
                  <a:pt x="318" y="4342"/>
                  <a:pt x="398" y="4374"/>
                </a:cubicBezTo>
                <a:cubicBezTo>
                  <a:pt x="414" y="4390"/>
                  <a:pt x="429" y="4390"/>
                  <a:pt x="446" y="4390"/>
                </a:cubicBezTo>
                <a:cubicBezTo>
                  <a:pt x="429" y="4517"/>
                  <a:pt x="429" y="4645"/>
                  <a:pt x="493" y="4740"/>
                </a:cubicBezTo>
                <a:cubicBezTo>
                  <a:pt x="525" y="4788"/>
                  <a:pt x="605" y="4851"/>
                  <a:pt x="748" y="4851"/>
                </a:cubicBezTo>
                <a:cubicBezTo>
                  <a:pt x="970" y="4851"/>
                  <a:pt x="1034" y="4661"/>
                  <a:pt x="1066" y="4549"/>
                </a:cubicBezTo>
                <a:cubicBezTo>
                  <a:pt x="1066" y="4502"/>
                  <a:pt x="1082" y="4454"/>
                  <a:pt x="1098" y="4438"/>
                </a:cubicBezTo>
                <a:cubicBezTo>
                  <a:pt x="1225" y="4358"/>
                  <a:pt x="1622" y="4152"/>
                  <a:pt x="1686" y="4120"/>
                </a:cubicBezTo>
                <a:cubicBezTo>
                  <a:pt x="1909" y="4295"/>
                  <a:pt x="2211" y="4454"/>
                  <a:pt x="2465" y="4454"/>
                </a:cubicBezTo>
                <a:cubicBezTo>
                  <a:pt x="2720" y="4454"/>
                  <a:pt x="3022" y="4295"/>
                  <a:pt x="3245" y="4120"/>
                </a:cubicBezTo>
                <a:cubicBezTo>
                  <a:pt x="3309" y="4167"/>
                  <a:pt x="3706" y="4358"/>
                  <a:pt x="3834" y="4438"/>
                </a:cubicBezTo>
                <a:cubicBezTo>
                  <a:pt x="3849" y="4454"/>
                  <a:pt x="3865" y="4502"/>
                  <a:pt x="3865" y="4549"/>
                </a:cubicBezTo>
                <a:cubicBezTo>
                  <a:pt x="3913" y="4661"/>
                  <a:pt x="3961" y="4851"/>
                  <a:pt x="4183" y="4851"/>
                </a:cubicBezTo>
                <a:cubicBezTo>
                  <a:pt x="4327" y="4851"/>
                  <a:pt x="4406" y="4788"/>
                  <a:pt x="4438" y="4740"/>
                </a:cubicBezTo>
                <a:cubicBezTo>
                  <a:pt x="4501" y="4645"/>
                  <a:pt x="4518" y="4517"/>
                  <a:pt x="4486" y="4390"/>
                </a:cubicBezTo>
                <a:cubicBezTo>
                  <a:pt x="4501" y="4390"/>
                  <a:pt x="4518" y="4390"/>
                  <a:pt x="4533" y="4374"/>
                </a:cubicBezTo>
                <a:cubicBezTo>
                  <a:pt x="4613" y="4342"/>
                  <a:pt x="4740" y="4295"/>
                  <a:pt x="4772" y="4120"/>
                </a:cubicBezTo>
                <a:cubicBezTo>
                  <a:pt x="4772" y="4088"/>
                  <a:pt x="4788" y="3976"/>
                  <a:pt x="4724" y="3897"/>
                </a:cubicBezTo>
                <a:cubicBezTo>
                  <a:pt x="4692" y="3849"/>
                  <a:pt x="4629" y="3802"/>
                  <a:pt x="4518" y="3786"/>
                </a:cubicBezTo>
                <a:cubicBezTo>
                  <a:pt x="4390" y="3770"/>
                  <a:pt x="4310" y="3833"/>
                  <a:pt x="4247" y="3897"/>
                </a:cubicBezTo>
                <a:cubicBezTo>
                  <a:pt x="4183" y="3945"/>
                  <a:pt x="4183" y="3945"/>
                  <a:pt x="4152" y="3945"/>
                </a:cubicBezTo>
                <a:cubicBezTo>
                  <a:pt x="4024" y="3881"/>
                  <a:pt x="3579" y="3658"/>
                  <a:pt x="3547" y="3643"/>
                </a:cubicBezTo>
                <a:lnTo>
                  <a:pt x="3547" y="3579"/>
                </a:lnTo>
                <a:lnTo>
                  <a:pt x="3547" y="3420"/>
                </a:lnTo>
                <a:lnTo>
                  <a:pt x="4295" y="3134"/>
                </a:lnTo>
                <a:cubicBezTo>
                  <a:pt x="4390" y="3086"/>
                  <a:pt x="4406" y="3102"/>
                  <a:pt x="4438" y="3118"/>
                </a:cubicBezTo>
                <a:cubicBezTo>
                  <a:pt x="4486" y="3134"/>
                  <a:pt x="4533" y="3166"/>
                  <a:pt x="4629" y="3166"/>
                </a:cubicBezTo>
                <a:cubicBezTo>
                  <a:pt x="4788" y="3166"/>
                  <a:pt x="4931" y="2991"/>
                  <a:pt x="4931" y="2815"/>
                </a:cubicBezTo>
                <a:cubicBezTo>
                  <a:pt x="4931" y="2657"/>
                  <a:pt x="4883" y="2577"/>
                  <a:pt x="4772" y="2497"/>
                </a:cubicBezTo>
                <a:close/>
                <a:moveTo>
                  <a:pt x="1082" y="1813"/>
                </a:moveTo>
                <a:cubicBezTo>
                  <a:pt x="1018" y="1734"/>
                  <a:pt x="955" y="1654"/>
                  <a:pt x="955" y="1416"/>
                </a:cubicBezTo>
                <a:cubicBezTo>
                  <a:pt x="955" y="764"/>
                  <a:pt x="1670" y="159"/>
                  <a:pt x="2465" y="159"/>
                </a:cubicBezTo>
                <a:cubicBezTo>
                  <a:pt x="3261" y="159"/>
                  <a:pt x="3977" y="764"/>
                  <a:pt x="3977" y="1416"/>
                </a:cubicBezTo>
                <a:cubicBezTo>
                  <a:pt x="3977" y="1654"/>
                  <a:pt x="3913" y="1734"/>
                  <a:pt x="3849" y="1813"/>
                </a:cubicBezTo>
                <a:cubicBezTo>
                  <a:pt x="3770" y="1925"/>
                  <a:pt x="3674" y="2036"/>
                  <a:pt x="3674" y="2449"/>
                </a:cubicBezTo>
                <a:cubicBezTo>
                  <a:pt x="3674" y="2736"/>
                  <a:pt x="3515" y="2768"/>
                  <a:pt x="3309" y="2815"/>
                </a:cubicBezTo>
                <a:cubicBezTo>
                  <a:pt x="3165" y="2863"/>
                  <a:pt x="2991" y="2895"/>
                  <a:pt x="2991" y="3102"/>
                </a:cubicBezTo>
                <a:cubicBezTo>
                  <a:pt x="2991" y="3166"/>
                  <a:pt x="2783" y="3309"/>
                  <a:pt x="2465" y="3309"/>
                </a:cubicBezTo>
                <a:cubicBezTo>
                  <a:pt x="2147" y="3309"/>
                  <a:pt x="1941" y="3166"/>
                  <a:pt x="1941" y="3102"/>
                </a:cubicBezTo>
                <a:cubicBezTo>
                  <a:pt x="1941" y="2895"/>
                  <a:pt x="1766" y="2863"/>
                  <a:pt x="1622" y="2815"/>
                </a:cubicBezTo>
                <a:cubicBezTo>
                  <a:pt x="1432" y="2768"/>
                  <a:pt x="1257" y="2736"/>
                  <a:pt x="1257" y="2449"/>
                </a:cubicBezTo>
                <a:cubicBezTo>
                  <a:pt x="1257" y="2036"/>
                  <a:pt x="1161" y="1925"/>
                  <a:pt x="1082" y="1813"/>
                </a:cubicBezTo>
                <a:close/>
                <a:moveTo>
                  <a:pt x="3022" y="3484"/>
                </a:moveTo>
                <a:cubicBezTo>
                  <a:pt x="2991" y="3500"/>
                  <a:pt x="2927" y="3547"/>
                  <a:pt x="2847" y="3579"/>
                </a:cubicBezTo>
                <a:lnTo>
                  <a:pt x="2847" y="3404"/>
                </a:lnTo>
                <a:cubicBezTo>
                  <a:pt x="2911" y="3372"/>
                  <a:pt x="2974" y="3340"/>
                  <a:pt x="3022" y="3309"/>
                </a:cubicBezTo>
                <a:close/>
                <a:moveTo>
                  <a:pt x="2084" y="3404"/>
                </a:moveTo>
                <a:lnTo>
                  <a:pt x="2084" y="3595"/>
                </a:lnTo>
                <a:cubicBezTo>
                  <a:pt x="2020" y="3563"/>
                  <a:pt x="1973" y="3531"/>
                  <a:pt x="1941" y="3500"/>
                </a:cubicBezTo>
                <a:cubicBezTo>
                  <a:pt x="1925" y="3467"/>
                  <a:pt x="1925" y="3420"/>
                  <a:pt x="1925" y="3324"/>
                </a:cubicBezTo>
                <a:cubicBezTo>
                  <a:pt x="1973" y="3357"/>
                  <a:pt x="2020" y="3372"/>
                  <a:pt x="2084" y="3404"/>
                </a:cubicBezTo>
                <a:close/>
                <a:moveTo>
                  <a:pt x="2243" y="3643"/>
                </a:moveTo>
                <a:lnTo>
                  <a:pt x="2243" y="3452"/>
                </a:lnTo>
                <a:cubicBezTo>
                  <a:pt x="2291" y="3452"/>
                  <a:pt x="2338" y="3467"/>
                  <a:pt x="2386" y="3467"/>
                </a:cubicBezTo>
                <a:lnTo>
                  <a:pt x="2386" y="3675"/>
                </a:lnTo>
                <a:cubicBezTo>
                  <a:pt x="2338" y="3675"/>
                  <a:pt x="2291" y="3658"/>
                  <a:pt x="2243" y="3658"/>
                </a:cubicBezTo>
                <a:close/>
                <a:moveTo>
                  <a:pt x="2545" y="3467"/>
                </a:moveTo>
                <a:cubicBezTo>
                  <a:pt x="2593" y="3467"/>
                  <a:pt x="2640" y="3452"/>
                  <a:pt x="2688" y="3452"/>
                </a:cubicBezTo>
                <a:lnTo>
                  <a:pt x="2688" y="3643"/>
                </a:lnTo>
                <a:cubicBezTo>
                  <a:pt x="2640" y="3658"/>
                  <a:pt x="2593" y="3675"/>
                  <a:pt x="2545" y="3675"/>
                </a:cubicBezTo>
                <a:close/>
                <a:moveTo>
                  <a:pt x="716" y="2991"/>
                </a:moveTo>
                <a:cubicBezTo>
                  <a:pt x="557" y="2927"/>
                  <a:pt x="493" y="2943"/>
                  <a:pt x="414" y="2975"/>
                </a:cubicBezTo>
                <a:cubicBezTo>
                  <a:pt x="382" y="2991"/>
                  <a:pt x="366" y="3006"/>
                  <a:pt x="302" y="3006"/>
                </a:cubicBezTo>
                <a:cubicBezTo>
                  <a:pt x="239" y="3006"/>
                  <a:pt x="159" y="2911"/>
                  <a:pt x="159" y="2815"/>
                </a:cubicBezTo>
                <a:cubicBezTo>
                  <a:pt x="159" y="2704"/>
                  <a:pt x="191" y="2672"/>
                  <a:pt x="302" y="2609"/>
                </a:cubicBezTo>
                <a:cubicBezTo>
                  <a:pt x="318" y="2593"/>
                  <a:pt x="334" y="2577"/>
                  <a:pt x="334" y="2545"/>
                </a:cubicBezTo>
                <a:cubicBezTo>
                  <a:pt x="334" y="2529"/>
                  <a:pt x="334" y="2513"/>
                  <a:pt x="318" y="2497"/>
                </a:cubicBezTo>
                <a:cubicBezTo>
                  <a:pt x="271" y="2418"/>
                  <a:pt x="286" y="2306"/>
                  <a:pt x="334" y="2243"/>
                </a:cubicBezTo>
                <a:cubicBezTo>
                  <a:pt x="382" y="2195"/>
                  <a:pt x="414" y="2195"/>
                  <a:pt x="477" y="2211"/>
                </a:cubicBezTo>
                <a:cubicBezTo>
                  <a:pt x="573" y="2259"/>
                  <a:pt x="573" y="2322"/>
                  <a:pt x="589" y="2402"/>
                </a:cubicBezTo>
                <a:cubicBezTo>
                  <a:pt x="605" y="2497"/>
                  <a:pt x="620" y="2609"/>
                  <a:pt x="780" y="2672"/>
                </a:cubicBezTo>
                <a:cubicBezTo>
                  <a:pt x="986" y="2752"/>
                  <a:pt x="1241" y="2863"/>
                  <a:pt x="1320" y="2911"/>
                </a:cubicBezTo>
                <a:cubicBezTo>
                  <a:pt x="1336" y="2958"/>
                  <a:pt x="1352" y="3102"/>
                  <a:pt x="1368" y="3245"/>
                </a:cubicBezTo>
                <a:close/>
                <a:moveTo>
                  <a:pt x="1018" y="4311"/>
                </a:moveTo>
                <a:cubicBezTo>
                  <a:pt x="955" y="4342"/>
                  <a:pt x="938" y="4422"/>
                  <a:pt x="907" y="4502"/>
                </a:cubicBezTo>
                <a:cubicBezTo>
                  <a:pt x="875" y="4629"/>
                  <a:pt x="843" y="4693"/>
                  <a:pt x="748" y="4693"/>
                </a:cubicBezTo>
                <a:cubicBezTo>
                  <a:pt x="652" y="4693"/>
                  <a:pt x="637" y="4661"/>
                  <a:pt x="620" y="4645"/>
                </a:cubicBezTo>
                <a:cubicBezTo>
                  <a:pt x="573" y="4581"/>
                  <a:pt x="589" y="4470"/>
                  <a:pt x="620" y="4374"/>
                </a:cubicBezTo>
                <a:cubicBezTo>
                  <a:pt x="620" y="4342"/>
                  <a:pt x="605" y="4311"/>
                  <a:pt x="573" y="4295"/>
                </a:cubicBezTo>
                <a:cubicBezTo>
                  <a:pt x="541" y="4263"/>
                  <a:pt x="509" y="4247"/>
                  <a:pt x="461" y="4231"/>
                </a:cubicBezTo>
                <a:cubicBezTo>
                  <a:pt x="382" y="4199"/>
                  <a:pt x="334" y="4167"/>
                  <a:pt x="318" y="4088"/>
                </a:cubicBezTo>
                <a:cubicBezTo>
                  <a:pt x="318" y="4072"/>
                  <a:pt x="318" y="4024"/>
                  <a:pt x="334" y="3976"/>
                </a:cubicBezTo>
                <a:cubicBezTo>
                  <a:pt x="366" y="3961"/>
                  <a:pt x="398" y="3945"/>
                  <a:pt x="429" y="3945"/>
                </a:cubicBezTo>
                <a:cubicBezTo>
                  <a:pt x="493" y="3929"/>
                  <a:pt x="525" y="3961"/>
                  <a:pt x="589" y="4009"/>
                </a:cubicBezTo>
                <a:cubicBezTo>
                  <a:pt x="637" y="4056"/>
                  <a:pt x="716" y="4136"/>
                  <a:pt x="843" y="4088"/>
                </a:cubicBezTo>
                <a:cubicBezTo>
                  <a:pt x="955" y="4040"/>
                  <a:pt x="1273" y="3881"/>
                  <a:pt x="1400" y="3818"/>
                </a:cubicBezTo>
                <a:cubicBezTo>
                  <a:pt x="1400" y="3833"/>
                  <a:pt x="1400" y="3833"/>
                  <a:pt x="1416" y="3849"/>
                </a:cubicBezTo>
                <a:cubicBezTo>
                  <a:pt x="1416" y="3865"/>
                  <a:pt x="1479" y="3929"/>
                  <a:pt x="1559" y="4009"/>
                </a:cubicBezTo>
                <a:cubicBezTo>
                  <a:pt x="1416" y="4088"/>
                  <a:pt x="1129" y="4231"/>
                  <a:pt x="1018" y="4311"/>
                </a:cubicBezTo>
                <a:close/>
                <a:moveTo>
                  <a:pt x="1559" y="3802"/>
                </a:moveTo>
                <a:cubicBezTo>
                  <a:pt x="1559" y="3770"/>
                  <a:pt x="1543" y="3658"/>
                  <a:pt x="1543" y="3563"/>
                </a:cubicBezTo>
                <a:cubicBezTo>
                  <a:pt x="1527" y="3309"/>
                  <a:pt x="1527" y="3102"/>
                  <a:pt x="1495" y="2958"/>
                </a:cubicBezTo>
                <a:cubicBezTo>
                  <a:pt x="1527" y="2958"/>
                  <a:pt x="1559" y="2975"/>
                  <a:pt x="1575" y="2975"/>
                </a:cubicBezTo>
                <a:cubicBezTo>
                  <a:pt x="1686" y="3006"/>
                  <a:pt x="1750" y="3022"/>
                  <a:pt x="1766" y="3054"/>
                </a:cubicBezTo>
                <a:lnTo>
                  <a:pt x="1766" y="3070"/>
                </a:lnTo>
                <a:cubicBezTo>
                  <a:pt x="1766" y="3563"/>
                  <a:pt x="1782" y="3579"/>
                  <a:pt x="1813" y="3611"/>
                </a:cubicBezTo>
                <a:cubicBezTo>
                  <a:pt x="1909" y="3690"/>
                  <a:pt x="2147" y="3833"/>
                  <a:pt x="2465" y="3833"/>
                </a:cubicBezTo>
                <a:cubicBezTo>
                  <a:pt x="2768" y="3833"/>
                  <a:pt x="3022" y="3675"/>
                  <a:pt x="3118" y="3611"/>
                </a:cubicBezTo>
                <a:cubicBezTo>
                  <a:pt x="3181" y="3563"/>
                  <a:pt x="3197" y="3452"/>
                  <a:pt x="3165" y="3134"/>
                </a:cubicBezTo>
                <a:lnTo>
                  <a:pt x="3165" y="3102"/>
                </a:lnTo>
                <a:cubicBezTo>
                  <a:pt x="3165" y="3086"/>
                  <a:pt x="3165" y="3070"/>
                  <a:pt x="3149" y="3054"/>
                </a:cubicBezTo>
                <a:cubicBezTo>
                  <a:pt x="3181" y="3022"/>
                  <a:pt x="3229" y="3006"/>
                  <a:pt x="3356" y="2975"/>
                </a:cubicBezTo>
                <a:cubicBezTo>
                  <a:pt x="3372" y="2975"/>
                  <a:pt x="3404" y="2958"/>
                  <a:pt x="3436" y="2958"/>
                </a:cubicBezTo>
                <a:cubicBezTo>
                  <a:pt x="3404" y="3102"/>
                  <a:pt x="3404" y="3309"/>
                  <a:pt x="3388" y="3563"/>
                </a:cubicBezTo>
                <a:cubicBezTo>
                  <a:pt x="3388" y="3658"/>
                  <a:pt x="3372" y="3770"/>
                  <a:pt x="3372" y="3786"/>
                </a:cubicBezTo>
                <a:cubicBezTo>
                  <a:pt x="3340" y="3849"/>
                  <a:pt x="2831" y="4295"/>
                  <a:pt x="2465" y="4295"/>
                </a:cubicBezTo>
                <a:cubicBezTo>
                  <a:pt x="2100" y="4295"/>
                  <a:pt x="1591" y="3849"/>
                  <a:pt x="1559" y="3802"/>
                </a:cubicBezTo>
                <a:close/>
                <a:moveTo>
                  <a:pt x="4088" y="4088"/>
                </a:moveTo>
                <a:cubicBezTo>
                  <a:pt x="4215" y="4136"/>
                  <a:pt x="4295" y="4056"/>
                  <a:pt x="4358" y="4009"/>
                </a:cubicBezTo>
                <a:cubicBezTo>
                  <a:pt x="4406" y="3961"/>
                  <a:pt x="4438" y="3929"/>
                  <a:pt x="4501" y="3945"/>
                </a:cubicBezTo>
                <a:cubicBezTo>
                  <a:pt x="4533" y="3945"/>
                  <a:pt x="4565" y="3961"/>
                  <a:pt x="4597" y="3976"/>
                </a:cubicBezTo>
                <a:cubicBezTo>
                  <a:pt x="4613" y="4024"/>
                  <a:pt x="4613" y="4072"/>
                  <a:pt x="4613" y="4088"/>
                </a:cubicBezTo>
                <a:cubicBezTo>
                  <a:pt x="4597" y="4167"/>
                  <a:pt x="4549" y="4199"/>
                  <a:pt x="4470" y="4231"/>
                </a:cubicBezTo>
                <a:cubicBezTo>
                  <a:pt x="4422" y="4247"/>
                  <a:pt x="4390" y="4263"/>
                  <a:pt x="4358" y="4295"/>
                </a:cubicBezTo>
                <a:cubicBezTo>
                  <a:pt x="4327" y="4311"/>
                  <a:pt x="4310" y="4342"/>
                  <a:pt x="4310" y="4374"/>
                </a:cubicBezTo>
                <a:cubicBezTo>
                  <a:pt x="4342" y="4470"/>
                  <a:pt x="4358" y="4581"/>
                  <a:pt x="4310" y="4645"/>
                </a:cubicBezTo>
                <a:cubicBezTo>
                  <a:pt x="4295" y="4661"/>
                  <a:pt x="4279" y="4693"/>
                  <a:pt x="4183" y="4693"/>
                </a:cubicBezTo>
                <a:cubicBezTo>
                  <a:pt x="4088" y="4693"/>
                  <a:pt x="4056" y="4629"/>
                  <a:pt x="4024" y="4502"/>
                </a:cubicBezTo>
                <a:cubicBezTo>
                  <a:pt x="3992" y="4422"/>
                  <a:pt x="3977" y="4342"/>
                  <a:pt x="3913" y="4311"/>
                </a:cubicBezTo>
                <a:cubicBezTo>
                  <a:pt x="3801" y="4231"/>
                  <a:pt x="3515" y="4088"/>
                  <a:pt x="3372" y="4009"/>
                </a:cubicBezTo>
                <a:cubicBezTo>
                  <a:pt x="3452" y="3929"/>
                  <a:pt x="3515" y="3865"/>
                  <a:pt x="3531" y="3849"/>
                </a:cubicBezTo>
                <a:lnTo>
                  <a:pt x="3531" y="3818"/>
                </a:lnTo>
                <a:cubicBezTo>
                  <a:pt x="3658" y="3881"/>
                  <a:pt x="3977" y="4040"/>
                  <a:pt x="4088" y="4088"/>
                </a:cubicBezTo>
                <a:close/>
                <a:moveTo>
                  <a:pt x="4629" y="3006"/>
                </a:moveTo>
                <a:cubicBezTo>
                  <a:pt x="4565" y="3006"/>
                  <a:pt x="4549" y="2991"/>
                  <a:pt x="4518" y="2975"/>
                </a:cubicBezTo>
                <a:cubicBezTo>
                  <a:pt x="4438" y="2943"/>
                  <a:pt x="4374" y="2927"/>
                  <a:pt x="4231" y="2991"/>
                </a:cubicBezTo>
                <a:lnTo>
                  <a:pt x="3563" y="3245"/>
                </a:lnTo>
                <a:cubicBezTo>
                  <a:pt x="3579" y="3102"/>
                  <a:pt x="3595" y="2958"/>
                  <a:pt x="3611" y="2911"/>
                </a:cubicBezTo>
                <a:cubicBezTo>
                  <a:pt x="3690" y="2863"/>
                  <a:pt x="3945" y="2752"/>
                  <a:pt x="4152" y="2672"/>
                </a:cubicBezTo>
                <a:cubicBezTo>
                  <a:pt x="4310" y="2609"/>
                  <a:pt x="4327" y="2497"/>
                  <a:pt x="4342" y="2402"/>
                </a:cubicBezTo>
                <a:cubicBezTo>
                  <a:pt x="4358" y="2322"/>
                  <a:pt x="4358" y="2259"/>
                  <a:pt x="4454" y="2211"/>
                </a:cubicBezTo>
                <a:cubicBezTo>
                  <a:pt x="4518" y="2195"/>
                  <a:pt x="4565" y="2195"/>
                  <a:pt x="4597" y="2243"/>
                </a:cubicBezTo>
                <a:cubicBezTo>
                  <a:pt x="4645" y="2306"/>
                  <a:pt x="4661" y="2418"/>
                  <a:pt x="4613" y="2497"/>
                </a:cubicBezTo>
                <a:cubicBezTo>
                  <a:pt x="4597" y="2513"/>
                  <a:pt x="4597" y="2529"/>
                  <a:pt x="4597" y="2545"/>
                </a:cubicBezTo>
                <a:cubicBezTo>
                  <a:pt x="4597" y="2577"/>
                  <a:pt x="4613" y="2593"/>
                  <a:pt x="4629" y="2609"/>
                </a:cubicBezTo>
                <a:cubicBezTo>
                  <a:pt x="4740" y="2672"/>
                  <a:pt x="4772" y="2704"/>
                  <a:pt x="4772" y="2815"/>
                </a:cubicBezTo>
                <a:cubicBezTo>
                  <a:pt x="4772" y="2911"/>
                  <a:pt x="4692" y="3006"/>
                  <a:pt x="4629" y="300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4" name="Freeform: Shape 12">
            <a:extLst>
              <a:ext uri="{FF2B5EF4-FFF2-40B4-BE49-F238E27FC236}">
                <a16:creationId xmlns:a16="http://schemas.microsoft.com/office/drawing/2014/main" id="{57FE5A3B-C9F2-3745-990C-18B8BFA12452}"/>
              </a:ext>
            </a:extLst>
          </p:cNvPr>
          <p:cNvSpPr/>
          <p:nvPr/>
        </p:nvSpPr>
        <p:spPr>
          <a:xfrm>
            <a:off x="13895499" y="6267613"/>
            <a:ext cx="1791720" cy="1889280"/>
          </a:xfrm>
          <a:custGeom>
            <a:avLst/>
            <a:gdLst/>
            <a:ahLst/>
            <a:cxnLst>
              <a:cxn ang="3cd4">
                <a:pos x="hc" y="t"/>
              </a:cxn>
              <a:cxn ang="cd2">
                <a:pos x="l" y="vc"/>
              </a:cxn>
              <a:cxn ang="cd4">
                <a:pos x="hc" y="b"/>
              </a:cxn>
              <a:cxn ang="0">
                <a:pos x="r" y="vc"/>
              </a:cxn>
            </a:cxnLst>
            <a:rect l="l" t="t" r="r" b="b"/>
            <a:pathLst>
              <a:path w="4978" h="5249">
                <a:moveTo>
                  <a:pt x="2688" y="859"/>
                </a:moveTo>
                <a:cubicBezTo>
                  <a:pt x="2640" y="859"/>
                  <a:pt x="2608" y="827"/>
                  <a:pt x="2608" y="780"/>
                </a:cubicBezTo>
                <a:cubicBezTo>
                  <a:pt x="2608" y="764"/>
                  <a:pt x="2608" y="748"/>
                  <a:pt x="2624" y="732"/>
                </a:cubicBezTo>
                <a:cubicBezTo>
                  <a:pt x="2576" y="748"/>
                  <a:pt x="2528" y="764"/>
                  <a:pt x="2481" y="764"/>
                </a:cubicBezTo>
                <a:cubicBezTo>
                  <a:pt x="2433" y="764"/>
                  <a:pt x="2385" y="748"/>
                  <a:pt x="2354" y="732"/>
                </a:cubicBezTo>
                <a:cubicBezTo>
                  <a:pt x="2354" y="748"/>
                  <a:pt x="2369" y="764"/>
                  <a:pt x="2369" y="780"/>
                </a:cubicBezTo>
                <a:cubicBezTo>
                  <a:pt x="2369" y="827"/>
                  <a:pt x="2337" y="859"/>
                  <a:pt x="2290" y="859"/>
                </a:cubicBezTo>
                <a:lnTo>
                  <a:pt x="2258" y="859"/>
                </a:lnTo>
                <a:lnTo>
                  <a:pt x="2258" y="1146"/>
                </a:lnTo>
                <a:cubicBezTo>
                  <a:pt x="2337" y="1209"/>
                  <a:pt x="2385" y="1289"/>
                  <a:pt x="2385" y="1352"/>
                </a:cubicBezTo>
                <a:cubicBezTo>
                  <a:pt x="2385" y="1432"/>
                  <a:pt x="2337" y="1512"/>
                  <a:pt x="2274" y="1559"/>
                </a:cubicBezTo>
                <a:lnTo>
                  <a:pt x="2274" y="1607"/>
                </a:lnTo>
                <a:cubicBezTo>
                  <a:pt x="2337" y="1639"/>
                  <a:pt x="2401" y="1655"/>
                  <a:pt x="2433" y="1686"/>
                </a:cubicBezTo>
                <a:lnTo>
                  <a:pt x="2417" y="891"/>
                </a:lnTo>
                <a:lnTo>
                  <a:pt x="2560" y="891"/>
                </a:lnTo>
                <a:lnTo>
                  <a:pt x="2545" y="1718"/>
                </a:lnTo>
                <a:lnTo>
                  <a:pt x="2576" y="1718"/>
                </a:lnTo>
                <a:cubicBezTo>
                  <a:pt x="2624" y="1718"/>
                  <a:pt x="2656" y="1718"/>
                  <a:pt x="2703" y="1702"/>
                </a:cubicBezTo>
                <a:lnTo>
                  <a:pt x="2703" y="1591"/>
                </a:lnTo>
                <a:cubicBezTo>
                  <a:pt x="2688" y="1591"/>
                  <a:pt x="2693" y="1580"/>
                  <a:pt x="2688" y="1575"/>
                </a:cubicBezTo>
                <a:cubicBezTo>
                  <a:pt x="2640" y="1543"/>
                  <a:pt x="2576" y="1480"/>
                  <a:pt x="2576" y="1336"/>
                </a:cubicBezTo>
                <a:cubicBezTo>
                  <a:pt x="2576" y="1273"/>
                  <a:pt x="2640" y="1193"/>
                  <a:pt x="2703" y="1130"/>
                </a:cubicBezTo>
                <a:lnTo>
                  <a:pt x="2719" y="859"/>
                </a:lnTo>
                <a:close/>
                <a:moveTo>
                  <a:pt x="4882" y="700"/>
                </a:moveTo>
                <a:cubicBezTo>
                  <a:pt x="4596" y="716"/>
                  <a:pt x="4390" y="557"/>
                  <a:pt x="4167" y="366"/>
                </a:cubicBezTo>
                <a:cubicBezTo>
                  <a:pt x="3944" y="191"/>
                  <a:pt x="3721" y="0"/>
                  <a:pt x="3387" y="0"/>
                </a:cubicBezTo>
                <a:cubicBezTo>
                  <a:pt x="3181" y="0"/>
                  <a:pt x="3006" y="207"/>
                  <a:pt x="3006" y="398"/>
                </a:cubicBezTo>
                <a:cubicBezTo>
                  <a:pt x="3006" y="525"/>
                  <a:pt x="3037" y="605"/>
                  <a:pt x="3069" y="652"/>
                </a:cubicBezTo>
                <a:cubicBezTo>
                  <a:pt x="2990" y="684"/>
                  <a:pt x="2846" y="700"/>
                  <a:pt x="2719" y="700"/>
                </a:cubicBezTo>
                <a:lnTo>
                  <a:pt x="2688" y="700"/>
                </a:lnTo>
                <a:cubicBezTo>
                  <a:pt x="2799" y="637"/>
                  <a:pt x="2863" y="525"/>
                  <a:pt x="2863" y="382"/>
                </a:cubicBezTo>
                <a:cubicBezTo>
                  <a:pt x="2863" y="175"/>
                  <a:pt x="2703" y="0"/>
                  <a:pt x="2481" y="0"/>
                </a:cubicBezTo>
                <a:cubicBezTo>
                  <a:pt x="2274" y="0"/>
                  <a:pt x="2099" y="175"/>
                  <a:pt x="2099" y="382"/>
                </a:cubicBezTo>
                <a:cubicBezTo>
                  <a:pt x="2099" y="525"/>
                  <a:pt x="2179" y="637"/>
                  <a:pt x="2290" y="700"/>
                </a:cubicBezTo>
                <a:cubicBezTo>
                  <a:pt x="2147" y="716"/>
                  <a:pt x="1988" y="684"/>
                  <a:pt x="1908" y="652"/>
                </a:cubicBezTo>
                <a:cubicBezTo>
                  <a:pt x="1924" y="605"/>
                  <a:pt x="1956" y="525"/>
                  <a:pt x="1956" y="398"/>
                </a:cubicBezTo>
                <a:cubicBezTo>
                  <a:pt x="1956" y="207"/>
                  <a:pt x="1797" y="0"/>
                  <a:pt x="1574" y="0"/>
                </a:cubicBezTo>
                <a:cubicBezTo>
                  <a:pt x="1240" y="0"/>
                  <a:pt x="1018" y="191"/>
                  <a:pt x="795" y="366"/>
                </a:cubicBezTo>
                <a:cubicBezTo>
                  <a:pt x="588" y="557"/>
                  <a:pt x="381" y="716"/>
                  <a:pt x="79" y="700"/>
                </a:cubicBezTo>
                <a:cubicBezTo>
                  <a:pt x="63" y="684"/>
                  <a:pt x="31" y="700"/>
                  <a:pt x="15" y="716"/>
                </a:cubicBezTo>
                <a:cubicBezTo>
                  <a:pt x="0" y="732"/>
                  <a:pt x="0" y="764"/>
                  <a:pt x="0" y="795"/>
                </a:cubicBezTo>
                <a:cubicBezTo>
                  <a:pt x="31" y="923"/>
                  <a:pt x="174" y="1146"/>
                  <a:pt x="524" y="1146"/>
                </a:cubicBezTo>
                <a:cubicBezTo>
                  <a:pt x="604" y="1225"/>
                  <a:pt x="763" y="1257"/>
                  <a:pt x="874" y="1241"/>
                </a:cubicBezTo>
                <a:cubicBezTo>
                  <a:pt x="954" y="1273"/>
                  <a:pt x="1081" y="1321"/>
                  <a:pt x="1192" y="1273"/>
                </a:cubicBezTo>
                <a:cubicBezTo>
                  <a:pt x="1256" y="1304"/>
                  <a:pt x="1336" y="1304"/>
                  <a:pt x="1399" y="1289"/>
                </a:cubicBezTo>
                <a:cubicBezTo>
                  <a:pt x="1447" y="1368"/>
                  <a:pt x="1527" y="1464"/>
                  <a:pt x="1590" y="1543"/>
                </a:cubicBezTo>
                <a:cubicBezTo>
                  <a:pt x="1622" y="1782"/>
                  <a:pt x="1813" y="1925"/>
                  <a:pt x="2003" y="2036"/>
                </a:cubicBezTo>
                <a:cubicBezTo>
                  <a:pt x="1908" y="2132"/>
                  <a:pt x="1813" y="2259"/>
                  <a:pt x="1813" y="2434"/>
                </a:cubicBezTo>
                <a:cubicBezTo>
                  <a:pt x="1813" y="2688"/>
                  <a:pt x="1908" y="2848"/>
                  <a:pt x="2036" y="2959"/>
                </a:cubicBezTo>
                <a:cubicBezTo>
                  <a:pt x="1956" y="3054"/>
                  <a:pt x="1860" y="3182"/>
                  <a:pt x="1860" y="3309"/>
                </a:cubicBezTo>
                <a:cubicBezTo>
                  <a:pt x="1860" y="3531"/>
                  <a:pt x="1956" y="3675"/>
                  <a:pt x="2067" y="3770"/>
                </a:cubicBezTo>
                <a:cubicBezTo>
                  <a:pt x="2019" y="3834"/>
                  <a:pt x="1972" y="3929"/>
                  <a:pt x="1972" y="4056"/>
                </a:cubicBezTo>
                <a:cubicBezTo>
                  <a:pt x="1972" y="4200"/>
                  <a:pt x="2067" y="4311"/>
                  <a:pt x="2179" y="4406"/>
                </a:cubicBezTo>
                <a:cubicBezTo>
                  <a:pt x="2099" y="4518"/>
                  <a:pt x="2067" y="4629"/>
                  <a:pt x="2099" y="4740"/>
                </a:cubicBezTo>
                <a:cubicBezTo>
                  <a:pt x="2147" y="4947"/>
                  <a:pt x="2290" y="4941"/>
                  <a:pt x="2385" y="5042"/>
                </a:cubicBezTo>
                <a:lnTo>
                  <a:pt x="2401" y="5042"/>
                </a:lnTo>
                <a:lnTo>
                  <a:pt x="2401" y="4867"/>
                </a:lnTo>
                <a:cubicBezTo>
                  <a:pt x="2354" y="4852"/>
                  <a:pt x="2274" y="4788"/>
                  <a:pt x="2258" y="4708"/>
                </a:cubicBezTo>
                <a:cubicBezTo>
                  <a:pt x="2242" y="4629"/>
                  <a:pt x="2258" y="4533"/>
                  <a:pt x="2354" y="4438"/>
                </a:cubicBezTo>
                <a:cubicBezTo>
                  <a:pt x="2369" y="4406"/>
                  <a:pt x="2369" y="4358"/>
                  <a:pt x="2337" y="4327"/>
                </a:cubicBezTo>
                <a:cubicBezTo>
                  <a:pt x="2226" y="4247"/>
                  <a:pt x="2131" y="4152"/>
                  <a:pt x="2131" y="4056"/>
                </a:cubicBezTo>
                <a:cubicBezTo>
                  <a:pt x="2131" y="3977"/>
                  <a:pt x="2163" y="3913"/>
                  <a:pt x="2194" y="3881"/>
                </a:cubicBezTo>
                <a:cubicBezTo>
                  <a:pt x="2226" y="3897"/>
                  <a:pt x="2274" y="3929"/>
                  <a:pt x="2306" y="3945"/>
                </a:cubicBezTo>
                <a:lnTo>
                  <a:pt x="2322" y="3961"/>
                </a:lnTo>
                <a:cubicBezTo>
                  <a:pt x="2290" y="4040"/>
                  <a:pt x="2274" y="4152"/>
                  <a:pt x="2337" y="4215"/>
                </a:cubicBezTo>
                <a:cubicBezTo>
                  <a:pt x="2354" y="4231"/>
                  <a:pt x="2369" y="4247"/>
                  <a:pt x="2401" y="4263"/>
                </a:cubicBezTo>
                <a:lnTo>
                  <a:pt x="2401" y="4247"/>
                </a:lnTo>
                <a:cubicBezTo>
                  <a:pt x="2401" y="4215"/>
                  <a:pt x="2449" y="4167"/>
                  <a:pt x="2481" y="4167"/>
                </a:cubicBezTo>
                <a:cubicBezTo>
                  <a:pt x="2528" y="4167"/>
                  <a:pt x="2560" y="4215"/>
                  <a:pt x="2560" y="4247"/>
                </a:cubicBezTo>
                <a:lnTo>
                  <a:pt x="2560" y="4406"/>
                </a:lnTo>
                <a:cubicBezTo>
                  <a:pt x="2624" y="4486"/>
                  <a:pt x="2656" y="4565"/>
                  <a:pt x="2656" y="4676"/>
                </a:cubicBezTo>
                <a:cubicBezTo>
                  <a:pt x="2656" y="4788"/>
                  <a:pt x="2608" y="4836"/>
                  <a:pt x="2560" y="4867"/>
                </a:cubicBezTo>
                <a:lnTo>
                  <a:pt x="2560" y="5042"/>
                </a:lnTo>
                <a:cubicBezTo>
                  <a:pt x="2672" y="5011"/>
                  <a:pt x="2815" y="4899"/>
                  <a:pt x="2815" y="4676"/>
                </a:cubicBezTo>
                <a:cubicBezTo>
                  <a:pt x="2815" y="4613"/>
                  <a:pt x="2815" y="4549"/>
                  <a:pt x="2799" y="4502"/>
                </a:cubicBezTo>
                <a:lnTo>
                  <a:pt x="2815" y="4486"/>
                </a:lnTo>
                <a:cubicBezTo>
                  <a:pt x="2878" y="4390"/>
                  <a:pt x="2974" y="4247"/>
                  <a:pt x="2974" y="4104"/>
                </a:cubicBezTo>
                <a:cubicBezTo>
                  <a:pt x="2974" y="3961"/>
                  <a:pt x="2926" y="3866"/>
                  <a:pt x="2878" y="3770"/>
                </a:cubicBezTo>
                <a:cubicBezTo>
                  <a:pt x="2974" y="3706"/>
                  <a:pt x="3117" y="3563"/>
                  <a:pt x="3117" y="3340"/>
                </a:cubicBezTo>
                <a:cubicBezTo>
                  <a:pt x="3117" y="3166"/>
                  <a:pt x="3021" y="3054"/>
                  <a:pt x="2910" y="2943"/>
                </a:cubicBezTo>
                <a:cubicBezTo>
                  <a:pt x="3006" y="2831"/>
                  <a:pt x="3164" y="2593"/>
                  <a:pt x="3164" y="2322"/>
                </a:cubicBezTo>
                <a:cubicBezTo>
                  <a:pt x="3164" y="2227"/>
                  <a:pt x="3149" y="2164"/>
                  <a:pt x="3101" y="2100"/>
                </a:cubicBezTo>
                <a:cubicBezTo>
                  <a:pt x="3244" y="1973"/>
                  <a:pt x="3340" y="1782"/>
                  <a:pt x="3355" y="1559"/>
                </a:cubicBezTo>
                <a:cubicBezTo>
                  <a:pt x="3451" y="1495"/>
                  <a:pt x="3530" y="1368"/>
                  <a:pt x="3578" y="1289"/>
                </a:cubicBezTo>
                <a:cubicBezTo>
                  <a:pt x="3642" y="1304"/>
                  <a:pt x="3721" y="1304"/>
                  <a:pt x="3785" y="1273"/>
                </a:cubicBezTo>
                <a:cubicBezTo>
                  <a:pt x="3896" y="1321"/>
                  <a:pt x="4024" y="1273"/>
                  <a:pt x="4087" y="1241"/>
                </a:cubicBezTo>
                <a:cubicBezTo>
                  <a:pt x="4215" y="1257"/>
                  <a:pt x="4373" y="1225"/>
                  <a:pt x="4453" y="1146"/>
                </a:cubicBezTo>
                <a:cubicBezTo>
                  <a:pt x="4787" y="1146"/>
                  <a:pt x="4946" y="923"/>
                  <a:pt x="4978" y="795"/>
                </a:cubicBezTo>
                <a:cubicBezTo>
                  <a:pt x="4978" y="764"/>
                  <a:pt x="4978" y="732"/>
                  <a:pt x="4962" y="716"/>
                </a:cubicBezTo>
                <a:cubicBezTo>
                  <a:pt x="4946" y="700"/>
                  <a:pt x="4914" y="684"/>
                  <a:pt x="4882" y="700"/>
                </a:cubicBezTo>
                <a:close/>
                <a:moveTo>
                  <a:pt x="2481" y="159"/>
                </a:moveTo>
                <a:cubicBezTo>
                  <a:pt x="2608" y="159"/>
                  <a:pt x="2703" y="255"/>
                  <a:pt x="2703" y="382"/>
                </a:cubicBezTo>
                <a:cubicBezTo>
                  <a:pt x="2703" y="509"/>
                  <a:pt x="2608" y="605"/>
                  <a:pt x="2481" y="605"/>
                </a:cubicBezTo>
                <a:cubicBezTo>
                  <a:pt x="2369" y="605"/>
                  <a:pt x="2258" y="509"/>
                  <a:pt x="2258" y="382"/>
                </a:cubicBezTo>
                <a:cubicBezTo>
                  <a:pt x="2258" y="255"/>
                  <a:pt x="2369" y="159"/>
                  <a:pt x="2481" y="159"/>
                </a:cubicBezTo>
                <a:close/>
                <a:moveTo>
                  <a:pt x="2449" y="4104"/>
                </a:moveTo>
                <a:cubicBezTo>
                  <a:pt x="2454" y="4088"/>
                  <a:pt x="2449" y="4072"/>
                  <a:pt x="2465" y="4056"/>
                </a:cubicBezTo>
                <a:cubicBezTo>
                  <a:pt x="2497" y="4088"/>
                  <a:pt x="2512" y="4120"/>
                  <a:pt x="2512" y="4152"/>
                </a:cubicBezTo>
                <a:lnTo>
                  <a:pt x="2497" y="4136"/>
                </a:lnTo>
                <a:cubicBezTo>
                  <a:pt x="2481" y="4120"/>
                  <a:pt x="2465" y="4120"/>
                  <a:pt x="2449" y="4104"/>
                </a:cubicBezTo>
                <a:close/>
                <a:moveTo>
                  <a:pt x="2719" y="4343"/>
                </a:moveTo>
                <a:cubicBezTo>
                  <a:pt x="2688" y="4311"/>
                  <a:pt x="2672" y="4295"/>
                  <a:pt x="2656" y="4263"/>
                </a:cubicBezTo>
                <a:cubicBezTo>
                  <a:pt x="2735" y="4040"/>
                  <a:pt x="2545" y="3913"/>
                  <a:pt x="2385" y="3802"/>
                </a:cubicBezTo>
                <a:cubicBezTo>
                  <a:pt x="2210" y="3691"/>
                  <a:pt x="2019" y="3579"/>
                  <a:pt x="2019" y="3309"/>
                </a:cubicBezTo>
                <a:cubicBezTo>
                  <a:pt x="2019" y="3245"/>
                  <a:pt x="2067" y="3149"/>
                  <a:pt x="2163" y="3054"/>
                </a:cubicBezTo>
                <a:cubicBezTo>
                  <a:pt x="2210" y="3102"/>
                  <a:pt x="2274" y="3134"/>
                  <a:pt x="2322" y="3149"/>
                </a:cubicBezTo>
                <a:cubicBezTo>
                  <a:pt x="2274" y="3213"/>
                  <a:pt x="2242" y="3293"/>
                  <a:pt x="2242" y="3372"/>
                </a:cubicBezTo>
                <a:cubicBezTo>
                  <a:pt x="2242" y="3500"/>
                  <a:pt x="2354" y="3563"/>
                  <a:pt x="2465" y="3627"/>
                </a:cubicBezTo>
                <a:cubicBezTo>
                  <a:pt x="2624" y="3722"/>
                  <a:pt x="2815" y="3818"/>
                  <a:pt x="2815" y="4104"/>
                </a:cubicBezTo>
                <a:cubicBezTo>
                  <a:pt x="2815" y="4200"/>
                  <a:pt x="2751" y="4279"/>
                  <a:pt x="2719" y="4343"/>
                </a:cubicBezTo>
                <a:close/>
                <a:moveTo>
                  <a:pt x="2512" y="3468"/>
                </a:moveTo>
                <a:cubicBezTo>
                  <a:pt x="2449" y="3436"/>
                  <a:pt x="2385" y="3404"/>
                  <a:pt x="2385" y="3372"/>
                </a:cubicBezTo>
                <a:cubicBezTo>
                  <a:pt x="2385" y="3309"/>
                  <a:pt x="2417" y="3277"/>
                  <a:pt x="2465" y="3245"/>
                </a:cubicBezTo>
                <a:lnTo>
                  <a:pt x="2481" y="3245"/>
                </a:lnTo>
                <a:cubicBezTo>
                  <a:pt x="2545" y="3277"/>
                  <a:pt x="2576" y="3309"/>
                  <a:pt x="2576" y="3340"/>
                </a:cubicBezTo>
                <a:cubicBezTo>
                  <a:pt x="2576" y="3388"/>
                  <a:pt x="2545" y="3436"/>
                  <a:pt x="2512" y="3468"/>
                </a:cubicBezTo>
                <a:close/>
                <a:moveTo>
                  <a:pt x="2783" y="3658"/>
                </a:moveTo>
                <a:cubicBezTo>
                  <a:pt x="2735" y="3611"/>
                  <a:pt x="2688" y="3579"/>
                  <a:pt x="2656" y="3548"/>
                </a:cubicBezTo>
                <a:cubicBezTo>
                  <a:pt x="2688" y="3500"/>
                  <a:pt x="2735" y="3436"/>
                  <a:pt x="2735" y="3340"/>
                </a:cubicBezTo>
                <a:cubicBezTo>
                  <a:pt x="2735" y="3197"/>
                  <a:pt x="2592" y="3118"/>
                  <a:pt x="2433" y="3039"/>
                </a:cubicBezTo>
                <a:cubicBezTo>
                  <a:pt x="2210" y="2927"/>
                  <a:pt x="1972" y="2800"/>
                  <a:pt x="1972" y="2434"/>
                </a:cubicBezTo>
                <a:cubicBezTo>
                  <a:pt x="1972" y="2291"/>
                  <a:pt x="2083" y="2179"/>
                  <a:pt x="2163" y="2116"/>
                </a:cubicBezTo>
                <a:cubicBezTo>
                  <a:pt x="2194" y="2132"/>
                  <a:pt x="2226" y="2148"/>
                  <a:pt x="2258" y="2164"/>
                </a:cubicBezTo>
                <a:cubicBezTo>
                  <a:pt x="2290" y="2164"/>
                  <a:pt x="2306" y="2179"/>
                  <a:pt x="2337" y="2195"/>
                </a:cubicBezTo>
                <a:cubicBezTo>
                  <a:pt x="2258" y="2275"/>
                  <a:pt x="2210" y="2386"/>
                  <a:pt x="2210" y="2482"/>
                </a:cubicBezTo>
                <a:cubicBezTo>
                  <a:pt x="2210" y="2673"/>
                  <a:pt x="2385" y="2784"/>
                  <a:pt x="2576" y="2911"/>
                </a:cubicBezTo>
                <a:cubicBezTo>
                  <a:pt x="2767" y="3022"/>
                  <a:pt x="2958" y="3149"/>
                  <a:pt x="2958" y="3340"/>
                </a:cubicBezTo>
                <a:cubicBezTo>
                  <a:pt x="2958" y="3515"/>
                  <a:pt x="2846" y="3611"/>
                  <a:pt x="2783" y="3658"/>
                </a:cubicBezTo>
                <a:close/>
                <a:moveTo>
                  <a:pt x="2465" y="2625"/>
                </a:moveTo>
                <a:cubicBezTo>
                  <a:pt x="2401" y="2577"/>
                  <a:pt x="2369" y="2530"/>
                  <a:pt x="2369" y="2482"/>
                </a:cubicBezTo>
                <a:cubicBezTo>
                  <a:pt x="2369" y="2418"/>
                  <a:pt x="2449" y="2291"/>
                  <a:pt x="2481" y="2275"/>
                </a:cubicBezTo>
                <a:cubicBezTo>
                  <a:pt x="2560" y="2307"/>
                  <a:pt x="2608" y="2354"/>
                  <a:pt x="2608" y="2402"/>
                </a:cubicBezTo>
                <a:cubicBezTo>
                  <a:pt x="2608" y="2530"/>
                  <a:pt x="2512" y="2593"/>
                  <a:pt x="2465" y="2625"/>
                </a:cubicBezTo>
                <a:close/>
                <a:moveTo>
                  <a:pt x="2783" y="2848"/>
                </a:moveTo>
                <a:cubicBezTo>
                  <a:pt x="2735" y="2831"/>
                  <a:pt x="2703" y="2800"/>
                  <a:pt x="2656" y="2768"/>
                </a:cubicBezTo>
                <a:cubicBezTo>
                  <a:pt x="2640" y="2752"/>
                  <a:pt x="2624" y="2736"/>
                  <a:pt x="2592" y="2736"/>
                </a:cubicBezTo>
                <a:cubicBezTo>
                  <a:pt x="2672" y="2673"/>
                  <a:pt x="2767" y="2561"/>
                  <a:pt x="2767" y="2402"/>
                </a:cubicBezTo>
                <a:cubicBezTo>
                  <a:pt x="2767" y="2211"/>
                  <a:pt x="2560" y="2116"/>
                  <a:pt x="2322" y="2004"/>
                </a:cubicBezTo>
                <a:cubicBezTo>
                  <a:pt x="2051" y="1893"/>
                  <a:pt x="1749" y="1750"/>
                  <a:pt x="1749" y="1464"/>
                </a:cubicBezTo>
                <a:cubicBezTo>
                  <a:pt x="1749" y="1352"/>
                  <a:pt x="1797" y="1177"/>
                  <a:pt x="2003" y="1177"/>
                </a:cubicBezTo>
                <a:cubicBezTo>
                  <a:pt x="2115" y="1177"/>
                  <a:pt x="2210" y="1321"/>
                  <a:pt x="2226" y="1352"/>
                </a:cubicBezTo>
                <a:cubicBezTo>
                  <a:pt x="2226" y="1384"/>
                  <a:pt x="2210" y="1416"/>
                  <a:pt x="2179" y="1432"/>
                </a:cubicBezTo>
                <a:cubicBezTo>
                  <a:pt x="2147" y="1448"/>
                  <a:pt x="2115" y="1448"/>
                  <a:pt x="2067" y="1432"/>
                </a:cubicBezTo>
                <a:cubicBezTo>
                  <a:pt x="2051" y="1416"/>
                  <a:pt x="2019" y="1432"/>
                  <a:pt x="2003" y="1448"/>
                </a:cubicBezTo>
                <a:cubicBezTo>
                  <a:pt x="1972" y="1448"/>
                  <a:pt x="1956" y="1480"/>
                  <a:pt x="1956" y="1512"/>
                </a:cubicBezTo>
                <a:cubicBezTo>
                  <a:pt x="1956" y="1655"/>
                  <a:pt x="2147" y="1734"/>
                  <a:pt x="2401" y="1830"/>
                </a:cubicBezTo>
                <a:cubicBezTo>
                  <a:pt x="2672" y="1941"/>
                  <a:pt x="3006" y="2084"/>
                  <a:pt x="3006" y="2322"/>
                </a:cubicBezTo>
                <a:cubicBezTo>
                  <a:pt x="3006" y="2561"/>
                  <a:pt x="2863" y="2768"/>
                  <a:pt x="2783" y="2848"/>
                </a:cubicBezTo>
                <a:close/>
                <a:moveTo>
                  <a:pt x="3006" y="1973"/>
                </a:moveTo>
                <a:cubicBezTo>
                  <a:pt x="2942" y="1925"/>
                  <a:pt x="2878" y="1877"/>
                  <a:pt x="2799" y="1845"/>
                </a:cubicBezTo>
                <a:cubicBezTo>
                  <a:pt x="2846" y="1813"/>
                  <a:pt x="2878" y="1798"/>
                  <a:pt x="2910" y="1766"/>
                </a:cubicBezTo>
                <a:cubicBezTo>
                  <a:pt x="2990" y="1686"/>
                  <a:pt x="3021" y="1575"/>
                  <a:pt x="3021" y="1512"/>
                </a:cubicBezTo>
                <a:cubicBezTo>
                  <a:pt x="3021" y="1480"/>
                  <a:pt x="3006" y="1448"/>
                  <a:pt x="2990" y="1432"/>
                </a:cubicBezTo>
                <a:lnTo>
                  <a:pt x="2910" y="1432"/>
                </a:lnTo>
                <a:cubicBezTo>
                  <a:pt x="2878" y="1448"/>
                  <a:pt x="2799" y="1464"/>
                  <a:pt x="2767" y="1448"/>
                </a:cubicBezTo>
                <a:cubicBezTo>
                  <a:pt x="2751" y="1432"/>
                  <a:pt x="2735" y="1384"/>
                  <a:pt x="2735" y="1336"/>
                </a:cubicBezTo>
                <a:cubicBezTo>
                  <a:pt x="2735" y="1304"/>
                  <a:pt x="2831" y="1209"/>
                  <a:pt x="2958" y="1209"/>
                </a:cubicBezTo>
                <a:cubicBezTo>
                  <a:pt x="3085" y="1209"/>
                  <a:pt x="3212" y="1304"/>
                  <a:pt x="3212" y="1432"/>
                </a:cubicBezTo>
                <a:cubicBezTo>
                  <a:pt x="3212" y="1686"/>
                  <a:pt x="3117" y="1877"/>
                  <a:pt x="3006" y="1973"/>
                </a:cubicBezTo>
                <a:close/>
                <a:moveTo>
                  <a:pt x="4405" y="986"/>
                </a:moveTo>
                <a:cubicBezTo>
                  <a:pt x="4373" y="986"/>
                  <a:pt x="4342" y="1003"/>
                  <a:pt x="4326" y="1034"/>
                </a:cubicBezTo>
                <a:cubicBezTo>
                  <a:pt x="4310" y="1066"/>
                  <a:pt x="4182" y="1098"/>
                  <a:pt x="4103" y="1082"/>
                </a:cubicBezTo>
                <a:cubicBezTo>
                  <a:pt x="4072" y="1066"/>
                  <a:pt x="4039" y="1066"/>
                  <a:pt x="4024" y="1098"/>
                </a:cubicBezTo>
                <a:cubicBezTo>
                  <a:pt x="4008" y="1114"/>
                  <a:pt x="3881" y="1161"/>
                  <a:pt x="3817" y="1130"/>
                </a:cubicBezTo>
                <a:cubicBezTo>
                  <a:pt x="3785" y="1114"/>
                  <a:pt x="3753" y="1114"/>
                  <a:pt x="3721" y="1130"/>
                </a:cubicBezTo>
                <a:cubicBezTo>
                  <a:pt x="3706" y="1146"/>
                  <a:pt x="3626" y="1146"/>
                  <a:pt x="3563" y="1130"/>
                </a:cubicBezTo>
                <a:cubicBezTo>
                  <a:pt x="3546" y="1114"/>
                  <a:pt x="3530" y="1114"/>
                  <a:pt x="3499" y="1114"/>
                </a:cubicBezTo>
                <a:cubicBezTo>
                  <a:pt x="3483" y="1130"/>
                  <a:pt x="3467" y="1146"/>
                  <a:pt x="3467" y="1161"/>
                </a:cubicBezTo>
                <a:cubicBezTo>
                  <a:pt x="3451" y="1209"/>
                  <a:pt x="3403" y="1273"/>
                  <a:pt x="3355" y="1336"/>
                </a:cubicBezTo>
                <a:cubicBezTo>
                  <a:pt x="3308" y="1161"/>
                  <a:pt x="3133" y="1050"/>
                  <a:pt x="2958" y="1050"/>
                </a:cubicBezTo>
                <a:cubicBezTo>
                  <a:pt x="2863" y="1050"/>
                  <a:pt x="2783" y="1082"/>
                  <a:pt x="2703" y="1130"/>
                </a:cubicBezTo>
                <a:cubicBezTo>
                  <a:pt x="2640" y="1193"/>
                  <a:pt x="2576" y="1273"/>
                  <a:pt x="2576" y="1336"/>
                </a:cubicBezTo>
                <a:cubicBezTo>
                  <a:pt x="2576" y="1480"/>
                  <a:pt x="2640" y="1543"/>
                  <a:pt x="2688" y="1575"/>
                </a:cubicBezTo>
                <a:cubicBezTo>
                  <a:pt x="2693" y="1580"/>
                  <a:pt x="2688" y="1591"/>
                  <a:pt x="2703" y="1591"/>
                </a:cubicBezTo>
                <a:cubicBezTo>
                  <a:pt x="2735" y="1607"/>
                  <a:pt x="2783" y="1623"/>
                  <a:pt x="2831" y="1607"/>
                </a:cubicBezTo>
                <a:cubicBezTo>
                  <a:pt x="2831" y="1623"/>
                  <a:pt x="2815" y="1639"/>
                  <a:pt x="2799" y="1655"/>
                </a:cubicBezTo>
                <a:cubicBezTo>
                  <a:pt x="2767" y="1686"/>
                  <a:pt x="2735" y="1702"/>
                  <a:pt x="2703" y="1702"/>
                </a:cubicBezTo>
                <a:cubicBezTo>
                  <a:pt x="2656" y="1718"/>
                  <a:pt x="2624" y="1718"/>
                  <a:pt x="2576" y="1718"/>
                </a:cubicBezTo>
                <a:lnTo>
                  <a:pt x="2545" y="1718"/>
                </a:lnTo>
                <a:cubicBezTo>
                  <a:pt x="2512" y="1702"/>
                  <a:pt x="2481" y="1702"/>
                  <a:pt x="2449" y="1686"/>
                </a:cubicBezTo>
                <a:lnTo>
                  <a:pt x="2433" y="1686"/>
                </a:lnTo>
                <a:cubicBezTo>
                  <a:pt x="2401" y="1655"/>
                  <a:pt x="2337" y="1639"/>
                  <a:pt x="2274" y="1607"/>
                </a:cubicBezTo>
                <a:cubicBezTo>
                  <a:pt x="2258" y="1607"/>
                  <a:pt x="2242" y="1591"/>
                  <a:pt x="2226" y="1591"/>
                </a:cubicBezTo>
                <a:cubicBezTo>
                  <a:pt x="2242" y="1575"/>
                  <a:pt x="2258" y="1575"/>
                  <a:pt x="2258" y="1559"/>
                </a:cubicBezTo>
                <a:lnTo>
                  <a:pt x="2274" y="1559"/>
                </a:lnTo>
                <a:cubicBezTo>
                  <a:pt x="2337" y="1512"/>
                  <a:pt x="2385" y="1432"/>
                  <a:pt x="2385" y="1352"/>
                </a:cubicBezTo>
                <a:cubicBezTo>
                  <a:pt x="2385" y="1289"/>
                  <a:pt x="2337" y="1209"/>
                  <a:pt x="2258" y="1146"/>
                </a:cubicBezTo>
                <a:cubicBezTo>
                  <a:pt x="2194" y="1066"/>
                  <a:pt x="2099" y="1018"/>
                  <a:pt x="2003" y="1018"/>
                </a:cubicBezTo>
                <a:cubicBezTo>
                  <a:pt x="1797" y="1018"/>
                  <a:pt x="1654" y="1146"/>
                  <a:pt x="1606" y="1321"/>
                </a:cubicBezTo>
                <a:cubicBezTo>
                  <a:pt x="1558" y="1257"/>
                  <a:pt x="1527" y="1193"/>
                  <a:pt x="1510" y="1161"/>
                </a:cubicBezTo>
                <a:lnTo>
                  <a:pt x="1463" y="1114"/>
                </a:lnTo>
                <a:cubicBezTo>
                  <a:pt x="1447" y="1114"/>
                  <a:pt x="1415" y="1114"/>
                  <a:pt x="1399" y="1130"/>
                </a:cubicBezTo>
                <a:cubicBezTo>
                  <a:pt x="1351" y="1146"/>
                  <a:pt x="1272" y="1146"/>
                  <a:pt x="1240" y="1130"/>
                </a:cubicBezTo>
                <a:cubicBezTo>
                  <a:pt x="1224" y="1114"/>
                  <a:pt x="1192" y="1114"/>
                  <a:pt x="1161" y="1130"/>
                </a:cubicBezTo>
                <a:cubicBezTo>
                  <a:pt x="1097" y="1161"/>
                  <a:pt x="970" y="1114"/>
                  <a:pt x="954" y="1098"/>
                </a:cubicBezTo>
                <a:cubicBezTo>
                  <a:pt x="922" y="1082"/>
                  <a:pt x="890" y="1066"/>
                  <a:pt x="874" y="1082"/>
                </a:cubicBezTo>
                <a:cubicBezTo>
                  <a:pt x="779" y="1098"/>
                  <a:pt x="652" y="1066"/>
                  <a:pt x="636" y="1050"/>
                </a:cubicBezTo>
                <a:cubicBezTo>
                  <a:pt x="620" y="1018"/>
                  <a:pt x="604" y="986"/>
                  <a:pt x="556" y="986"/>
                </a:cubicBezTo>
                <a:cubicBezTo>
                  <a:pt x="365" y="1003"/>
                  <a:pt x="254" y="923"/>
                  <a:pt x="206" y="859"/>
                </a:cubicBezTo>
                <a:cubicBezTo>
                  <a:pt x="492" y="827"/>
                  <a:pt x="699" y="668"/>
                  <a:pt x="906" y="494"/>
                </a:cubicBezTo>
                <a:cubicBezTo>
                  <a:pt x="1113" y="319"/>
                  <a:pt x="1304" y="159"/>
                  <a:pt x="1574" y="159"/>
                </a:cubicBezTo>
                <a:cubicBezTo>
                  <a:pt x="1717" y="159"/>
                  <a:pt x="1797" y="303"/>
                  <a:pt x="1797" y="398"/>
                </a:cubicBezTo>
                <a:cubicBezTo>
                  <a:pt x="1797" y="509"/>
                  <a:pt x="1765" y="573"/>
                  <a:pt x="1749" y="605"/>
                </a:cubicBezTo>
                <a:cubicBezTo>
                  <a:pt x="1749" y="637"/>
                  <a:pt x="1733" y="652"/>
                  <a:pt x="1733" y="684"/>
                </a:cubicBezTo>
                <a:cubicBezTo>
                  <a:pt x="1733" y="700"/>
                  <a:pt x="1733" y="716"/>
                  <a:pt x="1749" y="732"/>
                </a:cubicBezTo>
                <a:cubicBezTo>
                  <a:pt x="1845" y="859"/>
                  <a:pt x="2147" y="859"/>
                  <a:pt x="2258" y="859"/>
                </a:cubicBezTo>
                <a:lnTo>
                  <a:pt x="2290" y="859"/>
                </a:lnTo>
                <a:cubicBezTo>
                  <a:pt x="2337" y="859"/>
                  <a:pt x="2369" y="827"/>
                  <a:pt x="2369" y="780"/>
                </a:cubicBezTo>
                <a:cubicBezTo>
                  <a:pt x="2369" y="764"/>
                  <a:pt x="2354" y="748"/>
                  <a:pt x="2354" y="732"/>
                </a:cubicBezTo>
                <a:cubicBezTo>
                  <a:pt x="2385" y="748"/>
                  <a:pt x="2433" y="764"/>
                  <a:pt x="2481" y="764"/>
                </a:cubicBezTo>
                <a:cubicBezTo>
                  <a:pt x="2528" y="764"/>
                  <a:pt x="2576" y="748"/>
                  <a:pt x="2624" y="732"/>
                </a:cubicBezTo>
                <a:cubicBezTo>
                  <a:pt x="2608" y="748"/>
                  <a:pt x="2608" y="764"/>
                  <a:pt x="2608" y="780"/>
                </a:cubicBezTo>
                <a:cubicBezTo>
                  <a:pt x="2608" y="827"/>
                  <a:pt x="2640" y="859"/>
                  <a:pt x="2688" y="859"/>
                </a:cubicBezTo>
                <a:lnTo>
                  <a:pt x="2719" y="859"/>
                </a:lnTo>
                <a:cubicBezTo>
                  <a:pt x="2831" y="859"/>
                  <a:pt x="3117" y="859"/>
                  <a:pt x="3228" y="732"/>
                </a:cubicBezTo>
                <a:cubicBezTo>
                  <a:pt x="3228" y="716"/>
                  <a:pt x="3244" y="700"/>
                  <a:pt x="3244" y="684"/>
                </a:cubicBezTo>
                <a:cubicBezTo>
                  <a:pt x="3244" y="652"/>
                  <a:pt x="3228" y="637"/>
                  <a:pt x="3212" y="605"/>
                </a:cubicBezTo>
                <a:cubicBezTo>
                  <a:pt x="3197" y="573"/>
                  <a:pt x="3164" y="509"/>
                  <a:pt x="3164" y="398"/>
                </a:cubicBezTo>
                <a:cubicBezTo>
                  <a:pt x="3164" y="303"/>
                  <a:pt x="3260" y="159"/>
                  <a:pt x="3387" y="159"/>
                </a:cubicBezTo>
                <a:cubicBezTo>
                  <a:pt x="3673" y="159"/>
                  <a:pt x="3864" y="319"/>
                  <a:pt x="4072" y="494"/>
                </a:cubicBezTo>
                <a:cubicBezTo>
                  <a:pt x="4278" y="668"/>
                  <a:pt x="4485" y="827"/>
                  <a:pt x="4771" y="859"/>
                </a:cubicBezTo>
                <a:cubicBezTo>
                  <a:pt x="4708" y="923"/>
                  <a:pt x="4612" y="1003"/>
                  <a:pt x="4405" y="986"/>
                </a:cubicBezTo>
                <a:close/>
                <a:moveTo>
                  <a:pt x="2560" y="4406"/>
                </a:moveTo>
                <a:lnTo>
                  <a:pt x="2560" y="4247"/>
                </a:lnTo>
                <a:cubicBezTo>
                  <a:pt x="2560" y="4215"/>
                  <a:pt x="2528" y="4167"/>
                  <a:pt x="2481" y="4167"/>
                </a:cubicBezTo>
                <a:cubicBezTo>
                  <a:pt x="2449" y="4167"/>
                  <a:pt x="2401" y="4215"/>
                  <a:pt x="2401" y="4247"/>
                </a:cubicBezTo>
                <a:lnTo>
                  <a:pt x="2401" y="4263"/>
                </a:lnTo>
                <a:lnTo>
                  <a:pt x="2401" y="4867"/>
                </a:lnTo>
                <a:lnTo>
                  <a:pt x="2401" y="5042"/>
                </a:lnTo>
                <a:lnTo>
                  <a:pt x="2401" y="5170"/>
                </a:lnTo>
                <a:cubicBezTo>
                  <a:pt x="2401" y="5202"/>
                  <a:pt x="2449" y="5249"/>
                  <a:pt x="2481" y="5249"/>
                </a:cubicBezTo>
                <a:cubicBezTo>
                  <a:pt x="2528" y="5249"/>
                  <a:pt x="2560" y="5202"/>
                  <a:pt x="2560" y="5170"/>
                </a:cubicBezTo>
                <a:lnTo>
                  <a:pt x="2560" y="5042"/>
                </a:lnTo>
                <a:lnTo>
                  <a:pt x="2560" y="4867"/>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41798686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Email - 1</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70" name="TextBox 69">
            <a:extLst>
              <a:ext uri="{FF2B5EF4-FFF2-40B4-BE49-F238E27FC236}">
                <a16:creationId xmlns:a16="http://schemas.microsoft.com/office/drawing/2014/main" id="{DCB37BE7-FB09-F54F-9B42-8F0EE5856FA6}"/>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32" name="TextBox 31">
            <a:extLst>
              <a:ext uri="{FF2B5EF4-FFF2-40B4-BE49-F238E27FC236}">
                <a16:creationId xmlns:a16="http://schemas.microsoft.com/office/drawing/2014/main" id="{896F95E1-6435-C545-A52E-C313D8B042C0}"/>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ilbox Mail</a:t>
            </a:r>
          </a:p>
        </p:txBody>
      </p:sp>
      <p:sp>
        <p:nvSpPr>
          <p:cNvPr id="33" name="TextBox 32">
            <a:extLst>
              <a:ext uri="{FF2B5EF4-FFF2-40B4-BE49-F238E27FC236}">
                <a16:creationId xmlns:a16="http://schemas.microsoft.com/office/drawing/2014/main" id="{772528FA-73DC-F44E-B679-1ED6C230D302}"/>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a:t>
            </a:r>
          </a:p>
        </p:txBody>
      </p:sp>
      <p:sp>
        <p:nvSpPr>
          <p:cNvPr id="34" name="TextBox 33">
            <a:extLst>
              <a:ext uri="{FF2B5EF4-FFF2-40B4-BE49-F238E27FC236}">
                <a16:creationId xmlns:a16="http://schemas.microsoft.com/office/drawing/2014/main" id="{DF348D07-9EF3-3145-A252-4468E068AA95}"/>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Stamp</a:t>
            </a:r>
          </a:p>
        </p:txBody>
      </p:sp>
      <p:sp>
        <p:nvSpPr>
          <p:cNvPr id="35" name="TextBox 34">
            <a:extLst>
              <a:ext uri="{FF2B5EF4-FFF2-40B4-BE49-F238E27FC236}">
                <a16:creationId xmlns:a16="http://schemas.microsoft.com/office/drawing/2014/main" id="{30487347-BD08-3A46-B592-F6E377DBF2DF}"/>
              </a:ext>
            </a:extLst>
          </p:cNvPr>
          <p:cNvSpPr txBox="1"/>
          <p:nvPr/>
        </p:nvSpPr>
        <p:spPr>
          <a:xfrm>
            <a:off x="12867894"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Open</a:t>
            </a:r>
          </a:p>
        </p:txBody>
      </p:sp>
      <p:sp>
        <p:nvSpPr>
          <p:cNvPr id="36" name="TextBox 35">
            <a:extLst>
              <a:ext uri="{FF2B5EF4-FFF2-40B4-BE49-F238E27FC236}">
                <a16:creationId xmlns:a16="http://schemas.microsoft.com/office/drawing/2014/main" id="{BB8DFF04-8154-664B-864F-9CBC93EFEAB7}"/>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Out</a:t>
            </a:r>
          </a:p>
        </p:txBody>
      </p:sp>
      <p:sp>
        <p:nvSpPr>
          <p:cNvPr id="37" name="TextBox 36">
            <a:extLst>
              <a:ext uri="{FF2B5EF4-FFF2-40B4-BE49-F238E27FC236}">
                <a16:creationId xmlns:a16="http://schemas.microsoft.com/office/drawing/2014/main" id="{0E8FFC10-ECEA-AF42-B366-B6CD7C595E97}"/>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Send</a:t>
            </a:r>
          </a:p>
        </p:txBody>
      </p:sp>
      <p:sp>
        <p:nvSpPr>
          <p:cNvPr id="38" name="TextBox 37">
            <a:extLst>
              <a:ext uri="{FF2B5EF4-FFF2-40B4-BE49-F238E27FC236}">
                <a16:creationId xmlns:a16="http://schemas.microsoft.com/office/drawing/2014/main" id="{DBE482DE-5F38-0648-B0BB-844DB5AA5BE2}"/>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Return</a:t>
            </a:r>
          </a:p>
        </p:txBody>
      </p:sp>
      <p:sp>
        <p:nvSpPr>
          <p:cNvPr id="39" name="TextBox 38">
            <a:extLst>
              <a:ext uri="{FF2B5EF4-FFF2-40B4-BE49-F238E27FC236}">
                <a16:creationId xmlns:a16="http://schemas.microsoft.com/office/drawing/2014/main" id="{E5E52F29-2CAD-5443-BC62-62CD2EF23DAE}"/>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Reply</a:t>
            </a:r>
          </a:p>
        </p:txBody>
      </p:sp>
      <p:sp>
        <p:nvSpPr>
          <p:cNvPr id="40" name="TextBox 39">
            <a:extLst>
              <a:ext uri="{FF2B5EF4-FFF2-40B4-BE49-F238E27FC236}">
                <a16:creationId xmlns:a16="http://schemas.microsoft.com/office/drawing/2014/main" id="{6FD6B61D-FD7B-2C42-8813-B0A2D4167BA9}"/>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a:t>
            </a:r>
          </a:p>
        </p:txBody>
      </p:sp>
      <p:sp>
        <p:nvSpPr>
          <p:cNvPr id="41" name="TextBox 40">
            <a:extLst>
              <a:ext uri="{FF2B5EF4-FFF2-40B4-BE49-F238E27FC236}">
                <a16:creationId xmlns:a16="http://schemas.microsoft.com/office/drawing/2014/main" id="{A1A806D2-83EA-9F4E-A4FC-E31A30EC2B7F}"/>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Star</a:t>
            </a:r>
          </a:p>
        </p:txBody>
      </p:sp>
      <p:sp>
        <p:nvSpPr>
          <p:cNvPr id="42" name="TextBox 41">
            <a:extLst>
              <a:ext uri="{FF2B5EF4-FFF2-40B4-BE49-F238E27FC236}">
                <a16:creationId xmlns:a16="http://schemas.microsoft.com/office/drawing/2014/main" id="{0A8A443E-4BFA-B24A-9AE1-AB5298E4BF8A}"/>
              </a:ext>
            </a:extLst>
          </p:cNvPr>
          <p:cNvSpPr txBox="1"/>
          <p:nvPr/>
        </p:nvSpPr>
        <p:spPr>
          <a:xfrm>
            <a:off x="-47946" y="11657695"/>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Send</a:t>
            </a:r>
          </a:p>
        </p:txBody>
      </p:sp>
      <p:sp>
        <p:nvSpPr>
          <p:cNvPr id="44" name="TextBox 43">
            <a:extLst>
              <a:ext uri="{FF2B5EF4-FFF2-40B4-BE49-F238E27FC236}">
                <a16:creationId xmlns:a16="http://schemas.microsoft.com/office/drawing/2014/main" id="{3E9A65E9-63C9-EC44-9FF7-C710FAB6CB5A}"/>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No</a:t>
            </a:r>
          </a:p>
        </p:txBody>
      </p:sp>
      <p:sp>
        <p:nvSpPr>
          <p:cNvPr id="45" name="TextBox 44">
            <a:extLst>
              <a:ext uri="{FF2B5EF4-FFF2-40B4-BE49-F238E27FC236}">
                <a16:creationId xmlns:a16="http://schemas.microsoft.com/office/drawing/2014/main" id="{193647BE-C4C0-8A40-8D91-60A303A32CF6}"/>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a:t>
            </a:r>
          </a:p>
        </p:txBody>
      </p:sp>
      <p:sp>
        <p:nvSpPr>
          <p:cNvPr id="46" name="TextBox 45">
            <a:extLst>
              <a:ext uri="{FF2B5EF4-FFF2-40B4-BE49-F238E27FC236}">
                <a16:creationId xmlns:a16="http://schemas.microsoft.com/office/drawing/2014/main" id="{A4355D4A-E993-3C4A-A68F-376AF9A1F0BC}"/>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X</a:t>
            </a:r>
          </a:p>
        </p:txBody>
      </p:sp>
      <p:sp>
        <p:nvSpPr>
          <p:cNvPr id="47" name="TextBox 46">
            <a:extLst>
              <a:ext uri="{FF2B5EF4-FFF2-40B4-BE49-F238E27FC236}">
                <a16:creationId xmlns:a16="http://schemas.microsoft.com/office/drawing/2014/main" id="{29382207-55EC-1A4E-AC98-54875C7D5BB7}"/>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Letter</a:t>
            </a:r>
          </a:p>
        </p:txBody>
      </p:sp>
      <p:sp>
        <p:nvSpPr>
          <p:cNvPr id="48" name="Freeform: Shape 26">
            <a:extLst>
              <a:ext uri="{FF2B5EF4-FFF2-40B4-BE49-F238E27FC236}">
                <a16:creationId xmlns:a16="http://schemas.microsoft.com/office/drawing/2014/main" id="{AD69E1D3-B68A-F741-B1F5-BB36B4303931}"/>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9" name="TextBox 48">
            <a:extLst>
              <a:ext uri="{FF2B5EF4-FFF2-40B4-BE49-F238E27FC236}">
                <a16:creationId xmlns:a16="http://schemas.microsoft.com/office/drawing/2014/main" id="{A72B0D7B-5121-2A43-8953-06CEEDDDE7A0}"/>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In</a:t>
            </a:r>
          </a:p>
        </p:txBody>
      </p:sp>
      <p:sp>
        <p:nvSpPr>
          <p:cNvPr id="50" name="TextBox 49">
            <a:extLst>
              <a:ext uri="{FF2B5EF4-FFF2-40B4-BE49-F238E27FC236}">
                <a16:creationId xmlns:a16="http://schemas.microsoft.com/office/drawing/2014/main" id="{9979DB5A-1550-A647-A036-3C6B19632879}"/>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Attach</a:t>
            </a:r>
          </a:p>
        </p:txBody>
      </p:sp>
      <p:sp>
        <p:nvSpPr>
          <p:cNvPr id="51" name="TextBox 50">
            <a:extLst>
              <a:ext uri="{FF2B5EF4-FFF2-40B4-BE49-F238E27FC236}">
                <a16:creationId xmlns:a16="http://schemas.microsoft.com/office/drawing/2014/main" id="{293ECF8D-836E-B441-9A3C-A6F8D5044EFD}"/>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Minus</a:t>
            </a:r>
          </a:p>
        </p:txBody>
      </p:sp>
      <p:sp>
        <p:nvSpPr>
          <p:cNvPr id="52" name="TextBox 51">
            <a:extLst>
              <a:ext uri="{FF2B5EF4-FFF2-40B4-BE49-F238E27FC236}">
                <a16:creationId xmlns:a16="http://schemas.microsoft.com/office/drawing/2014/main" id="{69D4D0A1-4135-4449-8714-83668B4A02CC}"/>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53" name="Freeform: Shape 13">
            <a:extLst>
              <a:ext uri="{FF2B5EF4-FFF2-40B4-BE49-F238E27FC236}">
                <a16:creationId xmlns:a16="http://schemas.microsoft.com/office/drawing/2014/main" id="{EB9B953A-3C15-284E-BE0C-5CA99600BAA6}"/>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4" name="Freeform: Shape 1">
            <a:extLst>
              <a:ext uri="{FF2B5EF4-FFF2-40B4-BE49-F238E27FC236}">
                <a16:creationId xmlns:a16="http://schemas.microsoft.com/office/drawing/2014/main" id="{CAF1325B-BCFC-6A4B-A4C5-2A477E2AE472}"/>
              </a:ext>
            </a:extLst>
          </p:cNvPr>
          <p:cNvSpPr/>
          <p:nvPr/>
        </p:nvSpPr>
        <p:spPr>
          <a:xfrm>
            <a:off x="1616264" y="3038582"/>
            <a:ext cx="1820880" cy="1683000"/>
          </a:xfrm>
          <a:custGeom>
            <a:avLst/>
            <a:gdLst/>
            <a:ahLst/>
            <a:cxnLst>
              <a:cxn ang="3cd4">
                <a:pos x="hc" y="t"/>
              </a:cxn>
              <a:cxn ang="cd2">
                <a:pos x="l" y="vc"/>
              </a:cxn>
              <a:cxn ang="cd4">
                <a:pos x="hc" y="b"/>
              </a:cxn>
              <a:cxn ang="0">
                <a:pos x="r" y="vc"/>
              </a:cxn>
            </a:cxnLst>
            <a:rect l="l" t="t" r="r" b="b"/>
            <a:pathLst>
              <a:path w="5059" h="4676">
                <a:moveTo>
                  <a:pt x="462" y="3881"/>
                </a:moveTo>
                <a:cubicBezTo>
                  <a:pt x="462" y="3929"/>
                  <a:pt x="493" y="3961"/>
                  <a:pt x="541" y="3961"/>
                </a:cubicBezTo>
                <a:cubicBezTo>
                  <a:pt x="2211" y="3961"/>
                  <a:pt x="2211" y="3961"/>
                  <a:pt x="2211" y="3961"/>
                </a:cubicBezTo>
                <a:cubicBezTo>
                  <a:pt x="2211" y="4597"/>
                  <a:pt x="2211" y="4597"/>
                  <a:pt x="2211" y="4597"/>
                </a:cubicBezTo>
                <a:cubicBezTo>
                  <a:pt x="2211" y="4645"/>
                  <a:pt x="2243" y="4676"/>
                  <a:pt x="2291" y="4676"/>
                </a:cubicBezTo>
                <a:cubicBezTo>
                  <a:pt x="2323" y="4676"/>
                  <a:pt x="2371" y="4645"/>
                  <a:pt x="2371" y="4597"/>
                </a:cubicBezTo>
                <a:cubicBezTo>
                  <a:pt x="2371" y="3961"/>
                  <a:pt x="2371" y="3961"/>
                  <a:pt x="2371" y="3961"/>
                </a:cubicBezTo>
                <a:cubicBezTo>
                  <a:pt x="2529" y="3961"/>
                  <a:pt x="2529" y="3961"/>
                  <a:pt x="2529" y="3961"/>
                </a:cubicBezTo>
                <a:cubicBezTo>
                  <a:pt x="2609" y="3961"/>
                  <a:pt x="2609" y="3961"/>
                  <a:pt x="2609" y="3961"/>
                </a:cubicBezTo>
                <a:cubicBezTo>
                  <a:pt x="3166" y="3961"/>
                  <a:pt x="3166" y="3961"/>
                  <a:pt x="3166" y="3961"/>
                </a:cubicBezTo>
                <a:cubicBezTo>
                  <a:pt x="3166" y="4597"/>
                  <a:pt x="3166" y="4597"/>
                  <a:pt x="3166" y="4597"/>
                </a:cubicBezTo>
                <a:cubicBezTo>
                  <a:pt x="3166" y="4645"/>
                  <a:pt x="3198" y="4676"/>
                  <a:pt x="3245" y="4676"/>
                </a:cubicBezTo>
                <a:cubicBezTo>
                  <a:pt x="3277" y="4676"/>
                  <a:pt x="3325" y="4645"/>
                  <a:pt x="3325" y="4597"/>
                </a:cubicBezTo>
                <a:cubicBezTo>
                  <a:pt x="3325" y="3961"/>
                  <a:pt x="3325" y="3961"/>
                  <a:pt x="3325" y="3961"/>
                </a:cubicBezTo>
                <a:cubicBezTo>
                  <a:pt x="4979" y="3961"/>
                  <a:pt x="4979" y="3961"/>
                  <a:pt x="4979" y="3961"/>
                </a:cubicBezTo>
                <a:cubicBezTo>
                  <a:pt x="5026" y="3961"/>
                  <a:pt x="5059" y="3929"/>
                  <a:pt x="5059" y="3881"/>
                </a:cubicBezTo>
                <a:cubicBezTo>
                  <a:pt x="5059" y="1957"/>
                  <a:pt x="5059" y="1957"/>
                  <a:pt x="5059" y="1957"/>
                </a:cubicBezTo>
                <a:cubicBezTo>
                  <a:pt x="5059" y="1321"/>
                  <a:pt x="4550" y="795"/>
                  <a:pt x="3898" y="795"/>
                </a:cubicBezTo>
                <a:cubicBezTo>
                  <a:pt x="3898" y="795"/>
                  <a:pt x="3579" y="779"/>
                  <a:pt x="3166" y="779"/>
                </a:cubicBezTo>
                <a:cubicBezTo>
                  <a:pt x="3166" y="636"/>
                  <a:pt x="3166" y="636"/>
                  <a:pt x="3166" y="636"/>
                </a:cubicBezTo>
                <a:cubicBezTo>
                  <a:pt x="3881" y="636"/>
                  <a:pt x="3881" y="636"/>
                  <a:pt x="3881" y="636"/>
                </a:cubicBezTo>
                <a:cubicBezTo>
                  <a:pt x="3913" y="636"/>
                  <a:pt x="3961" y="589"/>
                  <a:pt x="3961" y="557"/>
                </a:cubicBezTo>
                <a:cubicBezTo>
                  <a:pt x="3961" y="80"/>
                  <a:pt x="3961" y="80"/>
                  <a:pt x="3961" y="80"/>
                </a:cubicBezTo>
                <a:cubicBezTo>
                  <a:pt x="3961" y="32"/>
                  <a:pt x="3913" y="0"/>
                  <a:pt x="3881" y="0"/>
                </a:cubicBezTo>
                <a:cubicBezTo>
                  <a:pt x="3086" y="0"/>
                  <a:pt x="3086" y="0"/>
                  <a:pt x="3086" y="0"/>
                </a:cubicBezTo>
                <a:cubicBezTo>
                  <a:pt x="3038" y="0"/>
                  <a:pt x="3007" y="32"/>
                  <a:pt x="3007" y="80"/>
                </a:cubicBezTo>
                <a:cubicBezTo>
                  <a:pt x="3007" y="318"/>
                  <a:pt x="3007" y="318"/>
                  <a:pt x="3007" y="318"/>
                </a:cubicBezTo>
                <a:cubicBezTo>
                  <a:pt x="3007" y="557"/>
                  <a:pt x="3007" y="557"/>
                  <a:pt x="3007" y="557"/>
                </a:cubicBezTo>
                <a:cubicBezTo>
                  <a:pt x="3007" y="779"/>
                  <a:pt x="3007" y="779"/>
                  <a:pt x="3007" y="779"/>
                </a:cubicBezTo>
                <a:cubicBezTo>
                  <a:pt x="2498" y="779"/>
                  <a:pt x="1909" y="779"/>
                  <a:pt x="1575" y="795"/>
                </a:cubicBezTo>
                <a:cubicBezTo>
                  <a:pt x="1559" y="795"/>
                  <a:pt x="1543" y="795"/>
                  <a:pt x="1511" y="795"/>
                </a:cubicBezTo>
                <a:cubicBezTo>
                  <a:pt x="987" y="812"/>
                  <a:pt x="557" y="1193"/>
                  <a:pt x="462" y="1734"/>
                </a:cubicBezTo>
                <a:cubicBezTo>
                  <a:pt x="80" y="1734"/>
                  <a:pt x="80" y="1734"/>
                  <a:pt x="80" y="1734"/>
                </a:cubicBezTo>
                <a:cubicBezTo>
                  <a:pt x="48" y="1734"/>
                  <a:pt x="32" y="1750"/>
                  <a:pt x="17" y="1782"/>
                </a:cubicBezTo>
                <a:cubicBezTo>
                  <a:pt x="0" y="1797"/>
                  <a:pt x="0" y="1829"/>
                  <a:pt x="0" y="1845"/>
                </a:cubicBezTo>
                <a:cubicBezTo>
                  <a:pt x="462" y="3054"/>
                  <a:pt x="462" y="3054"/>
                  <a:pt x="462" y="3054"/>
                </a:cubicBezTo>
                <a:close/>
                <a:moveTo>
                  <a:pt x="3166" y="159"/>
                </a:moveTo>
                <a:cubicBezTo>
                  <a:pt x="3802" y="159"/>
                  <a:pt x="3802" y="159"/>
                  <a:pt x="3802" y="159"/>
                </a:cubicBezTo>
                <a:cubicBezTo>
                  <a:pt x="3802" y="477"/>
                  <a:pt x="3802" y="477"/>
                  <a:pt x="3802" y="477"/>
                </a:cubicBezTo>
                <a:cubicBezTo>
                  <a:pt x="3166" y="477"/>
                  <a:pt x="3166" y="477"/>
                  <a:pt x="3166" y="477"/>
                </a:cubicBezTo>
                <a:cubicBezTo>
                  <a:pt x="3166" y="318"/>
                  <a:pt x="3166" y="318"/>
                  <a:pt x="3166" y="318"/>
                </a:cubicBezTo>
                <a:close/>
                <a:moveTo>
                  <a:pt x="2291" y="3802"/>
                </a:moveTo>
                <a:cubicBezTo>
                  <a:pt x="621" y="3802"/>
                  <a:pt x="621" y="3802"/>
                  <a:pt x="621" y="3802"/>
                </a:cubicBezTo>
                <a:cubicBezTo>
                  <a:pt x="621" y="3467"/>
                  <a:pt x="621" y="3467"/>
                  <a:pt x="621" y="3467"/>
                </a:cubicBezTo>
                <a:cubicBezTo>
                  <a:pt x="636" y="3484"/>
                  <a:pt x="653" y="3484"/>
                  <a:pt x="669" y="3484"/>
                </a:cubicBezTo>
                <a:cubicBezTo>
                  <a:pt x="1464" y="3484"/>
                  <a:pt x="1464" y="3484"/>
                  <a:pt x="1464" y="3484"/>
                </a:cubicBezTo>
                <a:cubicBezTo>
                  <a:pt x="1575" y="3484"/>
                  <a:pt x="1575" y="3484"/>
                  <a:pt x="1575" y="3484"/>
                </a:cubicBezTo>
                <a:cubicBezTo>
                  <a:pt x="2259" y="3484"/>
                  <a:pt x="2259" y="3484"/>
                  <a:pt x="2259" y="3484"/>
                </a:cubicBezTo>
                <a:cubicBezTo>
                  <a:pt x="2371" y="3484"/>
                  <a:pt x="2371" y="3484"/>
                  <a:pt x="2371" y="3484"/>
                </a:cubicBezTo>
                <a:cubicBezTo>
                  <a:pt x="2529" y="3484"/>
                  <a:pt x="2529" y="3484"/>
                  <a:pt x="2529" y="3484"/>
                </a:cubicBezTo>
                <a:cubicBezTo>
                  <a:pt x="2529" y="3802"/>
                  <a:pt x="2529" y="3802"/>
                  <a:pt x="2529" y="3802"/>
                </a:cubicBezTo>
                <a:close/>
                <a:moveTo>
                  <a:pt x="2498" y="1893"/>
                </a:moveTo>
                <a:cubicBezTo>
                  <a:pt x="2498" y="3324"/>
                  <a:pt x="2498" y="3324"/>
                  <a:pt x="2498" y="3324"/>
                </a:cubicBezTo>
                <a:cubicBezTo>
                  <a:pt x="2371" y="3324"/>
                  <a:pt x="2371" y="3324"/>
                  <a:pt x="2371" y="3324"/>
                </a:cubicBezTo>
                <a:cubicBezTo>
                  <a:pt x="2323" y="3324"/>
                  <a:pt x="2323" y="3324"/>
                  <a:pt x="2323" y="3324"/>
                </a:cubicBezTo>
                <a:cubicBezTo>
                  <a:pt x="1782" y="1893"/>
                  <a:pt x="1782" y="1893"/>
                  <a:pt x="1782" y="1893"/>
                </a:cubicBezTo>
                <a:cubicBezTo>
                  <a:pt x="2371" y="1893"/>
                  <a:pt x="2371" y="1893"/>
                  <a:pt x="2371" y="1893"/>
                </a:cubicBezTo>
                <a:close/>
                <a:moveTo>
                  <a:pt x="1607" y="1893"/>
                </a:moveTo>
                <a:cubicBezTo>
                  <a:pt x="2148" y="3324"/>
                  <a:pt x="2148" y="3324"/>
                  <a:pt x="2148" y="3324"/>
                </a:cubicBezTo>
                <a:cubicBezTo>
                  <a:pt x="1575" y="3324"/>
                  <a:pt x="1575" y="3324"/>
                  <a:pt x="1575" y="3324"/>
                </a:cubicBezTo>
                <a:cubicBezTo>
                  <a:pt x="1527" y="3324"/>
                  <a:pt x="1527" y="3324"/>
                  <a:pt x="1527" y="3324"/>
                </a:cubicBezTo>
                <a:cubicBezTo>
                  <a:pt x="987" y="1893"/>
                  <a:pt x="987" y="1893"/>
                  <a:pt x="987" y="1893"/>
                </a:cubicBezTo>
                <a:cubicBezTo>
                  <a:pt x="1575" y="1893"/>
                  <a:pt x="1575" y="1893"/>
                  <a:pt x="1575" y="1893"/>
                </a:cubicBezTo>
                <a:close/>
                <a:moveTo>
                  <a:pt x="3007" y="939"/>
                </a:moveTo>
                <a:cubicBezTo>
                  <a:pt x="3007" y="1893"/>
                  <a:pt x="3007" y="1893"/>
                  <a:pt x="3007" y="1893"/>
                </a:cubicBezTo>
                <a:cubicBezTo>
                  <a:pt x="3007" y="1940"/>
                  <a:pt x="3038" y="1973"/>
                  <a:pt x="3086" y="1973"/>
                </a:cubicBezTo>
                <a:cubicBezTo>
                  <a:pt x="3118" y="1973"/>
                  <a:pt x="3166" y="1940"/>
                  <a:pt x="3166" y="1893"/>
                </a:cubicBezTo>
                <a:cubicBezTo>
                  <a:pt x="3166" y="939"/>
                  <a:pt x="3166" y="939"/>
                  <a:pt x="3166" y="939"/>
                </a:cubicBezTo>
                <a:cubicBezTo>
                  <a:pt x="3579" y="939"/>
                  <a:pt x="3898" y="955"/>
                  <a:pt x="3898" y="955"/>
                </a:cubicBezTo>
                <a:cubicBezTo>
                  <a:pt x="4454" y="955"/>
                  <a:pt x="4899" y="1400"/>
                  <a:pt x="4899" y="1957"/>
                </a:cubicBezTo>
                <a:cubicBezTo>
                  <a:pt x="4899" y="3802"/>
                  <a:pt x="4899" y="3802"/>
                  <a:pt x="4899" y="3802"/>
                </a:cubicBezTo>
                <a:cubicBezTo>
                  <a:pt x="3245" y="3802"/>
                  <a:pt x="3245" y="3802"/>
                  <a:pt x="3245" y="3802"/>
                </a:cubicBezTo>
                <a:cubicBezTo>
                  <a:pt x="2689" y="3802"/>
                  <a:pt x="2689" y="3802"/>
                  <a:pt x="2689" y="3802"/>
                </a:cubicBezTo>
                <a:cubicBezTo>
                  <a:pt x="2689" y="1957"/>
                  <a:pt x="2689" y="1957"/>
                  <a:pt x="2689" y="1957"/>
                </a:cubicBezTo>
                <a:cubicBezTo>
                  <a:pt x="2689" y="1511"/>
                  <a:pt x="2466" y="1145"/>
                  <a:pt x="2132" y="939"/>
                </a:cubicBezTo>
                <a:cubicBezTo>
                  <a:pt x="2418" y="939"/>
                  <a:pt x="2720" y="939"/>
                  <a:pt x="3007" y="939"/>
                </a:cubicBezTo>
                <a:close/>
                <a:moveTo>
                  <a:pt x="1527" y="955"/>
                </a:moveTo>
                <a:cubicBezTo>
                  <a:pt x="1543" y="955"/>
                  <a:pt x="1559" y="955"/>
                  <a:pt x="1575" y="955"/>
                </a:cubicBezTo>
                <a:cubicBezTo>
                  <a:pt x="2052" y="955"/>
                  <a:pt x="2418" y="1273"/>
                  <a:pt x="2498" y="1734"/>
                </a:cubicBezTo>
                <a:cubicBezTo>
                  <a:pt x="2371" y="1734"/>
                  <a:pt x="2371" y="1734"/>
                  <a:pt x="2371" y="1734"/>
                </a:cubicBezTo>
                <a:cubicBezTo>
                  <a:pt x="1671" y="1734"/>
                  <a:pt x="1671" y="1734"/>
                  <a:pt x="1671" y="1734"/>
                </a:cubicBezTo>
                <a:cubicBezTo>
                  <a:pt x="1575" y="1734"/>
                  <a:pt x="1575" y="1734"/>
                  <a:pt x="1575" y="1734"/>
                </a:cubicBezTo>
                <a:cubicBezTo>
                  <a:pt x="875" y="1734"/>
                  <a:pt x="875" y="1734"/>
                  <a:pt x="875" y="1734"/>
                </a:cubicBezTo>
                <a:cubicBezTo>
                  <a:pt x="621" y="1734"/>
                  <a:pt x="621" y="1734"/>
                  <a:pt x="621" y="1734"/>
                </a:cubicBezTo>
                <a:cubicBezTo>
                  <a:pt x="716" y="1288"/>
                  <a:pt x="1082" y="970"/>
                  <a:pt x="1527" y="955"/>
                </a:cubicBezTo>
                <a:close/>
                <a:moveTo>
                  <a:pt x="827" y="1893"/>
                </a:moveTo>
                <a:cubicBezTo>
                  <a:pt x="1353" y="3324"/>
                  <a:pt x="1353" y="3324"/>
                  <a:pt x="1353" y="3324"/>
                </a:cubicBezTo>
                <a:cubicBezTo>
                  <a:pt x="732" y="3324"/>
                  <a:pt x="732" y="3324"/>
                  <a:pt x="732" y="3324"/>
                </a:cubicBezTo>
                <a:cubicBezTo>
                  <a:pt x="191" y="1893"/>
                  <a:pt x="191" y="1893"/>
                  <a:pt x="191" y="189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5" name="Freeform: Shape 2">
            <a:extLst>
              <a:ext uri="{FF2B5EF4-FFF2-40B4-BE49-F238E27FC236}">
                <a16:creationId xmlns:a16="http://schemas.microsoft.com/office/drawing/2014/main" id="{F8F2507A-E448-4449-AF4F-5DB45F35253B}"/>
              </a:ext>
            </a:extLst>
          </p:cNvPr>
          <p:cNvSpPr/>
          <p:nvPr/>
        </p:nvSpPr>
        <p:spPr>
          <a:xfrm>
            <a:off x="5976223" y="3290582"/>
            <a:ext cx="1614240" cy="1076040"/>
          </a:xfrm>
          <a:custGeom>
            <a:avLst/>
            <a:gdLst/>
            <a:ahLst/>
            <a:cxnLst>
              <a:cxn ang="3cd4">
                <a:pos x="hc" y="t"/>
              </a:cxn>
              <a:cxn ang="cd2">
                <a:pos x="l" y="vc"/>
              </a:cxn>
              <a:cxn ang="cd4">
                <a:pos x="hc" y="b"/>
              </a:cxn>
              <a:cxn ang="0">
                <a:pos x="r" y="vc"/>
              </a:cxn>
            </a:cxnLst>
            <a:rect l="l" t="t" r="r" b="b"/>
            <a:pathLst>
              <a:path w="4485" h="2990">
                <a:moveTo>
                  <a:pt x="80" y="2990"/>
                </a:moveTo>
                <a:cubicBezTo>
                  <a:pt x="4406" y="2990"/>
                  <a:pt x="4406" y="2990"/>
                  <a:pt x="4406" y="2990"/>
                </a:cubicBezTo>
                <a:cubicBezTo>
                  <a:pt x="4438" y="2990"/>
                  <a:pt x="4485" y="2958"/>
                  <a:pt x="4485" y="2911"/>
                </a:cubicBezTo>
                <a:cubicBezTo>
                  <a:pt x="4485" y="79"/>
                  <a:pt x="4485" y="79"/>
                  <a:pt x="4485" y="79"/>
                </a:cubicBezTo>
                <a:cubicBezTo>
                  <a:pt x="4485" y="32"/>
                  <a:pt x="4438" y="0"/>
                  <a:pt x="4406" y="0"/>
                </a:cubicBezTo>
                <a:cubicBezTo>
                  <a:pt x="80" y="0"/>
                  <a:pt x="80" y="0"/>
                  <a:pt x="80" y="0"/>
                </a:cubicBezTo>
                <a:cubicBezTo>
                  <a:pt x="32" y="0"/>
                  <a:pt x="0" y="32"/>
                  <a:pt x="0" y="79"/>
                </a:cubicBezTo>
                <a:cubicBezTo>
                  <a:pt x="0" y="2911"/>
                  <a:pt x="0" y="2911"/>
                  <a:pt x="0" y="2911"/>
                </a:cubicBezTo>
                <a:cubicBezTo>
                  <a:pt x="0" y="2958"/>
                  <a:pt x="32" y="2990"/>
                  <a:pt x="80" y="2990"/>
                </a:cubicBezTo>
                <a:close/>
                <a:moveTo>
                  <a:pt x="159" y="2831"/>
                </a:moveTo>
                <a:cubicBezTo>
                  <a:pt x="159" y="239"/>
                  <a:pt x="159" y="239"/>
                  <a:pt x="159" y="239"/>
                </a:cubicBezTo>
                <a:cubicBezTo>
                  <a:pt x="1813" y="1686"/>
                  <a:pt x="1813" y="1686"/>
                  <a:pt x="1813" y="1686"/>
                </a:cubicBezTo>
                <a:cubicBezTo>
                  <a:pt x="1940" y="1781"/>
                  <a:pt x="2084" y="1829"/>
                  <a:pt x="2243" y="1829"/>
                </a:cubicBezTo>
                <a:cubicBezTo>
                  <a:pt x="2386" y="1829"/>
                  <a:pt x="2545" y="1781"/>
                  <a:pt x="2657" y="1686"/>
                </a:cubicBezTo>
                <a:cubicBezTo>
                  <a:pt x="4327" y="239"/>
                  <a:pt x="4327" y="239"/>
                  <a:pt x="4327" y="239"/>
                </a:cubicBezTo>
                <a:cubicBezTo>
                  <a:pt x="4327" y="2831"/>
                  <a:pt x="4327" y="2831"/>
                  <a:pt x="4327" y="2831"/>
                </a:cubicBezTo>
                <a:close/>
                <a:moveTo>
                  <a:pt x="303" y="159"/>
                </a:moveTo>
                <a:cubicBezTo>
                  <a:pt x="4167" y="159"/>
                  <a:pt x="4167" y="159"/>
                  <a:pt x="4167" y="159"/>
                </a:cubicBezTo>
                <a:cubicBezTo>
                  <a:pt x="2545" y="1559"/>
                  <a:pt x="2545" y="1559"/>
                  <a:pt x="2545" y="1559"/>
                </a:cubicBezTo>
                <a:cubicBezTo>
                  <a:pt x="2386" y="1702"/>
                  <a:pt x="2100" y="1702"/>
                  <a:pt x="1925" y="15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6" name="Freeform: Shape 3">
            <a:extLst>
              <a:ext uri="{FF2B5EF4-FFF2-40B4-BE49-F238E27FC236}">
                <a16:creationId xmlns:a16="http://schemas.microsoft.com/office/drawing/2014/main" id="{892F2138-D68D-1044-9490-4D635225E85A}"/>
              </a:ext>
            </a:extLst>
          </p:cNvPr>
          <p:cNvSpPr/>
          <p:nvPr/>
        </p:nvSpPr>
        <p:spPr>
          <a:xfrm>
            <a:off x="17385395" y="9703602"/>
            <a:ext cx="1848960" cy="1643039"/>
          </a:xfrm>
          <a:custGeom>
            <a:avLst/>
            <a:gdLst/>
            <a:ahLst/>
            <a:cxnLst>
              <a:cxn ang="3cd4">
                <a:pos x="hc" y="t"/>
              </a:cxn>
              <a:cxn ang="cd2">
                <a:pos x="l" y="vc"/>
              </a:cxn>
              <a:cxn ang="cd4">
                <a:pos x="hc" y="b"/>
              </a:cxn>
              <a:cxn ang="0">
                <a:pos x="r" y="vc"/>
              </a:cxn>
            </a:cxnLst>
            <a:rect l="l" t="t" r="r" b="b"/>
            <a:pathLst>
              <a:path w="5137" h="4565">
                <a:moveTo>
                  <a:pt x="492" y="3658"/>
                </a:moveTo>
                <a:lnTo>
                  <a:pt x="3006" y="3658"/>
                </a:lnTo>
                <a:cubicBezTo>
                  <a:pt x="3085" y="4167"/>
                  <a:pt x="3531" y="4565"/>
                  <a:pt x="4072" y="4565"/>
                </a:cubicBezTo>
                <a:cubicBezTo>
                  <a:pt x="4660" y="4565"/>
                  <a:pt x="5137" y="4088"/>
                  <a:pt x="5137" y="3499"/>
                </a:cubicBezTo>
                <a:cubicBezTo>
                  <a:pt x="5137" y="3165"/>
                  <a:pt x="4994" y="2879"/>
                  <a:pt x="4755" y="2672"/>
                </a:cubicBezTo>
                <a:lnTo>
                  <a:pt x="4755" y="509"/>
                </a:lnTo>
                <a:cubicBezTo>
                  <a:pt x="4755" y="398"/>
                  <a:pt x="4708" y="286"/>
                  <a:pt x="4644" y="206"/>
                </a:cubicBezTo>
                <a:cubicBezTo>
                  <a:pt x="4644" y="191"/>
                  <a:pt x="4644" y="191"/>
                  <a:pt x="4628" y="191"/>
                </a:cubicBezTo>
                <a:cubicBezTo>
                  <a:pt x="4533" y="80"/>
                  <a:pt x="4405" y="0"/>
                  <a:pt x="4262" y="0"/>
                </a:cubicBezTo>
                <a:lnTo>
                  <a:pt x="492" y="0"/>
                </a:lnTo>
                <a:cubicBezTo>
                  <a:pt x="238" y="0"/>
                  <a:pt x="0" y="238"/>
                  <a:pt x="0" y="509"/>
                </a:cubicBezTo>
                <a:lnTo>
                  <a:pt x="0" y="3101"/>
                </a:lnTo>
                <a:cubicBezTo>
                  <a:pt x="0" y="3340"/>
                  <a:pt x="222" y="3658"/>
                  <a:pt x="492" y="3658"/>
                </a:cubicBezTo>
                <a:close/>
                <a:moveTo>
                  <a:pt x="4978" y="3499"/>
                </a:moveTo>
                <a:cubicBezTo>
                  <a:pt x="4978" y="3992"/>
                  <a:pt x="4564" y="4406"/>
                  <a:pt x="4072" y="4406"/>
                </a:cubicBezTo>
                <a:cubicBezTo>
                  <a:pt x="3563" y="4406"/>
                  <a:pt x="3149" y="3992"/>
                  <a:pt x="3149" y="3499"/>
                </a:cubicBezTo>
                <a:cubicBezTo>
                  <a:pt x="3149" y="2990"/>
                  <a:pt x="3563" y="2577"/>
                  <a:pt x="4072" y="2577"/>
                </a:cubicBezTo>
                <a:cubicBezTo>
                  <a:pt x="4564" y="2577"/>
                  <a:pt x="4978" y="2990"/>
                  <a:pt x="4978" y="3499"/>
                </a:cubicBezTo>
                <a:close/>
                <a:moveTo>
                  <a:pt x="4072" y="2417"/>
                </a:moveTo>
                <a:cubicBezTo>
                  <a:pt x="3928" y="2417"/>
                  <a:pt x="3801" y="2449"/>
                  <a:pt x="3690" y="2497"/>
                </a:cubicBezTo>
                <a:lnTo>
                  <a:pt x="3085" y="1940"/>
                </a:lnTo>
                <a:lnTo>
                  <a:pt x="4564" y="366"/>
                </a:lnTo>
                <a:cubicBezTo>
                  <a:pt x="4581" y="413"/>
                  <a:pt x="4596" y="461"/>
                  <a:pt x="4596" y="509"/>
                </a:cubicBezTo>
                <a:lnTo>
                  <a:pt x="4596" y="2561"/>
                </a:lnTo>
                <a:cubicBezTo>
                  <a:pt x="4437" y="2481"/>
                  <a:pt x="4262" y="2417"/>
                  <a:pt x="4072" y="2417"/>
                </a:cubicBezTo>
                <a:close/>
                <a:moveTo>
                  <a:pt x="4262" y="159"/>
                </a:moveTo>
                <a:cubicBezTo>
                  <a:pt x="4342" y="159"/>
                  <a:pt x="4405" y="191"/>
                  <a:pt x="4469" y="238"/>
                </a:cubicBezTo>
                <a:lnTo>
                  <a:pt x="2767" y="2052"/>
                </a:lnTo>
                <a:cubicBezTo>
                  <a:pt x="2560" y="2274"/>
                  <a:pt x="2194" y="2274"/>
                  <a:pt x="1972" y="2052"/>
                </a:cubicBezTo>
                <a:lnTo>
                  <a:pt x="286" y="238"/>
                </a:lnTo>
                <a:cubicBezTo>
                  <a:pt x="349" y="191"/>
                  <a:pt x="413" y="159"/>
                  <a:pt x="492" y="159"/>
                </a:cubicBezTo>
                <a:close/>
                <a:moveTo>
                  <a:pt x="158" y="509"/>
                </a:moveTo>
                <a:cubicBezTo>
                  <a:pt x="158" y="461"/>
                  <a:pt x="158" y="413"/>
                  <a:pt x="191" y="381"/>
                </a:cubicBezTo>
                <a:lnTo>
                  <a:pt x="1654" y="1940"/>
                </a:lnTo>
                <a:lnTo>
                  <a:pt x="636" y="2879"/>
                </a:lnTo>
                <a:cubicBezTo>
                  <a:pt x="604" y="2911"/>
                  <a:pt x="604" y="2958"/>
                  <a:pt x="620" y="2990"/>
                </a:cubicBezTo>
                <a:cubicBezTo>
                  <a:pt x="636" y="3006"/>
                  <a:pt x="667" y="3022"/>
                  <a:pt x="683" y="3022"/>
                </a:cubicBezTo>
                <a:cubicBezTo>
                  <a:pt x="700" y="3022"/>
                  <a:pt x="731" y="3006"/>
                  <a:pt x="747" y="3006"/>
                </a:cubicBezTo>
                <a:lnTo>
                  <a:pt x="1765" y="2052"/>
                </a:lnTo>
                <a:lnTo>
                  <a:pt x="1861" y="2163"/>
                </a:lnTo>
                <a:cubicBezTo>
                  <a:pt x="2004" y="2306"/>
                  <a:pt x="2179" y="2386"/>
                  <a:pt x="2370" y="2386"/>
                </a:cubicBezTo>
                <a:cubicBezTo>
                  <a:pt x="2576" y="2386"/>
                  <a:pt x="2751" y="2306"/>
                  <a:pt x="2894" y="2163"/>
                </a:cubicBezTo>
                <a:lnTo>
                  <a:pt x="2974" y="2052"/>
                </a:lnTo>
                <a:lnTo>
                  <a:pt x="3531" y="2561"/>
                </a:lnTo>
                <a:cubicBezTo>
                  <a:pt x="3212" y="2752"/>
                  <a:pt x="2990" y="3101"/>
                  <a:pt x="2990" y="3499"/>
                </a:cubicBezTo>
                <a:lnTo>
                  <a:pt x="492" y="3499"/>
                </a:lnTo>
                <a:cubicBezTo>
                  <a:pt x="318" y="3499"/>
                  <a:pt x="158" y="3277"/>
                  <a:pt x="158" y="3101"/>
                </a:cubicBezTo>
                <a:close/>
                <a:moveTo>
                  <a:pt x="4596" y="3499"/>
                </a:moveTo>
                <a:lnTo>
                  <a:pt x="3483" y="3499"/>
                </a:lnTo>
                <a:cubicBezTo>
                  <a:pt x="3451" y="3499"/>
                  <a:pt x="3403" y="3531"/>
                  <a:pt x="3403" y="3579"/>
                </a:cubicBezTo>
                <a:cubicBezTo>
                  <a:pt x="3403" y="3610"/>
                  <a:pt x="3451" y="3658"/>
                  <a:pt x="3483" y="3658"/>
                </a:cubicBezTo>
                <a:lnTo>
                  <a:pt x="4596" y="3658"/>
                </a:lnTo>
                <a:cubicBezTo>
                  <a:pt x="4644" y="3658"/>
                  <a:pt x="4676" y="3610"/>
                  <a:pt x="4676" y="3579"/>
                </a:cubicBezTo>
                <a:cubicBezTo>
                  <a:pt x="4676" y="3531"/>
                  <a:pt x="4644" y="3499"/>
                  <a:pt x="4596" y="349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7" name="Freeform: Shape 4">
            <a:extLst>
              <a:ext uri="{FF2B5EF4-FFF2-40B4-BE49-F238E27FC236}">
                <a16:creationId xmlns:a16="http://schemas.microsoft.com/office/drawing/2014/main" id="{FA0CEB95-F5CC-484A-ABD8-378C5E650038}"/>
              </a:ext>
            </a:extLst>
          </p:cNvPr>
          <p:cNvSpPr/>
          <p:nvPr/>
        </p:nvSpPr>
        <p:spPr>
          <a:xfrm>
            <a:off x="13946917" y="9703602"/>
            <a:ext cx="1848960" cy="1643039"/>
          </a:xfrm>
          <a:custGeom>
            <a:avLst/>
            <a:gdLst/>
            <a:ahLst/>
            <a:cxnLst>
              <a:cxn ang="3cd4">
                <a:pos x="hc" y="t"/>
              </a:cxn>
              <a:cxn ang="cd2">
                <a:pos x="l" y="vc"/>
              </a:cxn>
              <a:cxn ang="cd4">
                <a:pos x="hc" y="b"/>
              </a:cxn>
              <a:cxn ang="0">
                <a:pos x="r" y="vc"/>
              </a:cxn>
            </a:cxnLst>
            <a:rect l="l" t="t" r="r" b="b"/>
            <a:pathLst>
              <a:path w="5137" h="4565">
                <a:moveTo>
                  <a:pt x="493" y="3658"/>
                </a:moveTo>
                <a:lnTo>
                  <a:pt x="3006" y="3658"/>
                </a:lnTo>
                <a:cubicBezTo>
                  <a:pt x="3085" y="4167"/>
                  <a:pt x="3531" y="4565"/>
                  <a:pt x="4072" y="4565"/>
                </a:cubicBezTo>
                <a:cubicBezTo>
                  <a:pt x="4660" y="4565"/>
                  <a:pt x="5137" y="4088"/>
                  <a:pt x="5137" y="3499"/>
                </a:cubicBezTo>
                <a:cubicBezTo>
                  <a:pt x="5137" y="3165"/>
                  <a:pt x="4994" y="2879"/>
                  <a:pt x="4756" y="2672"/>
                </a:cubicBezTo>
                <a:lnTo>
                  <a:pt x="4756" y="509"/>
                </a:lnTo>
                <a:cubicBezTo>
                  <a:pt x="4756" y="254"/>
                  <a:pt x="4517" y="0"/>
                  <a:pt x="4263" y="0"/>
                </a:cubicBezTo>
                <a:lnTo>
                  <a:pt x="493" y="0"/>
                </a:lnTo>
                <a:cubicBezTo>
                  <a:pt x="349" y="0"/>
                  <a:pt x="222" y="80"/>
                  <a:pt x="127" y="175"/>
                </a:cubicBezTo>
                <a:lnTo>
                  <a:pt x="127" y="191"/>
                </a:lnTo>
                <a:cubicBezTo>
                  <a:pt x="111" y="191"/>
                  <a:pt x="111" y="191"/>
                  <a:pt x="111" y="206"/>
                </a:cubicBezTo>
                <a:cubicBezTo>
                  <a:pt x="48" y="302"/>
                  <a:pt x="0" y="398"/>
                  <a:pt x="0" y="509"/>
                </a:cubicBezTo>
                <a:lnTo>
                  <a:pt x="0" y="3101"/>
                </a:lnTo>
                <a:cubicBezTo>
                  <a:pt x="0" y="3340"/>
                  <a:pt x="222" y="3658"/>
                  <a:pt x="493" y="3658"/>
                </a:cubicBezTo>
                <a:close/>
                <a:moveTo>
                  <a:pt x="4978" y="3499"/>
                </a:moveTo>
                <a:cubicBezTo>
                  <a:pt x="4978" y="3992"/>
                  <a:pt x="4581" y="4406"/>
                  <a:pt x="4072" y="4406"/>
                </a:cubicBezTo>
                <a:cubicBezTo>
                  <a:pt x="3563" y="4406"/>
                  <a:pt x="3165" y="3992"/>
                  <a:pt x="3165" y="3499"/>
                </a:cubicBezTo>
                <a:cubicBezTo>
                  <a:pt x="3165" y="2990"/>
                  <a:pt x="3563" y="2577"/>
                  <a:pt x="4072" y="2577"/>
                </a:cubicBezTo>
                <a:cubicBezTo>
                  <a:pt x="4581" y="2577"/>
                  <a:pt x="4978" y="2990"/>
                  <a:pt x="4978" y="3499"/>
                </a:cubicBezTo>
                <a:close/>
                <a:moveTo>
                  <a:pt x="4072" y="2417"/>
                </a:moveTo>
                <a:cubicBezTo>
                  <a:pt x="3944" y="2417"/>
                  <a:pt x="3817" y="2449"/>
                  <a:pt x="3690" y="2497"/>
                </a:cubicBezTo>
                <a:lnTo>
                  <a:pt x="3102" y="1940"/>
                </a:lnTo>
                <a:lnTo>
                  <a:pt x="4565" y="366"/>
                </a:lnTo>
                <a:cubicBezTo>
                  <a:pt x="4596" y="413"/>
                  <a:pt x="4612" y="461"/>
                  <a:pt x="4612" y="509"/>
                </a:cubicBezTo>
                <a:lnTo>
                  <a:pt x="4612" y="2561"/>
                </a:lnTo>
                <a:cubicBezTo>
                  <a:pt x="4453" y="2481"/>
                  <a:pt x="4263" y="2417"/>
                  <a:pt x="4072" y="2417"/>
                </a:cubicBezTo>
                <a:close/>
                <a:moveTo>
                  <a:pt x="4263" y="159"/>
                </a:moveTo>
                <a:cubicBezTo>
                  <a:pt x="4342" y="159"/>
                  <a:pt x="4406" y="191"/>
                  <a:pt x="4469" y="238"/>
                </a:cubicBezTo>
                <a:lnTo>
                  <a:pt x="2783" y="2052"/>
                </a:lnTo>
                <a:cubicBezTo>
                  <a:pt x="2560" y="2274"/>
                  <a:pt x="2194" y="2274"/>
                  <a:pt x="1988" y="2052"/>
                </a:cubicBezTo>
                <a:lnTo>
                  <a:pt x="286" y="238"/>
                </a:lnTo>
                <a:cubicBezTo>
                  <a:pt x="349" y="191"/>
                  <a:pt x="413" y="159"/>
                  <a:pt x="493" y="159"/>
                </a:cubicBezTo>
                <a:close/>
                <a:moveTo>
                  <a:pt x="159" y="509"/>
                </a:moveTo>
                <a:cubicBezTo>
                  <a:pt x="159" y="461"/>
                  <a:pt x="175" y="413"/>
                  <a:pt x="191" y="381"/>
                </a:cubicBezTo>
                <a:lnTo>
                  <a:pt x="1670" y="1940"/>
                </a:lnTo>
                <a:lnTo>
                  <a:pt x="636" y="2879"/>
                </a:lnTo>
                <a:cubicBezTo>
                  <a:pt x="604" y="2911"/>
                  <a:pt x="604" y="2958"/>
                  <a:pt x="636" y="2990"/>
                </a:cubicBezTo>
                <a:cubicBezTo>
                  <a:pt x="652" y="3006"/>
                  <a:pt x="668" y="3022"/>
                  <a:pt x="684" y="3022"/>
                </a:cubicBezTo>
                <a:cubicBezTo>
                  <a:pt x="715" y="3022"/>
                  <a:pt x="731" y="3006"/>
                  <a:pt x="747" y="3006"/>
                </a:cubicBezTo>
                <a:lnTo>
                  <a:pt x="1765" y="2052"/>
                </a:lnTo>
                <a:lnTo>
                  <a:pt x="1861" y="2163"/>
                </a:lnTo>
                <a:cubicBezTo>
                  <a:pt x="2004" y="2306"/>
                  <a:pt x="2179" y="2386"/>
                  <a:pt x="2385" y="2386"/>
                </a:cubicBezTo>
                <a:cubicBezTo>
                  <a:pt x="2576" y="2386"/>
                  <a:pt x="2751" y="2306"/>
                  <a:pt x="2894" y="2163"/>
                </a:cubicBezTo>
                <a:lnTo>
                  <a:pt x="2990" y="2052"/>
                </a:lnTo>
                <a:lnTo>
                  <a:pt x="3531" y="2561"/>
                </a:lnTo>
                <a:cubicBezTo>
                  <a:pt x="3212" y="2752"/>
                  <a:pt x="3006" y="3101"/>
                  <a:pt x="3006" y="3499"/>
                </a:cubicBezTo>
                <a:lnTo>
                  <a:pt x="493" y="3499"/>
                </a:lnTo>
                <a:cubicBezTo>
                  <a:pt x="318" y="3499"/>
                  <a:pt x="159" y="3277"/>
                  <a:pt x="159" y="3101"/>
                </a:cubicBezTo>
                <a:close/>
                <a:moveTo>
                  <a:pt x="4549" y="3022"/>
                </a:moveTo>
                <a:cubicBezTo>
                  <a:pt x="4517" y="2990"/>
                  <a:pt x="4469" y="2990"/>
                  <a:pt x="4438" y="3022"/>
                </a:cubicBezTo>
                <a:lnTo>
                  <a:pt x="4072" y="3388"/>
                </a:lnTo>
                <a:lnTo>
                  <a:pt x="3706" y="3022"/>
                </a:lnTo>
                <a:cubicBezTo>
                  <a:pt x="3674" y="2990"/>
                  <a:pt x="3626" y="2990"/>
                  <a:pt x="3594" y="3022"/>
                </a:cubicBezTo>
                <a:cubicBezTo>
                  <a:pt x="3563" y="3054"/>
                  <a:pt x="3563" y="3101"/>
                  <a:pt x="3594" y="3133"/>
                </a:cubicBezTo>
                <a:lnTo>
                  <a:pt x="3960" y="3499"/>
                </a:lnTo>
                <a:lnTo>
                  <a:pt x="3594" y="3865"/>
                </a:lnTo>
                <a:cubicBezTo>
                  <a:pt x="3563" y="3897"/>
                  <a:pt x="3563" y="3944"/>
                  <a:pt x="3594" y="3976"/>
                </a:cubicBezTo>
                <a:cubicBezTo>
                  <a:pt x="3610" y="3992"/>
                  <a:pt x="3626" y="3992"/>
                  <a:pt x="3642" y="3992"/>
                </a:cubicBezTo>
                <a:cubicBezTo>
                  <a:pt x="3658" y="3992"/>
                  <a:pt x="3690" y="3992"/>
                  <a:pt x="3706" y="3976"/>
                </a:cubicBezTo>
                <a:lnTo>
                  <a:pt x="4072" y="3610"/>
                </a:lnTo>
                <a:lnTo>
                  <a:pt x="4438" y="3976"/>
                </a:lnTo>
                <a:cubicBezTo>
                  <a:pt x="4453" y="3992"/>
                  <a:pt x="4469" y="3992"/>
                  <a:pt x="4485" y="3992"/>
                </a:cubicBezTo>
                <a:cubicBezTo>
                  <a:pt x="4501" y="3992"/>
                  <a:pt x="4533" y="3992"/>
                  <a:pt x="4549" y="3976"/>
                </a:cubicBezTo>
                <a:cubicBezTo>
                  <a:pt x="4581" y="3944"/>
                  <a:pt x="4581" y="3897"/>
                  <a:pt x="4549" y="3865"/>
                </a:cubicBezTo>
                <a:lnTo>
                  <a:pt x="4183" y="3499"/>
                </a:lnTo>
                <a:lnTo>
                  <a:pt x="4549" y="3133"/>
                </a:lnTo>
                <a:cubicBezTo>
                  <a:pt x="4581" y="3101"/>
                  <a:pt x="4581" y="3054"/>
                  <a:pt x="4549" y="302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8" name="Freeform: Shape 5">
            <a:extLst>
              <a:ext uri="{FF2B5EF4-FFF2-40B4-BE49-F238E27FC236}">
                <a16:creationId xmlns:a16="http://schemas.microsoft.com/office/drawing/2014/main" id="{0681A93F-289A-7645-BF02-0584CC3A54C4}"/>
              </a:ext>
            </a:extLst>
          </p:cNvPr>
          <p:cNvSpPr/>
          <p:nvPr/>
        </p:nvSpPr>
        <p:spPr>
          <a:xfrm>
            <a:off x="5976223" y="9703602"/>
            <a:ext cx="1854719" cy="1643039"/>
          </a:xfrm>
          <a:custGeom>
            <a:avLst/>
            <a:gdLst/>
            <a:ahLst/>
            <a:cxnLst>
              <a:cxn ang="3cd4">
                <a:pos x="hc" y="t"/>
              </a:cxn>
              <a:cxn ang="cd2">
                <a:pos x="l" y="vc"/>
              </a:cxn>
              <a:cxn ang="cd4">
                <a:pos x="hc" y="b"/>
              </a:cxn>
              <a:cxn ang="0">
                <a:pos x="r" y="vc"/>
              </a:cxn>
            </a:cxnLst>
            <a:rect l="l" t="t" r="r" b="b"/>
            <a:pathLst>
              <a:path w="5153" h="4565">
                <a:moveTo>
                  <a:pt x="509" y="3658"/>
                </a:moveTo>
                <a:cubicBezTo>
                  <a:pt x="3022" y="3658"/>
                  <a:pt x="3022" y="3658"/>
                  <a:pt x="3022" y="3658"/>
                </a:cubicBezTo>
                <a:cubicBezTo>
                  <a:pt x="3102" y="4167"/>
                  <a:pt x="3547" y="4565"/>
                  <a:pt x="4072" y="4565"/>
                </a:cubicBezTo>
                <a:cubicBezTo>
                  <a:pt x="4676" y="4565"/>
                  <a:pt x="5153" y="4088"/>
                  <a:pt x="5153" y="3499"/>
                </a:cubicBezTo>
                <a:cubicBezTo>
                  <a:pt x="5153" y="3165"/>
                  <a:pt x="5010" y="2879"/>
                  <a:pt x="4772" y="2672"/>
                </a:cubicBezTo>
                <a:cubicBezTo>
                  <a:pt x="4772" y="509"/>
                  <a:pt x="4772" y="509"/>
                  <a:pt x="4772" y="509"/>
                </a:cubicBezTo>
                <a:cubicBezTo>
                  <a:pt x="4772" y="398"/>
                  <a:pt x="4724" y="286"/>
                  <a:pt x="4660" y="206"/>
                </a:cubicBezTo>
                <a:cubicBezTo>
                  <a:pt x="4660" y="191"/>
                  <a:pt x="4644" y="191"/>
                  <a:pt x="4644" y="191"/>
                </a:cubicBezTo>
                <a:cubicBezTo>
                  <a:pt x="4565" y="80"/>
                  <a:pt x="4421" y="0"/>
                  <a:pt x="4278" y="0"/>
                </a:cubicBezTo>
                <a:cubicBezTo>
                  <a:pt x="509" y="0"/>
                  <a:pt x="509" y="0"/>
                  <a:pt x="509" y="0"/>
                </a:cubicBezTo>
                <a:cubicBezTo>
                  <a:pt x="239" y="0"/>
                  <a:pt x="0" y="238"/>
                  <a:pt x="0" y="509"/>
                </a:cubicBezTo>
                <a:cubicBezTo>
                  <a:pt x="0" y="3101"/>
                  <a:pt x="0" y="3101"/>
                  <a:pt x="0" y="3101"/>
                </a:cubicBezTo>
                <a:cubicBezTo>
                  <a:pt x="0" y="3340"/>
                  <a:pt x="222" y="3658"/>
                  <a:pt x="509" y="3658"/>
                </a:cubicBezTo>
                <a:close/>
                <a:moveTo>
                  <a:pt x="4072" y="2577"/>
                </a:moveTo>
                <a:cubicBezTo>
                  <a:pt x="4311" y="2577"/>
                  <a:pt x="4501" y="2656"/>
                  <a:pt x="4660" y="2799"/>
                </a:cubicBezTo>
                <a:cubicBezTo>
                  <a:pt x="3388" y="4088"/>
                  <a:pt x="3388" y="4088"/>
                  <a:pt x="3388" y="4088"/>
                </a:cubicBezTo>
                <a:cubicBezTo>
                  <a:pt x="3245" y="3929"/>
                  <a:pt x="3165" y="3722"/>
                  <a:pt x="3165" y="3499"/>
                </a:cubicBezTo>
                <a:cubicBezTo>
                  <a:pt x="3165" y="2990"/>
                  <a:pt x="3579" y="2577"/>
                  <a:pt x="4072" y="2577"/>
                </a:cubicBezTo>
                <a:close/>
                <a:moveTo>
                  <a:pt x="4072" y="4406"/>
                </a:moveTo>
                <a:cubicBezTo>
                  <a:pt x="3849" y="4406"/>
                  <a:pt x="3658" y="4326"/>
                  <a:pt x="3499" y="4199"/>
                </a:cubicBezTo>
                <a:cubicBezTo>
                  <a:pt x="4772" y="2911"/>
                  <a:pt x="4772" y="2911"/>
                  <a:pt x="4772" y="2911"/>
                </a:cubicBezTo>
                <a:cubicBezTo>
                  <a:pt x="4915" y="3070"/>
                  <a:pt x="4994" y="3277"/>
                  <a:pt x="4994" y="3499"/>
                </a:cubicBezTo>
                <a:cubicBezTo>
                  <a:pt x="4994" y="3992"/>
                  <a:pt x="4581" y="4406"/>
                  <a:pt x="4072" y="4406"/>
                </a:cubicBezTo>
                <a:close/>
                <a:moveTo>
                  <a:pt x="4072" y="2417"/>
                </a:moveTo>
                <a:cubicBezTo>
                  <a:pt x="3945" y="2417"/>
                  <a:pt x="3817" y="2449"/>
                  <a:pt x="3706" y="2497"/>
                </a:cubicBezTo>
                <a:cubicBezTo>
                  <a:pt x="3102" y="1940"/>
                  <a:pt x="3102" y="1940"/>
                  <a:pt x="3102" y="1940"/>
                </a:cubicBezTo>
                <a:cubicBezTo>
                  <a:pt x="4581" y="366"/>
                  <a:pt x="4581" y="366"/>
                  <a:pt x="4581" y="366"/>
                </a:cubicBezTo>
                <a:cubicBezTo>
                  <a:pt x="4597" y="413"/>
                  <a:pt x="4612" y="461"/>
                  <a:pt x="4612" y="509"/>
                </a:cubicBezTo>
                <a:cubicBezTo>
                  <a:pt x="4612" y="2561"/>
                  <a:pt x="4612" y="2561"/>
                  <a:pt x="4612" y="2561"/>
                </a:cubicBezTo>
                <a:cubicBezTo>
                  <a:pt x="4454" y="2481"/>
                  <a:pt x="4278" y="2417"/>
                  <a:pt x="4072" y="2417"/>
                </a:cubicBezTo>
                <a:close/>
                <a:moveTo>
                  <a:pt x="4278" y="159"/>
                </a:moveTo>
                <a:cubicBezTo>
                  <a:pt x="4342" y="159"/>
                  <a:pt x="4421" y="191"/>
                  <a:pt x="4485" y="238"/>
                </a:cubicBezTo>
                <a:cubicBezTo>
                  <a:pt x="2784" y="2052"/>
                  <a:pt x="2784" y="2052"/>
                  <a:pt x="2784" y="2052"/>
                </a:cubicBezTo>
                <a:cubicBezTo>
                  <a:pt x="2576" y="2274"/>
                  <a:pt x="2195" y="2274"/>
                  <a:pt x="1988" y="2052"/>
                </a:cubicBezTo>
                <a:cubicBezTo>
                  <a:pt x="302" y="238"/>
                  <a:pt x="302" y="238"/>
                  <a:pt x="302" y="238"/>
                </a:cubicBezTo>
                <a:cubicBezTo>
                  <a:pt x="350" y="191"/>
                  <a:pt x="430" y="159"/>
                  <a:pt x="509" y="159"/>
                </a:cubicBezTo>
                <a:close/>
                <a:moveTo>
                  <a:pt x="159" y="509"/>
                </a:moveTo>
                <a:cubicBezTo>
                  <a:pt x="159" y="461"/>
                  <a:pt x="175" y="413"/>
                  <a:pt x="207" y="381"/>
                </a:cubicBezTo>
                <a:cubicBezTo>
                  <a:pt x="1670" y="1940"/>
                  <a:pt x="1670" y="1940"/>
                  <a:pt x="1670" y="1940"/>
                </a:cubicBezTo>
                <a:cubicBezTo>
                  <a:pt x="652" y="2879"/>
                  <a:pt x="652" y="2879"/>
                  <a:pt x="652" y="2879"/>
                </a:cubicBezTo>
                <a:cubicBezTo>
                  <a:pt x="620" y="2911"/>
                  <a:pt x="604" y="2958"/>
                  <a:pt x="636" y="2990"/>
                </a:cubicBezTo>
                <a:cubicBezTo>
                  <a:pt x="652" y="3006"/>
                  <a:pt x="684" y="3022"/>
                  <a:pt x="700" y="3022"/>
                </a:cubicBezTo>
                <a:cubicBezTo>
                  <a:pt x="716" y="3022"/>
                  <a:pt x="731" y="3006"/>
                  <a:pt x="748" y="3006"/>
                </a:cubicBezTo>
                <a:cubicBezTo>
                  <a:pt x="1781" y="2052"/>
                  <a:pt x="1781" y="2052"/>
                  <a:pt x="1781" y="2052"/>
                </a:cubicBezTo>
                <a:cubicBezTo>
                  <a:pt x="1877" y="2163"/>
                  <a:pt x="1877" y="2163"/>
                  <a:pt x="1877" y="2163"/>
                </a:cubicBezTo>
                <a:cubicBezTo>
                  <a:pt x="2004" y="2306"/>
                  <a:pt x="2195" y="2386"/>
                  <a:pt x="2386" y="2386"/>
                </a:cubicBezTo>
                <a:cubicBezTo>
                  <a:pt x="2576" y="2386"/>
                  <a:pt x="2767" y="2306"/>
                  <a:pt x="2895" y="2163"/>
                </a:cubicBezTo>
                <a:cubicBezTo>
                  <a:pt x="2990" y="2052"/>
                  <a:pt x="2990" y="2052"/>
                  <a:pt x="2990" y="2052"/>
                </a:cubicBezTo>
                <a:cubicBezTo>
                  <a:pt x="3547" y="2561"/>
                  <a:pt x="3547" y="2561"/>
                  <a:pt x="3547" y="2561"/>
                </a:cubicBezTo>
                <a:cubicBezTo>
                  <a:pt x="3229" y="2752"/>
                  <a:pt x="3006" y="3101"/>
                  <a:pt x="3006" y="3499"/>
                </a:cubicBezTo>
                <a:cubicBezTo>
                  <a:pt x="509" y="3499"/>
                  <a:pt x="509" y="3499"/>
                  <a:pt x="509" y="3499"/>
                </a:cubicBezTo>
                <a:cubicBezTo>
                  <a:pt x="334" y="3499"/>
                  <a:pt x="159" y="3277"/>
                  <a:pt x="159" y="310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9" name="Freeform: Shape 6">
            <a:extLst>
              <a:ext uri="{FF2B5EF4-FFF2-40B4-BE49-F238E27FC236}">
                <a16:creationId xmlns:a16="http://schemas.microsoft.com/office/drawing/2014/main" id="{15703E6F-D523-E84D-810F-C1E668063828}"/>
              </a:ext>
            </a:extLst>
          </p:cNvPr>
          <p:cNvSpPr/>
          <p:nvPr/>
        </p:nvSpPr>
        <p:spPr>
          <a:xfrm>
            <a:off x="1344702" y="9984042"/>
            <a:ext cx="1919880" cy="1081800"/>
          </a:xfrm>
          <a:custGeom>
            <a:avLst/>
            <a:gdLst/>
            <a:ahLst/>
            <a:cxnLst>
              <a:cxn ang="3cd4">
                <a:pos x="hc" y="t"/>
              </a:cxn>
              <a:cxn ang="cd2">
                <a:pos x="l" y="vc"/>
              </a:cxn>
              <a:cxn ang="cd4">
                <a:pos x="hc" y="b"/>
              </a:cxn>
              <a:cxn ang="0">
                <a:pos x="r" y="vc"/>
              </a:cxn>
            </a:cxnLst>
            <a:rect l="l" t="t" r="r" b="b"/>
            <a:pathLst>
              <a:path w="5334" h="3006">
                <a:moveTo>
                  <a:pt x="63" y="955"/>
                </a:moveTo>
                <a:lnTo>
                  <a:pt x="1176" y="955"/>
                </a:lnTo>
                <a:cubicBezTo>
                  <a:pt x="1224" y="955"/>
                  <a:pt x="1256" y="907"/>
                  <a:pt x="1256" y="875"/>
                </a:cubicBezTo>
                <a:cubicBezTo>
                  <a:pt x="1256" y="828"/>
                  <a:pt x="1224" y="795"/>
                  <a:pt x="1176" y="795"/>
                </a:cubicBezTo>
                <a:lnTo>
                  <a:pt x="63" y="795"/>
                </a:lnTo>
                <a:cubicBezTo>
                  <a:pt x="31" y="795"/>
                  <a:pt x="0" y="828"/>
                  <a:pt x="0" y="875"/>
                </a:cubicBezTo>
                <a:cubicBezTo>
                  <a:pt x="0" y="907"/>
                  <a:pt x="31" y="955"/>
                  <a:pt x="63" y="955"/>
                </a:cubicBezTo>
                <a:close/>
                <a:moveTo>
                  <a:pt x="63" y="1575"/>
                </a:moveTo>
                <a:lnTo>
                  <a:pt x="1018" y="1575"/>
                </a:lnTo>
                <a:cubicBezTo>
                  <a:pt x="1065" y="1575"/>
                  <a:pt x="1097" y="1543"/>
                  <a:pt x="1097" y="1511"/>
                </a:cubicBezTo>
                <a:cubicBezTo>
                  <a:pt x="1097" y="1464"/>
                  <a:pt x="1065" y="1432"/>
                  <a:pt x="1018" y="1432"/>
                </a:cubicBezTo>
                <a:lnTo>
                  <a:pt x="63" y="1432"/>
                </a:lnTo>
                <a:cubicBezTo>
                  <a:pt x="31" y="1432"/>
                  <a:pt x="0" y="1464"/>
                  <a:pt x="0" y="1511"/>
                </a:cubicBezTo>
                <a:cubicBezTo>
                  <a:pt x="0" y="1543"/>
                  <a:pt x="31" y="1575"/>
                  <a:pt x="63" y="1575"/>
                </a:cubicBezTo>
                <a:close/>
                <a:moveTo>
                  <a:pt x="63" y="2211"/>
                </a:moveTo>
                <a:lnTo>
                  <a:pt x="858" y="2211"/>
                </a:lnTo>
                <a:cubicBezTo>
                  <a:pt x="906" y="2211"/>
                  <a:pt x="938" y="2179"/>
                  <a:pt x="938" y="2132"/>
                </a:cubicBezTo>
                <a:cubicBezTo>
                  <a:pt x="938" y="2100"/>
                  <a:pt x="906" y="2052"/>
                  <a:pt x="858" y="2052"/>
                </a:cubicBezTo>
                <a:lnTo>
                  <a:pt x="63" y="2052"/>
                </a:lnTo>
                <a:cubicBezTo>
                  <a:pt x="31" y="2052"/>
                  <a:pt x="0" y="2100"/>
                  <a:pt x="0" y="2132"/>
                </a:cubicBezTo>
                <a:cubicBezTo>
                  <a:pt x="0" y="2179"/>
                  <a:pt x="31" y="2211"/>
                  <a:pt x="63" y="2211"/>
                </a:cubicBezTo>
                <a:close/>
                <a:moveTo>
                  <a:pt x="2355" y="0"/>
                </a:moveTo>
                <a:cubicBezTo>
                  <a:pt x="2195" y="0"/>
                  <a:pt x="2037" y="80"/>
                  <a:pt x="1925" y="207"/>
                </a:cubicBezTo>
                <a:cubicBezTo>
                  <a:pt x="1909" y="223"/>
                  <a:pt x="1909" y="223"/>
                  <a:pt x="1909" y="239"/>
                </a:cubicBezTo>
                <a:cubicBezTo>
                  <a:pt x="1846" y="302"/>
                  <a:pt x="1814" y="382"/>
                  <a:pt x="1798" y="462"/>
                </a:cubicBezTo>
                <a:lnTo>
                  <a:pt x="1368" y="2482"/>
                </a:lnTo>
                <a:cubicBezTo>
                  <a:pt x="1337" y="2625"/>
                  <a:pt x="1368" y="2768"/>
                  <a:pt x="1448" y="2863"/>
                </a:cubicBezTo>
                <a:cubicBezTo>
                  <a:pt x="1528" y="2959"/>
                  <a:pt x="1639" y="3006"/>
                  <a:pt x="1750" y="3006"/>
                </a:cubicBezTo>
                <a:lnTo>
                  <a:pt x="4343" y="3006"/>
                </a:lnTo>
                <a:cubicBezTo>
                  <a:pt x="4613" y="3006"/>
                  <a:pt x="4852" y="2752"/>
                  <a:pt x="4900" y="2529"/>
                </a:cubicBezTo>
                <a:lnTo>
                  <a:pt x="4900" y="2513"/>
                </a:lnTo>
                <a:lnTo>
                  <a:pt x="5329" y="493"/>
                </a:lnTo>
                <a:cubicBezTo>
                  <a:pt x="5345" y="366"/>
                  <a:pt x="5329" y="239"/>
                  <a:pt x="5249" y="143"/>
                </a:cubicBezTo>
                <a:cubicBezTo>
                  <a:pt x="5170" y="48"/>
                  <a:pt x="5058" y="0"/>
                  <a:pt x="4931" y="0"/>
                </a:cubicBezTo>
                <a:close/>
                <a:moveTo>
                  <a:pt x="4931" y="159"/>
                </a:moveTo>
                <a:cubicBezTo>
                  <a:pt x="4995" y="159"/>
                  <a:pt x="5043" y="175"/>
                  <a:pt x="5090" y="207"/>
                </a:cubicBezTo>
                <a:lnTo>
                  <a:pt x="3675" y="1623"/>
                </a:lnTo>
                <a:lnTo>
                  <a:pt x="3659" y="1623"/>
                </a:lnTo>
                <a:lnTo>
                  <a:pt x="3659" y="1638"/>
                </a:lnTo>
                <a:lnTo>
                  <a:pt x="3579" y="1702"/>
                </a:lnTo>
                <a:cubicBezTo>
                  <a:pt x="3516" y="1766"/>
                  <a:pt x="3452" y="1798"/>
                  <a:pt x="3373" y="1798"/>
                </a:cubicBezTo>
                <a:cubicBezTo>
                  <a:pt x="3293" y="1782"/>
                  <a:pt x="3213" y="1750"/>
                  <a:pt x="3166" y="1670"/>
                </a:cubicBezTo>
                <a:lnTo>
                  <a:pt x="2084" y="271"/>
                </a:lnTo>
                <a:cubicBezTo>
                  <a:pt x="2164" y="207"/>
                  <a:pt x="2259" y="159"/>
                  <a:pt x="2355" y="159"/>
                </a:cubicBezTo>
                <a:close/>
                <a:moveTo>
                  <a:pt x="5170" y="462"/>
                </a:moveTo>
                <a:lnTo>
                  <a:pt x="4740" y="2482"/>
                </a:lnTo>
                <a:cubicBezTo>
                  <a:pt x="4709" y="2656"/>
                  <a:pt x="4518" y="2847"/>
                  <a:pt x="4343" y="2847"/>
                </a:cubicBezTo>
                <a:lnTo>
                  <a:pt x="1750" y="2847"/>
                </a:lnTo>
                <a:cubicBezTo>
                  <a:pt x="1686" y="2847"/>
                  <a:pt x="1623" y="2816"/>
                  <a:pt x="1575" y="2768"/>
                </a:cubicBezTo>
                <a:cubicBezTo>
                  <a:pt x="1528" y="2704"/>
                  <a:pt x="1495" y="2609"/>
                  <a:pt x="1528" y="2513"/>
                </a:cubicBezTo>
                <a:lnTo>
                  <a:pt x="1957" y="493"/>
                </a:lnTo>
                <a:cubicBezTo>
                  <a:pt x="1957" y="462"/>
                  <a:pt x="1973" y="429"/>
                  <a:pt x="1989" y="414"/>
                </a:cubicBezTo>
                <a:lnTo>
                  <a:pt x="2864" y="1543"/>
                </a:lnTo>
                <a:lnTo>
                  <a:pt x="2037" y="2211"/>
                </a:lnTo>
                <a:cubicBezTo>
                  <a:pt x="2004" y="2227"/>
                  <a:pt x="2004" y="2291"/>
                  <a:pt x="2037" y="2322"/>
                </a:cubicBezTo>
                <a:cubicBezTo>
                  <a:pt x="2052" y="2338"/>
                  <a:pt x="2068" y="2354"/>
                  <a:pt x="2084" y="2354"/>
                </a:cubicBezTo>
                <a:cubicBezTo>
                  <a:pt x="2116" y="2354"/>
                  <a:pt x="2132" y="2338"/>
                  <a:pt x="2148" y="2322"/>
                </a:cubicBezTo>
                <a:lnTo>
                  <a:pt x="2975" y="1670"/>
                </a:lnTo>
                <a:lnTo>
                  <a:pt x="3039" y="1766"/>
                </a:lnTo>
                <a:cubicBezTo>
                  <a:pt x="3118" y="1877"/>
                  <a:pt x="3230" y="1941"/>
                  <a:pt x="3357" y="1956"/>
                </a:cubicBezTo>
                <a:lnTo>
                  <a:pt x="3388" y="1956"/>
                </a:lnTo>
                <a:cubicBezTo>
                  <a:pt x="3500" y="1956"/>
                  <a:pt x="3611" y="1909"/>
                  <a:pt x="3691" y="1813"/>
                </a:cubicBezTo>
                <a:lnTo>
                  <a:pt x="3707" y="1798"/>
                </a:lnTo>
                <a:lnTo>
                  <a:pt x="4152" y="2307"/>
                </a:lnTo>
                <a:cubicBezTo>
                  <a:pt x="4168" y="2322"/>
                  <a:pt x="4184" y="2322"/>
                  <a:pt x="4200" y="2322"/>
                </a:cubicBezTo>
                <a:cubicBezTo>
                  <a:pt x="4231" y="2322"/>
                  <a:pt x="4248" y="2322"/>
                  <a:pt x="4263" y="2307"/>
                </a:cubicBezTo>
                <a:cubicBezTo>
                  <a:pt x="4295" y="2275"/>
                  <a:pt x="4295" y="2227"/>
                  <a:pt x="4263" y="2195"/>
                </a:cubicBezTo>
                <a:lnTo>
                  <a:pt x="3818" y="1686"/>
                </a:lnTo>
                <a:lnTo>
                  <a:pt x="5170" y="350"/>
                </a:lnTo>
                <a:cubicBezTo>
                  <a:pt x="5186" y="382"/>
                  <a:pt x="5186" y="429"/>
                  <a:pt x="5170" y="46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Freeform: Shape 7">
            <a:extLst>
              <a:ext uri="{FF2B5EF4-FFF2-40B4-BE49-F238E27FC236}">
                <a16:creationId xmlns:a16="http://schemas.microsoft.com/office/drawing/2014/main" id="{5DF8C9C4-8D08-0E4B-85B2-E86C90BCDD42}"/>
              </a:ext>
            </a:extLst>
          </p:cNvPr>
          <p:cNvSpPr/>
          <p:nvPr/>
        </p:nvSpPr>
        <p:spPr>
          <a:xfrm>
            <a:off x="21154944" y="6529275"/>
            <a:ext cx="1919880" cy="1643039"/>
          </a:xfrm>
          <a:custGeom>
            <a:avLst/>
            <a:gdLst/>
            <a:ahLst/>
            <a:cxnLst>
              <a:cxn ang="3cd4">
                <a:pos x="hc" y="t"/>
              </a:cxn>
              <a:cxn ang="cd2">
                <a:pos x="l" y="vc"/>
              </a:cxn>
              <a:cxn ang="cd4">
                <a:pos x="hc" y="b"/>
              </a:cxn>
              <a:cxn ang="0">
                <a:pos x="r" y="vc"/>
              </a:cxn>
            </a:cxnLst>
            <a:rect l="l" t="t" r="r" b="b"/>
            <a:pathLst>
              <a:path w="5334" h="4565">
                <a:moveTo>
                  <a:pt x="2704" y="3499"/>
                </a:moveTo>
                <a:cubicBezTo>
                  <a:pt x="2751" y="3499"/>
                  <a:pt x="2783" y="3451"/>
                  <a:pt x="2783" y="3420"/>
                </a:cubicBezTo>
                <a:cubicBezTo>
                  <a:pt x="2783" y="3372"/>
                  <a:pt x="2751" y="3340"/>
                  <a:pt x="2704" y="3340"/>
                </a:cubicBezTo>
                <a:lnTo>
                  <a:pt x="493" y="3340"/>
                </a:lnTo>
                <a:cubicBezTo>
                  <a:pt x="334" y="3340"/>
                  <a:pt x="159" y="3229"/>
                  <a:pt x="159" y="3054"/>
                </a:cubicBezTo>
                <a:lnTo>
                  <a:pt x="159" y="477"/>
                </a:lnTo>
                <a:cubicBezTo>
                  <a:pt x="159" y="429"/>
                  <a:pt x="175" y="381"/>
                  <a:pt x="206" y="334"/>
                </a:cubicBezTo>
                <a:lnTo>
                  <a:pt x="1670" y="1908"/>
                </a:lnTo>
                <a:lnTo>
                  <a:pt x="636" y="2847"/>
                </a:lnTo>
                <a:cubicBezTo>
                  <a:pt x="604" y="2863"/>
                  <a:pt x="604" y="2926"/>
                  <a:pt x="636" y="2958"/>
                </a:cubicBezTo>
                <a:cubicBezTo>
                  <a:pt x="652" y="2974"/>
                  <a:pt x="668" y="2974"/>
                  <a:pt x="700" y="2974"/>
                </a:cubicBezTo>
                <a:cubicBezTo>
                  <a:pt x="715" y="2974"/>
                  <a:pt x="732" y="2974"/>
                  <a:pt x="747" y="2958"/>
                </a:cubicBezTo>
                <a:lnTo>
                  <a:pt x="1781" y="2020"/>
                </a:lnTo>
                <a:lnTo>
                  <a:pt x="1861" y="2116"/>
                </a:lnTo>
                <a:cubicBezTo>
                  <a:pt x="2004" y="2259"/>
                  <a:pt x="2195" y="2354"/>
                  <a:pt x="2386" y="2354"/>
                </a:cubicBezTo>
                <a:cubicBezTo>
                  <a:pt x="2577" y="2354"/>
                  <a:pt x="2768" y="2259"/>
                  <a:pt x="2895" y="2116"/>
                </a:cubicBezTo>
                <a:lnTo>
                  <a:pt x="2990" y="2020"/>
                </a:lnTo>
                <a:lnTo>
                  <a:pt x="3595" y="2577"/>
                </a:lnTo>
                <a:cubicBezTo>
                  <a:pt x="3610" y="2592"/>
                  <a:pt x="3642" y="2592"/>
                  <a:pt x="3658" y="2592"/>
                </a:cubicBezTo>
                <a:cubicBezTo>
                  <a:pt x="3674" y="2592"/>
                  <a:pt x="3690" y="2592"/>
                  <a:pt x="3706" y="2577"/>
                </a:cubicBezTo>
                <a:cubicBezTo>
                  <a:pt x="3738" y="2545"/>
                  <a:pt x="3738" y="2481"/>
                  <a:pt x="3706" y="2465"/>
                </a:cubicBezTo>
                <a:lnTo>
                  <a:pt x="3101" y="1908"/>
                </a:lnTo>
                <a:lnTo>
                  <a:pt x="4565" y="334"/>
                </a:lnTo>
                <a:cubicBezTo>
                  <a:pt x="4596" y="381"/>
                  <a:pt x="4613" y="429"/>
                  <a:pt x="4613" y="477"/>
                </a:cubicBezTo>
                <a:lnTo>
                  <a:pt x="4613" y="2545"/>
                </a:lnTo>
                <a:cubicBezTo>
                  <a:pt x="4613" y="2577"/>
                  <a:pt x="4644" y="2624"/>
                  <a:pt x="4692" y="2624"/>
                </a:cubicBezTo>
                <a:cubicBezTo>
                  <a:pt x="4724" y="2624"/>
                  <a:pt x="4771" y="2577"/>
                  <a:pt x="4771" y="2545"/>
                </a:cubicBezTo>
                <a:lnTo>
                  <a:pt x="4771" y="477"/>
                </a:lnTo>
                <a:cubicBezTo>
                  <a:pt x="4771" y="223"/>
                  <a:pt x="4533" y="0"/>
                  <a:pt x="4262" y="0"/>
                </a:cubicBezTo>
                <a:lnTo>
                  <a:pt x="493" y="0"/>
                </a:lnTo>
                <a:cubicBezTo>
                  <a:pt x="223" y="0"/>
                  <a:pt x="0" y="223"/>
                  <a:pt x="0" y="477"/>
                </a:cubicBezTo>
                <a:lnTo>
                  <a:pt x="0" y="3054"/>
                </a:lnTo>
                <a:cubicBezTo>
                  <a:pt x="0" y="3308"/>
                  <a:pt x="223" y="3499"/>
                  <a:pt x="493" y="3499"/>
                </a:cubicBezTo>
                <a:close/>
                <a:moveTo>
                  <a:pt x="4262" y="159"/>
                </a:moveTo>
                <a:cubicBezTo>
                  <a:pt x="4342" y="159"/>
                  <a:pt x="4405" y="175"/>
                  <a:pt x="4469" y="223"/>
                </a:cubicBezTo>
                <a:lnTo>
                  <a:pt x="2783" y="2004"/>
                </a:lnTo>
                <a:cubicBezTo>
                  <a:pt x="2672" y="2131"/>
                  <a:pt x="2529" y="2195"/>
                  <a:pt x="2386" y="2195"/>
                </a:cubicBezTo>
                <a:cubicBezTo>
                  <a:pt x="2226" y="2195"/>
                  <a:pt x="2083" y="2131"/>
                  <a:pt x="1988" y="2004"/>
                </a:cubicBezTo>
                <a:lnTo>
                  <a:pt x="302" y="223"/>
                </a:lnTo>
                <a:cubicBezTo>
                  <a:pt x="366" y="175"/>
                  <a:pt x="429" y="159"/>
                  <a:pt x="493" y="159"/>
                </a:cubicBezTo>
                <a:close/>
                <a:moveTo>
                  <a:pt x="4247" y="2449"/>
                </a:moveTo>
                <a:cubicBezTo>
                  <a:pt x="4231" y="2370"/>
                  <a:pt x="4119" y="2370"/>
                  <a:pt x="4087" y="2449"/>
                </a:cubicBezTo>
                <a:lnTo>
                  <a:pt x="3849" y="3181"/>
                </a:lnTo>
                <a:lnTo>
                  <a:pt x="3086" y="3181"/>
                </a:lnTo>
                <a:cubicBezTo>
                  <a:pt x="3054" y="3181"/>
                  <a:pt x="3022" y="3197"/>
                  <a:pt x="3006" y="3229"/>
                </a:cubicBezTo>
                <a:cubicBezTo>
                  <a:pt x="3006" y="3261"/>
                  <a:pt x="3006" y="3292"/>
                  <a:pt x="3038" y="3324"/>
                </a:cubicBezTo>
                <a:lnTo>
                  <a:pt x="3658" y="3753"/>
                </a:lnTo>
                <a:lnTo>
                  <a:pt x="3420" y="4453"/>
                </a:lnTo>
                <a:cubicBezTo>
                  <a:pt x="3420" y="4485"/>
                  <a:pt x="3420" y="4517"/>
                  <a:pt x="3451" y="4533"/>
                </a:cubicBezTo>
                <a:cubicBezTo>
                  <a:pt x="3483" y="4565"/>
                  <a:pt x="3515" y="4565"/>
                  <a:pt x="3547" y="4533"/>
                </a:cubicBezTo>
                <a:lnTo>
                  <a:pt x="4167" y="4088"/>
                </a:lnTo>
                <a:lnTo>
                  <a:pt x="4787" y="4549"/>
                </a:lnTo>
                <a:cubicBezTo>
                  <a:pt x="4803" y="4565"/>
                  <a:pt x="4819" y="4565"/>
                  <a:pt x="4835" y="4565"/>
                </a:cubicBezTo>
                <a:cubicBezTo>
                  <a:pt x="4851" y="4565"/>
                  <a:pt x="4867" y="4565"/>
                  <a:pt x="4883" y="4549"/>
                </a:cubicBezTo>
                <a:cubicBezTo>
                  <a:pt x="4914" y="4533"/>
                  <a:pt x="4931" y="4501"/>
                  <a:pt x="4914" y="4469"/>
                </a:cubicBezTo>
                <a:lnTo>
                  <a:pt x="4676" y="3738"/>
                </a:lnTo>
                <a:lnTo>
                  <a:pt x="5296" y="3324"/>
                </a:lnTo>
                <a:cubicBezTo>
                  <a:pt x="5328" y="3292"/>
                  <a:pt x="5344" y="3261"/>
                  <a:pt x="5328" y="3229"/>
                </a:cubicBezTo>
                <a:cubicBezTo>
                  <a:pt x="5312" y="3197"/>
                  <a:pt x="5280" y="3181"/>
                  <a:pt x="5249" y="3181"/>
                </a:cubicBezTo>
                <a:lnTo>
                  <a:pt x="4485" y="3181"/>
                </a:lnTo>
                <a:close/>
                <a:moveTo>
                  <a:pt x="4533" y="3642"/>
                </a:moveTo>
                <a:cubicBezTo>
                  <a:pt x="4517" y="3674"/>
                  <a:pt x="4501" y="3706"/>
                  <a:pt x="4501" y="3738"/>
                </a:cubicBezTo>
                <a:lnTo>
                  <a:pt x="4692" y="4279"/>
                </a:lnTo>
                <a:lnTo>
                  <a:pt x="4215" y="3929"/>
                </a:lnTo>
                <a:cubicBezTo>
                  <a:pt x="4199" y="3913"/>
                  <a:pt x="4183" y="3913"/>
                  <a:pt x="4167" y="3913"/>
                </a:cubicBezTo>
                <a:cubicBezTo>
                  <a:pt x="4151" y="3913"/>
                  <a:pt x="4135" y="3913"/>
                  <a:pt x="4119" y="3929"/>
                </a:cubicBezTo>
                <a:lnTo>
                  <a:pt x="3658" y="4262"/>
                </a:lnTo>
                <a:lnTo>
                  <a:pt x="3833" y="3738"/>
                </a:lnTo>
                <a:cubicBezTo>
                  <a:pt x="3849" y="3706"/>
                  <a:pt x="3833" y="3674"/>
                  <a:pt x="3801" y="3642"/>
                </a:cubicBezTo>
                <a:lnTo>
                  <a:pt x="3340" y="3340"/>
                </a:lnTo>
                <a:lnTo>
                  <a:pt x="3913" y="3340"/>
                </a:lnTo>
                <a:cubicBezTo>
                  <a:pt x="3944" y="3340"/>
                  <a:pt x="3976" y="3308"/>
                  <a:pt x="3992" y="3277"/>
                </a:cubicBezTo>
                <a:lnTo>
                  <a:pt x="4167" y="2720"/>
                </a:lnTo>
                <a:lnTo>
                  <a:pt x="4358" y="3277"/>
                </a:lnTo>
                <a:cubicBezTo>
                  <a:pt x="4358" y="3308"/>
                  <a:pt x="4390" y="3340"/>
                  <a:pt x="4422" y="3340"/>
                </a:cubicBezTo>
                <a:lnTo>
                  <a:pt x="4994" y="3340"/>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Freeform: Shape 8">
            <a:extLst>
              <a:ext uri="{FF2B5EF4-FFF2-40B4-BE49-F238E27FC236}">
                <a16:creationId xmlns:a16="http://schemas.microsoft.com/office/drawing/2014/main" id="{EBB431C0-CEFF-B246-947A-5937E72B22CE}"/>
              </a:ext>
            </a:extLst>
          </p:cNvPr>
          <p:cNvSpPr/>
          <p:nvPr/>
        </p:nvSpPr>
        <p:spPr>
          <a:xfrm>
            <a:off x="17453975" y="6666434"/>
            <a:ext cx="1717560" cy="1368360"/>
          </a:xfrm>
          <a:custGeom>
            <a:avLst/>
            <a:gdLst/>
            <a:ahLst/>
            <a:cxnLst>
              <a:cxn ang="3cd4">
                <a:pos x="hc" y="t"/>
              </a:cxn>
              <a:cxn ang="cd2">
                <a:pos x="l" y="vc"/>
              </a:cxn>
              <a:cxn ang="cd4">
                <a:pos x="hc" y="b"/>
              </a:cxn>
              <a:cxn ang="0">
                <a:pos x="r" y="vc"/>
              </a:cxn>
            </a:cxnLst>
            <a:rect l="l" t="t" r="r" b="b"/>
            <a:pathLst>
              <a:path w="4772" h="3802">
                <a:moveTo>
                  <a:pt x="541" y="0"/>
                </a:moveTo>
                <a:cubicBezTo>
                  <a:pt x="430" y="0"/>
                  <a:pt x="334" y="17"/>
                  <a:pt x="239" y="64"/>
                </a:cubicBezTo>
                <a:cubicBezTo>
                  <a:pt x="223" y="64"/>
                  <a:pt x="207" y="64"/>
                  <a:pt x="191" y="80"/>
                </a:cubicBezTo>
                <a:cubicBezTo>
                  <a:pt x="175" y="80"/>
                  <a:pt x="175" y="80"/>
                  <a:pt x="175" y="96"/>
                </a:cubicBezTo>
                <a:cubicBezTo>
                  <a:pt x="80" y="160"/>
                  <a:pt x="0" y="255"/>
                  <a:pt x="0" y="398"/>
                </a:cubicBezTo>
                <a:lnTo>
                  <a:pt x="0" y="2975"/>
                </a:lnTo>
                <a:cubicBezTo>
                  <a:pt x="0" y="3229"/>
                  <a:pt x="271" y="3484"/>
                  <a:pt x="541" y="3484"/>
                </a:cubicBezTo>
                <a:lnTo>
                  <a:pt x="1909" y="3484"/>
                </a:lnTo>
                <a:cubicBezTo>
                  <a:pt x="1957" y="3484"/>
                  <a:pt x="1988" y="3452"/>
                  <a:pt x="1988" y="3404"/>
                </a:cubicBezTo>
                <a:cubicBezTo>
                  <a:pt x="1988" y="3372"/>
                  <a:pt x="1957" y="3325"/>
                  <a:pt x="1909" y="3325"/>
                </a:cubicBezTo>
                <a:lnTo>
                  <a:pt x="541" y="3325"/>
                </a:lnTo>
                <a:cubicBezTo>
                  <a:pt x="366" y="3325"/>
                  <a:pt x="159" y="3150"/>
                  <a:pt x="159" y="2975"/>
                </a:cubicBezTo>
                <a:lnTo>
                  <a:pt x="159" y="398"/>
                </a:lnTo>
                <a:cubicBezTo>
                  <a:pt x="159" y="335"/>
                  <a:pt x="191" y="287"/>
                  <a:pt x="239" y="239"/>
                </a:cubicBezTo>
                <a:lnTo>
                  <a:pt x="1702" y="1814"/>
                </a:lnTo>
                <a:lnTo>
                  <a:pt x="684" y="2752"/>
                </a:lnTo>
                <a:cubicBezTo>
                  <a:pt x="652" y="2784"/>
                  <a:pt x="652" y="2832"/>
                  <a:pt x="684" y="2863"/>
                </a:cubicBezTo>
                <a:cubicBezTo>
                  <a:pt x="700" y="2896"/>
                  <a:pt x="716" y="2896"/>
                  <a:pt x="732" y="2896"/>
                </a:cubicBezTo>
                <a:cubicBezTo>
                  <a:pt x="748" y="2896"/>
                  <a:pt x="780" y="2896"/>
                  <a:pt x="795" y="2880"/>
                </a:cubicBezTo>
                <a:lnTo>
                  <a:pt x="1813" y="1941"/>
                </a:lnTo>
                <a:lnTo>
                  <a:pt x="1909" y="2036"/>
                </a:lnTo>
                <a:cubicBezTo>
                  <a:pt x="2052" y="2180"/>
                  <a:pt x="2227" y="2259"/>
                  <a:pt x="2418" y="2259"/>
                </a:cubicBezTo>
                <a:cubicBezTo>
                  <a:pt x="2625" y="2259"/>
                  <a:pt x="2800" y="2180"/>
                  <a:pt x="2943" y="2036"/>
                </a:cubicBezTo>
                <a:lnTo>
                  <a:pt x="3038" y="1941"/>
                </a:lnTo>
                <a:lnTo>
                  <a:pt x="3515" y="2387"/>
                </a:lnTo>
                <a:cubicBezTo>
                  <a:pt x="3531" y="2402"/>
                  <a:pt x="3547" y="2402"/>
                  <a:pt x="3563" y="2402"/>
                </a:cubicBezTo>
                <a:cubicBezTo>
                  <a:pt x="3595" y="2402"/>
                  <a:pt x="3611" y="2387"/>
                  <a:pt x="3627" y="2371"/>
                </a:cubicBezTo>
                <a:cubicBezTo>
                  <a:pt x="3658" y="2339"/>
                  <a:pt x="3658" y="2291"/>
                  <a:pt x="3627" y="2259"/>
                </a:cubicBezTo>
                <a:lnTo>
                  <a:pt x="3134" y="1814"/>
                </a:lnTo>
                <a:lnTo>
                  <a:pt x="4581" y="271"/>
                </a:lnTo>
                <a:cubicBezTo>
                  <a:pt x="4597" y="303"/>
                  <a:pt x="4613" y="351"/>
                  <a:pt x="4613" y="398"/>
                </a:cubicBezTo>
                <a:lnTo>
                  <a:pt x="4613" y="2418"/>
                </a:lnTo>
                <a:cubicBezTo>
                  <a:pt x="4613" y="2466"/>
                  <a:pt x="4645" y="2498"/>
                  <a:pt x="4693" y="2498"/>
                </a:cubicBezTo>
                <a:cubicBezTo>
                  <a:pt x="4740" y="2498"/>
                  <a:pt x="4772" y="2466"/>
                  <a:pt x="4772" y="2418"/>
                </a:cubicBezTo>
                <a:lnTo>
                  <a:pt x="4772" y="398"/>
                </a:lnTo>
                <a:cubicBezTo>
                  <a:pt x="4772" y="144"/>
                  <a:pt x="4597" y="0"/>
                  <a:pt x="4311" y="0"/>
                </a:cubicBezTo>
                <a:close/>
                <a:moveTo>
                  <a:pt x="2815" y="1925"/>
                </a:moveTo>
                <a:cubicBezTo>
                  <a:pt x="2609" y="2164"/>
                  <a:pt x="2243" y="2164"/>
                  <a:pt x="2020" y="1925"/>
                </a:cubicBezTo>
                <a:lnTo>
                  <a:pt x="382" y="175"/>
                </a:lnTo>
                <a:cubicBezTo>
                  <a:pt x="446" y="160"/>
                  <a:pt x="493" y="160"/>
                  <a:pt x="541" y="160"/>
                </a:cubicBezTo>
                <a:lnTo>
                  <a:pt x="4311" y="160"/>
                </a:lnTo>
                <a:cubicBezTo>
                  <a:pt x="4358" y="160"/>
                  <a:pt x="4406" y="160"/>
                  <a:pt x="4470" y="175"/>
                </a:cubicBezTo>
                <a:close/>
                <a:moveTo>
                  <a:pt x="4120" y="3325"/>
                </a:moveTo>
                <a:lnTo>
                  <a:pt x="3022" y="3325"/>
                </a:lnTo>
                <a:cubicBezTo>
                  <a:pt x="2975" y="3325"/>
                  <a:pt x="2943" y="3372"/>
                  <a:pt x="2943" y="3404"/>
                </a:cubicBezTo>
                <a:cubicBezTo>
                  <a:pt x="2943" y="3452"/>
                  <a:pt x="2975" y="3484"/>
                  <a:pt x="3022" y="3484"/>
                </a:cubicBezTo>
                <a:lnTo>
                  <a:pt x="4120" y="3484"/>
                </a:lnTo>
                <a:cubicBezTo>
                  <a:pt x="4263" y="3484"/>
                  <a:pt x="4454" y="3341"/>
                  <a:pt x="4454" y="3166"/>
                </a:cubicBezTo>
                <a:cubicBezTo>
                  <a:pt x="4454" y="3007"/>
                  <a:pt x="4263" y="2848"/>
                  <a:pt x="4120" y="2848"/>
                </a:cubicBezTo>
                <a:lnTo>
                  <a:pt x="2704" y="2848"/>
                </a:lnTo>
                <a:cubicBezTo>
                  <a:pt x="2450" y="2848"/>
                  <a:pt x="2227" y="3086"/>
                  <a:pt x="2227" y="3357"/>
                </a:cubicBezTo>
                <a:lnTo>
                  <a:pt x="2227" y="3389"/>
                </a:lnTo>
                <a:cubicBezTo>
                  <a:pt x="2227" y="3627"/>
                  <a:pt x="2434" y="3802"/>
                  <a:pt x="2704" y="3802"/>
                </a:cubicBezTo>
                <a:lnTo>
                  <a:pt x="4120" y="3802"/>
                </a:lnTo>
                <a:cubicBezTo>
                  <a:pt x="4502" y="3802"/>
                  <a:pt x="4772" y="3548"/>
                  <a:pt x="4772" y="3166"/>
                </a:cubicBezTo>
                <a:cubicBezTo>
                  <a:pt x="4772" y="2800"/>
                  <a:pt x="4502" y="2530"/>
                  <a:pt x="4120" y="2530"/>
                </a:cubicBezTo>
                <a:lnTo>
                  <a:pt x="3022" y="2530"/>
                </a:lnTo>
                <a:cubicBezTo>
                  <a:pt x="2975" y="2530"/>
                  <a:pt x="2943" y="2577"/>
                  <a:pt x="2943" y="2609"/>
                </a:cubicBezTo>
                <a:cubicBezTo>
                  <a:pt x="2943" y="2657"/>
                  <a:pt x="2975" y="2689"/>
                  <a:pt x="3022" y="2689"/>
                </a:cubicBezTo>
                <a:lnTo>
                  <a:pt x="4120" y="2689"/>
                </a:lnTo>
                <a:cubicBezTo>
                  <a:pt x="4406" y="2689"/>
                  <a:pt x="4613" y="2896"/>
                  <a:pt x="4613" y="3182"/>
                </a:cubicBezTo>
                <a:cubicBezTo>
                  <a:pt x="4613" y="3452"/>
                  <a:pt x="4406" y="3643"/>
                  <a:pt x="4120" y="3643"/>
                </a:cubicBezTo>
                <a:lnTo>
                  <a:pt x="2704" y="3643"/>
                </a:lnTo>
                <a:cubicBezTo>
                  <a:pt x="2545" y="3643"/>
                  <a:pt x="2386" y="3563"/>
                  <a:pt x="2386" y="3389"/>
                </a:cubicBezTo>
                <a:lnTo>
                  <a:pt x="2386" y="3357"/>
                </a:lnTo>
                <a:cubicBezTo>
                  <a:pt x="2386" y="3182"/>
                  <a:pt x="2545" y="3007"/>
                  <a:pt x="2704" y="3007"/>
                </a:cubicBezTo>
                <a:lnTo>
                  <a:pt x="4120" y="3007"/>
                </a:lnTo>
                <a:cubicBezTo>
                  <a:pt x="4184" y="3007"/>
                  <a:pt x="4295" y="3102"/>
                  <a:pt x="4295" y="3182"/>
                </a:cubicBezTo>
                <a:cubicBezTo>
                  <a:pt x="4295" y="3245"/>
                  <a:pt x="4184" y="3325"/>
                  <a:pt x="4120" y="332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9">
            <a:extLst>
              <a:ext uri="{FF2B5EF4-FFF2-40B4-BE49-F238E27FC236}">
                <a16:creationId xmlns:a16="http://schemas.microsoft.com/office/drawing/2014/main" id="{3639608E-58EC-F843-AA6C-4B7284FF2793}"/>
              </a:ext>
            </a:extLst>
          </p:cNvPr>
          <p:cNvSpPr/>
          <p:nvPr/>
        </p:nvSpPr>
        <p:spPr>
          <a:xfrm>
            <a:off x="13927034" y="6533982"/>
            <a:ext cx="1848960" cy="1643039"/>
          </a:xfrm>
          <a:custGeom>
            <a:avLst/>
            <a:gdLst/>
            <a:ahLst/>
            <a:cxnLst>
              <a:cxn ang="3cd4">
                <a:pos x="hc" y="t"/>
              </a:cxn>
              <a:cxn ang="cd2">
                <a:pos x="l" y="vc"/>
              </a:cxn>
              <a:cxn ang="cd4">
                <a:pos x="hc" y="b"/>
              </a:cxn>
              <a:cxn ang="0">
                <a:pos x="r" y="vc"/>
              </a:cxn>
            </a:cxnLst>
            <a:rect l="l" t="t" r="r" b="b"/>
            <a:pathLst>
              <a:path w="5137" h="4565">
                <a:moveTo>
                  <a:pt x="493" y="3658"/>
                </a:moveTo>
                <a:lnTo>
                  <a:pt x="3006" y="3658"/>
                </a:lnTo>
                <a:cubicBezTo>
                  <a:pt x="3086" y="4167"/>
                  <a:pt x="3531" y="4565"/>
                  <a:pt x="4072" y="4565"/>
                </a:cubicBezTo>
                <a:cubicBezTo>
                  <a:pt x="4660" y="4565"/>
                  <a:pt x="5137" y="4088"/>
                  <a:pt x="5137" y="3499"/>
                </a:cubicBezTo>
                <a:cubicBezTo>
                  <a:pt x="5137" y="3165"/>
                  <a:pt x="4994" y="2879"/>
                  <a:pt x="4756" y="2688"/>
                </a:cubicBezTo>
                <a:lnTo>
                  <a:pt x="4756" y="525"/>
                </a:lnTo>
                <a:cubicBezTo>
                  <a:pt x="4756" y="254"/>
                  <a:pt x="4517" y="0"/>
                  <a:pt x="4263" y="0"/>
                </a:cubicBezTo>
                <a:lnTo>
                  <a:pt x="493" y="0"/>
                </a:lnTo>
                <a:cubicBezTo>
                  <a:pt x="238" y="0"/>
                  <a:pt x="0" y="254"/>
                  <a:pt x="0" y="525"/>
                </a:cubicBezTo>
                <a:lnTo>
                  <a:pt x="0" y="3101"/>
                </a:lnTo>
                <a:cubicBezTo>
                  <a:pt x="0" y="3356"/>
                  <a:pt x="223" y="3658"/>
                  <a:pt x="493" y="3658"/>
                </a:cubicBezTo>
                <a:close/>
                <a:moveTo>
                  <a:pt x="4979" y="3499"/>
                </a:moveTo>
                <a:cubicBezTo>
                  <a:pt x="4979" y="4008"/>
                  <a:pt x="4565" y="4406"/>
                  <a:pt x="4072" y="4406"/>
                </a:cubicBezTo>
                <a:cubicBezTo>
                  <a:pt x="3563" y="4406"/>
                  <a:pt x="3149" y="4008"/>
                  <a:pt x="3149" y="3499"/>
                </a:cubicBezTo>
                <a:cubicBezTo>
                  <a:pt x="3149" y="2990"/>
                  <a:pt x="3563" y="2592"/>
                  <a:pt x="4072" y="2592"/>
                </a:cubicBezTo>
                <a:cubicBezTo>
                  <a:pt x="4565" y="2592"/>
                  <a:pt x="4979" y="2990"/>
                  <a:pt x="4979" y="3499"/>
                </a:cubicBezTo>
                <a:close/>
                <a:moveTo>
                  <a:pt x="4072" y="2433"/>
                </a:moveTo>
                <a:cubicBezTo>
                  <a:pt x="3929" y="2433"/>
                  <a:pt x="3801" y="2449"/>
                  <a:pt x="3690" y="2497"/>
                </a:cubicBezTo>
                <a:lnTo>
                  <a:pt x="3086" y="1940"/>
                </a:lnTo>
                <a:lnTo>
                  <a:pt x="4565" y="381"/>
                </a:lnTo>
                <a:cubicBezTo>
                  <a:pt x="4581" y="413"/>
                  <a:pt x="4597" y="477"/>
                  <a:pt x="4597" y="525"/>
                </a:cubicBezTo>
                <a:lnTo>
                  <a:pt x="4597" y="2576"/>
                </a:lnTo>
                <a:cubicBezTo>
                  <a:pt x="4438" y="2481"/>
                  <a:pt x="4263" y="2433"/>
                  <a:pt x="4072" y="2433"/>
                </a:cubicBezTo>
                <a:close/>
                <a:moveTo>
                  <a:pt x="4263" y="159"/>
                </a:moveTo>
                <a:cubicBezTo>
                  <a:pt x="4342" y="159"/>
                  <a:pt x="4406" y="190"/>
                  <a:pt x="4470" y="254"/>
                </a:cubicBezTo>
                <a:lnTo>
                  <a:pt x="2768" y="2052"/>
                </a:lnTo>
                <a:cubicBezTo>
                  <a:pt x="2561" y="2290"/>
                  <a:pt x="2195" y="2290"/>
                  <a:pt x="1973" y="2052"/>
                </a:cubicBezTo>
                <a:lnTo>
                  <a:pt x="286" y="254"/>
                </a:lnTo>
                <a:cubicBezTo>
                  <a:pt x="350" y="190"/>
                  <a:pt x="414" y="159"/>
                  <a:pt x="493" y="159"/>
                </a:cubicBezTo>
                <a:close/>
                <a:moveTo>
                  <a:pt x="159" y="525"/>
                </a:moveTo>
                <a:cubicBezTo>
                  <a:pt x="159" y="477"/>
                  <a:pt x="175" y="429"/>
                  <a:pt x="191" y="381"/>
                </a:cubicBezTo>
                <a:lnTo>
                  <a:pt x="1654" y="1956"/>
                </a:lnTo>
                <a:lnTo>
                  <a:pt x="636" y="2879"/>
                </a:lnTo>
                <a:cubicBezTo>
                  <a:pt x="604" y="2910"/>
                  <a:pt x="604" y="2974"/>
                  <a:pt x="636" y="3006"/>
                </a:cubicBezTo>
                <a:cubicBezTo>
                  <a:pt x="652" y="3022"/>
                  <a:pt x="668" y="3022"/>
                  <a:pt x="684" y="3022"/>
                </a:cubicBezTo>
                <a:cubicBezTo>
                  <a:pt x="700" y="3022"/>
                  <a:pt x="732" y="3022"/>
                  <a:pt x="747" y="3006"/>
                </a:cubicBezTo>
                <a:lnTo>
                  <a:pt x="1765" y="2068"/>
                </a:lnTo>
                <a:lnTo>
                  <a:pt x="1861" y="2163"/>
                </a:lnTo>
                <a:cubicBezTo>
                  <a:pt x="2004" y="2306"/>
                  <a:pt x="2179" y="2386"/>
                  <a:pt x="2370" y="2386"/>
                </a:cubicBezTo>
                <a:cubicBezTo>
                  <a:pt x="2577" y="2386"/>
                  <a:pt x="2752" y="2306"/>
                  <a:pt x="2895" y="2163"/>
                </a:cubicBezTo>
                <a:lnTo>
                  <a:pt x="2991" y="2068"/>
                </a:lnTo>
                <a:lnTo>
                  <a:pt x="3531" y="2561"/>
                </a:lnTo>
                <a:cubicBezTo>
                  <a:pt x="3213" y="2752"/>
                  <a:pt x="2991" y="3101"/>
                  <a:pt x="2991" y="3499"/>
                </a:cubicBezTo>
                <a:lnTo>
                  <a:pt x="493" y="3499"/>
                </a:lnTo>
                <a:cubicBezTo>
                  <a:pt x="318" y="3499"/>
                  <a:pt x="159" y="3276"/>
                  <a:pt x="159" y="3101"/>
                </a:cubicBezTo>
                <a:close/>
                <a:moveTo>
                  <a:pt x="4565" y="3229"/>
                </a:moveTo>
                <a:lnTo>
                  <a:pt x="4119" y="3388"/>
                </a:lnTo>
                <a:lnTo>
                  <a:pt x="4119" y="3022"/>
                </a:lnTo>
                <a:cubicBezTo>
                  <a:pt x="4119" y="2974"/>
                  <a:pt x="4088" y="2942"/>
                  <a:pt x="4040" y="2942"/>
                </a:cubicBezTo>
                <a:cubicBezTo>
                  <a:pt x="4008" y="2942"/>
                  <a:pt x="3961" y="2974"/>
                  <a:pt x="3961" y="3022"/>
                </a:cubicBezTo>
                <a:lnTo>
                  <a:pt x="3961" y="3372"/>
                </a:lnTo>
                <a:lnTo>
                  <a:pt x="3579" y="3229"/>
                </a:lnTo>
                <a:cubicBezTo>
                  <a:pt x="3531" y="3213"/>
                  <a:pt x="3499" y="3229"/>
                  <a:pt x="3483" y="3276"/>
                </a:cubicBezTo>
                <a:cubicBezTo>
                  <a:pt x="3467" y="3308"/>
                  <a:pt x="3483" y="3356"/>
                  <a:pt x="3515" y="3372"/>
                </a:cubicBezTo>
                <a:lnTo>
                  <a:pt x="3945" y="3531"/>
                </a:lnTo>
                <a:lnTo>
                  <a:pt x="3690" y="3897"/>
                </a:lnTo>
                <a:cubicBezTo>
                  <a:pt x="3658" y="3928"/>
                  <a:pt x="3674" y="3976"/>
                  <a:pt x="3706" y="4008"/>
                </a:cubicBezTo>
                <a:cubicBezTo>
                  <a:pt x="3722" y="4008"/>
                  <a:pt x="3738" y="4024"/>
                  <a:pt x="3754" y="4024"/>
                </a:cubicBezTo>
                <a:cubicBezTo>
                  <a:pt x="3770" y="4024"/>
                  <a:pt x="3801" y="4008"/>
                  <a:pt x="3818" y="3976"/>
                </a:cubicBezTo>
                <a:lnTo>
                  <a:pt x="4072" y="3626"/>
                </a:lnTo>
                <a:lnTo>
                  <a:pt x="4327" y="3976"/>
                </a:lnTo>
                <a:cubicBezTo>
                  <a:pt x="4342" y="3992"/>
                  <a:pt x="4358" y="4008"/>
                  <a:pt x="4390" y="4008"/>
                </a:cubicBezTo>
                <a:cubicBezTo>
                  <a:pt x="4406" y="4008"/>
                  <a:pt x="4422" y="4008"/>
                  <a:pt x="4438" y="3992"/>
                </a:cubicBezTo>
                <a:cubicBezTo>
                  <a:pt x="4470" y="3976"/>
                  <a:pt x="4485" y="3913"/>
                  <a:pt x="4454" y="3881"/>
                </a:cubicBezTo>
                <a:lnTo>
                  <a:pt x="4199" y="3531"/>
                </a:lnTo>
                <a:lnTo>
                  <a:pt x="4613" y="3372"/>
                </a:lnTo>
                <a:cubicBezTo>
                  <a:pt x="4660" y="3356"/>
                  <a:pt x="4676" y="3308"/>
                  <a:pt x="4660" y="3276"/>
                </a:cubicBezTo>
                <a:cubicBezTo>
                  <a:pt x="4645" y="3229"/>
                  <a:pt x="4597" y="3213"/>
                  <a:pt x="4565" y="322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3" name="Freeform: Shape 10">
            <a:extLst>
              <a:ext uri="{FF2B5EF4-FFF2-40B4-BE49-F238E27FC236}">
                <a16:creationId xmlns:a16="http://schemas.microsoft.com/office/drawing/2014/main" id="{FBEC355D-5182-F64E-94CB-6DE27C7116E7}"/>
              </a:ext>
            </a:extLst>
          </p:cNvPr>
          <p:cNvSpPr/>
          <p:nvPr/>
        </p:nvSpPr>
        <p:spPr>
          <a:xfrm>
            <a:off x="9946310" y="6533982"/>
            <a:ext cx="1849319" cy="1643039"/>
          </a:xfrm>
          <a:custGeom>
            <a:avLst/>
            <a:gdLst/>
            <a:ahLst/>
            <a:cxnLst>
              <a:cxn ang="3cd4">
                <a:pos x="hc" y="t"/>
              </a:cxn>
              <a:cxn ang="cd2">
                <a:pos x="l" y="vc"/>
              </a:cxn>
              <a:cxn ang="cd4">
                <a:pos x="hc" y="b"/>
              </a:cxn>
              <a:cxn ang="0">
                <a:pos x="r" y="vc"/>
              </a:cxn>
            </a:cxnLst>
            <a:rect l="l" t="t" r="r" b="b"/>
            <a:pathLst>
              <a:path w="5138" h="4565">
                <a:moveTo>
                  <a:pt x="3818" y="3085"/>
                </a:moveTo>
                <a:lnTo>
                  <a:pt x="3436" y="3531"/>
                </a:lnTo>
                <a:cubicBezTo>
                  <a:pt x="3404" y="3547"/>
                  <a:pt x="3404" y="3594"/>
                  <a:pt x="3436" y="3626"/>
                </a:cubicBezTo>
                <a:lnTo>
                  <a:pt x="3818" y="4056"/>
                </a:lnTo>
                <a:cubicBezTo>
                  <a:pt x="3833" y="4071"/>
                  <a:pt x="3849" y="4088"/>
                  <a:pt x="3881" y="4088"/>
                </a:cubicBezTo>
                <a:cubicBezTo>
                  <a:pt x="3897" y="4088"/>
                  <a:pt x="3913" y="4088"/>
                  <a:pt x="3929" y="4071"/>
                </a:cubicBezTo>
                <a:cubicBezTo>
                  <a:pt x="3961" y="4040"/>
                  <a:pt x="3961" y="3992"/>
                  <a:pt x="3945" y="3960"/>
                </a:cubicBezTo>
                <a:lnTo>
                  <a:pt x="3595" y="3579"/>
                </a:lnTo>
                <a:lnTo>
                  <a:pt x="3945" y="3197"/>
                </a:lnTo>
                <a:cubicBezTo>
                  <a:pt x="3961" y="3165"/>
                  <a:pt x="3961" y="3117"/>
                  <a:pt x="3929" y="3085"/>
                </a:cubicBezTo>
                <a:cubicBezTo>
                  <a:pt x="3897" y="3053"/>
                  <a:pt x="3849" y="3053"/>
                  <a:pt x="3818" y="3085"/>
                </a:cubicBezTo>
                <a:close/>
                <a:moveTo>
                  <a:pt x="493" y="3658"/>
                </a:moveTo>
                <a:lnTo>
                  <a:pt x="3006" y="3658"/>
                </a:lnTo>
                <a:cubicBezTo>
                  <a:pt x="3086" y="4167"/>
                  <a:pt x="3531" y="4565"/>
                  <a:pt x="4072" y="4565"/>
                </a:cubicBezTo>
                <a:cubicBezTo>
                  <a:pt x="4661" y="4565"/>
                  <a:pt x="5138" y="4088"/>
                  <a:pt x="5138" y="3499"/>
                </a:cubicBezTo>
                <a:cubicBezTo>
                  <a:pt x="5138" y="3165"/>
                  <a:pt x="4994" y="2879"/>
                  <a:pt x="4772" y="2688"/>
                </a:cubicBezTo>
                <a:lnTo>
                  <a:pt x="4772" y="525"/>
                </a:lnTo>
                <a:cubicBezTo>
                  <a:pt x="4772" y="254"/>
                  <a:pt x="4518" y="0"/>
                  <a:pt x="4263" y="0"/>
                </a:cubicBezTo>
                <a:lnTo>
                  <a:pt x="493" y="0"/>
                </a:lnTo>
                <a:cubicBezTo>
                  <a:pt x="239" y="0"/>
                  <a:pt x="0" y="254"/>
                  <a:pt x="0" y="525"/>
                </a:cubicBezTo>
                <a:lnTo>
                  <a:pt x="0" y="3101"/>
                </a:lnTo>
                <a:cubicBezTo>
                  <a:pt x="0" y="3356"/>
                  <a:pt x="223" y="3658"/>
                  <a:pt x="493" y="3658"/>
                </a:cubicBezTo>
                <a:close/>
                <a:moveTo>
                  <a:pt x="4994" y="3499"/>
                </a:moveTo>
                <a:cubicBezTo>
                  <a:pt x="4994" y="3547"/>
                  <a:pt x="4979" y="3579"/>
                  <a:pt x="4979" y="3626"/>
                </a:cubicBezTo>
                <a:cubicBezTo>
                  <a:pt x="4867" y="3547"/>
                  <a:pt x="4756" y="3499"/>
                  <a:pt x="4645" y="3499"/>
                </a:cubicBezTo>
                <a:lnTo>
                  <a:pt x="4104" y="3499"/>
                </a:lnTo>
                <a:lnTo>
                  <a:pt x="4375" y="3197"/>
                </a:lnTo>
                <a:cubicBezTo>
                  <a:pt x="4406" y="3165"/>
                  <a:pt x="4406" y="3117"/>
                  <a:pt x="4375" y="3085"/>
                </a:cubicBezTo>
                <a:cubicBezTo>
                  <a:pt x="4342" y="3053"/>
                  <a:pt x="4279" y="3053"/>
                  <a:pt x="4263" y="3085"/>
                </a:cubicBezTo>
                <a:lnTo>
                  <a:pt x="3866" y="3531"/>
                </a:lnTo>
                <a:cubicBezTo>
                  <a:pt x="3849" y="3547"/>
                  <a:pt x="3849" y="3594"/>
                  <a:pt x="3866" y="3626"/>
                </a:cubicBezTo>
                <a:lnTo>
                  <a:pt x="4263" y="4056"/>
                </a:lnTo>
                <a:cubicBezTo>
                  <a:pt x="4279" y="4071"/>
                  <a:pt x="4295" y="4088"/>
                  <a:pt x="4311" y="4088"/>
                </a:cubicBezTo>
                <a:cubicBezTo>
                  <a:pt x="4327" y="4088"/>
                  <a:pt x="4358" y="4088"/>
                  <a:pt x="4375" y="4071"/>
                </a:cubicBezTo>
                <a:cubicBezTo>
                  <a:pt x="4406" y="4040"/>
                  <a:pt x="4406" y="3992"/>
                  <a:pt x="4375" y="3960"/>
                </a:cubicBezTo>
                <a:lnTo>
                  <a:pt x="4104" y="3658"/>
                </a:lnTo>
                <a:lnTo>
                  <a:pt x="4645" y="3658"/>
                </a:lnTo>
                <a:cubicBezTo>
                  <a:pt x="4740" y="3658"/>
                  <a:pt x="4836" y="3706"/>
                  <a:pt x="4931" y="3801"/>
                </a:cubicBezTo>
                <a:cubicBezTo>
                  <a:pt x="4804" y="4151"/>
                  <a:pt x="4470" y="4406"/>
                  <a:pt x="4072" y="4406"/>
                </a:cubicBezTo>
                <a:cubicBezTo>
                  <a:pt x="3563" y="4406"/>
                  <a:pt x="3166" y="4008"/>
                  <a:pt x="3166" y="3499"/>
                </a:cubicBezTo>
                <a:cubicBezTo>
                  <a:pt x="3166" y="2990"/>
                  <a:pt x="3563" y="2592"/>
                  <a:pt x="4072" y="2592"/>
                </a:cubicBezTo>
                <a:cubicBezTo>
                  <a:pt x="4581" y="2592"/>
                  <a:pt x="4994" y="2990"/>
                  <a:pt x="4994" y="3499"/>
                </a:cubicBezTo>
                <a:close/>
                <a:moveTo>
                  <a:pt x="4072" y="2433"/>
                </a:moveTo>
                <a:cubicBezTo>
                  <a:pt x="3945" y="2433"/>
                  <a:pt x="3818" y="2449"/>
                  <a:pt x="3690" y="2497"/>
                </a:cubicBezTo>
                <a:lnTo>
                  <a:pt x="3102" y="1956"/>
                </a:lnTo>
                <a:lnTo>
                  <a:pt x="4565" y="381"/>
                </a:lnTo>
                <a:cubicBezTo>
                  <a:pt x="4597" y="429"/>
                  <a:pt x="4613" y="477"/>
                  <a:pt x="4613" y="525"/>
                </a:cubicBezTo>
                <a:lnTo>
                  <a:pt x="4613" y="2576"/>
                </a:lnTo>
                <a:cubicBezTo>
                  <a:pt x="4454" y="2481"/>
                  <a:pt x="4263" y="2433"/>
                  <a:pt x="4072" y="2433"/>
                </a:cubicBezTo>
                <a:close/>
                <a:moveTo>
                  <a:pt x="4263" y="159"/>
                </a:moveTo>
                <a:cubicBezTo>
                  <a:pt x="4342" y="159"/>
                  <a:pt x="4422" y="190"/>
                  <a:pt x="4470" y="254"/>
                </a:cubicBezTo>
                <a:lnTo>
                  <a:pt x="2784" y="2052"/>
                </a:lnTo>
                <a:cubicBezTo>
                  <a:pt x="2561" y="2290"/>
                  <a:pt x="2195" y="2290"/>
                  <a:pt x="1988" y="2052"/>
                </a:cubicBezTo>
                <a:lnTo>
                  <a:pt x="286" y="254"/>
                </a:lnTo>
                <a:cubicBezTo>
                  <a:pt x="350" y="190"/>
                  <a:pt x="430" y="159"/>
                  <a:pt x="493" y="159"/>
                </a:cubicBezTo>
                <a:close/>
                <a:moveTo>
                  <a:pt x="159" y="525"/>
                </a:moveTo>
                <a:cubicBezTo>
                  <a:pt x="159" y="477"/>
                  <a:pt x="175" y="429"/>
                  <a:pt x="191" y="381"/>
                </a:cubicBezTo>
                <a:lnTo>
                  <a:pt x="1670" y="1956"/>
                </a:lnTo>
                <a:lnTo>
                  <a:pt x="637" y="2879"/>
                </a:lnTo>
                <a:cubicBezTo>
                  <a:pt x="604" y="2910"/>
                  <a:pt x="604" y="2974"/>
                  <a:pt x="637" y="3006"/>
                </a:cubicBezTo>
                <a:cubicBezTo>
                  <a:pt x="652" y="3022"/>
                  <a:pt x="668" y="3022"/>
                  <a:pt x="700" y="3022"/>
                </a:cubicBezTo>
                <a:cubicBezTo>
                  <a:pt x="716" y="3022"/>
                  <a:pt x="732" y="3022"/>
                  <a:pt x="748" y="3006"/>
                </a:cubicBezTo>
                <a:lnTo>
                  <a:pt x="1782" y="2068"/>
                </a:lnTo>
                <a:lnTo>
                  <a:pt x="1861" y="2163"/>
                </a:lnTo>
                <a:cubicBezTo>
                  <a:pt x="2004" y="2306"/>
                  <a:pt x="2179" y="2386"/>
                  <a:pt x="2386" y="2386"/>
                </a:cubicBezTo>
                <a:cubicBezTo>
                  <a:pt x="2577" y="2386"/>
                  <a:pt x="2768" y="2306"/>
                  <a:pt x="2895" y="2163"/>
                </a:cubicBezTo>
                <a:lnTo>
                  <a:pt x="2991" y="2068"/>
                </a:lnTo>
                <a:lnTo>
                  <a:pt x="3547" y="2561"/>
                </a:lnTo>
                <a:cubicBezTo>
                  <a:pt x="3213" y="2752"/>
                  <a:pt x="3006" y="3101"/>
                  <a:pt x="3006" y="3499"/>
                </a:cubicBezTo>
                <a:lnTo>
                  <a:pt x="493" y="3499"/>
                </a:lnTo>
                <a:cubicBezTo>
                  <a:pt x="318" y="3499"/>
                  <a:pt x="159" y="3276"/>
                  <a:pt x="159" y="310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4" name="Freeform: Shape 11">
            <a:extLst>
              <a:ext uri="{FF2B5EF4-FFF2-40B4-BE49-F238E27FC236}">
                <a16:creationId xmlns:a16="http://schemas.microsoft.com/office/drawing/2014/main" id="{C5AA64E3-F09F-6F4B-B179-40B97AF07322}"/>
              </a:ext>
            </a:extLst>
          </p:cNvPr>
          <p:cNvSpPr/>
          <p:nvPr/>
        </p:nvSpPr>
        <p:spPr>
          <a:xfrm>
            <a:off x="5981389" y="6631182"/>
            <a:ext cx="1636920" cy="1454040"/>
          </a:xfrm>
          <a:custGeom>
            <a:avLst/>
            <a:gdLst/>
            <a:ahLst/>
            <a:cxnLst>
              <a:cxn ang="3cd4">
                <a:pos x="hc" y="t"/>
              </a:cxn>
              <a:cxn ang="cd2">
                <a:pos x="l" y="vc"/>
              </a:cxn>
              <a:cxn ang="cd4">
                <a:pos x="hc" y="b"/>
              </a:cxn>
              <a:cxn ang="0">
                <a:pos x="r" y="vc"/>
              </a:cxn>
            </a:cxnLst>
            <a:rect l="l" t="t" r="r" b="b"/>
            <a:pathLst>
              <a:path w="4548" h="4040">
                <a:moveTo>
                  <a:pt x="3865" y="2991"/>
                </a:moveTo>
                <a:lnTo>
                  <a:pt x="3356" y="2991"/>
                </a:lnTo>
                <a:lnTo>
                  <a:pt x="3547" y="2752"/>
                </a:lnTo>
                <a:cubicBezTo>
                  <a:pt x="3578" y="2720"/>
                  <a:pt x="3563" y="2672"/>
                  <a:pt x="3531" y="2640"/>
                </a:cubicBezTo>
                <a:cubicBezTo>
                  <a:pt x="3499" y="2609"/>
                  <a:pt x="3451" y="2625"/>
                  <a:pt x="3420" y="2656"/>
                </a:cubicBezTo>
                <a:lnTo>
                  <a:pt x="3117" y="3038"/>
                </a:lnTo>
                <a:cubicBezTo>
                  <a:pt x="3101" y="3070"/>
                  <a:pt x="3101" y="3102"/>
                  <a:pt x="3117" y="3134"/>
                </a:cubicBezTo>
                <a:lnTo>
                  <a:pt x="3420" y="3515"/>
                </a:lnTo>
                <a:cubicBezTo>
                  <a:pt x="3435" y="3531"/>
                  <a:pt x="3467" y="3547"/>
                  <a:pt x="3483" y="3547"/>
                </a:cubicBezTo>
                <a:cubicBezTo>
                  <a:pt x="3499" y="3547"/>
                  <a:pt x="3515" y="3547"/>
                  <a:pt x="3531" y="3531"/>
                </a:cubicBezTo>
                <a:cubicBezTo>
                  <a:pt x="3563" y="3500"/>
                  <a:pt x="3578" y="3452"/>
                  <a:pt x="3547" y="3420"/>
                </a:cubicBezTo>
                <a:lnTo>
                  <a:pt x="3340" y="3149"/>
                </a:lnTo>
                <a:lnTo>
                  <a:pt x="3865" y="3149"/>
                </a:lnTo>
                <a:cubicBezTo>
                  <a:pt x="3912" y="3149"/>
                  <a:pt x="3929" y="3149"/>
                  <a:pt x="3929" y="3245"/>
                </a:cubicBezTo>
                <a:cubicBezTo>
                  <a:pt x="3929" y="3292"/>
                  <a:pt x="3960" y="3324"/>
                  <a:pt x="4008" y="3324"/>
                </a:cubicBezTo>
                <a:cubicBezTo>
                  <a:pt x="4056" y="3324"/>
                  <a:pt x="4087" y="3292"/>
                  <a:pt x="4087" y="3245"/>
                </a:cubicBezTo>
                <a:cubicBezTo>
                  <a:pt x="4087" y="3086"/>
                  <a:pt x="4008" y="2991"/>
                  <a:pt x="3865" y="2991"/>
                </a:cubicBezTo>
                <a:close/>
                <a:moveTo>
                  <a:pt x="445" y="3229"/>
                </a:moveTo>
                <a:lnTo>
                  <a:pt x="2656" y="3229"/>
                </a:lnTo>
                <a:cubicBezTo>
                  <a:pt x="2735" y="3690"/>
                  <a:pt x="3117" y="4040"/>
                  <a:pt x="3594" y="4040"/>
                </a:cubicBezTo>
                <a:cubicBezTo>
                  <a:pt x="4119" y="4040"/>
                  <a:pt x="4548" y="3611"/>
                  <a:pt x="4548" y="3086"/>
                </a:cubicBezTo>
                <a:cubicBezTo>
                  <a:pt x="4548" y="2800"/>
                  <a:pt x="4421" y="2529"/>
                  <a:pt x="4215" y="2354"/>
                </a:cubicBezTo>
                <a:lnTo>
                  <a:pt x="4215" y="461"/>
                </a:lnTo>
                <a:cubicBezTo>
                  <a:pt x="4215" y="223"/>
                  <a:pt x="4008" y="0"/>
                  <a:pt x="3769" y="0"/>
                </a:cubicBezTo>
                <a:lnTo>
                  <a:pt x="445" y="0"/>
                </a:lnTo>
                <a:cubicBezTo>
                  <a:pt x="206" y="0"/>
                  <a:pt x="0" y="207"/>
                  <a:pt x="0" y="461"/>
                </a:cubicBezTo>
                <a:lnTo>
                  <a:pt x="0" y="2736"/>
                </a:lnTo>
                <a:cubicBezTo>
                  <a:pt x="0" y="2959"/>
                  <a:pt x="191" y="3229"/>
                  <a:pt x="445" y="3229"/>
                </a:cubicBezTo>
                <a:close/>
                <a:moveTo>
                  <a:pt x="4390" y="3086"/>
                </a:moveTo>
                <a:cubicBezTo>
                  <a:pt x="4390" y="3531"/>
                  <a:pt x="4039" y="3881"/>
                  <a:pt x="3594" y="3881"/>
                </a:cubicBezTo>
                <a:cubicBezTo>
                  <a:pt x="3165" y="3881"/>
                  <a:pt x="2799" y="3531"/>
                  <a:pt x="2799" y="3086"/>
                </a:cubicBezTo>
                <a:cubicBezTo>
                  <a:pt x="2799" y="2640"/>
                  <a:pt x="3165" y="2291"/>
                  <a:pt x="3594" y="2291"/>
                </a:cubicBezTo>
                <a:cubicBezTo>
                  <a:pt x="4039" y="2291"/>
                  <a:pt x="4390" y="2640"/>
                  <a:pt x="4390" y="3086"/>
                </a:cubicBezTo>
                <a:close/>
                <a:moveTo>
                  <a:pt x="3594" y="2131"/>
                </a:moveTo>
                <a:cubicBezTo>
                  <a:pt x="3483" y="2131"/>
                  <a:pt x="3372" y="2147"/>
                  <a:pt x="3260" y="2195"/>
                </a:cubicBezTo>
                <a:lnTo>
                  <a:pt x="2751" y="1718"/>
                </a:lnTo>
                <a:lnTo>
                  <a:pt x="4039" y="350"/>
                </a:lnTo>
                <a:cubicBezTo>
                  <a:pt x="4056" y="382"/>
                  <a:pt x="4056" y="414"/>
                  <a:pt x="4056" y="461"/>
                </a:cubicBezTo>
                <a:lnTo>
                  <a:pt x="4056" y="2243"/>
                </a:lnTo>
                <a:cubicBezTo>
                  <a:pt x="3929" y="2179"/>
                  <a:pt x="3769" y="2131"/>
                  <a:pt x="3594" y="2131"/>
                </a:cubicBezTo>
                <a:close/>
                <a:moveTo>
                  <a:pt x="3769" y="159"/>
                </a:moveTo>
                <a:cubicBezTo>
                  <a:pt x="3833" y="159"/>
                  <a:pt x="3881" y="175"/>
                  <a:pt x="3944" y="223"/>
                </a:cubicBezTo>
                <a:lnTo>
                  <a:pt x="2449" y="1798"/>
                </a:lnTo>
                <a:cubicBezTo>
                  <a:pt x="2274" y="2004"/>
                  <a:pt x="1940" y="2004"/>
                  <a:pt x="1765" y="1798"/>
                </a:cubicBezTo>
                <a:lnTo>
                  <a:pt x="270" y="223"/>
                </a:lnTo>
                <a:cubicBezTo>
                  <a:pt x="318" y="175"/>
                  <a:pt x="381" y="159"/>
                  <a:pt x="445" y="159"/>
                </a:cubicBezTo>
                <a:close/>
                <a:moveTo>
                  <a:pt x="158" y="461"/>
                </a:moveTo>
                <a:cubicBezTo>
                  <a:pt x="158" y="414"/>
                  <a:pt x="158" y="382"/>
                  <a:pt x="175" y="350"/>
                </a:cubicBezTo>
                <a:lnTo>
                  <a:pt x="1463" y="1718"/>
                </a:lnTo>
                <a:lnTo>
                  <a:pt x="557" y="2545"/>
                </a:lnTo>
                <a:cubicBezTo>
                  <a:pt x="524" y="2561"/>
                  <a:pt x="524" y="2625"/>
                  <a:pt x="557" y="2656"/>
                </a:cubicBezTo>
                <a:cubicBezTo>
                  <a:pt x="572" y="2672"/>
                  <a:pt x="588" y="2672"/>
                  <a:pt x="620" y="2672"/>
                </a:cubicBezTo>
                <a:cubicBezTo>
                  <a:pt x="636" y="2672"/>
                  <a:pt x="652" y="2672"/>
                  <a:pt x="667" y="2656"/>
                </a:cubicBezTo>
                <a:lnTo>
                  <a:pt x="1574" y="1829"/>
                </a:lnTo>
                <a:lnTo>
                  <a:pt x="1638" y="1909"/>
                </a:lnTo>
                <a:cubicBezTo>
                  <a:pt x="1765" y="2052"/>
                  <a:pt x="1924" y="2116"/>
                  <a:pt x="2099" y="2116"/>
                </a:cubicBezTo>
                <a:cubicBezTo>
                  <a:pt x="2274" y="2116"/>
                  <a:pt x="2449" y="2052"/>
                  <a:pt x="2560" y="1909"/>
                </a:cubicBezTo>
                <a:lnTo>
                  <a:pt x="2640" y="1829"/>
                </a:lnTo>
                <a:lnTo>
                  <a:pt x="3117" y="2259"/>
                </a:lnTo>
                <a:cubicBezTo>
                  <a:pt x="2831" y="2434"/>
                  <a:pt x="2640" y="2736"/>
                  <a:pt x="2640" y="3070"/>
                </a:cubicBezTo>
                <a:lnTo>
                  <a:pt x="445" y="3070"/>
                </a:lnTo>
                <a:cubicBezTo>
                  <a:pt x="302" y="3070"/>
                  <a:pt x="158" y="2879"/>
                  <a:pt x="158" y="273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5" name="Freeform: Shape 12">
            <a:extLst>
              <a:ext uri="{FF2B5EF4-FFF2-40B4-BE49-F238E27FC236}">
                <a16:creationId xmlns:a16="http://schemas.microsoft.com/office/drawing/2014/main" id="{2F15D51B-1D1A-B844-B6D2-C966D0771F22}"/>
              </a:ext>
            </a:extLst>
          </p:cNvPr>
          <p:cNvSpPr/>
          <p:nvPr/>
        </p:nvSpPr>
        <p:spPr>
          <a:xfrm>
            <a:off x="1822337" y="6608502"/>
            <a:ext cx="1677599" cy="1493999"/>
          </a:xfrm>
          <a:custGeom>
            <a:avLst/>
            <a:gdLst/>
            <a:ahLst/>
            <a:cxnLst>
              <a:cxn ang="3cd4">
                <a:pos x="hc" y="t"/>
              </a:cxn>
              <a:cxn ang="cd2">
                <a:pos x="l" y="vc"/>
              </a:cxn>
              <a:cxn ang="cd4">
                <a:pos x="hc" y="b"/>
              </a:cxn>
              <a:cxn ang="0">
                <a:pos x="r" y="vc"/>
              </a:cxn>
            </a:cxnLst>
            <a:rect l="l" t="t" r="r" b="b"/>
            <a:pathLst>
              <a:path w="4661" h="4151">
                <a:moveTo>
                  <a:pt x="4247" y="3276"/>
                </a:moveTo>
                <a:lnTo>
                  <a:pt x="4247" y="3260"/>
                </a:lnTo>
                <a:lnTo>
                  <a:pt x="4247" y="3244"/>
                </a:lnTo>
                <a:lnTo>
                  <a:pt x="4247" y="3228"/>
                </a:lnTo>
                <a:lnTo>
                  <a:pt x="4247" y="3212"/>
                </a:lnTo>
                <a:lnTo>
                  <a:pt x="4231" y="3212"/>
                </a:lnTo>
                <a:lnTo>
                  <a:pt x="4231" y="3197"/>
                </a:lnTo>
                <a:lnTo>
                  <a:pt x="3929" y="2815"/>
                </a:lnTo>
                <a:cubicBezTo>
                  <a:pt x="3897" y="2767"/>
                  <a:pt x="3849" y="2767"/>
                  <a:pt x="3817" y="2799"/>
                </a:cubicBezTo>
                <a:cubicBezTo>
                  <a:pt x="3770" y="2815"/>
                  <a:pt x="3770" y="2878"/>
                  <a:pt x="3802" y="2910"/>
                </a:cubicBezTo>
                <a:lnTo>
                  <a:pt x="4008" y="3165"/>
                </a:lnTo>
                <a:lnTo>
                  <a:pt x="3165" y="3165"/>
                </a:lnTo>
                <a:cubicBezTo>
                  <a:pt x="3117" y="3165"/>
                  <a:pt x="3086" y="3197"/>
                  <a:pt x="3086" y="3244"/>
                </a:cubicBezTo>
                <a:cubicBezTo>
                  <a:pt x="3086" y="3292"/>
                  <a:pt x="3117" y="3324"/>
                  <a:pt x="3165" y="3324"/>
                </a:cubicBezTo>
                <a:lnTo>
                  <a:pt x="4008" y="3324"/>
                </a:lnTo>
                <a:lnTo>
                  <a:pt x="3802" y="3594"/>
                </a:lnTo>
                <a:cubicBezTo>
                  <a:pt x="3770" y="3626"/>
                  <a:pt x="3770" y="3674"/>
                  <a:pt x="3817" y="3706"/>
                </a:cubicBezTo>
                <a:cubicBezTo>
                  <a:pt x="3834" y="3706"/>
                  <a:pt x="3849" y="3721"/>
                  <a:pt x="3865" y="3721"/>
                </a:cubicBezTo>
                <a:cubicBezTo>
                  <a:pt x="3881" y="3721"/>
                  <a:pt x="3913" y="3706"/>
                  <a:pt x="3929" y="3690"/>
                </a:cubicBezTo>
                <a:lnTo>
                  <a:pt x="4231" y="3292"/>
                </a:lnTo>
                <a:cubicBezTo>
                  <a:pt x="4236" y="3287"/>
                  <a:pt x="4247" y="3292"/>
                  <a:pt x="4247" y="3276"/>
                </a:cubicBezTo>
                <a:close/>
                <a:moveTo>
                  <a:pt x="445" y="3324"/>
                </a:moveTo>
                <a:lnTo>
                  <a:pt x="2720" y="3324"/>
                </a:lnTo>
                <a:cubicBezTo>
                  <a:pt x="2799" y="3801"/>
                  <a:pt x="3197" y="4151"/>
                  <a:pt x="3690" y="4151"/>
                </a:cubicBezTo>
                <a:cubicBezTo>
                  <a:pt x="4231" y="4151"/>
                  <a:pt x="4661" y="3721"/>
                  <a:pt x="4661" y="3181"/>
                </a:cubicBezTo>
                <a:cubicBezTo>
                  <a:pt x="4661" y="2878"/>
                  <a:pt x="4533" y="2608"/>
                  <a:pt x="4326" y="2433"/>
                </a:cubicBezTo>
                <a:lnTo>
                  <a:pt x="4326" y="477"/>
                </a:lnTo>
                <a:cubicBezTo>
                  <a:pt x="4326" y="238"/>
                  <a:pt x="4104" y="0"/>
                  <a:pt x="3865" y="0"/>
                </a:cubicBezTo>
                <a:lnTo>
                  <a:pt x="445" y="0"/>
                </a:lnTo>
                <a:cubicBezTo>
                  <a:pt x="207" y="0"/>
                  <a:pt x="0" y="238"/>
                  <a:pt x="0" y="477"/>
                </a:cubicBezTo>
                <a:lnTo>
                  <a:pt x="0" y="2815"/>
                </a:lnTo>
                <a:cubicBezTo>
                  <a:pt x="0" y="3054"/>
                  <a:pt x="191" y="3324"/>
                  <a:pt x="445" y="3324"/>
                </a:cubicBezTo>
                <a:close/>
                <a:moveTo>
                  <a:pt x="4501" y="3181"/>
                </a:moveTo>
                <a:cubicBezTo>
                  <a:pt x="4501" y="3626"/>
                  <a:pt x="4135" y="3992"/>
                  <a:pt x="3690" y="3992"/>
                </a:cubicBezTo>
                <a:cubicBezTo>
                  <a:pt x="3229" y="3992"/>
                  <a:pt x="2863" y="3626"/>
                  <a:pt x="2863" y="3181"/>
                </a:cubicBezTo>
                <a:cubicBezTo>
                  <a:pt x="2863" y="2719"/>
                  <a:pt x="3229" y="2354"/>
                  <a:pt x="3690" y="2354"/>
                </a:cubicBezTo>
                <a:cubicBezTo>
                  <a:pt x="4135" y="2354"/>
                  <a:pt x="4501" y="2719"/>
                  <a:pt x="4501" y="3181"/>
                </a:cubicBezTo>
                <a:close/>
                <a:moveTo>
                  <a:pt x="3690" y="2194"/>
                </a:moveTo>
                <a:cubicBezTo>
                  <a:pt x="3563" y="2194"/>
                  <a:pt x="3452" y="2226"/>
                  <a:pt x="3340" y="2258"/>
                </a:cubicBezTo>
                <a:lnTo>
                  <a:pt x="2799" y="1765"/>
                </a:lnTo>
                <a:lnTo>
                  <a:pt x="4104" y="301"/>
                </a:lnTo>
                <a:cubicBezTo>
                  <a:pt x="4135" y="349"/>
                  <a:pt x="4167" y="413"/>
                  <a:pt x="4167" y="477"/>
                </a:cubicBezTo>
                <a:lnTo>
                  <a:pt x="4167" y="2322"/>
                </a:lnTo>
                <a:cubicBezTo>
                  <a:pt x="4024" y="2242"/>
                  <a:pt x="3865" y="2194"/>
                  <a:pt x="3690" y="2194"/>
                </a:cubicBezTo>
                <a:close/>
                <a:moveTo>
                  <a:pt x="3865" y="158"/>
                </a:moveTo>
                <a:cubicBezTo>
                  <a:pt x="3897" y="158"/>
                  <a:pt x="3945" y="174"/>
                  <a:pt x="3977" y="191"/>
                </a:cubicBezTo>
                <a:lnTo>
                  <a:pt x="2513" y="1861"/>
                </a:lnTo>
                <a:cubicBezTo>
                  <a:pt x="2322" y="2067"/>
                  <a:pt x="1989" y="2067"/>
                  <a:pt x="1798" y="1861"/>
                </a:cubicBezTo>
                <a:lnTo>
                  <a:pt x="334" y="191"/>
                </a:lnTo>
                <a:cubicBezTo>
                  <a:pt x="366" y="174"/>
                  <a:pt x="414" y="158"/>
                  <a:pt x="445" y="158"/>
                </a:cubicBezTo>
                <a:close/>
                <a:moveTo>
                  <a:pt x="159" y="477"/>
                </a:moveTo>
                <a:cubicBezTo>
                  <a:pt x="159" y="413"/>
                  <a:pt x="175" y="349"/>
                  <a:pt x="207" y="301"/>
                </a:cubicBezTo>
                <a:lnTo>
                  <a:pt x="1495" y="1765"/>
                </a:lnTo>
                <a:lnTo>
                  <a:pt x="573" y="2624"/>
                </a:lnTo>
                <a:cubicBezTo>
                  <a:pt x="541" y="2640"/>
                  <a:pt x="541" y="2703"/>
                  <a:pt x="573" y="2735"/>
                </a:cubicBezTo>
                <a:cubicBezTo>
                  <a:pt x="589" y="2751"/>
                  <a:pt x="605" y="2751"/>
                  <a:pt x="620" y="2751"/>
                </a:cubicBezTo>
                <a:cubicBezTo>
                  <a:pt x="652" y="2751"/>
                  <a:pt x="668" y="2751"/>
                  <a:pt x="684" y="2735"/>
                </a:cubicBezTo>
                <a:lnTo>
                  <a:pt x="1607" y="1892"/>
                </a:lnTo>
                <a:lnTo>
                  <a:pt x="1686" y="1972"/>
                </a:lnTo>
                <a:cubicBezTo>
                  <a:pt x="1813" y="2115"/>
                  <a:pt x="1972" y="2179"/>
                  <a:pt x="2147" y="2179"/>
                </a:cubicBezTo>
                <a:cubicBezTo>
                  <a:pt x="2338" y="2179"/>
                  <a:pt x="2497" y="2115"/>
                  <a:pt x="2625" y="1972"/>
                </a:cubicBezTo>
                <a:lnTo>
                  <a:pt x="2704" y="1892"/>
                </a:lnTo>
                <a:lnTo>
                  <a:pt x="3197" y="2337"/>
                </a:lnTo>
                <a:cubicBezTo>
                  <a:pt x="2911" y="2497"/>
                  <a:pt x="2704" y="2815"/>
                  <a:pt x="2704" y="3165"/>
                </a:cubicBezTo>
                <a:lnTo>
                  <a:pt x="445" y="3165"/>
                </a:lnTo>
                <a:cubicBezTo>
                  <a:pt x="302" y="3165"/>
                  <a:pt x="159" y="2974"/>
                  <a:pt x="159" y="281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6" name="Freeform: Shape 13">
            <a:extLst>
              <a:ext uri="{FF2B5EF4-FFF2-40B4-BE49-F238E27FC236}">
                <a16:creationId xmlns:a16="http://schemas.microsoft.com/office/drawing/2014/main" id="{7748A518-B3E1-B14D-868F-B9D2D14D425E}"/>
              </a:ext>
            </a:extLst>
          </p:cNvPr>
          <p:cNvSpPr/>
          <p:nvPr/>
        </p:nvSpPr>
        <p:spPr>
          <a:xfrm>
            <a:off x="21287604" y="2987102"/>
            <a:ext cx="1654560" cy="1683000"/>
          </a:xfrm>
          <a:custGeom>
            <a:avLst/>
            <a:gdLst/>
            <a:ahLst/>
            <a:cxnLst>
              <a:cxn ang="3cd4">
                <a:pos x="hc" y="t"/>
              </a:cxn>
              <a:cxn ang="cd2">
                <a:pos x="l" y="vc"/>
              </a:cxn>
              <a:cxn ang="cd4">
                <a:pos x="hc" y="b"/>
              </a:cxn>
              <a:cxn ang="0">
                <a:pos x="r" y="vc"/>
              </a:cxn>
            </a:cxnLst>
            <a:rect l="l" t="t" r="r" b="b"/>
            <a:pathLst>
              <a:path w="4597" h="4676">
                <a:moveTo>
                  <a:pt x="509" y="4676"/>
                </a:moveTo>
                <a:lnTo>
                  <a:pt x="4120" y="4676"/>
                </a:lnTo>
                <a:cubicBezTo>
                  <a:pt x="4374" y="4676"/>
                  <a:pt x="4597" y="4422"/>
                  <a:pt x="4597" y="4167"/>
                </a:cubicBezTo>
                <a:lnTo>
                  <a:pt x="4597" y="1972"/>
                </a:lnTo>
                <a:cubicBezTo>
                  <a:pt x="4597" y="1718"/>
                  <a:pt x="4390" y="1495"/>
                  <a:pt x="4120" y="1495"/>
                </a:cubicBezTo>
                <a:lnTo>
                  <a:pt x="509" y="1495"/>
                </a:lnTo>
                <a:cubicBezTo>
                  <a:pt x="270" y="1495"/>
                  <a:pt x="0" y="1702"/>
                  <a:pt x="0" y="1972"/>
                </a:cubicBezTo>
                <a:lnTo>
                  <a:pt x="0" y="4167"/>
                </a:lnTo>
                <a:cubicBezTo>
                  <a:pt x="0" y="4422"/>
                  <a:pt x="255" y="4676"/>
                  <a:pt x="509" y="4676"/>
                </a:cubicBezTo>
                <a:close/>
                <a:moveTo>
                  <a:pt x="4120" y="1654"/>
                </a:moveTo>
                <a:lnTo>
                  <a:pt x="4151" y="1654"/>
                </a:lnTo>
                <a:lnTo>
                  <a:pt x="2704" y="3309"/>
                </a:lnTo>
                <a:cubicBezTo>
                  <a:pt x="2497" y="3547"/>
                  <a:pt x="2147" y="3547"/>
                  <a:pt x="1941" y="3309"/>
                </a:cubicBezTo>
                <a:lnTo>
                  <a:pt x="493" y="1654"/>
                </a:lnTo>
                <a:lnTo>
                  <a:pt x="509" y="1654"/>
                </a:lnTo>
                <a:close/>
                <a:moveTo>
                  <a:pt x="159" y="1972"/>
                </a:moveTo>
                <a:cubicBezTo>
                  <a:pt x="159" y="1861"/>
                  <a:pt x="239" y="1765"/>
                  <a:pt x="334" y="1718"/>
                </a:cubicBezTo>
                <a:lnTo>
                  <a:pt x="1638" y="3197"/>
                </a:lnTo>
                <a:lnTo>
                  <a:pt x="652" y="4151"/>
                </a:lnTo>
                <a:cubicBezTo>
                  <a:pt x="620" y="4183"/>
                  <a:pt x="620" y="4231"/>
                  <a:pt x="652" y="4263"/>
                </a:cubicBezTo>
                <a:cubicBezTo>
                  <a:pt x="668" y="4279"/>
                  <a:pt x="684" y="4279"/>
                  <a:pt x="700" y="4279"/>
                </a:cubicBezTo>
                <a:cubicBezTo>
                  <a:pt x="732" y="4279"/>
                  <a:pt x="748" y="4279"/>
                  <a:pt x="764" y="4263"/>
                </a:cubicBezTo>
                <a:lnTo>
                  <a:pt x="1734" y="3324"/>
                </a:lnTo>
                <a:lnTo>
                  <a:pt x="1829" y="3420"/>
                </a:lnTo>
                <a:cubicBezTo>
                  <a:pt x="1957" y="3563"/>
                  <a:pt x="2132" y="3658"/>
                  <a:pt x="2323" y="3658"/>
                </a:cubicBezTo>
                <a:cubicBezTo>
                  <a:pt x="2513" y="3658"/>
                  <a:pt x="2688" y="3563"/>
                  <a:pt x="2815" y="3420"/>
                </a:cubicBezTo>
                <a:lnTo>
                  <a:pt x="2895" y="3324"/>
                </a:lnTo>
                <a:lnTo>
                  <a:pt x="3881" y="4263"/>
                </a:lnTo>
                <a:cubicBezTo>
                  <a:pt x="3897" y="4279"/>
                  <a:pt x="3913" y="4279"/>
                  <a:pt x="3929" y="4279"/>
                </a:cubicBezTo>
                <a:cubicBezTo>
                  <a:pt x="3960" y="4279"/>
                  <a:pt x="3977" y="4279"/>
                  <a:pt x="3993" y="4263"/>
                </a:cubicBezTo>
                <a:cubicBezTo>
                  <a:pt x="4024" y="4231"/>
                  <a:pt x="4024" y="4183"/>
                  <a:pt x="3993" y="4151"/>
                </a:cubicBezTo>
                <a:lnTo>
                  <a:pt x="3006" y="3213"/>
                </a:lnTo>
                <a:lnTo>
                  <a:pt x="4311" y="1718"/>
                </a:lnTo>
                <a:cubicBezTo>
                  <a:pt x="4390" y="1782"/>
                  <a:pt x="4438" y="1877"/>
                  <a:pt x="4438" y="1972"/>
                </a:cubicBezTo>
                <a:lnTo>
                  <a:pt x="4438" y="4167"/>
                </a:lnTo>
                <a:cubicBezTo>
                  <a:pt x="4438" y="4342"/>
                  <a:pt x="4279" y="4517"/>
                  <a:pt x="4120" y="4517"/>
                </a:cubicBezTo>
                <a:lnTo>
                  <a:pt x="509" y="4517"/>
                </a:lnTo>
                <a:cubicBezTo>
                  <a:pt x="350" y="4517"/>
                  <a:pt x="159" y="4327"/>
                  <a:pt x="159" y="4167"/>
                </a:cubicBezTo>
                <a:close/>
                <a:moveTo>
                  <a:pt x="1877" y="493"/>
                </a:moveTo>
                <a:cubicBezTo>
                  <a:pt x="1893" y="493"/>
                  <a:pt x="1909" y="493"/>
                  <a:pt x="1924" y="477"/>
                </a:cubicBezTo>
                <a:lnTo>
                  <a:pt x="2227" y="238"/>
                </a:lnTo>
                <a:lnTo>
                  <a:pt x="2227" y="1018"/>
                </a:lnTo>
                <a:cubicBezTo>
                  <a:pt x="2227" y="1065"/>
                  <a:pt x="2259" y="1098"/>
                  <a:pt x="2306" y="1098"/>
                </a:cubicBezTo>
                <a:cubicBezTo>
                  <a:pt x="2338" y="1098"/>
                  <a:pt x="2386" y="1065"/>
                  <a:pt x="2386" y="1018"/>
                </a:cubicBezTo>
                <a:lnTo>
                  <a:pt x="2386" y="238"/>
                </a:lnTo>
                <a:lnTo>
                  <a:pt x="2688" y="477"/>
                </a:lnTo>
                <a:cubicBezTo>
                  <a:pt x="2720" y="509"/>
                  <a:pt x="2768" y="493"/>
                  <a:pt x="2799" y="461"/>
                </a:cubicBezTo>
                <a:cubicBezTo>
                  <a:pt x="2815" y="429"/>
                  <a:pt x="2815" y="382"/>
                  <a:pt x="2784" y="350"/>
                </a:cubicBezTo>
                <a:lnTo>
                  <a:pt x="2354" y="16"/>
                </a:lnTo>
                <a:cubicBezTo>
                  <a:pt x="2354" y="0"/>
                  <a:pt x="2343" y="5"/>
                  <a:pt x="2338" y="0"/>
                </a:cubicBezTo>
                <a:lnTo>
                  <a:pt x="2323" y="0"/>
                </a:lnTo>
                <a:lnTo>
                  <a:pt x="2290" y="0"/>
                </a:lnTo>
                <a:lnTo>
                  <a:pt x="2275" y="0"/>
                </a:lnTo>
                <a:lnTo>
                  <a:pt x="2259" y="0"/>
                </a:lnTo>
                <a:lnTo>
                  <a:pt x="2259" y="16"/>
                </a:lnTo>
                <a:lnTo>
                  <a:pt x="1814" y="350"/>
                </a:lnTo>
                <a:cubicBezTo>
                  <a:pt x="1781" y="382"/>
                  <a:pt x="1781" y="429"/>
                  <a:pt x="1814" y="461"/>
                </a:cubicBezTo>
                <a:cubicBezTo>
                  <a:pt x="1829" y="477"/>
                  <a:pt x="1845" y="493"/>
                  <a:pt x="1877" y="49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7" name="Freeform: Shape 14">
            <a:extLst>
              <a:ext uri="{FF2B5EF4-FFF2-40B4-BE49-F238E27FC236}">
                <a16:creationId xmlns:a16="http://schemas.microsoft.com/office/drawing/2014/main" id="{94B8AB54-F2E4-4E44-B43E-D6D2C9DB300F}"/>
              </a:ext>
            </a:extLst>
          </p:cNvPr>
          <p:cNvSpPr/>
          <p:nvPr/>
        </p:nvSpPr>
        <p:spPr>
          <a:xfrm>
            <a:off x="17414808" y="2987102"/>
            <a:ext cx="1660319" cy="1683000"/>
          </a:xfrm>
          <a:custGeom>
            <a:avLst/>
            <a:gdLst/>
            <a:ahLst/>
            <a:cxnLst>
              <a:cxn ang="3cd4">
                <a:pos x="hc" y="t"/>
              </a:cxn>
              <a:cxn ang="cd2">
                <a:pos x="l" y="vc"/>
              </a:cxn>
              <a:cxn ang="cd4">
                <a:pos x="hc" y="b"/>
              </a:cxn>
              <a:cxn ang="0">
                <a:pos x="r" y="vc"/>
              </a:cxn>
            </a:cxnLst>
            <a:rect l="l" t="t" r="r" b="b"/>
            <a:pathLst>
              <a:path w="4613" h="4676">
                <a:moveTo>
                  <a:pt x="525" y="4676"/>
                </a:moveTo>
                <a:lnTo>
                  <a:pt x="4136" y="4676"/>
                </a:lnTo>
                <a:cubicBezTo>
                  <a:pt x="4374" y="4676"/>
                  <a:pt x="4613" y="4422"/>
                  <a:pt x="4613" y="4167"/>
                </a:cubicBezTo>
                <a:lnTo>
                  <a:pt x="4613" y="1972"/>
                </a:lnTo>
                <a:cubicBezTo>
                  <a:pt x="4613" y="1718"/>
                  <a:pt x="4390" y="1495"/>
                  <a:pt x="4136" y="1495"/>
                </a:cubicBezTo>
                <a:lnTo>
                  <a:pt x="525" y="1495"/>
                </a:lnTo>
                <a:cubicBezTo>
                  <a:pt x="270" y="1495"/>
                  <a:pt x="0" y="1702"/>
                  <a:pt x="0" y="1972"/>
                </a:cubicBezTo>
                <a:lnTo>
                  <a:pt x="0" y="4167"/>
                </a:lnTo>
                <a:cubicBezTo>
                  <a:pt x="0" y="4422"/>
                  <a:pt x="270" y="4676"/>
                  <a:pt x="525" y="4676"/>
                </a:cubicBezTo>
                <a:close/>
                <a:moveTo>
                  <a:pt x="4136" y="1654"/>
                </a:moveTo>
                <a:lnTo>
                  <a:pt x="4151" y="1654"/>
                </a:lnTo>
                <a:lnTo>
                  <a:pt x="2704" y="3309"/>
                </a:lnTo>
                <a:cubicBezTo>
                  <a:pt x="2497" y="3547"/>
                  <a:pt x="2148" y="3547"/>
                  <a:pt x="1940" y="3309"/>
                </a:cubicBezTo>
                <a:lnTo>
                  <a:pt x="493" y="1654"/>
                </a:lnTo>
                <a:lnTo>
                  <a:pt x="525" y="1654"/>
                </a:lnTo>
                <a:close/>
                <a:moveTo>
                  <a:pt x="159" y="1972"/>
                </a:moveTo>
                <a:cubicBezTo>
                  <a:pt x="159" y="1861"/>
                  <a:pt x="239" y="1765"/>
                  <a:pt x="334" y="1718"/>
                </a:cubicBezTo>
                <a:lnTo>
                  <a:pt x="1639" y="3213"/>
                </a:lnTo>
                <a:lnTo>
                  <a:pt x="652" y="4151"/>
                </a:lnTo>
                <a:cubicBezTo>
                  <a:pt x="621" y="4183"/>
                  <a:pt x="621" y="4231"/>
                  <a:pt x="652" y="4263"/>
                </a:cubicBezTo>
                <a:cubicBezTo>
                  <a:pt x="668" y="4279"/>
                  <a:pt x="684" y="4279"/>
                  <a:pt x="716" y="4279"/>
                </a:cubicBezTo>
                <a:cubicBezTo>
                  <a:pt x="732" y="4279"/>
                  <a:pt x="748" y="4279"/>
                  <a:pt x="764" y="4263"/>
                </a:cubicBezTo>
                <a:lnTo>
                  <a:pt x="1750" y="3324"/>
                </a:lnTo>
                <a:lnTo>
                  <a:pt x="1829" y="3420"/>
                </a:lnTo>
                <a:cubicBezTo>
                  <a:pt x="1957" y="3563"/>
                  <a:pt x="2131" y="3658"/>
                  <a:pt x="2322" y="3658"/>
                </a:cubicBezTo>
                <a:cubicBezTo>
                  <a:pt x="2513" y="3658"/>
                  <a:pt x="2688" y="3563"/>
                  <a:pt x="2815" y="3420"/>
                </a:cubicBezTo>
                <a:lnTo>
                  <a:pt x="2911" y="3324"/>
                </a:lnTo>
                <a:lnTo>
                  <a:pt x="3881" y="4263"/>
                </a:lnTo>
                <a:cubicBezTo>
                  <a:pt x="3897" y="4279"/>
                  <a:pt x="3929" y="4279"/>
                  <a:pt x="3945" y="4279"/>
                </a:cubicBezTo>
                <a:cubicBezTo>
                  <a:pt x="3961" y="4279"/>
                  <a:pt x="3976" y="4279"/>
                  <a:pt x="3993" y="4263"/>
                </a:cubicBezTo>
                <a:cubicBezTo>
                  <a:pt x="4024" y="4231"/>
                  <a:pt x="4024" y="4183"/>
                  <a:pt x="3993" y="4151"/>
                </a:cubicBezTo>
                <a:lnTo>
                  <a:pt x="3006" y="3197"/>
                </a:lnTo>
                <a:lnTo>
                  <a:pt x="4311" y="1718"/>
                </a:lnTo>
                <a:cubicBezTo>
                  <a:pt x="4390" y="1782"/>
                  <a:pt x="4454" y="1877"/>
                  <a:pt x="4454" y="1972"/>
                </a:cubicBezTo>
                <a:lnTo>
                  <a:pt x="4454" y="4167"/>
                </a:lnTo>
                <a:cubicBezTo>
                  <a:pt x="4454" y="4342"/>
                  <a:pt x="4294" y="4517"/>
                  <a:pt x="4136" y="4517"/>
                </a:cubicBezTo>
                <a:lnTo>
                  <a:pt x="525" y="4517"/>
                </a:lnTo>
                <a:cubicBezTo>
                  <a:pt x="350" y="4517"/>
                  <a:pt x="159" y="4327"/>
                  <a:pt x="159" y="4167"/>
                </a:cubicBezTo>
                <a:close/>
                <a:moveTo>
                  <a:pt x="1845" y="811"/>
                </a:moveTo>
                <a:lnTo>
                  <a:pt x="2275" y="1145"/>
                </a:lnTo>
                <a:cubicBezTo>
                  <a:pt x="2291" y="1161"/>
                  <a:pt x="2306" y="1161"/>
                  <a:pt x="2322" y="1161"/>
                </a:cubicBezTo>
                <a:cubicBezTo>
                  <a:pt x="2338" y="1161"/>
                  <a:pt x="2354" y="1161"/>
                  <a:pt x="2370" y="1145"/>
                </a:cubicBezTo>
                <a:lnTo>
                  <a:pt x="2800" y="811"/>
                </a:lnTo>
                <a:cubicBezTo>
                  <a:pt x="2847" y="779"/>
                  <a:pt x="2847" y="732"/>
                  <a:pt x="2815" y="700"/>
                </a:cubicBezTo>
                <a:cubicBezTo>
                  <a:pt x="2800" y="668"/>
                  <a:pt x="2736" y="652"/>
                  <a:pt x="2704" y="684"/>
                </a:cubicBezTo>
                <a:lnTo>
                  <a:pt x="2386" y="938"/>
                </a:lnTo>
                <a:lnTo>
                  <a:pt x="2386" y="80"/>
                </a:lnTo>
                <a:cubicBezTo>
                  <a:pt x="2386" y="32"/>
                  <a:pt x="2354" y="0"/>
                  <a:pt x="2306" y="0"/>
                </a:cubicBezTo>
                <a:cubicBezTo>
                  <a:pt x="2259" y="0"/>
                  <a:pt x="2227" y="32"/>
                  <a:pt x="2227" y="80"/>
                </a:cubicBezTo>
                <a:lnTo>
                  <a:pt x="2227" y="907"/>
                </a:lnTo>
                <a:lnTo>
                  <a:pt x="1940" y="684"/>
                </a:lnTo>
                <a:cubicBezTo>
                  <a:pt x="1909" y="652"/>
                  <a:pt x="1861" y="668"/>
                  <a:pt x="1829" y="700"/>
                </a:cubicBezTo>
                <a:cubicBezTo>
                  <a:pt x="1797" y="732"/>
                  <a:pt x="1813" y="779"/>
                  <a:pt x="1845" y="81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5" name="Freeform: Shape 15">
            <a:extLst>
              <a:ext uri="{FF2B5EF4-FFF2-40B4-BE49-F238E27FC236}">
                <a16:creationId xmlns:a16="http://schemas.microsoft.com/office/drawing/2014/main" id="{AEF3410A-D6A9-F44E-B386-88AD27E2ECC1}"/>
              </a:ext>
            </a:extLst>
          </p:cNvPr>
          <p:cNvSpPr/>
          <p:nvPr/>
        </p:nvSpPr>
        <p:spPr>
          <a:xfrm>
            <a:off x="9929181" y="3256022"/>
            <a:ext cx="1711800" cy="1145160"/>
          </a:xfrm>
          <a:custGeom>
            <a:avLst/>
            <a:gdLst/>
            <a:ahLst/>
            <a:cxnLst>
              <a:cxn ang="3cd4">
                <a:pos x="hc" y="t"/>
              </a:cxn>
              <a:cxn ang="cd2">
                <a:pos x="l" y="vc"/>
              </a:cxn>
              <a:cxn ang="cd4">
                <a:pos x="hc" y="b"/>
              </a:cxn>
              <a:cxn ang="0">
                <a:pos x="r" y="vc"/>
              </a:cxn>
            </a:cxnLst>
            <a:rect l="l" t="t" r="r" b="b"/>
            <a:pathLst>
              <a:path w="4756" h="3182">
                <a:moveTo>
                  <a:pt x="477" y="3182"/>
                </a:moveTo>
                <a:lnTo>
                  <a:pt x="4279" y="3182"/>
                </a:lnTo>
                <a:cubicBezTo>
                  <a:pt x="4549" y="3182"/>
                  <a:pt x="4756" y="2959"/>
                  <a:pt x="4756" y="2705"/>
                </a:cubicBezTo>
                <a:lnTo>
                  <a:pt x="4756" y="478"/>
                </a:lnTo>
                <a:cubicBezTo>
                  <a:pt x="4756" y="208"/>
                  <a:pt x="4549" y="0"/>
                  <a:pt x="4279" y="0"/>
                </a:cubicBezTo>
                <a:lnTo>
                  <a:pt x="477" y="0"/>
                </a:lnTo>
                <a:cubicBezTo>
                  <a:pt x="207" y="0"/>
                  <a:pt x="0" y="208"/>
                  <a:pt x="0" y="478"/>
                </a:cubicBezTo>
                <a:lnTo>
                  <a:pt x="0" y="2705"/>
                </a:lnTo>
                <a:cubicBezTo>
                  <a:pt x="0" y="2959"/>
                  <a:pt x="207" y="3182"/>
                  <a:pt x="477" y="3182"/>
                </a:cubicBezTo>
                <a:close/>
                <a:moveTo>
                  <a:pt x="159" y="478"/>
                </a:moveTo>
                <a:cubicBezTo>
                  <a:pt x="159" y="303"/>
                  <a:pt x="302" y="160"/>
                  <a:pt x="477" y="160"/>
                </a:cubicBezTo>
                <a:lnTo>
                  <a:pt x="4279" y="160"/>
                </a:lnTo>
                <a:cubicBezTo>
                  <a:pt x="4453" y="160"/>
                  <a:pt x="4597" y="303"/>
                  <a:pt x="4597" y="478"/>
                </a:cubicBezTo>
                <a:lnTo>
                  <a:pt x="4597" y="2705"/>
                </a:lnTo>
                <a:cubicBezTo>
                  <a:pt x="4597" y="2880"/>
                  <a:pt x="4453" y="3023"/>
                  <a:pt x="4279" y="3023"/>
                </a:cubicBezTo>
                <a:lnTo>
                  <a:pt x="477" y="3023"/>
                </a:lnTo>
                <a:cubicBezTo>
                  <a:pt x="302" y="3023"/>
                  <a:pt x="159" y="2880"/>
                  <a:pt x="159" y="2705"/>
                </a:cubicBezTo>
                <a:close/>
                <a:moveTo>
                  <a:pt x="3244" y="1591"/>
                </a:moveTo>
                <a:lnTo>
                  <a:pt x="4040" y="1591"/>
                </a:lnTo>
                <a:cubicBezTo>
                  <a:pt x="4088" y="1591"/>
                  <a:pt x="4119" y="1559"/>
                  <a:pt x="4119" y="1512"/>
                </a:cubicBezTo>
                <a:lnTo>
                  <a:pt x="4119" y="717"/>
                </a:lnTo>
                <a:cubicBezTo>
                  <a:pt x="4119" y="669"/>
                  <a:pt x="4088" y="637"/>
                  <a:pt x="4040" y="637"/>
                </a:cubicBezTo>
                <a:lnTo>
                  <a:pt x="3244" y="637"/>
                </a:lnTo>
                <a:cubicBezTo>
                  <a:pt x="3213" y="637"/>
                  <a:pt x="3165" y="669"/>
                  <a:pt x="3165" y="717"/>
                </a:cubicBezTo>
                <a:lnTo>
                  <a:pt x="3165" y="1512"/>
                </a:lnTo>
                <a:cubicBezTo>
                  <a:pt x="3165" y="1559"/>
                  <a:pt x="3213" y="1591"/>
                  <a:pt x="3244" y="1591"/>
                </a:cubicBezTo>
                <a:close/>
                <a:moveTo>
                  <a:pt x="3324" y="796"/>
                </a:moveTo>
                <a:lnTo>
                  <a:pt x="3961" y="796"/>
                </a:lnTo>
                <a:lnTo>
                  <a:pt x="3961" y="1432"/>
                </a:lnTo>
                <a:lnTo>
                  <a:pt x="3324" y="1432"/>
                </a:lnTo>
                <a:close/>
                <a:moveTo>
                  <a:pt x="795" y="2227"/>
                </a:moveTo>
                <a:lnTo>
                  <a:pt x="1590" y="2227"/>
                </a:lnTo>
                <a:cubicBezTo>
                  <a:pt x="1622" y="2227"/>
                  <a:pt x="1670" y="2180"/>
                  <a:pt x="1670" y="2148"/>
                </a:cubicBezTo>
                <a:cubicBezTo>
                  <a:pt x="1670" y="2100"/>
                  <a:pt x="1622" y="2068"/>
                  <a:pt x="1590" y="2068"/>
                </a:cubicBezTo>
                <a:lnTo>
                  <a:pt x="795" y="2068"/>
                </a:lnTo>
                <a:cubicBezTo>
                  <a:pt x="747" y="2068"/>
                  <a:pt x="716" y="2100"/>
                  <a:pt x="716" y="2148"/>
                </a:cubicBezTo>
                <a:cubicBezTo>
                  <a:pt x="716" y="2180"/>
                  <a:pt x="747" y="2227"/>
                  <a:pt x="795" y="2227"/>
                </a:cubicBezTo>
                <a:close/>
                <a:moveTo>
                  <a:pt x="795" y="2545"/>
                </a:moveTo>
                <a:lnTo>
                  <a:pt x="2052" y="2545"/>
                </a:lnTo>
                <a:cubicBezTo>
                  <a:pt x="2099" y="2545"/>
                  <a:pt x="2131" y="2498"/>
                  <a:pt x="2131" y="2466"/>
                </a:cubicBezTo>
                <a:cubicBezTo>
                  <a:pt x="2131" y="2418"/>
                  <a:pt x="2099" y="2386"/>
                  <a:pt x="2052" y="2386"/>
                </a:cubicBezTo>
                <a:lnTo>
                  <a:pt x="795" y="2386"/>
                </a:lnTo>
                <a:cubicBezTo>
                  <a:pt x="747" y="2386"/>
                  <a:pt x="716" y="2418"/>
                  <a:pt x="716" y="2466"/>
                </a:cubicBezTo>
                <a:cubicBezTo>
                  <a:pt x="716" y="2498"/>
                  <a:pt x="747" y="2545"/>
                  <a:pt x="795" y="254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6" name="Freeform: Shape 16">
            <a:extLst>
              <a:ext uri="{FF2B5EF4-FFF2-40B4-BE49-F238E27FC236}">
                <a16:creationId xmlns:a16="http://schemas.microsoft.com/office/drawing/2014/main" id="{F66218DB-C54A-6545-88DF-48F8BF58C782}"/>
              </a:ext>
            </a:extLst>
          </p:cNvPr>
          <p:cNvSpPr/>
          <p:nvPr/>
        </p:nvSpPr>
        <p:spPr>
          <a:xfrm>
            <a:off x="9999575" y="9703602"/>
            <a:ext cx="1854719" cy="1643039"/>
          </a:xfrm>
          <a:custGeom>
            <a:avLst/>
            <a:gdLst/>
            <a:ahLst/>
            <a:cxnLst>
              <a:cxn ang="3cd4">
                <a:pos x="hc" y="t"/>
              </a:cxn>
              <a:cxn ang="cd2">
                <a:pos x="l" y="vc"/>
              </a:cxn>
              <a:cxn ang="cd4">
                <a:pos x="hc" y="b"/>
              </a:cxn>
              <a:cxn ang="0">
                <a:pos x="r" y="vc"/>
              </a:cxn>
            </a:cxnLst>
            <a:rect l="l" t="t" r="r" b="b"/>
            <a:pathLst>
              <a:path w="5153" h="4565">
                <a:moveTo>
                  <a:pt x="493" y="3658"/>
                </a:moveTo>
                <a:lnTo>
                  <a:pt x="3022" y="3658"/>
                </a:lnTo>
                <a:cubicBezTo>
                  <a:pt x="3101" y="4167"/>
                  <a:pt x="3546" y="4565"/>
                  <a:pt x="4072" y="4565"/>
                </a:cubicBezTo>
                <a:cubicBezTo>
                  <a:pt x="4676" y="4565"/>
                  <a:pt x="5153" y="4088"/>
                  <a:pt x="5153" y="3499"/>
                </a:cubicBezTo>
                <a:cubicBezTo>
                  <a:pt x="5153" y="3165"/>
                  <a:pt x="4994" y="2879"/>
                  <a:pt x="4772" y="2672"/>
                </a:cubicBezTo>
                <a:lnTo>
                  <a:pt x="4772" y="509"/>
                </a:lnTo>
                <a:cubicBezTo>
                  <a:pt x="4772" y="254"/>
                  <a:pt x="4533" y="0"/>
                  <a:pt x="4278" y="0"/>
                </a:cubicBezTo>
                <a:lnTo>
                  <a:pt x="493" y="0"/>
                </a:lnTo>
                <a:cubicBezTo>
                  <a:pt x="238" y="0"/>
                  <a:pt x="0" y="238"/>
                  <a:pt x="0" y="509"/>
                </a:cubicBezTo>
                <a:lnTo>
                  <a:pt x="0" y="3101"/>
                </a:lnTo>
                <a:cubicBezTo>
                  <a:pt x="0" y="3340"/>
                  <a:pt x="222" y="3658"/>
                  <a:pt x="493" y="3658"/>
                </a:cubicBezTo>
                <a:close/>
                <a:moveTo>
                  <a:pt x="4994" y="3499"/>
                </a:moveTo>
                <a:cubicBezTo>
                  <a:pt x="4994" y="3992"/>
                  <a:pt x="4581" y="4406"/>
                  <a:pt x="4072" y="4406"/>
                </a:cubicBezTo>
                <a:cubicBezTo>
                  <a:pt x="3579" y="4406"/>
                  <a:pt x="3165" y="3992"/>
                  <a:pt x="3165" y="3499"/>
                </a:cubicBezTo>
                <a:cubicBezTo>
                  <a:pt x="3165" y="2990"/>
                  <a:pt x="3579" y="2577"/>
                  <a:pt x="4072" y="2577"/>
                </a:cubicBezTo>
                <a:cubicBezTo>
                  <a:pt x="4581" y="2577"/>
                  <a:pt x="4994" y="2990"/>
                  <a:pt x="4994" y="3499"/>
                </a:cubicBezTo>
                <a:close/>
                <a:moveTo>
                  <a:pt x="4072" y="2417"/>
                </a:moveTo>
                <a:cubicBezTo>
                  <a:pt x="3945" y="2417"/>
                  <a:pt x="3817" y="2449"/>
                  <a:pt x="3706" y="2497"/>
                </a:cubicBezTo>
                <a:lnTo>
                  <a:pt x="3101" y="1940"/>
                </a:lnTo>
                <a:lnTo>
                  <a:pt x="4581" y="366"/>
                </a:lnTo>
                <a:cubicBezTo>
                  <a:pt x="4597" y="413"/>
                  <a:pt x="4612" y="461"/>
                  <a:pt x="4612" y="509"/>
                </a:cubicBezTo>
                <a:lnTo>
                  <a:pt x="4612" y="2561"/>
                </a:lnTo>
                <a:cubicBezTo>
                  <a:pt x="4454" y="2481"/>
                  <a:pt x="4278" y="2417"/>
                  <a:pt x="4072" y="2417"/>
                </a:cubicBezTo>
                <a:close/>
                <a:moveTo>
                  <a:pt x="4278" y="159"/>
                </a:moveTo>
                <a:cubicBezTo>
                  <a:pt x="4342" y="159"/>
                  <a:pt x="4421" y="191"/>
                  <a:pt x="4485" y="238"/>
                </a:cubicBezTo>
                <a:lnTo>
                  <a:pt x="2783" y="2052"/>
                </a:lnTo>
                <a:cubicBezTo>
                  <a:pt x="2576" y="2274"/>
                  <a:pt x="2195" y="2274"/>
                  <a:pt x="1988" y="2052"/>
                </a:cubicBezTo>
                <a:lnTo>
                  <a:pt x="302" y="238"/>
                </a:lnTo>
                <a:cubicBezTo>
                  <a:pt x="350" y="191"/>
                  <a:pt x="429" y="159"/>
                  <a:pt x="493" y="159"/>
                </a:cubicBezTo>
                <a:close/>
                <a:moveTo>
                  <a:pt x="159" y="509"/>
                </a:moveTo>
                <a:cubicBezTo>
                  <a:pt x="159" y="461"/>
                  <a:pt x="174" y="413"/>
                  <a:pt x="191" y="381"/>
                </a:cubicBezTo>
                <a:lnTo>
                  <a:pt x="1670" y="1940"/>
                </a:lnTo>
                <a:lnTo>
                  <a:pt x="636" y="2879"/>
                </a:lnTo>
                <a:cubicBezTo>
                  <a:pt x="604" y="2911"/>
                  <a:pt x="604" y="2958"/>
                  <a:pt x="636" y="2990"/>
                </a:cubicBezTo>
                <a:cubicBezTo>
                  <a:pt x="652" y="3006"/>
                  <a:pt x="683" y="3022"/>
                  <a:pt x="700" y="3022"/>
                </a:cubicBezTo>
                <a:cubicBezTo>
                  <a:pt x="716" y="3022"/>
                  <a:pt x="731" y="3006"/>
                  <a:pt x="747" y="3006"/>
                </a:cubicBezTo>
                <a:lnTo>
                  <a:pt x="1781" y="2052"/>
                </a:lnTo>
                <a:lnTo>
                  <a:pt x="1877" y="2163"/>
                </a:lnTo>
                <a:cubicBezTo>
                  <a:pt x="2004" y="2306"/>
                  <a:pt x="2195" y="2386"/>
                  <a:pt x="2385" y="2386"/>
                </a:cubicBezTo>
                <a:cubicBezTo>
                  <a:pt x="2576" y="2386"/>
                  <a:pt x="2767" y="2306"/>
                  <a:pt x="2894" y="2163"/>
                </a:cubicBezTo>
                <a:lnTo>
                  <a:pt x="2990" y="2052"/>
                </a:lnTo>
                <a:lnTo>
                  <a:pt x="3546" y="2561"/>
                </a:lnTo>
                <a:cubicBezTo>
                  <a:pt x="3228" y="2752"/>
                  <a:pt x="3006" y="3101"/>
                  <a:pt x="3006" y="3499"/>
                </a:cubicBezTo>
                <a:lnTo>
                  <a:pt x="493" y="3499"/>
                </a:lnTo>
                <a:cubicBezTo>
                  <a:pt x="334" y="3499"/>
                  <a:pt x="159" y="3277"/>
                  <a:pt x="159" y="3101"/>
                </a:cubicBezTo>
                <a:close/>
                <a:moveTo>
                  <a:pt x="4628" y="3420"/>
                </a:moveTo>
                <a:lnTo>
                  <a:pt x="4151" y="3420"/>
                </a:lnTo>
                <a:lnTo>
                  <a:pt x="4151" y="3022"/>
                </a:lnTo>
                <a:cubicBezTo>
                  <a:pt x="4151" y="2974"/>
                  <a:pt x="4119" y="2943"/>
                  <a:pt x="4072" y="2943"/>
                </a:cubicBezTo>
                <a:cubicBezTo>
                  <a:pt x="4040" y="2943"/>
                  <a:pt x="3992" y="2974"/>
                  <a:pt x="3992" y="3022"/>
                </a:cubicBezTo>
                <a:lnTo>
                  <a:pt x="3992" y="3420"/>
                </a:lnTo>
                <a:lnTo>
                  <a:pt x="3515" y="3420"/>
                </a:lnTo>
                <a:cubicBezTo>
                  <a:pt x="3483" y="3420"/>
                  <a:pt x="3436" y="3451"/>
                  <a:pt x="3436" y="3499"/>
                </a:cubicBezTo>
                <a:cubicBezTo>
                  <a:pt x="3436" y="3531"/>
                  <a:pt x="3483" y="3579"/>
                  <a:pt x="3515" y="3579"/>
                </a:cubicBezTo>
                <a:lnTo>
                  <a:pt x="3992" y="3579"/>
                </a:lnTo>
                <a:lnTo>
                  <a:pt x="3992" y="3976"/>
                </a:lnTo>
                <a:cubicBezTo>
                  <a:pt x="3992" y="4008"/>
                  <a:pt x="4040" y="4056"/>
                  <a:pt x="4072" y="4056"/>
                </a:cubicBezTo>
                <a:cubicBezTo>
                  <a:pt x="4119" y="4056"/>
                  <a:pt x="4151" y="4008"/>
                  <a:pt x="4151" y="3976"/>
                </a:cubicBezTo>
                <a:lnTo>
                  <a:pt x="4151" y="3579"/>
                </a:lnTo>
                <a:lnTo>
                  <a:pt x="4628" y="3579"/>
                </a:lnTo>
                <a:cubicBezTo>
                  <a:pt x="4676" y="3579"/>
                  <a:pt x="4708" y="3531"/>
                  <a:pt x="4708" y="3499"/>
                </a:cubicBezTo>
                <a:cubicBezTo>
                  <a:pt x="4708" y="3451"/>
                  <a:pt x="4676" y="3420"/>
                  <a:pt x="4628" y="342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7" name="Freeform: Shape 17">
            <a:extLst>
              <a:ext uri="{FF2B5EF4-FFF2-40B4-BE49-F238E27FC236}">
                <a16:creationId xmlns:a16="http://schemas.microsoft.com/office/drawing/2014/main" id="{C98B1C87-3E4C-EE43-A0EC-E8610FDDCF90}"/>
              </a:ext>
            </a:extLst>
          </p:cNvPr>
          <p:cNvSpPr/>
          <p:nvPr/>
        </p:nvSpPr>
        <p:spPr>
          <a:xfrm>
            <a:off x="13943544" y="2979902"/>
            <a:ext cx="1660319" cy="1638360"/>
          </a:xfrm>
          <a:custGeom>
            <a:avLst/>
            <a:gdLst/>
            <a:ahLst/>
            <a:cxnLst>
              <a:cxn ang="3cd4">
                <a:pos x="hc" y="t"/>
              </a:cxn>
              <a:cxn ang="cd2">
                <a:pos x="l" y="vc"/>
              </a:cxn>
              <a:cxn ang="cd4">
                <a:pos x="hc" y="b"/>
              </a:cxn>
              <a:cxn ang="0">
                <a:pos x="r" y="vc"/>
              </a:cxn>
            </a:cxnLst>
            <a:rect l="l" t="t" r="r" b="b"/>
            <a:pathLst>
              <a:path w="4613" h="4552">
                <a:moveTo>
                  <a:pt x="525" y="4552"/>
                </a:moveTo>
                <a:lnTo>
                  <a:pt x="4120" y="4552"/>
                </a:lnTo>
                <a:cubicBezTo>
                  <a:pt x="4375" y="4552"/>
                  <a:pt x="4613" y="4298"/>
                  <a:pt x="4613" y="4043"/>
                </a:cubicBezTo>
                <a:lnTo>
                  <a:pt x="4613" y="1466"/>
                </a:lnTo>
                <a:lnTo>
                  <a:pt x="4613" y="1450"/>
                </a:lnTo>
                <a:lnTo>
                  <a:pt x="4597" y="1435"/>
                </a:lnTo>
                <a:lnTo>
                  <a:pt x="4597" y="1419"/>
                </a:lnTo>
                <a:cubicBezTo>
                  <a:pt x="4597" y="1403"/>
                  <a:pt x="4586" y="1408"/>
                  <a:pt x="4581" y="1403"/>
                </a:cubicBezTo>
                <a:lnTo>
                  <a:pt x="3197" y="274"/>
                </a:lnTo>
                <a:cubicBezTo>
                  <a:pt x="2720" y="-91"/>
                  <a:pt x="1957" y="-91"/>
                  <a:pt x="1496" y="274"/>
                </a:cubicBezTo>
                <a:lnTo>
                  <a:pt x="80" y="1355"/>
                </a:lnTo>
                <a:lnTo>
                  <a:pt x="64" y="1371"/>
                </a:lnTo>
                <a:cubicBezTo>
                  <a:pt x="33" y="1387"/>
                  <a:pt x="0" y="1419"/>
                  <a:pt x="0" y="1450"/>
                </a:cubicBezTo>
                <a:lnTo>
                  <a:pt x="0" y="4043"/>
                </a:lnTo>
                <a:cubicBezTo>
                  <a:pt x="0" y="4298"/>
                  <a:pt x="255" y="4552"/>
                  <a:pt x="525" y="4552"/>
                </a:cubicBezTo>
                <a:close/>
                <a:moveTo>
                  <a:pt x="160" y="1498"/>
                </a:moveTo>
                <a:cubicBezTo>
                  <a:pt x="176" y="1498"/>
                  <a:pt x="176" y="1483"/>
                  <a:pt x="191" y="1483"/>
                </a:cubicBezTo>
                <a:lnTo>
                  <a:pt x="1591" y="385"/>
                </a:lnTo>
                <a:cubicBezTo>
                  <a:pt x="2005" y="67"/>
                  <a:pt x="2673" y="67"/>
                  <a:pt x="3086" y="385"/>
                </a:cubicBezTo>
                <a:lnTo>
                  <a:pt x="4454" y="1498"/>
                </a:lnTo>
                <a:lnTo>
                  <a:pt x="4454" y="4043"/>
                </a:lnTo>
                <a:cubicBezTo>
                  <a:pt x="4454" y="4218"/>
                  <a:pt x="4279" y="4393"/>
                  <a:pt x="4120" y="4393"/>
                </a:cubicBezTo>
                <a:lnTo>
                  <a:pt x="525" y="4393"/>
                </a:lnTo>
                <a:cubicBezTo>
                  <a:pt x="351" y="4393"/>
                  <a:pt x="160" y="4202"/>
                  <a:pt x="160" y="4043"/>
                </a:cubicBezTo>
                <a:close/>
                <a:moveTo>
                  <a:pt x="1703" y="3010"/>
                </a:moveTo>
                <a:lnTo>
                  <a:pt x="652" y="4028"/>
                </a:lnTo>
                <a:cubicBezTo>
                  <a:pt x="621" y="4060"/>
                  <a:pt x="621" y="4108"/>
                  <a:pt x="652" y="4139"/>
                </a:cubicBezTo>
                <a:cubicBezTo>
                  <a:pt x="669" y="4156"/>
                  <a:pt x="685" y="4156"/>
                  <a:pt x="700" y="4156"/>
                </a:cubicBezTo>
                <a:cubicBezTo>
                  <a:pt x="732" y="4156"/>
                  <a:pt x="748" y="4156"/>
                  <a:pt x="764" y="4139"/>
                </a:cubicBezTo>
                <a:lnTo>
                  <a:pt x="1798" y="3153"/>
                </a:lnTo>
                <a:lnTo>
                  <a:pt x="1861" y="3090"/>
                </a:lnTo>
                <a:lnTo>
                  <a:pt x="1861" y="3074"/>
                </a:lnTo>
                <a:cubicBezTo>
                  <a:pt x="1867" y="3068"/>
                  <a:pt x="1878" y="3074"/>
                  <a:pt x="1878" y="3058"/>
                </a:cubicBezTo>
                <a:lnTo>
                  <a:pt x="1941" y="2994"/>
                </a:lnTo>
                <a:cubicBezTo>
                  <a:pt x="2148" y="2772"/>
                  <a:pt x="2482" y="2772"/>
                  <a:pt x="2705" y="3010"/>
                </a:cubicBezTo>
                <a:lnTo>
                  <a:pt x="2752" y="3058"/>
                </a:lnTo>
                <a:lnTo>
                  <a:pt x="2768" y="3074"/>
                </a:lnTo>
                <a:lnTo>
                  <a:pt x="3881" y="4139"/>
                </a:lnTo>
                <a:cubicBezTo>
                  <a:pt x="3914" y="4171"/>
                  <a:pt x="3961" y="4171"/>
                  <a:pt x="3993" y="4139"/>
                </a:cubicBezTo>
                <a:cubicBezTo>
                  <a:pt x="4024" y="4108"/>
                  <a:pt x="4024" y="4060"/>
                  <a:pt x="3993" y="4028"/>
                </a:cubicBezTo>
                <a:lnTo>
                  <a:pt x="2927" y="2994"/>
                </a:lnTo>
                <a:lnTo>
                  <a:pt x="4104" y="1658"/>
                </a:lnTo>
                <a:cubicBezTo>
                  <a:pt x="4136" y="1627"/>
                  <a:pt x="4120" y="1579"/>
                  <a:pt x="4088" y="1547"/>
                </a:cubicBezTo>
                <a:cubicBezTo>
                  <a:pt x="4057" y="1515"/>
                  <a:pt x="4009" y="1515"/>
                  <a:pt x="3977" y="1547"/>
                </a:cubicBezTo>
                <a:lnTo>
                  <a:pt x="2816" y="2899"/>
                </a:lnTo>
                <a:cubicBezTo>
                  <a:pt x="2673" y="2740"/>
                  <a:pt x="2498" y="2660"/>
                  <a:pt x="2323" y="2660"/>
                </a:cubicBezTo>
                <a:cubicBezTo>
                  <a:pt x="2132" y="2660"/>
                  <a:pt x="1957" y="2740"/>
                  <a:pt x="1814" y="2899"/>
                </a:cubicBezTo>
                <a:lnTo>
                  <a:pt x="605" y="1531"/>
                </a:lnTo>
                <a:cubicBezTo>
                  <a:pt x="573" y="1499"/>
                  <a:pt x="525" y="1499"/>
                  <a:pt x="494" y="1515"/>
                </a:cubicBezTo>
                <a:cubicBezTo>
                  <a:pt x="462" y="1547"/>
                  <a:pt x="462" y="1594"/>
                  <a:pt x="494" y="162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8" name="Freeform: Shape 18">
            <a:extLst>
              <a:ext uri="{FF2B5EF4-FFF2-40B4-BE49-F238E27FC236}">
                <a16:creationId xmlns:a16="http://schemas.microsoft.com/office/drawing/2014/main" id="{4EC372C9-2DF9-5E48-B7AF-ABD9C891A738}"/>
              </a:ext>
            </a:extLst>
          </p:cNvPr>
          <p:cNvSpPr/>
          <p:nvPr/>
        </p:nvSpPr>
        <p:spPr>
          <a:xfrm>
            <a:off x="21287604" y="9656082"/>
            <a:ext cx="1660319" cy="1638719"/>
          </a:xfrm>
          <a:custGeom>
            <a:avLst/>
            <a:gdLst/>
            <a:ahLst/>
            <a:cxnLst>
              <a:cxn ang="3cd4">
                <a:pos x="hc" y="t"/>
              </a:cxn>
              <a:cxn ang="cd2">
                <a:pos x="l" y="vc"/>
              </a:cxn>
              <a:cxn ang="cd4">
                <a:pos x="hc" y="b"/>
              </a:cxn>
              <a:cxn ang="0">
                <a:pos x="r" y="vc"/>
              </a:cxn>
            </a:cxnLst>
            <a:rect l="l" t="t" r="r" b="b"/>
            <a:pathLst>
              <a:path w="4613" h="4553">
                <a:moveTo>
                  <a:pt x="525" y="4553"/>
                </a:moveTo>
                <a:lnTo>
                  <a:pt x="4136" y="4553"/>
                </a:lnTo>
                <a:cubicBezTo>
                  <a:pt x="4374" y="4553"/>
                  <a:pt x="4613" y="4298"/>
                  <a:pt x="4613" y="4044"/>
                </a:cubicBezTo>
                <a:lnTo>
                  <a:pt x="4613" y="1467"/>
                </a:lnTo>
                <a:lnTo>
                  <a:pt x="4613" y="1451"/>
                </a:lnTo>
                <a:cubicBezTo>
                  <a:pt x="4613" y="1435"/>
                  <a:pt x="4613" y="1435"/>
                  <a:pt x="4597" y="1435"/>
                </a:cubicBezTo>
                <a:lnTo>
                  <a:pt x="4597" y="1419"/>
                </a:lnTo>
                <a:cubicBezTo>
                  <a:pt x="4592" y="1413"/>
                  <a:pt x="4597" y="1403"/>
                  <a:pt x="4581" y="1403"/>
                </a:cubicBezTo>
                <a:lnTo>
                  <a:pt x="3833" y="799"/>
                </a:lnTo>
                <a:lnTo>
                  <a:pt x="3833" y="544"/>
                </a:lnTo>
                <a:cubicBezTo>
                  <a:pt x="3833" y="497"/>
                  <a:pt x="3801" y="465"/>
                  <a:pt x="3754" y="465"/>
                </a:cubicBezTo>
                <a:lnTo>
                  <a:pt x="3420" y="465"/>
                </a:lnTo>
                <a:lnTo>
                  <a:pt x="3197" y="274"/>
                </a:lnTo>
                <a:cubicBezTo>
                  <a:pt x="2720" y="-91"/>
                  <a:pt x="1956" y="-91"/>
                  <a:pt x="1495" y="274"/>
                </a:cubicBezTo>
                <a:lnTo>
                  <a:pt x="1256" y="465"/>
                </a:lnTo>
                <a:lnTo>
                  <a:pt x="859" y="465"/>
                </a:lnTo>
                <a:cubicBezTo>
                  <a:pt x="811" y="465"/>
                  <a:pt x="780" y="497"/>
                  <a:pt x="780" y="544"/>
                </a:cubicBezTo>
                <a:lnTo>
                  <a:pt x="780" y="831"/>
                </a:lnTo>
                <a:lnTo>
                  <a:pt x="95" y="1356"/>
                </a:lnTo>
                <a:cubicBezTo>
                  <a:pt x="80" y="1372"/>
                  <a:pt x="80" y="1372"/>
                  <a:pt x="64" y="1387"/>
                </a:cubicBezTo>
                <a:cubicBezTo>
                  <a:pt x="32" y="1387"/>
                  <a:pt x="0" y="1419"/>
                  <a:pt x="0" y="1467"/>
                </a:cubicBezTo>
                <a:lnTo>
                  <a:pt x="0" y="4044"/>
                </a:lnTo>
                <a:cubicBezTo>
                  <a:pt x="0" y="4298"/>
                  <a:pt x="271" y="4553"/>
                  <a:pt x="525" y="4553"/>
                </a:cubicBezTo>
                <a:close/>
                <a:moveTo>
                  <a:pt x="1591" y="401"/>
                </a:moveTo>
                <a:cubicBezTo>
                  <a:pt x="2004" y="67"/>
                  <a:pt x="2688" y="67"/>
                  <a:pt x="3102" y="401"/>
                </a:cubicBezTo>
                <a:lnTo>
                  <a:pt x="3181" y="465"/>
                </a:lnTo>
                <a:lnTo>
                  <a:pt x="1511" y="465"/>
                </a:lnTo>
                <a:close/>
                <a:moveTo>
                  <a:pt x="3388" y="624"/>
                </a:moveTo>
                <a:lnTo>
                  <a:pt x="3404" y="624"/>
                </a:lnTo>
                <a:lnTo>
                  <a:pt x="3674" y="624"/>
                </a:lnTo>
                <a:lnTo>
                  <a:pt x="3674" y="1896"/>
                </a:lnTo>
                <a:lnTo>
                  <a:pt x="3292" y="2342"/>
                </a:lnTo>
                <a:lnTo>
                  <a:pt x="1320" y="2342"/>
                </a:lnTo>
                <a:lnTo>
                  <a:pt x="938" y="1896"/>
                </a:lnTo>
                <a:lnTo>
                  <a:pt x="938" y="624"/>
                </a:lnTo>
                <a:close/>
                <a:moveTo>
                  <a:pt x="2815" y="2899"/>
                </a:moveTo>
                <a:cubicBezTo>
                  <a:pt x="2688" y="2739"/>
                  <a:pt x="2513" y="2660"/>
                  <a:pt x="2322" y="2660"/>
                </a:cubicBezTo>
                <a:cubicBezTo>
                  <a:pt x="2131" y="2660"/>
                  <a:pt x="1956" y="2755"/>
                  <a:pt x="1829" y="2899"/>
                </a:cubicBezTo>
                <a:lnTo>
                  <a:pt x="1813" y="2899"/>
                </a:lnTo>
                <a:lnTo>
                  <a:pt x="1464" y="2501"/>
                </a:lnTo>
                <a:lnTo>
                  <a:pt x="3165" y="2501"/>
                </a:lnTo>
                <a:close/>
                <a:moveTo>
                  <a:pt x="159" y="1499"/>
                </a:moveTo>
                <a:cubicBezTo>
                  <a:pt x="175" y="1499"/>
                  <a:pt x="175" y="1483"/>
                  <a:pt x="191" y="1483"/>
                </a:cubicBezTo>
                <a:lnTo>
                  <a:pt x="780" y="1021"/>
                </a:lnTo>
                <a:lnTo>
                  <a:pt x="780" y="1721"/>
                </a:lnTo>
                <a:lnTo>
                  <a:pt x="604" y="1530"/>
                </a:lnTo>
                <a:cubicBezTo>
                  <a:pt x="589" y="1499"/>
                  <a:pt x="525" y="1499"/>
                  <a:pt x="493" y="1530"/>
                </a:cubicBezTo>
                <a:cubicBezTo>
                  <a:pt x="461" y="1547"/>
                  <a:pt x="461" y="1610"/>
                  <a:pt x="493" y="1642"/>
                </a:cubicBezTo>
                <a:lnTo>
                  <a:pt x="1209" y="2453"/>
                </a:lnTo>
                <a:cubicBezTo>
                  <a:pt x="1209" y="2469"/>
                  <a:pt x="1225" y="2485"/>
                  <a:pt x="1241" y="2485"/>
                </a:cubicBezTo>
                <a:lnTo>
                  <a:pt x="1702" y="3010"/>
                </a:lnTo>
                <a:lnTo>
                  <a:pt x="652" y="4028"/>
                </a:lnTo>
                <a:cubicBezTo>
                  <a:pt x="620" y="4060"/>
                  <a:pt x="620" y="4107"/>
                  <a:pt x="652" y="4139"/>
                </a:cubicBezTo>
                <a:cubicBezTo>
                  <a:pt x="668" y="4155"/>
                  <a:pt x="684" y="4155"/>
                  <a:pt x="716" y="4155"/>
                </a:cubicBezTo>
                <a:cubicBezTo>
                  <a:pt x="732" y="4155"/>
                  <a:pt x="747" y="4155"/>
                  <a:pt x="764" y="4139"/>
                </a:cubicBezTo>
                <a:lnTo>
                  <a:pt x="1798" y="3153"/>
                </a:lnTo>
                <a:lnTo>
                  <a:pt x="1861" y="3089"/>
                </a:lnTo>
                <a:lnTo>
                  <a:pt x="1877" y="3074"/>
                </a:lnTo>
                <a:lnTo>
                  <a:pt x="1941" y="3010"/>
                </a:lnTo>
                <a:cubicBezTo>
                  <a:pt x="2147" y="2771"/>
                  <a:pt x="2497" y="2771"/>
                  <a:pt x="2704" y="3010"/>
                </a:cubicBezTo>
                <a:lnTo>
                  <a:pt x="2768" y="3057"/>
                </a:lnTo>
                <a:lnTo>
                  <a:pt x="2768" y="3074"/>
                </a:lnTo>
                <a:lnTo>
                  <a:pt x="3881" y="4139"/>
                </a:lnTo>
                <a:cubicBezTo>
                  <a:pt x="3913" y="4171"/>
                  <a:pt x="3961" y="4171"/>
                  <a:pt x="3992" y="4139"/>
                </a:cubicBezTo>
                <a:cubicBezTo>
                  <a:pt x="4024" y="4107"/>
                  <a:pt x="4024" y="4060"/>
                  <a:pt x="3992" y="4028"/>
                </a:cubicBezTo>
                <a:lnTo>
                  <a:pt x="2927" y="3010"/>
                </a:lnTo>
                <a:lnTo>
                  <a:pt x="3388" y="2469"/>
                </a:lnTo>
                <a:cubicBezTo>
                  <a:pt x="3393" y="2463"/>
                  <a:pt x="3404" y="2469"/>
                  <a:pt x="3404" y="2453"/>
                </a:cubicBezTo>
                <a:lnTo>
                  <a:pt x="4104" y="1658"/>
                </a:lnTo>
                <a:cubicBezTo>
                  <a:pt x="4136" y="1626"/>
                  <a:pt x="4136" y="1578"/>
                  <a:pt x="4104" y="1547"/>
                </a:cubicBezTo>
                <a:cubicBezTo>
                  <a:pt x="4056" y="1515"/>
                  <a:pt x="4009" y="1515"/>
                  <a:pt x="3976" y="1547"/>
                </a:cubicBezTo>
                <a:lnTo>
                  <a:pt x="3833" y="1721"/>
                </a:lnTo>
                <a:lnTo>
                  <a:pt x="3833" y="990"/>
                </a:lnTo>
                <a:lnTo>
                  <a:pt x="4454" y="1499"/>
                </a:lnTo>
                <a:lnTo>
                  <a:pt x="4454" y="4044"/>
                </a:lnTo>
                <a:cubicBezTo>
                  <a:pt x="4454" y="4219"/>
                  <a:pt x="4295" y="4393"/>
                  <a:pt x="4136" y="4393"/>
                </a:cubicBezTo>
                <a:lnTo>
                  <a:pt x="525" y="4393"/>
                </a:lnTo>
                <a:cubicBezTo>
                  <a:pt x="350" y="4393"/>
                  <a:pt x="159" y="4219"/>
                  <a:pt x="159" y="4044"/>
                </a:cubicBezTo>
                <a:close/>
                <a:moveTo>
                  <a:pt x="1273" y="1230"/>
                </a:moveTo>
                <a:lnTo>
                  <a:pt x="3340" y="1230"/>
                </a:lnTo>
                <a:cubicBezTo>
                  <a:pt x="3372" y="1230"/>
                  <a:pt x="3420" y="1197"/>
                  <a:pt x="3420" y="1150"/>
                </a:cubicBezTo>
                <a:cubicBezTo>
                  <a:pt x="3420" y="1102"/>
                  <a:pt x="3372" y="1070"/>
                  <a:pt x="3340" y="1070"/>
                </a:cubicBezTo>
                <a:lnTo>
                  <a:pt x="1273" y="1070"/>
                </a:lnTo>
                <a:cubicBezTo>
                  <a:pt x="1241" y="1070"/>
                  <a:pt x="1193" y="1102"/>
                  <a:pt x="1193" y="1150"/>
                </a:cubicBezTo>
                <a:cubicBezTo>
                  <a:pt x="1193" y="1197"/>
                  <a:pt x="1241" y="1230"/>
                  <a:pt x="1273" y="1230"/>
                </a:cubicBezTo>
                <a:close/>
                <a:moveTo>
                  <a:pt x="1273" y="1866"/>
                </a:moveTo>
                <a:lnTo>
                  <a:pt x="3340" y="1866"/>
                </a:lnTo>
                <a:cubicBezTo>
                  <a:pt x="3372" y="1866"/>
                  <a:pt x="3420" y="1834"/>
                  <a:pt x="3420" y="1786"/>
                </a:cubicBezTo>
                <a:cubicBezTo>
                  <a:pt x="3420" y="1739"/>
                  <a:pt x="3372" y="1706"/>
                  <a:pt x="3340" y="1706"/>
                </a:cubicBezTo>
                <a:lnTo>
                  <a:pt x="1273" y="1706"/>
                </a:lnTo>
                <a:cubicBezTo>
                  <a:pt x="1241" y="1706"/>
                  <a:pt x="1193" y="1739"/>
                  <a:pt x="1193" y="1786"/>
                </a:cubicBezTo>
                <a:cubicBezTo>
                  <a:pt x="1193" y="1834"/>
                  <a:pt x="1241" y="1866"/>
                  <a:pt x="1273" y="186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209086491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Email - 2</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70" name="TextBox 69">
            <a:extLst>
              <a:ext uri="{FF2B5EF4-FFF2-40B4-BE49-F238E27FC236}">
                <a16:creationId xmlns:a16="http://schemas.microsoft.com/office/drawing/2014/main" id="{DCB37BE7-FB09-F54F-9B42-8F0EE5856FA6}"/>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52" name="TextBox 51">
            <a:extLst>
              <a:ext uri="{FF2B5EF4-FFF2-40B4-BE49-F238E27FC236}">
                <a16:creationId xmlns:a16="http://schemas.microsoft.com/office/drawing/2014/main" id="{69D4D0A1-4135-4449-8714-83668B4A02CC}"/>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68" name="TextBox 67">
            <a:extLst>
              <a:ext uri="{FF2B5EF4-FFF2-40B4-BE49-F238E27FC236}">
                <a16:creationId xmlns:a16="http://schemas.microsoft.com/office/drawing/2014/main" id="{25BED9A4-9934-2B43-8CC7-563951F2782F}"/>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1</a:t>
            </a:r>
          </a:p>
        </p:txBody>
      </p:sp>
      <p:sp>
        <p:nvSpPr>
          <p:cNvPr id="69" name="TextBox 68">
            <a:extLst>
              <a:ext uri="{FF2B5EF4-FFF2-40B4-BE49-F238E27FC236}">
                <a16:creationId xmlns:a16="http://schemas.microsoft.com/office/drawing/2014/main" id="{367FE661-E960-6144-9474-D7DE4CF589BA}"/>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Search</a:t>
            </a:r>
          </a:p>
        </p:txBody>
      </p:sp>
      <p:sp>
        <p:nvSpPr>
          <p:cNvPr id="71" name="TextBox 70">
            <a:extLst>
              <a:ext uri="{FF2B5EF4-FFF2-40B4-BE49-F238E27FC236}">
                <a16:creationId xmlns:a16="http://schemas.microsoft.com/office/drawing/2014/main" id="{0F1D360D-26D5-9542-ABE4-19C5E95BCB1B}"/>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Gear</a:t>
            </a:r>
          </a:p>
        </p:txBody>
      </p:sp>
      <p:sp>
        <p:nvSpPr>
          <p:cNvPr id="72" name="TextBox 71">
            <a:extLst>
              <a:ext uri="{FF2B5EF4-FFF2-40B4-BE49-F238E27FC236}">
                <a16:creationId xmlns:a16="http://schemas.microsoft.com/office/drawing/2014/main" id="{B029C64D-E906-9F42-95A3-3BC2B56D2792}"/>
              </a:ext>
            </a:extLst>
          </p:cNvPr>
          <p:cNvSpPr txBox="1"/>
          <p:nvPr/>
        </p:nvSpPr>
        <p:spPr>
          <a:xfrm>
            <a:off x="12867894"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Key</a:t>
            </a:r>
          </a:p>
        </p:txBody>
      </p:sp>
      <p:sp>
        <p:nvSpPr>
          <p:cNvPr id="73" name="TextBox 72">
            <a:extLst>
              <a:ext uri="{FF2B5EF4-FFF2-40B4-BE49-F238E27FC236}">
                <a16:creationId xmlns:a16="http://schemas.microsoft.com/office/drawing/2014/main" id="{CE09F800-C0AB-5E46-80A0-DB8A20E5D201}"/>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a:t>
            </a:r>
          </a:p>
        </p:txBody>
      </p:sp>
      <p:sp>
        <p:nvSpPr>
          <p:cNvPr id="74" name="TextBox 73">
            <a:extLst>
              <a:ext uri="{FF2B5EF4-FFF2-40B4-BE49-F238E27FC236}">
                <a16:creationId xmlns:a16="http://schemas.microsoft.com/office/drawing/2014/main" id="{E1CC73D8-076B-014D-AF14-0DDFEE06BCF1}"/>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Link</a:t>
            </a:r>
          </a:p>
        </p:txBody>
      </p:sp>
      <p:sp>
        <p:nvSpPr>
          <p:cNvPr id="75" name="TextBox 74">
            <a:extLst>
              <a:ext uri="{FF2B5EF4-FFF2-40B4-BE49-F238E27FC236}">
                <a16:creationId xmlns:a16="http://schemas.microsoft.com/office/drawing/2014/main" id="{3955ABF4-FA88-FC4E-88CD-E7CB8059D93E}"/>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Open Pict</a:t>
            </a:r>
          </a:p>
        </p:txBody>
      </p:sp>
      <p:sp>
        <p:nvSpPr>
          <p:cNvPr id="76" name="TextBox 75">
            <a:extLst>
              <a:ext uri="{FF2B5EF4-FFF2-40B4-BE49-F238E27FC236}">
                <a16:creationId xmlns:a16="http://schemas.microsoft.com/office/drawing/2014/main" id="{4D516F87-FCDD-2945-9B20-22F348D8B1E3}"/>
              </a:ext>
            </a:extLst>
          </p:cNvPr>
          <p:cNvSpPr txBox="1"/>
          <p:nvPr/>
        </p:nvSpPr>
        <p:spPr>
          <a:xfrm>
            <a:off x="13117472" y="8292956"/>
            <a:ext cx="3330492"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Open Video</a:t>
            </a:r>
          </a:p>
        </p:txBody>
      </p:sp>
      <p:sp>
        <p:nvSpPr>
          <p:cNvPr id="77" name="TextBox 76">
            <a:extLst>
              <a:ext uri="{FF2B5EF4-FFF2-40B4-BE49-F238E27FC236}">
                <a16:creationId xmlns:a16="http://schemas.microsoft.com/office/drawing/2014/main" id="{8C58B68B-D640-4348-9112-9F57DB34D462}"/>
              </a:ext>
            </a:extLst>
          </p:cNvPr>
          <p:cNvSpPr txBox="1"/>
          <p:nvPr/>
        </p:nvSpPr>
        <p:spPr>
          <a:xfrm>
            <a:off x="16843756" y="8292956"/>
            <a:ext cx="2965940"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Open Cash</a:t>
            </a:r>
          </a:p>
        </p:txBody>
      </p:sp>
      <p:sp>
        <p:nvSpPr>
          <p:cNvPr id="78" name="TextBox 77">
            <a:extLst>
              <a:ext uri="{FF2B5EF4-FFF2-40B4-BE49-F238E27FC236}">
                <a16:creationId xmlns:a16="http://schemas.microsoft.com/office/drawing/2014/main" id="{21E979F2-3D9C-6B4C-8953-89E4027B1C52}"/>
              </a:ext>
            </a:extLst>
          </p:cNvPr>
          <p:cNvSpPr txBox="1"/>
          <p:nvPr/>
        </p:nvSpPr>
        <p:spPr>
          <a:xfrm>
            <a:off x="-47946" y="11657695"/>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box</a:t>
            </a:r>
          </a:p>
        </p:txBody>
      </p:sp>
      <p:sp>
        <p:nvSpPr>
          <p:cNvPr id="79" name="TextBox 78">
            <a:extLst>
              <a:ext uri="{FF2B5EF4-FFF2-40B4-BE49-F238E27FC236}">
                <a16:creationId xmlns:a16="http://schemas.microsoft.com/office/drawing/2014/main" id="{EFDC7307-C2C9-2249-A0BA-604CF4321E6A}"/>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box Blank </a:t>
            </a:r>
          </a:p>
        </p:txBody>
      </p:sp>
      <p:sp>
        <p:nvSpPr>
          <p:cNvPr id="80" name="TextBox 79">
            <a:extLst>
              <a:ext uri="{FF2B5EF4-FFF2-40B4-BE49-F238E27FC236}">
                <a16:creationId xmlns:a16="http://schemas.microsoft.com/office/drawing/2014/main" id="{F02F95DA-2ABC-4E40-B87E-CA2E8C17EEB3}"/>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box Letter</a:t>
            </a:r>
          </a:p>
        </p:txBody>
      </p:sp>
      <p:sp>
        <p:nvSpPr>
          <p:cNvPr id="81" name="TextBox 80">
            <a:extLst>
              <a:ext uri="{FF2B5EF4-FFF2-40B4-BE49-F238E27FC236}">
                <a16:creationId xmlns:a16="http://schemas.microsoft.com/office/drawing/2014/main" id="{80D94C77-6EC2-D24F-85E5-22566E4BCDDA}"/>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box In</a:t>
            </a:r>
          </a:p>
        </p:txBody>
      </p:sp>
      <p:sp>
        <p:nvSpPr>
          <p:cNvPr id="82" name="TextBox 81">
            <a:extLst>
              <a:ext uri="{FF2B5EF4-FFF2-40B4-BE49-F238E27FC236}">
                <a16:creationId xmlns:a16="http://schemas.microsoft.com/office/drawing/2014/main" id="{4CF39D60-87DA-5844-9546-40B95DF72EED}"/>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Outbox</a:t>
            </a:r>
          </a:p>
        </p:txBody>
      </p:sp>
      <p:sp>
        <p:nvSpPr>
          <p:cNvPr id="83" name="Freeform: Shape 26">
            <a:extLst>
              <a:ext uri="{FF2B5EF4-FFF2-40B4-BE49-F238E27FC236}">
                <a16:creationId xmlns:a16="http://schemas.microsoft.com/office/drawing/2014/main" id="{1312CC41-6697-1646-A089-E240F8591DC2}"/>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4" name="TextBox 83">
            <a:extLst>
              <a:ext uri="{FF2B5EF4-FFF2-40B4-BE49-F238E27FC236}">
                <a16:creationId xmlns:a16="http://schemas.microsoft.com/office/drawing/2014/main" id="{6BA2C2E3-2145-FF40-8759-A42F7FD3403F}"/>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Lock</a:t>
            </a:r>
          </a:p>
        </p:txBody>
      </p:sp>
      <p:sp>
        <p:nvSpPr>
          <p:cNvPr id="85" name="TextBox 84">
            <a:extLst>
              <a:ext uri="{FF2B5EF4-FFF2-40B4-BE49-F238E27FC236}">
                <a16:creationId xmlns:a16="http://schemas.microsoft.com/office/drawing/2014/main" id="{FAEB9C85-720E-404D-93F9-E7975D7F193A}"/>
              </a:ext>
            </a:extLst>
          </p:cNvPr>
          <p:cNvSpPr txBox="1"/>
          <p:nvPr/>
        </p:nvSpPr>
        <p:spPr>
          <a:xfrm>
            <a:off x="20058143" y="5165177"/>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velope Pict</a:t>
            </a:r>
          </a:p>
        </p:txBody>
      </p:sp>
      <p:sp>
        <p:nvSpPr>
          <p:cNvPr id="86" name="TextBox 85">
            <a:extLst>
              <a:ext uri="{FF2B5EF4-FFF2-40B4-BE49-F238E27FC236}">
                <a16:creationId xmlns:a16="http://schemas.microsoft.com/office/drawing/2014/main" id="{235588C7-3BE7-9E41-9021-80E2CCEF6E5B}"/>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Outbox Out</a:t>
            </a:r>
          </a:p>
        </p:txBody>
      </p:sp>
      <p:sp>
        <p:nvSpPr>
          <p:cNvPr id="87" name="Freeform: Shape 13">
            <a:extLst>
              <a:ext uri="{FF2B5EF4-FFF2-40B4-BE49-F238E27FC236}">
                <a16:creationId xmlns:a16="http://schemas.microsoft.com/office/drawing/2014/main" id="{78E7749B-6244-E64B-AA38-F366DF2DBC70}"/>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8" name="Freeform: Shape 1">
            <a:extLst>
              <a:ext uri="{FF2B5EF4-FFF2-40B4-BE49-F238E27FC236}">
                <a16:creationId xmlns:a16="http://schemas.microsoft.com/office/drawing/2014/main" id="{57D0D7CB-986D-474B-A19F-C10DF53462E5}"/>
              </a:ext>
            </a:extLst>
          </p:cNvPr>
          <p:cNvSpPr/>
          <p:nvPr/>
        </p:nvSpPr>
        <p:spPr>
          <a:xfrm>
            <a:off x="17415455" y="9512529"/>
            <a:ext cx="1614240" cy="1594440"/>
          </a:xfrm>
          <a:custGeom>
            <a:avLst/>
            <a:gdLst/>
            <a:ahLst/>
            <a:cxnLst>
              <a:cxn ang="3cd4">
                <a:pos x="hc" y="t"/>
              </a:cxn>
              <a:cxn ang="cd2">
                <a:pos x="l" y="vc"/>
              </a:cxn>
              <a:cxn ang="cd4">
                <a:pos x="hc" y="b"/>
              </a:cxn>
              <a:cxn ang="0">
                <a:pos x="r" y="vc"/>
              </a:cxn>
            </a:cxnLst>
            <a:rect l="l" t="t" r="r" b="b"/>
            <a:pathLst>
              <a:path w="4485" h="4430">
                <a:moveTo>
                  <a:pt x="0" y="4350"/>
                </a:moveTo>
                <a:cubicBezTo>
                  <a:pt x="0" y="4398"/>
                  <a:pt x="48" y="4430"/>
                  <a:pt x="79" y="4430"/>
                </a:cubicBezTo>
                <a:lnTo>
                  <a:pt x="4406" y="4430"/>
                </a:lnTo>
                <a:cubicBezTo>
                  <a:pt x="4438" y="4430"/>
                  <a:pt x="4485" y="4398"/>
                  <a:pt x="4485" y="4350"/>
                </a:cubicBezTo>
                <a:lnTo>
                  <a:pt x="4485" y="2871"/>
                </a:lnTo>
                <a:lnTo>
                  <a:pt x="4485" y="2855"/>
                </a:lnTo>
                <a:cubicBezTo>
                  <a:pt x="4480" y="2850"/>
                  <a:pt x="4485" y="2839"/>
                  <a:pt x="4469" y="2839"/>
                </a:cubicBezTo>
                <a:lnTo>
                  <a:pt x="3929" y="1503"/>
                </a:lnTo>
                <a:cubicBezTo>
                  <a:pt x="3929" y="1471"/>
                  <a:pt x="3897" y="1455"/>
                  <a:pt x="3865" y="1455"/>
                </a:cubicBezTo>
                <a:lnTo>
                  <a:pt x="2688" y="1455"/>
                </a:lnTo>
                <a:cubicBezTo>
                  <a:pt x="2640" y="1455"/>
                  <a:pt x="2608" y="1487"/>
                  <a:pt x="2608" y="1535"/>
                </a:cubicBezTo>
                <a:cubicBezTo>
                  <a:pt x="2608" y="1567"/>
                  <a:pt x="2640" y="1614"/>
                  <a:pt x="2688" y="1614"/>
                </a:cubicBezTo>
                <a:lnTo>
                  <a:pt x="3801" y="1614"/>
                </a:lnTo>
                <a:lnTo>
                  <a:pt x="4278" y="2791"/>
                </a:lnTo>
                <a:lnTo>
                  <a:pt x="3292" y="2791"/>
                </a:lnTo>
                <a:cubicBezTo>
                  <a:pt x="3260" y="2791"/>
                  <a:pt x="3229" y="2807"/>
                  <a:pt x="3229" y="2839"/>
                </a:cubicBezTo>
                <a:lnTo>
                  <a:pt x="3165" y="3061"/>
                </a:lnTo>
                <a:cubicBezTo>
                  <a:pt x="3102" y="3237"/>
                  <a:pt x="2911" y="3380"/>
                  <a:pt x="2751" y="3380"/>
                </a:cubicBezTo>
                <a:lnTo>
                  <a:pt x="1813" y="3380"/>
                </a:lnTo>
                <a:cubicBezTo>
                  <a:pt x="1654" y="3380"/>
                  <a:pt x="1463" y="3237"/>
                  <a:pt x="1399" y="3061"/>
                </a:cubicBezTo>
                <a:lnTo>
                  <a:pt x="1336" y="2839"/>
                </a:lnTo>
                <a:cubicBezTo>
                  <a:pt x="1320" y="2807"/>
                  <a:pt x="1288" y="2791"/>
                  <a:pt x="1256" y="2791"/>
                </a:cubicBezTo>
                <a:lnTo>
                  <a:pt x="206" y="2791"/>
                </a:lnTo>
                <a:lnTo>
                  <a:pt x="747" y="1614"/>
                </a:lnTo>
                <a:lnTo>
                  <a:pt x="1654" y="1614"/>
                </a:lnTo>
                <a:cubicBezTo>
                  <a:pt x="1686" y="1614"/>
                  <a:pt x="1733" y="1567"/>
                  <a:pt x="1733" y="1535"/>
                </a:cubicBezTo>
                <a:cubicBezTo>
                  <a:pt x="1733" y="1487"/>
                  <a:pt x="1686" y="1455"/>
                  <a:pt x="1654" y="1455"/>
                </a:cubicBezTo>
                <a:lnTo>
                  <a:pt x="700" y="1455"/>
                </a:lnTo>
                <a:cubicBezTo>
                  <a:pt x="668" y="1455"/>
                  <a:pt x="636" y="1471"/>
                  <a:pt x="620" y="1503"/>
                </a:cubicBezTo>
                <a:lnTo>
                  <a:pt x="16" y="2839"/>
                </a:lnTo>
                <a:lnTo>
                  <a:pt x="16" y="2855"/>
                </a:lnTo>
                <a:lnTo>
                  <a:pt x="0" y="2871"/>
                </a:lnTo>
                <a:close/>
                <a:moveTo>
                  <a:pt x="1256" y="3109"/>
                </a:moveTo>
                <a:cubicBezTo>
                  <a:pt x="1320" y="3348"/>
                  <a:pt x="1575" y="3539"/>
                  <a:pt x="1813" y="3539"/>
                </a:cubicBezTo>
                <a:lnTo>
                  <a:pt x="2751" y="3539"/>
                </a:lnTo>
                <a:cubicBezTo>
                  <a:pt x="2990" y="3539"/>
                  <a:pt x="3229" y="3348"/>
                  <a:pt x="3308" y="3109"/>
                </a:cubicBezTo>
                <a:lnTo>
                  <a:pt x="3356" y="2951"/>
                </a:lnTo>
                <a:lnTo>
                  <a:pt x="4326" y="2951"/>
                </a:lnTo>
                <a:lnTo>
                  <a:pt x="4326" y="4270"/>
                </a:lnTo>
                <a:lnTo>
                  <a:pt x="159" y="4270"/>
                </a:lnTo>
                <a:lnTo>
                  <a:pt x="159" y="2951"/>
                </a:lnTo>
                <a:lnTo>
                  <a:pt x="1209" y="2951"/>
                </a:lnTo>
                <a:close/>
                <a:moveTo>
                  <a:pt x="2084" y="1344"/>
                </a:moveTo>
                <a:lnTo>
                  <a:pt x="2084" y="2489"/>
                </a:lnTo>
                <a:cubicBezTo>
                  <a:pt x="2084" y="2537"/>
                  <a:pt x="2131" y="2569"/>
                  <a:pt x="2163" y="2569"/>
                </a:cubicBezTo>
                <a:cubicBezTo>
                  <a:pt x="2211" y="2569"/>
                  <a:pt x="2242" y="2537"/>
                  <a:pt x="2242" y="2489"/>
                </a:cubicBezTo>
                <a:lnTo>
                  <a:pt x="2242" y="1344"/>
                </a:lnTo>
                <a:cubicBezTo>
                  <a:pt x="2242" y="994"/>
                  <a:pt x="2545" y="707"/>
                  <a:pt x="2926" y="707"/>
                </a:cubicBezTo>
                <a:lnTo>
                  <a:pt x="2942" y="707"/>
                </a:lnTo>
                <a:lnTo>
                  <a:pt x="2513" y="1137"/>
                </a:lnTo>
                <a:cubicBezTo>
                  <a:pt x="2481" y="1169"/>
                  <a:pt x="2481" y="1216"/>
                  <a:pt x="2513" y="1248"/>
                </a:cubicBezTo>
                <a:cubicBezTo>
                  <a:pt x="2529" y="1264"/>
                  <a:pt x="2545" y="1264"/>
                  <a:pt x="2576" y="1264"/>
                </a:cubicBezTo>
                <a:cubicBezTo>
                  <a:pt x="2593" y="1264"/>
                  <a:pt x="2608" y="1264"/>
                  <a:pt x="2624" y="1248"/>
                </a:cubicBezTo>
                <a:lnTo>
                  <a:pt x="3197" y="692"/>
                </a:lnTo>
                <a:cubicBezTo>
                  <a:pt x="3212" y="676"/>
                  <a:pt x="3212" y="660"/>
                  <a:pt x="3212" y="628"/>
                </a:cubicBezTo>
                <a:cubicBezTo>
                  <a:pt x="3212" y="612"/>
                  <a:pt x="3212" y="596"/>
                  <a:pt x="3197" y="596"/>
                </a:cubicBezTo>
                <a:lnTo>
                  <a:pt x="3197" y="580"/>
                </a:lnTo>
                <a:lnTo>
                  <a:pt x="2624" y="24"/>
                </a:lnTo>
                <a:cubicBezTo>
                  <a:pt x="2593" y="-8"/>
                  <a:pt x="2529" y="-8"/>
                  <a:pt x="2513" y="24"/>
                </a:cubicBezTo>
                <a:cubicBezTo>
                  <a:pt x="2481" y="55"/>
                  <a:pt x="2481" y="103"/>
                  <a:pt x="2513" y="135"/>
                </a:cubicBezTo>
                <a:lnTo>
                  <a:pt x="2942" y="549"/>
                </a:lnTo>
                <a:lnTo>
                  <a:pt x="2926" y="549"/>
                </a:lnTo>
                <a:cubicBezTo>
                  <a:pt x="2465" y="549"/>
                  <a:pt x="2084" y="898"/>
                  <a:pt x="2084" y="134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9" name="Freeform: Shape 2">
            <a:extLst>
              <a:ext uri="{FF2B5EF4-FFF2-40B4-BE49-F238E27FC236}">
                <a16:creationId xmlns:a16="http://schemas.microsoft.com/office/drawing/2014/main" id="{39942081-8CD9-9A42-855D-49766370B7A9}"/>
              </a:ext>
            </a:extLst>
          </p:cNvPr>
          <p:cNvSpPr/>
          <p:nvPr/>
        </p:nvSpPr>
        <p:spPr>
          <a:xfrm>
            <a:off x="13861576" y="9578409"/>
            <a:ext cx="1625760" cy="1465560"/>
          </a:xfrm>
          <a:custGeom>
            <a:avLst/>
            <a:gdLst/>
            <a:ahLst/>
            <a:cxnLst>
              <a:cxn ang="3cd4">
                <a:pos x="hc" y="t"/>
              </a:cxn>
              <a:cxn ang="cd2">
                <a:pos x="l" y="vc"/>
              </a:cxn>
              <a:cxn ang="cd4">
                <a:pos x="hc" y="b"/>
              </a:cxn>
              <a:cxn ang="0">
                <a:pos x="r" y="vc"/>
              </a:cxn>
            </a:cxnLst>
            <a:rect l="l" t="t" r="r" b="b"/>
            <a:pathLst>
              <a:path w="4517" h="4072">
                <a:moveTo>
                  <a:pt x="0" y="3992"/>
                </a:moveTo>
                <a:cubicBezTo>
                  <a:pt x="0" y="4024"/>
                  <a:pt x="32" y="4072"/>
                  <a:pt x="79" y="4072"/>
                </a:cubicBezTo>
                <a:lnTo>
                  <a:pt x="4438" y="4072"/>
                </a:lnTo>
                <a:cubicBezTo>
                  <a:pt x="4485" y="4072"/>
                  <a:pt x="4517" y="4024"/>
                  <a:pt x="4517" y="3992"/>
                </a:cubicBezTo>
                <a:lnTo>
                  <a:pt x="4517" y="2481"/>
                </a:lnTo>
                <a:lnTo>
                  <a:pt x="4517" y="2465"/>
                </a:lnTo>
                <a:lnTo>
                  <a:pt x="4517" y="2449"/>
                </a:lnTo>
                <a:lnTo>
                  <a:pt x="3960" y="1097"/>
                </a:lnTo>
                <a:cubicBezTo>
                  <a:pt x="3960" y="1065"/>
                  <a:pt x="3929" y="1050"/>
                  <a:pt x="3897" y="1050"/>
                </a:cubicBezTo>
                <a:lnTo>
                  <a:pt x="2704" y="1050"/>
                </a:lnTo>
                <a:cubicBezTo>
                  <a:pt x="2672" y="1050"/>
                  <a:pt x="2624" y="1081"/>
                  <a:pt x="2624" y="1129"/>
                </a:cubicBezTo>
                <a:cubicBezTo>
                  <a:pt x="2624" y="1177"/>
                  <a:pt x="2672" y="1209"/>
                  <a:pt x="2704" y="1209"/>
                </a:cubicBezTo>
                <a:lnTo>
                  <a:pt x="3833" y="1209"/>
                </a:lnTo>
                <a:lnTo>
                  <a:pt x="4326" y="2402"/>
                </a:lnTo>
                <a:lnTo>
                  <a:pt x="3324" y="2402"/>
                </a:lnTo>
                <a:cubicBezTo>
                  <a:pt x="3293" y="2402"/>
                  <a:pt x="3261" y="2433"/>
                  <a:pt x="3245" y="2465"/>
                </a:cubicBezTo>
                <a:lnTo>
                  <a:pt x="3181" y="2688"/>
                </a:lnTo>
                <a:cubicBezTo>
                  <a:pt x="3133" y="2863"/>
                  <a:pt x="2942" y="3006"/>
                  <a:pt x="2767" y="3006"/>
                </a:cubicBezTo>
                <a:lnTo>
                  <a:pt x="1829" y="3006"/>
                </a:lnTo>
                <a:cubicBezTo>
                  <a:pt x="1654" y="3006"/>
                  <a:pt x="1463" y="2863"/>
                  <a:pt x="1416" y="2688"/>
                </a:cubicBezTo>
                <a:lnTo>
                  <a:pt x="1336" y="2465"/>
                </a:lnTo>
                <a:cubicBezTo>
                  <a:pt x="1336" y="2433"/>
                  <a:pt x="1304" y="2402"/>
                  <a:pt x="1273" y="2402"/>
                </a:cubicBezTo>
                <a:lnTo>
                  <a:pt x="207" y="2402"/>
                </a:lnTo>
                <a:lnTo>
                  <a:pt x="748" y="1209"/>
                </a:lnTo>
                <a:lnTo>
                  <a:pt x="1654" y="1209"/>
                </a:lnTo>
                <a:cubicBezTo>
                  <a:pt x="1702" y="1209"/>
                  <a:pt x="1734" y="1177"/>
                  <a:pt x="1734" y="1129"/>
                </a:cubicBezTo>
                <a:cubicBezTo>
                  <a:pt x="1734" y="1081"/>
                  <a:pt x="1702" y="1050"/>
                  <a:pt x="1654" y="1050"/>
                </a:cubicBezTo>
                <a:lnTo>
                  <a:pt x="700" y="1050"/>
                </a:lnTo>
                <a:cubicBezTo>
                  <a:pt x="668" y="1050"/>
                  <a:pt x="636" y="1065"/>
                  <a:pt x="636" y="1097"/>
                </a:cubicBezTo>
                <a:lnTo>
                  <a:pt x="16" y="2449"/>
                </a:lnTo>
                <a:cubicBezTo>
                  <a:pt x="11" y="2454"/>
                  <a:pt x="16" y="2465"/>
                  <a:pt x="0" y="2465"/>
                </a:cubicBezTo>
                <a:lnTo>
                  <a:pt x="0" y="2481"/>
                </a:lnTo>
                <a:close/>
                <a:moveTo>
                  <a:pt x="1257" y="2735"/>
                </a:moveTo>
                <a:cubicBezTo>
                  <a:pt x="1336" y="2974"/>
                  <a:pt x="1591" y="3165"/>
                  <a:pt x="1829" y="3165"/>
                </a:cubicBezTo>
                <a:lnTo>
                  <a:pt x="2767" y="3165"/>
                </a:lnTo>
                <a:cubicBezTo>
                  <a:pt x="3006" y="3165"/>
                  <a:pt x="3261" y="2974"/>
                  <a:pt x="3340" y="2735"/>
                </a:cubicBezTo>
                <a:lnTo>
                  <a:pt x="3388" y="2560"/>
                </a:lnTo>
                <a:lnTo>
                  <a:pt x="4358" y="2560"/>
                </a:lnTo>
                <a:lnTo>
                  <a:pt x="4358" y="3913"/>
                </a:lnTo>
                <a:lnTo>
                  <a:pt x="159" y="3913"/>
                </a:lnTo>
                <a:lnTo>
                  <a:pt x="159" y="2560"/>
                </a:lnTo>
                <a:lnTo>
                  <a:pt x="1209" y="2560"/>
                </a:lnTo>
                <a:close/>
                <a:moveTo>
                  <a:pt x="2100" y="763"/>
                </a:moveTo>
                <a:lnTo>
                  <a:pt x="2100" y="2068"/>
                </a:lnTo>
                <a:lnTo>
                  <a:pt x="1702" y="1654"/>
                </a:lnTo>
                <a:cubicBezTo>
                  <a:pt x="1670" y="1622"/>
                  <a:pt x="1622" y="1622"/>
                  <a:pt x="1591" y="1654"/>
                </a:cubicBezTo>
                <a:cubicBezTo>
                  <a:pt x="1559" y="1686"/>
                  <a:pt x="1559" y="1733"/>
                  <a:pt x="1591" y="1765"/>
                </a:cubicBezTo>
                <a:lnTo>
                  <a:pt x="2147" y="2338"/>
                </a:lnTo>
                <a:cubicBezTo>
                  <a:pt x="2163" y="2354"/>
                  <a:pt x="2179" y="2354"/>
                  <a:pt x="2211" y="2354"/>
                </a:cubicBezTo>
                <a:cubicBezTo>
                  <a:pt x="2227" y="2369"/>
                  <a:pt x="2243" y="2354"/>
                  <a:pt x="2258" y="2338"/>
                </a:cubicBezTo>
                <a:lnTo>
                  <a:pt x="2815" y="1750"/>
                </a:lnTo>
                <a:cubicBezTo>
                  <a:pt x="2847" y="1717"/>
                  <a:pt x="2847" y="1670"/>
                  <a:pt x="2815" y="1638"/>
                </a:cubicBezTo>
                <a:cubicBezTo>
                  <a:pt x="2784" y="1606"/>
                  <a:pt x="2736" y="1606"/>
                  <a:pt x="2704" y="1638"/>
                </a:cubicBezTo>
                <a:lnTo>
                  <a:pt x="2258" y="2099"/>
                </a:lnTo>
                <a:lnTo>
                  <a:pt x="2258" y="763"/>
                </a:lnTo>
                <a:cubicBezTo>
                  <a:pt x="2258" y="366"/>
                  <a:pt x="2609" y="159"/>
                  <a:pt x="2958" y="159"/>
                </a:cubicBezTo>
                <a:lnTo>
                  <a:pt x="3006" y="159"/>
                </a:lnTo>
                <a:cubicBezTo>
                  <a:pt x="3054" y="159"/>
                  <a:pt x="3086" y="127"/>
                  <a:pt x="3086" y="79"/>
                </a:cubicBezTo>
                <a:cubicBezTo>
                  <a:pt x="3086" y="32"/>
                  <a:pt x="3054" y="0"/>
                  <a:pt x="3006" y="0"/>
                </a:cubicBezTo>
                <a:lnTo>
                  <a:pt x="2958" y="0"/>
                </a:lnTo>
                <a:cubicBezTo>
                  <a:pt x="2466" y="0"/>
                  <a:pt x="2100" y="318"/>
                  <a:pt x="2100" y="7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0" name="Freeform: Shape 3">
            <a:extLst>
              <a:ext uri="{FF2B5EF4-FFF2-40B4-BE49-F238E27FC236}">
                <a16:creationId xmlns:a16="http://schemas.microsoft.com/office/drawing/2014/main" id="{5754FF3C-DE0D-8E4F-9601-38685AB769AE}"/>
              </a:ext>
            </a:extLst>
          </p:cNvPr>
          <p:cNvSpPr/>
          <p:nvPr/>
        </p:nvSpPr>
        <p:spPr>
          <a:xfrm>
            <a:off x="5793756" y="9767048"/>
            <a:ext cx="1711800" cy="1087920"/>
          </a:xfrm>
          <a:custGeom>
            <a:avLst/>
            <a:gdLst/>
            <a:ahLst/>
            <a:cxnLst>
              <a:cxn ang="3cd4">
                <a:pos x="hc" y="t"/>
              </a:cxn>
              <a:cxn ang="cd2">
                <a:pos x="l" y="vc"/>
              </a:cxn>
              <a:cxn ang="cd4">
                <a:pos x="hc" y="b"/>
              </a:cxn>
              <a:cxn ang="0">
                <a:pos x="r" y="vc"/>
              </a:cxn>
            </a:cxnLst>
            <a:rect l="l" t="t" r="r" b="b"/>
            <a:pathLst>
              <a:path w="4756" h="3023">
                <a:moveTo>
                  <a:pt x="0" y="2943"/>
                </a:moveTo>
                <a:cubicBezTo>
                  <a:pt x="0" y="2991"/>
                  <a:pt x="32" y="3023"/>
                  <a:pt x="80" y="3023"/>
                </a:cubicBezTo>
                <a:cubicBezTo>
                  <a:pt x="4692" y="3023"/>
                  <a:pt x="4692" y="3023"/>
                  <a:pt x="4692" y="3023"/>
                </a:cubicBezTo>
                <a:cubicBezTo>
                  <a:pt x="4724" y="3023"/>
                  <a:pt x="4756" y="2991"/>
                  <a:pt x="4756" y="2943"/>
                </a:cubicBezTo>
                <a:cubicBezTo>
                  <a:pt x="4756" y="1353"/>
                  <a:pt x="4756" y="1353"/>
                  <a:pt x="4756" y="1353"/>
                </a:cubicBezTo>
                <a:lnTo>
                  <a:pt x="4756" y="1337"/>
                </a:lnTo>
                <a:lnTo>
                  <a:pt x="4756" y="1321"/>
                </a:lnTo>
                <a:cubicBezTo>
                  <a:pt x="4183" y="48"/>
                  <a:pt x="4183" y="48"/>
                  <a:pt x="4183" y="48"/>
                </a:cubicBezTo>
                <a:cubicBezTo>
                  <a:pt x="4167" y="17"/>
                  <a:pt x="4136" y="0"/>
                  <a:pt x="4104" y="0"/>
                </a:cubicBezTo>
                <a:cubicBezTo>
                  <a:pt x="732" y="0"/>
                  <a:pt x="732" y="0"/>
                  <a:pt x="732" y="0"/>
                </a:cubicBezTo>
                <a:cubicBezTo>
                  <a:pt x="700" y="0"/>
                  <a:pt x="668" y="17"/>
                  <a:pt x="668" y="48"/>
                </a:cubicBezTo>
                <a:cubicBezTo>
                  <a:pt x="16" y="1321"/>
                  <a:pt x="16" y="1321"/>
                  <a:pt x="16" y="1321"/>
                </a:cubicBezTo>
                <a:lnTo>
                  <a:pt x="0" y="1321"/>
                </a:lnTo>
                <a:lnTo>
                  <a:pt x="0" y="1337"/>
                </a:lnTo>
                <a:lnTo>
                  <a:pt x="0" y="1353"/>
                </a:lnTo>
                <a:close/>
                <a:moveTo>
                  <a:pt x="4613" y="2863"/>
                </a:moveTo>
                <a:cubicBezTo>
                  <a:pt x="159" y="2863"/>
                  <a:pt x="159" y="2863"/>
                  <a:pt x="159" y="2863"/>
                </a:cubicBezTo>
                <a:cubicBezTo>
                  <a:pt x="159" y="1432"/>
                  <a:pt x="159" y="1432"/>
                  <a:pt x="159" y="1432"/>
                </a:cubicBezTo>
                <a:cubicBezTo>
                  <a:pt x="1273" y="1432"/>
                  <a:pt x="1273" y="1432"/>
                  <a:pt x="1273" y="1432"/>
                </a:cubicBezTo>
                <a:cubicBezTo>
                  <a:pt x="1320" y="1607"/>
                  <a:pt x="1320" y="1607"/>
                  <a:pt x="1320" y="1607"/>
                </a:cubicBezTo>
                <a:cubicBezTo>
                  <a:pt x="1400" y="1862"/>
                  <a:pt x="1670" y="2068"/>
                  <a:pt x="1925" y="2068"/>
                </a:cubicBezTo>
                <a:cubicBezTo>
                  <a:pt x="2927" y="2068"/>
                  <a:pt x="2927" y="2068"/>
                  <a:pt x="2927" y="2068"/>
                </a:cubicBezTo>
                <a:cubicBezTo>
                  <a:pt x="3165" y="2068"/>
                  <a:pt x="3436" y="1862"/>
                  <a:pt x="3515" y="1607"/>
                </a:cubicBezTo>
                <a:cubicBezTo>
                  <a:pt x="3563" y="1432"/>
                  <a:pt x="3563" y="1432"/>
                  <a:pt x="3563" y="1432"/>
                </a:cubicBezTo>
                <a:cubicBezTo>
                  <a:pt x="4613" y="1432"/>
                  <a:pt x="4613" y="1432"/>
                  <a:pt x="4613" y="1432"/>
                </a:cubicBezTo>
                <a:close/>
                <a:moveTo>
                  <a:pt x="779" y="160"/>
                </a:moveTo>
                <a:cubicBezTo>
                  <a:pt x="4056" y="160"/>
                  <a:pt x="4056" y="160"/>
                  <a:pt x="4056" y="160"/>
                </a:cubicBezTo>
                <a:cubicBezTo>
                  <a:pt x="4565" y="1273"/>
                  <a:pt x="4565" y="1273"/>
                  <a:pt x="4565" y="1273"/>
                </a:cubicBezTo>
                <a:cubicBezTo>
                  <a:pt x="3515" y="1273"/>
                  <a:pt x="3515" y="1273"/>
                  <a:pt x="3515" y="1273"/>
                </a:cubicBezTo>
                <a:cubicBezTo>
                  <a:pt x="3467" y="1273"/>
                  <a:pt x="3436" y="1289"/>
                  <a:pt x="3436" y="1337"/>
                </a:cubicBezTo>
                <a:cubicBezTo>
                  <a:pt x="3356" y="1559"/>
                  <a:pt x="3356" y="1559"/>
                  <a:pt x="3356" y="1559"/>
                </a:cubicBezTo>
                <a:cubicBezTo>
                  <a:pt x="3309" y="1750"/>
                  <a:pt x="3101" y="1909"/>
                  <a:pt x="2927" y="1909"/>
                </a:cubicBezTo>
                <a:cubicBezTo>
                  <a:pt x="1925" y="1909"/>
                  <a:pt x="1925" y="1909"/>
                  <a:pt x="1925" y="1909"/>
                </a:cubicBezTo>
                <a:cubicBezTo>
                  <a:pt x="1750" y="1909"/>
                  <a:pt x="1543" y="1750"/>
                  <a:pt x="1479" y="1559"/>
                </a:cubicBezTo>
                <a:cubicBezTo>
                  <a:pt x="1416" y="1337"/>
                  <a:pt x="1416" y="1337"/>
                  <a:pt x="1416" y="1337"/>
                </a:cubicBezTo>
                <a:cubicBezTo>
                  <a:pt x="1400" y="1289"/>
                  <a:pt x="1368" y="1273"/>
                  <a:pt x="1336" y="1273"/>
                </a:cubicBezTo>
                <a:cubicBezTo>
                  <a:pt x="207" y="1273"/>
                  <a:pt x="207" y="1273"/>
                  <a:pt x="207" y="127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1" name="Freeform: Shape 4">
            <a:extLst>
              <a:ext uri="{FF2B5EF4-FFF2-40B4-BE49-F238E27FC236}">
                <a16:creationId xmlns:a16="http://schemas.microsoft.com/office/drawing/2014/main" id="{36520502-4C4B-6047-AA1E-792836760EB5}"/>
              </a:ext>
            </a:extLst>
          </p:cNvPr>
          <p:cNvSpPr/>
          <p:nvPr/>
        </p:nvSpPr>
        <p:spPr>
          <a:xfrm>
            <a:off x="20753881" y="3313580"/>
            <a:ext cx="1533960" cy="1385280"/>
          </a:xfrm>
          <a:custGeom>
            <a:avLst/>
            <a:gdLst/>
            <a:ahLst/>
            <a:cxnLst>
              <a:cxn ang="3cd4">
                <a:pos x="hc" y="t"/>
              </a:cxn>
              <a:cxn ang="cd2">
                <a:pos x="l" y="vc"/>
              </a:cxn>
              <a:cxn ang="cd4">
                <a:pos x="hc" y="b"/>
              </a:cxn>
              <a:cxn ang="0">
                <a:pos x="r" y="vc"/>
              </a:cxn>
            </a:cxnLst>
            <a:rect l="l" t="t" r="r" b="b"/>
            <a:pathLst>
              <a:path w="4262" h="3849">
                <a:moveTo>
                  <a:pt x="4262" y="366"/>
                </a:moveTo>
                <a:cubicBezTo>
                  <a:pt x="4262" y="143"/>
                  <a:pt x="4103" y="0"/>
                  <a:pt x="3849" y="0"/>
                </a:cubicBezTo>
                <a:lnTo>
                  <a:pt x="477" y="0"/>
                </a:lnTo>
                <a:cubicBezTo>
                  <a:pt x="238" y="0"/>
                  <a:pt x="0" y="127"/>
                  <a:pt x="0" y="366"/>
                </a:cubicBezTo>
                <a:lnTo>
                  <a:pt x="0" y="2672"/>
                </a:lnTo>
                <a:cubicBezTo>
                  <a:pt x="0" y="2911"/>
                  <a:pt x="238" y="3133"/>
                  <a:pt x="477" y="3133"/>
                </a:cubicBezTo>
                <a:lnTo>
                  <a:pt x="1845" y="3133"/>
                </a:lnTo>
                <a:cubicBezTo>
                  <a:pt x="1893" y="3133"/>
                  <a:pt x="1924" y="3101"/>
                  <a:pt x="1924" y="3054"/>
                </a:cubicBezTo>
                <a:cubicBezTo>
                  <a:pt x="1924" y="3022"/>
                  <a:pt x="1893" y="2990"/>
                  <a:pt x="1845" y="2990"/>
                </a:cubicBezTo>
                <a:lnTo>
                  <a:pt x="477" y="2990"/>
                </a:lnTo>
                <a:cubicBezTo>
                  <a:pt x="318" y="2990"/>
                  <a:pt x="158" y="2815"/>
                  <a:pt x="158" y="2672"/>
                </a:cubicBezTo>
                <a:lnTo>
                  <a:pt x="158" y="366"/>
                </a:lnTo>
                <a:cubicBezTo>
                  <a:pt x="158" y="318"/>
                  <a:pt x="175" y="286"/>
                  <a:pt x="206" y="254"/>
                </a:cubicBezTo>
                <a:lnTo>
                  <a:pt x="1511" y="1638"/>
                </a:lnTo>
                <a:lnTo>
                  <a:pt x="604" y="2481"/>
                </a:lnTo>
                <a:cubicBezTo>
                  <a:pt x="572" y="2497"/>
                  <a:pt x="572" y="2561"/>
                  <a:pt x="588" y="2592"/>
                </a:cubicBezTo>
                <a:cubicBezTo>
                  <a:pt x="604" y="2609"/>
                  <a:pt x="636" y="2609"/>
                  <a:pt x="652" y="2609"/>
                </a:cubicBezTo>
                <a:cubicBezTo>
                  <a:pt x="667" y="2609"/>
                  <a:pt x="700" y="2609"/>
                  <a:pt x="715" y="2592"/>
                </a:cubicBezTo>
                <a:lnTo>
                  <a:pt x="1622" y="1766"/>
                </a:lnTo>
                <a:lnTo>
                  <a:pt x="1702" y="1845"/>
                </a:lnTo>
                <a:cubicBezTo>
                  <a:pt x="1813" y="1972"/>
                  <a:pt x="1988" y="2052"/>
                  <a:pt x="2163" y="2052"/>
                </a:cubicBezTo>
                <a:cubicBezTo>
                  <a:pt x="2338" y="2052"/>
                  <a:pt x="2497" y="1972"/>
                  <a:pt x="2624" y="1845"/>
                </a:cubicBezTo>
                <a:lnTo>
                  <a:pt x="2703" y="1749"/>
                </a:lnTo>
                <a:lnTo>
                  <a:pt x="3069" y="2052"/>
                </a:lnTo>
                <a:cubicBezTo>
                  <a:pt x="3085" y="2052"/>
                  <a:pt x="3101" y="2067"/>
                  <a:pt x="3117" y="2067"/>
                </a:cubicBezTo>
                <a:cubicBezTo>
                  <a:pt x="3133" y="2067"/>
                  <a:pt x="3165" y="2052"/>
                  <a:pt x="3181" y="2036"/>
                </a:cubicBezTo>
                <a:cubicBezTo>
                  <a:pt x="3197" y="2004"/>
                  <a:pt x="3197" y="1957"/>
                  <a:pt x="3165" y="1924"/>
                </a:cubicBezTo>
                <a:lnTo>
                  <a:pt x="2815" y="1638"/>
                </a:lnTo>
                <a:lnTo>
                  <a:pt x="4087" y="286"/>
                </a:lnTo>
                <a:cubicBezTo>
                  <a:pt x="4103" y="302"/>
                  <a:pt x="4103" y="334"/>
                  <a:pt x="4103" y="366"/>
                </a:cubicBezTo>
                <a:lnTo>
                  <a:pt x="4103" y="2004"/>
                </a:lnTo>
                <a:cubicBezTo>
                  <a:pt x="4103" y="2036"/>
                  <a:pt x="4135" y="2084"/>
                  <a:pt x="4183" y="2084"/>
                </a:cubicBezTo>
                <a:cubicBezTo>
                  <a:pt x="4230" y="2084"/>
                  <a:pt x="4262" y="2036"/>
                  <a:pt x="4262" y="2004"/>
                </a:cubicBezTo>
                <a:close/>
                <a:moveTo>
                  <a:pt x="2513" y="1734"/>
                </a:moveTo>
                <a:cubicBezTo>
                  <a:pt x="2322" y="1940"/>
                  <a:pt x="2004" y="1940"/>
                  <a:pt x="1813" y="1734"/>
                </a:cubicBezTo>
                <a:lnTo>
                  <a:pt x="349" y="175"/>
                </a:lnTo>
                <a:cubicBezTo>
                  <a:pt x="397" y="175"/>
                  <a:pt x="445" y="159"/>
                  <a:pt x="477" y="159"/>
                </a:cubicBezTo>
                <a:lnTo>
                  <a:pt x="3849" y="159"/>
                </a:lnTo>
                <a:cubicBezTo>
                  <a:pt x="3881" y="159"/>
                  <a:pt x="3929" y="175"/>
                  <a:pt x="3960" y="175"/>
                </a:cubicBezTo>
                <a:close/>
                <a:moveTo>
                  <a:pt x="3674" y="2290"/>
                </a:moveTo>
                <a:lnTo>
                  <a:pt x="3658" y="2290"/>
                </a:lnTo>
                <a:cubicBezTo>
                  <a:pt x="3653" y="2285"/>
                  <a:pt x="3658" y="2275"/>
                  <a:pt x="3642" y="2275"/>
                </a:cubicBezTo>
                <a:lnTo>
                  <a:pt x="3626" y="2275"/>
                </a:lnTo>
                <a:lnTo>
                  <a:pt x="3610" y="2275"/>
                </a:lnTo>
                <a:lnTo>
                  <a:pt x="2194" y="2275"/>
                </a:lnTo>
                <a:cubicBezTo>
                  <a:pt x="2147" y="2275"/>
                  <a:pt x="2115" y="2306"/>
                  <a:pt x="2115" y="2354"/>
                </a:cubicBezTo>
                <a:lnTo>
                  <a:pt x="2115" y="3770"/>
                </a:lnTo>
                <a:cubicBezTo>
                  <a:pt x="2115" y="3817"/>
                  <a:pt x="2147" y="3849"/>
                  <a:pt x="2194" y="3849"/>
                </a:cubicBezTo>
                <a:lnTo>
                  <a:pt x="4183" y="3849"/>
                </a:lnTo>
                <a:cubicBezTo>
                  <a:pt x="4230" y="3849"/>
                  <a:pt x="4262" y="3817"/>
                  <a:pt x="4262" y="3770"/>
                </a:cubicBezTo>
                <a:lnTo>
                  <a:pt x="4262" y="2911"/>
                </a:lnTo>
                <a:cubicBezTo>
                  <a:pt x="4262" y="2879"/>
                  <a:pt x="4247" y="2863"/>
                  <a:pt x="4230" y="2847"/>
                </a:cubicBezTo>
                <a:close/>
                <a:moveTo>
                  <a:pt x="3992" y="2847"/>
                </a:moveTo>
                <a:lnTo>
                  <a:pt x="3690" y="2847"/>
                </a:lnTo>
                <a:lnTo>
                  <a:pt x="3690" y="2545"/>
                </a:lnTo>
                <a:close/>
                <a:moveTo>
                  <a:pt x="3706" y="3261"/>
                </a:moveTo>
                <a:lnTo>
                  <a:pt x="2751" y="3261"/>
                </a:lnTo>
                <a:lnTo>
                  <a:pt x="2974" y="2942"/>
                </a:lnTo>
                <a:lnTo>
                  <a:pt x="3085" y="3070"/>
                </a:lnTo>
                <a:cubicBezTo>
                  <a:pt x="3101" y="3085"/>
                  <a:pt x="3133" y="3101"/>
                  <a:pt x="3149" y="3101"/>
                </a:cubicBezTo>
                <a:cubicBezTo>
                  <a:pt x="3181" y="3085"/>
                  <a:pt x="3197" y="3070"/>
                  <a:pt x="3212" y="3054"/>
                </a:cubicBezTo>
                <a:lnTo>
                  <a:pt x="3324" y="2815"/>
                </a:lnTo>
                <a:close/>
                <a:moveTo>
                  <a:pt x="2274" y="3690"/>
                </a:moveTo>
                <a:lnTo>
                  <a:pt x="2274" y="2433"/>
                </a:lnTo>
                <a:lnTo>
                  <a:pt x="3530" y="2433"/>
                </a:lnTo>
                <a:lnTo>
                  <a:pt x="3530" y="2815"/>
                </a:lnTo>
                <a:lnTo>
                  <a:pt x="3372" y="2624"/>
                </a:lnTo>
                <a:cubicBezTo>
                  <a:pt x="3356" y="2592"/>
                  <a:pt x="3324" y="2592"/>
                  <a:pt x="3308" y="2592"/>
                </a:cubicBezTo>
                <a:cubicBezTo>
                  <a:pt x="3276" y="2592"/>
                  <a:pt x="3260" y="2609"/>
                  <a:pt x="3244" y="2640"/>
                </a:cubicBezTo>
                <a:lnTo>
                  <a:pt x="3117" y="2879"/>
                </a:lnTo>
                <a:lnTo>
                  <a:pt x="3021" y="2752"/>
                </a:lnTo>
                <a:cubicBezTo>
                  <a:pt x="3006" y="2736"/>
                  <a:pt x="2974" y="2736"/>
                  <a:pt x="2958" y="2736"/>
                </a:cubicBezTo>
                <a:cubicBezTo>
                  <a:pt x="2926" y="2736"/>
                  <a:pt x="2911" y="2752"/>
                  <a:pt x="2894" y="2767"/>
                </a:cubicBezTo>
                <a:lnTo>
                  <a:pt x="2529" y="3308"/>
                </a:lnTo>
                <a:cubicBezTo>
                  <a:pt x="2513" y="3324"/>
                  <a:pt x="2513" y="3356"/>
                  <a:pt x="2529" y="3388"/>
                </a:cubicBezTo>
                <a:cubicBezTo>
                  <a:pt x="2545" y="3404"/>
                  <a:pt x="2560" y="3420"/>
                  <a:pt x="2592" y="3420"/>
                </a:cubicBezTo>
                <a:lnTo>
                  <a:pt x="3881" y="3420"/>
                </a:lnTo>
                <a:cubicBezTo>
                  <a:pt x="3912" y="3420"/>
                  <a:pt x="3944" y="3404"/>
                  <a:pt x="3960" y="3372"/>
                </a:cubicBezTo>
                <a:cubicBezTo>
                  <a:pt x="3960" y="3356"/>
                  <a:pt x="3960" y="3324"/>
                  <a:pt x="3944" y="3293"/>
                </a:cubicBezTo>
                <a:lnTo>
                  <a:pt x="3690" y="3006"/>
                </a:lnTo>
                <a:lnTo>
                  <a:pt x="4103" y="3006"/>
                </a:lnTo>
                <a:lnTo>
                  <a:pt x="4103" y="3690"/>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2" name="Freeform: Shape 5">
            <a:extLst>
              <a:ext uri="{FF2B5EF4-FFF2-40B4-BE49-F238E27FC236}">
                <a16:creationId xmlns:a16="http://schemas.microsoft.com/office/drawing/2014/main" id="{38A00D4D-9EE3-CA4A-B0A9-DF23292CB74E}"/>
              </a:ext>
            </a:extLst>
          </p:cNvPr>
          <p:cNvSpPr/>
          <p:nvPr/>
        </p:nvSpPr>
        <p:spPr>
          <a:xfrm>
            <a:off x="13944127" y="6552375"/>
            <a:ext cx="1660319" cy="1644479"/>
          </a:xfrm>
          <a:custGeom>
            <a:avLst/>
            <a:gdLst/>
            <a:ahLst/>
            <a:cxnLst>
              <a:cxn ang="3cd4">
                <a:pos x="hc" y="t"/>
              </a:cxn>
              <a:cxn ang="cd2">
                <a:pos x="l" y="vc"/>
              </a:cxn>
              <a:cxn ang="cd4">
                <a:pos x="hc" y="b"/>
              </a:cxn>
              <a:cxn ang="0">
                <a:pos x="r" y="vc"/>
              </a:cxn>
            </a:cxnLst>
            <a:rect l="l" t="t" r="r" b="b"/>
            <a:pathLst>
              <a:path w="4613" h="4569">
                <a:moveTo>
                  <a:pt x="525" y="4569"/>
                </a:moveTo>
                <a:lnTo>
                  <a:pt x="4136" y="4569"/>
                </a:lnTo>
                <a:cubicBezTo>
                  <a:pt x="4374" y="4569"/>
                  <a:pt x="4613" y="4315"/>
                  <a:pt x="4613" y="4044"/>
                </a:cubicBezTo>
                <a:lnTo>
                  <a:pt x="4613" y="1467"/>
                </a:lnTo>
                <a:lnTo>
                  <a:pt x="4613" y="1452"/>
                </a:lnTo>
                <a:cubicBezTo>
                  <a:pt x="4608" y="1446"/>
                  <a:pt x="4613" y="1436"/>
                  <a:pt x="4597" y="1436"/>
                </a:cubicBezTo>
                <a:lnTo>
                  <a:pt x="4597" y="1420"/>
                </a:lnTo>
                <a:lnTo>
                  <a:pt x="4581" y="1404"/>
                </a:lnTo>
                <a:lnTo>
                  <a:pt x="3833" y="800"/>
                </a:lnTo>
                <a:lnTo>
                  <a:pt x="3833" y="545"/>
                </a:lnTo>
                <a:cubicBezTo>
                  <a:pt x="3833" y="497"/>
                  <a:pt x="3801" y="465"/>
                  <a:pt x="3754" y="465"/>
                </a:cubicBezTo>
                <a:lnTo>
                  <a:pt x="3420" y="465"/>
                </a:lnTo>
                <a:lnTo>
                  <a:pt x="3197" y="274"/>
                </a:lnTo>
                <a:cubicBezTo>
                  <a:pt x="2720" y="-91"/>
                  <a:pt x="1956" y="-91"/>
                  <a:pt x="1495" y="274"/>
                </a:cubicBezTo>
                <a:lnTo>
                  <a:pt x="1256" y="465"/>
                </a:lnTo>
                <a:lnTo>
                  <a:pt x="859" y="465"/>
                </a:lnTo>
                <a:cubicBezTo>
                  <a:pt x="811" y="465"/>
                  <a:pt x="780" y="497"/>
                  <a:pt x="780" y="545"/>
                </a:cubicBezTo>
                <a:lnTo>
                  <a:pt x="780" y="831"/>
                </a:lnTo>
                <a:lnTo>
                  <a:pt x="95" y="1356"/>
                </a:lnTo>
                <a:cubicBezTo>
                  <a:pt x="80" y="1372"/>
                  <a:pt x="80" y="1372"/>
                  <a:pt x="64" y="1388"/>
                </a:cubicBezTo>
                <a:cubicBezTo>
                  <a:pt x="32" y="1388"/>
                  <a:pt x="0" y="1420"/>
                  <a:pt x="0" y="1467"/>
                </a:cubicBezTo>
                <a:lnTo>
                  <a:pt x="0" y="4044"/>
                </a:lnTo>
                <a:cubicBezTo>
                  <a:pt x="0" y="4299"/>
                  <a:pt x="271" y="4569"/>
                  <a:pt x="525" y="4569"/>
                </a:cubicBezTo>
                <a:close/>
                <a:moveTo>
                  <a:pt x="1591" y="402"/>
                </a:moveTo>
                <a:cubicBezTo>
                  <a:pt x="2004" y="83"/>
                  <a:pt x="2688" y="83"/>
                  <a:pt x="3102" y="402"/>
                </a:cubicBezTo>
                <a:lnTo>
                  <a:pt x="3181" y="465"/>
                </a:lnTo>
                <a:lnTo>
                  <a:pt x="1511" y="465"/>
                </a:lnTo>
                <a:close/>
                <a:moveTo>
                  <a:pt x="3404" y="624"/>
                </a:moveTo>
                <a:lnTo>
                  <a:pt x="3674" y="624"/>
                </a:lnTo>
                <a:lnTo>
                  <a:pt x="3674" y="1913"/>
                </a:lnTo>
                <a:lnTo>
                  <a:pt x="2815" y="2899"/>
                </a:lnTo>
                <a:cubicBezTo>
                  <a:pt x="2688" y="2756"/>
                  <a:pt x="2513" y="2676"/>
                  <a:pt x="2322" y="2676"/>
                </a:cubicBezTo>
                <a:cubicBezTo>
                  <a:pt x="2131" y="2676"/>
                  <a:pt x="1956" y="2756"/>
                  <a:pt x="1829" y="2899"/>
                </a:cubicBezTo>
                <a:lnTo>
                  <a:pt x="1813" y="2915"/>
                </a:lnTo>
                <a:lnTo>
                  <a:pt x="938" y="1913"/>
                </a:lnTo>
                <a:lnTo>
                  <a:pt x="938" y="624"/>
                </a:lnTo>
                <a:close/>
                <a:moveTo>
                  <a:pt x="159" y="1499"/>
                </a:moveTo>
                <a:cubicBezTo>
                  <a:pt x="175" y="1499"/>
                  <a:pt x="175" y="1499"/>
                  <a:pt x="191" y="1483"/>
                </a:cubicBezTo>
                <a:lnTo>
                  <a:pt x="780" y="1038"/>
                </a:lnTo>
                <a:lnTo>
                  <a:pt x="780" y="1722"/>
                </a:lnTo>
                <a:lnTo>
                  <a:pt x="604" y="1531"/>
                </a:lnTo>
                <a:cubicBezTo>
                  <a:pt x="589" y="1499"/>
                  <a:pt x="525" y="1499"/>
                  <a:pt x="493" y="1531"/>
                </a:cubicBezTo>
                <a:cubicBezTo>
                  <a:pt x="461" y="1563"/>
                  <a:pt x="461" y="1610"/>
                  <a:pt x="493" y="1642"/>
                </a:cubicBezTo>
                <a:lnTo>
                  <a:pt x="1702" y="3026"/>
                </a:lnTo>
                <a:lnTo>
                  <a:pt x="652" y="4028"/>
                </a:lnTo>
                <a:cubicBezTo>
                  <a:pt x="620" y="4060"/>
                  <a:pt x="620" y="4108"/>
                  <a:pt x="652" y="4140"/>
                </a:cubicBezTo>
                <a:cubicBezTo>
                  <a:pt x="668" y="4155"/>
                  <a:pt x="684" y="4172"/>
                  <a:pt x="716" y="4172"/>
                </a:cubicBezTo>
                <a:cubicBezTo>
                  <a:pt x="732" y="4172"/>
                  <a:pt x="747" y="4155"/>
                  <a:pt x="764" y="4140"/>
                </a:cubicBezTo>
                <a:lnTo>
                  <a:pt x="1798" y="3154"/>
                </a:lnTo>
                <a:lnTo>
                  <a:pt x="1861" y="3090"/>
                </a:lnTo>
                <a:cubicBezTo>
                  <a:pt x="1877" y="3090"/>
                  <a:pt x="1872" y="3079"/>
                  <a:pt x="1877" y="3074"/>
                </a:cubicBezTo>
                <a:lnTo>
                  <a:pt x="1941" y="3010"/>
                </a:lnTo>
                <a:cubicBezTo>
                  <a:pt x="2147" y="2772"/>
                  <a:pt x="2497" y="2772"/>
                  <a:pt x="2704" y="3010"/>
                </a:cubicBezTo>
                <a:lnTo>
                  <a:pt x="2768" y="3074"/>
                </a:lnTo>
                <a:lnTo>
                  <a:pt x="3881" y="4140"/>
                </a:lnTo>
                <a:cubicBezTo>
                  <a:pt x="3913" y="4172"/>
                  <a:pt x="3961" y="4172"/>
                  <a:pt x="3992" y="4140"/>
                </a:cubicBezTo>
                <a:cubicBezTo>
                  <a:pt x="4024" y="4108"/>
                  <a:pt x="4024" y="4060"/>
                  <a:pt x="3992" y="4028"/>
                </a:cubicBezTo>
                <a:lnTo>
                  <a:pt x="2927" y="3010"/>
                </a:lnTo>
                <a:lnTo>
                  <a:pt x="4104" y="1658"/>
                </a:lnTo>
                <a:cubicBezTo>
                  <a:pt x="4136" y="1627"/>
                  <a:pt x="4136" y="1579"/>
                  <a:pt x="4104" y="1547"/>
                </a:cubicBezTo>
                <a:cubicBezTo>
                  <a:pt x="4056" y="1515"/>
                  <a:pt x="4009" y="1531"/>
                  <a:pt x="3976" y="1563"/>
                </a:cubicBezTo>
                <a:lnTo>
                  <a:pt x="3833" y="1722"/>
                </a:lnTo>
                <a:lnTo>
                  <a:pt x="3833" y="1006"/>
                </a:lnTo>
                <a:lnTo>
                  <a:pt x="4454" y="1499"/>
                </a:lnTo>
                <a:lnTo>
                  <a:pt x="4454" y="4044"/>
                </a:lnTo>
                <a:cubicBezTo>
                  <a:pt x="4454" y="4219"/>
                  <a:pt x="4295" y="4410"/>
                  <a:pt x="4136" y="4410"/>
                </a:cubicBezTo>
                <a:lnTo>
                  <a:pt x="525" y="4410"/>
                </a:lnTo>
                <a:cubicBezTo>
                  <a:pt x="350" y="4410"/>
                  <a:pt x="159" y="4219"/>
                  <a:pt x="159" y="4044"/>
                </a:cubicBezTo>
                <a:close/>
                <a:moveTo>
                  <a:pt x="1670" y="2008"/>
                </a:moveTo>
                <a:lnTo>
                  <a:pt x="2497" y="2008"/>
                </a:lnTo>
                <a:cubicBezTo>
                  <a:pt x="2577" y="2008"/>
                  <a:pt x="2656" y="1961"/>
                  <a:pt x="2704" y="1897"/>
                </a:cubicBezTo>
                <a:lnTo>
                  <a:pt x="3102" y="2072"/>
                </a:lnTo>
                <a:lnTo>
                  <a:pt x="3134" y="2072"/>
                </a:lnTo>
                <a:lnTo>
                  <a:pt x="3181" y="2072"/>
                </a:lnTo>
                <a:cubicBezTo>
                  <a:pt x="3197" y="2056"/>
                  <a:pt x="3213" y="2024"/>
                  <a:pt x="3213" y="1992"/>
                </a:cubicBezTo>
                <a:lnTo>
                  <a:pt x="3213" y="1054"/>
                </a:lnTo>
                <a:cubicBezTo>
                  <a:pt x="3213" y="1022"/>
                  <a:pt x="3197" y="1006"/>
                  <a:pt x="3181" y="990"/>
                </a:cubicBezTo>
                <a:cubicBezTo>
                  <a:pt x="3165" y="974"/>
                  <a:pt x="3134" y="974"/>
                  <a:pt x="3102" y="974"/>
                </a:cubicBezTo>
                <a:lnTo>
                  <a:pt x="2752" y="1133"/>
                </a:lnTo>
                <a:cubicBezTo>
                  <a:pt x="2720" y="1022"/>
                  <a:pt x="2625" y="943"/>
                  <a:pt x="2497" y="943"/>
                </a:cubicBezTo>
                <a:lnTo>
                  <a:pt x="1670" y="943"/>
                </a:lnTo>
                <a:cubicBezTo>
                  <a:pt x="1511" y="943"/>
                  <a:pt x="1400" y="1054"/>
                  <a:pt x="1400" y="1213"/>
                </a:cubicBezTo>
                <a:lnTo>
                  <a:pt x="1400" y="1738"/>
                </a:lnTo>
                <a:cubicBezTo>
                  <a:pt x="1400" y="1881"/>
                  <a:pt x="1511" y="2008"/>
                  <a:pt x="1670" y="2008"/>
                </a:cubicBezTo>
                <a:close/>
                <a:moveTo>
                  <a:pt x="3054" y="1881"/>
                </a:moveTo>
                <a:lnTo>
                  <a:pt x="2768" y="1754"/>
                </a:lnTo>
                <a:lnTo>
                  <a:pt x="2768" y="1738"/>
                </a:lnTo>
                <a:lnTo>
                  <a:pt x="2768" y="1292"/>
                </a:lnTo>
                <a:lnTo>
                  <a:pt x="3054" y="1181"/>
                </a:lnTo>
                <a:close/>
                <a:moveTo>
                  <a:pt x="1559" y="1213"/>
                </a:moveTo>
                <a:cubicBezTo>
                  <a:pt x="1559" y="1149"/>
                  <a:pt x="1607" y="1101"/>
                  <a:pt x="1670" y="1101"/>
                </a:cubicBezTo>
                <a:lnTo>
                  <a:pt x="2497" y="1101"/>
                </a:lnTo>
                <a:cubicBezTo>
                  <a:pt x="2561" y="1101"/>
                  <a:pt x="2609" y="1149"/>
                  <a:pt x="2609" y="1213"/>
                </a:cubicBezTo>
                <a:lnTo>
                  <a:pt x="2609" y="1245"/>
                </a:lnTo>
                <a:lnTo>
                  <a:pt x="2609" y="1738"/>
                </a:lnTo>
                <a:cubicBezTo>
                  <a:pt x="2609" y="1801"/>
                  <a:pt x="2561" y="1849"/>
                  <a:pt x="2497" y="1849"/>
                </a:cubicBezTo>
                <a:lnTo>
                  <a:pt x="1670" y="1849"/>
                </a:lnTo>
                <a:cubicBezTo>
                  <a:pt x="1607" y="1849"/>
                  <a:pt x="1559" y="1801"/>
                  <a:pt x="1559" y="173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Freeform: Shape 6">
            <a:extLst>
              <a:ext uri="{FF2B5EF4-FFF2-40B4-BE49-F238E27FC236}">
                <a16:creationId xmlns:a16="http://schemas.microsoft.com/office/drawing/2014/main" id="{504962E3-900A-7D4A-B7D9-D902130A0310}"/>
              </a:ext>
            </a:extLst>
          </p:cNvPr>
          <p:cNvSpPr/>
          <p:nvPr/>
        </p:nvSpPr>
        <p:spPr>
          <a:xfrm>
            <a:off x="10012119" y="6552375"/>
            <a:ext cx="1654560" cy="1644479"/>
          </a:xfrm>
          <a:custGeom>
            <a:avLst/>
            <a:gdLst/>
            <a:ahLst/>
            <a:cxnLst>
              <a:cxn ang="3cd4">
                <a:pos x="hc" y="t"/>
              </a:cxn>
              <a:cxn ang="cd2">
                <a:pos x="l" y="vc"/>
              </a:cxn>
              <a:cxn ang="cd4">
                <a:pos x="hc" y="b"/>
              </a:cxn>
              <a:cxn ang="0">
                <a:pos x="r" y="vc"/>
              </a:cxn>
            </a:cxnLst>
            <a:rect l="l" t="t" r="r" b="b"/>
            <a:pathLst>
              <a:path w="4597" h="4569">
                <a:moveTo>
                  <a:pt x="3754" y="465"/>
                </a:moveTo>
                <a:lnTo>
                  <a:pt x="3420" y="465"/>
                </a:lnTo>
                <a:lnTo>
                  <a:pt x="3181" y="274"/>
                </a:lnTo>
                <a:cubicBezTo>
                  <a:pt x="2720" y="-91"/>
                  <a:pt x="1957" y="-91"/>
                  <a:pt x="1479" y="274"/>
                </a:cubicBezTo>
                <a:lnTo>
                  <a:pt x="1240" y="465"/>
                </a:lnTo>
                <a:lnTo>
                  <a:pt x="843" y="465"/>
                </a:lnTo>
                <a:cubicBezTo>
                  <a:pt x="811" y="465"/>
                  <a:pt x="764" y="497"/>
                  <a:pt x="764" y="545"/>
                </a:cubicBezTo>
                <a:lnTo>
                  <a:pt x="764" y="831"/>
                </a:lnTo>
                <a:lnTo>
                  <a:pt x="79" y="1356"/>
                </a:lnTo>
                <a:cubicBezTo>
                  <a:pt x="79" y="1372"/>
                  <a:pt x="64" y="1372"/>
                  <a:pt x="64" y="1388"/>
                </a:cubicBezTo>
                <a:cubicBezTo>
                  <a:pt x="16" y="1388"/>
                  <a:pt x="0" y="1420"/>
                  <a:pt x="0" y="1467"/>
                </a:cubicBezTo>
                <a:lnTo>
                  <a:pt x="0" y="4044"/>
                </a:lnTo>
                <a:cubicBezTo>
                  <a:pt x="0" y="4299"/>
                  <a:pt x="255" y="4569"/>
                  <a:pt x="509" y="4569"/>
                </a:cubicBezTo>
                <a:lnTo>
                  <a:pt x="4120" y="4569"/>
                </a:lnTo>
                <a:cubicBezTo>
                  <a:pt x="4358" y="4569"/>
                  <a:pt x="4597" y="4315"/>
                  <a:pt x="4597" y="4044"/>
                </a:cubicBezTo>
                <a:lnTo>
                  <a:pt x="4597" y="1467"/>
                </a:lnTo>
                <a:lnTo>
                  <a:pt x="4597" y="1452"/>
                </a:lnTo>
                <a:lnTo>
                  <a:pt x="4597" y="1436"/>
                </a:lnTo>
                <a:cubicBezTo>
                  <a:pt x="4592" y="1430"/>
                  <a:pt x="4597" y="1420"/>
                  <a:pt x="4581" y="1420"/>
                </a:cubicBezTo>
                <a:lnTo>
                  <a:pt x="4581" y="1404"/>
                </a:lnTo>
                <a:lnTo>
                  <a:pt x="4565" y="1404"/>
                </a:lnTo>
                <a:lnTo>
                  <a:pt x="3833" y="800"/>
                </a:lnTo>
                <a:lnTo>
                  <a:pt x="3833" y="545"/>
                </a:lnTo>
                <a:cubicBezTo>
                  <a:pt x="3833" y="497"/>
                  <a:pt x="3785" y="465"/>
                  <a:pt x="3754" y="465"/>
                </a:cubicBezTo>
                <a:close/>
                <a:moveTo>
                  <a:pt x="1575" y="402"/>
                </a:moveTo>
                <a:cubicBezTo>
                  <a:pt x="1988" y="83"/>
                  <a:pt x="2672" y="83"/>
                  <a:pt x="3086" y="402"/>
                </a:cubicBezTo>
                <a:lnTo>
                  <a:pt x="3165" y="465"/>
                </a:lnTo>
                <a:lnTo>
                  <a:pt x="1495" y="465"/>
                </a:lnTo>
                <a:close/>
                <a:moveTo>
                  <a:pt x="3388" y="624"/>
                </a:moveTo>
                <a:lnTo>
                  <a:pt x="3674" y="624"/>
                </a:lnTo>
                <a:lnTo>
                  <a:pt x="3674" y="1913"/>
                </a:lnTo>
                <a:lnTo>
                  <a:pt x="3515" y="2088"/>
                </a:lnTo>
                <a:lnTo>
                  <a:pt x="2895" y="1022"/>
                </a:lnTo>
                <a:cubicBezTo>
                  <a:pt x="2879" y="990"/>
                  <a:pt x="2863" y="974"/>
                  <a:pt x="2831" y="990"/>
                </a:cubicBezTo>
                <a:cubicBezTo>
                  <a:pt x="2800" y="990"/>
                  <a:pt x="2767" y="1006"/>
                  <a:pt x="2752" y="1022"/>
                </a:cubicBezTo>
                <a:lnTo>
                  <a:pt x="2418" y="1674"/>
                </a:lnTo>
                <a:lnTo>
                  <a:pt x="2131" y="1388"/>
                </a:lnTo>
                <a:cubicBezTo>
                  <a:pt x="2115" y="1372"/>
                  <a:pt x="2084" y="1356"/>
                  <a:pt x="2068" y="1356"/>
                </a:cubicBezTo>
                <a:cubicBezTo>
                  <a:pt x="2036" y="1372"/>
                  <a:pt x="2020" y="1388"/>
                  <a:pt x="2004" y="1404"/>
                </a:cubicBezTo>
                <a:lnTo>
                  <a:pt x="1606" y="2183"/>
                </a:lnTo>
                <a:cubicBezTo>
                  <a:pt x="1591" y="2215"/>
                  <a:pt x="1606" y="2247"/>
                  <a:pt x="1606" y="2263"/>
                </a:cubicBezTo>
                <a:cubicBezTo>
                  <a:pt x="1622" y="2294"/>
                  <a:pt x="1654" y="2310"/>
                  <a:pt x="1686" y="2310"/>
                </a:cubicBezTo>
                <a:lnTo>
                  <a:pt x="3324" y="2310"/>
                </a:lnTo>
                <a:lnTo>
                  <a:pt x="2800" y="2899"/>
                </a:lnTo>
                <a:cubicBezTo>
                  <a:pt x="2672" y="2756"/>
                  <a:pt x="2497" y="2676"/>
                  <a:pt x="2306" y="2676"/>
                </a:cubicBezTo>
                <a:cubicBezTo>
                  <a:pt x="2115" y="2676"/>
                  <a:pt x="1940" y="2756"/>
                  <a:pt x="1813" y="2899"/>
                </a:cubicBezTo>
                <a:lnTo>
                  <a:pt x="1813" y="2915"/>
                </a:lnTo>
                <a:lnTo>
                  <a:pt x="922" y="1913"/>
                </a:lnTo>
                <a:lnTo>
                  <a:pt x="922" y="624"/>
                </a:lnTo>
                <a:close/>
                <a:moveTo>
                  <a:pt x="3356" y="2151"/>
                </a:moveTo>
                <a:lnTo>
                  <a:pt x="1813" y="2151"/>
                </a:lnTo>
                <a:lnTo>
                  <a:pt x="2100" y="1579"/>
                </a:lnTo>
                <a:lnTo>
                  <a:pt x="2386" y="1865"/>
                </a:lnTo>
                <a:cubicBezTo>
                  <a:pt x="2402" y="1881"/>
                  <a:pt x="2434" y="1897"/>
                  <a:pt x="2449" y="1881"/>
                </a:cubicBezTo>
                <a:cubicBezTo>
                  <a:pt x="2481" y="1881"/>
                  <a:pt x="2497" y="1865"/>
                  <a:pt x="2513" y="1849"/>
                </a:cubicBezTo>
                <a:lnTo>
                  <a:pt x="2831" y="1229"/>
                </a:lnTo>
                <a:close/>
                <a:moveTo>
                  <a:pt x="4438" y="1499"/>
                </a:moveTo>
                <a:lnTo>
                  <a:pt x="4438" y="4044"/>
                </a:lnTo>
                <a:cubicBezTo>
                  <a:pt x="4438" y="4219"/>
                  <a:pt x="4279" y="4410"/>
                  <a:pt x="4120" y="4410"/>
                </a:cubicBezTo>
                <a:lnTo>
                  <a:pt x="509" y="4410"/>
                </a:lnTo>
                <a:cubicBezTo>
                  <a:pt x="334" y="4410"/>
                  <a:pt x="159" y="4219"/>
                  <a:pt x="159" y="4044"/>
                </a:cubicBezTo>
                <a:lnTo>
                  <a:pt x="159" y="1499"/>
                </a:lnTo>
                <a:cubicBezTo>
                  <a:pt x="164" y="1493"/>
                  <a:pt x="175" y="1499"/>
                  <a:pt x="175" y="1483"/>
                </a:cubicBezTo>
                <a:lnTo>
                  <a:pt x="764" y="1038"/>
                </a:lnTo>
                <a:lnTo>
                  <a:pt x="764" y="1722"/>
                </a:lnTo>
                <a:lnTo>
                  <a:pt x="604" y="1531"/>
                </a:lnTo>
                <a:cubicBezTo>
                  <a:pt x="573" y="1499"/>
                  <a:pt x="525" y="1499"/>
                  <a:pt x="493" y="1531"/>
                </a:cubicBezTo>
                <a:cubicBezTo>
                  <a:pt x="461" y="1563"/>
                  <a:pt x="461" y="1610"/>
                  <a:pt x="477" y="1642"/>
                </a:cubicBezTo>
                <a:lnTo>
                  <a:pt x="1686" y="3026"/>
                </a:lnTo>
                <a:lnTo>
                  <a:pt x="652" y="4028"/>
                </a:lnTo>
                <a:cubicBezTo>
                  <a:pt x="621" y="4060"/>
                  <a:pt x="604" y="4108"/>
                  <a:pt x="636" y="4140"/>
                </a:cubicBezTo>
                <a:cubicBezTo>
                  <a:pt x="652" y="4155"/>
                  <a:pt x="684" y="4172"/>
                  <a:pt x="700" y="4172"/>
                </a:cubicBezTo>
                <a:cubicBezTo>
                  <a:pt x="716" y="4172"/>
                  <a:pt x="732" y="4155"/>
                  <a:pt x="748" y="4140"/>
                </a:cubicBezTo>
                <a:lnTo>
                  <a:pt x="1797" y="3154"/>
                </a:lnTo>
                <a:lnTo>
                  <a:pt x="1861" y="3090"/>
                </a:lnTo>
                <a:cubicBezTo>
                  <a:pt x="1866" y="3084"/>
                  <a:pt x="1861" y="3074"/>
                  <a:pt x="1877" y="3074"/>
                </a:cubicBezTo>
                <a:lnTo>
                  <a:pt x="1925" y="3010"/>
                </a:lnTo>
                <a:cubicBezTo>
                  <a:pt x="2036" y="2899"/>
                  <a:pt x="2163" y="2836"/>
                  <a:pt x="2306" y="2836"/>
                </a:cubicBezTo>
                <a:cubicBezTo>
                  <a:pt x="2449" y="2836"/>
                  <a:pt x="2593" y="2899"/>
                  <a:pt x="2688" y="3010"/>
                </a:cubicBezTo>
                <a:lnTo>
                  <a:pt x="2752" y="3074"/>
                </a:lnTo>
                <a:lnTo>
                  <a:pt x="3881" y="4140"/>
                </a:lnTo>
                <a:cubicBezTo>
                  <a:pt x="3913" y="4172"/>
                  <a:pt x="3961" y="4172"/>
                  <a:pt x="3993" y="4140"/>
                </a:cubicBezTo>
                <a:cubicBezTo>
                  <a:pt x="4024" y="4108"/>
                  <a:pt x="4024" y="4060"/>
                  <a:pt x="3993" y="4028"/>
                </a:cubicBezTo>
                <a:lnTo>
                  <a:pt x="2911" y="3010"/>
                </a:lnTo>
                <a:lnTo>
                  <a:pt x="4088" y="1658"/>
                </a:lnTo>
                <a:cubicBezTo>
                  <a:pt x="4120" y="1627"/>
                  <a:pt x="4120" y="1579"/>
                  <a:pt x="4088" y="1547"/>
                </a:cubicBezTo>
                <a:cubicBezTo>
                  <a:pt x="4056" y="1515"/>
                  <a:pt x="4008" y="1531"/>
                  <a:pt x="3976" y="1563"/>
                </a:cubicBezTo>
                <a:lnTo>
                  <a:pt x="3833" y="1722"/>
                </a:lnTo>
                <a:lnTo>
                  <a:pt x="3833" y="1006"/>
                </a:lnTo>
                <a:close/>
                <a:moveTo>
                  <a:pt x="1384" y="1499"/>
                </a:moveTo>
                <a:cubicBezTo>
                  <a:pt x="1591" y="1499"/>
                  <a:pt x="1749" y="1340"/>
                  <a:pt x="1749" y="1133"/>
                </a:cubicBezTo>
                <a:cubicBezTo>
                  <a:pt x="1749" y="927"/>
                  <a:pt x="1591" y="768"/>
                  <a:pt x="1384" y="768"/>
                </a:cubicBezTo>
                <a:cubicBezTo>
                  <a:pt x="1193" y="768"/>
                  <a:pt x="1018" y="927"/>
                  <a:pt x="1018" y="1133"/>
                </a:cubicBezTo>
                <a:cubicBezTo>
                  <a:pt x="1018" y="1340"/>
                  <a:pt x="1193" y="1499"/>
                  <a:pt x="1384" y="1499"/>
                </a:cubicBezTo>
                <a:close/>
                <a:moveTo>
                  <a:pt x="1384" y="927"/>
                </a:moveTo>
                <a:cubicBezTo>
                  <a:pt x="1511" y="927"/>
                  <a:pt x="1591" y="1022"/>
                  <a:pt x="1591" y="1133"/>
                </a:cubicBezTo>
                <a:cubicBezTo>
                  <a:pt x="1591" y="1245"/>
                  <a:pt x="1511" y="1340"/>
                  <a:pt x="1384" y="1340"/>
                </a:cubicBezTo>
                <a:cubicBezTo>
                  <a:pt x="1273" y="1340"/>
                  <a:pt x="1177" y="1245"/>
                  <a:pt x="1177" y="1133"/>
                </a:cubicBezTo>
                <a:cubicBezTo>
                  <a:pt x="1177" y="1022"/>
                  <a:pt x="1273" y="927"/>
                  <a:pt x="1384" y="92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4" name="Freeform: Shape 7">
            <a:extLst>
              <a:ext uri="{FF2B5EF4-FFF2-40B4-BE49-F238E27FC236}">
                <a16:creationId xmlns:a16="http://schemas.microsoft.com/office/drawing/2014/main" id="{81EE8E6E-9E4F-F847-B894-11973C90A56E}"/>
              </a:ext>
            </a:extLst>
          </p:cNvPr>
          <p:cNvSpPr/>
          <p:nvPr/>
        </p:nvSpPr>
        <p:spPr>
          <a:xfrm>
            <a:off x="5876307" y="6685575"/>
            <a:ext cx="1780560" cy="1385280"/>
          </a:xfrm>
          <a:custGeom>
            <a:avLst/>
            <a:gdLst/>
            <a:ahLst/>
            <a:cxnLst>
              <a:cxn ang="3cd4">
                <a:pos x="hc" y="t"/>
              </a:cxn>
              <a:cxn ang="cd2">
                <a:pos x="l" y="vc"/>
              </a:cxn>
              <a:cxn ang="cd4">
                <a:pos x="hc" y="b"/>
              </a:cxn>
              <a:cxn ang="0">
                <a:pos x="r" y="vc"/>
              </a:cxn>
            </a:cxnLst>
            <a:rect l="l" t="t" r="r" b="b"/>
            <a:pathLst>
              <a:path w="4947" h="3849">
                <a:moveTo>
                  <a:pt x="3706" y="2958"/>
                </a:moveTo>
                <a:cubicBezTo>
                  <a:pt x="3626" y="2927"/>
                  <a:pt x="3563" y="2895"/>
                  <a:pt x="3483" y="2895"/>
                </a:cubicBezTo>
                <a:cubicBezTo>
                  <a:pt x="3213" y="2895"/>
                  <a:pt x="3007" y="3118"/>
                  <a:pt x="3007" y="3372"/>
                </a:cubicBezTo>
                <a:cubicBezTo>
                  <a:pt x="3007" y="3642"/>
                  <a:pt x="3213" y="3849"/>
                  <a:pt x="3483" y="3849"/>
                </a:cubicBezTo>
                <a:cubicBezTo>
                  <a:pt x="3563" y="3849"/>
                  <a:pt x="3626" y="3833"/>
                  <a:pt x="3690" y="3802"/>
                </a:cubicBezTo>
                <a:cubicBezTo>
                  <a:pt x="3738" y="3785"/>
                  <a:pt x="3754" y="3738"/>
                  <a:pt x="3722" y="3690"/>
                </a:cubicBezTo>
                <a:cubicBezTo>
                  <a:pt x="3706" y="3658"/>
                  <a:pt x="3659" y="3642"/>
                  <a:pt x="3626" y="3658"/>
                </a:cubicBezTo>
                <a:cubicBezTo>
                  <a:pt x="3579" y="3690"/>
                  <a:pt x="3531" y="3690"/>
                  <a:pt x="3483" y="3690"/>
                </a:cubicBezTo>
                <a:cubicBezTo>
                  <a:pt x="3308" y="3690"/>
                  <a:pt x="3165" y="3547"/>
                  <a:pt x="3165" y="3372"/>
                </a:cubicBezTo>
                <a:cubicBezTo>
                  <a:pt x="3165" y="3197"/>
                  <a:pt x="3308" y="3054"/>
                  <a:pt x="3483" y="3054"/>
                </a:cubicBezTo>
                <a:cubicBezTo>
                  <a:pt x="3531" y="3054"/>
                  <a:pt x="3579" y="3070"/>
                  <a:pt x="3626" y="3101"/>
                </a:cubicBezTo>
                <a:cubicBezTo>
                  <a:pt x="3659" y="3118"/>
                  <a:pt x="3706" y="3101"/>
                  <a:pt x="3738" y="3054"/>
                </a:cubicBezTo>
                <a:cubicBezTo>
                  <a:pt x="3754" y="3022"/>
                  <a:pt x="3738" y="2974"/>
                  <a:pt x="3706" y="2958"/>
                </a:cubicBezTo>
                <a:close/>
                <a:moveTo>
                  <a:pt x="4470" y="2895"/>
                </a:moveTo>
                <a:cubicBezTo>
                  <a:pt x="4390" y="2895"/>
                  <a:pt x="4311" y="2927"/>
                  <a:pt x="4231" y="2974"/>
                </a:cubicBezTo>
                <a:cubicBezTo>
                  <a:pt x="4199" y="2990"/>
                  <a:pt x="4183" y="3038"/>
                  <a:pt x="4199" y="3070"/>
                </a:cubicBezTo>
                <a:cubicBezTo>
                  <a:pt x="4231" y="3118"/>
                  <a:pt x="4279" y="3133"/>
                  <a:pt x="4311" y="3101"/>
                </a:cubicBezTo>
                <a:cubicBezTo>
                  <a:pt x="4358" y="3070"/>
                  <a:pt x="4422" y="3054"/>
                  <a:pt x="4470" y="3054"/>
                </a:cubicBezTo>
                <a:cubicBezTo>
                  <a:pt x="4644" y="3054"/>
                  <a:pt x="4788" y="3197"/>
                  <a:pt x="4788" y="3372"/>
                </a:cubicBezTo>
                <a:cubicBezTo>
                  <a:pt x="4788" y="3547"/>
                  <a:pt x="4644" y="3690"/>
                  <a:pt x="4470" y="3690"/>
                </a:cubicBezTo>
                <a:cubicBezTo>
                  <a:pt x="4406" y="3690"/>
                  <a:pt x="4358" y="3674"/>
                  <a:pt x="4295" y="3642"/>
                </a:cubicBezTo>
                <a:cubicBezTo>
                  <a:pt x="4263" y="3627"/>
                  <a:pt x="4215" y="3627"/>
                  <a:pt x="4199" y="3674"/>
                </a:cubicBezTo>
                <a:cubicBezTo>
                  <a:pt x="4168" y="3706"/>
                  <a:pt x="4183" y="3754"/>
                  <a:pt x="4215" y="3785"/>
                </a:cubicBezTo>
                <a:cubicBezTo>
                  <a:pt x="4295" y="3833"/>
                  <a:pt x="4374" y="3849"/>
                  <a:pt x="4470" y="3849"/>
                </a:cubicBezTo>
                <a:cubicBezTo>
                  <a:pt x="4740" y="3849"/>
                  <a:pt x="4947" y="3642"/>
                  <a:pt x="4947" y="3372"/>
                </a:cubicBezTo>
                <a:cubicBezTo>
                  <a:pt x="4947" y="3118"/>
                  <a:pt x="4740" y="2895"/>
                  <a:pt x="4470" y="2895"/>
                </a:cubicBezTo>
                <a:close/>
                <a:moveTo>
                  <a:pt x="4692" y="2815"/>
                </a:moveTo>
                <a:cubicBezTo>
                  <a:pt x="4724" y="2815"/>
                  <a:pt x="4772" y="2784"/>
                  <a:pt x="4772" y="2736"/>
                </a:cubicBezTo>
                <a:lnTo>
                  <a:pt x="4772" y="398"/>
                </a:lnTo>
                <a:cubicBezTo>
                  <a:pt x="4772" y="270"/>
                  <a:pt x="4708" y="175"/>
                  <a:pt x="4613" y="95"/>
                </a:cubicBezTo>
                <a:cubicBezTo>
                  <a:pt x="4597" y="95"/>
                  <a:pt x="4597" y="79"/>
                  <a:pt x="4581" y="79"/>
                </a:cubicBezTo>
                <a:cubicBezTo>
                  <a:pt x="4501" y="32"/>
                  <a:pt x="4390" y="0"/>
                  <a:pt x="4263" y="0"/>
                </a:cubicBezTo>
                <a:lnTo>
                  <a:pt x="493" y="0"/>
                </a:lnTo>
                <a:cubicBezTo>
                  <a:pt x="207" y="0"/>
                  <a:pt x="0" y="159"/>
                  <a:pt x="0" y="398"/>
                </a:cubicBezTo>
                <a:lnTo>
                  <a:pt x="0" y="2974"/>
                </a:lnTo>
                <a:cubicBezTo>
                  <a:pt x="0" y="3245"/>
                  <a:pt x="239" y="3499"/>
                  <a:pt x="493" y="3499"/>
                </a:cubicBezTo>
                <a:lnTo>
                  <a:pt x="2688" y="3499"/>
                </a:lnTo>
                <a:cubicBezTo>
                  <a:pt x="2736" y="3499"/>
                  <a:pt x="2768" y="3467"/>
                  <a:pt x="2768" y="3420"/>
                </a:cubicBezTo>
                <a:cubicBezTo>
                  <a:pt x="2768" y="3372"/>
                  <a:pt x="2736" y="3340"/>
                  <a:pt x="2688" y="3340"/>
                </a:cubicBezTo>
                <a:lnTo>
                  <a:pt x="493" y="3340"/>
                </a:lnTo>
                <a:cubicBezTo>
                  <a:pt x="334" y="3340"/>
                  <a:pt x="159" y="3165"/>
                  <a:pt x="159" y="2974"/>
                </a:cubicBezTo>
                <a:lnTo>
                  <a:pt x="159" y="398"/>
                </a:lnTo>
                <a:cubicBezTo>
                  <a:pt x="159" y="350"/>
                  <a:pt x="175" y="302"/>
                  <a:pt x="207" y="270"/>
                </a:cubicBezTo>
                <a:lnTo>
                  <a:pt x="1670" y="1829"/>
                </a:lnTo>
                <a:lnTo>
                  <a:pt x="636" y="2767"/>
                </a:lnTo>
                <a:cubicBezTo>
                  <a:pt x="605" y="2799"/>
                  <a:pt x="605" y="2847"/>
                  <a:pt x="636" y="2879"/>
                </a:cubicBezTo>
                <a:cubicBezTo>
                  <a:pt x="652" y="2895"/>
                  <a:pt x="668" y="2911"/>
                  <a:pt x="700" y="2911"/>
                </a:cubicBezTo>
                <a:cubicBezTo>
                  <a:pt x="716" y="2911"/>
                  <a:pt x="732" y="2895"/>
                  <a:pt x="748" y="2879"/>
                </a:cubicBezTo>
                <a:lnTo>
                  <a:pt x="1781" y="1940"/>
                </a:lnTo>
                <a:lnTo>
                  <a:pt x="1861" y="2036"/>
                </a:lnTo>
                <a:cubicBezTo>
                  <a:pt x="2004" y="2195"/>
                  <a:pt x="2195" y="2275"/>
                  <a:pt x="2386" y="2275"/>
                </a:cubicBezTo>
                <a:cubicBezTo>
                  <a:pt x="2577" y="2275"/>
                  <a:pt x="2768" y="2195"/>
                  <a:pt x="2895" y="2036"/>
                </a:cubicBezTo>
                <a:lnTo>
                  <a:pt x="2990" y="1940"/>
                </a:lnTo>
                <a:lnTo>
                  <a:pt x="3595" y="2497"/>
                </a:lnTo>
                <a:cubicBezTo>
                  <a:pt x="3611" y="2513"/>
                  <a:pt x="3643" y="2513"/>
                  <a:pt x="3659" y="2513"/>
                </a:cubicBezTo>
                <a:cubicBezTo>
                  <a:pt x="3674" y="2513"/>
                  <a:pt x="3690" y="2513"/>
                  <a:pt x="3706" y="2497"/>
                </a:cubicBezTo>
                <a:cubicBezTo>
                  <a:pt x="3738" y="2466"/>
                  <a:pt x="3738" y="2418"/>
                  <a:pt x="3706" y="2386"/>
                </a:cubicBezTo>
                <a:lnTo>
                  <a:pt x="3102" y="1829"/>
                </a:lnTo>
                <a:lnTo>
                  <a:pt x="4565" y="270"/>
                </a:lnTo>
                <a:cubicBezTo>
                  <a:pt x="4597" y="302"/>
                  <a:pt x="4613" y="350"/>
                  <a:pt x="4613" y="398"/>
                </a:cubicBezTo>
                <a:lnTo>
                  <a:pt x="4613" y="2736"/>
                </a:lnTo>
                <a:cubicBezTo>
                  <a:pt x="4613" y="2784"/>
                  <a:pt x="4644" y="2815"/>
                  <a:pt x="4692" y="2815"/>
                </a:cubicBezTo>
                <a:close/>
                <a:moveTo>
                  <a:pt x="2784" y="1940"/>
                </a:moveTo>
                <a:cubicBezTo>
                  <a:pt x="2577" y="2163"/>
                  <a:pt x="2195" y="2163"/>
                  <a:pt x="1989" y="1940"/>
                </a:cubicBezTo>
                <a:lnTo>
                  <a:pt x="350" y="175"/>
                </a:lnTo>
                <a:cubicBezTo>
                  <a:pt x="414" y="159"/>
                  <a:pt x="477" y="159"/>
                  <a:pt x="493" y="159"/>
                </a:cubicBezTo>
                <a:lnTo>
                  <a:pt x="4263" y="159"/>
                </a:lnTo>
                <a:cubicBezTo>
                  <a:pt x="4295" y="159"/>
                  <a:pt x="4358" y="159"/>
                  <a:pt x="4422" y="175"/>
                </a:cubicBezTo>
                <a:close/>
                <a:moveTo>
                  <a:pt x="3420" y="3420"/>
                </a:moveTo>
                <a:cubicBezTo>
                  <a:pt x="3420" y="3467"/>
                  <a:pt x="3452" y="3499"/>
                  <a:pt x="3499" y="3499"/>
                </a:cubicBezTo>
                <a:lnTo>
                  <a:pt x="4295" y="3499"/>
                </a:lnTo>
                <a:cubicBezTo>
                  <a:pt x="4343" y="3499"/>
                  <a:pt x="4374" y="3467"/>
                  <a:pt x="4374" y="3420"/>
                </a:cubicBezTo>
                <a:cubicBezTo>
                  <a:pt x="4374" y="3372"/>
                  <a:pt x="4343" y="3340"/>
                  <a:pt x="4295" y="3340"/>
                </a:cubicBezTo>
                <a:lnTo>
                  <a:pt x="3499" y="3340"/>
                </a:lnTo>
                <a:cubicBezTo>
                  <a:pt x="3452" y="3340"/>
                  <a:pt x="3420" y="3372"/>
                  <a:pt x="3420" y="342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9" name="Freeform: Shape 8">
            <a:extLst>
              <a:ext uri="{FF2B5EF4-FFF2-40B4-BE49-F238E27FC236}">
                <a16:creationId xmlns:a16="http://schemas.microsoft.com/office/drawing/2014/main" id="{8FEF940E-02B5-D542-B413-F27DE920CFE6}"/>
              </a:ext>
            </a:extLst>
          </p:cNvPr>
          <p:cNvSpPr/>
          <p:nvPr/>
        </p:nvSpPr>
        <p:spPr>
          <a:xfrm>
            <a:off x="1779455" y="6559575"/>
            <a:ext cx="1854719" cy="1643039"/>
          </a:xfrm>
          <a:custGeom>
            <a:avLst/>
            <a:gdLst/>
            <a:ahLst/>
            <a:cxnLst>
              <a:cxn ang="3cd4">
                <a:pos x="hc" y="t"/>
              </a:cxn>
              <a:cxn ang="cd2">
                <a:pos x="l" y="vc"/>
              </a:cxn>
              <a:cxn ang="cd4">
                <a:pos x="hc" y="b"/>
              </a:cxn>
              <a:cxn ang="0">
                <a:pos x="r" y="vc"/>
              </a:cxn>
            </a:cxnLst>
            <a:rect l="l" t="t" r="r" b="b"/>
            <a:pathLst>
              <a:path w="5153" h="4565">
                <a:moveTo>
                  <a:pt x="5153" y="3483"/>
                </a:moveTo>
                <a:cubicBezTo>
                  <a:pt x="5153" y="2895"/>
                  <a:pt x="4676" y="2417"/>
                  <a:pt x="4072" y="2417"/>
                </a:cubicBezTo>
                <a:cubicBezTo>
                  <a:pt x="3483" y="2417"/>
                  <a:pt x="3006" y="2895"/>
                  <a:pt x="3006" y="3483"/>
                </a:cubicBezTo>
                <a:cubicBezTo>
                  <a:pt x="3006" y="4072"/>
                  <a:pt x="3483" y="4565"/>
                  <a:pt x="4072" y="4565"/>
                </a:cubicBezTo>
                <a:cubicBezTo>
                  <a:pt x="4358" y="4565"/>
                  <a:pt x="4628" y="4453"/>
                  <a:pt x="4819" y="4263"/>
                </a:cubicBezTo>
                <a:cubicBezTo>
                  <a:pt x="4851" y="4231"/>
                  <a:pt x="4851" y="4183"/>
                  <a:pt x="4819" y="4152"/>
                </a:cubicBezTo>
                <a:cubicBezTo>
                  <a:pt x="4787" y="4120"/>
                  <a:pt x="4740" y="4120"/>
                  <a:pt x="4708" y="4152"/>
                </a:cubicBezTo>
                <a:cubicBezTo>
                  <a:pt x="4549" y="4310"/>
                  <a:pt x="4310" y="4406"/>
                  <a:pt x="4072" y="4406"/>
                </a:cubicBezTo>
                <a:cubicBezTo>
                  <a:pt x="3579" y="4406"/>
                  <a:pt x="3165" y="3992"/>
                  <a:pt x="3165" y="3483"/>
                </a:cubicBezTo>
                <a:cubicBezTo>
                  <a:pt x="3165" y="2990"/>
                  <a:pt x="3579" y="2577"/>
                  <a:pt x="4072" y="2577"/>
                </a:cubicBezTo>
                <a:cubicBezTo>
                  <a:pt x="4581" y="2577"/>
                  <a:pt x="4978" y="2974"/>
                  <a:pt x="4994" y="3468"/>
                </a:cubicBezTo>
                <a:lnTo>
                  <a:pt x="4994" y="3483"/>
                </a:lnTo>
                <a:cubicBezTo>
                  <a:pt x="4994" y="3611"/>
                  <a:pt x="4883" y="3706"/>
                  <a:pt x="4772" y="3706"/>
                </a:cubicBezTo>
                <a:cubicBezTo>
                  <a:pt x="4660" y="3706"/>
                  <a:pt x="4564" y="3626"/>
                  <a:pt x="4549" y="3531"/>
                </a:cubicBezTo>
                <a:lnTo>
                  <a:pt x="4549" y="3483"/>
                </a:lnTo>
                <a:cubicBezTo>
                  <a:pt x="4549" y="3229"/>
                  <a:pt x="4342" y="3006"/>
                  <a:pt x="4072" y="3006"/>
                </a:cubicBezTo>
                <a:cubicBezTo>
                  <a:pt x="3817" y="3006"/>
                  <a:pt x="3594" y="3229"/>
                  <a:pt x="3594" y="3483"/>
                </a:cubicBezTo>
                <a:cubicBezTo>
                  <a:pt x="3594" y="3754"/>
                  <a:pt x="3817" y="3960"/>
                  <a:pt x="4072" y="3960"/>
                </a:cubicBezTo>
                <a:cubicBezTo>
                  <a:pt x="4246" y="3960"/>
                  <a:pt x="4406" y="3881"/>
                  <a:pt x="4485" y="3738"/>
                </a:cubicBezTo>
                <a:cubicBezTo>
                  <a:pt x="4549" y="3817"/>
                  <a:pt x="4660" y="3865"/>
                  <a:pt x="4772" y="3865"/>
                </a:cubicBezTo>
                <a:cubicBezTo>
                  <a:pt x="4962" y="3865"/>
                  <a:pt x="5121" y="3706"/>
                  <a:pt x="5137" y="3515"/>
                </a:cubicBezTo>
                <a:cubicBezTo>
                  <a:pt x="5153" y="3515"/>
                  <a:pt x="5153" y="3499"/>
                  <a:pt x="5153" y="3483"/>
                </a:cubicBezTo>
                <a:close/>
                <a:moveTo>
                  <a:pt x="4072" y="3801"/>
                </a:moveTo>
                <a:cubicBezTo>
                  <a:pt x="3897" y="3801"/>
                  <a:pt x="3754" y="3658"/>
                  <a:pt x="3754" y="3483"/>
                </a:cubicBezTo>
                <a:cubicBezTo>
                  <a:pt x="3754" y="3308"/>
                  <a:pt x="3897" y="3165"/>
                  <a:pt x="4072" y="3165"/>
                </a:cubicBezTo>
                <a:cubicBezTo>
                  <a:pt x="4246" y="3165"/>
                  <a:pt x="4390" y="3308"/>
                  <a:pt x="4390" y="3468"/>
                </a:cubicBezTo>
                <a:lnTo>
                  <a:pt x="4390" y="3483"/>
                </a:lnTo>
                <a:lnTo>
                  <a:pt x="4390" y="3531"/>
                </a:lnTo>
                <a:cubicBezTo>
                  <a:pt x="4374" y="3690"/>
                  <a:pt x="4246" y="3801"/>
                  <a:pt x="4072" y="3801"/>
                </a:cubicBezTo>
                <a:close/>
                <a:moveTo>
                  <a:pt x="493" y="3643"/>
                </a:moveTo>
                <a:lnTo>
                  <a:pt x="2783" y="3643"/>
                </a:lnTo>
                <a:cubicBezTo>
                  <a:pt x="2831" y="3643"/>
                  <a:pt x="2863" y="3611"/>
                  <a:pt x="2863" y="3563"/>
                </a:cubicBezTo>
                <a:cubicBezTo>
                  <a:pt x="2863" y="3531"/>
                  <a:pt x="2831" y="3483"/>
                  <a:pt x="2783" y="3483"/>
                </a:cubicBezTo>
                <a:lnTo>
                  <a:pt x="493" y="3483"/>
                </a:lnTo>
                <a:cubicBezTo>
                  <a:pt x="334" y="3483"/>
                  <a:pt x="159" y="3261"/>
                  <a:pt x="159" y="3086"/>
                </a:cubicBezTo>
                <a:lnTo>
                  <a:pt x="159" y="509"/>
                </a:lnTo>
                <a:cubicBezTo>
                  <a:pt x="159" y="461"/>
                  <a:pt x="174" y="414"/>
                  <a:pt x="191" y="366"/>
                </a:cubicBezTo>
                <a:lnTo>
                  <a:pt x="1670" y="1941"/>
                </a:lnTo>
                <a:lnTo>
                  <a:pt x="636" y="2879"/>
                </a:lnTo>
                <a:cubicBezTo>
                  <a:pt x="604" y="2911"/>
                  <a:pt x="604" y="2959"/>
                  <a:pt x="636" y="2990"/>
                </a:cubicBezTo>
                <a:cubicBezTo>
                  <a:pt x="652" y="3006"/>
                  <a:pt x="683" y="3022"/>
                  <a:pt x="700" y="3022"/>
                </a:cubicBezTo>
                <a:cubicBezTo>
                  <a:pt x="716" y="3022"/>
                  <a:pt x="731" y="3006"/>
                  <a:pt x="747" y="2990"/>
                </a:cubicBezTo>
                <a:lnTo>
                  <a:pt x="1781" y="2052"/>
                </a:lnTo>
                <a:lnTo>
                  <a:pt x="1877" y="2147"/>
                </a:lnTo>
                <a:cubicBezTo>
                  <a:pt x="2004" y="2307"/>
                  <a:pt x="2195" y="2386"/>
                  <a:pt x="2385" y="2386"/>
                </a:cubicBezTo>
                <a:cubicBezTo>
                  <a:pt x="2576" y="2386"/>
                  <a:pt x="2767" y="2307"/>
                  <a:pt x="2894" y="2147"/>
                </a:cubicBezTo>
                <a:lnTo>
                  <a:pt x="2990" y="2052"/>
                </a:lnTo>
                <a:lnTo>
                  <a:pt x="3372" y="2402"/>
                </a:lnTo>
                <a:cubicBezTo>
                  <a:pt x="3388" y="2417"/>
                  <a:pt x="3403" y="2417"/>
                  <a:pt x="3419" y="2417"/>
                </a:cubicBezTo>
                <a:cubicBezTo>
                  <a:pt x="3451" y="2417"/>
                  <a:pt x="3467" y="2417"/>
                  <a:pt x="3483" y="2386"/>
                </a:cubicBezTo>
                <a:cubicBezTo>
                  <a:pt x="3515" y="2354"/>
                  <a:pt x="3515" y="2307"/>
                  <a:pt x="3483" y="2274"/>
                </a:cubicBezTo>
                <a:lnTo>
                  <a:pt x="3101" y="1941"/>
                </a:lnTo>
                <a:lnTo>
                  <a:pt x="4581" y="366"/>
                </a:lnTo>
                <a:cubicBezTo>
                  <a:pt x="4597" y="414"/>
                  <a:pt x="4612" y="461"/>
                  <a:pt x="4612" y="509"/>
                </a:cubicBezTo>
                <a:lnTo>
                  <a:pt x="4612" y="2307"/>
                </a:lnTo>
                <a:cubicBezTo>
                  <a:pt x="4612" y="2354"/>
                  <a:pt x="4644" y="2386"/>
                  <a:pt x="4692" y="2386"/>
                </a:cubicBezTo>
                <a:cubicBezTo>
                  <a:pt x="4740" y="2386"/>
                  <a:pt x="4772" y="2354"/>
                  <a:pt x="4772" y="2307"/>
                </a:cubicBezTo>
                <a:lnTo>
                  <a:pt x="4772" y="509"/>
                </a:lnTo>
                <a:cubicBezTo>
                  <a:pt x="4772" y="239"/>
                  <a:pt x="4533" y="0"/>
                  <a:pt x="4278" y="0"/>
                </a:cubicBezTo>
                <a:lnTo>
                  <a:pt x="493" y="0"/>
                </a:lnTo>
                <a:cubicBezTo>
                  <a:pt x="238" y="0"/>
                  <a:pt x="0" y="239"/>
                  <a:pt x="0" y="509"/>
                </a:cubicBezTo>
                <a:lnTo>
                  <a:pt x="0" y="3086"/>
                </a:lnTo>
                <a:cubicBezTo>
                  <a:pt x="0" y="3340"/>
                  <a:pt x="222" y="3643"/>
                  <a:pt x="493" y="3643"/>
                </a:cubicBezTo>
                <a:close/>
                <a:moveTo>
                  <a:pt x="4278" y="159"/>
                </a:moveTo>
                <a:cubicBezTo>
                  <a:pt x="4342" y="159"/>
                  <a:pt x="4421" y="191"/>
                  <a:pt x="4485" y="239"/>
                </a:cubicBezTo>
                <a:lnTo>
                  <a:pt x="2783" y="2052"/>
                </a:lnTo>
                <a:cubicBezTo>
                  <a:pt x="2576" y="2274"/>
                  <a:pt x="2195" y="2274"/>
                  <a:pt x="1988" y="2052"/>
                </a:cubicBezTo>
                <a:lnTo>
                  <a:pt x="302" y="239"/>
                </a:lnTo>
                <a:cubicBezTo>
                  <a:pt x="350" y="191"/>
                  <a:pt x="429" y="159"/>
                  <a:pt x="493" y="1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0" name="Freeform: Shape 9">
            <a:extLst>
              <a:ext uri="{FF2B5EF4-FFF2-40B4-BE49-F238E27FC236}">
                <a16:creationId xmlns:a16="http://schemas.microsoft.com/office/drawing/2014/main" id="{25ABC29F-F090-8C47-B596-0397EB1DB2BC}"/>
              </a:ext>
            </a:extLst>
          </p:cNvPr>
          <p:cNvSpPr/>
          <p:nvPr/>
        </p:nvSpPr>
        <p:spPr>
          <a:xfrm>
            <a:off x="13890416" y="3293758"/>
            <a:ext cx="1780560" cy="1568519"/>
          </a:xfrm>
          <a:custGeom>
            <a:avLst/>
            <a:gdLst/>
            <a:ahLst/>
            <a:cxnLst>
              <a:cxn ang="3cd4">
                <a:pos x="hc" y="t"/>
              </a:cxn>
              <a:cxn ang="cd2">
                <a:pos x="l" y="vc"/>
              </a:cxn>
              <a:cxn ang="cd4">
                <a:pos x="hc" y="b"/>
              </a:cxn>
              <a:cxn ang="0">
                <a:pos x="r" y="vc"/>
              </a:cxn>
            </a:cxnLst>
            <a:rect l="l" t="t" r="r" b="b"/>
            <a:pathLst>
              <a:path w="4947" h="4358">
                <a:moveTo>
                  <a:pt x="509" y="3659"/>
                </a:moveTo>
                <a:lnTo>
                  <a:pt x="1988" y="3659"/>
                </a:lnTo>
                <a:cubicBezTo>
                  <a:pt x="2035" y="3659"/>
                  <a:pt x="2068" y="3611"/>
                  <a:pt x="2068" y="3579"/>
                </a:cubicBezTo>
                <a:cubicBezTo>
                  <a:pt x="2068" y="3531"/>
                  <a:pt x="2035" y="3500"/>
                  <a:pt x="1988" y="3500"/>
                </a:cubicBezTo>
                <a:lnTo>
                  <a:pt x="509" y="3500"/>
                </a:lnTo>
                <a:cubicBezTo>
                  <a:pt x="333" y="3500"/>
                  <a:pt x="159" y="3277"/>
                  <a:pt x="159" y="3102"/>
                </a:cubicBezTo>
                <a:lnTo>
                  <a:pt x="159" y="509"/>
                </a:lnTo>
                <a:cubicBezTo>
                  <a:pt x="159" y="462"/>
                  <a:pt x="175" y="414"/>
                  <a:pt x="206" y="366"/>
                </a:cubicBezTo>
                <a:lnTo>
                  <a:pt x="1670" y="1941"/>
                </a:lnTo>
                <a:lnTo>
                  <a:pt x="652" y="2879"/>
                </a:lnTo>
                <a:cubicBezTo>
                  <a:pt x="604" y="2911"/>
                  <a:pt x="604" y="2959"/>
                  <a:pt x="636" y="2991"/>
                </a:cubicBezTo>
                <a:cubicBezTo>
                  <a:pt x="652" y="3007"/>
                  <a:pt x="684" y="3022"/>
                  <a:pt x="699" y="3022"/>
                </a:cubicBezTo>
                <a:cubicBezTo>
                  <a:pt x="715" y="3022"/>
                  <a:pt x="731" y="3007"/>
                  <a:pt x="747" y="2991"/>
                </a:cubicBezTo>
                <a:lnTo>
                  <a:pt x="1781" y="2052"/>
                </a:lnTo>
                <a:lnTo>
                  <a:pt x="1877" y="2164"/>
                </a:lnTo>
                <a:cubicBezTo>
                  <a:pt x="2004" y="2307"/>
                  <a:pt x="2195" y="2386"/>
                  <a:pt x="2386" y="2386"/>
                </a:cubicBezTo>
                <a:cubicBezTo>
                  <a:pt x="2577" y="2386"/>
                  <a:pt x="2767" y="2307"/>
                  <a:pt x="2895" y="2164"/>
                </a:cubicBezTo>
                <a:lnTo>
                  <a:pt x="2990" y="2052"/>
                </a:lnTo>
                <a:lnTo>
                  <a:pt x="3610" y="2609"/>
                </a:lnTo>
                <a:cubicBezTo>
                  <a:pt x="3626" y="2625"/>
                  <a:pt x="3642" y="2641"/>
                  <a:pt x="3658" y="2641"/>
                </a:cubicBezTo>
                <a:cubicBezTo>
                  <a:pt x="3674" y="2641"/>
                  <a:pt x="3705" y="2625"/>
                  <a:pt x="3722" y="2609"/>
                </a:cubicBezTo>
                <a:cubicBezTo>
                  <a:pt x="3738" y="2577"/>
                  <a:pt x="3738" y="2530"/>
                  <a:pt x="3705" y="2498"/>
                </a:cubicBezTo>
                <a:lnTo>
                  <a:pt x="3101" y="1941"/>
                </a:lnTo>
                <a:lnTo>
                  <a:pt x="4580" y="366"/>
                </a:lnTo>
                <a:cubicBezTo>
                  <a:pt x="4596" y="414"/>
                  <a:pt x="4612" y="462"/>
                  <a:pt x="4612" y="509"/>
                </a:cubicBezTo>
                <a:lnTo>
                  <a:pt x="4612" y="2784"/>
                </a:lnTo>
                <a:cubicBezTo>
                  <a:pt x="4612" y="2831"/>
                  <a:pt x="4644" y="2864"/>
                  <a:pt x="4692" y="2864"/>
                </a:cubicBezTo>
                <a:cubicBezTo>
                  <a:pt x="4740" y="2864"/>
                  <a:pt x="4771" y="2831"/>
                  <a:pt x="4771" y="2784"/>
                </a:cubicBezTo>
                <a:lnTo>
                  <a:pt x="4771" y="509"/>
                </a:lnTo>
                <a:cubicBezTo>
                  <a:pt x="4771" y="398"/>
                  <a:pt x="4723" y="303"/>
                  <a:pt x="4660" y="207"/>
                </a:cubicBezTo>
                <a:cubicBezTo>
                  <a:pt x="4655" y="202"/>
                  <a:pt x="4660" y="191"/>
                  <a:pt x="4644" y="191"/>
                </a:cubicBezTo>
                <a:cubicBezTo>
                  <a:pt x="4644" y="176"/>
                  <a:pt x="4644" y="176"/>
                  <a:pt x="4628" y="176"/>
                </a:cubicBezTo>
                <a:cubicBezTo>
                  <a:pt x="4533" y="64"/>
                  <a:pt x="4405" y="0"/>
                  <a:pt x="4278" y="0"/>
                </a:cubicBezTo>
                <a:lnTo>
                  <a:pt x="509" y="0"/>
                </a:lnTo>
                <a:cubicBezTo>
                  <a:pt x="365" y="0"/>
                  <a:pt x="222" y="80"/>
                  <a:pt x="127" y="191"/>
                </a:cubicBezTo>
                <a:lnTo>
                  <a:pt x="111" y="207"/>
                </a:lnTo>
                <a:cubicBezTo>
                  <a:pt x="47" y="287"/>
                  <a:pt x="0" y="398"/>
                  <a:pt x="0" y="509"/>
                </a:cubicBezTo>
                <a:lnTo>
                  <a:pt x="0" y="3102"/>
                </a:lnTo>
                <a:cubicBezTo>
                  <a:pt x="0" y="3340"/>
                  <a:pt x="222" y="3659"/>
                  <a:pt x="509" y="3659"/>
                </a:cubicBezTo>
                <a:close/>
                <a:moveTo>
                  <a:pt x="4278" y="159"/>
                </a:moveTo>
                <a:cubicBezTo>
                  <a:pt x="4342" y="159"/>
                  <a:pt x="4422" y="191"/>
                  <a:pt x="4485" y="239"/>
                </a:cubicBezTo>
                <a:lnTo>
                  <a:pt x="2783" y="2052"/>
                </a:lnTo>
                <a:cubicBezTo>
                  <a:pt x="2672" y="2164"/>
                  <a:pt x="2544" y="2227"/>
                  <a:pt x="2386" y="2227"/>
                </a:cubicBezTo>
                <a:cubicBezTo>
                  <a:pt x="2242" y="2227"/>
                  <a:pt x="2099" y="2164"/>
                  <a:pt x="1988" y="2052"/>
                </a:cubicBezTo>
                <a:lnTo>
                  <a:pt x="302" y="239"/>
                </a:lnTo>
                <a:cubicBezTo>
                  <a:pt x="350" y="191"/>
                  <a:pt x="429" y="159"/>
                  <a:pt x="509" y="159"/>
                </a:cubicBezTo>
                <a:close/>
                <a:moveTo>
                  <a:pt x="4836" y="3182"/>
                </a:moveTo>
                <a:cubicBezTo>
                  <a:pt x="4724" y="3022"/>
                  <a:pt x="4550" y="2943"/>
                  <a:pt x="4311" y="2943"/>
                </a:cubicBezTo>
                <a:cubicBezTo>
                  <a:pt x="4104" y="2943"/>
                  <a:pt x="3914" y="3022"/>
                  <a:pt x="3786" y="3182"/>
                </a:cubicBezTo>
                <a:lnTo>
                  <a:pt x="2593" y="3182"/>
                </a:lnTo>
                <a:cubicBezTo>
                  <a:pt x="2561" y="3182"/>
                  <a:pt x="2545" y="3182"/>
                  <a:pt x="2545" y="3197"/>
                </a:cubicBezTo>
                <a:lnTo>
                  <a:pt x="2243" y="3404"/>
                </a:lnTo>
                <a:cubicBezTo>
                  <a:pt x="2212" y="3436"/>
                  <a:pt x="2196" y="3484"/>
                  <a:pt x="2227" y="3516"/>
                </a:cubicBezTo>
                <a:lnTo>
                  <a:pt x="2530" y="3929"/>
                </a:lnTo>
                <a:cubicBezTo>
                  <a:pt x="2545" y="3961"/>
                  <a:pt x="2561" y="3977"/>
                  <a:pt x="2593" y="3977"/>
                </a:cubicBezTo>
                <a:lnTo>
                  <a:pt x="3659" y="3977"/>
                </a:lnTo>
                <a:cubicBezTo>
                  <a:pt x="3770" y="4215"/>
                  <a:pt x="4009" y="4358"/>
                  <a:pt x="4279" y="4358"/>
                </a:cubicBezTo>
                <a:cubicBezTo>
                  <a:pt x="4645" y="4358"/>
                  <a:pt x="4947" y="4057"/>
                  <a:pt x="4947" y="3675"/>
                </a:cubicBezTo>
                <a:cubicBezTo>
                  <a:pt x="4947" y="3468"/>
                  <a:pt x="4915" y="3309"/>
                  <a:pt x="4836" y="3182"/>
                </a:cubicBezTo>
                <a:close/>
                <a:moveTo>
                  <a:pt x="4279" y="4200"/>
                </a:moveTo>
                <a:cubicBezTo>
                  <a:pt x="4057" y="4200"/>
                  <a:pt x="3866" y="4072"/>
                  <a:pt x="3786" y="3865"/>
                </a:cubicBezTo>
                <a:cubicBezTo>
                  <a:pt x="3770" y="3834"/>
                  <a:pt x="3754" y="3818"/>
                  <a:pt x="3706" y="3818"/>
                </a:cubicBezTo>
                <a:lnTo>
                  <a:pt x="2641" y="3818"/>
                </a:lnTo>
                <a:lnTo>
                  <a:pt x="2402" y="3484"/>
                </a:lnTo>
                <a:lnTo>
                  <a:pt x="2609" y="3340"/>
                </a:lnTo>
                <a:lnTo>
                  <a:pt x="3834" y="3340"/>
                </a:lnTo>
                <a:cubicBezTo>
                  <a:pt x="3866" y="3340"/>
                  <a:pt x="3882" y="3325"/>
                  <a:pt x="3897" y="3293"/>
                </a:cubicBezTo>
                <a:cubicBezTo>
                  <a:pt x="3993" y="3150"/>
                  <a:pt x="4184" y="3102"/>
                  <a:pt x="4311" y="3102"/>
                </a:cubicBezTo>
                <a:cubicBezTo>
                  <a:pt x="4502" y="3102"/>
                  <a:pt x="4629" y="3150"/>
                  <a:pt x="4693" y="3277"/>
                </a:cubicBezTo>
                <a:cubicBezTo>
                  <a:pt x="4756" y="3356"/>
                  <a:pt x="4788" y="3500"/>
                  <a:pt x="4788" y="3675"/>
                </a:cubicBezTo>
                <a:cubicBezTo>
                  <a:pt x="4788" y="3977"/>
                  <a:pt x="4566" y="4200"/>
                  <a:pt x="4279" y="4200"/>
                </a:cubicBezTo>
                <a:close/>
                <a:moveTo>
                  <a:pt x="4310" y="3452"/>
                </a:moveTo>
                <a:cubicBezTo>
                  <a:pt x="4199" y="3452"/>
                  <a:pt x="4103" y="3548"/>
                  <a:pt x="4103" y="3659"/>
                </a:cubicBezTo>
                <a:cubicBezTo>
                  <a:pt x="4103" y="3754"/>
                  <a:pt x="4199" y="3849"/>
                  <a:pt x="4310" y="3849"/>
                </a:cubicBezTo>
                <a:cubicBezTo>
                  <a:pt x="4422" y="3849"/>
                  <a:pt x="4501" y="3754"/>
                  <a:pt x="4501" y="3659"/>
                </a:cubicBezTo>
                <a:cubicBezTo>
                  <a:pt x="4501" y="3548"/>
                  <a:pt x="4422" y="3452"/>
                  <a:pt x="4310" y="345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1" name="Freeform: Shape 11">
            <a:extLst>
              <a:ext uri="{FF2B5EF4-FFF2-40B4-BE49-F238E27FC236}">
                <a16:creationId xmlns:a16="http://schemas.microsoft.com/office/drawing/2014/main" id="{424D44CB-46F4-A24E-A6AD-861EAD77DFEB}"/>
              </a:ext>
            </a:extLst>
          </p:cNvPr>
          <p:cNvSpPr/>
          <p:nvPr/>
        </p:nvSpPr>
        <p:spPr>
          <a:xfrm>
            <a:off x="5891304" y="3208236"/>
            <a:ext cx="1837439" cy="1734840"/>
          </a:xfrm>
          <a:custGeom>
            <a:avLst/>
            <a:gdLst/>
            <a:ahLst/>
            <a:cxnLst>
              <a:cxn ang="3cd4">
                <a:pos x="hc" y="t"/>
              </a:cxn>
              <a:cxn ang="cd2">
                <a:pos x="l" y="vc"/>
              </a:cxn>
              <a:cxn ang="cd4">
                <a:pos x="hc" y="b"/>
              </a:cxn>
              <a:cxn ang="0">
                <a:pos x="r" y="vc"/>
              </a:cxn>
            </a:cxnLst>
            <a:rect l="l" t="t" r="r" b="b"/>
            <a:pathLst>
              <a:path w="5105" h="4820">
                <a:moveTo>
                  <a:pt x="4263" y="0"/>
                </a:moveTo>
                <a:lnTo>
                  <a:pt x="493" y="0"/>
                </a:lnTo>
                <a:cubicBezTo>
                  <a:pt x="222" y="0"/>
                  <a:pt x="0" y="223"/>
                  <a:pt x="0" y="478"/>
                </a:cubicBezTo>
                <a:lnTo>
                  <a:pt x="0" y="3054"/>
                </a:lnTo>
                <a:cubicBezTo>
                  <a:pt x="0" y="3309"/>
                  <a:pt x="222" y="3500"/>
                  <a:pt x="493" y="3500"/>
                </a:cubicBezTo>
                <a:lnTo>
                  <a:pt x="3022" y="3500"/>
                </a:lnTo>
                <a:cubicBezTo>
                  <a:pt x="3022" y="3452"/>
                  <a:pt x="3022" y="3389"/>
                  <a:pt x="3038" y="3341"/>
                </a:cubicBezTo>
                <a:lnTo>
                  <a:pt x="493" y="3341"/>
                </a:lnTo>
                <a:cubicBezTo>
                  <a:pt x="334" y="3341"/>
                  <a:pt x="159" y="3245"/>
                  <a:pt x="159" y="3054"/>
                </a:cubicBezTo>
                <a:lnTo>
                  <a:pt x="159" y="478"/>
                </a:lnTo>
                <a:cubicBezTo>
                  <a:pt x="159" y="430"/>
                  <a:pt x="175" y="382"/>
                  <a:pt x="207" y="334"/>
                </a:cubicBezTo>
                <a:lnTo>
                  <a:pt x="1670" y="1909"/>
                </a:lnTo>
                <a:lnTo>
                  <a:pt x="636" y="2848"/>
                </a:lnTo>
                <a:cubicBezTo>
                  <a:pt x="604" y="2880"/>
                  <a:pt x="604" y="2927"/>
                  <a:pt x="636" y="2959"/>
                </a:cubicBezTo>
                <a:cubicBezTo>
                  <a:pt x="652" y="2975"/>
                  <a:pt x="668" y="2991"/>
                  <a:pt x="700" y="2991"/>
                </a:cubicBezTo>
                <a:cubicBezTo>
                  <a:pt x="716" y="2991"/>
                  <a:pt x="731" y="2975"/>
                  <a:pt x="748" y="2959"/>
                </a:cubicBezTo>
                <a:lnTo>
                  <a:pt x="1781" y="2021"/>
                </a:lnTo>
                <a:lnTo>
                  <a:pt x="1861" y="2116"/>
                </a:lnTo>
                <a:cubicBezTo>
                  <a:pt x="2004" y="2275"/>
                  <a:pt x="2195" y="2354"/>
                  <a:pt x="2386" y="2354"/>
                </a:cubicBezTo>
                <a:cubicBezTo>
                  <a:pt x="2576" y="2354"/>
                  <a:pt x="2767" y="2275"/>
                  <a:pt x="2895" y="2116"/>
                </a:cubicBezTo>
                <a:lnTo>
                  <a:pt x="2990" y="2021"/>
                </a:lnTo>
                <a:lnTo>
                  <a:pt x="3547" y="2530"/>
                </a:lnTo>
                <a:cubicBezTo>
                  <a:pt x="3579" y="2514"/>
                  <a:pt x="3611" y="2498"/>
                  <a:pt x="3627" y="2498"/>
                </a:cubicBezTo>
                <a:cubicBezTo>
                  <a:pt x="3658" y="2482"/>
                  <a:pt x="3674" y="2466"/>
                  <a:pt x="3706" y="2466"/>
                </a:cubicBezTo>
                <a:lnTo>
                  <a:pt x="3102" y="1909"/>
                </a:lnTo>
                <a:lnTo>
                  <a:pt x="4565" y="334"/>
                </a:lnTo>
                <a:cubicBezTo>
                  <a:pt x="4597" y="382"/>
                  <a:pt x="4612" y="430"/>
                  <a:pt x="4612" y="478"/>
                </a:cubicBezTo>
                <a:lnTo>
                  <a:pt x="4612" y="2545"/>
                </a:lnTo>
                <a:cubicBezTo>
                  <a:pt x="4660" y="2577"/>
                  <a:pt x="4724" y="2625"/>
                  <a:pt x="4772" y="2673"/>
                </a:cubicBezTo>
                <a:lnTo>
                  <a:pt x="4772" y="478"/>
                </a:lnTo>
                <a:cubicBezTo>
                  <a:pt x="4772" y="223"/>
                  <a:pt x="4533" y="0"/>
                  <a:pt x="4263" y="0"/>
                </a:cubicBezTo>
                <a:close/>
                <a:moveTo>
                  <a:pt x="2784" y="2021"/>
                </a:moveTo>
                <a:cubicBezTo>
                  <a:pt x="2576" y="2244"/>
                  <a:pt x="2195" y="2244"/>
                  <a:pt x="1988" y="2021"/>
                </a:cubicBezTo>
                <a:lnTo>
                  <a:pt x="302" y="223"/>
                </a:lnTo>
                <a:cubicBezTo>
                  <a:pt x="366" y="191"/>
                  <a:pt x="430" y="160"/>
                  <a:pt x="493" y="160"/>
                </a:cubicBezTo>
                <a:lnTo>
                  <a:pt x="4263" y="160"/>
                </a:lnTo>
                <a:cubicBezTo>
                  <a:pt x="4342" y="160"/>
                  <a:pt x="4406" y="191"/>
                  <a:pt x="4469" y="223"/>
                </a:cubicBezTo>
                <a:close/>
                <a:moveTo>
                  <a:pt x="4422" y="2466"/>
                </a:moveTo>
                <a:cubicBezTo>
                  <a:pt x="4199" y="2371"/>
                  <a:pt x="3945" y="2371"/>
                  <a:pt x="3706" y="2466"/>
                </a:cubicBezTo>
                <a:cubicBezTo>
                  <a:pt x="3674" y="2466"/>
                  <a:pt x="3658" y="2482"/>
                  <a:pt x="3627" y="2498"/>
                </a:cubicBezTo>
                <a:cubicBezTo>
                  <a:pt x="3611" y="2498"/>
                  <a:pt x="3579" y="2514"/>
                  <a:pt x="3547" y="2530"/>
                </a:cubicBezTo>
                <a:cubicBezTo>
                  <a:pt x="3340" y="2657"/>
                  <a:pt x="3181" y="2848"/>
                  <a:pt x="3085" y="3071"/>
                </a:cubicBezTo>
                <a:cubicBezTo>
                  <a:pt x="3054" y="3166"/>
                  <a:pt x="3038" y="3245"/>
                  <a:pt x="3038" y="3341"/>
                </a:cubicBezTo>
                <a:cubicBezTo>
                  <a:pt x="3022" y="3389"/>
                  <a:pt x="3022" y="3452"/>
                  <a:pt x="3022" y="3500"/>
                </a:cubicBezTo>
                <a:cubicBezTo>
                  <a:pt x="3038" y="3595"/>
                  <a:pt x="3054" y="3707"/>
                  <a:pt x="3102" y="3802"/>
                </a:cubicBezTo>
                <a:lnTo>
                  <a:pt x="3133" y="3786"/>
                </a:lnTo>
                <a:cubicBezTo>
                  <a:pt x="3181" y="3770"/>
                  <a:pt x="3229" y="3770"/>
                  <a:pt x="3245" y="3818"/>
                </a:cubicBezTo>
                <a:cubicBezTo>
                  <a:pt x="3261" y="3850"/>
                  <a:pt x="3245" y="3898"/>
                  <a:pt x="3213" y="3929"/>
                </a:cubicBezTo>
                <a:lnTo>
                  <a:pt x="3165" y="3945"/>
                </a:lnTo>
                <a:cubicBezTo>
                  <a:pt x="3293" y="4152"/>
                  <a:pt x="3467" y="4311"/>
                  <a:pt x="3706" y="4407"/>
                </a:cubicBezTo>
                <a:cubicBezTo>
                  <a:pt x="3817" y="4454"/>
                  <a:pt x="3945" y="4470"/>
                  <a:pt x="4056" y="4470"/>
                </a:cubicBezTo>
                <a:cubicBezTo>
                  <a:pt x="4485" y="4470"/>
                  <a:pt x="4883" y="4216"/>
                  <a:pt x="5042" y="3802"/>
                </a:cubicBezTo>
                <a:cubicBezTo>
                  <a:pt x="5138" y="3532"/>
                  <a:pt x="5121" y="3261"/>
                  <a:pt x="5010" y="3007"/>
                </a:cubicBezTo>
                <a:cubicBezTo>
                  <a:pt x="4947" y="2880"/>
                  <a:pt x="4867" y="2768"/>
                  <a:pt x="4772" y="2673"/>
                </a:cubicBezTo>
                <a:cubicBezTo>
                  <a:pt x="4724" y="2625"/>
                  <a:pt x="4660" y="2577"/>
                  <a:pt x="4612" y="2545"/>
                </a:cubicBezTo>
                <a:cubicBezTo>
                  <a:pt x="4549" y="2514"/>
                  <a:pt x="4485" y="2482"/>
                  <a:pt x="4422" y="2466"/>
                </a:cubicBezTo>
                <a:close/>
                <a:moveTo>
                  <a:pt x="4867" y="3071"/>
                </a:moveTo>
                <a:cubicBezTo>
                  <a:pt x="4963" y="3277"/>
                  <a:pt x="4963" y="3516"/>
                  <a:pt x="4883" y="3738"/>
                </a:cubicBezTo>
                <a:cubicBezTo>
                  <a:pt x="4724" y="4200"/>
                  <a:pt x="4215" y="4422"/>
                  <a:pt x="3754" y="4263"/>
                </a:cubicBezTo>
                <a:cubicBezTo>
                  <a:pt x="3308" y="4088"/>
                  <a:pt x="3070" y="3579"/>
                  <a:pt x="3245" y="3134"/>
                </a:cubicBezTo>
                <a:cubicBezTo>
                  <a:pt x="3324" y="2911"/>
                  <a:pt x="3483" y="2736"/>
                  <a:pt x="3706" y="2641"/>
                </a:cubicBezTo>
                <a:cubicBezTo>
                  <a:pt x="3817" y="2577"/>
                  <a:pt x="3945" y="2562"/>
                  <a:pt x="4072" y="2562"/>
                </a:cubicBezTo>
                <a:cubicBezTo>
                  <a:pt x="4167" y="2562"/>
                  <a:pt x="4279" y="2577"/>
                  <a:pt x="4374" y="2609"/>
                </a:cubicBezTo>
                <a:cubicBezTo>
                  <a:pt x="4597" y="2689"/>
                  <a:pt x="4772" y="2848"/>
                  <a:pt x="4867" y="3071"/>
                </a:cubicBezTo>
                <a:close/>
                <a:moveTo>
                  <a:pt x="3245" y="3818"/>
                </a:moveTo>
                <a:cubicBezTo>
                  <a:pt x="3229" y="3770"/>
                  <a:pt x="3181" y="3770"/>
                  <a:pt x="3133" y="3786"/>
                </a:cubicBezTo>
                <a:lnTo>
                  <a:pt x="3102" y="3802"/>
                </a:lnTo>
                <a:lnTo>
                  <a:pt x="2879" y="3913"/>
                </a:lnTo>
                <a:cubicBezTo>
                  <a:pt x="2847" y="3881"/>
                  <a:pt x="2815" y="3866"/>
                  <a:pt x="2767" y="3850"/>
                </a:cubicBezTo>
                <a:cubicBezTo>
                  <a:pt x="2704" y="3834"/>
                  <a:pt x="2624" y="3834"/>
                  <a:pt x="2561" y="3866"/>
                </a:cubicBezTo>
                <a:lnTo>
                  <a:pt x="1797" y="4279"/>
                </a:lnTo>
                <a:cubicBezTo>
                  <a:pt x="1734" y="4311"/>
                  <a:pt x="1686" y="4375"/>
                  <a:pt x="1654" y="4438"/>
                </a:cubicBezTo>
                <a:cubicBezTo>
                  <a:pt x="1622" y="4518"/>
                  <a:pt x="1638" y="4597"/>
                  <a:pt x="1670" y="4661"/>
                </a:cubicBezTo>
                <a:cubicBezTo>
                  <a:pt x="1702" y="4725"/>
                  <a:pt x="1766" y="4788"/>
                  <a:pt x="1829" y="4804"/>
                </a:cubicBezTo>
                <a:cubicBezTo>
                  <a:pt x="1861" y="4804"/>
                  <a:pt x="1893" y="4820"/>
                  <a:pt x="1924" y="4820"/>
                </a:cubicBezTo>
                <a:cubicBezTo>
                  <a:pt x="1972" y="4820"/>
                  <a:pt x="2004" y="4804"/>
                  <a:pt x="2052" y="4788"/>
                </a:cubicBezTo>
                <a:lnTo>
                  <a:pt x="2815" y="4375"/>
                </a:lnTo>
                <a:cubicBezTo>
                  <a:pt x="2927" y="4311"/>
                  <a:pt x="2990" y="4184"/>
                  <a:pt x="2958" y="4057"/>
                </a:cubicBezTo>
                <a:lnTo>
                  <a:pt x="3165" y="3945"/>
                </a:lnTo>
                <a:lnTo>
                  <a:pt x="3213" y="3929"/>
                </a:lnTo>
                <a:cubicBezTo>
                  <a:pt x="3245" y="3898"/>
                  <a:pt x="3261" y="3850"/>
                  <a:pt x="3245" y="3818"/>
                </a:cubicBezTo>
                <a:close/>
                <a:moveTo>
                  <a:pt x="2736" y="4232"/>
                </a:moveTo>
                <a:lnTo>
                  <a:pt x="1972" y="4645"/>
                </a:lnTo>
                <a:cubicBezTo>
                  <a:pt x="1940" y="4661"/>
                  <a:pt x="1909" y="4661"/>
                  <a:pt x="1877" y="4645"/>
                </a:cubicBezTo>
                <a:cubicBezTo>
                  <a:pt x="1845" y="4645"/>
                  <a:pt x="1829" y="4613"/>
                  <a:pt x="1813" y="4597"/>
                </a:cubicBezTo>
                <a:cubicBezTo>
                  <a:pt x="1797" y="4565"/>
                  <a:pt x="1797" y="4518"/>
                  <a:pt x="1797" y="4486"/>
                </a:cubicBezTo>
                <a:cubicBezTo>
                  <a:pt x="1813" y="4470"/>
                  <a:pt x="1829" y="4438"/>
                  <a:pt x="1861" y="4422"/>
                </a:cubicBezTo>
                <a:lnTo>
                  <a:pt x="2624" y="4009"/>
                </a:lnTo>
                <a:cubicBezTo>
                  <a:pt x="2640" y="3993"/>
                  <a:pt x="2672" y="3993"/>
                  <a:pt x="2688" y="3993"/>
                </a:cubicBezTo>
                <a:cubicBezTo>
                  <a:pt x="2704" y="3993"/>
                  <a:pt x="2704" y="3993"/>
                  <a:pt x="2720" y="4009"/>
                </a:cubicBezTo>
                <a:cubicBezTo>
                  <a:pt x="2736" y="4009"/>
                  <a:pt x="2752" y="4009"/>
                  <a:pt x="2752" y="4025"/>
                </a:cubicBezTo>
                <a:cubicBezTo>
                  <a:pt x="2752" y="4041"/>
                  <a:pt x="2767" y="4057"/>
                  <a:pt x="2767" y="4072"/>
                </a:cubicBezTo>
                <a:cubicBezTo>
                  <a:pt x="2784" y="4088"/>
                  <a:pt x="2784" y="4088"/>
                  <a:pt x="2799" y="4104"/>
                </a:cubicBezTo>
                <a:cubicBezTo>
                  <a:pt x="2815" y="4152"/>
                  <a:pt x="2784" y="4200"/>
                  <a:pt x="2736" y="423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2" name="Freeform: Shape 12">
            <a:extLst>
              <a:ext uri="{FF2B5EF4-FFF2-40B4-BE49-F238E27FC236}">
                <a16:creationId xmlns:a16="http://schemas.microsoft.com/office/drawing/2014/main" id="{117BDCEB-F54E-3446-A6DE-ADA99B41514B}"/>
              </a:ext>
            </a:extLst>
          </p:cNvPr>
          <p:cNvSpPr/>
          <p:nvPr/>
        </p:nvSpPr>
        <p:spPr>
          <a:xfrm>
            <a:off x="1719584" y="9572649"/>
            <a:ext cx="1717560" cy="1471320"/>
          </a:xfrm>
          <a:custGeom>
            <a:avLst/>
            <a:gdLst/>
            <a:ahLst/>
            <a:cxnLst>
              <a:cxn ang="3cd4">
                <a:pos x="hc" y="t"/>
              </a:cxn>
              <a:cxn ang="cd2">
                <a:pos x="l" y="vc"/>
              </a:cxn>
              <a:cxn ang="cd4">
                <a:pos x="hc" y="b"/>
              </a:cxn>
              <a:cxn ang="0">
                <a:pos x="r" y="vc"/>
              </a:cxn>
            </a:cxnLst>
            <a:rect l="l" t="t" r="r" b="b"/>
            <a:pathLst>
              <a:path w="4772" h="4088">
                <a:moveTo>
                  <a:pt x="2339" y="1527"/>
                </a:moveTo>
                <a:cubicBezTo>
                  <a:pt x="2354" y="1543"/>
                  <a:pt x="2370" y="1558"/>
                  <a:pt x="2386" y="1558"/>
                </a:cubicBezTo>
                <a:cubicBezTo>
                  <a:pt x="2402" y="1558"/>
                  <a:pt x="2434" y="1543"/>
                  <a:pt x="2450" y="1527"/>
                </a:cubicBezTo>
                <a:lnTo>
                  <a:pt x="2831" y="1145"/>
                </a:lnTo>
                <a:cubicBezTo>
                  <a:pt x="2863" y="1113"/>
                  <a:pt x="2863" y="1066"/>
                  <a:pt x="2831" y="1034"/>
                </a:cubicBezTo>
                <a:cubicBezTo>
                  <a:pt x="2800" y="1002"/>
                  <a:pt x="2752" y="1002"/>
                  <a:pt x="2720" y="1034"/>
                </a:cubicBezTo>
                <a:lnTo>
                  <a:pt x="2450" y="1304"/>
                </a:lnTo>
                <a:lnTo>
                  <a:pt x="2450" y="779"/>
                </a:lnTo>
                <a:cubicBezTo>
                  <a:pt x="2450" y="652"/>
                  <a:pt x="2561" y="588"/>
                  <a:pt x="2672" y="588"/>
                </a:cubicBezTo>
                <a:cubicBezTo>
                  <a:pt x="2720" y="588"/>
                  <a:pt x="2752" y="557"/>
                  <a:pt x="2752" y="509"/>
                </a:cubicBezTo>
                <a:cubicBezTo>
                  <a:pt x="2752" y="477"/>
                  <a:pt x="2720" y="429"/>
                  <a:pt x="2672" y="429"/>
                </a:cubicBezTo>
                <a:cubicBezTo>
                  <a:pt x="2450" y="429"/>
                  <a:pt x="2291" y="572"/>
                  <a:pt x="2291" y="779"/>
                </a:cubicBezTo>
                <a:lnTo>
                  <a:pt x="2291" y="1272"/>
                </a:lnTo>
                <a:lnTo>
                  <a:pt x="2052" y="1034"/>
                </a:lnTo>
                <a:cubicBezTo>
                  <a:pt x="2020" y="1002"/>
                  <a:pt x="1973" y="1002"/>
                  <a:pt x="1941" y="1034"/>
                </a:cubicBezTo>
                <a:cubicBezTo>
                  <a:pt x="1909" y="1066"/>
                  <a:pt x="1909" y="1113"/>
                  <a:pt x="1941" y="1145"/>
                </a:cubicBezTo>
                <a:close/>
                <a:moveTo>
                  <a:pt x="4772" y="4008"/>
                </a:moveTo>
                <a:lnTo>
                  <a:pt x="4772" y="2433"/>
                </a:lnTo>
                <a:lnTo>
                  <a:pt x="4772" y="2418"/>
                </a:lnTo>
                <a:lnTo>
                  <a:pt x="4772" y="2402"/>
                </a:lnTo>
                <a:lnTo>
                  <a:pt x="4756" y="2402"/>
                </a:lnTo>
                <a:lnTo>
                  <a:pt x="4184" y="1129"/>
                </a:lnTo>
                <a:cubicBezTo>
                  <a:pt x="4167" y="1097"/>
                  <a:pt x="4136" y="1081"/>
                  <a:pt x="4104" y="1081"/>
                </a:cubicBezTo>
                <a:lnTo>
                  <a:pt x="3357" y="1081"/>
                </a:lnTo>
                <a:lnTo>
                  <a:pt x="3357" y="986"/>
                </a:lnTo>
                <a:cubicBezTo>
                  <a:pt x="3357" y="445"/>
                  <a:pt x="2927" y="0"/>
                  <a:pt x="2386" y="0"/>
                </a:cubicBezTo>
                <a:cubicBezTo>
                  <a:pt x="1845" y="0"/>
                  <a:pt x="1416" y="445"/>
                  <a:pt x="1416" y="986"/>
                </a:cubicBezTo>
                <a:lnTo>
                  <a:pt x="1416" y="1081"/>
                </a:lnTo>
                <a:lnTo>
                  <a:pt x="732" y="1081"/>
                </a:lnTo>
                <a:cubicBezTo>
                  <a:pt x="700" y="1081"/>
                  <a:pt x="684" y="1097"/>
                  <a:pt x="668" y="1113"/>
                </a:cubicBezTo>
                <a:lnTo>
                  <a:pt x="16" y="2385"/>
                </a:lnTo>
                <a:lnTo>
                  <a:pt x="16" y="2402"/>
                </a:lnTo>
                <a:lnTo>
                  <a:pt x="0" y="2402"/>
                </a:lnTo>
                <a:lnTo>
                  <a:pt x="0" y="2418"/>
                </a:lnTo>
                <a:lnTo>
                  <a:pt x="0" y="2433"/>
                </a:lnTo>
                <a:lnTo>
                  <a:pt x="0" y="4008"/>
                </a:lnTo>
                <a:cubicBezTo>
                  <a:pt x="0" y="4056"/>
                  <a:pt x="48" y="4088"/>
                  <a:pt x="80" y="4088"/>
                </a:cubicBezTo>
                <a:lnTo>
                  <a:pt x="4693" y="4088"/>
                </a:lnTo>
                <a:cubicBezTo>
                  <a:pt x="4740" y="4088"/>
                  <a:pt x="4772" y="4056"/>
                  <a:pt x="4772" y="4008"/>
                </a:cubicBezTo>
                <a:close/>
                <a:moveTo>
                  <a:pt x="2386" y="159"/>
                </a:moveTo>
                <a:cubicBezTo>
                  <a:pt x="2831" y="159"/>
                  <a:pt x="3197" y="525"/>
                  <a:pt x="3197" y="986"/>
                </a:cubicBezTo>
                <a:cubicBezTo>
                  <a:pt x="3197" y="1431"/>
                  <a:pt x="2831" y="1797"/>
                  <a:pt x="2386" y="1797"/>
                </a:cubicBezTo>
                <a:cubicBezTo>
                  <a:pt x="1941" y="1797"/>
                  <a:pt x="1575" y="1431"/>
                  <a:pt x="1575" y="986"/>
                </a:cubicBezTo>
                <a:cubicBezTo>
                  <a:pt x="1575" y="525"/>
                  <a:pt x="1941" y="159"/>
                  <a:pt x="2386" y="159"/>
                </a:cubicBezTo>
                <a:close/>
                <a:moveTo>
                  <a:pt x="780" y="1240"/>
                </a:moveTo>
                <a:lnTo>
                  <a:pt x="1448" y="1240"/>
                </a:lnTo>
                <a:cubicBezTo>
                  <a:pt x="1559" y="1654"/>
                  <a:pt x="1941" y="1956"/>
                  <a:pt x="2386" y="1956"/>
                </a:cubicBezTo>
                <a:cubicBezTo>
                  <a:pt x="2831" y="1956"/>
                  <a:pt x="3213" y="1654"/>
                  <a:pt x="3324" y="1240"/>
                </a:cubicBezTo>
                <a:lnTo>
                  <a:pt x="3340" y="1240"/>
                </a:lnTo>
                <a:lnTo>
                  <a:pt x="4056" y="1240"/>
                </a:lnTo>
                <a:lnTo>
                  <a:pt x="4565" y="2354"/>
                </a:lnTo>
                <a:lnTo>
                  <a:pt x="3515" y="2354"/>
                </a:lnTo>
                <a:cubicBezTo>
                  <a:pt x="3484" y="2354"/>
                  <a:pt x="3452" y="2370"/>
                  <a:pt x="3436" y="2402"/>
                </a:cubicBezTo>
                <a:lnTo>
                  <a:pt x="3372" y="2640"/>
                </a:lnTo>
                <a:cubicBezTo>
                  <a:pt x="3309" y="2815"/>
                  <a:pt x="3102" y="2990"/>
                  <a:pt x="2927" y="2990"/>
                </a:cubicBezTo>
                <a:lnTo>
                  <a:pt x="1925" y="2990"/>
                </a:lnTo>
                <a:cubicBezTo>
                  <a:pt x="1750" y="2990"/>
                  <a:pt x="1543" y="2815"/>
                  <a:pt x="1479" y="2640"/>
                </a:cubicBezTo>
                <a:lnTo>
                  <a:pt x="1416" y="2402"/>
                </a:lnTo>
                <a:cubicBezTo>
                  <a:pt x="1400" y="2370"/>
                  <a:pt x="1368" y="2354"/>
                  <a:pt x="1336" y="2354"/>
                </a:cubicBezTo>
                <a:lnTo>
                  <a:pt x="207" y="2354"/>
                </a:lnTo>
                <a:close/>
                <a:moveTo>
                  <a:pt x="4613" y="3929"/>
                </a:moveTo>
                <a:lnTo>
                  <a:pt x="159" y="3929"/>
                </a:lnTo>
                <a:lnTo>
                  <a:pt x="159" y="2513"/>
                </a:lnTo>
                <a:lnTo>
                  <a:pt x="1273" y="2513"/>
                </a:lnTo>
                <a:lnTo>
                  <a:pt x="1336" y="2688"/>
                </a:lnTo>
                <a:cubicBezTo>
                  <a:pt x="1416" y="2942"/>
                  <a:pt x="1670" y="3149"/>
                  <a:pt x="1925" y="3149"/>
                </a:cubicBezTo>
                <a:lnTo>
                  <a:pt x="2927" y="3149"/>
                </a:lnTo>
                <a:cubicBezTo>
                  <a:pt x="3166" y="3149"/>
                  <a:pt x="3436" y="2942"/>
                  <a:pt x="3515" y="2688"/>
                </a:cubicBezTo>
                <a:lnTo>
                  <a:pt x="3579" y="2513"/>
                </a:lnTo>
                <a:lnTo>
                  <a:pt x="4613" y="2513"/>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3" name="Freeform: Shape 13">
            <a:extLst>
              <a:ext uri="{FF2B5EF4-FFF2-40B4-BE49-F238E27FC236}">
                <a16:creationId xmlns:a16="http://schemas.microsoft.com/office/drawing/2014/main" id="{71228BD9-0D6A-6548-BE28-F28B8D154CA9}"/>
              </a:ext>
            </a:extLst>
          </p:cNvPr>
          <p:cNvSpPr/>
          <p:nvPr/>
        </p:nvSpPr>
        <p:spPr>
          <a:xfrm>
            <a:off x="9935328" y="9652569"/>
            <a:ext cx="1711800" cy="1316880"/>
          </a:xfrm>
          <a:custGeom>
            <a:avLst/>
            <a:gdLst/>
            <a:ahLst/>
            <a:cxnLst>
              <a:cxn ang="3cd4">
                <a:pos x="hc" y="t"/>
              </a:cxn>
              <a:cxn ang="cd2">
                <a:pos x="l" y="vc"/>
              </a:cxn>
              <a:cxn ang="cd4">
                <a:pos x="hc" y="b"/>
              </a:cxn>
              <a:cxn ang="0">
                <a:pos x="r" y="vc"/>
              </a:cxn>
            </a:cxnLst>
            <a:rect l="l" t="t" r="r" b="b"/>
            <a:pathLst>
              <a:path w="4756" h="3659">
                <a:moveTo>
                  <a:pt x="1034" y="398"/>
                </a:moveTo>
                <a:cubicBezTo>
                  <a:pt x="1034" y="446"/>
                  <a:pt x="1065" y="478"/>
                  <a:pt x="1113" y="478"/>
                </a:cubicBezTo>
                <a:lnTo>
                  <a:pt x="3642" y="478"/>
                </a:lnTo>
                <a:cubicBezTo>
                  <a:pt x="3690" y="478"/>
                  <a:pt x="3722" y="446"/>
                  <a:pt x="3722" y="398"/>
                </a:cubicBezTo>
                <a:cubicBezTo>
                  <a:pt x="3722" y="350"/>
                  <a:pt x="3690" y="318"/>
                  <a:pt x="3642" y="318"/>
                </a:cubicBezTo>
                <a:lnTo>
                  <a:pt x="1113" y="318"/>
                </a:lnTo>
                <a:cubicBezTo>
                  <a:pt x="1065" y="318"/>
                  <a:pt x="1034" y="350"/>
                  <a:pt x="1034" y="398"/>
                </a:cubicBezTo>
                <a:close/>
                <a:moveTo>
                  <a:pt x="3483" y="0"/>
                </a:moveTo>
                <a:lnTo>
                  <a:pt x="1272" y="0"/>
                </a:lnTo>
                <a:cubicBezTo>
                  <a:pt x="1225" y="0"/>
                  <a:pt x="1193" y="32"/>
                  <a:pt x="1193" y="80"/>
                </a:cubicBezTo>
                <a:cubicBezTo>
                  <a:pt x="1193" y="128"/>
                  <a:pt x="1225" y="160"/>
                  <a:pt x="1272" y="160"/>
                </a:cubicBezTo>
                <a:lnTo>
                  <a:pt x="3483" y="160"/>
                </a:lnTo>
                <a:cubicBezTo>
                  <a:pt x="3531" y="160"/>
                  <a:pt x="3563" y="128"/>
                  <a:pt x="3563" y="80"/>
                </a:cubicBezTo>
                <a:cubicBezTo>
                  <a:pt x="3563" y="32"/>
                  <a:pt x="3531" y="0"/>
                  <a:pt x="3483" y="0"/>
                </a:cubicBezTo>
                <a:close/>
                <a:moveTo>
                  <a:pt x="4756" y="3579"/>
                </a:moveTo>
                <a:lnTo>
                  <a:pt x="4756" y="1988"/>
                </a:lnTo>
                <a:lnTo>
                  <a:pt x="4756" y="1973"/>
                </a:lnTo>
                <a:lnTo>
                  <a:pt x="4756" y="1957"/>
                </a:lnTo>
                <a:lnTo>
                  <a:pt x="4183" y="494"/>
                </a:lnTo>
                <a:cubicBezTo>
                  <a:pt x="4167" y="446"/>
                  <a:pt x="4119" y="430"/>
                  <a:pt x="4072" y="446"/>
                </a:cubicBezTo>
                <a:cubicBezTo>
                  <a:pt x="4040" y="462"/>
                  <a:pt x="4008" y="509"/>
                  <a:pt x="4024" y="541"/>
                </a:cubicBezTo>
                <a:lnTo>
                  <a:pt x="4565" y="1909"/>
                </a:lnTo>
                <a:lnTo>
                  <a:pt x="3961" y="1909"/>
                </a:lnTo>
                <a:lnTo>
                  <a:pt x="3961" y="716"/>
                </a:lnTo>
                <a:cubicBezTo>
                  <a:pt x="3961" y="669"/>
                  <a:pt x="3929" y="637"/>
                  <a:pt x="3881" y="637"/>
                </a:cubicBezTo>
                <a:lnTo>
                  <a:pt x="875" y="637"/>
                </a:lnTo>
                <a:cubicBezTo>
                  <a:pt x="827" y="637"/>
                  <a:pt x="795" y="669"/>
                  <a:pt x="795" y="716"/>
                </a:cubicBezTo>
                <a:lnTo>
                  <a:pt x="795" y="1909"/>
                </a:lnTo>
                <a:lnTo>
                  <a:pt x="191" y="1909"/>
                </a:lnTo>
                <a:lnTo>
                  <a:pt x="795" y="557"/>
                </a:lnTo>
                <a:cubicBezTo>
                  <a:pt x="811" y="509"/>
                  <a:pt x="795" y="462"/>
                  <a:pt x="763" y="446"/>
                </a:cubicBezTo>
                <a:cubicBezTo>
                  <a:pt x="716" y="430"/>
                  <a:pt x="668" y="446"/>
                  <a:pt x="652" y="494"/>
                </a:cubicBezTo>
                <a:lnTo>
                  <a:pt x="0" y="1957"/>
                </a:lnTo>
                <a:lnTo>
                  <a:pt x="0" y="1973"/>
                </a:lnTo>
                <a:lnTo>
                  <a:pt x="0" y="1988"/>
                </a:lnTo>
                <a:lnTo>
                  <a:pt x="0" y="3579"/>
                </a:lnTo>
                <a:cubicBezTo>
                  <a:pt x="0" y="3611"/>
                  <a:pt x="32" y="3659"/>
                  <a:pt x="80" y="3659"/>
                </a:cubicBezTo>
                <a:lnTo>
                  <a:pt x="4676" y="3659"/>
                </a:lnTo>
                <a:cubicBezTo>
                  <a:pt x="4724" y="3659"/>
                  <a:pt x="4756" y="3611"/>
                  <a:pt x="4756" y="3579"/>
                </a:cubicBezTo>
                <a:close/>
                <a:moveTo>
                  <a:pt x="954" y="796"/>
                </a:moveTo>
                <a:lnTo>
                  <a:pt x="3801" y="796"/>
                </a:lnTo>
                <a:lnTo>
                  <a:pt x="3801" y="1909"/>
                </a:lnTo>
                <a:lnTo>
                  <a:pt x="3499" y="1909"/>
                </a:lnTo>
                <a:cubicBezTo>
                  <a:pt x="3467" y="1909"/>
                  <a:pt x="3452" y="1925"/>
                  <a:pt x="3435" y="1957"/>
                </a:cubicBezTo>
                <a:lnTo>
                  <a:pt x="3356" y="2116"/>
                </a:lnTo>
                <a:cubicBezTo>
                  <a:pt x="3292" y="2307"/>
                  <a:pt x="3086" y="2386"/>
                  <a:pt x="2911" y="2386"/>
                </a:cubicBezTo>
                <a:lnTo>
                  <a:pt x="1908" y="2386"/>
                </a:lnTo>
                <a:cubicBezTo>
                  <a:pt x="1750" y="2386"/>
                  <a:pt x="1527" y="2307"/>
                  <a:pt x="1463" y="2116"/>
                </a:cubicBezTo>
                <a:lnTo>
                  <a:pt x="1399" y="1957"/>
                </a:lnTo>
                <a:cubicBezTo>
                  <a:pt x="1384" y="1925"/>
                  <a:pt x="1352" y="1909"/>
                  <a:pt x="1320" y="1909"/>
                </a:cubicBezTo>
                <a:lnTo>
                  <a:pt x="954" y="1909"/>
                </a:lnTo>
                <a:close/>
                <a:moveTo>
                  <a:pt x="4597" y="3500"/>
                </a:moveTo>
                <a:lnTo>
                  <a:pt x="159" y="3500"/>
                </a:lnTo>
                <a:lnTo>
                  <a:pt x="159" y="2068"/>
                </a:lnTo>
                <a:lnTo>
                  <a:pt x="1272" y="2068"/>
                </a:lnTo>
                <a:lnTo>
                  <a:pt x="1320" y="2163"/>
                </a:lnTo>
                <a:cubicBezTo>
                  <a:pt x="1399" y="2418"/>
                  <a:pt x="1686" y="2545"/>
                  <a:pt x="1908" y="2545"/>
                </a:cubicBezTo>
                <a:lnTo>
                  <a:pt x="2911" y="2545"/>
                </a:lnTo>
                <a:cubicBezTo>
                  <a:pt x="3149" y="2545"/>
                  <a:pt x="3420" y="2418"/>
                  <a:pt x="3499" y="2180"/>
                </a:cubicBezTo>
                <a:lnTo>
                  <a:pt x="3563" y="2068"/>
                </a:lnTo>
                <a:lnTo>
                  <a:pt x="4597" y="2068"/>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4" name="Freeform: Shape 14">
            <a:extLst>
              <a:ext uri="{FF2B5EF4-FFF2-40B4-BE49-F238E27FC236}">
                <a16:creationId xmlns:a16="http://schemas.microsoft.com/office/drawing/2014/main" id="{83F9011D-1EF5-3540-9E3F-7A568FC6BD2D}"/>
              </a:ext>
            </a:extLst>
          </p:cNvPr>
          <p:cNvSpPr/>
          <p:nvPr/>
        </p:nvSpPr>
        <p:spPr>
          <a:xfrm>
            <a:off x="21025994" y="9589929"/>
            <a:ext cx="1711800" cy="1436759"/>
          </a:xfrm>
          <a:custGeom>
            <a:avLst/>
            <a:gdLst/>
            <a:ahLst/>
            <a:cxnLst>
              <a:cxn ang="3cd4">
                <a:pos x="hc" y="t"/>
              </a:cxn>
              <a:cxn ang="cd2">
                <a:pos x="l" y="vc"/>
              </a:cxn>
              <a:cxn ang="cd4">
                <a:pos x="hc" y="b"/>
              </a:cxn>
              <a:cxn ang="0">
                <a:pos x="r" y="vc"/>
              </a:cxn>
            </a:cxnLst>
            <a:rect l="l" t="t" r="r" b="b"/>
            <a:pathLst>
              <a:path w="4756" h="3992">
                <a:moveTo>
                  <a:pt x="79" y="3992"/>
                </a:moveTo>
                <a:lnTo>
                  <a:pt x="4676" y="3992"/>
                </a:lnTo>
                <a:cubicBezTo>
                  <a:pt x="4724" y="3992"/>
                  <a:pt x="4756" y="3960"/>
                  <a:pt x="4756" y="3912"/>
                </a:cubicBezTo>
                <a:lnTo>
                  <a:pt x="4756" y="2337"/>
                </a:lnTo>
                <a:lnTo>
                  <a:pt x="4756" y="2322"/>
                </a:lnTo>
                <a:lnTo>
                  <a:pt x="4756" y="2306"/>
                </a:lnTo>
                <a:lnTo>
                  <a:pt x="4756" y="2290"/>
                </a:lnTo>
                <a:lnTo>
                  <a:pt x="4183" y="1033"/>
                </a:lnTo>
                <a:cubicBezTo>
                  <a:pt x="4167" y="1001"/>
                  <a:pt x="4135" y="986"/>
                  <a:pt x="4103" y="986"/>
                </a:cubicBezTo>
                <a:lnTo>
                  <a:pt x="3387" y="986"/>
                </a:lnTo>
                <a:cubicBezTo>
                  <a:pt x="3387" y="445"/>
                  <a:pt x="2958" y="0"/>
                  <a:pt x="2417" y="0"/>
                </a:cubicBezTo>
                <a:cubicBezTo>
                  <a:pt x="1876" y="0"/>
                  <a:pt x="1447" y="445"/>
                  <a:pt x="1447" y="986"/>
                </a:cubicBezTo>
                <a:lnTo>
                  <a:pt x="1431" y="986"/>
                </a:lnTo>
                <a:lnTo>
                  <a:pt x="731" y="986"/>
                </a:lnTo>
                <a:cubicBezTo>
                  <a:pt x="699" y="986"/>
                  <a:pt x="667" y="1001"/>
                  <a:pt x="667" y="1018"/>
                </a:cubicBezTo>
                <a:lnTo>
                  <a:pt x="0" y="2290"/>
                </a:lnTo>
                <a:lnTo>
                  <a:pt x="0" y="2306"/>
                </a:lnTo>
                <a:lnTo>
                  <a:pt x="0" y="2322"/>
                </a:lnTo>
                <a:lnTo>
                  <a:pt x="0" y="2337"/>
                </a:lnTo>
                <a:lnTo>
                  <a:pt x="0" y="3912"/>
                </a:lnTo>
                <a:cubicBezTo>
                  <a:pt x="0" y="3960"/>
                  <a:pt x="31" y="3992"/>
                  <a:pt x="79" y="3992"/>
                </a:cubicBezTo>
                <a:close/>
                <a:moveTo>
                  <a:pt x="4596" y="3833"/>
                </a:moveTo>
                <a:lnTo>
                  <a:pt x="158" y="3833"/>
                </a:lnTo>
                <a:lnTo>
                  <a:pt x="158" y="2401"/>
                </a:lnTo>
                <a:lnTo>
                  <a:pt x="1272" y="2401"/>
                </a:lnTo>
                <a:lnTo>
                  <a:pt x="1320" y="2592"/>
                </a:lnTo>
                <a:cubicBezTo>
                  <a:pt x="1399" y="2846"/>
                  <a:pt x="1670" y="3037"/>
                  <a:pt x="1924" y="3037"/>
                </a:cubicBezTo>
                <a:lnTo>
                  <a:pt x="2926" y="3037"/>
                </a:lnTo>
                <a:cubicBezTo>
                  <a:pt x="3165" y="3037"/>
                  <a:pt x="3435" y="2846"/>
                  <a:pt x="3515" y="2592"/>
                </a:cubicBezTo>
                <a:lnTo>
                  <a:pt x="3563" y="2401"/>
                </a:lnTo>
                <a:lnTo>
                  <a:pt x="4596" y="2401"/>
                </a:lnTo>
                <a:close/>
                <a:moveTo>
                  <a:pt x="2417" y="159"/>
                </a:moveTo>
                <a:cubicBezTo>
                  <a:pt x="2863" y="159"/>
                  <a:pt x="3229" y="524"/>
                  <a:pt x="3229" y="986"/>
                </a:cubicBezTo>
                <a:cubicBezTo>
                  <a:pt x="3229" y="1431"/>
                  <a:pt x="2863" y="1797"/>
                  <a:pt x="2417" y="1797"/>
                </a:cubicBezTo>
                <a:cubicBezTo>
                  <a:pt x="1972" y="1797"/>
                  <a:pt x="1606" y="1431"/>
                  <a:pt x="1606" y="986"/>
                </a:cubicBezTo>
                <a:cubicBezTo>
                  <a:pt x="1606" y="524"/>
                  <a:pt x="1972" y="159"/>
                  <a:pt x="2417" y="159"/>
                </a:cubicBezTo>
                <a:close/>
                <a:moveTo>
                  <a:pt x="779" y="1145"/>
                </a:moveTo>
                <a:lnTo>
                  <a:pt x="1431" y="1145"/>
                </a:lnTo>
                <a:cubicBezTo>
                  <a:pt x="1442" y="1140"/>
                  <a:pt x="1447" y="1129"/>
                  <a:pt x="1463" y="1129"/>
                </a:cubicBezTo>
                <a:cubicBezTo>
                  <a:pt x="1527" y="1590"/>
                  <a:pt x="1940" y="1956"/>
                  <a:pt x="2417" y="1956"/>
                </a:cubicBezTo>
                <a:cubicBezTo>
                  <a:pt x="2894" y="1956"/>
                  <a:pt x="3308" y="1606"/>
                  <a:pt x="3372" y="1145"/>
                </a:cubicBezTo>
                <a:lnTo>
                  <a:pt x="4056" y="1145"/>
                </a:lnTo>
                <a:lnTo>
                  <a:pt x="4565" y="2258"/>
                </a:lnTo>
                <a:lnTo>
                  <a:pt x="3515" y="2258"/>
                </a:lnTo>
                <a:cubicBezTo>
                  <a:pt x="3467" y="2258"/>
                  <a:pt x="3435" y="2274"/>
                  <a:pt x="3435" y="2306"/>
                </a:cubicBezTo>
                <a:lnTo>
                  <a:pt x="3356" y="2545"/>
                </a:lnTo>
                <a:cubicBezTo>
                  <a:pt x="3308" y="2719"/>
                  <a:pt x="3101" y="2879"/>
                  <a:pt x="2926" y="2879"/>
                </a:cubicBezTo>
                <a:lnTo>
                  <a:pt x="1924" y="2879"/>
                </a:lnTo>
                <a:cubicBezTo>
                  <a:pt x="1733" y="2879"/>
                  <a:pt x="1527" y="2719"/>
                  <a:pt x="1479" y="2545"/>
                </a:cubicBezTo>
                <a:lnTo>
                  <a:pt x="1399" y="2306"/>
                </a:lnTo>
                <a:cubicBezTo>
                  <a:pt x="1399" y="2274"/>
                  <a:pt x="1367" y="2258"/>
                  <a:pt x="1336" y="2258"/>
                </a:cubicBezTo>
                <a:lnTo>
                  <a:pt x="206" y="2258"/>
                </a:lnTo>
                <a:close/>
                <a:moveTo>
                  <a:pt x="2020" y="1065"/>
                </a:moveTo>
                <a:lnTo>
                  <a:pt x="2624" y="1065"/>
                </a:lnTo>
                <a:lnTo>
                  <a:pt x="2369" y="1320"/>
                </a:lnTo>
                <a:cubicBezTo>
                  <a:pt x="2338" y="1352"/>
                  <a:pt x="2338" y="1399"/>
                  <a:pt x="2369" y="1431"/>
                </a:cubicBezTo>
                <a:cubicBezTo>
                  <a:pt x="2385" y="1447"/>
                  <a:pt x="2402" y="1447"/>
                  <a:pt x="2433" y="1447"/>
                </a:cubicBezTo>
                <a:cubicBezTo>
                  <a:pt x="2449" y="1447"/>
                  <a:pt x="2465" y="1447"/>
                  <a:pt x="2481" y="1431"/>
                </a:cubicBezTo>
                <a:lnTo>
                  <a:pt x="2878" y="1033"/>
                </a:lnTo>
                <a:lnTo>
                  <a:pt x="2878" y="1018"/>
                </a:lnTo>
                <a:lnTo>
                  <a:pt x="2894" y="1018"/>
                </a:lnTo>
                <a:lnTo>
                  <a:pt x="2894" y="1001"/>
                </a:lnTo>
                <a:lnTo>
                  <a:pt x="2894" y="986"/>
                </a:lnTo>
                <a:lnTo>
                  <a:pt x="2894" y="970"/>
                </a:lnTo>
                <a:lnTo>
                  <a:pt x="2894" y="954"/>
                </a:lnTo>
                <a:lnTo>
                  <a:pt x="2878" y="938"/>
                </a:lnTo>
                <a:lnTo>
                  <a:pt x="2878" y="922"/>
                </a:lnTo>
                <a:lnTo>
                  <a:pt x="2481" y="524"/>
                </a:lnTo>
                <a:cubicBezTo>
                  <a:pt x="2449" y="492"/>
                  <a:pt x="2402" y="492"/>
                  <a:pt x="2369" y="524"/>
                </a:cubicBezTo>
                <a:cubicBezTo>
                  <a:pt x="2338" y="556"/>
                  <a:pt x="2338" y="604"/>
                  <a:pt x="2369" y="636"/>
                </a:cubicBezTo>
                <a:lnTo>
                  <a:pt x="2624" y="906"/>
                </a:lnTo>
                <a:lnTo>
                  <a:pt x="2020" y="906"/>
                </a:lnTo>
                <a:cubicBezTo>
                  <a:pt x="1972" y="906"/>
                  <a:pt x="1940" y="938"/>
                  <a:pt x="1940" y="986"/>
                </a:cubicBezTo>
                <a:cubicBezTo>
                  <a:pt x="1940" y="1018"/>
                  <a:pt x="1972" y="1065"/>
                  <a:pt x="2020" y="106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5" name="Freeform: Shape 15">
            <a:extLst>
              <a:ext uri="{FF2B5EF4-FFF2-40B4-BE49-F238E27FC236}">
                <a16:creationId xmlns:a16="http://schemas.microsoft.com/office/drawing/2014/main" id="{7D03E3A1-EA1A-CC4D-BFBE-5E09386862A5}"/>
              </a:ext>
            </a:extLst>
          </p:cNvPr>
          <p:cNvSpPr/>
          <p:nvPr/>
        </p:nvSpPr>
        <p:spPr>
          <a:xfrm>
            <a:off x="1779455" y="3237036"/>
            <a:ext cx="1889640" cy="1677599"/>
          </a:xfrm>
          <a:custGeom>
            <a:avLst/>
            <a:gdLst/>
            <a:ahLst/>
            <a:cxnLst>
              <a:cxn ang="3cd4">
                <a:pos x="hc" y="t"/>
              </a:cxn>
              <a:cxn ang="cd2">
                <a:pos x="l" y="vc"/>
              </a:cxn>
              <a:cxn ang="cd4">
                <a:pos x="hc" y="b"/>
              </a:cxn>
              <a:cxn ang="0">
                <a:pos x="r" y="vc"/>
              </a:cxn>
            </a:cxnLst>
            <a:rect l="l" t="t" r="r" b="b"/>
            <a:pathLst>
              <a:path w="5250" h="4661">
                <a:moveTo>
                  <a:pt x="4327" y="3801"/>
                </a:moveTo>
                <a:lnTo>
                  <a:pt x="4168" y="3801"/>
                </a:lnTo>
                <a:lnTo>
                  <a:pt x="4168" y="3022"/>
                </a:lnTo>
                <a:cubicBezTo>
                  <a:pt x="4168" y="2991"/>
                  <a:pt x="4152" y="2959"/>
                  <a:pt x="4136" y="2943"/>
                </a:cubicBezTo>
                <a:cubicBezTo>
                  <a:pt x="4104" y="2927"/>
                  <a:pt x="4072" y="2927"/>
                  <a:pt x="4057" y="2943"/>
                </a:cubicBezTo>
                <a:lnTo>
                  <a:pt x="3770" y="3118"/>
                </a:lnTo>
                <a:cubicBezTo>
                  <a:pt x="3738" y="3134"/>
                  <a:pt x="3723" y="3197"/>
                  <a:pt x="3738" y="3229"/>
                </a:cubicBezTo>
                <a:cubicBezTo>
                  <a:pt x="3770" y="3261"/>
                  <a:pt x="3818" y="3277"/>
                  <a:pt x="3850" y="3261"/>
                </a:cubicBezTo>
                <a:lnTo>
                  <a:pt x="4009" y="3149"/>
                </a:lnTo>
                <a:lnTo>
                  <a:pt x="4009" y="3801"/>
                </a:lnTo>
                <a:lnTo>
                  <a:pt x="3850" y="3801"/>
                </a:lnTo>
                <a:cubicBezTo>
                  <a:pt x="3818" y="3801"/>
                  <a:pt x="3770" y="3849"/>
                  <a:pt x="3770" y="3881"/>
                </a:cubicBezTo>
                <a:cubicBezTo>
                  <a:pt x="3770" y="3929"/>
                  <a:pt x="3818" y="3961"/>
                  <a:pt x="3850" y="3961"/>
                </a:cubicBezTo>
                <a:lnTo>
                  <a:pt x="4327" y="3961"/>
                </a:lnTo>
                <a:cubicBezTo>
                  <a:pt x="4375" y="3961"/>
                  <a:pt x="4406" y="3929"/>
                  <a:pt x="4406" y="3881"/>
                </a:cubicBezTo>
                <a:cubicBezTo>
                  <a:pt x="4406" y="3849"/>
                  <a:pt x="4375" y="3801"/>
                  <a:pt x="4327" y="3801"/>
                </a:cubicBezTo>
                <a:close/>
                <a:moveTo>
                  <a:pt x="5075" y="3229"/>
                </a:moveTo>
                <a:cubicBezTo>
                  <a:pt x="5027" y="3197"/>
                  <a:pt x="4979" y="3149"/>
                  <a:pt x="4963" y="3118"/>
                </a:cubicBezTo>
                <a:lnTo>
                  <a:pt x="4963" y="2959"/>
                </a:lnTo>
                <a:cubicBezTo>
                  <a:pt x="4963" y="2863"/>
                  <a:pt x="4979" y="2736"/>
                  <a:pt x="4899" y="2656"/>
                </a:cubicBezTo>
                <a:cubicBezTo>
                  <a:pt x="4868" y="2625"/>
                  <a:pt x="4820" y="2609"/>
                  <a:pt x="4756" y="2609"/>
                </a:cubicBezTo>
                <a:lnTo>
                  <a:pt x="4756" y="509"/>
                </a:lnTo>
                <a:cubicBezTo>
                  <a:pt x="4756" y="254"/>
                  <a:pt x="4518" y="0"/>
                  <a:pt x="4263" y="0"/>
                </a:cubicBezTo>
                <a:lnTo>
                  <a:pt x="494" y="0"/>
                </a:lnTo>
                <a:cubicBezTo>
                  <a:pt x="239" y="0"/>
                  <a:pt x="0" y="239"/>
                  <a:pt x="0" y="509"/>
                </a:cubicBezTo>
                <a:lnTo>
                  <a:pt x="0" y="3102"/>
                </a:lnTo>
                <a:cubicBezTo>
                  <a:pt x="0" y="3340"/>
                  <a:pt x="223" y="3643"/>
                  <a:pt x="494" y="3643"/>
                </a:cubicBezTo>
                <a:lnTo>
                  <a:pt x="2959" y="3643"/>
                </a:lnTo>
                <a:cubicBezTo>
                  <a:pt x="2991" y="3690"/>
                  <a:pt x="3039" y="3722"/>
                  <a:pt x="3070" y="3754"/>
                </a:cubicBezTo>
                <a:cubicBezTo>
                  <a:pt x="3118" y="3786"/>
                  <a:pt x="3166" y="3833"/>
                  <a:pt x="3166" y="3865"/>
                </a:cubicBezTo>
                <a:cubicBezTo>
                  <a:pt x="3182" y="3897"/>
                  <a:pt x="3182" y="3961"/>
                  <a:pt x="3182" y="4024"/>
                </a:cubicBezTo>
                <a:cubicBezTo>
                  <a:pt x="3182" y="4120"/>
                  <a:pt x="3166" y="4247"/>
                  <a:pt x="3245" y="4327"/>
                </a:cubicBezTo>
                <a:cubicBezTo>
                  <a:pt x="3325" y="4390"/>
                  <a:pt x="3436" y="4390"/>
                  <a:pt x="3548" y="4390"/>
                </a:cubicBezTo>
                <a:cubicBezTo>
                  <a:pt x="3595" y="4374"/>
                  <a:pt x="3659" y="4374"/>
                  <a:pt x="3706" y="4390"/>
                </a:cubicBezTo>
                <a:cubicBezTo>
                  <a:pt x="3738" y="4406"/>
                  <a:pt x="3770" y="4454"/>
                  <a:pt x="3818" y="4501"/>
                </a:cubicBezTo>
                <a:cubicBezTo>
                  <a:pt x="3881" y="4565"/>
                  <a:pt x="3961" y="4661"/>
                  <a:pt x="4072" y="4661"/>
                </a:cubicBezTo>
                <a:cubicBezTo>
                  <a:pt x="4184" y="4661"/>
                  <a:pt x="4263" y="4565"/>
                  <a:pt x="4327" y="4501"/>
                </a:cubicBezTo>
                <a:cubicBezTo>
                  <a:pt x="4375" y="4454"/>
                  <a:pt x="4406" y="4406"/>
                  <a:pt x="4438" y="4390"/>
                </a:cubicBezTo>
                <a:cubicBezTo>
                  <a:pt x="4486" y="4374"/>
                  <a:pt x="4550" y="4374"/>
                  <a:pt x="4597" y="4390"/>
                </a:cubicBezTo>
                <a:cubicBezTo>
                  <a:pt x="4709" y="4390"/>
                  <a:pt x="4820" y="4390"/>
                  <a:pt x="4899" y="4327"/>
                </a:cubicBezTo>
                <a:cubicBezTo>
                  <a:pt x="4979" y="4247"/>
                  <a:pt x="4963" y="4120"/>
                  <a:pt x="4963" y="4024"/>
                </a:cubicBezTo>
                <a:lnTo>
                  <a:pt x="4963" y="3865"/>
                </a:lnTo>
                <a:cubicBezTo>
                  <a:pt x="4979" y="3833"/>
                  <a:pt x="5027" y="3786"/>
                  <a:pt x="5075" y="3754"/>
                </a:cubicBezTo>
                <a:cubicBezTo>
                  <a:pt x="5154" y="3690"/>
                  <a:pt x="5250" y="3611"/>
                  <a:pt x="5250" y="3499"/>
                </a:cubicBezTo>
                <a:cubicBezTo>
                  <a:pt x="5250" y="3372"/>
                  <a:pt x="5154" y="3292"/>
                  <a:pt x="5075" y="3229"/>
                </a:cubicBezTo>
                <a:close/>
                <a:moveTo>
                  <a:pt x="4597" y="2593"/>
                </a:moveTo>
                <a:cubicBezTo>
                  <a:pt x="4550" y="2609"/>
                  <a:pt x="4486" y="2609"/>
                  <a:pt x="4438" y="2593"/>
                </a:cubicBezTo>
                <a:cubicBezTo>
                  <a:pt x="4406" y="2577"/>
                  <a:pt x="4375" y="2529"/>
                  <a:pt x="4327" y="2497"/>
                </a:cubicBezTo>
                <a:cubicBezTo>
                  <a:pt x="4263" y="2418"/>
                  <a:pt x="4184" y="2322"/>
                  <a:pt x="4072" y="2322"/>
                </a:cubicBezTo>
                <a:cubicBezTo>
                  <a:pt x="3961" y="2322"/>
                  <a:pt x="3881" y="2418"/>
                  <a:pt x="3818" y="2497"/>
                </a:cubicBezTo>
                <a:cubicBezTo>
                  <a:pt x="3786" y="2513"/>
                  <a:pt x="3770" y="2529"/>
                  <a:pt x="3754" y="2545"/>
                </a:cubicBezTo>
                <a:lnTo>
                  <a:pt x="3102" y="1941"/>
                </a:lnTo>
                <a:lnTo>
                  <a:pt x="4566" y="366"/>
                </a:lnTo>
                <a:cubicBezTo>
                  <a:pt x="4597" y="414"/>
                  <a:pt x="4597" y="461"/>
                  <a:pt x="4597" y="509"/>
                </a:cubicBezTo>
                <a:close/>
                <a:moveTo>
                  <a:pt x="4263" y="159"/>
                </a:moveTo>
                <a:cubicBezTo>
                  <a:pt x="4343" y="159"/>
                  <a:pt x="4406" y="191"/>
                  <a:pt x="4470" y="239"/>
                </a:cubicBezTo>
                <a:lnTo>
                  <a:pt x="2784" y="2052"/>
                </a:lnTo>
                <a:cubicBezTo>
                  <a:pt x="2673" y="2164"/>
                  <a:pt x="2530" y="2227"/>
                  <a:pt x="2387" y="2227"/>
                </a:cubicBezTo>
                <a:cubicBezTo>
                  <a:pt x="2227" y="2227"/>
                  <a:pt x="2084" y="2164"/>
                  <a:pt x="1989" y="2052"/>
                </a:cubicBezTo>
                <a:lnTo>
                  <a:pt x="287" y="239"/>
                </a:lnTo>
                <a:cubicBezTo>
                  <a:pt x="351" y="191"/>
                  <a:pt x="414" y="159"/>
                  <a:pt x="494" y="159"/>
                </a:cubicBezTo>
                <a:close/>
                <a:moveTo>
                  <a:pt x="494" y="3499"/>
                </a:moveTo>
                <a:cubicBezTo>
                  <a:pt x="319" y="3499"/>
                  <a:pt x="160" y="3261"/>
                  <a:pt x="160" y="3102"/>
                </a:cubicBezTo>
                <a:lnTo>
                  <a:pt x="160" y="509"/>
                </a:lnTo>
                <a:cubicBezTo>
                  <a:pt x="160" y="461"/>
                  <a:pt x="176" y="414"/>
                  <a:pt x="191" y="366"/>
                </a:cubicBezTo>
                <a:lnTo>
                  <a:pt x="1670" y="1941"/>
                </a:lnTo>
                <a:lnTo>
                  <a:pt x="637" y="2879"/>
                </a:lnTo>
                <a:cubicBezTo>
                  <a:pt x="605" y="2911"/>
                  <a:pt x="605" y="2959"/>
                  <a:pt x="637" y="2991"/>
                </a:cubicBezTo>
                <a:cubicBezTo>
                  <a:pt x="652" y="3006"/>
                  <a:pt x="669" y="3022"/>
                  <a:pt x="685" y="3022"/>
                </a:cubicBezTo>
                <a:cubicBezTo>
                  <a:pt x="716" y="3022"/>
                  <a:pt x="732" y="3006"/>
                  <a:pt x="748" y="2991"/>
                </a:cubicBezTo>
                <a:lnTo>
                  <a:pt x="1766" y="2052"/>
                </a:lnTo>
                <a:lnTo>
                  <a:pt x="1861" y="2164"/>
                </a:lnTo>
                <a:cubicBezTo>
                  <a:pt x="2005" y="2307"/>
                  <a:pt x="2179" y="2386"/>
                  <a:pt x="2387" y="2386"/>
                </a:cubicBezTo>
                <a:cubicBezTo>
                  <a:pt x="2577" y="2386"/>
                  <a:pt x="2752" y="2307"/>
                  <a:pt x="2896" y="2164"/>
                </a:cubicBezTo>
                <a:lnTo>
                  <a:pt x="2991" y="2052"/>
                </a:lnTo>
                <a:lnTo>
                  <a:pt x="3579" y="2609"/>
                </a:lnTo>
                <a:cubicBezTo>
                  <a:pt x="3563" y="2609"/>
                  <a:pt x="3548" y="2609"/>
                  <a:pt x="3548" y="2593"/>
                </a:cubicBezTo>
                <a:cubicBezTo>
                  <a:pt x="3436" y="2593"/>
                  <a:pt x="3325" y="2593"/>
                  <a:pt x="3245" y="2656"/>
                </a:cubicBezTo>
                <a:cubicBezTo>
                  <a:pt x="3166" y="2736"/>
                  <a:pt x="3182" y="2863"/>
                  <a:pt x="3182" y="2959"/>
                </a:cubicBezTo>
                <a:cubicBezTo>
                  <a:pt x="3182" y="3022"/>
                  <a:pt x="3182" y="3086"/>
                  <a:pt x="3166" y="3118"/>
                </a:cubicBezTo>
                <a:cubicBezTo>
                  <a:pt x="3166" y="3149"/>
                  <a:pt x="3118" y="3197"/>
                  <a:pt x="3070" y="3229"/>
                </a:cubicBezTo>
                <a:cubicBezTo>
                  <a:pt x="2991" y="3292"/>
                  <a:pt x="2896" y="3372"/>
                  <a:pt x="2896" y="3499"/>
                </a:cubicBezTo>
                <a:close/>
                <a:moveTo>
                  <a:pt x="4963" y="3627"/>
                </a:moveTo>
                <a:cubicBezTo>
                  <a:pt x="4915" y="3690"/>
                  <a:pt x="4852" y="3738"/>
                  <a:pt x="4820" y="3801"/>
                </a:cubicBezTo>
                <a:cubicBezTo>
                  <a:pt x="4788" y="3865"/>
                  <a:pt x="4804" y="3961"/>
                  <a:pt x="4804" y="4040"/>
                </a:cubicBezTo>
                <a:cubicBezTo>
                  <a:pt x="4804" y="4104"/>
                  <a:pt x="4820" y="4183"/>
                  <a:pt x="4788" y="4215"/>
                </a:cubicBezTo>
                <a:cubicBezTo>
                  <a:pt x="4756" y="4231"/>
                  <a:pt x="4677" y="4231"/>
                  <a:pt x="4613" y="4231"/>
                </a:cubicBezTo>
                <a:cubicBezTo>
                  <a:pt x="4533" y="4215"/>
                  <a:pt x="4454" y="4215"/>
                  <a:pt x="4390" y="4247"/>
                </a:cubicBezTo>
                <a:cubicBezTo>
                  <a:pt x="4311" y="4279"/>
                  <a:pt x="4263" y="4327"/>
                  <a:pt x="4215" y="4390"/>
                </a:cubicBezTo>
                <a:cubicBezTo>
                  <a:pt x="4168" y="4438"/>
                  <a:pt x="4120" y="4501"/>
                  <a:pt x="4072" y="4501"/>
                </a:cubicBezTo>
                <a:cubicBezTo>
                  <a:pt x="4024" y="4501"/>
                  <a:pt x="3977" y="4438"/>
                  <a:pt x="3929" y="4390"/>
                </a:cubicBezTo>
                <a:cubicBezTo>
                  <a:pt x="3881" y="4327"/>
                  <a:pt x="3834" y="4279"/>
                  <a:pt x="3754" y="4247"/>
                </a:cubicBezTo>
                <a:cubicBezTo>
                  <a:pt x="3723" y="4231"/>
                  <a:pt x="3675" y="4215"/>
                  <a:pt x="3627" y="4215"/>
                </a:cubicBezTo>
                <a:cubicBezTo>
                  <a:pt x="3595" y="4215"/>
                  <a:pt x="3563" y="4215"/>
                  <a:pt x="3532" y="4231"/>
                </a:cubicBezTo>
                <a:cubicBezTo>
                  <a:pt x="3468" y="4231"/>
                  <a:pt x="3388" y="4231"/>
                  <a:pt x="3357" y="4215"/>
                </a:cubicBezTo>
                <a:cubicBezTo>
                  <a:pt x="3325" y="4183"/>
                  <a:pt x="3341" y="4104"/>
                  <a:pt x="3341" y="4040"/>
                </a:cubicBezTo>
                <a:cubicBezTo>
                  <a:pt x="3341" y="3961"/>
                  <a:pt x="3357" y="3865"/>
                  <a:pt x="3325" y="3801"/>
                </a:cubicBezTo>
                <a:cubicBezTo>
                  <a:pt x="3293" y="3738"/>
                  <a:pt x="3229" y="3690"/>
                  <a:pt x="3182" y="3627"/>
                </a:cubicBezTo>
                <a:cubicBezTo>
                  <a:pt x="3150" y="3611"/>
                  <a:pt x="3118" y="3579"/>
                  <a:pt x="3102" y="3563"/>
                </a:cubicBezTo>
                <a:cubicBezTo>
                  <a:pt x="3086" y="3531"/>
                  <a:pt x="3086" y="3515"/>
                  <a:pt x="3054" y="3499"/>
                </a:cubicBezTo>
                <a:cubicBezTo>
                  <a:pt x="3054" y="3452"/>
                  <a:pt x="3118" y="3404"/>
                  <a:pt x="3182" y="3356"/>
                </a:cubicBezTo>
                <a:cubicBezTo>
                  <a:pt x="3229" y="3292"/>
                  <a:pt x="3293" y="3245"/>
                  <a:pt x="3325" y="3181"/>
                </a:cubicBezTo>
                <a:cubicBezTo>
                  <a:pt x="3357" y="3118"/>
                  <a:pt x="3341" y="3022"/>
                  <a:pt x="3341" y="2943"/>
                </a:cubicBezTo>
                <a:cubicBezTo>
                  <a:pt x="3341" y="2879"/>
                  <a:pt x="3325" y="2800"/>
                  <a:pt x="3357" y="2783"/>
                </a:cubicBezTo>
                <a:cubicBezTo>
                  <a:pt x="3388" y="2752"/>
                  <a:pt x="3468" y="2752"/>
                  <a:pt x="3532" y="2752"/>
                </a:cubicBezTo>
                <a:cubicBezTo>
                  <a:pt x="3611" y="2768"/>
                  <a:pt x="3691" y="2768"/>
                  <a:pt x="3754" y="2736"/>
                </a:cubicBezTo>
                <a:cubicBezTo>
                  <a:pt x="3834" y="2704"/>
                  <a:pt x="3881" y="2656"/>
                  <a:pt x="3929" y="2593"/>
                </a:cubicBezTo>
                <a:cubicBezTo>
                  <a:pt x="3977" y="2545"/>
                  <a:pt x="4024" y="2482"/>
                  <a:pt x="4072" y="2482"/>
                </a:cubicBezTo>
                <a:cubicBezTo>
                  <a:pt x="4120" y="2482"/>
                  <a:pt x="4168" y="2545"/>
                  <a:pt x="4215" y="2593"/>
                </a:cubicBezTo>
                <a:cubicBezTo>
                  <a:pt x="4263" y="2656"/>
                  <a:pt x="4311" y="2704"/>
                  <a:pt x="4390" y="2736"/>
                </a:cubicBezTo>
                <a:cubicBezTo>
                  <a:pt x="4454" y="2768"/>
                  <a:pt x="4533" y="2768"/>
                  <a:pt x="4613" y="2752"/>
                </a:cubicBezTo>
                <a:lnTo>
                  <a:pt x="4629" y="2752"/>
                </a:lnTo>
                <a:cubicBezTo>
                  <a:pt x="4645" y="2768"/>
                  <a:pt x="4661" y="2783"/>
                  <a:pt x="4677" y="2783"/>
                </a:cubicBezTo>
                <a:cubicBezTo>
                  <a:pt x="4709" y="2783"/>
                  <a:pt x="4724" y="2768"/>
                  <a:pt x="4741" y="2752"/>
                </a:cubicBezTo>
                <a:cubicBezTo>
                  <a:pt x="4756" y="2768"/>
                  <a:pt x="4772" y="2768"/>
                  <a:pt x="4788" y="2783"/>
                </a:cubicBezTo>
                <a:cubicBezTo>
                  <a:pt x="4820" y="2800"/>
                  <a:pt x="4804" y="2879"/>
                  <a:pt x="4804" y="2943"/>
                </a:cubicBezTo>
                <a:cubicBezTo>
                  <a:pt x="4804" y="3022"/>
                  <a:pt x="4788" y="3118"/>
                  <a:pt x="4820" y="3181"/>
                </a:cubicBezTo>
                <a:cubicBezTo>
                  <a:pt x="4852" y="3245"/>
                  <a:pt x="4915" y="3292"/>
                  <a:pt x="4963" y="3356"/>
                </a:cubicBezTo>
                <a:cubicBezTo>
                  <a:pt x="5027" y="3404"/>
                  <a:pt x="5090" y="3452"/>
                  <a:pt x="5090" y="3499"/>
                </a:cubicBezTo>
                <a:cubicBezTo>
                  <a:pt x="5090" y="3531"/>
                  <a:pt x="5027" y="3579"/>
                  <a:pt x="4963" y="362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6" name="Freeform: Shape 16">
            <a:extLst>
              <a:ext uri="{FF2B5EF4-FFF2-40B4-BE49-F238E27FC236}">
                <a16:creationId xmlns:a16="http://schemas.microsoft.com/office/drawing/2014/main" id="{0F2486C7-22F9-6A47-A74A-CE614B7AA0DB}"/>
              </a:ext>
            </a:extLst>
          </p:cNvPr>
          <p:cNvSpPr/>
          <p:nvPr/>
        </p:nvSpPr>
        <p:spPr>
          <a:xfrm>
            <a:off x="17453975" y="3253798"/>
            <a:ext cx="1826280" cy="1648800"/>
          </a:xfrm>
          <a:custGeom>
            <a:avLst/>
            <a:gdLst/>
            <a:ahLst/>
            <a:cxnLst>
              <a:cxn ang="3cd4">
                <a:pos x="hc" y="t"/>
              </a:cxn>
              <a:cxn ang="cd2">
                <a:pos x="l" y="vc"/>
              </a:cxn>
              <a:cxn ang="cd4">
                <a:pos x="hc" y="b"/>
              </a:cxn>
              <a:cxn ang="0">
                <a:pos x="r" y="vc"/>
              </a:cxn>
            </a:cxnLst>
            <a:rect l="l" t="t" r="r" b="b"/>
            <a:pathLst>
              <a:path w="5074" h="4581">
                <a:moveTo>
                  <a:pt x="4676" y="2433"/>
                </a:moveTo>
                <a:cubicBezTo>
                  <a:pt x="4724" y="2433"/>
                  <a:pt x="4756" y="2402"/>
                  <a:pt x="4756" y="2354"/>
                </a:cubicBezTo>
                <a:lnTo>
                  <a:pt x="4756" y="525"/>
                </a:lnTo>
                <a:cubicBezTo>
                  <a:pt x="4756" y="255"/>
                  <a:pt x="4517" y="0"/>
                  <a:pt x="4263" y="0"/>
                </a:cubicBezTo>
                <a:lnTo>
                  <a:pt x="493" y="0"/>
                </a:lnTo>
                <a:cubicBezTo>
                  <a:pt x="350" y="0"/>
                  <a:pt x="206" y="79"/>
                  <a:pt x="127" y="191"/>
                </a:cubicBezTo>
                <a:cubicBezTo>
                  <a:pt x="111" y="191"/>
                  <a:pt x="116" y="202"/>
                  <a:pt x="111" y="207"/>
                </a:cubicBezTo>
                <a:cubicBezTo>
                  <a:pt x="31" y="302"/>
                  <a:pt x="0" y="414"/>
                  <a:pt x="0" y="525"/>
                </a:cubicBezTo>
                <a:lnTo>
                  <a:pt x="0" y="3102"/>
                </a:lnTo>
                <a:cubicBezTo>
                  <a:pt x="0" y="3356"/>
                  <a:pt x="222" y="3659"/>
                  <a:pt x="493" y="3659"/>
                </a:cubicBezTo>
                <a:lnTo>
                  <a:pt x="2720" y="3659"/>
                </a:lnTo>
                <a:cubicBezTo>
                  <a:pt x="2767" y="3659"/>
                  <a:pt x="2799" y="3627"/>
                  <a:pt x="2799" y="3579"/>
                </a:cubicBezTo>
                <a:cubicBezTo>
                  <a:pt x="2799" y="3531"/>
                  <a:pt x="2767" y="3499"/>
                  <a:pt x="2720" y="3499"/>
                </a:cubicBezTo>
                <a:lnTo>
                  <a:pt x="493" y="3499"/>
                </a:lnTo>
                <a:cubicBezTo>
                  <a:pt x="318" y="3499"/>
                  <a:pt x="159" y="3277"/>
                  <a:pt x="159" y="3102"/>
                </a:cubicBezTo>
                <a:lnTo>
                  <a:pt x="159" y="525"/>
                </a:lnTo>
                <a:cubicBezTo>
                  <a:pt x="159" y="477"/>
                  <a:pt x="159" y="430"/>
                  <a:pt x="191" y="382"/>
                </a:cubicBezTo>
                <a:lnTo>
                  <a:pt x="1654" y="1941"/>
                </a:lnTo>
                <a:lnTo>
                  <a:pt x="636" y="2879"/>
                </a:lnTo>
                <a:cubicBezTo>
                  <a:pt x="604" y="2911"/>
                  <a:pt x="604" y="2958"/>
                  <a:pt x="620" y="3006"/>
                </a:cubicBezTo>
                <a:cubicBezTo>
                  <a:pt x="636" y="3022"/>
                  <a:pt x="668" y="3022"/>
                  <a:pt x="684" y="3022"/>
                </a:cubicBezTo>
                <a:cubicBezTo>
                  <a:pt x="700" y="3022"/>
                  <a:pt x="731" y="3022"/>
                  <a:pt x="748" y="3006"/>
                </a:cubicBezTo>
                <a:lnTo>
                  <a:pt x="1766" y="2068"/>
                </a:lnTo>
                <a:lnTo>
                  <a:pt x="1861" y="2163"/>
                </a:lnTo>
                <a:cubicBezTo>
                  <a:pt x="2004" y="2306"/>
                  <a:pt x="2179" y="2386"/>
                  <a:pt x="2370" y="2386"/>
                </a:cubicBezTo>
                <a:cubicBezTo>
                  <a:pt x="2576" y="2386"/>
                  <a:pt x="2751" y="2306"/>
                  <a:pt x="2894" y="2163"/>
                </a:cubicBezTo>
                <a:lnTo>
                  <a:pt x="2974" y="2068"/>
                </a:lnTo>
                <a:lnTo>
                  <a:pt x="3340" y="2386"/>
                </a:lnTo>
                <a:cubicBezTo>
                  <a:pt x="3356" y="2402"/>
                  <a:pt x="3372" y="2418"/>
                  <a:pt x="3403" y="2418"/>
                </a:cubicBezTo>
                <a:cubicBezTo>
                  <a:pt x="3420" y="2418"/>
                  <a:pt x="3435" y="2402"/>
                  <a:pt x="3451" y="2386"/>
                </a:cubicBezTo>
                <a:cubicBezTo>
                  <a:pt x="3483" y="2354"/>
                  <a:pt x="3483" y="2306"/>
                  <a:pt x="3451" y="2275"/>
                </a:cubicBezTo>
                <a:lnTo>
                  <a:pt x="3085" y="1941"/>
                </a:lnTo>
                <a:lnTo>
                  <a:pt x="4565" y="382"/>
                </a:lnTo>
                <a:cubicBezTo>
                  <a:pt x="4581" y="414"/>
                  <a:pt x="4596" y="477"/>
                  <a:pt x="4596" y="525"/>
                </a:cubicBezTo>
                <a:lnTo>
                  <a:pt x="4596" y="2354"/>
                </a:lnTo>
                <a:cubicBezTo>
                  <a:pt x="4596" y="2402"/>
                  <a:pt x="4629" y="2433"/>
                  <a:pt x="4676" y="2433"/>
                </a:cubicBezTo>
                <a:close/>
                <a:moveTo>
                  <a:pt x="2767" y="2052"/>
                </a:moveTo>
                <a:cubicBezTo>
                  <a:pt x="2672" y="2163"/>
                  <a:pt x="2529" y="2227"/>
                  <a:pt x="2370" y="2227"/>
                </a:cubicBezTo>
                <a:cubicBezTo>
                  <a:pt x="2227" y="2227"/>
                  <a:pt x="2084" y="2163"/>
                  <a:pt x="1972" y="2052"/>
                </a:cubicBezTo>
                <a:lnTo>
                  <a:pt x="286" y="255"/>
                </a:lnTo>
                <a:cubicBezTo>
                  <a:pt x="350" y="191"/>
                  <a:pt x="413" y="159"/>
                  <a:pt x="493" y="159"/>
                </a:cubicBezTo>
                <a:lnTo>
                  <a:pt x="4263" y="159"/>
                </a:lnTo>
                <a:cubicBezTo>
                  <a:pt x="4342" y="159"/>
                  <a:pt x="4406" y="191"/>
                  <a:pt x="4469" y="255"/>
                </a:cubicBezTo>
                <a:close/>
                <a:moveTo>
                  <a:pt x="5074" y="4263"/>
                </a:moveTo>
                <a:lnTo>
                  <a:pt x="5074" y="3547"/>
                </a:lnTo>
                <a:cubicBezTo>
                  <a:pt x="5074" y="3372"/>
                  <a:pt x="4947" y="3245"/>
                  <a:pt x="4787" y="3229"/>
                </a:cubicBezTo>
                <a:lnTo>
                  <a:pt x="4787" y="3165"/>
                </a:lnTo>
                <a:cubicBezTo>
                  <a:pt x="4787" y="2736"/>
                  <a:pt x="4453" y="2386"/>
                  <a:pt x="4056" y="2386"/>
                </a:cubicBezTo>
                <a:cubicBezTo>
                  <a:pt x="3642" y="2386"/>
                  <a:pt x="3324" y="2736"/>
                  <a:pt x="3324" y="3165"/>
                </a:cubicBezTo>
                <a:lnTo>
                  <a:pt x="3324" y="3229"/>
                </a:lnTo>
                <a:cubicBezTo>
                  <a:pt x="3149" y="3229"/>
                  <a:pt x="3006" y="3372"/>
                  <a:pt x="3006" y="3547"/>
                </a:cubicBezTo>
                <a:lnTo>
                  <a:pt x="3006" y="4263"/>
                </a:lnTo>
                <a:cubicBezTo>
                  <a:pt x="3006" y="4438"/>
                  <a:pt x="3149" y="4581"/>
                  <a:pt x="3340" y="4581"/>
                </a:cubicBezTo>
                <a:lnTo>
                  <a:pt x="4756" y="4581"/>
                </a:lnTo>
                <a:cubicBezTo>
                  <a:pt x="4930" y="4581"/>
                  <a:pt x="5074" y="4438"/>
                  <a:pt x="5074" y="4263"/>
                </a:cubicBezTo>
                <a:close/>
                <a:moveTo>
                  <a:pt x="4056" y="2545"/>
                </a:moveTo>
                <a:cubicBezTo>
                  <a:pt x="4374" y="2545"/>
                  <a:pt x="4629" y="2832"/>
                  <a:pt x="4629" y="3165"/>
                </a:cubicBezTo>
                <a:lnTo>
                  <a:pt x="4629" y="3229"/>
                </a:lnTo>
                <a:lnTo>
                  <a:pt x="3483" y="3229"/>
                </a:lnTo>
                <a:lnTo>
                  <a:pt x="3483" y="3165"/>
                </a:lnTo>
                <a:cubicBezTo>
                  <a:pt x="3483" y="2832"/>
                  <a:pt x="3738" y="2545"/>
                  <a:pt x="4056" y="2545"/>
                </a:cubicBezTo>
                <a:close/>
                <a:moveTo>
                  <a:pt x="4915" y="4263"/>
                </a:moveTo>
                <a:cubicBezTo>
                  <a:pt x="4915" y="4358"/>
                  <a:pt x="4851" y="4422"/>
                  <a:pt x="4756" y="4422"/>
                </a:cubicBezTo>
                <a:lnTo>
                  <a:pt x="3340" y="4422"/>
                </a:lnTo>
                <a:cubicBezTo>
                  <a:pt x="3245" y="4422"/>
                  <a:pt x="3165" y="4358"/>
                  <a:pt x="3165" y="4263"/>
                </a:cubicBezTo>
                <a:lnTo>
                  <a:pt x="3165" y="3547"/>
                </a:lnTo>
                <a:cubicBezTo>
                  <a:pt x="3165" y="3451"/>
                  <a:pt x="3245" y="3388"/>
                  <a:pt x="3340" y="3388"/>
                </a:cubicBezTo>
                <a:lnTo>
                  <a:pt x="4756" y="3388"/>
                </a:lnTo>
                <a:cubicBezTo>
                  <a:pt x="4851" y="3388"/>
                  <a:pt x="4915" y="3451"/>
                  <a:pt x="4915" y="354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7" name="Freeform: Shape 17">
            <a:extLst>
              <a:ext uri="{FF2B5EF4-FFF2-40B4-BE49-F238E27FC236}">
                <a16:creationId xmlns:a16="http://schemas.microsoft.com/office/drawing/2014/main" id="{1B41F4BB-1EAF-1B4B-9B72-D56A18CC69DC}"/>
              </a:ext>
            </a:extLst>
          </p:cNvPr>
          <p:cNvSpPr/>
          <p:nvPr/>
        </p:nvSpPr>
        <p:spPr>
          <a:xfrm>
            <a:off x="9984109" y="3242278"/>
            <a:ext cx="1811520" cy="1603080"/>
          </a:xfrm>
          <a:custGeom>
            <a:avLst/>
            <a:gdLst/>
            <a:ahLst/>
            <a:cxnLst>
              <a:cxn ang="3cd4">
                <a:pos x="hc" y="t"/>
              </a:cxn>
              <a:cxn ang="cd2">
                <a:pos x="l" y="vc"/>
              </a:cxn>
              <a:cxn ang="cd4">
                <a:pos x="hc" y="b"/>
              </a:cxn>
              <a:cxn ang="0">
                <a:pos x="r" y="vc"/>
              </a:cxn>
            </a:cxnLst>
            <a:rect l="l" t="t" r="r" b="b"/>
            <a:pathLst>
              <a:path w="5033" h="4454">
                <a:moveTo>
                  <a:pt x="2863" y="3659"/>
                </a:moveTo>
                <a:cubicBezTo>
                  <a:pt x="2894" y="3659"/>
                  <a:pt x="2942" y="3611"/>
                  <a:pt x="2942" y="3579"/>
                </a:cubicBezTo>
                <a:cubicBezTo>
                  <a:pt x="2942" y="3531"/>
                  <a:pt x="2894" y="3499"/>
                  <a:pt x="2863" y="3499"/>
                </a:cubicBezTo>
                <a:lnTo>
                  <a:pt x="493" y="3499"/>
                </a:lnTo>
                <a:cubicBezTo>
                  <a:pt x="318" y="3499"/>
                  <a:pt x="159" y="3277"/>
                  <a:pt x="159" y="3102"/>
                </a:cubicBezTo>
                <a:lnTo>
                  <a:pt x="159" y="525"/>
                </a:lnTo>
                <a:cubicBezTo>
                  <a:pt x="159" y="462"/>
                  <a:pt x="175" y="414"/>
                  <a:pt x="191" y="382"/>
                </a:cubicBezTo>
                <a:lnTo>
                  <a:pt x="1670" y="1941"/>
                </a:lnTo>
                <a:lnTo>
                  <a:pt x="636" y="2879"/>
                </a:lnTo>
                <a:cubicBezTo>
                  <a:pt x="604" y="2911"/>
                  <a:pt x="604" y="2959"/>
                  <a:pt x="636" y="2990"/>
                </a:cubicBezTo>
                <a:cubicBezTo>
                  <a:pt x="652" y="3007"/>
                  <a:pt x="668" y="3022"/>
                  <a:pt x="684" y="3022"/>
                </a:cubicBezTo>
                <a:cubicBezTo>
                  <a:pt x="715" y="3022"/>
                  <a:pt x="731" y="3007"/>
                  <a:pt x="747" y="3007"/>
                </a:cubicBezTo>
                <a:lnTo>
                  <a:pt x="1765" y="2068"/>
                </a:lnTo>
                <a:lnTo>
                  <a:pt x="1861" y="2164"/>
                </a:lnTo>
                <a:cubicBezTo>
                  <a:pt x="2004" y="2307"/>
                  <a:pt x="2179" y="2386"/>
                  <a:pt x="2385" y="2386"/>
                </a:cubicBezTo>
                <a:cubicBezTo>
                  <a:pt x="2576" y="2386"/>
                  <a:pt x="2751" y="2307"/>
                  <a:pt x="2894" y="2164"/>
                </a:cubicBezTo>
                <a:lnTo>
                  <a:pt x="2990" y="2068"/>
                </a:lnTo>
                <a:lnTo>
                  <a:pt x="3403" y="2450"/>
                </a:lnTo>
                <a:cubicBezTo>
                  <a:pt x="3420" y="2465"/>
                  <a:pt x="3435" y="2465"/>
                  <a:pt x="3467" y="2465"/>
                </a:cubicBezTo>
                <a:cubicBezTo>
                  <a:pt x="3483" y="2465"/>
                  <a:pt x="3499" y="2450"/>
                  <a:pt x="3515" y="2434"/>
                </a:cubicBezTo>
                <a:cubicBezTo>
                  <a:pt x="3547" y="2402"/>
                  <a:pt x="3547" y="2355"/>
                  <a:pt x="3515" y="2322"/>
                </a:cubicBezTo>
                <a:lnTo>
                  <a:pt x="3102" y="1941"/>
                </a:lnTo>
                <a:lnTo>
                  <a:pt x="4565" y="366"/>
                </a:lnTo>
                <a:cubicBezTo>
                  <a:pt x="4596" y="414"/>
                  <a:pt x="4596" y="462"/>
                  <a:pt x="4596" y="525"/>
                </a:cubicBezTo>
                <a:lnTo>
                  <a:pt x="4596" y="2450"/>
                </a:lnTo>
                <a:cubicBezTo>
                  <a:pt x="4596" y="2498"/>
                  <a:pt x="4644" y="2529"/>
                  <a:pt x="4676" y="2529"/>
                </a:cubicBezTo>
                <a:cubicBezTo>
                  <a:pt x="4724" y="2529"/>
                  <a:pt x="4756" y="2498"/>
                  <a:pt x="4756" y="2450"/>
                </a:cubicBezTo>
                <a:lnTo>
                  <a:pt x="4756" y="525"/>
                </a:lnTo>
                <a:cubicBezTo>
                  <a:pt x="4756" y="398"/>
                  <a:pt x="4724" y="287"/>
                  <a:pt x="4644" y="207"/>
                </a:cubicBezTo>
                <a:cubicBezTo>
                  <a:pt x="4644" y="191"/>
                  <a:pt x="4644" y="191"/>
                  <a:pt x="4628" y="191"/>
                </a:cubicBezTo>
                <a:cubicBezTo>
                  <a:pt x="4533" y="80"/>
                  <a:pt x="4406" y="0"/>
                  <a:pt x="4263" y="0"/>
                </a:cubicBezTo>
                <a:lnTo>
                  <a:pt x="493" y="0"/>
                </a:lnTo>
                <a:cubicBezTo>
                  <a:pt x="238" y="0"/>
                  <a:pt x="0" y="255"/>
                  <a:pt x="0" y="525"/>
                </a:cubicBezTo>
                <a:lnTo>
                  <a:pt x="0" y="3102"/>
                </a:lnTo>
                <a:cubicBezTo>
                  <a:pt x="0" y="3356"/>
                  <a:pt x="222" y="3659"/>
                  <a:pt x="493" y="3659"/>
                </a:cubicBezTo>
                <a:close/>
                <a:moveTo>
                  <a:pt x="4263" y="159"/>
                </a:moveTo>
                <a:cubicBezTo>
                  <a:pt x="4342" y="159"/>
                  <a:pt x="4406" y="191"/>
                  <a:pt x="4469" y="239"/>
                </a:cubicBezTo>
                <a:lnTo>
                  <a:pt x="2783" y="2052"/>
                </a:lnTo>
                <a:cubicBezTo>
                  <a:pt x="2560" y="2275"/>
                  <a:pt x="2195" y="2291"/>
                  <a:pt x="1988" y="2052"/>
                </a:cubicBezTo>
                <a:lnTo>
                  <a:pt x="286" y="239"/>
                </a:lnTo>
                <a:cubicBezTo>
                  <a:pt x="349" y="191"/>
                  <a:pt x="413" y="159"/>
                  <a:pt x="493" y="159"/>
                </a:cubicBezTo>
                <a:close/>
                <a:moveTo>
                  <a:pt x="5011" y="3563"/>
                </a:moveTo>
                <a:cubicBezTo>
                  <a:pt x="4995" y="3531"/>
                  <a:pt x="4963" y="3516"/>
                  <a:pt x="4931" y="3499"/>
                </a:cubicBezTo>
                <a:lnTo>
                  <a:pt x="4836" y="3483"/>
                </a:lnTo>
                <a:cubicBezTo>
                  <a:pt x="4836" y="3420"/>
                  <a:pt x="4836" y="3372"/>
                  <a:pt x="4820" y="3325"/>
                </a:cubicBezTo>
                <a:lnTo>
                  <a:pt x="4900" y="3277"/>
                </a:lnTo>
                <a:cubicBezTo>
                  <a:pt x="4916" y="3261"/>
                  <a:pt x="4931" y="3261"/>
                  <a:pt x="4931" y="3245"/>
                </a:cubicBezTo>
                <a:cubicBezTo>
                  <a:pt x="4979" y="3213"/>
                  <a:pt x="4979" y="3134"/>
                  <a:pt x="4948" y="3086"/>
                </a:cubicBezTo>
                <a:lnTo>
                  <a:pt x="4868" y="2943"/>
                </a:lnTo>
                <a:cubicBezTo>
                  <a:pt x="4852" y="2911"/>
                  <a:pt x="4820" y="2895"/>
                  <a:pt x="4788" y="2879"/>
                </a:cubicBezTo>
                <a:cubicBezTo>
                  <a:pt x="4757" y="2864"/>
                  <a:pt x="4725" y="2879"/>
                  <a:pt x="4693" y="2895"/>
                </a:cubicBezTo>
                <a:lnTo>
                  <a:pt x="4613" y="2943"/>
                </a:lnTo>
                <a:cubicBezTo>
                  <a:pt x="4566" y="2895"/>
                  <a:pt x="4518" y="2864"/>
                  <a:pt x="4470" y="2831"/>
                </a:cubicBezTo>
                <a:lnTo>
                  <a:pt x="4502" y="2752"/>
                </a:lnTo>
                <a:cubicBezTo>
                  <a:pt x="4518" y="2673"/>
                  <a:pt x="4486" y="2609"/>
                  <a:pt x="4407" y="2577"/>
                </a:cubicBezTo>
                <a:lnTo>
                  <a:pt x="4248" y="2545"/>
                </a:lnTo>
                <a:cubicBezTo>
                  <a:pt x="4200" y="2529"/>
                  <a:pt x="4152" y="2545"/>
                  <a:pt x="4121" y="2577"/>
                </a:cubicBezTo>
                <a:cubicBezTo>
                  <a:pt x="4104" y="2593"/>
                  <a:pt x="4088" y="2609"/>
                  <a:pt x="4088" y="2641"/>
                </a:cubicBezTo>
                <a:lnTo>
                  <a:pt x="4057" y="2720"/>
                </a:lnTo>
                <a:cubicBezTo>
                  <a:pt x="4009" y="2720"/>
                  <a:pt x="3945" y="2736"/>
                  <a:pt x="3898" y="2752"/>
                </a:cubicBezTo>
                <a:lnTo>
                  <a:pt x="3850" y="2656"/>
                </a:lnTo>
                <a:cubicBezTo>
                  <a:pt x="3834" y="2625"/>
                  <a:pt x="3802" y="2609"/>
                  <a:pt x="3770" y="2593"/>
                </a:cubicBezTo>
                <a:cubicBezTo>
                  <a:pt x="3739" y="2593"/>
                  <a:pt x="3691" y="2593"/>
                  <a:pt x="3659" y="2609"/>
                </a:cubicBezTo>
                <a:lnTo>
                  <a:pt x="3516" y="2688"/>
                </a:lnTo>
                <a:cubicBezTo>
                  <a:pt x="3516" y="2704"/>
                  <a:pt x="3500" y="2704"/>
                  <a:pt x="3484" y="2720"/>
                </a:cubicBezTo>
                <a:cubicBezTo>
                  <a:pt x="3452" y="2752"/>
                  <a:pt x="3436" y="2831"/>
                  <a:pt x="3468" y="2879"/>
                </a:cubicBezTo>
                <a:lnTo>
                  <a:pt x="3516" y="2959"/>
                </a:lnTo>
                <a:cubicBezTo>
                  <a:pt x="3484" y="3007"/>
                  <a:pt x="3452" y="3038"/>
                  <a:pt x="3421" y="3086"/>
                </a:cubicBezTo>
                <a:lnTo>
                  <a:pt x="3325" y="3070"/>
                </a:lnTo>
                <a:cubicBezTo>
                  <a:pt x="3277" y="3054"/>
                  <a:pt x="3230" y="3070"/>
                  <a:pt x="3198" y="3102"/>
                </a:cubicBezTo>
                <a:cubicBezTo>
                  <a:pt x="3182" y="3118"/>
                  <a:pt x="3166" y="3134"/>
                  <a:pt x="3166" y="3165"/>
                </a:cubicBezTo>
                <a:lnTo>
                  <a:pt x="3118" y="3325"/>
                </a:lnTo>
                <a:cubicBezTo>
                  <a:pt x="3103" y="3388"/>
                  <a:pt x="3134" y="3468"/>
                  <a:pt x="3213" y="3483"/>
                </a:cubicBezTo>
                <a:lnTo>
                  <a:pt x="3309" y="3516"/>
                </a:lnTo>
                <a:cubicBezTo>
                  <a:pt x="3309" y="3563"/>
                  <a:pt x="3309" y="3611"/>
                  <a:pt x="3325" y="3674"/>
                </a:cubicBezTo>
                <a:lnTo>
                  <a:pt x="3246" y="3722"/>
                </a:lnTo>
                <a:cubicBezTo>
                  <a:pt x="3230" y="3722"/>
                  <a:pt x="3224" y="3733"/>
                  <a:pt x="3213" y="3738"/>
                </a:cubicBezTo>
                <a:cubicBezTo>
                  <a:pt x="3166" y="3786"/>
                  <a:pt x="3166" y="3849"/>
                  <a:pt x="3198" y="3897"/>
                </a:cubicBezTo>
                <a:lnTo>
                  <a:pt x="3277" y="4040"/>
                </a:lnTo>
                <a:cubicBezTo>
                  <a:pt x="3293" y="4072"/>
                  <a:pt x="3325" y="4104"/>
                  <a:pt x="3357" y="4104"/>
                </a:cubicBezTo>
                <a:cubicBezTo>
                  <a:pt x="3389" y="4120"/>
                  <a:pt x="3421" y="4120"/>
                  <a:pt x="3452" y="4104"/>
                </a:cubicBezTo>
                <a:lnTo>
                  <a:pt x="3532" y="4056"/>
                </a:lnTo>
                <a:cubicBezTo>
                  <a:pt x="3579" y="4088"/>
                  <a:pt x="3627" y="4120"/>
                  <a:pt x="3659" y="4152"/>
                </a:cubicBezTo>
                <a:lnTo>
                  <a:pt x="3643" y="4247"/>
                </a:lnTo>
                <a:cubicBezTo>
                  <a:pt x="3627" y="4311"/>
                  <a:pt x="3659" y="4390"/>
                  <a:pt x="3739" y="4406"/>
                </a:cubicBezTo>
                <a:lnTo>
                  <a:pt x="3898" y="4454"/>
                </a:lnTo>
                <a:lnTo>
                  <a:pt x="3930" y="4454"/>
                </a:lnTo>
                <a:cubicBezTo>
                  <a:pt x="3961" y="4454"/>
                  <a:pt x="4009" y="4438"/>
                  <a:pt x="4025" y="4422"/>
                </a:cubicBezTo>
                <a:cubicBezTo>
                  <a:pt x="4041" y="4406"/>
                  <a:pt x="4057" y="4374"/>
                  <a:pt x="4057" y="4358"/>
                </a:cubicBezTo>
                <a:lnTo>
                  <a:pt x="4088" y="4263"/>
                </a:lnTo>
                <a:cubicBezTo>
                  <a:pt x="4136" y="4263"/>
                  <a:pt x="4200" y="4263"/>
                  <a:pt x="4248" y="4247"/>
                </a:cubicBezTo>
                <a:lnTo>
                  <a:pt x="4295" y="4327"/>
                </a:lnTo>
                <a:cubicBezTo>
                  <a:pt x="4311" y="4358"/>
                  <a:pt x="4343" y="4374"/>
                  <a:pt x="4375" y="4390"/>
                </a:cubicBezTo>
                <a:cubicBezTo>
                  <a:pt x="4407" y="4406"/>
                  <a:pt x="4454" y="4390"/>
                  <a:pt x="4486" y="4374"/>
                </a:cubicBezTo>
                <a:lnTo>
                  <a:pt x="4629" y="4295"/>
                </a:lnTo>
                <a:lnTo>
                  <a:pt x="4645" y="4279"/>
                </a:lnTo>
                <a:cubicBezTo>
                  <a:pt x="4693" y="4231"/>
                  <a:pt x="4709" y="4168"/>
                  <a:pt x="4677" y="4104"/>
                </a:cubicBezTo>
                <a:lnTo>
                  <a:pt x="4629" y="4025"/>
                </a:lnTo>
                <a:cubicBezTo>
                  <a:pt x="4661" y="3992"/>
                  <a:pt x="4693" y="3945"/>
                  <a:pt x="4725" y="3897"/>
                </a:cubicBezTo>
                <a:lnTo>
                  <a:pt x="4820" y="3929"/>
                </a:lnTo>
                <a:cubicBezTo>
                  <a:pt x="4868" y="3945"/>
                  <a:pt x="4916" y="3929"/>
                  <a:pt x="4948" y="3897"/>
                </a:cubicBezTo>
                <a:cubicBezTo>
                  <a:pt x="4963" y="3881"/>
                  <a:pt x="4979" y="3849"/>
                  <a:pt x="4979" y="3834"/>
                </a:cubicBezTo>
                <a:lnTo>
                  <a:pt x="5027" y="3674"/>
                </a:lnTo>
                <a:cubicBezTo>
                  <a:pt x="5043" y="3643"/>
                  <a:pt x="5027" y="3595"/>
                  <a:pt x="5011" y="3563"/>
                </a:cubicBezTo>
                <a:close/>
                <a:moveTo>
                  <a:pt x="4836" y="3770"/>
                </a:moveTo>
                <a:lnTo>
                  <a:pt x="4709" y="3738"/>
                </a:lnTo>
                <a:cubicBezTo>
                  <a:pt x="4677" y="3722"/>
                  <a:pt x="4629" y="3738"/>
                  <a:pt x="4613" y="3770"/>
                </a:cubicBezTo>
                <a:cubicBezTo>
                  <a:pt x="4582" y="3834"/>
                  <a:pt x="4550" y="3881"/>
                  <a:pt x="4502" y="3929"/>
                </a:cubicBezTo>
                <a:lnTo>
                  <a:pt x="4470" y="3961"/>
                </a:lnTo>
                <a:cubicBezTo>
                  <a:pt x="4454" y="3977"/>
                  <a:pt x="4439" y="4025"/>
                  <a:pt x="4454" y="4056"/>
                </a:cubicBezTo>
                <a:lnTo>
                  <a:pt x="4518" y="4168"/>
                </a:lnTo>
                <a:lnTo>
                  <a:pt x="4422" y="4231"/>
                </a:lnTo>
                <a:lnTo>
                  <a:pt x="4359" y="4120"/>
                </a:lnTo>
                <a:cubicBezTo>
                  <a:pt x="4343" y="4072"/>
                  <a:pt x="4295" y="4072"/>
                  <a:pt x="4264" y="4072"/>
                </a:cubicBezTo>
                <a:cubicBezTo>
                  <a:pt x="4184" y="4104"/>
                  <a:pt x="4104" y="4104"/>
                  <a:pt x="4041" y="4104"/>
                </a:cubicBezTo>
                <a:cubicBezTo>
                  <a:pt x="3993" y="4104"/>
                  <a:pt x="3961" y="4120"/>
                  <a:pt x="3945" y="4168"/>
                </a:cubicBezTo>
                <a:lnTo>
                  <a:pt x="3913" y="4295"/>
                </a:lnTo>
                <a:lnTo>
                  <a:pt x="3802" y="4263"/>
                </a:lnTo>
                <a:lnTo>
                  <a:pt x="3834" y="4136"/>
                </a:lnTo>
                <a:cubicBezTo>
                  <a:pt x="3850" y="4104"/>
                  <a:pt x="3834" y="4056"/>
                  <a:pt x="3802" y="4040"/>
                </a:cubicBezTo>
                <a:cubicBezTo>
                  <a:pt x="3722" y="4008"/>
                  <a:pt x="3659" y="3961"/>
                  <a:pt x="3612" y="3897"/>
                </a:cubicBezTo>
                <a:cubicBezTo>
                  <a:pt x="3595" y="3865"/>
                  <a:pt x="3548" y="3865"/>
                  <a:pt x="3516" y="3881"/>
                </a:cubicBezTo>
                <a:lnTo>
                  <a:pt x="3404" y="3945"/>
                </a:lnTo>
                <a:lnTo>
                  <a:pt x="3341" y="3849"/>
                </a:lnTo>
                <a:lnTo>
                  <a:pt x="3452" y="3786"/>
                </a:lnTo>
                <a:cubicBezTo>
                  <a:pt x="3484" y="3754"/>
                  <a:pt x="3500" y="3722"/>
                  <a:pt x="3484" y="3691"/>
                </a:cubicBezTo>
                <a:cubicBezTo>
                  <a:pt x="3468" y="3611"/>
                  <a:pt x="3452" y="3531"/>
                  <a:pt x="3468" y="3452"/>
                </a:cubicBezTo>
                <a:cubicBezTo>
                  <a:pt x="3468" y="3420"/>
                  <a:pt x="3436" y="3388"/>
                  <a:pt x="3404" y="3372"/>
                </a:cubicBezTo>
                <a:lnTo>
                  <a:pt x="3277" y="3340"/>
                </a:lnTo>
                <a:lnTo>
                  <a:pt x="3309" y="3229"/>
                </a:lnTo>
                <a:lnTo>
                  <a:pt x="3436" y="3261"/>
                </a:lnTo>
                <a:cubicBezTo>
                  <a:pt x="3468" y="3261"/>
                  <a:pt x="3516" y="3245"/>
                  <a:pt x="3532" y="3213"/>
                </a:cubicBezTo>
                <a:cubicBezTo>
                  <a:pt x="3548" y="3165"/>
                  <a:pt x="3595" y="3102"/>
                  <a:pt x="3643" y="3070"/>
                </a:cubicBezTo>
                <a:cubicBezTo>
                  <a:pt x="3643" y="3054"/>
                  <a:pt x="3659" y="3038"/>
                  <a:pt x="3675" y="3038"/>
                </a:cubicBezTo>
                <a:cubicBezTo>
                  <a:pt x="3691" y="3007"/>
                  <a:pt x="3707" y="2974"/>
                  <a:pt x="3691" y="2943"/>
                </a:cubicBezTo>
                <a:lnTo>
                  <a:pt x="3612" y="2816"/>
                </a:lnTo>
                <a:lnTo>
                  <a:pt x="3722" y="2768"/>
                </a:lnTo>
                <a:lnTo>
                  <a:pt x="3786" y="2879"/>
                </a:lnTo>
                <a:cubicBezTo>
                  <a:pt x="3802" y="2911"/>
                  <a:pt x="3850" y="2927"/>
                  <a:pt x="3882" y="2911"/>
                </a:cubicBezTo>
                <a:cubicBezTo>
                  <a:pt x="3961" y="2895"/>
                  <a:pt x="4041" y="2879"/>
                  <a:pt x="4104" y="2879"/>
                </a:cubicBezTo>
                <a:cubicBezTo>
                  <a:pt x="4152" y="2879"/>
                  <a:pt x="4184" y="2864"/>
                  <a:pt x="4200" y="2831"/>
                </a:cubicBezTo>
                <a:lnTo>
                  <a:pt x="4231" y="2704"/>
                </a:lnTo>
                <a:lnTo>
                  <a:pt x="4343" y="2736"/>
                </a:lnTo>
                <a:lnTo>
                  <a:pt x="4311" y="2864"/>
                </a:lnTo>
                <a:cubicBezTo>
                  <a:pt x="4295" y="2895"/>
                  <a:pt x="4311" y="2927"/>
                  <a:pt x="4343" y="2943"/>
                </a:cubicBezTo>
                <a:cubicBezTo>
                  <a:pt x="4422" y="2990"/>
                  <a:pt x="4486" y="3038"/>
                  <a:pt x="4534" y="3086"/>
                </a:cubicBezTo>
                <a:cubicBezTo>
                  <a:pt x="4550" y="3118"/>
                  <a:pt x="4597" y="3118"/>
                  <a:pt x="4629" y="3102"/>
                </a:cubicBezTo>
                <a:lnTo>
                  <a:pt x="4740" y="3038"/>
                </a:lnTo>
                <a:lnTo>
                  <a:pt x="4804" y="3150"/>
                </a:lnTo>
                <a:lnTo>
                  <a:pt x="4693" y="3213"/>
                </a:lnTo>
                <a:cubicBezTo>
                  <a:pt x="4661" y="3229"/>
                  <a:pt x="4645" y="3261"/>
                  <a:pt x="4661" y="3309"/>
                </a:cubicBezTo>
                <a:cubicBezTo>
                  <a:pt x="4677" y="3372"/>
                  <a:pt x="4693" y="3452"/>
                  <a:pt x="4677" y="3531"/>
                </a:cubicBezTo>
                <a:cubicBezTo>
                  <a:pt x="4677" y="3579"/>
                  <a:pt x="4709" y="3611"/>
                  <a:pt x="4740" y="3611"/>
                </a:cubicBezTo>
                <a:lnTo>
                  <a:pt x="4868" y="365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8" name="Freeform: Shape 18">
            <a:extLst>
              <a:ext uri="{FF2B5EF4-FFF2-40B4-BE49-F238E27FC236}">
                <a16:creationId xmlns:a16="http://schemas.microsoft.com/office/drawing/2014/main" id="{F367E95A-D893-3D4F-8EF1-1E57D64BBD5D}"/>
              </a:ext>
            </a:extLst>
          </p:cNvPr>
          <p:cNvSpPr/>
          <p:nvPr/>
        </p:nvSpPr>
        <p:spPr>
          <a:xfrm>
            <a:off x="17453975" y="6590895"/>
            <a:ext cx="1654560" cy="1639800"/>
          </a:xfrm>
          <a:custGeom>
            <a:avLst/>
            <a:gdLst/>
            <a:ahLst/>
            <a:cxnLst>
              <a:cxn ang="3cd4">
                <a:pos x="hc" y="t"/>
              </a:cxn>
              <a:cxn ang="cd2">
                <a:pos x="l" y="vc"/>
              </a:cxn>
              <a:cxn ang="cd4">
                <a:pos x="hc" y="b"/>
              </a:cxn>
              <a:cxn ang="0">
                <a:pos x="r" y="vc"/>
              </a:cxn>
            </a:cxnLst>
            <a:rect l="l" t="t" r="r" b="b"/>
            <a:pathLst>
              <a:path w="4597" h="4556">
                <a:moveTo>
                  <a:pt x="4597" y="1455"/>
                </a:moveTo>
                <a:lnTo>
                  <a:pt x="4597" y="1439"/>
                </a:lnTo>
                <a:lnTo>
                  <a:pt x="4597" y="1423"/>
                </a:lnTo>
                <a:lnTo>
                  <a:pt x="4581" y="1423"/>
                </a:lnTo>
                <a:lnTo>
                  <a:pt x="4581" y="1407"/>
                </a:lnTo>
                <a:lnTo>
                  <a:pt x="4566" y="1391"/>
                </a:lnTo>
                <a:lnTo>
                  <a:pt x="3182" y="262"/>
                </a:lnTo>
                <a:cubicBezTo>
                  <a:pt x="2721" y="-87"/>
                  <a:pt x="1957" y="-87"/>
                  <a:pt x="1480" y="262"/>
                </a:cubicBezTo>
                <a:lnTo>
                  <a:pt x="80" y="1359"/>
                </a:lnTo>
                <a:lnTo>
                  <a:pt x="64" y="1375"/>
                </a:lnTo>
                <a:cubicBezTo>
                  <a:pt x="32" y="1391"/>
                  <a:pt x="0" y="1423"/>
                  <a:pt x="0" y="1455"/>
                </a:cubicBezTo>
                <a:lnTo>
                  <a:pt x="0" y="4047"/>
                </a:lnTo>
                <a:cubicBezTo>
                  <a:pt x="0" y="4302"/>
                  <a:pt x="255" y="4556"/>
                  <a:pt x="509" y="4556"/>
                </a:cubicBezTo>
                <a:lnTo>
                  <a:pt x="4120" y="4556"/>
                </a:lnTo>
                <a:cubicBezTo>
                  <a:pt x="4375" y="4556"/>
                  <a:pt x="4597" y="4302"/>
                  <a:pt x="4597" y="4047"/>
                </a:cubicBezTo>
                <a:lnTo>
                  <a:pt x="4597" y="1471"/>
                </a:lnTo>
                <a:close/>
                <a:moveTo>
                  <a:pt x="4120" y="4397"/>
                </a:moveTo>
                <a:lnTo>
                  <a:pt x="509" y="4397"/>
                </a:lnTo>
                <a:cubicBezTo>
                  <a:pt x="334" y="4397"/>
                  <a:pt x="159" y="4207"/>
                  <a:pt x="159" y="4047"/>
                </a:cubicBezTo>
                <a:lnTo>
                  <a:pt x="159" y="1502"/>
                </a:lnTo>
                <a:cubicBezTo>
                  <a:pt x="159" y="1487"/>
                  <a:pt x="170" y="1492"/>
                  <a:pt x="176" y="1487"/>
                </a:cubicBezTo>
                <a:lnTo>
                  <a:pt x="1575" y="389"/>
                </a:lnTo>
                <a:cubicBezTo>
                  <a:pt x="2004" y="71"/>
                  <a:pt x="2673" y="71"/>
                  <a:pt x="3086" y="389"/>
                </a:cubicBezTo>
                <a:lnTo>
                  <a:pt x="4438" y="1502"/>
                </a:lnTo>
                <a:lnTo>
                  <a:pt x="4438" y="4047"/>
                </a:lnTo>
                <a:cubicBezTo>
                  <a:pt x="4438" y="4222"/>
                  <a:pt x="4279" y="4397"/>
                  <a:pt x="4120" y="4397"/>
                </a:cubicBezTo>
                <a:close/>
                <a:moveTo>
                  <a:pt x="3977" y="1551"/>
                </a:moveTo>
                <a:lnTo>
                  <a:pt x="3691" y="1869"/>
                </a:lnTo>
                <a:lnTo>
                  <a:pt x="3818" y="1440"/>
                </a:lnTo>
                <a:cubicBezTo>
                  <a:pt x="3818" y="1424"/>
                  <a:pt x="3818" y="1408"/>
                  <a:pt x="3802" y="1376"/>
                </a:cubicBezTo>
                <a:cubicBezTo>
                  <a:pt x="3802" y="1360"/>
                  <a:pt x="3770" y="1345"/>
                  <a:pt x="3754" y="1345"/>
                </a:cubicBezTo>
                <a:lnTo>
                  <a:pt x="3213" y="1233"/>
                </a:lnTo>
                <a:lnTo>
                  <a:pt x="3213" y="851"/>
                </a:lnTo>
                <a:cubicBezTo>
                  <a:pt x="3213" y="820"/>
                  <a:pt x="3166" y="772"/>
                  <a:pt x="3134" y="772"/>
                </a:cubicBezTo>
                <a:lnTo>
                  <a:pt x="1464" y="772"/>
                </a:lnTo>
                <a:cubicBezTo>
                  <a:pt x="1432" y="772"/>
                  <a:pt x="1384" y="820"/>
                  <a:pt x="1384" y="851"/>
                </a:cubicBezTo>
                <a:lnTo>
                  <a:pt x="1384" y="1217"/>
                </a:lnTo>
                <a:lnTo>
                  <a:pt x="907" y="1345"/>
                </a:lnTo>
                <a:cubicBezTo>
                  <a:pt x="891" y="1360"/>
                  <a:pt x="875" y="1360"/>
                  <a:pt x="859" y="1392"/>
                </a:cubicBezTo>
                <a:cubicBezTo>
                  <a:pt x="859" y="1408"/>
                  <a:pt x="843" y="1424"/>
                  <a:pt x="859" y="1440"/>
                </a:cubicBezTo>
                <a:lnTo>
                  <a:pt x="1003" y="1997"/>
                </a:lnTo>
                <a:lnTo>
                  <a:pt x="605" y="1535"/>
                </a:lnTo>
                <a:cubicBezTo>
                  <a:pt x="573" y="1503"/>
                  <a:pt x="525" y="1503"/>
                  <a:pt x="494" y="1520"/>
                </a:cubicBezTo>
                <a:cubicBezTo>
                  <a:pt x="462" y="1551"/>
                  <a:pt x="462" y="1599"/>
                  <a:pt x="477" y="1631"/>
                </a:cubicBezTo>
                <a:lnTo>
                  <a:pt x="1098" y="2347"/>
                </a:lnTo>
                <a:cubicBezTo>
                  <a:pt x="1114" y="2363"/>
                  <a:pt x="1114" y="2363"/>
                  <a:pt x="1130" y="2378"/>
                </a:cubicBezTo>
                <a:lnTo>
                  <a:pt x="1686" y="3015"/>
                </a:lnTo>
                <a:lnTo>
                  <a:pt x="653" y="4033"/>
                </a:lnTo>
                <a:cubicBezTo>
                  <a:pt x="621" y="4065"/>
                  <a:pt x="621" y="4112"/>
                  <a:pt x="637" y="4144"/>
                </a:cubicBezTo>
                <a:cubicBezTo>
                  <a:pt x="653" y="4160"/>
                  <a:pt x="685" y="4160"/>
                  <a:pt x="700" y="4160"/>
                </a:cubicBezTo>
                <a:cubicBezTo>
                  <a:pt x="716" y="4160"/>
                  <a:pt x="748" y="4160"/>
                  <a:pt x="764" y="4144"/>
                </a:cubicBezTo>
                <a:lnTo>
                  <a:pt x="1798" y="3142"/>
                </a:lnTo>
                <a:lnTo>
                  <a:pt x="1861" y="3078"/>
                </a:lnTo>
                <a:lnTo>
                  <a:pt x="1877" y="3062"/>
                </a:lnTo>
                <a:lnTo>
                  <a:pt x="1941" y="2999"/>
                </a:lnTo>
                <a:cubicBezTo>
                  <a:pt x="2132" y="2776"/>
                  <a:pt x="2482" y="2776"/>
                  <a:pt x="2688" y="3015"/>
                </a:cubicBezTo>
                <a:lnTo>
                  <a:pt x="2752" y="3062"/>
                </a:lnTo>
                <a:lnTo>
                  <a:pt x="2752" y="3078"/>
                </a:lnTo>
                <a:lnTo>
                  <a:pt x="3882" y="4144"/>
                </a:lnTo>
                <a:cubicBezTo>
                  <a:pt x="3913" y="4176"/>
                  <a:pt x="3961" y="4176"/>
                  <a:pt x="3993" y="4144"/>
                </a:cubicBezTo>
                <a:cubicBezTo>
                  <a:pt x="4025" y="4112"/>
                  <a:pt x="4025" y="4065"/>
                  <a:pt x="3993" y="4033"/>
                </a:cubicBezTo>
                <a:lnTo>
                  <a:pt x="2911" y="2999"/>
                </a:lnTo>
                <a:lnTo>
                  <a:pt x="3579" y="2251"/>
                </a:lnTo>
                <a:lnTo>
                  <a:pt x="3595" y="2235"/>
                </a:lnTo>
                <a:lnTo>
                  <a:pt x="4088" y="1663"/>
                </a:lnTo>
                <a:cubicBezTo>
                  <a:pt x="4120" y="1631"/>
                  <a:pt x="4120" y="1583"/>
                  <a:pt x="4088" y="1551"/>
                </a:cubicBezTo>
                <a:cubicBezTo>
                  <a:pt x="4057" y="1520"/>
                  <a:pt x="4009" y="1520"/>
                  <a:pt x="3977" y="1551"/>
                </a:cubicBezTo>
                <a:close/>
                <a:moveTo>
                  <a:pt x="3643" y="1488"/>
                </a:moveTo>
                <a:lnTo>
                  <a:pt x="3452" y="2156"/>
                </a:lnTo>
                <a:lnTo>
                  <a:pt x="3213" y="2426"/>
                </a:lnTo>
                <a:lnTo>
                  <a:pt x="3213" y="1392"/>
                </a:lnTo>
                <a:close/>
                <a:moveTo>
                  <a:pt x="3054" y="1345"/>
                </a:moveTo>
                <a:cubicBezTo>
                  <a:pt x="2864" y="1313"/>
                  <a:pt x="2721" y="1154"/>
                  <a:pt x="2688" y="931"/>
                </a:cubicBezTo>
                <a:lnTo>
                  <a:pt x="3054" y="931"/>
                </a:lnTo>
                <a:close/>
                <a:moveTo>
                  <a:pt x="1973" y="931"/>
                </a:moveTo>
                <a:cubicBezTo>
                  <a:pt x="1941" y="1154"/>
                  <a:pt x="1766" y="1329"/>
                  <a:pt x="1543" y="1345"/>
                </a:cubicBezTo>
                <a:lnTo>
                  <a:pt x="1543" y="931"/>
                </a:lnTo>
                <a:close/>
                <a:moveTo>
                  <a:pt x="1034" y="1488"/>
                </a:moveTo>
                <a:lnTo>
                  <a:pt x="1384" y="1392"/>
                </a:lnTo>
                <a:lnTo>
                  <a:pt x="1384" y="2426"/>
                </a:lnTo>
                <a:lnTo>
                  <a:pt x="1241" y="2267"/>
                </a:lnTo>
                <a:close/>
                <a:moveTo>
                  <a:pt x="2259" y="2665"/>
                </a:moveTo>
                <a:lnTo>
                  <a:pt x="2243" y="2665"/>
                </a:lnTo>
                <a:cubicBezTo>
                  <a:pt x="2068" y="2617"/>
                  <a:pt x="1941" y="2458"/>
                  <a:pt x="1941" y="2283"/>
                </a:cubicBezTo>
                <a:cubicBezTo>
                  <a:pt x="1941" y="2060"/>
                  <a:pt x="2116" y="1885"/>
                  <a:pt x="2339" y="1885"/>
                </a:cubicBezTo>
                <a:cubicBezTo>
                  <a:pt x="2545" y="1885"/>
                  <a:pt x="2721" y="2060"/>
                  <a:pt x="2721" y="2283"/>
                </a:cubicBezTo>
                <a:cubicBezTo>
                  <a:pt x="2721" y="2458"/>
                  <a:pt x="2609" y="2617"/>
                  <a:pt x="2434" y="2665"/>
                </a:cubicBezTo>
                <a:cubicBezTo>
                  <a:pt x="2418" y="2665"/>
                  <a:pt x="2418" y="2665"/>
                  <a:pt x="2402" y="2681"/>
                </a:cubicBezTo>
                <a:cubicBezTo>
                  <a:pt x="2370" y="2665"/>
                  <a:pt x="2339" y="2665"/>
                  <a:pt x="2307" y="2665"/>
                </a:cubicBezTo>
                <a:close/>
                <a:moveTo>
                  <a:pt x="2625" y="2744"/>
                </a:moveTo>
                <a:cubicBezTo>
                  <a:pt x="2784" y="2649"/>
                  <a:pt x="2879" y="2474"/>
                  <a:pt x="2879" y="2283"/>
                </a:cubicBezTo>
                <a:cubicBezTo>
                  <a:pt x="2879" y="1981"/>
                  <a:pt x="2641" y="1726"/>
                  <a:pt x="2339" y="1726"/>
                </a:cubicBezTo>
                <a:cubicBezTo>
                  <a:pt x="2036" y="1726"/>
                  <a:pt x="1782" y="1981"/>
                  <a:pt x="1782" y="2283"/>
                </a:cubicBezTo>
                <a:cubicBezTo>
                  <a:pt x="1782" y="2474"/>
                  <a:pt x="1877" y="2633"/>
                  <a:pt x="2021" y="2729"/>
                </a:cubicBezTo>
                <a:cubicBezTo>
                  <a:pt x="1941" y="2776"/>
                  <a:pt x="1877" y="2824"/>
                  <a:pt x="1814" y="2903"/>
                </a:cubicBezTo>
                <a:lnTo>
                  <a:pt x="1543" y="2601"/>
                </a:lnTo>
                <a:lnTo>
                  <a:pt x="1543" y="1503"/>
                </a:lnTo>
                <a:cubicBezTo>
                  <a:pt x="1846" y="1488"/>
                  <a:pt x="2100" y="1233"/>
                  <a:pt x="2132" y="931"/>
                </a:cubicBezTo>
                <a:lnTo>
                  <a:pt x="2530" y="931"/>
                </a:lnTo>
                <a:cubicBezTo>
                  <a:pt x="2561" y="1249"/>
                  <a:pt x="2768" y="1472"/>
                  <a:pt x="3054" y="1503"/>
                </a:cubicBezTo>
                <a:lnTo>
                  <a:pt x="3054" y="2617"/>
                </a:lnTo>
                <a:lnTo>
                  <a:pt x="2800" y="2887"/>
                </a:lnTo>
                <a:cubicBezTo>
                  <a:pt x="2752" y="2839"/>
                  <a:pt x="2688" y="2792"/>
                  <a:pt x="2625" y="274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9" name="TextBox 108">
            <a:extLst>
              <a:ext uri="{FF2B5EF4-FFF2-40B4-BE49-F238E27FC236}">
                <a16:creationId xmlns:a16="http://schemas.microsoft.com/office/drawing/2014/main" id="{520FBB20-6AF6-6148-8C94-77FD560A0EA1}"/>
              </a:ext>
            </a:extLst>
          </p:cNvPr>
          <p:cNvSpPr txBox="1"/>
          <p:nvPr/>
        </p:nvSpPr>
        <p:spPr>
          <a:xfrm>
            <a:off x="19810373"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etter Click</a:t>
            </a:r>
          </a:p>
        </p:txBody>
      </p:sp>
      <p:sp>
        <p:nvSpPr>
          <p:cNvPr id="110" name="Freeform: Shape 2">
            <a:extLst>
              <a:ext uri="{FF2B5EF4-FFF2-40B4-BE49-F238E27FC236}">
                <a16:creationId xmlns:a16="http://schemas.microsoft.com/office/drawing/2014/main" id="{1A471ACC-8C05-5044-90E1-F17F2F85529D}"/>
              </a:ext>
            </a:extLst>
          </p:cNvPr>
          <p:cNvSpPr/>
          <p:nvPr/>
        </p:nvSpPr>
        <p:spPr>
          <a:xfrm>
            <a:off x="20840585" y="6562833"/>
            <a:ext cx="1637280" cy="1494360"/>
          </a:xfrm>
          <a:custGeom>
            <a:avLst/>
            <a:gdLst/>
            <a:ahLst/>
            <a:cxnLst>
              <a:cxn ang="3cd4">
                <a:pos x="hc" y="t"/>
              </a:cxn>
              <a:cxn ang="cd2">
                <a:pos x="l" y="vc"/>
              </a:cxn>
              <a:cxn ang="cd4">
                <a:pos x="hc" y="b"/>
              </a:cxn>
              <a:cxn ang="0">
                <a:pos x="r" y="vc"/>
              </a:cxn>
            </a:cxnLst>
            <a:rect l="l" t="t" r="r" b="b"/>
            <a:pathLst>
              <a:path w="4549" h="4152">
                <a:moveTo>
                  <a:pt x="4549" y="2577"/>
                </a:moveTo>
                <a:cubicBezTo>
                  <a:pt x="4549" y="509"/>
                  <a:pt x="4549" y="509"/>
                  <a:pt x="4549" y="509"/>
                </a:cubicBezTo>
                <a:cubicBezTo>
                  <a:pt x="4549" y="271"/>
                  <a:pt x="4374" y="0"/>
                  <a:pt x="4119" y="0"/>
                </a:cubicBezTo>
                <a:cubicBezTo>
                  <a:pt x="525" y="0"/>
                  <a:pt x="525" y="0"/>
                  <a:pt x="525" y="0"/>
                </a:cubicBezTo>
                <a:cubicBezTo>
                  <a:pt x="270" y="0"/>
                  <a:pt x="0" y="254"/>
                  <a:pt x="0" y="509"/>
                </a:cubicBezTo>
                <a:cubicBezTo>
                  <a:pt x="0" y="2577"/>
                  <a:pt x="0" y="2577"/>
                  <a:pt x="0" y="2577"/>
                </a:cubicBezTo>
                <a:cubicBezTo>
                  <a:pt x="0" y="2847"/>
                  <a:pt x="270" y="3038"/>
                  <a:pt x="525" y="3038"/>
                </a:cubicBezTo>
                <a:cubicBezTo>
                  <a:pt x="2274" y="3038"/>
                  <a:pt x="2274" y="3038"/>
                  <a:pt x="2274" y="3038"/>
                </a:cubicBezTo>
                <a:cubicBezTo>
                  <a:pt x="2274" y="3531"/>
                  <a:pt x="2274" y="3531"/>
                  <a:pt x="2274" y="3531"/>
                </a:cubicBezTo>
                <a:cubicBezTo>
                  <a:pt x="2274" y="3563"/>
                  <a:pt x="2290" y="3579"/>
                  <a:pt x="2306" y="3595"/>
                </a:cubicBezTo>
                <a:cubicBezTo>
                  <a:pt x="2322" y="3611"/>
                  <a:pt x="2338" y="3611"/>
                  <a:pt x="2354" y="3611"/>
                </a:cubicBezTo>
                <a:cubicBezTo>
                  <a:pt x="2370" y="3611"/>
                  <a:pt x="2370" y="3611"/>
                  <a:pt x="2386" y="3611"/>
                </a:cubicBezTo>
                <a:cubicBezTo>
                  <a:pt x="2847" y="3420"/>
                  <a:pt x="2847" y="3420"/>
                  <a:pt x="2847" y="3420"/>
                </a:cubicBezTo>
                <a:cubicBezTo>
                  <a:pt x="3149" y="4104"/>
                  <a:pt x="3149" y="4104"/>
                  <a:pt x="3149" y="4104"/>
                </a:cubicBezTo>
                <a:cubicBezTo>
                  <a:pt x="3149" y="4135"/>
                  <a:pt x="3181" y="4152"/>
                  <a:pt x="3213" y="4152"/>
                </a:cubicBezTo>
                <a:cubicBezTo>
                  <a:pt x="3229" y="4152"/>
                  <a:pt x="3245" y="4152"/>
                  <a:pt x="3245" y="4135"/>
                </a:cubicBezTo>
                <a:cubicBezTo>
                  <a:pt x="3292" y="4120"/>
                  <a:pt x="3308" y="4072"/>
                  <a:pt x="3292" y="4040"/>
                </a:cubicBezTo>
                <a:cubicBezTo>
                  <a:pt x="2990" y="3356"/>
                  <a:pt x="2990" y="3356"/>
                  <a:pt x="2990" y="3356"/>
                </a:cubicBezTo>
                <a:cubicBezTo>
                  <a:pt x="3324" y="3229"/>
                  <a:pt x="3324" y="3229"/>
                  <a:pt x="3324" y="3229"/>
                </a:cubicBezTo>
                <a:cubicBezTo>
                  <a:pt x="3356" y="3213"/>
                  <a:pt x="3372" y="3197"/>
                  <a:pt x="3372" y="3165"/>
                </a:cubicBezTo>
                <a:cubicBezTo>
                  <a:pt x="3388" y="3150"/>
                  <a:pt x="3372" y="3117"/>
                  <a:pt x="3356" y="3102"/>
                </a:cubicBezTo>
                <a:cubicBezTo>
                  <a:pt x="3308" y="3038"/>
                  <a:pt x="3308" y="3038"/>
                  <a:pt x="3308" y="3038"/>
                </a:cubicBezTo>
                <a:cubicBezTo>
                  <a:pt x="4119" y="3038"/>
                  <a:pt x="4119" y="3038"/>
                  <a:pt x="4119" y="3038"/>
                </a:cubicBezTo>
                <a:cubicBezTo>
                  <a:pt x="4358" y="3038"/>
                  <a:pt x="4549" y="2847"/>
                  <a:pt x="4549" y="2577"/>
                </a:cubicBezTo>
                <a:close/>
                <a:moveTo>
                  <a:pt x="4119" y="159"/>
                </a:moveTo>
                <a:cubicBezTo>
                  <a:pt x="4167" y="159"/>
                  <a:pt x="4215" y="191"/>
                  <a:pt x="4262" y="223"/>
                </a:cubicBezTo>
                <a:cubicBezTo>
                  <a:pt x="2640" y="1638"/>
                  <a:pt x="2640" y="1638"/>
                  <a:pt x="2640" y="1638"/>
                </a:cubicBezTo>
                <a:cubicBezTo>
                  <a:pt x="2465" y="1781"/>
                  <a:pt x="2163" y="1781"/>
                  <a:pt x="2004" y="1638"/>
                </a:cubicBezTo>
                <a:cubicBezTo>
                  <a:pt x="366" y="207"/>
                  <a:pt x="366" y="207"/>
                  <a:pt x="366" y="207"/>
                </a:cubicBezTo>
                <a:cubicBezTo>
                  <a:pt x="414" y="175"/>
                  <a:pt x="461" y="159"/>
                  <a:pt x="525" y="159"/>
                </a:cubicBezTo>
                <a:close/>
                <a:moveTo>
                  <a:pt x="2433" y="3420"/>
                </a:moveTo>
                <a:cubicBezTo>
                  <a:pt x="2433" y="2402"/>
                  <a:pt x="2433" y="2402"/>
                  <a:pt x="2433" y="2402"/>
                </a:cubicBezTo>
                <a:cubicBezTo>
                  <a:pt x="3165" y="3117"/>
                  <a:pt x="3165" y="3117"/>
                  <a:pt x="3165" y="3117"/>
                </a:cubicBezTo>
                <a:close/>
                <a:moveTo>
                  <a:pt x="4390" y="2577"/>
                </a:moveTo>
                <a:cubicBezTo>
                  <a:pt x="4390" y="2752"/>
                  <a:pt x="4278" y="2879"/>
                  <a:pt x="4119" y="2879"/>
                </a:cubicBezTo>
                <a:cubicBezTo>
                  <a:pt x="3197" y="2879"/>
                  <a:pt x="3197" y="2879"/>
                  <a:pt x="3197" y="2879"/>
                </a:cubicBezTo>
                <a:cubicBezTo>
                  <a:pt x="3181" y="2879"/>
                  <a:pt x="3165" y="2895"/>
                  <a:pt x="3149" y="2895"/>
                </a:cubicBezTo>
                <a:cubicBezTo>
                  <a:pt x="2417" y="2147"/>
                  <a:pt x="2417" y="2147"/>
                  <a:pt x="2417" y="2147"/>
                </a:cubicBezTo>
                <a:cubicBezTo>
                  <a:pt x="2386" y="2132"/>
                  <a:pt x="2354" y="2116"/>
                  <a:pt x="2322" y="2132"/>
                </a:cubicBezTo>
                <a:cubicBezTo>
                  <a:pt x="2290" y="2147"/>
                  <a:pt x="2274" y="2179"/>
                  <a:pt x="2274" y="2211"/>
                </a:cubicBezTo>
                <a:cubicBezTo>
                  <a:pt x="2274" y="2879"/>
                  <a:pt x="2274" y="2879"/>
                  <a:pt x="2274" y="2879"/>
                </a:cubicBezTo>
                <a:cubicBezTo>
                  <a:pt x="525" y="2879"/>
                  <a:pt x="525" y="2879"/>
                  <a:pt x="525" y="2879"/>
                </a:cubicBezTo>
                <a:cubicBezTo>
                  <a:pt x="366" y="2879"/>
                  <a:pt x="159" y="2752"/>
                  <a:pt x="159" y="2577"/>
                </a:cubicBezTo>
                <a:cubicBezTo>
                  <a:pt x="159" y="509"/>
                  <a:pt x="159" y="509"/>
                  <a:pt x="159" y="509"/>
                </a:cubicBezTo>
                <a:cubicBezTo>
                  <a:pt x="159" y="445"/>
                  <a:pt x="191" y="366"/>
                  <a:pt x="238" y="318"/>
                </a:cubicBezTo>
                <a:cubicBezTo>
                  <a:pt x="1893" y="1750"/>
                  <a:pt x="1893" y="1750"/>
                  <a:pt x="1893" y="1750"/>
                </a:cubicBezTo>
                <a:cubicBezTo>
                  <a:pt x="2004" y="1861"/>
                  <a:pt x="2163" y="1909"/>
                  <a:pt x="2322" y="1909"/>
                </a:cubicBezTo>
                <a:cubicBezTo>
                  <a:pt x="2465" y="1909"/>
                  <a:pt x="2624" y="1861"/>
                  <a:pt x="2736" y="1750"/>
                </a:cubicBezTo>
                <a:cubicBezTo>
                  <a:pt x="4358" y="350"/>
                  <a:pt x="4358" y="350"/>
                  <a:pt x="4358" y="350"/>
                </a:cubicBezTo>
                <a:cubicBezTo>
                  <a:pt x="4390" y="398"/>
                  <a:pt x="4390" y="445"/>
                  <a:pt x="4390" y="5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76250700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Email - 3</a:t>
            </a:r>
          </a:p>
        </p:txBody>
      </p:sp>
      <p:sp>
        <p:nvSpPr>
          <p:cNvPr id="43" name="TextBox 42">
            <a:extLst>
              <a:ext uri="{FF2B5EF4-FFF2-40B4-BE49-F238E27FC236}">
                <a16:creationId xmlns:a16="http://schemas.microsoft.com/office/drawing/2014/main" id="{3AB11990-EB2F-1C43-8319-0041C54C7350}"/>
              </a:ext>
            </a:extLst>
          </p:cNvPr>
          <p:cNvSpPr txBox="1"/>
          <p:nvPr/>
        </p:nvSpPr>
        <p:spPr>
          <a:xfrm>
            <a:off x="-1859280" y="3638533"/>
            <a:ext cx="184731" cy="369332"/>
          </a:xfrm>
          <a:prstGeom prst="rect">
            <a:avLst/>
          </a:prstGeom>
          <a:noFill/>
        </p:spPr>
        <p:txBody>
          <a:bodyPr wrap="none" rtlCol="0">
            <a:spAutoFit/>
          </a:bodyPr>
          <a:lstStyle/>
          <a:p>
            <a:endParaRPr lang="en-US"/>
          </a:p>
        </p:txBody>
      </p:sp>
      <p:sp>
        <p:nvSpPr>
          <p:cNvPr id="70" name="TextBox 69">
            <a:extLst>
              <a:ext uri="{FF2B5EF4-FFF2-40B4-BE49-F238E27FC236}">
                <a16:creationId xmlns:a16="http://schemas.microsoft.com/office/drawing/2014/main" id="{DCB37BE7-FB09-F54F-9B42-8F0EE5856FA6}"/>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52" name="TextBox 51">
            <a:extLst>
              <a:ext uri="{FF2B5EF4-FFF2-40B4-BE49-F238E27FC236}">
                <a16:creationId xmlns:a16="http://schemas.microsoft.com/office/drawing/2014/main" id="{69D4D0A1-4135-4449-8714-83668B4A02CC}"/>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44" name="TextBox 43">
            <a:extLst>
              <a:ext uri="{FF2B5EF4-FFF2-40B4-BE49-F238E27FC236}">
                <a16:creationId xmlns:a16="http://schemas.microsoft.com/office/drawing/2014/main" id="{EDA848B1-9377-2145-BE5A-A6AB04847CD1}"/>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box Return</a:t>
            </a:r>
          </a:p>
        </p:txBody>
      </p:sp>
      <p:sp>
        <p:nvSpPr>
          <p:cNvPr id="45" name="TextBox 44">
            <a:extLst>
              <a:ext uri="{FF2B5EF4-FFF2-40B4-BE49-F238E27FC236}">
                <a16:creationId xmlns:a16="http://schemas.microsoft.com/office/drawing/2014/main" id="{C2D2572B-C680-B047-AC93-880DCE47B418}"/>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box Minus</a:t>
            </a:r>
          </a:p>
        </p:txBody>
      </p:sp>
      <p:sp>
        <p:nvSpPr>
          <p:cNvPr id="46" name="TextBox 45">
            <a:extLst>
              <a:ext uri="{FF2B5EF4-FFF2-40B4-BE49-F238E27FC236}">
                <a16:creationId xmlns:a16="http://schemas.microsoft.com/office/drawing/2014/main" id="{9B939951-8A02-8545-B52E-6D80D5A5B222}"/>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ostage</a:t>
            </a:r>
          </a:p>
        </p:txBody>
      </p:sp>
      <p:sp>
        <p:nvSpPr>
          <p:cNvPr id="47" name="TextBox 46">
            <a:extLst>
              <a:ext uri="{FF2B5EF4-FFF2-40B4-BE49-F238E27FC236}">
                <a16:creationId xmlns:a16="http://schemas.microsoft.com/office/drawing/2014/main" id="{F72D3954-DE42-1646-BBF7-00B95078955F}"/>
              </a:ext>
            </a:extLst>
          </p:cNvPr>
          <p:cNvSpPr txBox="1"/>
          <p:nvPr/>
        </p:nvSpPr>
        <p:spPr>
          <a:xfrm>
            <a:off x="12867894"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oll</a:t>
            </a:r>
          </a:p>
        </p:txBody>
      </p:sp>
      <p:sp>
        <p:nvSpPr>
          <p:cNvPr id="48" name="TextBox 47">
            <a:extLst>
              <a:ext uri="{FF2B5EF4-FFF2-40B4-BE49-F238E27FC236}">
                <a16:creationId xmlns:a16="http://schemas.microsoft.com/office/drawing/2014/main" id="{6C169593-4552-9847-AE1A-D04BBCDF3053}"/>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oll Send</a:t>
            </a:r>
          </a:p>
        </p:txBody>
      </p:sp>
      <p:sp>
        <p:nvSpPr>
          <p:cNvPr id="49" name="TextBox 48">
            <a:extLst>
              <a:ext uri="{FF2B5EF4-FFF2-40B4-BE49-F238E27FC236}">
                <a16:creationId xmlns:a16="http://schemas.microsoft.com/office/drawing/2014/main" id="{E9FD0244-97AF-344E-9D04-5ACA4F908117}"/>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ost Box 1</a:t>
            </a:r>
          </a:p>
        </p:txBody>
      </p:sp>
      <p:sp>
        <p:nvSpPr>
          <p:cNvPr id="50" name="TextBox 49">
            <a:extLst>
              <a:ext uri="{FF2B5EF4-FFF2-40B4-BE49-F238E27FC236}">
                <a16:creationId xmlns:a16="http://schemas.microsoft.com/office/drawing/2014/main" id="{CE31364C-A033-6E4F-8270-A94F78D08FD0}"/>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ost box 2</a:t>
            </a:r>
          </a:p>
        </p:txBody>
      </p:sp>
      <p:sp>
        <p:nvSpPr>
          <p:cNvPr id="51" name="TextBox 50">
            <a:extLst>
              <a:ext uri="{FF2B5EF4-FFF2-40B4-BE49-F238E27FC236}">
                <a16:creationId xmlns:a16="http://schemas.microsoft.com/office/drawing/2014/main" id="{3E9CA98A-1127-D849-9547-B11AA852AB6C}"/>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amp</a:t>
            </a:r>
          </a:p>
        </p:txBody>
      </p:sp>
      <p:sp>
        <p:nvSpPr>
          <p:cNvPr id="53" name="TextBox 52">
            <a:extLst>
              <a:ext uri="{FF2B5EF4-FFF2-40B4-BE49-F238E27FC236}">
                <a16:creationId xmlns:a16="http://schemas.microsoft.com/office/drawing/2014/main" id="{AF9479DE-C8A9-D742-A226-D745A9C3E870}"/>
              </a:ext>
            </a:extLst>
          </p:cNvPr>
          <p:cNvSpPr txBox="1"/>
          <p:nvPr/>
        </p:nvSpPr>
        <p:spPr>
          <a:xfrm>
            <a:off x="13353403"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ilbox</a:t>
            </a:r>
          </a:p>
        </p:txBody>
      </p:sp>
      <p:sp>
        <p:nvSpPr>
          <p:cNvPr id="54" name="Freeform: Shape 26">
            <a:extLst>
              <a:ext uri="{FF2B5EF4-FFF2-40B4-BE49-F238E27FC236}">
                <a16:creationId xmlns:a16="http://schemas.microsoft.com/office/drawing/2014/main" id="{5A05C217-8BB0-7D43-A0CE-7939AA09D253}"/>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5" name="TextBox 54">
            <a:extLst>
              <a:ext uri="{FF2B5EF4-FFF2-40B4-BE49-F238E27FC236}">
                <a16:creationId xmlns:a16="http://schemas.microsoft.com/office/drawing/2014/main" id="{C643A8F5-3C90-804B-9AF0-E233E2C5BF3A}"/>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oll Open</a:t>
            </a:r>
          </a:p>
        </p:txBody>
      </p:sp>
      <p:sp>
        <p:nvSpPr>
          <p:cNvPr id="56" name="Freeform: Shape 13">
            <a:extLst>
              <a:ext uri="{FF2B5EF4-FFF2-40B4-BE49-F238E27FC236}">
                <a16:creationId xmlns:a16="http://schemas.microsoft.com/office/drawing/2014/main" id="{1136CC1B-66A6-1143-8E60-1F3C04E9BB0C}"/>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7" name="Freeform: Shape 1">
            <a:extLst>
              <a:ext uri="{FF2B5EF4-FFF2-40B4-BE49-F238E27FC236}">
                <a16:creationId xmlns:a16="http://schemas.microsoft.com/office/drawing/2014/main" id="{4872CEC8-0B88-D14C-884E-B993AE6BC156}"/>
              </a:ext>
            </a:extLst>
          </p:cNvPr>
          <p:cNvSpPr/>
          <p:nvPr/>
        </p:nvSpPr>
        <p:spPr>
          <a:xfrm>
            <a:off x="5924461" y="3306642"/>
            <a:ext cx="1568519" cy="1316880"/>
          </a:xfrm>
          <a:custGeom>
            <a:avLst/>
            <a:gdLst/>
            <a:ahLst/>
            <a:cxnLst>
              <a:cxn ang="3cd4">
                <a:pos x="hc" y="t"/>
              </a:cxn>
              <a:cxn ang="cd2">
                <a:pos x="l" y="vc"/>
              </a:cxn>
              <a:cxn ang="cd4">
                <a:pos x="hc" y="b"/>
              </a:cxn>
              <a:cxn ang="0">
                <a:pos x="r" y="vc"/>
              </a:cxn>
            </a:cxnLst>
            <a:rect l="l" t="t" r="r" b="b"/>
            <a:pathLst>
              <a:path w="4358" h="3659">
                <a:moveTo>
                  <a:pt x="0" y="3579"/>
                </a:moveTo>
                <a:cubicBezTo>
                  <a:pt x="0" y="3611"/>
                  <a:pt x="48" y="3659"/>
                  <a:pt x="80" y="3659"/>
                </a:cubicBezTo>
                <a:lnTo>
                  <a:pt x="4279" y="3659"/>
                </a:lnTo>
                <a:cubicBezTo>
                  <a:pt x="4326" y="3659"/>
                  <a:pt x="4358" y="3611"/>
                  <a:pt x="4358" y="3579"/>
                </a:cubicBezTo>
                <a:lnTo>
                  <a:pt x="4358" y="2132"/>
                </a:lnTo>
                <a:lnTo>
                  <a:pt x="4358" y="2116"/>
                </a:lnTo>
                <a:lnTo>
                  <a:pt x="4358" y="2100"/>
                </a:lnTo>
                <a:lnTo>
                  <a:pt x="4343" y="2100"/>
                </a:lnTo>
                <a:lnTo>
                  <a:pt x="3817" y="939"/>
                </a:lnTo>
                <a:cubicBezTo>
                  <a:pt x="3817" y="907"/>
                  <a:pt x="3786" y="891"/>
                  <a:pt x="3754" y="891"/>
                </a:cubicBezTo>
                <a:lnTo>
                  <a:pt x="3102" y="891"/>
                </a:lnTo>
                <a:cubicBezTo>
                  <a:pt x="3102" y="398"/>
                  <a:pt x="2704" y="0"/>
                  <a:pt x="2211" y="0"/>
                </a:cubicBezTo>
                <a:cubicBezTo>
                  <a:pt x="1718" y="0"/>
                  <a:pt x="1320" y="398"/>
                  <a:pt x="1320" y="891"/>
                </a:cubicBezTo>
                <a:lnTo>
                  <a:pt x="684" y="891"/>
                </a:lnTo>
                <a:cubicBezTo>
                  <a:pt x="652" y="891"/>
                  <a:pt x="620" y="907"/>
                  <a:pt x="605" y="939"/>
                </a:cubicBezTo>
                <a:lnTo>
                  <a:pt x="16" y="2084"/>
                </a:lnTo>
                <a:lnTo>
                  <a:pt x="16" y="2100"/>
                </a:lnTo>
                <a:lnTo>
                  <a:pt x="0" y="2100"/>
                </a:lnTo>
                <a:lnTo>
                  <a:pt x="0" y="2116"/>
                </a:lnTo>
                <a:lnTo>
                  <a:pt x="0" y="2132"/>
                </a:lnTo>
                <a:close/>
                <a:moveTo>
                  <a:pt x="4199" y="3500"/>
                </a:moveTo>
                <a:lnTo>
                  <a:pt x="159" y="3500"/>
                </a:lnTo>
                <a:lnTo>
                  <a:pt x="159" y="2211"/>
                </a:lnTo>
                <a:lnTo>
                  <a:pt x="1161" y="2211"/>
                </a:lnTo>
                <a:lnTo>
                  <a:pt x="1209" y="2371"/>
                </a:lnTo>
                <a:cubicBezTo>
                  <a:pt x="1289" y="2593"/>
                  <a:pt x="1527" y="2784"/>
                  <a:pt x="1766" y="2784"/>
                </a:cubicBezTo>
                <a:lnTo>
                  <a:pt x="2672" y="2784"/>
                </a:lnTo>
                <a:cubicBezTo>
                  <a:pt x="2895" y="2784"/>
                  <a:pt x="3149" y="2593"/>
                  <a:pt x="3213" y="2371"/>
                </a:cubicBezTo>
                <a:lnTo>
                  <a:pt x="3261" y="2211"/>
                </a:lnTo>
                <a:lnTo>
                  <a:pt x="4199" y="2211"/>
                </a:lnTo>
                <a:close/>
                <a:moveTo>
                  <a:pt x="2211" y="160"/>
                </a:moveTo>
                <a:cubicBezTo>
                  <a:pt x="2625" y="160"/>
                  <a:pt x="2943" y="494"/>
                  <a:pt x="2943" y="891"/>
                </a:cubicBezTo>
                <a:cubicBezTo>
                  <a:pt x="2943" y="1305"/>
                  <a:pt x="2625" y="1639"/>
                  <a:pt x="2211" y="1639"/>
                </a:cubicBezTo>
                <a:cubicBezTo>
                  <a:pt x="1813" y="1639"/>
                  <a:pt x="1479" y="1305"/>
                  <a:pt x="1479" y="891"/>
                </a:cubicBezTo>
                <a:cubicBezTo>
                  <a:pt x="1479" y="494"/>
                  <a:pt x="1813" y="160"/>
                  <a:pt x="2211" y="160"/>
                </a:cubicBezTo>
                <a:close/>
                <a:moveTo>
                  <a:pt x="732" y="1050"/>
                </a:moveTo>
                <a:lnTo>
                  <a:pt x="1320" y="1050"/>
                </a:lnTo>
                <a:lnTo>
                  <a:pt x="1336" y="1050"/>
                </a:lnTo>
                <a:cubicBezTo>
                  <a:pt x="1400" y="1464"/>
                  <a:pt x="1766" y="1798"/>
                  <a:pt x="2211" y="1798"/>
                </a:cubicBezTo>
                <a:cubicBezTo>
                  <a:pt x="2656" y="1798"/>
                  <a:pt x="3022" y="1464"/>
                  <a:pt x="3102" y="1050"/>
                </a:cubicBezTo>
                <a:lnTo>
                  <a:pt x="3706" y="1050"/>
                </a:lnTo>
                <a:lnTo>
                  <a:pt x="4152" y="2053"/>
                </a:lnTo>
                <a:lnTo>
                  <a:pt x="3213" y="2053"/>
                </a:lnTo>
                <a:cubicBezTo>
                  <a:pt x="3165" y="2053"/>
                  <a:pt x="3134" y="2068"/>
                  <a:pt x="3134" y="2100"/>
                </a:cubicBezTo>
                <a:lnTo>
                  <a:pt x="3070" y="2323"/>
                </a:lnTo>
                <a:cubicBezTo>
                  <a:pt x="3022" y="2482"/>
                  <a:pt x="2831" y="2625"/>
                  <a:pt x="2672" y="2625"/>
                </a:cubicBezTo>
                <a:lnTo>
                  <a:pt x="1766" y="2625"/>
                </a:lnTo>
                <a:cubicBezTo>
                  <a:pt x="1607" y="2625"/>
                  <a:pt x="1416" y="2482"/>
                  <a:pt x="1368" y="2323"/>
                </a:cubicBezTo>
                <a:lnTo>
                  <a:pt x="1304" y="2100"/>
                </a:lnTo>
                <a:cubicBezTo>
                  <a:pt x="1289" y="2068"/>
                  <a:pt x="1257" y="2053"/>
                  <a:pt x="1225" y="2053"/>
                </a:cubicBezTo>
                <a:lnTo>
                  <a:pt x="207" y="2053"/>
                </a:lnTo>
                <a:close/>
                <a:moveTo>
                  <a:pt x="1861" y="971"/>
                </a:moveTo>
                <a:lnTo>
                  <a:pt x="2577" y="971"/>
                </a:lnTo>
                <a:cubicBezTo>
                  <a:pt x="2625" y="971"/>
                  <a:pt x="2656" y="939"/>
                  <a:pt x="2656" y="891"/>
                </a:cubicBezTo>
                <a:cubicBezTo>
                  <a:pt x="2656" y="859"/>
                  <a:pt x="2625" y="812"/>
                  <a:pt x="2577" y="812"/>
                </a:cubicBezTo>
                <a:lnTo>
                  <a:pt x="1861" y="812"/>
                </a:lnTo>
                <a:cubicBezTo>
                  <a:pt x="1813" y="812"/>
                  <a:pt x="1781" y="859"/>
                  <a:pt x="1781" y="891"/>
                </a:cubicBezTo>
                <a:cubicBezTo>
                  <a:pt x="1781" y="939"/>
                  <a:pt x="1813" y="971"/>
                  <a:pt x="1861" y="97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8" name="Freeform: Shape 3">
            <a:extLst>
              <a:ext uri="{FF2B5EF4-FFF2-40B4-BE49-F238E27FC236}">
                <a16:creationId xmlns:a16="http://schemas.microsoft.com/office/drawing/2014/main" id="{2F999C20-F926-FE4F-ACA5-70218F18CF54}"/>
              </a:ext>
            </a:extLst>
          </p:cNvPr>
          <p:cNvSpPr/>
          <p:nvPr/>
        </p:nvSpPr>
        <p:spPr>
          <a:xfrm>
            <a:off x="13944127" y="6631594"/>
            <a:ext cx="1660319" cy="1356840"/>
          </a:xfrm>
          <a:custGeom>
            <a:avLst/>
            <a:gdLst/>
            <a:ahLst/>
            <a:cxnLst>
              <a:cxn ang="3cd4">
                <a:pos x="hc" y="t"/>
              </a:cxn>
              <a:cxn ang="cd2">
                <a:pos x="l" y="vc"/>
              </a:cxn>
              <a:cxn ang="cd4">
                <a:pos x="hc" y="b"/>
              </a:cxn>
              <a:cxn ang="0">
                <a:pos x="r" y="vc"/>
              </a:cxn>
            </a:cxnLst>
            <a:rect l="l" t="t" r="r" b="b"/>
            <a:pathLst>
              <a:path w="4613" h="3770">
                <a:moveTo>
                  <a:pt x="3452" y="0"/>
                </a:moveTo>
                <a:lnTo>
                  <a:pt x="1241" y="0"/>
                </a:lnTo>
                <a:lnTo>
                  <a:pt x="1225" y="0"/>
                </a:lnTo>
                <a:lnTo>
                  <a:pt x="1161" y="0"/>
                </a:lnTo>
                <a:cubicBezTo>
                  <a:pt x="525" y="0"/>
                  <a:pt x="0" y="509"/>
                  <a:pt x="0" y="1145"/>
                </a:cubicBezTo>
                <a:lnTo>
                  <a:pt x="0" y="3006"/>
                </a:lnTo>
                <a:cubicBezTo>
                  <a:pt x="0" y="3038"/>
                  <a:pt x="47" y="3070"/>
                  <a:pt x="80" y="3070"/>
                </a:cubicBezTo>
                <a:lnTo>
                  <a:pt x="1845" y="3070"/>
                </a:lnTo>
                <a:lnTo>
                  <a:pt x="1845" y="3690"/>
                </a:lnTo>
                <a:cubicBezTo>
                  <a:pt x="1845" y="3738"/>
                  <a:pt x="1877" y="3770"/>
                  <a:pt x="1925" y="3770"/>
                </a:cubicBezTo>
                <a:cubicBezTo>
                  <a:pt x="1972" y="3770"/>
                  <a:pt x="2004" y="3738"/>
                  <a:pt x="2004" y="3690"/>
                </a:cubicBezTo>
                <a:lnTo>
                  <a:pt x="2004" y="3070"/>
                </a:lnTo>
                <a:lnTo>
                  <a:pt x="2147" y="3070"/>
                </a:lnTo>
                <a:lnTo>
                  <a:pt x="2226" y="3070"/>
                </a:lnTo>
                <a:lnTo>
                  <a:pt x="2767" y="3070"/>
                </a:lnTo>
                <a:lnTo>
                  <a:pt x="2767" y="3690"/>
                </a:lnTo>
                <a:cubicBezTo>
                  <a:pt x="2767" y="3738"/>
                  <a:pt x="2799" y="3770"/>
                  <a:pt x="2847" y="3770"/>
                </a:cubicBezTo>
                <a:cubicBezTo>
                  <a:pt x="2895" y="3770"/>
                  <a:pt x="2926" y="3738"/>
                  <a:pt x="2926" y="3690"/>
                </a:cubicBezTo>
                <a:lnTo>
                  <a:pt x="2926" y="3070"/>
                </a:lnTo>
                <a:lnTo>
                  <a:pt x="4533" y="3070"/>
                </a:lnTo>
                <a:cubicBezTo>
                  <a:pt x="4580" y="3070"/>
                  <a:pt x="4613" y="3038"/>
                  <a:pt x="4613" y="3006"/>
                </a:cubicBezTo>
                <a:lnTo>
                  <a:pt x="4613" y="1145"/>
                </a:lnTo>
                <a:cubicBezTo>
                  <a:pt x="4613" y="525"/>
                  <a:pt x="4071" y="0"/>
                  <a:pt x="3452" y="0"/>
                </a:cubicBezTo>
                <a:close/>
                <a:moveTo>
                  <a:pt x="1925" y="2926"/>
                </a:moveTo>
                <a:lnTo>
                  <a:pt x="159" y="2926"/>
                </a:lnTo>
                <a:lnTo>
                  <a:pt x="159" y="1145"/>
                </a:lnTo>
                <a:cubicBezTo>
                  <a:pt x="159" y="605"/>
                  <a:pt x="604" y="159"/>
                  <a:pt x="1161" y="159"/>
                </a:cubicBezTo>
                <a:cubicBezTo>
                  <a:pt x="1702" y="159"/>
                  <a:pt x="2147" y="605"/>
                  <a:pt x="2147" y="1145"/>
                </a:cubicBezTo>
                <a:lnTo>
                  <a:pt x="2147" y="2926"/>
                </a:lnTo>
                <a:close/>
                <a:moveTo>
                  <a:pt x="4453" y="2926"/>
                </a:moveTo>
                <a:lnTo>
                  <a:pt x="2847" y="2926"/>
                </a:lnTo>
                <a:lnTo>
                  <a:pt x="2306" y="2926"/>
                </a:lnTo>
                <a:lnTo>
                  <a:pt x="2306" y="1145"/>
                </a:lnTo>
                <a:cubicBezTo>
                  <a:pt x="2306" y="732"/>
                  <a:pt x="2083" y="366"/>
                  <a:pt x="1750" y="159"/>
                </a:cubicBezTo>
                <a:lnTo>
                  <a:pt x="3452" y="159"/>
                </a:lnTo>
                <a:cubicBezTo>
                  <a:pt x="3992" y="159"/>
                  <a:pt x="4453" y="605"/>
                  <a:pt x="4453" y="1145"/>
                </a:cubicBezTo>
                <a:close/>
                <a:moveTo>
                  <a:pt x="3770" y="923"/>
                </a:moveTo>
                <a:lnTo>
                  <a:pt x="2767" y="923"/>
                </a:lnTo>
                <a:cubicBezTo>
                  <a:pt x="2720" y="923"/>
                  <a:pt x="2688" y="954"/>
                  <a:pt x="2688" y="1002"/>
                </a:cubicBezTo>
                <a:cubicBezTo>
                  <a:pt x="2688" y="1050"/>
                  <a:pt x="2720" y="1081"/>
                  <a:pt x="2767" y="1081"/>
                </a:cubicBezTo>
                <a:lnTo>
                  <a:pt x="3690" y="1081"/>
                </a:lnTo>
                <a:lnTo>
                  <a:pt x="3690" y="1766"/>
                </a:lnTo>
                <a:cubicBezTo>
                  <a:pt x="3690" y="1813"/>
                  <a:pt x="3722" y="1845"/>
                  <a:pt x="3770" y="1845"/>
                </a:cubicBezTo>
                <a:lnTo>
                  <a:pt x="4231" y="1845"/>
                </a:lnTo>
                <a:cubicBezTo>
                  <a:pt x="4262" y="1845"/>
                  <a:pt x="4310" y="1813"/>
                  <a:pt x="4310" y="1766"/>
                </a:cubicBezTo>
                <a:lnTo>
                  <a:pt x="4310" y="1002"/>
                </a:lnTo>
                <a:cubicBezTo>
                  <a:pt x="4310" y="954"/>
                  <a:pt x="4262" y="923"/>
                  <a:pt x="4231" y="923"/>
                </a:cubicBezTo>
                <a:lnTo>
                  <a:pt x="3833" y="923"/>
                </a:lnTo>
                <a:close/>
                <a:moveTo>
                  <a:pt x="4151" y="1686"/>
                </a:moveTo>
                <a:lnTo>
                  <a:pt x="3849" y="1686"/>
                </a:lnTo>
                <a:lnTo>
                  <a:pt x="3849" y="1081"/>
                </a:lnTo>
                <a:lnTo>
                  <a:pt x="4151" y="1081"/>
                </a:lnTo>
                <a:close/>
                <a:moveTo>
                  <a:pt x="1702" y="2465"/>
                </a:moveTo>
                <a:lnTo>
                  <a:pt x="620" y="2465"/>
                </a:lnTo>
                <a:cubicBezTo>
                  <a:pt x="572" y="2465"/>
                  <a:pt x="541" y="2497"/>
                  <a:pt x="541" y="2545"/>
                </a:cubicBezTo>
                <a:cubicBezTo>
                  <a:pt x="541" y="2577"/>
                  <a:pt x="572" y="2625"/>
                  <a:pt x="620" y="2625"/>
                </a:cubicBezTo>
                <a:lnTo>
                  <a:pt x="1702" y="2625"/>
                </a:lnTo>
                <a:cubicBezTo>
                  <a:pt x="1734" y="2625"/>
                  <a:pt x="1781" y="2577"/>
                  <a:pt x="1781" y="2545"/>
                </a:cubicBezTo>
                <a:cubicBezTo>
                  <a:pt x="1781" y="2497"/>
                  <a:pt x="1734" y="2465"/>
                  <a:pt x="1702" y="246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9" name="Freeform: Shape 4">
            <a:extLst>
              <a:ext uri="{FF2B5EF4-FFF2-40B4-BE49-F238E27FC236}">
                <a16:creationId xmlns:a16="http://schemas.microsoft.com/office/drawing/2014/main" id="{32AE67EB-13A8-E948-B636-E2FDEAA723DB}"/>
              </a:ext>
            </a:extLst>
          </p:cNvPr>
          <p:cNvSpPr/>
          <p:nvPr/>
        </p:nvSpPr>
        <p:spPr>
          <a:xfrm>
            <a:off x="6038311" y="6528634"/>
            <a:ext cx="1442519" cy="1562760"/>
          </a:xfrm>
          <a:custGeom>
            <a:avLst/>
            <a:gdLst/>
            <a:ahLst/>
            <a:cxnLst>
              <a:cxn ang="3cd4">
                <a:pos x="hc" y="t"/>
              </a:cxn>
              <a:cxn ang="cd2">
                <a:pos x="l" y="vc"/>
              </a:cxn>
              <a:cxn ang="cd4">
                <a:pos x="hc" y="b"/>
              </a:cxn>
              <a:cxn ang="0">
                <a:pos x="r" y="vc"/>
              </a:cxn>
            </a:cxnLst>
            <a:rect l="l" t="t" r="r" b="b"/>
            <a:pathLst>
              <a:path w="4008" h="4342">
                <a:moveTo>
                  <a:pt x="2385" y="1336"/>
                </a:moveTo>
                <a:lnTo>
                  <a:pt x="3435" y="1336"/>
                </a:lnTo>
                <a:cubicBezTo>
                  <a:pt x="3483" y="1336"/>
                  <a:pt x="3515" y="1304"/>
                  <a:pt x="3515" y="1256"/>
                </a:cubicBezTo>
                <a:cubicBezTo>
                  <a:pt x="3515" y="1209"/>
                  <a:pt x="3483" y="1177"/>
                  <a:pt x="3435" y="1177"/>
                </a:cubicBezTo>
                <a:lnTo>
                  <a:pt x="2385" y="1177"/>
                </a:lnTo>
                <a:cubicBezTo>
                  <a:pt x="2338" y="1177"/>
                  <a:pt x="2306" y="1209"/>
                  <a:pt x="2306" y="1256"/>
                </a:cubicBezTo>
                <a:cubicBezTo>
                  <a:pt x="2306" y="1304"/>
                  <a:pt x="2338" y="1336"/>
                  <a:pt x="2385" y="1336"/>
                </a:cubicBezTo>
                <a:close/>
                <a:moveTo>
                  <a:pt x="79" y="4342"/>
                </a:moveTo>
                <a:cubicBezTo>
                  <a:pt x="127" y="4342"/>
                  <a:pt x="158" y="4310"/>
                  <a:pt x="158" y="4263"/>
                </a:cubicBezTo>
                <a:lnTo>
                  <a:pt x="158" y="3833"/>
                </a:lnTo>
                <a:lnTo>
                  <a:pt x="1813" y="3833"/>
                </a:lnTo>
                <a:lnTo>
                  <a:pt x="1813" y="4263"/>
                </a:lnTo>
                <a:cubicBezTo>
                  <a:pt x="1813" y="4310"/>
                  <a:pt x="1860" y="4342"/>
                  <a:pt x="1892" y="4342"/>
                </a:cubicBezTo>
                <a:cubicBezTo>
                  <a:pt x="1940" y="4342"/>
                  <a:pt x="1972" y="4310"/>
                  <a:pt x="1972" y="4263"/>
                </a:cubicBezTo>
                <a:lnTo>
                  <a:pt x="1972" y="3833"/>
                </a:lnTo>
                <a:lnTo>
                  <a:pt x="3848" y="3833"/>
                </a:lnTo>
                <a:lnTo>
                  <a:pt x="3848" y="4263"/>
                </a:lnTo>
                <a:cubicBezTo>
                  <a:pt x="3848" y="4310"/>
                  <a:pt x="3881" y="4342"/>
                  <a:pt x="3928" y="4342"/>
                </a:cubicBezTo>
                <a:cubicBezTo>
                  <a:pt x="3976" y="4342"/>
                  <a:pt x="4008" y="4310"/>
                  <a:pt x="4008" y="4263"/>
                </a:cubicBezTo>
                <a:lnTo>
                  <a:pt x="4008" y="3754"/>
                </a:lnTo>
                <a:lnTo>
                  <a:pt x="4008" y="3674"/>
                </a:lnTo>
                <a:lnTo>
                  <a:pt x="4008" y="1081"/>
                </a:lnTo>
                <a:cubicBezTo>
                  <a:pt x="4008" y="493"/>
                  <a:pt x="3515" y="0"/>
                  <a:pt x="2942" y="0"/>
                </a:cubicBezTo>
                <a:lnTo>
                  <a:pt x="985" y="0"/>
                </a:lnTo>
                <a:cubicBezTo>
                  <a:pt x="429" y="0"/>
                  <a:pt x="0" y="461"/>
                  <a:pt x="0" y="1081"/>
                </a:cubicBezTo>
                <a:lnTo>
                  <a:pt x="0" y="3674"/>
                </a:lnTo>
                <a:lnTo>
                  <a:pt x="0" y="3754"/>
                </a:lnTo>
                <a:lnTo>
                  <a:pt x="0" y="4263"/>
                </a:lnTo>
                <a:cubicBezTo>
                  <a:pt x="0" y="4310"/>
                  <a:pt x="47" y="4342"/>
                  <a:pt x="79" y="4342"/>
                </a:cubicBezTo>
                <a:close/>
                <a:moveTo>
                  <a:pt x="2942" y="159"/>
                </a:moveTo>
                <a:cubicBezTo>
                  <a:pt x="3435" y="159"/>
                  <a:pt x="3848" y="588"/>
                  <a:pt x="3848" y="1081"/>
                </a:cubicBezTo>
                <a:lnTo>
                  <a:pt x="3848" y="3674"/>
                </a:lnTo>
                <a:lnTo>
                  <a:pt x="1972" y="3674"/>
                </a:lnTo>
                <a:lnTo>
                  <a:pt x="1972" y="1081"/>
                </a:lnTo>
                <a:cubicBezTo>
                  <a:pt x="1972" y="684"/>
                  <a:pt x="1797" y="349"/>
                  <a:pt x="1527" y="159"/>
                </a:cubicBezTo>
                <a:close/>
                <a:moveTo>
                  <a:pt x="158" y="1081"/>
                </a:moveTo>
                <a:cubicBezTo>
                  <a:pt x="158" y="557"/>
                  <a:pt x="524" y="159"/>
                  <a:pt x="985" y="159"/>
                </a:cubicBezTo>
                <a:cubicBezTo>
                  <a:pt x="1463" y="159"/>
                  <a:pt x="1813" y="557"/>
                  <a:pt x="1813" y="1081"/>
                </a:cubicBezTo>
                <a:lnTo>
                  <a:pt x="1813" y="3674"/>
                </a:lnTo>
                <a:lnTo>
                  <a:pt x="158" y="3674"/>
                </a:lnTo>
                <a:close/>
                <a:moveTo>
                  <a:pt x="2322" y="2958"/>
                </a:moveTo>
                <a:lnTo>
                  <a:pt x="3515" y="2958"/>
                </a:lnTo>
                <a:cubicBezTo>
                  <a:pt x="3547" y="2958"/>
                  <a:pt x="3594" y="2911"/>
                  <a:pt x="3594" y="2879"/>
                </a:cubicBezTo>
                <a:lnTo>
                  <a:pt x="3594" y="1702"/>
                </a:lnTo>
                <a:cubicBezTo>
                  <a:pt x="3594" y="1654"/>
                  <a:pt x="3547" y="1622"/>
                  <a:pt x="3515" y="1622"/>
                </a:cubicBezTo>
                <a:lnTo>
                  <a:pt x="2322" y="1622"/>
                </a:lnTo>
                <a:cubicBezTo>
                  <a:pt x="2274" y="1622"/>
                  <a:pt x="2242" y="1654"/>
                  <a:pt x="2242" y="1702"/>
                </a:cubicBezTo>
                <a:lnTo>
                  <a:pt x="2242" y="2879"/>
                </a:lnTo>
                <a:cubicBezTo>
                  <a:pt x="2242" y="2911"/>
                  <a:pt x="2274" y="2958"/>
                  <a:pt x="2322" y="2958"/>
                </a:cubicBezTo>
                <a:close/>
                <a:moveTo>
                  <a:pt x="2401" y="1781"/>
                </a:moveTo>
                <a:lnTo>
                  <a:pt x="3435" y="1781"/>
                </a:lnTo>
                <a:lnTo>
                  <a:pt x="3435" y="2799"/>
                </a:lnTo>
                <a:lnTo>
                  <a:pt x="2401" y="2799"/>
                </a:lnTo>
                <a:close/>
                <a:moveTo>
                  <a:pt x="1622" y="1034"/>
                </a:moveTo>
                <a:lnTo>
                  <a:pt x="366" y="1034"/>
                </a:lnTo>
                <a:cubicBezTo>
                  <a:pt x="318" y="1034"/>
                  <a:pt x="286" y="1066"/>
                  <a:pt x="286" y="1113"/>
                </a:cubicBezTo>
                <a:lnTo>
                  <a:pt x="286" y="2290"/>
                </a:lnTo>
                <a:cubicBezTo>
                  <a:pt x="286" y="2322"/>
                  <a:pt x="318" y="2370"/>
                  <a:pt x="366" y="2370"/>
                </a:cubicBezTo>
                <a:lnTo>
                  <a:pt x="1622" y="2370"/>
                </a:lnTo>
                <a:cubicBezTo>
                  <a:pt x="1670" y="2370"/>
                  <a:pt x="1702" y="2322"/>
                  <a:pt x="1702" y="2290"/>
                </a:cubicBezTo>
                <a:lnTo>
                  <a:pt x="1702" y="1113"/>
                </a:lnTo>
                <a:cubicBezTo>
                  <a:pt x="1702" y="1066"/>
                  <a:pt x="1670" y="1034"/>
                  <a:pt x="1622" y="1034"/>
                </a:cubicBezTo>
                <a:close/>
                <a:moveTo>
                  <a:pt x="1479" y="1193"/>
                </a:moveTo>
                <a:lnTo>
                  <a:pt x="985" y="1622"/>
                </a:lnTo>
                <a:lnTo>
                  <a:pt x="509" y="1193"/>
                </a:lnTo>
                <a:close/>
                <a:moveTo>
                  <a:pt x="445" y="2211"/>
                </a:moveTo>
                <a:lnTo>
                  <a:pt x="445" y="1352"/>
                </a:lnTo>
                <a:lnTo>
                  <a:pt x="938" y="1797"/>
                </a:lnTo>
                <a:cubicBezTo>
                  <a:pt x="954" y="1797"/>
                  <a:pt x="970" y="1813"/>
                  <a:pt x="985" y="1813"/>
                </a:cubicBezTo>
                <a:cubicBezTo>
                  <a:pt x="1018" y="1813"/>
                  <a:pt x="1033" y="1797"/>
                  <a:pt x="1049" y="1797"/>
                </a:cubicBezTo>
                <a:lnTo>
                  <a:pt x="1542" y="1336"/>
                </a:lnTo>
                <a:lnTo>
                  <a:pt x="1542" y="2211"/>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Freeform: Shape 5">
            <a:extLst>
              <a:ext uri="{FF2B5EF4-FFF2-40B4-BE49-F238E27FC236}">
                <a16:creationId xmlns:a16="http://schemas.microsoft.com/office/drawing/2014/main" id="{70FC2887-E48F-6941-ADBE-71999EFD8ECA}"/>
              </a:ext>
            </a:extLst>
          </p:cNvPr>
          <p:cNvSpPr/>
          <p:nvPr/>
        </p:nvSpPr>
        <p:spPr>
          <a:xfrm>
            <a:off x="2022328" y="6459874"/>
            <a:ext cx="1160640" cy="1700280"/>
          </a:xfrm>
          <a:custGeom>
            <a:avLst/>
            <a:gdLst/>
            <a:ahLst/>
            <a:cxnLst>
              <a:cxn ang="3cd4">
                <a:pos x="hc" y="t"/>
              </a:cxn>
              <a:cxn ang="cd2">
                <a:pos x="l" y="vc"/>
              </a:cxn>
              <a:cxn ang="cd4">
                <a:pos x="hc" y="b"/>
              </a:cxn>
              <a:cxn ang="0">
                <a:pos x="r" y="vc"/>
              </a:cxn>
            </a:cxnLst>
            <a:rect l="l" t="t" r="r" b="b"/>
            <a:pathLst>
              <a:path w="3225" h="4724">
                <a:moveTo>
                  <a:pt x="1607" y="0"/>
                </a:moveTo>
                <a:cubicBezTo>
                  <a:pt x="1114" y="0"/>
                  <a:pt x="493" y="79"/>
                  <a:pt x="16" y="620"/>
                </a:cubicBezTo>
                <a:cubicBezTo>
                  <a:pt x="0" y="652"/>
                  <a:pt x="0" y="684"/>
                  <a:pt x="0" y="716"/>
                </a:cubicBezTo>
                <a:cubicBezTo>
                  <a:pt x="16" y="731"/>
                  <a:pt x="48" y="763"/>
                  <a:pt x="80" y="763"/>
                </a:cubicBezTo>
                <a:lnTo>
                  <a:pt x="255" y="1034"/>
                </a:lnTo>
                <a:cubicBezTo>
                  <a:pt x="271" y="1066"/>
                  <a:pt x="302" y="1066"/>
                  <a:pt x="318" y="1066"/>
                </a:cubicBezTo>
                <a:lnTo>
                  <a:pt x="462" y="1066"/>
                </a:lnTo>
                <a:lnTo>
                  <a:pt x="462" y="3769"/>
                </a:lnTo>
                <a:lnTo>
                  <a:pt x="382" y="3769"/>
                </a:lnTo>
                <a:cubicBezTo>
                  <a:pt x="335" y="3769"/>
                  <a:pt x="302" y="3802"/>
                  <a:pt x="302" y="3849"/>
                </a:cubicBezTo>
                <a:lnTo>
                  <a:pt x="302" y="4644"/>
                </a:lnTo>
                <a:cubicBezTo>
                  <a:pt x="302" y="4692"/>
                  <a:pt x="335" y="4724"/>
                  <a:pt x="382" y="4724"/>
                </a:cubicBezTo>
                <a:lnTo>
                  <a:pt x="2927" y="4724"/>
                </a:lnTo>
                <a:cubicBezTo>
                  <a:pt x="2975" y="4724"/>
                  <a:pt x="3007" y="4692"/>
                  <a:pt x="3007" y="4644"/>
                </a:cubicBezTo>
                <a:lnTo>
                  <a:pt x="3007" y="3849"/>
                </a:lnTo>
                <a:cubicBezTo>
                  <a:pt x="3007" y="3802"/>
                  <a:pt x="2975" y="3769"/>
                  <a:pt x="2927" y="3769"/>
                </a:cubicBezTo>
                <a:lnTo>
                  <a:pt x="2847" y="3769"/>
                </a:lnTo>
                <a:lnTo>
                  <a:pt x="2847" y="1066"/>
                </a:lnTo>
                <a:lnTo>
                  <a:pt x="2911" y="1066"/>
                </a:lnTo>
                <a:cubicBezTo>
                  <a:pt x="2927" y="1066"/>
                  <a:pt x="2959" y="1066"/>
                  <a:pt x="2975" y="1034"/>
                </a:cubicBezTo>
                <a:lnTo>
                  <a:pt x="3150" y="763"/>
                </a:lnTo>
                <a:cubicBezTo>
                  <a:pt x="3181" y="763"/>
                  <a:pt x="3213" y="731"/>
                  <a:pt x="3213" y="716"/>
                </a:cubicBezTo>
                <a:cubicBezTo>
                  <a:pt x="3229" y="684"/>
                  <a:pt x="3229" y="652"/>
                  <a:pt x="3213" y="620"/>
                </a:cubicBezTo>
                <a:cubicBezTo>
                  <a:pt x="2736" y="79"/>
                  <a:pt x="2116" y="0"/>
                  <a:pt x="1607" y="0"/>
                </a:cubicBezTo>
                <a:close/>
                <a:moveTo>
                  <a:pt x="1607" y="159"/>
                </a:moveTo>
                <a:cubicBezTo>
                  <a:pt x="2211" y="159"/>
                  <a:pt x="2641" y="302"/>
                  <a:pt x="2959" y="604"/>
                </a:cubicBezTo>
                <a:lnTo>
                  <a:pt x="271" y="604"/>
                </a:lnTo>
                <a:cubicBezTo>
                  <a:pt x="589" y="302"/>
                  <a:pt x="1018" y="159"/>
                  <a:pt x="1607" y="159"/>
                </a:cubicBezTo>
                <a:close/>
                <a:moveTo>
                  <a:pt x="2847" y="4565"/>
                </a:moveTo>
                <a:lnTo>
                  <a:pt x="462" y="4565"/>
                </a:lnTo>
                <a:lnTo>
                  <a:pt x="462" y="3929"/>
                </a:lnTo>
                <a:lnTo>
                  <a:pt x="541" y="3929"/>
                </a:lnTo>
                <a:lnTo>
                  <a:pt x="2768" y="3929"/>
                </a:lnTo>
                <a:lnTo>
                  <a:pt x="2847" y="3929"/>
                </a:lnTo>
                <a:close/>
                <a:moveTo>
                  <a:pt x="2689" y="3769"/>
                </a:moveTo>
                <a:lnTo>
                  <a:pt x="621" y="3769"/>
                </a:lnTo>
                <a:lnTo>
                  <a:pt x="621" y="1066"/>
                </a:lnTo>
                <a:lnTo>
                  <a:pt x="2689" y="1066"/>
                </a:lnTo>
                <a:close/>
                <a:moveTo>
                  <a:pt x="2863" y="922"/>
                </a:moveTo>
                <a:lnTo>
                  <a:pt x="2768" y="922"/>
                </a:lnTo>
                <a:lnTo>
                  <a:pt x="541" y="922"/>
                </a:lnTo>
                <a:lnTo>
                  <a:pt x="366" y="922"/>
                </a:lnTo>
                <a:lnTo>
                  <a:pt x="271" y="763"/>
                </a:lnTo>
                <a:lnTo>
                  <a:pt x="2959" y="763"/>
                </a:lnTo>
                <a:close/>
                <a:moveTo>
                  <a:pt x="859" y="1861"/>
                </a:moveTo>
                <a:lnTo>
                  <a:pt x="2450" y="1861"/>
                </a:lnTo>
                <a:cubicBezTo>
                  <a:pt x="2498" y="1861"/>
                  <a:pt x="2529" y="1829"/>
                  <a:pt x="2529" y="1781"/>
                </a:cubicBezTo>
                <a:lnTo>
                  <a:pt x="2529" y="1463"/>
                </a:lnTo>
                <a:cubicBezTo>
                  <a:pt x="2529" y="1431"/>
                  <a:pt x="2498" y="1384"/>
                  <a:pt x="2450" y="1384"/>
                </a:cubicBezTo>
                <a:lnTo>
                  <a:pt x="859" y="1384"/>
                </a:lnTo>
                <a:cubicBezTo>
                  <a:pt x="811" y="1384"/>
                  <a:pt x="780" y="1431"/>
                  <a:pt x="780" y="1463"/>
                </a:cubicBezTo>
                <a:lnTo>
                  <a:pt x="780" y="1781"/>
                </a:lnTo>
                <a:cubicBezTo>
                  <a:pt x="780" y="1829"/>
                  <a:pt x="811" y="1861"/>
                  <a:pt x="859" y="1861"/>
                </a:cubicBezTo>
                <a:close/>
                <a:moveTo>
                  <a:pt x="939" y="1543"/>
                </a:moveTo>
                <a:lnTo>
                  <a:pt x="2370" y="1543"/>
                </a:lnTo>
                <a:lnTo>
                  <a:pt x="2370" y="1702"/>
                </a:lnTo>
                <a:lnTo>
                  <a:pt x="939" y="1702"/>
                </a:lnTo>
                <a:close/>
                <a:moveTo>
                  <a:pt x="859" y="3451"/>
                </a:moveTo>
                <a:lnTo>
                  <a:pt x="2450" y="3451"/>
                </a:lnTo>
                <a:cubicBezTo>
                  <a:pt x="2498" y="3451"/>
                  <a:pt x="2529" y="3420"/>
                  <a:pt x="2529" y="3372"/>
                </a:cubicBezTo>
                <a:lnTo>
                  <a:pt x="2529" y="2418"/>
                </a:lnTo>
                <a:cubicBezTo>
                  <a:pt x="2529" y="2386"/>
                  <a:pt x="2498" y="2338"/>
                  <a:pt x="2450" y="2338"/>
                </a:cubicBezTo>
                <a:lnTo>
                  <a:pt x="875" y="2338"/>
                </a:lnTo>
                <a:lnTo>
                  <a:pt x="859" y="2338"/>
                </a:lnTo>
                <a:lnTo>
                  <a:pt x="844" y="2338"/>
                </a:lnTo>
                <a:cubicBezTo>
                  <a:pt x="811" y="2354"/>
                  <a:pt x="780" y="2386"/>
                  <a:pt x="780" y="2418"/>
                </a:cubicBezTo>
                <a:lnTo>
                  <a:pt x="780" y="3372"/>
                </a:lnTo>
                <a:cubicBezTo>
                  <a:pt x="780" y="3420"/>
                  <a:pt x="811" y="3451"/>
                  <a:pt x="859" y="3451"/>
                </a:cubicBezTo>
                <a:close/>
                <a:moveTo>
                  <a:pt x="939" y="3293"/>
                </a:moveTo>
                <a:lnTo>
                  <a:pt x="939" y="2576"/>
                </a:lnTo>
                <a:lnTo>
                  <a:pt x="1607" y="3085"/>
                </a:lnTo>
                <a:cubicBezTo>
                  <a:pt x="1623" y="3085"/>
                  <a:pt x="1639" y="3102"/>
                  <a:pt x="1654" y="3102"/>
                </a:cubicBezTo>
                <a:cubicBezTo>
                  <a:pt x="1671" y="3102"/>
                  <a:pt x="1686" y="3085"/>
                  <a:pt x="1702" y="3085"/>
                </a:cubicBezTo>
                <a:lnTo>
                  <a:pt x="2370" y="2576"/>
                </a:lnTo>
                <a:lnTo>
                  <a:pt x="2370" y="3293"/>
                </a:lnTo>
                <a:close/>
                <a:moveTo>
                  <a:pt x="1098" y="2497"/>
                </a:moveTo>
                <a:lnTo>
                  <a:pt x="2195" y="2497"/>
                </a:lnTo>
                <a:lnTo>
                  <a:pt x="1654" y="2927"/>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Freeform: Shape 6">
            <a:extLst>
              <a:ext uri="{FF2B5EF4-FFF2-40B4-BE49-F238E27FC236}">
                <a16:creationId xmlns:a16="http://schemas.microsoft.com/office/drawing/2014/main" id="{CCB9F7EB-6E40-DB43-B189-6987CEE5EF5E}"/>
              </a:ext>
            </a:extLst>
          </p:cNvPr>
          <p:cNvSpPr/>
          <p:nvPr/>
        </p:nvSpPr>
        <p:spPr>
          <a:xfrm>
            <a:off x="21250025" y="3179701"/>
            <a:ext cx="1519919" cy="1393559"/>
          </a:xfrm>
          <a:custGeom>
            <a:avLst/>
            <a:gdLst/>
            <a:ahLst/>
            <a:cxnLst>
              <a:cxn ang="3cd4">
                <a:pos x="hc" y="t"/>
              </a:cxn>
              <a:cxn ang="cd2">
                <a:pos x="l" y="vc"/>
              </a:cxn>
              <a:cxn ang="cd4">
                <a:pos x="hc" y="b"/>
              </a:cxn>
              <a:cxn ang="0">
                <a:pos x="r" y="vc"/>
              </a:cxn>
            </a:cxnLst>
            <a:rect l="l" t="t" r="r" b="b"/>
            <a:pathLst>
              <a:path w="4223" h="3872">
                <a:moveTo>
                  <a:pt x="4200" y="1153"/>
                </a:moveTo>
                <a:cubicBezTo>
                  <a:pt x="4168" y="1121"/>
                  <a:pt x="4120" y="1121"/>
                  <a:pt x="4088" y="1153"/>
                </a:cubicBezTo>
                <a:cubicBezTo>
                  <a:pt x="3849" y="1391"/>
                  <a:pt x="3452" y="1391"/>
                  <a:pt x="3213" y="1153"/>
                </a:cubicBezTo>
                <a:cubicBezTo>
                  <a:pt x="2975" y="914"/>
                  <a:pt x="2975" y="532"/>
                  <a:pt x="3213" y="278"/>
                </a:cubicBezTo>
                <a:cubicBezTo>
                  <a:pt x="3373" y="118"/>
                  <a:pt x="3643" y="118"/>
                  <a:pt x="3802" y="278"/>
                </a:cubicBezTo>
                <a:cubicBezTo>
                  <a:pt x="3961" y="453"/>
                  <a:pt x="3961" y="707"/>
                  <a:pt x="3802" y="866"/>
                </a:cubicBezTo>
                <a:cubicBezTo>
                  <a:pt x="3770" y="898"/>
                  <a:pt x="3770" y="962"/>
                  <a:pt x="3802" y="993"/>
                </a:cubicBezTo>
                <a:cubicBezTo>
                  <a:pt x="3834" y="1009"/>
                  <a:pt x="3882" y="1009"/>
                  <a:pt x="3913" y="993"/>
                </a:cubicBezTo>
                <a:cubicBezTo>
                  <a:pt x="4136" y="755"/>
                  <a:pt x="4136" y="389"/>
                  <a:pt x="3913" y="166"/>
                </a:cubicBezTo>
                <a:cubicBezTo>
                  <a:pt x="3691" y="-55"/>
                  <a:pt x="3325" y="-55"/>
                  <a:pt x="3102" y="166"/>
                </a:cubicBezTo>
                <a:lnTo>
                  <a:pt x="1830" y="1439"/>
                </a:lnTo>
                <a:lnTo>
                  <a:pt x="716" y="2552"/>
                </a:lnTo>
                <a:cubicBezTo>
                  <a:pt x="415" y="2854"/>
                  <a:pt x="415" y="3347"/>
                  <a:pt x="716" y="3650"/>
                </a:cubicBezTo>
                <a:cubicBezTo>
                  <a:pt x="859" y="3809"/>
                  <a:pt x="1066" y="3872"/>
                  <a:pt x="1257" y="3872"/>
                </a:cubicBezTo>
                <a:cubicBezTo>
                  <a:pt x="1464" y="3872"/>
                  <a:pt x="1655" y="3809"/>
                  <a:pt x="1813" y="3650"/>
                </a:cubicBezTo>
                <a:lnTo>
                  <a:pt x="4200" y="1264"/>
                </a:lnTo>
                <a:cubicBezTo>
                  <a:pt x="4231" y="1232"/>
                  <a:pt x="4231" y="1184"/>
                  <a:pt x="4200" y="1153"/>
                </a:cubicBezTo>
                <a:close/>
                <a:moveTo>
                  <a:pt x="1703" y="3538"/>
                </a:moveTo>
                <a:cubicBezTo>
                  <a:pt x="1464" y="3777"/>
                  <a:pt x="1066" y="3777"/>
                  <a:pt x="828" y="3538"/>
                </a:cubicBezTo>
                <a:cubicBezTo>
                  <a:pt x="589" y="3300"/>
                  <a:pt x="589" y="2918"/>
                  <a:pt x="828" y="2663"/>
                </a:cubicBezTo>
                <a:lnTo>
                  <a:pt x="1623" y="1884"/>
                </a:lnTo>
                <a:cubicBezTo>
                  <a:pt x="1591" y="2107"/>
                  <a:pt x="1655" y="2345"/>
                  <a:pt x="1830" y="2536"/>
                </a:cubicBezTo>
                <a:cubicBezTo>
                  <a:pt x="1989" y="2680"/>
                  <a:pt x="2179" y="2759"/>
                  <a:pt x="2386" y="2759"/>
                </a:cubicBezTo>
                <a:cubicBezTo>
                  <a:pt x="2418" y="2759"/>
                  <a:pt x="2450" y="2759"/>
                  <a:pt x="2482" y="2743"/>
                </a:cubicBezTo>
                <a:close/>
                <a:moveTo>
                  <a:pt x="2816" y="2425"/>
                </a:moveTo>
                <a:cubicBezTo>
                  <a:pt x="2704" y="2536"/>
                  <a:pt x="2545" y="2600"/>
                  <a:pt x="2386" y="2600"/>
                </a:cubicBezTo>
                <a:cubicBezTo>
                  <a:pt x="2227" y="2600"/>
                  <a:pt x="2068" y="2536"/>
                  <a:pt x="1957" y="2425"/>
                </a:cubicBezTo>
                <a:cubicBezTo>
                  <a:pt x="1703" y="2171"/>
                  <a:pt x="1703" y="1789"/>
                  <a:pt x="1957" y="1550"/>
                </a:cubicBezTo>
                <a:lnTo>
                  <a:pt x="2879" y="612"/>
                </a:lnTo>
                <a:cubicBezTo>
                  <a:pt x="2848" y="850"/>
                  <a:pt x="2927" y="1089"/>
                  <a:pt x="3102" y="1264"/>
                </a:cubicBezTo>
                <a:cubicBezTo>
                  <a:pt x="3245" y="1423"/>
                  <a:pt x="3452" y="1487"/>
                  <a:pt x="3643" y="1487"/>
                </a:cubicBezTo>
                <a:lnTo>
                  <a:pt x="3754" y="1487"/>
                </a:lnTo>
                <a:close/>
                <a:moveTo>
                  <a:pt x="80" y="804"/>
                </a:moveTo>
                <a:lnTo>
                  <a:pt x="1830" y="804"/>
                </a:lnTo>
                <a:cubicBezTo>
                  <a:pt x="1877" y="804"/>
                  <a:pt x="1909" y="772"/>
                  <a:pt x="1909" y="724"/>
                </a:cubicBezTo>
                <a:cubicBezTo>
                  <a:pt x="1909" y="676"/>
                  <a:pt x="1877" y="645"/>
                  <a:pt x="1830" y="645"/>
                </a:cubicBezTo>
                <a:lnTo>
                  <a:pt x="80" y="645"/>
                </a:lnTo>
                <a:cubicBezTo>
                  <a:pt x="48" y="645"/>
                  <a:pt x="0" y="676"/>
                  <a:pt x="0" y="724"/>
                </a:cubicBezTo>
                <a:cubicBezTo>
                  <a:pt x="0" y="772"/>
                  <a:pt x="48" y="804"/>
                  <a:pt x="80" y="804"/>
                </a:cubicBezTo>
                <a:close/>
                <a:moveTo>
                  <a:pt x="80" y="1440"/>
                </a:moveTo>
                <a:lnTo>
                  <a:pt x="1194" y="1440"/>
                </a:lnTo>
                <a:cubicBezTo>
                  <a:pt x="1241" y="1440"/>
                  <a:pt x="1273" y="1408"/>
                  <a:pt x="1273" y="1360"/>
                </a:cubicBezTo>
                <a:cubicBezTo>
                  <a:pt x="1273" y="1313"/>
                  <a:pt x="1241" y="1281"/>
                  <a:pt x="1194" y="1281"/>
                </a:cubicBezTo>
                <a:lnTo>
                  <a:pt x="80" y="1281"/>
                </a:lnTo>
                <a:cubicBezTo>
                  <a:pt x="48" y="1281"/>
                  <a:pt x="0" y="1313"/>
                  <a:pt x="0" y="1360"/>
                </a:cubicBezTo>
                <a:cubicBezTo>
                  <a:pt x="0" y="1408"/>
                  <a:pt x="48" y="1440"/>
                  <a:pt x="80" y="1440"/>
                </a:cubicBezTo>
                <a:close/>
                <a:moveTo>
                  <a:pt x="80" y="2076"/>
                </a:moveTo>
                <a:lnTo>
                  <a:pt x="557" y="2076"/>
                </a:lnTo>
                <a:cubicBezTo>
                  <a:pt x="605" y="2076"/>
                  <a:pt x="637" y="2028"/>
                  <a:pt x="637" y="1997"/>
                </a:cubicBezTo>
                <a:cubicBezTo>
                  <a:pt x="637" y="1949"/>
                  <a:pt x="605" y="1917"/>
                  <a:pt x="557" y="1917"/>
                </a:cubicBezTo>
                <a:lnTo>
                  <a:pt x="80" y="1917"/>
                </a:lnTo>
                <a:cubicBezTo>
                  <a:pt x="48" y="1917"/>
                  <a:pt x="0" y="1949"/>
                  <a:pt x="0" y="1997"/>
                </a:cubicBezTo>
                <a:cubicBezTo>
                  <a:pt x="0" y="2028"/>
                  <a:pt x="48" y="2076"/>
                  <a:pt x="80" y="207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7">
            <a:extLst>
              <a:ext uri="{FF2B5EF4-FFF2-40B4-BE49-F238E27FC236}">
                <a16:creationId xmlns:a16="http://schemas.microsoft.com/office/drawing/2014/main" id="{6E3A6119-5CFB-4548-BC7E-886FE2CEACFC}"/>
              </a:ext>
            </a:extLst>
          </p:cNvPr>
          <p:cNvSpPr/>
          <p:nvPr/>
        </p:nvSpPr>
        <p:spPr>
          <a:xfrm>
            <a:off x="17572526" y="3096901"/>
            <a:ext cx="1556999" cy="1568519"/>
          </a:xfrm>
          <a:custGeom>
            <a:avLst/>
            <a:gdLst/>
            <a:ahLst/>
            <a:cxnLst>
              <a:cxn ang="3cd4">
                <a:pos x="hc" y="t"/>
              </a:cxn>
              <a:cxn ang="cd2">
                <a:pos x="l" y="vc"/>
              </a:cxn>
              <a:cxn ang="cd4">
                <a:pos x="hc" y="b"/>
              </a:cxn>
              <a:cxn ang="0">
                <a:pos x="r" y="vc"/>
              </a:cxn>
            </a:cxnLst>
            <a:rect l="l" t="t" r="r" b="b"/>
            <a:pathLst>
              <a:path w="4326" h="4358">
                <a:moveTo>
                  <a:pt x="3881" y="715"/>
                </a:moveTo>
                <a:cubicBezTo>
                  <a:pt x="3833" y="715"/>
                  <a:pt x="3801" y="747"/>
                  <a:pt x="3801" y="795"/>
                </a:cubicBezTo>
                <a:cubicBezTo>
                  <a:pt x="3801" y="843"/>
                  <a:pt x="3833" y="875"/>
                  <a:pt x="3881" y="875"/>
                </a:cubicBezTo>
                <a:cubicBezTo>
                  <a:pt x="4119" y="875"/>
                  <a:pt x="4326" y="684"/>
                  <a:pt x="4326" y="429"/>
                </a:cubicBezTo>
                <a:cubicBezTo>
                  <a:pt x="4326" y="191"/>
                  <a:pt x="4119" y="0"/>
                  <a:pt x="3881" y="0"/>
                </a:cubicBezTo>
                <a:lnTo>
                  <a:pt x="1256" y="0"/>
                </a:lnTo>
                <a:cubicBezTo>
                  <a:pt x="954" y="0"/>
                  <a:pt x="668" y="239"/>
                  <a:pt x="668" y="525"/>
                </a:cubicBezTo>
                <a:lnTo>
                  <a:pt x="668" y="3467"/>
                </a:lnTo>
                <a:lnTo>
                  <a:pt x="445" y="3467"/>
                </a:lnTo>
                <a:cubicBezTo>
                  <a:pt x="207" y="3467"/>
                  <a:pt x="0" y="3658"/>
                  <a:pt x="0" y="3912"/>
                </a:cubicBezTo>
                <a:cubicBezTo>
                  <a:pt x="0" y="4151"/>
                  <a:pt x="207" y="4358"/>
                  <a:pt x="445" y="4358"/>
                </a:cubicBezTo>
                <a:lnTo>
                  <a:pt x="2847" y="4358"/>
                </a:lnTo>
                <a:lnTo>
                  <a:pt x="2974" y="4358"/>
                </a:lnTo>
                <a:lnTo>
                  <a:pt x="3070" y="4358"/>
                </a:lnTo>
                <a:cubicBezTo>
                  <a:pt x="3340" y="4358"/>
                  <a:pt x="3579" y="4087"/>
                  <a:pt x="3579" y="3785"/>
                </a:cubicBezTo>
                <a:lnTo>
                  <a:pt x="3579" y="429"/>
                </a:lnTo>
                <a:cubicBezTo>
                  <a:pt x="3579" y="286"/>
                  <a:pt x="3722" y="159"/>
                  <a:pt x="3881" y="159"/>
                </a:cubicBezTo>
                <a:cubicBezTo>
                  <a:pt x="4040" y="159"/>
                  <a:pt x="4167" y="286"/>
                  <a:pt x="4167" y="429"/>
                </a:cubicBezTo>
                <a:cubicBezTo>
                  <a:pt x="4167" y="588"/>
                  <a:pt x="4040" y="715"/>
                  <a:pt x="3881" y="715"/>
                </a:cubicBezTo>
                <a:close/>
                <a:moveTo>
                  <a:pt x="2640" y="4199"/>
                </a:moveTo>
                <a:lnTo>
                  <a:pt x="445" y="4199"/>
                </a:lnTo>
                <a:cubicBezTo>
                  <a:pt x="286" y="4199"/>
                  <a:pt x="159" y="4072"/>
                  <a:pt x="159" y="3912"/>
                </a:cubicBezTo>
                <a:cubicBezTo>
                  <a:pt x="159" y="3754"/>
                  <a:pt x="286" y="3626"/>
                  <a:pt x="445" y="3626"/>
                </a:cubicBezTo>
                <a:lnTo>
                  <a:pt x="2640" y="3626"/>
                </a:lnTo>
                <a:cubicBezTo>
                  <a:pt x="2577" y="3706"/>
                  <a:pt x="2529" y="3801"/>
                  <a:pt x="2529" y="3912"/>
                </a:cubicBezTo>
                <a:cubicBezTo>
                  <a:pt x="2529" y="4024"/>
                  <a:pt x="2577" y="4120"/>
                  <a:pt x="2640" y="4199"/>
                </a:cubicBezTo>
                <a:close/>
                <a:moveTo>
                  <a:pt x="3420" y="429"/>
                </a:moveTo>
                <a:lnTo>
                  <a:pt x="3420" y="3785"/>
                </a:lnTo>
                <a:cubicBezTo>
                  <a:pt x="3420" y="3976"/>
                  <a:pt x="3277" y="4199"/>
                  <a:pt x="3070" y="4199"/>
                </a:cubicBezTo>
                <a:lnTo>
                  <a:pt x="2974" y="4199"/>
                </a:lnTo>
                <a:cubicBezTo>
                  <a:pt x="2815" y="4199"/>
                  <a:pt x="2688" y="4072"/>
                  <a:pt x="2688" y="3912"/>
                </a:cubicBezTo>
                <a:cubicBezTo>
                  <a:pt x="2688" y="3754"/>
                  <a:pt x="2815" y="3626"/>
                  <a:pt x="2974" y="3626"/>
                </a:cubicBezTo>
                <a:cubicBezTo>
                  <a:pt x="3022" y="3626"/>
                  <a:pt x="3054" y="3594"/>
                  <a:pt x="3054" y="3547"/>
                </a:cubicBezTo>
                <a:cubicBezTo>
                  <a:pt x="3054" y="3499"/>
                  <a:pt x="3022" y="3467"/>
                  <a:pt x="2974" y="3467"/>
                </a:cubicBezTo>
                <a:lnTo>
                  <a:pt x="827" y="3467"/>
                </a:lnTo>
                <a:lnTo>
                  <a:pt x="827" y="525"/>
                </a:lnTo>
                <a:cubicBezTo>
                  <a:pt x="827" y="318"/>
                  <a:pt x="1066" y="159"/>
                  <a:pt x="1256" y="159"/>
                </a:cubicBezTo>
                <a:lnTo>
                  <a:pt x="3531" y="159"/>
                </a:lnTo>
                <a:cubicBezTo>
                  <a:pt x="3467" y="239"/>
                  <a:pt x="3420" y="334"/>
                  <a:pt x="3420" y="429"/>
                </a:cubicBezTo>
                <a:close/>
                <a:moveTo>
                  <a:pt x="1177" y="795"/>
                </a:moveTo>
                <a:cubicBezTo>
                  <a:pt x="1177" y="843"/>
                  <a:pt x="1225" y="875"/>
                  <a:pt x="1256" y="875"/>
                </a:cubicBezTo>
                <a:lnTo>
                  <a:pt x="1988" y="875"/>
                </a:lnTo>
                <a:cubicBezTo>
                  <a:pt x="2036" y="875"/>
                  <a:pt x="2068" y="843"/>
                  <a:pt x="2068" y="795"/>
                </a:cubicBezTo>
                <a:cubicBezTo>
                  <a:pt x="2068" y="747"/>
                  <a:pt x="2036" y="715"/>
                  <a:pt x="1988" y="715"/>
                </a:cubicBezTo>
                <a:lnTo>
                  <a:pt x="1256" y="715"/>
                </a:lnTo>
                <a:cubicBezTo>
                  <a:pt x="1225" y="715"/>
                  <a:pt x="1177" y="747"/>
                  <a:pt x="1177" y="795"/>
                </a:cubicBezTo>
                <a:close/>
                <a:moveTo>
                  <a:pt x="1177" y="1224"/>
                </a:moveTo>
                <a:cubicBezTo>
                  <a:pt x="1177" y="1272"/>
                  <a:pt x="1225" y="1304"/>
                  <a:pt x="1256" y="1304"/>
                </a:cubicBezTo>
                <a:lnTo>
                  <a:pt x="2990" y="1304"/>
                </a:lnTo>
                <a:cubicBezTo>
                  <a:pt x="3038" y="1304"/>
                  <a:pt x="3070" y="1272"/>
                  <a:pt x="3070" y="1224"/>
                </a:cubicBezTo>
                <a:cubicBezTo>
                  <a:pt x="3070" y="1193"/>
                  <a:pt x="3038" y="1145"/>
                  <a:pt x="2990" y="1145"/>
                </a:cubicBezTo>
                <a:lnTo>
                  <a:pt x="1256" y="1145"/>
                </a:lnTo>
                <a:cubicBezTo>
                  <a:pt x="1225" y="1145"/>
                  <a:pt x="1177" y="1193"/>
                  <a:pt x="1177" y="1224"/>
                </a:cubicBezTo>
                <a:close/>
                <a:moveTo>
                  <a:pt x="2990" y="1590"/>
                </a:moveTo>
                <a:lnTo>
                  <a:pt x="1256" y="1590"/>
                </a:lnTo>
                <a:cubicBezTo>
                  <a:pt x="1225" y="1590"/>
                  <a:pt x="1177" y="1622"/>
                  <a:pt x="1177" y="1670"/>
                </a:cubicBezTo>
                <a:cubicBezTo>
                  <a:pt x="1177" y="1718"/>
                  <a:pt x="1225" y="1749"/>
                  <a:pt x="1256" y="1749"/>
                </a:cubicBezTo>
                <a:lnTo>
                  <a:pt x="2990" y="1749"/>
                </a:lnTo>
                <a:cubicBezTo>
                  <a:pt x="3038" y="1749"/>
                  <a:pt x="3070" y="1718"/>
                  <a:pt x="3070" y="1670"/>
                </a:cubicBezTo>
                <a:cubicBezTo>
                  <a:pt x="3070" y="1622"/>
                  <a:pt x="3038" y="1590"/>
                  <a:pt x="2990" y="1590"/>
                </a:cubicBezTo>
                <a:close/>
                <a:moveTo>
                  <a:pt x="2990" y="2020"/>
                </a:moveTo>
                <a:lnTo>
                  <a:pt x="1256" y="2020"/>
                </a:lnTo>
                <a:cubicBezTo>
                  <a:pt x="1225" y="2020"/>
                  <a:pt x="1177" y="2052"/>
                  <a:pt x="1177" y="2099"/>
                </a:cubicBezTo>
                <a:cubicBezTo>
                  <a:pt x="1177" y="2147"/>
                  <a:pt x="1225" y="2179"/>
                  <a:pt x="1256" y="2179"/>
                </a:cubicBezTo>
                <a:lnTo>
                  <a:pt x="2990" y="2179"/>
                </a:lnTo>
                <a:cubicBezTo>
                  <a:pt x="3038" y="2179"/>
                  <a:pt x="3070" y="2147"/>
                  <a:pt x="3070" y="2099"/>
                </a:cubicBezTo>
                <a:cubicBezTo>
                  <a:pt x="3070" y="2052"/>
                  <a:pt x="3038" y="2020"/>
                  <a:pt x="2990" y="2020"/>
                </a:cubicBezTo>
                <a:close/>
                <a:moveTo>
                  <a:pt x="2990" y="2449"/>
                </a:moveTo>
                <a:lnTo>
                  <a:pt x="1256" y="2449"/>
                </a:lnTo>
                <a:cubicBezTo>
                  <a:pt x="1225" y="2449"/>
                  <a:pt x="1177" y="2497"/>
                  <a:pt x="1177" y="2529"/>
                </a:cubicBezTo>
                <a:cubicBezTo>
                  <a:pt x="1177" y="2576"/>
                  <a:pt x="1225" y="2608"/>
                  <a:pt x="1256" y="2608"/>
                </a:cubicBezTo>
                <a:lnTo>
                  <a:pt x="2990" y="2608"/>
                </a:lnTo>
                <a:cubicBezTo>
                  <a:pt x="3038" y="2608"/>
                  <a:pt x="3070" y="2576"/>
                  <a:pt x="3070" y="2529"/>
                </a:cubicBezTo>
                <a:cubicBezTo>
                  <a:pt x="3070" y="2497"/>
                  <a:pt x="3038" y="2449"/>
                  <a:pt x="2990" y="2449"/>
                </a:cubicBezTo>
                <a:close/>
                <a:moveTo>
                  <a:pt x="2990" y="2894"/>
                </a:moveTo>
                <a:lnTo>
                  <a:pt x="1256" y="2894"/>
                </a:lnTo>
                <a:cubicBezTo>
                  <a:pt x="1225" y="2894"/>
                  <a:pt x="1177" y="2926"/>
                  <a:pt x="1177" y="2974"/>
                </a:cubicBezTo>
                <a:cubicBezTo>
                  <a:pt x="1177" y="3006"/>
                  <a:pt x="1225" y="3054"/>
                  <a:pt x="1256" y="3054"/>
                </a:cubicBezTo>
                <a:lnTo>
                  <a:pt x="2990" y="3054"/>
                </a:lnTo>
                <a:cubicBezTo>
                  <a:pt x="3038" y="3054"/>
                  <a:pt x="3070" y="3006"/>
                  <a:pt x="3070" y="2974"/>
                </a:cubicBezTo>
                <a:cubicBezTo>
                  <a:pt x="3070" y="2926"/>
                  <a:pt x="3038" y="2894"/>
                  <a:pt x="2990" y="289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3" name="Freeform: Shape 8">
            <a:extLst>
              <a:ext uri="{FF2B5EF4-FFF2-40B4-BE49-F238E27FC236}">
                <a16:creationId xmlns:a16="http://schemas.microsoft.com/office/drawing/2014/main" id="{AA041622-6444-384A-A608-4B82A8E55DC0}"/>
              </a:ext>
            </a:extLst>
          </p:cNvPr>
          <p:cNvSpPr/>
          <p:nvPr/>
        </p:nvSpPr>
        <p:spPr>
          <a:xfrm>
            <a:off x="13904166" y="3503562"/>
            <a:ext cx="1700280" cy="919080"/>
          </a:xfrm>
          <a:custGeom>
            <a:avLst/>
            <a:gdLst/>
            <a:ahLst/>
            <a:cxnLst>
              <a:cxn ang="3cd4">
                <a:pos x="hc" y="t"/>
              </a:cxn>
              <a:cxn ang="cd2">
                <a:pos x="l" y="vc"/>
              </a:cxn>
              <a:cxn ang="cd4">
                <a:pos x="hc" y="b"/>
              </a:cxn>
              <a:cxn ang="0">
                <a:pos x="r" y="vc"/>
              </a:cxn>
            </a:cxnLst>
            <a:rect l="l" t="t" r="r" b="b"/>
            <a:pathLst>
              <a:path w="4724" h="2554">
                <a:moveTo>
                  <a:pt x="4151" y="1997"/>
                </a:moveTo>
                <a:cubicBezTo>
                  <a:pt x="4103" y="1997"/>
                  <a:pt x="4072" y="2029"/>
                  <a:pt x="4072" y="2077"/>
                </a:cubicBezTo>
                <a:cubicBezTo>
                  <a:pt x="4072" y="2124"/>
                  <a:pt x="4103" y="2157"/>
                  <a:pt x="4151" y="2157"/>
                </a:cubicBezTo>
                <a:cubicBezTo>
                  <a:pt x="4469" y="2157"/>
                  <a:pt x="4724" y="1902"/>
                  <a:pt x="4724" y="1584"/>
                </a:cubicBezTo>
                <a:cubicBezTo>
                  <a:pt x="4724" y="1250"/>
                  <a:pt x="4453" y="963"/>
                  <a:pt x="4135" y="963"/>
                </a:cubicBezTo>
                <a:cubicBezTo>
                  <a:pt x="4120" y="963"/>
                  <a:pt x="4103" y="963"/>
                  <a:pt x="4088" y="963"/>
                </a:cubicBezTo>
                <a:lnTo>
                  <a:pt x="4072" y="963"/>
                </a:lnTo>
                <a:cubicBezTo>
                  <a:pt x="2911" y="963"/>
                  <a:pt x="2911" y="963"/>
                  <a:pt x="2911" y="963"/>
                </a:cubicBezTo>
                <a:cubicBezTo>
                  <a:pt x="3117" y="836"/>
                  <a:pt x="3292" y="645"/>
                  <a:pt x="3340" y="455"/>
                </a:cubicBezTo>
                <a:cubicBezTo>
                  <a:pt x="3356" y="359"/>
                  <a:pt x="3356" y="184"/>
                  <a:pt x="3117" y="73"/>
                </a:cubicBezTo>
                <a:cubicBezTo>
                  <a:pt x="2942" y="-22"/>
                  <a:pt x="2799" y="-22"/>
                  <a:pt x="2672" y="57"/>
                </a:cubicBezTo>
                <a:cubicBezTo>
                  <a:pt x="2513" y="152"/>
                  <a:pt x="2418" y="359"/>
                  <a:pt x="2354" y="550"/>
                </a:cubicBezTo>
                <a:cubicBezTo>
                  <a:pt x="2306" y="359"/>
                  <a:pt x="2211" y="152"/>
                  <a:pt x="2052" y="57"/>
                </a:cubicBezTo>
                <a:cubicBezTo>
                  <a:pt x="1924" y="-22"/>
                  <a:pt x="1781" y="-22"/>
                  <a:pt x="1606" y="73"/>
                </a:cubicBezTo>
                <a:cubicBezTo>
                  <a:pt x="1368" y="184"/>
                  <a:pt x="1368" y="359"/>
                  <a:pt x="1384" y="455"/>
                </a:cubicBezTo>
                <a:cubicBezTo>
                  <a:pt x="1431" y="645"/>
                  <a:pt x="1606" y="836"/>
                  <a:pt x="1813" y="963"/>
                </a:cubicBezTo>
                <a:cubicBezTo>
                  <a:pt x="779" y="963"/>
                  <a:pt x="779" y="963"/>
                  <a:pt x="779" y="963"/>
                </a:cubicBezTo>
                <a:cubicBezTo>
                  <a:pt x="350" y="963"/>
                  <a:pt x="0" y="1329"/>
                  <a:pt x="0" y="1759"/>
                </a:cubicBezTo>
                <a:cubicBezTo>
                  <a:pt x="0" y="2188"/>
                  <a:pt x="350" y="2554"/>
                  <a:pt x="779" y="2554"/>
                </a:cubicBezTo>
                <a:cubicBezTo>
                  <a:pt x="4151" y="2554"/>
                  <a:pt x="4151" y="2554"/>
                  <a:pt x="4151" y="2554"/>
                </a:cubicBezTo>
                <a:cubicBezTo>
                  <a:pt x="4199" y="2554"/>
                  <a:pt x="4231" y="2523"/>
                  <a:pt x="4231" y="2475"/>
                </a:cubicBezTo>
                <a:cubicBezTo>
                  <a:pt x="4231" y="2427"/>
                  <a:pt x="4199" y="2395"/>
                  <a:pt x="4151" y="2395"/>
                </a:cubicBezTo>
                <a:cubicBezTo>
                  <a:pt x="3801" y="2395"/>
                  <a:pt x="3531" y="2124"/>
                  <a:pt x="3531" y="1791"/>
                </a:cubicBezTo>
                <a:cubicBezTo>
                  <a:pt x="3531" y="1425"/>
                  <a:pt x="3817" y="1123"/>
                  <a:pt x="4135" y="1123"/>
                </a:cubicBezTo>
                <a:cubicBezTo>
                  <a:pt x="4358" y="1123"/>
                  <a:pt x="4565" y="1345"/>
                  <a:pt x="4565" y="1584"/>
                </a:cubicBezTo>
                <a:cubicBezTo>
                  <a:pt x="4565" y="1806"/>
                  <a:pt x="4374" y="1997"/>
                  <a:pt x="4151" y="1997"/>
                </a:cubicBezTo>
                <a:close/>
                <a:moveTo>
                  <a:pt x="2751" y="200"/>
                </a:moveTo>
                <a:cubicBezTo>
                  <a:pt x="2784" y="168"/>
                  <a:pt x="2831" y="168"/>
                  <a:pt x="2863" y="168"/>
                </a:cubicBezTo>
                <a:cubicBezTo>
                  <a:pt x="2927" y="168"/>
                  <a:pt x="2990" y="184"/>
                  <a:pt x="3054" y="216"/>
                </a:cubicBezTo>
                <a:cubicBezTo>
                  <a:pt x="3197" y="279"/>
                  <a:pt x="3197" y="359"/>
                  <a:pt x="3181" y="423"/>
                </a:cubicBezTo>
                <a:cubicBezTo>
                  <a:pt x="3133" y="614"/>
                  <a:pt x="2831" y="868"/>
                  <a:pt x="2545" y="963"/>
                </a:cubicBezTo>
                <a:cubicBezTo>
                  <a:pt x="2449" y="963"/>
                  <a:pt x="2449" y="963"/>
                  <a:pt x="2449" y="963"/>
                </a:cubicBezTo>
                <a:cubicBezTo>
                  <a:pt x="2465" y="725"/>
                  <a:pt x="2545" y="311"/>
                  <a:pt x="2751" y="200"/>
                </a:cubicBezTo>
                <a:close/>
                <a:moveTo>
                  <a:pt x="1543" y="423"/>
                </a:moveTo>
                <a:cubicBezTo>
                  <a:pt x="1527" y="359"/>
                  <a:pt x="1527" y="279"/>
                  <a:pt x="1670" y="216"/>
                </a:cubicBezTo>
                <a:cubicBezTo>
                  <a:pt x="1733" y="184"/>
                  <a:pt x="1797" y="168"/>
                  <a:pt x="1861" y="168"/>
                </a:cubicBezTo>
                <a:cubicBezTo>
                  <a:pt x="1893" y="168"/>
                  <a:pt x="1940" y="168"/>
                  <a:pt x="1972" y="200"/>
                </a:cubicBezTo>
                <a:cubicBezTo>
                  <a:pt x="2179" y="311"/>
                  <a:pt x="2258" y="725"/>
                  <a:pt x="2275" y="963"/>
                </a:cubicBezTo>
                <a:cubicBezTo>
                  <a:pt x="2179" y="963"/>
                  <a:pt x="2179" y="963"/>
                  <a:pt x="2179" y="963"/>
                </a:cubicBezTo>
                <a:cubicBezTo>
                  <a:pt x="1893" y="868"/>
                  <a:pt x="1590" y="614"/>
                  <a:pt x="1543" y="423"/>
                </a:cubicBezTo>
                <a:close/>
                <a:moveTo>
                  <a:pt x="779" y="2395"/>
                </a:moveTo>
                <a:cubicBezTo>
                  <a:pt x="445" y="2395"/>
                  <a:pt x="159" y="2109"/>
                  <a:pt x="159" y="1759"/>
                </a:cubicBezTo>
                <a:cubicBezTo>
                  <a:pt x="159" y="1425"/>
                  <a:pt x="445" y="1123"/>
                  <a:pt x="779" y="1123"/>
                </a:cubicBezTo>
                <a:cubicBezTo>
                  <a:pt x="1956" y="1123"/>
                  <a:pt x="1956" y="1123"/>
                  <a:pt x="1956" y="1123"/>
                </a:cubicBezTo>
                <a:cubicBezTo>
                  <a:pt x="1733" y="1266"/>
                  <a:pt x="1590" y="1505"/>
                  <a:pt x="1590" y="1791"/>
                </a:cubicBezTo>
                <a:cubicBezTo>
                  <a:pt x="1590" y="2029"/>
                  <a:pt x="1702" y="2252"/>
                  <a:pt x="1893" y="2395"/>
                </a:cubicBezTo>
                <a:close/>
                <a:moveTo>
                  <a:pt x="3372" y="1791"/>
                </a:moveTo>
                <a:cubicBezTo>
                  <a:pt x="3372" y="2029"/>
                  <a:pt x="3499" y="2252"/>
                  <a:pt x="3674" y="2395"/>
                </a:cubicBezTo>
                <a:cubicBezTo>
                  <a:pt x="2354" y="2395"/>
                  <a:pt x="2354" y="2395"/>
                  <a:pt x="2354" y="2395"/>
                </a:cubicBezTo>
                <a:cubicBezTo>
                  <a:pt x="2020" y="2395"/>
                  <a:pt x="1749" y="2124"/>
                  <a:pt x="1749" y="1791"/>
                </a:cubicBezTo>
                <a:cubicBezTo>
                  <a:pt x="1749" y="1440"/>
                  <a:pt x="2020" y="1170"/>
                  <a:pt x="2354" y="1170"/>
                </a:cubicBezTo>
                <a:cubicBezTo>
                  <a:pt x="2370" y="1170"/>
                  <a:pt x="2370" y="1170"/>
                  <a:pt x="2370" y="1170"/>
                </a:cubicBezTo>
                <a:cubicBezTo>
                  <a:pt x="2433" y="1170"/>
                  <a:pt x="2497" y="1154"/>
                  <a:pt x="2576" y="1123"/>
                </a:cubicBezTo>
                <a:cubicBezTo>
                  <a:pt x="3690" y="1123"/>
                  <a:pt x="3690" y="1123"/>
                  <a:pt x="3690" y="1123"/>
                </a:cubicBezTo>
                <a:cubicBezTo>
                  <a:pt x="3499" y="1282"/>
                  <a:pt x="3372" y="1520"/>
                  <a:pt x="3372" y="179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4" name="Freeform: Shape 9">
            <a:extLst>
              <a:ext uri="{FF2B5EF4-FFF2-40B4-BE49-F238E27FC236}">
                <a16:creationId xmlns:a16="http://schemas.microsoft.com/office/drawing/2014/main" id="{4924A55C-0CCC-4041-8B4B-76955D2339DA}"/>
              </a:ext>
            </a:extLst>
          </p:cNvPr>
          <p:cNvSpPr/>
          <p:nvPr/>
        </p:nvSpPr>
        <p:spPr>
          <a:xfrm>
            <a:off x="9930344" y="3278202"/>
            <a:ext cx="1830960" cy="1373759"/>
          </a:xfrm>
          <a:custGeom>
            <a:avLst/>
            <a:gdLst/>
            <a:ahLst/>
            <a:cxnLst>
              <a:cxn ang="3cd4">
                <a:pos x="hc" y="t"/>
              </a:cxn>
              <a:cxn ang="cd2">
                <a:pos x="l" y="vc"/>
              </a:cxn>
              <a:cxn ang="cd4">
                <a:pos x="hc" y="b"/>
              </a:cxn>
              <a:cxn ang="0">
                <a:pos x="r" y="vc"/>
              </a:cxn>
            </a:cxnLst>
            <a:rect l="l" t="t" r="r" b="b"/>
            <a:pathLst>
              <a:path w="5087" h="3817">
                <a:moveTo>
                  <a:pt x="1909" y="3817"/>
                </a:moveTo>
                <a:cubicBezTo>
                  <a:pt x="2322" y="3817"/>
                  <a:pt x="2720" y="3674"/>
                  <a:pt x="3038" y="3436"/>
                </a:cubicBezTo>
                <a:cubicBezTo>
                  <a:pt x="3261" y="3547"/>
                  <a:pt x="3261" y="3547"/>
                  <a:pt x="3261" y="3547"/>
                </a:cubicBezTo>
                <a:cubicBezTo>
                  <a:pt x="3372" y="3594"/>
                  <a:pt x="3547" y="3594"/>
                  <a:pt x="3658" y="3547"/>
                </a:cubicBezTo>
                <a:cubicBezTo>
                  <a:pt x="4104" y="3340"/>
                  <a:pt x="4104" y="3340"/>
                  <a:pt x="4104" y="3340"/>
                </a:cubicBezTo>
                <a:cubicBezTo>
                  <a:pt x="4167" y="3308"/>
                  <a:pt x="4295" y="3308"/>
                  <a:pt x="4358" y="3340"/>
                </a:cubicBezTo>
                <a:cubicBezTo>
                  <a:pt x="4979" y="3626"/>
                  <a:pt x="4979" y="3626"/>
                  <a:pt x="4979" y="3626"/>
                </a:cubicBezTo>
                <a:cubicBezTo>
                  <a:pt x="5010" y="3642"/>
                  <a:pt x="5058" y="3626"/>
                  <a:pt x="5074" y="3579"/>
                </a:cubicBezTo>
                <a:cubicBezTo>
                  <a:pt x="5106" y="3547"/>
                  <a:pt x="5074" y="3499"/>
                  <a:pt x="5042" y="3483"/>
                </a:cubicBezTo>
                <a:cubicBezTo>
                  <a:pt x="4438" y="3197"/>
                  <a:pt x="4438" y="3197"/>
                  <a:pt x="4438" y="3197"/>
                </a:cubicBezTo>
                <a:cubicBezTo>
                  <a:pt x="4326" y="3133"/>
                  <a:pt x="4152" y="3133"/>
                  <a:pt x="4040" y="3197"/>
                </a:cubicBezTo>
                <a:cubicBezTo>
                  <a:pt x="3595" y="3404"/>
                  <a:pt x="3595" y="3404"/>
                  <a:pt x="3595" y="3404"/>
                </a:cubicBezTo>
                <a:cubicBezTo>
                  <a:pt x="3515" y="3436"/>
                  <a:pt x="3388" y="3436"/>
                  <a:pt x="3325" y="3404"/>
                </a:cubicBezTo>
                <a:cubicBezTo>
                  <a:pt x="3165" y="3324"/>
                  <a:pt x="3165" y="3324"/>
                  <a:pt x="3165" y="3324"/>
                </a:cubicBezTo>
                <a:cubicBezTo>
                  <a:pt x="3325" y="3197"/>
                  <a:pt x="3452" y="3022"/>
                  <a:pt x="3563" y="2847"/>
                </a:cubicBezTo>
                <a:cubicBezTo>
                  <a:pt x="3595" y="2831"/>
                  <a:pt x="3626" y="2831"/>
                  <a:pt x="3658" y="2815"/>
                </a:cubicBezTo>
                <a:cubicBezTo>
                  <a:pt x="4104" y="2608"/>
                  <a:pt x="4104" y="2608"/>
                  <a:pt x="4104" y="2608"/>
                </a:cubicBezTo>
                <a:cubicBezTo>
                  <a:pt x="4167" y="2576"/>
                  <a:pt x="4295" y="2576"/>
                  <a:pt x="4358" y="2608"/>
                </a:cubicBezTo>
                <a:cubicBezTo>
                  <a:pt x="4979" y="2895"/>
                  <a:pt x="4979" y="2895"/>
                  <a:pt x="4979" y="2895"/>
                </a:cubicBezTo>
                <a:cubicBezTo>
                  <a:pt x="5010" y="2911"/>
                  <a:pt x="5058" y="2895"/>
                  <a:pt x="5074" y="2847"/>
                </a:cubicBezTo>
                <a:cubicBezTo>
                  <a:pt x="5106" y="2815"/>
                  <a:pt x="5074" y="2768"/>
                  <a:pt x="5042" y="2751"/>
                </a:cubicBezTo>
                <a:cubicBezTo>
                  <a:pt x="4438" y="2465"/>
                  <a:pt x="4438" y="2465"/>
                  <a:pt x="4438" y="2465"/>
                </a:cubicBezTo>
                <a:cubicBezTo>
                  <a:pt x="4326" y="2402"/>
                  <a:pt x="4152" y="2402"/>
                  <a:pt x="4040" y="2465"/>
                </a:cubicBezTo>
                <a:cubicBezTo>
                  <a:pt x="3658" y="2641"/>
                  <a:pt x="3658" y="2641"/>
                  <a:pt x="3658" y="2641"/>
                </a:cubicBezTo>
                <a:cubicBezTo>
                  <a:pt x="3738" y="2450"/>
                  <a:pt x="3786" y="2227"/>
                  <a:pt x="3801" y="2020"/>
                </a:cubicBezTo>
                <a:cubicBezTo>
                  <a:pt x="4104" y="1877"/>
                  <a:pt x="4104" y="1877"/>
                  <a:pt x="4104" y="1877"/>
                </a:cubicBezTo>
                <a:cubicBezTo>
                  <a:pt x="4167" y="1845"/>
                  <a:pt x="4295" y="1845"/>
                  <a:pt x="4358" y="1877"/>
                </a:cubicBezTo>
                <a:cubicBezTo>
                  <a:pt x="4979" y="2163"/>
                  <a:pt x="4979" y="2163"/>
                  <a:pt x="4979" y="2163"/>
                </a:cubicBezTo>
                <a:cubicBezTo>
                  <a:pt x="5010" y="2179"/>
                  <a:pt x="5058" y="2163"/>
                  <a:pt x="5074" y="2132"/>
                </a:cubicBezTo>
                <a:cubicBezTo>
                  <a:pt x="5106" y="2084"/>
                  <a:pt x="5074" y="2036"/>
                  <a:pt x="5042" y="2020"/>
                </a:cubicBezTo>
                <a:cubicBezTo>
                  <a:pt x="4438" y="1734"/>
                  <a:pt x="4438" y="1734"/>
                  <a:pt x="4438" y="1734"/>
                </a:cubicBezTo>
                <a:cubicBezTo>
                  <a:pt x="4326" y="1670"/>
                  <a:pt x="4152" y="1670"/>
                  <a:pt x="4040" y="1734"/>
                </a:cubicBezTo>
                <a:cubicBezTo>
                  <a:pt x="3801" y="1845"/>
                  <a:pt x="3801" y="1845"/>
                  <a:pt x="3801" y="1845"/>
                </a:cubicBezTo>
                <a:cubicBezTo>
                  <a:pt x="3801" y="1654"/>
                  <a:pt x="3770" y="1479"/>
                  <a:pt x="3722" y="1320"/>
                </a:cubicBezTo>
                <a:cubicBezTo>
                  <a:pt x="4104" y="1145"/>
                  <a:pt x="4104" y="1145"/>
                  <a:pt x="4104" y="1145"/>
                </a:cubicBezTo>
                <a:cubicBezTo>
                  <a:pt x="4167" y="1114"/>
                  <a:pt x="4295" y="1114"/>
                  <a:pt x="4358" y="1145"/>
                </a:cubicBezTo>
                <a:cubicBezTo>
                  <a:pt x="4979" y="1432"/>
                  <a:pt x="4979" y="1432"/>
                  <a:pt x="4979" y="1432"/>
                </a:cubicBezTo>
                <a:cubicBezTo>
                  <a:pt x="5010" y="1447"/>
                  <a:pt x="5058" y="1432"/>
                  <a:pt x="5074" y="1400"/>
                </a:cubicBezTo>
                <a:cubicBezTo>
                  <a:pt x="5106" y="1352"/>
                  <a:pt x="5074" y="1304"/>
                  <a:pt x="5042" y="1288"/>
                </a:cubicBezTo>
                <a:cubicBezTo>
                  <a:pt x="4438" y="1002"/>
                  <a:pt x="4438" y="1002"/>
                  <a:pt x="4438" y="1002"/>
                </a:cubicBezTo>
                <a:cubicBezTo>
                  <a:pt x="4326" y="954"/>
                  <a:pt x="4152" y="954"/>
                  <a:pt x="4040" y="1002"/>
                </a:cubicBezTo>
                <a:cubicBezTo>
                  <a:pt x="3658" y="1177"/>
                  <a:pt x="3658" y="1177"/>
                  <a:pt x="3658" y="1177"/>
                </a:cubicBezTo>
                <a:cubicBezTo>
                  <a:pt x="3579" y="986"/>
                  <a:pt x="3468" y="795"/>
                  <a:pt x="3325" y="652"/>
                </a:cubicBezTo>
                <a:cubicBezTo>
                  <a:pt x="3435" y="668"/>
                  <a:pt x="3563" y="668"/>
                  <a:pt x="3658" y="620"/>
                </a:cubicBezTo>
                <a:cubicBezTo>
                  <a:pt x="4104" y="414"/>
                  <a:pt x="4104" y="414"/>
                  <a:pt x="4104" y="414"/>
                </a:cubicBezTo>
                <a:cubicBezTo>
                  <a:pt x="4167" y="382"/>
                  <a:pt x="4295" y="382"/>
                  <a:pt x="4358" y="414"/>
                </a:cubicBezTo>
                <a:cubicBezTo>
                  <a:pt x="4979" y="700"/>
                  <a:pt x="4979" y="700"/>
                  <a:pt x="4979" y="700"/>
                </a:cubicBezTo>
                <a:cubicBezTo>
                  <a:pt x="5010" y="716"/>
                  <a:pt x="5058" y="700"/>
                  <a:pt x="5074" y="668"/>
                </a:cubicBezTo>
                <a:cubicBezTo>
                  <a:pt x="5106" y="620"/>
                  <a:pt x="5074" y="573"/>
                  <a:pt x="5042" y="557"/>
                </a:cubicBezTo>
                <a:cubicBezTo>
                  <a:pt x="4438" y="270"/>
                  <a:pt x="4438" y="270"/>
                  <a:pt x="4438" y="270"/>
                </a:cubicBezTo>
                <a:cubicBezTo>
                  <a:pt x="4326" y="223"/>
                  <a:pt x="4152" y="223"/>
                  <a:pt x="4040" y="270"/>
                </a:cubicBezTo>
                <a:cubicBezTo>
                  <a:pt x="3595" y="477"/>
                  <a:pt x="3595" y="477"/>
                  <a:pt x="3595" y="477"/>
                </a:cubicBezTo>
                <a:cubicBezTo>
                  <a:pt x="3515" y="509"/>
                  <a:pt x="3388" y="509"/>
                  <a:pt x="3325" y="477"/>
                </a:cubicBezTo>
                <a:cubicBezTo>
                  <a:pt x="2879" y="270"/>
                  <a:pt x="2879" y="270"/>
                  <a:pt x="2879" y="270"/>
                </a:cubicBezTo>
                <a:lnTo>
                  <a:pt x="2863" y="270"/>
                </a:lnTo>
                <a:cubicBezTo>
                  <a:pt x="2593" y="96"/>
                  <a:pt x="2259" y="0"/>
                  <a:pt x="1909" y="0"/>
                </a:cubicBezTo>
                <a:cubicBezTo>
                  <a:pt x="859" y="0"/>
                  <a:pt x="0" y="859"/>
                  <a:pt x="0" y="1909"/>
                </a:cubicBezTo>
                <a:cubicBezTo>
                  <a:pt x="0" y="2959"/>
                  <a:pt x="859" y="3817"/>
                  <a:pt x="1909" y="3817"/>
                </a:cubicBezTo>
                <a:close/>
                <a:moveTo>
                  <a:pt x="3006" y="3260"/>
                </a:moveTo>
                <a:cubicBezTo>
                  <a:pt x="2879" y="3197"/>
                  <a:pt x="2879" y="3197"/>
                  <a:pt x="2879" y="3197"/>
                </a:cubicBezTo>
                <a:cubicBezTo>
                  <a:pt x="2847" y="3181"/>
                  <a:pt x="2816" y="3165"/>
                  <a:pt x="2799" y="3165"/>
                </a:cubicBezTo>
                <a:cubicBezTo>
                  <a:pt x="2943" y="3054"/>
                  <a:pt x="3070" y="2927"/>
                  <a:pt x="3181" y="2784"/>
                </a:cubicBezTo>
                <a:cubicBezTo>
                  <a:pt x="3261" y="2815"/>
                  <a:pt x="3261" y="2815"/>
                  <a:pt x="3261" y="2815"/>
                </a:cubicBezTo>
                <a:cubicBezTo>
                  <a:pt x="3292" y="2831"/>
                  <a:pt x="3325" y="2847"/>
                  <a:pt x="3372" y="2847"/>
                </a:cubicBezTo>
                <a:cubicBezTo>
                  <a:pt x="3277" y="3006"/>
                  <a:pt x="3149" y="3133"/>
                  <a:pt x="3006" y="3260"/>
                </a:cubicBezTo>
                <a:close/>
                <a:moveTo>
                  <a:pt x="1829" y="668"/>
                </a:moveTo>
                <a:cubicBezTo>
                  <a:pt x="1845" y="684"/>
                  <a:pt x="1877" y="700"/>
                  <a:pt x="1909" y="700"/>
                </a:cubicBezTo>
                <a:cubicBezTo>
                  <a:pt x="1909" y="700"/>
                  <a:pt x="1925" y="700"/>
                  <a:pt x="1941" y="700"/>
                </a:cubicBezTo>
                <a:cubicBezTo>
                  <a:pt x="2227" y="557"/>
                  <a:pt x="2227" y="557"/>
                  <a:pt x="2227" y="557"/>
                </a:cubicBezTo>
                <a:cubicBezTo>
                  <a:pt x="2529" y="636"/>
                  <a:pt x="2799" y="811"/>
                  <a:pt x="2990" y="1050"/>
                </a:cubicBezTo>
                <a:cubicBezTo>
                  <a:pt x="2879" y="1002"/>
                  <a:pt x="2879" y="1002"/>
                  <a:pt x="2879" y="1002"/>
                </a:cubicBezTo>
                <a:cubicBezTo>
                  <a:pt x="2768" y="954"/>
                  <a:pt x="2593" y="954"/>
                  <a:pt x="2481" y="1002"/>
                </a:cubicBezTo>
                <a:cubicBezTo>
                  <a:pt x="1861" y="1288"/>
                  <a:pt x="1861" y="1288"/>
                  <a:pt x="1861" y="1288"/>
                </a:cubicBezTo>
                <a:cubicBezTo>
                  <a:pt x="1829" y="1304"/>
                  <a:pt x="1813" y="1352"/>
                  <a:pt x="1829" y="1400"/>
                </a:cubicBezTo>
                <a:cubicBezTo>
                  <a:pt x="1845" y="1415"/>
                  <a:pt x="1877" y="1432"/>
                  <a:pt x="1909" y="1432"/>
                </a:cubicBezTo>
                <a:cubicBezTo>
                  <a:pt x="1909" y="1432"/>
                  <a:pt x="1925" y="1432"/>
                  <a:pt x="1941" y="1432"/>
                </a:cubicBezTo>
                <a:cubicBezTo>
                  <a:pt x="2545" y="1145"/>
                  <a:pt x="2545" y="1145"/>
                  <a:pt x="2545" y="1145"/>
                </a:cubicBezTo>
                <a:cubicBezTo>
                  <a:pt x="2625" y="1114"/>
                  <a:pt x="2736" y="1114"/>
                  <a:pt x="2816" y="1145"/>
                </a:cubicBezTo>
                <a:cubicBezTo>
                  <a:pt x="3149" y="1304"/>
                  <a:pt x="3149" y="1304"/>
                  <a:pt x="3149" y="1304"/>
                </a:cubicBezTo>
                <a:cubicBezTo>
                  <a:pt x="3229" y="1479"/>
                  <a:pt x="3277" y="1686"/>
                  <a:pt x="3277" y="1909"/>
                </a:cubicBezTo>
                <a:lnTo>
                  <a:pt x="3277" y="1924"/>
                </a:lnTo>
                <a:cubicBezTo>
                  <a:pt x="2879" y="1734"/>
                  <a:pt x="2879" y="1734"/>
                  <a:pt x="2879" y="1734"/>
                </a:cubicBezTo>
                <a:cubicBezTo>
                  <a:pt x="2768" y="1670"/>
                  <a:pt x="2593" y="1670"/>
                  <a:pt x="2481" y="1734"/>
                </a:cubicBezTo>
                <a:cubicBezTo>
                  <a:pt x="1861" y="2020"/>
                  <a:pt x="1861" y="2020"/>
                  <a:pt x="1861" y="2020"/>
                </a:cubicBezTo>
                <a:cubicBezTo>
                  <a:pt x="1829" y="2036"/>
                  <a:pt x="1813" y="2084"/>
                  <a:pt x="1829" y="2132"/>
                </a:cubicBezTo>
                <a:cubicBezTo>
                  <a:pt x="1845" y="2147"/>
                  <a:pt x="1877" y="2163"/>
                  <a:pt x="1909" y="2163"/>
                </a:cubicBezTo>
                <a:cubicBezTo>
                  <a:pt x="1909" y="2163"/>
                  <a:pt x="1925" y="2163"/>
                  <a:pt x="1941" y="2163"/>
                </a:cubicBezTo>
                <a:cubicBezTo>
                  <a:pt x="2545" y="1877"/>
                  <a:pt x="2545" y="1877"/>
                  <a:pt x="2545" y="1877"/>
                </a:cubicBezTo>
                <a:cubicBezTo>
                  <a:pt x="2625" y="1845"/>
                  <a:pt x="2736" y="1845"/>
                  <a:pt x="2816" y="1877"/>
                </a:cubicBezTo>
                <a:cubicBezTo>
                  <a:pt x="3261" y="2084"/>
                  <a:pt x="3261" y="2084"/>
                  <a:pt x="3261" y="2084"/>
                </a:cubicBezTo>
                <a:lnTo>
                  <a:pt x="3277" y="2084"/>
                </a:lnTo>
                <a:cubicBezTo>
                  <a:pt x="3245" y="2259"/>
                  <a:pt x="3197" y="2433"/>
                  <a:pt x="3117" y="2576"/>
                </a:cubicBezTo>
                <a:cubicBezTo>
                  <a:pt x="2879" y="2465"/>
                  <a:pt x="2879" y="2465"/>
                  <a:pt x="2879" y="2465"/>
                </a:cubicBezTo>
                <a:cubicBezTo>
                  <a:pt x="2768" y="2402"/>
                  <a:pt x="2593" y="2402"/>
                  <a:pt x="2481" y="2465"/>
                </a:cubicBezTo>
                <a:cubicBezTo>
                  <a:pt x="1861" y="2751"/>
                  <a:pt x="1861" y="2751"/>
                  <a:pt x="1861" y="2751"/>
                </a:cubicBezTo>
                <a:cubicBezTo>
                  <a:pt x="1829" y="2768"/>
                  <a:pt x="1813" y="2815"/>
                  <a:pt x="1829" y="2847"/>
                </a:cubicBezTo>
                <a:cubicBezTo>
                  <a:pt x="1845" y="2879"/>
                  <a:pt x="1877" y="2895"/>
                  <a:pt x="1909" y="2895"/>
                </a:cubicBezTo>
                <a:cubicBezTo>
                  <a:pt x="1909" y="2895"/>
                  <a:pt x="1925" y="2895"/>
                  <a:pt x="1941" y="2895"/>
                </a:cubicBezTo>
                <a:cubicBezTo>
                  <a:pt x="2545" y="2608"/>
                  <a:pt x="2545" y="2608"/>
                  <a:pt x="2545" y="2608"/>
                </a:cubicBezTo>
                <a:cubicBezTo>
                  <a:pt x="2625" y="2576"/>
                  <a:pt x="2736" y="2576"/>
                  <a:pt x="2816" y="2608"/>
                </a:cubicBezTo>
                <a:cubicBezTo>
                  <a:pt x="3022" y="2704"/>
                  <a:pt x="3022" y="2704"/>
                  <a:pt x="3022" y="2704"/>
                </a:cubicBezTo>
                <a:cubicBezTo>
                  <a:pt x="2783" y="3054"/>
                  <a:pt x="2370" y="3293"/>
                  <a:pt x="1909" y="3293"/>
                </a:cubicBezTo>
                <a:cubicBezTo>
                  <a:pt x="1145" y="3293"/>
                  <a:pt x="525" y="2672"/>
                  <a:pt x="525" y="1909"/>
                </a:cubicBezTo>
                <a:cubicBezTo>
                  <a:pt x="525" y="1145"/>
                  <a:pt x="1145" y="525"/>
                  <a:pt x="1909" y="525"/>
                </a:cubicBezTo>
                <a:cubicBezTo>
                  <a:pt x="1909" y="525"/>
                  <a:pt x="1925" y="525"/>
                  <a:pt x="1941" y="525"/>
                </a:cubicBezTo>
                <a:cubicBezTo>
                  <a:pt x="1861" y="557"/>
                  <a:pt x="1861" y="557"/>
                  <a:pt x="1861" y="557"/>
                </a:cubicBezTo>
                <a:cubicBezTo>
                  <a:pt x="1829" y="573"/>
                  <a:pt x="1813" y="620"/>
                  <a:pt x="1829" y="668"/>
                </a:cubicBezTo>
                <a:close/>
                <a:moveTo>
                  <a:pt x="2799" y="414"/>
                </a:moveTo>
                <a:cubicBezTo>
                  <a:pt x="3117" y="605"/>
                  <a:pt x="3372" y="891"/>
                  <a:pt x="3515" y="1225"/>
                </a:cubicBezTo>
                <a:cubicBezTo>
                  <a:pt x="3452" y="1241"/>
                  <a:pt x="3372" y="1241"/>
                  <a:pt x="3325" y="1209"/>
                </a:cubicBezTo>
                <a:cubicBezTo>
                  <a:pt x="3261" y="1177"/>
                  <a:pt x="3261" y="1177"/>
                  <a:pt x="3261" y="1177"/>
                </a:cubicBezTo>
                <a:cubicBezTo>
                  <a:pt x="3086" y="859"/>
                  <a:pt x="2799" y="588"/>
                  <a:pt x="2434" y="461"/>
                </a:cubicBezTo>
                <a:cubicBezTo>
                  <a:pt x="2545" y="414"/>
                  <a:pt x="2545" y="414"/>
                  <a:pt x="2545" y="414"/>
                </a:cubicBezTo>
                <a:cubicBezTo>
                  <a:pt x="2608" y="382"/>
                  <a:pt x="2720" y="382"/>
                  <a:pt x="2799" y="414"/>
                </a:cubicBezTo>
                <a:close/>
                <a:moveTo>
                  <a:pt x="3325" y="2672"/>
                </a:moveTo>
                <a:cubicBezTo>
                  <a:pt x="3261" y="2641"/>
                  <a:pt x="3261" y="2641"/>
                  <a:pt x="3261" y="2641"/>
                </a:cubicBezTo>
                <a:cubicBezTo>
                  <a:pt x="3340" y="2481"/>
                  <a:pt x="3404" y="2306"/>
                  <a:pt x="3435" y="2115"/>
                </a:cubicBezTo>
                <a:cubicBezTo>
                  <a:pt x="3499" y="2132"/>
                  <a:pt x="3579" y="2115"/>
                  <a:pt x="3643" y="2084"/>
                </a:cubicBezTo>
                <a:cubicBezTo>
                  <a:pt x="3611" y="2306"/>
                  <a:pt x="3563" y="2513"/>
                  <a:pt x="3468" y="2688"/>
                </a:cubicBezTo>
                <a:cubicBezTo>
                  <a:pt x="3404" y="2704"/>
                  <a:pt x="3356" y="2688"/>
                  <a:pt x="3325" y="2672"/>
                </a:cubicBezTo>
                <a:close/>
                <a:moveTo>
                  <a:pt x="3595" y="1941"/>
                </a:moveTo>
                <a:cubicBezTo>
                  <a:pt x="3547" y="1956"/>
                  <a:pt x="3499" y="1972"/>
                  <a:pt x="3435" y="1972"/>
                </a:cubicBezTo>
                <a:cubicBezTo>
                  <a:pt x="3435" y="1941"/>
                  <a:pt x="3435" y="1924"/>
                  <a:pt x="3435" y="1909"/>
                </a:cubicBezTo>
                <a:cubicBezTo>
                  <a:pt x="3435" y="1718"/>
                  <a:pt x="3404" y="1543"/>
                  <a:pt x="3356" y="1384"/>
                </a:cubicBezTo>
                <a:cubicBezTo>
                  <a:pt x="3420" y="1400"/>
                  <a:pt x="3499" y="1400"/>
                  <a:pt x="3563" y="1384"/>
                </a:cubicBezTo>
                <a:cubicBezTo>
                  <a:pt x="3626" y="1543"/>
                  <a:pt x="3643" y="1718"/>
                  <a:pt x="3643" y="1909"/>
                </a:cubicBezTo>
                <a:close/>
                <a:moveTo>
                  <a:pt x="1909" y="159"/>
                </a:moveTo>
                <a:cubicBezTo>
                  <a:pt x="2116" y="159"/>
                  <a:pt x="2307" y="191"/>
                  <a:pt x="2497" y="270"/>
                </a:cubicBezTo>
                <a:cubicBezTo>
                  <a:pt x="2481" y="270"/>
                  <a:pt x="2481" y="270"/>
                  <a:pt x="2481" y="270"/>
                </a:cubicBezTo>
                <a:cubicBezTo>
                  <a:pt x="2211" y="397"/>
                  <a:pt x="2211" y="397"/>
                  <a:pt x="2211" y="397"/>
                </a:cubicBezTo>
                <a:cubicBezTo>
                  <a:pt x="2116" y="382"/>
                  <a:pt x="2004" y="366"/>
                  <a:pt x="1909" y="366"/>
                </a:cubicBezTo>
                <a:cubicBezTo>
                  <a:pt x="1050" y="366"/>
                  <a:pt x="366" y="1050"/>
                  <a:pt x="366" y="1909"/>
                </a:cubicBezTo>
                <a:cubicBezTo>
                  <a:pt x="366" y="2751"/>
                  <a:pt x="1050" y="3451"/>
                  <a:pt x="1909" y="3451"/>
                </a:cubicBezTo>
                <a:cubicBezTo>
                  <a:pt x="1909" y="3451"/>
                  <a:pt x="1925" y="3451"/>
                  <a:pt x="1941" y="3451"/>
                </a:cubicBezTo>
                <a:cubicBezTo>
                  <a:pt x="1861" y="3483"/>
                  <a:pt x="1861" y="3483"/>
                  <a:pt x="1861" y="3483"/>
                </a:cubicBezTo>
                <a:cubicBezTo>
                  <a:pt x="1829" y="3499"/>
                  <a:pt x="1813" y="3547"/>
                  <a:pt x="1829" y="3579"/>
                </a:cubicBezTo>
                <a:cubicBezTo>
                  <a:pt x="1845" y="3611"/>
                  <a:pt x="1877" y="3626"/>
                  <a:pt x="1909" y="3626"/>
                </a:cubicBezTo>
                <a:cubicBezTo>
                  <a:pt x="1909" y="3626"/>
                  <a:pt x="1925" y="3626"/>
                  <a:pt x="1941" y="3626"/>
                </a:cubicBezTo>
                <a:cubicBezTo>
                  <a:pt x="2545" y="3340"/>
                  <a:pt x="2545" y="3340"/>
                  <a:pt x="2545" y="3340"/>
                </a:cubicBezTo>
                <a:cubicBezTo>
                  <a:pt x="2625" y="3308"/>
                  <a:pt x="2736" y="3308"/>
                  <a:pt x="2816" y="3340"/>
                </a:cubicBezTo>
                <a:cubicBezTo>
                  <a:pt x="2863" y="3356"/>
                  <a:pt x="2863" y="3356"/>
                  <a:pt x="2863" y="3356"/>
                </a:cubicBezTo>
                <a:cubicBezTo>
                  <a:pt x="2593" y="3547"/>
                  <a:pt x="2259" y="3658"/>
                  <a:pt x="1909" y="3658"/>
                </a:cubicBezTo>
                <a:cubicBezTo>
                  <a:pt x="938" y="3658"/>
                  <a:pt x="159" y="2863"/>
                  <a:pt x="159" y="1909"/>
                </a:cubicBezTo>
                <a:cubicBezTo>
                  <a:pt x="159" y="938"/>
                  <a:pt x="938" y="159"/>
                  <a:pt x="1909" y="1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5" name="Freeform: Shape 10">
            <a:extLst>
              <a:ext uri="{FF2B5EF4-FFF2-40B4-BE49-F238E27FC236}">
                <a16:creationId xmlns:a16="http://schemas.microsoft.com/office/drawing/2014/main" id="{7726BFB1-8C3C-374C-A55A-1B1481FE6E38}"/>
              </a:ext>
            </a:extLst>
          </p:cNvPr>
          <p:cNvSpPr/>
          <p:nvPr/>
        </p:nvSpPr>
        <p:spPr>
          <a:xfrm>
            <a:off x="10044464" y="6517114"/>
            <a:ext cx="1602720" cy="1591560"/>
          </a:xfrm>
          <a:custGeom>
            <a:avLst/>
            <a:gdLst/>
            <a:ahLst/>
            <a:cxnLst>
              <a:cxn ang="3cd4">
                <a:pos x="hc" y="t"/>
              </a:cxn>
              <a:cxn ang="cd2">
                <a:pos x="l" y="vc"/>
              </a:cxn>
              <a:cxn ang="cd4">
                <a:pos x="hc" y="b"/>
              </a:cxn>
              <a:cxn ang="0">
                <a:pos x="r" y="vc"/>
              </a:cxn>
            </a:cxnLst>
            <a:rect l="l" t="t" r="r" b="b"/>
            <a:pathLst>
              <a:path w="4453" h="4422">
                <a:moveTo>
                  <a:pt x="238" y="4422"/>
                </a:moveTo>
                <a:cubicBezTo>
                  <a:pt x="4231" y="4422"/>
                  <a:pt x="4231" y="4422"/>
                  <a:pt x="4231" y="4422"/>
                </a:cubicBezTo>
                <a:cubicBezTo>
                  <a:pt x="4262" y="4422"/>
                  <a:pt x="4310" y="4374"/>
                  <a:pt x="4310" y="4342"/>
                </a:cubicBezTo>
                <a:cubicBezTo>
                  <a:pt x="4310" y="3976"/>
                  <a:pt x="4310" y="3976"/>
                  <a:pt x="4310" y="3976"/>
                </a:cubicBezTo>
                <a:cubicBezTo>
                  <a:pt x="4374" y="3976"/>
                  <a:pt x="4374" y="3976"/>
                  <a:pt x="4374" y="3976"/>
                </a:cubicBezTo>
                <a:cubicBezTo>
                  <a:pt x="4422" y="3976"/>
                  <a:pt x="4453" y="3944"/>
                  <a:pt x="4453" y="3897"/>
                </a:cubicBezTo>
                <a:cubicBezTo>
                  <a:pt x="4453" y="3372"/>
                  <a:pt x="4453" y="3372"/>
                  <a:pt x="4453" y="3372"/>
                </a:cubicBezTo>
                <a:cubicBezTo>
                  <a:pt x="4453" y="3038"/>
                  <a:pt x="4199" y="2783"/>
                  <a:pt x="3833" y="2783"/>
                </a:cubicBezTo>
                <a:cubicBezTo>
                  <a:pt x="3101" y="2783"/>
                  <a:pt x="3101" y="2783"/>
                  <a:pt x="3101" y="2783"/>
                </a:cubicBezTo>
                <a:cubicBezTo>
                  <a:pt x="2863" y="2783"/>
                  <a:pt x="2720" y="2704"/>
                  <a:pt x="2656" y="2545"/>
                </a:cubicBezTo>
                <a:cubicBezTo>
                  <a:pt x="2544" y="2274"/>
                  <a:pt x="2704" y="1813"/>
                  <a:pt x="2942" y="1590"/>
                </a:cubicBezTo>
                <a:cubicBezTo>
                  <a:pt x="2942" y="1575"/>
                  <a:pt x="2942" y="1575"/>
                  <a:pt x="2958" y="1559"/>
                </a:cubicBezTo>
                <a:cubicBezTo>
                  <a:pt x="3101" y="1352"/>
                  <a:pt x="3181" y="1145"/>
                  <a:pt x="3181" y="923"/>
                </a:cubicBezTo>
                <a:cubicBezTo>
                  <a:pt x="3181" y="414"/>
                  <a:pt x="2751" y="0"/>
                  <a:pt x="2258" y="0"/>
                </a:cubicBezTo>
                <a:cubicBezTo>
                  <a:pt x="1765" y="0"/>
                  <a:pt x="1351" y="429"/>
                  <a:pt x="1351" y="938"/>
                </a:cubicBezTo>
                <a:cubicBezTo>
                  <a:pt x="1351" y="1145"/>
                  <a:pt x="1415" y="1352"/>
                  <a:pt x="1574" y="1559"/>
                </a:cubicBezTo>
                <a:cubicBezTo>
                  <a:pt x="1574" y="1575"/>
                  <a:pt x="1590" y="1575"/>
                  <a:pt x="1590" y="1590"/>
                </a:cubicBezTo>
                <a:cubicBezTo>
                  <a:pt x="1813" y="1813"/>
                  <a:pt x="1988" y="2274"/>
                  <a:pt x="1877" y="2545"/>
                </a:cubicBezTo>
                <a:cubicBezTo>
                  <a:pt x="1813" y="2704"/>
                  <a:pt x="1670" y="2783"/>
                  <a:pt x="1431" y="2783"/>
                </a:cubicBezTo>
                <a:cubicBezTo>
                  <a:pt x="699" y="2783"/>
                  <a:pt x="699" y="2783"/>
                  <a:pt x="699" y="2783"/>
                </a:cubicBezTo>
                <a:cubicBezTo>
                  <a:pt x="366" y="2783"/>
                  <a:pt x="0" y="3006"/>
                  <a:pt x="0" y="3372"/>
                </a:cubicBezTo>
                <a:cubicBezTo>
                  <a:pt x="0" y="3897"/>
                  <a:pt x="0" y="3897"/>
                  <a:pt x="0" y="3897"/>
                </a:cubicBezTo>
                <a:cubicBezTo>
                  <a:pt x="0" y="3944"/>
                  <a:pt x="47" y="3976"/>
                  <a:pt x="79" y="3976"/>
                </a:cubicBezTo>
                <a:cubicBezTo>
                  <a:pt x="159" y="3976"/>
                  <a:pt x="159" y="3976"/>
                  <a:pt x="159" y="3976"/>
                </a:cubicBezTo>
                <a:cubicBezTo>
                  <a:pt x="159" y="4342"/>
                  <a:pt x="159" y="4342"/>
                  <a:pt x="159" y="4342"/>
                </a:cubicBezTo>
                <a:cubicBezTo>
                  <a:pt x="159" y="4374"/>
                  <a:pt x="190" y="4422"/>
                  <a:pt x="238" y="4422"/>
                </a:cubicBezTo>
                <a:close/>
                <a:moveTo>
                  <a:pt x="4151" y="4262"/>
                </a:moveTo>
                <a:cubicBezTo>
                  <a:pt x="318" y="4262"/>
                  <a:pt x="318" y="4262"/>
                  <a:pt x="318" y="4262"/>
                </a:cubicBezTo>
                <a:cubicBezTo>
                  <a:pt x="318" y="3976"/>
                  <a:pt x="318" y="3976"/>
                  <a:pt x="318" y="3976"/>
                </a:cubicBezTo>
                <a:cubicBezTo>
                  <a:pt x="4151" y="3976"/>
                  <a:pt x="4151" y="3976"/>
                  <a:pt x="4151" y="3976"/>
                </a:cubicBezTo>
                <a:close/>
                <a:moveTo>
                  <a:pt x="159" y="3372"/>
                </a:moveTo>
                <a:cubicBezTo>
                  <a:pt x="159" y="3117"/>
                  <a:pt x="445" y="2943"/>
                  <a:pt x="699" y="2943"/>
                </a:cubicBezTo>
                <a:cubicBezTo>
                  <a:pt x="1431" y="2943"/>
                  <a:pt x="1431" y="2943"/>
                  <a:pt x="1431" y="2943"/>
                </a:cubicBezTo>
                <a:cubicBezTo>
                  <a:pt x="1813" y="2943"/>
                  <a:pt x="1956" y="2752"/>
                  <a:pt x="2020" y="2608"/>
                </a:cubicBezTo>
                <a:cubicBezTo>
                  <a:pt x="2163" y="2274"/>
                  <a:pt x="1972" y="1750"/>
                  <a:pt x="1717" y="1479"/>
                </a:cubicBezTo>
                <a:cubicBezTo>
                  <a:pt x="1574" y="1288"/>
                  <a:pt x="1511" y="1113"/>
                  <a:pt x="1511" y="938"/>
                </a:cubicBezTo>
                <a:cubicBezTo>
                  <a:pt x="1511" y="509"/>
                  <a:pt x="1860" y="159"/>
                  <a:pt x="2258" y="159"/>
                </a:cubicBezTo>
                <a:cubicBezTo>
                  <a:pt x="2672" y="159"/>
                  <a:pt x="3022" y="509"/>
                  <a:pt x="3022" y="923"/>
                </a:cubicBezTo>
                <a:cubicBezTo>
                  <a:pt x="3022" y="1113"/>
                  <a:pt x="2942" y="1288"/>
                  <a:pt x="2815" y="1479"/>
                </a:cubicBezTo>
                <a:cubicBezTo>
                  <a:pt x="2560" y="1750"/>
                  <a:pt x="2369" y="2274"/>
                  <a:pt x="2497" y="2608"/>
                </a:cubicBezTo>
                <a:cubicBezTo>
                  <a:pt x="2560" y="2752"/>
                  <a:pt x="2720" y="2943"/>
                  <a:pt x="3101" y="2943"/>
                </a:cubicBezTo>
                <a:cubicBezTo>
                  <a:pt x="3833" y="2943"/>
                  <a:pt x="3833" y="2943"/>
                  <a:pt x="3833" y="2943"/>
                </a:cubicBezTo>
                <a:cubicBezTo>
                  <a:pt x="4104" y="2943"/>
                  <a:pt x="4294" y="3117"/>
                  <a:pt x="4294" y="3372"/>
                </a:cubicBezTo>
                <a:cubicBezTo>
                  <a:pt x="4294" y="3817"/>
                  <a:pt x="4294" y="3817"/>
                  <a:pt x="4294" y="3817"/>
                </a:cubicBezTo>
                <a:cubicBezTo>
                  <a:pt x="4231" y="3817"/>
                  <a:pt x="4231" y="3817"/>
                  <a:pt x="4231" y="3817"/>
                </a:cubicBezTo>
                <a:cubicBezTo>
                  <a:pt x="238" y="3817"/>
                  <a:pt x="238" y="3817"/>
                  <a:pt x="238" y="3817"/>
                </a:cubicBezTo>
                <a:cubicBezTo>
                  <a:pt x="159" y="3817"/>
                  <a:pt x="159" y="3817"/>
                  <a:pt x="159" y="381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6" name="Freeform: Shape 12">
            <a:extLst>
              <a:ext uri="{FF2B5EF4-FFF2-40B4-BE49-F238E27FC236}">
                <a16:creationId xmlns:a16="http://schemas.microsoft.com/office/drawing/2014/main" id="{238B4D91-9DFF-7441-A981-201C543D36C5}"/>
              </a:ext>
            </a:extLst>
          </p:cNvPr>
          <p:cNvSpPr/>
          <p:nvPr/>
        </p:nvSpPr>
        <p:spPr>
          <a:xfrm>
            <a:off x="1779455" y="3244002"/>
            <a:ext cx="1711439" cy="1436759"/>
          </a:xfrm>
          <a:custGeom>
            <a:avLst/>
            <a:gdLst/>
            <a:ahLst/>
            <a:cxnLst>
              <a:cxn ang="3cd4">
                <a:pos x="hc" y="t"/>
              </a:cxn>
              <a:cxn ang="cd2">
                <a:pos x="l" y="vc"/>
              </a:cxn>
              <a:cxn ang="cd4">
                <a:pos x="hc" y="b"/>
              </a:cxn>
              <a:cxn ang="0">
                <a:pos x="r" y="vc"/>
              </a:cxn>
            </a:cxnLst>
            <a:rect l="l" t="t" r="r" b="b"/>
            <a:pathLst>
              <a:path w="4755" h="3992">
                <a:moveTo>
                  <a:pt x="4755" y="3912"/>
                </a:moveTo>
                <a:lnTo>
                  <a:pt x="4755" y="2337"/>
                </a:lnTo>
                <a:lnTo>
                  <a:pt x="4755" y="2322"/>
                </a:lnTo>
                <a:lnTo>
                  <a:pt x="4755" y="2306"/>
                </a:lnTo>
                <a:lnTo>
                  <a:pt x="4755" y="2290"/>
                </a:lnTo>
                <a:lnTo>
                  <a:pt x="4167" y="1033"/>
                </a:lnTo>
                <a:cubicBezTo>
                  <a:pt x="4167" y="1001"/>
                  <a:pt x="4135" y="986"/>
                  <a:pt x="4103" y="986"/>
                </a:cubicBezTo>
                <a:lnTo>
                  <a:pt x="3387" y="986"/>
                </a:lnTo>
                <a:cubicBezTo>
                  <a:pt x="3387" y="445"/>
                  <a:pt x="2942" y="0"/>
                  <a:pt x="2417" y="0"/>
                </a:cubicBezTo>
                <a:cubicBezTo>
                  <a:pt x="1876" y="0"/>
                  <a:pt x="1447" y="445"/>
                  <a:pt x="1447" y="986"/>
                </a:cubicBezTo>
                <a:lnTo>
                  <a:pt x="1415" y="986"/>
                </a:lnTo>
                <a:lnTo>
                  <a:pt x="731" y="986"/>
                </a:lnTo>
                <a:cubicBezTo>
                  <a:pt x="699" y="986"/>
                  <a:pt x="667" y="1001"/>
                  <a:pt x="652" y="1018"/>
                </a:cubicBezTo>
                <a:lnTo>
                  <a:pt x="0" y="2290"/>
                </a:lnTo>
                <a:lnTo>
                  <a:pt x="0" y="2306"/>
                </a:lnTo>
                <a:lnTo>
                  <a:pt x="0" y="2322"/>
                </a:lnTo>
                <a:lnTo>
                  <a:pt x="0" y="2337"/>
                </a:lnTo>
                <a:lnTo>
                  <a:pt x="0" y="3912"/>
                </a:lnTo>
                <a:cubicBezTo>
                  <a:pt x="0" y="3960"/>
                  <a:pt x="31" y="3992"/>
                  <a:pt x="79" y="3992"/>
                </a:cubicBezTo>
                <a:lnTo>
                  <a:pt x="4676" y="3992"/>
                </a:lnTo>
                <a:cubicBezTo>
                  <a:pt x="4723" y="3992"/>
                  <a:pt x="4755" y="3960"/>
                  <a:pt x="4755" y="3912"/>
                </a:cubicBezTo>
                <a:close/>
                <a:moveTo>
                  <a:pt x="2417" y="159"/>
                </a:moveTo>
                <a:cubicBezTo>
                  <a:pt x="2863" y="159"/>
                  <a:pt x="3228" y="524"/>
                  <a:pt x="3228" y="986"/>
                </a:cubicBezTo>
                <a:cubicBezTo>
                  <a:pt x="3228" y="1431"/>
                  <a:pt x="2863" y="1797"/>
                  <a:pt x="2417" y="1797"/>
                </a:cubicBezTo>
                <a:cubicBezTo>
                  <a:pt x="1972" y="1797"/>
                  <a:pt x="1606" y="1431"/>
                  <a:pt x="1606" y="986"/>
                </a:cubicBezTo>
                <a:cubicBezTo>
                  <a:pt x="1606" y="524"/>
                  <a:pt x="1972" y="159"/>
                  <a:pt x="2417" y="159"/>
                </a:cubicBezTo>
                <a:close/>
                <a:moveTo>
                  <a:pt x="779" y="1145"/>
                </a:moveTo>
                <a:lnTo>
                  <a:pt x="1415" y="1145"/>
                </a:lnTo>
                <a:cubicBezTo>
                  <a:pt x="1431" y="1145"/>
                  <a:pt x="1436" y="1134"/>
                  <a:pt x="1447" y="1129"/>
                </a:cubicBezTo>
                <a:cubicBezTo>
                  <a:pt x="1527" y="1590"/>
                  <a:pt x="1924" y="1956"/>
                  <a:pt x="2417" y="1956"/>
                </a:cubicBezTo>
                <a:cubicBezTo>
                  <a:pt x="2894" y="1956"/>
                  <a:pt x="3292" y="1606"/>
                  <a:pt x="3372" y="1145"/>
                </a:cubicBezTo>
                <a:lnTo>
                  <a:pt x="4055" y="1145"/>
                </a:lnTo>
                <a:lnTo>
                  <a:pt x="4548" y="2258"/>
                </a:lnTo>
                <a:lnTo>
                  <a:pt x="3499" y="2258"/>
                </a:lnTo>
                <a:cubicBezTo>
                  <a:pt x="3467" y="2258"/>
                  <a:pt x="3435" y="2274"/>
                  <a:pt x="3419" y="2306"/>
                </a:cubicBezTo>
                <a:lnTo>
                  <a:pt x="3355" y="2545"/>
                </a:lnTo>
                <a:cubicBezTo>
                  <a:pt x="3292" y="2719"/>
                  <a:pt x="3085" y="2879"/>
                  <a:pt x="2910" y="2879"/>
                </a:cubicBezTo>
                <a:lnTo>
                  <a:pt x="1908" y="2879"/>
                </a:lnTo>
                <a:cubicBezTo>
                  <a:pt x="1733" y="2879"/>
                  <a:pt x="1527" y="2719"/>
                  <a:pt x="1479" y="2545"/>
                </a:cubicBezTo>
                <a:lnTo>
                  <a:pt x="1399" y="2306"/>
                </a:lnTo>
                <a:cubicBezTo>
                  <a:pt x="1399" y="2274"/>
                  <a:pt x="1367" y="2258"/>
                  <a:pt x="1319" y="2258"/>
                </a:cubicBezTo>
                <a:lnTo>
                  <a:pt x="206" y="2258"/>
                </a:lnTo>
                <a:close/>
                <a:moveTo>
                  <a:pt x="4596" y="3833"/>
                </a:moveTo>
                <a:lnTo>
                  <a:pt x="158" y="3833"/>
                </a:lnTo>
                <a:lnTo>
                  <a:pt x="158" y="2401"/>
                </a:lnTo>
                <a:lnTo>
                  <a:pt x="1272" y="2401"/>
                </a:lnTo>
                <a:lnTo>
                  <a:pt x="1319" y="2592"/>
                </a:lnTo>
                <a:cubicBezTo>
                  <a:pt x="1399" y="2846"/>
                  <a:pt x="1670" y="3037"/>
                  <a:pt x="1908" y="3037"/>
                </a:cubicBezTo>
                <a:lnTo>
                  <a:pt x="2910" y="3037"/>
                </a:lnTo>
                <a:cubicBezTo>
                  <a:pt x="3164" y="3037"/>
                  <a:pt x="3435" y="2846"/>
                  <a:pt x="3515" y="2592"/>
                </a:cubicBezTo>
                <a:lnTo>
                  <a:pt x="3562" y="2401"/>
                </a:lnTo>
                <a:lnTo>
                  <a:pt x="4596" y="2401"/>
                </a:lnTo>
                <a:close/>
                <a:moveTo>
                  <a:pt x="2306" y="1431"/>
                </a:moveTo>
                <a:cubicBezTo>
                  <a:pt x="2322" y="1447"/>
                  <a:pt x="2337" y="1447"/>
                  <a:pt x="2369" y="1447"/>
                </a:cubicBezTo>
                <a:cubicBezTo>
                  <a:pt x="2385" y="1447"/>
                  <a:pt x="2401" y="1447"/>
                  <a:pt x="2417" y="1431"/>
                </a:cubicBezTo>
                <a:cubicBezTo>
                  <a:pt x="2449" y="1399"/>
                  <a:pt x="2449" y="1352"/>
                  <a:pt x="2417" y="1320"/>
                </a:cubicBezTo>
                <a:lnTo>
                  <a:pt x="2163" y="1065"/>
                </a:lnTo>
                <a:lnTo>
                  <a:pt x="2512" y="1065"/>
                </a:lnTo>
                <a:cubicBezTo>
                  <a:pt x="2624" y="1065"/>
                  <a:pt x="2767" y="1161"/>
                  <a:pt x="2767" y="1272"/>
                </a:cubicBezTo>
                <a:cubicBezTo>
                  <a:pt x="2767" y="1320"/>
                  <a:pt x="2815" y="1352"/>
                  <a:pt x="2846" y="1352"/>
                </a:cubicBezTo>
                <a:cubicBezTo>
                  <a:pt x="2894" y="1352"/>
                  <a:pt x="2926" y="1320"/>
                  <a:pt x="2926" y="1272"/>
                </a:cubicBezTo>
                <a:cubicBezTo>
                  <a:pt x="2926" y="1065"/>
                  <a:pt x="2703" y="906"/>
                  <a:pt x="2512" y="906"/>
                </a:cubicBezTo>
                <a:lnTo>
                  <a:pt x="2163" y="906"/>
                </a:lnTo>
                <a:lnTo>
                  <a:pt x="2417" y="636"/>
                </a:lnTo>
                <a:cubicBezTo>
                  <a:pt x="2449" y="604"/>
                  <a:pt x="2449" y="556"/>
                  <a:pt x="2417" y="524"/>
                </a:cubicBezTo>
                <a:cubicBezTo>
                  <a:pt x="2385" y="492"/>
                  <a:pt x="2337" y="492"/>
                  <a:pt x="2306" y="524"/>
                </a:cubicBezTo>
                <a:lnTo>
                  <a:pt x="1924" y="922"/>
                </a:lnTo>
                <a:cubicBezTo>
                  <a:pt x="1892" y="954"/>
                  <a:pt x="1892" y="1001"/>
                  <a:pt x="1924" y="103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89951647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Symbols - 1</a:t>
            </a:r>
          </a:p>
        </p:txBody>
      </p:sp>
      <p:sp>
        <p:nvSpPr>
          <p:cNvPr id="29" name="TextBox 28">
            <a:extLst>
              <a:ext uri="{FF2B5EF4-FFF2-40B4-BE49-F238E27FC236}">
                <a16:creationId xmlns:a16="http://schemas.microsoft.com/office/drawing/2014/main" id="{9E843069-5433-CD4C-B75D-31D4C4F933F1}"/>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ell</a:t>
            </a:r>
          </a:p>
        </p:txBody>
      </p:sp>
      <p:sp>
        <p:nvSpPr>
          <p:cNvPr id="30" name="TextBox 29">
            <a:extLst>
              <a:ext uri="{FF2B5EF4-FFF2-40B4-BE49-F238E27FC236}">
                <a16:creationId xmlns:a16="http://schemas.microsoft.com/office/drawing/2014/main" id="{82BE3332-B012-724D-86B5-0B89A342E7F3}"/>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ools 1</a:t>
            </a:r>
          </a:p>
        </p:txBody>
      </p:sp>
      <p:sp>
        <p:nvSpPr>
          <p:cNvPr id="31" name="TextBox 30">
            <a:extLst>
              <a:ext uri="{FF2B5EF4-FFF2-40B4-BE49-F238E27FC236}">
                <a16:creationId xmlns:a16="http://schemas.microsoft.com/office/drawing/2014/main" id="{E034C07F-C9EE-324B-A613-60AB97E2D23A}"/>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ools 2</a:t>
            </a:r>
          </a:p>
        </p:txBody>
      </p:sp>
      <p:sp>
        <p:nvSpPr>
          <p:cNvPr id="32" name="TextBox 31">
            <a:extLst>
              <a:ext uri="{FF2B5EF4-FFF2-40B4-BE49-F238E27FC236}">
                <a16:creationId xmlns:a16="http://schemas.microsoft.com/office/drawing/2014/main" id="{D9C08244-92C9-B949-98E3-3986496E74B4}"/>
              </a:ext>
            </a:extLst>
          </p:cNvPr>
          <p:cNvSpPr txBox="1"/>
          <p:nvPr/>
        </p:nvSpPr>
        <p:spPr>
          <a:xfrm>
            <a:off x="12867894"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Umbrella</a:t>
            </a:r>
          </a:p>
        </p:txBody>
      </p:sp>
      <p:sp>
        <p:nvSpPr>
          <p:cNvPr id="33" name="TextBox 32">
            <a:extLst>
              <a:ext uri="{FF2B5EF4-FFF2-40B4-BE49-F238E27FC236}">
                <a16:creationId xmlns:a16="http://schemas.microsoft.com/office/drawing/2014/main" id="{A7EEAA80-AA21-E146-9481-7EC64D0DB09E}"/>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ter</a:t>
            </a:r>
          </a:p>
        </p:txBody>
      </p:sp>
      <p:sp>
        <p:nvSpPr>
          <p:cNvPr id="34" name="TextBox 33">
            <a:extLst>
              <a:ext uri="{FF2B5EF4-FFF2-40B4-BE49-F238E27FC236}">
                <a16:creationId xmlns:a16="http://schemas.microsoft.com/office/drawing/2014/main" id="{BC9C3A2B-9BC2-644D-8E84-9BBFE3C00FC9}"/>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ie Chart</a:t>
            </a:r>
          </a:p>
        </p:txBody>
      </p:sp>
      <p:sp>
        <p:nvSpPr>
          <p:cNvPr id="35" name="TextBox 34">
            <a:extLst>
              <a:ext uri="{FF2B5EF4-FFF2-40B4-BE49-F238E27FC236}">
                <a16:creationId xmlns:a16="http://schemas.microsoft.com/office/drawing/2014/main" id="{962C1CC0-EB0C-A145-A6B3-89CF2305980B}"/>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rain</a:t>
            </a:r>
          </a:p>
        </p:txBody>
      </p:sp>
      <p:sp>
        <p:nvSpPr>
          <p:cNvPr id="36" name="TextBox 35">
            <a:extLst>
              <a:ext uri="{FF2B5EF4-FFF2-40B4-BE49-F238E27FC236}">
                <a16:creationId xmlns:a16="http://schemas.microsoft.com/office/drawing/2014/main" id="{FBCB31CE-7C32-0747-9630-A84CC1552B36}"/>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ye</a:t>
            </a:r>
          </a:p>
        </p:txBody>
      </p:sp>
      <p:sp>
        <p:nvSpPr>
          <p:cNvPr id="37" name="TextBox 36">
            <a:extLst>
              <a:ext uri="{FF2B5EF4-FFF2-40B4-BE49-F238E27FC236}">
                <a16:creationId xmlns:a16="http://schemas.microsoft.com/office/drawing/2014/main" id="{54174822-A429-8446-AE19-CD99D54E6A60}"/>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rrow Left 1</a:t>
            </a:r>
          </a:p>
        </p:txBody>
      </p:sp>
      <p:sp>
        <p:nvSpPr>
          <p:cNvPr id="38" name="TextBox 37">
            <a:extLst>
              <a:ext uri="{FF2B5EF4-FFF2-40B4-BE49-F238E27FC236}">
                <a16:creationId xmlns:a16="http://schemas.microsoft.com/office/drawing/2014/main" id="{4533E98D-FA75-724B-A9D6-870E1EC81897}"/>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rrow Up 1</a:t>
            </a:r>
          </a:p>
        </p:txBody>
      </p:sp>
      <p:sp>
        <p:nvSpPr>
          <p:cNvPr id="39" name="TextBox 38">
            <a:extLst>
              <a:ext uri="{FF2B5EF4-FFF2-40B4-BE49-F238E27FC236}">
                <a16:creationId xmlns:a16="http://schemas.microsoft.com/office/drawing/2014/main" id="{B47CA28D-722B-5F4B-BC9A-B2B9A101B346}"/>
              </a:ext>
            </a:extLst>
          </p:cNvPr>
          <p:cNvSpPr txBox="1"/>
          <p:nvPr/>
        </p:nvSpPr>
        <p:spPr>
          <a:xfrm>
            <a:off x="-47946" y="11657695"/>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rrow Down 1</a:t>
            </a:r>
          </a:p>
        </p:txBody>
      </p:sp>
      <p:sp>
        <p:nvSpPr>
          <p:cNvPr id="40" name="TextBox 39">
            <a:extLst>
              <a:ext uri="{FF2B5EF4-FFF2-40B4-BE49-F238E27FC236}">
                <a16:creationId xmlns:a16="http://schemas.microsoft.com/office/drawing/2014/main" id="{E6E801B4-683D-DC49-98C1-86B59F77A921}"/>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err="1"/>
              <a:t>Comm</a:t>
            </a:r>
            <a:endParaRPr lang="en-US" sz="2800" dirty="0"/>
          </a:p>
        </p:txBody>
      </p:sp>
      <p:sp>
        <p:nvSpPr>
          <p:cNvPr id="41" name="TextBox 40">
            <a:extLst>
              <a:ext uri="{FF2B5EF4-FFF2-40B4-BE49-F238E27FC236}">
                <a16:creationId xmlns:a16="http://schemas.microsoft.com/office/drawing/2014/main" id="{57C20FF7-F77B-3541-AF4E-20304C2B143A}"/>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hat</a:t>
            </a:r>
          </a:p>
        </p:txBody>
      </p:sp>
      <p:sp>
        <p:nvSpPr>
          <p:cNvPr id="42" name="TextBox 41">
            <a:extLst>
              <a:ext uri="{FF2B5EF4-FFF2-40B4-BE49-F238E27FC236}">
                <a16:creationId xmlns:a16="http://schemas.microsoft.com/office/drawing/2014/main" id="{DBB67A07-0205-9A4A-896F-87C8253E0B04}"/>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ync</a:t>
            </a:r>
          </a:p>
        </p:txBody>
      </p:sp>
      <p:sp>
        <p:nvSpPr>
          <p:cNvPr id="67" name="TextBox 66">
            <a:extLst>
              <a:ext uri="{FF2B5EF4-FFF2-40B4-BE49-F238E27FC236}">
                <a16:creationId xmlns:a16="http://schemas.microsoft.com/office/drawing/2014/main" id="{94BA8D87-6FAD-2D42-8AE5-D3D8F74D9523}"/>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rget 1</a:t>
            </a:r>
          </a:p>
        </p:txBody>
      </p:sp>
      <p:sp>
        <p:nvSpPr>
          <p:cNvPr id="68" name="Freeform: Shape 26">
            <a:extLst>
              <a:ext uri="{FF2B5EF4-FFF2-40B4-BE49-F238E27FC236}">
                <a16:creationId xmlns:a16="http://schemas.microsoft.com/office/drawing/2014/main" id="{3C9518F1-43FA-8940-BA0D-33FD1FAA5F2C}"/>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9" name="TextBox 68">
            <a:extLst>
              <a:ext uri="{FF2B5EF4-FFF2-40B4-BE49-F238E27FC236}">
                <a16:creationId xmlns:a16="http://schemas.microsoft.com/office/drawing/2014/main" id="{B01462D5-FF6A-5840-A255-5C8951430C89}"/>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ome</a:t>
            </a:r>
          </a:p>
        </p:txBody>
      </p:sp>
      <p:sp>
        <p:nvSpPr>
          <p:cNvPr id="71" name="TextBox 70">
            <a:extLst>
              <a:ext uri="{FF2B5EF4-FFF2-40B4-BE49-F238E27FC236}">
                <a16:creationId xmlns:a16="http://schemas.microsoft.com/office/drawing/2014/main" id="{3A620FDE-BF4A-974C-B02D-FBD7F38A3EDC}"/>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rrow Right 1</a:t>
            </a:r>
          </a:p>
        </p:txBody>
      </p:sp>
      <p:sp>
        <p:nvSpPr>
          <p:cNvPr id="72" name="TextBox 71">
            <a:extLst>
              <a:ext uri="{FF2B5EF4-FFF2-40B4-BE49-F238E27FC236}">
                <a16:creationId xmlns:a16="http://schemas.microsoft.com/office/drawing/2014/main" id="{298CCD93-86E1-574C-8BE0-1BDC14718676}"/>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lash</a:t>
            </a:r>
          </a:p>
        </p:txBody>
      </p:sp>
      <p:sp>
        <p:nvSpPr>
          <p:cNvPr id="73" name="Freeform: Shape 13">
            <a:extLst>
              <a:ext uri="{FF2B5EF4-FFF2-40B4-BE49-F238E27FC236}">
                <a16:creationId xmlns:a16="http://schemas.microsoft.com/office/drawing/2014/main" id="{3FEA1BB6-F33F-F845-AE44-9B05D5270F40}"/>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4" name="Freeform: Shape 1">
            <a:extLst>
              <a:ext uri="{FF2B5EF4-FFF2-40B4-BE49-F238E27FC236}">
                <a16:creationId xmlns:a16="http://schemas.microsoft.com/office/drawing/2014/main" id="{996B6A6E-DC27-4044-91AF-6007EC428458}"/>
              </a:ext>
            </a:extLst>
          </p:cNvPr>
          <p:cNvSpPr/>
          <p:nvPr/>
        </p:nvSpPr>
        <p:spPr>
          <a:xfrm>
            <a:off x="1719584" y="6336205"/>
            <a:ext cx="1837439" cy="1837799"/>
          </a:xfrm>
          <a:custGeom>
            <a:avLst/>
            <a:gdLst/>
            <a:ahLst/>
            <a:cxnLst>
              <a:cxn ang="3cd4">
                <a:pos x="hc" y="t"/>
              </a:cxn>
              <a:cxn ang="cd2">
                <a:pos x="l" y="vc"/>
              </a:cxn>
              <a:cxn ang="cd4">
                <a:pos x="hc" y="b"/>
              </a:cxn>
              <a:cxn ang="0">
                <a:pos x="r" y="vc"/>
              </a:cxn>
            </a:cxnLst>
            <a:rect l="l" t="t" r="r" b="b"/>
            <a:pathLst>
              <a:path w="5105" h="5106">
                <a:moveTo>
                  <a:pt x="4056" y="493"/>
                </a:moveTo>
                <a:lnTo>
                  <a:pt x="4039" y="477"/>
                </a:lnTo>
                <a:cubicBezTo>
                  <a:pt x="3610" y="175"/>
                  <a:pt x="3101" y="0"/>
                  <a:pt x="2545" y="0"/>
                </a:cubicBezTo>
                <a:cubicBezTo>
                  <a:pt x="1924" y="0"/>
                  <a:pt x="1336" y="222"/>
                  <a:pt x="890" y="604"/>
                </a:cubicBezTo>
                <a:cubicBezTo>
                  <a:pt x="890" y="604"/>
                  <a:pt x="890" y="620"/>
                  <a:pt x="875" y="620"/>
                </a:cubicBezTo>
                <a:lnTo>
                  <a:pt x="875" y="636"/>
                </a:lnTo>
                <a:cubicBezTo>
                  <a:pt x="334" y="1097"/>
                  <a:pt x="0" y="1781"/>
                  <a:pt x="0" y="2545"/>
                </a:cubicBezTo>
                <a:cubicBezTo>
                  <a:pt x="0" y="3960"/>
                  <a:pt x="1145" y="5106"/>
                  <a:pt x="2545" y="5106"/>
                </a:cubicBezTo>
                <a:cubicBezTo>
                  <a:pt x="3960" y="5106"/>
                  <a:pt x="5105" y="3960"/>
                  <a:pt x="5105" y="2545"/>
                </a:cubicBezTo>
                <a:cubicBezTo>
                  <a:pt x="5105" y="1702"/>
                  <a:pt x="4692" y="954"/>
                  <a:pt x="4056" y="493"/>
                </a:cubicBezTo>
                <a:close/>
                <a:moveTo>
                  <a:pt x="4947" y="2465"/>
                </a:moveTo>
                <a:cubicBezTo>
                  <a:pt x="2703" y="2465"/>
                  <a:pt x="2703" y="2465"/>
                  <a:pt x="2703" y="2465"/>
                </a:cubicBezTo>
                <a:cubicBezTo>
                  <a:pt x="4008" y="652"/>
                  <a:pt x="4008" y="652"/>
                  <a:pt x="4008" y="652"/>
                </a:cubicBezTo>
                <a:cubicBezTo>
                  <a:pt x="4565" y="1082"/>
                  <a:pt x="4914" y="1734"/>
                  <a:pt x="4947" y="2465"/>
                </a:cubicBezTo>
                <a:close/>
                <a:moveTo>
                  <a:pt x="3881" y="573"/>
                </a:moveTo>
                <a:cubicBezTo>
                  <a:pt x="2545" y="2418"/>
                  <a:pt x="2545" y="2418"/>
                  <a:pt x="2545" y="2418"/>
                </a:cubicBezTo>
                <a:cubicBezTo>
                  <a:pt x="1049" y="684"/>
                  <a:pt x="1049" y="684"/>
                  <a:pt x="1049" y="684"/>
                </a:cubicBezTo>
                <a:cubicBezTo>
                  <a:pt x="1463" y="350"/>
                  <a:pt x="1988" y="159"/>
                  <a:pt x="2545" y="159"/>
                </a:cubicBezTo>
                <a:cubicBezTo>
                  <a:pt x="3038" y="159"/>
                  <a:pt x="3499" y="302"/>
                  <a:pt x="3881" y="573"/>
                </a:cubicBezTo>
                <a:close/>
                <a:moveTo>
                  <a:pt x="158" y="2545"/>
                </a:moveTo>
                <a:cubicBezTo>
                  <a:pt x="158" y="1861"/>
                  <a:pt x="461" y="1225"/>
                  <a:pt x="922" y="795"/>
                </a:cubicBezTo>
                <a:cubicBezTo>
                  <a:pt x="2465" y="2576"/>
                  <a:pt x="2465" y="2576"/>
                  <a:pt x="2465" y="2576"/>
                </a:cubicBezTo>
                <a:cubicBezTo>
                  <a:pt x="2465" y="4946"/>
                  <a:pt x="2465" y="4946"/>
                  <a:pt x="2465" y="4946"/>
                </a:cubicBezTo>
                <a:cubicBezTo>
                  <a:pt x="1193" y="4899"/>
                  <a:pt x="158" y="3849"/>
                  <a:pt x="158" y="2545"/>
                </a:cubicBezTo>
                <a:close/>
                <a:moveTo>
                  <a:pt x="2624" y="4946"/>
                </a:moveTo>
                <a:cubicBezTo>
                  <a:pt x="2624" y="2624"/>
                  <a:pt x="2624" y="2624"/>
                  <a:pt x="2624" y="2624"/>
                </a:cubicBezTo>
                <a:cubicBezTo>
                  <a:pt x="4947" y="2624"/>
                  <a:pt x="4947" y="2624"/>
                  <a:pt x="4947" y="2624"/>
                </a:cubicBezTo>
                <a:cubicBezTo>
                  <a:pt x="4899" y="3881"/>
                  <a:pt x="3881" y="4899"/>
                  <a:pt x="2624" y="494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5" name="Freeform: Shape 2">
            <a:extLst>
              <a:ext uri="{FF2B5EF4-FFF2-40B4-BE49-F238E27FC236}">
                <a16:creationId xmlns:a16="http://schemas.microsoft.com/office/drawing/2014/main" id="{BC144B54-E591-9344-AD4B-EF2365F380A0}"/>
              </a:ext>
            </a:extLst>
          </p:cNvPr>
          <p:cNvSpPr/>
          <p:nvPr/>
        </p:nvSpPr>
        <p:spPr>
          <a:xfrm>
            <a:off x="1898177" y="3256514"/>
            <a:ext cx="1591560" cy="1722960"/>
          </a:xfrm>
          <a:custGeom>
            <a:avLst/>
            <a:gdLst/>
            <a:ahLst/>
            <a:cxnLst>
              <a:cxn ang="3cd4">
                <a:pos x="hc" y="t"/>
              </a:cxn>
              <a:cxn ang="cd2">
                <a:pos x="l" y="vc"/>
              </a:cxn>
              <a:cxn ang="cd4">
                <a:pos x="hc" y="b"/>
              </a:cxn>
              <a:cxn ang="0">
                <a:pos x="r" y="vc"/>
              </a:cxn>
            </a:cxnLst>
            <a:rect l="l" t="t" r="r" b="b"/>
            <a:pathLst>
              <a:path w="4422" h="4787">
                <a:moveTo>
                  <a:pt x="4120" y="3197"/>
                </a:moveTo>
                <a:cubicBezTo>
                  <a:pt x="3961" y="3149"/>
                  <a:pt x="3818" y="2990"/>
                  <a:pt x="3818" y="2195"/>
                </a:cubicBezTo>
                <a:cubicBezTo>
                  <a:pt x="3818" y="1368"/>
                  <a:pt x="3309" y="684"/>
                  <a:pt x="2625" y="477"/>
                </a:cubicBezTo>
                <a:cubicBezTo>
                  <a:pt x="2609" y="206"/>
                  <a:pt x="2418" y="0"/>
                  <a:pt x="2179" y="0"/>
                </a:cubicBezTo>
                <a:cubicBezTo>
                  <a:pt x="1925" y="0"/>
                  <a:pt x="1734" y="206"/>
                  <a:pt x="1734" y="477"/>
                </a:cubicBezTo>
                <a:cubicBezTo>
                  <a:pt x="1034" y="684"/>
                  <a:pt x="525" y="1368"/>
                  <a:pt x="525" y="2195"/>
                </a:cubicBezTo>
                <a:cubicBezTo>
                  <a:pt x="525" y="2959"/>
                  <a:pt x="430" y="3149"/>
                  <a:pt x="271" y="3197"/>
                </a:cubicBezTo>
                <a:cubicBezTo>
                  <a:pt x="111" y="3245"/>
                  <a:pt x="0" y="3404"/>
                  <a:pt x="0" y="3595"/>
                </a:cubicBezTo>
                <a:cubicBezTo>
                  <a:pt x="0" y="4104"/>
                  <a:pt x="0" y="4104"/>
                  <a:pt x="0" y="4104"/>
                </a:cubicBezTo>
                <a:cubicBezTo>
                  <a:pt x="0" y="4135"/>
                  <a:pt x="32" y="4183"/>
                  <a:pt x="80" y="4183"/>
                </a:cubicBezTo>
                <a:cubicBezTo>
                  <a:pt x="1543" y="4183"/>
                  <a:pt x="1543" y="4183"/>
                  <a:pt x="1543" y="4183"/>
                </a:cubicBezTo>
                <a:cubicBezTo>
                  <a:pt x="1591" y="4517"/>
                  <a:pt x="1846" y="4787"/>
                  <a:pt x="2179" y="4787"/>
                </a:cubicBezTo>
                <a:cubicBezTo>
                  <a:pt x="2498" y="4787"/>
                  <a:pt x="2768" y="4517"/>
                  <a:pt x="2800" y="4183"/>
                </a:cubicBezTo>
                <a:cubicBezTo>
                  <a:pt x="4343" y="4183"/>
                  <a:pt x="4343" y="4183"/>
                  <a:pt x="4343" y="4183"/>
                </a:cubicBezTo>
                <a:cubicBezTo>
                  <a:pt x="4390" y="4183"/>
                  <a:pt x="4422" y="4135"/>
                  <a:pt x="4422" y="4104"/>
                </a:cubicBezTo>
                <a:cubicBezTo>
                  <a:pt x="4422" y="3595"/>
                  <a:pt x="4422" y="3595"/>
                  <a:pt x="4422" y="3595"/>
                </a:cubicBezTo>
                <a:cubicBezTo>
                  <a:pt x="4422" y="3388"/>
                  <a:pt x="4263" y="3245"/>
                  <a:pt x="4120" y="3197"/>
                </a:cubicBezTo>
                <a:close/>
                <a:moveTo>
                  <a:pt x="2179" y="159"/>
                </a:moveTo>
                <a:cubicBezTo>
                  <a:pt x="2322" y="159"/>
                  <a:pt x="2434" y="270"/>
                  <a:pt x="2465" y="429"/>
                </a:cubicBezTo>
                <a:cubicBezTo>
                  <a:pt x="2370" y="414"/>
                  <a:pt x="2275" y="397"/>
                  <a:pt x="2179" y="397"/>
                </a:cubicBezTo>
                <a:cubicBezTo>
                  <a:pt x="2084" y="397"/>
                  <a:pt x="1989" y="414"/>
                  <a:pt x="1893" y="429"/>
                </a:cubicBezTo>
                <a:cubicBezTo>
                  <a:pt x="1909" y="270"/>
                  <a:pt x="2036" y="159"/>
                  <a:pt x="2179" y="159"/>
                </a:cubicBezTo>
                <a:close/>
                <a:moveTo>
                  <a:pt x="2179" y="4629"/>
                </a:moveTo>
                <a:cubicBezTo>
                  <a:pt x="1941" y="4629"/>
                  <a:pt x="1734" y="4422"/>
                  <a:pt x="1702" y="4183"/>
                </a:cubicBezTo>
                <a:cubicBezTo>
                  <a:pt x="2641" y="4183"/>
                  <a:pt x="2641" y="4183"/>
                  <a:pt x="2641" y="4183"/>
                </a:cubicBezTo>
                <a:cubicBezTo>
                  <a:pt x="2609" y="4422"/>
                  <a:pt x="2402" y="4629"/>
                  <a:pt x="2179" y="4629"/>
                </a:cubicBezTo>
                <a:close/>
                <a:moveTo>
                  <a:pt x="4263" y="4024"/>
                </a:moveTo>
                <a:cubicBezTo>
                  <a:pt x="159" y="4024"/>
                  <a:pt x="159" y="4024"/>
                  <a:pt x="159" y="4024"/>
                </a:cubicBezTo>
                <a:cubicBezTo>
                  <a:pt x="159" y="3595"/>
                  <a:pt x="159" y="3595"/>
                  <a:pt x="159" y="3595"/>
                </a:cubicBezTo>
                <a:cubicBezTo>
                  <a:pt x="159" y="3468"/>
                  <a:pt x="223" y="3372"/>
                  <a:pt x="319" y="3340"/>
                </a:cubicBezTo>
                <a:cubicBezTo>
                  <a:pt x="589" y="3260"/>
                  <a:pt x="684" y="2974"/>
                  <a:pt x="684" y="2195"/>
                </a:cubicBezTo>
                <a:cubicBezTo>
                  <a:pt x="684" y="1288"/>
                  <a:pt x="1352" y="557"/>
                  <a:pt x="2179" y="557"/>
                </a:cubicBezTo>
                <a:cubicBezTo>
                  <a:pt x="2291" y="557"/>
                  <a:pt x="2402" y="572"/>
                  <a:pt x="2513" y="604"/>
                </a:cubicBezTo>
                <a:cubicBezTo>
                  <a:pt x="3165" y="779"/>
                  <a:pt x="3659" y="1415"/>
                  <a:pt x="3659" y="2195"/>
                </a:cubicBezTo>
                <a:cubicBezTo>
                  <a:pt x="3659" y="2926"/>
                  <a:pt x="3770" y="3260"/>
                  <a:pt x="4072" y="3340"/>
                </a:cubicBezTo>
                <a:cubicBezTo>
                  <a:pt x="4168" y="3372"/>
                  <a:pt x="4263" y="3468"/>
                  <a:pt x="4263" y="359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6" name="Freeform: Shape 3">
            <a:extLst>
              <a:ext uri="{FF2B5EF4-FFF2-40B4-BE49-F238E27FC236}">
                <a16:creationId xmlns:a16="http://schemas.microsoft.com/office/drawing/2014/main" id="{C785BF03-9F5C-A147-8596-AB256A6B4A8A}"/>
              </a:ext>
            </a:extLst>
          </p:cNvPr>
          <p:cNvSpPr/>
          <p:nvPr/>
        </p:nvSpPr>
        <p:spPr>
          <a:xfrm>
            <a:off x="5931456" y="3210793"/>
            <a:ext cx="1436400" cy="1614240"/>
          </a:xfrm>
          <a:custGeom>
            <a:avLst/>
            <a:gdLst/>
            <a:ahLst/>
            <a:cxnLst>
              <a:cxn ang="3cd4">
                <a:pos x="hc" y="t"/>
              </a:cxn>
              <a:cxn ang="cd2">
                <a:pos x="l" y="vc"/>
              </a:cxn>
              <a:cxn ang="cd4">
                <a:pos x="hc" y="b"/>
              </a:cxn>
              <a:cxn ang="0">
                <a:pos x="r" y="vc"/>
              </a:cxn>
            </a:cxnLst>
            <a:rect l="l" t="t" r="r" b="b"/>
            <a:pathLst>
              <a:path w="3991" h="4485">
                <a:moveTo>
                  <a:pt x="3275" y="4485"/>
                </a:moveTo>
                <a:cubicBezTo>
                  <a:pt x="3673" y="4485"/>
                  <a:pt x="3991" y="4167"/>
                  <a:pt x="3991" y="3769"/>
                </a:cubicBezTo>
                <a:cubicBezTo>
                  <a:pt x="3991" y="3387"/>
                  <a:pt x="3673" y="3069"/>
                  <a:pt x="3291" y="3053"/>
                </a:cubicBezTo>
                <a:cubicBezTo>
                  <a:pt x="3005" y="2735"/>
                  <a:pt x="2670" y="2369"/>
                  <a:pt x="2416" y="2083"/>
                </a:cubicBezTo>
                <a:cubicBezTo>
                  <a:pt x="2257" y="1908"/>
                  <a:pt x="2114" y="1765"/>
                  <a:pt x="2018" y="1654"/>
                </a:cubicBezTo>
                <a:cubicBezTo>
                  <a:pt x="1748" y="1351"/>
                  <a:pt x="1716" y="1081"/>
                  <a:pt x="1716" y="827"/>
                </a:cubicBezTo>
                <a:cubicBezTo>
                  <a:pt x="1716" y="556"/>
                  <a:pt x="1669" y="381"/>
                  <a:pt x="1542" y="254"/>
                </a:cubicBezTo>
                <a:cubicBezTo>
                  <a:pt x="1271" y="-16"/>
                  <a:pt x="794" y="-64"/>
                  <a:pt x="571" y="79"/>
                </a:cubicBezTo>
                <a:cubicBezTo>
                  <a:pt x="555" y="95"/>
                  <a:pt x="539" y="111"/>
                  <a:pt x="539" y="143"/>
                </a:cubicBezTo>
                <a:cubicBezTo>
                  <a:pt x="524" y="159"/>
                  <a:pt x="539" y="190"/>
                  <a:pt x="555" y="206"/>
                </a:cubicBezTo>
                <a:lnTo>
                  <a:pt x="1000" y="588"/>
                </a:lnTo>
                <a:lnTo>
                  <a:pt x="921" y="938"/>
                </a:lnTo>
                <a:lnTo>
                  <a:pt x="619" y="1081"/>
                </a:lnTo>
                <a:lnTo>
                  <a:pt x="158" y="668"/>
                </a:lnTo>
                <a:cubicBezTo>
                  <a:pt x="142" y="636"/>
                  <a:pt x="110" y="636"/>
                  <a:pt x="78" y="652"/>
                </a:cubicBezTo>
                <a:cubicBezTo>
                  <a:pt x="46" y="652"/>
                  <a:pt x="30" y="684"/>
                  <a:pt x="30" y="699"/>
                </a:cubicBezTo>
                <a:cubicBezTo>
                  <a:pt x="15" y="731"/>
                  <a:pt x="-97" y="1256"/>
                  <a:pt x="237" y="1559"/>
                </a:cubicBezTo>
                <a:cubicBezTo>
                  <a:pt x="364" y="1686"/>
                  <a:pt x="507" y="1749"/>
                  <a:pt x="667" y="1765"/>
                </a:cubicBezTo>
                <a:cubicBezTo>
                  <a:pt x="1080" y="1781"/>
                  <a:pt x="1191" y="1845"/>
                  <a:pt x="1414" y="2099"/>
                </a:cubicBezTo>
                <a:cubicBezTo>
                  <a:pt x="1494" y="2195"/>
                  <a:pt x="1669" y="2417"/>
                  <a:pt x="1891" y="2704"/>
                </a:cubicBezTo>
                <a:cubicBezTo>
                  <a:pt x="2066" y="2942"/>
                  <a:pt x="2305" y="3229"/>
                  <a:pt x="2591" y="3578"/>
                </a:cubicBezTo>
                <a:cubicBezTo>
                  <a:pt x="2575" y="3642"/>
                  <a:pt x="2560" y="3705"/>
                  <a:pt x="2560" y="3769"/>
                </a:cubicBezTo>
                <a:cubicBezTo>
                  <a:pt x="2560" y="4167"/>
                  <a:pt x="2878" y="4485"/>
                  <a:pt x="3275" y="4485"/>
                </a:cubicBezTo>
                <a:close/>
                <a:moveTo>
                  <a:pt x="2018" y="2592"/>
                </a:moveTo>
                <a:cubicBezTo>
                  <a:pt x="1780" y="2306"/>
                  <a:pt x="1621" y="2099"/>
                  <a:pt x="1525" y="1988"/>
                </a:cubicBezTo>
                <a:cubicBezTo>
                  <a:pt x="1271" y="1717"/>
                  <a:pt x="1128" y="1622"/>
                  <a:pt x="667" y="1606"/>
                </a:cubicBezTo>
                <a:cubicBezTo>
                  <a:pt x="555" y="1590"/>
                  <a:pt x="444" y="1542"/>
                  <a:pt x="348" y="1447"/>
                </a:cubicBezTo>
                <a:cubicBezTo>
                  <a:pt x="173" y="1288"/>
                  <a:pt x="158" y="1033"/>
                  <a:pt x="158" y="875"/>
                </a:cubicBezTo>
                <a:lnTo>
                  <a:pt x="555" y="1224"/>
                </a:lnTo>
                <a:cubicBezTo>
                  <a:pt x="571" y="1256"/>
                  <a:pt x="603" y="1256"/>
                  <a:pt x="635" y="1240"/>
                </a:cubicBezTo>
                <a:lnTo>
                  <a:pt x="1016" y="1065"/>
                </a:lnTo>
                <a:cubicBezTo>
                  <a:pt x="1048" y="1065"/>
                  <a:pt x="1064" y="1033"/>
                  <a:pt x="1064" y="1018"/>
                </a:cubicBezTo>
                <a:lnTo>
                  <a:pt x="1160" y="588"/>
                </a:lnTo>
                <a:cubicBezTo>
                  <a:pt x="1176" y="556"/>
                  <a:pt x="1160" y="524"/>
                  <a:pt x="1144" y="509"/>
                </a:cubicBezTo>
                <a:lnTo>
                  <a:pt x="762" y="175"/>
                </a:lnTo>
                <a:cubicBezTo>
                  <a:pt x="953" y="143"/>
                  <a:pt x="1255" y="190"/>
                  <a:pt x="1430" y="366"/>
                </a:cubicBezTo>
                <a:cubicBezTo>
                  <a:pt x="1509" y="461"/>
                  <a:pt x="1557" y="604"/>
                  <a:pt x="1557" y="827"/>
                </a:cubicBezTo>
                <a:cubicBezTo>
                  <a:pt x="1557" y="1097"/>
                  <a:pt x="1605" y="1415"/>
                  <a:pt x="1907" y="1749"/>
                </a:cubicBezTo>
                <a:cubicBezTo>
                  <a:pt x="2003" y="1860"/>
                  <a:pt x="2130" y="2020"/>
                  <a:pt x="2289" y="2195"/>
                </a:cubicBezTo>
                <a:cubicBezTo>
                  <a:pt x="2560" y="2481"/>
                  <a:pt x="2909" y="2863"/>
                  <a:pt x="3196" y="3197"/>
                </a:cubicBezTo>
                <a:cubicBezTo>
                  <a:pt x="3212" y="3213"/>
                  <a:pt x="3243" y="3213"/>
                  <a:pt x="3259" y="3213"/>
                </a:cubicBezTo>
                <a:lnTo>
                  <a:pt x="3275" y="3133"/>
                </a:lnTo>
                <a:lnTo>
                  <a:pt x="3275" y="3213"/>
                </a:lnTo>
                <a:cubicBezTo>
                  <a:pt x="3577" y="3213"/>
                  <a:pt x="3832" y="3467"/>
                  <a:pt x="3832" y="3769"/>
                </a:cubicBezTo>
                <a:cubicBezTo>
                  <a:pt x="3832" y="4087"/>
                  <a:pt x="3577" y="4326"/>
                  <a:pt x="3275" y="4326"/>
                </a:cubicBezTo>
                <a:cubicBezTo>
                  <a:pt x="2973" y="4326"/>
                  <a:pt x="2718" y="4087"/>
                  <a:pt x="2718" y="3769"/>
                </a:cubicBezTo>
                <a:cubicBezTo>
                  <a:pt x="2718" y="3705"/>
                  <a:pt x="2734" y="3658"/>
                  <a:pt x="2750" y="3595"/>
                </a:cubicBezTo>
                <a:cubicBezTo>
                  <a:pt x="2766" y="3562"/>
                  <a:pt x="2750" y="3547"/>
                  <a:pt x="2734" y="3515"/>
                </a:cubicBezTo>
                <a:cubicBezTo>
                  <a:pt x="2448" y="3149"/>
                  <a:pt x="2209" y="2847"/>
                  <a:pt x="2018" y="2592"/>
                </a:cubicBezTo>
                <a:close/>
                <a:moveTo>
                  <a:pt x="3402" y="4008"/>
                </a:moveTo>
                <a:lnTo>
                  <a:pt x="3530" y="3785"/>
                </a:lnTo>
                <a:lnTo>
                  <a:pt x="3402" y="3578"/>
                </a:lnTo>
                <a:lnTo>
                  <a:pt x="3164" y="3578"/>
                </a:lnTo>
                <a:lnTo>
                  <a:pt x="3036" y="3785"/>
                </a:lnTo>
                <a:lnTo>
                  <a:pt x="3164" y="4008"/>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7" name="Freeform: Shape 4">
            <a:extLst>
              <a:ext uri="{FF2B5EF4-FFF2-40B4-BE49-F238E27FC236}">
                <a16:creationId xmlns:a16="http://schemas.microsoft.com/office/drawing/2014/main" id="{165B783F-06D0-ED49-ABA1-7AB429C4CF5A}"/>
              </a:ext>
            </a:extLst>
          </p:cNvPr>
          <p:cNvSpPr/>
          <p:nvPr/>
        </p:nvSpPr>
        <p:spPr>
          <a:xfrm>
            <a:off x="21025994" y="9300447"/>
            <a:ext cx="1848960" cy="1848960"/>
          </a:xfrm>
          <a:custGeom>
            <a:avLst/>
            <a:gdLst/>
            <a:ahLst/>
            <a:cxnLst>
              <a:cxn ang="3cd4">
                <a:pos x="hc" y="t"/>
              </a:cxn>
              <a:cxn ang="cd2">
                <a:pos x="l" y="vc"/>
              </a:cxn>
              <a:cxn ang="cd4">
                <a:pos x="hc" y="b"/>
              </a:cxn>
              <a:cxn ang="0">
                <a:pos x="r" y="vc"/>
              </a:cxn>
            </a:cxnLst>
            <a:rect l="l" t="t" r="r" b="b"/>
            <a:pathLst>
              <a:path w="5137" h="5137">
                <a:moveTo>
                  <a:pt x="2577" y="1988"/>
                </a:moveTo>
                <a:cubicBezTo>
                  <a:pt x="2243" y="1988"/>
                  <a:pt x="1988" y="2242"/>
                  <a:pt x="1988" y="2560"/>
                </a:cubicBezTo>
                <a:cubicBezTo>
                  <a:pt x="1988" y="2878"/>
                  <a:pt x="2243" y="3149"/>
                  <a:pt x="2577" y="3149"/>
                </a:cubicBezTo>
                <a:cubicBezTo>
                  <a:pt x="2895" y="3149"/>
                  <a:pt x="3149" y="2878"/>
                  <a:pt x="3149" y="2560"/>
                </a:cubicBezTo>
                <a:cubicBezTo>
                  <a:pt x="3149" y="2242"/>
                  <a:pt x="2895" y="1988"/>
                  <a:pt x="2577" y="1988"/>
                </a:cubicBezTo>
                <a:close/>
                <a:moveTo>
                  <a:pt x="2577" y="1049"/>
                </a:moveTo>
                <a:cubicBezTo>
                  <a:pt x="1734" y="1049"/>
                  <a:pt x="1050" y="1733"/>
                  <a:pt x="1050" y="2560"/>
                </a:cubicBezTo>
                <a:cubicBezTo>
                  <a:pt x="1050" y="3403"/>
                  <a:pt x="1734" y="4087"/>
                  <a:pt x="2577" y="4087"/>
                </a:cubicBezTo>
                <a:cubicBezTo>
                  <a:pt x="3404" y="4087"/>
                  <a:pt x="4088" y="3403"/>
                  <a:pt x="4088" y="2560"/>
                </a:cubicBezTo>
                <a:cubicBezTo>
                  <a:pt x="4088" y="1733"/>
                  <a:pt x="3404" y="1049"/>
                  <a:pt x="2577" y="1049"/>
                </a:cubicBezTo>
                <a:close/>
                <a:moveTo>
                  <a:pt x="2577" y="3928"/>
                </a:moveTo>
                <a:cubicBezTo>
                  <a:pt x="1829" y="3928"/>
                  <a:pt x="1209" y="3308"/>
                  <a:pt x="1209" y="2560"/>
                </a:cubicBezTo>
                <a:cubicBezTo>
                  <a:pt x="1209" y="1813"/>
                  <a:pt x="1829" y="1209"/>
                  <a:pt x="2577" y="1209"/>
                </a:cubicBezTo>
                <a:cubicBezTo>
                  <a:pt x="3324" y="1209"/>
                  <a:pt x="3928" y="1813"/>
                  <a:pt x="3928" y="2560"/>
                </a:cubicBezTo>
                <a:cubicBezTo>
                  <a:pt x="3928" y="3308"/>
                  <a:pt x="3324" y="3928"/>
                  <a:pt x="2577" y="3928"/>
                </a:cubicBezTo>
                <a:close/>
                <a:moveTo>
                  <a:pt x="2577" y="0"/>
                </a:moveTo>
                <a:cubicBezTo>
                  <a:pt x="1161" y="0"/>
                  <a:pt x="0" y="1145"/>
                  <a:pt x="0" y="2560"/>
                </a:cubicBezTo>
                <a:cubicBezTo>
                  <a:pt x="0" y="3976"/>
                  <a:pt x="1161" y="5137"/>
                  <a:pt x="2577" y="5137"/>
                </a:cubicBezTo>
                <a:cubicBezTo>
                  <a:pt x="3976" y="5137"/>
                  <a:pt x="5137" y="3976"/>
                  <a:pt x="5137" y="2560"/>
                </a:cubicBezTo>
                <a:cubicBezTo>
                  <a:pt x="5137" y="1145"/>
                  <a:pt x="3976" y="0"/>
                  <a:pt x="2577" y="0"/>
                </a:cubicBezTo>
                <a:close/>
                <a:moveTo>
                  <a:pt x="2577" y="4978"/>
                </a:moveTo>
                <a:cubicBezTo>
                  <a:pt x="1241" y="4978"/>
                  <a:pt x="159" y="3896"/>
                  <a:pt x="159" y="2560"/>
                </a:cubicBezTo>
                <a:cubicBezTo>
                  <a:pt x="159" y="1240"/>
                  <a:pt x="1241" y="158"/>
                  <a:pt x="2577" y="158"/>
                </a:cubicBezTo>
                <a:cubicBezTo>
                  <a:pt x="3897" y="158"/>
                  <a:pt x="4979" y="1240"/>
                  <a:pt x="4979" y="2560"/>
                </a:cubicBezTo>
                <a:cubicBezTo>
                  <a:pt x="4979" y="3896"/>
                  <a:pt x="3897" y="4978"/>
                  <a:pt x="2577" y="497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8" name="Freeform: Shape 5">
            <a:extLst>
              <a:ext uri="{FF2B5EF4-FFF2-40B4-BE49-F238E27FC236}">
                <a16:creationId xmlns:a16="http://schemas.microsoft.com/office/drawing/2014/main" id="{1D36DF5E-28B3-FE4D-8E2E-CEBB3E04FC67}"/>
              </a:ext>
            </a:extLst>
          </p:cNvPr>
          <p:cNvSpPr/>
          <p:nvPr/>
        </p:nvSpPr>
        <p:spPr>
          <a:xfrm>
            <a:off x="17243263" y="9271647"/>
            <a:ext cx="1900440" cy="1900440"/>
          </a:xfrm>
          <a:custGeom>
            <a:avLst/>
            <a:gdLst/>
            <a:ahLst/>
            <a:cxnLst>
              <a:cxn ang="3cd4">
                <a:pos x="hc" y="t"/>
              </a:cxn>
              <a:cxn ang="cd2">
                <a:pos x="l" y="vc"/>
              </a:cxn>
              <a:cxn ang="cd4">
                <a:pos x="hc" y="b"/>
              </a:cxn>
              <a:cxn ang="0">
                <a:pos x="r" y="vc"/>
              </a:cxn>
            </a:cxnLst>
            <a:rect l="l" t="t" r="r" b="b"/>
            <a:pathLst>
              <a:path w="5280" h="5280">
                <a:moveTo>
                  <a:pt x="2640" y="5280"/>
                </a:moveTo>
                <a:cubicBezTo>
                  <a:pt x="4087" y="5280"/>
                  <a:pt x="5280" y="4104"/>
                  <a:pt x="5280" y="2640"/>
                </a:cubicBezTo>
                <a:cubicBezTo>
                  <a:pt x="5280" y="1193"/>
                  <a:pt x="4087" y="0"/>
                  <a:pt x="2640" y="0"/>
                </a:cubicBezTo>
                <a:cubicBezTo>
                  <a:pt x="1176" y="0"/>
                  <a:pt x="0" y="1193"/>
                  <a:pt x="0" y="2640"/>
                </a:cubicBezTo>
                <a:cubicBezTo>
                  <a:pt x="0" y="4104"/>
                  <a:pt x="1176" y="5280"/>
                  <a:pt x="2640" y="5280"/>
                </a:cubicBezTo>
                <a:close/>
                <a:moveTo>
                  <a:pt x="2640" y="159"/>
                </a:moveTo>
                <a:cubicBezTo>
                  <a:pt x="4008" y="159"/>
                  <a:pt x="5121" y="1272"/>
                  <a:pt x="5121" y="2640"/>
                </a:cubicBezTo>
                <a:cubicBezTo>
                  <a:pt x="5121" y="4008"/>
                  <a:pt x="4008" y="5122"/>
                  <a:pt x="2640" y="5122"/>
                </a:cubicBezTo>
                <a:cubicBezTo>
                  <a:pt x="1272" y="5122"/>
                  <a:pt x="158" y="4008"/>
                  <a:pt x="158" y="2640"/>
                </a:cubicBezTo>
                <a:cubicBezTo>
                  <a:pt x="158" y="1272"/>
                  <a:pt x="1272" y="159"/>
                  <a:pt x="2640" y="159"/>
                </a:cubicBezTo>
                <a:close/>
                <a:moveTo>
                  <a:pt x="985" y="4024"/>
                </a:moveTo>
                <a:cubicBezTo>
                  <a:pt x="1018" y="4024"/>
                  <a:pt x="1033" y="4024"/>
                  <a:pt x="1049" y="4008"/>
                </a:cubicBezTo>
                <a:lnTo>
                  <a:pt x="3992" y="1050"/>
                </a:lnTo>
                <a:cubicBezTo>
                  <a:pt x="4008" y="1034"/>
                  <a:pt x="4024" y="1018"/>
                  <a:pt x="4024" y="986"/>
                </a:cubicBezTo>
                <a:cubicBezTo>
                  <a:pt x="4024" y="970"/>
                  <a:pt x="4008" y="954"/>
                  <a:pt x="3992" y="938"/>
                </a:cubicBezTo>
                <a:cubicBezTo>
                  <a:pt x="3594" y="620"/>
                  <a:pt x="3133" y="461"/>
                  <a:pt x="2640" y="461"/>
                </a:cubicBezTo>
                <a:cubicBezTo>
                  <a:pt x="1431" y="461"/>
                  <a:pt x="461" y="1447"/>
                  <a:pt x="461" y="2640"/>
                </a:cubicBezTo>
                <a:cubicBezTo>
                  <a:pt x="461" y="3134"/>
                  <a:pt x="620" y="3611"/>
                  <a:pt x="922" y="3992"/>
                </a:cubicBezTo>
                <a:cubicBezTo>
                  <a:pt x="938" y="4024"/>
                  <a:pt x="970" y="4024"/>
                  <a:pt x="985" y="4024"/>
                </a:cubicBezTo>
                <a:close/>
                <a:moveTo>
                  <a:pt x="2640" y="620"/>
                </a:moveTo>
                <a:cubicBezTo>
                  <a:pt x="3069" y="620"/>
                  <a:pt x="3483" y="747"/>
                  <a:pt x="3817" y="1002"/>
                </a:cubicBezTo>
                <a:lnTo>
                  <a:pt x="1002" y="3833"/>
                </a:lnTo>
                <a:cubicBezTo>
                  <a:pt x="747" y="3483"/>
                  <a:pt x="620" y="3070"/>
                  <a:pt x="620" y="2640"/>
                </a:cubicBezTo>
                <a:cubicBezTo>
                  <a:pt x="620" y="1527"/>
                  <a:pt x="1527" y="620"/>
                  <a:pt x="2640" y="620"/>
                </a:cubicBezTo>
                <a:close/>
                <a:moveTo>
                  <a:pt x="1224" y="4279"/>
                </a:moveTo>
                <a:cubicBezTo>
                  <a:pt x="1224" y="4295"/>
                  <a:pt x="1240" y="4326"/>
                  <a:pt x="1256" y="4342"/>
                </a:cubicBezTo>
                <a:cubicBezTo>
                  <a:pt x="1654" y="4661"/>
                  <a:pt x="2131" y="4819"/>
                  <a:pt x="2640" y="4819"/>
                </a:cubicBezTo>
                <a:cubicBezTo>
                  <a:pt x="3849" y="4819"/>
                  <a:pt x="4819" y="3849"/>
                  <a:pt x="4819" y="2640"/>
                </a:cubicBezTo>
                <a:cubicBezTo>
                  <a:pt x="4819" y="2147"/>
                  <a:pt x="4644" y="1654"/>
                  <a:pt x="4326" y="1272"/>
                </a:cubicBezTo>
                <a:cubicBezTo>
                  <a:pt x="4310" y="1256"/>
                  <a:pt x="4294" y="1241"/>
                  <a:pt x="4278" y="1241"/>
                </a:cubicBezTo>
                <a:cubicBezTo>
                  <a:pt x="4247" y="1241"/>
                  <a:pt x="4230" y="1241"/>
                  <a:pt x="4214" y="1256"/>
                </a:cubicBezTo>
                <a:lnTo>
                  <a:pt x="1256" y="4215"/>
                </a:lnTo>
                <a:cubicBezTo>
                  <a:pt x="1240" y="4231"/>
                  <a:pt x="1224" y="4263"/>
                  <a:pt x="1224" y="4279"/>
                </a:cubicBezTo>
                <a:close/>
                <a:moveTo>
                  <a:pt x="4262" y="1432"/>
                </a:moveTo>
                <a:cubicBezTo>
                  <a:pt x="4517" y="1781"/>
                  <a:pt x="4660" y="2211"/>
                  <a:pt x="4660" y="2640"/>
                </a:cubicBezTo>
                <a:cubicBezTo>
                  <a:pt x="4660" y="3754"/>
                  <a:pt x="3753" y="4676"/>
                  <a:pt x="2640" y="4676"/>
                </a:cubicBezTo>
                <a:cubicBezTo>
                  <a:pt x="2211" y="4676"/>
                  <a:pt x="1781" y="4533"/>
                  <a:pt x="1431" y="42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9" name="Freeform: Shape 6">
            <a:extLst>
              <a:ext uri="{FF2B5EF4-FFF2-40B4-BE49-F238E27FC236}">
                <a16:creationId xmlns:a16="http://schemas.microsoft.com/office/drawing/2014/main" id="{DDCD0C29-B4C9-9148-A895-5833C43E23D1}"/>
              </a:ext>
            </a:extLst>
          </p:cNvPr>
          <p:cNvSpPr/>
          <p:nvPr/>
        </p:nvSpPr>
        <p:spPr>
          <a:xfrm>
            <a:off x="13841512" y="6671392"/>
            <a:ext cx="1723320" cy="1256040"/>
          </a:xfrm>
          <a:custGeom>
            <a:avLst/>
            <a:gdLst/>
            <a:ahLst/>
            <a:cxnLst>
              <a:cxn ang="3cd4">
                <a:pos x="hc" y="t"/>
              </a:cxn>
              <a:cxn ang="cd2">
                <a:pos x="l" y="vc"/>
              </a:cxn>
              <a:cxn ang="cd4">
                <a:pos x="hc" y="b"/>
              </a:cxn>
              <a:cxn ang="0">
                <a:pos x="r" y="vc"/>
              </a:cxn>
            </a:cxnLst>
            <a:rect l="l" t="t" r="r" b="b"/>
            <a:pathLst>
              <a:path w="4788" h="3490">
                <a:moveTo>
                  <a:pt x="4708" y="722"/>
                </a:moveTo>
                <a:cubicBezTo>
                  <a:pt x="2020" y="722"/>
                  <a:pt x="2020" y="722"/>
                  <a:pt x="2020" y="722"/>
                </a:cubicBezTo>
                <a:cubicBezTo>
                  <a:pt x="2020" y="86"/>
                  <a:pt x="2020" y="86"/>
                  <a:pt x="2020" y="86"/>
                </a:cubicBezTo>
                <a:cubicBezTo>
                  <a:pt x="2020" y="54"/>
                  <a:pt x="2004" y="23"/>
                  <a:pt x="1988" y="7"/>
                </a:cubicBezTo>
                <a:cubicBezTo>
                  <a:pt x="1956" y="-10"/>
                  <a:pt x="1925" y="7"/>
                  <a:pt x="1893" y="23"/>
                </a:cubicBezTo>
                <a:cubicBezTo>
                  <a:pt x="32" y="1661"/>
                  <a:pt x="32" y="1661"/>
                  <a:pt x="32" y="1661"/>
                </a:cubicBezTo>
                <a:cubicBezTo>
                  <a:pt x="16" y="1677"/>
                  <a:pt x="0" y="1693"/>
                  <a:pt x="0" y="1725"/>
                </a:cubicBezTo>
                <a:cubicBezTo>
                  <a:pt x="0" y="1740"/>
                  <a:pt x="16" y="1756"/>
                  <a:pt x="32" y="1772"/>
                </a:cubicBezTo>
                <a:cubicBezTo>
                  <a:pt x="1877" y="3458"/>
                  <a:pt x="1877" y="3458"/>
                  <a:pt x="1877" y="3458"/>
                </a:cubicBezTo>
                <a:cubicBezTo>
                  <a:pt x="1893" y="3474"/>
                  <a:pt x="1909" y="3490"/>
                  <a:pt x="1925" y="3490"/>
                </a:cubicBezTo>
                <a:cubicBezTo>
                  <a:pt x="1941" y="3490"/>
                  <a:pt x="1941" y="3490"/>
                  <a:pt x="1956" y="3474"/>
                </a:cubicBezTo>
                <a:cubicBezTo>
                  <a:pt x="1988" y="3474"/>
                  <a:pt x="2004" y="3442"/>
                  <a:pt x="2004" y="3410"/>
                </a:cubicBezTo>
                <a:cubicBezTo>
                  <a:pt x="2004" y="2774"/>
                  <a:pt x="2004" y="2774"/>
                  <a:pt x="2004" y="2774"/>
                </a:cubicBezTo>
                <a:cubicBezTo>
                  <a:pt x="4708" y="2758"/>
                  <a:pt x="4708" y="2758"/>
                  <a:pt x="4708" y="2758"/>
                </a:cubicBezTo>
                <a:cubicBezTo>
                  <a:pt x="4740" y="2758"/>
                  <a:pt x="4788" y="2726"/>
                  <a:pt x="4788" y="2679"/>
                </a:cubicBezTo>
                <a:cubicBezTo>
                  <a:pt x="4788" y="802"/>
                  <a:pt x="4788" y="802"/>
                  <a:pt x="4788" y="802"/>
                </a:cubicBezTo>
                <a:cubicBezTo>
                  <a:pt x="4788" y="786"/>
                  <a:pt x="4788" y="754"/>
                  <a:pt x="4772" y="754"/>
                </a:cubicBezTo>
                <a:cubicBezTo>
                  <a:pt x="4756" y="738"/>
                  <a:pt x="4740" y="722"/>
                  <a:pt x="4708" y="722"/>
                </a:cubicBezTo>
                <a:close/>
                <a:moveTo>
                  <a:pt x="4629" y="2599"/>
                </a:moveTo>
                <a:cubicBezTo>
                  <a:pt x="1925" y="2615"/>
                  <a:pt x="1925" y="2615"/>
                  <a:pt x="1925" y="2615"/>
                </a:cubicBezTo>
                <a:cubicBezTo>
                  <a:pt x="1893" y="2615"/>
                  <a:pt x="1845" y="2647"/>
                  <a:pt x="1845" y="2695"/>
                </a:cubicBezTo>
                <a:cubicBezTo>
                  <a:pt x="1845" y="3219"/>
                  <a:pt x="1845" y="3219"/>
                  <a:pt x="1845" y="3219"/>
                </a:cubicBezTo>
                <a:cubicBezTo>
                  <a:pt x="207" y="1725"/>
                  <a:pt x="207" y="1725"/>
                  <a:pt x="207" y="1725"/>
                </a:cubicBezTo>
                <a:cubicBezTo>
                  <a:pt x="1861" y="261"/>
                  <a:pt x="1861" y="261"/>
                  <a:pt x="1861" y="261"/>
                </a:cubicBezTo>
                <a:cubicBezTo>
                  <a:pt x="1861" y="802"/>
                  <a:pt x="1861" y="802"/>
                  <a:pt x="1861" y="802"/>
                </a:cubicBezTo>
                <a:cubicBezTo>
                  <a:pt x="1861" y="834"/>
                  <a:pt x="1877" y="850"/>
                  <a:pt x="1893" y="865"/>
                </a:cubicBezTo>
                <a:cubicBezTo>
                  <a:pt x="1909" y="881"/>
                  <a:pt x="1925" y="881"/>
                  <a:pt x="1941" y="881"/>
                </a:cubicBezTo>
                <a:cubicBezTo>
                  <a:pt x="4629" y="881"/>
                  <a:pt x="4629" y="881"/>
                  <a:pt x="4629" y="88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0" name="Freeform: Shape 7">
            <a:extLst>
              <a:ext uri="{FF2B5EF4-FFF2-40B4-BE49-F238E27FC236}">
                <a16:creationId xmlns:a16="http://schemas.microsoft.com/office/drawing/2014/main" id="{44E4FCD1-06F1-E74A-BC49-52E33BA726EB}"/>
              </a:ext>
            </a:extLst>
          </p:cNvPr>
          <p:cNvSpPr/>
          <p:nvPr/>
        </p:nvSpPr>
        <p:spPr>
          <a:xfrm>
            <a:off x="17528567" y="6671392"/>
            <a:ext cx="1722960" cy="1256040"/>
          </a:xfrm>
          <a:custGeom>
            <a:avLst/>
            <a:gdLst/>
            <a:ahLst/>
            <a:cxnLst>
              <a:cxn ang="3cd4">
                <a:pos x="hc" y="t"/>
              </a:cxn>
              <a:cxn ang="cd2">
                <a:pos x="l" y="vc"/>
              </a:cxn>
              <a:cxn ang="cd4">
                <a:pos x="hc" y="b"/>
              </a:cxn>
              <a:cxn ang="0">
                <a:pos x="r" y="vc"/>
              </a:cxn>
            </a:cxnLst>
            <a:rect l="l" t="t" r="r" b="b"/>
            <a:pathLst>
              <a:path w="4787" h="3490">
                <a:moveTo>
                  <a:pt x="4787" y="1772"/>
                </a:moveTo>
                <a:cubicBezTo>
                  <a:pt x="4787" y="1740"/>
                  <a:pt x="4772" y="1725"/>
                  <a:pt x="4756" y="1708"/>
                </a:cubicBezTo>
                <a:cubicBezTo>
                  <a:pt x="2926" y="23"/>
                  <a:pt x="2926" y="23"/>
                  <a:pt x="2926" y="23"/>
                </a:cubicBezTo>
                <a:cubicBezTo>
                  <a:pt x="2895" y="7"/>
                  <a:pt x="2863" y="-10"/>
                  <a:pt x="2831" y="7"/>
                </a:cubicBezTo>
                <a:cubicBezTo>
                  <a:pt x="2799" y="23"/>
                  <a:pt x="2783" y="54"/>
                  <a:pt x="2783" y="86"/>
                </a:cubicBezTo>
                <a:cubicBezTo>
                  <a:pt x="2783" y="707"/>
                  <a:pt x="2783" y="707"/>
                  <a:pt x="2783" y="707"/>
                </a:cubicBezTo>
                <a:cubicBezTo>
                  <a:pt x="95" y="722"/>
                  <a:pt x="95" y="722"/>
                  <a:pt x="95" y="722"/>
                </a:cubicBezTo>
                <a:cubicBezTo>
                  <a:pt x="48" y="722"/>
                  <a:pt x="16" y="754"/>
                  <a:pt x="16" y="802"/>
                </a:cubicBezTo>
                <a:cubicBezTo>
                  <a:pt x="0" y="2679"/>
                  <a:pt x="0" y="2679"/>
                  <a:pt x="0" y="2679"/>
                </a:cubicBezTo>
                <a:cubicBezTo>
                  <a:pt x="0" y="2711"/>
                  <a:pt x="16" y="2726"/>
                  <a:pt x="16" y="2743"/>
                </a:cubicBezTo>
                <a:cubicBezTo>
                  <a:pt x="32" y="2758"/>
                  <a:pt x="63" y="2758"/>
                  <a:pt x="79" y="2758"/>
                </a:cubicBezTo>
                <a:cubicBezTo>
                  <a:pt x="2768" y="2758"/>
                  <a:pt x="2768" y="2758"/>
                  <a:pt x="2768" y="2758"/>
                </a:cubicBezTo>
                <a:cubicBezTo>
                  <a:pt x="2768" y="3410"/>
                  <a:pt x="2768" y="3410"/>
                  <a:pt x="2768" y="3410"/>
                </a:cubicBezTo>
                <a:cubicBezTo>
                  <a:pt x="2768" y="3442"/>
                  <a:pt x="2783" y="3458"/>
                  <a:pt x="2815" y="3474"/>
                </a:cubicBezTo>
                <a:cubicBezTo>
                  <a:pt x="2815" y="3490"/>
                  <a:pt x="2831" y="3490"/>
                  <a:pt x="2847" y="3490"/>
                </a:cubicBezTo>
                <a:cubicBezTo>
                  <a:pt x="2863" y="3490"/>
                  <a:pt x="2879" y="3474"/>
                  <a:pt x="2895" y="3474"/>
                </a:cubicBezTo>
                <a:cubicBezTo>
                  <a:pt x="4756" y="1836"/>
                  <a:pt x="4756" y="1836"/>
                  <a:pt x="4756" y="1836"/>
                </a:cubicBezTo>
                <a:cubicBezTo>
                  <a:pt x="4772" y="1820"/>
                  <a:pt x="4787" y="1788"/>
                  <a:pt x="4787" y="1772"/>
                </a:cubicBezTo>
                <a:close/>
                <a:moveTo>
                  <a:pt x="2926" y="3235"/>
                </a:moveTo>
                <a:cubicBezTo>
                  <a:pt x="2926" y="2679"/>
                  <a:pt x="2926" y="2679"/>
                  <a:pt x="2926" y="2679"/>
                </a:cubicBezTo>
                <a:cubicBezTo>
                  <a:pt x="2926" y="2663"/>
                  <a:pt x="2926" y="2647"/>
                  <a:pt x="2911" y="2631"/>
                </a:cubicBezTo>
                <a:cubicBezTo>
                  <a:pt x="2895" y="2615"/>
                  <a:pt x="2863" y="2599"/>
                  <a:pt x="2847" y="2599"/>
                </a:cubicBezTo>
                <a:cubicBezTo>
                  <a:pt x="159" y="2599"/>
                  <a:pt x="159" y="2599"/>
                  <a:pt x="159" y="2599"/>
                </a:cubicBezTo>
                <a:cubicBezTo>
                  <a:pt x="175" y="881"/>
                  <a:pt x="175" y="881"/>
                  <a:pt x="175" y="881"/>
                </a:cubicBezTo>
                <a:cubicBezTo>
                  <a:pt x="2863" y="865"/>
                  <a:pt x="2863" y="865"/>
                  <a:pt x="2863" y="865"/>
                </a:cubicBezTo>
                <a:cubicBezTo>
                  <a:pt x="2911" y="865"/>
                  <a:pt x="2942" y="834"/>
                  <a:pt x="2942" y="786"/>
                </a:cubicBezTo>
                <a:cubicBezTo>
                  <a:pt x="2942" y="261"/>
                  <a:pt x="2942" y="261"/>
                  <a:pt x="2942" y="261"/>
                </a:cubicBezTo>
                <a:cubicBezTo>
                  <a:pt x="4596" y="1772"/>
                  <a:pt x="4596" y="1772"/>
                  <a:pt x="4596" y="17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1" name="Freeform: Shape 8">
            <a:extLst>
              <a:ext uri="{FF2B5EF4-FFF2-40B4-BE49-F238E27FC236}">
                <a16:creationId xmlns:a16="http://schemas.microsoft.com/office/drawing/2014/main" id="{E2DFD135-E9D6-3E45-A411-227038BBB20E}"/>
              </a:ext>
            </a:extLst>
          </p:cNvPr>
          <p:cNvSpPr/>
          <p:nvPr/>
        </p:nvSpPr>
        <p:spPr>
          <a:xfrm>
            <a:off x="21410100" y="6436311"/>
            <a:ext cx="1253880" cy="1725839"/>
          </a:xfrm>
          <a:custGeom>
            <a:avLst/>
            <a:gdLst/>
            <a:ahLst/>
            <a:cxnLst>
              <a:cxn ang="3cd4">
                <a:pos x="hc" y="t"/>
              </a:cxn>
              <a:cxn ang="cd2">
                <a:pos x="l" y="vc"/>
              </a:cxn>
              <a:cxn ang="cd4">
                <a:pos x="hc" y="b"/>
              </a:cxn>
              <a:cxn ang="0">
                <a:pos x="r" y="vc"/>
              </a:cxn>
            </a:cxnLst>
            <a:rect l="l" t="t" r="r" b="b"/>
            <a:pathLst>
              <a:path w="3484" h="4795">
                <a:moveTo>
                  <a:pt x="7" y="1964"/>
                </a:moveTo>
                <a:cubicBezTo>
                  <a:pt x="23" y="1980"/>
                  <a:pt x="55" y="1996"/>
                  <a:pt x="86" y="2012"/>
                </a:cubicBezTo>
                <a:cubicBezTo>
                  <a:pt x="707" y="2012"/>
                  <a:pt x="707" y="2012"/>
                  <a:pt x="707" y="2012"/>
                </a:cubicBezTo>
                <a:cubicBezTo>
                  <a:pt x="722" y="4700"/>
                  <a:pt x="722" y="4700"/>
                  <a:pt x="722" y="4700"/>
                </a:cubicBezTo>
                <a:cubicBezTo>
                  <a:pt x="722" y="4747"/>
                  <a:pt x="754" y="4779"/>
                  <a:pt x="802" y="4779"/>
                </a:cubicBezTo>
                <a:cubicBezTo>
                  <a:pt x="2679" y="4795"/>
                  <a:pt x="2679" y="4795"/>
                  <a:pt x="2679" y="4795"/>
                </a:cubicBezTo>
                <a:cubicBezTo>
                  <a:pt x="2711" y="4795"/>
                  <a:pt x="2727" y="4779"/>
                  <a:pt x="2743" y="4763"/>
                </a:cubicBezTo>
                <a:cubicBezTo>
                  <a:pt x="2758" y="4747"/>
                  <a:pt x="2758" y="4732"/>
                  <a:pt x="2758" y="4715"/>
                </a:cubicBezTo>
                <a:cubicBezTo>
                  <a:pt x="2758" y="2027"/>
                  <a:pt x="2758" y="2027"/>
                  <a:pt x="2758" y="2027"/>
                </a:cubicBezTo>
                <a:cubicBezTo>
                  <a:pt x="3411" y="2027"/>
                  <a:pt x="3411" y="2027"/>
                  <a:pt x="3411" y="2027"/>
                </a:cubicBezTo>
                <a:cubicBezTo>
                  <a:pt x="3442" y="2027"/>
                  <a:pt x="3458" y="2012"/>
                  <a:pt x="3474" y="1980"/>
                </a:cubicBezTo>
                <a:cubicBezTo>
                  <a:pt x="3490" y="1948"/>
                  <a:pt x="3490" y="1916"/>
                  <a:pt x="3458" y="1900"/>
                </a:cubicBezTo>
                <a:cubicBezTo>
                  <a:pt x="1820" y="24"/>
                  <a:pt x="1820" y="24"/>
                  <a:pt x="1820" y="24"/>
                </a:cubicBezTo>
                <a:cubicBezTo>
                  <a:pt x="1820" y="7"/>
                  <a:pt x="1788" y="7"/>
                  <a:pt x="1772" y="7"/>
                </a:cubicBezTo>
                <a:cubicBezTo>
                  <a:pt x="1740" y="-9"/>
                  <a:pt x="1725" y="7"/>
                  <a:pt x="1709" y="24"/>
                </a:cubicBezTo>
                <a:cubicBezTo>
                  <a:pt x="23" y="1869"/>
                  <a:pt x="23" y="1869"/>
                  <a:pt x="23" y="1869"/>
                </a:cubicBezTo>
                <a:cubicBezTo>
                  <a:pt x="7" y="1900"/>
                  <a:pt x="-9" y="1932"/>
                  <a:pt x="7" y="1964"/>
                </a:cubicBezTo>
                <a:close/>
                <a:moveTo>
                  <a:pt x="1772" y="198"/>
                </a:moveTo>
                <a:cubicBezTo>
                  <a:pt x="3236" y="1869"/>
                  <a:pt x="3236" y="1869"/>
                  <a:pt x="3236" y="1869"/>
                </a:cubicBezTo>
                <a:cubicBezTo>
                  <a:pt x="2679" y="1869"/>
                  <a:pt x="2679" y="1869"/>
                  <a:pt x="2679" y="1869"/>
                </a:cubicBezTo>
                <a:cubicBezTo>
                  <a:pt x="2663" y="1852"/>
                  <a:pt x="2647" y="1869"/>
                  <a:pt x="2631" y="1884"/>
                </a:cubicBezTo>
                <a:cubicBezTo>
                  <a:pt x="2615" y="1900"/>
                  <a:pt x="2599" y="1916"/>
                  <a:pt x="2599" y="1948"/>
                </a:cubicBezTo>
                <a:cubicBezTo>
                  <a:pt x="2599" y="4636"/>
                  <a:pt x="2599" y="4636"/>
                  <a:pt x="2599" y="4636"/>
                </a:cubicBezTo>
                <a:cubicBezTo>
                  <a:pt x="882" y="4620"/>
                  <a:pt x="882" y="4620"/>
                  <a:pt x="882" y="4620"/>
                </a:cubicBezTo>
                <a:cubicBezTo>
                  <a:pt x="866" y="1932"/>
                  <a:pt x="866" y="1932"/>
                  <a:pt x="866" y="1932"/>
                </a:cubicBezTo>
                <a:cubicBezTo>
                  <a:pt x="866" y="1884"/>
                  <a:pt x="834" y="1852"/>
                  <a:pt x="786" y="1852"/>
                </a:cubicBezTo>
                <a:cubicBezTo>
                  <a:pt x="261" y="1852"/>
                  <a:pt x="261" y="1852"/>
                  <a:pt x="261" y="185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2" name="Freeform: Shape 9">
            <a:extLst>
              <a:ext uri="{FF2B5EF4-FFF2-40B4-BE49-F238E27FC236}">
                <a16:creationId xmlns:a16="http://schemas.microsoft.com/office/drawing/2014/main" id="{1B5D0E34-8263-AF46-BD69-951739CEDF2E}"/>
              </a:ext>
            </a:extLst>
          </p:cNvPr>
          <p:cNvSpPr/>
          <p:nvPr/>
        </p:nvSpPr>
        <p:spPr>
          <a:xfrm>
            <a:off x="2067017" y="9360566"/>
            <a:ext cx="1253880" cy="1725839"/>
          </a:xfrm>
          <a:custGeom>
            <a:avLst/>
            <a:gdLst/>
            <a:ahLst/>
            <a:cxnLst>
              <a:cxn ang="3cd4">
                <a:pos x="hc" y="t"/>
              </a:cxn>
              <a:cxn ang="cd2">
                <a:pos x="l" y="vc"/>
              </a:cxn>
              <a:cxn ang="cd4">
                <a:pos x="hc" y="b"/>
              </a:cxn>
              <a:cxn ang="0">
                <a:pos x="r" y="vc"/>
              </a:cxn>
            </a:cxnLst>
            <a:rect l="l" t="t" r="r" b="b"/>
            <a:pathLst>
              <a:path w="3484" h="4795">
                <a:moveTo>
                  <a:pt x="80" y="2775"/>
                </a:moveTo>
                <a:cubicBezTo>
                  <a:pt x="48" y="2775"/>
                  <a:pt x="16" y="2791"/>
                  <a:pt x="0" y="2807"/>
                </a:cubicBezTo>
                <a:cubicBezTo>
                  <a:pt x="0" y="2839"/>
                  <a:pt x="0" y="2870"/>
                  <a:pt x="16" y="2902"/>
                </a:cubicBezTo>
                <a:cubicBezTo>
                  <a:pt x="1654" y="4763"/>
                  <a:pt x="1654" y="4763"/>
                  <a:pt x="1654" y="4763"/>
                </a:cubicBezTo>
                <a:cubicBezTo>
                  <a:pt x="1670" y="4779"/>
                  <a:pt x="1686" y="4795"/>
                  <a:pt x="1718" y="4795"/>
                </a:cubicBezTo>
                <a:cubicBezTo>
                  <a:pt x="1734" y="4795"/>
                  <a:pt x="1766" y="4779"/>
                  <a:pt x="1782" y="4763"/>
                </a:cubicBezTo>
                <a:cubicBezTo>
                  <a:pt x="3467" y="2918"/>
                  <a:pt x="3467" y="2918"/>
                  <a:pt x="3467" y="2918"/>
                </a:cubicBezTo>
                <a:cubicBezTo>
                  <a:pt x="3484" y="2902"/>
                  <a:pt x="3484" y="2870"/>
                  <a:pt x="3484" y="2839"/>
                </a:cubicBezTo>
                <a:cubicBezTo>
                  <a:pt x="3467" y="2807"/>
                  <a:pt x="3436" y="2791"/>
                  <a:pt x="3404" y="2791"/>
                </a:cubicBezTo>
                <a:cubicBezTo>
                  <a:pt x="2768" y="2791"/>
                  <a:pt x="2768" y="2791"/>
                  <a:pt x="2768" y="2791"/>
                </a:cubicBezTo>
                <a:cubicBezTo>
                  <a:pt x="2752" y="87"/>
                  <a:pt x="2752" y="87"/>
                  <a:pt x="2752" y="87"/>
                </a:cubicBezTo>
                <a:cubicBezTo>
                  <a:pt x="2752" y="55"/>
                  <a:pt x="2720" y="24"/>
                  <a:pt x="2688" y="7"/>
                </a:cubicBezTo>
                <a:cubicBezTo>
                  <a:pt x="795" y="7"/>
                  <a:pt x="795" y="7"/>
                  <a:pt x="795" y="7"/>
                </a:cubicBezTo>
                <a:cubicBezTo>
                  <a:pt x="780" y="-9"/>
                  <a:pt x="764" y="7"/>
                  <a:pt x="748" y="24"/>
                </a:cubicBezTo>
                <a:cubicBezTo>
                  <a:pt x="732" y="39"/>
                  <a:pt x="716" y="55"/>
                  <a:pt x="716" y="87"/>
                </a:cubicBezTo>
                <a:cubicBezTo>
                  <a:pt x="732" y="2775"/>
                  <a:pt x="732" y="2775"/>
                  <a:pt x="732" y="2775"/>
                </a:cubicBezTo>
                <a:cubicBezTo>
                  <a:pt x="80" y="2775"/>
                  <a:pt x="80" y="2775"/>
                  <a:pt x="80" y="2775"/>
                </a:cubicBezTo>
                <a:close/>
                <a:moveTo>
                  <a:pt x="812" y="2934"/>
                </a:moveTo>
                <a:cubicBezTo>
                  <a:pt x="827" y="2934"/>
                  <a:pt x="843" y="2918"/>
                  <a:pt x="859" y="2902"/>
                </a:cubicBezTo>
                <a:cubicBezTo>
                  <a:pt x="875" y="2887"/>
                  <a:pt x="891" y="2870"/>
                  <a:pt x="891" y="2855"/>
                </a:cubicBezTo>
                <a:cubicBezTo>
                  <a:pt x="875" y="167"/>
                  <a:pt x="875" y="167"/>
                  <a:pt x="875" y="167"/>
                </a:cubicBezTo>
                <a:cubicBezTo>
                  <a:pt x="2609" y="167"/>
                  <a:pt x="2609" y="167"/>
                  <a:pt x="2609" y="167"/>
                </a:cubicBezTo>
                <a:cubicBezTo>
                  <a:pt x="2625" y="2870"/>
                  <a:pt x="2625" y="2870"/>
                  <a:pt x="2625" y="2870"/>
                </a:cubicBezTo>
                <a:cubicBezTo>
                  <a:pt x="2625" y="2902"/>
                  <a:pt x="2657" y="2950"/>
                  <a:pt x="2704" y="2950"/>
                </a:cubicBezTo>
                <a:cubicBezTo>
                  <a:pt x="3229" y="2950"/>
                  <a:pt x="3229" y="2950"/>
                  <a:pt x="3229" y="2950"/>
                </a:cubicBezTo>
                <a:cubicBezTo>
                  <a:pt x="1718" y="4588"/>
                  <a:pt x="1718" y="4588"/>
                  <a:pt x="1718" y="4588"/>
                </a:cubicBezTo>
                <a:cubicBezTo>
                  <a:pt x="255" y="2934"/>
                  <a:pt x="255" y="2934"/>
                  <a:pt x="255" y="293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3" name="Freeform: Shape 10">
            <a:extLst>
              <a:ext uri="{FF2B5EF4-FFF2-40B4-BE49-F238E27FC236}">
                <a16:creationId xmlns:a16="http://schemas.microsoft.com/office/drawing/2014/main" id="{F828E25E-C8B2-CA4C-BC0C-B9049A6B4693}"/>
              </a:ext>
            </a:extLst>
          </p:cNvPr>
          <p:cNvSpPr/>
          <p:nvPr/>
        </p:nvSpPr>
        <p:spPr>
          <a:xfrm>
            <a:off x="14046152" y="9304407"/>
            <a:ext cx="1326600" cy="1839240"/>
          </a:xfrm>
          <a:custGeom>
            <a:avLst/>
            <a:gdLst/>
            <a:ahLst/>
            <a:cxnLst>
              <a:cxn ang="3cd4">
                <a:pos x="hc" y="t"/>
              </a:cxn>
              <a:cxn ang="cd2">
                <a:pos x="l" y="vc"/>
              </a:cxn>
              <a:cxn ang="cd4">
                <a:pos x="hc" y="b"/>
              </a:cxn>
              <a:cxn ang="0">
                <a:pos x="r" y="vc"/>
              </a:cxn>
            </a:cxnLst>
            <a:rect l="l" t="t" r="r" b="b"/>
            <a:pathLst>
              <a:path w="3686" h="5110">
                <a:moveTo>
                  <a:pt x="3686" y="1308"/>
                </a:moveTo>
                <a:cubicBezTo>
                  <a:pt x="3686" y="1134"/>
                  <a:pt x="3559" y="1007"/>
                  <a:pt x="3400" y="1007"/>
                </a:cubicBezTo>
                <a:cubicBezTo>
                  <a:pt x="1014" y="1007"/>
                  <a:pt x="1014" y="1007"/>
                  <a:pt x="1014" y="1007"/>
                </a:cubicBezTo>
                <a:cubicBezTo>
                  <a:pt x="1507" y="513"/>
                  <a:pt x="1507" y="513"/>
                  <a:pt x="1507" y="513"/>
                </a:cubicBezTo>
                <a:cubicBezTo>
                  <a:pt x="1634" y="386"/>
                  <a:pt x="1634" y="195"/>
                  <a:pt x="1507" y="84"/>
                </a:cubicBezTo>
                <a:cubicBezTo>
                  <a:pt x="1396" y="-28"/>
                  <a:pt x="1205" y="-28"/>
                  <a:pt x="1094" y="84"/>
                </a:cubicBezTo>
                <a:cubicBezTo>
                  <a:pt x="91" y="1086"/>
                  <a:pt x="91" y="1086"/>
                  <a:pt x="91" y="1086"/>
                </a:cubicBezTo>
                <a:cubicBezTo>
                  <a:pt x="60" y="1118"/>
                  <a:pt x="28" y="1150"/>
                  <a:pt x="12" y="1198"/>
                </a:cubicBezTo>
                <a:cubicBezTo>
                  <a:pt x="-4" y="1261"/>
                  <a:pt x="-4" y="1341"/>
                  <a:pt x="12" y="1420"/>
                </a:cubicBezTo>
                <a:cubicBezTo>
                  <a:pt x="28" y="1452"/>
                  <a:pt x="60" y="1484"/>
                  <a:pt x="76" y="1516"/>
                </a:cubicBezTo>
                <a:cubicBezTo>
                  <a:pt x="1094" y="2517"/>
                  <a:pt x="1094" y="2517"/>
                  <a:pt x="1094" y="2517"/>
                </a:cubicBezTo>
                <a:cubicBezTo>
                  <a:pt x="1109" y="2534"/>
                  <a:pt x="1109" y="2549"/>
                  <a:pt x="1125" y="2549"/>
                </a:cubicBezTo>
                <a:cubicBezTo>
                  <a:pt x="1109" y="2565"/>
                  <a:pt x="1109" y="2565"/>
                  <a:pt x="1094" y="2581"/>
                </a:cubicBezTo>
                <a:cubicBezTo>
                  <a:pt x="91" y="3599"/>
                  <a:pt x="91" y="3599"/>
                  <a:pt x="91" y="3599"/>
                </a:cubicBezTo>
                <a:cubicBezTo>
                  <a:pt x="60" y="3615"/>
                  <a:pt x="28" y="3647"/>
                  <a:pt x="12" y="3695"/>
                </a:cubicBezTo>
                <a:cubicBezTo>
                  <a:pt x="-4" y="3758"/>
                  <a:pt x="-4" y="3838"/>
                  <a:pt x="12" y="3917"/>
                </a:cubicBezTo>
                <a:cubicBezTo>
                  <a:pt x="28" y="3949"/>
                  <a:pt x="60" y="3981"/>
                  <a:pt x="76" y="4013"/>
                </a:cubicBezTo>
                <a:cubicBezTo>
                  <a:pt x="1094" y="5015"/>
                  <a:pt x="1094" y="5015"/>
                  <a:pt x="1094" y="5015"/>
                </a:cubicBezTo>
                <a:cubicBezTo>
                  <a:pt x="1141" y="5079"/>
                  <a:pt x="1221" y="5110"/>
                  <a:pt x="1300" y="5110"/>
                </a:cubicBezTo>
                <a:cubicBezTo>
                  <a:pt x="1380" y="5110"/>
                  <a:pt x="1460" y="5079"/>
                  <a:pt x="1507" y="5015"/>
                </a:cubicBezTo>
                <a:cubicBezTo>
                  <a:pt x="1570" y="4967"/>
                  <a:pt x="1603" y="4888"/>
                  <a:pt x="1603" y="4808"/>
                </a:cubicBezTo>
                <a:cubicBezTo>
                  <a:pt x="1603" y="4728"/>
                  <a:pt x="1570" y="4649"/>
                  <a:pt x="1507" y="4601"/>
                </a:cubicBezTo>
                <a:cubicBezTo>
                  <a:pt x="1014" y="4108"/>
                  <a:pt x="1014" y="4108"/>
                  <a:pt x="1014" y="4108"/>
                </a:cubicBezTo>
                <a:cubicBezTo>
                  <a:pt x="3400" y="4108"/>
                  <a:pt x="3400" y="4108"/>
                  <a:pt x="3400" y="4108"/>
                </a:cubicBezTo>
                <a:cubicBezTo>
                  <a:pt x="3559" y="4108"/>
                  <a:pt x="3686" y="3965"/>
                  <a:pt x="3686" y="3806"/>
                </a:cubicBezTo>
                <a:cubicBezTo>
                  <a:pt x="3686" y="3631"/>
                  <a:pt x="3559" y="3504"/>
                  <a:pt x="3400" y="3504"/>
                </a:cubicBezTo>
                <a:cubicBezTo>
                  <a:pt x="1014" y="3504"/>
                  <a:pt x="1014" y="3504"/>
                  <a:pt x="1014" y="3504"/>
                </a:cubicBezTo>
                <a:cubicBezTo>
                  <a:pt x="1507" y="3011"/>
                  <a:pt x="1507" y="3011"/>
                  <a:pt x="1507" y="3011"/>
                </a:cubicBezTo>
                <a:cubicBezTo>
                  <a:pt x="1570" y="2947"/>
                  <a:pt x="1603" y="2867"/>
                  <a:pt x="1603" y="2788"/>
                </a:cubicBezTo>
                <a:cubicBezTo>
                  <a:pt x="1603" y="2708"/>
                  <a:pt x="1570" y="2645"/>
                  <a:pt x="1507" y="2581"/>
                </a:cubicBezTo>
                <a:cubicBezTo>
                  <a:pt x="1507" y="2565"/>
                  <a:pt x="1491" y="2565"/>
                  <a:pt x="1475" y="2549"/>
                </a:cubicBezTo>
                <a:cubicBezTo>
                  <a:pt x="1491" y="2549"/>
                  <a:pt x="1507" y="2534"/>
                  <a:pt x="1507" y="2517"/>
                </a:cubicBezTo>
                <a:cubicBezTo>
                  <a:pt x="1570" y="2470"/>
                  <a:pt x="1603" y="2390"/>
                  <a:pt x="1603" y="2311"/>
                </a:cubicBezTo>
                <a:cubicBezTo>
                  <a:pt x="1603" y="2231"/>
                  <a:pt x="1570" y="2152"/>
                  <a:pt x="1507" y="2104"/>
                </a:cubicBezTo>
                <a:cubicBezTo>
                  <a:pt x="1014" y="1595"/>
                  <a:pt x="1014" y="1595"/>
                  <a:pt x="1014" y="1595"/>
                </a:cubicBezTo>
                <a:cubicBezTo>
                  <a:pt x="3400" y="1595"/>
                  <a:pt x="3400" y="1595"/>
                  <a:pt x="3400" y="1595"/>
                </a:cubicBezTo>
                <a:cubicBezTo>
                  <a:pt x="3559" y="1595"/>
                  <a:pt x="3686" y="1468"/>
                  <a:pt x="3686" y="1308"/>
                </a:cubicBezTo>
                <a:close/>
                <a:moveTo>
                  <a:pt x="1396" y="2899"/>
                </a:moveTo>
                <a:cubicBezTo>
                  <a:pt x="760" y="3535"/>
                  <a:pt x="760" y="3535"/>
                  <a:pt x="760" y="3535"/>
                </a:cubicBezTo>
                <a:cubicBezTo>
                  <a:pt x="743" y="3552"/>
                  <a:pt x="728" y="3583"/>
                  <a:pt x="743" y="3615"/>
                </a:cubicBezTo>
                <a:cubicBezTo>
                  <a:pt x="760" y="3647"/>
                  <a:pt x="791" y="3663"/>
                  <a:pt x="823" y="3663"/>
                </a:cubicBezTo>
                <a:cubicBezTo>
                  <a:pt x="3400" y="3663"/>
                  <a:pt x="3400" y="3663"/>
                  <a:pt x="3400" y="3663"/>
                </a:cubicBezTo>
                <a:cubicBezTo>
                  <a:pt x="3463" y="3663"/>
                  <a:pt x="3527" y="3726"/>
                  <a:pt x="3527" y="3806"/>
                </a:cubicBezTo>
                <a:cubicBezTo>
                  <a:pt x="3527" y="3885"/>
                  <a:pt x="3463" y="3949"/>
                  <a:pt x="3400" y="3949"/>
                </a:cubicBezTo>
                <a:cubicBezTo>
                  <a:pt x="823" y="3949"/>
                  <a:pt x="823" y="3949"/>
                  <a:pt x="823" y="3949"/>
                </a:cubicBezTo>
                <a:cubicBezTo>
                  <a:pt x="791" y="3949"/>
                  <a:pt x="760" y="3965"/>
                  <a:pt x="743" y="3997"/>
                </a:cubicBezTo>
                <a:cubicBezTo>
                  <a:pt x="728" y="4013"/>
                  <a:pt x="743" y="4061"/>
                  <a:pt x="760" y="4076"/>
                </a:cubicBezTo>
                <a:cubicBezTo>
                  <a:pt x="1396" y="4713"/>
                  <a:pt x="1396" y="4713"/>
                  <a:pt x="1396" y="4713"/>
                </a:cubicBezTo>
                <a:cubicBezTo>
                  <a:pt x="1460" y="4760"/>
                  <a:pt x="1460" y="4856"/>
                  <a:pt x="1396" y="4903"/>
                </a:cubicBezTo>
                <a:cubicBezTo>
                  <a:pt x="1348" y="4967"/>
                  <a:pt x="1252" y="4967"/>
                  <a:pt x="1205" y="4903"/>
                </a:cubicBezTo>
                <a:cubicBezTo>
                  <a:pt x="203" y="3901"/>
                  <a:pt x="203" y="3901"/>
                  <a:pt x="203" y="3901"/>
                </a:cubicBezTo>
                <a:cubicBezTo>
                  <a:pt x="187" y="3885"/>
                  <a:pt x="171" y="3870"/>
                  <a:pt x="171" y="3853"/>
                </a:cubicBezTo>
                <a:cubicBezTo>
                  <a:pt x="155" y="3822"/>
                  <a:pt x="155" y="3790"/>
                  <a:pt x="171" y="3742"/>
                </a:cubicBezTo>
                <a:cubicBezTo>
                  <a:pt x="171" y="3726"/>
                  <a:pt x="187" y="3710"/>
                  <a:pt x="203" y="3710"/>
                </a:cubicBezTo>
                <a:cubicBezTo>
                  <a:pt x="1205" y="2692"/>
                  <a:pt x="1205" y="2692"/>
                  <a:pt x="1205" y="2692"/>
                </a:cubicBezTo>
                <a:cubicBezTo>
                  <a:pt x="1237" y="2677"/>
                  <a:pt x="1269" y="2661"/>
                  <a:pt x="1300" y="2661"/>
                </a:cubicBezTo>
                <a:cubicBezTo>
                  <a:pt x="1332" y="2661"/>
                  <a:pt x="1380" y="2677"/>
                  <a:pt x="1396" y="2692"/>
                </a:cubicBezTo>
                <a:cubicBezTo>
                  <a:pt x="1460" y="2756"/>
                  <a:pt x="1460" y="2835"/>
                  <a:pt x="1396" y="2899"/>
                </a:cubicBezTo>
                <a:close/>
                <a:moveTo>
                  <a:pt x="760" y="1579"/>
                </a:moveTo>
                <a:cubicBezTo>
                  <a:pt x="1396" y="2215"/>
                  <a:pt x="1396" y="2215"/>
                  <a:pt x="1396" y="2215"/>
                </a:cubicBezTo>
                <a:cubicBezTo>
                  <a:pt x="1460" y="2263"/>
                  <a:pt x="1460" y="2359"/>
                  <a:pt x="1396" y="2406"/>
                </a:cubicBezTo>
                <a:cubicBezTo>
                  <a:pt x="1348" y="2470"/>
                  <a:pt x="1252" y="2470"/>
                  <a:pt x="1205" y="2406"/>
                </a:cubicBezTo>
                <a:cubicBezTo>
                  <a:pt x="203" y="1404"/>
                  <a:pt x="203" y="1404"/>
                  <a:pt x="203" y="1404"/>
                </a:cubicBezTo>
                <a:cubicBezTo>
                  <a:pt x="187" y="1388"/>
                  <a:pt x="171" y="1372"/>
                  <a:pt x="171" y="1356"/>
                </a:cubicBezTo>
                <a:cubicBezTo>
                  <a:pt x="155" y="1325"/>
                  <a:pt x="155" y="1277"/>
                  <a:pt x="171" y="1245"/>
                </a:cubicBezTo>
                <a:cubicBezTo>
                  <a:pt x="171" y="1229"/>
                  <a:pt x="187" y="1213"/>
                  <a:pt x="203" y="1198"/>
                </a:cubicBezTo>
                <a:cubicBezTo>
                  <a:pt x="1205" y="195"/>
                  <a:pt x="1205" y="195"/>
                  <a:pt x="1205" y="195"/>
                </a:cubicBezTo>
                <a:cubicBezTo>
                  <a:pt x="1237" y="163"/>
                  <a:pt x="1269" y="163"/>
                  <a:pt x="1300" y="163"/>
                </a:cubicBezTo>
                <a:cubicBezTo>
                  <a:pt x="1332" y="163"/>
                  <a:pt x="1380" y="163"/>
                  <a:pt x="1396" y="195"/>
                </a:cubicBezTo>
                <a:cubicBezTo>
                  <a:pt x="1460" y="259"/>
                  <a:pt x="1460" y="338"/>
                  <a:pt x="1396" y="386"/>
                </a:cubicBezTo>
                <a:cubicBezTo>
                  <a:pt x="760" y="1022"/>
                  <a:pt x="760" y="1022"/>
                  <a:pt x="760" y="1022"/>
                </a:cubicBezTo>
                <a:cubicBezTo>
                  <a:pt x="743" y="1054"/>
                  <a:pt x="728" y="1086"/>
                  <a:pt x="743" y="1118"/>
                </a:cubicBezTo>
                <a:cubicBezTo>
                  <a:pt x="760" y="1150"/>
                  <a:pt x="791" y="1165"/>
                  <a:pt x="823" y="1165"/>
                </a:cubicBezTo>
                <a:cubicBezTo>
                  <a:pt x="3400" y="1165"/>
                  <a:pt x="3400" y="1165"/>
                  <a:pt x="3400" y="1165"/>
                </a:cubicBezTo>
                <a:cubicBezTo>
                  <a:pt x="3463" y="1165"/>
                  <a:pt x="3527" y="1229"/>
                  <a:pt x="3527" y="1308"/>
                </a:cubicBezTo>
                <a:cubicBezTo>
                  <a:pt x="3527" y="1372"/>
                  <a:pt x="3463" y="1436"/>
                  <a:pt x="3400" y="1436"/>
                </a:cubicBezTo>
                <a:cubicBezTo>
                  <a:pt x="823" y="1436"/>
                  <a:pt x="823" y="1436"/>
                  <a:pt x="823" y="1436"/>
                </a:cubicBezTo>
                <a:cubicBezTo>
                  <a:pt x="791" y="1436"/>
                  <a:pt x="760" y="1468"/>
                  <a:pt x="743" y="1484"/>
                </a:cubicBezTo>
                <a:cubicBezTo>
                  <a:pt x="728" y="1516"/>
                  <a:pt x="743" y="1547"/>
                  <a:pt x="760" y="157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4" name="Freeform: Shape 11">
            <a:extLst>
              <a:ext uri="{FF2B5EF4-FFF2-40B4-BE49-F238E27FC236}">
                <a16:creationId xmlns:a16="http://schemas.microsoft.com/office/drawing/2014/main" id="{4A23E45F-7F76-2E4B-808D-893B4CE1FD47}"/>
              </a:ext>
            </a:extLst>
          </p:cNvPr>
          <p:cNvSpPr/>
          <p:nvPr/>
        </p:nvSpPr>
        <p:spPr>
          <a:xfrm>
            <a:off x="9833489" y="9768087"/>
            <a:ext cx="2066760" cy="911519"/>
          </a:xfrm>
          <a:custGeom>
            <a:avLst/>
            <a:gdLst/>
            <a:ahLst/>
            <a:cxnLst>
              <a:cxn ang="3cd4">
                <a:pos x="hc" y="t"/>
              </a:cxn>
              <a:cxn ang="cd2">
                <a:pos x="l" y="vc"/>
              </a:cxn>
              <a:cxn ang="cd4">
                <a:pos x="hc" y="b"/>
              </a:cxn>
              <a:cxn ang="0">
                <a:pos x="r" y="vc"/>
              </a:cxn>
            </a:cxnLst>
            <a:rect l="l" t="t" r="r" b="b"/>
            <a:pathLst>
              <a:path w="5742" h="2533">
                <a:moveTo>
                  <a:pt x="1830" y="1546"/>
                </a:moveTo>
                <a:lnTo>
                  <a:pt x="1336" y="2055"/>
                </a:lnTo>
                <a:cubicBezTo>
                  <a:pt x="1225" y="2167"/>
                  <a:pt x="1225" y="2342"/>
                  <a:pt x="1336" y="2453"/>
                </a:cubicBezTo>
                <a:cubicBezTo>
                  <a:pt x="1384" y="2501"/>
                  <a:pt x="1448" y="2533"/>
                  <a:pt x="1527" y="2533"/>
                </a:cubicBezTo>
                <a:cubicBezTo>
                  <a:pt x="1607" y="2533"/>
                  <a:pt x="1670" y="2501"/>
                  <a:pt x="1734" y="2453"/>
                </a:cubicBezTo>
                <a:lnTo>
                  <a:pt x="2704" y="1467"/>
                </a:lnTo>
                <a:cubicBezTo>
                  <a:pt x="2736" y="1435"/>
                  <a:pt x="2752" y="1403"/>
                  <a:pt x="2768" y="1372"/>
                </a:cubicBezTo>
                <a:cubicBezTo>
                  <a:pt x="2800" y="1308"/>
                  <a:pt x="2800" y="1228"/>
                  <a:pt x="2768" y="1149"/>
                </a:cubicBezTo>
                <a:cubicBezTo>
                  <a:pt x="2752" y="1117"/>
                  <a:pt x="2736" y="1085"/>
                  <a:pt x="2704" y="1070"/>
                </a:cubicBezTo>
                <a:lnTo>
                  <a:pt x="1734" y="83"/>
                </a:lnTo>
                <a:cubicBezTo>
                  <a:pt x="1622" y="-28"/>
                  <a:pt x="1432" y="-28"/>
                  <a:pt x="1336" y="83"/>
                </a:cubicBezTo>
                <a:cubicBezTo>
                  <a:pt x="1273" y="131"/>
                  <a:pt x="1241" y="210"/>
                  <a:pt x="1241" y="274"/>
                </a:cubicBezTo>
                <a:cubicBezTo>
                  <a:pt x="1241" y="354"/>
                  <a:pt x="1273" y="417"/>
                  <a:pt x="1336" y="481"/>
                </a:cubicBezTo>
                <a:lnTo>
                  <a:pt x="1830" y="990"/>
                </a:lnTo>
                <a:lnTo>
                  <a:pt x="286" y="990"/>
                </a:lnTo>
                <a:cubicBezTo>
                  <a:pt x="128" y="990"/>
                  <a:pt x="0" y="1101"/>
                  <a:pt x="0" y="1260"/>
                </a:cubicBezTo>
                <a:cubicBezTo>
                  <a:pt x="0" y="1419"/>
                  <a:pt x="128" y="1546"/>
                  <a:pt x="286" y="1546"/>
                </a:cubicBezTo>
                <a:close/>
                <a:moveTo>
                  <a:pt x="159" y="1260"/>
                </a:moveTo>
                <a:cubicBezTo>
                  <a:pt x="159" y="1197"/>
                  <a:pt x="223" y="1149"/>
                  <a:pt x="286" y="1149"/>
                </a:cubicBezTo>
                <a:lnTo>
                  <a:pt x="2020" y="1149"/>
                </a:lnTo>
                <a:cubicBezTo>
                  <a:pt x="2052" y="1149"/>
                  <a:pt x="2084" y="1117"/>
                  <a:pt x="2100" y="1085"/>
                </a:cubicBezTo>
                <a:cubicBezTo>
                  <a:pt x="2116" y="1070"/>
                  <a:pt x="2100" y="1022"/>
                  <a:pt x="2084" y="1006"/>
                </a:cubicBezTo>
                <a:lnTo>
                  <a:pt x="1448" y="370"/>
                </a:lnTo>
                <a:cubicBezTo>
                  <a:pt x="1416" y="338"/>
                  <a:pt x="1400" y="306"/>
                  <a:pt x="1400" y="274"/>
                </a:cubicBezTo>
                <a:cubicBezTo>
                  <a:pt x="1400" y="242"/>
                  <a:pt x="1416" y="210"/>
                  <a:pt x="1448" y="195"/>
                </a:cubicBezTo>
                <a:cubicBezTo>
                  <a:pt x="1479" y="147"/>
                  <a:pt x="1575" y="147"/>
                  <a:pt x="1607" y="195"/>
                </a:cubicBezTo>
                <a:lnTo>
                  <a:pt x="2593" y="1181"/>
                </a:lnTo>
                <a:cubicBezTo>
                  <a:pt x="2609" y="1181"/>
                  <a:pt x="2625" y="1197"/>
                  <a:pt x="2625" y="1213"/>
                </a:cubicBezTo>
                <a:cubicBezTo>
                  <a:pt x="2640" y="1245"/>
                  <a:pt x="2640" y="1276"/>
                  <a:pt x="2625" y="1308"/>
                </a:cubicBezTo>
                <a:cubicBezTo>
                  <a:pt x="2625" y="1324"/>
                  <a:pt x="2609" y="1340"/>
                  <a:pt x="2593" y="1356"/>
                </a:cubicBezTo>
                <a:lnTo>
                  <a:pt x="1607" y="2342"/>
                </a:lnTo>
                <a:cubicBezTo>
                  <a:pt x="1575" y="2390"/>
                  <a:pt x="1479" y="2390"/>
                  <a:pt x="1448" y="2342"/>
                </a:cubicBezTo>
                <a:cubicBezTo>
                  <a:pt x="1400" y="2294"/>
                  <a:pt x="1400" y="2215"/>
                  <a:pt x="1448" y="2167"/>
                </a:cubicBezTo>
                <a:lnTo>
                  <a:pt x="2084" y="1515"/>
                </a:lnTo>
                <a:cubicBezTo>
                  <a:pt x="2100" y="1499"/>
                  <a:pt x="2116" y="1467"/>
                  <a:pt x="2100" y="1435"/>
                </a:cubicBezTo>
                <a:cubicBezTo>
                  <a:pt x="2084" y="1403"/>
                  <a:pt x="2052" y="1388"/>
                  <a:pt x="2020" y="1388"/>
                </a:cubicBezTo>
                <a:lnTo>
                  <a:pt x="286" y="1388"/>
                </a:lnTo>
                <a:cubicBezTo>
                  <a:pt x="223" y="1388"/>
                  <a:pt x="159" y="1324"/>
                  <a:pt x="159" y="1260"/>
                </a:cubicBezTo>
                <a:close/>
                <a:moveTo>
                  <a:pt x="5456" y="990"/>
                </a:moveTo>
                <a:lnTo>
                  <a:pt x="3913" y="990"/>
                </a:lnTo>
                <a:lnTo>
                  <a:pt x="4406" y="481"/>
                </a:lnTo>
                <a:cubicBezTo>
                  <a:pt x="4470" y="417"/>
                  <a:pt x="4502" y="354"/>
                  <a:pt x="4502" y="274"/>
                </a:cubicBezTo>
                <a:cubicBezTo>
                  <a:pt x="4502" y="210"/>
                  <a:pt x="4470" y="131"/>
                  <a:pt x="4406" y="83"/>
                </a:cubicBezTo>
                <a:cubicBezTo>
                  <a:pt x="4311" y="-28"/>
                  <a:pt x="4120" y="-28"/>
                  <a:pt x="4009" y="83"/>
                </a:cubicBezTo>
                <a:lnTo>
                  <a:pt x="3022" y="1070"/>
                </a:lnTo>
                <a:cubicBezTo>
                  <a:pt x="3006" y="1085"/>
                  <a:pt x="2991" y="1117"/>
                  <a:pt x="2975" y="1149"/>
                </a:cubicBezTo>
                <a:cubicBezTo>
                  <a:pt x="2943" y="1228"/>
                  <a:pt x="2943" y="1308"/>
                  <a:pt x="2975" y="1372"/>
                </a:cubicBezTo>
                <a:cubicBezTo>
                  <a:pt x="2991" y="1403"/>
                  <a:pt x="3006" y="1435"/>
                  <a:pt x="3022" y="1467"/>
                </a:cubicBezTo>
                <a:lnTo>
                  <a:pt x="4009" y="2453"/>
                </a:lnTo>
                <a:cubicBezTo>
                  <a:pt x="4072" y="2501"/>
                  <a:pt x="4136" y="2533"/>
                  <a:pt x="4215" y="2533"/>
                </a:cubicBezTo>
                <a:cubicBezTo>
                  <a:pt x="4279" y="2533"/>
                  <a:pt x="4358" y="2501"/>
                  <a:pt x="4406" y="2453"/>
                </a:cubicBezTo>
                <a:cubicBezTo>
                  <a:pt x="4518" y="2342"/>
                  <a:pt x="4518" y="2167"/>
                  <a:pt x="4406" y="2055"/>
                </a:cubicBezTo>
                <a:lnTo>
                  <a:pt x="3913" y="1546"/>
                </a:lnTo>
                <a:lnTo>
                  <a:pt x="5456" y="1546"/>
                </a:lnTo>
                <a:cubicBezTo>
                  <a:pt x="5615" y="1546"/>
                  <a:pt x="5742" y="1419"/>
                  <a:pt x="5742" y="1260"/>
                </a:cubicBezTo>
                <a:cubicBezTo>
                  <a:pt x="5742" y="1101"/>
                  <a:pt x="5615" y="990"/>
                  <a:pt x="5456" y="990"/>
                </a:cubicBezTo>
                <a:close/>
                <a:moveTo>
                  <a:pt x="5456" y="1388"/>
                </a:moveTo>
                <a:lnTo>
                  <a:pt x="3722" y="1388"/>
                </a:lnTo>
                <a:cubicBezTo>
                  <a:pt x="3690" y="1388"/>
                  <a:pt x="3658" y="1403"/>
                  <a:pt x="3643" y="1435"/>
                </a:cubicBezTo>
                <a:cubicBezTo>
                  <a:pt x="3627" y="1467"/>
                  <a:pt x="3643" y="1499"/>
                  <a:pt x="3658" y="1515"/>
                </a:cubicBezTo>
                <a:lnTo>
                  <a:pt x="4295" y="2167"/>
                </a:lnTo>
                <a:cubicBezTo>
                  <a:pt x="4342" y="2215"/>
                  <a:pt x="4342" y="2294"/>
                  <a:pt x="4295" y="2342"/>
                </a:cubicBezTo>
                <a:cubicBezTo>
                  <a:pt x="4247" y="2390"/>
                  <a:pt x="4167" y="2390"/>
                  <a:pt x="4120" y="2342"/>
                </a:cubicBezTo>
                <a:lnTo>
                  <a:pt x="3149" y="1356"/>
                </a:lnTo>
                <a:cubicBezTo>
                  <a:pt x="3134" y="1340"/>
                  <a:pt x="3118" y="1324"/>
                  <a:pt x="3118" y="1308"/>
                </a:cubicBezTo>
                <a:cubicBezTo>
                  <a:pt x="3102" y="1276"/>
                  <a:pt x="3102" y="1245"/>
                  <a:pt x="3118" y="1213"/>
                </a:cubicBezTo>
                <a:cubicBezTo>
                  <a:pt x="3118" y="1197"/>
                  <a:pt x="3134" y="1181"/>
                  <a:pt x="3149" y="1181"/>
                </a:cubicBezTo>
                <a:lnTo>
                  <a:pt x="4120" y="195"/>
                </a:lnTo>
                <a:cubicBezTo>
                  <a:pt x="4167" y="147"/>
                  <a:pt x="4247" y="147"/>
                  <a:pt x="4295" y="195"/>
                </a:cubicBezTo>
                <a:cubicBezTo>
                  <a:pt x="4327" y="210"/>
                  <a:pt x="4342" y="242"/>
                  <a:pt x="4342" y="274"/>
                </a:cubicBezTo>
                <a:cubicBezTo>
                  <a:pt x="4342" y="306"/>
                  <a:pt x="4327" y="338"/>
                  <a:pt x="4295" y="370"/>
                </a:cubicBezTo>
                <a:lnTo>
                  <a:pt x="3658" y="1006"/>
                </a:lnTo>
                <a:cubicBezTo>
                  <a:pt x="3643" y="1022"/>
                  <a:pt x="3627" y="1070"/>
                  <a:pt x="3643" y="1085"/>
                </a:cubicBezTo>
                <a:cubicBezTo>
                  <a:pt x="3658" y="1117"/>
                  <a:pt x="3690" y="1149"/>
                  <a:pt x="3722" y="1149"/>
                </a:cubicBezTo>
                <a:lnTo>
                  <a:pt x="5456" y="1149"/>
                </a:lnTo>
                <a:cubicBezTo>
                  <a:pt x="5520" y="1149"/>
                  <a:pt x="5583" y="1197"/>
                  <a:pt x="5583" y="1260"/>
                </a:cubicBezTo>
                <a:cubicBezTo>
                  <a:pt x="5583" y="1324"/>
                  <a:pt x="5520" y="1388"/>
                  <a:pt x="5456" y="138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Freeform: Shape 12">
            <a:extLst>
              <a:ext uri="{FF2B5EF4-FFF2-40B4-BE49-F238E27FC236}">
                <a16:creationId xmlns:a16="http://schemas.microsoft.com/office/drawing/2014/main" id="{A3FEC51D-4039-874F-93BE-277363FF18D1}"/>
              </a:ext>
            </a:extLst>
          </p:cNvPr>
          <p:cNvSpPr/>
          <p:nvPr/>
        </p:nvSpPr>
        <p:spPr>
          <a:xfrm>
            <a:off x="6013483" y="9305847"/>
            <a:ext cx="1539720" cy="1837439"/>
          </a:xfrm>
          <a:custGeom>
            <a:avLst/>
            <a:gdLst/>
            <a:ahLst/>
            <a:cxnLst>
              <a:cxn ang="3cd4">
                <a:pos x="hc" y="t"/>
              </a:cxn>
              <a:cxn ang="cd2">
                <a:pos x="l" y="vc"/>
              </a:cxn>
              <a:cxn ang="cd4">
                <a:pos x="hc" y="b"/>
              </a:cxn>
              <a:cxn ang="0">
                <a:pos x="r" y="vc"/>
              </a:cxn>
            </a:cxnLst>
            <a:rect l="l" t="t" r="r" b="b"/>
            <a:pathLst>
              <a:path w="4278" h="5105">
                <a:moveTo>
                  <a:pt x="318" y="3912"/>
                </a:moveTo>
                <a:lnTo>
                  <a:pt x="3181" y="3912"/>
                </a:lnTo>
                <a:lnTo>
                  <a:pt x="2545" y="4548"/>
                </a:lnTo>
                <a:cubicBezTo>
                  <a:pt x="2481" y="4612"/>
                  <a:pt x="2450" y="4692"/>
                  <a:pt x="2450" y="4771"/>
                </a:cubicBezTo>
                <a:cubicBezTo>
                  <a:pt x="2450" y="4866"/>
                  <a:pt x="2481" y="4946"/>
                  <a:pt x="2545" y="5010"/>
                </a:cubicBezTo>
                <a:cubicBezTo>
                  <a:pt x="2608" y="5074"/>
                  <a:pt x="2688" y="5105"/>
                  <a:pt x="2783" y="5105"/>
                </a:cubicBezTo>
                <a:cubicBezTo>
                  <a:pt x="2863" y="5105"/>
                  <a:pt x="2942" y="5074"/>
                  <a:pt x="3006" y="5010"/>
                </a:cubicBezTo>
                <a:lnTo>
                  <a:pt x="4183" y="3817"/>
                </a:lnTo>
                <a:cubicBezTo>
                  <a:pt x="4215" y="3801"/>
                  <a:pt x="4231" y="3753"/>
                  <a:pt x="4247" y="3721"/>
                </a:cubicBezTo>
                <a:cubicBezTo>
                  <a:pt x="4278" y="3642"/>
                  <a:pt x="4278" y="3547"/>
                  <a:pt x="4247" y="3467"/>
                </a:cubicBezTo>
                <a:cubicBezTo>
                  <a:pt x="4231" y="3435"/>
                  <a:pt x="4215" y="3403"/>
                  <a:pt x="4183" y="3371"/>
                </a:cubicBezTo>
                <a:lnTo>
                  <a:pt x="3006" y="2194"/>
                </a:lnTo>
                <a:cubicBezTo>
                  <a:pt x="2879" y="2067"/>
                  <a:pt x="2672" y="2067"/>
                  <a:pt x="2545" y="2194"/>
                </a:cubicBezTo>
                <a:cubicBezTo>
                  <a:pt x="2417" y="2306"/>
                  <a:pt x="2417" y="2512"/>
                  <a:pt x="2545" y="2640"/>
                </a:cubicBezTo>
                <a:lnTo>
                  <a:pt x="3181" y="3276"/>
                </a:lnTo>
                <a:lnTo>
                  <a:pt x="318" y="3276"/>
                </a:lnTo>
                <a:cubicBezTo>
                  <a:pt x="143" y="3276"/>
                  <a:pt x="0" y="3419"/>
                  <a:pt x="0" y="3594"/>
                </a:cubicBezTo>
                <a:cubicBezTo>
                  <a:pt x="0" y="3769"/>
                  <a:pt x="143" y="3912"/>
                  <a:pt x="318" y="3912"/>
                </a:cubicBezTo>
                <a:close/>
                <a:moveTo>
                  <a:pt x="318" y="3435"/>
                </a:moveTo>
                <a:lnTo>
                  <a:pt x="3372" y="3435"/>
                </a:lnTo>
                <a:cubicBezTo>
                  <a:pt x="3404" y="3435"/>
                  <a:pt x="3435" y="3419"/>
                  <a:pt x="3451" y="3387"/>
                </a:cubicBezTo>
                <a:cubicBezTo>
                  <a:pt x="3451" y="3356"/>
                  <a:pt x="3451" y="3324"/>
                  <a:pt x="3435" y="3292"/>
                </a:cubicBezTo>
                <a:lnTo>
                  <a:pt x="2656" y="2529"/>
                </a:lnTo>
                <a:cubicBezTo>
                  <a:pt x="2593" y="2465"/>
                  <a:pt x="2593" y="2369"/>
                  <a:pt x="2656" y="2306"/>
                </a:cubicBezTo>
                <a:cubicBezTo>
                  <a:pt x="2720" y="2242"/>
                  <a:pt x="2831" y="2242"/>
                  <a:pt x="2895" y="2306"/>
                </a:cubicBezTo>
                <a:lnTo>
                  <a:pt x="4072" y="3483"/>
                </a:lnTo>
                <a:cubicBezTo>
                  <a:pt x="4087" y="3499"/>
                  <a:pt x="4104" y="3515"/>
                  <a:pt x="4104" y="3530"/>
                </a:cubicBezTo>
                <a:cubicBezTo>
                  <a:pt x="4120" y="3578"/>
                  <a:pt x="4120" y="3626"/>
                  <a:pt x="4104" y="3658"/>
                </a:cubicBezTo>
                <a:cubicBezTo>
                  <a:pt x="4104" y="3674"/>
                  <a:pt x="4087" y="3690"/>
                  <a:pt x="4072" y="3705"/>
                </a:cubicBezTo>
                <a:lnTo>
                  <a:pt x="2895" y="4898"/>
                </a:lnTo>
                <a:cubicBezTo>
                  <a:pt x="2831" y="4946"/>
                  <a:pt x="2720" y="4946"/>
                  <a:pt x="2656" y="4898"/>
                </a:cubicBezTo>
                <a:cubicBezTo>
                  <a:pt x="2593" y="4835"/>
                  <a:pt x="2593" y="4723"/>
                  <a:pt x="2656" y="4660"/>
                </a:cubicBezTo>
                <a:lnTo>
                  <a:pt x="3435" y="3896"/>
                </a:lnTo>
                <a:cubicBezTo>
                  <a:pt x="3451" y="3865"/>
                  <a:pt x="3451" y="3833"/>
                  <a:pt x="3451" y="3801"/>
                </a:cubicBezTo>
                <a:cubicBezTo>
                  <a:pt x="3435" y="3785"/>
                  <a:pt x="3404" y="3753"/>
                  <a:pt x="3372" y="3753"/>
                </a:cubicBezTo>
                <a:lnTo>
                  <a:pt x="318" y="3753"/>
                </a:lnTo>
                <a:cubicBezTo>
                  <a:pt x="239" y="3753"/>
                  <a:pt x="159" y="3690"/>
                  <a:pt x="159" y="3594"/>
                </a:cubicBezTo>
                <a:cubicBezTo>
                  <a:pt x="159" y="3499"/>
                  <a:pt x="239" y="3435"/>
                  <a:pt x="318" y="3435"/>
                </a:cubicBezTo>
                <a:close/>
                <a:moveTo>
                  <a:pt x="1733" y="96"/>
                </a:moveTo>
                <a:cubicBezTo>
                  <a:pt x="1606" y="-32"/>
                  <a:pt x="1400" y="-32"/>
                  <a:pt x="1272" y="96"/>
                </a:cubicBezTo>
                <a:lnTo>
                  <a:pt x="95" y="1273"/>
                </a:lnTo>
                <a:cubicBezTo>
                  <a:pt x="63" y="1304"/>
                  <a:pt x="48" y="1337"/>
                  <a:pt x="32" y="1384"/>
                </a:cubicBezTo>
                <a:cubicBezTo>
                  <a:pt x="0" y="1464"/>
                  <a:pt x="0" y="1543"/>
                  <a:pt x="32" y="1623"/>
                </a:cubicBezTo>
                <a:cubicBezTo>
                  <a:pt x="48" y="1670"/>
                  <a:pt x="63" y="1702"/>
                  <a:pt x="95" y="1734"/>
                </a:cubicBezTo>
                <a:lnTo>
                  <a:pt x="1272" y="2911"/>
                </a:lnTo>
                <a:cubicBezTo>
                  <a:pt x="1336" y="2975"/>
                  <a:pt x="1432" y="3007"/>
                  <a:pt x="1511" y="3007"/>
                </a:cubicBezTo>
                <a:cubicBezTo>
                  <a:pt x="1590" y="3007"/>
                  <a:pt x="1670" y="2975"/>
                  <a:pt x="1733" y="2911"/>
                </a:cubicBezTo>
                <a:cubicBezTo>
                  <a:pt x="1861" y="2784"/>
                  <a:pt x="1861" y="2577"/>
                  <a:pt x="1733" y="2450"/>
                </a:cubicBezTo>
                <a:lnTo>
                  <a:pt x="1097" y="1830"/>
                </a:lnTo>
                <a:lnTo>
                  <a:pt x="3960" y="1830"/>
                </a:lnTo>
                <a:cubicBezTo>
                  <a:pt x="4135" y="1830"/>
                  <a:pt x="4278" y="1670"/>
                  <a:pt x="4278" y="1495"/>
                </a:cubicBezTo>
                <a:cubicBezTo>
                  <a:pt x="4278" y="1321"/>
                  <a:pt x="4135" y="1177"/>
                  <a:pt x="3960" y="1177"/>
                </a:cubicBezTo>
                <a:lnTo>
                  <a:pt x="1097" y="1177"/>
                </a:lnTo>
                <a:lnTo>
                  <a:pt x="1733" y="541"/>
                </a:lnTo>
                <a:cubicBezTo>
                  <a:pt x="1861" y="414"/>
                  <a:pt x="1861" y="223"/>
                  <a:pt x="1733" y="96"/>
                </a:cubicBezTo>
                <a:close/>
                <a:moveTo>
                  <a:pt x="1622" y="430"/>
                </a:moveTo>
                <a:lnTo>
                  <a:pt x="859" y="1209"/>
                </a:lnTo>
                <a:cubicBezTo>
                  <a:pt x="827" y="1225"/>
                  <a:pt x="827" y="1257"/>
                  <a:pt x="843" y="1289"/>
                </a:cubicBezTo>
                <a:cubicBezTo>
                  <a:pt x="843" y="1321"/>
                  <a:pt x="875" y="1337"/>
                  <a:pt x="906" y="1337"/>
                </a:cubicBezTo>
                <a:lnTo>
                  <a:pt x="3960" y="1337"/>
                </a:lnTo>
                <a:cubicBezTo>
                  <a:pt x="4040" y="1337"/>
                  <a:pt x="4120" y="1416"/>
                  <a:pt x="4120" y="1495"/>
                </a:cubicBezTo>
                <a:cubicBezTo>
                  <a:pt x="4120" y="1591"/>
                  <a:pt x="4040" y="1670"/>
                  <a:pt x="3960" y="1670"/>
                </a:cubicBezTo>
                <a:lnTo>
                  <a:pt x="906" y="1670"/>
                </a:lnTo>
                <a:cubicBezTo>
                  <a:pt x="875" y="1670"/>
                  <a:pt x="843" y="1686"/>
                  <a:pt x="843" y="1718"/>
                </a:cubicBezTo>
                <a:cubicBezTo>
                  <a:pt x="827" y="1750"/>
                  <a:pt x="827" y="1782"/>
                  <a:pt x="859" y="1798"/>
                </a:cubicBezTo>
                <a:lnTo>
                  <a:pt x="1622" y="2561"/>
                </a:lnTo>
                <a:cubicBezTo>
                  <a:pt x="1686" y="2625"/>
                  <a:pt x="1686" y="2736"/>
                  <a:pt x="1622" y="2800"/>
                </a:cubicBezTo>
                <a:cubicBezTo>
                  <a:pt x="1559" y="2863"/>
                  <a:pt x="1447" y="2863"/>
                  <a:pt x="1384" y="2800"/>
                </a:cubicBezTo>
                <a:lnTo>
                  <a:pt x="206" y="1623"/>
                </a:lnTo>
                <a:cubicBezTo>
                  <a:pt x="191" y="1607"/>
                  <a:pt x="191" y="1591"/>
                  <a:pt x="175" y="1559"/>
                </a:cubicBezTo>
                <a:cubicBezTo>
                  <a:pt x="159" y="1527"/>
                  <a:pt x="159" y="1480"/>
                  <a:pt x="175" y="1432"/>
                </a:cubicBezTo>
                <a:cubicBezTo>
                  <a:pt x="191" y="1416"/>
                  <a:pt x="191" y="1400"/>
                  <a:pt x="206" y="1384"/>
                </a:cubicBezTo>
                <a:lnTo>
                  <a:pt x="1384" y="207"/>
                </a:lnTo>
                <a:cubicBezTo>
                  <a:pt x="1415" y="176"/>
                  <a:pt x="1463" y="159"/>
                  <a:pt x="1511" y="159"/>
                </a:cubicBezTo>
                <a:cubicBezTo>
                  <a:pt x="1543" y="159"/>
                  <a:pt x="1590" y="176"/>
                  <a:pt x="1622" y="207"/>
                </a:cubicBezTo>
                <a:cubicBezTo>
                  <a:pt x="1686" y="271"/>
                  <a:pt x="1686" y="366"/>
                  <a:pt x="1622" y="43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6" name="Freeform: Shape 13">
            <a:extLst>
              <a:ext uri="{FF2B5EF4-FFF2-40B4-BE49-F238E27FC236}">
                <a16:creationId xmlns:a16="http://schemas.microsoft.com/office/drawing/2014/main" id="{9A81B9AA-AC3C-E149-AB29-DD574DCEF1ED}"/>
              </a:ext>
            </a:extLst>
          </p:cNvPr>
          <p:cNvSpPr/>
          <p:nvPr/>
        </p:nvSpPr>
        <p:spPr>
          <a:xfrm>
            <a:off x="9867109" y="6662725"/>
            <a:ext cx="1832760" cy="984240"/>
          </a:xfrm>
          <a:custGeom>
            <a:avLst/>
            <a:gdLst/>
            <a:ahLst/>
            <a:cxnLst>
              <a:cxn ang="3cd4">
                <a:pos x="hc" y="t"/>
              </a:cxn>
              <a:cxn ang="cd2">
                <a:pos x="l" y="vc"/>
              </a:cxn>
              <a:cxn ang="cd4">
                <a:pos x="hc" y="b"/>
              </a:cxn>
              <a:cxn ang="0">
                <a:pos x="r" y="vc"/>
              </a:cxn>
            </a:cxnLst>
            <a:rect l="l" t="t" r="r" b="b"/>
            <a:pathLst>
              <a:path w="5092" h="2735">
                <a:moveTo>
                  <a:pt x="5068" y="1336"/>
                </a:moveTo>
                <a:lnTo>
                  <a:pt x="5005" y="1272"/>
                </a:lnTo>
                <a:cubicBezTo>
                  <a:pt x="4703" y="938"/>
                  <a:pt x="3876" y="31"/>
                  <a:pt x="2492" y="0"/>
                </a:cubicBezTo>
                <a:lnTo>
                  <a:pt x="2444" y="0"/>
                </a:lnTo>
                <a:cubicBezTo>
                  <a:pt x="1029" y="0"/>
                  <a:pt x="58" y="1288"/>
                  <a:pt x="11" y="1336"/>
                </a:cubicBezTo>
                <a:cubicBezTo>
                  <a:pt x="-5" y="1367"/>
                  <a:pt x="-5" y="1415"/>
                  <a:pt x="26" y="1447"/>
                </a:cubicBezTo>
                <a:cubicBezTo>
                  <a:pt x="1029" y="2497"/>
                  <a:pt x="1776" y="2735"/>
                  <a:pt x="2571" y="2735"/>
                </a:cubicBezTo>
                <a:lnTo>
                  <a:pt x="2714" y="2735"/>
                </a:lnTo>
                <a:cubicBezTo>
                  <a:pt x="3987" y="2703"/>
                  <a:pt x="5021" y="1494"/>
                  <a:pt x="5068" y="1447"/>
                </a:cubicBezTo>
                <a:cubicBezTo>
                  <a:pt x="5100" y="1415"/>
                  <a:pt x="5100" y="1367"/>
                  <a:pt x="5068" y="1336"/>
                </a:cubicBezTo>
                <a:close/>
                <a:moveTo>
                  <a:pt x="2699" y="2576"/>
                </a:moveTo>
                <a:cubicBezTo>
                  <a:pt x="1919" y="2608"/>
                  <a:pt x="1187" y="2417"/>
                  <a:pt x="186" y="1383"/>
                </a:cubicBezTo>
                <a:cubicBezTo>
                  <a:pt x="377" y="1145"/>
                  <a:pt x="1267" y="158"/>
                  <a:pt x="2444" y="158"/>
                </a:cubicBezTo>
                <a:lnTo>
                  <a:pt x="2492" y="158"/>
                </a:lnTo>
                <a:cubicBezTo>
                  <a:pt x="3796" y="190"/>
                  <a:pt x="4591" y="1049"/>
                  <a:pt x="4894" y="1383"/>
                </a:cubicBezTo>
                <a:lnTo>
                  <a:pt x="4910" y="1383"/>
                </a:lnTo>
                <a:cubicBezTo>
                  <a:pt x="4687" y="1622"/>
                  <a:pt x="3764" y="2544"/>
                  <a:pt x="2699" y="2576"/>
                </a:cubicBezTo>
                <a:close/>
                <a:moveTo>
                  <a:pt x="2556" y="206"/>
                </a:moveTo>
                <a:cubicBezTo>
                  <a:pt x="1919" y="206"/>
                  <a:pt x="1395" y="731"/>
                  <a:pt x="1395" y="1367"/>
                </a:cubicBezTo>
                <a:cubicBezTo>
                  <a:pt x="1395" y="2003"/>
                  <a:pt x="1919" y="2529"/>
                  <a:pt x="2556" y="2529"/>
                </a:cubicBezTo>
                <a:cubicBezTo>
                  <a:pt x="3192" y="2529"/>
                  <a:pt x="3717" y="2003"/>
                  <a:pt x="3717" y="1367"/>
                </a:cubicBezTo>
                <a:cubicBezTo>
                  <a:pt x="3717" y="731"/>
                  <a:pt x="3192" y="206"/>
                  <a:pt x="2556" y="206"/>
                </a:cubicBezTo>
                <a:close/>
                <a:moveTo>
                  <a:pt x="2556" y="2369"/>
                </a:moveTo>
                <a:cubicBezTo>
                  <a:pt x="1999" y="2369"/>
                  <a:pt x="1553" y="1924"/>
                  <a:pt x="1553" y="1367"/>
                </a:cubicBezTo>
                <a:cubicBezTo>
                  <a:pt x="1553" y="827"/>
                  <a:pt x="1999" y="365"/>
                  <a:pt x="2556" y="365"/>
                </a:cubicBezTo>
                <a:cubicBezTo>
                  <a:pt x="3112" y="365"/>
                  <a:pt x="3558" y="827"/>
                  <a:pt x="3558" y="1367"/>
                </a:cubicBezTo>
                <a:cubicBezTo>
                  <a:pt x="3558" y="1924"/>
                  <a:pt x="3112" y="2369"/>
                  <a:pt x="2556" y="2369"/>
                </a:cubicBezTo>
                <a:close/>
                <a:moveTo>
                  <a:pt x="2556" y="699"/>
                </a:moveTo>
                <a:cubicBezTo>
                  <a:pt x="2396" y="699"/>
                  <a:pt x="2237" y="763"/>
                  <a:pt x="2110" y="874"/>
                </a:cubicBezTo>
                <a:cubicBezTo>
                  <a:pt x="2094" y="890"/>
                  <a:pt x="2094" y="906"/>
                  <a:pt x="2094" y="922"/>
                </a:cubicBezTo>
                <a:cubicBezTo>
                  <a:pt x="2094" y="954"/>
                  <a:pt x="2094" y="970"/>
                  <a:pt x="2110" y="985"/>
                </a:cubicBezTo>
                <a:lnTo>
                  <a:pt x="2349" y="1224"/>
                </a:lnTo>
                <a:lnTo>
                  <a:pt x="1967" y="1272"/>
                </a:lnTo>
                <a:cubicBezTo>
                  <a:pt x="1919" y="1272"/>
                  <a:pt x="1887" y="1304"/>
                  <a:pt x="1887" y="1351"/>
                </a:cubicBezTo>
                <a:lnTo>
                  <a:pt x="1887" y="1367"/>
                </a:lnTo>
                <a:cubicBezTo>
                  <a:pt x="1887" y="1733"/>
                  <a:pt x="2190" y="2035"/>
                  <a:pt x="2556" y="2035"/>
                </a:cubicBezTo>
                <a:cubicBezTo>
                  <a:pt x="2922" y="2035"/>
                  <a:pt x="3223" y="1733"/>
                  <a:pt x="3223" y="1367"/>
                </a:cubicBezTo>
                <a:cubicBezTo>
                  <a:pt x="3223" y="1002"/>
                  <a:pt x="2922" y="699"/>
                  <a:pt x="2556" y="699"/>
                </a:cubicBezTo>
                <a:close/>
                <a:moveTo>
                  <a:pt x="1967" y="1367"/>
                </a:moveTo>
                <a:close/>
                <a:moveTo>
                  <a:pt x="2556" y="1876"/>
                </a:moveTo>
                <a:cubicBezTo>
                  <a:pt x="2285" y="1876"/>
                  <a:pt x="2078" y="1669"/>
                  <a:pt x="2047" y="1415"/>
                </a:cubicBezTo>
                <a:lnTo>
                  <a:pt x="2523" y="1367"/>
                </a:lnTo>
                <a:cubicBezTo>
                  <a:pt x="2556" y="1351"/>
                  <a:pt x="2571" y="1336"/>
                  <a:pt x="2587" y="1304"/>
                </a:cubicBezTo>
                <a:cubicBezTo>
                  <a:pt x="2603" y="1272"/>
                  <a:pt x="2587" y="1240"/>
                  <a:pt x="2571" y="1224"/>
                </a:cubicBezTo>
                <a:lnTo>
                  <a:pt x="2285" y="938"/>
                </a:lnTo>
                <a:cubicBezTo>
                  <a:pt x="2365" y="890"/>
                  <a:pt x="2460" y="858"/>
                  <a:pt x="2556" y="858"/>
                </a:cubicBezTo>
                <a:cubicBezTo>
                  <a:pt x="2842" y="858"/>
                  <a:pt x="3065" y="1097"/>
                  <a:pt x="3065" y="1367"/>
                </a:cubicBezTo>
                <a:cubicBezTo>
                  <a:pt x="3065" y="1654"/>
                  <a:pt x="2842" y="1876"/>
                  <a:pt x="2556" y="187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7" name="Freeform: Shape 14">
            <a:extLst>
              <a:ext uri="{FF2B5EF4-FFF2-40B4-BE49-F238E27FC236}">
                <a16:creationId xmlns:a16="http://schemas.microsoft.com/office/drawing/2014/main" id="{63ABB52D-B551-CA4B-8799-E7765D6C96DC}"/>
              </a:ext>
            </a:extLst>
          </p:cNvPr>
          <p:cNvSpPr/>
          <p:nvPr/>
        </p:nvSpPr>
        <p:spPr>
          <a:xfrm>
            <a:off x="5989426" y="6336205"/>
            <a:ext cx="1369080" cy="1643039"/>
          </a:xfrm>
          <a:custGeom>
            <a:avLst/>
            <a:gdLst/>
            <a:ahLst/>
            <a:cxnLst>
              <a:cxn ang="3cd4">
                <a:pos x="hc" y="t"/>
              </a:cxn>
              <a:cxn ang="cd2">
                <a:pos x="l" y="vc"/>
              </a:cxn>
              <a:cxn ang="cd4">
                <a:pos x="hc" y="b"/>
              </a:cxn>
              <a:cxn ang="0">
                <a:pos x="r" y="vc"/>
              </a:cxn>
            </a:cxnLst>
            <a:rect l="l" t="t" r="r" b="b"/>
            <a:pathLst>
              <a:path w="3804" h="4565">
                <a:moveTo>
                  <a:pt x="1239" y="4533"/>
                </a:moveTo>
                <a:cubicBezTo>
                  <a:pt x="1255" y="4549"/>
                  <a:pt x="1270" y="4565"/>
                  <a:pt x="1302" y="4565"/>
                </a:cubicBezTo>
                <a:cubicBezTo>
                  <a:pt x="2940" y="4565"/>
                  <a:pt x="2940" y="4565"/>
                  <a:pt x="2940" y="4565"/>
                </a:cubicBezTo>
                <a:cubicBezTo>
                  <a:pt x="2988" y="4565"/>
                  <a:pt x="3020" y="4533"/>
                  <a:pt x="3020" y="4485"/>
                </a:cubicBezTo>
                <a:cubicBezTo>
                  <a:pt x="3020" y="3531"/>
                  <a:pt x="3020" y="3531"/>
                  <a:pt x="3020" y="3531"/>
                </a:cubicBezTo>
                <a:cubicBezTo>
                  <a:pt x="3020" y="3515"/>
                  <a:pt x="3020" y="3356"/>
                  <a:pt x="3148" y="3165"/>
                </a:cubicBezTo>
                <a:cubicBezTo>
                  <a:pt x="3179" y="3133"/>
                  <a:pt x="3195" y="3101"/>
                  <a:pt x="3227" y="3070"/>
                </a:cubicBezTo>
                <a:cubicBezTo>
                  <a:pt x="3418" y="2815"/>
                  <a:pt x="3767" y="2354"/>
                  <a:pt x="3800" y="1765"/>
                </a:cubicBezTo>
                <a:cubicBezTo>
                  <a:pt x="3831" y="1065"/>
                  <a:pt x="3688" y="763"/>
                  <a:pt x="3466" y="525"/>
                </a:cubicBezTo>
                <a:cubicBezTo>
                  <a:pt x="3148" y="175"/>
                  <a:pt x="2718" y="0"/>
                  <a:pt x="2161" y="0"/>
                </a:cubicBezTo>
                <a:lnTo>
                  <a:pt x="2145" y="0"/>
                </a:lnTo>
                <a:cubicBezTo>
                  <a:pt x="1493" y="0"/>
                  <a:pt x="1127" y="238"/>
                  <a:pt x="936" y="445"/>
                </a:cubicBezTo>
                <a:cubicBezTo>
                  <a:pt x="730" y="684"/>
                  <a:pt x="603" y="907"/>
                  <a:pt x="539" y="1082"/>
                </a:cubicBezTo>
                <a:cubicBezTo>
                  <a:pt x="491" y="1240"/>
                  <a:pt x="491" y="1368"/>
                  <a:pt x="475" y="1431"/>
                </a:cubicBezTo>
                <a:cubicBezTo>
                  <a:pt x="475" y="1463"/>
                  <a:pt x="475" y="1463"/>
                  <a:pt x="475" y="1463"/>
                </a:cubicBezTo>
                <a:cubicBezTo>
                  <a:pt x="475" y="1495"/>
                  <a:pt x="364" y="1781"/>
                  <a:pt x="268" y="1956"/>
                </a:cubicBezTo>
                <a:cubicBezTo>
                  <a:pt x="189" y="2083"/>
                  <a:pt x="125" y="2195"/>
                  <a:pt x="77" y="2258"/>
                </a:cubicBezTo>
                <a:cubicBezTo>
                  <a:pt x="30" y="2338"/>
                  <a:pt x="30" y="2338"/>
                  <a:pt x="30" y="2338"/>
                </a:cubicBezTo>
                <a:cubicBezTo>
                  <a:pt x="14" y="2401"/>
                  <a:pt x="-18" y="2481"/>
                  <a:pt x="14" y="2561"/>
                </a:cubicBezTo>
                <a:cubicBezTo>
                  <a:pt x="46" y="2609"/>
                  <a:pt x="94" y="2656"/>
                  <a:pt x="157" y="2656"/>
                </a:cubicBezTo>
                <a:cubicBezTo>
                  <a:pt x="189" y="2672"/>
                  <a:pt x="221" y="2672"/>
                  <a:pt x="237" y="2672"/>
                </a:cubicBezTo>
                <a:cubicBezTo>
                  <a:pt x="237" y="2990"/>
                  <a:pt x="237" y="2990"/>
                  <a:pt x="237" y="2990"/>
                </a:cubicBezTo>
                <a:cubicBezTo>
                  <a:pt x="284" y="3499"/>
                  <a:pt x="284" y="3499"/>
                  <a:pt x="284" y="3499"/>
                </a:cubicBezTo>
                <a:cubicBezTo>
                  <a:pt x="284" y="3547"/>
                  <a:pt x="316" y="3563"/>
                  <a:pt x="364" y="3563"/>
                </a:cubicBezTo>
                <a:cubicBezTo>
                  <a:pt x="475" y="3563"/>
                  <a:pt x="761" y="3547"/>
                  <a:pt x="857" y="3579"/>
                </a:cubicBezTo>
                <a:cubicBezTo>
                  <a:pt x="1048" y="3610"/>
                  <a:pt x="1112" y="3642"/>
                  <a:pt x="1127" y="3642"/>
                </a:cubicBezTo>
                <a:cubicBezTo>
                  <a:pt x="1143" y="3674"/>
                  <a:pt x="1270" y="4024"/>
                  <a:pt x="1223" y="4469"/>
                </a:cubicBezTo>
                <a:cubicBezTo>
                  <a:pt x="1207" y="4501"/>
                  <a:pt x="1223" y="4517"/>
                  <a:pt x="1239" y="4533"/>
                </a:cubicBezTo>
                <a:close/>
                <a:moveTo>
                  <a:pt x="889" y="3419"/>
                </a:moveTo>
                <a:cubicBezTo>
                  <a:pt x="777" y="3404"/>
                  <a:pt x="555" y="3404"/>
                  <a:pt x="428" y="3404"/>
                </a:cubicBezTo>
                <a:cubicBezTo>
                  <a:pt x="395" y="2990"/>
                  <a:pt x="395" y="2990"/>
                  <a:pt x="395" y="2990"/>
                </a:cubicBezTo>
                <a:cubicBezTo>
                  <a:pt x="412" y="2609"/>
                  <a:pt x="412" y="2609"/>
                  <a:pt x="412" y="2609"/>
                </a:cubicBezTo>
                <a:cubicBezTo>
                  <a:pt x="412" y="2576"/>
                  <a:pt x="395" y="2561"/>
                  <a:pt x="380" y="2545"/>
                </a:cubicBezTo>
                <a:cubicBezTo>
                  <a:pt x="364" y="2529"/>
                  <a:pt x="332" y="2513"/>
                  <a:pt x="316" y="2529"/>
                </a:cubicBezTo>
                <a:cubicBezTo>
                  <a:pt x="316" y="2529"/>
                  <a:pt x="268" y="2529"/>
                  <a:pt x="189" y="2513"/>
                </a:cubicBezTo>
                <a:cubicBezTo>
                  <a:pt x="173" y="2497"/>
                  <a:pt x="157" y="2497"/>
                  <a:pt x="157" y="2497"/>
                </a:cubicBezTo>
                <a:cubicBezTo>
                  <a:pt x="157" y="2481"/>
                  <a:pt x="157" y="2449"/>
                  <a:pt x="173" y="2418"/>
                </a:cubicBezTo>
                <a:cubicBezTo>
                  <a:pt x="221" y="2338"/>
                  <a:pt x="221" y="2338"/>
                  <a:pt x="221" y="2338"/>
                </a:cubicBezTo>
                <a:cubicBezTo>
                  <a:pt x="268" y="2274"/>
                  <a:pt x="332" y="2163"/>
                  <a:pt x="395" y="2036"/>
                </a:cubicBezTo>
                <a:cubicBezTo>
                  <a:pt x="507" y="1845"/>
                  <a:pt x="618" y="1527"/>
                  <a:pt x="634" y="1495"/>
                </a:cubicBezTo>
                <a:cubicBezTo>
                  <a:pt x="634" y="1479"/>
                  <a:pt x="634" y="1463"/>
                  <a:pt x="634" y="1447"/>
                </a:cubicBezTo>
                <a:cubicBezTo>
                  <a:pt x="634" y="1400"/>
                  <a:pt x="650" y="1272"/>
                  <a:pt x="698" y="1129"/>
                </a:cubicBezTo>
                <a:cubicBezTo>
                  <a:pt x="746" y="970"/>
                  <a:pt x="873" y="779"/>
                  <a:pt x="1064" y="556"/>
                </a:cubicBezTo>
                <a:cubicBezTo>
                  <a:pt x="1302" y="286"/>
                  <a:pt x="1684" y="143"/>
                  <a:pt x="2161" y="159"/>
                </a:cubicBezTo>
                <a:cubicBezTo>
                  <a:pt x="2670" y="159"/>
                  <a:pt x="3052" y="318"/>
                  <a:pt x="3354" y="620"/>
                </a:cubicBezTo>
                <a:cubicBezTo>
                  <a:pt x="3545" y="843"/>
                  <a:pt x="3672" y="1113"/>
                  <a:pt x="3640" y="1749"/>
                </a:cubicBezTo>
                <a:cubicBezTo>
                  <a:pt x="3609" y="2290"/>
                  <a:pt x="3275" y="2736"/>
                  <a:pt x="3100" y="2974"/>
                </a:cubicBezTo>
                <a:cubicBezTo>
                  <a:pt x="3068" y="3006"/>
                  <a:pt x="3036" y="3038"/>
                  <a:pt x="3020" y="3070"/>
                </a:cubicBezTo>
                <a:cubicBezTo>
                  <a:pt x="2861" y="3308"/>
                  <a:pt x="2861" y="3515"/>
                  <a:pt x="2861" y="3531"/>
                </a:cubicBezTo>
                <a:cubicBezTo>
                  <a:pt x="2861" y="4406"/>
                  <a:pt x="2861" y="4406"/>
                  <a:pt x="2861" y="4406"/>
                </a:cubicBezTo>
                <a:cubicBezTo>
                  <a:pt x="2384" y="4406"/>
                  <a:pt x="2384" y="4406"/>
                  <a:pt x="2384" y="4406"/>
                </a:cubicBezTo>
                <a:lnTo>
                  <a:pt x="2384" y="4390"/>
                </a:lnTo>
                <a:cubicBezTo>
                  <a:pt x="2384" y="4390"/>
                  <a:pt x="2320" y="4008"/>
                  <a:pt x="2448" y="3674"/>
                </a:cubicBezTo>
                <a:cubicBezTo>
                  <a:pt x="2479" y="3594"/>
                  <a:pt x="2511" y="3531"/>
                  <a:pt x="2543" y="3467"/>
                </a:cubicBezTo>
                <a:cubicBezTo>
                  <a:pt x="2639" y="3276"/>
                  <a:pt x="2734" y="3070"/>
                  <a:pt x="2718" y="2831"/>
                </a:cubicBezTo>
                <a:cubicBezTo>
                  <a:pt x="2718" y="2640"/>
                  <a:pt x="2670" y="2465"/>
                  <a:pt x="2591" y="2322"/>
                </a:cubicBezTo>
                <a:cubicBezTo>
                  <a:pt x="2606" y="2258"/>
                  <a:pt x="2622" y="2147"/>
                  <a:pt x="2670" y="2052"/>
                </a:cubicBezTo>
                <a:cubicBezTo>
                  <a:pt x="2734" y="1940"/>
                  <a:pt x="2845" y="1877"/>
                  <a:pt x="2957" y="1797"/>
                </a:cubicBezTo>
                <a:cubicBezTo>
                  <a:pt x="3100" y="1702"/>
                  <a:pt x="3258" y="1606"/>
                  <a:pt x="3322" y="1431"/>
                </a:cubicBezTo>
                <a:cubicBezTo>
                  <a:pt x="3418" y="1145"/>
                  <a:pt x="3211" y="843"/>
                  <a:pt x="2957" y="668"/>
                </a:cubicBezTo>
                <a:cubicBezTo>
                  <a:pt x="2511" y="334"/>
                  <a:pt x="1748" y="255"/>
                  <a:pt x="1286" y="700"/>
                </a:cubicBezTo>
                <a:cubicBezTo>
                  <a:pt x="921" y="1050"/>
                  <a:pt x="793" y="1352"/>
                  <a:pt x="952" y="1606"/>
                </a:cubicBezTo>
                <a:cubicBezTo>
                  <a:pt x="1095" y="1845"/>
                  <a:pt x="1398" y="1940"/>
                  <a:pt x="1621" y="1956"/>
                </a:cubicBezTo>
                <a:cubicBezTo>
                  <a:pt x="1939" y="1972"/>
                  <a:pt x="2161" y="2052"/>
                  <a:pt x="2336" y="2243"/>
                </a:cubicBezTo>
                <a:cubicBezTo>
                  <a:pt x="2384" y="2274"/>
                  <a:pt x="2416" y="2322"/>
                  <a:pt x="2431" y="2354"/>
                </a:cubicBezTo>
                <a:cubicBezTo>
                  <a:pt x="2431" y="2370"/>
                  <a:pt x="2448" y="2386"/>
                  <a:pt x="2463" y="2401"/>
                </a:cubicBezTo>
                <a:cubicBezTo>
                  <a:pt x="2543" y="2545"/>
                  <a:pt x="2559" y="2720"/>
                  <a:pt x="2559" y="2847"/>
                </a:cubicBezTo>
                <a:cubicBezTo>
                  <a:pt x="2575" y="3038"/>
                  <a:pt x="2495" y="3213"/>
                  <a:pt x="2400" y="3388"/>
                </a:cubicBezTo>
                <a:cubicBezTo>
                  <a:pt x="2368" y="3467"/>
                  <a:pt x="2336" y="3547"/>
                  <a:pt x="2304" y="3610"/>
                </a:cubicBezTo>
                <a:cubicBezTo>
                  <a:pt x="2177" y="3945"/>
                  <a:pt x="2209" y="4326"/>
                  <a:pt x="2225" y="4406"/>
                </a:cubicBezTo>
                <a:cubicBezTo>
                  <a:pt x="1382" y="4406"/>
                  <a:pt x="1382" y="4406"/>
                  <a:pt x="1382" y="4406"/>
                </a:cubicBezTo>
                <a:cubicBezTo>
                  <a:pt x="1413" y="3960"/>
                  <a:pt x="1302" y="3610"/>
                  <a:pt x="1255" y="3563"/>
                </a:cubicBezTo>
                <a:cubicBezTo>
                  <a:pt x="1239" y="3531"/>
                  <a:pt x="1207" y="3483"/>
                  <a:pt x="889" y="3419"/>
                </a:cubicBezTo>
                <a:close/>
                <a:moveTo>
                  <a:pt x="2527" y="1988"/>
                </a:moveTo>
                <a:cubicBezTo>
                  <a:pt x="2511" y="2036"/>
                  <a:pt x="2479" y="2100"/>
                  <a:pt x="2479" y="2147"/>
                </a:cubicBezTo>
                <a:cubicBezTo>
                  <a:pt x="2463" y="2147"/>
                  <a:pt x="2463" y="2131"/>
                  <a:pt x="2463" y="2131"/>
                </a:cubicBezTo>
                <a:cubicBezTo>
                  <a:pt x="2241" y="1909"/>
                  <a:pt x="1986" y="1813"/>
                  <a:pt x="1636" y="1797"/>
                </a:cubicBezTo>
                <a:cubicBezTo>
                  <a:pt x="1445" y="1781"/>
                  <a:pt x="1191" y="1718"/>
                  <a:pt x="1080" y="1527"/>
                </a:cubicBezTo>
                <a:cubicBezTo>
                  <a:pt x="984" y="1336"/>
                  <a:pt x="1080" y="1113"/>
                  <a:pt x="1398" y="811"/>
                </a:cubicBezTo>
                <a:cubicBezTo>
                  <a:pt x="1588" y="636"/>
                  <a:pt x="1843" y="556"/>
                  <a:pt x="2113" y="556"/>
                </a:cubicBezTo>
                <a:cubicBezTo>
                  <a:pt x="2384" y="556"/>
                  <a:pt x="2670" y="636"/>
                  <a:pt x="2861" y="795"/>
                </a:cubicBezTo>
                <a:cubicBezTo>
                  <a:pt x="3052" y="938"/>
                  <a:pt x="3227" y="1177"/>
                  <a:pt x="3163" y="1383"/>
                </a:cubicBezTo>
                <a:cubicBezTo>
                  <a:pt x="3115" y="1511"/>
                  <a:pt x="3004" y="1591"/>
                  <a:pt x="2877" y="1670"/>
                </a:cubicBezTo>
                <a:cubicBezTo>
                  <a:pt x="2734" y="1749"/>
                  <a:pt x="2606" y="1829"/>
                  <a:pt x="2527" y="198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8" name="Freeform: Shape 15">
            <a:extLst>
              <a:ext uri="{FF2B5EF4-FFF2-40B4-BE49-F238E27FC236}">
                <a16:creationId xmlns:a16="http://schemas.microsoft.com/office/drawing/2014/main" id="{DADC19F7-5032-AA40-8AA1-84BD0EBC4CAC}"/>
              </a:ext>
            </a:extLst>
          </p:cNvPr>
          <p:cNvSpPr/>
          <p:nvPr/>
        </p:nvSpPr>
        <p:spPr>
          <a:xfrm>
            <a:off x="17529701" y="3109809"/>
            <a:ext cx="1558440" cy="1559880"/>
          </a:xfrm>
          <a:custGeom>
            <a:avLst/>
            <a:gdLst/>
            <a:ahLst/>
            <a:cxnLst>
              <a:cxn ang="3cd4">
                <a:pos x="hc" y="t"/>
              </a:cxn>
              <a:cxn ang="cd2">
                <a:pos x="l" y="vc"/>
              </a:cxn>
              <a:cxn ang="cd4">
                <a:pos x="hc" y="b"/>
              </a:cxn>
              <a:cxn ang="0">
                <a:pos x="r" y="vc"/>
              </a:cxn>
            </a:cxnLst>
            <a:rect l="l" t="t" r="r" b="b"/>
            <a:pathLst>
              <a:path w="4330" h="4334">
                <a:moveTo>
                  <a:pt x="2715" y="4334"/>
                </a:moveTo>
                <a:cubicBezTo>
                  <a:pt x="3827" y="4334"/>
                  <a:pt x="3827" y="4334"/>
                  <a:pt x="3827" y="4334"/>
                </a:cubicBezTo>
                <a:cubicBezTo>
                  <a:pt x="3875" y="4334"/>
                  <a:pt x="3907" y="4303"/>
                  <a:pt x="3907" y="4255"/>
                </a:cubicBezTo>
                <a:cubicBezTo>
                  <a:pt x="3907" y="2171"/>
                  <a:pt x="3907" y="2171"/>
                  <a:pt x="3907" y="2171"/>
                </a:cubicBezTo>
                <a:cubicBezTo>
                  <a:pt x="4257" y="2171"/>
                  <a:pt x="4257" y="2171"/>
                  <a:pt x="4257" y="2171"/>
                </a:cubicBezTo>
                <a:cubicBezTo>
                  <a:pt x="4288" y="2171"/>
                  <a:pt x="4320" y="2155"/>
                  <a:pt x="4320" y="2124"/>
                </a:cubicBezTo>
                <a:cubicBezTo>
                  <a:pt x="4336" y="2092"/>
                  <a:pt x="4336" y="2060"/>
                  <a:pt x="4305" y="2028"/>
                </a:cubicBezTo>
                <a:cubicBezTo>
                  <a:pt x="3827" y="1583"/>
                  <a:pt x="3827" y="1583"/>
                  <a:pt x="3827" y="1583"/>
                </a:cubicBezTo>
                <a:cubicBezTo>
                  <a:pt x="3827" y="470"/>
                  <a:pt x="3827" y="470"/>
                  <a:pt x="3827" y="470"/>
                </a:cubicBezTo>
                <a:cubicBezTo>
                  <a:pt x="3827" y="438"/>
                  <a:pt x="3796" y="390"/>
                  <a:pt x="3748" y="390"/>
                </a:cubicBezTo>
                <a:cubicBezTo>
                  <a:pt x="3350" y="390"/>
                  <a:pt x="3350" y="390"/>
                  <a:pt x="3350" y="390"/>
                </a:cubicBezTo>
                <a:cubicBezTo>
                  <a:pt x="3318" y="390"/>
                  <a:pt x="3270" y="438"/>
                  <a:pt x="3270" y="470"/>
                </a:cubicBezTo>
                <a:cubicBezTo>
                  <a:pt x="3270" y="1042"/>
                  <a:pt x="3270" y="1042"/>
                  <a:pt x="3270" y="1042"/>
                </a:cubicBezTo>
                <a:cubicBezTo>
                  <a:pt x="2222" y="24"/>
                  <a:pt x="2222" y="24"/>
                  <a:pt x="2222" y="24"/>
                </a:cubicBezTo>
                <a:cubicBezTo>
                  <a:pt x="2190" y="-8"/>
                  <a:pt x="2143" y="-8"/>
                  <a:pt x="2110" y="24"/>
                </a:cubicBezTo>
                <a:cubicBezTo>
                  <a:pt x="27" y="2028"/>
                  <a:pt x="27" y="2028"/>
                  <a:pt x="27" y="2028"/>
                </a:cubicBezTo>
                <a:cubicBezTo>
                  <a:pt x="-5" y="2060"/>
                  <a:pt x="-5" y="2092"/>
                  <a:pt x="11" y="2124"/>
                </a:cubicBezTo>
                <a:cubicBezTo>
                  <a:pt x="11" y="2155"/>
                  <a:pt x="43" y="2171"/>
                  <a:pt x="75" y="2171"/>
                </a:cubicBezTo>
                <a:cubicBezTo>
                  <a:pt x="425" y="2171"/>
                  <a:pt x="425" y="2171"/>
                  <a:pt x="425" y="2171"/>
                </a:cubicBezTo>
                <a:cubicBezTo>
                  <a:pt x="425" y="4255"/>
                  <a:pt x="425" y="4255"/>
                  <a:pt x="425" y="4255"/>
                </a:cubicBezTo>
                <a:cubicBezTo>
                  <a:pt x="425" y="4303"/>
                  <a:pt x="456" y="4334"/>
                  <a:pt x="504" y="4334"/>
                </a:cubicBezTo>
                <a:cubicBezTo>
                  <a:pt x="1617" y="4334"/>
                  <a:pt x="1617" y="4334"/>
                  <a:pt x="1617" y="4334"/>
                </a:cubicBezTo>
                <a:cubicBezTo>
                  <a:pt x="1649" y="4334"/>
                  <a:pt x="1697" y="4303"/>
                  <a:pt x="1697" y="4255"/>
                </a:cubicBezTo>
                <a:cubicBezTo>
                  <a:pt x="1697" y="3126"/>
                  <a:pt x="1697" y="3126"/>
                  <a:pt x="1697" y="3126"/>
                </a:cubicBezTo>
                <a:cubicBezTo>
                  <a:pt x="1697" y="2903"/>
                  <a:pt x="1888" y="2712"/>
                  <a:pt x="2126" y="2712"/>
                </a:cubicBezTo>
                <a:cubicBezTo>
                  <a:pt x="2206" y="2712"/>
                  <a:pt x="2206" y="2712"/>
                  <a:pt x="2206" y="2712"/>
                </a:cubicBezTo>
                <a:cubicBezTo>
                  <a:pt x="2444" y="2712"/>
                  <a:pt x="2635" y="2903"/>
                  <a:pt x="2635" y="3126"/>
                </a:cubicBezTo>
                <a:cubicBezTo>
                  <a:pt x="2635" y="4255"/>
                  <a:pt x="2635" y="4255"/>
                  <a:pt x="2635" y="4255"/>
                </a:cubicBezTo>
                <a:cubicBezTo>
                  <a:pt x="2635" y="4303"/>
                  <a:pt x="2667" y="4334"/>
                  <a:pt x="2715" y="4334"/>
                </a:cubicBezTo>
                <a:close/>
                <a:moveTo>
                  <a:pt x="2206" y="2553"/>
                </a:moveTo>
                <a:cubicBezTo>
                  <a:pt x="2126" y="2553"/>
                  <a:pt x="2126" y="2553"/>
                  <a:pt x="2126" y="2553"/>
                </a:cubicBezTo>
                <a:cubicBezTo>
                  <a:pt x="1808" y="2553"/>
                  <a:pt x="1538" y="2807"/>
                  <a:pt x="1538" y="3126"/>
                </a:cubicBezTo>
                <a:cubicBezTo>
                  <a:pt x="1538" y="4176"/>
                  <a:pt x="1538" y="4176"/>
                  <a:pt x="1538" y="4176"/>
                </a:cubicBezTo>
                <a:cubicBezTo>
                  <a:pt x="584" y="4176"/>
                  <a:pt x="584" y="4176"/>
                  <a:pt x="584" y="4176"/>
                </a:cubicBezTo>
                <a:cubicBezTo>
                  <a:pt x="584" y="2092"/>
                  <a:pt x="584" y="2092"/>
                  <a:pt x="584" y="2092"/>
                </a:cubicBezTo>
                <a:cubicBezTo>
                  <a:pt x="584" y="2044"/>
                  <a:pt x="552" y="2012"/>
                  <a:pt x="504" y="2012"/>
                </a:cubicBezTo>
                <a:cubicBezTo>
                  <a:pt x="281" y="2012"/>
                  <a:pt x="281" y="2012"/>
                  <a:pt x="281" y="2012"/>
                </a:cubicBezTo>
                <a:cubicBezTo>
                  <a:pt x="2158" y="199"/>
                  <a:pt x="2158" y="199"/>
                  <a:pt x="2158" y="199"/>
                </a:cubicBezTo>
                <a:cubicBezTo>
                  <a:pt x="3303" y="1297"/>
                  <a:pt x="3303" y="1297"/>
                  <a:pt x="3303" y="1297"/>
                </a:cubicBezTo>
                <a:cubicBezTo>
                  <a:pt x="3318" y="1313"/>
                  <a:pt x="3366" y="1313"/>
                  <a:pt x="3382" y="1313"/>
                </a:cubicBezTo>
                <a:cubicBezTo>
                  <a:pt x="3414" y="1297"/>
                  <a:pt x="3430" y="1265"/>
                  <a:pt x="3430" y="1233"/>
                </a:cubicBezTo>
                <a:cubicBezTo>
                  <a:pt x="3430" y="549"/>
                  <a:pt x="3430" y="549"/>
                  <a:pt x="3430" y="549"/>
                </a:cubicBezTo>
                <a:cubicBezTo>
                  <a:pt x="3668" y="549"/>
                  <a:pt x="3668" y="549"/>
                  <a:pt x="3668" y="549"/>
                </a:cubicBezTo>
                <a:cubicBezTo>
                  <a:pt x="3668" y="1615"/>
                  <a:pt x="3668" y="1615"/>
                  <a:pt x="3668" y="1615"/>
                </a:cubicBezTo>
                <a:cubicBezTo>
                  <a:pt x="3668" y="1631"/>
                  <a:pt x="3684" y="1662"/>
                  <a:pt x="3700" y="1678"/>
                </a:cubicBezTo>
                <a:cubicBezTo>
                  <a:pt x="4050" y="2012"/>
                  <a:pt x="4050" y="2012"/>
                  <a:pt x="4050" y="2012"/>
                </a:cubicBezTo>
                <a:cubicBezTo>
                  <a:pt x="3827" y="2012"/>
                  <a:pt x="3827" y="2012"/>
                  <a:pt x="3827" y="2012"/>
                </a:cubicBezTo>
                <a:cubicBezTo>
                  <a:pt x="3779" y="2012"/>
                  <a:pt x="3748" y="2044"/>
                  <a:pt x="3748" y="2092"/>
                </a:cubicBezTo>
                <a:cubicBezTo>
                  <a:pt x="3748" y="4176"/>
                  <a:pt x="3748" y="4176"/>
                  <a:pt x="3748" y="4176"/>
                </a:cubicBezTo>
                <a:cubicBezTo>
                  <a:pt x="2795" y="4176"/>
                  <a:pt x="2795" y="4176"/>
                  <a:pt x="2795" y="4176"/>
                </a:cubicBezTo>
                <a:cubicBezTo>
                  <a:pt x="2795" y="3126"/>
                  <a:pt x="2795" y="3126"/>
                  <a:pt x="2795" y="3126"/>
                </a:cubicBezTo>
                <a:cubicBezTo>
                  <a:pt x="2795" y="2807"/>
                  <a:pt x="2524" y="2553"/>
                  <a:pt x="2206" y="255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9" name="Freeform: Shape 16">
            <a:extLst>
              <a:ext uri="{FF2B5EF4-FFF2-40B4-BE49-F238E27FC236}">
                <a16:creationId xmlns:a16="http://schemas.microsoft.com/office/drawing/2014/main" id="{4FCF8135-07CB-6346-9E52-05472C294086}"/>
              </a:ext>
            </a:extLst>
          </p:cNvPr>
          <p:cNvSpPr/>
          <p:nvPr/>
        </p:nvSpPr>
        <p:spPr>
          <a:xfrm>
            <a:off x="13832841" y="3084248"/>
            <a:ext cx="1748160" cy="1614240"/>
          </a:xfrm>
          <a:custGeom>
            <a:avLst/>
            <a:gdLst/>
            <a:ahLst/>
            <a:cxnLst>
              <a:cxn ang="3cd4">
                <a:pos x="hc" y="t"/>
              </a:cxn>
              <a:cxn ang="cd2">
                <a:pos x="l" y="vc"/>
              </a:cxn>
              <a:cxn ang="cd4">
                <a:pos x="hc" y="b"/>
              </a:cxn>
              <a:cxn ang="0">
                <a:pos x="r" y="vc"/>
              </a:cxn>
            </a:cxnLst>
            <a:rect l="l" t="t" r="r" b="b"/>
            <a:pathLst>
              <a:path w="4857" h="4485">
                <a:moveTo>
                  <a:pt x="4835" y="1924"/>
                </a:moveTo>
                <a:cubicBezTo>
                  <a:pt x="4501" y="1018"/>
                  <a:pt x="3690" y="381"/>
                  <a:pt x="2736" y="254"/>
                </a:cubicBezTo>
                <a:cubicBezTo>
                  <a:pt x="2736" y="254"/>
                  <a:pt x="2640" y="254"/>
                  <a:pt x="2528" y="254"/>
                </a:cubicBezTo>
                <a:cubicBezTo>
                  <a:pt x="2513" y="254"/>
                  <a:pt x="2513" y="254"/>
                  <a:pt x="2513" y="254"/>
                </a:cubicBezTo>
                <a:cubicBezTo>
                  <a:pt x="2513" y="79"/>
                  <a:pt x="2513" y="79"/>
                  <a:pt x="2513" y="79"/>
                </a:cubicBezTo>
                <a:cubicBezTo>
                  <a:pt x="2513" y="32"/>
                  <a:pt x="2465" y="0"/>
                  <a:pt x="2433" y="0"/>
                </a:cubicBezTo>
                <a:cubicBezTo>
                  <a:pt x="2385" y="0"/>
                  <a:pt x="2354" y="32"/>
                  <a:pt x="2354" y="79"/>
                </a:cubicBezTo>
                <a:cubicBezTo>
                  <a:pt x="2354" y="254"/>
                  <a:pt x="2354" y="254"/>
                  <a:pt x="2354" y="254"/>
                </a:cubicBezTo>
                <a:cubicBezTo>
                  <a:pt x="2322" y="254"/>
                  <a:pt x="2322" y="254"/>
                  <a:pt x="2322" y="254"/>
                </a:cubicBezTo>
                <a:cubicBezTo>
                  <a:pt x="2242" y="254"/>
                  <a:pt x="2163" y="254"/>
                  <a:pt x="2099" y="270"/>
                </a:cubicBezTo>
                <a:cubicBezTo>
                  <a:pt x="1145" y="381"/>
                  <a:pt x="349" y="1018"/>
                  <a:pt x="16" y="1924"/>
                </a:cubicBezTo>
                <a:cubicBezTo>
                  <a:pt x="-17" y="2020"/>
                  <a:pt x="0" y="2131"/>
                  <a:pt x="79" y="2195"/>
                </a:cubicBezTo>
                <a:cubicBezTo>
                  <a:pt x="159" y="2274"/>
                  <a:pt x="270" y="2290"/>
                  <a:pt x="365" y="2258"/>
                </a:cubicBezTo>
                <a:cubicBezTo>
                  <a:pt x="540" y="2195"/>
                  <a:pt x="747" y="2226"/>
                  <a:pt x="874" y="2369"/>
                </a:cubicBezTo>
                <a:cubicBezTo>
                  <a:pt x="922" y="2433"/>
                  <a:pt x="1018" y="2465"/>
                  <a:pt x="1097" y="2465"/>
                </a:cubicBezTo>
                <a:cubicBezTo>
                  <a:pt x="1192" y="2465"/>
                  <a:pt x="1272" y="2433"/>
                  <a:pt x="1336" y="2369"/>
                </a:cubicBezTo>
                <a:cubicBezTo>
                  <a:pt x="1399" y="2290"/>
                  <a:pt x="1510" y="2242"/>
                  <a:pt x="1638" y="2226"/>
                </a:cubicBezTo>
                <a:cubicBezTo>
                  <a:pt x="1797" y="2211"/>
                  <a:pt x="1924" y="2290"/>
                  <a:pt x="2036" y="2354"/>
                </a:cubicBezTo>
                <a:cubicBezTo>
                  <a:pt x="2067" y="2369"/>
                  <a:pt x="2099" y="2386"/>
                  <a:pt x="2131" y="2417"/>
                </a:cubicBezTo>
                <a:cubicBezTo>
                  <a:pt x="2194" y="2465"/>
                  <a:pt x="2258" y="2513"/>
                  <a:pt x="2354" y="2544"/>
                </a:cubicBezTo>
                <a:cubicBezTo>
                  <a:pt x="2354" y="2704"/>
                  <a:pt x="2354" y="2704"/>
                  <a:pt x="2354" y="2704"/>
                </a:cubicBezTo>
                <a:cubicBezTo>
                  <a:pt x="2354" y="3053"/>
                  <a:pt x="2354" y="3690"/>
                  <a:pt x="2354" y="3913"/>
                </a:cubicBezTo>
                <a:cubicBezTo>
                  <a:pt x="2354" y="4119"/>
                  <a:pt x="2417" y="4278"/>
                  <a:pt x="2528" y="4374"/>
                </a:cubicBezTo>
                <a:cubicBezTo>
                  <a:pt x="2608" y="4453"/>
                  <a:pt x="2719" y="4485"/>
                  <a:pt x="2831" y="4485"/>
                </a:cubicBezTo>
                <a:cubicBezTo>
                  <a:pt x="2926" y="4485"/>
                  <a:pt x="3037" y="4453"/>
                  <a:pt x="3117" y="4405"/>
                </a:cubicBezTo>
                <a:cubicBezTo>
                  <a:pt x="3228" y="4342"/>
                  <a:pt x="3308" y="4199"/>
                  <a:pt x="3340" y="4056"/>
                </a:cubicBezTo>
                <a:cubicBezTo>
                  <a:pt x="3340" y="4024"/>
                  <a:pt x="3340" y="3992"/>
                  <a:pt x="3340" y="3960"/>
                </a:cubicBezTo>
                <a:cubicBezTo>
                  <a:pt x="3340" y="3913"/>
                  <a:pt x="3308" y="3881"/>
                  <a:pt x="3260" y="3881"/>
                </a:cubicBezTo>
                <a:cubicBezTo>
                  <a:pt x="3228" y="3881"/>
                  <a:pt x="3181" y="3913"/>
                  <a:pt x="3181" y="3960"/>
                </a:cubicBezTo>
                <a:cubicBezTo>
                  <a:pt x="3181" y="3976"/>
                  <a:pt x="3181" y="4008"/>
                  <a:pt x="3181" y="4024"/>
                </a:cubicBezTo>
                <a:cubicBezTo>
                  <a:pt x="3165" y="4135"/>
                  <a:pt x="3101" y="4231"/>
                  <a:pt x="3022" y="4278"/>
                </a:cubicBezTo>
                <a:cubicBezTo>
                  <a:pt x="2910" y="4342"/>
                  <a:pt x="2736" y="4358"/>
                  <a:pt x="2624" y="4262"/>
                </a:cubicBezTo>
                <a:cubicBezTo>
                  <a:pt x="2528" y="4167"/>
                  <a:pt x="2513" y="4008"/>
                  <a:pt x="2513" y="3913"/>
                </a:cubicBezTo>
                <a:cubicBezTo>
                  <a:pt x="2513" y="3690"/>
                  <a:pt x="2513" y="3053"/>
                  <a:pt x="2513" y="2704"/>
                </a:cubicBezTo>
                <a:cubicBezTo>
                  <a:pt x="2513" y="2544"/>
                  <a:pt x="2513" y="2544"/>
                  <a:pt x="2513" y="2544"/>
                </a:cubicBezTo>
                <a:cubicBezTo>
                  <a:pt x="2592" y="2529"/>
                  <a:pt x="2656" y="2465"/>
                  <a:pt x="2703" y="2433"/>
                </a:cubicBezTo>
                <a:cubicBezTo>
                  <a:pt x="2736" y="2417"/>
                  <a:pt x="2751" y="2386"/>
                  <a:pt x="2767" y="2386"/>
                </a:cubicBezTo>
                <a:cubicBezTo>
                  <a:pt x="2894" y="2306"/>
                  <a:pt x="3037" y="2226"/>
                  <a:pt x="3165" y="2226"/>
                </a:cubicBezTo>
                <a:cubicBezTo>
                  <a:pt x="3308" y="2226"/>
                  <a:pt x="3451" y="2290"/>
                  <a:pt x="3531" y="2369"/>
                </a:cubicBezTo>
                <a:cubicBezTo>
                  <a:pt x="3594" y="2433"/>
                  <a:pt x="3674" y="2465"/>
                  <a:pt x="3769" y="2465"/>
                </a:cubicBezTo>
                <a:cubicBezTo>
                  <a:pt x="3849" y="2465"/>
                  <a:pt x="3928" y="2433"/>
                  <a:pt x="3992" y="2369"/>
                </a:cubicBezTo>
                <a:cubicBezTo>
                  <a:pt x="4119" y="2242"/>
                  <a:pt x="4326" y="2195"/>
                  <a:pt x="4485" y="2258"/>
                </a:cubicBezTo>
                <a:cubicBezTo>
                  <a:pt x="4596" y="2290"/>
                  <a:pt x="4708" y="2274"/>
                  <a:pt x="4771" y="2195"/>
                </a:cubicBezTo>
                <a:cubicBezTo>
                  <a:pt x="4851" y="2131"/>
                  <a:pt x="4882" y="2020"/>
                  <a:pt x="4835" y="1924"/>
                </a:cubicBezTo>
                <a:close/>
                <a:moveTo>
                  <a:pt x="4660" y="2083"/>
                </a:moveTo>
                <a:cubicBezTo>
                  <a:pt x="4644" y="2115"/>
                  <a:pt x="4596" y="2131"/>
                  <a:pt x="4549" y="2099"/>
                </a:cubicBezTo>
                <a:cubicBezTo>
                  <a:pt x="4310" y="2020"/>
                  <a:pt x="4040" y="2083"/>
                  <a:pt x="3881" y="2258"/>
                </a:cubicBezTo>
                <a:cubicBezTo>
                  <a:pt x="3849" y="2290"/>
                  <a:pt x="3801" y="2306"/>
                  <a:pt x="3769" y="2306"/>
                </a:cubicBezTo>
                <a:cubicBezTo>
                  <a:pt x="3721" y="2306"/>
                  <a:pt x="3674" y="2290"/>
                  <a:pt x="3642" y="2258"/>
                </a:cubicBezTo>
                <a:cubicBezTo>
                  <a:pt x="3531" y="2147"/>
                  <a:pt x="3355" y="2068"/>
                  <a:pt x="3165" y="2068"/>
                </a:cubicBezTo>
                <a:cubicBezTo>
                  <a:pt x="2990" y="2068"/>
                  <a:pt x="2831" y="2163"/>
                  <a:pt x="2688" y="2242"/>
                </a:cubicBezTo>
                <a:cubicBezTo>
                  <a:pt x="2656" y="2258"/>
                  <a:pt x="2640" y="2290"/>
                  <a:pt x="2608" y="2306"/>
                </a:cubicBezTo>
                <a:cubicBezTo>
                  <a:pt x="2545" y="2354"/>
                  <a:pt x="2481" y="2401"/>
                  <a:pt x="2417" y="2386"/>
                </a:cubicBezTo>
                <a:cubicBezTo>
                  <a:pt x="2354" y="2386"/>
                  <a:pt x="2290" y="2338"/>
                  <a:pt x="2227" y="2290"/>
                </a:cubicBezTo>
                <a:cubicBezTo>
                  <a:pt x="2179" y="2258"/>
                  <a:pt x="2147" y="2242"/>
                  <a:pt x="2115" y="2211"/>
                </a:cubicBezTo>
                <a:cubicBezTo>
                  <a:pt x="2004" y="2147"/>
                  <a:pt x="1861" y="2068"/>
                  <a:pt x="1686" y="2068"/>
                </a:cubicBezTo>
                <a:cubicBezTo>
                  <a:pt x="1670" y="2068"/>
                  <a:pt x="1654" y="2068"/>
                  <a:pt x="1622" y="2083"/>
                </a:cubicBezTo>
                <a:cubicBezTo>
                  <a:pt x="1447" y="2099"/>
                  <a:pt x="1320" y="2163"/>
                  <a:pt x="1209" y="2258"/>
                </a:cubicBezTo>
                <a:cubicBezTo>
                  <a:pt x="1192" y="2290"/>
                  <a:pt x="1145" y="2306"/>
                  <a:pt x="1097" y="2306"/>
                </a:cubicBezTo>
                <a:cubicBezTo>
                  <a:pt x="1049" y="2306"/>
                  <a:pt x="1018" y="2290"/>
                  <a:pt x="986" y="2258"/>
                </a:cubicBezTo>
                <a:cubicBezTo>
                  <a:pt x="811" y="2083"/>
                  <a:pt x="540" y="2020"/>
                  <a:pt x="302" y="2115"/>
                </a:cubicBezTo>
                <a:cubicBezTo>
                  <a:pt x="254" y="2131"/>
                  <a:pt x="206" y="2115"/>
                  <a:pt x="191" y="2083"/>
                </a:cubicBezTo>
                <a:cubicBezTo>
                  <a:pt x="174" y="2068"/>
                  <a:pt x="143" y="2036"/>
                  <a:pt x="159" y="1972"/>
                </a:cubicBezTo>
                <a:cubicBezTo>
                  <a:pt x="477" y="1129"/>
                  <a:pt x="1224" y="541"/>
                  <a:pt x="2131" y="413"/>
                </a:cubicBezTo>
                <a:cubicBezTo>
                  <a:pt x="2179" y="413"/>
                  <a:pt x="2258" y="413"/>
                  <a:pt x="2322" y="413"/>
                </a:cubicBezTo>
                <a:cubicBezTo>
                  <a:pt x="2513" y="413"/>
                  <a:pt x="2513" y="413"/>
                  <a:pt x="2513" y="413"/>
                </a:cubicBezTo>
                <a:cubicBezTo>
                  <a:pt x="2624" y="413"/>
                  <a:pt x="2719" y="413"/>
                  <a:pt x="2719" y="413"/>
                </a:cubicBezTo>
                <a:cubicBezTo>
                  <a:pt x="3610" y="524"/>
                  <a:pt x="4373" y="1129"/>
                  <a:pt x="4692" y="1972"/>
                </a:cubicBezTo>
                <a:cubicBezTo>
                  <a:pt x="4708" y="2036"/>
                  <a:pt x="4676" y="2068"/>
                  <a:pt x="4660" y="208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0" name="Freeform: Shape 17">
            <a:extLst>
              <a:ext uri="{FF2B5EF4-FFF2-40B4-BE49-F238E27FC236}">
                <a16:creationId xmlns:a16="http://schemas.microsoft.com/office/drawing/2014/main" id="{818AF33F-1336-5148-B610-AE9DE582B6C5}"/>
              </a:ext>
            </a:extLst>
          </p:cNvPr>
          <p:cNvSpPr/>
          <p:nvPr/>
        </p:nvSpPr>
        <p:spPr>
          <a:xfrm>
            <a:off x="10213959" y="2976074"/>
            <a:ext cx="1191240" cy="2083680"/>
          </a:xfrm>
          <a:custGeom>
            <a:avLst/>
            <a:gdLst/>
            <a:ahLst/>
            <a:cxnLst>
              <a:cxn ang="3cd4">
                <a:pos x="hc" y="t"/>
              </a:cxn>
              <a:cxn ang="cd2">
                <a:pos x="l" y="vc"/>
              </a:cxn>
              <a:cxn ang="cd4">
                <a:pos x="hc" y="b"/>
              </a:cxn>
              <a:cxn ang="0">
                <a:pos x="r" y="vc"/>
              </a:cxn>
            </a:cxnLst>
            <a:rect l="l" t="t" r="r" b="b"/>
            <a:pathLst>
              <a:path w="3310" h="5789">
                <a:moveTo>
                  <a:pt x="3310" y="842"/>
                </a:moveTo>
                <a:lnTo>
                  <a:pt x="3310" y="779"/>
                </a:lnTo>
                <a:lnTo>
                  <a:pt x="3055" y="63"/>
                </a:lnTo>
                <a:cubicBezTo>
                  <a:pt x="3039" y="31"/>
                  <a:pt x="3008" y="0"/>
                  <a:pt x="2976" y="0"/>
                </a:cubicBezTo>
                <a:lnTo>
                  <a:pt x="2658" y="0"/>
                </a:lnTo>
                <a:cubicBezTo>
                  <a:pt x="2626" y="0"/>
                  <a:pt x="2594" y="15"/>
                  <a:pt x="2578" y="47"/>
                </a:cubicBezTo>
                <a:lnTo>
                  <a:pt x="2339" y="779"/>
                </a:lnTo>
                <a:cubicBezTo>
                  <a:pt x="2324" y="795"/>
                  <a:pt x="2324" y="827"/>
                  <a:pt x="2339" y="842"/>
                </a:cubicBezTo>
                <a:lnTo>
                  <a:pt x="2562" y="1240"/>
                </a:lnTo>
                <a:lnTo>
                  <a:pt x="2562" y="2576"/>
                </a:lnTo>
                <a:cubicBezTo>
                  <a:pt x="2514" y="2640"/>
                  <a:pt x="2403" y="2751"/>
                  <a:pt x="2387" y="2831"/>
                </a:cubicBezTo>
                <a:cubicBezTo>
                  <a:pt x="2371" y="2863"/>
                  <a:pt x="2371" y="2958"/>
                  <a:pt x="2371" y="2990"/>
                </a:cubicBezTo>
                <a:lnTo>
                  <a:pt x="2355" y="4421"/>
                </a:lnTo>
                <a:cubicBezTo>
                  <a:pt x="2355" y="4437"/>
                  <a:pt x="2371" y="4453"/>
                  <a:pt x="2387" y="4469"/>
                </a:cubicBezTo>
                <a:cubicBezTo>
                  <a:pt x="2482" y="4580"/>
                  <a:pt x="2642" y="4644"/>
                  <a:pt x="2833" y="4644"/>
                </a:cubicBezTo>
                <a:lnTo>
                  <a:pt x="2848" y="4644"/>
                </a:lnTo>
                <a:cubicBezTo>
                  <a:pt x="3023" y="4644"/>
                  <a:pt x="3182" y="4580"/>
                  <a:pt x="3262" y="4469"/>
                </a:cubicBezTo>
                <a:cubicBezTo>
                  <a:pt x="3278" y="4453"/>
                  <a:pt x="3278" y="4437"/>
                  <a:pt x="3278" y="4421"/>
                </a:cubicBezTo>
                <a:lnTo>
                  <a:pt x="3278" y="2990"/>
                </a:lnTo>
                <a:cubicBezTo>
                  <a:pt x="3278" y="2958"/>
                  <a:pt x="3278" y="2878"/>
                  <a:pt x="3262" y="2831"/>
                </a:cubicBezTo>
                <a:cubicBezTo>
                  <a:pt x="3230" y="2767"/>
                  <a:pt x="3119" y="2656"/>
                  <a:pt x="3071" y="2592"/>
                </a:cubicBezTo>
                <a:lnTo>
                  <a:pt x="3071" y="1240"/>
                </a:lnTo>
                <a:close/>
                <a:moveTo>
                  <a:pt x="2928" y="2672"/>
                </a:moveTo>
                <a:cubicBezTo>
                  <a:pt x="3008" y="2751"/>
                  <a:pt x="3087" y="2863"/>
                  <a:pt x="3103" y="2894"/>
                </a:cubicBezTo>
                <a:cubicBezTo>
                  <a:pt x="3119" y="2910"/>
                  <a:pt x="3119" y="2958"/>
                  <a:pt x="3119" y="2990"/>
                </a:cubicBezTo>
                <a:lnTo>
                  <a:pt x="3119" y="4390"/>
                </a:lnTo>
                <a:cubicBezTo>
                  <a:pt x="3055" y="4453"/>
                  <a:pt x="2960" y="4485"/>
                  <a:pt x="2848" y="4485"/>
                </a:cubicBezTo>
                <a:cubicBezTo>
                  <a:pt x="2721" y="4501"/>
                  <a:pt x="2594" y="4453"/>
                  <a:pt x="2514" y="4390"/>
                </a:cubicBezTo>
                <a:lnTo>
                  <a:pt x="2530" y="2990"/>
                </a:lnTo>
                <a:lnTo>
                  <a:pt x="2530" y="2878"/>
                </a:lnTo>
                <a:cubicBezTo>
                  <a:pt x="2546" y="2847"/>
                  <a:pt x="2626" y="2751"/>
                  <a:pt x="2705" y="2672"/>
                </a:cubicBezTo>
                <a:cubicBezTo>
                  <a:pt x="2721" y="2656"/>
                  <a:pt x="2721" y="2640"/>
                  <a:pt x="2721" y="2608"/>
                </a:cubicBezTo>
                <a:lnTo>
                  <a:pt x="2721" y="1224"/>
                </a:lnTo>
                <a:lnTo>
                  <a:pt x="2721" y="1176"/>
                </a:lnTo>
                <a:lnTo>
                  <a:pt x="2499" y="795"/>
                </a:lnTo>
                <a:lnTo>
                  <a:pt x="2721" y="158"/>
                </a:lnTo>
                <a:lnTo>
                  <a:pt x="2928" y="158"/>
                </a:lnTo>
                <a:lnTo>
                  <a:pt x="3151" y="795"/>
                </a:lnTo>
                <a:lnTo>
                  <a:pt x="2928" y="1193"/>
                </a:lnTo>
                <a:cubicBezTo>
                  <a:pt x="2912" y="1193"/>
                  <a:pt x="2912" y="1208"/>
                  <a:pt x="2912" y="1224"/>
                </a:cubicBezTo>
                <a:lnTo>
                  <a:pt x="2912" y="2624"/>
                </a:lnTo>
                <a:cubicBezTo>
                  <a:pt x="2912" y="2640"/>
                  <a:pt x="2912" y="2656"/>
                  <a:pt x="2928" y="2672"/>
                </a:cubicBezTo>
                <a:close/>
                <a:moveTo>
                  <a:pt x="1673" y="1733"/>
                </a:moveTo>
                <a:cubicBezTo>
                  <a:pt x="1641" y="1399"/>
                  <a:pt x="1338" y="1081"/>
                  <a:pt x="1100" y="1049"/>
                </a:cubicBezTo>
                <a:cubicBezTo>
                  <a:pt x="1084" y="1049"/>
                  <a:pt x="1052" y="1049"/>
                  <a:pt x="1036" y="1081"/>
                </a:cubicBezTo>
                <a:cubicBezTo>
                  <a:pt x="1020" y="1097"/>
                  <a:pt x="1020" y="1113"/>
                  <a:pt x="1020" y="1145"/>
                </a:cubicBezTo>
                <a:lnTo>
                  <a:pt x="1100" y="1654"/>
                </a:lnTo>
                <a:cubicBezTo>
                  <a:pt x="1052" y="1702"/>
                  <a:pt x="973" y="1749"/>
                  <a:pt x="846" y="1845"/>
                </a:cubicBezTo>
                <a:lnTo>
                  <a:pt x="575" y="1765"/>
                </a:lnTo>
                <a:lnTo>
                  <a:pt x="495" y="1224"/>
                </a:lnTo>
                <a:cubicBezTo>
                  <a:pt x="495" y="1193"/>
                  <a:pt x="480" y="1161"/>
                  <a:pt x="447" y="1161"/>
                </a:cubicBezTo>
                <a:cubicBezTo>
                  <a:pt x="416" y="1145"/>
                  <a:pt x="384" y="1145"/>
                  <a:pt x="368" y="1161"/>
                </a:cubicBezTo>
                <a:cubicBezTo>
                  <a:pt x="352" y="1176"/>
                  <a:pt x="-29" y="1479"/>
                  <a:pt x="2" y="1892"/>
                </a:cubicBezTo>
                <a:cubicBezTo>
                  <a:pt x="34" y="2036"/>
                  <a:pt x="82" y="2163"/>
                  <a:pt x="193" y="2274"/>
                </a:cubicBezTo>
                <a:cubicBezTo>
                  <a:pt x="464" y="2529"/>
                  <a:pt x="495" y="2624"/>
                  <a:pt x="495" y="2926"/>
                </a:cubicBezTo>
                <a:cubicBezTo>
                  <a:pt x="511" y="3053"/>
                  <a:pt x="495" y="3292"/>
                  <a:pt x="480" y="3610"/>
                </a:cubicBezTo>
                <a:cubicBezTo>
                  <a:pt x="464" y="3881"/>
                  <a:pt x="464" y="4214"/>
                  <a:pt x="447" y="4612"/>
                </a:cubicBezTo>
                <a:cubicBezTo>
                  <a:pt x="400" y="4644"/>
                  <a:pt x="352" y="4692"/>
                  <a:pt x="320" y="4723"/>
                </a:cubicBezTo>
                <a:cubicBezTo>
                  <a:pt x="209" y="4866"/>
                  <a:pt x="146" y="5026"/>
                  <a:pt x="161" y="5201"/>
                </a:cubicBezTo>
                <a:cubicBezTo>
                  <a:pt x="177" y="5375"/>
                  <a:pt x="257" y="5535"/>
                  <a:pt x="400" y="5646"/>
                </a:cubicBezTo>
                <a:cubicBezTo>
                  <a:pt x="511" y="5741"/>
                  <a:pt x="655" y="5789"/>
                  <a:pt x="813" y="5789"/>
                </a:cubicBezTo>
                <a:lnTo>
                  <a:pt x="861" y="5789"/>
                </a:lnTo>
                <a:cubicBezTo>
                  <a:pt x="1036" y="5773"/>
                  <a:pt x="1195" y="5694"/>
                  <a:pt x="1307" y="5566"/>
                </a:cubicBezTo>
                <a:cubicBezTo>
                  <a:pt x="1529" y="5296"/>
                  <a:pt x="1498" y="4899"/>
                  <a:pt x="1243" y="4660"/>
                </a:cubicBezTo>
                <a:cubicBezTo>
                  <a:pt x="1243" y="4278"/>
                  <a:pt x="1227" y="3849"/>
                  <a:pt x="1211" y="3483"/>
                </a:cubicBezTo>
                <a:cubicBezTo>
                  <a:pt x="1195" y="3292"/>
                  <a:pt x="1195" y="3101"/>
                  <a:pt x="1195" y="2974"/>
                </a:cubicBezTo>
                <a:cubicBezTo>
                  <a:pt x="1195" y="2624"/>
                  <a:pt x="1322" y="2417"/>
                  <a:pt x="1465" y="2242"/>
                </a:cubicBezTo>
                <a:cubicBezTo>
                  <a:pt x="1625" y="2067"/>
                  <a:pt x="1688" y="1892"/>
                  <a:pt x="1673" y="1733"/>
                </a:cubicBezTo>
                <a:close/>
                <a:moveTo>
                  <a:pt x="1036" y="2974"/>
                </a:moveTo>
                <a:cubicBezTo>
                  <a:pt x="1036" y="3117"/>
                  <a:pt x="1052" y="3292"/>
                  <a:pt x="1052" y="3499"/>
                </a:cubicBezTo>
                <a:cubicBezTo>
                  <a:pt x="1068" y="3865"/>
                  <a:pt x="1084" y="4310"/>
                  <a:pt x="1084" y="4708"/>
                </a:cubicBezTo>
                <a:cubicBezTo>
                  <a:pt x="1084" y="4723"/>
                  <a:pt x="1100" y="4756"/>
                  <a:pt x="1116" y="4771"/>
                </a:cubicBezTo>
                <a:lnTo>
                  <a:pt x="1179" y="4708"/>
                </a:lnTo>
                <a:lnTo>
                  <a:pt x="1195" y="4708"/>
                </a:lnTo>
                <a:lnTo>
                  <a:pt x="1179" y="4708"/>
                </a:lnTo>
                <a:lnTo>
                  <a:pt x="1132" y="4771"/>
                </a:lnTo>
                <a:cubicBezTo>
                  <a:pt x="1338" y="4946"/>
                  <a:pt x="1354" y="5265"/>
                  <a:pt x="1179" y="5455"/>
                </a:cubicBezTo>
                <a:cubicBezTo>
                  <a:pt x="1100" y="5566"/>
                  <a:pt x="989" y="5630"/>
                  <a:pt x="846" y="5630"/>
                </a:cubicBezTo>
                <a:cubicBezTo>
                  <a:pt x="718" y="5646"/>
                  <a:pt x="591" y="5598"/>
                  <a:pt x="495" y="5519"/>
                </a:cubicBezTo>
                <a:cubicBezTo>
                  <a:pt x="400" y="5439"/>
                  <a:pt x="337" y="5312"/>
                  <a:pt x="320" y="5185"/>
                </a:cubicBezTo>
                <a:cubicBezTo>
                  <a:pt x="320" y="5057"/>
                  <a:pt x="352" y="4930"/>
                  <a:pt x="432" y="4835"/>
                </a:cubicBezTo>
                <a:cubicBezTo>
                  <a:pt x="480" y="4787"/>
                  <a:pt x="511" y="4756"/>
                  <a:pt x="559" y="4723"/>
                </a:cubicBezTo>
                <a:cubicBezTo>
                  <a:pt x="591" y="4708"/>
                  <a:pt x="607" y="4692"/>
                  <a:pt x="607" y="4660"/>
                </a:cubicBezTo>
                <a:cubicBezTo>
                  <a:pt x="607" y="4247"/>
                  <a:pt x="623" y="3896"/>
                  <a:pt x="638" y="3626"/>
                </a:cubicBezTo>
                <a:cubicBezTo>
                  <a:pt x="655" y="3276"/>
                  <a:pt x="670" y="3053"/>
                  <a:pt x="655" y="2926"/>
                </a:cubicBezTo>
                <a:cubicBezTo>
                  <a:pt x="655" y="2576"/>
                  <a:pt x="607" y="2433"/>
                  <a:pt x="304" y="2163"/>
                </a:cubicBezTo>
                <a:cubicBezTo>
                  <a:pt x="225" y="2083"/>
                  <a:pt x="177" y="1988"/>
                  <a:pt x="161" y="1860"/>
                </a:cubicBezTo>
                <a:cubicBezTo>
                  <a:pt x="146" y="1670"/>
                  <a:pt x="257" y="1494"/>
                  <a:pt x="352" y="1383"/>
                </a:cubicBezTo>
                <a:lnTo>
                  <a:pt x="416" y="1829"/>
                </a:lnTo>
                <a:cubicBezTo>
                  <a:pt x="432" y="1860"/>
                  <a:pt x="447" y="1892"/>
                  <a:pt x="480" y="1908"/>
                </a:cubicBezTo>
                <a:lnTo>
                  <a:pt x="846" y="2003"/>
                </a:lnTo>
                <a:cubicBezTo>
                  <a:pt x="861" y="2020"/>
                  <a:pt x="893" y="2020"/>
                  <a:pt x="909" y="2003"/>
                </a:cubicBezTo>
                <a:cubicBezTo>
                  <a:pt x="1015" y="1924"/>
                  <a:pt x="1211" y="1765"/>
                  <a:pt x="1227" y="1765"/>
                </a:cubicBezTo>
                <a:lnTo>
                  <a:pt x="1227" y="1749"/>
                </a:lnTo>
                <a:cubicBezTo>
                  <a:pt x="1259" y="1733"/>
                  <a:pt x="1259" y="1702"/>
                  <a:pt x="1259" y="1685"/>
                </a:cubicBezTo>
                <a:lnTo>
                  <a:pt x="1195" y="1256"/>
                </a:lnTo>
                <a:cubicBezTo>
                  <a:pt x="1338" y="1336"/>
                  <a:pt x="1498" y="1542"/>
                  <a:pt x="1513" y="1749"/>
                </a:cubicBezTo>
                <a:cubicBezTo>
                  <a:pt x="1529" y="1860"/>
                  <a:pt x="1465" y="1988"/>
                  <a:pt x="1338" y="2131"/>
                </a:cubicBezTo>
                <a:cubicBezTo>
                  <a:pt x="1195" y="2322"/>
                  <a:pt x="1020" y="2560"/>
                  <a:pt x="1036" y="2974"/>
                </a:cubicBezTo>
                <a:close/>
                <a:moveTo>
                  <a:pt x="637" y="5026"/>
                </a:moveTo>
                <a:lnTo>
                  <a:pt x="606" y="5232"/>
                </a:lnTo>
                <a:lnTo>
                  <a:pt x="765" y="5375"/>
                </a:lnTo>
                <a:lnTo>
                  <a:pt x="972" y="5296"/>
                </a:lnTo>
                <a:lnTo>
                  <a:pt x="1019" y="5089"/>
                </a:lnTo>
                <a:lnTo>
                  <a:pt x="845" y="494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1" name="Freeform: Shape 18">
            <a:extLst>
              <a:ext uri="{FF2B5EF4-FFF2-40B4-BE49-F238E27FC236}">
                <a16:creationId xmlns:a16="http://schemas.microsoft.com/office/drawing/2014/main" id="{4A3F7837-AEAF-2543-8FBA-AD02CAEEAD47}"/>
              </a:ext>
            </a:extLst>
          </p:cNvPr>
          <p:cNvSpPr/>
          <p:nvPr/>
        </p:nvSpPr>
        <p:spPr>
          <a:xfrm>
            <a:off x="21228955" y="3118449"/>
            <a:ext cx="1259639" cy="1545839"/>
          </a:xfrm>
          <a:custGeom>
            <a:avLst/>
            <a:gdLst/>
            <a:ahLst/>
            <a:cxnLst>
              <a:cxn ang="3cd4">
                <a:pos x="hc" y="t"/>
              </a:cxn>
              <a:cxn ang="cd2">
                <a:pos x="l" y="vc"/>
              </a:cxn>
              <a:cxn ang="cd4">
                <a:pos x="hc" y="b"/>
              </a:cxn>
              <a:cxn ang="0">
                <a:pos x="r" y="vc"/>
              </a:cxn>
            </a:cxnLst>
            <a:rect l="l" t="t" r="r" b="b"/>
            <a:pathLst>
              <a:path w="3500" h="4295">
                <a:moveTo>
                  <a:pt x="1273" y="4295"/>
                </a:moveTo>
                <a:cubicBezTo>
                  <a:pt x="3325" y="4295"/>
                  <a:pt x="3325" y="4295"/>
                  <a:pt x="3325" y="4295"/>
                </a:cubicBezTo>
                <a:cubicBezTo>
                  <a:pt x="3420" y="4295"/>
                  <a:pt x="3500" y="4215"/>
                  <a:pt x="3500" y="4119"/>
                </a:cubicBezTo>
                <a:cubicBezTo>
                  <a:pt x="3500" y="191"/>
                  <a:pt x="3500" y="191"/>
                  <a:pt x="3500" y="191"/>
                </a:cubicBezTo>
                <a:cubicBezTo>
                  <a:pt x="3500" y="80"/>
                  <a:pt x="3420" y="0"/>
                  <a:pt x="3325" y="0"/>
                </a:cubicBezTo>
                <a:cubicBezTo>
                  <a:pt x="1273" y="0"/>
                  <a:pt x="1273" y="0"/>
                  <a:pt x="1273" y="0"/>
                </a:cubicBezTo>
                <a:cubicBezTo>
                  <a:pt x="1161" y="0"/>
                  <a:pt x="1082" y="80"/>
                  <a:pt x="1082" y="191"/>
                </a:cubicBezTo>
                <a:cubicBezTo>
                  <a:pt x="1082" y="2227"/>
                  <a:pt x="1082" y="2227"/>
                  <a:pt x="1082" y="2227"/>
                </a:cubicBezTo>
                <a:cubicBezTo>
                  <a:pt x="80" y="2227"/>
                  <a:pt x="80" y="2227"/>
                  <a:pt x="80" y="2227"/>
                </a:cubicBezTo>
                <a:cubicBezTo>
                  <a:pt x="32" y="2227"/>
                  <a:pt x="0" y="2259"/>
                  <a:pt x="0" y="2306"/>
                </a:cubicBezTo>
                <a:cubicBezTo>
                  <a:pt x="0" y="2338"/>
                  <a:pt x="32" y="2386"/>
                  <a:pt x="80" y="2386"/>
                </a:cubicBezTo>
                <a:cubicBezTo>
                  <a:pt x="1082" y="2386"/>
                  <a:pt x="1082" y="2386"/>
                  <a:pt x="1082" y="2386"/>
                </a:cubicBezTo>
                <a:cubicBezTo>
                  <a:pt x="1082" y="4119"/>
                  <a:pt x="1082" y="4119"/>
                  <a:pt x="1082" y="4119"/>
                </a:cubicBezTo>
                <a:cubicBezTo>
                  <a:pt x="1082" y="4215"/>
                  <a:pt x="1161" y="4295"/>
                  <a:pt x="1273" y="4295"/>
                </a:cubicBezTo>
                <a:close/>
                <a:moveTo>
                  <a:pt x="3341" y="191"/>
                </a:moveTo>
                <a:cubicBezTo>
                  <a:pt x="3341" y="4119"/>
                  <a:pt x="3341" y="4119"/>
                  <a:pt x="3341" y="4119"/>
                </a:cubicBezTo>
                <a:cubicBezTo>
                  <a:pt x="3341" y="4136"/>
                  <a:pt x="3325" y="4136"/>
                  <a:pt x="3325" y="4136"/>
                </a:cubicBezTo>
                <a:cubicBezTo>
                  <a:pt x="1273" y="4136"/>
                  <a:pt x="1273" y="4136"/>
                  <a:pt x="1273" y="4136"/>
                </a:cubicBezTo>
                <a:cubicBezTo>
                  <a:pt x="1257" y="4136"/>
                  <a:pt x="1257" y="4136"/>
                  <a:pt x="1257" y="4136"/>
                </a:cubicBezTo>
                <a:cubicBezTo>
                  <a:pt x="2895" y="3627"/>
                  <a:pt x="2895" y="3627"/>
                  <a:pt x="2895" y="3627"/>
                </a:cubicBezTo>
                <a:cubicBezTo>
                  <a:pt x="2975" y="3595"/>
                  <a:pt x="3023" y="3531"/>
                  <a:pt x="3023" y="3452"/>
                </a:cubicBezTo>
                <a:cubicBezTo>
                  <a:pt x="3023" y="159"/>
                  <a:pt x="3023" y="159"/>
                  <a:pt x="3023" y="159"/>
                </a:cubicBezTo>
                <a:cubicBezTo>
                  <a:pt x="3325" y="159"/>
                  <a:pt x="3325" y="159"/>
                  <a:pt x="3325" y="159"/>
                </a:cubicBezTo>
                <a:cubicBezTo>
                  <a:pt x="3325" y="159"/>
                  <a:pt x="3341" y="175"/>
                  <a:pt x="3341" y="191"/>
                </a:cubicBezTo>
                <a:close/>
                <a:moveTo>
                  <a:pt x="1241" y="191"/>
                </a:moveTo>
                <a:cubicBezTo>
                  <a:pt x="1241" y="175"/>
                  <a:pt x="1257" y="159"/>
                  <a:pt x="1273" y="159"/>
                </a:cubicBezTo>
                <a:cubicBezTo>
                  <a:pt x="2863" y="159"/>
                  <a:pt x="2863" y="159"/>
                  <a:pt x="2863" y="159"/>
                </a:cubicBezTo>
                <a:cubicBezTo>
                  <a:pt x="2863" y="3452"/>
                  <a:pt x="2863" y="3452"/>
                  <a:pt x="2863" y="3452"/>
                </a:cubicBezTo>
                <a:cubicBezTo>
                  <a:pt x="2863" y="3467"/>
                  <a:pt x="2863" y="3467"/>
                  <a:pt x="2848" y="3467"/>
                </a:cubicBezTo>
                <a:cubicBezTo>
                  <a:pt x="1241" y="3976"/>
                  <a:pt x="1241" y="3976"/>
                  <a:pt x="1241" y="3976"/>
                </a:cubicBezTo>
                <a:cubicBezTo>
                  <a:pt x="1241" y="2386"/>
                  <a:pt x="1241" y="2386"/>
                  <a:pt x="1241" y="2386"/>
                </a:cubicBezTo>
                <a:cubicBezTo>
                  <a:pt x="2100" y="2386"/>
                  <a:pt x="2100" y="2386"/>
                  <a:pt x="2100" y="2386"/>
                </a:cubicBezTo>
                <a:cubicBezTo>
                  <a:pt x="1782" y="2704"/>
                  <a:pt x="1782" y="2704"/>
                  <a:pt x="1782" y="2704"/>
                </a:cubicBezTo>
                <a:cubicBezTo>
                  <a:pt x="1750" y="2736"/>
                  <a:pt x="1750" y="2783"/>
                  <a:pt x="1782" y="2815"/>
                </a:cubicBezTo>
                <a:cubicBezTo>
                  <a:pt x="1798" y="2831"/>
                  <a:pt x="1814" y="2831"/>
                  <a:pt x="1830" y="2831"/>
                </a:cubicBezTo>
                <a:cubicBezTo>
                  <a:pt x="1861" y="2831"/>
                  <a:pt x="1877" y="2831"/>
                  <a:pt x="1893" y="2815"/>
                </a:cubicBezTo>
                <a:cubicBezTo>
                  <a:pt x="2354" y="2354"/>
                  <a:pt x="2354" y="2354"/>
                  <a:pt x="2354" y="2354"/>
                </a:cubicBezTo>
                <a:lnTo>
                  <a:pt x="2354" y="2338"/>
                </a:lnTo>
                <a:cubicBezTo>
                  <a:pt x="2370" y="2338"/>
                  <a:pt x="2370" y="2338"/>
                  <a:pt x="2370" y="2322"/>
                </a:cubicBezTo>
                <a:lnTo>
                  <a:pt x="2370" y="2306"/>
                </a:lnTo>
                <a:cubicBezTo>
                  <a:pt x="2370" y="2291"/>
                  <a:pt x="2370" y="2291"/>
                  <a:pt x="2370" y="2291"/>
                </a:cubicBezTo>
                <a:cubicBezTo>
                  <a:pt x="2370" y="2274"/>
                  <a:pt x="2370" y="2274"/>
                  <a:pt x="2370" y="2274"/>
                </a:cubicBezTo>
                <a:cubicBezTo>
                  <a:pt x="2370" y="2259"/>
                  <a:pt x="2370" y="2259"/>
                  <a:pt x="2354" y="2259"/>
                </a:cubicBezTo>
                <a:cubicBezTo>
                  <a:pt x="2354" y="2243"/>
                  <a:pt x="2354" y="2243"/>
                  <a:pt x="2354" y="2243"/>
                </a:cubicBezTo>
                <a:cubicBezTo>
                  <a:pt x="1893" y="1782"/>
                  <a:pt x="1893" y="1782"/>
                  <a:pt x="1893" y="1782"/>
                </a:cubicBezTo>
                <a:cubicBezTo>
                  <a:pt x="1861" y="1750"/>
                  <a:pt x="1814" y="1750"/>
                  <a:pt x="1782" y="1782"/>
                </a:cubicBezTo>
                <a:cubicBezTo>
                  <a:pt x="1750" y="1813"/>
                  <a:pt x="1750" y="1861"/>
                  <a:pt x="1782" y="1893"/>
                </a:cubicBezTo>
                <a:cubicBezTo>
                  <a:pt x="2100" y="2227"/>
                  <a:pt x="2100" y="2227"/>
                  <a:pt x="2100" y="2227"/>
                </a:cubicBezTo>
                <a:cubicBezTo>
                  <a:pt x="1241" y="2227"/>
                  <a:pt x="1241" y="2227"/>
                  <a:pt x="1241" y="222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40058566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Symbols - 2</a:t>
            </a:r>
          </a:p>
        </p:txBody>
      </p:sp>
      <p:sp>
        <p:nvSpPr>
          <p:cNvPr id="39" name="TextBox 38">
            <a:extLst>
              <a:ext uri="{FF2B5EF4-FFF2-40B4-BE49-F238E27FC236}">
                <a16:creationId xmlns:a16="http://schemas.microsoft.com/office/drawing/2014/main" id="{B47CA28D-722B-5F4B-BC9A-B2B9A101B346}"/>
              </a:ext>
            </a:extLst>
          </p:cNvPr>
          <p:cNvSpPr txBox="1"/>
          <p:nvPr/>
        </p:nvSpPr>
        <p:spPr>
          <a:xfrm>
            <a:off x="-47946" y="11657695"/>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rrow Down 1</a:t>
            </a:r>
          </a:p>
        </p:txBody>
      </p:sp>
      <p:sp>
        <p:nvSpPr>
          <p:cNvPr id="43" name="TextBox 42">
            <a:extLst>
              <a:ext uri="{FF2B5EF4-FFF2-40B4-BE49-F238E27FC236}">
                <a16:creationId xmlns:a16="http://schemas.microsoft.com/office/drawing/2014/main" id="{08DCB9B9-F192-7445-ADC2-3FECF3423479}"/>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raph</a:t>
            </a:r>
          </a:p>
        </p:txBody>
      </p:sp>
      <p:sp>
        <p:nvSpPr>
          <p:cNvPr id="44" name="TextBox 43">
            <a:extLst>
              <a:ext uri="{FF2B5EF4-FFF2-40B4-BE49-F238E27FC236}">
                <a16:creationId xmlns:a16="http://schemas.microsoft.com/office/drawing/2014/main" id="{38C43A19-8035-6D45-8622-9EBEFB8FB97B}"/>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iagonal 1</a:t>
            </a:r>
          </a:p>
        </p:txBody>
      </p:sp>
      <p:sp>
        <p:nvSpPr>
          <p:cNvPr id="45" name="TextBox 44">
            <a:extLst>
              <a:ext uri="{FF2B5EF4-FFF2-40B4-BE49-F238E27FC236}">
                <a16:creationId xmlns:a16="http://schemas.microsoft.com/office/drawing/2014/main" id="{E95A6017-4004-8B44-9C4D-FDAE681A1C00}"/>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iagonal 2</a:t>
            </a:r>
          </a:p>
        </p:txBody>
      </p:sp>
      <p:sp>
        <p:nvSpPr>
          <p:cNvPr id="46" name="TextBox 45">
            <a:extLst>
              <a:ext uri="{FF2B5EF4-FFF2-40B4-BE49-F238E27FC236}">
                <a16:creationId xmlns:a16="http://schemas.microsoft.com/office/drawing/2014/main" id="{37F29A6B-4D07-2548-AEE2-4DCDE492C7A9}"/>
              </a:ext>
            </a:extLst>
          </p:cNvPr>
          <p:cNvSpPr txBox="1"/>
          <p:nvPr/>
        </p:nvSpPr>
        <p:spPr>
          <a:xfrm>
            <a:off x="12867894"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iagonal 3</a:t>
            </a:r>
          </a:p>
        </p:txBody>
      </p:sp>
      <p:sp>
        <p:nvSpPr>
          <p:cNvPr id="47" name="TextBox 46">
            <a:extLst>
              <a:ext uri="{FF2B5EF4-FFF2-40B4-BE49-F238E27FC236}">
                <a16:creationId xmlns:a16="http://schemas.microsoft.com/office/drawing/2014/main" id="{8F74F7AC-802E-E743-82F0-239625C93C80}"/>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rrow Left 2</a:t>
            </a:r>
          </a:p>
        </p:txBody>
      </p:sp>
      <p:sp>
        <p:nvSpPr>
          <p:cNvPr id="48" name="TextBox 47">
            <a:extLst>
              <a:ext uri="{FF2B5EF4-FFF2-40B4-BE49-F238E27FC236}">
                <a16:creationId xmlns:a16="http://schemas.microsoft.com/office/drawing/2014/main" id="{200520EB-D8AF-7345-8273-C7052DDB9311}"/>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rrow Right 2</a:t>
            </a:r>
          </a:p>
        </p:txBody>
      </p:sp>
      <p:sp>
        <p:nvSpPr>
          <p:cNvPr id="49" name="TextBox 48">
            <a:extLst>
              <a:ext uri="{FF2B5EF4-FFF2-40B4-BE49-F238E27FC236}">
                <a16:creationId xmlns:a16="http://schemas.microsoft.com/office/drawing/2014/main" id="{3A03406F-7890-B444-B9AA-56CBA8F4B361}"/>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rrow Up 2</a:t>
            </a:r>
          </a:p>
        </p:txBody>
      </p:sp>
      <p:sp>
        <p:nvSpPr>
          <p:cNvPr id="50" name="TextBox 49">
            <a:extLst>
              <a:ext uri="{FF2B5EF4-FFF2-40B4-BE49-F238E27FC236}">
                <a16:creationId xmlns:a16="http://schemas.microsoft.com/office/drawing/2014/main" id="{A5EBD911-88A9-524C-B143-D3427447D9DE}"/>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rrow Down 2</a:t>
            </a:r>
          </a:p>
        </p:txBody>
      </p:sp>
      <p:sp>
        <p:nvSpPr>
          <p:cNvPr id="51" name="TextBox 50">
            <a:extLst>
              <a:ext uri="{FF2B5EF4-FFF2-40B4-BE49-F238E27FC236}">
                <a16:creationId xmlns:a16="http://schemas.microsoft.com/office/drawing/2014/main" id="{EF3CCEBA-67F3-E848-BD05-1F633E0ACD87}"/>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irectory</a:t>
            </a:r>
          </a:p>
        </p:txBody>
      </p:sp>
      <p:sp>
        <p:nvSpPr>
          <p:cNvPr id="52" name="TextBox 51">
            <a:extLst>
              <a:ext uri="{FF2B5EF4-FFF2-40B4-BE49-F238E27FC236}">
                <a16:creationId xmlns:a16="http://schemas.microsoft.com/office/drawing/2014/main" id="{466FEC6E-B3CE-874D-AD12-89ED92EB5BD1}"/>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and</a:t>
            </a:r>
          </a:p>
        </p:txBody>
      </p:sp>
      <p:sp>
        <p:nvSpPr>
          <p:cNvPr id="53" name="TextBox 52">
            <a:extLst>
              <a:ext uri="{FF2B5EF4-FFF2-40B4-BE49-F238E27FC236}">
                <a16:creationId xmlns:a16="http://schemas.microsoft.com/office/drawing/2014/main" id="{11B517D6-4EE0-834B-BB33-6DCEE10C8638}"/>
              </a:ext>
            </a:extLst>
          </p:cNvPr>
          <p:cNvSpPr txBox="1"/>
          <p:nvPr/>
        </p:nvSpPr>
        <p:spPr>
          <a:xfrm>
            <a:off x="-47946" y="11657695"/>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ink</a:t>
            </a:r>
          </a:p>
        </p:txBody>
      </p:sp>
      <p:sp>
        <p:nvSpPr>
          <p:cNvPr id="54" name="TextBox 53">
            <a:extLst>
              <a:ext uri="{FF2B5EF4-FFF2-40B4-BE49-F238E27FC236}">
                <a16:creationId xmlns:a16="http://schemas.microsoft.com/office/drawing/2014/main" id="{FA462A3E-009D-AD4A-B6E0-A823AD466FB0}"/>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humb Up</a:t>
            </a:r>
          </a:p>
        </p:txBody>
      </p:sp>
      <p:sp>
        <p:nvSpPr>
          <p:cNvPr id="55" name="TextBox 54">
            <a:extLst>
              <a:ext uri="{FF2B5EF4-FFF2-40B4-BE49-F238E27FC236}">
                <a16:creationId xmlns:a16="http://schemas.microsoft.com/office/drawing/2014/main" id="{BC3ED5D7-61BD-0645-BAF9-CD939A551F3A}"/>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humb Down</a:t>
            </a:r>
          </a:p>
        </p:txBody>
      </p:sp>
      <p:sp>
        <p:nvSpPr>
          <p:cNvPr id="56" name="TextBox 55">
            <a:extLst>
              <a:ext uri="{FF2B5EF4-FFF2-40B4-BE49-F238E27FC236}">
                <a16:creationId xmlns:a16="http://schemas.microsoft.com/office/drawing/2014/main" id="{690F3549-71BD-0146-A7E4-1E9A607A93A8}"/>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pple</a:t>
            </a:r>
          </a:p>
        </p:txBody>
      </p:sp>
      <p:sp>
        <p:nvSpPr>
          <p:cNvPr id="57" name="Freeform: Shape 26">
            <a:extLst>
              <a:ext uri="{FF2B5EF4-FFF2-40B4-BE49-F238E27FC236}">
                <a16:creationId xmlns:a16="http://schemas.microsoft.com/office/drawing/2014/main" id="{0289E391-35CF-BF4B-9B18-E09446505339}"/>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8" name="TextBox 57">
            <a:extLst>
              <a:ext uri="{FF2B5EF4-FFF2-40B4-BE49-F238E27FC236}">
                <a16:creationId xmlns:a16="http://schemas.microsoft.com/office/drawing/2014/main" id="{3BBEBC48-5210-7D4B-840C-6F27F4368524}"/>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iagonal 4</a:t>
            </a:r>
          </a:p>
        </p:txBody>
      </p:sp>
      <p:sp>
        <p:nvSpPr>
          <p:cNvPr id="59" name="TextBox 58">
            <a:extLst>
              <a:ext uri="{FF2B5EF4-FFF2-40B4-BE49-F238E27FC236}">
                <a16:creationId xmlns:a16="http://schemas.microsoft.com/office/drawing/2014/main" id="{79797E6B-6EBC-684C-97C6-E0CA1CF19916}"/>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ecrease</a:t>
            </a:r>
          </a:p>
        </p:txBody>
      </p:sp>
      <p:sp>
        <p:nvSpPr>
          <p:cNvPr id="60" name="TextBox 59">
            <a:extLst>
              <a:ext uri="{FF2B5EF4-FFF2-40B4-BE49-F238E27FC236}">
                <a16:creationId xmlns:a16="http://schemas.microsoft.com/office/drawing/2014/main" id="{26D28CC0-904A-3E4C-9B0A-4C2D36B31CD5}"/>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indows</a:t>
            </a:r>
          </a:p>
        </p:txBody>
      </p:sp>
      <p:sp>
        <p:nvSpPr>
          <p:cNvPr id="61" name="Freeform: Shape 13">
            <a:extLst>
              <a:ext uri="{FF2B5EF4-FFF2-40B4-BE49-F238E27FC236}">
                <a16:creationId xmlns:a16="http://schemas.microsoft.com/office/drawing/2014/main" id="{4CC9B17E-EBE8-8047-ABE1-54A3CC9A8E80}"/>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1">
            <a:extLst>
              <a:ext uri="{FF2B5EF4-FFF2-40B4-BE49-F238E27FC236}">
                <a16:creationId xmlns:a16="http://schemas.microsoft.com/office/drawing/2014/main" id="{67CB55CC-26DA-9B4E-A2F5-C4E0B895380D}"/>
              </a:ext>
            </a:extLst>
          </p:cNvPr>
          <p:cNvSpPr/>
          <p:nvPr/>
        </p:nvSpPr>
        <p:spPr>
          <a:xfrm>
            <a:off x="17464155" y="6616903"/>
            <a:ext cx="1499759" cy="1546200"/>
          </a:xfrm>
          <a:custGeom>
            <a:avLst/>
            <a:gdLst/>
            <a:ahLst/>
            <a:cxnLst>
              <a:cxn ang="3cd4">
                <a:pos x="hc" y="t"/>
              </a:cxn>
              <a:cxn ang="cd2">
                <a:pos x="l" y="vc"/>
              </a:cxn>
              <a:cxn ang="cd4">
                <a:pos x="hc" y="b"/>
              </a:cxn>
              <a:cxn ang="0">
                <a:pos x="r" y="vc"/>
              </a:cxn>
            </a:cxnLst>
            <a:rect l="l" t="t" r="r" b="b"/>
            <a:pathLst>
              <a:path w="4167" h="4296">
                <a:moveTo>
                  <a:pt x="4167" y="4217"/>
                </a:moveTo>
                <a:lnTo>
                  <a:pt x="4167" y="2992"/>
                </a:lnTo>
                <a:cubicBezTo>
                  <a:pt x="4167" y="2960"/>
                  <a:pt x="4119" y="2912"/>
                  <a:pt x="4087" y="2912"/>
                </a:cubicBezTo>
                <a:lnTo>
                  <a:pt x="3165" y="2912"/>
                </a:lnTo>
                <a:lnTo>
                  <a:pt x="3165" y="2324"/>
                </a:lnTo>
                <a:cubicBezTo>
                  <a:pt x="3165" y="2292"/>
                  <a:pt x="3133" y="2245"/>
                  <a:pt x="3085" y="2245"/>
                </a:cubicBezTo>
                <a:lnTo>
                  <a:pt x="2163" y="2245"/>
                </a:lnTo>
                <a:lnTo>
                  <a:pt x="2163" y="1624"/>
                </a:lnTo>
                <a:cubicBezTo>
                  <a:pt x="2163" y="1576"/>
                  <a:pt x="2131" y="1545"/>
                  <a:pt x="2084" y="1545"/>
                </a:cubicBezTo>
                <a:lnTo>
                  <a:pt x="1161" y="1545"/>
                </a:lnTo>
                <a:lnTo>
                  <a:pt x="1161" y="924"/>
                </a:lnTo>
                <a:cubicBezTo>
                  <a:pt x="1161" y="892"/>
                  <a:pt x="1129" y="845"/>
                  <a:pt x="1081" y="845"/>
                </a:cubicBezTo>
                <a:lnTo>
                  <a:pt x="79" y="845"/>
                </a:lnTo>
                <a:cubicBezTo>
                  <a:pt x="31" y="845"/>
                  <a:pt x="0" y="892"/>
                  <a:pt x="0" y="924"/>
                </a:cubicBezTo>
                <a:lnTo>
                  <a:pt x="0" y="4217"/>
                </a:lnTo>
                <a:cubicBezTo>
                  <a:pt x="0" y="4264"/>
                  <a:pt x="31" y="4296"/>
                  <a:pt x="79" y="4296"/>
                </a:cubicBezTo>
                <a:lnTo>
                  <a:pt x="1081" y="4296"/>
                </a:lnTo>
                <a:lnTo>
                  <a:pt x="2084" y="4296"/>
                </a:lnTo>
                <a:lnTo>
                  <a:pt x="3085" y="4296"/>
                </a:lnTo>
                <a:lnTo>
                  <a:pt x="4087" y="4296"/>
                </a:lnTo>
                <a:cubicBezTo>
                  <a:pt x="4119" y="4296"/>
                  <a:pt x="4167" y="4264"/>
                  <a:pt x="4167" y="4217"/>
                </a:cubicBezTo>
                <a:close/>
                <a:moveTo>
                  <a:pt x="1002" y="4137"/>
                </a:moveTo>
                <a:lnTo>
                  <a:pt x="159" y="4137"/>
                </a:lnTo>
                <a:lnTo>
                  <a:pt x="159" y="1004"/>
                </a:lnTo>
                <a:lnTo>
                  <a:pt x="1002" y="1004"/>
                </a:lnTo>
                <a:close/>
                <a:moveTo>
                  <a:pt x="1161" y="1704"/>
                </a:moveTo>
                <a:lnTo>
                  <a:pt x="2004" y="1704"/>
                </a:lnTo>
                <a:lnTo>
                  <a:pt x="2004" y="2324"/>
                </a:lnTo>
                <a:lnTo>
                  <a:pt x="2004" y="4137"/>
                </a:lnTo>
                <a:lnTo>
                  <a:pt x="1161" y="4137"/>
                </a:lnTo>
                <a:close/>
                <a:moveTo>
                  <a:pt x="2163" y="2403"/>
                </a:moveTo>
                <a:lnTo>
                  <a:pt x="3006" y="2403"/>
                </a:lnTo>
                <a:lnTo>
                  <a:pt x="3006" y="2992"/>
                </a:lnTo>
                <a:lnTo>
                  <a:pt x="3006" y="4137"/>
                </a:lnTo>
                <a:lnTo>
                  <a:pt x="2163" y="4137"/>
                </a:lnTo>
                <a:close/>
                <a:moveTo>
                  <a:pt x="4008" y="4137"/>
                </a:moveTo>
                <a:lnTo>
                  <a:pt x="3165" y="4137"/>
                </a:lnTo>
                <a:lnTo>
                  <a:pt x="3165" y="3072"/>
                </a:lnTo>
                <a:lnTo>
                  <a:pt x="4008" y="3072"/>
                </a:lnTo>
                <a:close/>
                <a:moveTo>
                  <a:pt x="2545" y="351"/>
                </a:moveTo>
                <a:lnTo>
                  <a:pt x="1861" y="828"/>
                </a:lnTo>
                <a:lnTo>
                  <a:pt x="588" y="17"/>
                </a:lnTo>
                <a:cubicBezTo>
                  <a:pt x="557" y="-15"/>
                  <a:pt x="509" y="1"/>
                  <a:pt x="477" y="33"/>
                </a:cubicBezTo>
                <a:cubicBezTo>
                  <a:pt x="461" y="80"/>
                  <a:pt x="477" y="128"/>
                  <a:pt x="509" y="144"/>
                </a:cubicBezTo>
                <a:lnTo>
                  <a:pt x="1813" y="1003"/>
                </a:lnTo>
                <a:cubicBezTo>
                  <a:pt x="1845" y="1018"/>
                  <a:pt x="1876" y="1018"/>
                  <a:pt x="1908" y="1003"/>
                </a:cubicBezTo>
                <a:lnTo>
                  <a:pt x="2576" y="526"/>
                </a:lnTo>
                <a:lnTo>
                  <a:pt x="3785" y="1480"/>
                </a:lnTo>
                <a:lnTo>
                  <a:pt x="3420" y="1480"/>
                </a:lnTo>
                <a:cubicBezTo>
                  <a:pt x="3388" y="1480"/>
                  <a:pt x="3340" y="1512"/>
                  <a:pt x="3340" y="1560"/>
                </a:cubicBezTo>
                <a:cubicBezTo>
                  <a:pt x="3340" y="1607"/>
                  <a:pt x="3388" y="1639"/>
                  <a:pt x="3420" y="1639"/>
                </a:cubicBezTo>
                <a:lnTo>
                  <a:pt x="3992" y="1639"/>
                </a:lnTo>
                <a:cubicBezTo>
                  <a:pt x="4024" y="1639"/>
                  <a:pt x="4040" y="1623"/>
                  <a:pt x="4056" y="1607"/>
                </a:cubicBezTo>
                <a:cubicBezTo>
                  <a:pt x="4072" y="1591"/>
                  <a:pt x="4087" y="1575"/>
                  <a:pt x="4072" y="1544"/>
                </a:cubicBezTo>
                <a:lnTo>
                  <a:pt x="3992" y="1003"/>
                </a:lnTo>
                <a:cubicBezTo>
                  <a:pt x="3992" y="955"/>
                  <a:pt x="3960" y="923"/>
                  <a:pt x="3912" y="923"/>
                </a:cubicBezTo>
                <a:cubicBezTo>
                  <a:pt x="3865" y="939"/>
                  <a:pt x="3833" y="971"/>
                  <a:pt x="3849" y="1018"/>
                </a:cubicBezTo>
                <a:lnTo>
                  <a:pt x="3897" y="1353"/>
                </a:lnTo>
                <a:lnTo>
                  <a:pt x="2640" y="366"/>
                </a:lnTo>
                <a:cubicBezTo>
                  <a:pt x="2608" y="335"/>
                  <a:pt x="2560" y="335"/>
                  <a:pt x="2545" y="35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3" name="Freeform: Shape 2">
            <a:extLst>
              <a:ext uri="{FF2B5EF4-FFF2-40B4-BE49-F238E27FC236}">
                <a16:creationId xmlns:a16="http://schemas.microsoft.com/office/drawing/2014/main" id="{31E9911E-0C29-0F46-94B0-27654A862068}"/>
              </a:ext>
            </a:extLst>
          </p:cNvPr>
          <p:cNvSpPr/>
          <p:nvPr/>
        </p:nvSpPr>
        <p:spPr>
          <a:xfrm>
            <a:off x="1898177" y="3716121"/>
            <a:ext cx="1493999" cy="1242000"/>
          </a:xfrm>
          <a:custGeom>
            <a:avLst/>
            <a:gdLst/>
            <a:ahLst/>
            <a:cxnLst>
              <a:cxn ang="3cd4">
                <a:pos x="hc" y="t"/>
              </a:cxn>
              <a:cxn ang="cd2">
                <a:pos x="l" y="vc"/>
              </a:cxn>
              <a:cxn ang="cd4">
                <a:pos x="hc" y="b"/>
              </a:cxn>
              <a:cxn ang="0">
                <a:pos x="r" y="vc"/>
              </a:cxn>
            </a:cxnLst>
            <a:rect l="l" t="t" r="r" b="b"/>
            <a:pathLst>
              <a:path w="4151" h="3451">
                <a:moveTo>
                  <a:pt x="2068" y="842"/>
                </a:moveTo>
                <a:cubicBezTo>
                  <a:pt x="1066" y="842"/>
                  <a:pt x="1066" y="842"/>
                  <a:pt x="1066" y="842"/>
                </a:cubicBezTo>
                <a:cubicBezTo>
                  <a:pt x="1034" y="842"/>
                  <a:pt x="986" y="874"/>
                  <a:pt x="986" y="922"/>
                </a:cubicBezTo>
                <a:cubicBezTo>
                  <a:pt x="986" y="2067"/>
                  <a:pt x="986" y="2067"/>
                  <a:pt x="986" y="2067"/>
                </a:cubicBezTo>
                <a:cubicBezTo>
                  <a:pt x="79" y="2067"/>
                  <a:pt x="79" y="2067"/>
                  <a:pt x="79" y="2067"/>
                </a:cubicBezTo>
                <a:cubicBezTo>
                  <a:pt x="32" y="2067"/>
                  <a:pt x="0" y="2099"/>
                  <a:pt x="0" y="2147"/>
                </a:cubicBezTo>
                <a:cubicBezTo>
                  <a:pt x="0" y="3372"/>
                  <a:pt x="0" y="3372"/>
                  <a:pt x="0" y="3372"/>
                </a:cubicBezTo>
                <a:cubicBezTo>
                  <a:pt x="0" y="3403"/>
                  <a:pt x="32" y="3451"/>
                  <a:pt x="79" y="3451"/>
                </a:cubicBezTo>
                <a:cubicBezTo>
                  <a:pt x="1066" y="3451"/>
                  <a:pt x="1066" y="3451"/>
                  <a:pt x="1066" y="3451"/>
                </a:cubicBezTo>
                <a:cubicBezTo>
                  <a:pt x="2068" y="3451"/>
                  <a:pt x="2068" y="3451"/>
                  <a:pt x="2068" y="3451"/>
                </a:cubicBezTo>
                <a:cubicBezTo>
                  <a:pt x="3069" y="3451"/>
                  <a:pt x="3069" y="3451"/>
                  <a:pt x="3069" y="3451"/>
                </a:cubicBezTo>
                <a:cubicBezTo>
                  <a:pt x="4072" y="3451"/>
                  <a:pt x="4072" y="3451"/>
                  <a:pt x="4072" y="3451"/>
                </a:cubicBezTo>
                <a:cubicBezTo>
                  <a:pt x="4119" y="3451"/>
                  <a:pt x="4151" y="3403"/>
                  <a:pt x="4151" y="3372"/>
                </a:cubicBezTo>
                <a:cubicBezTo>
                  <a:pt x="4151" y="79"/>
                  <a:pt x="4151" y="79"/>
                  <a:pt x="4151" y="79"/>
                </a:cubicBezTo>
                <a:cubicBezTo>
                  <a:pt x="4151" y="31"/>
                  <a:pt x="4119" y="0"/>
                  <a:pt x="4072" y="0"/>
                </a:cubicBezTo>
                <a:cubicBezTo>
                  <a:pt x="3069" y="0"/>
                  <a:pt x="3069" y="0"/>
                  <a:pt x="3069" y="0"/>
                </a:cubicBezTo>
                <a:cubicBezTo>
                  <a:pt x="3022" y="0"/>
                  <a:pt x="2990" y="31"/>
                  <a:pt x="2990" y="79"/>
                </a:cubicBezTo>
                <a:cubicBezTo>
                  <a:pt x="2990" y="1431"/>
                  <a:pt x="2990" y="1431"/>
                  <a:pt x="2990" y="1431"/>
                </a:cubicBezTo>
                <a:cubicBezTo>
                  <a:pt x="2147" y="1431"/>
                  <a:pt x="2147" y="1431"/>
                  <a:pt x="2147" y="1431"/>
                </a:cubicBezTo>
                <a:cubicBezTo>
                  <a:pt x="2147" y="922"/>
                  <a:pt x="2147" y="922"/>
                  <a:pt x="2147" y="922"/>
                </a:cubicBezTo>
                <a:cubicBezTo>
                  <a:pt x="2147" y="874"/>
                  <a:pt x="2115" y="842"/>
                  <a:pt x="2068" y="842"/>
                </a:cubicBezTo>
                <a:close/>
                <a:moveTo>
                  <a:pt x="159" y="2226"/>
                </a:moveTo>
                <a:cubicBezTo>
                  <a:pt x="986" y="2226"/>
                  <a:pt x="986" y="2226"/>
                  <a:pt x="986" y="2226"/>
                </a:cubicBezTo>
                <a:cubicBezTo>
                  <a:pt x="986" y="3292"/>
                  <a:pt x="986" y="3292"/>
                  <a:pt x="986" y="3292"/>
                </a:cubicBezTo>
                <a:cubicBezTo>
                  <a:pt x="159" y="3292"/>
                  <a:pt x="159" y="3292"/>
                  <a:pt x="159" y="3292"/>
                </a:cubicBezTo>
                <a:close/>
                <a:moveTo>
                  <a:pt x="1145" y="2147"/>
                </a:moveTo>
                <a:cubicBezTo>
                  <a:pt x="1145" y="1002"/>
                  <a:pt x="1145" y="1002"/>
                  <a:pt x="1145" y="1002"/>
                </a:cubicBezTo>
                <a:cubicBezTo>
                  <a:pt x="1988" y="1002"/>
                  <a:pt x="1988" y="1002"/>
                  <a:pt x="1988" y="1002"/>
                </a:cubicBezTo>
                <a:cubicBezTo>
                  <a:pt x="1988" y="1511"/>
                  <a:pt x="1988" y="1511"/>
                  <a:pt x="1988" y="1511"/>
                </a:cubicBezTo>
                <a:cubicBezTo>
                  <a:pt x="1988" y="3292"/>
                  <a:pt x="1988" y="3292"/>
                  <a:pt x="1988" y="3292"/>
                </a:cubicBezTo>
                <a:cubicBezTo>
                  <a:pt x="1145" y="3292"/>
                  <a:pt x="1145" y="3292"/>
                  <a:pt x="1145" y="3292"/>
                </a:cubicBezTo>
                <a:close/>
                <a:moveTo>
                  <a:pt x="3149" y="158"/>
                </a:moveTo>
                <a:cubicBezTo>
                  <a:pt x="3992" y="158"/>
                  <a:pt x="3992" y="158"/>
                  <a:pt x="3992" y="158"/>
                </a:cubicBezTo>
                <a:cubicBezTo>
                  <a:pt x="3992" y="3292"/>
                  <a:pt x="3992" y="3292"/>
                  <a:pt x="3992" y="3292"/>
                </a:cubicBezTo>
                <a:cubicBezTo>
                  <a:pt x="3149" y="3292"/>
                  <a:pt x="3149" y="3292"/>
                  <a:pt x="3149" y="3292"/>
                </a:cubicBezTo>
                <a:close/>
                <a:moveTo>
                  <a:pt x="2990" y="1590"/>
                </a:moveTo>
                <a:cubicBezTo>
                  <a:pt x="2990" y="3292"/>
                  <a:pt x="2990" y="3292"/>
                  <a:pt x="2990" y="3292"/>
                </a:cubicBezTo>
                <a:cubicBezTo>
                  <a:pt x="2147" y="3292"/>
                  <a:pt x="2147" y="3292"/>
                  <a:pt x="2147" y="3292"/>
                </a:cubicBezTo>
                <a:cubicBezTo>
                  <a:pt x="2147" y="1590"/>
                  <a:pt x="2147" y="1590"/>
                  <a:pt x="2147" y="159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4" name="Freeform: Shape 3">
            <a:extLst>
              <a:ext uri="{FF2B5EF4-FFF2-40B4-BE49-F238E27FC236}">
                <a16:creationId xmlns:a16="http://schemas.microsoft.com/office/drawing/2014/main" id="{85A77CA6-1C0D-CA4D-8768-AE07861A53AA}"/>
              </a:ext>
            </a:extLst>
          </p:cNvPr>
          <p:cNvSpPr/>
          <p:nvPr/>
        </p:nvSpPr>
        <p:spPr>
          <a:xfrm>
            <a:off x="2029920" y="9643358"/>
            <a:ext cx="1659960" cy="1454040"/>
          </a:xfrm>
          <a:custGeom>
            <a:avLst/>
            <a:gdLst/>
            <a:ahLst/>
            <a:cxnLst>
              <a:cxn ang="3cd4">
                <a:pos x="hc" y="t"/>
              </a:cxn>
              <a:cxn ang="cd2">
                <a:pos x="l" y="vc"/>
              </a:cxn>
              <a:cxn ang="cd4">
                <a:pos x="hc" y="b"/>
              </a:cxn>
              <a:cxn ang="0">
                <a:pos x="r" y="vc"/>
              </a:cxn>
            </a:cxnLst>
            <a:rect l="l" t="t" r="r" b="b"/>
            <a:pathLst>
              <a:path w="4612" h="4040">
                <a:moveTo>
                  <a:pt x="3769" y="1161"/>
                </a:moveTo>
                <a:cubicBezTo>
                  <a:pt x="3563" y="1161"/>
                  <a:pt x="3387" y="1225"/>
                  <a:pt x="3244" y="1352"/>
                </a:cubicBezTo>
                <a:cubicBezTo>
                  <a:pt x="3244" y="79"/>
                  <a:pt x="3244" y="79"/>
                  <a:pt x="3244" y="79"/>
                </a:cubicBezTo>
                <a:cubicBezTo>
                  <a:pt x="3244" y="32"/>
                  <a:pt x="3197" y="0"/>
                  <a:pt x="3165" y="0"/>
                </a:cubicBezTo>
                <a:cubicBezTo>
                  <a:pt x="79" y="0"/>
                  <a:pt x="79" y="0"/>
                  <a:pt x="79" y="0"/>
                </a:cubicBezTo>
                <a:cubicBezTo>
                  <a:pt x="47" y="0"/>
                  <a:pt x="0" y="32"/>
                  <a:pt x="0" y="79"/>
                </a:cubicBezTo>
                <a:cubicBezTo>
                  <a:pt x="0" y="1352"/>
                  <a:pt x="0" y="1352"/>
                  <a:pt x="0" y="1352"/>
                </a:cubicBezTo>
                <a:cubicBezTo>
                  <a:pt x="0" y="1383"/>
                  <a:pt x="15" y="1416"/>
                  <a:pt x="47" y="1416"/>
                </a:cubicBezTo>
                <a:cubicBezTo>
                  <a:pt x="63" y="1431"/>
                  <a:pt x="95" y="1431"/>
                  <a:pt x="127" y="1416"/>
                </a:cubicBezTo>
                <a:cubicBezTo>
                  <a:pt x="238" y="1352"/>
                  <a:pt x="349" y="1320"/>
                  <a:pt x="477" y="1320"/>
                </a:cubicBezTo>
                <a:cubicBezTo>
                  <a:pt x="858" y="1320"/>
                  <a:pt x="1176" y="1638"/>
                  <a:pt x="1176" y="2020"/>
                </a:cubicBezTo>
                <a:cubicBezTo>
                  <a:pt x="1176" y="2401"/>
                  <a:pt x="858" y="2720"/>
                  <a:pt x="477" y="2720"/>
                </a:cubicBezTo>
                <a:cubicBezTo>
                  <a:pt x="349" y="2720"/>
                  <a:pt x="238" y="2688"/>
                  <a:pt x="127" y="2624"/>
                </a:cubicBezTo>
                <a:cubicBezTo>
                  <a:pt x="95" y="2609"/>
                  <a:pt x="63" y="2609"/>
                  <a:pt x="47" y="2624"/>
                </a:cubicBezTo>
                <a:cubicBezTo>
                  <a:pt x="15" y="2624"/>
                  <a:pt x="0" y="2656"/>
                  <a:pt x="0" y="2688"/>
                </a:cubicBezTo>
                <a:cubicBezTo>
                  <a:pt x="0" y="3960"/>
                  <a:pt x="0" y="3960"/>
                  <a:pt x="0" y="3960"/>
                </a:cubicBezTo>
                <a:cubicBezTo>
                  <a:pt x="0" y="4008"/>
                  <a:pt x="47" y="4040"/>
                  <a:pt x="79" y="4040"/>
                </a:cubicBezTo>
                <a:cubicBezTo>
                  <a:pt x="3165" y="4040"/>
                  <a:pt x="3165" y="4040"/>
                  <a:pt x="3165" y="4040"/>
                </a:cubicBezTo>
                <a:cubicBezTo>
                  <a:pt x="3197" y="4040"/>
                  <a:pt x="3244" y="4008"/>
                  <a:pt x="3244" y="3960"/>
                </a:cubicBezTo>
                <a:cubicBezTo>
                  <a:pt x="3244" y="2688"/>
                  <a:pt x="3244" y="2688"/>
                  <a:pt x="3244" y="2688"/>
                </a:cubicBezTo>
                <a:cubicBezTo>
                  <a:pt x="3387" y="2815"/>
                  <a:pt x="3563" y="2879"/>
                  <a:pt x="3769" y="2879"/>
                </a:cubicBezTo>
                <a:cubicBezTo>
                  <a:pt x="4230" y="2879"/>
                  <a:pt x="4612" y="2497"/>
                  <a:pt x="4612" y="2020"/>
                </a:cubicBezTo>
                <a:cubicBezTo>
                  <a:pt x="4612" y="1543"/>
                  <a:pt x="4230" y="1161"/>
                  <a:pt x="3769" y="1161"/>
                </a:cubicBezTo>
                <a:close/>
                <a:moveTo>
                  <a:pt x="3769" y="2720"/>
                </a:moveTo>
                <a:cubicBezTo>
                  <a:pt x="3547" y="2720"/>
                  <a:pt x="3356" y="2624"/>
                  <a:pt x="3229" y="2449"/>
                </a:cubicBezTo>
                <a:cubicBezTo>
                  <a:pt x="3197" y="2434"/>
                  <a:pt x="3165" y="2418"/>
                  <a:pt x="3133" y="2434"/>
                </a:cubicBezTo>
                <a:cubicBezTo>
                  <a:pt x="3101" y="2449"/>
                  <a:pt x="3085" y="2465"/>
                  <a:pt x="3085" y="2513"/>
                </a:cubicBezTo>
                <a:cubicBezTo>
                  <a:pt x="3085" y="3881"/>
                  <a:pt x="3085" y="3881"/>
                  <a:pt x="3085" y="3881"/>
                </a:cubicBezTo>
                <a:cubicBezTo>
                  <a:pt x="158" y="3881"/>
                  <a:pt x="158" y="3881"/>
                  <a:pt x="158" y="3881"/>
                </a:cubicBezTo>
                <a:cubicBezTo>
                  <a:pt x="158" y="2815"/>
                  <a:pt x="158" y="2815"/>
                  <a:pt x="158" y="2815"/>
                </a:cubicBezTo>
                <a:cubicBezTo>
                  <a:pt x="270" y="2847"/>
                  <a:pt x="366" y="2879"/>
                  <a:pt x="477" y="2879"/>
                </a:cubicBezTo>
                <a:cubicBezTo>
                  <a:pt x="954" y="2879"/>
                  <a:pt x="1336" y="2497"/>
                  <a:pt x="1336" y="2020"/>
                </a:cubicBezTo>
                <a:cubicBezTo>
                  <a:pt x="1336" y="1543"/>
                  <a:pt x="954" y="1161"/>
                  <a:pt x="477" y="1161"/>
                </a:cubicBezTo>
                <a:cubicBezTo>
                  <a:pt x="366" y="1161"/>
                  <a:pt x="270" y="1193"/>
                  <a:pt x="158" y="1225"/>
                </a:cubicBezTo>
                <a:cubicBezTo>
                  <a:pt x="158" y="159"/>
                  <a:pt x="158" y="159"/>
                  <a:pt x="158" y="159"/>
                </a:cubicBezTo>
                <a:cubicBezTo>
                  <a:pt x="3085" y="159"/>
                  <a:pt x="3085" y="159"/>
                  <a:pt x="3085" y="159"/>
                </a:cubicBezTo>
                <a:cubicBezTo>
                  <a:pt x="3085" y="1527"/>
                  <a:pt x="3085" y="1527"/>
                  <a:pt x="3085" y="1527"/>
                </a:cubicBezTo>
                <a:cubicBezTo>
                  <a:pt x="3085" y="1559"/>
                  <a:pt x="3101" y="1591"/>
                  <a:pt x="3133" y="1606"/>
                </a:cubicBezTo>
                <a:cubicBezTo>
                  <a:pt x="3165" y="1622"/>
                  <a:pt x="3197" y="1606"/>
                  <a:pt x="3229" y="1591"/>
                </a:cubicBezTo>
                <a:cubicBezTo>
                  <a:pt x="3356" y="1416"/>
                  <a:pt x="3547" y="1320"/>
                  <a:pt x="3769" y="1320"/>
                </a:cubicBezTo>
                <a:cubicBezTo>
                  <a:pt x="4151" y="1320"/>
                  <a:pt x="4453" y="1638"/>
                  <a:pt x="4453" y="2020"/>
                </a:cubicBezTo>
                <a:cubicBezTo>
                  <a:pt x="4453" y="2401"/>
                  <a:pt x="4151" y="2720"/>
                  <a:pt x="3769" y="272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5" name="Freeform: Shape 4">
            <a:extLst>
              <a:ext uri="{FF2B5EF4-FFF2-40B4-BE49-F238E27FC236}">
                <a16:creationId xmlns:a16="http://schemas.microsoft.com/office/drawing/2014/main" id="{37EE215E-BDC3-6D4C-9154-8AE663FB1245}"/>
              </a:ext>
            </a:extLst>
          </p:cNvPr>
          <p:cNvSpPr/>
          <p:nvPr/>
        </p:nvSpPr>
        <p:spPr>
          <a:xfrm>
            <a:off x="6221700" y="6605743"/>
            <a:ext cx="1081800" cy="1539720"/>
          </a:xfrm>
          <a:custGeom>
            <a:avLst/>
            <a:gdLst/>
            <a:ahLst/>
            <a:cxnLst>
              <a:cxn ang="3cd4">
                <a:pos x="hc" y="t"/>
              </a:cxn>
              <a:cxn ang="cd2">
                <a:pos x="l" y="vc"/>
              </a:cxn>
              <a:cxn ang="cd4">
                <a:pos x="hc" y="b"/>
              </a:cxn>
              <a:cxn ang="0">
                <a:pos x="r" y="vc"/>
              </a:cxn>
            </a:cxnLst>
            <a:rect l="l" t="t" r="r" b="b"/>
            <a:pathLst>
              <a:path w="3006" h="4278">
                <a:moveTo>
                  <a:pt x="1495" y="4278"/>
                </a:moveTo>
                <a:cubicBezTo>
                  <a:pt x="1670" y="4278"/>
                  <a:pt x="1813" y="4135"/>
                  <a:pt x="1813" y="3945"/>
                </a:cubicBezTo>
                <a:cubicBezTo>
                  <a:pt x="1813" y="1097"/>
                  <a:pt x="1813" y="1097"/>
                  <a:pt x="1813" y="1097"/>
                </a:cubicBezTo>
                <a:cubicBezTo>
                  <a:pt x="2450" y="1734"/>
                  <a:pt x="2450" y="1734"/>
                  <a:pt x="2450" y="1734"/>
                </a:cubicBezTo>
                <a:cubicBezTo>
                  <a:pt x="2577" y="1845"/>
                  <a:pt x="2783" y="1845"/>
                  <a:pt x="2911" y="1734"/>
                </a:cubicBezTo>
                <a:cubicBezTo>
                  <a:pt x="3038" y="1606"/>
                  <a:pt x="3038" y="1400"/>
                  <a:pt x="2911" y="1272"/>
                </a:cubicBezTo>
                <a:cubicBezTo>
                  <a:pt x="1718" y="95"/>
                  <a:pt x="1718" y="95"/>
                  <a:pt x="1718" y="95"/>
                </a:cubicBezTo>
                <a:cubicBezTo>
                  <a:pt x="1606" y="-32"/>
                  <a:pt x="1384" y="-32"/>
                  <a:pt x="1272" y="95"/>
                </a:cubicBezTo>
                <a:cubicBezTo>
                  <a:pt x="96" y="1272"/>
                  <a:pt x="96" y="1272"/>
                  <a:pt x="96" y="1272"/>
                </a:cubicBezTo>
                <a:cubicBezTo>
                  <a:pt x="-32" y="1400"/>
                  <a:pt x="-32" y="1606"/>
                  <a:pt x="96" y="1734"/>
                </a:cubicBezTo>
                <a:cubicBezTo>
                  <a:pt x="206" y="1845"/>
                  <a:pt x="429" y="1845"/>
                  <a:pt x="541" y="1734"/>
                </a:cubicBezTo>
                <a:cubicBezTo>
                  <a:pt x="1177" y="1097"/>
                  <a:pt x="1177" y="1097"/>
                  <a:pt x="1177" y="1097"/>
                </a:cubicBezTo>
                <a:cubicBezTo>
                  <a:pt x="1177" y="3945"/>
                  <a:pt x="1177" y="3945"/>
                  <a:pt x="1177" y="3945"/>
                </a:cubicBezTo>
                <a:cubicBezTo>
                  <a:pt x="1177" y="4135"/>
                  <a:pt x="1320" y="4278"/>
                  <a:pt x="1495" y="4278"/>
                </a:cubicBezTo>
                <a:close/>
                <a:moveTo>
                  <a:pt x="429" y="1622"/>
                </a:moveTo>
                <a:cubicBezTo>
                  <a:pt x="366" y="1670"/>
                  <a:pt x="270" y="1670"/>
                  <a:pt x="206" y="1622"/>
                </a:cubicBezTo>
                <a:cubicBezTo>
                  <a:pt x="143" y="1558"/>
                  <a:pt x="143" y="1448"/>
                  <a:pt x="206" y="1384"/>
                </a:cubicBezTo>
                <a:cubicBezTo>
                  <a:pt x="1384" y="207"/>
                  <a:pt x="1384" y="207"/>
                  <a:pt x="1384" y="207"/>
                </a:cubicBezTo>
                <a:cubicBezTo>
                  <a:pt x="1447" y="143"/>
                  <a:pt x="1543" y="143"/>
                  <a:pt x="1606" y="207"/>
                </a:cubicBezTo>
                <a:cubicBezTo>
                  <a:pt x="2799" y="1384"/>
                  <a:pt x="2799" y="1384"/>
                  <a:pt x="2799" y="1384"/>
                </a:cubicBezTo>
                <a:cubicBezTo>
                  <a:pt x="2863" y="1448"/>
                  <a:pt x="2863" y="1558"/>
                  <a:pt x="2799" y="1622"/>
                </a:cubicBezTo>
                <a:cubicBezTo>
                  <a:pt x="2736" y="1670"/>
                  <a:pt x="2624" y="1670"/>
                  <a:pt x="2561" y="1622"/>
                </a:cubicBezTo>
                <a:cubicBezTo>
                  <a:pt x="1797" y="843"/>
                  <a:pt x="1797" y="843"/>
                  <a:pt x="1797" y="843"/>
                </a:cubicBezTo>
                <a:cubicBezTo>
                  <a:pt x="1766" y="827"/>
                  <a:pt x="1733" y="811"/>
                  <a:pt x="1702" y="827"/>
                </a:cubicBezTo>
                <a:cubicBezTo>
                  <a:pt x="1686" y="843"/>
                  <a:pt x="1654" y="875"/>
                  <a:pt x="1654" y="906"/>
                </a:cubicBezTo>
                <a:cubicBezTo>
                  <a:pt x="1654" y="3945"/>
                  <a:pt x="1654" y="3945"/>
                  <a:pt x="1654" y="3945"/>
                </a:cubicBezTo>
                <a:cubicBezTo>
                  <a:pt x="1654" y="4040"/>
                  <a:pt x="1590" y="4120"/>
                  <a:pt x="1495" y="4120"/>
                </a:cubicBezTo>
                <a:cubicBezTo>
                  <a:pt x="1400" y="4120"/>
                  <a:pt x="1336" y="4040"/>
                  <a:pt x="1336" y="3945"/>
                </a:cubicBezTo>
                <a:cubicBezTo>
                  <a:pt x="1336" y="906"/>
                  <a:pt x="1336" y="906"/>
                  <a:pt x="1336" y="906"/>
                </a:cubicBezTo>
                <a:cubicBezTo>
                  <a:pt x="1336" y="875"/>
                  <a:pt x="1320" y="843"/>
                  <a:pt x="1288" y="827"/>
                </a:cubicBezTo>
                <a:cubicBezTo>
                  <a:pt x="1272" y="827"/>
                  <a:pt x="1272" y="827"/>
                  <a:pt x="1257" y="827"/>
                </a:cubicBezTo>
                <a:cubicBezTo>
                  <a:pt x="1241" y="827"/>
                  <a:pt x="1209" y="827"/>
                  <a:pt x="1193" y="84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6" name="Freeform: Shape 5">
            <a:extLst>
              <a:ext uri="{FF2B5EF4-FFF2-40B4-BE49-F238E27FC236}">
                <a16:creationId xmlns:a16="http://schemas.microsoft.com/office/drawing/2014/main" id="{AEBFB7DA-32B5-D940-9F18-F01C200429DE}"/>
              </a:ext>
            </a:extLst>
          </p:cNvPr>
          <p:cNvSpPr/>
          <p:nvPr/>
        </p:nvSpPr>
        <p:spPr>
          <a:xfrm>
            <a:off x="10325969" y="6606103"/>
            <a:ext cx="1081800" cy="1539720"/>
          </a:xfrm>
          <a:custGeom>
            <a:avLst/>
            <a:gdLst/>
            <a:ahLst/>
            <a:cxnLst>
              <a:cxn ang="3cd4">
                <a:pos x="hc" y="t"/>
              </a:cxn>
              <a:cxn ang="cd2">
                <a:pos x="l" y="vc"/>
              </a:cxn>
              <a:cxn ang="cd4">
                <a:pos x="hc" y="b"/>
              </a:cxn>
              <a:cxn ang="0">
                <a:pos x="r" y="vc"/>
              </a:cxn>
            </a:cxnLst>
            <a:rect l="l" t="t" r="r" b="b"/>
            <a:pathLst>
              <a:path w="3006" h="4278">
                <a:moveTo>
                  <a:pt x="1511" y="0"/>
                </a:moveTo>
                <a:cubicBezTo>
                  <a:pt x="1336" y="0"/>
                  <a:pt x="1193" y="143"/>
                  <a:pt x="1193" y="318"/>
                </a:cubicBezTo>
                <a:cubicBezTo>
                  <a:pt x="1193" y="3181"/>
                  <a:pt x="1193" y="3181"/>
                  <a:pt x="1193" y="3181"/>
                </a:cubicBezTo>
                <a:cubicBezTo>
                  <a:pt x="556" y="2545"/>
                  <a:pt x="556" y="2545"/>
                  <a:pt x="556" y="2545"/>
                </a:cubicBezTo>
                <a:cubicBezTo>
                  <a:pt x="429" y="2418"/>
                  <a:pt x="222" y="2418"/>
                  <a:pt x="95" y="2545"/>
                </a:cubicBezTo>
                <a:cubicBezTo>
                  <a:pt x="-32" y="2672"/>
                  <a:pt x="-32" y="2879"/>
                  <a:pt x="95" y="2990"/>
                </a:cubicBezTo>
                <a:cubicBezTo>
                  <a:pt x="1288" y="4183"/>
                  <a:pt x="1288" y="4183"/>
                  <a:pt x="1288" y="4183"/>
                </a:cubicBezTo>
                <a:cubicBezTo>
                  <a:pt x="1304" y="4215"/>
                  <a:pt x="1352" y="4231"/>
                  <a:pt x="1383" y="4247"/>
                </a:cubicBezTo>
                <a:cubicBezTo>
                  <a:pt x="1431" y="4263"/>
                  <a:pt x="1463" y="4278"/>
                  <a:pt x="1511" y="4278"/>
                </a:cubicBezTo>
                <a:cubicBezTo>
                  <a:pt x="1543" y="4278"/>
                  <a:pt x="1591" y="4263"/>
                  <a:pt x="1638" y="4247"/>
                </a:cubicBezTo>
                <a:cubicBezTo>
                  <a:pt x="1670" y="4231"/>
                  <a:pt x="1702" y="4215"/>
                  <a:pt x="1734" y="4183"/>
                </a:cubicBezTo>
                <a:cubicBezTo>
                  <a:pt x="2910" y="2990"/>
                  <a:pt x="2910" y="2990"/>
                  <a:pt x="2910" y="2990"/>
                </a:cubicBezTo>
                <a:cubicBezTo>
                  <a:pt x="3038" y="2879"/>
                  <a:pt x="3038" y="2672"/>
                  <a:pt x="2910" y="2545"/>
                </a:cubicBezTo>
                <a:cubicBezTo>
                  <a:pt x="2799" y="2418"/>
                  <a:pt x="2576" y="2418"/>
                  <a:pt x="2465" y="2545"/>
                </a:cubicBezTo>
                <a:cubicBezTo>
                  <a:pt x="1829" y="3181"/>
                  <a:pt x="1829" y="3181"/>
                  <a:pt x="1829" y="3181"/>
                </a:cubicBezTo>
                <a:cubicBezTo>
                  <a:pt x="1829" y="318"/>
                  <a:pt x="1829" y="318"/>
                  <a:pt x="1829" y="318"/>
                </a:cubicBezTo>
                <a:cubicBezTo>
                  <a:pt x="1829" y="143"/>
                  <a:pt x="1686" y="0"/>
                  <a:pt x="1511" y="0"/>
                </a:cubicBezTo>
                <a:close/>
                <a:moveTo>
                  <a:pt x="2576" y="2656"/>
                </a:moveTo>
                <a:cubicBezTo>
                  <a:pt x="2640" y="2593"/>
                  <a:pt x="2736" y="2593"/>
                  <a:pt x="2799" y="2656"/>
                </a:cubicBezTo>
                <a:cubicBezTo>
                  <a:pt x="2863" y="2720"/>
                  <a:pt x="2863" y="2815"/>
                  <a:pt x="2799" y="2879"/>
                </a:cubicBezTo>
                <a:cubicBezTo>
                  <a:pt x="1622" y="4072"/>
                  <a:pt x="1622" y="4072"/>
                  <a:pt x="1622" y="4072"/>
                </a:cubicBezTo>
                <a:cubicBezTo>
                  <a:pt x="1606" y="4088"/>
                  <a:pt x="1591" y="4088"/>
                  <a:pt x="1574" y="4103"/>
                </a:cubicBezTo>
                <a:cubicBezTo>
                  <a:pt x="1527" y="4120"/>
                  <a:pt x="1479" y="4120"/>
                  <a:pt x="1447" y="4103"/>
                </a:cubicBezTo>
                <a:cubicBezTo>
                  <a:pt x="1431" y="4088"/>
                  <a:pt x="1415" y="4088"/>
                  <a:pt x="1400" y="4072"/>
                </a:cubicBezTo>
                <a:cubicBezTo>
                  <a:pt x="207" y="2879"/>
                  <a:pt x="207" y="2879"/>
                  <a:pt x="207" y="2879"/>
                </a:cubicBezTo>
                <a:cubicBezTo>
                  <a:pt x="143" y="2815"/>
                  <a:pt x="143" y="2720"/>
                  <a:pt x="207" y="2656"/>
                </a:cubicBezTo>
                <a:cubicBezTo>
                  <a:pt x="238" y="2624"/>
                  <a:pt x="286" y="2609"/>
                  <a:pt x="334" y="2609"/>
                </a:cubicBezTo>
                <a:cubicBezTo>
                  <a:pt x="365" y="2609"/>
                  <a:pt x="413" y="2624"/>
                  <a:pt x="445" y="2656"/>
                </a:cubicBezTo>
                <a:cubicBezTo>
                  <a:pt x="1209" y="3420"/>
                  <a:pt x="1209" y="3420"/>
                  <a:pt x="1209" y="3420"/>
                </a:cubicBezTo>
                <a:cubicBezTo>
                  <a:pt x="1240" y="3451"/>
                  <a:pt x="1272" y="3451"/>
                  <a:pt x="1304" y="3436"/>
                </a:cubicBezTo>
                <a:cubicBezTo>
                  <a:pt x="1320" y="3420"/>
                  <a:pt x="1352" y="3404"/>
                  <a:pt x="1352" y="3372"/>
                </a:cubicBezTo>
                <a:cubicBezTo>
                  <a:pt x="1352" y="318"/>
                  <a:pt x="1352" y="318"/>
                  <a:pt x="1352" y="318"/>
                </a:cubicBezTo>
                <a:cubicBezTo>
                  <a:pt x="1352" y="222"/>
                  <a:pt x="1415" y="159"/>
                  <a:pt x="1511" y="159"/>
                </a:cubicBezTo>
                <a:cubicBezTo>
                  <a:pt x="1606" y="159"/>
                  <a:pt x="1670" y="222"/>
                  <a:pt x="1670" y="318"/>
                </a:cubicBezTo>
                <a:cubicBezTo>
                  <a:pt x="1670" y="3372"/>
                  <a:pt x="1670" y="3372"/>
                  <a:pt x="1670" y="3372"/>
                </a:cubicBezTo>
                <a:cubicBezTo>
                  <a:pt x="1670" y="3404"/>
                  <a:pt x="1686" y="3420"/>
                  <a:pt x="1718" y="3436"/>
                </a:cubicBezTo>
                <a:cubicBezTo>
                  <a:pt x="1749" y="3451"/>
                  <a:pt x="1781" y="3451"/>
                  <a:pt x="1813" y="342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0" name="Freeform: Shape 6">
            <a:extLst>
              <a:ext uri="{FF2B5EF4-FFF2-40B4-BE49-F238E27FC236}">
                <a16:creationId xmlns:a16="http://schemas.microsoft.com/office/drawing/2014/main" id="{210F1F5D-5B0B-7B42-A423-4CF95964FF03}"/>
              </a:ext>
            </a:extLst>
          </p:cNvPr>
          <p:cNvSpPr/>
          <p:nvPr/>
        </p:nvSpPr>
        <p:spPr>
          <a:xfrm>
            <a:off x="21268620" y="3570797"/>
            <a:ext cx="1536840" cy="1081800"/>
          </a:xfrm>
          <a:custGeom>
            <a:avLst/>
            <a:gdLst/>
            <a:ahLst/>
            <a:cxnLst>
              <a:cxn ang="3cd4">
                <a:pos x="hc" y="t"/>
              </a:cxn>
              <a:cxn ang="cd2">
                <a:pos x="l" y="vc"/>
              </a:cxn>
              <a:cxn ang="cd4">
                <a:pos x="hc" y="b"/>
              </a:cxn>
              <a:cxn ang="0">
                <a:pos x="r" y="vc"/>
              </a:cxn>
            </a:cxnLst>
            <a:rect l="l" t="t" r="r" b="b"/>
            <a:pathLst>
              <a:path w="4270" h="3006">
                <a:moveTo>
                  <a:pt x="4270" y="1495"/>
                </a:moveTo>
                <a:cubicBezTo>
                  <a:pt x="4270" y="1320"/>
                  <a:pt x="4127" y="1177"/>
                  <a:pt x="3952" y="1177"/>
                </a:cubicBezTo>
                <a:cubicBezTo>
                  <a:pt x="1089" y="1177"/>
                  <a:pt x="1089" y="1177"/>
                  <a:pt x="1089" y="1177"/>
                </a:cubicBezTo>
                <a:cubicBezTo>
                  <a:pt x="1725" y="541"/>
                  <a:pt x="1725" y="541"/>
                  <a:pt x="1725" y="541"/>
                </a:cubicBezTo>
                <a:cubicBezTo>
                  <a:pt x="1853" y="413"/>
                  <a:pt x="1853" y="223"/>
                  <a:pt x="1725" y="95"/>
                </a:cubicBezTo>
                <a:cubicBezTo>
                  <a:pt x="1598" y="-32"/>
                  <a:pt x="1392" y="-32"/>
                  <a:pt x="1264" y="95"/>
                </a:cubicBezTo>
                <a:cubicBezTo>
                  <a:pt x="87" y="1273"/>
                  <a:pt x="87" y="1273"/>
                  <a:pt x="87" y="1273"/>
                </a:cubicBezTo>
                <a:cubicBezTo>
                  <a:pt x="55" y="1304"/>
                  <a:pt x="40" y="1336"/>
                  <a:pt x="24" y="1384"/>
                </a:cubicBezTo>
                <a:cubicBezTo>
                  <a:pt x="-8" y="1448"/>
                  <a:pt x="-8" y="1543"/>
                  <a:pt x="24" y="1622"/>
                </a:cubicBezTo>
                <a:cubicBezTo>
                  <a:pt x="40" y="1654"/>
                  <a:pt x="55" y="1702"/>
                  <a:pt x="87" y="1734"/>
                </a:cubicBezTo>
                <a:cubicBezTo>
                  <a:pt x="1264" y="2911"/>
                  <a:pt x="1264" y="2911"/>
                  <a:pt x="1264" y="2911"/>
                </a:cubicBezTo>
                <a:cubicBezTo>
                  <a:pt x="1328" y="2975"/>
                  <a:pt x="1407" y="3006"/>
                  <a:pt x="1503" y="3006"/>
                </a:cubicBezTo>
                <a:cubicBezTo>
                  <a:pt x="1582" y="3006"/>
                  <a:pt x="1662" y="2975"/>
                  <a:pt x="1725" y="2911"/>
                </a:cubicBezTo>
                <a:cubicBezTo>
                  <a:pt x="1789" y="2847"/>
                  <a:pt x="1821" y="2768"/>
                  <a:pt x="1821" y="2672"/>
                </a:cubicBezTo>
                <a:cubicBezTo>
                  <a:pt x="1821" y="2593"/>
                  <a:pt x="1789" y="2513"/>
                  <a:pt x="1725" y="2449"/>
                </a:cubicBezTo>
                <a:cubicBezTo>
                  <a:pt x="1089" y="1813"/>
                  <a:pt x="1089" y="1813"/>
                  <a:pt x="1089" y="1813"/>
                </a:cubicBezTo>
                <a:cubicBezTo>
                  <a:pt x="3952" y="1813"/>
                  <a:pt x="3952" y="1813"/>
                  <a:pt x="3952" y="1813"/>
                </a:cubicBezTo>
                <a:cubicBezTo>
                  <a:pt x="4127" y="1813"/>
                  <a:pt x="4270" y="1670"/>
                  <a:pt x="4270" y="1495"/>
                </a:cubicBezTo>
                <a:close/>
                <a:moveTo>
                  <a:pt x="851" y="1797"/>
                </a:moveTo>
                <a:cubicBezTo>
                  <a:pt x="1614" y="2561"/>
                  <a:pt x="1614" y="2561"/>
                  <a:pt x="1614" y="2561"/>
                </a:cubicBezTo>
                <a:cubicBezTo>
                  <a:pt x="1678" y="2625"/>
                  <a:pt x="1678" y="2736"/>
                  <a:pt x="1614" y="2800"/>
                </a:cubicBezTo>
                <a:cubicBezTo>
                  <a:pt x="1551" y="2863"/>
                  <a:pt x="1439" y="2863"/>
                  <a:pt x="1376" y="2800"/>
                </a:cubicBezTo>
                <a:cubicBezTo>
                  <a:pt x="198" y="1622"/>
                  <a:pt x="198" y="1622"/>
                  <a:pt x="198" y="1622"/>
                </a:cubicBezTo>
                <a:cubicBezTo>
                  <a:pt x="183" y="1607"/>
                  <a:pt x="183" y="1575"/>
                  <a:pt x="167" y="1559"/>
                </a:cubicBezTo>
                <a:cubicBezTo>
                  <a:pt x="151" y="1527"/>
                  <a:pt x="151" y="1479"/>
                  <a:pt x="167" y="1431"/>
                </a:cubicBezTo>
                <a:cubicBezTo>
                  <a:pt x="183" y="1416"/>
                  <a:pt x="183" y="1400"/>
                  <a:pt x="198" y="1384"/>
                </a:cubicBezTo>
                <a:cubicBezTo>
                  <a:pt x="1376" y="207"/>
                  <a:pt x="1376" y="207"/>
                  <a:pt x="1376" y="207"/>
                </a:cubicBezTo>
                <a:cubicBezTo>
                  <a:pt x="1407" y="175"/>
                  <a:pt x="1455" y="159"/>
                  <a:pt x="1503" y="159"/>
                </a:cubicBezTo>
                <a:cubicBezTo>
                  <a:pt x="1535" y="159"/>
                  <a:pt x="1582" y="175"/>
                  <a:pt x="1614" y="207"/>
                </a:cubicBezTo>
                <a:cubicBezTo>
                  <a:pt x="1678" y="270"/>
                  <a:pt x="1678" y="366"/>
                  <a:pt x="1614" y="430"/>
                </a:cubicBezTo>
                <a:cubicBezTo>
                  <a:pt x="851" y="1193"/>
                  <a:pt x="851" y="1193"/>
                  <a:pt x="851" y="1193"/>
                </a:cubicBezTo>
                <a:cubicBezTo>
                  <a:pt x="819" y="1225"/>
                  <a:pt x="819" y="1257"/>
                  <a:pt x="835" y="1288"/>
                </a:cubicBezTo>
                <a:cubicBezTo>
                  <a:pt x="835" y="1320"/>
                  <a:pt x="867" y="1336"/>
                  <a:pt x="898" y="1336"/>
                </a:cubicBezTo>
                <a:cubicBezTo>
                  <a:pt x="3952" y="1336"/>
                  <a:pt x="3952" y="1336"/>
                  <a:pt x="3952" y="1336"/>
                </a:cubicBezTo>
                <a:cubicBezTo>
                  <a:pt x="4032" y="1336"/>
                  <a:pt x="4112" y="1416"/>
                  <a:pt x="4112" y="1495"/>
                </a:cubicBezTo>
                <a:cubicBezTo>
                  <a:pt x="4112" y="1591"/>
                  <a:pt x="4032" y="1670"/>
                  <a:pt x="3952" y="1670"/>
                </a:cubicBezTo>
                <a:cubicBezTo>
                  <a:pt x="898" y="1670"/>
                  <a:pt x="898" y="1670"/>
                  <a:pt x="898" y="1670"/>
                </a:cubicBezTo>
                <a:cubicBezTo>
                  <a:pt x="867" y="1670"/>
                  <a:pt x="835" y="1686"/>
                  <a:pt x="835" y="1718"/>
                </a:cubicBezTo>
                <a:cubicBezTo>
                  <a:pt x="819" y="1734"/>
                  <a:pt x="819" y="1782"/>
                  <a:pt x="851" y="179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2" name="Freeform: Shape 7">
            <a:extLst>
              <a:ext uri="{FF2B5EF4-FFF2-40B4-BE49-F238E27FC236}">
                <a16:creationId xmlns:a16="http://schemas.microsoft.com/office/drawing/2014/main" id="{E2AA670F-8EF5-8941-920B-F576E3FE1B9B}"/>
              </a:ext>
            </a:extLst>
          </p:cNvPr>
          <p:cNvSpPr/>
          <p:nvPr/>
        </p:nvSpPr>
        <p:spPr>
          <a:xfrm>
            <a:off x="1854284" y="6834703"/>
            <a:ext cx="1537200" cy="1081800"/>
          </a:xfrm>
          <a:custGeom>
            <a:avLst/>
            <a:gdLst/>
            <a:ahLst/>
            <a:cxnLst>
              <a:cxn ang="3cd4">
                <a:pos x="hc" y="t"/>
              </a:cxn>
              <a:cxn ang="cd2">
                <a:pos x="l" y="vc"/>
              </a:cxn>
              <a:cxn ang="cd4">
                <a:pos x="hc" y="b"/>
              </a:cxn>
              <a:cxn ang="0">
                <a:pos x="r" y="vc"/>
              </a:cxn>
            </a:cxnLst>
            <a:rect l="l" t="t" r="r" b="b"/>
            <a:pathLst>
              <a:path w="4271" h="3006">
                <a:moveTo>
                  <a:pt x="0" y="1495"/>
                </a:moveTo>
                <a:cubicBezTo>
                  <a:pt x="0" y="1670"/>
                  <a:pt x="143" y="1813"/>
                  <a:pt x="318" y="1813"/>
                </a:cubicBezTo>
                <a:cubicBezTo>
                  <a:pt x="3181" y="1813"/>
                  <a:pt x="3181" y="1813"/>
                  <a:pt x="3181" y="1813"/>
                </a:cubicBezTo>
                <a:cubicBezTo>
                  <a:pt x="2545" y="2449"/>
                  <a:pt x="2545" y="2449"/>
                  <a:pt x="2545" y="2449"/>
                </a:cubicBezTo>
                <a:cubicBezTo>
                  <a:pt x="2417" y="2577"/>
                  <a:pt x="2417" y="2784"/>
                  <a:pt x="2545" y="2911"/>
                </a:cubicBezTo>
                <a:cubicBezTo>
                  <a:pt x="2608" y="2975"/>
                  <a:pt x="2688" y="3006"/>
                  <a:pt x="2768" y="3006"/>
                </a:cubicBezTo>
                <a:cubicBezTo>
                  <a:pt x="2863" y="3006"/>
                  <a:pt x="2943" y="2975"/>
                  <a:pt x="3006" y="2911"/>
                </a:cubicBezTo>
                <a:cubicBezTo>
                  <a:pt x="4183" y="1734"/>
                  <a:pt x="4183" y="1734"/>
                  <a:pt x="4183" y="1734"/>
                </a:cubicBezTo>
                <a:cubicBezTo>
                  <a:pt x="4215" y="1702"/>
                  <a:pt x="4231" y="1654"/>
                  <a:pt x="4247" y="1622"/>
                </a:cubicBezTo>
                <a:cubicBezTo>
                  <a:pt x="4279" y="1543"/>
                  <a:pt x="4279" y="1448"/>
                  <a:pt x="4247" y="1384"/>
                </a:cubicBezTo>
                <a:cubicBezTo>
                  <a:pt x="4231" y="1336"/>
                  <a:pt x="4215" y="1304"/>
                  <a:pt x="4183" y="1273"/>
                </a:cubicBezTo>
                <a:cubicBezTo>
                  <a:pt x="3006" y="95"/>
                  <a:pt x="3006" y="95"/>
                  <a:pt x="3006" y="95"/>
                </a:cubicBezTo>
                <a:cubicBezTo>
                  <a:pt x="2879" y="-32"/>
                  <a:pt x="2672" y="-32"/>
                  <a:pt x="2545" y="95"/>
                </a:cubicBezTo>
                <a:cubicBezTo>
                  <a:pt x="2417" y="223"/>
                  <a:pt x="2417" y="413"/>
                  <a:pt x="2545" y="541"/>
                </a:cubicBezTo>
                <a:cubicBezTo>
                  <a:pt x="3181" y="1177"/>
                  <a:pt x="3181" y="1177"/>
                  <a:pt x="3181" y="1177"/>
                </a:cubicBezTo>
                <a:cubicBezTo>
                  <a:pt x="318" y="1177"/>
                  <a:pt x="318" y="1177"/>
                  <a:pt x="318" y="1177"/>
                </a:cubicBezTo>
                <a:cubicBezTo>
                  <a:pt x="143" y="1177"/>
                  <a:pt x="0" y="1320"/>
                  <a:pt x="0" y="1495"/>
                </a:cubicBezTo>
                <a:close/>
                <a:moveTo>
                  <a:pt x="3420" y="1193"/>
                </a:moveTo>
                <a:cubicBezTo>
                  <a:pt x="2656" y="430"/>
                  <a:pt x="2656" y="430"/>
                  <a:pt x="2656" y="430"/>
                </a:cubicBezTo>
                <a:cubicBezTo>
                  <a:pt x="2625" y="398"/>
                  <a:pt x="2608" y="366"/>
                  <a:pt x="2608" y="318"/>
                </a:cubicBezTo>
                <a:cubicBezTo>
                  <a:pt x="2608" y="270"/>
                  <a:pt x="2625" y="239"/>
                  <a:pt x="2656" y="207"/>
                </a:cubicBezTo>
                <a:cubicBezTo>
                  <a:pt x="2720" y="143"/>
                  <a:pt x="2831" y="143"/>
                  <a:pt x="2895" y="207"/>
                </a:cubicBezTo>
                <a:cubicBezTo>
                  <a:pt x="4072" y="1384"/>
                  <a:pt x="4072" y="1384"/>
                  <a:pt x="4072" y="1384"/>
                </a:cubicBezTo>
                <a:cubicBezTo>
                  <a:pt x="4088" y="1400"/>
                  <a:pt x="4104" y="1416"/>
                  <a:pt x="4104" y="1431"/>
                </a:cubicBezTo>
                <a:cubicBezTo>
                  <a:pt x="4119" y="1479"/>
                  <a:pt x="4119" y="1527"/>
                  <a:pt x="4104" y="1559"/>
                </a:cubicBezTo>
                <a:cubicBezTo>
                  <a:pt x="4104" y="1575"/>
                  <a:pt x="4088" y="1607"/>
                  <a:pt x="4072" y="1622"/>
                </a:cubicBezTo>
                <a:cubicBezTo>
                  <a:pt x="2895" y="2800"/>
                  <a:pt x="2895" y="2800"/>
                  <a:pt x="2895" y="2800"/>
                </a:cubicBezTo>
                <a:cubicBezTo>
                  <a:pt x="2831" y="2863"/>
                  <a:pt x="2720" y="2863"/>
                  <a:pt x="2656" y="2800"/>
                </a:cubicBezTo>
                <a:cubicBezTo>
                  <a:pt x="2592" y="2736"/>
                  <a:pt x="2592" y="2625"/>
                  <a:pt x="2656" y="2561"/>
                </a:cubicBezTo>
                <a:cubicBezTo>
                  <a:pt x="3420" y="1797"/>
                  <a:pt x="3420" y="1797"/>
                  <a:pt x="3420" y="1797"/>
                </a:cubicBezTo>
                <a:cubicBezTo>
                  <a:pt x="3452" y="1782"/>
                  <a:pt x="3452" y="1734"/>
                  <a:pt x="3435" y="1718"/>
                </a:cubicBezTo>
                <a:cubicBezTo>
                  <a:pt x="3435" y="1686"/>
                  <a:pt x="3404" y="1654"/>
                  <a:pt x="3372" y="1654"/>
                </a:cubicBezTo>
                <a:cubicBezTo>
                  <a:pt x="318" y="1654"/>
                  <a:pt x="318" y="1654"/>
                  <a:pt x="318" y="1654"/>
                </a:cubicBezTo>
                <a:cubicBezTo>
                  <a:pt x="238" y="1654"/>
                  <a:pt x="159" y="1591"/>
                  <a:pt x="159" y="1495"/>
                </a:cubicBezTo>
                <a:cubicBezTo>
                  <a:pt x="159" y="1416"/>
                  <a:pt x="238" y="1336"/>
                  <a:pt x="318" y="1336"/>
                </a:cubicBezTo>
                <a:cubicBezTo>
                  <a:pt x="3372" y="1336"/>
                  <a:pt x="3372" y="1336"/>
                  <a:pt x="3372" y="1336"/>
                </a:cubicBezTo>
                <a:cubicBezTo>
                  <a:pt x="3404" y="1336"/>
                  <a:pt x="3435" y="1320"/>
                  <a:pt x="3435" y="1288"/>
                </a:cubicBezTo>
                <a:cubicBezTo>
                  <a:pt x="3452" y="1257"/>
                  <a:pt x="3452" y="1225"/>
                  <a:pt x="3420" y="119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Freeform: Shape 8">
            <a:extLst>
              <a:ext uri="{FF2B5EF4-FFF2-40B4-BE49-F238E27FC236}">
                <a16:creationId xmlns:a16="http://schemas.microsoft.com/office/drawing/2014/main" id="{CE829E57-3C98-C245-AB1C-B30FCAE520CF}"/>
              </a:ext>
            </a:extLst>
          </p:cNvPr>
          <p:cNvSpPr/>
          <p:nvPr/>
        </p:nvSpPr>
        <p:spPr>
          <a:xfrm>
            <a:off x="17624143" y="3402317"/>
            <a:ext cx="1519560" cy="1416599"/>
          </a:xfrm>
          <a:custGeom>
            <a:avLst/>
            <a:gdLst/>
            <a:ahLst/>
            <a:cxnLst>
              <a:cxn ang="3cd4">
                <a:pos x="hc" y="t"/>
              </a:cxn>
              <a:cxn ang="cd2">
                <a:pos x="l" y="vc"/>
              </a:cxn>
              <a:cxn ang="cd4">
                <a:pos x="hc" y="b"/>
              </a:cxn>
              <a:cxn ang="0">
                <a:pos x="r" y="vc"/>
              </a:cxn>
            </a:cxnLst>
            <a:rect l="l" t="t" r="r" b="b"/>
            <a:pathLst>
              <a:path w="4222" h="3936">
                <a:moveTo>
                  <a:pt x="3913" y="1296"/>
                </a:moveTo>
                <a:cubicBezTo>
                  <a:pt x="3881" y="1296"/>
                  <a:pt x="3850" y="1296"/>
                  <a:pt x="3833" y="1328"/>
                </a:cubicBezTo>
                <a:cubicBezTo>
                  <a:pt x="3404" y="1789"/>
                  <a:pt x="3404" y="1789"/>
                  <a:pt x="3404" y="1789"/>
                </a:cubicBezTo>
                <a:cubicBezTo>
                  <a:pt x="1384" y="24"/>
                  <a:pt x="1384" y="24"/>
                  <a:pt x="1384" y="24"/>
                </a:cubicBezTo>
                <a:cubicBezTo>
                  <a:pt x="1352" y="-8"/>
                  <a:pt x="1305" y="-8"/>
                  <a:pt x="1273" y="24"/>
                </a:cubicBezTo>
                <a:cubicBezTo>
                  <a:pt x="16" y="1424"/>
                  <a:pt x="16" y="1424"/>
                  <a:pt x="16" y="1424"/>
                </a:cubicBezTo>
                <a:cubicBezTo>
                  <a:pt x="0" y="1439"/>
                  <a:pt x="0" y="1455"/>
                  <a:pt x="0" y="1471"/>
                </a:cubicBezTo>
                <a:cubicBezTo>
                  <a:pt x="0" y="1503"/>
                  <a:pt x="0" y="1519"/>
                  <a:pt x="16" y="1535"/>
                </a:cubicBezTo>
                <a:cubicBezTo>
                  <a:pt x="2036" y="3316"/>
                  <a:pt x="2036" y="3316"/>
                  <a:pt x="2036" y="3316"/>
                </a:cubicBezTo>
                <a:cubicBezTo>
                  <a:pt x="1607" y="3793"/>
                  <a:pt x="1607" y="3793"/>
                  <a:pt x="1607" y="3793"/>
                </a:cubicBezTo>
                <a:cubicBezTo>
                  <a:pt x="1575" y="3825"/>
                  <a:pt x="1575" y="3857"/>
                  <a:pt x="1591" y="3873"/>
                </a:cubicBezTo>
                <a:cubicBezTo>
                  <a:pt x="1607" y="3905"/>
                  <a:pt x="1623" y="3921"/>
                  <a:pt x="1655" y="3921"/>
                </a:cubicBezTo>
                <a:cubicBezTo>
                  <a:pt x="4136" y="3936"/>
                  <a:pt x="4136" y="3936"/>
                  <a:pt x="4136" y="3936"/>
                </a:cubicBezTo>
                <a:cubicBezTo>
                  <a:pt x="4168" y="3936"/>
                  <a:pt x="4184" y="3936"/>
                  <a:pt x="4199" y="3921"/>
                </a:cubicBezTo>
                <a:cubicBezTo>
                  <a:pt x="4215" y="3905"/>
                  <a:pt x="4232" y="3873"/>
                  <a:pt x="4215" y="3857"/>
                </a:cubicBezTo>
                <a:cubicBezTo>
                  <a:pt x="3961" y="1360"/>
                  <a:pt x="3961" y="1360"/>
                  <a:pt x="3961" y="1360"/>
                </a:cubicBezTo>
                <a:cubicBezTo>
                  <a:pt x="3961" y="1344"/>
                  <a:pt x="3945" y="1312"/>
                  <a:pt x="3913" y="1296"/>
                </a:cubicBezTo>
                <a:close/>
                <a:moveTo>
                  <a:pt x="1845" y="3762"/>
                </a:moveTo>
                <a:cubicBezTo>
                  <a:pt x="2211" y="3364"/>
                  <a:pt x="2211" y="3364"/>
                  <a:pt x="2211" y="3364"/>
                </a:cubicBezTo>
                <a:cubicBezTo>
                  <a:pt x="2227" y="3348"/>
                  <a:pt x="2227" y="3332"/>
                  <a:pt x="2227" y="3300"/>
                </a:cubicBezTo>
                <a:cubicBezTo>
                  <a:pt x="2227" y="3284"/>
                  <a:pt x="2211" y="3269"/>
                  <a:pt x="2196" y="3253"/>
                </a:cubicBezTo>
                <a:cubicBezTo>
                  <a:pt x="191" y="1471"/>
                  <a:pt x="191" y="1471"/>
                  <a:pt x="191" y="1471"/>
                </a:cubicBezTo>
                <a:cubicBezTo>
                  <a:pt x="1336" y="183"/>
                  <a:pt x="1336" y="183"/>
                  <a:pt x="1336" y="183"/>
                </a:cubicBezTo>
                <a:cubicBezTo>
                  <a:pt x="3357" y="1964"/>
                  <a:pt x="3357" y="1964"/>
                  <a:pt x="3357" y="1964"/>
                </a:cubicBezTo>
                <a:cubicBezTo>
                  <a:pt x="3388" y="1996"/>
                  <a:pt x="3436" y="1980"/>
                  <a:pt x="3468" y="1948"/>
                </a:cubicBezTo>
                <a:cubicBezTo>
                  <a:pt x="3818" y="1567"/>
                  <a:pt x="3818" y="1567"/>
                  <a:pt x="3818" y="1567"/>
                </a:cubicBezTo>
                <a:cubicBezTo>
                  <a:pt x="4056" y="3778"/>
                  <a:pt x="4056" y="3778"/>
                  <a:pt x="4056" y="377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4" name="Freeform: Shape 9">
            <a:extLst>
              <a:ext uri="{FF2B5EF4-FFF2-40B4-BE49-F238E27FC236}">
                <a16:creationId xmlns:a16="http://schemas.microsoft.com/office/drawing/2014/main" id="{07BAD445-48FB-8B45-B4E5-8B1961143912}"/>
              </a:ext>
            </a:extLst>
          </p:cNvPr>
          <p:cNvSpPr/>
          <p:nvPr/>
        </p:nvSpPr>
        <p:spPr>
          <a:xfrm>
            <a:off x="14015152" y="3402317"/>
            <a:ext cx="1522800" cy="1416599"/>
          </a:xfrm>
          <a:custGeom>
            <a:avLst/>
            <a:gdLst/>
            <a:ahLst/>
            <a:cxnLst>
              <a:cxn ang="3cd4">
                <a:pos x="hc" y="t"/>
              </a:cxn>
              <a:cxn ang="cd2">
                <a:pos x="l" y="vc"/>
              </a:cxn>
              <a:cxn ang="cd4">
                <a:pos x="hc" y="b"/>
              </a:cxn>
              <a:cxn ang="0">
                <a:pos x="r" y="vc"/>
              </a:cxn>
            </a:cxnLst>
            <a:rect l="l" t="t" r="r" b="b"/>
            <a:pathLst>
              <a:path w="4231" h="3936">
                <a:moveTo>
                  <a:pt x="318" y="1296"/>
                </a:moveTo>
                <a:cubicBezTo>
                  <a:pt x="287" y="1312"/>
                  <a:pt x="270" y="1344"/>
                  <a:pt x="254" y="1360"/>
                </a:cubicBezTo>
                <a:cubicBezTo>
                  <a:pt x="0" y="3857"/>
                  <a:pt x="0" y="3857"/>
                  <a:pt x="0" y="3857"/>
                </a:cubicBezTo>
                <a:cubicBezTo>
                  <a:pt x="0" y="3873"/>
                  <a:pt x="16" y="3905"/>
                  <a:pt x="32" y="3921"/>
                </a:cubicBezTo>
                <a:cubicBezTo>
                  <a:pt x="48" y="3936"/>
                  <a:pt x="64" y="3936"/>
                  <a:pt x="79" y="3936"/>
                </a:cubicBezTo>
                <a:cubicBezTo>
                  <a:pt x="2561" y="3921"/>
                  <a:pt x="2561" y="3921"/>
                  <a:pt x="2561" y="3921"/>
                </a:cubicBezTo>
                <a:cubicBezTo>
                  <a:pt x="2593" y="3921"/>
                  <a:pt x="2624" y="3905"/>
                  <a:pt x="2641" y="3873"/>
                </a:cubicBezTo>
                <a:cubicBezTo>
                  <a:pt x="2656" y="3857"/>
                  <a:pt x="2641" y="3825"/>
                  <a:pt x="2624" y="3793"/>
                </a:cubicBezTo>
                <a:cubicBezTo>
                  <a:pt x="2195" y="3316"/>
                  <a:pt x="2195" y="3316"/>
                  <a:pt x="2195" y="3316"/>
                </a:cubicBezTo>
                <a:cubicBezTo>
                  <a:pt x="4199" y="1535"/>
                  <a:pt x="4199" y="1535"/>
                  <a:pt x="4199" y="1535"/>
                </a:cubicBezTo>
                <a:cubicBezTo>
                  <a:pt x="4215" y="1519"/>
                  <a:pt x="4231" y="1503"/>
                  <a:pt x="4231" y="1471"/>
                </a:cubicBezTo>
                <a:cubicBezTo>
                  <a:pt x="4231" y="1455"/>
                  <a:pt x="4231" y="1439"/>
                  <a:pt x="4215" y="1424"/>
                </a:cubicBezTo>
                <a:cubicBezTo>
                  <a:pt x="2959" y="24"/>
                  <a:pt x="2959" y="24"/>
                  <a:pt x="2959" y="24"/>
                </a:cubicBezTo>
                <a:cubicBezTo>
                  <a:pt x="2927" y="-8"/>
                  <a:pt x="2879" y="-8"/>
                  <a:pt x="2847" y="24"/>
                </a:cubicBezTo>
                <a:cubicBezTo>
                  <a:pt x="827" y="1789"/>
                  <a:pt x="827" y="1789"/>
                  <a:pt x="827" y="1789"/>
                </a:cubicBezTo>
                <a:cubicBezTo>
                  <a:pt x="398" y="1328"/>
                  <a:pt x="398" y="1328"/>
                  <a:pt x="398" y="1328"/>
                </a:cubicBezTo>
                <a:cubicBezTo>
                  <a:pt x="382" y="1296"/>
                  <a:pt x="350" y="1296"/>
                  <a:pt x="318" y="1296"/>
                </a:cubicBezTo>
                <a:close/>
                <a:moveTo>
                  <a:pt x="398" y="1567"/>
                </a:moveTo>
                <a:cubicBezTo>
                  <a:pt x="763" y="1948"/>
                  <a:pt x="763" y="1948"/>
                  <a:pt x="763" y="1948"/>
                </a:cubicBezTo>
                <a:cubicBezTo>
                  <a:pt x="779" y="1980"/>
                  <a:pt x="827" y="1996"/>
                  <a:pt x="875" y="1964"/>
                </a:cubicBezTo>
                <a:cubicBezTo>
                  <a:pt x="2895" y="183"/>
                  <a:pt x="2895" y="183"/>
                  <a:pt x="2895" y="183"/>
                </a:cubicBezTo>
                <a:cubicBezTo>
                  <a:pt x="4040" y="1471"/>
                  <a:pt x="4040" y="1471"/>
                  <a:pt x="4040" y="1471"/>
                </a:cubicBezTo>
                <a:cubicBezTo>
                  <a:pt x="2020" y="3253"/>
                  <a:pt x="2020" y="3253"/>
                  <a:pt x="2020" y="3253"/>
                </a:cubicBezTo>
                <a:cubicBezTo>
                  <a:pt x="2004" y="3269"/>
                  <a:pt x="2004" y="3284"/>
                  <a:pt x="2004" y="3300"/>
                </a:cubicBezTo>
                <a:cubicBezTo>
                  <a:pt x="2004" y="3332"/>
                  <a:pt x="2004" y="3348"/>
                  <a:pt x="2020" y="3364"/>
                </a:cubicBezTo>
                <a:cubicBezTo>
                  <a:pt x="2386" y="3762"/>
                  <a:pt x="2386" y="3762"/>
                  <a:pt x="2386" y="3762"/>
                </a:cubicBezTo>
                <a:cubicBezTo>
                  <a:pt x="175" y="3778"/>
                  <a:pt x="175" y="3778"/>
                  <a:pt x="175" y="377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5" name="Freeform: Shape 10">
            <a:extLst>
              <a:ext uri="{FF2B5EF4-FFF2-40B4-BE49-F238E27FC236}">
                <a16:creationId xmlns:a16="http://schemas.microsoft.com/office/drawing/2014/main" id="{35F42E05-2A8D-304F-9D1B-6DA9948A79ED}"/>
              </a:ext>
            </a:extLst>
          </p:cNvPr>
          <p:cNvSpPr/>
          <p:nvPr/>
        </p:nvSpPr>
        <p:spPr>
          <a:xfrm>
            <a:off x="10067950" y="3399437"/>
            <a:ext cx="1519560" cy="1419480"/>
          </a:xfrm>
          <a:custGeom>
            <a:avLst/>
            <a:gdLst/>
            <a:ahLst/>
            <a:cxnLst>
              <a:cxn ang="3cd4">
                <a:pos x="hc" y="t"/>
              </a:cxn>
              <a:cxn ang="cd2">
                <a:pos x="l" y="vc"/>
              </a:cxn>
              <a:cxn ang="cd4">
                <a:pos x="hc" y="b"/>
              </a:cxn>
              <a:cxn ang="0">
                <a:pos x="r" y="vc"/>
              </a:cxn>
            </a:cxnLst>
            <a:rect l="l" t="t" r="r" b="b"/>
            <a:pathLst>
              <a:path w="4222" h="3944">
                <a:moveTo>
                  <a:pt x="1336" y="3944"/>
                </a:moveTo>
                <a:cubicBezTo>
                  <a:pt x="1352" y="3944"/>
                  <a:pt x="1368" y="3944"/>
                  <a:pt x="1384" y="3929"/>
                </a:cubicBezTo>
                <a:cubicBezTo>
                  <a:pt x="3404" y="2147"/>
                  <a:pt x="3404" y="2147"/>
                  <a:pt x="3404" y="2147"/>
                </a:cubicBezTo>
                <a:cubicBezTo>
                  <a:pt x="3834" y="2625"/>
                  <a:pt x="3834" y="2625"/>
                  <a:pt x="3834" y="2625"/>
                </a:cubicBezTo>
                <a:cubicBezTo>
                  <a:pt x="3849" y="2640"/>
                  <a:pt x="3881" y="2656"/>
                  <a:pt x="3913" y="2640"/>
                </a:cubicBezTo>
                <a:cubicBezTo>
                  <a:pt x="3945" y="2640"/>
                  <a:pt x="3961" y="2608"/>
                  <a:pt x="3961" y="2577"/>
                </a:cubicBezTo>
                <a:cubicBezTo>
                  <a:pt x="4215" y="95"/>
                  <a:pt x="4215" y="95"/>
                  <a:pt x="4215" y="95"/>
                </a:cubicBezTo>
                <a:cubicBezTo>
                  <a:pt x="4231" y="63"/>
                  <a:pt x="4215" y="48"/>
                  <a:pt x="4199" y="32"/>
                </a:cubicBezTo>
                <a:cubicBezTo>
                  <a:pt x="4183" y="16"/>
                  <a:pt x="4167" y="0"/>
                  <a:pt x="4136" y="0"/>
                </a:cubicBezTo>
                <a:cubicBezTo>
                  <a:pt x="1655" y="16"/>
                  <a:pt x="1655" y="16"/>
                  <a:pt x="1655" y="16"/>
                </a:cubicBezTo>
                <a:cubicBezTo>
                  <a:pt x="1622" y="16"/>
                  <a:pt x="1607" y="32"/>
                  <a:pt x="1591" y="63"/>
                </a:cubicBezTo>
                <a:cubicBezTo>
                  <a:pt x="1575" y="95"/>
                  <a:pt x="1575" y="127"/>
                  <a:pt x="1607" y="143"/>
                </a:cubicBezTo>
                <a:cubicBezTo>
                  <a:pt x="2036" y="636"/>
                  <a:pt x="2036" y="636"/>
                  <a:pt x="2036" y="636"/>
                </a:cubicBezTo>
                <a:cubicBezTo>
                  <a:pt x="16" y="2417"/>
                  <a:pt x="16" y="2417"/>
                  <a:pt x="16" y="2417"/>
                </a:cubicBezTo>
                <a:cubicBezTo>
                  <a:pt x="0" y="2434"/>
                  <a:pt x="0" y="2450"/>
                  <a:pt x="0" y="2465"/>
                </a:cubicBezTo>
                <a:cubicBezTo>
                  <a:pt x="0" y="2481"/>
                  <a:pt x="0" y="2513"/>
                  <a:pt x="16" y="2529"/>
                </a:cubicBezTo>
                <a:cubicBezTo>
                  <a:pt x="1273" y="3929"/>
                  <a:pt x="1273" y="3929"/>
                  <a:pt x="1273" y="3929"/>
                </a:cubicBezTo>
                <a:cubicBezTo>
                  <a:pt x="1289" y="3944"/>
                  <a:pt x="1304" y="3944"/>
                  <a:pt x="1336" y="3944"/>
                </a:cubicBezTo>
                <a:close/>
                <a:moveTo>
                  <a:pt x="2195" y="700"/>
                </a:moveTo>
                <a:cubicBezTo>
                  <a:pt x="2211" y="684"/>
                  <a:pt x="2227" y="668"/>
                  <a:pt x="2227" y="636"/>
                </a:cubicBezTo>
                <a:cubicBezTo>
                  <a:pt x="2227" y="620"/>
                  <a:pt x="2227" y="604"/>
                  <a:pt x="2211" y="589"/>
                </a:cubicBezTo>
                <a:cubicBezTo>
                  <a:pt x="1845" y="175"/>
                  <a:pt x="1845" y="175"/>
                  <a:pt x="1845" y="175"/>
                </a:cubicBezTo>
                <a:cubicBezTo>
                  <a:pt x="4056" y="159"/>
                  <a:pt x="4056" y="159"/>
                  <a:pt x="4056" y="159"/>
                </a:cubicBezTo>
                <a:cubicBezTo>
                  <a:pt x="3818" y="2386"/>
                  <a:pt x="3818" y="2386"/>
                  <a:pt x="3818" y="2386"/>
                </a:cubicBezTo>
                <a:cubicBezTo>
                  <a:pt x="3468" y="1988"/>
                  <a:pt x="3468" y="1988"/>
                  <a:pt x="3468" y="1988"/>
                </a:cubicBezTo>
                <a:cubicBezTo>
                  <a:pt x="3436" y="1956"/>
                  <a:pt x="3388" y="1956"/>
                  <a:pt x="3356" y="1988"/>
                </a:cubicBezTo>
                <a:cubicBezTo>
                  <a:pt x="1336" y="3754"/>
                  <a:pt x="1336" y="3754"/>
                  <a:pt x="1336" y="3754"/>
                </a:cubicBezTo>
                <a:cubicBezTo>
                  <a:pt x="191" y="2481"/>
                  <a:pt x="191" y="2481"/>
                  <a:pt x="191" y="248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6" name="Freeform: Shape 11">
            <a:extLst>
              <a:ext uri="{FF2B5EF4-FFF2-40B4-BE49-F238E27FC236}">
                <a16:creationId xmlns:a16="http://schemas.microsoft.com/office/drawing/2014/main" id="{0DC7B451-AF2E-E24A-9845-C1FC74671502}"/>
              </a:ext>
            </a:extLst>
          </p:cNvPr>
          <p:cNvSpPr/>
          <p:nvPr/>
        </p:nvSpPr>
        <p:spPr>
          <a:xfrm>
            <a:off x="5989426" y="3399437"/>
            <a:ext cx="1522800" cy="1419480"/>
          </a:xfrm>
          <a:custGeom>
            <a:avLst/>
            <a:gdLst/>
            <a:ahLst/>
            <a:cxnLst>
              <a:cxn ang="3cd4">
                <a:pos x="hc" y="t"/>
              </a:cxn>
              <a:cxn ang="cd2">
                <a:pos x="l" y="vc"/>
              </a:cxn>
              <a:cxn ang="cd4">
                <a:pos x="hc" y="b"/>
              </a:cxn>
              <a:cxn ang="0">
                <a:pos x="r" y="vc"/>
              </a:cxn>
            </a:cxnLst>
            <a:rect l="l" t="t" r="r" b="b"/>
            <a:pathLst>
              <a:path w="4231" h="3944">
                <a:moveTo>
                  <a:pt x="2625" y="63"/>
                </a:moveTo>
                <a:cubicBezTo>
                  <a:pt x="2625" y="32"/>
                  <a:pt x="2593" y="16"/>
                  <a:pt x="2561" y="16"/>
                </a:cubicBezTo>
                <a:cubicBezTo>
                  <a:pt x="80" y="0"/>
                  <a:pt x="80" y="0"/>
                  <a:pt x="80" y="0"/>
                </a:cubicBezTo>
                <a:cubicBezTo>
                  <a:pt x="48" y="0"/>
                  <a:pt x="32" y="16"/>
                  <a:pt x="16" y="32"/>
                </a:cubicBezTo>
                <a:cubicBezTo>
                  <a:pt x="0" y="48"/>
                  <a:pt x="0" y="63"/>
                  <a:pt x="0" y="95"/>
                </a:cubicBezTo>
                <a:cubicBezTo>
                  <a:pt x="255" y="2577"/>
                  <a:pt x="255" y="2577"/>
                  <a:pt x="255" y="2577"/>
                </a:cubicBezTo>
                <a:cubicBezTo>
                  <a:pt x="255" y="2608"/>
                  <a:pt x="286" y="2640"/>
                  <a:pt x="319" y="2640"/>
                </a:cubicBezTo>
                <a:cubicBezTo>
                  <a:pt x="334" y="2656"/>
                  <a:pt x="366" y="2640"/>
                  <a:pt x="398" y="2625"/>
                </a:cubicBezTo>
                <a:cubicBezTo>
                  <a:pt x="812" y="2147"/>
                  <a:pt x="812" y="2147"/>
                  <a:pt x="812" y="2147"/>
                </a:cubicBezTo>
                <a:cubicBezTo>
                  <a:pt x="2831" y="3929"/>
                  <a:pt x="2831" y="3929"/>
                  <a:pt x="2831" y="3929"/>
                </a:cubicBezTo>
                <a:cubicBezTo>
                  <a:pt x="2848" y="3944"/>
                  <a:pt x="2879" y="3944"/>
                  <a:pt x="2895" y="3944"/>
                </a:cubicBezTo>
                <a:cubicBezTo>
                  <a:pt x="2911" y="3944"/>
                  <a:pt x="2927" y="3944"/>
                  <a:pt x="2943" y="3929"/>
                </a:cubicBezTo>
                <a:cubicBezTo>
                  <a:pt x="4200" y="2529"/>
                  <a:pt x="4200" y="2529"/>
                  <a:pt x="4200" y="2529"/>
                </a:cubicBezTo>
                <a:cubicBezTo>
                  <a:pt x="4215" y="2513"/>
                  <a:pt x="4231" y="2481"/>
                  <a:pt x="4231" y="2465"/>
                </a:cubicBezTo>
                <a:cubicBezTo>
                  <a:pt x="4231" y="2450"/>
                  <a:pt x="4215" y="2434"/>
                  <a:pt x="4200" y="2417"/>
                </a:cubicBezTo>
                <a:cubicBezTo>
                  <a:pt x="2179" y="636"/>
                  <a:pt x="2179" y="636"/>
                  <a:pt x="2179" y="636"/>
                </a:cubicBezTo>
                <a:cubicBezTo>
                  <a:pt x="2625" y="143"/>
                  <a:pt x="2625" y="143"/>
                  <a:pt x="2625" y="143"/>
                </a:cubicBezTo>
                <a:cubicBezTo>
                  <a:pt x="2640" y="127"/>
                  <a:pt x="2640" y="95"/>
                  <a:pt x="2625" y="63"/>
                </a:cubicBezTo>
                <a:close/>
                <a:moveTo>
                  <a:pt x="2021" y="589"/>
                </a:moveTo>
                <a:cubicBezTo>
                  <a:pt x="2004" y="604"/>
                  <a:pt x="1988" y="620"/>
                  <a:pt x="1988" y="636"/>
                </a:cubicBezTo>
                <a:cubicBezTo>
                  <a:pt x="1988" y="668"/>
                  <a:pt x="2004" y="684"/>
                  <a:pt x="2021" y="700"/>
                </a:cubicBezTo>
                <a:cubicBezTo>
                  <a:pt x="4040" y="2481"/>
                  <a:pt x="4040" y="2481"/>
                  <a:pt x="4040" y="2481"/>
                </a:cubicBezTo>
                <a:cubicBezTo>
                  <a:pt x="2879" y="3754"/>
                  <a:pt x="2879" y="3754"/>
                  <a:pt x="2879" y="3754"/>
                </a:cubicBezTo>
                <a:cubicBezTo>
                  <a:pt x="859" y="1988"/>
                  <a:pt x="859" y="1988"/>
                  <a:pt x="859" y="1988"/>
                </a:cubicBezTo>
                <a:cubicBezTo>
                  <a:pt x="843" y="1972"/>
                  <a:pt x="827" y="1956"/>
                  <a:pt x="812" y="1956"/>
                </a:cubicBezTo>
                <a:cubicBezTo>
                  <a:pt x="780" y="1956"/>
                  <a:pt x="764" y="1972"/>
                  <a:pt x="748" y="1988"/>
                </a:cubicBezTo>
                <a:cubicBezTo>
                  <a:pt x="398" y="2386"/>
                  <a:pt x="398" y="2386"/>
                  <a:pt x="398" y="2386"/>
                </a:cubicBezTo>
                <a:cubicBezTo>
                  <a:pt x="159" y="159"/>
                  <a:pt x="159" y="159"/>
                  <a:pt x="159" y="159"/>
                </a:cubicBezTo>
                <a:cubicBezTo>
                  <a:pt x="2386" y="175"/>
                  <a:pt x="2386" y="175"/>
                  <a:pt x="2386" y="17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7" name="Freeform: Shape 16">
            <a:extLst>
              <a:ext uri="{FF2B5EF4-FFF2-40B4-BE49-F238E27FC236}">
                <a16:creationId xmlns:a16="http://schemas.microsoft.com/office/drawing/2014/main" id="{9493D64D-C035-5A44-A537-6BDB92AA7A40}"/>
              </a:ext>
            </a:extLst>
          </p:cNvPr>
          <p:cNvSpPr/>
          <p:nvPr/>
        </p:nvSpPr>
        <p:spPr>
          <a:xfrm>
            <a:off x="13910992" y="9351398"/>
            <a:ext cx="1584360" cy="1883520"/>
          </a:xfrm>
          <a:custGeom>
            <a:avLst/>
            <a:gdLst/>
            <a:ahLst/>
            <a:cxnLst>
              <a:cxn ang="3cd4">
                <a:pos x="hc" y="t"/>
              </a:cxn>
              <a:cxn ang="cd2">
                <a:pos x="l" y="vc"/>
              </a:cxn>
              <a:cxn ang="cd4">
                <a:pos x="hc" y="b"/>
              </a:cxn>
              <a:cxn ang="0">
                <a:pos x="r" y="vc"/>
              </a:cxn>
            </a:cxnLst>
            <a:rect l="l" t="t" r="r" b="b"/>
            <a:pathLst>
              <a:path w="4402" h="5233">
                <a:moveTo>
                  <a:pt x="265" y="3976"/>
                </a:moveTo>
                <a:cubicBezTo>
                  <a:pt x="488" y="4438"/>
                  <a:pt x="647" y="4708"/>
                  <a:pt x="965" y="5010"/>
                </a:cubicBezTo>
                <a:cubicBezTo>
                  <a:pt x="1061" y="5090"/>
                  <a:pt x="1172" y="5185"/>
                  <a:pt x="1395" y="5217"/>
                </a:cubicBezTo>
                <a:cubicBezTo>
                  <a:pt x="1618" y="5248"/>
                  <a:pt x="1809" y="5185"/>
                  <a:pt x="1888" y="5137"/>
                </a:cubicBezTo>
                <a:cubicBezTo>
                  <a:pt x="2095" y="5058"/>
                  <a:pt x="2190" y="5026"/>
                  <a:pt x="2286" y="5026"/>
                </a:cubicBezTo>
                <a:cubicBezTo>
                  <a:pt x="2397" y="5026"/>
                  <a:pt x="2509" y="5058"/>
                  <a:pt x="2683" y="5137"/>
                </a:cubicBezTo>
                <a:cubicBezTo>
                  <a:pt x="2810" y="5201"/>
                  <a:pt x="2938" y="5233"/>
                  <a:pt x="3065" y="5233"/>
                </a:cubicBezTo>
                <a:cubicBezTo>
                  <a:pt x="3097" y="5233"/>
                  <a:pt x="3145" y="5233"/>
                  <a:pt x="3192" y="5217"/>
                </a:cubicBezTo>
                <a:cubicBezTo>
                  <a:pt x="3447" y="5185"/>
                  <a:pt x="3527" y="5105"/>
                  <a:pt x="3622" y="5010"/>
                </a:cubicBezTo>
                <a:cubicBezTo>
                  <a:pt x="3637" y="4994"/>
                  <a:pt x="3670" y="4978"/>
                  <a:pt x="3685" y="4947"/>
                </a:cubicBezTo>
                <a:cubicBezTo>
                  <a:pt x="3956" y="4708"/>
                  <a:pt x="4131" y="4406"/>
                  <a:pt x="4385" y="3833"/>
                </a:cubicBezTo>
                <a:cubicBezTo>
                  <a:pt x="4417" y="3801"/>
                  <a:pt x="4401" y="3754"/>
                  <a:pt x="4354" y="3721"/>
                </a:cubicBezTo>
                <a:cubicBezTo>
                  <a:pt x="4322" y="3706"/>
                  <a:pt x="4290" y="3690"/>
                  <a:pt x="4258" y="3690"/>
                </a:cubicBezTo>
                <a:cubicBezTo>
                  <a:pt x="4131" y="3626"/>
                  <a:pt x="4051" y="3578"/>
                  <a:pt x="3876" y="3356"/>
                </a:cubicBezTo>
                <a:cubicBezTo>
                  <a:pt x="3781" y="3229"/>
                  <a:pt x="3685" y="2974"/>
                  <a:pt x="3685" y="2783"/>
                </a:cubicBezTo>
                <a:cubicBezTo>
                  <a:pt x="3685" y="2497"/>
                  <a:pt x="3797" y="2290"/>
                  <a:pt x="3845" y="2211"/>
                </a:cubicBezTo>
                <a:cubicBezTo>
                  <a:pt x="3924" y="2051"/>
                  <a:pt x="3988" y="1988"/>
                  <a:pt x="4242" y="1797"/>
                </a:cubicBezTo>
                <a:cubicBezTo>
                  <a:pt x="4258" y="1797"/>
                  <a:pt x="4258" y="1765"/>
                  <a:pt x="4274" y="1749"/>
                </a:cubicBezTo>
                <a:cubicBezTo>
                  <a:pt x="4274" y="1733"/>
                  <a:pt x="4258" y="1702"/>
                  <a:pt x="4242" y="1686"/>
                </a:cubicBezTo>
                <a:cubicBezTo>
                  <a:pt x="4226" y="1654"/>
                  <a:pt x="4226" y="1654"/>
                  <a:pt x="4226" y="1654"/>
                </a:cubicBezTo>
                <a:cubicBezTo>
                  <a:pt x="4163" y="1590"/>
                  <a:pt x="4083" y="1511"/>
                  <a:pt x="4003" y="1447"/>
                </a:cubicBezTo>
                <a:cubicBezTo>
                  <a:pt x="3654" y="1161"/>
                  <a:pt x="3097" y="1129"/>
                  <a:pt x="2827" y="1209"/>
                </a:cubicBezTo>
                <a:cubicBezTo>
                  <a:pt x="2810" y="1209"/>
                  <a:pt x="2779" y="1224"/>
                  <a:pt x="2763" y="1224"/>
                </a:cubicBezTo>
                <a:cubicBezTo>
                  <a:pt x="2874" y="1145"/>
                  <a:pt x="3001" y="1049"/>
                  <a:pt x="3113" y="938"/>
                </a:cubicBezTo>
                <a:cubicBezTo>
                  <a:pt x="3240" y="811"/>
                  <a:pt x="3319" y="620"/>
                  <a:pt x="3336" y="477"/>
                </a:cubicBezTo>
                <a:cubicBezTo>
                  <a:pt x="3367" y="381"/>
                  <a:pt x="3351" y="270"/>
                  <a:pt x="3351" y="175"/>
                </a:cubicBezTo>
                <a:cubicBezTo>
                  <a:pt x="3351" y="143"/>
                  <a:pt x="3351" y="111"/>
                  <a:pt x="3351" y="79"/>
                </a:cubicBezTo>
                <a:cubicBezTo>
                  <a:pt x="3351" y="48"/>
                  <a:pt x="3351" y="31"/>
                  <a:pt x="3319" y="16"/>
                </a:cubicBezTo>
                <a:cubicBezTo>
                  <a:pt x="3304" y="0"/>
                  <a:pt x="3288" y="0"/>
                  <a:pt x="3256" y="0"/>
                </a:cubicBezTo>
                <a:cubicBezTo>
                  <a:pt x="3097" y="31"/>
                  <a:pt x="2922" y="111"/>
                  <a:pt x="2827" y="159"/>
                </a:cubicBezTo>
                <a:cubicBezTo>
                  <a:pt x="2731" y="206"/>
                  <a:pt x="2588" y="318"/>
                  <a:pt x="2461" y="477"/>
                </a:cubicBezTo>
                <a:cubicBezTo>
                  <a:pt x="2365" y="604"/>
                  <a:pt x="2286" y="779"/>
                  <a:pt x="2238" y="906"/>
                </a:cubicBezTo>
                <a:cubicBezTo>
                  <a:pt x="2238" y="922"/>
                  <a:pt x="2238" y="922"/>
                  <a:pt x="2238" y="922"/>
                </a:cubicBezTo>
                <a:cubicBezTo>
                  <a:pt x="2174" y="1049"/>
                  <a:pt x="2174" y="1177"/>
                  <a:pt x="2190" y="1288"/>
                </a:cubicBezTo>
                <a:cubicBezTo>
                  <a:pt x="2206" y="1336"/>
                  <a:pt x="2238" y="1352"/>
                  <a:pt x="2286" y="1352"/>
                </a:cubicBezTo>
                <a:cubicBezTo>
                  <a:pt x="2349" y="1352"/>
                  <a:pt x="2349" y="1352"/>
                  <a:pt x="2349" y="1352"/>
                </a:cubicBezTo>
                <a:cubicBezTo>
                  <a:pt x="2397" y="1352"/>
                  <a:pt x="2461" y="1336"/>
                  <a:pt x="2509" y="1336"/>
                </a:cubicBezTo>
                <a:cubicBezTo>
                  <a:pt x="2445" y="1352"/>
                  <a:pt x="2365" y="1367"/>
                  <a:pt x="2286" y="1367"/>
                </a:cubicBezTo>
                <a:cubicBezTo>
                  <a:pt x="2174" y="1367"/>
                  <a:pt x="2063" y="1336"/>
                  <a:pt x="1967" y="1288"/>
                </a:cubicBezTo>
                <a:cubicBezTo>
                  <a:pt x="1904" y="1256"/>
                  <a:pt x="1840" y="1224"/>
                  <a:pt x="1761" y="1209"/>
                </a:cubicBezTo>
                <a:cubicBezTo>
                  <a:pt x="1491" y="1145"/>
                  <a:pt x="934" y="1161"/>
                  <a:pt x="584" y="1447"/>
                </a:cubicBezTo>
                <a:cubicBezTo>
                  <a:pt x="298" y="1670"/>
                  <a:pt x="107" y="2020"/>
                  <a:pt x="27" y="2497"/>
                </a:cubicBezTo>
                <a:cubicBezTo>
                  <a:pt x="-68" y="2942"/>
                  <a:pt x="107" y="3642"/>
                  <a:pt x="265" y="3976"/>
                </a:cubicBezTo>
                <a:close/>
                <a:moveTo>
                  <a:pt x="2349" y="1193"/>
                </a:moveTo>
                <a:cubicBezTo>
                  <a:pt x="2349" y="1113"/>
                  <a:pt x="2349" y="1049"/>
                  <a:pt x="2381" y="986"/>
                </a:cubicBezTo>
                <a:cubicBezTo>
                  <a:pt x="2381" y="970"/>
                  <a:pt x="2381" y="970"/>
                  <a:pt x="2381" y="970"/>
                </a:cubicBezTo>
                <a:cubicBezTo>
                  <a:pt x="2429" y="843"/>
                  <a:pt x="2492" y="684"/>
                  <a:pt x="2588" y="572"/>
                </a:cubicBezTo>
                <a:cubicBezTo>
                  <a:pt x="2699" y="429"/>
                  <a:pt x="2827" y="334"/>
                  <a:pt x="2890" y="302"/>
                </a:cubicBezTo>
                <a:cubicBezTo>
                  <a:pt x="2954" y="270"/>
                  <a:pt x="3081" y="206"/>
                  <a:pt x="3192" y="175"/>
                </a:cubicBezTo>
                <a:cubicBezTo>
                  <a:pt x="3192" y="270"/>
                  <a:pt x="3208" y="366"/>
                  <a:pt x="3192" y="445"/>
                </a:cubicBezTo>
                <a:cubicBezTo>
                  <a:pt x="3176" y="445"/>
                  <a:pt x="3176" y="445"/>
                  <a:pt x="3176" y="445"/>
                </a:cubicBezTo>
                <a:cubicBezTo>
                  <a:pt x="3161" y="557"/>
                  <a:pt x="3097" y="731"/>
                  <a:pt x="2985" y="827"/>
                </a:cubicBezTo>
                <a:cubicBezTo>
                  <a:pt x="2874" y="954"/>
                  <a:pt x="2699" y="1081"/>
                  <a:pt x="2588" y="1161"/>
                </a:cubicBezTo>
                <a:cubicBezTo>
                  <a:pt x="2556" y="1177"/>
                  <a:pt x="2429" y="1177"/>
                  <a:pt x="2349" y="1193"/>
                </a:cubicBezTo>
                <a:close/>
                <a:moveTo>
                  <a:pt x="186" y="2513"/>
                </a:moveTo>
                <a:cubicBezTo>
                  <a:pt x="265" y="2084"/>
                  <a:pt x="425" y="1765"/>
                  <a:pt x="695" y="1558"/>
                </a:cubicBezTo>
                <a:cubicBezTo>
                  <a:pt x="1013" y="1320"/>
                  <a:pt x="1506" y="1304"/>
                  <a:pt x="1713" y="1367"/>
                </a:cubicBezTo>
                <a:cubicBezTo>
                  <a:pt x="1777" y="1384"/>
                  <a:pt x="1840" y="1399"/>
                  <a:pt x="1904" y="1431"/>
                </a:cubicBezTo>
                <a:cubicBezTo>
                  <a:pt x="2015" y="1479"/>
                  <a:pt x="2127" y="1527"/>
                  <a:pt x="2286" y="1527"/>
                </a:cubicBezTo>
                <a:cubicBezTo>
                  <a:pt x="2461" y="1527"/>
                  <a:pt x="2572" y="1479"/>
                  <a:pt x="2683" y="1431"/>
                </a:cubicBezTo>
                <a:cubicBezTo>
                  <a:pt x="2747" y="1399"/>
                  <a:pt x="2810" y="1384"/>
                  <a:pt x="2874" y="1367"/>
                </a:cubicBezTo>
                <a:cubicBezTo>
                  <a:pt x="3113" y="1304"/>
                  <a:pt x="3590" y="1320"/>
                  <a:pt x="3908" y="1558"/>
                </a:cubicBezTo>
                <a:cubicBezTo>
                  <a:pt x="3972" y="1606"/>
                  <a:pt x="4019" y="1670"/>
                  <a:pt x="4067" y="1733"/>
                </a:cubicBezTo>
                <a:cubicBezTo>
                  <a:pt x="3876" y="1876"/>
                  <a:pt x="3797" y="1956"/>
                  <a:pt x="3701" y="2131"/>
                </a:cubicBezTo>
                <a:cubicBezTo>
                  <a:pt x="3654" y="2211"/>
                  <a:pt x="3527" y="2465"/>
                  <a:pt x="3527" y="2799"/>
                </a:cubicBezTo>
                <a:cubicBezTo>
                  <a:pt x="3527" y="3022"/>
                  <a:pt x="3622" y="3292"/>
                  <a:pt x="3749" y="3451"/>
                </a:cubicBezTo>
                <a:cubicBezTo>
                  <a:pt x="3940" y="3706"/>
                  <a:pt x="4067" y="3769"/>
                  <a:pt x="4194" y="3833"/>
                </a:cubicBezTo>
                <a:lnTo>
                  <a:pt x="4210" y="3833"/>
                </a:lnTo>
                <a:cubicBezTo>
                  <a:pt x="3956" y="4406"/>
                  <a:pt x="3797" y="4628"/>
                  <a:pt x="3590" y="4835"/>
                </a:cubicBezTo>
                <a:cubicBezTo>
                  <a:pt x="3558" y="4851"/>
                  <a:pt x="3527" y="4883"/>
                  <a:pt x="3510" y="4899"/>
                </a:cubicBezTo>
                <a:cubicBezTo>
                  <a:pt x="3431" y="4978"/>
                  <a:pt x="3367" y="5042"/>
                  <a:pt x="3161" y="5058"/>
                </a:cubicBezTo>
                <a:cubicBezTo>
                  <a:pt x="2970" y="5090"/>
                  <a:pt x="2810" y="5026"/>
                  <a:pt x="2763" y="4994"/>
                </a:cubicBezTo>
                <a:cubicBezTo>
                  <a:pt x="2540" y="4899"/>
                  <a:pt x="2429" y="4867"/>
                  <a:pt x="2286" y="4867"/>
                </a:cubicBezTo>
                <a:cubicBezTo>
                  <a:pt x="2158" y="4867"/>
                  <a:pt x="2047" y="4899"/>
                  <a:pt x="1824" y="4994"/>
                </a:cubicBezTo>
                <a:cubicBezTo>
                  <a:pt x="1761" y="5026"/>
                  <a:pt x="1602" y="5090"/>
                  <a:pt x="1427" y="5058"/>
                </a:cubicBezTo>
                <a:cubicBezTo>
                  <a:pt x="1236" y="5026"/>
                  <a:pt x="1156" y="4962"/>
                  <a:pt x="1077" y="4899"/>
                </a:cubicBezTo>
                <a:cubicBezTo>
                  <a:pt x="774" y="4612"/>
                  <a:pt x="616" y="4358"/>
                  <a:pt x="409" y="3912"/>
                </a:cubicBezTo>
                <a:cubicBezTo>
                  <a:pt x="265" y="3610"/>
                  <a:pt x="107" y="2926"/>
                  <a:pt x="186" y="251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8" name="Freeform: Shape 18">
            <a:extLst>
              <a:ext uri="{FF2B5EF4-FFF2-40B4-BE49-F238E27FC236}">
                <a16:creationId xmlns:a16="http://schemas.microsoft.com/office/drawing/2014/main" id="{483E4876-698B-F741-979B-AB868BDF48C4}"/>
              </a:ext>
            </a:extLst>
          </p:cNvPr>
          <p:cNvSpPr/>
          <p:nvPr/>
        </p:nvSpPr>
        <p:spPr>
          <a:xfrm>
            <a:off x="21475980" y="6262528"/>
            <a:ext cx="1122120" cy="1928879"/>
          </a:xfrm>
          <a:custGeom>
            <a:avLst/>
            <a:gdLst/>
            <a:ahLst/>
            <a:cxnLst>
              <a:cxn ang="3cd4">
                <a:pos x="hc" y="t"/>
              </a:cxn>
              <a:cxn ang="cd2">
                <a:pos x="l" y="vc"/>
              </a:cxn>
              <a:cxn ang="cd4">
                <a:pos x="hc" y="b"/>
              </a:cxn>
              <a:cxn ang="0">
                <a:pos x="r" y="vc"/>
              </a:cxn>
            </a:cxnLst>
            <a:rect l="l" t="t" r="r" b="b"/>
            <a:pathLst>
              <a:path w="3118" h="5359">
                <a:moveTo>
                  <a:pt x="1464" y="3912"/>
                </a:moveTo>
                <a:lnTo>
                  <a:pt x="2958" y="3912"/>
                </a:lnTo>
                <a:lnTo>
                  <a:pt x="2958" y="5200"/>
                </a:lnTo>
                <a:lnTo>
                  <a:pt x="859" y="5200"/>
                </a:lnTo>
                <a:lnTo>
                  <a:pt x="859" y="3912"/>
                </a:lnTo>
                <a:lnTo>
                  <a:pt x="1464" y="3912"/>
                </a:lnTo>
                <a:cubicBezTo>
                  <a:pt x="1288" y="3880"/>
                  <a:pt x="1145" y="3817"/>
                  <a:pt x="1034" y="3753"/>
                </a:cubicBezTo>
                <a:lnTo>
                  <a:pt x="779" y="3753"/>
                </a:lnTo>
                <a:cubicBezTo>
                  <a:pt x="747" y="3753"/>
                  <a:pt x="700" y="3784"/>
                  <a:pt x="700" y="3832"/>
                </a:cubicBezTo>
                <a:lnTo>
                  <a:pt x="700" y="5280"/>
                </a:lnTo>
                <a:cubicBezTo>
                  <a:pt x="700" y="5311"/>
                  <a:pt x="747" y="5359"/>
                  <a:pt x="779" y="5359"/>
                </a:cubicBezTo>
                <a:lnTo>
                  <a:pt x="3038" y="5359"/>
                </a:lnTo>
                <a:cubicBezTo>
                  <a:pt x="3070" y="5359"/>
                  <a:pt x="3118" y="5311"/>
                  <a:pt x="3118" y="5280"/>
                </a:cubicBezTo>
                <a:lnTo>
                  <a:pt x="3118" y="3832"/>
                </a:lnTo>
                <a:cubicBezTo>
                  <a:pt x="3118" y="3784"/>
                  <a:pt x="3070" y="3753"/>
                  <a:pt x="3038" y="3753"/>
                </a:cubicBezTo>
                <a:lnTo>
                  <a:pt x="2561" y="3753"/>
                </a:lnTo>
                <a:cubicBezTo>
                  <a:pt x="2449" y="3817"/>
                  <a:pt x="2338" y="3880"/>
                  <a:pt x="2179" y="3912"/>
                </a:cubicBezTo>
                <a:close/>
                <a:moveTo>
                  <a:pt x="1479" y="3753"/>
                </a:moveTo>
                <a:lnTo>
                  <a:pt x="2163" y="3753"/>
                </a:lnTo>
                <a:close/>
                <a:moveTo>
                  <a:pt x="2529" y="4930"/>
                </a:moveTo>
                <a:cubicBezTo>
                  <a:pt x="2704" y="4930"/>
                  <a:pt x="2863" y="4787"/>
                  <a:pt x="2863" y="4612"/>
                </a:cubicBezTo>
                <a:cubicBezTo>
                  <a:pt x="2863" y="4421"/>
                  <a:pt x="2704" y="4278"/>
                  <a:pt x="2529" y="4278"/>
                </a:cubicBezTo>
                <a:cubicBezTo>
                  <a:pt x="2354" y="4278"/>
                  <a:pt x="2195" y="4421"/>
                  <a:pt x="2195" y="4612"/>
                </a:cubicBezTo>
                <a:cubicBezTo>
                  <a:pt x="2195" y="4787"/>
                  <a:pt x="2354" y="4930"/>
                  <a:pt x="2529" y="4930"/>
                </a:cubicBezTo>
                <a:close/>
                <a:moveTo>
                  <a:pt x="2529" y="4437"/>
                </a:moveTo>
                <a:cubicBezTo>
                  <a:pt x="2625" y="4437"/>
                  <a:pt x="2704" y="4516"/>
                  <a:pt x="2704" y="4612"/>
                </a:cubicBezTo>
                <a:cubicBezTo>
                  <a:pt x="2704" y="4707"/>
                  <a:pt x="2625" y="4771"/>
                  <a:pt x="2529" y="4771"/>
                </a:cubicBezTo>
                <a:cubicBezTo>
                  <a:pt x="2434" y="4771"/>
                  <a:pt x="2354" y="4707"/>
                  <a:pt x="2354" y="4612"/>
                </a:cubicBezTo>
                <a:cubicBezTo>
                  <a:pt x="2354" y="4516"/>
                  <a:pt x="2434" y="4437"/>
                  <a:pt x="2529" y="4437"/>
                </a:cubicBezTo>
                <a:close/>
                <a:moveTo>
                  <a:pt x="2179" y="175"/>
                </a:moveTo>
                <a:cubicBezTo>
                  <a:pt x="2100" y="175"/>
                  <a:pt x="2036" y="191"/>
                  <a:pt x="1973" y="223"/>
                </a:cubicBezTo>
                <a:cubicBezTo>
                  <a:pt x="1940" y="95"/>
                  <a:pt x="1829" y="0"/>
                  <a:pt x="1654" y="0"/>
                </a:cubicBezTo>
                <a:cubicBezTo>
                  <a:pt x="1464" y="0"/>
                  <a:pt x="1336" y="143"/>
                  <a:pt x="1320" y="302"/>
                </a:cubicBezTo>
                <a:cubicBezTo>
                  <a:pt x="1129" y="191"/>
                  <a:pt x="811" y="302"/>
                  <a:pt x="811" y="589"/>
                </a:cubicBezTo>
                <a:lnTo>
                  <a:pt x="811" y="2163"/>
                </a:lnTo>
                <a:lnTo>
                  <a:pt x="652" y="1957"/>
                </a:lnTo>
                <a:cubicBezTo>
                  <a:pt x="541" y="1797"/>
                  <a:pt x="318" y="1734"/>
                  <a:pt x="159" y="1829"/>
                </a:cubicBezTo>
                <a:cubicBezTo>
                  <a:pt x="80" y="1877"/>
                  <a:pt x="32" y="1957"/>
                  <a:pt x="16" y="2052"/>
                </a:cubicBezTo>
                <a:cubicBezTo>
                  <a:pt x="-16" y="2148"/>
                  <a:pt x="0" y="2243"/>
                  <a:pt x="64" y="2322"/>
                </a:cubicBezTo>
                <a:cubicBezTo>
                  <a:pt x="80" y="2354"/>
                  <a:pt x="446" y="3086"/>
                  <a:pt x="668" y="3388"/>
                </a:cubicBezTo>
                <a:cubicBezTo>
                  <a:pt x="779" y="3531"/>
                  <a:pt x="875" y="3658"/>
                  <a:pt x="1034" y="3754"/>
                </a:cubicBezTo>
                <a:cubicBezTo>
                  <a:pt x="1145" y="3818"/>
                  <a:pt x="1288" y="3881"/>
                  <a:pt x="1464" y="3913"/>
                </a:cubicBezTo>
                <a:lnTo>
                  <a:pt x="2179" y="3913"/>
                </a:lnTo>
                <a:cubicBezTo>
                  <a:pt x="2338" y="3881"/>
                  <a:pt x="2449" y="3818"/>
                  <a:pt x="2561" y="3754"/>
                </a:cubicBezTo>
                <a:cubicBezTo>
                  <a:pt x="3006" y="3452"/>
                  <a:pt x="3038" y="2879"/>
                  <a:pt x="3038" y="2752"/>
                </a:cubicBezTo>
                <a:lnTo>
                  <a:pt x="3038" y="1018"/>
                </a:lnTo>
                <a:cubicBezTo>
                  <a:pt x="3038" y="652"/>
                  <a:pt x="2815" y="604"/>
                  <a:pt x="2688" y="604"/>
                </a:cubicBezTo>
                <a:cubicBezTo>
                  <a:pt x="2640" y="604"/>
                  <a:pt x="2577" y="604"/>
                  <a:pt x="2513" y="652"/>
                </a:cubicBezTo>
                <a:lnTo>
                  <a:pt x="2513" y="589"/>
                </a:lnTo>
                <a:cubicBezTo>
                  <a:pt x="2513" y="239"/>
                  <a:pt x="2338" y="175"/>
                  <a:pt x="2179" y="175"/>
                </a:cubicBezTo>
                <a:close/>
                <a:moveTo>
                  <a:pt x="2688" y="764"/>
                </a:moveTo>
                <a:cubicBezTo>
                  <a:pt x="2783" y="764"/>
                  <a:pt x="2879" y="795"/>
                  <a:pt x="2879" y="1018"/>
                </a:cubicBezTo>
                <a:lnTo>
                  <a:pt x="2879" y="2752"/>
                </a:lnTo>
                <a:cubicBezTo>
                  <a:pt x="2879" y="2895"/>
                  <a:pt x="2831" y="3611"/>
                  <a:pt x="2163" y="3754"/>
                </a:cubicBezTo>
                <a:lnTo>
                  <a:pt x="1479" y="3754"/>
                </a:lnTo>
                <a:cubicBezTo>
                  <a:pt x="1113" y="3690"/>
                  <a:pt x="955" y="3499"/>
                  <a:pt x="795" y="3293"/>
                </a:cubicBezTo>
                <a:cubicBezTo>
                  <a:pt x="589" y="3006"/>
                  <a:pt x="207" y="2258"/>
                  <a:pt x="191" y="2243"/>
                </a:cubicBezTo>
                <a:cubicBezTo>
                  <a:pt x="159" y="2195"/>
                  <a:pt x="159" y="2131"/>
                  <a:pt x="159" y="2084"/>
                </a:cubicBezTo>
                <a:cubicBezTo>
                  <a:pt x="175" y="2036"/>
                  <a:pt x="207" y="1988"/>
                  <a:pt x="238" y="1972"/>
                </a:cubicBezTo>
                <a:cubicBezTo>
                  <a:pt x="270" y="1957"/>
                  <a:pt x="302" y="1940"/>
                  <a:pt x="334" y="1940"/>
                </a:cubicBezTo>
                <a:cubicBezTo>
                  <a:pt x="398" y="1940"/>
                  <a:pt x="477" y="1988"/>
                  <a:pt x="525" y="2052"/>
                </a:cubicBezTo>
                <a:lnTo>
                  <a:pt x="827" y="2449"/>
                </a:lnTo>
                <a:cubicBezTo>
                  <a:pt x="843" y="2481"/>
                  <a:pt x="875" y="2481"/>
                  <a:pt x="907" y="2481"/>
                </a:cubicBezTo>
                <a:cubicBezTo>
                  <a:pt x="938" y="2466"/>
                  <a:pt x="970" y="2434"/>
                  <a:pt x="970" y="2402"/>
                </a:cubicBezTo>
                <a:lnTo>
                  <a:pt x="970" y="589"/>
                </a:lnTo>
                <a:cubicBezTo>
                  <a:pt x="970" y="461"/>
                  <a:pt x="1082" y="413"/>
                  <a:pt x="1145" y="413"/>
                </a:cubicBezTo>
                <a:cubicBezTo>
                  <a:pt x="1225" y="413"/>
                  <a:pt x="1320" y="461"/>
                  <a:pt x="1320" y="589"/>
                </a:cubicBezTo>
                <a:lnTo>
                  <a:pt x="1320" y="1718"/>
                </a:lnTo>
                <a:cubicBezTo>
                  <a:pt x="1320" y="1766"/>
                  <a:pt x="1352" y="1797"/>
                  <a:pt x="1400" y="1797"/>
                </a:cubicBezTo>
                <a:cubicBezTo>
                  <a:pt x="1447" y="1797"/>
                  <a:pt x="1479" y="1766"/>
                  <a:pt x="1479" y="1718"/>
                </a:cubicBezTo>
                <a:lnTo>
                  <a:pt x="1479" y="334"/>
                </a:lnTo>
                <a:cubicBezTo>
                  <a:pt x="1479" y="270"/>
                  <a:pt x="1527" y="159"/>
                  <a:pt x="1654" y="159"/>
                </a:cubicBezTo>
                <a:cubicBezTo>
                  <a:pt x="1797" y="159"/>
                  <a:pt x="1845" y="270"/>
                  <a:pt x="1845" y="334"/>
                </a:cubicBezTo>
                <a:lnTo>
                  <a:pt x="1845" y="1718"/>
                </a:lnTo>
                <a:cubicBezTo>
                  <a:pt x="1845" y="1766"/>
                  <a:pt x="1877" y="1797"/>
                  <a:pt x="1925" y="1797"/>
                </a:cubicBezTo>
                <a:cubicBezTo>
                  <a:pt x="1956" y="1797"/>
                  <a:pt x="2004" y="1766"/>
                  <a:pt x="2004" y="1718"/>
                </a:cubicBezTo>
                <a:lnTo>
                  <a:pt x="2004" y="509"/>
                </a:lnTo>
                <a:cubicBezTo>
                  <a:pt x="2004" y="430"/>
                  <a:pt x="2036" y="334"/>
                  <a:pt x="2179" y="334"/>
                </a:cubicBezTo>
                <a:cubicBezTo>
                  <a:pt x="2243" y="334"/>
                  <a:pt x="2354" y="334"/>
                  <a:pt x="2354" y="589"/>
                </a:cubicBezTo>
                <a:lnTo>
                  <a:pt x="2354" y="1797"/>
                </a:lnTo>
                <a:cubicBezTo>
                  <a:pt x="2354" y="1845"/>
                  <a:pt x="2386" y="1877"/>
                  <a:pt x="2434" y="1877"/>
                </a:cubicBezTo>
                <a:cubicBezTo>
                  <a:pt x="2482" y="1877"/>
                  <a:pt x="2513" y="1845"/>
                  <a:pt x="2513" y="1797"/>
                </a:cubicBezTo>
                <a:lnTo>
                  <a:pt x="2513" y="1018"/>
                </a:lnTo>
                <a:cubicBezTo>
                  <a:pt x="2513" y="795"/>
                  <a:pt x="2609" y="764"/>
                  <a:pt x="2688" y="76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9" name="Freeform: Shape 19">
            <a:extLst>
              <a:ext uri="{FF2B5EF4-FFF2-40B4-BE49-F238E27FC236}">
                <a16:creationId xmlns:a16="http://schemas.microsoft.com/office/drawing/2014/main" id="{73A2FBFE-4A82-8647-AAE6-F0D69232CF95}"/>
              </a:ext>
            </a:extLst>
          </p:cNvPr>
          <p:cNvSpPr/>
          <p:nvPr/>
        </p:nvSpPr>
        <p:spPr>
          <a:xfrm>
            <a:off x="13952152" y="6663343"/>
            <a:ext cx="1585800" cy="1425600"/>
          </a:xfrm>
          <a:custGeom>
            <a:avLst/>
            <a:gdLst/>
            <a:ahLst/>
            <a:cxnLst>
              <a:cxn ang="3cd4">
                <a:pos x="hc" y="t"/>
              </a:cxn>
              <a:cxn ang="cd2">
                <a:pos x="l" y="vc"/>
              </a:cxn>
              <a:cxn ang="cd4">
                <a:pos x="hc" y="b"/>
              </a:cxn>
              <a:cxn ang="0">
                <a:pos x="r" y="vc"/>
              </a:cxn>
            </a:cxnLst>
            <a:rect l="l" t="t" r="r" b="b"/>
            <a:pathLst>
              <a:path w="4406" h="3961">
                <a:moveTo>
                  <a:pt x="2004" y="0"/>
                </a:moveTo>
                <a:cubicBezTo>
                  <a:pt x="79" y="0"/>
                  <a:pt x="79" y="0"/>
                  <a:pt x="79" y="0"/>
                </a:cubicBezTo>
                <a:cubicBezTo>
                  <a:pt x="32" y="0"/>
                  <a:pt x="0" y="32"/>
                  <a:pt x="0" y="80"/>
                </a:cubicBezTo>
                <a:cubicBezTo>
                  <a:pt x="0" y="954"/>
                  <a:pt x="0" y="954"/>
                  <a:pt x="0" y="954"/>
                </a:cubicBezTo>
                <a:cubicBezTo>
                  <a:pt x="0" y="1002"/>
                  <a:pt x="32" y="1034"/>
                  <a:pt x="79" y="1034"/>
                </a:cubicBezTo>
                <a:cubicBezTo>
                  <a:pt x="2004" y="1034"/>
                  <a:pt x="2004" y="1034"/>
                  <a:pt x="2004" y="1034"/>
                </a:cubicBezTo>
                <a:cubicBezTo>
                  <a:pt x="2052" y="1034"/>
                  <a:pt x="2083" y="1002"/>
                  <a:pt x="2083" y="954"/>
                </a:cubicBezTo>
                <a:cubicBezTo>
                  <a:pt x="2083" y="684"/>
                  <a:pt x="2083" y="684"/>
                  <a:pt x="2083" y="684"/>
                </a:cubicBezTo>
                <a:cubicBezTo>
                  <a:pt x="2370" y="684"/>
                  <a:pt x="2370" y="684"/>
                  <a:pt x="2370" y="684"/>
                </a:cubicBezTo>
                <a:cubicBezTo>
                  <a:pt x="2370" y="3435"/>
                  <a:pt x="2370" y="3435"/>
                  <a:pt x="2370" y="3435"/>
                </a:cubicBezTo>
                <a:cubicBezTo>
                  <a:pt x="2370" y="3452"/>
                  <a:pt x="2386" y="3467"/>
                  <a:pt x="2386" y="3483"/>
                </a:cubicBezTo>
                <a:cubicBezTo>
                  <a:pt x="2401" y="3499"/>
                  <a:pt x="2434" y="3515"/>
                  <a:pt x="2449" y="3515"/>
                </a:cubicBezTo>
                <a:cubicBezTo>
                  <a:pt x="3006" y="3515"/>
                  <a:pt x="3006" y="3515"/>
                  <a:pt x="3006" y="3515"/>
                </a:cubicBezTo>
                <a:cubicBezTo>
                  <a:pt x="3006" y="3881"/>
                  <a:pt x="3006" y="3881"/>
                  <a:pt x="3006" y="3881"/>
                </a:cubicBezTo>
                <a:cubicBezTo>
                  <a:pt x="3006" y="3929"/>
                  <a:pt x="3038" y="3961"/>
                  <a:pt x="3086" y="3961"/>
                </a:cubicBezTo>
                <a:cubicBezTo>
                  <a:pt x="4326" y="3961"/>
                  <a:pt x="4326" y="3961"/>
                  <a:pt x="4326" y="3961"/>
                </a:cubicBezTo>
                <a:cubicBezTo>
                  <a:pt x="4374" y="3961"/>
                  <a:pt x="4406" y="3929"/>
                  <a:pt x="4406" y="3881"/>
                </a:cubicBezTo>
                <a:cubicBezTo>
                  <a:pt x="4406" y="2990"/>
                  <a:pt x="4406" y="2990"/>
                  <a:pt x="4406" y="2990"/>
                </a:cubicBezTo>
                <a:cubicBezTo>
                  <a:pt x="4406" y="2943"/>
                  <a:pt x="4374" y="2911"/>
                  <a:pt x="4326" y="2911"/>
                </a:cubicBezTo>
                <a:cubicBezTo>
                  <a:pt x="3086" y="2911"/>
                  <a:pt x="3086" y="2911"/>
                  <a:pt x="3086" y="2911"/>
                </a:cubicBezTo>
                <a:cubicBezTo>
                  <a:pt x="3038" y="2911"/>
                  <a:pt x="3006" y="2943"/>
                  <a:pt x="3006" y="2990"/>
                </a:cubicBezTo>
                <a:cubicBezTo>
                  <a:pt x="3006" y="3356"/>
                  <a:pt x="3006" y="3356"/>
                  <a:pt x="3006" y="3356"/>
                </a:cubicBezTo>
                <a:cubicBezTo>
                  <a:pt x="2529" y="3356"/>
                  <a:pt x="2529" y="3356"/>
                  <a:pt x="2529" y="3356"/>
                </a:cubicBezTo>
                <a:cubicBezTo>
                  <a:pt x="2529" y="2099"/>
                  <a:pt x="2529" y="2099"/>
                  <a:pt x="2529" y="2099"/>
                </a:cubicBezTo>
                <a:cubicBezTo>
                  <a:pt x="3006" y="2099"/>
                  <a:pt x="3006" y="2099"/>
                  <a:pt x="3006" y="2099"/>
                </a:cubicBezTo>
                <a:cubicBezTo>
                  <a:pt x="3006" y="2465"/>
                  <a:pt x="3006" y="2465"/>
                  <a:pt x="3006" y="2465"/>
                </a:cubicBezTo>
                <a:cubicBezTo>
                  <a:pt x="3006" y="2497"/>
                  <a:pt x="3038" y="2545"/>
                  <a:pt x="3086" y="2545"/>
                </a:cubicBezTo>
                <a:cubicBezTo>
                  <a:pt x="4326" y="2545"/>
                  <a:pt x="4326" y="2545"/>
                  <a:pt x="4326" y="2545"/>
                </a:cubicBezTo>
                <a:cubicBezTo>
                  <a:pt x="4374" y="2545"/>
                  <a:pt x="4406" y="2497"/>
                  <a:pt x="4406" y="2465"/>
                </a:cubicBezTo>
                <a:cubicBezTo>
                  <a:pt x="4406" y="1575"/>
                  <a:pt x="4406" y="1575"/>
                  <a:pt x="4406" y="1575"/>
                </a:cubicBezTo>
                <a:cubicBezTo>
                  <a:pt x="4406" y="1527"/>
                  <a:pt x="4374" y="1495"/>
                  <a:pt x="4326" y="1495"/>
                </a:cubicBezTo>
                <a:cubicBezTo>
                  <a:pt x="3086" y="1495"/>
                  <a:pt x="3086" y="1495"/>
                  <a:pt x="3086" y="1495"/>
                </a:cubicBezTo>
                <a:cubicBezTo>
                  <a:pt x="3038" y="1495"/>
                  <a:pt x="3006" y="1527"/>
                  <a:pt x="3006" y="1575"/>
                </a:cubicBezTo>
                <a:cubicBezTo>
                  <a:pt x="3006" y="1941"/>
                  <a:pt x="3006" y="1941"/>
                  <a:pt x="3006" y="1941"/>
                </a:cubicBezTo>
                <a:cubicBezTo>
                  <a:pt x="2529" y="1941"/>
                  <a:pt x="2529" y="1941"/>
                  <a:pt x="2529" y="1941"/>
                </a:cubicBezTo>
                <a:cubicBezTo>
                  <a:pt x="2529" y="684"/>
                  <a:pt x="2529" y="684"/>
                  <a:pt x="2529" y="684"/>
                </a:cubicBezTo>
                <a:cubicBezTo>
                  <a:pt x="3006" y="684"/>
                  <a:pt x="3006" y="684"/>
                  <a:pt x="3006" y="684"/>
                </a:cubicBezTo>
                <a:cubicBezTo>
                  <a:pt x="3006" y="1050"/>
                  <a:pt x="3006" y="1050"/>
                  <a:pt x="3006" y="1050"/>
                </a:cubicBezTo>
                <a:cubicBezTo>
                  <a:pt x="3006" y="1081"/>
                  <a:pt x="3038" y="1129"/>
                  <a:pt x="3086" y="1129"/>
                </a:cubicBezTo>
                <a:cubicBezTo>
                  <a:pt x="4326" y="1129"/>
                  <a:pt x="4326" y="1129"/>
                  <a:pt x="4326" y="1129"/>
                </a:cubicBezTo>
                <a:cubicBezTo>
                  <a:pt x="4374" y="1129"/>
                  <a:pt x="4406" y="1081"/>
                  <a:pt x="4406" y="1050"/>
                </a:cubicBezTo>
                <a:cubicBezTo>
                  <a:pt x="4406" y="159"/>
                  <a:pt x="4406" y="159"/>
                  <a:pt x="4406" y="159"/>
                </a:cubicBezTo>
                <a:cubicBezTo>
                  <a:pt x="4406" y="111"/>
                  <a:pt x="4374" y="80"/>
                  <a:pt x="4326" y="80"/>
                </a:cubicBezTo>
                <a:cubicBezTo>
                  <a:pt x="3086" y="80"/>
                  <a:pt x="3086" y="80"/>
                  <a:pt x="3086" y="80"/>
                </a:cubicBezTo>
                <a:cubicBezTo>
                  <a:pt x="3038" y="80"/>
                  <a:pt x="3006" y="111"/>
                  <a:pt x="3006" y="159"/>
                </a:cubicBezTo>
                <a:cubicBezTo>
                  <a:pt x="3006" y="525"/>
                  <a:pt x="3006" y="525"/>
                  <a:pt x="3006" y="525"/>
                </a:cubicBezTo>
                <a:cubicBezTo>
                  <a:pt x="2083" y="525"/>
                  <a:pt x="2083" y="525"/>
                  <a:pt x="2083" y="525"/>
                </a:cubicBezTo>
                <a:cubicBezTo>
                  <a:pt x="2083" y="80"/>
                  <a:pt x="2083" y="80"/>
                  <a:pt x="2083" y="80"/>
                </a:cubicBezTo>
                <a:cubicBezTo>
                  <a:pt x="2083" y="32"/>
                  <a:pt x="2052" y="0"/>
                  <a:pt x="2004" y="0"/>
                </a:cubicBezTo>
                <a:close/>
                <a:moveTo>
                  <a:pt x="3165" y="3070"/>
                </a:moveTo>
                <a:cubicBezTo>
                  <a:pt x="4247" y="3070"/>
                  <a:pt x="4247" y="3070"/>
                  <a:pt x="4247" y="3070"/>
                </a:cubicBezTo>
                <a:cubicBezTo>
                  <a:pt x="4247" y="3801"/>
                  <a:pt x="4247" y="3801"/>
                  <a:pt x="4247" y="3801"/>
                </a:cubicBezTo>
                <a:cubicBezTo>
                  <a:pt x="3165" y="3801"/>
                  <a:pt x="3165" y="3801"/>
                  <a:pt x="3165" y="3801"/>
                </a:cubicBezTo>
                <a:close/>
                <a:moveTo>
                  <a:pt x="3165" y="1654"/>
                </a:moveTo>
                <a:cubicBezTo>
                  <a:pt x="4247" y="1654"/>
                  <a:pt x="4247" y="1654"/>
                  <a:pt x="4247" y="1654"/>
                </a:cubicBezTo>
                <a:cubicBezTo>
                  <a:pt x="4247" y="2386"/>
                  <a:pt x="4247" y="2386"/>
                  <a:pt x="4247" y="2386"/>
                </a:cubicBezTo>
                <a:cubicBezTo>
                  <a:pt x="3165" y="2386"/>
                  <a:pt x="3165" y="2386"/>
                  <a:pt x="3165" y="2386"/>
                </a:cubicBezTo>
                <a:close/>
                <a:moveTo>
                  <a:pt x="3165" y="238"/>
                </a:moveTo>
                <a:cubicBezTo>
                  <a:pt x="4247" y="238"/>
                  <a:pt x="4247" y="238"/>
                  <a:pt x="4247" y="238"/>
                </a:cubicBezTo>
                <a:cubicBezTo>
                  <a:pt x="4247" y="970"/>
                  <a:pt x="4247" y="970"/>
                  <a:pt x="4247" y="970"/>
                </a:cubicBezTo>
                <a:cubicBezTo>
                  <a:pt x="3165" y="970"/>
                  <a:pt x="3165" y="970"/>
                  <a:pt x="3165" y="970"/>
                </a:cubicBezTo>
                <a:close/>
                <a:moveTo>
                  <a:pt x="1925" y="875"/>
                </a:moveTo>
                <a:cubicBezTo>
                  <a:pt x="159" y="875"/>
                  <a:pt x="159" y="875"/>
                  <a:pt x="159" y="875"/>
                </a:cubicBezTo>
                <a:cubicBezTo>
                  <a:pt x="159" y="159"/>
                  <a:pt x="159" y="159"/>
                  <a:pt x="159" y="159"/>
                </a:cubicBezTo>
                <a:cubicBezTo>
                  <a:pt x="1925" y="159"/>
                  <a:pt x="1925" y="159"/>
                  <a:pt x="1925" y="1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0" name="Freeform: Shape 20">
            <a:extLst>
              <a:ext uri="{FF2B5EF4-FFF2-40B4-BE49-F238E27FC236}">
                <a16:creationId xmlns:a16="http://schemas.microsoft.com/office/drawing/2014/main" id="{55FB69EA-FFD0-654D-BD2A-B619FF81C68F}"/>
              </a:ext>
            </a:extLst>
          </p:cNvPr>
          <p:cNvSpPr/>
          <p:nvPr/>
        </p:nvSpPr>
        <p:spPr>
          <a:xfrm>
            <a:off x="6011306" y="9570278"/>
            <a:ext cx="1580040" cy="1446840"/>
          </a:xfrm>
          <a:custGeom>
            <a:avLst/>
            <a:gdLst/>
            <a:ahLst/>
            <a:cxnLst>
              <a:cxn ang="3cd4">
                <a:pos x="hc" y="t"/>
              </a:cxn>
              <a:cxn ang="cd2">
                <a:pos x="l" y="vc"/>
              </a:cxn>
              <a:cxn ang="cd4">
                <a:pos x="hc" y="b"/>
              </a:cxn>
              <a:cxn ang="0">
                <a:pos x="r" y="vc"/>
              </a:cxn>
            </a:cxnLst>
            <a:rect l="l" t="t" r="r" b="b"/>
            <a:pathLst>
              <a:path w="4390" h="4020">
                <a:moveTo>
                  <a:pt x="4247" y="2795"/>
                </a:moveTo>
                <a:lnTo>
                  <a:pt x="4247" y="2780"/>
                </a:lnTo>
                <a:lnTo>
                  <a:pt x="4247" y="2764"/>
                </a:lnTo>
                <a:cubicBezTo>
                  <a:pt x="4230" y="2764"/>
                  <a:pt x="4230" y="2764"/>
                  <a:pt x="4230" y="2748"/>
                </a:cubicBezTo>
                <a:lnTo>
                  <a:pt x="4230" y="2732"/>
                </a:lnTo>
                <a:cubicBezTo>
                  <a:pt x="4214" y="2716"/>
                  <a:pt x="4214" y="2716"/>
                  <a:pt x="4214" y="2700"/>
                </a:cubicBezTo>
                <a:cubicBezTo>
                  <a:pt x="4199" y="2684"/>
                  <a:pt x="4199" y="2684"/>
                  <a:pt x="4199" y="2668"/>
                </a:cubicBezTo>
                <a:lnTo>
                  <a:pt x="4183" y="2668"/>
                </a:lnTo>
                <a:cubicBezTo>
                  <a:pt x="4178" y="2658"/>
                  <a:pt x="4183" y="2652"/>
                  <a:pt x="4167" y="2637"/>
                </a:cubicBezTo>
                <a:lnTo>
                  <a:pt x="4183" y="2637"/>
                </a:lnTo>
                <a:lnTo>
                  <a:pt x="4199" y="2637"/>
                </a:lnTo>
                <a:lnTo>
                  <a:pt x="4214" y="2621"/>
                </a:lnTo>
                <a:lnTo>
                  <a:pt x="4230" y="2621"/>
                </a:lnTo>
                <a:cubicBezTo>
                  <a:pt x="4230" y="2604"/>
                  <a:pt x="4241" y="2610"/>
                  <a:pt x="4247" y="2604"/>
                </a:cubicBezTo>
                <a:lnTo>
                  <a:pt x="4247" y="2589"/>
                </a:lnTo>
                <a:cubicBezTo>
                  <a:pt x="4262" y="2589"/>
                  <a:pt x="4278" y="2589"/>
                  <a:pt x="4278" y="2573"/>
                </a:cubicBezTo>
                <a:cubicBezTo>
                  <a:pt x="4294" y="2573"/>
                  <a:pt x="4289" y="2562"/>
                  <a:pt x="4294" y="2557"/>
                </a:cubicBezTo>
                <a:cubicBezTo>
                  <a:pt x="4310" y="2557"/>
                  <a:pt x="4305" y="2546"/>
                  <a:pt x="4310" y="2541"/>
                </a:cubicBezTo>
                <a:cubicBezTo>
                  <a:pt x="4315" y="2536"/>
                  <a:pt x="4310" y="2525"/>
                  <a:pt x="4326" y="2525"/>
                </a:cubicBezTo>
                <a:cubicBezTo>
                  <a:pt x="4326" y="2509"/>
                  <a:pt x="4342" y="2509"/>
                  <a:pt x="4342" y="2494"/>
                </a:cubicBezTo>
                <a:cubicBezTo>
                  <a:pt x="4358" y="2477"/>
                  <a:pt x="4358" y="2477"/>
                  <a:pt x="4358" y="2461"/>
                </a:cubicBezTo>
                <a:cubicBezTo>
                  <a:pt x="4358" y="2446"/>
                  <a:pt x="4374" y="2446"/>
                  <a:pt x="4374" y="2430"/>
                </a:cubicBezTo>
                <a:cubicBezTo>
                  <a:pt x="4374" y="2414"/>
                  <a:pt x="4374" y="2414"/>
                  <a:pt x="4390" y="2398"/>
                </a:cubicBezTo>
                <a:lnTo>
                  <a:pt x="4390" y="2366"/>
                </a:lnTo>
                <a:lnTo>
                  <a:pt x="4390" y="2334"/>
                </a:lnTo>
                <a:lnTo>
                  <a:pt x="4390" y="2303"/>
                </a:lnTo>
                <a:lnTo>
                  <a:pt x="4390" y="2286"/>
                </a:lnTo>
                <a:lnTo>
                  <a:pt x="4390" y="2255"/>
                </a:lnTo>
                <a:cubicBezTo>
                  <a:pt x="4374" y="2255"/>
                  <a:pt x="4374" y="2239"/>
                  <a:pt x="4374" y="2223"/>
                </a:cubicBezTo>
                <a:cubicBezTo>
                  <a:pt x="4374" y="2207"/>
                  <a:pt x="4358" y="2207"/>
                  <a:pt x="4358" y="2191"/>
                </a:cubicBezTo>
                <a:cubicBezTo>
                  <a:pt x="4353" y="2180"/>
                  <a:pt x="4358" y="2175"/>
                  <a:pt x="4342" y="2159"/>
                </a:cubicBezTo>
                <a:lnTo>
                  <a:pt x="4326" y="2143"/>
                </a:lnTo>
                <a:lnTo>
                  <a:pt x="4326" y="2128"/>
                </a:lnTo>
                <a:cubicBezTo>
                  <a:pt x="4310" y="2128"/>
                  <a:pt x="4315" y="2117"/>
                  <a:pt x="4310" y="2112"/>
                </a:cubicBezTo>
                <a:cubicBezTo>
                  <a:pt x="4294" y="2095"/>
                  <a:pt x="4294" y="2095"/>
                  <a:pt x="4278" y="2080"/>
                </a:cubicBezTo>
                <a:cubicBezTo>
                  <a:pt x="4262" y="2064"/>
                  <a:pt x="4247" y="2048"/>
                  <a:pt x="4230" y="2048"/>
                </a:cubicBezTo>
                <a:lnTo>
                  <a:pt x="4214" y="2048"/>
                </a:lnTo>
                <a:lnTo>
                  <a:pt x="4214" y="2032"/>
                </a:lnTo>
                <a:lnTo>
                  <a:pt x="4230" y="2032"/>
                </a:lnTo>
                <a:lnTo>
                  <a:pt x="4230" y="2016"/>
                </a:lnTo>
                <a:cubicBezTo>
                  <a:pt x="4247" y="2016"/>
                  <a:pt x="4241" y="2005"/>
                  <a:pt x="4247" y="2000"/>
                </a:cubicBezTo>
                <a:lnTo>
                  <a:pt x="4262" y="1985"/>
                </a:lnTo>
                <a:lnTo>
                  <a:pt x="4262" y="1968"/>
                </a:lnTo>
                <a:cubicBezTo>
                  <a:pt x="4267" y="1963"/>
                  <a:pt x="4278" y="1968"/>
                  <a:pt x="4278" y="1952"/>
                </a:cubicBezTo>
                <a:cubicBezTo>
                  <a:pt x="4294" y="1937"/>
                  <a:pt x="4294" y="1937"/>
                  <a:pt x="4294" y="1921"/>
                </a:cubicBezTo>
                <a:cubicBezTo>
                  <a:pt x="4294" y="1905"/>
                  <a:pt x="4305" y="1910"/>
                  <a:pt x="4310" y="1905"/>
                </a:cubicBezTo>
                <a:lnTo>
                  <a:pt x="4310" y="1889"/>
                </a:lnTo>
                <a:lnTo>
                  <a:pt x="4310" y="1857"/>
                </a:lnTo>
                <a:lnTo>
                  <a:pt x="4326" y="1841"/>
                </a:lnTo>
                <a:lnTo>
                  <a:pt x="4326" y="1825"/>
                </a:lnTo>
                <a:lnTo>
                  <a:pt x="4326" y="1794"/>
                </a:lnTo>
                <a:cubicBezTo>
                  <a:pt x="4326" y="1603"/>
                  <a:pt x="4151" y="1443"/>
                  <a:pt x="3944" y="1443"/>
                </a:cubicBezTo>
                <a:lnTo>
                  <a:pt x="3212" y="1443"/>
                </a:lnTo>
                <a:lnTo>
                  <a:pt x="3181" y="1443"/>
                </a:lnTo>
                <a:cubicBezTo>
                  <a:pt x="3165" y="1459"/>
                  <a:pt x="3165" y="1459"/>
                  <a:pt x="3149" y="1459"/>
                </a:cubicBezTo>
                <a:lnTo>
                  <a:pt x="3133" y="1459"/>
                </a:lnTo>
                <a:lnTo>
                  <a:pt x="3117" y="1459"/>
                </a:lnTo>
                <a:lnTo>
                  <a:pt x="2894" y="1459"/>
                </a:lnTo>
                <a:cubicBezTo>
                  <a:pt x="2878" y="1459"/>
                  <a:pt x="2873" y="1448"/>
                  <a:pt x="2863" y="1443"/>
                </a:cubicBezTo>
                <a:cubicBezTo>
                  <a:pt x="2858" y="1433"/>
                  <a:pt x="2847" y="1428"/>
                  <a:pt x="2847" y="1412"/>
                </a:cubicBezTo>
                <a:cubicBezTo>
                  <a:pt x="2926" y="1141"/>
                  <a:pt x="3021" y="521"/>
                  <a:pt x="2878" y="267"/>
                </a:cubicBezTo>
                <a:cubicBezTo>
                  <a:pt x="2831" y="155"/>
                  <a:pt x="2735" y="76"/>
                  <a:pt x="2608" y="28"/>
                </a:cubicBezTo>
                <a:cubicBezTo>
                  <a:pt x="2512" y="-20"/>
                  <a:pt x="2385" y="-4"/>
                  <a:pt x="2290" y="60"/>
                </a:cubicBezTo>
                <a:cubicBezTo>
                  <a:pt x="2194" y="123"/>
                  <a:pt x="2147" y="235"/>
                  <a:pt x="2147" y="346"/>
                </a:cubicBezTo>
                <a:cubicBezTo>
                  <a:pt x="2179" y="871"/>
                  <a:pt x="1797" y="1428"/>
                  <a:pt x="1717" y="1523"/>
                </a:cubicBezTo>
                <a:lnTo>
                  <a:pt x="1685" y="1539"/>
                </a:lnTo>
                <a:cubicBezTo>
                  <a:pt x="1638" y="1491"/>
                  <a:pt x="1574" y="1443"/>
                  <a:pt x="1511" y="1443"/>
                </a:cubicBezTo>
                <a:lnTo>
                  <a:pt x="206" y="1443"/>
                </a:lnTo>
                <a:cubicBezTo>
                  <a:pt x="95" y="1443"/>
                  <a:pt x="0" y="1539"/>
                  <a:pt x="0" y="1650"/>
                </a:cubicBezTo>
                <a:lnTo>
                  <a:pt x="0" y="3813"/>
                </a:lnTo>
                <a:cubicBezTo>
                  <a:pt x="0" y="3925"/>
                  <a:pt x="95" y="4020"/>
                  <a:pt x="206" y="4020"/>
                </a:cubicBezTo>
                <a:lnTo>
                  <a:pt x="1511" y="4020"/>
                </a:lnTo>
                <a:cubicBezTo>
                  <a:pt x="1622" y="4020"/>
                  <a:pt x="1702" y="3925"/>
                  <a:pt x="1702" y="3813"/>
                </a:cubicBezTo>
                <a:lnTo>
                  <a:pt x="1702" y="3734"/>
                </a:lnTo>
                <a:cubicBezTo>
                  <a:pt x="1717" y="3750"/>
                  <a:pt x="1733" y="3750"/>
                  <a:pt x="1749" y="3750"/>
                </a:cubicBezTo>
                <a:lnTo>
                  <a:pt x="3021" y="3750"/>
                </a:lnTo>
                <a:lnTo>
                  <a:pt x="3738" y="3750"/>
                </a:lnTo>
                <a:cubicBezTo>
                  <a:pt x="3944" y="3750"/>
                  <a:pt x="4119" y="3591"/>
                  <a:pt x="4119" y="3400"/>
                </a:cubicBezTo>
                <a:lnTo>
                  <a:pt x="4119" y="3368"/>
                </a:lnTo>
                <a:lnTo>
                  <a:pt x="4119" y="3352"/>
                </a:lnTo>
                <a:lnTo>
                  <a:pt x="4119" y="3336"/>
                </a:lnTo>
                <a:lnTo>
                  <a:pt x="4103" y="3321"/>
                </a:lnTo>
                <a:lnTo>
                  <a:pt x="4103" y="3304"/>
                </a:lnTo>
                <a:lnTo>
                  <a:pt x="4103" y="3289"/>
                </a:lnTo>
                <a:lnTo>
                  <a:pt x="4087" y="3273"/>
                </a:lnTo>
                <a:lnTo>
                  <a:pt x="4087" y="3257"/>
                </a:lnTo>
                <a:cubicBezTo>
                  <a:pt x="4082" y="3252"/>
                  <a:pt x="4087" y="3241"/>
                  <a:pt x="4071" y="3241"/>
                </a:cubicBezTo>
                <a:lnTo>
                  <a:pt x="4071" y="3225"/>
                </a:lnTo>
                <a:cubicBezTo>
                  <a:pt x="4066" y="3220"/>
                  <a:pt x="4056" y="3225"/>
                  <a:pt x="4056" y="3209"/>
                </a:cubicBezTo>
                <a:cubicBezTo>
                  <a:pt x="4039" y="3193"/>
                  <a:pt x="4039" y="3193"/>
                  <a:pt x="4039" y="3177"/>
                </a:cubicBezTo>
                <a:lnTo>
                  <a:pt x="4056" y="3177"/>
                </a:lnTo>
                <a:lnTo>
                  <a:pt x="4056" y="3161"/>
                </a:lnTo>
                <a:cubicBezTo>
                  <a:pt x="4071" y="3161"/>
                  <a:pt x="4071" y="3161"/>
                  <a:pt x="4087" y="3146"/>
                </a:cubicBezTo>
                <a:cubicBezTo>
                  <a:pt x="4103" y="3146"/>
                  <a:pt x="4103" y="3146"/>
                  <a:pt x="4103" y="3130"/>
                </a:cubicBezTo>
                <a:lnTo>
                  <a:pt x="4119" y="3130"/>
                </a:lnTo>
                <a:cubicBezTo>
                  <a:pt x="4135" y="3130"/>
                  <a:pt x="4130" y="3119"/>
                  <a:pt x="4135" y="3113"/>
                </a:cubicBezTo>
                <a:cubicBezTo>
                  <a:pt x="4151" y="3113"/>
                  <a:pt x="4151" y="3113"/>
                  <a:pt x="4151" y="3098"/>
                </a:cubicBezTo>
                <a:cubicBezTo>
                  <a:pt x="4156" y="3093"/>
                  <a:pt x="4167" y="3098"/>
                  <a:pt x="4167" y="3082"/>
                </a:cubicBezTo>
                <a:cubicBezTo>
                  <a:pt x="4183" y="3082"/>
                  <a:pt x="4178" y="3071"/>
                  <a:pt x="4183" y="3066"/>
                </a:cubicBezTo>
                <a:cubicBezTo>
                  <a:pt x="4188" y="3061"/>
                  <a:pt x="4183" y="3050"/>
                  <a:pt x="4199" y="3050"/>
                </a:cubicBezTo>
                <a:cubicBezTo>
                  <a:pt x="4204" y="3045"/>
                  <a:pt x="4199" y="3034"/>
                  <a:pt x="4214" y="3034"/>
                </a:cubicBezTo>
                <a:lnTo>
                  <a:pt x="4214" y="3018"/>
                </a:lnTo>
                <a:lnTo>
                  <a:pt x="4214" y="3002"/>
                </a:lnTo>
                <a:cubicBezTo>
                  <a:pt x="4230" y="3002"/>
                  <a:pt x="4230" y="3002"/>
                  <a:pt x="4230" y="2986"/>
                </a:cubicBezTo>
                <a:lnTo>
                  <a:pt x="4230" y="2970"/>
                </a:lnTo>
                <a:cubicBezTo>
                  <a:pt x="4247" y="2955"/>
                  <a:pt x="4241" y="2949"/>
                  <a:pt x="4247" y="2939"/>
                </a:cubicBezTo>
                <a:lnTo>
                  <a:pt x="4247" y="2923"/>
                </a:lnTo>
                <a:lnTo>
                  <a:pt x="4247" y="2907"/>
                </a:lnTo>
                <a:lnTo>
                  <a:pt x="4247" y="2891"/>
                </a:lnTo>
                <a:cubicBezTo>
                  <a:pt x="4252" y="2880"/>
                  <a:pt x="4262" y="2875"/>
                  <a:pt x="4262" y="2859"/>
                </a:cubicBezTo>
                <a:cubicBezTo>
                  <a:pt x="4257" y="2848"/>
                  <a:pt x="4247" y="2843"/>
                  <a:pt x="4247" y="2827"/>
                </a:cubicBezTo>
                <a:close/>
                <a:moveTo>
                  <a:pt x="3881" y="3050"/>
                </a:moveTo>
                <a:lnTo>
                  <a:pt x="3738" y="3050"/>
                </a:lnTo>
                <a:lnTo>
                  <a:pt x="3149" y="3050"/>
                </a:lnTo>
                <a:cubicBezTo>
                  <a:pt x="3038" y="3050"/>
                  <a:pt x="2926" y="2970"/>
                  <a:pt x="2926" y="2859"/>
                </a:cubicBezTo>
                <a:cubicBezTo>
                  <a:pt x="2926" y="2764"/>
                  <a:pt x="3038" y="2668"/>
                  <a:pt x="3149" y="2668"/>
                </a:cubicBezTo>
                <a:lnTo>
                  <a:pt x="3292" y="2668"/>
                </a:lnTo>
                <a:lnTo>
                  <a:pt x="3881" y="2668"/>
                </a:lnTo>
                <a:cubicBezTo>
                  <a:pt x="3992" y="2668"/>
                  <a:pt x="4103" y="2764"/>
                  <a:pt x="4103" y="2859"/>
                </a:cubicBezTo>
                <a:cubicBezTo>
                  <a:pt x="4103" y="2970"/>
                  <a:pt x="3992" y="3050"/>
                  <a:pt x="3881" y="3050"/>
                </a:cubicBezTo>
                <a:close/>
                <a:moveTo>
                  <a:pt x="3292" y="2143"/>
                </a:moveTo>
                <a:lnTo>
                  <a:pt x="3944" y="2143"/>
                </a:lnTo>
                <a:lnTo>
                  <a:pt x="4008" y="2143"/>
                </a:lnTo>
                <a:cubicBezTo>
                  <a:pt x="4135" y="2143"/>
                  <a:pt x="4230" y="2223"/>
                  <a:pt x="4230" y="2334"/>
                </a:cubicBezTo>
                <a:cubicBezTo>
                  <a:pt x="4230" y="2430"/>
                  <a:pt x="4135" y="2525"/>
                  <a:pt x="4008" y="2525"/>
                </a:cubicBezTo>
                <a:lnTo>
                  <a:pt x="3881" y="2525"/>
                </a:lnTo>
                <a:lnTo>
                  <a:pt x="3292" y="2525"/>
                </a:lnTo>
                <a:cubicBezTo>
                  <a:pt x="3165" y="2525"/>
                  <a:pt x="3069" y="2430"/>
                  <a:pt x="3069" y="2334"/>
                </a:cubicBezTo>
                <a:cubicBezTo>
                  <a:pt x="3069" y="2223"/>
                  <a:pt x="3165" y="2143"/>
                  <a:pt x="3292" y="2143"/>
                </a:cubicBezTo>
                <a:close/>
                <a:moveTo>
                  <a:pt x="3944" y="1603"/>
                </a:moveTo>
                <a:cubicBezTo>
                  <a:pt x="4071" y="1603"/>
                  <a:pt x="4167" y="1698"/>
                  <a:pt x="4167" y="1794"/>
                </a:cubicBezTo>
                <a:cubicBezTo>
                  <a:pt x="4167" y="1905"/>
                  <a:pt x="4071" y="1985"/>
                  <a:pt x="3944" y="1985"/>
                </a:cubicBezTo>
                <a:lnTo>
                  <a:pt x="3292" y="1985"/>
                </a:lnTo>
                <a:lnTo>
                  <a:pt x="3212" y="1985"/>
                </a:lnTo>
                <a:cubicBezTo>
                  <a:pt x="3101" y="1985"/>
                  <a:pt x="3006" y="1905"/>
                  <a:pt x="3006" y="1794"/>
                </a:cubicBezTo>
                <a:cubicBezTo>
                  <a:pt x="3006" y="1714"/>
                  <a:pt x="3069" y="1634"/>
                  <a:pt x="3149" y="1619"/>
                </a:cubicBezTo>
                <a:cubicBezTo>
                  <a:pt x="3165" y="1619"/>
                  <a:pt x="3181" y="1619"/>
                  <a:pt x="3181" y="1603"/>
                </a:cubicBezTo>
                <a:lnTo>
                  <a:pt x="3197" y="1603"/>
                </a:lnTo>
                <a:lnTo>
                  <a:pt x="3212" y="1603"/>
                </a:lnTo>
                <a:close/>
                <a:moveTo>
                  <a:pt x="1558" y="3813"/>
                </a:moveTo>
                <a:cubicBezTo>
                  <a:pt x="1558" y="3845"/>
                  <a:pt x="1527" y="3861"/>
                  <a:pt x="1511" y="3861"/>
                </a:cubicBezTo>
                <a:lnTo>
                  <a:pt x="206" y="3861"/>
                </a:lnTo>
                <a:cubicBezTo>
                  <a:pt x="175" y="3861"/>
                  <a:pt x="158" y="3845"/>
                  <a:pt x="158" y="3813"/>
                </a:cubicBezTo>
                <a:lnTo>
                  <a:pt x="158" y="1650"/>
                </a:lnTo>
                <a:cubicBezTo>
                  <a:pt x="158" y="1619"/>
                  <a:pt x="175" y="1603"/>
                  <a:pt x="206" y="1603"/>
                </a:cubicBezTo>
                <a:lnTo>
                  <a:pt x="1511" y="1603"/>
                </a:lnTo>
                <a:cubicBezTo>
                  <a:pt x="1527" y="1603"/>
                  <a:pt x="1558" y="1619"/>
                  <a:pt x="1558" y="1650"/>
                </a:cubicBezTo>
                <a:lnTo>
                  <a:pt x="1558" y="3543"/>
                </a:lnTo>
                <a:close/>
                <a:moveTo>
                  <a:pt x="1702" y="3543"/>
                </a:moveTo>
                <a:lnTo>
                  <a:pt x="1702" y="1698"/>
                </a:lnTo>
                <a:lnTo>
                  <a:pt x="1797" y="1666"/>
                </a:lnTo>
                <a:cubicBezTo>
                  <a:pt x="1813" y="1666"/>
                  <a:pt x="1813" y="1650"/>
                  <a:pt x="1829" y="1650"/>
                </a:cubicBezTo>
                <a:cubicBezTo>
                  <a:pt x="1845" y="1619"/>
                  <a:pt x="2338" y="982"/>
                  <a:pt x="2306" y="346"/>
                </a:cubicBezTo>
                <a:cubicBezTo>
                  <a:pt x="2306" y="282"/>
                  <a:pt x="2338" y="219"/>
                  <a:pt x="2385" y="187"/>
                </a:cubicBezTo>
                <a:cubicBezTo>
                  <a:pt x="2433" y="155"/>
                  <a:pt x="2497" y="139"/>
                  <a:pt x="2545" y="171"/>
                </a:cubicBezTo>
                <a:cubicBezTo>
                  <a:pt x="2640" y="203"/>
                  <a:pt x="2703" y="267"/>
                  <a:pt x="2751" y="346"/>
                </a:cubicBezTo>
                <a:cubicBezTo>
                  <a:pt x="2831" y="521"/>
                  <a:pt x="2799" y="1030"/>
                  <a:pt x="2703" y="1364"/>
                </a:cubicBezTo>
                <a:cubicBezTo>
                  <a:pt x="2688" y="1428"/>
                  <a:pt x="2688" y="1491"/>
                  <a:pt x="2735" y="1539"/>
                </a:cubicBezTo>
                <a:cubicBezTo>
                  <a:pt x="2767" y="1586"/>
                  <a:pt x="2831" y="1619"/>
                  <a:pt x="2894" y="1619"/>
                </a:cubicBezTo>
                <a:cubicBezTo>
                  <a:pt x="2863" y="1666"/>
                  <a:pt x="2847" y="1730"/>
                  <a:pt x="2847" y="1794"/>
                </a:cubicBezTo>
                <a:cubicBezTo>
                  <a:pt x="2847" y="1921"/>
                  <a:pt x="2910" y="2032"/>
                  <a:pt x="3021" y="2080"/>
                </a:cubicBezTo>
                <a:cubicBezTo>
                  <a:pt x="2942" y="2143"/>
                  <a:pt x="2910" y="2239"/>
                  <a:pt x="2910" y="2334"/>
                </a:cubicBezTo>
                <a:cubicBezTo>
                  <a:pt x="2910" y="2414"/>
                  <a:pt x="2942" y="2494"/>
                  <a:pt x="2990" y="2541"/>
                </a:cubicBezTo>
                <a:cubicBezTo>
                  <a:pt x="2863" y="2604"/>
                  <a:pt x="2767" y="2732"/>
                  <a:pt x="2767" y="2859"/>
                </a:cubicBezTo>
                <a:cubicBezTo>
                  <a:pt x="2767" y="2955"/>
                  <a:pt x="2799" y="3018"/>
                  <a:pt x="2863" y="3082"/>
                </a:cubicBezTo>
                <a:cubicBezTo>
                  <a:pt x="2735" y="3146"/>
                  <a:pt x="2640" y="3257"/>
                  <a:pt x="2640" y="3400"/>
                </a:cubicBezTo>
                <a:cubicBezTo>
                  <a:pt x="2640" y="3464"/>
                  <a:pt x="2656" y="3527"/>
                  <a:pt x="2703" y="3591"/>
                </a:cubicBezTo>
                <a:lnTo>
                  <a:pt x="1749" y="3591"/>
                </a:lnTo>
                <a:cubicBezTo>
                  <a:pt x="1733" y="3591"/>
                  <a:pt x="1702" y="3575"/>
                  <a:pt x="1702" y="3543"/>
                </a:cubicBezTo>
                <a:close/>
                <a:moveTo>
                  <a:pt x="3738" y="3591"/>
                </a:moveTo>
                <a:lnTo>
                  <a:pt x="3021" y="3591"/>
                </a:lnTo>
                <a:cubicBezTo>
                  <a:pt x="2894" y="3591"/>
                  <a:pt x="2799" y="3495"/>
                  <a:pt x="2799" y="3400"/>
                </a:cubicBezTo>
                <a:cubicBezTo>
                  <a:pt x="2799" y="3289"/>
                  <a:pt x="2894" y="3209"/>
                  <a:pt x="3021" y="3209"/>
                </a:cubicBezTo>
                <a:lnTo>
                  <a:pt x="3149" y="3209"/>
                </a:lnTo>
                <a:lnTo>
                  <a:pt x="3738" y="3209"/>
                </a:lnTo>
                <a:cubicBezTo>
                  <a:pt x="3865" y="3209"/>
                  <a:pt x="3960" y="3289"/>
                  <a:pt x="3960" y="3400"/>
                </a:cubicBezTo>
                <a:cubicBezTo>
                  <a:pt x="3960" y="3495"/>
                  <a:pt x="3865" y="3591"/>
                  <a:pt x="3738" y="3591"/>
                </a:cubicBezTo>
                <a:close/>
                <a:moveTo>
                  <a:pt x="795" y="3049"/>
                </a:moveTo>
                <a:cubicBezTo>
                  <a:pt x="604" y="3049"/>
                  <a:pt x="461" y="3208"/>
                  <a:pt x="461" y="3399"/>
                </a:cubicBezTo>
                <a:cubicBezTo>
                  <a:pt x="461" y="3590"/>
                  <a:pt x="604" y="3749"/>
                  <a:pt x="795" y="3749"/>
                </a:cubicBezTo>
                <a:cubicBezTo>
                  <a:pt x="985" y="3749"/>
                  <a:pt x="1145" y="3590"/>
                  <a:pt x="1145" y="3399"/>
                </a:cubicBezTo>
                <a:cubicBezTo>
                  <a:pt x="1145" y="3208"/>
                  <a:pt x="985" y="3049"/>
                  <a:pt x="795" y="3049"/>
                </a:cubicBezTo>
                <a:close/>
                <a:moveTo>
                  <a:pt x="795" y="3590"/>
                </a:moveTo>
                <a:cubicBezTo>
                  <a:pt x="699" y="3590"/>
                  <a:pt x="620" y="3494"/>
                  <a:pt x="620" y="3399"/>
                </a:cubicBezTo>
                <a:cubicBezTo>
                  <a:pt x="620" y="3288"/>
                  <a:pt x="699" y="3208"/>
                  <a:pt x="795" y="3208"/>
                </a:cubicBezTo>
                <a:cubicBezTo>
                  <a:pt x="906" y="3208"/>
                  <a:pt x="985" y="3288"/>
                  <a:pt x="985" y="3399"/>
                </a:cubicBezTo>
                <a:cubicBezTo>
                  <a:pt x="985" y="3494"/>
                  <a:pt x="906" y="3590"/>
                  <a:pt x="795" y="359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1" name="Freeform: Shape 21">
            <a:extLst>
              <a:ext uri="{FF2B5EF4-FFF2-40B4-BE49-F238E27FC236}">
                <a16:creationId xmlns:a16="http://schemas.microsoft.com/office/drawing/2014/main" id="{75DF0E78-D87B-F542-9C9B-E8414F33DBE9}"/>
              </a:ext>
            </a:extLst>
          </p:cNvPr>
          <p:cNvSpPr/>
          <p:nvPr/>
        </p:nvSpPr>
        <p:spPr>
          <a:xfrm>
            <a:off x="10134927" y="9568838"/>
            <a:ext cx="1574280" cy="1442519"/>
          </a:xfrm>
          <a:custGeom>
            <a:avLst/>
            <a:gdLst/>
            <a:ahLst/>
            <a:cxnLst>
              <a:cxn ang="3cd4">
                <a:pos x="hc" y="t"/>
              </a:cxn>
              <a:cxn ang="cd2">
                <a:pos x="l" y="vc"/>
              </a:cxn>
              <a:cxn ang="cd4">
                <a:pos x="hc" y="b"/>
              </a:cxn>
              <a:cxn ang="0">
                <a:pos x="r" y="vc"/>
              </a:cxn>
            </a:cxnLst>
            <a:rect l="l" t="t" r="r" b="b"/>
            <a:pathLst>
              <a:path w="4374" h="4008">
                <a:moveTo>
                  <a:pt x="4247" y="2036"/>
                </a:moveTo>
                <a:cubicBezTo>
                  <a:pt x="4231" y="2020"/>
                  <a:pt x="4231" y="2020"/>
                  <a:pt x="4231" y="2004"/>
                </a:cubicBezTo>
                <a:cubicBezTo>
                  <a:pt x="4215" y="2004"/>
                  <a:pt x="4215" y="1989"/>
                  <a:pt x="4199" y="1989"/>
                </a:cubicBezTo>
                <a:lnTo>
                  <a:pt x="4215" y="1989"/>
                </a:lnTo>
                <a:lnTo>
                  <a:pt x="4215" y="1972"/>
                </a:lnTo>
                <a:cubicBezTo>
                  <a:pt x="4231" y="1972"/>
                  <a:pt x="4231" y="1972"/>
                  <a:pt x="4247" y="1956"/>
                </a:cubicBezTo>
                <a:lnTo>
                  <a:pt x="4263" y="1941"/>
                </a:lnTo>
                <a:lnTo>
                  <a:pt x="4278" y="1941"/>
                </a:lnTo>
                <a:cubicBezTo>
                  <a:pt x="4278" y="1925"/>
                  <a:pt x="4278" y="1925"/>
                  <a:pt x="4294" y="1909"/>
                </a:cubicBezTo>
                <a:lnTo>
                  <a:pt x="4311" y="1893"/>
                </a:lnTo>
                <a:lnTo>
                  <a:pt x="4311" y="1877"/>
                </a:lnTo>
                <a:cubicBezTo>
                  <a:pt x="4326" y="1877"/>
                  <a:pt x="4321" y="1866"/>
                  <a:pt x="4326" y="1861"/>
                </a:cubicBezTo>
                <a:lnTo>
                  <a:pt x="4342" y="1861"/>
                </a:lnTo>
                <a:lnTo>
                  <a:pt x="4342" y="1829"/>
                </a:lnTo>
                <a:lnTo>
                  <a:pt x="4358" y="1829"/>
                </a:lnTo>
                <a:lnTo>
                  <a:pt x="4358" y="1798"/>
                </a:lnTo>
                <a:cubicBezTo>
                  <a:pt x="4374" y="1781"/>
                  <a:pt x="4369" y="1777"/>
                  <a:pt x="4374" y="1766"/>
                </a:cubicBezTo>
                <a:lnTo>
                  <a:pt x="4374" y="1734"/>
                </a:lnTo>
                <a:lnTo>
                  <a:pt x="4374" y="1718"/>
                </a:lnTo>
                <a:lnTo>
                  <a:pt x="4374" y="1686"/>
                </a:lnTo>
                <a:lnTo>
                  <a:pt x="4374" y="1654"/>
                </a:lnTo>
                <a:lnTo>
                  <a:pt x="4374" y="1623"/>
                </a:lnTo>
                <a:cubicBezTo>
                  <a:pt x="4374" y="1607"/>
                  <a:pt x="4374" y="1607"/>
                  <a:pt x="4358" y="1590"/>
                </a:cubicBezTo>
                <a:lnTo>
                  <a:pt x="4358" y="1559"/>
                </a:lnTo>
                <a:lnTo>
                  <a:pt x="4342" y="1559"/>
                </a:lnTo>
                <a:lnTo>
                  <a:pt x="4342" y="1527"/>
                </a:lnTo>
                <a:lnTo>
                  <a:pt x="4326" y="1527"/>
                </a:lnTo>
                <a:cubicBezTo>
                  <a:pt x="4326" y="1511"/>
                  <a:pt x="4326" y="1511"/>
                  <a:pt x="4311" y="1495"/>
                </a:cubicBezTo>
                <a:lnTo>
                  <a:pt x="4294" y="1480"/>
                </a:lnTo>
                <a:lnTo>
                  <a:pt x="4294" y="1463"/>
                </a:lnTo>
                <a:cubicBezTo>
                  <a:pt x="4278" y="1463"/>
                  <a:pt x="4278" y="1447"/>
                  <a:pt x="4263" y="1447"/>
                </a:cubicBezTo>
                <a:cubicBezTo>
                  <a:pt x="4263" y="1432"/>
                  <a:pt x="4252" y="1437"/>
                  <a:pt x="4247" y="1432"/>
                </a:cubicBezTo>
                <a:cubicBezTo>
                  <a:pt x="4242" y="1427"/>
                  <a:pt x="4247" y="1416"/>
                  <a:pt x="4231" y="1416"/>
                </a:cubicBezTo>
                <a:lnTo>
                  <a:pt x="4215" y="1400"/>
                </a:lnTo>
                <a:cubicBezTo>
                  <a:pt x="4199" y="1400"/>
                  <a:pt x="4199" y="1400"/>
                  <a:pt x="4183" y="1384"/>
                </a:cubicBezTo>
                <a:lnTo>
                  <a:pt x="4151" y="1384"/>
                </a:lnTo>
                <a:cubicBezTo>
                  <a:pt x="4167" y="1368"/>
                  <a:pt x="4167" y="1352"/>
                  <a:pt x="4183" y="1352"/>
                </a:cubicBezTo>
                <a:cubicBezTo>
                  <a:pt x="4183" y="1336"/>
                  <a:pt x="4199" y="1336"/>
                  <a:pt x="4199" y="1320"/>
                </a:cubicBezTo>
                <a:cubicBezTo>
                  <a:pt x="4199" y="1304"/>
                  <a:pt x="4215" y="1304"/>
                  <a:pt x="4215" y="1289"/>
                </a:cubicBezTo>
                <a:cubicBezTo>
                  <a:pt x="4215" y="1272"/>
                  <a:pt x="4215" y="1272"/>
                  <a:pt x="4231" y="1272"/>
                </a:cubicBezTo>
                <a:lnTo>
                  <a:pt x="4231" y="1257"/>
                </a:lnTo>
                <a:lnTo>
                  <a:pt x="4231" y="1241"/>
                </a:lnTo>
                <a:lnTo>
                  <a:pt x="4231" y="1225"/>
                </a:lnTo>
                <a:cubicBezTo>
                  <a:pt x="4231" y="1209"/>
                  <a:pt x="4242" y="1214"/>
                  <a:pt x="4247" y="1209"/>
                </a:cubicBezTo>
                <a:lnTo>
                  <a:pt x="4247" y="1193"/>
                </a:lnTo>
                <a:lnTo>
                  <a:pt x="4247" y="1161"/>
                </a:lnTo>
                <a:lnTo>
                  <a:pt x="4247" y="1129"/>
                </a:lnTo>
                <a:lnTo>
                  <a:pt x="4247" y="1114"/>
                </a:lnTo>
                <a:cubicBezTo>
                  <a:pt x="4242" y="1109"/>
                  <a:pt x="4247" y="1098"/>
                  <a:pt x="4231" y="1098"/>
                </a:cubicBezTo>
                <a:lnTo>
                  <a:pt x="4231" y="1082"/>
                </a:lnTo>
                <a:lnTo>
                  <a:pt x="4231" y="1050"/>
                </a:lnTo>
                <a:cubicBezTo>
                  <a:pt x="4215" y="1050"/>
                  <a:pt x="4220" y="1039"/>
                  <a:pt x="4215" y="1034"/>
                </a:cubicBezTo>
                <a:lnTo>
                  <a:pt x="4215" y="1018"/>
                </a:lnTo>
                <a:lnTo>
                  <a:pt x="4199" y="1002"/>
                </a:lnTo>
                <a:lnTo>
                  <a:pt x="4199" y="986"/>
                </a:lnTo>
                <a:lnTo>
                  <a:pt x="4183" y="971"/>
                </a:lnTo>
                <a:lnTo>
                  <a:pt x="4183" y="954"/>
                </a:lnTo>
                <a:cubicBezTo>
                  <a:pt x="4167" y="954"/>
                  <a:pt x="4167" y="954"/>
                  <a:pt x="4167" y="938"/>
                </a:cubicBezTo>
                <a:lnTo>
                  <a:pt x="4151" y="938"/>
                </a:lnTo>
                <a:cubicBezTo>
                  <a:pt x="4151" y="923"/>
                  <a:pt x="4135" y="923"/>
                  <a:pt x="4135" y="907"/>
                </a:cubicBezTo>
                <a:cubicBezTo>
                  <a:pt x="4120" y="907"/>
                  <a:pt x="4120" y="891"/>
                  <a:pt x="4103" y="891"/>
                </a:cubicBezTo>
                <a:cubicBezTo>
                  <a:pt x="4088" y="875"/>
                  <a:pt x="4088" y="875"/>
                  <a:pt x="4072" y="875"/>
                </a:cubicBezTo>
                <a:cubicBezTo>
                  <a:pt x="4056" y="859"/>
                  <a:pt x="4040" y="843"/>
                  <a:pt x="4024" y="843"/>
                </a:cubicBezTo>
                <a:cubicBezTo>
                  <a:pt x="4024" y="827"/>
                  <a:pt x="4040" y="827"/>
                  <a:pt x="4040" y="811"/>
                </a:cubicBezTo>
                <a:lnTo>
                  <a:pt x="4056" y="811"/>
                </a:lnTo>
                <a:lnTo>
                  <a:pt x="4056" y="795"/>
                </a:lnTo>
                <a:lnTo>
                  <a:pt x="4072" y="780"/>
                </a:lnTo>
                <a:lnTo>
                  <a:pt x="4072" y="763"/>
                </a:lnTo>
                <a:cubicBezTo>
                  <a:pt x="4077" y="758"/>
                  <a:pt x="4072" y="748"/>
                  <a:pt x="4088" y="748"/>
                </a:cubicBezTo>
                <a:lnTo>
                  <a:pt x="4088" y="732"/>
                </a:lnTo>
                <a:lnTo>
                  <a:pt x="4088" y="716"/>
                </a:lnTo>
                <a:lnTo>
                  <a:pt x="4103" y="700"/>
                </a:lnTo>
                <a:lnTo>
                  <a:pt x="4103" y="684"/>
                </a:lnTo>
                <a:lnTo>
                  <a:pt x="4103" y="668"/>
                </a:lnTo>
                <a:lnTo>
                  <a:pt x="4103" y="652"/>
                </a:lnTo>
                <a:lnTo>
                  <a:pt x="4103" y="620"/>
                </a:lnTo>
                <a:cubicBezTo>
                  <a:pt x="4103" y="429"/>
                  <a:pt x="3945" y="271"/>
                  <a:pt x="3722" y="271"/>
                </a:cubicBezTo>
                <a:lnTo>
                  <a:pt x="3006" y="271"/>
                </a:lnTo>
                <a:lnTo>
                  <a:pt x="1702" y="271"/>
                </a:lnTo>
                <a:lnTo>
                  <a:pt x="1702" y="80"/>
                </a:lnTo>
                <a:cubicBezTo>
                  <a:pt x="1702" y="48"/>
                  <a:pt x="1670" y="0"/>
                  <a:pt x="1622" y="0"/>
                </a:cubicBezTo>
                <a:lnTo>
                  <a:pt x="79" y="0"/>
                </a:lnTo>
                <a:cubicBezTo>
                  <a:pt x="31" y="0"/>
                  <a:pt x="0" y="48"/>
                  <a:pt x="0" y="80"/>
                </a:cubicBezTo>
                <a:lnTo>
                  <a:pt x="0" y="2498"/>
                </a:lnTo>
                <a:cubicBezTo>
                  <a:pt x="0" y="2545"/>
                  <a:pt x="31" y="2577"/>
                  <a:pt x="79" y="2577"/>
                </a:cubicBezTo>
                <a:lnTo>
                  <a:pt x="1622" y="2577"/>
                </a:lnTo>
                <a:cubicBezTo>
                  <a:pt x="1670" y="2577"/>
                  <a:pt x="1702" y="2545"/>
                  <a:pt x="1702" y="2498"/>
                </a:cubicBezTo>
                <a:cubicBezTo>
                  <a:pt x="1781" y="2593"/>
                  <a:pt x="2163" y="3134"/>
                  <a:pt x="2147" y="3658"/>
                </a:cubicBezTo>
                <a:cubicBezTo>
                  <a:pt x="2131" y="3786"/>
                  <a:pt x="2211" y="3897"/>
                  <a:pt x="2322" y="3961"/>
                </a:cubicBezTo>
                <a:cubicBezTo>
                  <a:pt x="2370" y="3992"/>
                  <a:pt x="2433" y="4008"/>
                  <a:pt x="2497" y="4008"/>
                </a:cubicBezTo>
                <a:cubicBezTo>
                  <a:pt x="2561" y="4008"/>
                  <a:pt x="2624" y="3992"/>
                  <a:pt x="2688" y="3961"/>
                </a:cubicBezTo>
                <a:cubicBezTo>
                  <a:pt x="2767" y="3913"/>
                  <a:pt x="2831" y="3834"/>
                  <a:pt x="2879" y="3754"/>
                </a:cubicBezTo>
                <a:cubicBezTo>
                  <a:pt x="3006" y="3499"/>
                  <a:pt x="2927" y="2879"/>
                  <a:pt x="2831" y="2561"/>
                </a:cubicBezTo>
                <a:lnTo>
                  <a:pt x="3117" y="2561"/>
                </a:lnTo>
                <a:cubicBezTo>
                  <a:pt x="3149" y="2561"/>
                  <a:pt x="3181" y="2577"/>
                  <a:pt x="3213" y="2577"/>
                </a:cubicBezTo>
                <a:lnTo>
                  <a:pt x="3929" y="2577"/>
                </a:lnTo>
                <a:cubicBezTo>
                  <a:pt x="4135" y="2577"/>
                  <a:pt x="4311" y="2418"/>
                  <a:pt x="4311" y="2227"/>
                </a:cubicBezTo>
                <a:lnTo>
                  <a:pt x="4311" y="2195"/>
                </a:lnTo>
                <a:lnTo>
                  <a:pt x="4311" y="2179"/>
                </a:lnTo>
                <a:lnTo>
                  <a:pt x="4311" y="2163"/>
                </a:lnTo>
                <a:cubicBezTo>
                  <a:pt x="4311" y="2147"/>
                  <a:pt x="4311" y="2147"/>
                  <a:pt x="4294" y="2147"/>
                </a:cubicBezTo>
                <a:lnTo>
                  <a:pt x="4294" y="2132"/>
                </a:lnTo>
                <a:lnTo>
                  <a:pt x="4294" y="2116"/>
                </a:lnTo>
                <a:lnTo>
                  <a:pt x="4278" y="2099"/>
                </a:lnTo>
                <a:lnTo>
                  <a:pt x="4278" y="2084"/>
                </a:lnTo>
                <a:cubicBezTo>
                  <a:pt x="4273" y="2079"/>
                  <a:pt x="4278" y="2068"/>
                  <a:pt x="4263" y="2068"/>
                </a:cubicBezTo>
                <a:lnTo>
                  <a:pt x="4263" y="2052"/>
                </a:lnTo>
                <a:close/>
                <a:moveTo>
                  <a:pt x="1543" y="2418"/>
                </a:moveTo>
                <a:lnTo>
                  <a:pt x="159" y="2418"/>
                </a:lnTo>
                <a:lnTo>
                  <a:pt x="159" y="159"/>
                </a:lnTo>
                <a:lnTo>
                  <a:pt x="1543" y="159"/>
                </a:lnTo>
                <a:lnTo>
                  <a:pt x="1543" y="350"/>
                </a:lnTo>
                <a:lnTo>
                  <a:pt x="1543" y="2386"/>
                </a:lnTo>
                <a:close/>
                <a:moveTo>
                  <a:pt x="3929" y="2418"/>
                </a:moveTo>
                <a:lnTo>
                  <a:pt x="3213" y="2418"/>
                </a:lnTo>
                <a:cubicBezTo>
                  <a:pt x="3181" y="2418"/>
                  <a:pt x="3165" y="2418"/>
                  <a:pt x="3149" y="2402"/>
                </a:cubicBezTo>
                <a:lnTo>
                  <a:pt x="3117" y="2402"/>
                </a:lnTo>
                <a:lnTo>
                  <a:pt x="2720" y="2402"/>
                </a:lnTo>
                <a:cubicBezTo>
                  <a:pt x="2688" y="2402"/>
                  <a:pt x="2656" y="2418"/>
                  <a:pt x="2640" y="2434"/>
                </a:cubicBezTo>
                <a:cubicBezTo>
                  <a:pt x="2624" y="2465"/>
                  <a:pt x="2624" y="2498"/>
                  <a:pt x="2640" y="2513"/>
                </a:cubicBezTo>
                <a:cubicBezTo>
                  <a:pt x="2751" y="2720"/>
                  <a:pt x="2847" y="3452"/>
                  <a:pt x="2736" y="3674"/>
                </a:cubicBezTo>
                <a:cubicBezTo>
                  <a:pt x="2704" y="3738"/>
                  <a:pt x="2656" y="3786"/>
                  <a:pt x="2593" y="3817"/>
                </a:cubicBezTo>
                <a:cubicBezTo>
                  <a:pt x="2529" y="3865"/>
                  <a:pt x="2465" y="3865"/>
                  <a:pt x="2402" y="3817"/>
                </a:cubicBezTo>
                <a:cubicBezTo>
                  <a:pt x="2338" y="3786"/>
                  <a:pt x="2306" y="3722"/>
                  <a:pt x="2306" y="3658"/>
                </a:cubicBezTo>
                <a:cubicBezTo>
                  <a:pt x="2322" y="3022"/>
                  <a:pt x="1829" y="2402"/>
                  <a:pt x="1813" y="2370"/>
                </a:cubicBezTo>
                <a:cubicBezTo>
                  <a:pt x="1802" y="2365"/>
                  <a:pt x="1797" y="2354"/>
                  <a:pt x="1781" y="2354"/>
                </a:cubicBezTo>
                <a:lnTo>
                  <a:pt x="1702" y="2322"/>
                </a:lnTo>
                <a:lnTo>
                  <a:pt x="1702" y="429"/>
                </a:lnTo>
                <a:lnTo>
                  <a:pt x="3006" y="429"/>
                </a:lnTo>
                <a:lnTo>
                  <a:pt x="3722" y="429"/>
                </a:lnTo>
                <a:cubicBezTo>
                  <a:pt x="3849" y="429"/>
                  <a:pt x="3945" y="525"/>
                  <a:pt x="3945" y="620"/>
                </a:cubicBezTo>
                <a:cubicBezTo>
                  <a:pt x="3945" y="732"/>
                  <a:pt x="3849" y="811"/>
                  <a:pt x="3722" y="811"/>
                </a:cubicBezTo>
                <a:cubicBezTo>
                  <a:pt x="3690" y="811"/>
                  <a:pt x="3642" y="843"/>
                  <a:pt x="3642" y="891"/>
                </a:cubicBezTo>
                <a:cubicBezTo>
                  <a:pt x="3642" y="938"/>
                  <a:pt x="3690" y="971"/>
                  <a:pt x="3722" y="971"/>
                </a:cubicBezTo>
                <a:lnTo>
                  <a:pt x="3865" y="971"/>
                </a:lnTo>
                <a:cubicBezTo>
                  <a:pt x="3992" y="971"/>
                  <a:pt x="4088" y="1050"/>
                  <a:pt x="4088" y="1161"/>
                </a:cubicBezTo>
                <a:cubicBezTo>
                  <a:pt x="4088" y="1257"/>
                  <a:pt x="3992" y="1352"/>
                  <a:pt x="3865" y="1352"/>
                </a:cubicBezTo>
                <a:cubicBezTo>
                  <a:pt x="3817" y="1352"/>
                  <a:pt x="3785" y="1384"/>
                  <a:pt x="3785" y="1432"/>
                </a:cubicBezTo>
                <a:cubicBezTo>
                  <a:pt x="3785" y="1463"/>
                  <a:pt x="3817" y="1511"/>
                  <a:pt x="3865" y="1511"/>
                </a:cubicBezTo>
                <a:lnTo>
                  <a:pt x="4008" y="1511"/>
                </a:lnTo>
                <a:cubicBezTo>
                  <a:pt x="4120" y="1511"/>
                  <a:pt x="4215" y="1590"/>
                  <a:pt x="4215" y="1686"/>
                </a:cubicBezTo>
                <a:cubicBezTo>
                  <a:pt x="4215" y="1798"/>
                  <a:pt x="4120" y="1877"/>
                  <a:pt x="4008" y="1877"/>
                </a:cubicBezTo>
                <a:lnTo>
                  <a:pt x="3929" y="1877"/>
                </a:lnTo>
                <a:cubicBezTo>
                  <a:pt x="3897" y="1877"/>
                  <a:pt x="3849" y="1909"/>
                  <a:pt x="3849" y="1956"/>
                </a:cubicBezTo>
                <a:cubicBezTo>
                  <a:pt x="3849" y="2004"/>
                  <a:pt x="3897" y="2036"/>
                  <a:pt x="3929" y="2036"/>
                </a:cubicBezTo>
                <a:cubicBezTo>
                  <a:pt x="4056" y="2036"/>
                  <a:pt x="4151" y="2116"/>
                  <a:pt x="4151" y="2227"/>
                </a:cubicBezTo>
                <a:cubicBezTo>
                  <a:pt x="4151" y="2322"/>
                  <a:pt x="4056" y="2418"/>
                  <a:pt x="3929" y="2418"/>
                </a:cubicBezTo>
                <a:close/>
                <a:moveTo>
                  <a:pt x="795" y="271"/>
                </a:moveTo>
                <a:cubicBezTo>
                  <a:pt x="604" y="271"/>
                  <a:pt x="445" y="429"/>
                  <a:pt x="445" y="620"/>
                </a:cubicBezTo>
                <a:cubicBezTo>
                  <a:pt x="445" y="811"/>
                  <a:pt x="604" y="971"/>
                  <a:pt x="795" y="971"/>
                </a:cubicBezTo>
                <a:cubicBezTo>
                  <a:pt x="986" y="971"/>
                  <a:pt x="1129" y="811"/>
                  <a:pt x="1129" y="620"/>
                </a:cubicBezTo>
                <a:cubicBezTo>
                  <a:pt x="1129" y="429"/>
                  <a:pt x="986" y="271"/>
                  <a:pt x="795" y="271"/>
                </a:cubicBezTo>
                <a:close/>
                <a:moveTo>
                  <a:pt x="795" y="811"/>
                </a:moveTo>
                <a:cubicBezTo>
                  <a:pt x="684" y="811"/>
                  <a:pt x="604" y="732"/>
                  <a:pt x="604" y="620"/>
                </a:cubicBezTo>
                <a:cubicBezTo>
                  <a:pt x="604" y="525"/>
                  <a:pt x="684" y="429"/>
                  <a:pt x="795" y="429"/>
                </a:cubicBezTo>
                <a:cubicBezTo>
                  <a:pt x="891" y="429"/>
                  <a:pt x="970" y="525"/>
                  <a:pt x="970" y="620"/>
                </a:cubicBezTo>
                <a:cubicBezTo>
                  <a:pt x="970" y="732"/>
                  <a:pt x="891" y="811"/>
                  <a:pt x="795" y="81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2" name="Freeform: Shape 12">
            <a:extLst>
              <a:ext uri="{FF2B5EF4-FFF2-40B4-BE49-F238E27FC236}">
                <a16:creationId xmlns:a16="http://schemas.microsoft.com/office/drawing/2014/main" id="{5957C5EB-5E5F-4A4C-A8A4-B77A3BC87D05}"/>
              </a:ext>
            </a:extLst>
          </p:cNvPr>
          <p:cNvSpPr/>
          <p:nvPr/>
        </p:nvSpPr>
        <p:spPr>
          <a:xfrm>
            <a:off x="17181581" y="9383068"/>
            <a:ext cx="1906560" cy="1677599"/>
          </a:xfrm>
          <a:custGeom>
            <a:avLst/>
            <a:gdLst/>
            <a:ahLst/>
            <a:cxnLst>
              <a:cxn ang="3cd4">
                <a:pos x="hc" y="t"/>
              </a:cxn>
              <a:cxn ang="cd2">
                <a:pos x="l" y="vc"/>
              </a:cxn>
              <a:cxn ang="cd4">
                <a:pos x="hc" y="b"/>
              </a:cxn>
              <a:cxn ang="0">
                <a:pos x="r" y="vc"/>
              </a:cxn>
            </a:cxnLst>
            <a:rect l="l" t="t" r="r" b="b"/>
            <a:pathLst>
              <a:path w="5297" h="4661">
                <a:moveTo>
                  <a:pt x="5185" y="604"/>
                </a:moveTo>
                <a:cubicBezTo>
                  <a:pt x="4470" y="907"/>
                  <a:pt x="3849" y="875"/>
                  <a:pt x="3308" y="493"/>
                </a:cubicBezTo>
                <a:cubicBezTo>
                  <a:pt x="3292" y="477"/>
                  <a:pt x="3261" y="477"/>
                  <a:pt x="3229" y="493"/>
                </a:cubicBezTo>
                <a:cubicBezTo>
                  <a:pt x="3213" y="493"/>
                  <a:pt x="3197" y="525"/>
                  <a:pt x="3181" y="541"/>
                </a:cubicBezTo>
                <a:lnTo>
                  <a:pt x="2735" y="2147"/>
                </a:lnTo>
                <a:cubicBezTo>
                  <a:pt x="2720" y="2179"/>
                  <a:pt x="2735" y="2211"/>
                  <a:pt x="2768" y="2227"/>
                </a:cubicBezTo>
                <a:cubicBezTo>
                  <a:pt x="3086" y="2450"/>
                  <a:pt x="3435" y="2561"/>
                  <a:pt x="3817" y="2561"/>
                </a:cubicBezTo>
                <a:cubicBezTo>
                  <a:pt x="4135" y="2561"/>
                  <a:pt x="4453" y="2497"/>
                  <a:pt x="4788" y="2354"/>
                </a:cubicBezTo>
                <a:cubicBezTo>
                  <a:pt x="4819" y="2338"/>
                  <a:pt x="4835" y="2322"/>
                  <a:pt x="4835" y="2290"/>
                </a:cubicBezTo>
                <a:lnTo>
                  <a:pt x="5297" y="700"/>
                </a:lnTo>
                <a:cubicBezTo>
                  <a:pt x="5297" y="668"/>
                  <a:pt x="5297" y="636"/>
                  <a:pt x="5265" y="620"/>
                </a:cubicBezTo>
                <a:cubicBezTo>
                  <a:pt x="5249" y="589"/>
                  <a:pt x="5217" y="589"/>
                  <a:pt x="5185" y="604"/>
                </a:cubicBezTo>
                <a:close/>
                <a:moveTo>
                  <a:pt x="4692" y="2211"/>
                </a:moveTo>
                <a:cubicBezTo>
                  <a:pt x="4024" y="2497"/>
                  <a:pt x="3420" y="2465"/>
                  <a:pt x="2911" y="2131"/>
                </a:cubicBezTo>
                <a:lnTo>
                  <a:pt x="3308" y="684"/>
                </a:lnTo>
                <a:cubicBezTo>
                  <a:pt x="3833" y="1002"/>
                  <a:pt x="4438" y="1050"/>
                  <a:pt x="5090" y="811"/>
                </a:cubicBezTo>
                <a:close/>
                <a:moveTo>
                  <a:pt x="1035" y="222"/>
                </a:moveTo>
                <a:cubicBezTo>
                  <a:pt x="1019" y="222"/>
                  <a:pt x="987" y="238"/>
                  <a:pt x="987" y="270"/>
                </a:cubicBezTo>
                <a:lnTo>
                  <a:pt x="542" y="1876"/>
                </a:lnTo>
                <a:cubicBezTo>
                  <a:pt x="526" y="1892"/>
                  <a:pt x="542" y="1924"/>
                  <a:pt x="558" y="1940"/>
                </a:cubicBezTo>
                <a:cubicBezTo>
                  <a:pt x="573" y="1971"/>
                  <a:pt x="605" y="1971"/>
                  <a:pt x="637" y="1971"/>
                </a:cubicBezTo>
                <a:cubicBezTo>
                  <a:pt x="1385" y="1733"/>
                  <a:pt x="1894" y="1764"/>
                  <a:pt x="2323" y="2067"/>
                </a:cubicBezTo>
                <a:lnTo>
                  <a:pt x="2371" y="2067"/>
                </a:lnTo>
                <a:lnTo>
                  <a:pt x="2403" y="2067"/>
                </a:lnTo>
                <a:cubicBezTo>
                  <a:pt x="2418" y="2067"/>
                  <a:pt x="2435" y="2035"/>
                  <a:pt x="2450" y="2019"/>
                </a:cubicBezTo>
                <a:lnTo>
                  <a:pt x="2896" y="413"/>
                </a:lnTo>
                <a:cubicBezTo>
                  <a:pt x="2912" y="381"/>
                  <a:pt x="2896" y="349"/>
                  <a:pt x="2864" y="333"/>
                </a:cubicBezTo>
                <a:cubicBezTo>
                  <a:pt x="2466" y="47"/>
                  <a:pt x="1989" y="-192"/>
                  <a:pt x="1035" y="222"/>
                </a:cubicBezTo>
                <a:close/>
                <a:moveTo>
                  <a:pt x="2323" y="1876"/>
                </a:moveTo>
                <a:cubicBezTo>
                  <a:pt x="2084" y="1717"/>
                  <a:pt x="1814" y="1653"/>
                  <a:pt x="1496" y="1653"/>
                </a:cubicBezTo>
                <a:cubicBezTo>
                  <a:pt x="1273" y="1653"/>
                  <a:pt x="1019" y="1685"/>
                  <a:pt x="733" y="1780"/>
                </a:cubicBezTo>
                <a:lnTo>
                  <a:pt x="1130" y="349"/>
                </a:lnTo>
                <a:cubicBezTo>
                  <a:pt x="1957" y="15"/>
                  <a:pt x="2371" y="190"/>
                  <a:pt x="2721" y="428"/>
                </a:cubicBezTo>
                <a:close/>
                <a:moveTo>
                  <a:pt x="1797" y="4152"/>
                </a:moveTo>
                <a:cubicBezTo>
                  <a:pt x="1797" y="4167"/>
                  <a:pt x="1813" y="4167"/>
                  <a:pt x="1829" y="4167"/>
                </a:cubicBezTo>
                <a:lnTo>
                  <a:pt x="1861" y="4167"/>
                </a:lnTo>
                <a:cubicBezTo>
                  <a:pt x="1893" y="4152"/>
                  <a:pt x="1908" y="4135"/>
                  <a:pt x="1908" y="4104"/>
                </a:cubicBezTo>
                <a:cubicBezTo>
                  <a:pt x="2370" y="2513"/>
                  <a:pt x="2216" y="3043"/>
                  <a:pt x="2370" y="2513"/>
                </a:cubicBezTo>
                <a:cubicBezTo>
                  <a:pt x="2370" y="2481"/>
                  <a:pt x="2354" y="2434"/>
                  <a:pt x="2338" y="2417"/>
                </a:cubicBezTo>
                <a:cubicBezTo>
                  <a:pt x="1925" y="2147"/>
                  <a:pt x="1447" y="1908"/>
                  <a:pt x="509" y="2307"/>
                </a:cubicBezTo>
                <a:cubicBezTo>
                  <a:pt x="477" y="2322"/>
                  <a:pt x="461" y="2338"/>
                  <a:pt x="461" y="2354"/>
                </a:cubicBezTo>
                <a:cubicBezTo>
                  <a:pt x="0" y="3961"/>
                  <a:pt x="154" y="3425"/>
                  <a:pt x="0" y="3961"/>
                </a:cubicBezTo>
                <a:cubicBezTo>
                  <a:pt x="0" y="3992"/>
                  <a:pt x="0" y="4024"/>
                  <a:pt x="16" y="4040"/>
                </a:cubicBezTo>
                <a:cubicBezTo>
                  <a:pt x="48" y="4056"/>
                  <a:pt x="80" y="4072"/>
                  <a:pt x="95" y="4056"/>
                </a:cubicBezTo>
                <a:cubicBezTo>
                  <a:pt x="1050" y="3817"/>
                  <a:pt x="1447" y="3913"/>
                  <a:pt x="1797" y="4152"/>
                </a:cubicBezTo>
                <a:close/>
                <a:moveTo>
                  <a:pt x="191" y="3881"/>
                </a:moveTo>
                <a:cubicBezTo>
                  <a:pt x="604" y="2434"/>
                  <a:pt x="466" y="2916"/>
                  <a:pt x="604" y="2434"/>
                </a:cubicBezTo>
                <a:cubicBezTo>
                  <a:pt x="1416" y="2099"/>
                  <a:pt x="1829" y="2274"/>
                  <a:pt x="2195" y="2513"/>
                </a:cubicBezTo>
                <a:cubicBezTo>
                  <a:pt x="1781" y="3961"/>
                  <a:pt x="1919" y="3478"/>
                  <a:pt x="1781" y="3961"/>
                </a:cubicBezTo>
                <a:cubicBezTo>
                  <a:pt x="1559" y="3833"/>
                  <a:pt x="1320" y="3754"/>
                  <a:pt x="1018" y="3754"/>
                </a:cubicBezTo>
                <a:cubicBezTo>
                  <a:pt x="779" y="3754"/>
                  <a:pt x="509" y="3801"/>
                  <a:pt x="191" y="3881"/>
                </a:cubicBezTo>
                <a:close/>
                <a:moveTo>
                  <a:pt x="4660" y="2688"/>
                </a:moveTo>
                <a:cubicBezTo>
                  <a:pt x="3944" y="2990"/>
                  <a:pt x="3308" y="2959"/>
                  <a:pt x="2783" y="2593"/>
                </a:cubicBezTo>
                <a:cubicBezTo>
                  <a:pt x="2752" y="2577"/>
                  <a:pt x="2735" y="2577"/>
                  <a:pt x="2704" y="2577"/>
                </a:cubicBezTo>
                <a:cubicBezTo>
                  <a:pt x="2688" y="2593"/>
                  <a:pt x="2656" y="2608"/>
                  <a:pt x="2656" y="2640"/>
                </a:cubicBezTo>
                <a:lnTo>
                  <a:pt x="2211" y="4231"/>
                </a:lnTo>
                <a:cubicBezTo>
                  <a:pt x="2195" y="4263"/>
                  <a:pt x="2211" y="4295"/>
                  <a:pt x="2243" y="4310"/>
                </a:cubicBezTo>
                <a:cubicBezTo>
                  <a:pt x="2561" y="4549"/>
                  <a:pt x="2911" y="4661"/>
                  <a:pt x="3292" y="4661"/>
                </a:cubicBezTo>
                <a:cubicBezTo>
                  <a:pt x="3595" y="4661"/>
                  <a:pt x="3929" y="4581"/>
                  <a:pt x="4262" y="4438"/>
                </a:cubicBezTo>
                <a:cubicBezTo>
                  <a:pt x="4279" y="4422"/>
                  <a:pt x="4295" y="4406"/>
                  <a:pt x="4310" y="4390"/>
                </a:cubicBezTo>
                <a:lnTo>
                  <a:pt x="4756" y="2783"/>
                </a:lnTo>
                <a:cubicBezTo>
                  <a:pt x="4771" y="2752"/>
                  <a:pt x="4756" y="2720"/>
                  <a:pt x="4740" y="2704"/>
                </a:cubicBezTo>
                <a:cubicBezTo>
                  <a:pt x="4708" y="2688"/>
                  <a:pt x="4676" y="2672"/>
                  <a:pt x="4660" y="2688"/>
                </a:cubicBezTo>
                <a:close/>
                <a:moveTo>
                  <a:pt x="4167" y="4310"/>
                </a:moveTo>
                <a:cubicBezTo>
                  <a:pt x="3483" y="4581"/>
                  <a:pt x="2895" y="4549"/>
                  <a:pt x="2370" y="4215"/>
                </a:cubicBezTo>
                <a:lnTo>
                  <a:pt x="2783" y="2783"/>
                </a:lnTo>
                <a:cubicBezTo>
                  <a:pt x="3308" y="3102"/>
                  <a:pt x="3897" y="3134"/>
                  <a:pt x="4565" y="289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3" name="TextBox 102">
            <a:extLst>
              <a:ext uri="{FF2B5EF4-FFF2-40B4-BE49-F238E27FC236}">
                <a16:creationId xmlns:a16="http://schemas.microsoft.com/office/drawing/2014/main" id="{5EDA4C3E-E32D-5C43-8F46-444B6A4C1DEE}"/>
              </a:ext>
            </a:extLst>
          </p:cNvPr>
          <p:cNvSpPr txBox="1"/>
          <p:nvPr/>
        </p:nvSpPr>
        <p:spPr>
          <a:xfrm>
            <a:off x="20543104" y="11657695"/>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inux 1</a:t>
            </a:r>
          </a:p>
        </p:txBody>
      </p:sp>
      <p:sp>
        <p:nvSpPr>
          <p:cNvPr id="104" name="Freeform: Shape 21">
            <a:extLst>
              <a:ext uri="{FF2B5EF4-FFF2-40B4-BE49-F238E27FC236}">
                <a16:creationId xmlns:a16="http://schemas.microsoft.com/office/drawing/2014/main" id="{6B12CEC4-8E5F-4447-80A5-BC8F083E7BEB}"/>
              </a:ext>
            </a:extLst>
          </p:cNvPr>
          <p:cNvSpPr/>
          <p:nvPr/>
        </p:nvSpPr>
        <p:spPr>
          <a:xfrm>
            <a:off x="21295603" y="9509888"/>
            <a:ext cx="1649880" cy="2013839"/>
          </a:xfrm>
          <a:custGeom>
            <a:avLst/>
            <a:gdLst/>
            <a:ahLst/>
            <a:cxnLst>
              <a:cxn ang="3cd4">
                <a:pos x="hc" y="t"/>
              </a:cxn>
              <a:cxn ang="cd2">
                <a:pos x="l" y="vc"/>
              </a:cxn>
              <a:cxn ang="cd4">
                <a:pos x="hc" y="b"/>
              </a:cxn>
              <a:cxn ang="0">
                <a:pos x="r" y="vc"/>
              </a:cxn>
            </a:cxnLst>
            <a:rect l="l" t="t" r="r" b="b"/>
            <a:pathLst>
              <a:path w="4584" h="5595">
                <a:moveTo>
                  <a:pt x="1721" y="1809"/>
                </a:moveTo>
                <a:cubicBezTo>
                  <a:pt x="1801" y="1889"/>
                  <a:pt x="1721" y="1920"/>
                  <a:pt x="2087" y="1889"/>
                </a:cubicBezTo>
                <a:cubicBezTo>
                  <a:pt x="2437" y="1841"/>
                  <a:pt x="2458" y="1729"/>
                  <a:pt x="2644" y="1650"/>
                </a:cubicBezTo>
                <a:cubicBezTo>
                  <a:pt x="2628" y="1714"/>
                  <a:pt x="2517" y="1825"/>
                  <a:pt x="2453" y="1841"/>
                </a:cubicBezTo>
                <a:cubicBezTo>
                  <a:pt x="2405" y="1873"/>
                  <a:pt x="2151" y="1984"/>
                  <a:pt x="2055" y="1984"/>
                </a:cubicBezTo>
                <a:cubicBezTo>
                  <a:pt x="1976" y="2000"/>
                  <a:pt x="1896" y="1968"/>
                  <a:pt x="1848" y="1968"/>
                </a:cubicBezTo>
                <a:cubicBezTo>
                  <a:pt x="1785" y="1968"/>
                  <a:pt x="1801" y="2000"/>
                  <a:pt x="1880" y="2063"/>
                </a:cubicBezTo>
                <a:cubicBezTo>
                  <a:pt x="1944" y="2111"/>
                  <a:pt x="2008" y="2111"/>
                  <a:pt x="2087" y="2111"/>
                </a:cubicBezTo>
                <a:cubicBezTo>
                  <a:pt x="2183" y="2111"/>
                  <a:pt x="2437" y="1952"/>
                  <a:pt x="2532" y="1920"/>
                </a:cubicBezTo>
                <a:cubicBezTo>
                  <a:pt x="2612" y="1873"/>
                  <a:pt x="2707" y="1793"/>
                  <a:pt x="2739" y="1714"/>
                </a:cubicBezTo>
                <a:cubicBezTo>
                  <a:pt x="2771" y="1634"/>
                  <a:pt x="2723" y="1554"/>
                  <a:pt x="2628" y="1523"/>
                </a:cubicBezTo>
                <a:cubicBezTo>
                  <a:pt x="2517" y="1491"/>
                  <a:pt x="2374" y="1459"/>
                  <a:pt x="2294" y="1427"/>
                </a:cubicBezTo>
                <a:cubicBezTo>
                  <a:pt x="2214" y="1396"/>
                  <a:pt x="2151" y="1332"/>
                  <a:pt x="2087" y="1332"/>
                </a:cubicBezTo>
                <a:cubicBezTo>
                  <a:pt x="2023" y="1316"/>
                  <a:pt x="1944" y="1332"/>
                  <a:pt x="1833" y="1411"/>
                </a:cubicBezTo>
                <a:cubicBezTo>
                  <a:pt x="1737" y="1475"/>
                  <a:pt x="1626" y="1586"/>
                  <a:pt x="1626" y="1650"/>
                </a:cubicBezTo>
                <a:cubicBezTo>
                  <a:pt x="1626" y="1729"/>
                  <a:pt x="1626" y="1714"/>
                  <a:pt x="1721" y="1809"/>
                </a:cubicBezTo>
                <a:close/>
                <a:moveTo>
                  <a:pt x="4266" y="5134"/>
                </a:moveTo>
                <a:cubicBezTo>
                  <a:pt x="4377" y="5086"/>
                  <a:pt x="4584" y="4990"/>
                  <a:pt x="4584" y="4815"/>
                </a:cubicBezTo>
                <a:cubicBezTo>
                  <a:pt x="4568" y="4688"/>
                  <a:pt x="4473" y="4640"/>
                  <a:pt x="4410" y="4608"/>
                </a:cubicBezTo>
                <a:cubicBezTo>
                  <a:pt x="4362" y="4593"/>
                  <a:pt x="4330" y="4577"/>
                  <a:pt x="4314" y="4545"/>
                </a:cubicBezTo>
                <a:cubicBezTo>
                  <a:pt x="4219" y="4465"/>
                  <a:pt x="4171" y="4322"/>
                  <a:pt x="4155" y="4116"/>
                </a:cubicBezTo>
                <a:cubicBezTo>
                  <a:pt x="4187" y="4068"/>
                  <a:pt x="4202" y="4020"/>
                  <a:pt x="4219" y="3988"/>
                </a:cubicBezTo>
                <a:cubicBezTo>
                  <a:pt x="4393" y="3575"/>
                  <a:pt x="4346" y="2923"/>
                  <a:pt x="3741" y="2318"/>
                </a:cubicBezTo>
                <a:cubicBezTo>
                  <a:pt x="3630" y="2207"/>
                  <a:pt x="3359" y="1698"/>
                  <a:pt x="3328" y="1554"/>
                </a:cubicBezTo>
                <a:cubicBezTo>
                  <a:pt x="3312" y="1507"/>
                  <a:pt x="3312" y="1380"/>
                  <a:pt x="3296" y="1236"/>
                </a:cubicBezTo>
                <a:cubicBezTo>
                  <a:pt x="3296" y="1045"/>
                  <a:pt x="3280" y="791"/>
                  <a:pt x="3232" y="616"/>
                </a:cubicBezTo>
                <a:cubicBezTo>
                  <a:pt x="3153" y="266"/>
                  <a:pt x="2644" y="-68"/>
                  <a:pt x="2103" y="12"/>
                </a:cubicBezTo>
                <a:cubicBezTo>
                  <a:pt x="1499" y="107"/>
                  <a:pt x="1356" y="521"/>
                  <a:pt x="1324" y="696"/>
                </a:cubicBezTo>
                <a:cubicBezTo>
                  <a:pt x="1292" y="871"/>
                  <a:pt x="1324" y="1443"/>
                  <a:pt x="1324" y="1762"/>
                </a:cubicBezTo>
                <a:lnTo>
                  <a:pt x="1324" y="1905"/>
                </a:lnTo>
                <a:cubicBezTo>
                  <a:pt x="1324" y="1984"/>
                  <a:pt x="1085" y="2461"/>
                  <a:pt x="910" y="2763"/>
                </a:cubicBezTo>
                <a:cubicBezTo>
                  <a:pt x="799" y="2986"/>
                  <a:pt x="687" y="3193"/>
                  <a:pt x="624" y="3320"/>
                </a:cubicBezTo>
                <a:cubicBezTo>
                  <a:pt x="512" y="3590"/>
                  <a:pt x="576" y="3765"/>
                  <a:pt x="639" y="3861"/>
                </a:cubicBezTo>
                <a:cubicBezTo>
                  <a:pt x="576" y="3925"/>
                  <a:pt x="592" y="4020"/>
                  <a:pt x="592" y="4084"/>
                </a:cubicBezTo>
                <a:cubicBezTo>
                  <a:pt x="592" y="4131"/>
                  <a:pt x="608" y="4179"/>
                  <a:pt x="592" y="4195"/>
                </a:cubicBezTo>
                <a:cubicBezTo>
                  <a:pt x="576" y="4211"/>
                  <a:pt x="512" y="4211"/>
                  <a:pt x="449" y="4211"/>
                </a:cubicBezTo>
                <a:cubicBezTo>
                  <a:pt x="353" y="4195"/>
                  <a:pt x="242" y="4195"/>
                  <a:pt x="115" y="4306"/>
                </a:cubicBezTo>
                <a:cubicBezTo>
                  <a:pt x="3" y="4434"/>
                  <a:pt x="35" y="4545"/>
                  <a:pt x="99" y="4672"/>
                </a:cubicBezTo>
                <a:cubicBezTo>
                  <a:pt x="147" y="4799"/>
                  <a:pt x="147" y="4815"/>
                  <a:pt x="115" y="4863"/>
                </a:cubicBezTo>
                <a:cubicBezTo>
                  <a:pt x="115" y="4879"/>
                  <a:pt x="99" y="4895"/>
                  <a:pt x="83" y="4911"/>
                </a:cubicBezTo>
                <a:cubicBezTo>
                  <a:pt x="35" y="4974"/>
                  <a:pt x="-13" y="5054"/>
                  <a:pt x="3" y="5134"/>
                </a:cubicBezTo>
                <a:cubicBezTo>
                  <a:pt x="20" y="5197"/>
                  <a:pt x="51" y="5229"/>
                  <a:pt x="99" y="5261"/>
                </a:cubicBezTo>
                <a:cubicBezTo>
                  <a:pt x="258" y="5356"/>
                  <a:pt x="910" y="5515"/>
                  <a:pt x="1005" y="5531"/>
                </a:cubicBezTo>
                <a:cubicBezTo>
                  <a:pt x="1037" y="5547"/>
                  <a:pt x="1165" y="5579"/>
                  <a:pt x="1308" y="5579"/>
                </a:cubicBezTo>
                <a:cubicBezTo>
                  <a:pt x="1435" y="5579"/>
                  <a:pt x="1578" y="5547"/>
                  <a:pt x="1657" y="5435"/>
                </a:cubicBezTo>
                <a:cubicBezTo>
                  <a:pt x="1737" y="5324"/>
                  <a:pt x="1769" y="5229"/>
                  <a:pt x="1769" y="5117"/>
                </a:cubicBezTo>
                <a:lnTo>
                  <a:pt x="1912" y="5117"/>
                </a:lnTo>
                <a:cubicBezTo>
                  <a:pt x="2023" y="5117"/>
                  <a:pt x="2166" y="5117"/>
                  <a:pt x="2342" y="5102"/>
                </a:cubicBezTo>
                <a:cubicBezTo>
                  <a:pt x="2612" y="5070"/>
                  <a:pt x="2819" y="5022"/>
                  <a:pt x="2946" y="4990"/>
                </a:cubicBezTo>
                <a:cubicBezTo>
                  <a:pt x="2930" y="5054"/>
                  <a:pt x="2930" y="5134"/>
                  <a:pt x="2946" y="5229"/>
                </a:cubicBezTo>
                <a:cubicBezTo>
                  <a:pt x="2994" y="5483"/>
                  <a:pt x="3153" y="5547"/>
                  <a:pt x="3280" y="5579"/>
                </a:cubicBezTo>
                <a:cubicBezTo>
                  <a:pt x="3312" y="5579"/>
                  <a:pt x="3359" y="5595"/>
                  <a:pt x="3423" y="5595"/>
                </a:cubicBezTo>
                <a:cubicBezTo>
                  <a:pt x="3519" y="5595"/>
                  <a:pt x="3614" y="5563"/>
                  <a:pt x="3757" y="5435"/>
                </a:cubicBezTo>
                <a:cubicBezTo>
                  <a:pt x="3884" y="5292"/>
                  <a:pt x="4075" y="5213"/>
                  <a:pt x="4187" y="5181"/>
                </a:cubicBezTo>
                <a:cubicBezTo>
                  <a:pt x="4219" y="5165"/>
                  <a:pt x="4250" y="5149"/>
                  <a:pt x="4266" y="5134"/>
                </a:cubicBezTo>
                <a:close/>
                <a:moveTo>
                  <a:pt x="767" y="3384"/>
                </a:moveTo>
                <a:cubicBezTo>
                  <a:pt x="830" y="3272"/>
                  <a:pt x="942" y="3066"/>
                  <a:pt x="1053" y="2843"/>
                </a:cubicBezTo>
                <a:cubicBezTo>
                  <a:pt x="1324" y="2334"/>
                  <a:pt x="1483" y="2016"/>
                  <a:pt x="1483" y="1905"/>
                </a:cubicBezTo>
                <a:lnTo>
                  <a:pt x="1483" y="1762"/>
                </a:lnTo>
                <a:cubicBezTo>
                  <a:pt x="1483" y="1475"/>
                  <a:pt x="1451" y="887"/>
                  <a:pt x="1483" y="727"/>
                </a:cubicBezTo>
                <a:cubicBezTo>
                  <a:pt x="1514" y="584"/>
                  <a:pt x="1626" y="250"/>
                  <a:pt x="2119" y="171"/>
                </a:cubicBezTo>
                <a:cubicBezTo>
                  <a:pt x="2580" y="91"/>
                  <a:pt x="3026" y="378"/>
                  <a:pt x="3089" y="648"/>
                </a:cubicBezTo>
                <a:cubicBezTo>
                  <a:pt x="3121" y="823"/>
                  <a:pt x="3137" y="1062"/>
                  <a:pt x="3137" y="1253"/>
                </a:cubicBezTo>
                <a:cubicBezTo>
                  <a:pt x="3153" y="1411"/>
                  <a:pt x="3153" y="1523"/>
                  <a:pt x="3169" y="1602"/>
                </a:cubicBezTo>
                <a:cubicBezTo>
                  <a:pt x="3216" y="1762"/>
                  <a:pt x="3503" y="2302"/>
                  <a:pt x="3630" y="2429"/>
                </a:cubicBezTo>
                <a:cubicBezTo>
                  <a:pt x="4187" y="2986"/>
                  <a:pt x="4219" y="3575"/>
                  <a:pt x="4075" y="3925"/>
                </a:cubicBezTo>
                <a:cubicBezTo>
                  <a:pt x="3996" y="4131"/>
                  <a:pt x="3837" y="4259"/>
                  <a:pt x="3678" y="4259"/>
                </a:cubicBezTo>
                <a:cubicBezTo>
                  <a:pt x="3550" y="4259"/>
                  <a:pt x="3375" y="4211"/>
                  <a:pt x="3344" y="4099"/>
                </a:cubicBezTo>
                <a:cubicBezTo>
                  <a:pt x="3328" y="4084"/>
                  <a:pt x="3328" y="4068"/>
                  <a:pt x="3328" y="4052"/>
                </a:cubicBezTo>
                <a:cubicBezTo>
                  <a:pt x="3312" y="3972"/>
                  <a:pt x="3359" y="3893"/>
                  <a:pt x="3407" y="3861"/>
                </a:cubicBezTo>
                <a:cubicBezTo>
                  <a:pt x="3487" y="3797"/>
                  <a:pt x="3614" y="3845"/>
                  <a:pt x="3678" y="3893"/>
                </a:cubicBezTo>
                <a:cubicBezTo>
                  <a:pt x="3710" y="3908"/>
                  <a:pt x="3757" y="3893"/>
                  <a:pt x="3789" y="3861"/>
                </a:cubicBezTo>
                <a:cubicBezTo>
                  <a:pt x="3805" y="3829"/>
                  <a:pt x="3789" y="3781"/>
                  <a:pt x="3757" y="3750"/>
                </a:cubicBezTo>
                <a:cubicBezTo>
                  <a:pt x="3710" y="3718"/>
                  <a:pt x="3662" y="3702"/>
                  <a:pt x="3598" y="3686"/>
                </a:cubicBezTo>
                <a:cubicBezTo>
                  <a:pt x="3630" y="3590"/>
                  <a:pt x="3646" y="3447"/>
                  <a:pt x="3630" y="3161"/>
                </a:cubicBezTo>
                <a:cubicBezTo>
                  <a:pt x="3598" y="2827"/>
                  <a:pt x="3232" y="2461"/>
                  <a:pt x="3216" y="2445"/>
                </a:cubicBezTo>
                <a:cubicBezTo>
                  <a:pt x="3184" y="2414"/>
                  <a:pt x="3137" y="2414"/>
                  <a:pt x="3105" y="2445"/>
                </a:cubicBezTo>
                <a:cubicBezTo>
                  <a:pt x="3073" y="2477"/>
                  <a:pt x="3073" y="2541"/>
                  <a:pt x="3105" y="2557"/>
                </a:cubicBezTo>
                <a:cubicBezTo>
                  <a:pt x="3201" y="2652"/>
                  <a:pt x="3455" y="2954"/>
                  <a:pt x="3471" y="3177"/>
                </a:cubicBezTo>
                <a:cubicBezTo>
                  <a:pt x="3487" y="3399"/>
                  <a:pt x="3487" y="3559"/>
                  <a:pt x="3439" y="3670"/>
                </a:cubicBezTo>
                <a:cubicBezTo>
                  <a:pt x="3392" y="3686"/>
                  <a:pt x="3359" y="3702"/>
                  <a:pt x="3328" y="3718"/>
                </a:cubicBezTo>
                <a:cubicBezTo>
                  <a:pt x="3280" y="3750"/>
                  <a:pt x="3232" y="3797"/>
                  <a:pt x="3201" y="3861"/>
                </a:cubicBezTo>
                <a:cubicBezTo>
                  <a:pt x="3216" y="3765"/>
                  <a:pt x="3216" y="3686"/>
                  <a:pt x="3216" y="3607"/>
                </a:cubicBezTo>
                <a:cubicBezTo>
                  <a:pt x="3216" y="2923"/>
                  <a:pt x="2803" y="2127"/>
                  <a:pt x="2771" y="2080"/>
                </a:cubicBezTo>
                <a:cubicBezTo>
                  <a:pt x="2739" y="2048"/>
                  <a:pt x="2707" y="2032"/>
                  <a:pt x="2692" y="2032"/>
                </a:cubicBezTo>
                <a:cubicBezTo>
                  <a:pt x="2612" y="2016"/>
                  <a:pt x="2548" y="2063"/>
                  <a:pt x="2469" y="2127"/>
                </a:cubicBezTo>
                <a:cubicBezTo>
                  <a:pt x="2357" y="2191"/>
                  <a:pt x="2230" y="2302"/>
                  <a:pt x="2055" y="2302"/>
                </a:cubicBezTo>
                <a:cubicBezTo>
                  <a:pt x="2023" y="2302"/>
                  <a:pt x="1928" y="2238"/>
                  <a:pt x="1880" y="2207"/>
                </a:cubicBezTo>
                <a:cubicBezTo>
                  <a:pt x="1785" y="2159"/>
                  <a:pt x="1705" y="2111"/>
                  <a:pt x="1642" y="2127"/>
                </a:cubicBezTo>
                <a:cubicBezTo>
                  <a:pt x="1626" y="2143"/>
                  <a:pt x="1594" y="2159"/>
                  <a:pt x="1578" y="2191"/>
                </a:cubicBezTo>
                <a:cubicBezTo>
                  <a:pt x="1546" y="2271"/>
                  <a:pt x="1196" y="3352"/>
                  <a:pt x="1148" y="3590"/>
                </a:cubicBezTo>
                <a:cubicBezTo>
                  <a:pt x="1117" y="3734"/>
                  <a:pt x="1117" y="3877"/>
                  <a:pt x="1117" y="3988"/>
                </a:cubicBezTo>
                <a:lnTo>
                  <a:pt x="1117" y="3972"/>
                </a:lnTo>
                <a:cubicBezTo>
                  <a:pt x="1069" y="3908"/>
                  <a:pt x="974" y="3765"/>
                  <a:pt x="783" y="3797"/>
                </a:cubicBezTo>
                <a:cubicBezTo>
                  <a:pt x="735" y="3734"/>
                  <a:pt x="672" y="3607"/>
                  <a:pt x="767" y="3384"/>
                </a:cubicBezTo>
                <a:close/>
                <a:moveTo>
                  <a:pt x="1530" y="5356"/>
                </a:moveTo>
                <a:cubicBezTo>
                  <a:pt x="1435" y="5467"/>
                  <a:pt x="1148" y="5404"/>
                  <a:pt x="1053" y="5372"/>
                </a:cubicBezTo>
                <a:lnTo>
                  <a:pt x="1037" y="5372"/>
                </a:lnTo>
                <a:cubicBezTo>
                  <a:pt x="767" y="5308"/>
                  <a:pt x="290" y="5197"/>
                  <a:pt x="194" y="5134"/>
                </a:cubicBezTo>
                <a:cubicBezTo>
                  <a:pt x="163" y="5117"/>
                  <a:pt x="163" y="5117"/>
                  <a:pt x="163" y="5102"/>
                </a:cubicBezTo>
                <a:cubicBezTo>
                  <a:pt x="163" y="5086"/>
                  <a:pt x="194" y="5038"/>
                  <a:pt x="210" y="5006"/>
                </a:cubicBezTo>
                <a:cubicBezTo>
                  <a:pt x="226" y="4990"/>
                  <a:pt x="242" y="4958"/>
                  <a:pt x="258" y="4943"/>
                </a:cubicBezTo>
                <a:cubicBezTo>
                  <a:pt x="321" y="4815"/>
                  <a:pt x="290" y="4736"/>
                  <a:pt x="242" y="4608"/>
                </a:cubicBezTo>
                <a:cubicBezTo>
                  <a:pt x="178" y="4481"/>
                  <a:pt x="194" y="4465"/>
                  <a:pt x="226" y="4417"/>
                </a:cubicBezTo>
                <a:cubicBezTo>
                  <a:pt x="274" y="4370"/>
                  <a:pt x="321" y="4354"/>
                  <a:pt x="369" y="4354"/>
                </a:cubicBezTo>
                <a:cubicBezTo>
                  <a:pt x="385" y="4354"/>
                  <a:pt x="417" y="4370"/>
                  <a:pt x="433" y="4370"/>
                </a:cubicBezTo>
                <a:cubicBezTo>
                  <a:pt x="560" y="4370"/>
                  <a:pt x="656" y="4354"/>
                  <a:pt x="703" y="4306"/>
                </a:cubicBezTo>
                <a:cubicBezTo>
                  <a:pt x="767" y="4227"/>
                  <a:pt x="767" y="4147"/>
                  <a:pt x="751" y="4068"/>
                </a:cubicBezTo>
                <a:cubicBezTo>
                  <a:pt x="751" y="3972"/>
                  <a:pt x="751" y="3972"/>
                  <a:pt x="767" y="3956"/>
                </a:cubicBezTo>
                <a:cubicBezTo>
                  <a:pt x="878" y="3925"/>
                  <a:pt x="926" y="3988"/>
                  <a:pt x="990" y="4068"/>
                </a:cubicBezTo>
                <a:cubicBezTo>
                  <a:pt x="990" y="4084"/>
                  <a:pt x="1005" y="4084"/>
                  <a:pt x="1005" y="4099"/>
                </a:cubicBezTo>
                <a:cubicBezTo>
                  <a:pt x="1037" y="4131"/>
                  <a:pt x="1101" y="4259"/>
                  <a:pt x="1196" y="4402"/>
                </a:cubicBezTo>
                <a:cubicBezTo>
                  <a:pt x="1276" y="4513"/>
                  <a:pt x="1356" y="4640"/>
                  <a:pt x="1451" y="4783"/>
                </a:cubicBezTo>
                <a:cubicBezTo>
                  <a:pt x="1657" y="5102"/>
                  <a:pt x="1626" y="5213"/>
                  <a:pt x="1530" y="5356"/>
                </a:cubicBezTo>
                <a:close/>
                <a:moveTo>
                  <a:pt x="2326" y="4943"/>
                </a:moveTo>
                <a:cubicBezTo>
                  <a:pt x="1976" y="4974"/>
                  <a:pt x="1785" y="4958"/>
                  <a:pt x="1721" y="4943"/>
                </a:cubicBezTo>
                <a:cubicBezTo>
                  <a:pt x="1690" y="4879"/>
                  <a:pt x="1642" y="4799"/>
                  <a:pt x="1578" y="4704"/>
                </a:cubicBezTo>
                <a:cubicBezTo>
                  <a:pt x="1499" y="4561"/>
                  <a:pt x="1403" y="4434"/>
                  <a:pt x="1339" y="4322"/>
                </a:cubicBezTo>
                <a:cubicBezTo>
                  <a:pt x="1324" y="4306"/>
                  <a:pt x="1324" y="4290"/>
                  <a:pt x="1308" y="4274"/>
                </a:cubicBezTo>
                <a:lnTo>
                  <a:pt x="1292" y="4068"/>
                </a:lnTo>
                <a:cubicBezTo>
                  <a:pt x="1276" y="3972"/>
                  <a:pt x="1260" y="3781"/>
                  <a:pt x="1292" y="3622"/>
                </a:cubicBezTo>
                <a:cubicBezTo>
                  <a:pt x="1339" y="3399"/>
                  <a:pt x="1626" y="2509"/>
                  <a:pt x="1705" y="2302"/>
                </a:cubicBezTo>
                <a:lnTo>
                  <a:pt x="1801" y="2350"/>
                </a:lnTo>
                <a:cubicBezTo>
                  <a:pt x="1896" y="2398"/>
                  <a:pt x="1976" y="2461"/>
                  <a:pt x="2055" y="2461"/>
                </a:cubicBezTo>
                <a:cubicBezTo>
                  <a:pt x="2278" y="2461"/>
                  <a:pt x="2453" y="2334"/>
                  <a:pt x="2564" y="2254"/>
                </a:cubicBezTo>
                <a:cubicBezTo>
                  <a:pt x="2596" y="2223"/>
                  <a:pt x="2628" y="2207"/>
                  <a:pt x="2660" y="2191"/>
                </a:cubicBezTo>
                <a:cubicBezTo>
                  <a:pt x="2723" y="2302"/>
                  <a:pt x="3057" y="3018"/>
                  <a:pt x="3057" y="3607"/>
                </a:cubicBezTo>
                <a:cubicBezTo>
                  <a:pt x="3057" y="3750"/>
                  <a:pt x="3041" y="4004"/>
                  <a:pt x="3026" y="4036"/>
                </a:cubicBezTo>
                <a:cubicBezTo>
                  <a:pt x="3010" y="4068"/>
                  <a:pt x="2978" y="4099"/>
                  <a:pt x="2962" y="4163"/>
                </a:cubicBezTo>
                <a:cubicBezTo>
                  <a:pt x="2914" y="4274"/>
                  <a:pt x="2946" y="4402"/>
                  <a:pt x="2962" y="4497"/>
                </a:cubicBezTo>
                <a:cubicBezTo>
                  <a:pt x="2978" y="4577"/>
                  <a:pt x="2994" y="4640"/>
                  <a:pt x="2994" y="4704"/>
                </a:cubicBezTo>
                <a:cubicBezTo>
                  <a:pt x="2994" y="4736"/>
                  <a:pt x="2978" y="4768"/>
                  <a:pt x="2978" y="4799"/>
                </a:cubicBezTo>
                <a:cubicBezTo>
                  <a:pt x="2898" y="4831"/>
                  <a:pt x="2675" y="4911"/>
                  <a:pt x="2326" y="4943"/>
                </a:cubicBezTo>
                <a:close/>
                <a:moveTo>
                  <a:pt x="3646" y="5308"/>
                </a:moveTo>
                <a:cubicBezTo>
                  <a:pt x="3487" y="5467"/>
                  <a:pt x="3392" y="5435"/>
                  <a:pt x="3312" y="5420"/>
                </a:cubicBezTo>
                <a:cubicBezTo>
                  <a:pt x="3201" y="5388"/>
                  <a:pt x="3121" y="5356"/>
                  <a:pt x="3089" y="5197"/>
                </a:cubicBezTo>
                <a:cubicBezTo>
                  <a:pt x="3073" y="5086"/>
                  <a:pt x="3089" y="5006"/>
                  <a:pt x="3121" y="4911"/>
                </a:cubicBezTo>
                <a:cubicBezTo>
                  <a:pt x="3137" y="4847"/>
                  <a:pt x="3137" y="4799"/>
                  <a:pt x="3153" y="4720"/>
                </a:cubicBezTo>
                <a:cubicBezTo>
                  <a:pt x="3153" y="4625"/>
                  <a:pt x="3137" y="4545"/>
                  <a:pt x="3121" y="4465"/>
                </a:cubicBezTo>
                <a:cubicBezTo>
                  <a:pt x="3105" y="4370"/>
                  <a:pt x="3089" y="4290"/>
                  <a:pt x="3121" y="4211"/>
                </a:cubicBezTo>
                <a:cubicBezTo>
                  <a:pt x="3137" y="4147"/>
                  <a:pt x="3153" y="4131"/>
                  <a:pt x="3184" y="4116"/>
                </a:cubicBezTo>
                <a:lnTo>
                  <a:pt x="3184" y="4147"/>
                </a:lnTo>
                <a:cubicBezTo>
                  <a:pt x="3264" y="4354"/>
                  <a:pt x="3487" y="4417"/>
                  <a:pt x="3678" y="4417"/>
                </a:cubicBezTo>
                <a:cubicBezTo>
                  <a:pt x="3805" y="4417"/>
                  <a:pt x="3916" y="4370"/>
                  <a:pt x="4011" y="4274"/>
                </a:cubicBezTo>
                <a:cubicBezTo>
                  <a:pt x="4044" y="4417"/>
                  <a:pt x="4091" y="4561"/>
                  <a:pt x="4187" y="4656"/>
                </a:cubicBezTo>
                <a:cubicBezTo>
                  <a:pt x="4234" y="4704"/>
                  <a:pt x="4298" y="4736"/>
                  <a:pt x="4346" y="4752"/>
                </a:cubicBezTo>
                <a:cubicBezTo>
                  <a:pt x="4410" y="4783"/>
                  <a:pt x="4425" y="4799"/>
                  <a:pt x="4425" y="4815"/>
                </a:cubicBezTo>
                <a:cubicBezTo>
                  <a:pt x="4425" y="4895"/>
                  <a:pt x="4266" y="4958"/>
                  <a:pt x="4202" y="5006"/>
                </a:cubicBezTo>
                <a:cubicBezTo>
                  <a:pt x="4187" y="5006"/>
                  <a:pt x="4155" y="5022"/>
                  <a:pt x="4123" y="5022"/>
                </a:cubicBezTo>
                <a:cubicBezTo>
                  <a:pt x="3996" y="5086"/>
                  <a:pt x="3789" y="5165"/>
                  <a:pt x="3646" y="5308"/>
                </a:cubicBezTo>
                <a:close/>
                <a:moveTo>
                  <a:pt x="1801" y="1332"/>
                </a:moveTo>
                <a:cubicBezTo>
                  <a:pt x="1865" y="1332"/>
                  <a:pt x="1928" y="1253"/>
                  <a:pt x="1928" y="1141"/>
                </a:cubicBezTo>
                <a:cubicBezTo>
                  <a:pt x="1928" y="1045"/>
                  <a:pt x="1865" y="950"/>
                  <a:pt x="1801" y="950"/>
                </a:cubicBezTo>
                <a:cubicBezTo>
                  <a:pt x="1721" y="950"/>
                  <a:pt x="1657" y="1045"/>
                  <a:pt x="1657" y="1141"/>
                </a:cubicBezTo>
                <a:cubicBezTo>
                  <a:pt x="1657" y="1253"/>
                  <a:pt x="1721" y="1332"/>
                  <a:pt x="1801" y="1332"/>
                </a:cubicBezTo>
                <a:close/>
                <a:moveTo>
                  <a:pt x="2421" y="1316"/>
                </a:moveTo>
                <a:cubicBezTo>
                  <a:pt x="2485" y="1316"/>
                  <a:pt x="2548" y="1236"/>
                  <a:pt x="2548" y="1125"/>
                </a:cubicBezTo>
                <a:cubicBezTo>
                  <a:pt x="2548" y="1014"/>
                  <a:pt x="2485" y="934"/>
                  <a:pt x="2421" y="934"/>
                </a:cubicBezTo>
                <a:cubicBezTo>
                  <a:pt x="2342" y="934"/>
                  <a:pt x="2278" y="1014"/>
                  <a:pt x="2278" y="1125"/>
                </a:cubicBezTo>
                <a:cubicBezTo>
                  <a:pt x="2278" y="1236"/>
                  <a:pt x="2342" y="1316"/>
                  <a:pt x="2421" y="131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22767550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Symbols - 3</a:t>
            </a:r>
          </a:p>
        </p:txBody>
      </p:sp>
      <p:sp>
        <p:nvSpPr>
          <p:cNvPr id="42" name="TextBox 41">
            <a:extLst>
              <a:ext uri="{FF2B5EF4-FFF2-40B4-BE49-F238E27FC236}">
                <a16:creationId xmlns:a16="http://schemas.microsoft.com/office/drawing/2014/main" id="{976C0A27-E086-AA4D-95E4-9CEEC5411686}"/>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ctive Directory</a:t>
            </a:r>
          </a:p>
        </p:txBody>
      </p:sp>
      <p:sp>
        <p:nvSpPr>
          <p:cNvPr id="67" name="TextBox 66">
            <a:extLst>
              <a:ext uri="{FF2B5EF4-FFF2-40B4-BE49-F238E27FC236}">
                <a16:creationId xmlns:a16="http://schemas.microsoft.com/office/drawing/2014/main" id="{9DA6A38D-B18E-344E-A073-7CC738404DCF}"/>
              </a:ext>
            </a:extLst>
          </p:cNvPr>
          <p:cNvSpPr txBox="1"/>
          <p:nvPr/>
        </p:nvSpPr>
        <p:spPr>
          <a:xfrm>
            <a:off x="12867894" y="5164929"/>
            <a:ext cx="3829648"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lock Based Replication</a:t>
            </a:r>
          </a:p>
        </p:txBody>
      </p:sp>
      <p:sp>
        <p:nvSpPr>
          <p:cNvPr id="68" name="TextBox 67">
            <a:extLst>
              <a:ext uri="{FF2B5EF4-FFF2-40B4-BE49-F238E27FC236}">
                <a16:creationId xmlns:a16="http://schemas.microsoft.com/office/drawing/2014/main" id="{2A979F46-41E9-7648-8604-970A04805301}"/>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cremental</a:t>
            </a:r>
          </a:p>
        </p:txBody>
      </p:sp>
      <p:sp>
        <p:nvSpPr>
          <p:cNvPr id="69" name="TextBox 68">
            <a:extLst>
              <a:ext uri="{FF2B5EF4-FFF2-40B4-BE49-F238E27FC236}">
                <a16:creationId xmlns:a16="http://schemas.microsoft.com/office/drawing/2014/main" id="{425235D7-FB29-CC4A-BE8A-C2E20D1BE5B5}"/>
              </a:ext>
            </a:extLst>
          </p:cNvPr>
          <p:cNvSpPr txBox="1"/>
          <p:nvPr/>
        </p:nvSpPr>
        <p:spPr>
          <a:xfrm>
            <a:off x="4661323" y="5160138"/>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hone</a:t>
            </a:r>
          </a:p>
        </p:txBody>
      </p:sp>
      <p:sp>
        <p:nvSpPr>
          <p:cNvPr id="71" name="TextBox 70">
            <a:extLst>
              <a:ext uri="{FF2B5EF4-FFF2-40B4-BE49-F238E27FC236}">
                <a16:creationId xmlns:a16="http://schemas.microsoft.com/office/drawing/2014/main" id="{F200A49B-43EE-5545-A8D4-4C0381BDC356}"/>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formation</a:t>
            </a:r>
          </a:p>
        </p:txBody>
      </p:sp>
      <p:sp>
        <p:nvSpPr>
          <p:cNvPr id="72" name="TextBox 71">
            <a:extLst>
              <a:ext uri="{FF2B5EF4-FFF2-40B4-BE49-F238E27FC236}">
                <a16:creationId xmlns:a16="http://schemas.microsoft.com/office/drawing/2014/main" id="{FB65E9CB-5993-9348-9A12-51CE22DB58A2}"/>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xclamation</a:t>
            </a:r>
          </a:p>
        </p:txBody>
      </p:sp>
      <p:sp>
        <p:nvSpPr>
          <p:cNvPr id="73" name="TextBox 72">
            <a:extLst>
              <a:ext uri="{FF2B5EF4-FFF2-40B4-BE49-F238E27FC236}">
                <a16:creationId xmlns:a16="http://schemas.microsoft.com/office/drawing/2014/main" id="{C84D9CAA-0395-344F-A141-497F43304C02}"/>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Outage</a:t>
            </a:r>
          </a:p>
        </p:txBody>
      </p:sp>
      <p:sp>
        <p:nvSpPr>
          <p:cNvPr id="74" name="TextBox 73">
            <a:extLst>
              <a:ext uri="{FF2B5EF4-FFF2-40B4-BE49-F238E27FC236}">
                <a16:creationId xmlns:a16="http://schemas.microsoft.com/office/drawing/2014/main" id="{06F38C41-2B95-4C41-8A9D-A527E9F2AEE2}"/>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inus</a:t>
            </a:r>
          </a:p>
        </p:txBody>
      </p:sp>
      <p:sp>
        <p:nvSpPr>
          <p:cNvPr id="75" name="TextBox 74">
            <a:extLst>
              <a:ext uri="{FF2B5EF4-FFF2-40B4-BE49-F238E27FC236}">
                <a16:creationId xmlns:a16="http://schemas.microsoft.com/office/drawing/2014/main" id="{411E138E-A8BE-1248-A733-CAACD07C25E6}"/>
              </a:ext>
            </a:extLst>
          </p:cNvPr>
          <p:cNvSpPr txBox="1"/>
          <p:nvPr/>
        </p:nvSpPr>
        <p:spPr>
          <a:xfrm>
            <a:off x="-47946" y="8292956"/>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qual</a:t>
            </a:r>
          </a:p>
        </p:txBody>
      </p:sp>
      <p:sp>
        <p:nvSpPr>
          <p:cNvPr id="76" name="TextBox 75">
            <a:extLst>
              <a:ext uri="{FF2B5EF4-FFF2-40B4-BE49-F238E27FC236}">
                <a16:creationId xmlns:a16="http://schemas.microsoft.com/office/drawing/2014/main" id="{F8762620-C094-FC45-B59F-1851C2F3BD25}"/>
              </a:ext>
            </a:extLst>
          </p:cNvPr>
          <p:cNvSpPr txBox="1"/>
          <p:nvPr/>
        </p:nvSpPr>
        <p:spPr>
          <a:xfrm>
            <a:off x="869473" y="5160138"/>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mail</a:t>
            </a:r>
          </a:p>
        </p:txBody>
      </p:sp>
      <p:sp>
        <p:nvSpPr>
          <p:cNvPr id="77" name="TextBox 76">
            <a:extLst>
              <a:ext uri="{FF2B5EF4-FFF2-40B4-BE49-F238E27FC236}">
                <a16:creationId xmlns:a16="http://schemas.microsoft.com/office/drawing/2014/main" id="{8B21B758-0839-B642-B3A4-08E78FA318C6}"/>
              </a:ext>
            </a:extLst>
          </p:cNvPr>
          <p:cNvSpPr txBox="1"/>
          <p:nvPr/>
        </p:nvSpPr>
        <p:spPr>
          <a:xfrm>
            <a:off x="1185155"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ode</a:t>
            </a:r>
          </a:p>
        </p:txBody>
      </p:sp>
      <p:sp>
        <p:nvSpPr>
          <p:cNvPr id="78" name="TextBox 77">
            <a:extLst>
              <a:ext uri="{FF2B5EF4-FFF2-40B4-BE49-F238E27FC236}">
                <a16:creationId xmlns:a16="http://schemas.microsoft.com/office/drawing/2014/main" id="{4402FF5A-A56F-FF49-A53C-9B8A90A11628}"/>
              </a:ext>
            </a:extLst>
          </p:cNvPr>
          <p:cNvSpPr txBox="1"/>
          <p:nvPr/>
        </p:nvSpPr>
        <p:spPr>
          <a:xfrm>
            <a:off x="8761426"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AN</a:t>
            </a:r>
          </a:p>
        </p:txBody>
      </p:sp>
      <p:sp>
        <p:nvSpPr>
          <p:cNvPr id="79" name="Freeform: Shape 26">
            <a:extLst>
              <a:ext uri="{FF2B5EF4-FFF2-40B4-BE49-F238E27FC236}">
                <a16:creationId xmlns:a16="http://schemas.microsoft.com/office/drawing/2014/main" id="{BCD71273-488F-B44E-B201-781E38725541}"/>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0" name="TextBox 79">
            <a:extLst>
              <a:ext uri="{FF2B5EF4-FFF2-40B4-BE49-F238E27FC236}">
                <a16:creationId xmlns:a16="http://schemas.microsoft.com/office/drawing/2014/main" id="{D192EC40-F536-7F41-B35F-84AAA420A7CC}"/>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Question</a:t>
            </a:r>
          </a:p>
        </p:txBody>
      </p:sp>
      <p:sp>
        <p:nvSpPr>
          <p:cNvPr id="81" name="TextBox 80">
            <a:extLst>
              <a:ext uri="{FF2B5EF4-FFF2-40B4-BE49-F238E27FC236}">
                <a16:creationId xmlns:a16="http://schemas.microsoft.com/office/drawing/2014/main" id="{BED4F90E-8F1B-7F42-BB5E-AFDEFF53DA60}"/>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lus</a:t>
            </a:r>
          </a:p>
        </p:txBody>
      </p:sp>
      <p:sp>
        <p:nvSpPr>
          <p:cNvPr id="82" name="TextBox 81">
            <a:extLst>
              <a:ext uri="{FF2B5EF4-FFF2-40B4-BE49-F238E27FC236}">
                <a16:creationId xmlns:a16="http://schemas.microsoft.com/office/drawing/2014/main" id="{6B99BBD7-990F-1A4F-AB4A-F26C9B0896E3}"/>
              </a:ext>
            </a:extLst>
          </p:cNvPr>
          <p:cNvSpPr txBox="1"/>
          <p:nvPr/>
        </p:nvSpPr>
        <p:spPr>
          <a:xfrm>
            <a:off x="5032286"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XML</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84" name="Freeform: Shape 13">
            <a:extLst>
              <a:ext uri="{FF2B5EF4-FFF2-40B4-BE49-F238E27FC236}">
                <a16:creationId xmlns:a16="http://schemas.microsoft.com/office/drawing/2014/main" id="{7E5DAA47-D26A-074A-BB84-D37BAAA77285}"/>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Freeform: Shape 1">
            <a:extLst>
              <a:ext uri="{FF2B5EF4-FFF2-40B4-BE49-F238E27FC236}">
                <a16:creationId xmlns:a16="http://schemas.microsoft.com/office/drawing/2014/main" id="{716BF1CC-4E8D-D142-8BAF-636F4A174B36}"/>
              </a:ext>
            </a:extLst>
          </p:cNvPr>
          <p:cNvSpPr/>
          <p:nvPr/>
        </p:nvSpPr>
        <p:spPr>
          <a:xfrm>
            <a:off x="1401791" y="10160522"/>
            <a:ext cx="2175840" cy="612360"/>
          </a:xfrm>
          <a:custGeom>
            <a:avLst/>
            <a:gdLst/>
            <a:ahLst/>
            <a:cxnLst>
              <a:cxn ang="3cd4">
                <a:pos x="hc" y="t"/>
              </a:cxn>
              <a:cxn ang="cd2">
                <a:pos x="l" y="vc"/>
              </a:cxn>
              <a:cxn ang="cd4">
                <a:pos x="hc" y="b"/>
              </a:cxn>
              <a:cxn ang="0">
                <a:pos x="r" y="vc"/>
              </a:cxn>
            </a:cxnLst>
            <a:rect l="l" t="t" r="r" b="b"/>
            <a:pathLst>
              <a:path w="6045" h="1702">
                <a:moveTo>
                  <a:pt x="1066" y="1479"/>
                </a:moveTo>
                <a:cubicBezTo>
                  <a:pt x="1130" y="1416"/>
                  <a:pt x="1161" y="1321"/>
                  <a:pt x="1193" y="1225"/>
                </a:cubicBezTo>
                <a:cubicBezTo>
                  <a:pt x="1225" y="1114"/>
                  <a:pt x="1225" y="987"/>
                  <a:pt x="1225" y="843"/>
                </a:cubicBezTo>
                <a:cubicBezTo>
                  <a:pt x="1225" y="716"/>
                  <a:pt x="1225" y="589"/>
                  <a:pt x="1193" y="478"/>
                </a:cubicBezTo>
                <a:cubicBezTo>
                  <a:pt x="1161" y="366"/>
                  <a:pt x="1130" y="287"/>
                  <a:pt x="1082" y="207"/>
                </a:cubicBezTo>
                <a:cubicBezTo>
                  <a:pt x="1018" y="143"/>
                  <a:pt x="955" y="80"/>
                  <a:pt x="875" y="48"/>
                </a:cubicBezTo>
                <a:cubicBezTo>
                  <a:pt x="796" y="16"/>
                  <a:pt x="716" y="0"/>
                  <a:pt x="621" y="0"/>
                </a:cubicBezTo>
                <a:cubicBezTo>
                  <a:pt x="525" y="0"/>
                  <a:pt x="446" y="16"/>
                  <a:pt x="366" y="48"/>
                </a:cubicBezTo>
                <a:cubicBezTo>
                  <a:pt x="287" y="80"/>
                  <a:pt x="223" y="143"/>
                  <a:pt x="175" y="207"/>
                </a:cubicBezTo>
                <a:cubicBezTo>
                  <a:pt x="112" y="287"/>
                  <a:pt x="80" y="366"/>
                  <a:pt x="48" y="478"/>
                </a:cubicBezTo>
                <a:cubicBezTo>
                  <a:pt x="16" y="589"/>
                  <a:pt x="0" y="716"/>
                  <a:pt x="0" y="843"/>
                </a:cubicBezTo>
                <a:cubicBezTo>
                  <a:pt x="0" y="1145"/>
                  <a:pt x="48" y="1352"/>
                  <a:pt x="160" y="1496"/>
                </a:cubicBezTo>
                <a:cubicBezTo>
                  <a:pt x="271" y="1623"/>
                  <a:pt x="430" y="1702"/>
                  <a:pt x="621" y="1702"/>
                </a:cubicBezTo>
                <a:cubicBezTo>
                  <a:pt x="716" y="1702"/>
                  <a:pt x="796" y="1687"/>
                  <a:pt x="875" y="1654"/>
                </a:cubicBezTo>
                <a:cubicBezTo>
                  <a:pt x="955" y="1607"/>
                  <a:pt x="1018" y="1559"/>
                  <a:pt x="1066" y="1479"/>
                </a:cubicBezTo>
                <a:close/>
                <a:moveTo>
                  <a:pt x="748" y="1384"/>
                </a:moveTo>
                <a:cubicBezTo>
                  <a:pt x="716" y="1400"/>
                  <a:pt x="669" y="1416"/>
                  <a:pt x="621" y="1416"/>
                </a:cubicBezTo>
                <a:cubicBezTo>
                  <a:pt x="573" y="1416"/>
                  <a:pt x="525" y="1400"/>
                  <a:pt x="478" y="1384"/>
                </a:cubicBezTo>
                <a:cubicBezTo>
                  <a:pt x="446" y="1352"/>
                  <a:pt x="414" y="1321"/>
                  <a:pt x="398" y="1273"/>
                </a:cubicBezTo>
                <a:cubicBezTo>
                  <a:pt x="382" y="1225"/>
                  <a:pt x="351" y="1178"/>
                  <a:pt x="351" y="1098"/>
                </a:cubicBezTo>
                <a:cubicBezTo>
                  <a:pt x="334" y="1034"/>
                  <a:pt x="334" y="939"/>
                  <a:pt x="334" y="843"/>
                </a:cubicBezTo>
                <a:cubicBezTo>
                  <a:pt x="334" y="764"/>
                  <a:pt x="334" y="669"/>
                  <a:pt x="351" y="605"/>
                </a:cubicBezTo>
                <a:cubicBezTo>
                  <a:pt x="351" y="525"/>
                  <a:pt x="382" y="461"/>
                  <a:pt x="398" y="414"/>
                </a:cubicBezTo>
                <a:cubicBezTo>
                  <a:pt x="414" y="382"/>
                  <a:pt x="446" y="350"/>
                  <a:pt x="478" y="318"/>
                </a:cubicBezTo>
                <a:cubicBezTo>
                  <a:pt x="525" y="303"/>
                  <a:pt x="573" y="287"/>
                  <a:pt x="621" y="287"/>
                </a:cubicBezTo>
                <a:cubicBezTo>
                  <a:pt x="669" y="287"/>
                  <a:pt x="716" y="303"/>
                  <a:pt x="748" y="318"/>
                </a:cubicBezTo>
                <a:cubicBezTo>
                  <a:pt x="780" y="350"/>
                  <a:pt x="812" y="382"/>
                  <a:pt x="843" y="414"/>
                </a:cubicBezTo>
                <a:cubicBezTo>
                  <a:pt x="860" y="461"/>
                  <a:pt x="875" y="525"/>
                  <a:pt x="891" y="605"/>
                </a:cubicBezTo>
                <a:cubicBezTo>
                  <a:pt x="907" y="669"/>
                  <a:pt x="907" y="764"/>
                  <a:pt x="907" y="843"/>
                </a:cubicBezTo>
                <a:cubicBezTo>
                  <a:pt x="907" y="939"/>
                  <a:pt x="907" y="1034"/>
                  <a:pt x="891" y="1098"/>
                </a:cubicBezTo>
                <a:cubicBezTo>
                  <a:pt x="875" y="1178"/>
                  <a:pt x="860" y="1225"/>
                  <a:pt x="843" y="1273"/>
                </a:cubicBezTo>
                <a:cubicBezTo>
                  <a:pt x="812" y="1321"/>
                  <a:pt x="780" y="1352"/>
                  <a:pt x="748" y="1384"/>
                </a:cubicBezTo>
                <a:close/>
                <a:moveTo>
                  <a:pt x="1910" y="1670"/>
                </a:moveTo>
                <a:lnTo>
                  <a:pt x="2101" y="1670"/>
                </a:lnTo>
                <a:cubicBezTo>
                  <a:pt x="2133" y="1670"/>
                  <a:pt x="2165" y="1639"/>
                  <a:pt x="2165" y="1607"/>
                </a:cubicBezTo>
                <a:lnTo>
                  <a:pt x="2165" y="96"/>
                </a:lnTo>
                <a:cubicBezTo>
                  <a:pt x="2165" y="64"/>
                  <a:pt x="2133" y="32"/>
                  <a:pt x="2101" y="32"/>
                </a:cubicBezTo>
                <a:lnTo>
                  <a:pt x="1926" y="32"/>
                </a:lnTo>
                <a:cubicBezTo>
                  <a:pt x="1915" y="37"/>
                  <a:pt x="1910" y="32"/>
                  <a:pt x="1894" y="48"/>
                </a:cubicBezTo>
                <a:lnTo>
                  <a:pt x="1449" y="318"/>
                </a:lnTo>
                <a:cubicBezTo>
                  <a:pt x="1417" y="334"/>
                  <a:pt x="1417" y="382"/>
                  <a:pt x="1433" y="398"/>
                </a:cubicBezTo>
                <a:lnTo>
                  <a:pt x="1513" y="541"/>
                </a:lnTo>
                <a:cubicBezTo>
                  <a:pt x="1513" y="557"/>
                  <a:pt x="1528" y="573"/>
                  <a:pt x="1544" y="573"/>
                </a:cubicBezTo>
                <a:lnTo>
                  <a:pt x="1592" y="573"/>
                </a:lnTo>
                <a:lnTo>
                  <a:pt x="1846" y="414"/>
                </a:lnTo>
                <a:lnTo>
                  <a:pt x="1846" y="1607"/>
                </a:lnTo>
                <a:cubicBezTo>
                  <a:pt x="1846" y="1639"/>
                  <a:pt x="1879" y="1670"/>
                  <a:pt x="1910" y="1670"/>
                </a:cubicBezTo>
                <a:close/>
                <a:moveTo>
                  <a:pt x="3198" y="1670"/>
                </a:moveTo>
                <a:lnTo>
                  <a:pt x="3405" y="1670"/>
                </a:lnTo>
                <a:cubicBezTo>
                  <a:pt x="3437" y="1670"/>
                  <a:pt x="3453" y="1639"/>
                  <a:pt x="3453" y="1607"/>
                </a:cubicBezTo>
                <a:lnTo>
                  <a:pt x="3453" y="96"/>
                </a:lnTo>
                <a:cubicBezTo>
                  <a:pt x="3453" y="64"/>
                  <a:pt x="3437" y="32"/>
                  <a:pt x="3405" y="32"/>
                </a:cubicBezTo>
                <a:lnTo>
                  <a:pt x="3215" y="32"/>
                </a:lnTo>
                <a:cubicBezTo>
                  <a:pt x="3204" y="37"/>
                  <a:pt x="3198" y="32"/>
                  <a:pt x="3183" y="48"/>
                </a:cubicBezTo>
                <a:lnTo>
                  <a:pt x="2737" y="318"/>
                </a:lnTo>
                <a:cubicBezTo>
                  <a:pt x="2706" y="334"/>
                  <a:pt x="2706" y="382"/>
                  <a:pt x="2721" y="398"/>
                </a:cubicBezTo>
                <a:lnTo>
                  <a:pt x="2801" y="541"/>
                </a:lnTo>
                <a:cubicBezTo>
                  <a:pt x="2817" y="557"/>
                  <a:pt x="2817" y="573"/>
                  <a:pt x="2833" y="573"/>
                </a:cubicBezTo>
                <a:lnTo>
                  <a:pt x="2880" y="573"/>
                </a:lnTo>
                <a:lnTo>
                  <a:pt x="3135" y="414"/>
                </a:lnTo>
                <a:lnTo>
                  <a:pt x="3135" y="1607"/>
                </a:lnTo>
                <a:cubicBezTo>
                  <a:pt x="3135" y="1639"/>
                  <a:pt x="3167" y="1670"/>
                  <a:pt x="3198" y="1670"/>
                </a:cubicBezTo>
                <a:close/>
                <a:moveTo>
                  <a:pt x="4756" y="48"/>
                </a:moveTo>
                <a:cubicBezTo>
                  <a:pt x="4677" y="16"/>
                  <a:pt x="4597" y="0"/>
                  <a:pt x="4502" y="0"/>
                </a:cubicBezTo>
                <a:cubicBezTo>
                  <a:pt x="4406" y="0"/>
                  <a:pt x="4311" y="16"/>
                  <a:pt x="4247" y="48"/>
                </a:cubicBezTo>
                <a:cubicBezTo>
                  <a:pt x="4168" y="80"/>
                  <a:pt x="4088" y="143"/>
                  <a:pt x="4041" y="207"/>
                </a:cubicBezTo>
                <a:cubicBezTo>
                  <a:pt x="3993" y="287"/>
                  <a:pt x="3945" y="366"/>
                  <a:pt x="3913" y="478"/>
                </a:cubicBezTo>
                <a:cubicBezTo>
                  <a:pt x="3897" y="589"/>
                  <a:pt x="3881" y="716"/>
                  <a:pt x="3881" y="843"/>
                </a:cubicBezTo>
                <a:cubicBezTo>
                  <a:pt x="3881" y="1145"/>
                  <a:pt x="3929" y="1352"/>
                  <a:pt x="4041" y="1496"/>
                </a:cubicBezTo>
                <a:cubicBezTo>
                  <a:pt x="4136" y="1623"/>
                  <a:pt x="4295" y="1702"/>
                  <a:pt x="4486" y="1702"/>
                </a:cubicBezTo>
                <a:cubicBezTo>
                  <a:pt x="4581" y="1702"/>
                  <a:pt x="4677" y="1687"/>
                  <a:pt x="4741" y="1654"/>
                </a:cubicBezTo>
                <a:cubicBezTo>
                  <a:pt x="4820" y="1607"/>
                  <a:pt x="4899" y="1559"/>
                  <a:pt x="4947" y="1479"/>
                </a:cubicBezTo>
                <a:cubicBezTo>
                  <a:pt x="4995" y="1416"/>
                  <a:pt x="5042" y="1321"/>
                  <a:pt x="5059" y="1225"/>
                </a:cubicBezTo>
                <a:cubicBezTo>
                  <a:pt x="5090" y="1114"/>
                  <a:pt x="5106" y="987"/>
                  <a:pt x="5106" y="843"/>
                </a:cubicBezTo>
                <a:cubicBezTo>
                  <a:pt x="5106" y="716"/>
                  <a:pt x="5090" y="589"/>
                  <a:pt x="5059" y="478"/>
                </a:cubicBezTo>
                <a:cubicBezTo>
                  <a:pt x="5042" y="366"/>
                  <a:pt x="4995" y="287"/>
                  <a:pt x="4947" y="207"/>
                </a:cubicBezTo>
                <a:cubicBezTo>
                  <a:pt x="4899" y="143"/>
                  <a:pt x="4836" y="80"/>
                  <a:pt x="4756" y="48"/>
                </a:cubicBezTo>
                <a:close/>
                <a:moveTo>
                  <a:pt x="4629" y="1384"/>
                </a:moveTo>
                <a:cubicBezTo>
                  <a:pt x="4597" y="1400"/>
                  <a:pt x="4550" y="1416"/>
                  <a:pt x="4486" y="1416"/>
                </a:cubicBezTo>
                <a:cubicBezTo>
                  <a:pt x="4438" y="1416"/>
                  <a:pt x="4390" y="1400"/>
                  <a:pt x="4359" y="1384"/>
                </a:cubicBezTo>
                <a:cubicBezTo>
                  <a:pt x="4327" y="1352"/>
                  <a:pt x="4295" y="1321"/>
                  <a:pt x="4279" y="1273"/>
                </a:cubicBezTo>
                <a:cubicBezTo>
                  <a:pt x="4247" y="1225"/>
                  <a:pt x="4232" y="1178"/>
                  <a:pt x="4215" y="1098"/>
                </a:cubicBezTo>
                <a:cubicBezTo>
                  <a:pt x="4200" y="1034"/>
                  <a:pt x="4200" y="939"/>
                  <a:pt x="4200" y="843"/>
                </a:cubicBezTo>
                <a:cubicBezTo>
                  <a:pt x="4200" y="764"/>
                  <a:pt x="4200" y="669"/>
                  <a:pt x="4215" y="605"/>
                </a:cubicBezTo>
                <a:cubicBezTo>
                  <a:pt x="4232" y="525"/>
                  <a:pt x="4247" y="461"/>
                  <a:pt x="4279" y="414"/>
                </a:cubicBezTo>
                <a:cubicBezTo>
                  <a:pt x="4295" y="382"/>
                  <a:pt x="4327" y="350"/>
                  <a:pt x="4359" y="318"/>
                </a:cubicBezTo>
                <a:cubicBezTo>
                  <a:pt x="4390" y="303"/>
                  <a:pt x="4438" y="287"/>
                  <a:pt x="4486" y="287"/>
                </a:cubicBezTo>
                <a:cubicBezTo>
                  <a:pt x="4550" y="287"/>
                  <a:pt x="4597" y="303"/>
                  <a:pt x="4629" y="318"/>
                </a:cubicBezTo>
                <a:cubicBezTo>
                  <a:pt x="4661" y="350"/>
                  <a:pt x="4693" y="382"/>
                  <a:pt x="4709" y="414"/>
                </a:cubicBezTo>
                <a:cubicBezTo>
                  <a:pt x="4741" y="461"/>
                  <a:pt x="4756" y="525"/>
                  <a:pt x="4756" y="605"/>
                </a:cubicBezTo>
                <a:cubicBezTo>
                  <a:pt x="4772" y="669"/>
                  <a:pt x="4788" y="764"/>
                  <a:pt x="4788" y="843"/>
                </a:cubicBezTo>
                <a:cubicBezTo>
                  <a:pt x="4788" y="939"/>
                  <a:pt x="4772" y="1034"/>
                  <a:pt x="4756" y="1098"/>
                </a:cubicBezTo>
                <a:cubicBezTo>
                  <a:pt x="4756" y="1178"/>
                  <a:pt x="4741" y="1225"/>
                  <a:pt x="4709" y="1273"/>
                </a:cubicBezTo>
                <a:cubicBezTo>
                  <a:pt x="4693" y="1321"/>
                  <a:pt x="4661" y="1352"/>
                  <a:pt x="4629" y="1384"/>
                </a:cubicBezTo>
                <a:close/>
                <a:moveTo>
                  <a:pt x="5981" y="32"/>
                </a:moveTo>
                <a:lnTo>
                  <a:pt x="5806" y="32"/>
                </a:lnTo>
                <a:cubicBezTo>
                  <a:pt x="5790" y="32"/>
                  <a:pt x="5774" y="32"/>
                  <a:pt x="5774" y="48"/>
                </a:cubicBezTo>
                <a:lnTo>
                  <a:pt x="5329" y="318"/>
                </a:lnTo>
                <a:cubicBezTo>
                  <a:pt x="5297" y="334"/>
                  <a:pt x="5281" y="382"/>
                  <a:pt x="5297" y="398"/>
                </a:cubicBezTo>
                <a:lnTo>
                  <a:pt x="5377" y="541"/>
                </a:lnTo>
                <a:cubicBezTo>
                  <a:pt x="5393" y="557"/>
                  <a:pt x="5408" y="573"/>
                  <a:pt x="5424" y="573"/>
                </a:cubicBezTo>
                <a:lnTo>
                  <a:pt x="5472" y="573"/>
                </a:lnTo>
                <a:lnTo>
                  <a:pt x="5726" y="414"/>
                </a:lnTo>
                <a:lnTo>
                  <a:pt x="5726" y="1607"/>
                </a:lnTo>
                <a:cubicBezTo>
                  <a:pt x="5726" y="1639"/>
                  <a:pt x="5742" y="1670"/>
                  <a:pt x="5790" y="1670"/>
                </a:cubicBezTo>
                <a:lnTo>
                  <a:pt x="5981" y="1670"/>
                </a:lnTo>
                <a:cubicBezTo>
                  <a:pt x="6013" y="1670"/>
                  <a:pt x="6045" y="1639"/>
                  <a:pt x="6045" y="1607"/>
                </a:cubicBezTo>
                <a:lnTo>
                  <a:pt x="6045" y="96"/>
                </a:lnTo>
                <a:cubicBezTo>
                  <a:pt x="6045" y="64"/>
                  <a:pt x="6013" y="32"/>
                  <a:pt x="5981" y="3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6" name="Freeform: Shape 7">
            <a:extLst>
              <a:ext uri="{FF2B5EF4-FFF2-40B4-BE49-F238E27FC236}">
                <a16:creationId xmlns:a16="http://schemas.microsoft.com/office/drawing/2014/main" id="{86DEE551-884F-BA47-B8C0-A084E1C908FE}"/>
              </a:ext>
            </a:extLst>
          </p:cNvPr>
          <p:cNvSpPr/>
          <p:nvPr/>
        </p:nvSpPr>
        <p:spPr>
          <a:xfrm>
            <a:off x="5959187" y="10154762"/>
            <a:ext cx="1625760" cy="606600"/>
          </a:xfrm>
          <a:custGeom>
            <a:avLst/>
            <a:gdLst/>
            <a:ahLst/>
            <a:cxnLst>
              <a:cxn ang="3cd4">
                <a:pos x="hc" y="t"/>
              </a:cxn>
              <a:cxn ang="cd2">
                <a:pos x="l" y="vc"/>
              </a:cxn>
              <a:cxn ang="cd4">
                <a:pos x="hc" y="b"/>
              </a:cxn>
              <a:cxn ang="0">
                <a:pos x="r" y="vc"/>
              </a:cxn>
            </a:cxnLst>
            <a:rect l="l" t="t" r="r" b="b"/>
            <a:pathLst>
              <a:path w="4517" h="1686">
                <a:moveTo>
                  <a:pt x="0" y="1655"/>
                </a:moveTo>
                <a:cubicBezTo>
                  <a:pt x="15" y="1670"/>
                  <a:pt x="31" y="1686"/>
                  <a:pt x="63" y="1686"/>
                </a:cubicBezTo>
                <a:lnTo>
                  <a:pt x="286" y="1686"/>
                </a:lnTo>
                <a:cubicBezTo>
                  <a:pt x="301" y="1686"/>
                  <a:pt x="318" y="1670"/>
                  <a:pt x="333" y="1655"/>
                </a:cubicBezTo>
                <a:lnTo>
                  <a:pt x="715" y="1066"/>
                </a:lnTo>
                <a:lnTo>
                  <a:pt x="1113" y="1655"/>
                </a:lnTo>
                <a:cubicBezTo>
                  <a:pt x="1128" y="1670"/>
                  <a:pt x="1145" y="1686"/>
                  <a:pt x="1176" y="1686"/>
                </a:cubicBezTo>
                <a:lnTo>
                  <a:pt x="1399" y="1686"/>
                </a:lnTo>
                <a:cubicBezTo>
                  <a:pt x="1431" y="1686"/>
                  <a:pt x="1447" y="1670"/>
                  <a:pt x="1463" y="1655"/>
                </a:cubicBezTo>
                <a:cubicBezTo>
                  <a:pt x="1463" y="1623"/>
                  <a:pt x="1463" y="1607"/>
                  <a:pt x="1447" y="1591"/>
                </a:cubicBezTo>
                <a:lnTo>
                  <a:pt x="906" y="812"/>
                </a:lnTo>
                <a:lnTo>
                  <a:pt x="1399" y="96"/>
                </a:lnTo>
                <a:cubicBezTo>
                  <a:pt x="1399" y="80"/>
                  <a:pt x="1415" y="48"/>
                  <a:pt x="1399" y="32"/>
                </a:cubicBezTo>
                <a:cubicBezTo>
                  <a:pt x="1383" y="16"/>
                  <a:pt x="1367" y="0"/>
                  <a:pt x="1351" y="0"/>
                </a:cubicBezTo>
                <a:lnTo>
                  <a:pt x="1128" y="0"/>
                </a:lnTo>
                <a:cubicBezTo>
                  <a:pt x="1113" y="0"/>
                  <a:pt x="1097" y="16"/>
                  <a:pt x="1081" y="32"/>
                </a:cubicBezTo>
                <a:lnTo>
                  <a:pt x="731" y="541"/>
                </a:lnTo>
                <a:lnTo>
                  <a:pt x="381" y="32"/>
                </a:lnTo>
                <a:cubicBezTo>
                  <a:pt x="381" y="16"/>
                  <a:pt x="349" y="0"/>
                  <a:pt x="333" y="0"/>
                </a:cubicBezTo>
                <a:lnTo>
                  <a:pt x="95" y="0"/>
                </a:lnTo>
                <a:cubicBezTo>
                  <a:pt x="79" y="0"/>
                  <a:pt x="63" y="16"/>
                  <a:pt x="47" y="32"/>
                </a:cubicBezTo>
                <a:cubicBezTo>
                  <a:pt x="31" y="48"/>
                  <a:pt x="31" y="80"/>
                  <a:pt x="47" y="96"/>
                </a:cubicBezTo>
                <a:lnTo>
                  <a:pt x="540" y="796"/>
                </a:lnTo>
                <a:lnTo>
                  <a:pt x="15" y="1591"/>
                </a:lnTo>
                <a:cubicBezTo>
                  <a:pt x="0" y="1607"/>
                  <a:pt x="0" y="1623"/>
                  <a:pt x="0" y="1655"/>
                </a:cubicBezTo>
                <a:close/>
                <a:moveTo>
                  <a:pt x="2910" y="1686"/>
                </a:moveTo>
                <a:lnTo>
                  <a:pt x="3101" y="1686"/>
                </a:lnTo>
                <a:cubicBezTo>
                  <a:pt x="3133" y="1686"/>
                  <a:pt x="3164" y="1655"/>
                  <a:pt x="3164" y="1623"/>
                </a:cubicBezTo>
                <a:lnTo>
                  <a:pt x="3164" y="64"/>
                </a:lnTo>
                <a:cubicBezTo>
                  <a:pt x="3164" y="32"/>
                  <a:pt x="3133" y="0"/>
                  <a:pt x="3101" y="0"/>
                </a:cubicBezTo>
                <a:lnTo>
                  <a:pt x="2863" y="0"/>
                </a:lnTo>
                <a:cubicBezTo>
                  <a:pt x="2830" y="0"/>
                  <a:pt x="2815" y="16"/>
                  <a:pt x="2799" y="48"/>
                </a:cubicBezTo>
                <a:lnTo>
                  <a:pt x="2354" y="1209"/>
                </a:lnTo>
                <a:lnTo>
                  <a:pt x="1908" y="48"/>
                </a:lnTo>
                <a:cubicBezTo>
                  <a:pt x="1892" y="16"/>
                  <a:pt x="1876" y="0"/>
                  <a:pt x="1845" y="0"/>
                </a:cubicBezTo>
                <a:lnTo>
                  <a:pt x="1606" y="0"/>
                </a:lnTo>
                <a:cubicBezTo>
                  <a:pt x="1558" y="0"/>
                  <a:pt x="1542" y="32"/>
                  <a:pt x="1542" y="64"/>
                </a:cubicBezTo>
                <a:lnTo>
                  <a:pt x="1542" y="1623"/>
                </a:lnTo>
                <a:cubicBezTo>
                  <a:pt x="1542" y="1655"/>
                  <a:pt x="1558" y="1686"/>
                  <a:pt x="1606" y="1686"/>
                </a:cubicBezTo>
                <a:lnTo>
                  <a:pt x="1781" y="1686"/>
                </a:lnTo>
                <a:cubicBezTo>
                  <a:pt x="1813" y="1686"/>
                  <a:pt x="1845" y="1655"/>
                  <a:pt x="1845" y="1623"/>
                </a:cubicBezTo>
                <a:lnTo>
                  <a:pt x="1845" y="716"/>
                </a:lnTo>
                <a:lnTo>
                  <a:pt x="2210" y="1639"/>
                </a:lnTo>
                <a:cubicBezTo>
                  <a:pt x="2210" y="1670"/>
                  <a:pt x="2242" y="1686"/>
                  <a:pt x="2258" y="1686"/>
                </a:cubicBezTo>
                <a:lnTo>
                  <a:pt x="2433" y="1686"/>
                </a:lnTo>
                <a:cubicBezTo>
                  <a:pt x="2449" y="1686"/>
                  <a:pt x="2481" y="1670"/>
                  <a:pt x="2481" y="1639"/>
                </a:cubicBezTo>
                <a:lnTo>
                  <a:pt x="2846" y="716"/>
                </a:lnTo>
                <a:lnTo>
                  <a:pt x="2846" y="1623"/>
                </a:lnTo>
                <a:cubicBezTo>
                  <a:pt x="2846" y="1655"/>
                  <a:pt x="2878" y="1686"/>
                  <a:pt x="2910" y="1686"/>
                </a:cubicBezTo>
                <a:close/>
                <a:moveTo>
                  <a:pt x="4485" y="1623"/>
                </a:moveTo>
                <a:lnTo>
                  <a:pt x="4517" y="1448"/>
                </a:lnTo>
                <a:cubicBezTo>
                  <a:pt x="4517" y="1432"/>
                  <a:pt x="4517" y="1416"/>
                  <a:pt x="4500" y="1400"/>
                </a:cubicBezTo>
                <a:cubicBezTo>
                  <a:pt x="4485" y="1384"/>
                  <a:pt x="4469" y="1384"/>
                  <a:pt x="4453" y="1384"/>
                </a:cubicBezTo>
                <a:lnTo>
                  <a:pt x="3705" y="1384"/>
                </a:lnTo>
                <a:lnTo>
                  <a:pt x="3705" y="64"/>
                </a:lnTo>
                <a:cubicBezTo>
                  <a:pt x="3705" y="32"/>
                  <a:pt x="3673" y="0"/>
                  <a:pt x="3642" y="0"/>
                </a:cubicBezTo>
                <a:lnTo>
                  <a:pt x="3451" y="0"/>
                </a:lnTo>
                <a:cubicBezTo>
                  <a:pt x="3403" y="0"/>
                  <a:pt x="3387" y="32"/>
                  <a:pt x="3387" y="64"/>
                </a:cubicBezTo>
                <a:lnTo>
                  <a:pt x="3387" y="1623"/>
                </a:lnTo>
                <a:cubicBezTo>
                  <a:pt x="3387" y="1655"/>
                  <a:pt x="3403" y="1686"/>
                  <a:pt x="3451" y="1686"/>
                </a:cubicBezTo>
                <a:lnTo>
                  <a:pt x="4421" y="1686"/>
                </a:lnTo>
                <a:cubicBezTo>
                  <a:pt x="4453" y="1686"/>
                  <a:pt x="4469" y="1655"/>
                  <a:pt x="4485" y="162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7" name="Freeform: Shape 9">
            <a:extLst>
              <a:ext uri="{FF2B5EF4-FFF2-40B4-BE49-F238E27FC236}">
                <a16:creationId xmlns:a16="http://schemas.microsoft.com/office/drawing/2014/main" id="{A3EA8A85-7E3D-B548-93EE-4B54D9A94F05}"/>
              </a:ext>
            </a:extLst>
          </p:cNvPr>
          <p:cNvSpPr/>
          <p:nvPr/>
        </p:nvSpPr>
        <p:spPr>
          <a:xfrm>
            <a:off x="9716899" y="10109041"/>
            <a:ext cx="1740239" cy="606600"/>
          </a:xfrm>
          <a:custGeom>
            <a:avLst/>
            <a:gdLst/>
            <a:ahLst/>
            <a:cxnLst>
              <a:cxn ang="3cd4">
                <a:pos x="hc" y="t"/>
              </a:cxn>
              <a:cxn ang="cd2">
                <a:pos x="l" y="vc"/>
              </a:cxn>
              <a:cxn ang="cd4">
                <a:pos x="hc" y="b"/>
              </a:cxn>
              <a:cxn ang="0">
                <a:pos x="r" y="vc"/>
              </a:cxn>
            </a:cxnLst>
            <a:rect l="l" t="t" r="r" b="b"/>
            <a:pathLst>
              <a:path w="4835" h="1686">
                <a:moveTo>
                  <a:pt x="64" y="0"/>
                </a:moveTo>
                <a:cubicBezTo>
                  <a:pt x="32" y="0"/>
                  <a:pt x="16" y="16"/>
                  <a:pt x="16" y="32"/>
                </a:cubicBezTo>
                <a:cubicBezTo>
                  <a:pt x="0" y="48"/>
                  <a:pt x="0" y="64"/>
                  <a:pt x="0" y="80"/>
                </a:cubicBezTo>
                <a:lnTo>
                  <a:pt x="445" y="1639"/>
                </a:lnTo>
                <a:cubicBezTo>
                  <a:pt x="445" y="1670"/>
                  <a:pt x="477" y="1686"/>
                  <a:pt x="493" y="1686"/>
                </a:cubicBezTo>
                <a:lnTo>
                  <a:pt x="700" y="1686"/>
                </a:lnTo>
                <a:cubicBezTo>
                  <a:pt x="732" y="1686"/>
                  <a:pt x="764" y="1670"/>
                  <a:pt x="764" y="1639"/>
                </a:cubicBezTo>
                <a:lnTo>
                  <a:pt x="1050" y="557"/>
                </a:lnTo>
                <a:lnTo>
                  <a:pt x="1336" y="1639"/>
                </a:lnTo>
                <a:cubicBezTo>
                  <a:pt x="1336" y="1670"/>
                  <a:pt x="1368" y="1686"/>
                  <a:pt x="1400" y="1686"/>
                </a:cubicBezTo>
                <a:lnTo>
                  <a:pt x="1606" y="1686"/>
                </a:lnTo>
                <a:cubicBezTo>
                  <a:pt x="1638" y="1686"/>
                  <a:pt x="1654" y="1670"/>
                  <a:pt x="1654" y="1639"/>
                </a:cubicBezTo>
                <a:lnTo>
                  <a:pt x="2100" y="80"/>
                </a:lnTo>
                <a:cubicBezTo>
                  <a:pt x="2100" y="64"/>
                  <a:pt x="2100" y="48"/>
                  <a:pt x="2083" y="32"/>
                </a:cubicBezTo>
                <a:cubicBezTo>
                  <a:pt x="2068" y="16"/>
                  <a:pt x="2052" y="0"/>
                  <a:pt x="2036" y="0"/>
                </a:cubicBezTo>
                <a:lnTo>
                  <a:pt x="1829" y="0"/>
                </a:lnTo>
                <a:cubicBezTo>
                  <a:pt x="1797" y="0"/>
                  <a:pt x="1765" y="16"/>
                  <a:pt x="1765" y="48"/>
                </a:cubicBezTo>
                <a:lnTo>
                  <a:pt x="1495" y="1098"/>
                </a:lnTo>
                <a:lnTo>
                  <a:pt x="1225" y="64"/>
                </a:lnTo>
                <a:cubicBezTo>
                  <a:pt x="1209" y="32"/>
                  <a:pt x="1193" y="16"/>
                  <a:pt x="1161" y="16"/>
                </a:cubicBezTo>
                <a:lnTo>
                  <a:pt x="954" y="16"/>
                </a:lnTo>
                <a:cubicBezTo>
                  <a:pt x="922" y="16"/>
                  <a:pt x="891" y="32"/>
                  <a:pt x="891" y="64"/>
                </a:cubicBezTo>
                <a:lnTo>
                  <a:pt x="604" y="1098"/>
                </a:lnTo>
                <a:lnTo>
                  <a:pt x="350" y="48"/>
                </a:lnTo>
                <a:cubicBezTo>
                  <a:pt x="334" y="16"/>
                  <a:pt x="318" y="0"/>
                  <a:pt x="286" y="0"/>
                </a:cubicBezTo>
                <a:close/>
                <a:moveTo>
                  <a:pt x="1925" y="1654"/>
                </a:moveTo>
                <a:cubicBezTo>
                  <a:pt x="1940" y="1670"/>
                  <a:pt x="1956" y="1686"/>
                  <a:pt x="1972" y="1686"/>
                </a:cubicBezTo>
                <a:lnTo>
                  <a:pt x="2179" y="1686"/>
                </a:lnTo>
                <a:cubicBezTo>
                  <a:pt x="2211" y="1686"/>
                  <a:pt x="2227" y="1670"/>
                  <a:pt x="2243" y="1639"/>
                </a:cubicBezTo>
                <a:lnTo>
                  <a:pt x="2386" y="1241"/>
                </a:lnTo>
                <a:lnTo>
                  <a:pt x="2974" y="1241"/>
                </a:lnTo>
                <a:lnTo>
                  <a:pt x="3118" y="1639"/>
                </a:lnTo>
                <a:cubicBezTo>
                  <a:pt x="3133" y="1670"/>
                  <a:pt x="3149" y="1686"/>
                  <a:pt x="3181" y="1686"/>
                </a:cubicBezTo>
                <a:lnTo>
                  <a:pt x="3404" y="1686"/>
                </a:lnTo>
                <a:cubicBezTo>
                  <a:pt x="3419" y="1686"/>
                  <a:pt x="3436" y="1670"/>
                  <a:pt x="3452" y="1654"/>
                </a:cubicBezTo>
                <a:cubicBezTo>
                  <a:pt x="3467" y="1639"/>
                  <a:pt x="3467" y="1622"/>
                  <a:pt x="3452" y="1607"/>
                </a:cubicBezTo>
                <a:lnTo>
                  <a:pt x="2847" y="48"/>
                </a:lnTo>
                <a:cubicBezTo>
                  <a:pt x="2847" y="16"/>
                  <a:pt x="2815" y="0"/>
                  <a:pt x="2800" y="0"/>
                </a:cubicBezTo>
                <a:lnTo>
                  <a:pt x="2577" y="0"/>
                </a:lnTo>
                <a:cubicBezTo>
                  <a:pt x="2561" y="0"/>
                  <a:pt x="2529" y="16"/>
                  <a:pt x="2529" y="48"/>
                </a:cubicBezTo>
                <a:lnTo>
                  <a:pt x="1925" y="1607"/>
                </a:lnTo>
                <a:cubicBezTo>
                  <a:pt x="1909" y="1622"/>
                  <a:pt x="1909" y="1639"/>
                  <a:pt x="1925" y="1654"/>
                </a:cubicBezTo>
                <a:close/>
                <a:moveTo>
                  <a:pt x="2497" y="955"/>
                </a:moveTo>
                <a:lnTo>
                  <a:pt x="2688" y="461"/>
                </a:lnTo>
                <a:lnTo>
                  <a:pt x="2863" y="955"/>
                </a:lnTo>
                <a:close/>
                <a:moveTo>
                  <a:pt x="4581" y="1686"/>
                </a:moveTo>
                <a:lnTo>
                  <a:pt x="4772" y="1686"/>
                </a:lnTo>
                <a:cubicBezTo>
                  <a:pt x="4819" y="1686"/>
                  <a:pt x="4835" y="1654"/>
                  <a:pt x="4835" y="1622"/>
                </a:cubicBezTo>
                <a:lnTo>
                  <a:pt x="4835" y="64"/>
                </a:lnTo>
                <a:cubicBezTo>
                  <a:pt x="4835" y="32"/>
                  <a:pt x="4819" y="0"/>
                  <a:pt x="4772" y="0"/>
                </a:cubicBezTo>
                <a:lnTo>
                  <a:pt x="4581" y="0"/>
                </a:lnTo>
                <a:cubicBezTo>
                  <a:pt x="4549" y="0"/>
                  <a:pt x="4517" y="32"/>
                  <a:pt x="4517" y="64"/>
                </a:cubicBezTo>
                <a:lnTo>
                  <a:pt x="4517" y="1098"/>
                </a:lnTo>
                <a:lnTo>
                  <a:pt x="3849" y="32"/>
                </a:lnTo>
                <a:cubicBezTo>
                  <a:pt x="3833" y="16"/>
                  <a:pt x="3818" y="0"/>
                  <a:pt x="3785" y="0"/>
                </a:cubicBezTo>
                <a:lnTo>
                  <a:pt x="3595" y="0"/>
                </a:lnTo>
                <a:cubicBezTo>
                  <a:pt x="3563" y="0"/>
                  <a:pt x="3531" y="32"/>
                  <a:pt x="3531" y="64"/>
                </a:cubicBezTo>
                <a:lnTo>
                  <a:pt x="3531" y="1622"/>
                </a:lnTo>
                <a:cubicBezTo>
                  <a:pt x="3531" y="1654"/>
                  <a:pt x="3563" y="1686"/>
                  <a:pt x="3595" y="1686"/>
                </a:cubicBezTo>
                <a:lnTo>
                  <a:pt x="3785" y="1686"/>
                </a:lnTo>
                <a:cubicBezTo>
                  <a:pt x="3818" y="1686"/>
                  <a:pt x="3849" y="1654"/>
                  <a:pt x="3849" y="1622"/>
                </a:cubicBezTo>
                <a:lnTo>
                  <a:pt x="3849" y="589"/>
                </a:lnTo>
                <a:lnTo>
                  <a:pt x="4533" y="1654"/>
                </a:lnTo>
                <a:cubicBezTo>
                  <a:pt x="4549" y="1670"/>
                  <a:pt x="4565" y="1686"/>
                  <a:pt x="4581" y="168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8" name="Freeform: Shape 10">
            <a:extLst>
              <a:ext uri="{FF2B5EF4-FFF2-40B4-BE49-F238E27FC236}">
                <a16:creationId xmlns:a16="http://schemas.microsoft.com/office/drawing/2014/main" id="{DDFA0FB8-AD19-6642-AB95-193A152DE041}"/>
              </a:ext>
            </a:extLst>
          </p:cNvPr>
          <p:cNvSpPr/>
          <p:nvPr/>
        </p:nvSpPr>
        <p:spPr>
          <a:xfrm>
            <a:off x="21342656" y="3280681"/>
            <a:ext cx="1425600" cy="1425600"/>
          </a:xfrm>
          <a:custGeom>
            <a:avLst/>
            <a:gdLst/>
            <a:ahLst/>
            <a:cxnLst>
              <a:cxn ang="3cd4">
                <a:pos x="hc" y="t"/>
              </a:cxn>
              <a:cxn ang="cd2">
                <a:pos x="l" y="vc"/>
              </a:cxn>
              <a:cxn ang="cd4">
                <a:pos x="hc" y="b"/>
              </a:cxn>
              <a:cxn ang="0">
                <a:pos x="r" y="vc"/>
              </a:cxn>
            </a:cxnLst>
            <a:rect l="l" t="t" r="r" b="b"/>
            <a:pathLst>
              <a:path w="3961" h="3961">
                <a:moveTo>
                  <a:pt x="3961" y="3881"/>
                </a:moveTo>
                <a:cubicBezTo>
                  <a:pt x="3961" y="2927"/>
                  <a:pt x="3961" y="2927"/>
                  <a:pt x="3961" y="2927"/>
                </a:cubicBezTo>
                <a:cubicBezTo>
                  <a:pt x="3961" y="1989"/>
                  <a:pt x="3961" y="1989"/>
                  <a:pt x="3961" y="1989"/>
                </a:cubicBezTo>
                <a:cubicBezTo>
                  <a:pt x="3961" y="1035"/>
                  <a:pt x="3961" y="1035"/>
                  <a:pt x="3961" y="1035"/>
                </a:cubicBezTo>
                <a:cubicBezTo>
                  <a:pt x="3961" y="80"/>
                  <a:pt x="3961" y="80"/>
                  <a:pt x="3961" y="80"/>
                </a:cubicBezTo>
                <a:cubicBezTo>
                  <a:pt x="3961" y="48"/>
                  <a:pt x="3913" y="0"/>
                  <a:pt x="3881" y="0"/>
                </a:cubicBezTo>
                <a:cubicBezTo>
                  <a:pt x="2926" y="0"/>
                  <a:pt x="2926" y="0"/>
                  <a:pt x="2926" y="0"/>
                </a:cubicBezTo>
                <a:cubicBezTo>
                  <a:pt x="2879" y="0"/>
                  <a:pt x="2847" y="48"/>
                  <a:pt x="2847" y="80"/>
                </a:cubicBezTo>
                <a:cubicBezTo>
                  <a:pt x="2847" y="955"/>
                  <a:pt x="2847" y="955"/>
                  <a:pt x="2847" y="955"/>
                </a:cubicBezTo>
                <a:cubicBezTo>
                  <a:pt x="1972" y="955"/>
                  <a:pt x="1972" y="955"/>
                  <a:pt x="1972" y="955"/>
                </a:cubicBezTo>
                <a:cubicBezTo>
                  <a:pt x="1940" y="955"/>
                  <a:pt x="1893" y="987"/>
                  <a:pt x="1893" y="1035"/>
                </a:cubicBezTo>
                <a:cubicBezTo>
                  <a:pt x="1893" y="1909"/>
                  <a:pt x="1893" y="1909"/>
                  <a:pt x="1893" y="1909"/>
                </a:cubicBezTo>
                <a:cubicBezTo>
                  <a:pt x="1034" y="1909"/>
                  <a:pt x="1034" y="1909"/>
                  <a:pt x="1034" y="1909"/>
                </a:cubicBezTo>
                <a:cubicBezTo>
                  <a:pt x="986" y="1909"/>
                  <a:pt x="954" y="1941"/>
                  <a:pt x="954" y="1989"/>
                </a:cubicBezTo>
                <a:cubicBezTo>
                  <a:pt x="954" y="2848"/>
                  <a:pt x="954" y="2848"/>
                  <a:pt x="954" y="2848"/>
                </a:cubicBezTo>
                <a:cubicBezTo>
                  <a:pt x="80" y="2848"/>
                  <a:pt x="80" y="2848"/>
                  <a:pt x="80" y="2848"/>
                </a:cubicBezTo>
                <a:cubicBezTo>
                  <a:pt x="32" y="2848"/>
                  <a:pt x="0" y="2896"/>
                  <a:pt x="0" y="2927"/>
                </a:cubicBezTo>
                <a:cubicBezTo>
                  <a:pt x="0" y="3881"/>
                  <a:pt x="0" y="3881"/>
                  <a:pt x="0" y="3881"/>
                </a:cubicBezTo>
                <a:cubicBezTo>
                  <a:pt x="0" y="3929"/>
                  <a:pt x="32" y="3961"/>
                  <a:pt x="80" y="3961"/>
                </a:cubicBezTo>
                <a:cubicBezTo>
                  <a:pt x="1034" y="3961"/>
                  <a:pt x="1034" y="3961"/>
                  <a:pt x="1034" y="3961"/>
                </a:cubicBezTo>
                <a:cubicBezTo>
                  <a:pt x="1972" y="3961"/>
                  <a:pt x="1972" y="3961"/>
                  <a:pt x="1972" y="3961"/>
                </a:cubicBezTo>
                <a:cubicBezTo>
                  <a:pt x="2926" y="3961"/>
                  <a:pt x="2926" y="3961"/>
                  <a:pt x="2926" y="3961"/>
                </a:cubicBezTo>
                <a:cubicBezTo>
                  <a:pt x="3881" y="3961"/>
                  <a:pt x="3881" y="3961"/>
                  <a:pt x="3881" y="3961"/>
                </a:cubicBezTo>
                <a:cubicBezTo>
                  <a:pt x="3913" y="3961"/>
                  <a:pt x="3961" y="3929"/>
                  <a:pt x="3961" y="3881"/>
                </a:cubicBezTo>
                <a:close/>
                <a:moveTo>
                  <a:pt x="2052" y="2068"/>
                </a:moveTo>
                <a:cubicBezTo>
                  <a:pt x="2847" y="2068"/>
                  <a:pt x="2847" y="2068"/>
                  <a:pt x="2847" y="2068"/>
                </a:cubicBezTo>
                <a:cubicBezTo>
                  <a:pt x="2847" y="2848"/>
                  <a:pt x="2847" y="2848"/>
                  <a:pt x="2847" y="2848"/>
                </a:cubicBezTo>
                <a:cubicBezTo>
                  <a:pt x="2052" y="2848"/>
                  <a:pt x="2052" y="2848"/>
                  <a:pt x="2052" y="2848"/>
                </a:cubicBezTo>
                <a:close/>
                <a:moveTo>
                  <a:pt x="3801" y="1114"/>
                </a:moveTo>
                <a:cubicBezTo>
                  <a:pt x="3801" y="1909"/>
                  <a:pt x="3801" y="1909"/>
                  <a:pt x="3801" y="1909"/>
                </a:cubicBezTo>
                <a:cubicBezTo>
                  <a:pt x="3006" y="1909"/>
                  <a:pt x="3006" y="1909"/>
                  <a:pt x="3006" y="1909"/>
                </a:cubicBezTo>
                <a:cubicBezTo>
                  <a:pt x="3006" y="1114"/>
                  <a:pt x="3006" y="1114"/>
                  <a:pt x="3006" y="1114"/>
                </a:cubicBezTo>
                <a:close/>
                <a:moveTo>
                  <a:pt x="3006" y="2068"/>
                </a:moveTo>
                <a:cubicBezTo>
                  <a:pt x="3801" y="2068"/>
                  <a:pt x="3801" y="2068"/>
                  <a:pt x="3801" y="2068"/>
                </a:cubicBezTo>
                <a:cubicBezTo>
                  <a:pt x="3801" y="2848"/>
                  <a:pt x="3801" y="2848"/>
                  <a:pt x="3801" y="2848"/>
                </a:cubicBezTo>
                <a:cubicBezTo>
                  <a:pt x="3006" y="2848"/>
                  <a:pt x="3006" y="2848"/>
                  <a:pt x="3006" y="2848"/>
                </a:cubicBezTo>
                <a:close/>
                <a:moveTo>
                  <a:pt x="3006" y="160"/>
                </a:moveTo>
                <a:cubicBezTo>
                  <a:pt x="3801" y="160"/>
                  <a:pt x="3801" y="160"/>
                  <a:pt x="3801" y="160"/>
                </a:cubicBezTo>
                <a:cubicBezTo>
                  <a:pt x="3801" y="955"/>
                  <a:pt x="3801" y="955"/>
                  <a:pt x="3801" y="955"/>
                </a:cubicBezTo>
                <a:cubicBezTo>
                  <a:pt x="3006" y="955"/>
                  <a:pt x="3006" y="955"/>
                  <a:pt x="3006" y="955"/>
                </a:cubicBezTo>
                <a:close/>
                <a:moveTo>
                  <a:pt x="2052" y="1114"/>
                </a:moveTo>
                <a:cubicBezTo>
                  <a:pt x="2847" y="1114"/>
                  <a:pt x="2847" y="1114"/>
                  <a:pt x="2847" y="1114"/>
                </a:cubicBezTo>
                <a:cubicBezTo>
                  <a:pt x="2847" y="1909"/>
                  <a:pt x="2847" y="1909"/>
                  <a:pt x="2847" y="1909"/>
                </a:cubicBezTo>
                <a:cubicBezTo>
                  <a:pt x="2052" y="1909"/>
                  <a:pt x="2052" y="1909"/>
                  <a:pt x="2052" y="1909"/>
                </a:cubicBezTo>
                <a:close/>
                <a:moveTo>
                  <a:pt x="1113" y="2068"/>
                </a:moveTo>
                <a:cubicBezTo>
                  <a:pt x="1893" y="2068"/>
                  <a:pt x="1893" y="2068"/>
                  <a:pt x="1893" y="2068"/>
                </a:cubicBezTo>
                <a:cubicBezTo>
                  <a:pt x="1893" y="2848"/>
                  <a:pt x="1893" y="2848"/>
                  <a:pt x="1893" y="2848"/>
                </a:cubicBezTo>
                <a:cubicBezTo>
                  <a:pt x="1113" y="2848"/>
                  <a:pt x="1113" y="2848"/>
                  <a:pt x="1113" y="2848"/>
                </a:cubicBezTo>
                <a:close/>
                <a:moveTo>
                  <a:pt x="159" y="3007"/>
                </a:moveTo>
                <a:cubicBezTo>
                  <a:pt x="954" y="3007"/>
                  <a:pt x="954" y="3007"/>
                  <a:pt x="954" y="3007"/>
                </a:cubicBezTo>
                <a:cubicBezTo>
                  <a:pt x="954" y="3802"/>
                  <a:pt x="954" y="3802"/>
                  <a:pt x="954" y="3802"/>
                </a:cubicBezTo>
                <a:cubicBezTo>
                  <a:pt x="159" y="3802"/>
                  <a:pt x="159" y="3802"/>
                  <a:pt x="159" y="3802"/>
                </a:cubicBezTo>
                <a:close/>
                <a:moveTo>
                  <a:pt x="1113" y="3007"/>
                </a:moveTo>
                <a:cubicBezTo>
                  <a:pt x="1893" y="3007"/>
                  <a:pt x="1893" y="3007"/>
                  <a:pt x="1893" y="3007"/>
                </a:cubicBezTo>
                <a:cubicBezTo>
                  <a:pt x="1893" y="3802"/>
                  <a:pt x="1893" y="3802"/>
                  <a:pt x="1893" y="3802"/>
                </a:cubicBezTo>
                <a:cubicBezTo>
                  <a:pt x="1113" y="3802"/>
                  <a:pt x="1113" y="3802"/>
                  <a:pt x="1113" y="3802"/>
                </a:cubicBezTo>
                <a:close/>
                <a:moveTo>
                  <a:pt x="2052" y="3007"/>
                </a:moveTo>
                <a:cubicBezTo>
                  <a:pt x="2847" y="3007"/>
                  <a:pt x="2847" y="3007"/>
                  <a:pt x="2847" y="3007"/>
                </a:cubicBezTo>
                <a:cubicBezTo>
                  <a:pt x="2847" y="3802"/>
                  <a:pt x="2847" y="3802"/>
                  <a:pt x="2847" y="3802"/>
                </a:cubicBezTo>
                <a:cubicBezTo>
                  <a:pt x="2052" y="3802"/>
                  <a:pt x="2052" y="3802"/>
                  <a:pt x="2052" y="3802"/>
                </a:cubicBezTo>
                <a:close/>
                <a:moveTo>
                  <a:pt x="3801" y="3802"/>
                </a:moveTo>
                <a:cubicBezTo>
                  <a:pt x="3006" y="3802"/>
                  <a:pt x="3006" y="3802"/>
                  <a:pt x="3006" y="3802"/>
                </a:cubicBezTo>
                <a:cubicBezTo>
                  <a:pt x="3006" y="3007"/>
                  <a:pt x="3006" y="3007"/>
                  <a:pt x="3006" y="3007"/>
                </a:cubicBezTo>
                <a:cubicBezTo>
                  <a:pt x="3801" y="3007"/>
                  <a:pt x="3801" y="3007"/>
                  <a:pt x="3801" y="300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9" name="Freeform: Shape 11">
            <a:extLst>
              <a:ext uri="{FF2B5EF4-FFF2-40B4-BE49-F238E27FC236}">
                <a16:creationId xmlns:a16="http://schemas.microsoft.com/office/drawing/2014/main" id="{9511B843-7E8B-DF44-B77E-9396B29D6D3D}"/>
              </a:ext>
            </a:extLst>
          </p:cNvPr>
          <p:cNvSpPr/>
          <p:nvPr/>
        </p:nvSpPr>
        <p:spPr>
          <a:xfrm>
            <a:off x="14022529" y="3475441"/>
            <a:ext cx="1385280" cy="1379880"/>
          </a:xfrm>
          <a:custGeom>
            <a:avLst/>
            <a:gdLst/>
            <a:ahLst/>
            <a:cxnLst>
              <a:cxn ang="3cd4">
                <a:pos x="hc" y="t"/>
              </a:cxn>
              <a:cxn ang="cd2">
                <a:pos x="l" y="vc"/>
              </a:cxn>
              <a:cxn ang="cd4">
                <a:pos x="hc" y="b"/>
              </a:cxn>
              <a:cxn ang="0">
                <a:pos x="r" y="vc"/>
              </a:cxn>
            </a:cxnLst>
            <a:rect l="l" t="t" r="r" b="b"/>
            <a:pathLst>
              <a:path w="3849" h="3834">
                <a:moveTo>
                  <a:pt x="3849" y="1448"/>
                </a:moveTo>
                <a:cubicBezTo>
                  <a:pt x="3849" y="80"/>
                  <a:pt x="3849" y="80"/>
                  <a:pt x="3849" y="80"/>
                </a:cubicBezTo>
                <a:lnTo>
                  <a:pt x="3849" y="64"/>
                </a:lnTo>
                <a:lnTo>
                  <a:pt x="3849" y="48"/>
                </a:lnTo>
                <a:cubicBezTo>
                  <a:pt x="3833" y="48"/>
                  <a:pt x="3833" y="48"/>
                  <a:pt x="3833" y="48"/>
                </a:cubicBezTo>
                <a:cubicBezTo>
                  <a:pt x="3833" y="32"/>
                  <a:pt x="3833" y="32"/>
                  <a:pt x="3833" y="32"/>
                </a:cubicBezTo>
                <a:lnTo>
                  <a:pt x="3817" y="32"/>
                </a:lnTo>
                <a:lnTo>
                  <a:pt x="3817" y="16"/>
                </a:lnTo>
                <a:lnTo>
                  <a:pt x="3801" y="16"/>
                </a:lnTo>
                <a:cubicBezTo>
                  <a:pt x="3785" y="16"/>
                  <a:pt x="3785" y="16"/>
                  <a:pt x="3785" y="16"/>
                </a:cubicBezTo>
                <a:cubicBezTo>
                  <a:pt x="3769" y="16"/>
                  <a:pt x="3769" y="16"/>
                  <a:pt x="3769" y="16"/>
                </a:cubicBezTo>
                <a:cubicBezTo>
                  <a:pt x="2481" y="0"/>
                  <a:pt x="2481" y="0"/>
                  <a:pt x="2481" y="0"/>
                </a:cubicBezTo>
                <a:cubicBezTo>
                  <a:pt x="2465" y="0"/>
                  <a:pt x="2449" y="16"/>
                  <a:pt x="2433" y="32"/>
                </a:cubicBezTo>
                <a:cubicBezTo>
                  <a:pt x="2083" y="382"/>
                  <a:pt x="2083" y="382"/>
                  <a:pt x="2083" y="382"/>
                </a:cubicBezTo>
                <a:cubicBezTo>
                  <a:pt x="2083" y="80"/>
                  <a:pt x="2083" y="80"/>
                  <a:pt x="2083" y="80"/>
                </a:cubicBezTo>
                <a:lnTo>
                  <a:pt x="2083" y="64"/>
                </a:lnTo>
                <a:cubicBezTo>
                  <a:pt x="2083" y="48"/>
                  <a:pt x="2083" y="48"/>
                  <a:pt x="2083" y="48"/>
                </a:cubicBezTo>
                <a:lnTo>
                  <a:pt x="2067" y="48"/>
                </a:lnTo>
                <a:cubicBezTo>
                  <a:pt x="2067" y="32"/>
                  <a:pt x="2067" y="32"/>
                  <a:pt x="2067" y="32"/>
                </a:cubicBezTo>
                <a:lnTo>
                  <a:pt x="2052" y="16"/>
                </a:lnTo>
                <a:lnTo>
                  <a:pt x="2036" y="16"/>
                </a:lnTo>
                <a:lnTo>
                  <a:pt x="2020" y="16"/>
                </a:lnTo>
                <a:cubicBezTo>
                  <a:pt x="2004" y="16"/>
                  <a:pt x="2004" y="16"/>
                  <a:pt x="2004" y="16"/>
                </a:cubicBezTo>
                <a:cubicBezTo>
                  <a:pt x="763" y="0"/>
                  <a:pt x="763" y="0"/>
                  <a:pt x="763" y="0"/>
                </a:cubicBezTo>
                <a:lnTo>
                  <a:pt x="747" y="0"/>
                </a:lnTo>
                <a:cubicBezTo>
                  <a:pt x="747" y="0"/>
                  <a:pt x="731" y="0"/>
                  <a:pt x="731" y="16"/>
                </a:cubicBezTo>
                <a:lnTo>
                  <a:pt x="715" y="16"/>
                </a:lnTo>
                <a:cubicBezTo>
                  <a:pt x="16" y="621"/>
                  <a:pt x="16" y="621"/>
                  <a:pt x="16" y="621"/>
                </a:cubicBezTo>
                <a:cubicBezTo>
                  <a:pt x="16" y="637"/>
                  <a:pt x="16" y="637"/>
                  <a:pt x="16" y="637"/>
                </a:cubicBezTo>
                <a:lnTo>
                  <a:pt x="0" y="637"/>
                </a:lnTo>
                <a:lnTo>
                  <a:pt x="0" y="652"/>
                </a:lnTo>
                <a:lnTo>
                  <a:pt x="0" y="668"/>
                </a:lnTo>
                <a:lnTo>
                  <a:pt x="0" y="685"/>
                </a:lnTo>
                <a:cubicBezTo>
                  <a:pt x="0" y="2021"/>
                  <a:pt x="0" y="2021"/>
                  <a:pt x="0" y="2021"/>
                </a:cubicBezTo>
                <a:cubicBezTo>
                  <a:pt x="0" y="2068"/>
                  <a:pt x="31" y="2100"/>
                  <a:pt x="79" y="2100"/>
                </a:cubicBezTo>
                <a:cubicBezTo>
                  <a:pt x="238" y="2100"/>
                  <a:pt x="238" y="2100"/>
                  <a:pt x="238" y="2100"/>
                </a:cubicBezTo>
                <a:cubicBezTo>
                  <a:pt x="16" y="2339"/>
                  <a:pt x="16" y="2339"/>
                  <a:pt x="16" y="2339"/>
                </a:cubicBezTo>
                <a:cubicBezTo>
                  <a:pt x="0" y="2355"/>
                  <a:pt x="0" y="2370"/>
                  <a:pt x="0" y="2402"/>
                </a:cubicBezTo>
                <a:lnTo>
                  <a:pt x="0" y="2418"/>
                </a:lnTo>
                <a:cubicBezTo>
                  <a:pt x="0" y="3754"/>
                  <a:pt x="0" y="3754"/>
                  <a:pt x="0" y="3754"/>
                </a:cubicBezTo>
                <a:cubicBezTo>
                  <a:pt x="0" y="3802"/>
                  <a:pt x="31" y="3834"/>
                  <a:pt x="79" y="3834"/>
                </a:cubicBezTo>
                <a:cubicBezTo>
                  <a:pt x="1415" y="3834"/>
                  <a:pt x="1415" y="3834"/>
                  <a:pt x="1415" y="3834"/>
                </a:cubicBezTo>
                <a:cubicBezTo>
                  <a:pt x="1447" y="3834"/>
                  <a:pt x="1463" y="3818"/>
                  <a:pt x="1479" y="3802"/>
                </a:cubicBezTo>
                <a:cubicBezTo>
                  <a:pt x="1829" y="3388"/>
                  <a:pt x="1829" y="3388"/>
                  <a:pt x="1829" y="3388"/>
                </a:cubicBezTo>
                <a:cubicBezTo>
                  <a:pt x="1829" y="3754"/>
                  <a:pt x="1829" y="3754"/>
                  <a:pt x="1829" y="3754"/>
                </a:cubicBezTo>
                <a:cubicBezTo>
                  <a:pt x="1829" y="3802"/>
                  <a:pt x="1876" y="3834"/>
                  <a:pt x="1909" y="3834"/>
                </a:cubicBezTo>
                <a:cubicBezTo>
                  <a:pt x="3260" y="3834"/>
                  <a:pt x="3260" y="3834"/>
                  <a:pt x="3260" y="3834"/>
                </a:cubicBezTo>
                <a:lnTo>
                  <a:pt x="3276" y="3834"/>
                </a:lnTo>
                <a:cubicBezTo>
                  <a:pt x="3292" y="3834"/>
                  <a:pt x="3292" y="3834"/>
                  <a:pt x="3292" y="3818"/>
                </a:cubicBezTo>
                <a:cubicBezTo>
                  <a:pt x="3308" y="3818"/>
                  <a:pt x="3308" y="3818"/>
                  <a:pt x="3308" y="3818"/>
                </a:cubicBezTo>
                <a:cubicBezTo>
                  <a:pt x="3324" y="3802"/>
                  <a:pt x="3324" y="3802"/>
                  <a:pt x="3324" y="3802"/>
                </a:cubicBezTo>
                <a:cubicBezTo>
                  <a:pt x="3833" y="3039"/>
                  <a:pt x="3833" y="3039"/>
                  <a:pt x="3833" y="3039"/>
                </a:cubicBezTo>
                <a:cubicBezTo>
                  <a:pt x="3849" y="3022"/>
                  <a:pt x="3849" y="3007"/>
                  <a:pt x="3849" y="2991"/>
                </a:cubicBezTo>
                <a:cubicBezTo>
                  <a:pt x="3849" y="1830"/>
                  <a:pt x="3849" y="1830"/>
                  <a:pt x="3849" y="1830"/>
                </a:cubicBezTo>
                <a:cubicBezTo>
                  <a:pt x="3849" y="1782"/>
                  <a:pt x="3817" y="1750"/>
                  <a:pt x="3769" y="1750"/>
                </a:cubicBezTo>
                <a:cubicBezTo>
                  <a:pt x="3626" y="1750"/>
                  <a:pt x="3626" y="1750"/>
                  <a:pt x="3626" y="1750"/>
                </a:cubicBezTo>
                <a:cubicBezTo>
                  <a:pt x="3833" y="1512"/>
                  <a:pt x="3833" y="1512"/>
                  <a:pt x="3833" y="1512"/>
                </a:cubicBezTo>
                <a:cubicBezTo>
                  <a:pt x="3849" y="1495"/>
                  <a:pt x="3849" y="1480"/>
                  <a:pt x="3849" y="1448"/>
                </a:cubicBezTo>
                <a:close/>
                <a:moveTo>
                  <a:pt x="3165" y="812"/>
                </a:moveTo>
                <a:cubicBezTo>
                  <a:pt x="3165" y="1893"/>
                  <a:pt x="3165" y="1893"/>
                  <a:pt x="3165" y="1893"/>
                </a:cubicBezTo>
                <a:cubicBezTo>
                  <a:pt x="2036" y="1893"/>
                  <a:pt x="2036" y="1893"/>
                  <a:pt x="2036" y="1893"/>
                </a:cubicBezTo>
                <a:cubicBezTo>
                  <a:pt x="2036" y="812"/>
                  <a:pt x="2036" y="812"/>
                  <a:pt x="2036" y="812"/>
                </a:cubicBezTo>
                <a:close/>
                <a:moveTo>
                  <a:pt x="3260" y="605"/>
                </a:moveTo>
                <a:cubicBezTo>
                  <a:pt x="2099" y="605"/>
                  <a:pt x="2099" y="605"/>
                  <a:pt x="2099" y="605"/>
                </a:cubicBezTo>
                <a:cubicBezTo>
                  <a:pt x="2513" y="159"/>
                  <a:pt x="2513" y="159"/>
                  <a:pt x="2513" y="159"/>
                </a:cubicBezTo>
                <a:cubicBezTo>
                  <a:pt x="3610" y="159"/>
                  <a:pt x="3610" y="159"/>
                  <a:pt x="3610" y="159"/>
                </a:cubicBezTo>
                <a:close/>
                <a:moveTo>
                  <a:pt x="1861" y="621"/>
                </a:moveTo>
                <a:cubicBezTo>
                  <a:pt x="1861" y="621"/>
                  <a:pt x="1861" y="637"/>
                  <a:pt x="1845" y="637"/>
                </a:cubicBezTo>
                <a:lnTo>
                  <a:pt x="1845" y="652"/>
                </a:lnTo>
                <a:cubicBezTo>
                  <a:pt x="1845" y="668"/>
                  <a:pt x="1845" y="668"/>
                  <a:pt x="1829" y="668"/>
                </a:cubicBezTo>
                <a:lnTo>
                  <a:pt x="1829" y="685"/>
                </a:lnTo>
                <a:cubicBezTo>
                  <a:pt x="1829" y="1464"/>
                  <a:pt x="1829" y="1464"/>
                  <a:pt x="1829" y="1464"/>
                </a:cubicBezTo>
                <a:cubicBezTo>
                  <a:pt x="1527" y="1813"/>
                  <a:pt x="1527" y="1813"/>
                  <a:pt x="1527" y="1813"/>
                </a:cubicBezTo>
                <a:cubicBezTo>
                  <a:pt x="1527" y="700"/>
                  <a:pt x="1527" y="700"/>
                  <a:pt x="1527" y="700"/>
                </a:cubicBezTo>
                <a:cubicBezTo>
                  <a:pt x="1940" y="287"/>
                  <a:pt x="1940" y="287"/>
                  <a:pt x="1940" y="287"/>
                </a:cubicBezTo>
                <a:cubicBezTo>
                  <a:pt x="1940" y="541"/>
                  <a:pt x="1940" y="541"/>
                  <a:pt x="1940" y="541"/>
                </a:cubicBezTo>
                <a:close/>
                <a:moveTo>
                  <a:pt x="795" y="159"/>
                </a:moveTo>
                <a:cubicBezTo>
                  <a:pt x="1829" y="159"/>
                  <a:pt x="1829" y="159"/>
                  <a:pt x="1829" y="159"/>
                </a:cubicBezTo>
                <a:cubicBezTo>
                  <a:pt x="1415" y="605"/>
                  <a:pt x="1415" y="605"/>
                  <a:pt x="1415" y="605"/>
                </a:cubicBezTo>
                <a:cubicBezTo>
                  <a:pt x="286" y="605"/>
                  <a:pt x="286" y="605"/>
                  <a:pt x="286" y="605"/>
                </a:cubicBezTo>
                <a:close/>
                <a:moveTo>
                  <a:pt x="159" y="764"/>
                </a:moveTo>
                <a:cubicBezTo>
                  <a:pt x="1368" y="764"/>
                  <a:pt x="1368" y="764"/>
                  <a:pt x="1368" y="764"/>
                </a:cubicBezTo>
                <a:cubicBezTo>
                  <a:pt x="1368" y="1941"/>
                  <a:pt x="1368" y="1941"/>
                  <a:pt x="1368" y="1941"/>
                </a:cubicBezTo>
                <a:cubicBezTo>
                  <a:pt x="413" y="1941"/>
                  <a:pt x="413" y="1941"/>
                  <a:pt x="413" y="1941"/>
                </a:cubicBezTo>
                <a:cubicBezTo>
                  <a:pt x="159" y="1941"/>
                  <a:pt x="159" y="1941"/>
                  <a:pt x="159" y="1941"/>
                </a:cubicBezTo>
                <a:close/>
                <a:moveTo>
                  <a:pt x="1447" y="2100"/>
                </a:moveTo>
                <a:cubicBezTo>
                  <a:pt x="1463" y="2100"/>
                  <a:pt x="1463" y="2100"/>
                  <a:pt x="1463" y="2100"/>
                </a:cubicBezTo>
                <a:cubicBezTo>
                  <a:pt x="1479" y="2100"/>
                  <a:pt x="1479" y="2100"/>
                  <a:pt x="1479" y="2100"/>
                </a:cubicBezTo>
                <a:lnTo>
                  <a:pt x="1495" y="2100"/>
                </a:lnTo>
                <a:lnTo>
                  <a:pt x="1495" y="2084"/>
                </a:lnTo>
                <a:lnTo>
                  <a:pt x="1511" y="2084"/>
                </a:lnTo>
                <a:cubicBezTo>
                  <a:pt x="1829" y="1703"/>
                  <a:pt x="1829" y="1703"/>
                  <a:pt x="1829" y="1703"/>
                </a:cubicBezTo>
                <a:cubicBezTo>
                  <a:pt x="1829" y="1830"/>
                  <a:pt x="1829" y="1830"/>
                  <a:pt x="1829" y="1830"/>
                </a:cubicBezTo>
                <a:lnTo>
                  <a:pt x="1813" y="1846"/>
                </a:lnTo>
                <a:cubicBezTo>
                  <a:pt x="1352" y="2339"/>
                  <a:pt x="1352" y="2339"/>
                  <a:pt x="1352" y="2339"/>
                </a:cubicBezTo>
                <a:cubicBezTo>
                  <a:pt x="238" y="2339"/>
                  <a:pt x="238" y="2339"/>
                  <a:pt x="238" y="2339"/>
                </a:cubicBezTo>
                <a:cubicBezTo>
                  <a:pt x="445" y="2100"/>
                  <a:pt x="445" y="2100"/>
                  <a:pt x="445" y="2100"/>
                </a:cubicBezTo>
                <a:close/>
                <a:moveTo>
                  <a:pt x="1336" y="3675"/>
                </a:moveTo>
                <a:cubicBezTo>
                  <a:pt x="159" y="3675"/>
                  <a:pt x="159" y="3675"/>
                  <a:pt x="159" y="3675"/>
                </a:cubicBezTo>
                <a:cubicBezTo>
                  <a:pt x="159" y="2482"/>
                  <a:pt x="159" y="2482"/>
                  <a:pt x="159" y="2482"/>
                </a:cubicBezTo>
                <a:cubicBezTo>
                  <a:pt x="1336" y="2482"/>
                  <a:pt x="1336" y="2482"/>
                  <a:pt x="1336" y="2482"/>
                </a:cubicBezTo>
                <a:close/>
                <a:moveTo>
                  <a:pt x="1495" y="3531"/>
                </a:moveTo>
                <a:cubicBezTo>
                  <a:pt x="1495" y="2418"/>
                  <a:pt x="1495" y="2418"/>
                  <a:pt x="1495" y="2418"/>
                </a:cubicBezTo>
                <a:cubicBezTo>
                  <a:pt x="1845" y="2052"/>
                  <a:pt x="1845" y="2052"/>
                  <a:pt x="1845" y="2052"/>
                </a:cubicBezTo>
                <a:cubicBezTo>
                  <a:pt x="1845" y="2084"/>
                  <a:pt x="1876" y="2100"/>
                  <a:pt x="1909" y="2100"/>
                </a:cubicBezTo>
                <a:cubicBezTo>
                  <a:pt x="2083" y="2100"/>
                  <a:pt x="2083" y="2100"/>
                  <a:pt x="2083" y="2100"/>
                </a:cubicBezTo>
                <a:cubicBezTo>
                  <a:pt x="1861" y="2339"/>
                  <a:pt x="1861" y="2339"/>
                  <a:pt x="1861" y="2339"/>
                </a:cubicBezTo>
                <a:cubicBezTo>
                  <a:pt x="1845" y="2355"/>
                  <a:pt x="1829" y="2370"/>
                  <a:pt x="1829" y="2402"/>
                </a:cubicBezTo>
                <a:lnTo>
                  <a:pt x="1829" y="2418"/>
                </a:lnTo>
                <a:cubicBezTo>
                  <a:pt x="1829" y="3134"/>
                  <a:pt x="1829" y="3134"/>
                  <a:pt x="1829" y="3134"/>
                </a:cubicBezTo>
                <a:close/>
                <a:moveTo>
                  <a:pt x="3181" y="3675"/>
                </a:moveTo>
                <a:cubicBezTo>
                  <a:pt x="1988" y="3675"/>
                  <a:pt x="1988" y="3675"/>
                  <a:pt x="1988" y="3675"/>
                </a:cubicBezTo>
                <a:cubicBezTo>
                  <a:pt x="1988" y="2482"/>
                  <a:pt x="1988" y="2482"/>
                  <a:pt x="1988" y="2482"/>
                </a:cubicBezTo>
                <a:cubicBezTo>
                  <a:pt x="3181" y="2482"/>
                  <a:pt x="3181" y="2482"/>
                  <a:pt x="3181" y="2482"/>
                </a:cubicBezTo>
                <a:close/>
                <a:moveTo>
                  <a:pt x="3340" y="3500"/>
                </a:moveTo>
                <a:cubicBezTo>
                  <a:pt x="3340" y="2418"/>
                  <a:pt x="3340" y="2418"/>
                  <a:pt x="3340" y="2418"/>
                </a:cubicBezTo>
                <a:cubicBezTo>
                  <a:pt x="3690" y="2036"/>
                  <a:pt x="3690" y="2036"/>
                  <a:pt x="3690" y="2036"/>
                </a:cubicBezTo>
                <a:cubicBezTo>
                  <a:pt x="3690" y="2959"/>
                  <a:pt x="3690" y="2959"/>
                  <a:pt x="3690" y="2959"/>
                </a:cubicBezTo>
                <a:close/>
                <a:moveTo>
                  <a:pt x="3515" y="1909"/>
                </a:moveTo>
                <a:cubicBezTo>
                  <a:pt x="3594" y="1909"/>
                  <a:pt x="3594" y="1909"/>
                  <a:pt x="3594" y="1909"/>
                </a:cubicBezTo>
                <a:cubicBezTo>
                  <a:pt x="3197" y="2339"/>
                  <a:pt x="3197" y="2339"/>
                  <a:pt x="3197" y="2339"/>
                </a:cubicBezTo>
                <a:cubicBezTo>
                  <a:pt x="2083" y="2339"/>
                  <a:pt x="2083" y="2339"/>
                  <a:pt x="2083" y="2339"/>
                </a:cubicBezTo>
                <a:cubicBezTo>
                  <a:pt x="2290" y="2100"/>
                  <a:pt x="2290" y="2100"/>
                  <a:pt x="2290" y="2100"/>
                </a:cubicBezTo>
                <a:cubicBezTo>
                  <a:pt x="3276" y="2100"/>
                  <a:pt x="3276" y="2100"/>
                  <a:pt x="3276" y="2100"/>
                </a:cubicBezTo>
                <a:cubicBezTo>
                  <a:pt x="3292" y="2100"/>
                  <a:pt x="3292" y="2100"/>
                  <a:pt x="3292" y="2100"/>
                </a:cubicBezTo>
                <a:cubicBezTo>
                  <a:pt x="3308" y="2100"/>
                  <a:pt x="3324" y="2100"/>
                  <a:pt x="3340" y="2084"/>
                </a:cubicBezTo>
                <a:lnTo>
                  <a:pt x="3356" y="2084"/>
                </a:lnTo>
                <a:cubicBezTo>
                  <a:pt x="3499" y="1909"/>
                  <a:pt x="3499" y="1909"/>
                  <a:pt x="3499" y="1909"/>
                </a:cubicBezTo>
                <a:close/>
                <a:moveTo>
                  <a:pt x="3372" y="1813"/>
                </a:moveTo>
                <a:cubicBezTo>
                  <a:pt x="3372" y="716"/>
                  <a:pt x="3372" y="716"/>
                  <a:pt x="3372" y="716"/>
                </a:cubicBezTo>
                <a:cubicBezTo>
                  <a:pt x="3690" y="319"/>
                  <a:pt x="3690" y="319"/>
                  <a:pt x="3690" y="319"/>
                </a:cubicBezTo>
                <a:cubicBezTo>
                  <a:pt x="3690" y="1432"/>
                  <a:pt x="3690" y="1432"/>
                  <a:pt x="3690" y="143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0" name="Freeform: Shape 12">
            <a:extLst>
              <a:ext uri="{FF2B5EF4-FFF2-40B4-BE49-F238E27FC236}">
                <a16:creationId xmlns:a16="http://schemas.microsoft.com/office/drawing/2014/main" id="{AFC904F4-A5BD-3B46-907F-B04CCA13D804}"/>
              </a:ext>
            </a:extLst>
          </p:cNvPr>
          <p:cNvSpPr/>
          <p:nvPr/>
        </p:nvSpPr>
        <p:spPr>
          <a:xfrm>
            <a:off x="10059797" y="3284961"/>
            <a:ext cx="1697400" cy="1476719"/>
          </a:xfrm>
          <a:custGeom>
            <a:avLst/>
            <a:gdLst/>
            <a:ahLst/>
            <a:cxnLst>
              <a:cxn ang="3cd4">
                <a:pos x="hc" y="t"/>
              </a:cxn>
              <a:cxn ang="cd2">
                <a:pos x="l" y="vc"/>
              </a:cxn>
              <a:cxn ang="cd4">
                <a:pos x="hc" y="b"/>
              </a:cxn>
              <a:cxn ang="0">
                <a:pos x="r" y="vc"/>
              </a:cxn>
            </a:cxnLst>
            <a:rect l="l" t="t" r="r" b="b"/>
            <a:pathLst>
              <a:path w="4716" h="4103">
                <a:moveTo>
                  <a:pt x="4704" y="4071"/>
                </a:moveTo>
                <a:cubicBezTo>
                  <a:pt x="4720" y="4039"/>
                  <a:pt x="4720" y="4008"/>
                  <a:pt x="4704" y="3992"/>
                </a:cubicBezTo>
                <a:lnTo>
                  <a:pt x="2429" y="47"/>
                </a:lnTo>
                <a:cubicBezTo>
                  <a:pt x="2413" y="15"/>
                  <a:pt x="2381" y="0"/>
                  <a:pt x="2350" y="0"/>
                </a:cubicBezTo>
                <a:cubicBezTo>
                  <a:pt x="2318" y="0"/>
                  <a:pt x="2302" y="15"/>
                  <a:pt x="2286" y="47"/>
                </a:cubicBezTo>
                <a:lnTo>
                  <a:pt x="11" y="3992"/>
                </a:lnTo>
                <a:cubicBezTo>
                  <a:pt x="-4" y="4008"/>
                  <a:pt x="-4" y="4039"/>
                  <a:pt x="11" y="4071"/>
                </a:cubicBezTo>
                <a:cubicBezTo>
                  <a:pt x="11" y="4087"/>
                  <a:pt x="43" y="4103"/>
                  <a:pt x="75" y="4103"/>
                </a:cubicBezTo>
                <a:lnTo>
                  <a:pt x="4640" y="4103"/>
                </a:lnTo>
                <a:cubicBezTo>
                  <a:pt x="4656" y="4103"/>
                  <a:pt x="4688" y="4087"/>
                  <a:pt x="4704" y="4071"/>
                </a:cubicBezTo>
                <a:close/>
                <a:moveTo>
                  <a:pt x="218" y="3944"/>
                </a:moveTo>
                <a:lnTo>
                  <a:pt x="2350" y="238"/>
                </a:lnTo>
                <a:lnTo>
                  <a:pt x="4497" y="3944"/>
                </a:lnTo>
                <a:close/>
                <a:moveTo>
                  <a:pt x="2302" y="1510"/>
                </a:moveTo>
                <a:cubicBezTo>
                  <a:pt x="2254" y="1510"/>
                  <a:pt x="2206" y="1479"/>
                  <a:pt x="2159" y="1431"/>
                </a:cubicBezTo>
                <a:lnTo>
                  <a:pt x="1809" y="2099"/>
                </a:lnTo>
                <a:cubicBezTo>
                  <a:pt x="1872" y="2099"/>
                  <a:pt x="1920" y="2131"/>
                  <a:pt x="1968" y="2163"/>
                </a:cubicBezTo>
                <a:close/>
                <a:moveTo>
                  <a:pt x="1586" y="2528"/>
                </a:moveTo>
                <a:lnTo>
                  <a:pt x="1252" y="3181"/>
                </a:lnTo>
                <a:cubicBezTo>
                  <a:pt x="1300" y="3181"/>
                  <a:pt x="1348" y="3212"/>
                  <a:pt x="1379" y="3244"/>
                </a:cubicBezTo>
                <a:lnTo>
                  <a:pt x="1714" y="2608"/>
                </a:lnTo>
                <a:cubicBezTo>
                  <a:pt x="1666" y="2608"/>
                  <a:pt x="1618" y="2576"/>
                  <a:pt x="1586" y="2528"/>
                </a:cubicBezTo>
                <a:close/>
                <a:moveTo>
                  <a:pt x="2397" y="1510"/>
                </a:moveTo>
                <a:lnTo>
                  <a:pt x="2747" y="2179"/>
                </a:lnTo>
                <a:cubicBezTo>
                  <a:pt x="2795" y="2131"/>
                  <a:pt x="2842" y="2115"/>
                  <a:pt x="2890" y="2099"/>
                </a:cubicBezTo>
                <a:lnTo>
                  <a:pt x="2541" y="1431"/>
                </a:lnTo>
                <a:cubicBezTo>
                  <a:pt x="2509" y="1479"/>
                  <a:pt x="2461" y="1510"/>
                  <a:pt x="2397" y="1510"/>
                </a:cubicBezTo>
                <a:close/>
                <a:moveTo>
                  <a:pt x="3320" y="3243"/>
                </a:moveTo>
                <a:cubicBezTo>
                  <a:pt x="3351" y="3211"/>
                  <a:pt x="3399" y="3180"/>
                  <a:pt x="3463" y="3163"/>
                </a:cubicBezTo>
                <a:lnTo>
                  <a:pt x="3129" y="2544"/>
                </a:lnTo>
                <a:cubicBezTo>
                  <a:pt x="3097" y="2591"/>
                  <a:pt x="3050" y="2607"/>
                  <a:pt x="2986" y="2623"/>
                </a:cubicBezTo>
                <a:close/>
                <a:moveTo>
                  <a:pt x="2747" y="2544"/>
                </a:moveTo>
                <a:lnTo>
                  <a:pt x="2413" y="3180"/>
                </a:lnTo>
                <a:cubicBezTo>
                  <a:pt x="2461" y="3180"/>
                  <a:pt x="2509" y="3211"/>
                  <a:pt x="2556" y="3259"/>
                </a:cubicBezTo>
                <a:lnTo>
                  <a:pt x="2890" y="2623"/>
                </a:lnTo>
                <a:cubicBezTo>
                  <a:pt x="2827" y="2607"/>
                  <a:pt x="2779" y="2575"/>
                  <a:pt x="2747" y="2544"/>
                </a:cubicBezTo>
                <a:close/>
                <a:moveTo>
                  <a:pt x="2286" y="3180"/>
                </a:moveTo>
                <a:lnTo>
                  <a:pt x="1968" y="2559"/>
                </a:lnTo>
                <a:cubicBezTo>
                  <a:pt x="1920" y="2591"/>
                  <a:pt x="1872" y="2607"/>
                  <a:pt x="1825" y="2623"/>
                </a:cubicBezTo>
                <a:lnTo>
                  <a:pt x="2159" y="3259"/>
                </a:lnTo>
                <a:cubicBezTo>
                  <a:pt x="2190" y="3211"/>
                  <a:pt x="2238" y="3180"/>
                  <a:pt x="2286" y="3180"/>
                </a:cubicBezTo>
                <a:close/>
                <a:moveTo>
                  <a:pt x="2095" y="1256"/>
                </a:moveTo>
                <a:cubicBezTo>
                  <a:pt x="2095" y="1319"/>
                  <a:pt x="2111" y="1383"/>
                  <a:pt x="2159" y="1431"/>
                </a:cubicBezTo>
                <a:cubicBezTo>
                  <a:pt x="2206" y="1479"/>
                  <a:pt x="2254" y="1510"/>
                  <a:pt x="2302" y="1510"/>
                </a:cubicBezTo>
                <a:lnTo>
                  <a:pt x="2350" y="1510"/>
                </a:lnTo>
                <a:lnTo>
                  <a:pt x="2397" y="1510"/>
                </a:lnTo>
                <a:cubicBezTo>
                  <a:pt x="2461" y="1510"/>
                  <a:pt x="2509" y="1479"/>
                  <a:pt x="2541" y="1431"/>
                </a:cubicBezTo>
                <a:cubicBezTo>
                  <a:pt x="2588" y="1383"/>
                  <a:pt x="2620" y="1319"/>
                  <a:pt x="2620" y="1256"/>
                </a:cubicBezTo>
                <a:cubicBezTo>
                  <a:pt x="2620" y="1113"/>
                  <a:pt x="2493" y="985"/>
                  <a:pt x="2350" y="985"/>
                </a:cubicBezTo>
                <a:cubicBezTo>
                  <a:pt x="2206" y="985"/>
                  <a:pt x="2095" y="1113"/>
                  <a:pt x="2095" y="1256"/>
                </a:cubicBezTo>
                <a:close/>
                <a:moveTo>
                  <a:pt x="2413" y="3180"/>
                </a:moveTo>
                <a:cubicBezTo>
                  <a:pt x="2397" y="3163"/>
                  <a:pt x="2381" y="3163"/>
                  <a:pt x="2350" y="3163"/>
                </a:cubicBezTo>
                <a:cubicBezTo>
                  <a:pt x="2333" y="3163"/>
                  <a:pt x="2318" y="3163"/>
                  <a:pt x="2286" y="3180"/>
                </a:cubicBezTo>
                <a:cubicBezTo>
                  <a:pt x="2238" y="3180"/>
                  <a:pt x="2190" y="3211"/>
                  <a:pt x="2159" y="3259"/>
                </a:cubicBezTo>
                <a:cubicBezTo>
                  <a:pt x="2111" y="3307"/>
                  <a:pt x="2095" y="3371"/>
                  <a:pt x="2095" y="3434"/>
                </a:cubicBezTo>
                <a:cubicBezTo>
                  <a:pt x="2095" y="3577"/>
                  <a:pt x="2206" y="3704"/>
                  <a:pt x="2350" y="3704"/>
                </a:cubicBezTo>
                <a:cubicBezTo>
                  <a:pt x="2493" y="3704"/>
                  <a:pt x="2620" y="3577"/>
                  <a:pt x="2620" y="3434"/>
                </a:cubicBezTo>
                <a:cubicBezTo>
                  <a:pt x="2620" y="3371"/>
                  <a:pt x="2588" y="3307"/>
                  <a:pt x="2556" y="3259"/>
                </a:cubicBezTo>
                <a:cubicBezTo>
                  <a:pt x="2509" y="3211"/>
                  <a:pt x="2461" y="3180"/>
                  <a:pt x="2413" y="3180"/>
                </a:cubicBezTo>
                <a:close/>
                <a:moveTo>
                  <a:pt x="3240" y="3434"/>
                </a:moveTo>
                <a:cubicBezTo>
                  <a:pt x="3240" y="3577"/>
                  <a:pt x="3351" y="3704"/>
                  <a:pt x="3511" y="3704"/>
                </a:cubicBezTo>
                <a:cubicBezTo>
                  <a:pt x="3654" y="3704"/>
                  <a:pt x="3765" y="3577"/>
                  <a:pt x="3765" y="3434"/>
                </a:cubicBezTo>
                <a:cubicBezTo>
                  <a:pt x="3765" y="3291"/>
                  <a:pt x="3654" y="3163"/>
                  <a:pt x="3511" y="3163"/>
                </a:cubicBezTo>
                <a:lnTo>
                  <a:pt x="3463" y="3163"/>
                </a:lnTo>
                <a:cubicBezTo>
                  <a:pt x="3399" y="3180"/>
                  <a:pt x="3351" y="3211"/>
                  <a:pt x="3320" y="3243"/>
                </a:cubicBezTo>
                <a:cubicBezTo>
                  <a:pt x="3272" y="3291"/>
                  <a:pt x="3240" y="3354"/>
                  <a:pt x="3240" y="3434"/>
                </a:cubicBezTo>
                <a:close/>
                <a:moveTo>
                  <a:pt x="1252" y="3180"/>
                </a:moveTo>
                <a:cubicBezTo>
                  <a:pt x="1236" y="3163"/>
                  <a:pt x="1220" y="3163"/>
                  <a:pt x="1188" y="3163"/>
                </a:cubicBezTo>
                <a:cubicBezTo>
                  <a:pt x="1045" y="3163"/>
                  <a:pt x="934" y="3291"/>
                  <a:pt x="934" y="3434"/>
                </a:cubicBezTo>
                <a:cubicBezTo>
                  <a:pt x="934" y="3577"/>
                  <a:pt x="1045" y="3704"/>
                  <a:pt x="1188" y="3704"/>
                </a:cubicBezTo>
                <a:cubicBezTo>
                  <a:pt x="1348" y="3704"/>
                  <a:pt x="1459" y="3577"/>
                  <a:pt x="1459" y="3434"/>
                </a:cubicBezTo>
                <a:cubicBezTo>
                  <a:pt x="1459" y="3354"/>
                  <a:pt x="1427" y="3291"/>
                  <a:pt x="1379" y="3243"/>
                </a:cubicBezTo>
                <a:cubicBezTo>
                  <a:pt x="1348" y="3211"/>
                  <a:pt x="1300" y="3180"/>
                  <a:pt x="1252" y="3180"/>
                </a:cubicBezTo>
                <a:close/>
                <a:moveTo>
                  <a:pt x="2747" y="2179"/>
                </a:moveTo>
                <a:cubicBezTo>
                  <a:pt x="2699" y="2226"/>
                  <a:pt x="2684" y="2290"/>
                  <a:pt x="2684" y="2354"/>
                </a:cubicBezTo>
                <a:cubicBezTo>
                  <a:pt x="2684" y="2433"/>
                  <a:pt x="2699" y="2497"/>
                  <a:pt x="2747" y="2545"/>
                </a:cubicBezTo>
                <a:cubicBezTo>
                  <a:pt x="2779" y="2576"/>
                  <a:pt x="2827" y="2608"/>
                  <a:pt x="2890" y="2624"/>
                </a:cubicBezTo>
                <a:lnTo>
                  <a:pt x="2938" y="2624"/>
                </a:lnTo>
                <a:lnTo>
                  <a:pt x="2986" y="2624"/>
                </a:lnTo>
                <a:cubicBezTo>
                  <a:pt x="3050" y="2608"/>
                  <a:pt x="3097" y="2592"/>
                  <a:pt x="3129" y="2545"/>
                </a:cubicBezTo>
                <a:cubicBezTo>
                  <a:pt x="3177" y="2497"/>
                  <a:pt x="3208" y="2433"/>
                  <a:pt x="3208" y="2354"/>
                </a:cubicBezTo>
                <a:cubicBezTo>
                  <a:pt x="3208" y="2210"/>
                  <a:pt x="3097" y="2099"/>
                  <a:pt x="2938" y="2099"/>
                </a:cubicBezTo>
                <a:lnTo>
                  <a:pt x="2890" y="2099"/>
                </a:lnTo>
                <a:cubicBezTo>
                  <a:pt x="2842" y="2115"/>
                  <a:pt x="2795" y="2131"/>
                  <a:pt x="2747" y="2179"/>
                </a:cubicBezTo>
                <a:close/>
                <a:moveTo>
                  <a:pt x="2047" y="2354"/>
                </a:moveTo>
                <a:cubicBezTo>
                  <a:pt x="2047" y="2274"/>
                  <a:pt x="2015" y="2210"/>
                  <a:pt x="1968" y="2163"/>
                </a:cubicBezTo>
                <a:cubicBezTo>
                  <a:pt x="1920" y="2131"/>
                  <a:pt x="1872" y="2099"/>
                  <a:pt x="1809" y="2099"/>
                </a:cubicBezTo>
                <a:lnTo>
                  <a:pt x="1793" y="2099"/>
                </a:lnTo>
                <a:cubicBezTo>
                  <a:pt x="1634" y="2099"/>
                  <a:pt x="1523" y="2210"/>
                  <a:pt x="1523" y="2354"/>
                </a:cubicBezTo>
                <a:cubicBezTo>
                  <a:pt x="1523" y="2417"/>
                  <a:pt x="1538" y="2481"/>
                  <a:pt x="1586" y="2528"/>
                </a:cubicBezTo>
                <a:cubicBezTo>
                  <a:pt x="1618" y="2576"/>
                  <a:pt x="1666" y="2608"/>
                  <a:pt x="1714" y="2608"/>
                </a:cubicBezTo>
                <a:cubicBezTo>
                  <a:pt x="1745" y="2624"/>
                  <a:pt x="1761" y="2624"/>
                  <a:pt x="1793" y="2624"/>
                </a:cubicBezTo>
                <a:lnTo>
                  <a:pt x="1825" y="2624"/>
                </a:lnTo>
                <a:cubicBezTo>
                  <a:pt x="1872" y="2608"/>
                  <a:pt x="1920" y="2592"/>
                  <a:pt x="1968" y="2560"/>
                </a:cubicBezTo>
                <a:cubicBezTo>
                  <a:pt x="2015" y="2512"/>
                  <a:pt x="2047" y="2433"/>
                  <a:pt x="2047" y="235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1" name="Freeform: Shape 13">
            <a:extLst>
              <a:ext uri="{FF2B5EF4-FFF2-40B4-BE49-F238E27FC236}">
                <a16:creationId xmlns:a16="http://schemas.microsoft.com/office/drawing/2014/main" id="{6658ECE4-290D-F045-84A3-79A0BBE2E68E}"/>
              </a:ext>
            </a:extLst>
          </p:cNvPr>
          <p:cNvSpPr/>
          <p:nvPr/>
        </p:nvSpPr>
        <p:spPr>
          <a:xfrm>
            <a:off x="17804912" y="3280681"/>
            <a:ext cx="1026719" cy="1517400"/>
          </a:xfrm>
          <a:custGeom>
            <a:avLst/>
            <a:gdLst/>
            <a:ahLst/>
            <a:cxnLst>
              <a:cxn ang="3cd4">
                <a:pos x="hc" y="t"/>
              </a:cxn>
              <a:cxn ang="cd2">
                <a:pos x="l" y="vc"/>
              </a:cxn>
              <a:cxn ang="cd4">
                <a:pos x="hc" y="b"/>
              </a:cxn>
              <a:cxn ang="0">
                <a:pos x="r" y="vc"/>
              </a:cxn>
            </a:cxnLst>
            <a:rect l="l" t="t" r="r" b="b"/>
            <a:pathLst>
              <a:path w="2853" h="4216">
                <a:moveTo>
                  <a:pt x="2853" y="1241"/>
                </a:moveTo>
                <a:cubicBezTo>
                  <a:pt x="2853" y="509"/>
                  <a:pt x="2281" y="0"/>
                  <a:pt x="1469" y="0"/>
                </a:cubicBezTo>
                <a:cubicBezTo>
                  <a:pt x="833" y="0"/>
                  <a:pt x="499" y="255"/>
                  <a:pt x="86" y="669"/>
                </a:cubicBezTo>
                <a:cubicBezTo>
                  <a:pt x="6" y="732"/>
                  <a:pt x="-58" y="907"/>
                  <a:pt x="86" y="1066"/>
                </a:cubicBezTo>
                <a:cubicBezTo>
                  <a:pt x="213" y="1193"/>
                  <a:pt x="372" y="1162"/>
                  <a:pt x="451" y="1098"/>
                </a:cubicBezTo>
                <a:lnTo>
                  <a:pt x="563" y="1003"/>
                </a:lnTo>
                <a:cubicBezTo>
                  <a:pt x="865" y="764"/>
                  <a:pt x="1104" y="573"/>
                  <a:pt x="1453" y="573"/>
                </a:cubicBezTo>
                <a:cubicBezTo>
                  <a:pt x="1915" y="573"/>
                  <a:pt x="2233" y="844"/>
                  <a:pt x="2233" y="1257"/>
                </a:cubicBezTo>
                <a:cubicBezTo>
                  <a:pt x="2233" y="1464"/>
                  <a:pt x="2153" y="1639"/>
                  <a:pt x="1995" y="1766"/>
                </a:cubicBezTo>
                <a:cubicBezTo>
                  <a:pt x="1819" y="1893"/>
                  <a:pt x="1549" y="1989"/>
                  <a:pt x="1295" y="1989"/>
                </a:cubicBezTo>
                <a:lnTo>
                  <a:pt x="1263" y="1989"/>
                </a:lnTo>
                <a:cubicBezTo>
                  <a:pt x="1215" y="1989"/>
                  <a:pt x="1167" y="1989"/>
                  <a:pt x="1120" y="2005"/>
                </a:cubicBezTo>
                <a:cubicBezTo>
                  <a:pt x="1072" y="2021"/>
                  <a:pt x="1056" y="2068"/>
                  <a:pt x="1040" y="2100"/>
                </a:cubicBezTo>
                <a:lnTo>
                  <a:pt x="1040" y="2132"/>
                </a:lnTo>
                <a:lnTo>
                  <a:pt x="1072" y="2418"/>
                </a:lnTo>
                <a:cubicBezTo>
                  <a:pt x="1087" y="2530"/>
                  <a:pt x="1087" y="2609"/>
                  <a:pt x="1104" y="2689"/>
                </a:cubicBezTo>
                <a:cubicBezTo>
                  <a:pt x="1120" y="2753"/>
                  <a:pt x="1120" y="2832"/>
                  <a:pt x="1135" y="2943"/>
                </a:cubicBezTo>
                <a:cubicBezTo>
                  <a:pt x="1151" y="3007"/>
                  <a:pt x="1199" y="3134"/>
                  <a:pt x="1358" y="3134"/>
                </a:cubicBezTo>
                <a:cubicBezTo>
                  <a:pt x="1517" y="3134"/>
                  <a:pt x="1581" y="3007"/>
                  <a:pt x="1581" y="2943"/>
                </a:cubicBezTo>
                <a:lnTo>
                  <a:pt x="1644" y="2482"/>
                </a:lnTo>
                <a:cubicBezTo>
                  <a:pt x="2408" y="2354"/>
                  <a:pt x="2853" y="1909"/>
                  <a:pt x="2853" y="1241"/>
                </a:cubicBezTo>
                <a:close/>
                <a:moveTo>
                  <a:pt x="1549" y="2339"/>
                </a:moveTo>
                <a:cubicBezTo>
                  <a:pt x="1517" y="2354"/>
                  <a:pt x="1486" y="2371"/>
                  <a:pt x="1486" y="2418"/>
                </a:cubicBezTo>
                <a:lnTo>
                  <a:pt x="1422" y="2911"/>
                </a:lnTo>
                <a:cubicBezTo>
                  <a:pt x="1422" y="2927"/>
                  <a:pt x="1422" y="2975"/>
                  <a:pt x="1358" y="2975"/>
                </a:cubicBezTo>
                <a:cubicBezTo>
                  <a:pt x="1310" y="2975"/>
                  <a:pt x="1316" y="2943"/>
                  <a:pt x="1295" y="2927"/>
                </a:cubicBezTo>
                <a:cubicBezTo>
                  <a:pt x="1278" y="2816"/>
                  <a:pt x="1263" y="2736"/>
                  <a:pt x="1263" y="2657"/>
                </a:cubicBezTo>
                <a:cubicBezTo>
                  <a:pt x="1247" y="2593"/>
                  <a:pt x="1247" y="2514"/>
                  <a:pt x="1231" y="2402"/>
                </a:cubicBezTo>
                <a:lnTo>
                  <a:pt x="1199" y="2148"/>
                </a:lnTo>
                <a:lnTo>
                  <a:pt x="1263" y="2148"/>
                </a:lnTo>
                <a:lnTo>
                  <a:pt x="1295" y="2148"/>
                </a:lnTo>
                <a:cubicBezTo>
                  <a:pt x="1581" y="2148"/>
                  <a:pt x="1883" y="2053"/>
                  <a:pt x="2090" y="1878"/>
                </a:cubicBezTo>
                <a:cubicBezTo>
                  <a:pt x="2281" y="1735"/>
                  <a:pt x="2392" y="1512"/>
                  <a:pt x="2392" y="1257"/>
                </a:cubicBezTo>
                <a:cubicBezTo>
                  <a:pt x="2392" y="764"/>
                  <a:pt x="2010" y="414"/>
                  <a:pt x="1453" y="414"/>
                </a:cubicBezTo>
                <a:cubicBezTo>
                  <a:pt x="1056" y="414"/>
                  <a:pt x="786" y="621"/>
                  <a:pt x="468" y="875"/>
                </a:cubicBezTo>
                <a:lnTo>
                  <a:pt x="356" y="971"/>
                </a:lnTo>
                <a:cubicBezTo>
                  <a:pt x="308" y="1018"/>
                  <a:pt x="260" y="1003"/>
                  <a:pt x="213" y="955"/>
                </a:cubicBezTo>
                <a:cubicBezTo>
                  <a:pt x="117" y="860"/>
                  <a:pt x="202" y="838"/>
                  <a:pt x="197" y="780"/>
                </a:cubicBezTo>
                <a:cubicBezTo>
                  <a:pt x="595" y="398"/>
                  <a:pt x="881" y="160"/>
                  <a:pt x="1469" y="160"/>
                </a:cubicBezTo>
                <a:cubicBezTo>
                  <a:pt x="2185" y="160"/>
                  <a:pt x="2694" y="605"/>
                  <a:pt x="2694" y="1241"/>
                </a:cubicBezTo>
                <a:cubicBezTo>
                  <a:pt x="2694" y="2053"/>
                  <a:pt x="1978" y="2275"/>
                  <a:pt x="1549" y="2339"/>
                </a:cubicBezTo>
                <a:close/>
                <a:moveTo>
                  <a:pt x="1357" y="3516"/>
                </a:moveTo>
                <a:cubicBezTo>
                  <a:pt x="1166" y="3516"/>
                  <a:pt x="1007" y="3675"/>
                  <a:pt x="1007" y="3866"/>
                </a:cubicBezTo>
                <a:cubicBezTo>
                  <a:pt x="1007" y="4057"/>
                  <a:pt x="1166" y="4216"/>
                  <a:pt x="1357" y="4216"/>
                </a:cubicBezTo>
                <a:cubicBezTo>
                  <a:pt x="1548" y="4216"/>
                  <a:pt x="1707" y="4057"/>
                  <a:pt x="1707" y="3866"/>
                </a:cubicBezTo>
                <a:cubicBezTo>
                  <a:pt x="1707" y="3675"/>
                  <a:pt x="1548" y="3516"/>
                  <a:pt x="1357" y="3516"/>
                </a:cubicBezTo>
                <a:close/>
                <a:moveTo>
                  <a:pt x="1357" y="4057"/>
                </a:moveTo>
                <a:cubicBezTo>
                  <a:pt x="1246" y="4057"/>
                  <a:pt x="1166" y="3961"/>
                  <a:pt x="1166" y="3866"/>
                </a:cubicBezTo>
                <a:cubicBezTo>
                  <a:pt x="1166" y="3754"/>
                  <a:pt x="1246" y="3675"/>
                  <a:pt x="1357" y="3675"/>
                </a:cubicBezTo>
                <a:cubicBezTo>
                  <a:pt x="1468" y="3675"/>
                  <a:pt x="1548" y="3754"/>
                  <a:pt x="1548" y="3866"/>
                </a:cubicBezTo>
                <a:cubicBezTo>
                  <a:pt x="1548" y="3961"/>
                  <a:pt x="1468" y="4057"/>
                  <a:pt x="1357" y="405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5" name="Freeform: Shape 14">
            <a:extLst>
              <a:ext uri="{FF2B5EF4-FFF2-40B4-BE49-F238E27FC236}">
                <a16:creationId xmlns:a16="http://schemas.microsoft.com/office/drawing/2014/main" id="{00171EBA-1751-9649-AEA6-EF43EA4B6647}"/>
              </a:ext>
            </a:extLst>
          </p:cNvPr>
          <p:cNvSpPr/>
          <p:nvPr/>
        </p:nvSpPr>
        <p:spPr>
          <a:xfrm>
            <a:off x="6630766" y="6425256"/>
            <a:ext cx="240120" cy="1631520"/>
          </a:xfrm>
          <a:custGeom>
            <a:avLst/>
            <a:gdLst/>
            <a:ahLst/>
            <a:cxnLst>
              <a:cxn ang="3cd4">
                <a:pos x="hc" y="t"/>
              </a:cxn>
              <a:cxn ang="cd2">
                <a:pos x="l" y="vc"/>
              </a:cxn>
              <a:cxn ang="cd4">
                <a:pos x="hc" y="b"/>
              </a:cxn>
              <a:cxn ang="0">
                <a:pos x="r" y="vc"/>
              </a:cxn>
            </a:cxnLst>
            <a:rect l="l" t="t" r="r" b="b"/>
            <a:pathLst>
              <a:path w="668" h="4533">
                <a:moveTo>
                  <a:pt x="334" y="1081"/>
                </a:moveTo>
                <a:cubicBezTo>
                  <a:pt x="143" y="1081"/>
                  <a:pt x="0" y="1224"/>
                  <a:pt x="0" y="1399"/>
                </a:cubicBezTo>
                <a:lnTo>
                  <a:pt x="0" y="4215"/>
                </a:lnTo>
                <a:cubicBezTo>
                  <a:pt x="0" y="4390"/>
                  <a:pt x="143" y="4533"/>
                  <a:pt x="334" y="4533"/>
                </a:cubicBezTo>
                <a:cubicBezTo>
                  <a:pt x="509" y="4533"/>
                  <a:pt x="652" y="4390"/>
                  <a:pt x="652" y="4215"/>
                </a:cubicBezTo>
                <a:lnTo>
                  <a:pt x="652" y="1399"/>
                </a:lnTo>
                <a:cubicBezTo>
                  <a:pt x="652" y="1224"/>
                  <a:pt x="509" y="1081"/>
                  <a:pt x="334" y="1081"/>
                </a:cubicBezTo>
                <a:close/>
                <a:moveTo>
                  <a:pt x="493" y="4215"/>
                </a:moveTo>
                <a:cubicBezTo>
                  <a:pt x="493" y="4294"/>
                  <a:pt x="414" y="4374"/>
                  <a:pt x="334" y="4374"/>
                </a:cubicBezTo>
                <a:cubicBezTo>
                  <a:pt x="239" y="4374"/>
                  <a:pt x="159" y="4294"/>
                  <a:pt x="159" y="4215"/>
                </a:cubicBezTo>
                <a:lnTo>
                  <a:pt x="159" y="1399"/>
                </a:lnTo>
                <a:cubicBezTo>
                  <a:pt x="159" y="1304"/>
                  <a:pt x="239" y="1240"/>
                  <a:pt x="334" y="1240"/>
                </a:cubicBezTo>
                <a:cubicBezTo>
                  <a:pt x="414" y="1240"/>
                  <a:pt x="493" y="1304"/>
                  <a:pt x="493" y="1399"/>
                </a:cubicBezTo>
                <a:close/>
                <a:moveTo>
                  <a:pt x="334" y="0"/>
                </a:moveTo>
                <a:cubicBezTo>
                  <a:pt x="143" y="0"/>
                  <a:pt x="0" y="143"/>
                  <a:pt x="0" y="334"/>
                </a:cubicBezTo>
                <a:cubicBezTo>
                  <a:pt x="0" y="509"/>
                  <a:pt x="143" y="652"/>
                  <a:pt x="334" y="652"/>
                </a:cubicBezTo>
                <a:cubicBezTo>
                  <a:pt x="509" y="652"/>
                  <a:pt x="668" y="509"/>
                  <a:pt x="668" y="334"/>
                </a:cubicBezTo>
                <a:cubicBezTo>
                  <a:pt x="668" y="143"/>
                  <a:pt x="509" y="0"/>
                  <a:pt x="334" y="0"/>
                </a:cubicBezTo>
                <a:close/>
                <a:moveTo>
                  <a:pt x="334" y="509"/>
                </a:moveTo>
                <a:cubicBezTo>
                  <a:pt x="239" y="509"/>
                  <a:pt x="159" y="429"/>
                  <a:pt x="159" y="334"/>
                </a:cubicBezTo>
                <a:cubicBezTo>
                  <a:pt x="159" y="238"/>
                  <a:pt x="239" y="158"/>
                  <a:pt x="334" y="158"/>
                </a:cubicBezTo>
                <a:cubicBezTo>
                  <a:pt x="429" y="158"/>
                  <a:pt x="509" y="238"/>
                  <a:pt x="509" y="334"/>
                </a:cubicBezTo>
                <a:cubicBezTo>
                  <a:pt x="509" y="429"/>
                  <a:pt x="429" y="509"/>
                  <a:pt x="334" y="5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6" name="Freeform: Shape 15">
            <a:extLst>
              <a:ext uri="{FF2B5EF4-FFF2-40B4-BE49-F238E27FC236}">
                <a16:creationId xmlns:a16="http://schemas.microsoft.com/office/drawing/2014/main" id="{0E2DBCB2-C662-304C-B28C-96A27EA05087}"/>
              </a:ext>
            </a:extLst>
          </p:cNvPr>
          <p:cNvSpPr/>
          <p:nvPr/>
        </p:nvSpPr>
        <p:spPr>
          <a:xfrm>
            <a:off x="10710428" y="6407977"/>
            <a:ext cx="325800" cy="1665719"/>
          </a:xfrm>
          <a:custGeom>
            <a:avLst/>
            <a:gdLst/>
            <a:ahLst/>
            <a:cxnLst>
              <a:cxn ang="3cd4">
                <a:pos x="hc" y="t"/>
              </a:cxn>
              <a:cxn ang="cd2">
                <a:pos x="l" y="vc"/>
              </a:cxn>
              <a:cxn ang="cd4">
                <a:pos x="hc" y="b"/>
              </a:cxn>
              <a:cxn ang="0">
                <a:pos x="r" y="vc"/>
              </a:cxn>
            </a:cxnLst>
            <a:rect l="l" t="t" r="r" b="b"/>
            <a:pathLst>
              <a:path w="906" h="4628">
                <a:moveTo>
                  <a:pt x="461" y="0"/>
                </a:moveTo>
                <a:cubicBezTo>
                  <a:pt x="239" y="0"/>
                  <a:pt x="0" y="127"/>
                  <a:pt x="0" y="414"/>
                </a:cubicBezTo>
                <a:lnTo>
                  <a:pt x="127" y="3133"/>
                </a:lnTo>
                <a:cubicBezTo>
                  <a:pt x="127" y="3308"/>
                  <a:pt x="270" y="3451"/>
                  <a:pt x="461" y="3451"/>
                </a:cubicBezTo>
                <a:cubicBezTo>
                  <a:pt x="636" y="3451"/>
                  <a:pt x="779" y="3308"/>
                  <a:pt x="779" y="3133"/>
                </a:cubicBezTo>
                <a:lnTo>
                  <a:pt x="906" y="414"/>
                </a:lnTo>
                <a:cubicBezTo>
                  <a:pt x="906" y="111"/>
                  <a:pt x="668" y="0"/>
                  <a:pt x="461" y="0"/>
                </a:cubicBezTo>
                <a:close/>
                <a:moveTo>
                  <a:pt x="620" y="3133"/>
                </a:moveTo>
                <a:cubicBezTo>
                  <a:pt x="620" y="3213"/>
                  <a:pt x="540" y="3292"/>
                  <a:pt x="461" y="3292"/>
                </a:cubicBezTo>
                <a:cubicBezTo>
                  <a:pt x="366" y="3292"/>
                  <a:pt x="286" y="3213"/>
                  <a:pt x="286" y="3117"/>
                </a:cubicBezTo>
                <a:lnTo>
                  <a:pt x="159" y="414"/>
                </a:lnTo>
                <a:cubicBezTo>
                  <a:pt x="159" y="159"/>
                  <a:pt x="413" y="159"/>
                  <a:pt x="461" y="159"/>
                </a:cubicBezTo>
                <a:cubicBezTo>
                  <a:pt x="557" y="159"/>
                  <a:pt x="748" y="191"/>
                  <a:pt x="748" y="414"/>
                </a:cubicBezTo>
                <a:close/>
                <a:moveTo>
                  <a:pt x="875" y="4199"/>
                </a:moveTo>
                <a:cubicBezTo>
                  <a:pt x="875" y="3960"/>
                  <a:pt x="684" y="3769"/>
                  <a:pt x="461" y="3769"/>
                </a:cubicBezTo>
                <a:cubicBezTo>
                  <a:pt x="222" y="3769"/>
                  <a:pt x="31" y="3960"/>
                  <a:pt x="31" y="4199"/>
                </a:cubicBezTo>
                <a:cubicBezTo>
                  <a:pt x="31" y="4438"/>
                  <a:pt x="222" y="4628"/>
                  <a:pt x="461" y="4628"/>
                </a:cubicBezTo>
                <a:cubicBezTo>
                  <a:pt x="684" y="4628"/>
                  <a:pt x="875" y="4438"/>
                  <a:pt x="875" y="4199"/>
                </a:cubicBezTo>
                <a:close/>
                <a:moveTo>
                  <a:pt x="191" y="4199"/>
                </a:moveTo>
                <a:cubicBezTo>
                  <a:pt x="191" y="4056"/>
                  <a:pt x="302" y="3929"/>
                  <a:pt x="461" y="3929"/>
                </a:cubicBezTo>
                <a:cubicBezTo>
                  <a:pt x="604" y="3929"/>
                  <a:pt x="716" y="4056"/>
                  <a:pt x="716" y="4199"/>
                </a:cubicBezTo>
                <a:cubicBezTo>
                  <a:pt x="716" y="4342"/>
                  <a:pt x="604" y="4469"/>
                  <a:pt x="461" y="4469"/>
                </a:cubicBezTo>
                <a:cubicBezTo>
                  <a:pt x="302" y="4469"/>
                  <a:pt x="191" y="4342"/>
                  <a:pt x="191" y="419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7" name="Freeform: Shape 16">
            <a:extLst>
              <a:ext uri="{FF2B5EF4-FFF2-40B4-BE49-F238E27FC236}">
                <a16:creationId xmlns:a16="http://schemas.microsoft.com/office/drawing/2014/main" id="{E35C4348-5AFC-A14D-BE6C-FB049DC4A837}"/>
              </a:ext>
            </a:extLst>
          </p:cNvPr>
          <p:cNvSpPr/>
          <p:nvPr/>
        </p:nvSpPr>
        <p:spPr>
          <a:xfrm>
            <a:off x="14234932" y="6596976"/>
            <a:ext cx="1083240" cy="1281960"/>
          </a:xfrm>
          <a:custGeom>
            <a:avLst/>
            <a:gdLst/>
            <a:ahLst/>
            <a:cxnLst>
              <a:cxn ang="3cd4">
                <a:pos x="hc" y="t"/>
              </a:cxn>
              <a:cxn ang="cd2">
                <a:pos x="l" y="vc"/>
              </a:cxn>
              <a:cxn ang="cd4">
                <a:pos x="hc" y="b"/>
              </a:cxn>
              <a:cxn ang="0">
                <a:pos x="r" y="vc"/>
              </a:cxn>
            </a:cxnLst>
            <a:rect l="l" t="t" r="r" b="b"/>
            <a:pathLst>
              <a:path w="3010" h="3562">
                <a:moveTo>
                  <a:pt x="2994" y="286"/>
                </a:moveTo>
                <a:cubicBezTo>
                  <a:pt x="2994" y="207"/>
                  <a:pt x="2946" y="127"/>
                  <a:pt x="2883" y="79"/>
                </a:cubicBezTo>
                <a:cubicBezTo>
                  <a:pt x="2819" y="16"/>
                  <a:pt x="2740" y="0"/>
                  <a:pt x="2644" y="0"/>
                </a:cubicBezTo>
                <a:cubicBezTo>
                  <a:pt x="2565" y="16"/>
                  <a:pt x="2485" y="63"/>
                  <a:pt x="2437" y="127"/>
                </a:cubicBezTo>
                <a:cubicBezTo>
                  <a:pt x="1499" y="1272"/>
                  <a:pt x="1499" y="1272"/>
                  <a:pt x="1499" y="1272"/>
                </a:cubicBezTo>
                <a:cubicBezTo>
                  <a:pt x="561" y="127"/>
                  <a:pt x="561" y="127"/>
                  <a:pt x="561" y="127"/>
                </a:cubicBezTo>
                <a:cubicBezTo>
                  <a:pt x="449" y="-16"/>
                  <a:pt x="258" y="-32"/>
                  <a:pt x="115" y="79"/>
                </a:cubicBezTo>
                <a:cubicBezTo>
                  <a:pt x="52" y="127"/>
                  <a:pt x="4" y="207"/>
                  <a:pt x="4" y="286"/>
                </a:cubicBezTo>
                <a:cubicBezTo>
                  <a:pt x="-12" y="381"/>
                  <a:pt x="20" y="461"/>
                  <a:pt x="67" y="525"/>
                </a:cubicBezTo>
                <a:cubicBezTo>
                  <a:pt x="1085" y="1781"/>
                  <a:pt x="1085" y="1781"/>
                  <a:pt x="1085" y="1781"/>
                </a:cubicBezTo>
                <a:cubicBezTo>
                  <a:pt x="67" y="3038"/>
                  <a:pt x="67" y="3038"/>
                  <a:pt x="67" y="3038"/>
                </a:cubicBezTo>
                <a:cubicBezTo>
                  <a:pt x="20" y="3117"/>
                  <a:pt x="-12" y="3197"/>
                  <a:pt x="4" y="3276"/>
                </a:cubicBezTo>
                <a:cubicBezTo>
                  <a:pt x="4" y="3372"/>
                  <a:pt x="52" y="3435"/>
                  <a:pt x="115" y="3499"/>
                </a:cubicBezTo>
                <a:cubicBezTo>
                  <a:pt x="179" y="3547"/>
                  <a:pt x="243" y="3562"/>
                  <a:pt x="322" y="3562"/>
                </a:cubicBezTo>
                <a:cubicBezTo>
                  <a:pt x="418" y="3562"/>
                  <a:pt x="513" y="3531"/>
                  <a:pt x="576" y="3451"/>
                </a:cubicBezTo>
                <a:cubicBezTo>
                  <a:pt x="1499" y="2290"/>
                  <a:pt x="1499" y="2290"/>
                  <a:pt x="1499" y="2290"/>
                </a:cubicBezTo>
                <a:cubicBezTo>
                  <a:pt x="2437" y="3451"/>
                  <a:pt x="2437" y="3451"/>
                  <a:pt x="2437" y="3451"/>
                </a:cubicBezTo>
                <a:cubicBezTo>
                  <a:pt x="2549" y="3579"/>
                  <a:pt x="2755" y="3595"/>
                  <a:pt x="2883" y="3499"/>
                </a:cubicBezTo>
                <a:cubicBezTo>
                  <a:pt x="2946" y="3435"/>
                  <a:pt x="2994" y="3356"/>
                  <a:pt x="3010" y="3276"/>
                </a:cubicBezTo>
                <a:cubicBezTo>
                  <a:pt x="3010" y="3197"/>
                  <a:pt x="2994" y="3101"/>
                  <a:pt x="2931" y="3038"/>
                </a:cubicBezTo>
                <a:cubicBezTo>
                  <a:pt x="1913" y="1781"/>
                  <a:pt x="1913" y="1781"/>
                  <a:pt x="1913" y="1781"/>
                </a:cubicBezTo>
                <a:cubicBezTo>
                  <a:pt x="2931" y="525"/>
                  <a:pt x="2931" y="525"/>
                  <a:pt x="2931" y="525"/>
                </a:cubicBezTo>
                <a:cubicBezTo>
                  <a:pt x="2978" y="461"/>
                  <a:pt x="3010" y="381"/>
                  <a:pt x="2994" y="286"/>
                </a:cubicBezTo>
                <a:close/>
                <a:moveTo>
                  <a:pt x="2803" y="429"/>
                </a:moveTo>
                <a:cubicBezTo>
                  <a:pt x="1754" y="1734"/>
                  <a:pt x="1754" y="1734"/>
                  <a:pt x="1754" y="1734"/>
                </a:cubicBezTo>
                <a:cubicBezTo>
                  <a:pt x="1722" y="1765"/>
                  <a:pt x="1722" y="1813"/>
                  <a:pt x="1754" y="1829"/>
                </a:cubicBezTo>
                <a:cubicBezTo>
                  <a:pt x="2803" y="3149"/>
                  <a:pt x="2803" y="3149"/>
                  <a:pt x="2803" y="3149"/>
                </a:cubicBezTo>
                <a:cubicBezTo>
                  <a:pt x="2835" y="3181"/>
                  <a:pt x="2851" y="3213"/>
                  <a:pt x="2851" y="3261"/>
                </a:cubicBezTo>
                <a:cubicBezTo>
                  <a:pt x="2835" y="3308"/>
                  <a:pt x="2819" y="3340"/>
                  <a:pt x="2787" y="3372"/>
                </a:cubicBezTo>
                <a:cubicBezTo>
                  <a:pt x="2724" y="3419"/>
                  <a:pt x="2612" y="3419"/>
                  <a:pt x="2565" y="3340"/>
                </a:cubicBezTo>
                <a:cubicBezTo>
                  <a:pt x="1563" y="2115"/>
                  <a:pt x="1563" y="2115"/>
                  <a:pt x="1563" y="2115"/>
                </a:cubicBezTo>
                <a:cubicBezTo>
                  <a:pt x="1547" y="2099"/>
                  <a:pt x="1531" y="2099"/>
                  <a:pt x="1499" y="2099"/>
                </a:cubicBezTo>
                <a:cubicBezTo>
                  <a:pt x="1483" y="2099"/>
                  <a:pt x="1451" y="2099"/>
                  <a:pt x="1436" y="2115"/>
                </a:cubicBezTo>
                <a:cubicBezTo>
                  <a:pt x="449" y="3356"/>
                  <a:pt x="449" y="3356"/>
                  <a:pt x="449" y="3356"/>
                </a:cubicBezTo>
                <a:cubicBezTo>
                  <a:pt x="386" y="3419"/>
                  <a:pt x="290" y="3435"/>
                  <a:pt x="227" y="3372"/>
                </a:cubicBezTo>
                <a:cubicBezTo>
                  <a:pt x="179" y="3340"/>
                  <a:pt x="163" y="3308"/>
                  <a:pt x="163" y="3261"/>
                </a:cubicBezTo>
                <a:cubicBezTo>
                  <a:pt x="147" y="3213"/>
                  <a:pt x="163" y="3181"/>
                  <a:pt x="195" y="3149"/>
                </a:cubicBezTo>
                <a:cubicBezTo>
                  <a:pt x="1245" y="1829"/>
                  <a:pt x="1245" y="1829"/>
                  <a:pt x="1245" y="1829"/>
                </a:cubicBezTo>
                <a:cubicBezTo>
                  <a:pt x="1276" y="1813"/>
                  <a:pt x="1276" y="1765"/>
                  <a:pt x="1245" y="1734"/>
                </a:cubicBezTo>
                <a:cubicBezTo>
                  <a:pt x="195" y="429"/>
                  <a:pt x="195" y="429"/>
                  <a:pt x="195" y="429"/>
                </a:cubicBezTo>
                <a:cubicBezTo>
                  <a:pt x="163" y="398"/>
                  <a:pt x="147" y="350"/>
                  <a:pt x="163" y="318"/>
                </a:cubicBezTo>
                <a:cubicBezTo>
                  <a:pt x="163" y="270"/>
                  <a:pt x="179" y="222"/>
                  <a:pt x="210" y="207"/>
                </a:cubicBezTo>
                <a:cubicBezTo>
                  <a:pt x="243" y="175"/>
                  <a:pt x="290" y="159"/>
                  <a:pt x="322" y="159"/>
                </a:cubicBezTo>
                <a:cubicBezTo>
                  <a:pt x="370" y="159"/>
                  <a:pt x="418" y="190"/>
                  <a:pt x="449" y="222"/>
                </a:cubicBezTo>
                <a:cubicBezTo>
                  <a:pt x="1436" y="1447"/>
                  <a:pt x="1436" y="1447"/>
                  <a:pt x="1436" y="1447"/>
                </a:cubicBezTo>
                <a:cubicBezTo>
                  <a:pt x="1451" y="1463"/>
                  <a:pt x="1483" y="1479"/>
                  <a:pt x="1499" y="1479"/>
                </a:cubicBezTo>
                <a:cubicBezTo>
                  <a:pt x="1531" y="1479"/>
                  <a:pt x="1547" y="1463"/>
                  <a:pt x="1563" y="1447"/>
                </a:cubicBezTo>
                <a:cubicBezTo>
                  <a:pt x="2549" y="222"/>
                  <a:pt x="2549" y="222"/>
                  <a:pt x="2549" y="222"/>
                </a:cubicBezTo>
                <a:cubicBezTo>
                  <a:pt x="2581" y="190"/>
                  <a:pt x="2628" y="175"/>
                  <a:pt x="2660" y="159"/>
                </a:cubicBezTo>
                <a:cubicBezTo>
                  <a:pt x="2708" y="159"/>
                  <a:pt x="2755" y="175"/>
                  <a:pt x="2787" y="190"/>
                </a:cubicBezTo>
                <a:cubicBezTo>
                  <a:pt x="2819" y="222"/>
                  <a:pt x="2835" y="270"/>
                  <a:pt x="2851" y="302"/>
                </a:cubicBezTo>
                <a:cubicBezTo>
                  <a:pt x="2851" y="350"/>
                  <a:pt x="2835" y="398"/>
                  <a:pt x="2803" y="42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8" name="Freeform: Shape 17">
            <a:extLst>
              <a:ext uri="{FF2B5EF4-FFF2-40B4-BE49-F238E27FC236}">
                <a16:creationId xmlns:a16="http://schemas.microsoft.com/office/drawing/2014/main" id="{239E8014-C70A-5B44-A59E-4CC51FA904ED}"/>
              </a:ext>
            </a:extLst>
          </p:cNvPr>
          <p:cNvSpPr/>
          <p:nvPr/>
        </p:nvSpPr>
        <p:spPr>
          <a:xfrm>
            <a:off x="17583511" y="6613897"/>
            <a:ext cx="1248120" cy="1253880"/>
          </a:xfrm>
          <a:custGeom>
            <a:avLst/>
            <a:gdLst/>
            <a:ahLst/>
            <a:cxnLst>
              <a:cxn ang="3cd4">
                <a:pos x="hc" y="t"/>
              </a:cxn>
              <a:cxn ang="cd2">
                <a:pos x="l" y="vc"/>
              </a:cxn>
              <a:cxn ang="cd4">
                <a:pos x="hc" y="b"/>
              </a:cxn>
              <a:cxn ang="0">
                <a:pos x="r" y="vc"/>
              </a:cxn>
            </a:cxnLst>
            <a:rect l="l" t="t" r="r" b="b"/>
            <a:pathLst>
              <a:path w="3468" h="3484">
                <a:moveTo>
                  <a:pt x="1734" y="3484"/>
                </a:moveTo>
                <a:cubicBezTo>
                  <a:pt x="1909" y="3484"/>
                  <a:pt x="2052" y="3325"/>
                  <a:pt x="2052" y="3150"/>
                </a:cubicBezTo>
                <a:cubicBezTo>
                  <a:pt x="2052" y="2068"/>
                  <a:pt x="2052" y="2068"/>
                  <a:pt x="2052" y="2068"/>
                </a:cubicBezTo>
                <a:cubicBezTo>
                  <a:pt x="3150" y="2068"/>
                  <a:pt x="3150" y="2068"/>
                  <a:pt x="3150" y="2068"/>
                </a:cubicBezTo>
                <a:cubicBezTo>
                  <a:pt x="3324" y="2068"/>
                  <a:pt x="3468" y="1909"/>
                  <a:pt x="3468" y="1734"/>
                </a:cubicBezTo>
                <a:cubicBezTo>
                  <a:pt x="3468" y="1559"/>
                  <a:pt x="3324" y="1416"/>
                  <a:pt x="3150" y="1416"/>
                </a:cubicBezTo>
                <a:cubicBezTo>
                  <a:pt x="2052" y="1416"/>
                  <a:pt x="2052" y="1416"/>
                  <a:pt x="2052" y="1416"/>
                </a:cubicBezTo>
                <a:cubicBezTo>
                  <a:pt x="2052" y="319"/>
                  <a:pt x="2052" y="319"/>
                  <a:pt x="2052" y="319"/>
                </a:cubicBezTo>
                <a:cubicBezTo>
                  <a:pt x="2052" y="143"/>
                  <a:pt x="1909" y="0"/>
                  <a:pt x="1734" y="0"/>
                </a:cubicBezTo>
                <a:cubicBezTo>
                  <a:pt x="1559" y="0"/>
                  <a:pt x="1416" y="143"/>
                  <a:pt x="1416" y="319"/>
                </a:cubicBezTo>
                <a:cubicBezTo>
                  <a:pt x="1416" y="1416"/>
                  <a:pt x="1416" y="1416"/>
                  <a:pt x="1416" y="1416"/>
                </a:cubicBezTo>
                <a:cubicBezTo>
                  <a:pt x="318" y="1416"/>
                  <a:pt x="318" y="1416"/>
                  <a:pt x="318" y="1416"/>
                </a:cubicBezTo>
                <a:cubicBezTo>
                  <a:pt x="143" y="1416"/>
                  <a:pt x="0" y="1559"/>
                  <a:pt x="0" y="1734"/>
                </a:cubicBezTo>
                <a:cubicBezTo>
                  <a:pt x="0" y="1909"/>
                  <a:pt x="143" y="2068"/>
                  <a:pt x="318" y="2068"/>
                </a:cubicBezTo>
                <a:cubicBezTo>
                  <a:pt x="1416" y="2068"/>
                  <a:pt x="1416" y="2068"/>
                  <a:pt x="1416" y="2068"/>
                </a:cubicBezTo>
                <a:cubicBezTo>
                  <a:pt x="1416" y="3150"/>
                  <a:pt x="1416" y="3150"/>
                  <a:pt x="1416" y="3150"/>
                </a:cubicBezTo>
                <a:cubicBezTo>
                  <a:pt x="1416" y="3325"/>
                  <a:pt x="1559" y="3484"/>
                  <a:pt x="1734" y="3484"/>
                </a:cubicBezTo>
                <a:close/>
                <a:moveTo>
                  <a:pt x="318" y="1909"/>
                </a:moveTo>
                <a:cubicBezTo>
                  <a:pt x="223" y="1909"/>
                  <a:pt x="159" y="1830"/>
                  <a:pt x="159" y="1734"/>
                </a:cubicBezTo>
                <a:cubicBezTo>
                  <a:pt x="159" y="1655"/>
                  <a:pt x="223" y="1575"/>
                  <a:pt x="318" y="1575"/>
                </a:cubicBezTo>
                <a:cubicBezTo>
                  <a:pt x="1495" y="1575"/>
                  <a:pt x="1495" y="1575"/>
                  <a:pt x="1495" y="1575"/>
                </a:cubicBezTo>
                <a:cubicBezTo>
                  <a:pt x="1527" y="1575"/>
                  <a:pt x="1575" y="1543"/>
                  <a:pt x="1575" y="1496"/>
                </a:cubicBezTo>
                <a:cubicBezTo>
                  <a:pt x="1575" y="319"/>
                  <a:pt x="1575" y="319"/>
                  <a:pt x="1575" y="319"/>
                </a:cubicBezTo>
                <a:cubicBezTo>
                  <a:pt x="1575" y="239"/>
                  <a:pt x="1638" y="160"/>
                  <a:pt x="1734" y="160"/>
                </a:cubicBezTo>
                <a:cubicBezTo>
                  <a:pt x="1814" y="160"/>
                  <a:pt x="1893" y="239"/>
                  <a:pt x="1893" y="319"/>
                </a:cubicBezTo>
                <a:cubicBezTo>
                  <a:pt x="1893" y="1496"/>
                  <a:pt x="1893" y="1496"/>
                  <a:pt x="1893" y="1496"/>
                </a:cubicBezTo>
                <a:cubicBezTo>
                  <a:pt x="1893" y="1543"/>
                  <a:pt x="1925" y="1575"/>
                  <a:pt x="1972" y="1575"/>
                </a:cubicBezTo>
                <a:cubicBezTo>
                  <a:pt x="3150" y="1575"/>
                  <a:pt x="3150" y="1575"/>
                  <a:pt x="3150" y="1575"/>
                </a:cubicBezTo>
                <a:cubicBezTo>
                  <a:pt x="3245" y="1575"/>
                  <a:pt x="3308" y="1655"/>
                  <a:pt x="3308" y="1734"/>
                </a:cubicBezTo>
                <a:cubicBezTo>
                  <a:pt x="3308" y="1830"/>
                  <a:pt x="3245" y="1909"/>
                  <a:pt x="3150" y="1909"/>
                </a:cubicBezTo>
                <a:cubicBezTo>
                  <a:pt x="1972" y="1909"/>
                  <a:pt x="1972" y="1909"/>
                  <a:pt x="1972" y="1909"/>
                </a:cubicBezTo>
                <a:cubicBezTo>
                  <a:pt x="1925" y="1909"/>
                  <a:pt x="1893" y="1941"/>
                  <a:pt x="1893" y="1988"/>
                </a:cubicBezTo>
                <a:cubicBezTo>
                  <a:pt x="1893" y="3150"/>
                  <a:pt x="1893" y="3150"/>
                  <a:pt x="1893" y="3150"/>
                </a:cubicBezTo>
                <a:cubicBezTo>
                  <a:pt x="1893" y="3245"/>
                  <a:pt x="1814" y="3325"/>
                  <a:pt x="1734" y="3325"/>
                </a:cubicBezTo>
                <a:cubicBezTo>
                  <a:pt x="1638" y="3325"/>
                  <a:pt x="1575" y="3245"/>
                  <a:pt x="1575" y="3150"/>
                </a:cubicBezTo>
                <a:cubicBezTo>
                  <a:pt x="1575" y="1988"/>
                  <a:pt x="1575" y="1988"/>
                  <a:pt x="1575" y="1988"/>
                </a:cubicBezTo>
                <a:cubicBezTo>
                  <a:pt x="1575" y="1941"/>
                  <a:pt x="1527" y="1909"/>
                  <a:pt x="1495" y="19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9" name="Freeform: Shape 18">
            <a:extLst>
              <a:ext uri="{FF2B5EF4-FFF2-40B4-BE49-F238E27FC236}">
                <a16:creationId xmlns:a16="http://schemas.microsoft.com/office/drawing/2014/main" id="{C768CC95-D27F-8F48-B56C-701BC829B5F8}"/>
              </a:ext>
            </a:extLst>
          </p:cNvPr>
          <p:cNvSpPr/>
          <p:nvPr/>
        </p:nvSpPr>
        <p:spPr>
          <a:xfrm>
            <a:off x="21381675" y="7123657"/>
            <a:ext cx="1253520" cy="234360"/>
          </a:xfrm>
          <a:custGeom>
            <a:avLst/>
            <a:gdLst/>
            <a:ahLst/>
            <a:cxnLst>
              <a:cxn ang="3cd4">
                <a:pos x="hc" y="t"/>
              </a:cxn>
              <a:cxn ang="cd2">
                <a:pos x="l" y="vc"/>
              </a:cxn>
              <a:cxn ang="cd4">
                <a:pos x="hc" y="b"/>
              </a:cxn>
              <a:cxn ang="0">
                <a:pos x="r" y="vc"/>
              </a:cxn>
            </a:cxnLst>
            <a:rect l="l" t="t" r="r" b="b"/>
            <a:pathLst>
              <a:path w="3483" h="652">
                <a:moveTo>
                  <a:pt x="0" y="318"/>
                </a:moveTo>
                <a:cubicBezTo>
                  <a:pt x="0" y="493"/>
                  <a:pt x="143" y="652"/>
                  <a:pt x="334" y="652"/>
                </a:cubicBezTo>
                <a:cubicBezTo>
                  <a:pt x="3165" y="652"/>
                  <a:pt x="3165" y="652"/>
                  <a:pt x="3165" y="652"/>
                </a:cubicBezTo>
                <a:cubicBezTo>
                  <a:pt x="3340" y="652"/>
                  <a:pt x="3483" y="493"/>
                  <a:pt x="3483" y="318"/>
                </a:cubicBezTo>
                <a:cubicBezTo>
                  <a:pt x="3483" y="143"/>
                  <a:pt x="3340" y="0"/>
                  <a:pt x="3165" y="0"/>
                </a:cubicBezTo>
                <a:cubicBezTo>
                  <a:pt x="334" y="0"/>
                  <a:pt x="334" y="0"/>
                  <a:pt x="334" y="0"/>
                </a:cubicBezTo>
                <a:cubicBezTo>
                  <a:pt x="143" y="0"/>
                  <a:pt x="0" y="143"/>
                  <a:pt x="0" y="318"/>
                </a:cubicBezTo>
                <a:close/>
                <a:moveTo>
                  <a:pt x="3324" y="318"/>
                </a:moveTo>
                <a:cubicBezTo>
                  <a:pt x="3324" y="414"/>
                  <a:pt x="3245" y="493"/>
                  <a:pt x="3165" y="493"/>
                </a:cubicBezTo>
                <a:cubicBezTo>
                  <a:pt x="334" y="493"/>
                  <a:pt x="334" y="493"/>
                  <a:pt x="334" y="493"/>
                </a:cubicBezTo>
                <a:cubicBezTo>
                  <a:pt x="238" y="493"/>
                  <a:pt x="159" y="414"/>
                  <a:pt x="159" y="318"/>
                </a:cubicBezTo>
                <a:cubicBezTo>
                  <a:pt x="159" y="239"/>
                  <a:pt x="238" y="159"/>
                  <a:pt x="334" y="159"/>
                </a:cubicBezTo>
                <a:cubicBezTo>
                  <a:pt x="3165" y="159"/>
                  <a:pt x="3165" y="159"/>
                  <a:pt x="3165" y="159"/>
                </a:cubicBezTo>
                <a:cubicBezTo>
                  <a:pt x="3245" y="159"/>
                  <a:pt x="3324" y="239"/>
                  <a:pt x="3324" y="31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0" name="Freeform: Shape 19">
            <a:extLst>
              <a:ext uri="{FF2B5EF4-FFF2-40B4-BE49-F238E27FC236}">
                <a16:creationId xmlns:a16="http://schemas.microsoft.com/office/drawing/2014/main" id="{9164E99A-D375-0B42-ACD4-64A226A206E0}"/>
              </a:ext>
            </a:extLst>
          </p:cNvPr>
          <p:cNvSpPr/>
          <p:nvPr/>
        </p:nvSpPr>
        <p:spPr>
          <a:xfrm>
            <a:off x="2121557" y="6702339"/>
            <a:ext cx="1253520" cy="606600"/>
          </a:xfrm>
          <a:custGeom>
            <a:avLst/>
            <a:gdLst/>
            <a:ahLst/>
            <a:cxnLst>
              <a:cxn ang="3cd4">
                <a:pos x="hc" y="t"/>
              </a:cxn>
              <a:cxn ang="cd2">
                <a:pos x="l" y="vc"/>
              </a:cxn>
              <a:cxn ang="cd4">
                <a:pos x="hc" y="b"/>
              </a:cxn>
              <a:cxn ang="0">
                <a:pos x="r" y="vc"/>
              </a:cxn>
            </a:cxnLst>
            <a:rect l="l" t="t" r="r" b="b"/>
            <a:pathLst>
              <a:path w="3483" h="1686">
                <a:moveTo>
                  <a:pt x="318" y="652"/>
                </a:moveTo>
                <a:lnTo>
                  <a:pt x="3149" y="652"/>
                </a:lnTo>
                <a:cubicBezTo>
                  <a:pt x="3324" y="652"/>
                  <a:pt x="3483" y="509"/>
                  <a:pt x="3483" y="318"/>
                </a:cubicBezTo>
                <a:cubicBezTo>
                  <a:pt x="3483" y="143"/>
                  <a:pt x="3324" y="0"/>
                  <a:pt x="3149" y="0"/>
                </a:cubicBezTo>
                <a:lnTo>
                  <a:pt x="318" y="0"/>
                </a:lnTo>
                <a:cubicBezTo>
                  <a:pt x="143" y="0"/>
                  <a:pt x="0" y="143"/>
                  <a:pt x="0" y="318"/>
                </a:cubicBezTo>
                <a:cubicBezTo>
                  <a:pt x="0" y="509"/>
                  <a:pt x="143" y="652"/>
                  <a:pt x="318" y="652"/>
                </a:cubicBezTo>
                <a:close/>
                <a:moveTo>
                  <a:pt x="318" y="159"/>
                </a:moveTo>
                <a:lnTo>
                  <a:pt x="3149" y="159"/>
                </a:lnTo>
                <a:cubicBezTo>
                  <a:pt x="3244" y="159"/>
                  <a:pt x="3324" y="239"/>
                  <a:pt x="3324" y="318"/>
                </a:cubicBezTo>
                <a:cubicBezTo>
                  <a:pt x="3324" y="414"/>
                  <a:pt x="3244" y="493"/>
                  <a:pt x="3149" y="493"/>
                </a:cubicBezTo>
                <a:lnTo>
                  <a:pt x="318" y="493"/>
                </a:lnTo>
                <a:cubicBezTo>
                  <a:pt x="238" y="493"/>
                  <a:pt x="159" y="414"/>
                  <a:pt x="159" y="318"/>
                </a:cubicBezTo>
                <a:cubicBezTo>
                  <a:pt x="159" y="239"/>
                  <a:pt x="238" y="159"/>
                  <a:pt x="318" y="159"/>
                </a:cubicBezTo>
                <a:close/>
                <a:moveTo>
                  <a:pt x="318" y="1686"/>
                </a:moveTo>
                <a:lnTo>
                  <a:pt x="3149" y="1686"/>
                </a:lnTo>
                <a:cubicBezTo>
                  <a:pt x="3324" y="1686"/>
                  <a:pt x="3483" y="1543"/>
                  <a:pt x="3483" y="1368"/>
                </a:cubicBezTo>
                <a:cubicBezTo>
                  <a:pt x="3483" y="1193"/>
                  <a:pt x="3324" y="1050"/>
                  <a:pt x="3149" y="1050"/>
                </a:cubicBezTo>
                <a:lnTo>
                  <a:pt x="318" y="1050"/>
                </a:lnTo>
                <a:cubicBezTo>
                  <a:pt x="143" y="1050"/>
                  <a:pt x="0" y="1193"/>
                  <a:pt x="0" y="1368"/>
                </a:cubicBezTo>
                <a:cubicBezTo>
                  <a:pt x="0" y="1543"/>
                  <a:pt x="143" y="1686"/>
                  <a:pt x="318" y="1686"/>
                </a:cubicBezTo>
                <a:close/>
                <a:moveTo>
                  <a:pt x="318" y="1209"/>
                </a:moveTo>
                <a:lnTo>
                  <a:pt x="3149" y="1209"/>
                </a:lnTo>
                <a:cubicBezTo>
                  <a:pt x="3244" y="1209"/>
                  <a:pt x="3324" y="1288"/>
                  <a:pt x="3324" y="1368"/>
                </a:cubicBezTo>
                <a:cubicBezTo>
                  <a:pt x="3324" y="1463"/>
                  <a:pt x="3244" y="1527"/>
                  <a:pt x="3149" y="1527"/>
                </a:cubicBezTo>
                <a:lnTo>
                  <a:pt x="318" y="1527"/>
                </a:lnTo>
                <a:cubicBezTo>
                  <a:pt x="238" y="1527"/>
                  <a:pt x="159" y="1463"/>
                  <a:pt x="159" y="1368"/>
                </a:cubicBezTo>
                <a:cubicBezTo>
                  <a:pt x="159" y="1288"/>
                  <a:pt x="238" y="1209"/>
                  <a:pt x="318" y="12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1" name="Freeform: Shape 20">
            <a:extLst>
              <a:ext uri="{FF2B5EF4-FFF2-40B4-BE49-F238E27FC236}">
                <a16:creationId xmlns:a16="http://schemas.microsoft.com/office/drawing/2014/main" id="{1ACD3A83-C867-3741-8D43-F31F506A33BA}"/>
              </a:ext>
            </a:extLst>
          </p:cNvPr>
          <p:cNvSpPr/>
          <p:nvPr/>
        </p:nvSpPr>
        <p:spPr>
          <a:xfrm>
            <a:off x="5842360" y="3256951"/>
            <a:ext cx="1700280" cy="1700280"/>
          </a:xfrm>
          <a:custGeom>
            <a:avLst/>
            <a:gdLst/>
            <a:ahLst/>
            <a:cxnLst>
              <a:cxn ang="3cd4">
                <a:pos x="hc" y="t"/>
              </a:cxn>
              <a:cxn ang="cd2">
                <a:pos x="l" y="vc"/>
              </a:cxn>
              <a:cxn ang="cd4">
                <a:pos x="hc" y="b"/>
              </a:cxn>
              <a:cxn ang="0">
                <a:pos x="r" y="vc"/>
              </a:cxn>
            </a:cxnLst>
            <a:rect l="l" t="t" r="r" b="b"/>
            <a:pathLst>
              <a:path w="4724" h="4724">
                <a:moveTo>
                  <a:pt x="2370" y="0"/>
                </a:moveTo>
                <a:cubicBezTo>
                  <a:pt x="1066" y="0"/>
                  <a:pt x="0" y="1050"/>
                  <a:pt x="0" y="2354"/>
                </a:cubicBezTo>
                <a:cubicBezTo>
                  <a:pt x="0" y="3038"/>
                  <a:pt x="286" y="3690"/>
                  <a:pt x="811" y="4135"/>
                </a:cubicBezTo>
                <a:cubicBezTo>
                  <a:pt x="843" y="4168"/>
                  <a:pt x="891" y="4168"/>
                  <a:pt x="923" y="4120"/>
                </a:cubicBezTo>
                <a:cubicBezTo>
                  <a:pt x="938" y="4088"/>
                  <a:pt x="938" y="4040"/>
                  <a:pt x="906" y="4008"/>
                </a:cubicBezTo>
                <a:cubicBezTo>
                  <a:pt x="429" y="3595"/>
                  <a:pt x="159" y="2990"/>
                  <a:pt x="159" y="2354"/>
                </a:cubicBezTo>
                <a:cubicBezTo>
                  <a:pt x="159" y="1145"/>
                  <a:pt x="1145" y="159"/>
                  <a:pt x="2370" y="159"/>
                </a:cubicBezTo>
                <a:cubicBezTo>
                  <a:pt x="3578" y="159"/>
                  <a:pt x="4565" y="1145"/>
                  <a:pt x="4565" y="2354"/>
                </a:cubicBezTo>
                <a:cubicBezTo>
                  <a:pt x="4565" y="3579"/>
                  <a:pt x="3578" y="4565"/>
                  <a:pt x="2370" y="4565"/>
                </a:cubicBezTo>
                <a:cubicBezTo>
                  <a:pt x="2052" y="4565"/>
                  <a:pt x="1861" y="4501"/>
                  <a:pt x="1797" y="4390"/>
                </a:cubicBezTo>
                <a:cubicBezTo>
                  <a:pt x="1718" y="4247"/>
                  <a:pt x="1845" y="4008"/>
                  <a:pt x="1941" y="3834"/>
                </a:cubicBezTo>
                <a:cubicBezTo>
                  <a:pt x="2020" y="3865"/>
                  <a:pt x="2020" y="3865"/>
                  <a:pt x="2020" y="3865"/>
                </a:cubicBezTo>
                <a:cubicBezTo>
                  <a:pt x="2068" y="3881"/>
                  <a:pt x="2131" y="3897"/>
                  <a:pt x="2179" y="3897"/>
                </a:cubicBezTo>
                <a:cubicBezTo>
                  <a:pt x="2338" y="3897"/>
                  <a:pt x="2481" y="3802"/>
                  <a:pt x="2545" y="3659"/>
                </a:cubicBezTo>
                <a:cubicBezTo>
                  <a:pt x="2640" y="3452"/>
                  <a:pt x="2640" y="3452"/>
                  <a:pt x="2640" y="3452"/>
                </a:cubicBezTo>
                <a:cubicBezTo>
                  <a:pt x="2720" y="3261"/>
                  <a:pt x="2640" y="3022"/>
                  <a:pt x="2433" y="2927"/>
                </a:cubicBezTo>
                <a:cubicBezTo>
                  <a:pt x="2131" y="2799"/>
                  <a:pt x="2131" y="2799"/>
                  <a:pt x="2131" y="2799"/>
                </a:cubicBezTo>
                <a:cubicBezTo>
                  <a:pt x="2036" y="2752"/>
                  <a:pt x="2020" y="2450"/>
                  <a:pt x="2179" y="2068"/>
                </a:cubicBezTo>
                <a:cubicBezTo>
                  <a:pt x="2322" y="1781"/>
                  <a:pt x="2481" y="1607"/>
                  <a:pt x="2608" y="1559"/>
                </a:cubicBezTo>
                <a:cubicBezTo>
                  <a:pt x="2640" y="1543"/>
                  <a:pt x="2656" y="1543"/>
                  <a:pt x="2688" y="1559"/>
                </a:cubicBezTo>
                <a:cubicBezTo>
                  <a:pt x="2974" y="1686"/>
                  <a:pt x="2974" y="1686"/>
                  <a:pt x="2974" y="1686"/>
                </a:cubicBezTo>
                <a:cubicBezTo>
                  <a:pt x="3181" y="1781"/>
                  <a:pt x="3420" y="1686"/>
                  <a:pt x="3515" y="1480"/>
                </a:cubicBezTo>
                <a:cubicBezTo>
                  <a:pt x="3595" y="1289"/>
                  <a:pt x="3595" y="1289"/>
                  <a:pt x="3595" y="1289"/>
                </a:cubicBezTo>
                <a:cubicBezTo>
                  <a:pt x="3690" y="1082"/>
                  <a:pt x="3595" y="843"/>
                  <a:pt x="3388" y="748"/>
                </a:cubicBezTo>
                <a:cubicBezTo>
                  <a:pt x="3102" y="620"/>
                  <a:pt x="3102" y="620"/>
                  <a:pt x="3102" y="620"/>
                </a:cubicBezTo>
                <a:cubicBezTo>
                  <a:pt x="2672" y="430"/>
                  <a:pt x="2036" y="971"/>
                  <a:pt x="1638" y="1829"/>
                </a:cubicBezTo>
                <a:cubicBezTo>
                  <a:pt x="1257" y="2704"/>
                  <a:pt x="1288" y="3547"/>
                  <a:pt x="1718" y="3738"/>
                </a:cubicBezTo>
                <a:cubicBezTo>
                  <a:pt x="1797" y="3770"/>
                  <a:pt x="1797" y="3770"/>
                  <a:pt x="1797" y="3770"/>
                </a:cubicBezTo>
                <a:cubicBezTo>
                  <a:pt x="1686" y="3977"/>
                  <a:pt x="1543" y="4263"/>
                  <a:pt x="1670" y="4470"/>
                </a:cubicBezTo>
                <a:cubicBezTo>
                  <a:pt x="1765" y="4644"/>
                  <a:pt x="1988" y="4724"/>
                  <a:pt x="2370" y="4724"/>
                </a:cubicBezTo>
                <a:cubicBezTo>
                  <a:pt x="3658" y="4724"/>
                  <a:pt x="4724" y="3659"/>
                  <a:pt x="4724" y="2354"/>
                </a:cubicBezTo>
                <a:cubicBezTo>
                  <a:pt x="4724" y="1050"/>
                  <a:pt x="3658" y="0"/>
                  <a:pt x="2370" y="0"/>
                </a:cubicBezTo>
                <a:close/>
                <a:moveTo>
                  <a:pt x="1781" y="1909"/>
                </a:moveTo>
                <a:cubicBezTo>
                  <a:pt x="2131" y="1129"/>
                  <a:pt x="2688" y="620"/>
                  <a:pt x="3038" y="763"/>
                </a:cubicBezTo>
                <a:cubicBezTo>
                  <a:pt x="3324" y="891"/>
                  <a:pt x="3324" y="891"/>
                  <a:pt x="3324" y="891"/>
                </a:cubicBezTo>
                <a:cubicBezTo>
                  <a:pt x="3451" y="954"/>
                  <a:pt x="3515" y="1098"/>
                  <a:pt x="3451" y="1225"/>
                </a:cubicBezTo>
                <a:cubicBezTo>
                  <a:pt x="3372" y="1416"/>
                  <a:pt x="3372" y="1416"/>
                  <a:pt x="3372" y="1416"/>
                </a:cubicBezTo>
                <a:cubicBezTo>
                  <a:pt x="3308" y="1543"/>
                  <a:pt x="3165" y="1591"/>
                  <a:pt x="3038" y="1543"/>
                </a:cubicBezTo>
                <a:cubicBezTo>
                  <a:pt x="2751" y="1416"/>
                  <a:pt x="2751" y="1416"/>
                  <a:pt x="2751" y="1416"/>
                </a:cubicBezTo>
                <a:cubicBezTo>
                  <a:pt x="2688" y="1384"/>
                  <a:pt x="2624" y="1384"/>
                  <a:pt x="2545" y="1416"/>
                </a:cubicBezTo>
                <a:cubicBezTo>
                  <a:pt x="2370" y="1480"/>
                  <a:pt x="2179" y="1718"/>
                  <a:pt x="2036" y="2004"/>
                </a:cubicBezTo>
                <a:cubicBezTo>
                  <a:pt x="1845" y="2450"/>
                  <a:pt x="1861" y="2847"/>
                  <a:pt x="2068" y="2943"/>
                </a:cubicBezTo>
                <a:cubicBezTo>
                  <a:pt x="2370" y="3070"/>
                  <a:pt x="2370" y="3070"/>
                  <a:pt x="2370" y="3070"/>
                </a:cubicBezTo>
                <a:cubicBezTo>
                  <a:pt x="2497" y="3117"/>
                  <a:pt x="2545" y="3277"/>
                  <a:pt x="2497" y="3388"/>
                </a:cubicBezTo>
                <a:cubicBezTo>
                  <a:pt x="2402" y="3595"/>
                  <a:pt x="2402" y="3595"/>
                  <a:pt x="2402" y="3595"/>
                </a:cubicBezTo>
                <a:cubicBezTo>
                  <a:pt x="2354" y="3722"/>
                  <a:pt x="2211" y="3770"/>
                  <a:pt x="2084" y="3722"/>
                </a:cubicBezTo>
                <a:cubicBezTo>
                  <a:pt x="1781" y="3579"/>
                  <a:pt x="1781" y="3579"/>
                  <a:pt x="1781" y="3579"/>
                </a:cubicBezTo>
                <a:cubicBezTo>
                  <a:pt x="1447" y="3436"/>
                  <a:pt x="1447" y="2672"/>
                  <a:pt x="1781" y="19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2" name="Freeform: Shape 2">
            <a:extLst>
              <a:ext uri="{FF2B5EF4-FFF2-40B4-BE49-F238E27FC236}">
                <a16:creationId xmlns:a16="http://schemas.microsoft.com/office/drawing/2014/main" id="{C5FBEA99-B0BC-AB4A-A6AA-2CACD8A32335}"/>
              </a:ext>
            </a:extLst>
          </p:cNvPr>
          <p:cNvSpPr/>
          <p:nvPr/>
        </p:nvSpPr>
        <p:spPr>
          <a:xfrm>
            <a:off x="1934592" y="3195005"/>
            <a:ext cx="1643039" cy="1711800"/>
          </a:xfrm>
          <a:custGeom>
            <a:avLst/>
            <a:gdLst/>
            <a:ahLst/>
            <a:cxnLst>
              <a:cxn ang="3cd4">
                <a:pos x="hc" y="t"/>
              </a:cxn>
              <a:cxn ang="cd2">
                <a:pos x="l" y="vc"/>
              </a:cxn>
              <a:cxn ang="cd4">
                <a:pos x="hc" y="b"/>
              </a:cxn>
              <a:cxn ang="0">
                <a:pos x="r" y="vc"/>
              </a:cxn>
            </a:cxnLst>
            <a:rect l="l" t="t" r="r" b="b"/>
            <a:pathLst>
              <a:path w="4565" h="4756">
                <a:moveTo>
                  <a:pt x="3118" y="2179"/>
                </a:moveTo>
                <a:lnTo>
                  <a:pt x="3118" y="2307"/>
                </a:lnTo>
                <a:lnTo>
                  <a:pt x="3261" y="1447"/>
                </a:lnTo>
                <a:lnTo>
                  <a:pt x="3181" y="1845"/>
                </a:lnTo>
                <a:cubicBezTo>
                  <a:pt x="3181" y="1877"/>
                  <a:pt x="3149" y="1909"/>
                  <a:pt x="3118" y="1909"/>
                </a:cubicBezTo>
                <a:cubicBezTo>
                  <a:pt x="3102" y="1909"/>
                  <a:pt x="3086" y="1909"/>
                  <a:pt x="3070" y="1893"/>
                </a:cubicBezTo>
                <a:cubicBezTo>
                  <a:pt x="3102" y="1988"/>
                  <a:pt x="3118" y="2084"/>
                  <a:pt x="3118" y="2179"/>
                </a:cubicBezTo>
                <a:close/>
                <a:moveTo>
                  <a:pt x="2084" y="1368"/>
                </a:moveTo>
                <a:cubicBezTo>
                  <a:pt x="2163" y="1352"/>
                  <a:pt x="2227" y="1336"/>
                  <a:pt x="2306" y="1336"/>
                </a:cubicBezTo>
                <a:cubicBezTo>
                  <a:pt x="2529" y="1336"/>
                  <a:pt x="2736" y="1416"/>
                  <a:pt x="2879" y="1559"/>
                </a:cubicBezTo>
                <a:cubicBezTo>
                  <a:pt x="2688" y="1368"/>
                  <a:pt x="2386" y="1289"/>
                  <a:pt x="2084" y="1368"/>
                </a:cubicBezTo>
                <a:close/>
                <a:moveTo>
                  <a:pt x="2991" y="2752"/>
                </a:moveTo>
                <a:cubicBezTo>
                  <a:pt x="3022" y="2752"/>
                  <a:pt x="3054" y="2784"/>
                  <a:pt x="3054" y="2816"/>
                </a:cubicBezTo>
                <a:cubicBezTo>
                  <a:pt x="3054" y="2863"/>
                  <a:pt x="3070" y="2911"/>
                  <a:pt x="3070" y="2959"/>
                </a:cubicBezTo>
                <a:cubicBezTo>
                  <a:pt x="3054" y="2895"/>
                  <a:pt x="3054" y="2831"/>
                  <a:pt x="3054" y="2752"/>
                </a:cubicBezTo>
                <a:cubicBezTo>
                  <a:pt x="3054" y="2673"/>
                  <a:pt x="3070" y="2561"/>
                  <a:pt x="3086" y="2450"/>
                </a:cubicBezTo>
                <a:cubicBezTo>
                  <a:pt x="3054" y="2545"/>
                  <a:pt x="3022" y="2656"/>
                  <a:pt x="2958" y="2752"/>
                </a:cubicBezTo>
                <a:lnTo>
                  <a:pt x="2975" y="2752"/>
                </a:lnTo>
                <a:close/>
                <a:moveTo>
                  <a:pt x="2068" y="3325"/>
                </a:moveTo>
                <a:cubicBezTo>
                  <a:pt x="2131" y="3325"/>
                  <a:pt x="2211" y="3325"/>
                  <a:pt x="2275" y="3292"/>
                </a:cubicBezTo>
                <a:cubicBezTo>
                  <a:pt x="2211" y="3309"/>
                  <a:pt x="2148" y="3325"/>
                  <a:pt x="2084" y="3325"/>
                </a:cubicBezTo>
                <a:cubicBezTo>
                  <a:pt x="1591" y="3325"/>
                  <a:pt x="1273" y="2991"/>
                  <a:pt x="1273" y="2497"/>
                </a:cubicBezTo>
                <a:cubicBezTo>
                  <a:pt x="1273" y="2195"/>
                  <a:pt x="1368" y="1925"/>
                  <a:pt x="1543" y="1718"/>
                </a:cubicBezTo>
                <a:cubicBezTo>
                  <a:pt x="1368" y="1909"/>
                  <a:pt x="1257" y="2195"/>
                  <a:pt x="1257" y="2513"/>
                </a:cubicBezTo>
                <a:cubicBezTo>
                  <a:pt x="1257" y="2991"/>
                  <a:pt x="1591" y="3325"/>
                  <a:pt x="2068" y="3325"/>
                </a:cubicBezTo>
                <a:close/>
                <a:moveTo>
                  <a:pt x="0" y="2418"/>
                </a:moveTo>
                <a:cubicBezTo>
                  <a:pt x="0" y="3754"/>
                  <a:pt x="1002" y="4756"/>
                  <a:pt x="2339" y="4756"/>
                </a:cubicBezTo>
                <a:cubicBezTo>
                  <a:pt x="2863" y="4756"/>
                  <a:pt x="3309" y="4629"/>
                  <a:pt x="3706" y="4358"/>
                </a:cubicBezTo>
                <a:cubicBezTo>
                  <a:pt x="3754" y="4343"/>
                  <a:pt x="3754" y="4295"/>
                  <a:pt x="3738" y="4247"/>
                </a:cubicBezTo>
                <a:lnTo>
                  <a:pt x="3675" y="4152"/>
                </a:lnTo>
                <a:cubicBezTo>
                  <a:pt x="3643" y="4120"/>
                  <a:pt x="3595" y="4104"/>
                  <a:pt x="3563" y="4120"/>
                </a:cubicBezTo>
                <a:cubicBezTo>
                  <a:pt x="3197" y="4358"/>
                  <a:pt x="2800" y="4470"/>
                  <a:pt x="2354" y="4470"/>
                </a:cubicBezTo>
                <a:cubicBezTo>
                  <a:pt x="1145" y="4470"/>
                  <a:pt x="286" y="3611"/>
                  <a:pt x="286" y="2418"/>
                </a:cubicBezTo>
                <a:cubicBezTo>
                  <a:pt x="286" y="1225"/>
                  <a:pt x="1161" y="286"/>
                  <a:pt x="2306" y="286"/>
                </a:cubicBezTo>
                <a:cubicBezTo>
                  <a:pt x="3388" y="286"/>
                  <a:pt x="4279" y="1114"/>
                  <a:pt x="4279" y="2131"/>
                </a:cubicBezTo>
                <a:cubicBezTo>
                  <a:pt x="4279" y="2863"/>
                  <a:pt x="3929" y="3197"/>
                  <a:pt x="3595" y="3197"/>
                </a:cubicBezTo>
                <a:cubicBezTo>
                  <a:pt x="3340" y="3197"/>
                  <a:pt x="3213" y="3054"/>
                  <a:pt x="3213" y="2752"/>
                </a:cubicBezTo>
                <a:cubicBezTo>
                  <a:pt x="3213" y="2673"/>
                  <a:pt x="3229" y="2561"/>
                  <a:pt x="3245" y="2434"/>
                </a:cubicBezTo>
                <a:lnTo>
                  <a:pt x="3436" y="1400"/>
                </a:lnTo>
                <a:cubicBezTo>
                  <a:pt x="3436" y="1368"/>
                  <a:pt x="3436" y="1352"/>
                  <a:pt x="3420" y="1336"/>
                </a:cubicBezTo>
                <a:cubicBezTo>
                  <a:pt x="3404" y="1320"/>
                  <a:pt x="3388" y="1304"/>
                  <a:pt x="3372" y="1304"/>
                </a:cubicBezTo>
                <a:lnTo>
                  <a:pt x="3213" y="1273"/>
                </a:lnTo>
                <a:cubicBezTo>
                  <a:pt x="3166" y="1273"/>
                  <a:pt x="3134" y="1289"/>
                  <a:pt x="3118" y="1336"/>
                </a:cubicBezTo>
                <a:lnTo>
                  <a:pt x="3070" y="1559"/>
                </a:lnTo>
                <a:cubicBezTo>
                  <a:pt x="2911" y="1320"/>
                  <a:pt x="2640" y="1177"/>
                  <a:pt x="2306" y="1177"/>
                </a:cubicBezTo>
                <a:cubicBezTo>
                  <a:pt x="1718" y="1177"/>
                  <a:pt x="1098" y="1718"/>
                  <a:pt x="1098" y="2513"/>
                </a:cubicBezTo>
                <a:cubicBezTo>
                  <a:pt x="1098" y="3086"/>
                  <a:pt x="1495" y="3483"/>
                  <a:pt x="2068" y="3483"/>
                </a:cubicBezTo>
                <a:cubicBezTo>
                  <a:pt x="2402" y="3483"/>
                  <a:pt x="2704" y="3325"/>
                  <a:pt x="2927" y="3022"/>
                </a:cubicBezTo>
                <a:cubicBezTo>
                  <a:pt x="3022" y="3277"/>
                  <a:pt x="3213" y="3483"/>
                  <a:pt x="3595" y="3483"/>
                </a:cubicBezTo>
                <a:cubicBezTo>
                  <a:pt x="3993" y="3483"/>
                  <a:pt x="4565" y="3118"/>
                  <a:pt x="4565" y="2131"/>
                </a:cubicBezTo>
                <a:cubicBezTo>
                  <a:pt x="4565" y="955"/>
                  <a:pt x="3547" y="0"/>
                  <a:pt x="2306" y="0"/>
                </a:cubicBezTo>
                <a:cubicBezTo>
                  <a:pt x="1034" y="0"/>
                  <a:pt x="0" y="1082"/>
                  <a:pt x="0" y="2418"/>
                </a:cubicBezTo>
                <a:close/>
                <a:moveTo>
                  <a:pt x="1543" y="1718"/>
                </a:moveTo>
                <a:cubicBezTo>
                  <a:pt x="1368" y="1925"/>
                  <a:pt x="1273" y="2195"/>
                  <a:pt x="1273" y="2497"/>
                </a:cubicBezTo>
                <a:cubicBezTo>
                  <a:pt x="1273" y="2991"/>
                  <a:pt x="1591" y="3325"/>
                  <a:pt x="2084" y="3325"/>
                </a:cubicBezTo>
                <a:cubicBezTo>
                  <a:pt x="2148" y="3325"/>
                  <a:pt x="2211" y="3309"/>
                  <a:pt x="2275" y="3292"/>
                </a:cubicBezTo>
                <a:cubicBezTo>
                  <a:pt x="2211" y="3325"/>
                  <a:pt x="2131" y="3325"/>
                  <a:pt x="2068" y="3325"/>
                </a:cubicBezTo>
                <a:cubicBezTo>
                  <a:pt x="1591" y="3325"/>
                  <a:pt x="1257" y="2991"/>
                  <a:pt x="1257" y="2513"/>
                </a:cubicBezTo>
                <a:cubicBezTo>
                  <a:pt x="1257" y="2195"/>
                  <a:pt x="1368" y="1909"/>
                  <a:pt x="1543" y="1718"/>
                </a:cubicBezTo>
                <a:close/>
                <a:moveTo>
                  <a:pt x="2084" y="3165"/>
                </a:moveTo>
                <a:cubicBezTo>
                  <a:pt x="1670" y="3165"/>
                  <a:pt x="1432" y="2911"/>
                  <a:pt x="1432" y="2497"/>
                </a:cubicBezTo>
                <a:cubicBezTo>
                  <a:pt x="1432" y="1956"/>
                  <a:pt x="1830" y="1495"/>
                  <a:pt x="2306" y="1495"/>
                </a:cubicBezTo>
                <a:cubicBezTo>
                  <a:pt x="2688" y="1495"/>
                  <a:pt x="2958" y="1782"/>
                  <a:pt x="2958" y="2179"/>
                </a:cubicBezTo>
                <a:cubicBezTo>
                  <a:pt x="2958" y="2688"/>
                  <a:pt x="2545" y="3165"/>
                  <a:pt x="2084" y="3165"/>
                </a:cubicBezTo>
                <a:close/>
                <a:moveTo>
                  <a:pt x="2306" y="1336"/>
                </a:moveTo>
                <a:cubicBezTo>
                  <a:pt x="2227" y="1336"/>
                  <a:pt x="2163" y="1352"/>
                  <a:pt x="2084" y="1368"/>
                </a:cubicBezTo>
                <a:cubicBezTo>
                  <a:pt x="2386" y="1289"/>
                  <a:pt x="2688" y="1368"/>
                  <a:pt x="2879" y="1559"/>
                </a:cubicBezTo>
                <a:cubicBezTo>
                  <a:pt x="2736" y="1416"/>
                  <a:pt x="2529" y="1336"/>
                  <a:pt x="2306" y="1336"/>
                </a:cubicBezTo>
                <a:close/>
                <a:moveTo>
                  <a:pt x="3181" y="1845"/>
                </a:moveTo>
                <a:lnTo>
                  <a:pt x="3261" y="1447"/>
                </a:lnTo>
                <a:lnTo>
                  <a:pt x="3118" y="2307"/>
                </a:lnTo>
                <a:lnTo>
                  <a:pt x="3118" y="2179"/>
                </a:lnTo>
                <a:cubicBezTo>
                  <a:pt x="3118" y="2084"/>
                  <a:pt x="3102" y="1988"/>
                  <a:pt x="3070" y="1893"/>
                </a:cubicBezTo>
                <a:cubicBezTo>
                  <a:pt x="3086" y="1909"/>
                  <a:pt x="3102" y="1909"/>
                  <a:pt x="3118" y="1909"/>
                </a:cubicBezTo>
                <a:cubicBezTo>
                  <a:pt x="3149" y="1909"/>
                  <a:pt x="3181" y="1877"/>
                  <a:pt x="3181" y="1845"/>
                </a:cubicBezTo>
                <a:close/>
                <a:moveTo>
                  <a:pt x="3086" y="2450"/>
                </a:moveTo>
                <a:cubicBezTo>
                  <a:pt x="3070" y="2561"/>
                  <a:pt x="3054" y="2673"/>
                  <a:pt x="3054" y="2752"/>
                </a:cubicBezTo>
                <a:cubicBezTo>
                  <a:pt x="3054" y="2831"/>
                  <a:pt x="3054" y="2895"/>
                  <a:pt x="3070" y="2959"/>
                </a:cubicBezTo>
                <a:cubicBezTo>
                  <a:pt x="3070" y="2911"/>
                  <a:pt x="3054" y="2863"/>
                  <a:pt x="3054" y="2816"/>
                </a:cubicBezTo>
                <a:cubicBezTo>
                  <a:pt x="3054" y="2784"/>
                  <a:pt x="3022" y="2752"/>
                  <a:pt x="2991" y="2752"/>
                </a:cubicBezTo>
                <a:lnTo>
                  <a:pt x="2975" y="2752"/>
                </a:lnTo>
                <a:lnTo>
                  <a:pt x="2958" y="2752"/>
                </a:lnTo>
                <a:cubicBezTo>
                  <a:pt x="3022" y="2656"/>
                  <a:pt x="3054" y="2545"/>
                  <a:pt x="3086" y="245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3" name="TextBox 112">
            <a:extLst>
              <a:ext uri="{FF2B5EF4-FFF2-40B4-BE49-F238E27FC236}">
                <a16:creationId xmlns:a16="http://schemas.microsoft.com/office/drawing/2014/main" id="{359F6FCB-A757-5B49-B89E-66949A6486C6}"/>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hare</a:t>
            </a:r>
          </a:p>
        </p:txBody>
      </p:sp>
      <p:sp>
        <p:nvSpPr>
          <p:cNvPr id="114" name="TextBox 113">
            <a:extLst>
              <a:ext uri="{FF2B5EF4-FFF2-40B4-BE49-F238E27FC236}">
                <a16:creationId xmlns:a16="http://schemas.microsoft.com/office/drawing/2014/main" id="{D7C7CF86-B312-F342-95B1-701F337FC97F}"/>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Network</a:t>
            </a:r>
          </a:p>
        </p:txBody>
      </p:sp>
      <p:sp>
        <p:nvSpPr>
          <p:cNvPr id="115" name="TextBox 114">
            <a:extLst>
              <a:ext uri="{FF2B5EF4-FFF2-40B4-BE49-F238E27FC236}">
                <a16:creationId xmlns:a16="http://schemas.microsoft.com/office/drawing/2014/main" id="{D7A4D820-1E38-5E4D-B1EF-B02AE1D527E7}"/>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istribute</a:t>
            </a:r>
          </a:p>
        </p:txBody>
      </p:sp>
      <p:sp>
        <p:nvSpPr>
          <p:cNvPr id="116" name="Freeform: Shape 8">
            <a:extLst>
              <a:ext uri="{FF2B5EF4-FFF2-40B4-BE49-F238E27FC236}">
                <a16:creationId xmlns:a16="http://schemas.microsoft.com/office/drawing/2014/main" id="{D46A4632-DD43-D04E-B027-1FA2681B223D}"/>
              </a:ext>
            </a:extLst>
          </p:cNvPr>
          <p:cNvSpPr/>
          <p:nvPr/>
        </p:nvSpPr>
        <p:spPr>
          <a:xfrm>
            <a:off x="14006512" y="9804381"/>
            <a:ext cx="1540080" cy="1356840"/>
          </a:xfrm>
          <a:custGeom>
            <a:avLst/>
            <a:gdLst/>
            <a:ahLst/>
            <a:cxnLst>
              <a:cxn ang="3cd4">
                <a:pos x="hc" y="t"/>
              </a:cxn>
              <a:cxn ang="cd2">
                <a:pos x="l" y="vc"/>
              </a:cxn>
              <a:cxn ang="cd4">
                <a:pos x="hc" y="b"/>
              </a:cxn>
              <a:cxn ang="0">
                <a:pos x="r" y="vc"/>
              </a:cxn>
            </a:cxnLst>
            <a:rect l="l" t="t" r="r" b="b"/>
            <a:pathLst>
              <a:path w="4279" h="3770">
                <a:moveTo>
                  <a:pt x="2959" y="3770"/>
                </a:moveTo>
                <a:cubicBezTo>
                  <a:pt x="4199" y="3770"/>
                  <a:pt x="4199" y="3770"/>
                  <a:pt x="4199" y="3770"/>
                </a:cubicBezTo>
                <a:cubicBezTo>
                  <a:pt x="4247" y="3770"/>
                  <a:pt x="4279" y="3722"/>
                  <a:pt x="4279" y="3690"/>
                </a:cubicBezTo>
                <a:cubicBezTo>
                  <a:pt x="4279" y="2434"/>
                  <a:pt x="4279" y="2434"/>
                  <a:pt x="4279" y="2434"/>
                </a:cubicBezTo>
                <a:cubicBezTo>
                  <a:pt x="4279" y="2386"/>
                  <a:pt x="4247" y="2354"/>
                  <a:pt x="4199" y="2354"/>
                </a:cubicBezTo>
                <a:cubicBezTo>
                  <a:pt x="2959" y="2354"/>
                  <a:pt x="2959" y="2354"/>
                  <a:pt x="2959" y="2354"/>
                </a:cubicBezTo>
                <a:cubicBezTo>
                  <a:pt x="2911" y="2354"/>
                  <a:pt x="2880" y="2386"/>
                  <a:pt x="2880" y="2434"/>
                </a:cubicBezTo>
                <a:cubicBezTo>
                  <a:pt x="2880" y="2799"/>
                  <a:pt x="2880" y="2799"/>
                  <a:pt x="2880" y="2799"/>
                </a:cubicBezTo>
                <a:cubicBezTo>
                  <a:pt x="1321" y="2036"/>
                  <a:pt x="1321" y="2036"/>
                  <a:pt x="1321" y="2036"/>
                </a:cubicBezTo>
                <a:cubicBezTo>
                  <a:pt x="1336" y="1989"/>
                  <a:pt x="1353" y="1909"/>
                  <a:pt x="1353" y="1845"/>
                </a:cubicBezTo>
                <a:cubicBezTo>
                  <a:pt x="1353" y="1781"/>
                  <a:pt x="1336" y="1718"/>
                  <a:pt x="1321" y="1654"/>
                </a:cubicBezTo>
                <a:cubicBezTo>
                  <a:pt x="2880" y="939"/>
                  <a:pt x="2880" y="939"/>
                  <a:pt x="2880" y="939"/>
                </a:cubicBezTo>
                <a:cubicBezTo>
                  <a:pt x="2880" y="1336"/>
                  <a:pt x="2880" y="1336"/>
                  <a:pt x="2880" y="1336"/>
                </a:cubicBezTo>
                <a:cubicBezTo>
                  <a:pt x="2880" y="1384"/>
                  <a:pt x="2911" y="1416"/>
                  <a:pt x="2959" y="1416"/>
                </a:cubicBezTo>
                <a:cubicBezTo>
                  <a:pt x="4199" y="1416"/>
                  <a:pt x="4199" y="1416"/>
                  <a:pt x="4199" y="1416"/>
                </a:cubicBezTo>
                <a:cubicBezTo>
                  <a:pt x="4247" y="1416"/>
                  <a:pt x="4279" y="1384"/>
                  <a:pt x="4279" y="1336"/>
                </a:cubicBezTo>
                <a:cubicBezTo>
                  <a:pt x="4279" y="80"/>
                  <a:pt x="4279" y="80"/>
                  <a:pt x="4279" y="80"/>
                </a:cubicBezTo>
                <a:cubicBezTo>
                  <a:pt x="4279" y="32"/>
                  <a:pt x="4247" y="0"/>
                  <a:pt x="4199" y="0"/>
                </a:cubicBezTo>
                <a:cubicBezTo>
                  <a:pt x="2959" y="0"/>
                  <a:pt x="2959" y="0"/>
                  <a:pt x="2959" y="0"/>
                </a:cubicBezTo>
                <a:cubicBezTo>
                  <a:pt x="2911" y="0"/>
                  <a:pt x="2880" y="32"/>
                  <a:pt x="2880" y="80"/>
                </a:cubicBezTo>
                <a:cubicBezTo>
                  <a:pt x="2880" y="763"/>
                  <a:pt x="2880" y="763"/>
                  <a:pt x="2880" y="763"/>
                </a:cubicBezTo>
                <a:cubicBezTo>
                  <a:pt x="1257" y="1511"/>
                  <a:pt x="1257" y="1511"/>
                  <a:pt x="1257" y="1511"/>
                </a:cubicBezTo>
                <a:cubicBezTo>
                  <a:pt x="1146" y="1305"/>
                  <a:pt x="923" y="1177"/>
                  <a:pt x="684" y="1177"/>
                </a:cubicBezTo>
                <a:cubicBezTo>
                  <a:pt x="303" y="1177"/>
                  <a:pt x="0" y="1480"/>
                  <a:pt x="0" y="1845"/>
                </a:cubicBezTo>
                <a:cubicBezTo>
                  <a:pt x="0" y="2227"/>
                  <a:pt x="303" y="2529"/>
                  <a:pt x="684" y="2529"/>
                </a:cubicBezTo>
                <a:cubicBezTo>
                  <a:pt x="923" y="2529"/>
                  <a:pt x="1146" y="2386"/>
                  <a:pt x="1257" y="2195"/>
                </a:cubicBezTo>
                <a:cubicBezTo>
                  <a:pt x="2880" y="2974"/>
                  <a:pt x="2880" y="2974"/>
                  <a:pt x="2880" y="2974"/>
                </a:cubicBezTo>
                <a:cubicBezTo>
                  <a:pt x="2880" y="3690"/>
                  <a:pt x="2880" y="3690"/>
                  <a:pt x="2880" y="3690"/>
                </a:cubicBezTo>
                <a:cubicBezTo>
                  <a:pt x="2880" y="3722"/>
                  <a:pt x="2911" y="3770"/>
                  <a:pt x="2959" y="3770"/>
                </a:cubicBezTo>
                <a:close/>
                <a:moveTo>
                  <a:pt x="4120" y="159"/>
                </a:moveTo>
                <a:cubicBezTo>
                  <a:pt x="4120" y="1257"/>
                  <a:pt x="4120" y="1257"/>
                  <a:pt x="4120" y="1257"/>
                </a:cubicBezTo>
                <a:cubicBezTo>
                  <a:pt x="3038" y="1257"/>
                  <a:pt x="3038" y="1257"/>
                  <a:pt x="3038" y="1257"/>
                </a:cubicBezTo>
                <a:cubicBezTo>
                  <a:pt x="3038" y="859"/>
                  <a:pt x="3038" y="859"/>
                  <a:pt x="3038" y="859"/>
                </a:cubicBezTo>
                <a:cubicBezTo>
                  <a:pt x="3054" y="827"/>
                  <a:pt x="3054" y="796"/>
                  <a:pt x="3038" y="780"/>
                </a:cubicBezTo>
                <a:cubicBezTo>
                  <a:pt x="3038" y="763"/>
                  <a:pt x="3038" y="763"/>
                  <a:pt x="3038" y="763"/>
                </a:cubicBezTo>
                <a:cubicBezTo>
                  <a:pt x="3038" y="159"/>
                  <a:pt x="3038" y="159"/>
                  <a:pt x="3038" y="159"/>
                </a:cubicBezTo>
                <a:close/>
                <a:moveTo>
                  <a:pt x="684" y="2370"/>
                </a:moveTo>
                <a:cubicBezTo>
                  <a:pt x="398" y="2370"/>
                  <a:pt x="160" y="2132"/>
                  <a:pt x="160" y="1845"/>
                </a:cubicBezTo>
                <a:cubicBezTo>
                  <a:pt x="160" y="1559"/>
                  <a:pt x="398" y="1336"/>
                  <a:pt x="684" y="1336"/>
                </a:cubicBezTo>
                <a:cubicBezTo>
                  <a:pt x="971" y="1336"/>
                  <a:pt x="1193" y="1559"/>
                  <a:pt x="1193" y="1845"/>
                </a:cubicBezTo>
                <a:cubicBezTo>
                  <a:pt x="1193" y="1909"/>
                  <a:pt x="1193" y="1957"/>
                  <a:pt x="1162" y="2004"/>
                </a:cubicBezTo>
                <a:cubicBezTo>
                  <a:pt x="1162" y="2020"/>
                  <a:pt x="1146" y="2036"/>
                  <a:pt x="1146" y="2036"/>
                </a:cubicBezTo>
                <a:cubicBezTo>
                  <a:pt x="1130" y="2052"/>
                  <a:pt x="1130" y="2068"/>
                  <a:pt x="1130" y="2084"/>
                </a:cubicBezTo>
                <a:cubicBezTo>
                  <a:pt x="1050" y="2259"/>
                  <a:pt x="875" y="2370"/>
                  <a:pt x="684" y="2370"/>
                </a:cubicBezTo>
                <a:close/>
                <a:moveTo>
                  <a:pt x="3038" y="2513"/>
                </a:moveTo>
                <a:cubicBezTo>
                  <a:pt x="4120" y="2513"/>
                  <a:pt x="4120" y="2513"/>
                  <a:pt x="4120" y="2513"/>
                </a:cubicBezTo>
                <a:cubicBezTo>
                  <a:pt x="4120" y="3611"/>
                  <a:pt x="4120" y="3611"/>
                  <a:pt x="4120" y="3611"/>
                </a:cubicBezTo>
                <a:cubicBezTo>
                  <a:pt x="3038" y="3611"/>
                  <a:pt x="3038" y="3611"/>
                  <a:pt x="3038" y="361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7" name="Freeform: Shape 9">
            <a:extLst>
              <a:ext uri="{FF2B5EF4-FFF2-40B4-BE49-F238E27FC236}">
                <a16:creationId xmlns:a16="http://schemas.microsoft.com/office/drawing/2014/main" id="{1D87384E-F148-634A-AC32-EE29A9AA0E2A}"/>
              </a:ext>
            </a:extLst>
          </p:cNvPr>
          <p:cNvSpPr/>
          <p:nvPr/>
        </p:nvSpPr>
        <p:spPr>
          <a:xfrm>
            <a:off x="17414760" y="9689900"/>
            <a:ext cx="1700280" cy="1585800"/>
          </a:xfrm>
          <a:custGeom>
            <a:avLst/>
            <a:gdLst/>
            <a:ahLst/>
            <a:cxnLst>
              <a:cxn ang="3cd4">
                <a:pos x="hc" y="t"/>
              </a:cxn>
              <a:cxn ang="cd2">
                <a:pos x="l" y="vc"/>
              </a:cxn>
              <a:cxn ang="cd4">
                <a:pos x="hc" y="b"/>
              </a:cxn>
              <a:cxn ang="0">
                <a:pos x="r" y="vc"/>
              </a:cxn>
            </a:cxnLst>
            <a:rect l="l" t="t" r="r" b="b"/>
            <a:pathLst>
              <a:path w="4724" h="4406">
                <a:moveTo>
                  <a:pt x="1352" y="2211"/>
                </a:moveTo>
                <a:cubicBezTo>
                  <a:pt x="1352" y="1829"/>
                  <a:pt x="1049" y="1527"/>
                  <a:pt x="683" y="1527"/>
                </a:cubicBezTo>
                <a:cubicBezTo>
                  <a:pt x="302" y="1527"/>
                  <a:pt x="0" y="1829"/>
                  <a:pt x="0" y="2211"/>
                </a:cubicBezTo>
                <a:cubicBezTo>
                  <a:pt x="0" y="2577"/>
                  <a:pt x="302" y="2879"/>
                  <a:pt x="683" y="2879"/>
                </a:cubicBezTo>
                <a:cubicBezTo>
                  <a:pt x="1049" y="2879"/>
                  <a:pt x="1352" y="2577"/>
                  <a:pt x="1352" y="2211"/>
                </a:cubicBezTo>
                <a:close/>
                <a:moveTo>
                  <a:pt x="683" y="2720"/>
                </a:moveTo>
                <a:cubicBezTo>
                  <a:pt x="397" y="2720"/>
                  <a:pt x="159" y="2497"/>
                  <a:pt x="159" y="2211"/>
                </a:cubicBezTo>
                <a:cubicBezTo>
                  <a:pt x="159" y="1925"/>
                  <a:pt x="397" y="1686"/>
                  <a:pt x="683" y="1686"/>
                </a:cubicBezTo>
                <a:cubicBezTo>
                  <a:pt x="970" y="1686"/>
                  <a:pt x="1192" y="1925"/>
                  <a:pt x="1192" y="2211"/>
                </a:cubicBezTo>
                <a:cubicBezTo>
                  <a:pt x="1192" y="2497"/>
                  <a:pt x="970" y="2720"/>
                  <a:pt x="683" y="2720"/>
                </a:cubicBezTo>
                <a:close/>
                <a:moveTo>
                  <a:pt x="4199" y="1686"/>
                </a:moveTo>
                <a:cubicBezTo>
                  <a:pt x="3912" y="1686"/>
                  <a:pt x="3674" y="1925"/>
                  <a:pt x="3674" y="2211"/>
                </a:cubicBezTo>
                <a:cubicBezTo>
                  <a:pt x="3674" y="2497"/>
                  <a:pt x="3912" y="2720"/>
                  <a:pt x="4199" y="2720"/>
                </a:cubicBezTo>
                <a:cubicBezTo>
                  <a:pt x="4485" y="2720"/>
                  <a:pt x="4724" y="2497"/>
                  <a:pt x="4724" y="2211"/>
                </a:cubicBezTo>
                <a:cubicBezTo>
                  <a:pt x="4724" y="1925"/>
                  <a:pt x="4485" y="1686"/>
                  <a:pt x="4199" y="1686"/>
                </a:cubicBezTo>
                <a:close/>
                <a:moveTo>
                  <a:pt x="4199" y="2561"/>
                </a:moveTo>
                <a:cubicBezTo>
                  <a:pt x="4008" y="2561"/>
                  <a:pt x="3833" y="2402"/>
                  <a:pt x="3833" y="2211"/>
                </a:cubicBezTo>
                <a:cubicBezTo>
                  <a:pt x="3833" y="2004"/>
                  <a:pt x="4008" y="1845"/>
                  <a:pt x="4199" y="1845"/>
                </a:cubicBezTo>
                <a:cubicBezTo>
                  <a:pt x="4406" y="1845"/>
                  <a:pt x="4564" y="2004"/>
                  <a:pt x="4564" y="2211"/>
                </a:cubicBezTo>
                <a:cubicBezTo>
                  <a:pt x="4564" y="2402"/>
                  <a:pt x="4406" y="2561"/>
                  <a:pt x="4199" y="2561"/>
                </a:cubicBezTo>
                <a:close/>
                <a:moveTo>
                  <a:pt x="4263" y="509"/>
                </a:moveTo>
                <a:cubicBezTo>
                  <a:pt x="4263" y="223"/>
                  <a:pt x="4024" y="0"/>
                  <a:pt x="3737" y="0"/>
                </a:cubicBezTo>
                <a:cubicBezTo>
                  <a:pt x="3451" y="0"/>
                  <a:pt x="3213" y="223"/>
                  <a:pt x="3213" y="509"/>
                </a:cubicBezTo>
                <a:cubicBezTo>
                  <a:pt x="3213" y="795"/>
                  <a:pt x="3451" y="1034"/>
                  <a:pt x="3737" y="1034"/>
                </a:cubicBezTo>
                <a:cubicBezTo>
                  <a:pt x="4024" y="1034"/>
                  <a:pt x="4263" y="795"/>
                  <a:pt x="4263" y="509"/>
                </a:cubicBezTo>
                <a:close/>
                <a:moveTo>
                  <a:pt x="3372" y="509"/>
                </a:moveTo>
                <a:cubicBezTo>
                  <a:pt x="3372" y="318"/>
                  <a:pt x="3546" y="159"/>
                  <a:pt x="3737" y="159"/>
                </a:cubicBezTo>
                <a:cubicBezTo>
                  <a:pt x="3944" y="159"/>
                  <a:pt x="4103" y="318"/>
                  <a:pt x="4103" y="509"/>
                </a:cubicBezTo>
                <a:cubicBezTo>
                  <a:pt x="4103" y="716"/>
                  <a:pt x="3944" y="875"/>
                  <a:pt x="3737" y="875"/>
                </a:cubicBezTo>
                <a:cubicBezTo>
                  <a:pt x="3546" y="875"/>
                  <a:pt x="3372" y="716"/>
                  <a:pt x="3372" y="509"/>
                </a:cubicBezTo>
                <a:close/>
                <a:moveTo>
                  <a:pt x="4263" y="3881"/>
                </a:moveTo>
                <a:cubicBezTo>
                  <a:pt x="4263" y="3595"/>
                  <a:pt x="4024" y="3372"/>
                  <a:pt x="3737" y="3372"/>
                </a:cubicBezTo>
                <a:cubicBezTo>
                  <a:pt x="3451" y="3372"/>
                  <a:pt x="3213" y="3595"/>
                  <a:pt x="3213" y="3881"/>
                </a:cubicBezTo>
                <a:cubicBezTo>
                  <a:pt x="3213" y="4167"/>
                  <a:pt x="3451" y="4406"/>
                  <a:pt x="3737" y="4406"/>
                </a:cubicBezTo>
                <a:cubicBezTo>
                  <a:pt x="4024" y="4406"/>
                  <a:pt x="4263" y="4167"/>
                  <a:pt x="4263" y="3881"/>
                </a:cubicBezTo>
                <a:close/>
                <a:moveTo>
                  <a:pt x="3737" y="4247"/>
                </a:moveTo>
                <a:cubicBezTo>
                  <a:pt x="3546" y="4247"/>
                  <a:pt x="3372" y="4088"/>
                  <a:pt x="3372" y="3881"/>
                </a:cubicBezTo>
                <a:cubicBezTo>
                  <a:pt x="3372" y="3690"/>
                  <a:pt x="3546" y="3531"/>
                  <a:pt x="3737" y="3531"/>
                </a:cubicBezTo>
                <a:cubicBezTo>
                  <a:pt x="3944" y="3531"/>
                  <a:pt x="4103" y="3690"/>
                  <a:pt x="4103" y="3881"/>
                </a:cubicBezTo>
                <a:cubicBezTo>
                  <a:pt x="4103" y="4088"/>
                  <a:pt x="3944" y="4247"/>
                  <a:pt x="3737" y="4247"/>
                </a:cubicBezTo>
                <a:close/>
                <a:moveTo>
                  <a:pt x="2147" y="2959"/>
                </a:moveTo>
                <a:cubicBezTo>
                  <a:pt x="2115" y="3006"/>
                  <a:pt x="2131" y="3054"/>
                  <a:pt x="2163" y="3070"/>
                </a:cubicBezTo>
                <a:lnTo>
                  <a:pt x="2385" y="3197"/>
                </a:lnTo>
                <a:lnTo>
                  <a:pt x="2418" y="3197"/>
                </a:lnTo>
                <a:cubicBezTo>
                  <a:pt x="2449" y="3197"/>
                  <a:pt x="2481" y="3181"/>
                  <a:pt x="2481" y="3165"/>
                </a:cubicBezTo>
                <a:cubicBezTo>
                  <a:pt x="2513" y="3134"/>
                  <a:pt x="2497" y="3070"/>
                  <a:pt x="2465" y="3054"/>
                </a:cubicBezTo>
                <a:lnTo>
                  <a:pt x="2258" y="2927"/>
                </a:lnTo>
                <a:cubicBezTo>
                  <a:pt x="2210" y="2911"/>
                  <a:pt x="2163" y="2927"/>
                  <a:pt x="2147" y="2959"/>
                </a:cubicBezTo>
                <a:close/>
                <a:moveTo>
                  <a:pt x="1511" y="2593"/>
                </a:moveTo>
                <a:cubicBezTo>
                  <a:pt x="1495" y="2640"/>
                  <a:pt x="1511" y="2688"/>
                  <a:pt x="1543" y="2704"/>
                </a:cubicBezTo>
                <a:lnTo>
                  <a:pt x="1749" y="2831"/>
                </a:lnTo>
                <a:lnTo>
                  <a:pt x="1797" y="2831"/>
                </a:lnTo>
                <a:cubicBezTo>
                  <a:pt x="1813" y="2831"/>
                  <a:pt x="1845" y="2816"/>
                  <a:pt x="1861" y="2799"/>
                </a:cubicBezTo>
                <a:cubicBezTo>
                  <a:pt x="1876" y="2768"/>
                  <a:pt x="1876" y="2704"/>
                  <a:pt x="1829" y="2688"/>
                </a:cubicBezTo>
                <a:lnTo>
                  <a:pt x="1622" y="2561"/>
                </a:lnTo>
                <a:cubicBezTo>
                  <a:pt x="1590" y="2545"/>
                  <a:pt x="1543" y="2561"/>
                  <a:pt x="1511" y="2593"/>
                </a:cubicBezTo>
                <a:close/>
                <a:moveTo>
                  <a:pt x="2767" y="3325"/>
                </a:moveTo>
                <a:cubicBezTo>
                  <a:pt x="2751" y="3372"/>
                  <a:pt x="2767" y="3420"/>
                  <a:pt x="2799" y="3436"/>
                </a:cubicBezTo>
                <a:lnTo>
                  <a:pt x="3006" y="3563"/>
                </a:lnTo>
                <a:lnTo>
                  <a:pt x="3054" y="3563"/>
                </a:lnTo>
                <a:cubicBezTo>
                  <a:pt x="3070" y="3563"/>
                  <a:pt x="3101" y="3547"/>
                  <a:pt x="3117" y="3531"/>
                </a:cubicBezTo>
                <a:cubicBezTo>
                  <a:pt x="3133" y="3499"/>
                  <a:pt x="3133" y="3436"/>
                  <a:pt x="3085" y="3420"/>
                </a:cubicBezTo>
                <a:lnTo>
                  <a:pt x="2879" y="3292"/>
                </a:lnTo>
                <a:cubicBezTo>
                  <a:pt x="2847" y="3277"/>
                  <a:pt x="2799" y="3292"/>
                  <a:pt x="2767" y="3325"/>
                </a:cubicBezTo>
                <a:close/>
                <a:moveTo>
                  <a:pt x="1782" y="1543"/>
                </a:moveTo>
                <a:lnTo>
                  <a:pt x="1575" y="1670"/>
                </a:lnTo>
                <a:cubicBezTo>
                  <a:pt x="1528" y="1686"/>
                  <a:pt x="1512" y="1734"/>
                  <a:pt x="1544" y="1781"/>
                </a:cubicBezTo>
                <a:cubicBezTo>
                  <a:pt x="1559" y="1798"/>
                  <a:pt x="1575" y="1813"/>
                  <a:pt x="1607" y="1813"/>
                </a:cubicBezTo>
                <a:lnTo>
                  <a:pt x="1639" y="1813"/>
                </a:lnTo>
                <a:lnTo>
                  <a:pt x="1862" y="1686"/>
                </a:lnTo>
                <a:cubicBezTo>
                  <a:pt x="1893" y="1670"/>
                  <a:pt x="1910" y="1623"/>
                  <a:pt x="1893" y="1575"/>
                </a:cubicBezTo>
                <a:cubicBezTo>
                  <a:pt x="1862" y="1543"/>
                  <a:pt x="1814" y="1527"/>
                  <a:pt x="1782" y="1543"/>
                </a:cubicBezTo>
                <a:close/>
                <a:moveTo>
                  <a:pt x="2419" y="1193"/>
                </a:moveTo>
                <a:lnTo>
                  <a:pt x="2211" y="1320"/>
                </a:lnTo>
                <a:cubicBezTo>
                  <a:pt x="2164" y="1336"/>
                  <a:pt x="2148" y="1384"/>
                  <a:pt x="2180" y="1416"/>
                </a:cubicBezTo>
                <a:cubicBezTo>
                  <a:pt x="2196" y="1447"/>
                  <a:pt x="2211" y="1463"/>
                  <a:pt x="2243" y="1463"/>
                </a:cubicBezTo>
                <a:cubicBezTo>
                  <a:pt x="2259" y="1463"/>
                  <a:pt x="2275" y="1463"/>
                  <a:pt x="2275" y="1447"/>
                </a:cubicBezTo>
                <a:lnTo>
                  <a:pt x="2498" y="1336"/>
                </a:lnTo>
                <a:cubicBezTo>
                  <a:pt x="2529" y="1320"/>
                  <a:pt x="2546" y="1272"/>
                  <a:pt x="2529" y="1225"/>
                </a:cubicBezTo>
                <a:cubicBezTo>
                  <a:pt x="2498" y="1193"/>
                  <a:pt x="2450" y="1177"/>
                  <a:pt x="2419" y="1193"/>
                </a:cubicBezTo>
                <a:close/>
                <a:moveTo>
                  <a:pt x="2880" y="1114"/>
                </a:moveTo>
                <a:cubicBezTo>
                  <a:pt x="2895" y="1114"/>
                  <a:pt x="2911" y="1114"/>
                  <a:pt x="2911" y="1098"/>
                </a:cubicBezTo>
                <a:lnTo>
                  <a:pt x="3134" y="986"/>
                </a:lnTo>
                <a:cubicBezTo>
                  <a:pt x="3166" y="971"/>
                  <a:pt x="3182" y="923"/>
                  <a:pt x="3166" y="875"/>
                </a:cubicBezTo>
                <a:cubicBezTo>
                  <a:pt x="3134" y="843"/>
                  <a:pt x="3086" y="827"/>
                  <a:pt x="3055" y="843"/>
                </a:cubicBezTo>
                <a:lnTo>
                  <a:pt x="2848" y="971"/>
                </a:lnTo>
                <a:cubicBezTo>
                  <a:pt x="2800" y="986"/>
                  <a:pt x="2784" y="1034"/>
                  <a:pt x="2816" y="1066"/>
                </a:cubicBezTo>
                <a:cubicBezTo>
                  <a:pt x="2816" y="1098"/>
                  <a:pt x="2848" y="1114"/>
                  <a:pt x="2880" y="1114"/>
                </a:cubicBezTo>
                <a:close/>
                <a:moveTo>
                  <a:pt x="1622" y="2195"/>
                </a:moveTo>
                <a:cubicBezTo>
                  <a:pt x="1622" y="2227"/>
                  <a:pt x="1670" y="2275"/>
                  <a:pt x="1701" y="2275"/>
                </a:cubicBezTo>
                <a:lnTo>
                  <a:pt x="1956" y="2275"/>
                </a:lnTo>
                <a:cubicBezTo>
                  <a:pt x="1988" y="2275"/>
                  <a:pt x="2036" y="2227"/>
                  <a:pt x="2036" y="2195"/>
                </a:cubicBezTo>
                <a:cubicBezTo>
                  <a:pt x="2036" y="2147"/>
                  <a:pt x="1988" y="2116"/>
                  <a:pt x="1956" y="2116"/>
                </a:cubicBezTo>
                <a:lnTo>
                  <a:pt x="1701" y="2116"/>
                </a:lnTo>
                <a:cubicBezTo>
                  <a:pt x="1670" y="2116"/>
                  <a:pt x="1622" y="2147"/>
                  <a:pt x="1622" y="2195"/>
                </a:cubicBezTo>
                <a:close/>
                <a:moveTo>
                  <a:pt x="2354" y="2195"/>
                </a:moveTo>
                <a:cubicBezTo>
                  <a:pt x="2354" y="2227"/>
                  <a:pt x="2385" y="2275"/>
                  <a:pt x="2433" y="2275"/>
                </a:cubicBezTo>
                <a:lnTo>
                  <a:pt x="2672" y="2275"/>
                </a:lnTo>
                <a:cubicBezTo>
                  <a:pt x="2719" y="2275"/>
                  <a:pt x="2751" y="2227"/>
                  <a:pt x="2751" y="2195"/>
                </a:cubicBezTo>
                <a:cubicBezTo>
                  <a:pt x="2751" y="2147"/>
                  <a:pt x="2719" y="2116"/>
                  <a:pt x="2672" y="2116"/>
                </a:cubicBezTo>
                <a:lnTo>
                  <a:pt x="2433" y="2116"/>
                </a:lnTo>
                <a:cubicBezTo>
                  <a:pt x="2385" y="2116"/>
                  <a:pt x="2354" y="2147"/>
                  <a:pt x="2354" y="2195"/>
                </a:cubicBezTo>
                <a:close/>
                <a:moveTo>
                  <a:pt x="3403" y="2116"/>
                </a:moveTo>
                <a:lnTo>
                  <a:pt x="3165" y="2116"/>
                </a:lnTo>
                <a:cubicBezTo>
                  <a:pt x="3117" y="2116"/>
                  <a:pt x="3085" y="2147"/>
                  <a:pt x="3085" y="2195"/>
                </a:cubicBezTo>
                <a:cubicBezTo>
                  <a:pt x="3085" y="2227"/>
                  <a:pt x="3117" y="2275"/>
                  <a:pt x="3165" y="2275"/>
                </a:cubicBezTo>
                <a:lnTo>
                  <a:pt x="3403" y="2275"/>
                </a:lnTo>
                <a:cubicBezTo>
                  <a:pt x="3451" y="2275"/>
                  <a:pt x="3483" y="2227"/>
                  <a:pt x="3483" y="2195"/>
                </a:cubicBezTo>
                <a:cubicBezTo>
                  <a:pt x="3483" y="2147"/>
                  <a:pt x="3451" y="2116"/>
                  <a:pt x="3403" y="211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8" name="Freeform: Shape 14">
            <a:extLst>
              <a:ext uri="{FF2B5EF4-FFF2-40B4-BE49-F238E27FC236}">
                <a16:creationId xmlns:a16="http://schemas.microsoft.com/office/drawing/2014/main" id="{AFA35422-ACF4-7E4C-A569-C51C422BC46C}"/>
              </a:ext>
            </a:extLst>
          </p:cNvPr>
          <p:cNvSpPr/>
          <p:nvPr/>
        </p:nvSpPr>
        <p:spPr>
          <a:xfrm>
            <a:off x="21147214" y="9701421"/>
            <a:ext cx="1671839" cy="1556999"/>
          </a:xfrm>
          <a:custGeom>
            <a:avLst/>
            <a:gdLst/>
            <a:ahLst/>
            <a:cxnLst>
              <a:cxn ang="3cd4">
                <a:pos x="hc" y="t"/>
              </a:cxn>
              <a:cxn ang="cd2">
                <a:pos x="l" y="vc"/>
              </a:cxn>
              <a:cxn ang="cd4">
                <a:pos x="hc" y="b"/>
              </a:cxn>
              <a:cxn ang="0">
                <a:pos x="r" y="vc"/>
              </a:cxn>
            </a:cxnLst>
            <a:rect l="l" t="t" r="r" b="b"/>
            <a:pathLst>
              <a:path w="4645" h="4326">
                <a:moveTo>
                  <a:pt x="939" y="1049"/>
                </a:moveTo>
                <a:cubicBezTo>
                  <a:pt x="80" y="1049"/>
                  <a:pt x="80" y="1049"/>
                  <a:pt x="80" y="1049"/>
                </a:cubicBezTo>
                <a:cubicBezTo>
                  <a:pt x="32" y="1049"/>
                  <a:pt x="0" y="1082"/>
                  <a:pt x="0" y="1129"/>
                </a:cubicBezTo>
                <a:cubicBezTo>
                  <a:pt x="0" y="1988"/>
                  <a:pt x="0" y="1988"/>
                  <a:pt x="0" y="1988"/>
                </a:cubicBezTo>
                <a:cubicBezTo>
                  <a:pt x="0" y="2036"/>
                  <a:pt x="32" y="2067"/>
                  <a:pt x="80" y="2067"/>
                </a:cubicBezTo>
                <a:cubicBezTo>
                  <a:pt x="939" y="2067"/>
                  <a:pt x="939" y="2067"/>
                  <a:pt x="939" y="2067"/>
                </a:cubicBezTo>
                <a:cubicBezTo>
                  <a:pt x="986" y="2067"/>
                  <a:pt x="1018" y="2036"/>
                  <a:pt x="1018" y="1988"/>
                </a:cubicBezTo>
                <a:cubicBezTo>
                  <a:pt x="1622" y="2211"/>
                  <a:pt x="1622" y="2211"/>
                  <a:pt x="1622" y="2211"/>
                </a:cubicBezTo>
                <a:cubicBezTo>
                  <a:pt x="1607" y="2258"/>
                  <a:pt x="1607" y="2322"/>
                  <a:pt x="1607" y="2370"/>
                </a:cubicBezTo>
                <a:cubicBezTo>
                  <a:pt x="1607" y="2545"/>
                  <a:pt x="1655" y="2704"/>
                  <a:pt x="1766" y="2831"/>
                </a:cubicBezTo>
                <a:cubicBezTo>
                  <a:pt x="1321" y="3308"/>
                  <a:pt x="1321" y="3308"/>
                  <a:pt x="1321" y="3308"/>
                </a:cubicBezTo>
                <a:cubicBezTo>
                  <a:pt x="461" y="3308"/>
                  <a:pt x="461" y="3308"/>
                  <a:pt x="461" y="3308"/>
                </a:cubicBezTo>
                <a:cubicBezTo>
                  <a:pt x="414" y="3308"/>
                  <a:pt x="382" y="3340"/>
                  <a:pt x="382" y="3388"/>
                </a:cubicBezTo>
                <a:cubicBezTo>
                  <a:pt x="382" y="4247"/>
                  <a:pt x="382" y="4247"/>
                  <a:pt x="382" y="4247"/>
                </a:cubicBezTo>
                <a:cubicBezTo>
                  <a:pt x="382" y="4294"/>
                  <a:pt x="414" y="4326"/>
                  <a:pt x="461" y="4326"/>
                </a:cubicBezTo>
                <a:cubicBezTo>
                  <a:pt x="1321" y="4326"/>
                  <a:pt x="1321" y="4326"/>
                  <a:pt x="1321" y="4326"/>
                </a:cubicBezTo>
                <a:cubicBezTo>
                  <a:pt x="1368" y="4326"/>
                  <a:pt x="1400" y="4294"/>
                  <a:pt x="1400" y="4247"/>
                </a:cubicBezTo>
                <a:cubicBezTo>
                  <a:pt x="1400" y="3467"/>
                  <a:pt x="1400" y="3467"/>
                  <a:pt x="1400" y="3467"/>
                </a:cubicBezTo>
                <a:cubicBezTo>
                  <a:pt x="1877" y="2942"/>
                  <a:pt x="1877" y="2942"/>
                  <a:pt x="1877" y="2942"/>
                </a:cubicBezTo>
                <a:cubicBezTo>
                  <a:pt x="2004" y="3038"/>
                  <a:pt x="2148" y="3085"/>
                  <a:pt x="2322" y="3085"/>
                </a:cubicBezTo>
                <a:cubicBezTo>
                  <a:pt x="2482" y="3085"/>
                  <a:pt x="2625" y="3038"/>
                  <a:pt x="2736" y="2958"/>
                </a:cubicBezTo>
                <a:cubicBezTo>
                  <a:pt x="3086" y="3356"/>
                  <a:pt x="3086" y="3356"/>
                  <a:pt x="3086" y="3356"/>
                </a:cubicBezTo>
                <a:cubicBezTo>
                  <a:pt x="3086" y="3372"/>
                  <a:pt x="3086" y="3372"/>
                  <a:pt x="3086" y="3388"/>
                </a:cubicBezTo>
                <a:cubicBezTo>
                  <a:pt x="3086" y="4247"/>
                  <a:pt x="3086" y="4247"/>
                  <a:pt x="3086" y="4247"/>
                </a:cubicBezTo>
                <a:cubicBezTo>
                  <a:pt x="3086" y="4294"/>
                  <a:pt x="3118" y="4326"/>
                  <a:pt x="3166" y="4326"/>
                </a:cubicBezTo>
                <a:cubicBezTo>
                  <a:pt x="4024" y="4326"/>
                  <a:pt x="4024" y="4326"/>
                  <a:pt x="4024" y="4326"/>
                </a:cubicBezTo>
                <a:cubicBezTo>
                  <a:pt x="4072" y="4326"/>
                  <a:pt x="4104" y="4294"/>
                  <a:pt x="4104" y="4247"/>
                </a:cubicBezTo>
                <a:cubicBezTo>
                  <a:pt x="4104" y="3388"/>
                  <a:pt x="4104" y="3388"/>
                  <a:pt x="4104" y="3388"/>
                </a:cubicBezTo>
                <a:cubicBezTo>
                  <a:pt x="4104" y="3340"/>
                  <a:pt x="4072" y="3308"/>
                  <a:pt x="4024" y="3308"/>
                </a:cubicBezTo>
                <a:cubicBezTo>
                  <a:pt x="3261" y="3308"/>
                  <a:pt x="3261" y="3308"/>
                  <a:pt x="3261" y="3308"/>
                </a:cubicBezTo>
                <a:cubicBezTo>
                  <a:pt x="2848" y="2863"/>
                  <a:pt x="2848" y="2863"/>
                  <a:pt x="2848" y="2863"/>
                </a:cubicBezTo>
                <a:cubicBezTo>
                  <a:pt x="2975" y="2736"/>
                  <a:pt x="3038" y="2561"/>
                  <a:pt x="3038" y="2370"/>
                </a:cubicBezTo>
                <a:cubicBezTo>
                  <a:pt x="3038" y="2306"/>
                  <a:pt x="3038" y="2243"/>
                  <a:pt x="3022" y="2195"/>
                </a:cubicBezTo>
                <a:cubicBezTo>
                  <a:pt x="3627" y="1956"/>
                  <a:pt x="3627" y="1956"/>
                  <a:pt x="3627" y="1956"/>
                </a:cubicBezTo>
                <a:cubicBezTo>
                  <a:pt x="3627" y="1988"/>
                  <a:pt x="3627" y="1988"/>
                  <a:pt x="3627" y="1988"/>
                </a:cubicBezTo>
                <a:cubicBezTo>
                  <a:pt x="3627" y="2036"/>
                  <a:pt x="3658" y="2067"/>
                  <a:pt x="3706" y="2067"/>
                </a:cubicBezTo>
                <a:cubicBezTo>
                  <a:pt x="4565" y="2067"/>
                  <a:pt x="4565" y="2067"/>
                  <a:pt x="4565" y="2067"/>
                </a:cubicBezTo>
                <a:cubicBezTo>
                  <a:pt x="4613" y="2067"/>
                  <a:pt x="4645" y="2036"/>
                  <a:pt x="4645" y="1988"/>
                </a:cubicBezTo>
                <a:cubicBezTo>
                  <a:pt x="4645" y="1129"/>
                  <a:pt x="4645" y="1129"/>
                  <a:pt x="4645" y="1129"/>
                </a:cubicBezTo>
                <a:cubicBezTo>
                  <a:pt x="4645" y="1082"/>
                  <a:pt x="4613" y="1049"/>
                  <a:pt x="4565" y="1049"/>
                </a:cubicBezTo>
                <a:cubicBezTo>
                  <a:pt x="3706" y="1049"/>
                  <a:pt x="3706" y="1049"/>
                  <a:pt x="3706" y="1049"/>
                </a:cubicBezTo>
                <a:cubicBezTo>
                  <a:pt x="3658" y="1049"/>
                  <a:pt x="3627" y="1082"/>
                  <a:pt x="3627" y="1129"/>
                </a:cubicBezTo>
                <a:cubicBezTo>
                  <a:pt x="3627" y="1781"/>
                  <a:pt x="3627" y="1781"/>
                  <a:pt x="3627" y="1781"/>
                </a:cubicBezTo>
                <a:cubicBezTo>
                  <a:pt x="2959" y="2036"/>
                  <a:pt x="2959" y="2036"/>
                  <a:pt x="2959" y="2036"/>
                </a:cubicBezTo>
                <a:cubicBezTo>
                  <a:pt x="2848" y="1829"/>
                  <a:pt x="2625" y="1670"/>
                  <a:pt x="2370" y="1654"/>
                </a:cubicBezTo>
                <a:cubicBezTo>
                  <a:pt x="2370" y="1034"/>
                  <a:pt x="2370" y="1034"/>
                  <a:pt x="2370" y="1034"/>
                </a:cubicBezTo>
                <a:cubicBezTo>
                  <a:pt x="2720" y="1034"/>
                  <a:pt x="2720" y="1034"/>
                  <a:pt x="2720" y="1034"/>
                </a:cubicBezTo>
                <a:cubicBezTo>
                  <a:pt x="2768" y="1034"/>
                  <a:pt x="2800" y="986"/>
                  <a:pt x="2800" y="954"/>
                </a:cubicBezTo>
                <a:cubicBezTo>
                  <a:pt x="2800" y="79"/>
                  <a:pt x="2800" y="79"/>
                  <a:pt x="2800" y="79"/>
                </a:cubicBezTo>
                <a:cubicBezTo>
                  <a:pt x="2800" y="48"/>
                  <a:pt x="2768" y="0"/>
                  <a:pt x="2720" y="0"/>
                </a:cubicBezTo>
                <a:cubicBezTo>
                  <a:pt x="1861" y="0"/>
                  <a:pt x="1861" y="0"/>
                  <a:pt x="1861" y="0"/>
                </a:cubicBezTo>
                <a:cubicBezTo>
                  <a:pt x="1813" y="0"/>
                  <a:pt x="1782" y="48"/>
                  <a:pt x="1782" y="79"/>
                </a:cubicBezTo>
                <a:cubicBezTo>
                  <a:pt x="1782" y="954"/>
                  <a:pt x="1782" y="954"/>
                  <a:pt x="1782" y="954"/>
                </a:cubicBezTo>
                <a:cubicBezTo>
                  <a:pt x="1782" y="986"/>
                  <a:pt x="1813" y="1034"/>
                  <a:pt x="1861" y="1034"/>
                </a:cubicBezTo>
                <a:cubicBezTo>
                  <a:pt x="2211" y="1034"/>
                  <a:pt x="2211" y="1034"/>
                  <a:pt x="2211" y="1034"/>
                </a:cubicBezTo>
                <a:cubicBezTo>
                  <a:pt x="2211" y="1654"/>
                  <a:pt x="2211" y="1654"/>
                  <a:pt x="2211" y="1654"/>
                </a:cubicBezTo>
                <a:cubicBezTo>
                  <a:pt x="1973" y="1702"/>
                  <a:pt x="1782" y="1845"/>
                  <a:pt x="1670" y="2067"/>
                </a:cubicBezTo>
                <a:cubicBezTo>
                  <a:pt x="1018" y="1813"/>
                  <a:pt x="1018" y="1813"/>
                  <a:pt x="1018" y="1813"/>
                </a:cubicBezTo>
                <a:cubicBezTo>
                  <a:pt x="1018" y="1129"/>
                  <a:pt x="1018" y="1129"/>
                  <a:pt x="1018" y="1129"/>
                </a:cubicBezTo>
                <a:cubicBezTo>
                  <a:pt x="1018" y="1082"/>
                  <a:pt x="986" y="1049"/>
                  <a:pt x="939" y="1049"/>
                </a:cubicBezTo>
                <a:close/>
                <a:moveTo>
                  <a:pt x="3786" y="1209"/>
                </a:moveTo>
                <a:cubicBezTo>
                  <a:pt x="4486" y="1209"/>
                  <a:pt x="4486" y="1209"/>
                  <a:pt x="4486" y="1209"/>
                </a:cubicBezTo>
                <a:cubicBezTo>
                  <a:pt x="4486" y="1909"/>
                  <a:pt x="4486" y="1909"/>
                  <a:pt x="4486" y="1909"/>
                </a:cubicBezTo>
                <a:cubicBezTo>
                  <a:pt x="3786" y="1909"/>
                  <a:pt x="3786" y="1909"/>
                  <a:pt x="3786" y="1909"/>
                </a:cubicBezTo>
                <a:close/>
                <a:moveTo>
                  <a:pt x="1941" y="159"/>
                </a:moveTo>
                <a:cubicBezTo>
                  <a:pt x="2640" y="159"/>
                  <a:pt x="2640" y="159"/>
                  <a:pt x="2640" y="159"/>
                </a:cubicBezTo>
                <a:cubicBezTo>
                  <a:pt x="2640" y="875"/>
                  <a:pt x="2640" y="875"/>
                  <a:pt x="2640" y="875"/>
                </a:cubicBezTo>
                <a:cubicBezTo>
                  <a:pt x="1941" y="875"/>
                  <a:pt x="1941" y="875"/>
                  <a:pt x="1941" y="875"/>
                </a:cubicBezTo>
                <a:close/>
                <a:moveTo>
                  <a:pt x="1241" y="4167"/>
                </a:moveTo>
                <a:cubicBezTo>
                  <a:pt x="541" y="4167"/>
                  <a:pt x="541" y="4167"/>
                  <a:pt x="541" y="4167"/>
                </a:cubicBezTo>
                <a:cubicBezTo>
                  <a:pt x="541" y="3467"/>
                  <a:pt x="541" y="3467"/>
                  <a:pt x="541" y="3467"/>
                </a:cubicBezTo>
                <a:cubicBezTo>
                  <a:pt x="1241" y="3467"/>
                  <a:pt x="1241" y="3467"/>
                  <a:pt x="1241" y="3467"/>
                </a:cubicBezTo>
                <a:close/>
                <a:moveTo>
                  <a:pt x="3945" y="4167"/>
                </a:moveTo>
                <a:cubicBezTo>
                  <a:pt x="3245" y="4167"/>
                  <a:pt x="3245" y="4167"/>
                  <a:pt x="3245" y="4167"/>
                </a:cubicBezTo>
                <a:cubicBezTo>
                  <a:pt x="3245" y="3467"/>
                  <a:pt x="3245" y="3467"/>
                  <a:pt x="3245" y="3467"/>
                </a:cubicBezTo>
                <a:cubicBezTo>
                  <a:pt x="3945" y="3467"/>
                  <a:pt x="3945" y="3467"/>
                  <a:pt x="3945" y="3467"/>
                </a:cubicBezTo>
                <a:close/>
                <a:moveTo>
                  <a:pt x="2322" y="1813"/>
                </a:moveTo>
                <a:cubicBezTo>
                  <a:pt x="2640" y="1813"/>
                  <a:pt x="2879" y="2067"/>
                  <a:pt x="2879" y="2370"/>
                </a:cubicBezTo>
                <a:cubicBezTo>
                  <a:pt x="2879" y="2688"/>
                  <a:pt x="2640" y="2942"/>
                  <a:pt x="2322" y="2942"/>
                </a:cubicBezTo>
                <a:cubicBezTo>
                  <a:pt x="2020" y="2942"/>
                  <a:pt x="1766" y="2688"/>
                  <a:pt x="1766" y="2370"/>
                </a:cubicBezTo>
                <a:cubicBezTo>
                  <a:pt x="1766" y="2306"/>
                  <a:pt x="1766" y="2258"/>
                  <a:pt x="1782" y="2195"/>
                </a:cubicBezTo>
                <a:cubicBezTo>
                  <a:pt x="1798" y="2195"/>
                  <a:pt x="1798" y="2195"/>
                  <a:pt x="1798" y="2195"/>
                </a:cubicBezTo>
                <a:lnTo>
                  <a:pt x="1798" y="2179"/>
                </a:lnTo>
                <a:cubicBezTo>
                  <a:pt x="1877" y="1956"/>
                  <a:pt x="2084" y="1813"/>
                  <a:pt x="2322" y="1813"/>
                </a:cubicBezTo>
                <a:close/>
                <a:moveTo>
                  <a:pt x="859" y="1909"/>
                </a:moveTo>
                <a:cubicBezTo>
                  <a:pt x="159" y="1909"/>
                  <a:pt x="159" y="1909"/>
                  <a:pt x="159" y="1909"/>
                </a:cubicBezTo>
                <a:cubicBezTo>
                  <a:pt x="159" y="1209"/>
                  <a:pt x="159" y="1209"/>
                  <a:pt x="159" y="1209"/>
                </a:cubicBezTo>
                <a:cubicBezTo>
                  <a:pt x="859" y="1209"/>
                  <a:pt x="859" y="1209"/>
                  <a:pt x="859" y="12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60233685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Symbols - 4</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43" name="TextBox 42">
            <a:extLst>
              <a:ext uri="{FF2B5EF4-FFF2-40B4-BE49-F238E27FC236}">
                <a16:creationId xmlns:a16="http://schemas.microsoft.com/office/drawing/2014/main" id="{9169C570-3BF6-D54A-B5BE-9ED2E3B6A526}"/>
              </a:ext>
            </a:extLst>
          </p:cNvPr>
          <p:cNvSpPr txBox="1"/>
          <p:nvPr/>
        </p:nvSpPr>
        <p:spPr>
          <a:xfrm>
            <a:off x="99965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ill</a:t>
            </a:r>
          </a:p>
        </p:txBody>
      </p:sp>
      <p:sp>
        <p:nvSpPr>
          <p:cNvPr id="44" name="TextBox 43">
            <a:extLst>
              <a:ext uri="{FF2B5EF4-FFF2-40B4-BE49-F238E27FC236}">
                <a16:creationId xmlns:a16="http://schemas.microsoft.com/office/drawing/2014/main" id="{379AD288-07E1-FC43-BA5E-F8DB1521832D}"/>
              </a:ext>
            </a:extLst>
          </p:cNvPr>
          <p:cNvSpPr txBox="1"/>
          <p:nvPr/>
        </p:nvSpPr>
        <p:spPr>
          <a:xfrm>
            <a:off x="505190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and-Aid</a:t>
            </a:r>
          </a:p>
        </p:txBody>
      </p:sp>
      <p:sp>
        <p:nvSpPr>
          <p:cNvPr id="45" name="TextBox 44">
            <a:extLst>
              <a:ext uri="{FF2B5EF4-FFF2-40B4-BE49-F238E27FC236}">
                <a16:creationId xmlns:a16="http://schemas.microsoft.com/office/drawing/2014/main" id="{F3F6F823-C85C-FF49-A459-1262E717B737}"/>
              </a:ext>
            </a:extLst>
          </p:cNvPr>
          <p:cNvSpPr txBox="1"/>
          <p:nvPr/>
        </p:nvSpPr>
        <p:spPr>
          <a:xfrm>
            <a:off x="8835264"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ug</a:t>
            </a:r>
          </a:p>
        </p:txBody>
      </p:sp>
      <p:sp>
        <p:nvSpPr>
          <p:cNvPr id="46" name="TextBox 45">
            <a:extLst>
              <a:ext uri="{FF2B5EF4-FFF2-40B4-BE49-F238E27FC236}">
                <a16:creationId xmlns:a16="http://schemas.microsoft.com/office/drawing/2014/main" id="{152A9404-BBAE-9C44-AC2E-590F620A4EF0}"/>
              </a:ext>
            </a:extLst>
          </p:cNvPr>
          <p:cNvSpPr txBox="1"/>
          <p:nvPr/>
        </p:nvSpPr>
        <p:spPr>
          <a:xfrm>
            <a:off x="1618704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istribution</a:t>
            </a:r>
          </a:p>
        </p:txBody>
      </p:sp>
      <p:sp>
        <p:nvSpPr>
          <p:cNvPr id="47" name="TextBox 46">
            <a:extLst>
              <a:ext uri="{FF2B5EF4-FFF2-40B4-BE49-F238E27FC236}">
                <a16:creationId xmlns:a16="http://schemas.microsoft.com/office/drawing/2014/main" id="{0DD096D5-0FC2-CD4A-B512-6234295946CB}"/>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Various 1</a:t>
            </a:r>
          </a:p>
        </p:txBody>
      </p:sp>
      <p:sp>
        <p:nvSpPr>
          <p:cNvPr id="48" name="TextBox 47">
            <a:extLst>
              <a:ext uri="{FF2B5EF4-FFF2-40B4-BE49-F238E27FC236}">
                <a16:creationId xmlns:a16="http://schemas.microsoft.com/office/drawing/2014/main" id="{1D654AB7-D49E-5E4B-9908-11BABB04779E}"/>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Various 2</a:t>
            </a:r>
          </a:p>
        </p:txBody>
      </p:sp>
      <p:sp>
        <p:nvSpPr>
          <p:cNvPr id="49" name="TextBox 48">
            <a:extLst>
              <a:ext uri="{FF2B5EF4-FFF2-40B4-BE49-F238E27FC236}">
                <a16:creationId xmlns:a16="http://schemas.microsoft.com/office/drawing/2014/main" id="{0B403EE3-80BB-D14D-87B8-378E57E134A3}"/>
              </a:ext>
            </a:extLst>
          </p:cNvPr>
          <p:cNvSpPr txBox="1"/>
          <p:nvPr/>
        </p:nvSpPr>
        <p:spPr>
          <a:xfrm>
            <a:off x="20335634"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teraction</a:t>
            </a:r>
          </a:p>
        </p:txBody>
      </p:sp>
      <p:sp>
        <p:nvSpPr>
          <p:cNvPr id="50" name="TextBox 49">
            <a:extLst>
              <a:ext uri="{FF2B5EF4-FFF2-40B4-BE49-F238E27FC236}">
                <a16:creationId xmlns:a16="http://schemas.microsoft.com/office/drawing/2014/main" id="{B030F0B1-8171-0042-ADC0-4A39D849E6E5}"/>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luetooth</a:t>
            </a:r>
          </a:p>
        </p:txBody>
      </p:sp>
      <p:sp>
        <p:nvSpPr>
          <p:cNvPr id="51" name="TextBox 50">
            <a:extLst>
              <a:ext uri="{FF2B5EF4-FFF2-40B4-BE49-F238E27FC236}">
                <a16:creationId xmlns:a16="http://schemas.microsoft.com/office/drawing/2014/main" id="{6701899E-A919-4D43-B411-0C1972BC949D}"/>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stall</a:t>
            </a:r>
          </a:p>
        </p:txBody>
      </p:sp>
      <p:sp>
        <p:nvSpPr>
          <p:cNvPr id="52" name="TextBox 51">
            <a:extLst>
              <a:ext uri="{FF2B5EF4-FFF2-40B4-BE49-F238E27FC236}">
                <a16:creationId xmlns:a16="http://schemas.microsoft.com/office/drawing/2014/main" id="{1EB4C62C-7D4E-2F41-9157-556C20BFB9D8}"/>
              </a:ext>
            </a:extLst>
          </p:cNvPr>
          <p:cNvSpPr txBox="1"/>
          <p:nvPr/>
        </p:nvSpPr>
        <p:spPr>
          <a:xfrm>
            <a:off x="8066618" y="8292956"/>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Various 3</a:t>
            </a:r>
          </a:p>
        </p:txBody>
      </p:sp>
      <p:sp>
        <p:nvSpPr>
          <p:cNvPr id="53" name="TextBox 52">
            <a:extLst>
              <a:ext uri="{FF2B5EF4-FFF2-40B4-BE49-F238E27FC236}">
                <a16:creationId xmlns:a16="http://schemas.microsoft.com/office/drawing/2014/main" id="{C520B290-B472-C545-BD35-56FB1009A6E2}"/>
              </a:ext>
            </a:extLst>
          </p:cNvPr>
          <p:cNvSpPr txBox="1"/>
          <p:nvPr/>
        </p:nvSpPr>
        <p:spPr>
          <a:xfrm>
            <a:off x="1115569"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circle</a:t>
            </a:r>
          </a:p>
        </p:txBody>
      </p:sp>
      <p:sp>
        <p:nvSpPr>
          <p:cNvPr id="54" name="TextBox 53">
            <a:extLst>
              <a:ext uri="{FF2B5EF4-FFF2-40B4-BE49-F238E27FC236}">
                <a16:creationId xmlns:a16="http://schemas.microsoft.com/office/drawing/2014/main" id="{525B827C-05FF-984F-93E7-A332FB0CF47B}"/>
              </a:ext>
            </a:extLst>
          </p:cNvPr>
          <p:cNvSpPr txBox="1"/>
          <p:nvPr/>
        </p:nvSpPr>
        <p:spPr>
          <a:xfrm>
            <a:off x="4789422"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irculate</a:t>
            </a:r>
          </a:p>
        </p:txBody>
      </p:sp>
      <p:sp>
        <p:nvSpPr>
          <p:cNvPr id="55" name="Freeform: Shape 26">
            <a:extLst>
              <a:ext uri="{FF2B5EF4-FFF2-40B4-BE49-F238E27FC236}">
                <a16:creationId xmlns:a16="http://schemas.microsoft.com/office/drawing/2014/main" id="{CE44EC1A-A0B0-D642-AAE9-B154F92398CD}"/>
              </a:ext>
            </a:extLst>
          </p:cNvPr>
          <p:cNvSpPr/>
          <p:nvPr/>
        </p:nvSpPr>
        <p:spPr>
          <a:xfrm>
            <a:off x="680881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6" name="TextBox 55">
            <a:extLst>
              <a:ext uri="{FF2B5EF4-FFF2-40B4-BE49-F238E27FC236}">
                <a16:creationId xmlns:a16="http://schemas.microsoft.com/office/drawing/2014/main" id="{419D489A-E476-1C41-A038-92B96D9DF9C8}"/>
              </a:ext>
            </a:extLst>
          </p:cNvPr>
          <p:cNvSpPr txBox="1"/>
          <p:nvPr/>
        </p:nvSpPr>
        <p:spPr>
          <a:xfrm>
            <a:off x="1266491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mb</a:t>
            </a:r>
          </a:p>
        </p:txBody>
      </p:sp>
      <p:sp>
        <p:nvSpPr>
          <p:cNvPr id="57" name="TextBox 56">
            <a:extLst>
              <a:ext uri="{FF2B5EF4-FFF2-40B4-BE49-F238E27FC236}">
                <a16:creationId xmlns:a16="http://schemas.microsoft.com/office/drawing/2014/main" id="{F7AE3715-2815-E742-BA29-796ED365732F}"/>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ower</a:t>
            </a:r>
          </a:p>
        </p:txBody>
      </p:sp>
      <p:sp>
        <p:nvSpPr>
          <p:cNvPr id="58" name="Freeform: Shape 2">
            <a:extLst>
              <a:ext uri="{FF2B5EF4-FFF2-40B4-BE49-F238E27FC236}">
                <a16:creationId xmlns:a16="http://schemas.microsoft.com/office/drawing/2014/main" id="{DAF6A523-46B3-EF44-AF3D-87BB770AA0E4}"/>
              </a:ext>
            </a:extLst>
          </p:cNvPr>
          <p:cNvSpPr/>
          <p:nvPr/>
        </p:nvSpPr>
        <p:spPr>
          <a:xfrm>
            <a:off x="17247206" y="3154474"/>
            <a:ext cx="1551240" cy="1597320"/>
          </a:xfrm>
          <a:custGeom>
            <a:avLst/>
            <a:gdLst/>
            <a:ahLst/>
            <a:cxnLst>
              <a:cxn ang="3cd4">
                <a:pos x="hc" y="t"/>
              </a:cxn>
              <a:cxn ang="cd2">
                <a:pos x="l" y="vc"/>
              </a:cxn>
              <a:cxn ang="cd4">
                <a:pos x="hc" y="b"/>
              </a:cxn>
              <a:cxn ang="0">
                <a:pos x="r" y="vc"/>
              </a:cxn>
            </a:cxnLst>
            <a:rect l="l" t="t" r="r" b="b"/>
            <a:pathLst>
              <a:path w="4310" h="4438">
                <a:moveTo>
                  <a:pt x="333" y="2529"/>
                </a:moveTo>
                <a:cubicBezTo>
                  <a:pt x="1956" y="2529"/>
                  <a:pt x="1956" y="2529"/>
                  <a:pt x="1956" y="2529"/>
                </a:cubicBezTo>
                <a:cubicBezTo>
                  <a:pt x="3213" y="3801"/>
                  <a:pt x="3213" y="3801"/>
                  <a:pt x="3213" y="3801"/>
                </a:cubicBezTo>
                <a:cubicBezTo>
                  <a:pt x="2783" y="3801"/>
                  <a:pt x="2783" y="3801"/>
                  <a:pt x="2783" y="3801"/>
                </a:cubicBezTo>
                <a:cubicBezTo>
                  <a:pt x="2608" y="3801"/>
                  <a:pt x="2465" y="3945"/>
                  <a:pt x="2465" y="4120"/>
                </a:cubicBezTo>
                <a:cubicBezTo>
                  <a:pt x="2465" y="4295"/>
                  <a:pt x="2608" y="4438"/>
                  <a:pt x="2783" y="4438"/>
                </a:cubicBezTo>
                <a:cubicBezTo>
                  <a:pt x="3992" y="4438"/>
                  <a:pt x="3992" y="4438"/>
                  <a:pt x="3992" y="4438"/>
                </a:cubicBezTo>
                <a:cubicBezTo>
                  <a:pt x="4040" y="4438"/>
                  <a:pt x="4071" y="4438"/>
                  <a:pt x="4119" y="4422"/>
                </a:cubicBezTo>
                <a:cubicBezTo>
                  <a:pt x="4199" y="4374"/>
                  <a:pt x="4262" y="4310"/>
                  <a:pt x="4294" y="4247"/>
                </a:cubicBezTo>
                <a:cubicBezTo>
                  <a:pt x="4310" y="4200"/>
                  <a:pt x="4310" y="4152"/>
                  <a:pt x="4310" y="4120"/>
                </a:cubicBezTo>
                <a:cubicBezTo>
                  <a:pt x="4310" y="2911"/>
                  <a:pt x="4310" y="2911"/>
                  <a:pt x="4310" y="2911"/>
                </a:cubicBezTo>
                <a:cubicBezTo>
                  <a:pt x="4310" y="2736"/>
                  <a:pt x="4167" y="2593"/>
                  <a:pt x="3992" y="2593"/>
                </a:cubicBezTo>
                <a:cubicBezTo>
                  <a:pt x="3817" y="2593"/>
                  <a:pt x="3674" y="2736"/>
                  <a:pt x="3674" y="2911"/>
                </a:cubicBezTo>
                <a:cubicBezTo>
                  <a:pt x="3674" y="3340"/>
                  <a:pt x="3674" y="3340"/>
                  <a:pt x="3674" y="3340"/>
                </a:cubicBezTo>
                <a:cubicBezTo>
                  <a:pt x="2544" y="2211"/>
                  <a:pt x="2544" y="2211"/>
                  <a:pt x="2544" y="2211"/>
                </a:cubicBezTo>
                <a:cubicBezTo>
                  <a:pt x="3674" y="1098"/>
                  <a:pt x="3674" y="1098"/>
                  <a:pt x="3674" y="1098"/>
                </a:cubicBezTo>
                <a:cubicBezTo>
                  <a:pt x="3674" y="1527"/>
                  <a:pt x="3674" y="1527"/>
                  <a:pt x="3674" y="1527"/>
                </a:cubicBezTo>
                <a:cubicBezTo>
                  <a:pt x="3674" y="1702"/>
                  <a:pt x="3817" y="1845"/>
                  <a:pt x="3992" y="1845"/>
                </a:cubicBezTo>
                <a:cubicBezTo>
                  <a:pt x="4167" y="1845"/>
                  <a:pt x="4310" y="1702"/>
                  <a:pt x="4310" y="1527"/>
                </a:cubicBezTo>
                <a:cubicBezTo>
                  <a:pt x="4310" y="319"/>
                  <a:pt x="4310" y="319"/>
                  <a:pt x="4310" y="319"/>
                </a:cubicBezTo>
                <a:cubicBezTo>
                  <a:pt x="4310" y="271"/>
                  <a:pt x="4310" y="239"/>
                  <a:pt x="4294" y="191"/>
                </a:cubicBezTo>
                <a:cubicBezTo>
                  <a:pt x="4262" y="111"/>
                  <a:pt x="4199" y="48"/>
                  <a:pt x="4119" y="16"/>
                </a:cubicBezTo>
                <a:cubicBezTo>
                  <a:pt x="4071" y="0"/>
                  <a:pt x="4040" y="0"/>
                  <a:pt x="3992" y="0"/>
                </a:cubicBezTo>
                <a:cubicBezTo>
                  <a:pt x="2783" y="0"/>
                  <a:pt x="2783" y="0"/>
                  <a:pt x="2783" y="0"/>
                </a:cubicBezTo>
                <a:cubicBezTo>
                  <a:pt x="2608" y="0"/>
                  <a:pt x="2465" y="143"/>
                  <a:pt x="2465" y="319"/>
                </a:cubicBezTo>
                <a:cubicBezTo>
                  <a:pt x="2465" y="493"/>
                  <a:pt x="2608" y="637"/>
                  <a:pt x="2783" y="637"/>
                </a:cubicBezTo>
                <a:cubicBezTo>
                  <a:pt x="3213" y="637"/>
                  <a:pt x="3213" y="637"/>
                  <a:pt x="3213" y="637"/>
                </a:cubicBezTo>
                <a:cubicBezTo>
                  <a:pt x="1972" y="1893"/>
                  <a:pt x="1972" y="1893"/>
                  <a:pt x="1972" y="1893"/>
                </a:cubicBezTo>
                <a:cubicBezTo>
                  <a:pt x="333" y="1893"/>
                  <a:pt x="333" y="1893"/>
                  <a:pt x="333" y="1893"/>
                </a:cubicBezTo>
                <a:cubicBezTo>
                  <a:pt x="143" y="1893"/>
                  <a:pt x="0" y="2036"/>
                  <a:pt x="0" y="2211"/>
                </a:cubicBezTo>
                <a:cubicBezTo>
                  <a:pt x="0" y="2386"/>
                  <a:pt x="143" y="2529"/>
                  <a:pt x="333" y="2529"/>
                </a:cubicBezTo>
                <a:close/>
                <a:moveTo>
                  <a:pt x="333" y="2052"/>
                </a:moveTo>
                <a:cubicBezTo>
                  <a:pt x="2004" y="2052"/>
                  <a:pt x="2004" y="2052"/>
                  <a:pt x="2004" y="2052"/>
                </a:cubicBezTo>
                <a:cubicBezTo>
                  <a:pt x="2020" y="2052"/>
                  <a:pt x="2035" y="2036"/>
                  <a:pt x="2051" y="2020"/>
                </a:cubicBezTo>
                <a:cubicBezTo>
                  <a:pt x="3467" y="620"/>
                  <a:pt x="3467" y="620"/>
                  <a:pt x="3467" y="620"/>
                </a:cubicBezTo>
                <a:cubicBezTo>
                  <a:pt x="3483" y="589"/>
                  <a:pt x="3499" y="557"/>
                  <a:pt x="3483" y="525"/>
                </a:cubicBezTo>
                <a:cubicBezTo>
                  <a:pt x="3467" y="493"/>
                  <a:pt x="3435" y="477"/>
                  <a:pt x="3404" y="477"/>
                </a:cubicBezTo>
                <a:cubicBezTo>
                  <a:pt x="2783" y="477"/>
                  <a:pt x="2783" y="477"/>
                  <a:pt x="2783" y="477"/>
                </a:cubicBezTo>
                <a:cubicBezTo>
                  <a:pt x="2704" y="477"/>
                  <a:pt x="2624" y="398"/>
                  <a:pt x="2624" y="319"/>
                </a:cubicBezTo>
                <a:cubicBezTo>
                  <a:pt x="2624" y="223"/>
                  <a:pt x="2704" y="159"/>
                  <a:pt x="2783" y="159"/>
                </a:cubicBezTo>
                <a:cubicBezTo>
                  <a:pt x="3992" y="159"/>
                  <a:pt x="3992" y="159"/>
                  <a:pt x="3992" y="159"/>
                </a:cubicBezTo>
                <a:cubicBezTo>
                  <a:pt x="4008" y="159"/>
                  <a:pt x="4040" y="159"/>
                  <a:pt x="4056" y="159"/>
                </a:cubicBezTo>
                <a:cubicBezTo>
                  <a:pt x="4103" y="175"/>
                  <a:pt x="4119" y="207"/>
                  <a:pt x="4151" y="255"/>
                </a:cubicBezTo>
                <a:cubicBezTo>
                  <a:pt x="4151" y="271"/>
                  <a:pt x="4151" y="302"/>
                  <a:pt x="4151" y="319"/>
                </a:cubicBezTo>
                <a:cubicBezTo>
                  <a:pt x="4151" y="1527"/>
                  <a:pt x="4151" y="1527"/>
                  <a:pt x="4151" y="1527"/>
                </a:cubicBezTo>
                <a:cubicBezTo>
                  <a:pt x="4151" y="1607"/>
                  <a:pt x="4087" y="1686"/>
                  <a:pt x="3992" y="1686"/>
                </a:cubicBezTo>
                <a:cubicBezTo>
                  <a:pt x="3896" y="1686"/>
                  <a:pt x="3833" y="1607"/>
                  <a:pt x="3833" y="1527"/>
                </a:cubicBezTo>
                <a:cubicBezTo>
                  <a:pt x="3833" y="907"/>
                  <a:pt x="3833" y="907"/>
                  <a:pt x="3833" y="907"/>
                </a:cubicBezTo>
                <a:cubicBezTo>
                  <a:pt x="3833" y="875"/>
                  <a:pt x="3817" y="843"/>
                  <a:pt x="3785" y="827"/>
                </a:cubicBezTo>
                <a:cubicBezTo>
                  <a:pt x="3753" y="811"/>
                  <a:pt x="3722" y="827"/>
                  <a:pt x="3690" y="843"/>
                </a:cubicBezTo>
                <a:cubicBezTo>
                  <a:pt x="2386" y="2164"/>
                  <a:pt x="2386" y="2164"/>
                  <a:pt x="2386" y="2164"/>
                </a:cubicBezTo>
                <a:cubicBezTo>
                  <a:pt x="2369" y="2179"/>
                  <a:pt x="2354" y="2195"/>
                  <a:pt x="2354" y="2211"/>
                </a:cubicBezTo>
                <a:cubicBezTo>
                  <a:pt x="2354" y="2243"/>
                  <a:pt x="2369" y="2259"/>
                  <a:pt x="2386" y="2275"/>
                </a:cubicBezTo>
                <a:cubicBezTo>
                  <a:pt x="3690" y="3595"/>
                  <a:pt x="3690" y="3595"/>
                  <a:pt x="3690" y="3595"/>
                </a:cubicBezTo>
                <a:cubicBezTo>
                  <a:pt x="3722" y="3611"/>
                  <a:pt x="3753" y="3611"/>
                  <a:pt x="3785" y="3611"/>
                </a:cubicBezTo>
                <a:cubicBezTo>
                  <a:pt x="3817" y="3595"/>
                  <a:pt x="3833" y="3563"/>
                  <a:pt x="3833" y="3531"/>
                </a:cubicBezTo>
                <a:cubicBezTo>
                  <a:pt x="3833" y="2911"/>
                  <a:pt x="3833" y="2911"/>
                  <a:pt x="3833" y="2911"/>
                </a:cubicBezTo>
                <a:cubicBezTo>
                  <a:pt x="3833" y="2816"/>
                  <a:pt x="3896" y="2752"/>
                  <a:pt x="3992" y="2752"/>
                </a:cubicBezTo>
                <a:cubicBezTo>
                  <a:pt x="4087" y="2752"/>
                  <a:pt x="4151" y="2816"/>
                  <a:pt x="4151" y="2911"/>
                </a:cubicBezTo>
                <a:cubicBezTo>
                  <a:pt x="4151" y="4120"/>
                  <a:pt x="4151" y="4120"/>
                  <a:pt x="4151" y="4120"/>
                </a:cubicBezTo>
                <a:cubicBezTo>
                  <a:pt x="4151" y="4136"/>
                  <a:pt x="4151" y="4152"/>
                  <a:pt x="4151" y="4183"/>
                </a:cubicBezTo>
                <a:cubicBezTo>
                  <a:pt x="4119" y="4215"/>
                  <a:pt x="4087" y="4247"/>
                  <a:pt x="4056" y="4263"/>
                </a:cubicBezTo>
                <a:cubicBezTo>
                  <a:pt x="4040" y="4279"/>
                  <a:pt x="4008" y="4279"/>
                  <a:pt x="3992" y="4279"/>
                </a:cubicBezTo>
                <a:cubicBezTo>
                  <a:pt x="2783" y="4279"/>
                  <a:pt x="2783" y="4279"/>
                  <a:pt x="2783" y="4279"/>
                </a:cubicBezTo>
                <a:cubicBezTo>
                  <a:pt x="2704" y="4279"/>
                  <a:pt x="2624" y="4200"/>
                  <a:pt x="2624" y="4120"/>
                </a:cubicBezTo>
                <a:cubicBezTo>
                  <a:pt x="2624" y="4024"/>
                  <a:pt x="2704" y="3961"/>
                  <a:pt x="2783" y="3961"/>
                </a:cubicBezTo>
                <a:cubicBezTo>
                  <a:pt x="3404" y="3961"/>
                  <a:pt x="3404" y="3961"/>
                  <a:pt x="3404" y="3961"/>
                </a:cubicBezTo>
                <a:cubicBezTo>
                  <a:pt x="3435" y="3961"/>
                  <a:pt x="3467" y="3929"/>
                  <a:pt x="3483" y="3913"/>
                </a:cubicBezTo>
                <a:cubicBezTo>
                  <a:pt x="3499" y="3881"/>
                  <a:pt x="3483" y="3849"/>
                  <a:pt x="3467" y="3818"/>
                </a:cubicBezTo>
                <a:cubicBezTo>
                  <a:pt x="2035" y="2386"/>
                  <a:pt x="2035" y="2386"/>
                  <a:pt x="2035" y="2386"/>
                </a:cubicBezTo>
                <a:cubicBezTo>
                  <a:pt x="2020" y="2386"/>
                  <a:pt x="2004" y="2370"/>
                  <a:pt x="1988" y="2370"/>
                </a:cubicBezTo>
                <a:cubicBezTo>
                  <a:pt x="333" y="2370"/>
                  <a:pt x="333" y="2370"/>
                  <a:pt x="333" y="2370"/>
                </a:cubicBezTo>
                <a:cubicBezTo>
                  <a:pt x="238" y="2370"/>
                  <a:pt x="159" y="2291"/>
                  <a:pt x="159" y="2211"/>
                </a:cubicBezTo>
                <a:cubicBezTo>
                  <a:pt x="159" y="2116"/>
                  <a:pt x="238" y="2052"/>
                  <a:pt x="333" y="205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9" name="Freeform: Shape 3">
            <a:extLst>
              <a:ext uri="{FF2B5EF4-FFF2-40B4-BE49-F238E27FC236}">
                <a16:creationId xmlns:a16="http://schemas.microsoft.com/office/drawing/2014/main" id="{39C1F632-A6EA-BA49-A46A-F58446DB542B}"/>
              </a:ext>
            </a:extLst>
          </p:cNvPr>
          <p:cNvSpPr/>
          <p:nvPr/>
        </p:nvSpPr>
        <p:spPr>
          <a:xfrm>
            <a:off x="2001618" y="6338171"/>
            <a:ext cx="1540080" cy="1780560"/>
          </a:xfrm>
          <a:custGeom>
            <a:avLst/>
            <a:gdLst/>
            <a:ahLst/>
            <a:cxnLst>
              <a:cxn ang="3cd4">
                <a:pos x="hc" y="t"/>
              </a:cxn>
              <a:cxn ang="cd2">
                <a:pos x="l" y="vc"/>
              </a:cxn>
              <a:cxn ang="cd4">
                <a:pos x="hc" y="b"/>
              </a:cxn>
              <a:cxn ang="0">
                <a:pos x="r" y="vc"/>
              </a:cxn>
            </a:cxnLst>
            <a:rect l="l" t="t" r="r" b="b"/>
            <a:pathLst>
              <a:path w="4279" h="4947">
                <a:moveTo>
                  <a:pt x="3595" y="653"/>
                </a:moveTo>
                <a:cubicBezTo>
                  <a:pt x="3150" y="223"/>
                  <a:pt x="2593" y="-15"/>
                  <a:pt x="1988" y="1"/>
                </a:cubicBezTo>
                <a:cubicBezTo>
                  <a:pt x="1861" y="1"/>
                  <a:pt x="1654" y="80"/>
                  <a:pt x="1654" y="383"/>
                </a:cubicBezTo>
                <a:cubicBezTo>
                  <a:pt x="1654" y="383"/>
                  <a:pt x="1654" y="1671"/>
                  <a:pt x="1654" y="2068"/>
                </a:cubicBezTo>
                <a:cubicBezTo>
                  <a:pt x="1654" y="2243"/>
                  <a:pt x="1797" y="2387"/>
                  <a:pt x="1988" y="2387"/>
                </a:cubicBezTo>
                <a:cubicBezTo>
                  <a:pt x="2163" y="2387"/>
                  <a:pt x="2306" y="2243"/>
                  <a:pt x="2306" y="2068"/>
                </a:cubicBezTo>
                <a:cubicBezTo>
                  <a:pt x="2306" y="684"/>
                  <a:pt x="2306" y="684"/>
                  <a:pt x="2306" y="684"/>
                </a:cubicBezTo>
                <a:cubicBezTo>
                  <a:pt x="2625" y="732"/>
                  <a:pt x="2895" y="892"/>
                  <a:pt x="3134" y="1114"/>
                </a:cubicBezTo>
                <a:cubicBezTo>
                  <a:pt x="3452" y="1416"/>
                  <a:pt x="3627" y="1846"/>
                  <a:pt x="3627" y="2291"/>
                </a:cubicBezTo>
                <a:cubicBezTo>
                  <a:pt x="3627" y="3198"/>
                  <a:pt x="2895" y="3929"/>
                  <a:pt x="1988" y="3929"/>
                </a:cubicBezTo>
                <a:cubicBezTo>
                  <a:pt x="1702" y="3929"/>
                  <a:pt x="1400" y="3850"/>
                  <a:pt x="1161" y="3707"/>
                </a:cubicBezTo>
                <a:cubicBezTo>
                  <a:pt x="1559" y="3707"/>
                  <a:pt x="1559" y="3707"/>
                  <a:pt x="1559" y="3707"/>
                </a:cubicBezTo>
                <a:cubicBezTo>
                  <a:pt x="1750" y="3707"/>
                  <a:pt x="1893" y="3564"/>
                  <a:pt x="1893" y="3373"/>
                </a:cubicBezTo>
                <a:cubicBezTo>
                  <a:pt x="1893" y="3293"/>
                  <a:pt x="1861" y="3214"/>
                  <a:pt x="1797" y="3150"/>
                </a:cubicBezTo>
                <a:cubicBezTo>
                  <a:pt x="1734" y="3086"/>
                  <a:pt x="1654" y="3055"/>
                  <a:pt x="1559" y="3055"/>
                </a:cubicBezTo>
                <a:cubicBezTo>
                  <a:pt x="318" y="3055"/>
                  <a:pt x="318" y="3055"/>
                  <a:pt x="318" y="3055"/>
                </a:cubicBezTo>
                <a:cubicBezTo>
                  <a:pt x="143" y="3055"/>
                  <a:pt x="0" y="3198"/>
                  <a:pt x="0" y="3373"/>
                </a:cubicBezTo>
                <a:cubicBezTo>
                  <a:pt x="0" y="4613"/>
                  <a:pt x="0" y="4613"/>
                  <a:pt x="0" y="4613"/>
                </a:cubicBezTo>
                <a:cubicBezTo>
                  <a:pt x="0" y="4693"/>
                  <a:pt x="32" y="4788"/>
                  <a:pt x="96" y="4852"/>
                </a:cubicBezTo>
                <a:cubicBezTo>
                  <a:pt x="160" y="4900"/>
                  <a:pt x="239" y="4947"/>
                  <a:pt x="318" y="4947"/>
                </a:cubicBezTo>
                <a:cubicBezTo>
                  <a:pt x="509" y="4947"/>
                  <a:pt x="652" y="4788"/>
                  <a:pt x="652" y="4613"/>
                </a:cubicBezTo>
                <a:cubicBezTo>
                  <a:pt x="652" y="4152"/>
                  <a:pt x="652" y="4152"/>
                  <a:pt x="652" y="4152"/>
                </a:cubicBezTo>
                <a:cubicBezTo>
                  <a:pt x="1034" y="4438"/>
                  <a:pt x="1511" y="4582"/>
                  <a:pt x="1988" y="4582"/>
                </a:cubicBezTo>
                <a:cubicBezTo>
                  <a:pt x="3245" y="4582"/>
                  <a:pt x="4279" y="3564"/>
                  <a:pt x="4279" y="2291"/>
                </a:cubicBezTo>
                <a:cubicBezTo>
                  <a:pt x="4279" y="1687"/>
                  <a:pt x="4024" y="1082"/>
                  <a:pt x="3595" y="653"/>
                </a:cubicBezTo>
                <a:close/>
                <a:moveTo>
                  <a:pt x="1988" y="4422"/>
                </a:moveTo>
                <a:cubicBezTo>
                  <a:pt x="1496" y="4422"/>
                  <a:pt x="1002" y="4247"/>
                  <a:pt x="621" y="3929"/>
                </a:cubicBezTo>
                <a:cubicBezTo>
                  <a:pt x="605" y="3913"/>
                  <a:pt x="573" y="3913"/>
                  <a:pt x="541" y="3913"/>
                </a:cubicBezTo>
                <a:cubicBezTo>
                  <a:pt x="509" y="3929"/>
                  <a:pt x="493" y="3961"/>
                  <a:pt x="493" y="3993"/>
                </a:cubicBezTo>
                <a:cubicBezTo>
                  <a:pt x="493" y="4613"/>
                  <a:pt x="493" y="4613"/>
                  <a:pt x="493" y="4613"/>
                </a:cubicBezTo>
                <a:cubicBezTo>
                  <a:pt x="493" y="4709"/>
                  <a:pt x="414" y="4788"/>
                  <a:pt x="318" y="4788"/>
                </a:cubicBezTo>
                <a:cubicBezTo>
                  <a:pt x="287" y="4788"/>
                  <a:pt x="239" y="4756"/>
                  <a:pt x="207" y="4725"/>
                </a:cubicBezTo>
                <a:cubicBezTo>
                  <a:pt x="175" y="4693"/>
                  <a:pt x="160" y="4661"/>
                  <a:pt x="160" y="4613"/>
                </a:cubicBezTo>
                <a:cubicBezTo>
                  <a:pt x="160" y="3373"/>
                  <a:pt x="160" y="3373"/>
                  <a:pt x="160" y="3373"/>
                </a:cubicBezTo>
                <a:cubicBezTo>
                  <a:pt x="160" y="3277"/>
                  <a:pt x="239" y="3214"/>
                  <a:pt x="318" y="3214"/>
                </a:cubicBezTo>
                <a:cubicBezTo>
                  <a:pt x="1559" y="3214"/>
                  <a:pt x="1559" y="3214"/>
                  <a:pt x="1559" y="3214"/>
                </a:cubicBezTo>
                <a:cubicBezTo>
                  <a:pt x="1607" y="3214"/>
                  <a:pt x="1654" y="3229"/>
                  <a:pt x="1687" y="3261"/>
                </a:cubicBezTo>
                <a:cubicBezTo>
                  <a:pt x="1718" y="3293"/>
                  <a:pt x="1734" y="3341"/>
                  <a:pt x="1734" y="3373"/>
                </a:cubicBezTo>
                <a:cubicBezTo>
                  <a:pt x="1734" y="3468"/>
                  <a:pt x="1654" y="3548"/>
                  <a:pt x="1559" y="3548"/>
                </a:cubicBezTo>
                <a:cubicBezTo>
                  <a:pt x="907" y="3548"/>
                  <a:pt x="907" y="3548"/>
                  <a:pt x="907" y="3548"/>
                </a:cubicBezTo>
                <a:cubicBezTo>
                  <a:pt x="875" y="3548"/>
                  <a:pt x="843" y="3564"/>
                  <a:pt x="827" y="3595"/>
                </a:cubicBezTo>
                <a:cubicBezTo>
                  <a:pt x="812" y="3627"/>
                  <a:pt x="827" y="3659"/>
                  <a:pt x="859" y="3691"/>
                </a:cubicBezTo>
                <a:cubicBezTo>
                  <a:pt x="1178" y="3946"/>
                  <a:pt x="1575" y="4089"/>
                  <a:pt x="1988" y="4089"/>
                </a:cubicBezTo>
                <a:cubicBezTo>
                  <a:pt x="2975" y="4089"/>
                  <a:pt x="3786" y="3293"/>
                  <a:pt x="3786" y="2291"/>
                </a:cubicBezTo>
                <a:cubicBezTo>
                  <a:pt x="3786" y="1814"/>
                  <a:pt x="3595" y="1337"/>
                  <a:pt x="3245" y="1003"/>
                </a:cubicBezTo>
                <a:cubicBezTo>
                  <a:pt x="2959" y="732"/>
                  <a:pt x="2625" y="557"/>
                  <a:pt x="2243" y="510"/>
                </a:cubicBezTo>
                <a:cubicBezTo>
                  <a:pt x="2211" y="510"/>
                  <a:pt x="2196" y="510"/>
                  <a:pt x="2179" y="526"/>
                </a:cubicBezTo>
                <a:cubicBezTo>
                  <a:pt x="2163" y="541"/>
                  <a:pt x="2148" y="574"/>
                  <a:pt x="2148" y="589"/>
                </a:cubicBezTo>
                <a:cubicBezTo>
                  <a:pt x="2148" y="2068"/>
                  <a:pt x="2148" y="2068"/>
                  <a:pt x="2148" y="2068"/>
                </a:cubicBezTo>
                <a:cubicBezTo>
                  <a:pt x="2148" y="2148"/>
                  <a:pt x="2084" y="2228"/>
                  <a:pt x="1988" y="2228"/>
                </a:cubicBezTo>
                <a:cubicBezTo>
                  <a:pt x="1893" y="2228"/>
                  <a:pt x="1814" y="2148"/>
                  <a:pt x="1814" y="2068"/>
                </a:cubicBezTo>
                <a:cubicBezTo>
                  <a:pt x="1814" y="383"/>
                  <a:pt x="1814" y="383"/>
                  <a:pt x="1814" y="383"/>
                </a:cubicBezTo>
                <a:cubicBezTo>
                  <a:pt x="1814" y="175"/>
                  <a:pt x="1941" y="160"/>
                  <a:pt x="1988" y="160"/>
                </a:cubicBezTo>
                <a:cubicBezTo>
                  <a:pt x="2005" y="160"/>
                  <a:pt x="2005" y="160"/>
                  <a:pt x="2020" y="160"/>
                </a:cubicBezTo>
                <a:cubicBezTo>
                  <a:pt x="2561" y="160"/>
                  <a:pt x="3086" y="366"/>
                  <a:pt x="3484" y="764"/>
                </a:cubicBezTo>
                <a:cubicBezTo>
                  <a:pt x="3881" y="1162"/>
                  <a:pt x="4120" y="1719"/>
                  <a:pt x="4120" y="2291"/>
                </a:cubicBezTo>
                <a:cubicBezTo>
                  <a:pt x="4120" y="3468"/>
                  <a:pt x="3166" y="4422"/>
                  <a:pt x="1988" y="442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Freeform: Shape 4">
            <a:extLst>
              <a:ext uri="{FF2B5EF4-FFF2-40B4-BE49-F238E27FC236}">
                <a16:creationId xmlns:a16="http://schemas.microsoft.com/office/drawing/2014/main" id="{69C0F465-E2B4-774F-AA0B-96FF5A062B49}"/>
              </a:ext>
            </a:extLst>
          </p:cNvPr>
          <p:cNvSpPr/>
          <p:nvPr/>
        </p:nvSpPr>
        <p:spPr>
          <a:xfrm>
            <a:off x="5940897" y="6353291"/>
            <a:ext cx="1748160" cy="1748160"/>
          </a:xfrm>
          <a:custGeom>
            <a:avLst/>
            <a:gdLst/>
            <a:ahLst/>
            <a:cxnLst>
              <a:cxn ang="3cd4">
                <a:pos x="hc" y="t"/>
              </a:cxn>
              <a:cxn ang="cd2">
                <a:pos x="l" y="vc"/>
              </a:cxn>
              <a:cxn ang="cd4">
                <a:pos x="hc" y="b"/>
              </a:cxn>
              <a:cxn ang="0">
                <a:pos x="r" y="vc"/>
              </a:cxn>
            </a:cxnLst>
            <a:rect l="l" t="t" r="r" b="b"/>
            <a:pathLst>
              <a:path w="4857" h="4857">
                <a:moveTo>
                  <a:pt x="3807" y="1246"/>
                </a:moveTo>
                <a:cubicBezTo>
                  <a:pt x="3680" y="1119"/>
                  <a:pt x="3473" y="1119"/>
                  <a:pt x="3346" y="1246"/>
                </a:cubicBezTo>
                <a:cubicBezTo>
                  <a:pt x="3282" y="1310"/>
                  <a:pt x="3250" y="1389"/>
                  <a:pt x="3250" y="1469"/>
                </a:cubicBezTo>
                <a:cubicBezTo>
                  <a:pt x="3250" y="1564"/>
                  <a:pt x="3282" y="1644"/>
                  <a:pt x="3346" y="1707"/>
                </a:cubicBezTo>
                <a:cubicBezTo>
                  <a:pt x="3759" y="2121"/>
                  <a:pt x="3759" y="2121"/>
                  <a:pt x="3759" y="2121"/>
                </a:cubicBezTo>
                <a:cubicBezTo>
                  <a:pt x="2153" y="2121"/>
                  <a:pt x="2153" y="2121"/>
                  <a:pt x="2153" y="2121"/>
                </a:cubicBezTo>
                <a:cubicBezTo>
                  <a:pt x="1294" y="801"/>
                  <a:pt x="1294" y="801"/>
                  <a:pt x="1294" y="801"/>
                </a:cubicBezTo>
                <a:cubicBezTo>
                  <a:pt x="1851" y="912"/>
                  <a:pt x="1851" y="912"/>
                  <a:pt x="1851" y="912"/>
                </a:cubicBezTo>
                <a:cubicBezTo>
                  <a:pt x="2042" y="960"/>
                  <a:pt x="2201" y="849"/>
                  <a:pt x="2232" y="674"/>
                </a:cubicBezTo>
                <a:cubicBezTo>
                  <a:pt x="2265" y="498"/>
                  <a:pt x="2153" y="323"/>
                  <a:pt x="1994" y="292"/>
                </a:cubicBezTo>
                <a:cubicBezTo>
                  <a:pt x="658" y="5"/>
                  <a:pt x="658" y="5"/>
                  <a:pt x="658" y="5"/>
                </a:cubicBezTo>
                <a:cubicBezTo>
                  <a:pt x="483" y="-26"/>
                  <a:pt x="308" y="85"/>
                  <a:pt x="276" y="260"/>
                </a:cubicBezTo>
                <a:cubicBezTo>
                  <a:pt x="6" y="1580"/>
                  <a:pt x="6" y="1580"/>
                  <a:pt x="6" y="1580"/>
                </a:cubicBezTo>
                <a:cubicBezTo>
                  <a:pt x="-10" y="1676"/>
                  <a:pt x="6" y="1755"/>
                  <a:pt x="53" y="1835"/>
                </a:cubicBezTo>
                <a:cubicBezTo>
                  <a:pt x="101" y="1898"/>
                  <a:pt x="165" y="1946"/>
                  <a:pt x="244" y="1962"/>
                </a:cubicBezTo>
                <a:cubicBezTo>
                  <a:pt x="419" y="2010"/>
                  <a:pt x="595" y="1882"/>
                  <a:pt x="626" y="1723"/>
                </a:cubicBezTo>
                <a:cubicBezTo>
                  <a:pt x="753" y="1150"/>
                  <a:pt x="753" y="1150"/>
                  <a:pt x="753" y="1150"/>
                </a:cubicBezTo>
                <a:cubicBezTo>
                  <a:pt x="1596" y="2455"/>
                  <a:pt x="1596" y="2455"/>
                  <a:pt x="1596" y="2455"/>
                </a:cubicBezTo>
                <a:cubicBezTo>
                  <a:pt x="801" y="3712"/>
                  <a:pt x="801" y="3712"/>
                  <a:pt x="801" y="3712"/>
                </a:cubicBezTo>
                <a:cubicBezTo>
                  <a:pt x="674" y="3139"/>
                  <a:pt x="674" y="3139"/>
                  <a:pt x="674" y="3139"/>
                </a:cubicBezTo>
                <a:cubicBezTo>
                  <a:pt x="658" y="3059"/>
                  <a:pt x="610" y="2980"/>
                  <a:pt x="531" y="2932"/>
                </a:cubicBezTo>
                <a:cubicBezTo>
                  <a:pt x="467" y="2885"/>
                  <a:pt x="372" y="2868"/>
                  <a:pt x="292" y="2885"/>
                </a:cubicBezTo>
                <a:cubicBezTo>
                  <a:pt x="213" y="2916"/>
                  <a:pt x="133" y="2964"/>
                  <a:pt x="86" y="3028"/>
                </a:cubicBezTo>
                <a:cubicBezTo>
                  <a:pt x="38" y="3107"/>
                  <a:pt x="22" y="3186"/>
                  <a:pt x="53" y="3282"/>
                </a:cubicBezTo>
                <a:cubicBezTo>
                  <a:pt x="340" y="4602"/>
                  <a:pt x="340" y="4602"/>
                  <a:pt x="340" y="4602"/>
                </a:cubicBezTo>
                <a:cubicBezTo>
                  <a:pt x="372" y="4745"/>
                  <a:pt x="499" y="4857"/>
                  <a:pt x="642" y="4857"/>
                </a:cubicBezTo>
                <a:cubicBezTo>
                  <a:pt x="674" y="4857"/>
                  <a:pt x="706" y="4857"/>
                  <a:pt x="722" y="4841"/>
                </a:cubicBezTo>
                <a:cubicBezTo>
                  <a:pt x="2042" y="4555"/>
                  <a:pt x="2042" y="4555"/>
                  <a:pt x="2042" y="4555"/>
                </a:cubicBezTo>
                <a:cubicBezTo>
                  <a:pt x="2121" y="4539"/>
                  <a:pt x="2201" y="4491"/>
                  <a:pt x="2249" y="4412"/>
                </a:cubicBezTo>
                <a:cubicBezTo>
                  <a:pt x="2296" y="4348"/>
                  <a:pt x="2312" y="4252"/>
                  <a:pt x="2296" y="4173"/>
                </a:cubicBezTo>
                <a:cubicBezTo>
                  <a:pt x="2265" y="4093"/>
                  <a:pt x="2217" y="4013"/>
                  <a:pt x="2153" y="3966"/>
                </a:cubicBezTo>
                <a:cubicBezTo>
                  <a:pt x="2074" y="3918"/>
                  <a:pt x="1994" y="3903"/>
                  <a:pt x="1914" y="3934"/>
                </a:cubicBezTo>
                <a:cubicBezTo>
                  <a:pt x="1342" y="4046"/>
                  <a:pt x="1342" y="4046"/>
                  <a:pt x="1342" y="4046"/>
                </a:cubicBezTo>
                <a:cubicBezTo>
                  <a:pt x="2169" y="2757"/>
                  <a:pt x="2169" y="2757"/>
                  <a:pt x="2169" y="2757"/>
                </a:cubicBezTo>
                <a:cubicBezTo>
                  <a:pt x="3759" y="2757"/>
                  <a:pt x="3759" y="2757"/>
                  <a:pt x="3759" y="2757"/>
                </a:cubicBezTo>
                <a:cubicBezTo>
                  <a:pt x="3346" y="3171"/>
                  <a:pt x="3346" y="3171"/>
                  <a:pt x="3346" y="3171"/>
                </a:cubicBezTo>
                <a:cubicBezTo>
                  <a:pt x="3219" y="3298"/>
                  <a:pt x="3219" y="3489"/>
                  <a:pt x="3346" y="3616"/>
                </a:cubicBezTo>
                <a:cubicBezTo>
                  <a:pt x="3473" y="3743"/>
                  <a:pt x="3680" y="3743"/>
                  <a:pt x="3807" y="3616"/>
                </a:cubicBezTo>
                <a:cubicBezTo>
                  <a:pt x="4762" y="2662"/>
                  <a:pt x="4762" y="2662"/>
                  <a:pt x="4762" y="2662"/>
                </a:cubicBezTo>
                <a:cubicBezTo>
                  <a:pt x="4889" y="2534"/>
                  <a:pt x="4889" y="2328"/>
                  <a:pt x="4762" y="2200"/>
                </a:cubicBezTo>
                <a:close/>
                <a:moveTo>
                  <a:pt x="4650" y="2550"/>
                </a:moveTo>
                <a:cubicBezTo>
                  <a:pt x="3696" y="3505"/>
                  <a:pt x="3696" y="3505"/>
                  <a:pt x="3696" y="3505"/>
                </a:cubicBezTo>
                <a:cubicBezTo>
                  <a:pt x="3632" y="3568"/>
                  <a:pt x="3521" y="3568"/>
                  <a:pt x="3458" y="3505"/>
                </a:cubicBezTo>
                <a:cubicBezTo>
                  <a:pt x="3394" y="3441"/>
                  <a:pt x="3394" y="3346"/>
                  <a:pt x="3458" y="3282"/>
                </a:cubicBezTo>
                <a:cubicBezTo>
                  <a:pt x="4014" y="2741"/>
                  <a:pt x="4014" y="2741"/>
                  <a:pt x="4014" y="2741"/>
                </a:cubicBezTo>
                <a:cubicBezTo>
                  <a:pt x="4030" y="2709"/>
                  <a:pt x="4030" y="2677"/>
                  <a:pt x="4030" y="2646"/>
                </a:cubicBezTo>
                <a:cubicBezTo>
                  <a:pt x="4014" y="2614"/>
                  <a:pt x="3982" y="2598"/>
                  <a:pt x="3950" y="2598"/>
                </a:cubicBezTo>
                <a:cubicBezTo>
                  <a:pt x="2121" y="2598"/>
                  <a:pt x="2121" y="2598"/>
                  <a:pt x="2121" y="2598"/>
                </a:cubicBezTo>
                <a:cubicBezTo>
                  <a:pt x="2105" y="2598"/>
                  <a:pt x="2074" y="2614"/>
                  <a:pt x="2058" y="2630"/>
                </a:cubicBezTo>
                <a:cubicBezTo>
                  <a:pt x="1104" y="4125"/>
                  <a:pt x="1104" y="4125"/>
                  <a:pt x="1104" y="4125"/>
                </a:cubicBezTo>
                <a:cubicBezTo>
                  <a:pt x="1087" y="4157"/>
                  <a:pt x="1087" y="4189"/>
                  <a:pt x="1104" y="4221"/>
                </a:cubicBezTo>
                <a:cubicBezTo>
                  <a:pt x="1119" y="4236"/>
                  <a:pt x="1151" y="4252"/>
                  <a:pt x="1183" y="4252"/>
                </a:cubicBezTo>
                <a:cubicBezTo>
                  <a:pt x="1946" y="4077"/>
                  <a:pt x="1946" y="4077"/>
                  <a:pt x="1946" y="4077"/>
                </a:cubicBezTo>
                <a:cubicBezTo>
                  <a:pt x="1978" y="4077"/>
                  <a:pt x="2026" y="4077"/>
                  <a:pt x="2058" y="4109"/>
                </a:cubicBezTo>
                <a:cubicBezTo>
                  <a:pt x="2105" y="4125"/>
                  <a:pt x="2121" y="4157"/>
                  <a:pt x="2137" y="4204"/>
                </a:cubicBezTo>
                <a:cubicBezTo>
                  <a:pt x="2137" y="4252"/>
                  <a:pt x="2137" y="4300"/>
                  <a:pt x="2105" y="4332"/>
                </a:cubicBezTo>
                <a:cubicBezTo>
                  <a:pt x="2089" y="4364"/>
                  <a:pt x="2058" y="4395"/>
                  <a:pt x="2010" y="4395"/>
                </a:cubicBezTo>
                <a:cubicBezTo>
                  <a:pt x="690" y="4698"/>
                  <a:pt x="690" y="4698"/>
                  <a:pt x="690" y="4698"/>
                </a:cubicBezTo>
                <a:cubicBezTo>
                  <a:pt x="610" y="4713"/>
                  <a:pt x="515" y="4650"/>
                  <a:pt x="499" y="4570"/>
                </a:cubicBezTo>
                <a:cubicBezTo>
                  <a:pt x="197" y="3234"/>
                  <a:pt x="197" y="3234"/>
                  <a:pt x="197" y="3234"/>
                </a:cubicBezTo>
                <a:cubicBezTo>
                  <a:pt x="197" y="3203"/>
                  <a:pt x="197" y="3155"/>
                  <a:pt x="229" y="3123"/>
                </a:cubicBezTo>
                <a:cubicBezTo>
                  <a:pt x="244" y="3075"/>
                  <a:pt x="276" y="3059"/>
                  <a:pt x="324" y="3043"/>
                </a:cubicBezTo>
                <a:cubicBezTo>
                  <a:pt x="340" y="3043"/>
                  <a:pt x="356" y="3043"/>
                  <a:pt x="356" y="3043"/>
                </a:cubicBezTo>
                <a:cubicBezTo>
                  <a:pt x="387" y="3043"/>
                  <a:pt x="419" y="3043"/>
                  <a:pt x="451" y="3075"/>
                </a:cubicBezTo>
                <a:cubicBezTo>
                  <a:pt x="483" y="3091"/>
                  <a:pt x="515" y="3123"/>
                  <a:pt x="515" y="3171"/>
                </a:cubicBezTo>
                <a:cubicBezTo>
                  <a:pt x="690" y="3918"/>
                  <a:pt x="690" y="3918"/>
                  <a:pt x="690" y="3918"/>
                </a:cubicBezTo>
                <a:cubicBezTo>
                  <a:pt x="690" y="3950"/>
                  <a:pt x="722" y="3982"/>
                  <a:pt x="753" y="3982"/>
                </a:cubicBezTo>
                <a:cubicBezTo>
                  <a:pt x="785" y="3998"/>
                  <a:pt x="817" y="3982"/>
                  <a:pt x="833" y="3950"/>
                </a:cubicBezTo>
                <a:cubicBezTo>
                  <a:pt x="1771" y="2487"/>
                  <a:pt x="1771" y="2487"/>
                  <a:pt x="1771" y="2487"/>
                </a:cubicBezTo>
                <a:cubicBezTo>
                  <a:pt x="1787" y="2471"/>
                  <a:pt x="1787" y="2439"/>
                  <a:pt x="1771" y="2407"/>
                </a:cubicBezTo>
                <a:cubicBezTo>
                  <a:pt x="785" y="896"/>
                  <a:pt x="785" y="896"/>
                  <a:pt x="785" y="896"/>
                </a:cubicBezTo>
                <a:cubicBezTo>
                  <a:pt x="753" y="880"/>
                  <a:pt x="722" y="864"/>
                  <a:pt x="690" y="864"/>
                </a:cubicBezTo>
                <a:cubicBezTo>
                  <a:pt x="658" y="880"/>
                  <a:pt x="642" y="896"/>
                  <a:pt x="626" y="928"/>
                </a:cubicBezTo>
                <a:cubicBezTo>
                  <a:pt x="483" y="1692"/>
                  <a:pt x="483" y="1692"/>
                  <a:pt x="483" y="1692"/>
                </a:cubicBezTo>
                <a:cubicBezTo>
                  <a:pt x="451" y="1771"/>
                  <a:pt x="372" y="1835"/>
                  <a:pt x="276" y="1819"/>
                </a:cubicBezTo>
                <a:cubicBezTo>
                  <a:pt x="244" y="1803"/>
                  <a:pt x="197" y="1771"/>
                  <a:pt x="181" y="1739"/>
                </a:cubicBezTo>
                <a:cubicBezTo>
                  <a:pt x="149" y="1707"/>
                  <a:pt x="149" y="1659"/>
                  <a:pt x="165" y="1612"/>
                </a:cubicBezTo>
                <a:cubicBezTo>
                  <a:pt x="435" y="292"/>
                  <a:pt x="435" y="292"/>
                  <a:pt x="435" y="292"/>
                </a:cubicBezTo>
                <a:cubicBezTo>
                  <a:pt x="451" y="196"/>
                  <a:pt x="531" y="149"/>
                  <a:pt x="626" y="165"/>
                </a:cubicBezTo>
                <a:cubicBezTo>
                  <a:pt x="1946" y="435"/>
                  <a:pt x="1946" y="435"/>
                  <a:pt x="1946" y="435"/>
                </a:cubicBezTo>
                <a:cubicBezTo>
                  <a:pt x="2042" y="467"/>
                  <a:pt x="2105" y="546"/>
                  <a:pt x="2074" y="641"/>
                </a:cubicBezTo>
                <a:cubicBezTo>
                  <a:pt x="2058" y="721"/>
                  <a:pt x="1978" y="785"/>
                  <a:pt x="1883" y="769"/>
                </a:cubicBezTo>
                <a:cubicBezTo>
                  <a:pt x="1135" y="610"/>
                  <a:pt x="1135" y="610"/>
                  <a:pt x="1135" y="610"/>
                </a:cubicBezTo>
                <a:cubicBezTo>
                  <a:pt x="1104" y="594"/>
                  <a:pt x="1071" y="610"/>
                  <a:pt x="1056" y="641"/>
                </a:cubicBezTo>
                <a:cubicBezTo>
                  <a:pt x="1040" y="658"/>
                  <a:pt x="1040" y="705"/>
                  <a:pt x="1056" y="721"/>
                </a:cubicBezTo>
                <a:cubicBezTo>
                  <a:pt x="2042" y="2232"/>
                  <a:pt x="2042" y="2232"/>
                  <a:pt x="2042" y="2232"/>
                </a:cubicBezTo>
                <a:cubicBezTo>
                  <a:pt x="2058" y="2264"/>
                  <a:pt x="2074" y="2280"/>
                  <a:pt x="2105" y="2280"/>
                </a:cubicBezTo>
                <a:cubicBezTo>
                  <a:pt x="3950" y="2280"/>
                  <a:pt x="3950" y="2280"/>
                  <a:pt x="3950" y="2280"/>
                </a:cubicBezTo>
                <a:cubicBezTo>
                  <a:pt x="3982" y="2280"/>
                  <a:pt x="4014" y="2248"/>
                  <a:pt x="4030" y="2216"/>
                </a:cubicBezTo>
                <a:cubicBezTo>
                  <a:pt x="4030" y="2200"/>
                  <a:pt x="4030" y="2153"/>
                  <a:pt x="4014" y="2137"/>
                </a:cubicBezTo>
                <a:cubicBezTo>
                  <a:pt x="3458" y="1596"/>
                  <a:pt x="3458" y="1596"/>
                  <a:pt x="3458" y="1596"/>
                </a:cubicBezTo>
                <a:cubicBezTo>
                  <a:pt x="3394" y="1532"/>
                  <a:pt x="3394" y="1421"/>
                  <a:pt x="3458" y="1358"/>
                </a:cubicBezTo>
                <a:cubicBezTo>
                  <a:pt x="3521" y="1294"/>
                  <a:pt x="3632" y="1294"/>
                  <a:pt x="3696" y="1358"/>
                </a:cubicBezTo>
                <a:cubicBezTo>
                  <a:pt x="4650" y="2328"/>
                  <a:pt x="4650" y="2328"/>
                  <a:pt x="4650" y="2328"/>
                </a:cubicBezTo>
                <a:cubicBezTo>
                  <a:pt x="4714" y="2391"/>
                  <a:pt x="4714" y="2487"/>
                  <a:pt x="4650" y="255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Freeform: Shape 5">
            <a:extLst>
              <a:ext uri="{FF2B5EF4-FFF2-40B4-BE49-F238E27FC236}">
                <a16:creationId xmlns:a16="http://schemas.microsoft.com/office/drawing/2014/main" id="{41E90188-A8E2-694F-B29B-0F38BA27BD6B}"/>
              </a:ext>
            </a:extLst>
          </p:cNvPr>
          <p:cNvSpPr/>
          <p:nvPr/>
        </p:nvSpPr>
        <p:spPr>
          <a:xfrm>
            <a:off x="9842993" y="6084322"/>
            <a:ext cx="1801800" cy="1712160"/>
          </a:xfrm>
          <a:custGeom>
            <a:avLst/>
            <a:gdLst/>
            <a:ahLst/>
            <a:cxnLst>
              <a:cxn ang="3cd4">
                <a:pos x="hc" y="t"/>
              </a:cxn>
              <a:cxn ang="cd2">
                <a:pos x="l" y="vc"/>
              </a:cxn>
              <a:cxn ang="cd4">
                <a:pos x="hc" y="b"/>
              </a:cxn>
              <a:cxn ang="0">
                <a:pos x="r" y="vc"/>
              </a:cxn>
            </a:cxnLst>
            <a:rect l="l" t="t" r="r" b="b"/>
            <a:pathLst>
              <a:path w="5006" h="4757">
                <a:moveTo>
                  <a:pt x="1723" y="3580"/>
                </a:moveTo>
                <a:cubicBezTo>
                  <a:pt x="1469" y="3580"/>
                  <a:pt x="1262" y="3787"/>
                  <a:pt x="1262" y="4041"/>
                </a:cubicBezTo>
                <a:cubicBezTo>
                  <a:pt x="1262" y="4296"/>
                  <a:pt x="1469" y="4503"/>
                  <a:pt x="1723" y="4503"/>
                </a:cubicBezTo>
                <a:cubicBezTo>
                  <a:pt x="1866" y="4503"/>
                  <a:pt x="2010" y="4439"/>
                  <a:pt x="2089" y="4327"/>
                </a:cubicBezTo>
                <a:cubicBezTo>
                  <a:pt x="2248" y="4375"/>
                  <a:pt x="2487" y="4439"/>
                  <a:pt x="2726" y="4439"/>
                </a:cubicBezTo>
                <a:cubicBezTo>
                  <a:pt x="3219" y="4439"/>
                  <a:pt x="3712" y="4200"/>
                  <a:pt x="4110" y="3755"/>
                </a:cubicBezTo>
                <a:lnTo>
                  <a:pt x="4110" y="4678"/>
                </a:lnTo>
                <a:cubicBezTo>
                  <a:pt x="4110" y="4725"/>
                  <a:pt x="4141" y="4757"/>
                  <a:pt x="4189" y="4757"/>
                </a:cubicBezTo>
                <a:cubicBezTo>
                  <a:pt x="4237" y="4757"/>
                  <a:pt x="4268" y="4725"/>
                  <a:pt x="4268" y="4678"/>
                </a:cubicBezTo>
                <a:lnTo>
                  <a:pt x="4268" y="3548"/>
                </a:lnTo>
                <a:cubicBezTo>
                  <a:pt x="4268" y="3500"/>
                  <a:pt x="4237" y="3469"/>
                  <a:pt x="4189" y="3469"/>
                </a:cubicBezTo>
                <a:lnTo>
                  <a:pt x="3060" y="3469"/>
                </a:lnTo>
                <a:cubicBezTo>
                  <a:pt x="3012" y="3469"/>
                  <a:pt x="2980" y="3500"/>
                  <a:pt x="2980" y="3548"/>
                </a:cubicBezTo>
                <a:cubicBezTo>
                  <a:pt x="2980" y="3596"/>
                  <a:pt x="3012" y="3628"/>
                  <a:pt x="3060" y="3628"/>
                </a:cubicBezTo>
                <a:lnTo>
                  <a:pt x="4014" y="3628"/>
                </a:lnTo>
                <a:cubicBezTo>
                  <a:pt x="3648" y="4041"/>
                  <a:pt x="3171" y="4280"/>
                  <a:pt x="2726" y="4280"/>
                </a:cubicBezTo>
                <a:cubicBezTo>
                  <a:pt x="2551" y="4280"/>
                  <a:pt x="2360" y="4248"/>
                  <a:pt x="2169" y="4184"/>
                </a:cubicBezTo>
                <a:cubicBezTo>
                  <a:pt x="2169" y="4137"/>
                  <a:pt x="2185" y="4089"/>
                  <a:pt x="2185" y="4041"/>
                </a:cubicBezTo>
                <a:cubicBezTo>
                  <a:pt x="2185" y="3787"/>
                  <a:pt x="1978" y="3580"/>
                  <a:pt x="1723" y="3580"/>
                </a:cubicBezTo>
                <a:close/>
                <a:moveTo>
                  <a:pt x="1723" y="4343"/>
                </a:moveTo>
                <a:cubicBezTo>
                  <a:pt x="1548" y="4343"/>
                  <a:pt x="1421" y="4216"/>
                  <a:pt x="1421" y="4041"/>
                </a:cubicBezTo>
                <a:cubicBezTo>
                  <a:pt x="1421" y="3866"/>
                  <a:pt x="1548" y="3739"/>
                  <a:pt x="1723" y="3739"/>
                </a:cubicBezTo>
                <a:cubicBezTo>
                  <a:pt x="1883" y="3739"/>
                  <a:pt x="2026" y="3866"/>
                  <a:pt x="2026" y="4041"/>
                </a:cubicBezTo>
                <a:cubicBezTo>
                  <a:pt x="2026" y="4089"/>
                  <a:pt x="2010" y="4137"/>
                  <a:pt x="1994" y="4184"/>
                </a:cubicBezTo>
                <a:cubicBezTo>
                  <a:pt x="1989" y="4189"/>
                  <a:pt x="1978" y="4184"/>
                  <a:pt x="1978" y="4200"/>
                </a:cubicBezTo>
                <a:cubicBezTo>
                  <a:pt x="1930" y="4280"/>
                  <a:pt x="1835" y="4343"/>
                  <a:pt x="1723" y="4343"/>
                </a:cubicBezTo>
                <a:close/>
                <a:moveTo>
                  <a:pt x="4620" y="2005"/>
                </a:moveTo>
                <a:lnTo>
                  <a:pt x="4572" y="2005"/>
                </a:lnTo>
                <a:cubicBezTo>
                  <a:pt x="4524" y="1830"/>
                  <a:pt x="4444" y="1607"/>
                  <a:pt x="4301" y="1417"/>
                </a:cubicBezTo>
                <a:cubicBezTo>
                  <a:pt x="4015" y="1003"/>
                  <a:pt x="3538" y="733"/>
                  <a:pt x="2949" y="669"/>
                </a:cubicBezTo>
                <a:lnTo>
                  <a:pt x="3713" y="144"/>
                </a:lnTo>
                <a:cubicBezTo>
                  <a:pt x="3745" y="113"/>
                  <a:pt x="3745" y="65"/>
                  <a:pt x="3729" y="33"/>
                </a:cubicBezTo>
                <a:cubicBezTo>
                  <a:pt x="3697" y="1"/>
                  <a:pt x="3649" y="-15"/>
                  <a:pt x="3617" y="17"/>
                </a:cubicBezTo>
                <a:lnTo>
                  <a:pt x="2679" y="653"/>
                </a:lnTo>
                <a:cubicBezTo>
                  <a:pt x="2647" y="685"/>
                  <a:pt x="2647" y="733"/>
                  <a:pt x="2663" y="765"/>
                </a:cubicBezTo>
                <a:lnTo>
                  <a:pt x="3315" y="1703"/>
                </a:lnTo>
                <a:cubicBezTo>
                  <a:pt x="3331" y="1719"/>
                  <a:pt x="3347" y="1735"/>
                  <a:pt x="3379" y="1735"/>
                </a:cubicBezTo>
                <a:cubicBezTo>
                  <a:pt x="3394" y="1735"/>
                  <a:pt x="3411" y="1719"/>
                  <a:pt x="3426" y="1719"/>
                </a:cubicBezTo>
                <a:cubicBezTo>
                  <a:pt x="3458" y="1687"/>
                  <a:pt x="3474" y="1640"/>
                  <a:pt x="3442" y="1607"/>
                </a:cubicBezTo>
                <a:lnTo>
                  <a:pt x="2902" y="828"/>
                </a:lnTo>
                <a:cubicBezTo>
                  <a:pt x="3236" y="860"/>
                  <a:pt x="3824" y="987"/>
                  <a:pt x="4174" y="1496"/>
                </a:cubicBezTo>
                <a:cubicBezTo>
                  <a:pt x="4269" y="1640"/>
                  <a:pt x="4349" y="1830"/>
                  <a:pt x="4412" y="2021"/>
                </a:cubicBezTo>
                <a:cubicBezTo>
                  <a:pt x="4365" y="2037"/>
                  <a:pt x="4317" y="2053"/>
                  <a:pt x="4285" y="2085"/>
                </a:cubicBezTo>
                <a:cubicBezTo>
                  <a:pt x="4063" y="2228"/>
                  <a:pt x="4015" y="2514"/>
                  <a:pt x="4158" y="2737"/>
                </a:cubicBezTo>
                <a:cubicBezTo>
                  <a:pt x="4254" y="2864"/>
                  <a:pt x="4397" y="2928"/>
                  <a:pt x="4540" y="2928"/>
                </a:cubicBezTo>
                <a:cubicBezTo>
                  <a:pt x="4635" y="2928"/>
                  <a:pt x="4730" y="2912"/>
                  <a:pt x="4810" y="2848"/>
                </a:cubicBezTo>
                <a:cubicBezTo>
                  <a:pt x="4906" y="2785"/>
                  <a:pt x="4985" y="2673"/>
                  <a:pt x="5001" y="2546"/>
                </a:cubicBezTo>
                <a:cubicBezTo>
                  <a:pt x="5017" y="2435"/>
                  <a:pt x="5001" y="2307"/>
                  <a:pt x="4921" y="2196"/>
                </a:cubicBezTo>
                <a:cubicBezTo>
                  <a:pt x="4858" y="2101"/>
                  <a:pt x="4747" y="2037"/>
                  <a:pt x="4620" y="2005"/>
                </a:cubicBezTo>
                <a:close/>
                <a:moveTo>
                  <a:pt x="4842" y="2530"/>
                </a:moveTo>
                <a:cubicBezTo>
                  <a:pt x="4826" y="2610"/>
                  <a:pt x="4778" y="2673"/>
                  <a:pt x="4715" y="2721"/>
                </a:cubicBezTo>
                <a:cubicBezTo>
                  <a:pt x="4572" y="2816"/>
                  <a:pt x="4381" y="2785"/>
                  <a:pt x="4285" y="2642"/>
                </a:cubicBezTo>
                <a:cubicBezTo>
                  <a:pt x="4190" y="2498"/>
                  <a:pt x="4238" y="2307"/>
                  <a:pt x="4365" y="2212"/>
                </a:cubicBezTo>
                <a:cubicBezTo>
                  <a:pt x="4412" y="2196"/>
                  <a:pt x="4460" y="2180"/>
                  <a:pt x="4492" y="2164"/>
                </a:cubicBezTo>
                <a:lnTo>
                  <a:pt x="4508" y="2164"/>
                </a:lnTo>
                <a:lnTo>
                  <a:pt x="4524" y="2164"/>
                </a:lnTo>
                <a:lnTo>
                  <a:pt x="4540" y="2164"/>
                </a:lnTo>
                <a:lnTo>
                  <a:pt x="4603" y="2164"/>
                </a:lnTo>
                <a:cubicBezTo>
                  <a:pt x="4683" y="2180"/>
                  <a:pt x="4747" y="2228"/>
                  <a:pt x="4794" y="2292"/>
                </a:cubicBezTo>
                <a:cubicBezTo>
                  <a:pt x="4842" y="2355"/>
                  <a:pt x="4858" y="2435"/>
                  <a:pt x="4842" y="2530"/>
                </a:cubicBezTo>
                <a:close/>
                <a:moveTo>
                  <a:pt x="6" y="2834"/>
                </a:moveTo>
                <a:cubicBezTo>
                  <a:pt x="-10" y="2865"/>
                  <a:pt x="6" y="2913"/>
                  <a:pt x="38" y="2929"/>
                </a:cubicBezTo>
                <a:lnTo>
                  <a:pt x="1071" y="3406"/>
                </a:lnTo>
                <a:lnTo>
                  <a:pt x="1103" y="3406"/>
                </a:lnTo>
                <a:cubicBezTo>
                  <a:pt x="1135" y="3406"/>
                  <a:pt x="1167" y="3390"/>
                  <a:pt x="1167" y="3374"/>
                </a:cubicBezTo>
                <a:lnTo>
                  <a:pt x="1644" y="2340"/>
                </a:lnTo>
                <a:cubicBezTo>
                  <a:pt x="1660" y="2293"/>
                  <a:pt x="1644" y="2245"/>
                  <a:pt x="1612" y="2229"/>
                </a:cubicBezTo>
                <a:cubicBezTo>
                  <a:pt x="1565" y="2213"/>
                  <a:pt x="1517" y="2229"/>
                  <a:pt x="1501" y="2277"/>
                </a:cubicBezTo>
                <a:lnTo>
                  <a:pt x="1103" y="3152"/>
                </a:lnTo>
                <a:cubicBezTo>
                  <a:pt x="960" y="2849"/>
                  <a:pt x="769" y="2277"/>
                  <a:pt x="1039" y="1704"/>
                </a:cubicBezTo>
                <a:cubicBezTo>
                  <a:pt x="1103" y="1545"/>
                  <a:pt x="1230" y="1386"/>
                  <a:pt x="1374" y="1227"/>
                </a:cubicBezTo>
                <a:cubicBezTo>
                  <a:pt x="1405" y="1259"/>
                  <a:pt x="1437" y="1290"/>
                  <a:pt x="1485" y="1307"/>
                </a:cubicBezTo>
                <a:cubicBezTo>
                  <a:pt x="1548" y="1338"/>
                  <a:pt x="1612" y="1354"/>
                  <a:pt x="1676" y="1354"/>
                </a:cubicBezTo>
                <a:cubicBezTo>
                  <a:pt x="1851" y="1354"/>
                  <a:pt x="2026" y="1243"/>
                  <a:pt x="2105" y="1084"/>
                </a:cubicBezTo>
                <a:cubicBezTo>
                  <a:pt x="2201" y="845"/>
                  <a:pt x="2105" y="575"/>
                  <a:pt x="1866" y="463"/>
                </a:cubicBezTo>
                <a:cubicBezTo>
                  <a:pt x="1644" y="352"/>
                  <a:pt x="1357" y="463"/>
                  <a:pt x="1262" y="686"/>
                </a:cubicBezTo>
                <a:cubicBezTo>
                  <a:pt x="1199" y="829"/>
                  <a:pt x="1199" y="972"/>
                  <a:pt x="1278" y="1099"/>
                </a:cubicBezTo>
                <a:cubicBezTo>
                  <a:pt x="1151" y="1227"/>
                  <a:pt x="992" y="1418"/>
                  <a:pt x="896" y="1625"/>
                </a:cubicBezTo>
                <a:cubicBezTo>
                  <a:pt x="674" y="2086"/>
                  <a:pt x="690" y="2643"/>
                  <a:pt x="944" y="3167"/>
                </a:cubicBezTo>
                <a:lnTo>
                  <a:pt x="101" y="2786"/>
                </a:lnTo>
                <a:cubicBezTo>
                  <a:pt x="69" y="2770"/>
                  <a:pt x="21" y="2786"/>
                  <a:pt x="6" y="2834"/>
                </a:cubicBezTo>
                <a:close/>
                <a:moveTo>
                  <a:pt x="1405" y="750"/>
                </a:moveTo>
                <a:cubicBezTo>
                  <a:pt x="1469" y="607"/>
                  <a:pt x="1660" y="543"/>
                  <a:pt x="1803" y="607"/>
                </a:cubicBezTo>
                <a:cubicBezTo>
                  <a:pt x="1962" y="670"/>
                  <a:pt x="2026" y="861"/>
                  <a:pt x="1962" y="1004"/>
                </a:cubicBezTo>
                <a:cubicBezTo>
                  <a:pt x="1883" y="1163"/>
                  <a:pt x="1708" y="1227"/>
                  <a:pt x="1548" y="1163"/>
                </a:cubicBezTo>
                <a:cubicBezTo>
                  <a:pt x="1501" y="1147"/>
                  <a:pt x="1469" y="1116"/>
                  <a:pt x="1437" y="1084"/>
                </a:cubicBezTo>
                <a:lnTo>
                  <a:pt x="1437" y="1052"/>
                </a:lnTo>
                <a:lnTo>
                  <a:pt x="1421" y="1052"/>
                </a:lnTo>
                <a:cubicBezTo>
                  <a:pt x="1374" y="972"/>
                  <a:pt x="1357" y="861"/>
                  <a:pt x="1405" y="75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6">
            <a:extLst>
              <a:ext uri="{FF2B5EF4-FFF2-40B4-BE49-F238E27FC236}">
                <a16:creationId xmlns:a16="http://schemas.microsoft.com/office/drawing/2014/main" id="{25986C16-E43E-F94C-BE54-85E71C0AC2D6}"/>
              </a:ext>
            </a:extLst>
          </p:cNvPr>
          <p:cNvSpPr/>
          <p:nvPr/>
        </p:nvSpPr>
        <p:spPr>
          <a:xfrm>
            <a:off x="1861208" y="9483981"/>
            <a:ext cx="1637280" cy="1637280"/>
          </a:xfrm>
          <a:custGeom>
            <a:avLst/>
            <a:gdLst/>
            <a:ahLst/>
            <a:cxnLst>
              <a:cxn ang="3cd4">
                <a:pos x="hc" y="t"/>
              </a:cxn>
              <a:cxn ang="cd2">
                <a:pos x="l" y="vc"/>
              </a:cxn>
              <a:cxn ang="cd4">
                <a:pos x="hc" y="b"/>
              </a:cxn>
              <a:cxn ang="0">
                <a:pos x="r" y="vc"/>
              </a:cxn>
            </a:cxnLst>
            <a:rect l="l" t="t" r="r" b="b"/>
            <a:pathLst>
              <a:path w="4549" h="4549">
                <a:moveTo>
                  <a:pt x="4390" y="1670"/>
                </a:moveTo>
                <a:cubicBezTo>
                  <a:pt x="4422" y="1654"/>
                  <a:pt x="4454" y="1606"/>
                  <a:pt x="4438" y="1558"/>
                </a:cubicBezTo>
                <a:cubicBezTo>
                  <a:pt x="4406" y="1495"/>
                  <a:pt x="4374" y="1415"/>
                  <a:pt x="4343" y="1336"/>
                </a:cubicBezTo>
                <a:cubicBezTo>
                  <a:pt x="4326" y="1288"/>
                  <a:pt x="4279" y="1272"/>
                  <a:pt x="4231" y="1288"/>
                </a:cubicBezTo>
                <a:cubicBezTo>
                  <a:pt x="4199" y="1304"/>
                  <a:pt x="4183" y="1352"/>
                  <a:pt x="4199" y="1399"/>
                </a:cubicBezTo>
                <a:cubicBezTo>
                  <a:pt x="4231" y="1463"/>
                  <a:pt x="4263" y="1543"/>
                  <a:pt x="4279" y="1622"/>
                </a:cubicBezTo>
                <a:cubicBezTo>
                  <a:pt x="4295" y="1654"/>
                  <a:pt x="4326" y="1670"/>
                  <a:pt x="4358" y="1670"/>
                </a:cubicBezTo>
                <a:close/>
                <a:moveTo>
                  <a:pt x="223" y="1257"/>
                </a:moveTo>
                <a:cubicBezTo>
                  <a:pt x="159" y="1416"/>
                  <a:pt x="96" y="1575"/>
                  <a:pt x="48" y="1734"/>
                </a:cubicBezTo>
                <a:cubicBezTo>
                  <a:pt x="48" y="1782"/>
                  <a:pt x="64" y="1830"/>
                  <a:pt x="111" y="1830"/>
                </a:cubicBezTo>
                <a:lnTo>
                  <a:pt x="127" y="1830"/>
                </a:lnTo>
                <a:cubicBezTo>
                  <a:pt x="159" y="1830"/>
                  <a:pt x="191" y="1814"/>
                  <a:pt x="207" y="1782"/>
                </a:cubicBezTo>
                <a:cubicBezTo>
                  <a:pt x="239" y="1623"/>
                  <a:pt x="302" y="1480"/>
                  <a:pt x="366" y="1337"/>
                </a:cubicBezTo>
                <a:cubicBezTo>
                  <a:pt x="398" y="1289"/>
                  <a:pt x="382" y="1241"/>
                  <a:pt x="334" y="1225"/>
                </a:cubicBezTo>
                <a:cubicBezTo>
                  <a:pt x="302" y="1210"/>
                  <a:pt x="254" y="1225"/>
                  <a:pt x="223" y="1257"/>
                </a:cubicBezTo>
                <a:close/>
                <a:moveTo>
                  <a:pt x="4152" y="3419"/>
                </a:moveTo>
                <a:cubicBezTo>
                  <a:pt x="4120" y="3388"/>
                  <a:pt x="4072" y="3403"/>
                  <a:pt x="4040" y="3435"/>
                </a:cubicBezTo>
                <a:cubicBezTo>
                  <a:pt x="3961" y="3578"/>
                  <a:pt x="3849" y="3690"/>
                  <a:pt x="3738" y="3801"/>
                </a:cubicBezTo>
                <a:cubicBezTo>
                  <a:pt x="3706" y="3833"/>
                  <a:pt x="3706" y="3881"/>
                  <a:pt x="3738" y="3912"/>
                </a:cubicBezTo>
                <a:cubicBezTo>
                  <a:pt x="3754" y="3928"/>
                  <a:pt x="3770" y="3944"/>
                  <a:pt x="3802" y="3944"/>
                </a:cubicBezTo>
                <a:cubicBezTo>
                  <a:pt x="3817" y="3944"/>
                  <a:pt x="3834" y="3928"/>
                  <a:pt x="3849" y="3912"/>
                </a:cubicBezTo>
                <a:cubicBezTo>
                  <a:pt x="3977" y="3801"/>
                  <a:pt x="4088" y="3674"/>
                  <a:pt x="4183" y="3531"/>
                </a:cubicBezTo>
                <a:cubicBezTo>
                  <a:pt x="4199" y="3483"/>
                  <a:pt x="4183" y="3435"/>
                  <a:pt x="4152" y="3419"/>
                </a:cubicBezTo>
                <a:close/>
                <a:moveTo>
                  <a:pt x="1527" y="4263"/>
                </a:moveTo>
                <a:cubicBezTo>
                  <a:pt x="1495" y="4263"/>
                  <a:pt x="1448" y="4278"/>
                  <a:pt x="1432" y="4310"/>
                </a:cubicBezTo>
                <a:cubicBezTo>
                  <a:pt x="1416" y="4358"/>
                  <a:pt x="1432" y="4406"/>
                  <a:pt x="1480" y="4421"/>
                </a:cubicBezTo>
                <a:cubicBezTo>
                  <a:pt x="1638" y="4485"/>
                  <a:pt x="1813" y="4517"/>
                  <a:pt x="1972" y="4549"/>
                </a:cubicBezTo>
                <a:lnTo>
                  <a:pt x="1989" y="4549"/>
                </a:lnTo>
                <a:cubicBezTo>
                  <a:pt x="2020" y="4549"/>
                  <a:pt x="2052" y="4517"/>
                  <a:pt x="2068" y="4469"/>
                </a:cubicBezTo>
                <a:cubicBezTo>
                  <a:pt x="2068" y="4421"/>
                  <a:pt x="2036" y="4390"/>
                  <a:pt x="1989" y="4390"/>
                </a:cubicBezTo>
                <a:cubicBezTo>
                  <a:pt x="1845" y="4358"/>
                  <a:pt x="1686" y="4326"/>
                  <a:pt x="1527" y="4263"/>
                </a:cubicBezTo>
                <a:close/>
                <a:moveTo>
                  <a:pt x="796" y="763"/>
                </a:moveTo>
                <a:cubicBezTo>
                  <a:pt x="907" y="652"/>
                  <a:pt x="1034" y="540"/>
                  <a:pt x="1161" y="461"/>
                </a:cubicBezTo>
                <a:cubicBezTo>
                  <a:pt x="1209" y="445"/>
                  <a:pt x="1209" y="397"/>
                  <a:pt x="1193" y="349"/>
                </a:cubicBezTo>
                <a:cubicBezTo>
                  <a:pt x="1161" y="318"/>
                  <a:pt x="1114" y="302"/>
                  <a:pt x="1082" y="334"/>
                </a:cubicBezTo>
                <a:cubicBezTo>
                  <a:pt x="939" y="413"/>
                  <a:pt x="796" y="525"/>
                  <a:pt x="684" y="636"/>
                </a:cubicBezTo>
                <a:cubicBezTo>
                  <a:pt x="652" y="668"/>
                  <a:pt x="652" y="731"/>
                  <a:pt x="684" y="763"/>
                </a:cubicBezTo>
                <a:cubicBezTo>
                  <a:pt x="700" y="779"/>
                  <a:pt x="716" y="779"/>
                  <a:pt x="732" y="779"/>
                </a:cubicBezTo>
                <a:cubicBezTo>
                  <a:pt x="748" y="779"/>
                  <a:pt x="780" y="779"/>
                  <a:pt x="796" y="763"/>
                </a:cubicBezTo>
                <a:close/>
                <a:moveTo>
                  <a:pt x="96" y="3006"/>
                </a:moveTo>
                <a:cubicBezTo>
                  <a:pt x="111" y="3037"/>
                  <a:pt x="143" y="3054"/>
                  <a:pt x="175" y="3054"/>
                </a:cubicBezTo>
                <a:lnTo>
                  <a:pt x="207" y="3054"/>
                </a:lnTo>
                <a:cubicBezTo>
                  <a:pt x="239" y="3037"/>
                  <a:pt x="271" y="2990"/>
                  <a:pt x="254" y="2942"/>
                </a:cubicBezTo>
                <a:cubicBezTo>
                  <a:pt x="207" y="2799"/>
                  <a:pt x="175" y="2640"/>
                  <a:pt x="159" y="2481"/>
                </a:cubicBezTo>
                <a:cubicBezTo>
                  <a:pt x="159" y="2433"/>
                  <a:pt x="111" y="2401"/>
                  <a:pt x="64" y="2417"/>
                </a:cubicBezTo>
                <a:cubicBezTo>
                  <a:pt x="32" y="2417"/>
                  <a:pt x="0" y="2449"/>
                  <a:pt x="0" y="2497"/>
                </a:cubicBezTo>
                <a:cubicBezTo>
                  <a:pt x="16" y="2672"/>
                  <a:pt x="48" y="2831"/>
                  <a:pt x="96" y="3006"/>
                </a:cubicBezTo>
                <a:close/>
                <a:moveTo>
                  <a:pt x="477" y="3564"/>
                </a:moveTo>
                <a:cubicBezTo>
                  <a:pt x="445" y="3595"/>
                  <a:pt x="430" y="3643"/>
                  <a:pt x="462" y="3675"/>
                </a:cubicBezTo>
                <a:cubicBezTo>
                  <a:pt x="573" y="3802"/>
                  <a:pt x="684" y="3929"/>
                  <a:pt x="811" y="4041"/>
                </a:cubicBezTo>
                <a:cubicBezTo>
                  <a:pt x="827" y="4056"/>
                  <a:pt x="843" y="4056"/>
                  <a:pt x="875" y="4056"/>
                </a:cubicBezTo>
                <a:cubicBezTo>
                  <a:pt x="891" y="4056"/>
                  <a:pt x="907" y="4041"/>
                  <a:pt x="923" y="4025"/>
                </a:cubicBezTo>
                <a:cubicBezTo>
                  <a:pt x="954" y="3993"/>
                  <a:pt x="954" y="3945"/>
                  <a:pt x="923" y="3913"/>
                </a:cubicBezTo>
                <a:cubicBezTo>
                  <a:pt x="796" y="3818"/>
                  <a:pt x="684" y="3707"/>
                  <a:pt x="589" y="3579"/>
                </a:cubicBezTo>
                <a:cubicBezTo>
                  <a:pt x="557" y="3547"/>
                  <a:pt x="509" y="3532"/>
                  <a:pt x="477" y="3564"/>
                </a:cubicBezTo>
                <a:close/>
                <a:moveTo>
                  <a:pt x="4470" y="2242"/>
                </a:moveTo>
                <a:cubicBezTo>
                  <a:pt x="4438" y="2242"/>
                  <a:pt x="4390" y="2274"/>
                  <a:pt x="4390" y="2322"/>
                </a:cubicBezTo>
                <a:cubicBezTo>
                  <a:pt x="4390" y="2481"/>
                  <a:pt x="4358" y="2640"/>
                  <a:pt x="4326" y="2783"/>
                </a:cubicBezTo>
                <a:cubicBezTo>
                  <a:pt x="4311" y="2831"/>
                  <a:pt x="4343" y="2879"/>
                  <a:pt x="4390" y="2879"/>
                </a:cubicBezTo>
                <a:lnTo>
                  <a:pt x="4406" y="2894"/>
                </a:lnTo>
                <a:cubicBezTo>
                  <a:pt x="4438" y="2894"/>
                  <a:pt x="4470" y="2863"/>
                  <a:pt x="4486" y="2831"/>
                </a:cubicBezTo>
                <a:cubicBezTo>
                  <a:pt x="4517" y="2656"/>
                  <a:pt x="4549" y="2497"/>
                  <a:pt x="4549" y="2322"/>
                </a:cubicBezTo>
                <a:cubicBezTo>
                  <a:pt x="4549" y="2274"/>
                  <a:pt x="4517" y="2242"/>
                  <a:pt x="4470" y="2242"/>
                </a:cubicBezTo>
                <a:close/>
                <a:moveTo>
                  <a:pt x="1813" y="206"/>
                </a:moveTo>
                <a:lnTo>
                  <a:pt x="1829" y="206"/>
                </a:lnTo>
                <a:cubicBezTo>
                  <a:pt x="1972" y="174"/>
                  <a:pt x="2116" y="159"/>
                  <a:pt x="2275" y="159"/>
                </a:cubicBezTo>
                <a:lnTo>
                  <a:pt x="2290" y="159"/>
                </a:lnTo>
                <a:cubicBezTo>
                  <a:pt x="2338" y="159"/>
                  <a:pt x="2370" y="127"/>
                  <a:pt x="2386" y="79"/>
                </a:cubicBezTo>
                <a:cubicBezTo>
                  <a:pt x="2386" y="31"/>
                  <a:pt x="2338" y="0"/>
                  <a:pt x="2307" y="0"/>
                </a:cubicBezTo>
                <a:lnTo>
                  <a:pt x="2275" y="0"/>
                </a:lnTo>
                <a:cubicBezTo>
                  <a:pt x="2116" y="0"/>
                  <a:pt x="1941" y="16"/>
                  <a:pt x="1798" y="47"/>
                </a:cubicBezTo>
                <a:cubicBezTo>
                  <a:pt x="1750" y="63"/>
                  <a:pt x="1718" y="95"/>
                  <a:pt x="1734" y="143"/>
                </a:cubicBezTo>
                <a:cubicBezTo>
                  <a:pt x="1734" y="174"/>
                  <a:pt x="1766" y="206"/>
                  <a:pt x="1813" y="206"/>
                </a:cubicBezTo>
                <a:close/>
                <a:moveTo>
                  <a:pt x="2720" y="4517"/>
                </a:moveTo>
                <a:lnTo>
                  <a:pt x="2736" y="4517"/>
                </a:lnTo>
                <a:cubicBezTo>
                  <a:pt x="2911" y="4469"/>
                  <a:pt x="3070" y="4421"/>
                  <a:pt x="3229" y="4358"/>
                </a:cubicBezTo>
                <a:cubicBezTo>
                  <a:pt x="3261" y="4326"/>
                  <a:pt x="3277" y="4278"/>
                  <a:pt x="3261" y="4246"/>
                </a:cubicBezTo>
                <a:cubicBezTo>
                  <a:pt x="3245" y="4199"/>
                  <a:pt x="3197" y="4183"/>
                  <a:pt x="3150" y="4199"/>
                </a:cubicBezTo>
                <a:cubicBezTo>
                  <a:pt x="3007" y="4278"/>
                  <a:pt x="2863" y="4326"/>
                  <a:pt x="2704" y="4358"/>
                </a:cubicBezTo>
                <a:cubicBezTo>
                  <a:pt x="2656" y="4358"/>
                  <a:pt x="2641" y="4406"/>
                  <a:pt x="2641" y="4453"/>
                </a:cubicBezTo>
                <a:cubicBezTo>
                  <a:pt x="2656" y="4485"/>
                  <a:pt x="2688" y="4517"/>
                  <a:pt x="2720" y="4517"/>
                </a:cubicBezTo>
                <a:close/>
                <a:moveTo>
                  <a:pt x="3213" y="382"/>
                </a:moveTo>
                <a:cubicBezTo>
                  <a:pt x="3229" y="382"/>
                  <a:pt x="3234" y="392"/>
                  <a:pt x="3245" y="397"/>
                </a:cubicBezTo>
                <a:cubicBezTo>
                  <a:pt x="3277" y="397"/>
                  <a:pt x="3308" y="382"/>
                  <a:pt x="3325" y="349"/>
                </a:cubicBezTo>
                <a:cubicBezTo>
                  <a:pt x="3340" y="302"/>
                  <a:pt x="3325" y="254"/>
                  <a:pt x="3293" y="238"/>
                </a:cubicBezTo>
                <a:cubicBezTo>
                  <a:pt x="3213" y="206"/>
                  <a:pt x="3134" y="174"/>
                  <a:pt x="3054" y="143"/>
                </a:cubicBezTo>
                <a:cubicBezTo>
                  <a:pt x="3022" y="127"/>
                  <a:pt x="2974" y="143"/>
                  <a:pt x="2959" y="191"/>
                </a:cubicBezTo>
                <a:cubicBezTo>
                  <a:pt x="2943" y="222"/>
                  <a:pt x="2959" y="270"/>
                  <a:pt x="3007" y="286"/>
                </a:cubicBezTo>
                <a:cubicBezTo>
                  <a:pt x="3070" y="318"/>
                  <a:pt x="3150" y="349"/>
                  <a:pt x="3213" y="382"/>
                </a:cubicBezTo>
                <a:close/>
                <a:moveTo>
                  <a:pt x="3834" y="365"/>
                </a:moveTo>
                <a:cubicBezTo>
                  <a:pt x="3563" y="365"/>
                  <a:pt x="3340" y="588"/>
                  <a:pt x="3340" y="858"/>
                </a:cubicBezTo>
                <a:cubicBezTo>
                  <a:pt x="3340" y="1129"/>
                  <a:pt x="3563" y="1352"/>
                  <a:pt x="3834" y="1352"/>
                </a:cubicBezTo>
                <a:cubicBezTo>
                  <a:pt x="4104" y="1352"/>
                  <a:pt x="4326" y="1129"/>
                  <a:pt x="4326" y="858"/>
                </a:cubicBezTo>
                <a:cubicBezTo>
                  <a:pt x="4326" y="588"/>
                  <a:pt x="4104" y="365"/>
                  <a:pt x="3834" y="365"/>
                </a:cubicBezTo>
                <a:close/>
                <a:moveTo>
                  <a:pt x="3834" y="1192"/>
                </a:moveTo>
                <a:cubicBezTo>
                  <a:pt x="3643" y="1192"/>
                  <a:pt x="3499" y="1049"/>
                  <a:pt x="3499" y="858"/>
                </a:cubicBezTo>
                <a:cubicBezTo>
                  <a:pt x="3499" y="668"/>
                  <a:pt x="3643" y="525"/>
                  <a:pt x="3834" y="525"/>
                </a:cubicBezTo>
                <a:cubicBezTo>
                  <a:pt x="4025" y="525"/>
                  <a:pt x="4168" y="668"/>
                  <a:pt x="4168" y="858"/>
                </a:cubicBezTo>
                <a:cubicBezTo>
                  <a:pt x="4168" y="1049"/>
                  <a:pt x="4025" y="1192"/>
                  <a:pt x="3834" y="1192"/>
                </a:cubicBezTo>
                <a:close/>
                <a:moveTo>
                  <a:pt x="1734" y="1861"/>
                </a:moveTo>
                <a:cubicBezTo>
                  <a:pt x="1161" y="1861"/>
                  <a:pt x="700" y="2306"/>
                  <a:pt x="700" y="2863"/>
                </a:cubicBezTo>
                <a:cubicBezTo>
                  <a:pt x="700" y="3403"/>
                  <a:pt x="1161" y="3864"/>
                  <a:pt x="1734" y="3864"/>
                </a:cubicBezTo>
                <a:cubicBezTo>
                  <a:pt x="2290" y="3864"/>
                  <a:pt x="2768" y="3403"/>
                  <a:pt x="2768" y="2863"/>
                </a:cubicBezTo>
                <a:cubicBezTo>
                  <a:pt x="2768" y="2306"/>
                  <a:pt x="2290" y="1861"/>
                  <a:pt x="1734" y="1861"/>
                </a:cubicBezTo>
                <a:close/>
                <a:moveTo>
                  <a:pt x="1734" y="3706"/>
                </a:moveTo>
                <a:cubicBezTo>
                  <a:pt x="1257" y="3706"/>
                  <a:pt x="859" y="3324"/>
                  <a:pt x="859" y="2863"/>
                </a:cubicBezTo>
                <a:cubicBezTo>
                  <a:pt x="859" y="2401"/>
                  <a:pt x="1257" y="2019"/>
                  <a:pt x="1734" y="2019"/>
                </a:cubicBezTo>
                <a:cubicBezTo>
                  <a:pt x="2211" y="2019"/>
                  <a:pt x="2609" y="2401"/>
                  <a:pt x="2609" y="2863"/>
                </a:cubicBezTo>
                <a:cubicBezTo>
                  <a:pt x="2609" y="3324"/>
                  <a:pt x="2211" y="3706"/>
                  <a:pt x="1734" y="370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3" name="Freeform: Shape 7">
            <a:extLst>
              <a:ext uri="{FF2B5EF4-FFF2-40B4-BE49-F238E27FC236}">
                <a16:creationId xmlns:a16="http://schemas.microsoft.com/office/drawing/2014/main" id="{304064E2-28D3-E54C-9214-9AE4E284A1CE}"/>
              </a:ext>
            </a:extLst>
          </p:cNvPr>
          <p:cNvSpPr/>
          <p:nvPr/>
        </p:nvSpPr>
        <p:spPr>
          <a:xfrm>
            <a:off x="5705947" y="9466701"/>
            <a:ext cx="1923480" cy="1671480"/>
          </a:xfrm>
          <a:custGeom>
            <a:avLst/>
            <a:gdLst/>
            <a:ahLst/>
            <a:cxnLst>
              <a:cxn ang="3cd4">
                <a:pos x="hc" y="t"/>
              </a:cxn>
              <a:cxn ang="cd2">
                <a:pos x="l" y="vc"/>
              </a:cxn>
              <a:cxn ang="cd4">
                <a:pos x="hc" y="b"/>
              </a:cxn>
              <a:cxn ang="0">
                <a:pos x="r" y="vc"/>
              </a:cxn>
            </a:cxnLst>
            <a:rect l="l" t="t" r="r" b="b"/>
            <a:pathLst>
              <a:path w="5344" h="4644">
                <a:moveTo>
                  <a:pt x="4373" y="3930"/>
                </a:moveTo>
                <a:cubicBezTo>
                  <a:pt x="4437" y="3882"/>
                  <a:pt x="4485" y="3818"/>
                  <a:pt x="4533" y="3739"/>
                </a:cubicBezTo>
                <a:cubicBezTo>
                  <a:pt x="4564" y="3707"/>
                  <a:pt x="4548" y="3659"/>
                  <a:pt x="4517" y="3627"/>
                </a:cubicBezTo>
                <a:cubicBezTo>
                  <a:pt x="4485" y="3612"/>
                  <a:pt x="4437" y="3612"/>
                  <a:pt x="4405" y="3643"/>
                </a:cubicBezTo>
                <a:cubicBezTo>
                  <a:pt x="4358" y="3707"/>
                  <a:pt x="4310" y="3770"/>
                  <a:pt x="4262" y="3834"/>
                </a:cubicBezTo>
                <a:cubicBezTo>
                  <a:pt x="4230" y="3850"/>
                  <a:pt x="4230" y="3913"/>
                  <a:pt x="4262" y="3946"/>
                </a:cubicBezTo>
                <a:cubicBezTo>
                  <a:pt x="4278" y="3946"/>
                  <a:pt x="4294" y="3961"/>
                  <a:pt x="4310" y="3961"/>
                </a:cubicBezTo>
                <a:cubicBezTo>
                  <a:pt x="4342" y="3961"/>
                  <a:pt x="4358" y="3946"/>
                  <a:pt x="4373" y="3930"/>
                </a:cubicBezTo>
                <a:close/>
                <a:moveTo>
                  <a:pt x="2131" y="4581"/>
                </a:moveTo>
                <a:cubicBezTo>
                  <a:pt x="2242" y="4612"/>
                  <a:pt x="2354" y="4629"/>
                  <a:pt x="2465" y="4644"/>
                </a:cubicBezTo>
                <a:lnTo>
                  <a:pt x="2608" y="4644"/>
                </a:lnTo>
                <a:lnTo>
                  <a:pt x="2624" y="4644"/>
                </a:lnTo>
                <a:cubicBezTo>
                  <a:pt x="2655" y="4644"/>
                  <a:pt x="2703" y="4612"/>
                  <a:pt x="2703" y="4581"/>
                </a:cubicBezTo>
                <a:cubicBezTo>
                  <a:pt x="2703" y="4533"/>
                  <a:pt x="2672" y="4485"/>
                  <a:pt x="2624" y="4485"/>
                </a:cubicBezTo>
                <a:lnTo>
                  <a:pt x="2481" y="4485"/>
                </a:lnTo>
                <a:cubicBezTo>
                  <a:pt x="2369" y="4469"/>
                  <a:pt x="2274" y="4454"/>
                  <a:pt x="2179" y="4421"/>
                </a:cubicBezTo>
                <a:cubicBezTo>
                  <a:pt x="2131" y="4421"/>
                  <a:pt x="2083" y="4438"/>
                  <a:pt x="2067" y="4485"/>
                </a:cubicBezTo>
                <a:cubicBezTo>
                  <a:pt x="2067" y="4533"/>
                  <a:pt x="2083" y="4565"/>
                  <a:pt x="2131" y="4581"/>
                </a:cubicBezTo>
                <a:close/>
                <a:moveTo>
                  <a:pt x="3324" y="4565"/>
                </a:moveTo>
                <a:lnTo>
                  <a:pt x="3340" y="4565"/>
                </a:lnTo>
                <a:cubicBezTo>
                  <a:pt x="3499" y="4517"/>
                  <a:pt x="3642" y="4454"/>
                  <a:pt x="3785" y="4374"/>
                </a:cubicBezTo>
                <a:cubicBezTo>
                  <a:pt x="3833" y="4358"/>
                  <a:pt x="3849" y="4311"/>
                  <a:pt x="3817" y="4263"/>
                </a:cubicBezTo>
                <a:cubicBezTo>
                  <a:pt x="3801" y="4231"/>
                  <a:pt x="3753" y="4215"/>
                  <a:pt x="3721" y="4231"/>
                </a:cubicBezTo>
                <a:cubicBezTo>
                  <a:pt x="3578" y="4311"/>
                  <a:pt x="3435" y="4358"/>
                  <a:pt x="3292" y="4406"/>
                </a:cubicBezTo>
                <a:cubicBezTo>
                  <a:pt x="3260" y="4421"/>
                  <a:pt x="3228" y="4469"/>
                  <a:pt x="3244" y="4501"/>
                </a:cubicBezTo>
                <a:cubicBezTo>
                  <a:pt x="3244" y="4533"/>
                  <a:pt x="3276" y="4565"/>
                  <a:pt x="3324" y="4565"/>
                </a:cubicBezTo>
                <a:close/>
                <a:moveTo>
                  <a:pt x="1463" y="4294"/>
                </a:moveTo>
                <a:cubicBezTo>
                  <a:pt x="1479" y="4311"/>
                  <a:pt x="1494" y="4311"/>
                  <a:pt x="1510" y="4311"/>
                </a:cubicBezTo>
                <a:cubicBezTo>
                  <a:pt x="1527" y="4311"/>
                  <a:pt x="1558" y="4294"/>
                  <a:pt x="1574" y="4278"/>
                </a:cubicBezTo>
                <a:cubicBezTo>
                  <a:pt x="1590" y="4231"/>
                  <a:pt x="1590" y="4183"/>
                  <a:pt x="1542" y="4167"/>
                </a:cubicBezTo>
                <a:cubicBezTo>
                  <a:pt x="1415" y="4088"/>
                  <a:pt x="1304" y="3992"/>
                  <a:pt x="1192" y="3881"/>
                </a:cubicBezTo>
                <a:cubicBezTo>
                  <a:pt x="1161" y="3849"/>
                  <a:pt x="1113" y="3849"/>
                  <a:pt x="1081" y="3881"/>
                </a:cubicBezTo>
                <a:cubicBezTo>
                  <a:pt x="1049" y="3912"/>
                  <a:pt x="1049" y="3960"/>
                  <a:pt x="1081" y="3992"/>
                </a:cubicBezTo>
                <a:cubicBezTo>
                  <a:pt x="1192" y="4103"/>
                  <a:pt x="1319" y="4215"/>
                  <a:pt x="1463" y="4294"/>
                </a:cubicBezTo>
                <a:close/>
                <a:moveTo>
                  <a:pt x="636" y="3404"/>
                </a:moveTo>
                <a:cubicBezTo>
                  <a:pt x="652" y="3436"/>
                  <a:pt x="683" y="3451"/>
                  <a:pt x="715" y="3451"/>
                </a:cubicBezTo>
                <a:cubicBezTo>
                  <a:pt x="726" y="3446"/>
                  <a:pt x="731" y="3451"/>
                  <a:pt x="747" y="3436"/>
                </a:cubicBezTo>
                <a:cubicBezTo>
                  <a:pt x="779" y="3420"/>
                  <a:pt x="795" y="3372"/>
                  <a:pt x="779" y="3340"/>
                </a:cubicBezTo>
                <a:cubicBezTo>
                  <a:pt x="747" y="3260"/>
                  <a:pt x="715" y="3197"/>
                  <a:pt x="683" y="3117"/>
                </a:cubicBezTo>
                <a:cubicBezTo>
                  <a:pt x="667" y="3085"/>
                  <a:pt x="620" y="3070"/>
                  <a:pt x="572" y="3085"/>
                </a:cubicBezTo>
                <a:cubicBezTo>
                  <a:pt x="540" y="3102"/>
                  <a:pt x="524" y="3133"/>
                  <a:pt x="540" y="3181"/>
                </a:cubicBezTo>
                <a:cubicBezTo>
                  <a:pt x="572" y="3260"/>
                  <a:pt x="604" y="3340"/>
                  <a:pt x="636" y="3404"/>
                </a:cubicBezTo>
                <a:close/>
                <a:moveTo>
                  <a:pt x="1033" y="700"/>
                </a:moveTo>
                <a:cubicBezTo>
                  <a:pt x="986" y="763"/>
                  <a:pt x="922" y="827"/>
                  <a:pt x="874" y="891"/>
                </a:cubicBezTo>
                <a:cubicBezTo>
                  <a:pt x="842" y="922"/>
                  <a:pt x="858" y="970"/>
                  <a:pt x="890" y="1002"/>
                </a:cubicBezTo>
                <a:cubicBezTo>
                  <a:pt x="906" y="1002"/>
                  <a:pt x="922" y="1018"/>
                  <a:pt x="938" y="1018"/>
                </a:cubicBezTo>
                <a:cubicBezTo>
                  <a:pt x="954" y="1018"/>
                  <a:pt x="986" y="1002"/>
                  <a:pt x="1001" y="986"/>
                </a:cubicBezTo>
                <a:cubicBezTo>
                  <a:pt x="1049" y="922"/>
                  <a:pt x="1097" y="859"/>
                  <a:pt x="1145" y="811"/>
                </a:cubicBezTo>
                <a:cubicBezTo>
                  <a:pt x="1176" y="779"/>
                  <a:pt x="1176" y="731"/>
                  <a:pt x="1145" y="700"/>
                </a:cubicBezTo>
                <a:cubicBezTo>
                  <a:pt x="1113" y="668"/>
                  <a:pt x="1065" y="668"/>
                  <a:pt x="1033" y="700"/>
                </a:cubicBezTo>
                <a:close/>
                <a:moveTo>
                  <a:pt x="2163" y="143"/>
                </a:moveTo>
                <a:cubicBezTo>
                  <a:pt x="2163" y="95"/>
                  <a:pt x="2115" y="79"/>
                  <a:pt x="2067" y="95"/>
                </a:cubicBezTo>
                <a:cubicBezTo>
                  <a:pt x="1908" y="127"/>
                  <a:pt x="1765" y="191"/>
                  <a:pt x="1622" y="270"/>
                </a:cubicBezTo>
                <a:cubicBezTo>
                  <a:pt x="1574" y="286"/>
                  <a:pt x="1574" y="334"/>
                  <a:pt x="1590" y="382"/>
                </a:cubicBezTo>
                <a:cubicBezTo>
                  <a:pt x="1606" y="397"/>
                  <a:pt x="1622" y="413"/>
                  <a:pt x="1654" y="413"/>
                </a:cubicBezTo>
                <a:lnTo>
                  <a:pt x="1701" y="413"/>
                </a:lnTo>
                <a:cubicBezTo>
                  <a:pt x="1828" y="334"/>
                  <a:pt x="1972" y="286"/>
                  <a:pt x="2115" y="239"/>
                </a:cubicBezTo>
                <a:cubicBezTo>
                  <a:pt x="2163" y="222"/>
                  <a:pt x="2179" y="191"/>
                  <a:pt x="2163" y="143"/>
                </a:cubicBezTo>
                <a:close/>
                <a:moveTo>
                  <a:pt x="3324" y="175"/>
                </a:moveTo>
                <a:cubicBezTo>
                  <a:pt x="3340" y="127"/>
                  <a:pt x="3308" y="79"/>
                  <a:pt x="3276" y="79"/>
                </a:cubicBezTo>
                <a:cubicBezTo>
                  <a:pt x="3164" y="48"/>
                  <a:pt x="3037" y="31"/>
                  <a:pt x="2926" y="16"/>
                </a:cubicBezTo>
                <a:cubicBezTo>
                  <a:pt x="2878" y="16"/>
                  <a:pt x="2831" y="0"/>
                  <a:pt x="2783" y="0"/>
                </a:cubicBezTo>
                <a:cubicBezTo>
                  <a:pt x="2751" y="0"/>
                  <a:pt x="2703" y="31"/>
                  <a:pt x="2703" y="79"/>
                </a:cubicBezTo>
                <a:cubicBezTo>
                  <a:pt x="2703" y="127"/>
                  <a:pt x="2735" y="159"/>
                  <a:pt x="2783" y="159"/>
                </a:cubicBezTo>
                <a:cubicBezTo>
                  <a:pt x="2831" y="159"/>
                  <a:pt x="2863" y="175"/>
                  <a:pt x="2910" y="175"/>
                </a:cubicBezTo>
                <a:cubicBezTo>
                  <a:pt x="3021" y="191"/>
                  <a:pt x="3133" y="207"/>
                  <a:pt x="3228" y="222"/>
                </a:cubicBezTo>
                <a:cubicBezTo>
                  <a:pt x="3228" y="239"/>
                  <a:pt x="3239" y="233"/>
                  <a:pt x="3244" y="239"/>
                </a:cubicBezTo>
                <a:cubicBezTo>
                  <a:pt x="3292" y="239"/>
                  <a:pt x="3324" y="207"/>
                  <a:pt x="3324" y="175"/>
                </a:cubicBezTo>
                <a:close/>
                <a:moveTo>
                  <a:pt x="4262" y="795"/>
                </a:moveTo>
                <a:cubicBezTo>
                  <a:pt x="4278" y="795"/>
                  <a:pt x="4294" y="795"/>
                  <a:pt x="4310" y="779"/>
                </a:cubicBezTo>
                <a:cubicBezTo>
                  <a:pt x="4342" y="748"/>
                  <a:pt x="4342" y="684"/>
                  <a:pt x="4310" y="668"/>
                </a:cubicBezTo>
                <a:cubicBezTo>
                  <a:pt x="4199" y="540"/>
                  <a:pt x="4071" y="445"/>
                  <a:pt x="3928" y="366"/>
                </a:cubicBezTo>
                <a:cubicBezTo>
                  <a:pt x="3896" y="334"/>
                  <a:pt x="3849" y="350"/>
                  <a:pt x="3817" y="382"/>
                </a:cubicBezTo>
                <a:cubicBezTo>
                  <a:pt x="3801" y="430"/>
                  <a:pt x="3817" y="477"/>
                  <a:pt x="3849" y="493"/>
                </a:cubicBezTo>
                <a:cubicBezTo>
                  <a:pt x="3976" y="573"/>
                  <a:pt x="4103" y="668"/>
                  <a:pt x="4199" y="779"/>
                </a:cubicBezTo>
                <a:cubicBezTo>
                  <a:pt x="4215" y="795"/>
                  <a:pt x="4246" y="795"/>
                  <a:pt x="4262" y="795"/>
                </a:cubicBezTo>
                <a:close/>
                <a:moveTo>
                  <a:pt x="4644" y="1209"/>
                </a:moveTo>
                <a:cubicBezTo>
                  <a:pt x="4596" y="1225"/>
                  <a:pt x="4596" y="1272"/>
                  <a:pt x="4612" y="1320"/>
                </a:cubicBezTo>
                <a:cubicBezTo>
                  <a:pt x="4644" y="1384"/>
                  <a:pt x="4676" y="1463"/>
                  <a:pt x="4708" y="1527"/>
                </a:cubicBezTo>
                <a:cubicBezTo>
                  <a:pt x="4723" y="1558"/>
                  <a:pt x="4755" y="1575"/>
                  <a:pt x="4787" y="1575"/>
                </a:cubicBezTo>
                <a:lnTo>
                  <a:pt x="4803" y="1575"/>
                </a:lnTo>
                <a:cubicBezTo>
                  <a:pt x="4851" y="1558"/>
                  <a:pt x="4867" y="1511"/>
                  <a:pt x="4851" y="1463"/>
                </a:cubicBezTo>
                <a:cubicBezTo>
                  <a:pt x="4819" y="1400"/>
                  <a:pt x="4787" y="1320"/>
                  <a:pt x="4755" y="1240"/>
                </a:cubicBezTo>
                <a:cubicBezTo>
                  <a:pt x="4723" y="1209"/>
                  <a:pt x="4676" y="1193"/>
                  <a:pt x="4644" y="1209"/>
                </a:cubicBezTo>
                <a:close/>
                <a:moveTo>
                  <a:pt x="986" y="2322"/>
                </a:moveTo>
                <a:cubicBezTo>
                  <a:pt x="986" y="2052"/>
                  <a:pt x="763" y="1829"/>
                  <a:pt x="492" y="1829"/>
                </a:cubicBezTo>
                <a:cubicBezTo>
                  <a:pt x="222" y="1829"/>
                  <a:pt x="0" y="2052"/>
                  <a:pt x="0" y="2322"/>
                </a:cubicBezTo>
                <a:cubicBezTo>
                  <a:pt x="0" y="2593"/>
                  <a:pt x="222" y="2815"/>
                  <a:pt x="492" y="2815"/>
                </a:cubicBezTo>
                <a:cubicBezTo>
                  <a:pt x="763" y="2815"/>
                  <a:pt x="986" y="2593"/>
                  <a:pt x="986" y="2322"/>
                </a:cubicBezTo>
                <a:close/>
                <a:moveTo>
                  <a:pt x="492" y="2656"/>
                </a:moveTo>
                <a:cubicBezTo>
                  <a:pt x="318" y="2656"/>
                  <a:pt x="158" y="2497"/>
                  <a:pt x="158" y="2322"/>
                </a:cubicBezTo>
                <a:cubicBezTo>
                  <a:pt x="158" y="2131"/>
                  <a:pt x="318" y="1988"/>
                  <a:pt x="492" y="1988"/>
                </a:cubicBezTo>
                <a:cubicBezTo>
                  <a:pt x="683" y="1988"/>
                  <a:pt x="827" y="2131"/>
                  <a:pt x="827" y="2322"/>
                </a:cubicBezTo>
                <a:cubicBezTo>
                  <a:pt x="827" y="2497"/>
                  <a:pt x="683" y="2656"/>
                  <a:pt x="492" y="2656"/>
                </a:cubicBezTo>
                <a:close/>
                <a:moveTo>
                  <a:pt x="4851" y="1829"/>
                </a:moveTo>
                <a:cubicBezTo>
                  <a:pt x="4580" y="1829"/>
                  <a:pt x="4358" y="2052"/>
                  <a:pt x="4358" y="2322"/>
                </a:cubicBezTo>
                <a:cubicBezTo>
                  <a:pt x="4358" y="2593"/>
                  <a:pt x="4580" y="2815"/>
                  <a:pt x="4851" y="2815"/>
                </a:cubicBezTo>
                <a:cubicBezTo>
                  <a:pt x="5121" y="2815"/>
                  <a:pt x="5344" y="2593"/>
                  <a:pt x="5344" y="2322"/>
                </a:cubicBezTo>
                <a:cubicBezTo>
                  <a:pt x="5344" y="2052"/>
                  <a:pt x="5121" y="1829"/>
                  <a:pt x="4851" y="1829"/>
                </a:cubicBezTo>
                <a:close/>
                <a:moveTo>
                  <a:pt x="4851" y="2656"/>
                </a:moveTo>
                <a:cubicBezTo>
                  <a:pt x="4676" y="2656"/>
                  <a:pt x="4517" y="2497"/>
                  <a:pt x="4517" y="2322"/>
                </a:cubicBezTo>
                <a:cubicBezTo>
                  <a:pt x="4517" y="2131"/>
                  <a:pt x="4676" y="1988"/>
                  <a:pt x="4851" y="1988"/>
                </a:cubicBezTo>
                <a:cubicBezTo>
                  <a:pt x="5042" y="1988"/>
                  <a:pt x="5185" y="2131"/>
                  <a:pt x="5185" y="2322"/>
                </a:cubicBezTo>
                <a:cubicBezTo>
                  <a:pt x="5185" y="2497"/>
                  <a:pt x="5042" y="2656"/>
                  <a:pt x="4851" y="2656"/>
                </a:cubicBezTo>
                <a:close/>
                <a:moveTo>
                  <a:pt x="381" y="652"/>
                </a:moveTo>
                <a:cubicBezTo>
                  <a:pt x="349" y="668"/>
                  <a:pt x="318" y="716"/>
                  <a:pt x="333" y="763"/>
                </a:cubicBezTo>
                <a:lnTo>
                  <a:pt x="572" y="1527"/>
                </a:lnTo>
                <a:cubicBezTo>
                  <a:pt x="572" y="1558"/>
                  <a:pt x="604" y="1575"/>
                  <a:pt x="652" y="1575"/>
                </a:cubicBezTo>
                <a:lnTo>
                  <a:pt x="667" y="1575"/>
                </a:lnTo>
                <a:lnTo>
                  <a:pt x="1431" y="1336"/>
                </a:lnTo>
                <a:cubicBezTo>
                  <a:pt x="1463" y="1320"/>
                  <a:pt x="1494" y="1272"/>
                  <a:pt x="1479" y="1240"/>
                </a:cubicBezTo>
                <a:cubicBezTo>
                  <a:pt x="1463" y="1193"/>
                  <a:pt x="1431" y="1177"/>
                  <a:pt x="1383" y="1193"/>
                </a:cubicBezTo>
                <a:lnTo>
                  <a:pt x="699" y="1400"/>
                </a:lnTo>
                <a:lnTo>
                  <a:pt x="477" y="716"/>
                </a:lnTo>
                <a:cubicBezTo>
                  <a:pt x="477" y="668"/>
                  <a:pt x="429" y="652"/>
                  <a:pt x="381" y="652"/>
                </a:cubicBezTo>
                <a:close/>
                <a:moveTo>
                  <a:pt x="4803" y="3085"/>
                </a:moveTo>
                <a:cubicBezTo>
                  <a:pt x="4787" y="3070"/>
                  <a:pt x="4771" y="3054"/>
                  <a:pt x="4755" y="3038"/>
                </a:cubicBezTo>
                <a:lnTo>
                  <a:pt x="4691" y="3038"/>
                </a:lnTo>
                <a:lnTo>
                  <a:pt x="3960" y="3356"/>
                </a:lnTo>
                <a:cubicBezTo>
                  <a:pt x="3928" y="3372"/>
                  <a:pt x="3912" y="3420"/>
                  <a:pt x="3928" y="3467"/>
                </a:cubicBezTo>
                <a:cubicBezTo>
                  <a:pt x="3944" y="3499"/>
                  <a:pt x="3992" y="3515"/>
                  <a:pt x="4024" y="3499"/>
                </a:cubicBezTo>
                <a:lnTo>
                  <a:pt x="4691" y="3213"/>
                </a:lnTo>
                <a:lnTo>
                  <a:pt x="4962" y="3881"/>
                </a:lnTo>
                <a:cubicBezTo>
                  <a:pt x="4978" y="3912"/>
                  <a:pt x="5010" y="3929"/>
                  <a:pt x="5042" y="3929"/>
                </a:cubicBezTo>
                <a:cubicBezTo>
                  <a:pt x="5057" y="3929"/>
                  <a:pt x="5057" y="3929"/>
                  <a:pt x="5073" y="3912"/>
                </a:cubicBezTo>
                <a:cubicBezTo>
                  <a:pt x="5121" y="3897"/>
                  <a:pt x="5137" y="3849"/>
                  <a:pt x="5121" y="381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4" name="Freeform: Shape 10">
            <a:extLst>
              <a:ext uri="{FF2B5EF4-FFF2-40B4-BE49-F238E27FC236}">
                <a16:creationId xmlns:a16="http://schemas.microsoft.com/office/drawing/2014/main" id="{F9A5F6E2-5A8B-8544-8311-170B5BA430D5}"/>
              </a:ext>
            </a:extLst>
          </p:cNvPr>
          <p:cNvSpPr/>
          <p:nvPr/>
        </p:nvSpPr>
        <p:spPr>
          <a:xfrm>
            <a:off x="14234932" y="6363011"/>
            <a:ext cx="1054800" cy="1726920"/>
          </a:xfrm>
          <a:custGeom>
            <a:avLst/>
            <a:gdLst/>
            <a:ahLst/>
            <a:cxnLst>
              <a:cxn ang="3cd4">
                <a:pos x="hc" y="t"/>
              </a:cxn>
              <a:cxn ang="cd2">
                <a:pos x="l" y="vc"/>
              </a:cxn>
              <a:cxn ang="cd4">
                <a:pos x="hc" y="b"/>
              </a:cxn>
              <a:cxn ang="0">
                <a:pos x="r" y="vc"/>
              </a:cxn>
            </a:cxnLst>
            <a:rect l="l" t="t" r="r" b="b"/>
            <a:pathLst>
              <a:path w="2931" h="4798">
                <a:moveTo>
                  <a:pt x="2835" y="1156"/>
                </a:moveTo>
                <a:lnTo>
                  <a:pt x="1770" y="90"/>
                </a:lnTo>
                <a:cubicBezTo>
                  <a:pt x="1690" y="-5"/>
                  <a:pt x="1547" y="-22"/>
                  <a:pt x="1419" y="26"/>
                </a:cubicBezTo>
                <a:cubicBezTo>
                  <a:pt x="1308" y="74"/>
                  <a:pt x="1228" y="185"/>
                  <a:pt x="1228" y="328"/>
                </a:cubicBezTo>
                <a:lnTo>
                  <a:pt x="1228" y="1632"/>
                </a:lnTo>
                <a:lnTo>
                  <a:pt x="544" y="949"/>
                </a:lnTo>
                <a:cubicBezTo>
                  <a:pt x="417" y="822"/>
                  <a:pt x="211" y="822"/>
                  <a:pt x="83" y="949"/>
                </a:cubicBezTo>
                <a:cubicBezTo>
                  <a:pt x="-28" y="1076"/>
                  <a:pt x="-28" y="1283"/>
                  <a:pt x="83" y="1410"/>
                </a:cubicBezTo>
                <a:lnTo>
                  <a:pt x="1101" y="2428"/>
                </a:lnTo>
                <a:lnTo>
                  <a:pt x="115" y="3398"/>
                </a:lnTo>
                <a:cubicBezTo>
                  <a:pt x="-12" y="3525"/>
                  <a:pt x="-12" y="3732"/>
                  <a:pt x="115" y="3859"/>
                </a:cubicBezTo>
                <a:cubicBezTo>
                  <a:pt x="243" y="3986"/>
                  <a:pt x="449" y="3986"/>
                  <a:pt x="576" y="3859"/>
                </a:cubicBezTo>
                <a:lnTo>
                  <a:pt x="1228" y="3207"/>
                </a:lnTo>
                <a:lnTo>
                  <a:pt x="1228" y="4480"/>
                </a:lnTo>
                <a:cubicBezTo>
                  <a:pt x="1228" y="4607"/>
                  <a:pt x="1308" y="4734"/>
                  <a:pt x="1419" y="4782"/>
                </a:cubicBezTo>
                <a:cubicBezTo>
                  <a:pt x="1467" y="4798"/>
                  <a:pt x="1499" y="4798"/>
                  <a:pt x="1547" y="4798"/>
                </a:cubicBezTo>
                <a:cubicBezTo>
                  <a:pt x="1642" y="4798"/>
                  <a:pt x="1722" y="4766"/>
                  <a:pt x="1770" y="4703"/>
                </a:cubicBezTo>
                <a:lnTo>
                  <a:pt x="2819" y="3668"/>
                </a:lnTo>
                <a:cubicBezTo>
                  <a:pt x="2931" y="3541"/>
                  <a:pt x="2931" y="3350"/>
                  <a:pt x="2819" y="3223"/>
                </a:cubicBezTo>
                <a:lnTo>
                  <a:pt x="2008" y="2428"/>
                </a:lnTo>
                <a:lnTo>
                  <a:pt x="2835" y="1601"/>
                </a:lnTo>
                <a:cubicBezTo>
                  <a:pt x="2962" y="1474"/>
                  <a:pt x="2962" y="1267"/>
                  <a:pt x="2835" y="1156"/>
                </a:cubicBezTo>
                <a:close/>
                <a:moveTo>
                  <a:pt x="2724" y="1489"/>
                </a:moveTo>
                <a:lnTo>
                  <a:pt x="1849" y="2364"/>
                </a:lnTo>
                <a:cubicBezTo>
                  <a:pt x="1817" y="2396"/>
                  <a:pt x="1817" y="2444"/>
                  <a:pt x="1849" y="2476"/>
                </a:cubicBezTo>
                <a:lnTo>
                  <a:pt x="2692" y="3334"/>
                </a:lnTo>
                <a:cubicBezTo>
                  <a:pt x="2755" y="3398"/>
                  <a:pt x="2755" y="3494"/>
                  <a:pt x="2692" y="3557"/>
                </a:cubicBezTo>
                <a:lnTo>
                  <a:pt x="1658" y="4591"/>
                </a:lnTo>
                <a:cubicBezTo>
                  <a:pt x="1626" y="4639"/>
                  <a:pt x="1547" y="4655"/>
                  <a:pt x="1483" y="4639"/>
                </a:cubicBezTo>
                <a:cubicBezTo>
                  <a:pt x="1419" y="4607"/>
                  <a:pt x="1388" y="4543"/>
                  <a:pt x="1388" y="4480"/>
                </a:cubicBezTo>
                <a:lnTo>
                  <a:pt x="1388" y="3016"/>
                </a:lnTo>
                <a:cubicBezTo>
                  <a:pt x="1388" y="2985"/>
                  <a:pt x="1372" y="2953"/>
                  <a:pt x="1340" y="2937"/>
                </a:cubicBezTo>
                <a:lnTo>
                  <a:pt x="1308" y="2937"/>
                </a:lnTo>
                <a:cubicBezTo>
                  <a:pt x="1292" y="2937"/>
                  <a:pt x="1261" y="2953"/>
                  <a:pt x="1244" y="2953"/>
                </a:cubicBezTo>
                <a:lnTo>
                  <a:pt x="465" y="3748"/>
                </a:lnTo>
                <a:cubicBezTo>
                  <a:pt x="401" y="3812"/>
                  <a:pt x="290" y="3812"/>
                  <a:pt x="226" y="3748"/>
                </a:cubicBezTo>
                <a:cubicBezTo>
                  <a:pt x="163" y="3685"/>
                  <a:pt x="163" y="3589"/>
                  <a:pt x="226" y="3525"/>
                </a:cubicBezTo>
                <a:lnTo>
                  <a:pt x="1276" y="2476"/>
                </a:lnTo>
                <a:cubicBezTo>
                  <a:pt x="1308" y="2444"/>
                  <a:pt x="1308" y="2396"/>
                  <a:pt x="1276" y="2364"/>
                </a:cubicBezTo>
                <a:lnTo>
                  <a:pt x="195" y="1299"/>
                </a:lnTo>
                <a:cubicBezTo>
                  <a:pt x="131" y="1235"/>
                  <a:pt x="131" y="1123"/>
                  <a:pt x="195" y="1060"/>
                </a:cubicBezTo>
                <a:cubicBezTo>
                  <a:pt x="258" y="996"/>
                  <a:pt x="370" y="996"/>
                  <a:pt x="433" y="1060"/>
                </a:cubicBezTo>
                <a:lnTo>
                  <a:pt x="1244" y="1887"/>
                </a:lnTo>
                <a:cubicBezTo>
                  <a:pt x="1276" y="1903"/>
                  <a:pt x="1308" y="1919"/>
                  <a:pt x="1340" y="1903"/>
                </a:cubicBezTo>
                <a:cubicBezTo>
                  <a:pt x="1372" y="1887"/>
                  <a:pt x="1388" y="1855"/>
                  <a:pt x="1388" y="1823"/>
                </a:cubicBezTo>
                <a:lnTo>
                  <a:pt x="1388" y="328"/>
                </a:lnTo>
                <a:cubicBezTo>
                  <a:pt x="1388" y="249"/>
                  <a:pt x="1419" y="201"/>
                  <a:pt x="1483" y="169"/>
                </a:cubicBezTo>
                <a:cubicBezTo>
                  <a:pt x="1547" y="138"/>
                  <a:pt x="1610" y="153"/>
                  <a:pt x="1658" y="201"/>
                </a:cubicBezTo>
                <a:lnTo>
                  <a:pt x="2724" y="1267"/>
                </a:lnTo>
                <a:cubicBezTo>
                  <a:pt x="2788" y="1331"/>
                  <a:pt x="2788" y="1426"/>
                  <a:pt x="2724" y="1489"/>
                </a:cubicBezTo>
                <a:close/>
                <a:moveTo>
                  <a:pt x="1849" y="854"/>
                </a:moveTo>
                <a:cubicBezTo>
                  <a:pt x="1833" y="823"/>
                  <a:pt x="1785" y="823"/>
                  <a:pt x="1753" y="838"/>
                </a:cubicBezTo>
                <a:cubicBezTo>
                  <a:pt x="1737" y="838"/>
                  <a:pt x="1706" y="870"/>
                  <a:pt x="1706" y="902"/>
                </a:cubicBezTo>
                <a:lnTo>
                  <a:pt x="1706" y="1841"/>
                </a:lnTo>
                <a:cubicBezTo>
                  <a:pt x="1706" y="1872"/>
                  <a:pt x="1737" y="1904"/>
                  <a:pt x="1753" y="1920"/>
                </a:cubicBezTo>
                <a:lnTo>
                  <a:pt x="1785" y="1920"/>
                </a:lnTo>
                <a:cubicBezTo>
                  <a:pt x="1817" y="1920"/>
                  <a:pt x="1833" y="1920"/>
                  <a:pt x="1849" y="1904"/>
                </a:cubicBezTo>
                <a:lnTo>
                  <a:pt x="2310" y="1427"/>
                </a:lnTo>
                <a:cubicBezTo>
                  <a:pt x="2342" y="1395"/>
                  <a:pt x="2342" y="1347"/>
                  <a:pt x="2310" y="1315"/>
                </a:cubicBezTo>
                <a:close/>
                <a:moveTo>
                  <a:pt x="1865" y="1650"/>
                </a:moveTo>
                <a:lnTo>
                  <a:pt x="1865" y="1093"/>
                </a:lnTo>
                <a:lnTo>
                  <a:pt x="2151" y="1379"/>
                </a:lnTo>
                <a:close/>
                <a:moveTo>
                  <a:pt x="1753" y="2922"/>
                </a:moveTo>
                <a:cubicBezTo>
                  <a:pt x="1737" y="2938"/>
                  <a:pt x="1706" y="2970"/>
                  <a:pt x="1706" y="3002"/>
                </a:cubicBezTo>
                <a:lnTo>
                  <a:pt x="1706" y="3892"/>
                </a:lnTo>
                <a:cubicBezTo>
                  <a:pt x="1706" y="3924"/>
                  <a:pt x="1737" y="3956"/>
                  <a:pt x="1753" y="3972"/>
                </a:cubicBezTo>
                <a:lnTo>
                  <a:pt x="1785" y="3972"/>
                </a:lnTo>
                <a:cubicBezTo>
                  <a:pt x="1817" y="3972"/>
                  <a:pt x="1833" y="3972"/>
                  <a:pt x="1849" y="3956"/>
                </a:cubicBezTo>
                <a:lnTo>
                  <a:pt x="2294" y="3511"/>
                </a:lnTo>
                <a:cubicBezTo>
                  <a:pt x="2326" y="3479"/>
                  <a:pt x="2326" y="3415"/>
                  <a:pt x="2294" y="3383"/>
                </a:cubicBezTo>
                <a:lnTo>
                  <a:pt x="1849" y="2938"/>
                </a:lnTo>
                <a:cubicBezTo>
                  <a:pt x="1833" y="2922"/>
                  <a:pt x="1785" y="2906"/>
                  <a:pt x="1753" y="2922"/>
                </a:cubicBezTo>
                <a:close/>
                <a:moveTo>
                  <a:pt x="1865" y="3192"/>
                </a:moveTo>
                <a:lnTo>
                  <a:pt x="2135" y="3447"/>
                </a:lnTo>
                <a:lnTo>
                  <a:pt x="1865" y="3701"/>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5" name="Freeform: Shape 11">
            <a:extLst>
              <a:ext uri="{FF2B5EF4-FFF2-40B4-BE49-F238E27FC236}">
                <a16:creationId xmlns:a16="http://schemas.microsoft.com/office/drawing/2014/main" id="{207F31DC-EE94-A141-903C-B0DD3B29370F}"/>
              </a:ext>
            </a:extLst>
          </p:cNvPr>
          <p:cNvSpPr/>
          <p:nvPr/>
        </p:nvSpPr>
        <p:spPr>
          <a:xfrm>
            <a:off x="1671476" y="3370092"/>
            <a:ext cx="1835640" cy="1221480"/>
          </a:xfrm>
          <a:custGeom>
            <a:avLst/>
            <a:gdLst/>
            <a:ahLst/>
            <a:cxnLst>
              <a:cxn ang="3cd4">
                <a:pos x="hc" y="t"/>
              </a:cxn>
              <a:cxn ang="cd2">
                <a:pos x="l" y="vc"/>
              </a:cxn>
              <a:cxn ang="cd4">
                <a:pos x="hc" y="b"/>
              </a:cxn>
              <a:cxn ang="0">
                <a:pos x="r" y="vc"/>
              </a:cxn>
            </a:cxnLst>
            <a:rect l="l" t="t" r="r" b="b"/>
            <a:pathLst>
              <a:path w="5100" h="3394">
                <a:moveTo>
                  <a:pt x="4470" y="86"/>
                </a:moveTo>
                <a:cubicBezTo>
                  <a:pt x="4231" y="-26"/>
                  <a:pt x="3977" y="-26"/>
                  <a:pt x="3738" y="70"/>
                </a:cubicBezTo>
                <a:cubicBezTo>
                  <a:pt x="557" y="1453"/>
                  <a:pt x="557" y="1453"/>
                  <a:pt x="557" y="1453"/>
                </a:cubicBezTo>
                <a:cubicBezTo>
                  <a:pt x="318" y="1549"/>
                  <a:pt x="143" y="1740"/>
                  <a:pt x="64" y="1995"/>
                </a:cubicBezTo>
                <a:cubicBezTo>
                  <a:pt x="-32" y="2233"/>
                  <a:pt x="-16" y="2504"/>
                  <a:pt x="80" y="2758"/>
                </a:cubicBezTo>
                <a:cubicBezTo>
                  <a:pt x="191" y="2996"/>
                  <a:pt x="382" y="3203"/>
                  <a:pt x="620" y="3299"/>
                </a:cubicBezTo>
                <a:cubicBezTo>
                  <a:pt x="748" y="3362"/>
                  <a:pt x="875" y="3394"/>
                  <a:pt x="1002" y="3394"/>
                </a:cubicBezTo>
                <a:cubicBezTo>
                  <a:pt x="1129" y="3394"/>
                  <a:pt x="1241" y="3362"/>
                  <a:pt x="1352" y="3314"/>
                </a:cubicBezTo>
                <a:cubicBezTo>
                  <a:pt x="4549" y="1947"/>
                  <a:pt x="4549" y="1947"/>
                  <a:pt x="4549" y="1947"/>
                </a:cubicBezTo>
                <a:cubicBezTo>
                  <a:pt x="5027" y="1740"/>
                  <a:pt x="5233" y="1151"/>
                  <a:pt x="5010" y="642"/>
                </a:cubicBezTo>
                <a:cubicBezTo>
                  <a:pt x="4899" y="388"/>
                  <a:pt x="4708" y="197"/>
                  <a:pt x="4470" y="86"/>
                </a:cubicBezTo>
                <a:close/>
                <a:moveTo>
                  <a:pt x="1289" y="3171"/>
                </a:moveTo>
                <a:cubicBezTo>
                  <a:pt x="1098" y="3251"/>
                  <a:pt x="891" y="3251"/>
                  <a:pt x="684" y="3156"/>
                </a:cubicBezTo>
                <a:cubicBezTo>
                  <a:pt x="477" y="3076"/>
                  <a:pt x="318" y="2901"/>
                  <a:pt x="239" y="2694"/>
                </a:cubicBezTo>
                <a:cubicBezTo>
                  <a:pt x="143" y="2487"/>
                  <a:pt x="128" y="2249"/>
                  <a:pt x="207" y="2042"/>
                </a:cubicBezTo>
                <a:cubicBezTo>
                  <a:pt x="286" y="1835"/>
                  <a:pt x="429" y="1676"/>
                  <a:pt x="620" y="1597"/>
                </a:cubicBezTo>
                <a:cubicBezTo>
                  <a:pt x="2147" y="929"/>
                  <a:pt x="2147" y="929"/>
                  <a:pt x="2147" y="929"/>
                </a:cubicBezTo>
                <a:cubicBezTo>
                  <a:pt x="2291" y="1088"/>
                  <a:pt x="2291" y="1088"/>
                  <a:pt x="2291" y="1088"/>
                </a:cubicBezTo>
                <a:cubicBezTo>
                  <a:pt x="2609" y="1438"/>
                  <a:pt x="2800" y="1915"/>
                  <a:pt x="2831" y="2392"/>
                </a:cubicBezTo>
                <a:cubicBezTo>
                  <a:pt x="2831" y="2504"/>
                  <a:pt x="2831" y="2504"/>
                  <a:pt x="2831" y="2504"/>
                </a:cubicBezTo>
                <a:close/>
                <a:moveTo>
                  <a:pt x="4485" y="1804"/>
                </a:moveTo>
                <a:cubicBezTo>
                  <a:pt x="2991" y="2440"/>
                  <a:pt x="2991" y="2440"/>
                  <a:pt x="2991" y="2440"/>
                </a:cubicBezTo>
                <a:cubicBezTo>
                  <a:pt x="2991" y="2392"/>
                  <a:pt x="2991" y="2392"/>
                  <a:pt x="2991" y="2392"/>
                </a:cubicBezTo>
                <a:cubicBezTo>
                  <a:pt x="2959" y="1867"/>
                  <a:pt x="2752" y="1374"/>
                  <a:pt x="2402" y="977"/>
                </a:cubicBezTo>
                <a:cubicBezTo>
                  <a:pt x="2307" y="865"/>
                  <a:pt x="2307" y="865"/>
                  <a:pt x="2307" y="865"/>
                </a:cubicBezTo>
                <a:cubicBezTo>
                  <a:pt x="3801" y="229"/>
                  <a:pt x="3801" y="229"/>
                  <a:pt x="3801" y="229"/>
                </a:cubicBezTo>
                <a:cubicBezTo>
                  <a:pt x="3992" y="133"/>
                  <a:pt x="4199" y="149"/>
                  <a:pt x="4406" y="229"/>
                </a:cubicBezTo>
                <a:cubicBezTo>
                  <a:pt x="4613" y="324"/>
                  <a:pt x="4772" y="483"/>
                  <a:pt x="4867" y="706"/>
                </a:cubicBezTo>
                <a:cubicBezTo>
                  <a:pt x="5042" y="1135"/>
                  <a:pt x="4883" y="1629"/>
                  <a:pt x="4485" y="180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6" name="Freeform: Shape 12">
            <a:extLst>
              <a:ext uri="{FF2B5EF4-FFF2-40B4-BE49-F238E27FC236}">
                <a16:creationId xmlns:a16="http://schemas.microsoft.com/office/drawing/2014/main" id="{B0F55A41-5AF8-F549-B58C-9EE254845172}"/>
              </a:ext>
            </a:extLst>
          </p:cNvPr>
          <p:cNvSpPr/>
          <p:nvPr/>
        </p:nvSpPr>
        <p:spPr>
          <a:xfrm>
            <a:off x="5807927" y="3584292"/>
            <a:ext cx="2135880" cy="795240"/>
          </a:xfrm>
          <a:custGeom>
            <a:avLst/>
            <a:gdLst/>
            <a:ahLst/>
            <a:cxnLst>
              <a:cxn ang="3cd4">
                <a:pos x="hc" y="t"/>
              </a:cxn>
              <a:cxn ang="cd2">
                <a:pos x="l" y="vc"/>
              </a:cxn>
              <a:cxn ang="cd4">
                <a:pos x="hc" y="b"/>
              </a:cxn>
              <a:cxn ang="0">
                <a:pos x="r" y="vc"/>
              </a:cxn>
            </a:cxnLst>
            <a:rect l="l" t="t" r="r" b="b"/>
            <a:pathLst>
              <a:path w="5934" h="2210">
                <a:moveTo>
                  <a:pt x="4899" y="0"/>
                </a:moveTo>
                <a:lnTo>
                  <a:pt x="4882" y="0"/>
                </a:lnTo>
                <a:lnTo>
                  <a:pt x="2036" y="16"/>
                </a:lnTo>
                <a:lnTo>
                  <a:pt x="1033" y="16"/>
                </a:lnTo>
                <a:cubicBezTo>
                  <a:pt x="763" y="16"/>
                  <a:pt x="492" y="143"/>
                  <a:pt x="302" y="350"/>
                </a:cubicBezTo>
                <a:cubicBezTo>
                  <a:pt x="111" y="556"/>
                  <a:pt x="0" y="827"/>
                  <a:pt x="0" y="1129"/>
                </a:cubicBezTo>
                <a:cubicBezTo>
                  <a:pt x="15" y="1718"/>
                  <a:pt x="477" y="2210"/>
                  <a:pt x="1049" y="2210"/>
                </a:cubicBezTo>
                <a:lnTo>
                  <a:pt x="3864" y="2195"/>
                </a:lnTo>
                <a:cubicBezTo>
                  <a:pt x="3881" y="2195"/>
                  <a:pt x="3896" y="2210"/>
                  <a:pt x="3912" y="2210"/>
                </a:cubicBezTo>
                <a:cubicBezTo>
                  <a:pt x="3928" y="2210"/>
                  <a:pt x="3944" y="2195"/>
                  <a:pt x="3960" y="2195"/>
                </a:cubicBezTo>
                <a:lnTo>
                  <a:pt x="4899" y="2179"/>
                </a:lnTo>
                <a:cubicBezTo>
                  <a:pt x="5185" y="2179"/>
                  <a:pt x="5439" y="2067"/>
                  <a:pt x="5646" y="1861"/>
                </a:cubicBezTo>
                <a:cubicBezTo>
                  <a:pt x="5837" y="1654"/>
                  <a:pt x="5948" y="1367"/>
                  <a:pt x="5932" y="1081"/>
                </a:cubicBezTo>
                <a:cubicBezTo>
                  <a:pt x="5932" y="795"/>
                  <a:pt x="5821" y="509"/>
                  <a:pt x="5630" y="318"/>
                </a:cubicBezTo>
                <a:cubicBezTo>
                  <a:pt x="5439" y="111"/>
                  <a:pt x="5169" y="0"/>
                  <a:pt x="4899" y="0"/>
                </a:cubicBezTo>
                <a:close/>
                <a:moveTo>
                  <a:pt x="3833" y="159"/>
                </a:moveTo>
                <a:lnTo>
                  <a:pt x="3833" y="2036"/>
                </a:lnTo>
                <a:lnTo>
                  <a:pt x="2115" y="2052"/>
                </a:lnTo>
                <a:lnTo>
                  <a:pt x="2115" y="174"/>
                </a:lnTo>
                <a:close/>
                <a:moveTo>
                  <a:pt x="1049" y="2052"/>
                </a:moveTo>
                <a:cubicBezTo>
                  <a:pt x="556" y="2052"/>
                  <a:pt x="158" y="1638"/>
                  <a:pt x="158" y="1129"/>
                </a:cubicBezTo>
                <a:cubicBezTo>
                  <a:pt x="158" y="874"/>
                  <a:pt x="254" y="636"/>
                  <a:pt x="413" y="461"/>
                </a:cubicBezTo>
                <a:cubicBezTo>
                  <a:pt x="588" y="286"/>
                  <a:pt x="810" y="174"/>
                  <a:pt x="1033" y="174"/>
                </a:cubicBezTo>
                <a:lnTo>
                  <a:pt x="1956" y="174"/>
                </a:lnTo>
                <a:lnTo>
                  <a:pt x="1956" y="2052"/>
                </a:lnTo>
                <a:close/>
                <a:moveTo>
                  <a:pt x="5519" y="1749"/>
                </a:moveTo>
                <a:cubicBezTo>
                  <a:pt x="5360" y="1924"/>
                  <a:pt x="5137" y="2019"/>
                  <a:pt x="4899" y="2019"/>
                </a:cubicBezTo>
                <a:lnTo>
                  <a:pt x="3992" y="2036"/>
                </a:lnTo>
                <a:lnTo>
                  <a:pt x="3992" y="159"/>
                </a:lnTo>
                <a:lnTo>
                  <a:pt x="4899" y="143"/>
                </a:lnTo>
                <a:cubicBezTo>
                  <a:pt x="5121" y="143"/>
                  <a:pt x="5344" y="254"/>
                  <a:pt x="5519" y="413"/>
                </a:cubicBezTo>
                <a:cubicBezTo>
                  <a:pt x="5678" y="604"/>
                  <a:pt x="5773" y="827"/>
                  <a:pt x="5773" y="1081"/>
                </a:cubicBezTo>
                <a:cubicBezTo>
                  <a:pt x="5789" y="1336"/>
                  <a:pt x="5694" y="1574"/>
                  <a:pt x="5519" y="1749"/>
                </a:cubicBezTo>
                <a:close/>
                <a:moveTo>
                  <a:pt x="2974" y="1224"/>
                </a:moveTo>
                <a:cubicBezTo>
                  <a:pt x="3037" y="1224"/>
                  <a:pt x="3085" y="1177"/>
                  <a:pt x="3085" y="1113"/>
                </a:cubicBezTo>
                <a:cubicBezTo>
                  <a:pt x="3085" y="1049"/>
                  <a:pt x="3037" y="1002"/>
                  <a:pt x="2974" y="1002"/>
                </a:cubicBezTo>
                <a:cubicBezTo>
                  <a:pt x="2910" y="1002"/>
                  <a:pt x="2863" y="1049"/>
                  <a:pt x="2863" y="1113"/>
                </a:cubicBezTo>
                <a:cubicBezTo>
                  <a:pt x="2863" y="1177"/>
                  <a:pt x="2910" y="1224"/>
                  <a:pt x="2974" y="1224"/>
                </a:cubicBezTo>
                <a:close/>
                <a:moveTo>
                  <a:pt x="2497" y="1224"/>
                </a:moveTo>
                <a:cubicBezTo>
                  <a:pt x="2560" y="1224"/>
                  <a:pt x="2608" y="1177"/>
                  <a:pt x="2608" y="1113"/>
                </a:cubicBezTo>
                <a:cubicBezTo>
                  <a:pt x="2608" y="1049"/>
                  <a:pt x="2560" y="1002"/>
                  <a:pt x="2497" y="1002"/>
                </a:cubicBezTo>
                <a:cubicBezTo>
                  <a:pt x="2433" y="1002"/>
                  <a:pt x="2385" y="1049"/>
                  <a:pt x="2385" y="1113"/>
                </a:cubicBezTo>
                <a:cubicBezTo>
                  <a:pt x="2385" y="1177"/>
                  <a:pt x="2433" y="1224"/>
                  <a:pt x="2497" y="1224"/>
                </a:cubicBezTo>
                <a:close/>
                <a:moveTo>
                  <a:pt x="3451" y="1224"/>
                </a:moveTo>
                <a:cubicBezTo>
                  <a:pt x="3499" y="1224"/>
                  <a:pt x="3563" y="1177"/>
                  <a:pt x="3563" y="1113"/>
                </a:cubicBezTo>
                <a:cubicBezTo>
                  <a:pt x="3563" y="1049"/>
                  <a:pt x="3499" y="1002"/>
                  <a:pt x="3451" y="1002"/>
                </a:cubicBezTo>
                <a:cubicBezTo>
                  <a:pt x="3387" y="1002"/>
                  <a:pt x="3340" y="1049"/>
                  <a:pt x="3340" y="1113"/>
                </a:cubicBezTo>
                <a:cubicBezTo>
                  <a:pt x="3340" y="1177"/>
                  <a:pt x="3387" y="1224"/>
                  <a:pt x="3451" y="1224"/>
                </a:cubicBezTo>
                <a:close/>
                <a:moveTo>
                  <a:pt x="2974" y="700"/>
                </a:moveTo>
                <a:cubicBezTo>
                  <a:pt x="3037" y="700"/>
                  <a:pt x="3085" y="652"/>
                  <a:pt x="3085" y="588"/>
                </a:cubicBezTo>
                <a:cubicBezTo>
                  <a:pt x="3085" y="525"/>
                  <a:pt x="3037" y="477"/>
                  <a:pt x="2974" y="477"/>
                </a:cubicBezTo>
                <a:cubicBezTo>
                  <a:pt x="2910" y="477"/>
                  <a:pt x="2863" y="525"/>
                  <a:pt x="2863" y="588"/>
                </a:cubicBezTo>
                <a:cubicBezTo>
                  <a:pt x="2863" y="652"/>
                  <a:pt x="2910" y="700"/>
                  <a:pt x="2974" y="700"/>
                </a:cubicBezTo>
                <a:close/>
                <a:moveTo>
                  <a:pt x="2497" y="700"/>
                </a:moveTo>
                <a:cubicBezTo>
                  <a:pt x="2560" y="700"/>
                  <a:pt x="2608" y="652"/>
                  <a:pt x="2608" y="588"/>
                </a:cubicBezTo>
                <a:cubicBezTo>
                  <a:pt x="2608" y="525"/>
                  <a:pt x="2560" y="477"/>
                  <a:pt x="2497" y="477"/>
                </a:cubicBezTo>
                <a:cubicBezTo>
                  <a:pt x="2433" y="477"/>
                  <a:pt x="2385" y="525"/>
                  <a:pt x="2385" y="588"/>
                </a:cubicBezTo>
                <a:cubicBezTo>
                  <a:pt x="2385" y="652"/>
                  <a:pt x="2433" y="700"/>
                  <a:pt x="2497" y="700"/>
                </a:cubicBezTo>
                <a:close/>
                <a:moveTo>
                  <a:pt x="3451" y="700"/>
                </a:moveTo>
                <a:cubicBezTo>
                  <a:pt x="3499" y="700"/>
                  <a:pt x="3563" y="652"/>
                  <a:pt x="3563" y="588"/>
                </a:cubicBezTo>
                <a:cubicBezTo>
                  <a:pt x="3563" y="525"/>
                  <a:pt x="3499" y="477"/>
                  <a:pt x="3451" y="477"/>
                </a:cubicBezTo>
                <a:cubicBezTo>
                  <a:pt x="3387" y="477"/>
                  <a:pt x="3340" y="525"/>
                  <a:pt x="3340" y="588"/>
                </a:cubicBezTo>
                <a:cubicBezTo>
                  <a:pt x="3340" y="652"/>
                  <a:pt x="3387" y="700"/>
                  <a:pt x="3451" y="700"/>
                </a:cubicBezTo>
                <a:close/>
                <a:moveTo>
                  <a:pt x="2974" y="1718"/>
                </a:moveTo>
                <a:cubicBezTo>
                  <a:pt x="3037" y="1718"/>
                  <a:pt x="3085" y="1670"/>
                  <a:pt x="3085" y="1622"/>
                </a:cubicBezTo>
                <a:cubicBezTo>
                  <a:pt x="3085" y="1558"/>
                  <a:pt x="3037" y="1511"/>
                  <a:pt x="2974" y="1511"/>
                </a:cubicBezTo>
                <a:cubicBezTo>
                  <a:pt x="2910" y="1511"/>
                  <a:pt x="2863" y="1558"/>
                  <a:pt x="2863" y="1622"/>
                </a:cubicBezTo>
                <a:cubicBezTo>
                  <a:pt x="2863" y="1670"/>
                  <a:pt x="2910" y="1718"/>
                  <a:pt x="2974" y="1718"/>
                </a:cubicBezTo>
                <a:close/>
                <a:moveTo>
                  <a:pt x="2497" y="1511"/>
                </a:moveTo>
                <a:cubicBezTo>
                  <a:pt x="2433" y="1511"/>
                  <a:pt x="2385" y="1558"/>
                  <a:pt x="2385" y="1622"/>
                </a:cubicBezTo>
                <a:cubicBezTo>
                  <a:pt x="2385" y="1670"/>
                  <a:pt x="2433" y="1718"/>
                  <a:pt x="2497" y="1718"/>
                </a:cubicBezTo>
                <a:cubicBezTo>
                  <a:pt x="2560" y="1718"/>
                  <a:pt x="2608" y="1670"/>
                  <a:pt x="2608" y="1622"/>
                </a:cubicBezTo>
                <a:cubicBezTo>
                  <a:pt x="2608" y="1558"/>
                  <a:pt x="2560" y="1511"/>
                  <a:pt x="2497" y="1511"/>
                </a:cubicBezTo>
                <a:close/>
                <a:moveTo>
                  <a:pt x="3451" y="1718"/>
                </a:moveTo>
                <a:cubicBezTo>
                  <a:pt x="3499" y="1718"/>
                  <a:pt x="3563" y="1670"/>
                  <a:pt x="3563" y="1622"/>
                </a:cubicBezTo>
                <a:cubicBezTo>
                  <a:pt x="3563" y="1558"/>
                  <a:pt x="3499" y="1511"/>
                  <a:pt x="3451" y="1511"/>
                </a:cubicBezTo>
                <a:cubicBezTo>
                  <a:pt x="3387" y="1511"/>
                  <a:pt x="3340" y="1558"/>
                  <a:pt x="3340" y="1622"/>
                </a:cubicBezTo>
                <a:cubicBezTo>
                  <a:pt x="3340" y="1670"/>
                  <a:pt x="3387" y="1718"/>
                  <a:pt x="3451" y="171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0" name="Freeform: Shape 13">
            <a:extLst>
              <a:ext uri="{FF2B5EF4-FFF2-40B4-BE49-F238E27FC236}">
                <a16:creationId xmlns:a16="http://schemas.microsoft.com/office/drawing/2014/main" id="{370DBFEA-1F2D-1046-A16C-E7ACB6B33E0E}"/>
              </a:ext>
            </a:extLst>
          </p:cNvPr>
          <p:cNvSpPr/>
          <p:nvPr/>
        </p:nvSpPr>
        <p:spPr>
          <a:xfrm>
            <a:off x="13632210" y="3126732"/>
            <a:ext cx="1575000" cy="1705680"/>
          </a:xfrm>
          <a:custGeom>
            <a:avLst/>
            <a:gdLst/>
            <a:ahLst/>
            <a:cxnLst>
              <a:cxn ang="3cd4">
                <a:pos x="hc" y="t"/>
              </a:cxn>
              <a:cxn ang="cd2">
                <a:pos x="l" y="vc"/>
              </a:cxn>
              <a:cxn ang="cd4">
                <a:pos x="hc" y="b"/>
              </a:cxn>
              <a:cxn ang="0">
                <a:pos x="r" y="vc"/>
              </a:cxn>
            </a:cxnLst>
            <a:rect l="l" t="t" r="r" b="b"/>
            <a:pathLst>
              <a:path w="4376" h="4739">
                <a:moveTo>
                  <a:pt x="1845" y="4739"/>
                </a:moveTo>
                <a:cubicBezTo>
                  <a:pt x="2880" y="4739"/>
                  <a:pt x="3707" y="3912"/>
                  <a:pt x="3707" y="2878"/>
                </a:cubicBezTo>
                <a:cubicBezTo>
                  <a:pt x="3707" y="1955"/>
                  <a:pt x="3023" y="1176"/>
                  <a:pt x="2116" y="1049"/>
                </a:cubicBezTo>
                <a:lnTo>
                  <a:pt x="2116" y="1017"/>
                </a:lnTo>
                <a:cubicBezTo>
                  <a:pt x="2116" y="683"/>
                  <a:pt x="1845" y="413"/>
                  <a:pt x="1511" y="413"/>
                </a:cubicBezTo>
                <a:lnTo>
                  <a:pt x="1464" y="413"/>
                </a:lnTo>
                <a:cubicBezTo>
                  <a:pt x="1464" y="270"/>
                  <a:pt x="1527" y="206"/>
                  <a:pt x="1671" y="174"/>
                </a:cubicBezTo>
                <a:cubicBezTo>
                  <a:pt x="1862" y="158"/>
                  <a:pt x="2180" y="158"/>
                  <a:pt x="2386" y="254"/>
                </a:cubicBezTo>
                <a:cubicBezTo>
                  <a:pt x="2529" y="333"/>
                  <a:pt x="2641" y="461"/>
                  <a:pt x="2752" y="604"/>
                </a:cubicBezTo>
                <a:cubicBezTo>
                  <a:pt x="2863" y="747"/>
                  <a:pt x="2975" y="890"/>
                  <a:pt x="3150" y="985"/>
                </a:cubicBezTo>
                <a:cubicBezTo>
                  <a:pt x="3214" y="1017"/>
                  <a:pt x="3277" y="1017"/>
                  <a:pt x="3341" y="1017"/>
                </a:cubicBezTo>
                <a:cubicBezTo>
                  <a:pt x="3389" y="1017"/>
                  <a:pt x="3436" y="1017"/>
                  <a:pt x="3484" y="1001"/>
                </a:cubicBezTo>
                <a:cubicBezTo>
                  <a:pt x="3611" y="954"/>
                  <a:pt x="3690" y="874"/>
                  <a:pt x="3754" y="763"/>
                </a:cubicBezTo>
                <a:cubicBezTo>
                  <a:pt x="3770" y="731"/>
                  <a:pt x="3754" y="699"/>
                  <a:pt x="3754" y="683"/>
                </a:cubicBezTo>
                <a:cubicBezTo>
                  <a:pt x="3786" y="683"/>
                  <a:pt x="3818" y="667"/>
                  <a:pt x="3834" y="651"/>
                </a:cubicBezTo>
                <a:cubicBezTo>
                  <a:pt x="3850" y="604"/>
                  <a:pt x="3993" y="476"/>
                  <a:pt x="4041" y="476"/>
                </a:cubicBezTo>
                <a:cubicBezTo>
                  <a:pt x="4088" y="461"/>
                  <a:pt x="4104" y="413"/>
                  <a:pt x="4088" y="365"/>
                </a:cubicBezTo>
                <a:cubicBezTo>
                  <a:pt x="4088" y="333"/>
                  <a:pt x="4041" y="301"/>
                  <a:pt x="3993" y="317"/>
                </a:cubicBezTo>
                <a:cubicBezTo>
                  <a:pt x="3898" y="349"/>
                  <a:pt x="3738" y="492"/>
                  <a:pt x="3690" y="572"/>
                </a:cubicBezTo>
                <a:cubicBezTo>
                  <a:pt x="3675" y="588"/>
                  <a:pt x="3675" y="619"/>
                  <a:pt x="3690" y="651"/>
                </a:cubicBezTo>
                <a:cubicBezTo>
                  <a:pt x="3659" y="636"/>
                  <a:pt x="3627" y="651"/>
                  <a:pt x="3611" y="683"/>
                </a:cubicBezTo>
                <a:cubicBezTo>
                  <a:pt x="3579" y="763"/>
                  <a:pt x="3516" y="826"/>
                  <a:pt x="3436" y="858"/>
                </a:cubicBezTo>
                <a:cubicBezTo>
                  <a:pt x="3372" y="874"/>
                  <a:pt x="3293" y="874"/>
                  <a:pt x="3229" y="842"/>
                </a:cubicBezTo>
                <a:cubicBezTo>
                  <a:pt x="3086" y="763"/>
                  <a:pt x="2975" y="636"/>
                  <a:pt x="2863" y="508"/>
                </a:cubicBezTo>
                <a:cubicBezTo>
                  <a:pt x="2752" y="349"/>
                  <a:pt x="2625" y="206"/>
                  <a:pt x="2450" y="110"/>
                </a:cubicBezTo>
                <a:cubicBezTo>
                  <a:pt x="2211" y="-1"/>
                  <a:pt x="1877" y="-17"/>
                  <a:pt x="1639" y="15"/>
                </a:cubicBezTo>
                <a:cubicBezTo>
                  <a:pt x="1416" y="47"/>
                  <a:pt x="1305" y="190"/>
                  <a:pt x="1305" y="445"/>
                </a:cubicBezTo>
                <a:cubicBezTo>
                  <a:pt x="1066" y="540"/>
                  <a:pt x="907" y="763"/>
                  <a:pt x="907" y="1017"/>
                </a:cubicBezTo>
                <a:cubicBezTo>
                  <a:pt x="907" y="1113"/>
                  <a:pt x="923" y="1192"/>
                  <a:pt x="955" y="1256"/>
                </a:cubicBezTo>
                <a:cubicBezTo>
                  <a:pt x="382" y="1574"/>
                  <a:pt x="0" y="2178"/>
                  <a:pt x="0" y="2878"/>
                </a:cubicBezTo>
                <a:cubicBezTo>
                  <a:pt x="0" y="3912"/>
                  <a:pt x="827" y="4739"/>
                  <a:pt x="1845" y="4739"/>
                </a:cubicBezTo>
                <a:close/>
                <a:moveTo>
                  <a:pt x="1066" y="1017"/>
                </a:moveTo>
                <a:cubicBezTo>
                  <a:pt x="1066" y="779"/>
                  <a:pt x="1257" y="572"/>
                  <a:pt x="1511" y="572"/>
                </a:cubicBezTo>
                <a:cubicBezTo>
                  <a:pt x="1766" y="572"/>
                  <a:pt x="1957" y="779"/>
                  <a:pt x="1957" y="1017"/>
                </a:cubicBezTo>
                <a:lnTo>
                  <a:pt x="1957" y="1033"/>
                </a:lnTo>
                <a:cubicBezTo>
                  <a:pt x="1925" y="1017"/>
                  <a:pt x="1893" y="1017"/>
                  <a:pt x="1845" y="1017"/>
                </a:cubicBezTo>
                <a:cubicBezTo>
                  <a:pt x="1575" y="1017"/>
                  <a:pt x="1321" y="1081"/>
                  <a:pt x="1098" y="1192"/>
                </a:cubicBezTo>
                <a:cubicBezTo>
                  <a:pt x="1066" y="1128"/>
                  <a:pt x="1066" y="1081"/>
                  <a:pt x="1066" y="1017"/>
                </a:cubicBezTo>
                <a:close/>
                <a:moveTo>
                  <a:pt x="1035" y="1399"/>
                </a:moveTo>
                <a:cubicBezTo>
                  <a:pt x="1050" y="1415"/>
                  <a:pt x="1066" y="1415"/>
                  <a:pt x="1082" y="1415"/>
                </a:cubicBezTo>
                <a:cubicBezTo>
                  <a:pt x="1098" y="1415"/>
                  <a:pt x="1114" y="1415"/>
                  <a:pt x="1130" y="1399"/>
                </a:cubicBezTo>
                <a:cubicBezTo>
                  <a:pt x="1162" y="1383"/>
                  <a:pt x="1162" y="1351"/>
                  <a:pt x="1162" y="1335"/>
                </a:cubicBezTo>
                <a:cubicBezTo>
                  <a:pt x="1368" y="1240"/>
                  <a:pt x="1607" y="1176"/>
                  <a:pt x="1845" y="1176"/>
                </a:cubicBezTo>
                <a:cubicBezTo>
                  <a:pt x="1893" y="1176"/>
                  <a:pt x="1925" y="1176"/>
                  <a:pt x="1957" y="1192"/>
                </a:cubicBezTo>
                <a:cubicBezTo>
                  <a:pt x="1957" y="1208"/>
                  <a:pt x="1973" y="1224"/>
                  <a:pt x="2005" y="1224"/>
                </a:cubicBezTo>
                <a:cubicBezTo>
                  <a:pt x="2036" y="1240"/>
                  <a:pt x="2068" y="1224"/>
                  <a:pt x="2084" y="1192"/>
                </a:cubicBezTo>
                <a:cubicBezTo>
                  <a:pt x="2911" y="1319"/>
                  <a:pt x="3547" y="2019"/>
                  <a:pt x="3547" y="2878"/>
                </a:cubicBezTo>
                <a:cubicBezTo>
                  <a:pt x="3547" y="3817"/>
                  <a:pt x="2784" y="4580"/>
                  <a:pt x="1845" y="4580"/>
                </a:cubicBezTo>
                <a:cubicBezTo>
                  <a:pt x="907" y="4580"/>
                  <a:pt x="144" y="3817"/>
                  <a:pt x="144" y="2878"/>
                </a:cubicBezTo>
                <a:cubicBezTo>
                  <a:pt x="144" y="2242"/>
                  <a:pt x="509" y="1685"/>
                  <a:pt x="1035" y="1399"/>
                </a:cubicBezTo>
                <a:close/>
                <a:moveTo>
                  <a:pt x="4359" y="651"/>
                </a:moveTo>
                <a:cubicBezTo>
                  <a:pt x="4343" y="619"/>
                  <a:pt x="4295" y="604"/>
                  <a:pt x="4247" y="636"/>
                </a:cubicBezTo>
                <a:cubicBezTo>
                  <a:pt x="4168" y="683"/>
                  <a:pt x="4009" y="683"/>
                  <a:pt x="3898" y="683"/>
                </a:cubicBezTo>
                <a:lnTo>
                  <a:pt x="3834" y="683"/>
                </a:lnTo>
                <a:cubicBezTo>
                  <a:pt x="3802" y="683"/>
                  <a:pt x="3754" y="715"/>
                  <a:pt x="3754" y="763"/>
                </a:cubicBezTo>
                <a:cubicBezTo>
                  <a:pt x="3754" y="794"/>
                  <a:pt x="3802" y="842"/>
                  <a:pt x="3834" y="842"/>
                </a:cubicBezTo>
                <a:lnTo>
                  <a:pt x="3898" y="842"/>
                </a:lnTo>
                <a:lnTo>
                  <a:pt x="3945" y="842"/>
                </a:lnTo>
                <a:cubicBezTo>
                  <a:pt x="4072" y="842"/>
                  <a:pt x="4231" y="826"/>
                  <a:pt x="4343" y="763"/>
                </a:cubicBezTo>
                <a:cubicBezTo>
                  <a:pt x="4375" y="747"/>
                  <a:pt x="4390" y="699"/>
                  <a:pt x="4359" y="651"/>
                </a:cubicBezTo>
                <a:close/>
                <a:moveTo>
                  <a:pt x="3579" y="142"/>
                </a:moveTo>
                <a:cubicBezTo>
                  <a:pt x="3547" y="127"/>
                  <a:pt x="3500" y="142"/>
                  <a:pt x="3468" y="174"/>
                </a:cubicBezTo>
                <a:cubicBezTo>
                  <a:pt x="3389" y="301"/>
                  <a:pt x="3468" y="492"/>
                  <a:pt x="3516" y="588"/>
                </a:cubicBezTo>
                <a:cubicBezTo>
                  <a:pt x="3532" y="604"/>
                  <a:pt x="3547" y="619"/>
                  <a:pt x="3579" y="619"/>
                </a:cubicBezTo>
                <a:lnTo>
                  <a:pt x="3627" y="619"/>
                </a:lnTo>
                <a:cubicBezTo>
                  <a:pt x="3659" y="588"/>
                  <a:pt x="3675" y="540"/>
                  <a:pt x="3659" y="508"/>
                </a:cubicBezTo>
                <a:cubicBezTo>
                  <a:pt x="3611" y="428"/>
                  <a:pt x="3579" y="301"/>
                  <a:pt x="3611" y="254"/>
                </a:cubicBezTo>
                <a:cubicBezTo>
                  <a:pt x="3627" y="222"/>
                  <a:pt x="3611" y="174"/>
                  <a:pt x="3579" y="142"/>
                </a:cubicBezTo>
                <a:close/>
                <a:moveTo>
                  <a:pt x="1845" y="4229"/>
                </a:moveTo>
                <a:cubicBezTo>
                  <a:pt x="1893" y="4229"/>
                  <a:pt x="1925" y="4181"/>
                  <a:pt x="1925" y="4150"/>
                </a:cubicBezTo>
                <a:cubicBezTo>
                  <a:pt x="1925" y="4102"/>
                  <a:pt x="1893" y="4070"/>
                  <a:pt x="1845" y="4070"/>
                </a:cubicBezTo>
                <a:cubicBezTo>
                  <a:pt x="1209" y="4070"/>
                  <a:pt x="669" y="3529"/>
                  <a:pt x="669" y="2877"/>
                </a:cubicBezTo>
                <a:cubicBezTo>
                  <a:pt x="669" y="2845"/>
                  <a:pt x="637" y="2798"/>
                  <a:pt x="589" y="2798"/>
                </a:cubicBezTo>
                <a:cubicBezTo>
                  <a:pt x="541" y="2798"/>
                  <a:pt x="509" y="2845"/>
                  <a:pt x="509" y="2877"/>
                </a:cubicBezTo>
                <a:cubicBezTo>
                  <a:pt x="509" y="3625"/>
                  <a:pt x="1114" y="4229"/>
                  <a:pt x="1845" y="422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2" name="Freeform: Shape 15">
            <a:extLst>
              <a:ext uri="{FF2B5EF4-FFF2-40B4-BE49-F238E27FC236}">
                <a16:creationId xmlns:a16="http://schemas.microsoft.com/office/drawing/2014/main" id="{02B709A6-85F7-694C-97FC-1C365B50C680}"/>
              </a:ext>
            </a:extLst>
          </p:cNvPr>
          <p:cNvSpPr/>
          <p:nvPr/>
        </p:nvSpPr>
        <p:spPr>
          <a:xfrm>
            <a:off x="9865508" y="3083892"/>
            <a:ext cx="1625760" cy="1793880"/>
          </a:xfrm>
          <a:custGeom>
            <a:avLst/>
            <a:gdLst/>
            <a:ahLst/>
            <a:cxnLst>
              <a:cxn ang="3cd4">
                <a:pos x="hc" y="t"/>
              </a:cxn>
              <a:cxn ang="cd2">
                <a:pos x="l" y="vc"/>
              </a:cxn>
              <a:cxn ang="cd4">
                <a:pos x="hc" y="b"/>
              </a:cxn>
              <a:cxn ang="0">
                <a:pos x="r" y="vc"/>
              </a:cxn>
            </a:cxnLst>
            <a:rect l="l" t="t" r="r" b="b"/>
            <a:pathLst>
              <a:path w="4517" h="4984">
                <a:moveTo>
                  <a:pt x="294" y="658"/>
                </a:moveTo>
                <a:cubicBezTo>
                  <a:pt x="246" y="642"/>
                  <a:pt x="215" y="674"/>
                  <a:pt x="199" y="722"/>
                </a:cubicBezTo>
                <a:cubicBezTo>
                  <a:pt x="199" y="737"/>
                  <a:pt x="135" y="1024"/>
                  <a:pt x="310" y="1215"/>
                </a:cubicBezTo>
                <a:cubicBezTo>
                  <a:pt x="390" y="1326"/>
                  <a:pt x="517" y="1374"/>
                  <a:pt x="676" y="1374"/>
                </a:cubicBezTo>
                <a:cubicBezTo>
                  <a:pt x="628" y="1581"/>
                  <a:pt x="628" y="1835"/>
                  <a:pt x="676" y="2090"/>
                </a:cubicBezTo>
                <a:cubicBezTo>
                  <a:pt x="676" y="2121"/>
                  <a:pt x="708" y="2153"/>
                  <a:pt x="740" y="2153"/>
                </a:cubicBezTo>
                <a:cubicBezTo>
                  <a:pt x="803" y="2169"/>
                  <a:pt x="899" y="2185"/>
                  <a:pt x="1010" y="2185"/>
                </a:cubicBezTo>
                <a:cubicBezTo>
                  <a:pt x="1408" y="2185"/>
                  <a:pt x="2028" y="2026"/>
                  <a:pt x="2457" y="1263"/>
                </a:cubicBezTo>
                <a:cubicBezTo>
                  <a:pt x="2473" y="1231"/>
                  <a:pt x="2457" y="1199"/>
                  <a:pt x="2442" y="1167"/>
                </a:cubicBezTo>
                <a:cubicBezTo>
                  <a:pt x="2251" y="976"/>
                  <a:pt x="2044" y="849"/>
                  <a:pt x="1853" y="769"/>
                </a:cubicBezTo>
                <a:cubicBezTo>
                  <a:pt x="1933" y="626"/>
                  <a:pt x="1964" y="499"/>
                  <a:pt x="1933" y="372"/>
                </a:cubicBezTo>
                <a:cubicBezTo>
                  <a:pt x="1869" y="117"/>
                  <a:pt x="1700" y="128"/>
                  <a:pt x="1583" y="6"/>
                </a:cubicBezTo>
                <a:cubicBezTo>
                  <a:pt x="1535" y="-10"/>
                  <a:pt x="1487" y="6"/>
                  <a:pt x="1472" y="37"/>
                </a:cubicBezTo>
                <a:cubicBezTo>
                  <a:pt x="1455" y="85"/>
                  <a:pt x="1472" y="133"/>
                  <a:pt x="1519" y="149"/>
                </a:cubicBezTo>
                <a:cubicBezTo>
                  <a:pt x="1604" y="234"/>
                  <a:pt x="1726" y="245"/>
                  <a:pt x="1773" y="403"/>
                </a:cubicBezTo>
                <a:cubicBezTo>
                  <a:pt x="1805" y="499"/>
                  <a:pt x="1773" y="594"/>
                  <a:pt x="1694" y="706"/>
                </a:cubicBezTo>
                <a:cubicBezTo>
                  <a:pt x="1487" y="658"/>
                  <a:pt x="1281" y="674"/>
                  <a:pt x="1106" y="769"/>
                </a:cubicBezTo>
                <a:cubicBezTo>
                  <a:pt x="931" y="865"/>
                  <a:pt x="803" y="1024"/>
                  <a:pt x="724" y="1215"/>
                </a:cubicBezTo>
                <a:cubicBezTo>
                  <a:pt x="581" y="1231"/>
                  <a:pt x="485" y="1183"/>
                  <a:pt x="422" y="1119"/>
                </a:cubicBezTo>
                <a:cubicBezTo>
                  <a:pt x="310" y="976"/>
                  <a:pt x="380" y="876"/>
                  <a:pt x="358" y="754"/>
                </a:cubicBezTo>
                <a:cubicBezTo>
                  <a:pt x="374" y="706"/>
                  <a:pt x="342" y="674"/>
                  <a:pt x="294" y="658"/>
                </a:cubicBezTo>
                <a:close/>
                <a:moveTo>
                  <a:pt x="1169" y="912"/>
                </a:moveTo>
                <a:cubicBezTo>
                  <a:pt x="1472" y="754"/>
                  <a:pt x="1901" y="881"/>
                  <a:pt x="2282" y="1231"/>
                </a:cubicBezTo>
                <a:cubicBezTo>
                  <a:pt x="1837" y="1994"/>
                  <a:pt x="1201" y="2058"/>
                  <a:pt x="819" y="2010"/>
                </a:cubicBezTo>
                <a:cubicBezTo>
                  <a:pt x="740" y="1485"/>
                  <a:pt x="883" y="1072"/>
                  <a:pt x="1169" y="912"/>
                </a:cubicBezTo>
                <a:close/>
                <a:moveTo>
                  <a:pt x="24" y="2424"/>
                </a:moveTo>
                <a:cubicBezTo>
                  <a:pt x="-8" y="2455"/>
                  <a:pt x="-8" y="2503"/>
                  <a:pt x="24" y="2535"/>
                </a:cubicBezTo>
                <a:cubicBezTo>
                  <a:pt x="40" y="2551"/>
                  <a:pt x="56" y="2551"/>
                  <a:pt x="88" y="2551"/>
                </a:cubicBezTo>
                <a:cubicBezTo>
                  <a:pt x="103" y="2551"/>
                  <a:pt x="119" y="2535"/>
                  <a:pt x="135" y="2519"/>
                </a:cubicBezTo>
                <a:cubicBezTo>
                  <a:pt x="231" y="2424"/>
                  <a:pt x="342" y="2360"/>
                  <a:pt x="437" y="2360"/>
                </a:cubicBezTo>
                <a:cubicBezTo>
                  <a:pt x="612" y="2344"/>
                  <a:pt x="755" y="2455"/>
                  <a:pt x="803" y="2503"/>
                </a:cubicBezTo>
                <a:cubicBezTo>
                  <a:pt x="851" y="2726"/>
                  <a:pt x="931" y="2964"/>
                  <a:pt x="1042" y="3171"/>
                </a:cubicBezTo>
                <a:lnTo>
                  <a:pt x="1074" y="3235"/>
                </a:lnTo>
                <a:lnTo>
                  <a:pt x="342" y="3617"/>
                </a:lnTo>
                <a:cubicBezTo>
                  <a:pt x="310" y="3648"/>
                  <a:pt x="294" y="3696"/>
                  <a:pt x="310" y="3728"/>
                </a:cubicBezTo>
                <a:cubicBezTo>
                  <a:pt x="326" y="3760"/>
                  <a:pt x="358" y="3775"/>
                  <a:pt x="374" y="3775"/>
                </a:cubicBezTo>
                <a:cubicBezTo>
                  <a:pt x="390" y="3775"/>
                  <a:pt x="406" y="3760"/>
                  <a:pt x="422" y="3760"/>
                </a:cubicBezTo>
                <a:lnTo>
                  <a:pt x="1153" y="3378"/>
                </a:lnTo>
                <a:lnTo>
                  <a:pt x="1185" y="3442"/>
                </a:lnTo>
                <a:cubicBezTo>
                  <a:pt x="1264" y="3617"/>
                  <a:pt x="1392" y="3775"/>
                  <a:pt x="1519" y="3918"/>
                </a:cubicBezTo>
                <a:cubicBezTo>
                  <a:pt x="1392" y="4030"/>
                  <a:pt x="1026" y="4412"/>
                  <a:pt x="1153" y="4936"/>
                </a:cubicBezTo>
                <a:cubicBezTo>
                  <a:pt x="1169" y="4969"/>
                  <a:pt x="1201" y="4984"/>
                  <a:pt x="1233" y="4984"/>
                </a:cubicBezTo>
                <a:lnTo>
                  <a:pt x="1249" y="4984"/>
                </a:lnTo>
                <a:cubicBezTo>
                  <a:pt x="1296" y="4969"/>
                  <a:pt x="1328" y="4936"/>
                  <a:pt x="1312" y="4889"/>
                </a:cubicBezTo>
                <a:cubicBezTo>
                  <a:pt x="1201" y="4444"/>
                  <a:pt x="1535" y="4126"/>
                  <a:pt x="1615" y="4046"/>
                </a:cubicBezTo>
                <a:cubicBezTo>
                  <a:pt x="1742" y="4173"/>
                  <a:pt x="1885" y="4269"/>
                  <a:pt x="2028" y="4348"/>
                </a:cubicBezTo>
                <a:cubicBezTo>
                  <a:pt x="2235" y="4460"/>
                  <a:pt x="2426" y="4507"/>
                  <a:pt x="2617" y="4507"/>
                </a:cubicBezTo>
                <a:cubicBezTo>
                  <a:pt x="2760" y="4507"/>
                  <a:pt x="2887" y="4475"/>
                  <a:pt x="3014" y="4412"/>
                </a:cubicBezTo>
                <a:cubicBezTo>
                  <a:pt x="3428" y="4205"/>
                  <a:pt x="3603" y="3664"/>
                  <a:pt x="3491" y="3060"/>
                </a:cubicBezTo>
                <a:cubicBezTo>
                  <a:pt x="3666" y="3028"/>
                  <a:pt x="4112" y="2964"/>
                  <a:pt x="4382" y="3282"/>
                </a:cubicBezTo>
                <a:cubicBezTo>
                  <a:pt x="4398" y="3299"/>
                  <a:pt x="4414" y="3314"/>
                  <a:pt x="4430" y="3314"/>
                </a:cubicBezTo>
                <a:cubicBezTo>
                  <a:pt x="4462" y="3314"/>
                  <a:pt x="4478" y="3314"/>
                  <a:pt x="4493" y="3299"/>
                </a:cubicBezTo>
                <a:cubicBezTo>
                  <a:pt x="4525" y="3266"/>
                  <a:pt x="4525" y="3219"/>
                  <a:pt x="4493" y="3187"/>
                </a:cubicBezTo>
                <a:cubicBezTo>
                  <a:pt x="4175" y="2805"/>
                  <a:pt x="3666" y="2869"/>
                  <a:pt x="3460" y="2901"/>
                </a:cubicBezTo>
                <a:cubicBezTo>
                  <a:pt x="3428" y="2726"/>
                  <a:pt x="3348" y="2535"/>
                  <a:pt x="3253" y="2360"/>
                </a:cubicBezTo>
                <a:lnTo>
                  <a:pt x="3221" y="2296"/>
                </a:lnTo>
                <a:lnTo>
                  <a:pt x="3969" y="1915"/>
                </a:lnTo>
                <a:cubicBezTo>
                  <a:pt x="4000" y="1883"/>
                  <a:pt x="4017" y="1835"/>
                  <a:pt x="4000" y="1803"/>
                </a:cubicBezTo>
                <a:cubicBezTo>
                  <a:pt x="3969" y="1755"/>
                  <a:pt x="3921" y="1740"/>
                  <a:pt x="3889" y="1772"/>
                </a:cubicBezTo>
                <a:lnTo>
                  <a:pt x="3157" y="2153"/>
                </a:lnTo>
                <a:lnTo>
                  <a:pt x="3126" y="2090"/>
                </a:lnTo>
                <a:cubicBezTo>
                  <a:pt x="2999" y="1867"/>
                  <a:pt x="2855" y="1676"/>
                  <a:pt x="2696" y="1501"/>
                </a:cubicBezTo>
                <a:cubicBezTo>
                  <a:pt x="2696" y="1437"/>
                  <a:pt x="2680" y="1263"/>
                  <a:pt x="2791" y="1135"/>
                </a:cubicBezTo>
                <a:cubicBezTo>
                  <a:pt x="2855" y="1040"/>
                  <a:pt x="2966" y="992"/>
                  <a:pt x="3109" y="976"/>
                </a:cubicBezTo>
                <a:cubicBezTo>
                  <a:pt x="3142" y="976"/>
                  <a:pt x="3173" y="928"/>
                  <a:pt x="3173" y="881"/>
                </a:cubicBezTo>
                <a:cubicBezTo>
                  <a:pt x="3173" y="849"/>
                  <a:pt x="3126" y="817"/>
                  <a:pt x="3078" y="817"/>
                </a:cubicBezTo>
                <a:cubicBezTo>
                  <a:pt x="2903" y="833"/>
                  <a:pt x="2760" y="912"/>
                  <a:pt x="2664" y="1040"/>
                </a:cubicBezTo>
                <a:cubicBezTo>
                  <a:pt x="2521" y="1215"/>
                  <a:pt x="2537" y="1437"/>
                  <a:pt x="2537" y="1533"/>
                </a:cubicBezTo>
                <a:cubicBezTo>
                  <a:pt x="2028" y="2376"/>
                  <a:pt x="1312" y="2424"/>
                  <a:pt x="915" y="2376"/>
                </a:cubicBezTo>
                <a:cubicBezTo>
                  <a:pt x="851" y="2328"/>
                  <a:pt x="660" y="2201"/>
                  <a:pt x="437" y="2201"/>
                </a:cubicBezTo>
                <a:cubicBezTo>
                  <a:pt x="279" y="2201"/>
                  <a:pt x="135" y="2281"/>
                  <a:pt x="24" y="2424"/>
                </a:cubicBezTo>
                <a:close/>
                <a:moveTo>
                  <a:pt x="2633" y="1676"/>
                </a:moveTo>
                <a:cubicBezTo>
                  <a:pt x="2760" y="1819"/>
                  <a:pt x="2887" y="1978"/>
                  <a:pt x="2982" y="2169"/>
                </a:cubicBezTo>
                <a:lnTo>
                  <a:pt x="3109" y="2424"/>
                </a:lnTo>
                <a:cubicBezTo>
                  <a:pt x="3221" y="2614"/>
                  <a:pt x="3285" y="2821"/>
                  <a:pt x="3332" y="3012"/>
                </a:cubicBezTo>
                <a:lnTo>
                  <a:pt x="3332" y="3028"/>
                </a:lnTo>
                <a:cubicBezTo>
                  <a:pt x="3444" y="3585"/>
                  <a:pt x="3300" y="4078"/>
                  <a:pt x="2935" y="4284"/>
                </a:cubicBezTo>
                <a:cubicBezTo>
                  <a:pt x="2712" y="4396"/>
                  <a:pt x="2410" y="4380"/>
                  <a:pt x="2108" y="4205"/>
                </a:cubicBezTo>
                <a:cubicBezTo>
                  <a:pt x="1790" y="4030"/>
                  <a:pt x="1519" y="3744"/>
                  <a:pt x="1312" y="3362"/>
                </a:cubicBezTo>
                <a:lnTo>
                  <a:pt x="1185" y="3108"/>
                </a:lnTo>
                <a:cubicBezTo>
                  <a:pt x="1090" y="2917"/>
                  <a:pt x="1010" y="2742"/>
                  <a:pt x="978" y="2551"/>
                </a:cubicBezTo>
                <a:cubicBezTo>
                  <a:pt x="1360" y="2567"/>
                  <a:pt x="2108" y="2487"/>
                  <a:pt x="2633" y="1676"/>
                </a:cubicBezTo>
                <a:close/>
                <a:moveTo>
                  <a:pt x="2791" y="3855"/>
                </a:moveTo>
                <a:cubicBezTo>
                  <a:pt x="2776" y="3903"/>
                  <a:pt x="2791" y="3951"/>
                  <a:pt x="2823" y="3966"/>
                </a:cubicBezTo>
                <a:cubicBezTo>
                  <a:pt x="2839" y="3982"/>
                  <a:pt x="2855" y="3982"/>
                  <a:pt x="2871" y="3982"/>
                </a:cubicBezTo>
                <a:cubicBezTo>
                  <a:pt x="2887" y="3982"/>
                  <a:pt x="2919" y="3966"/>
                  <a:pt x="2935" y="3951"/>
                </a:cubicBezTo>
                <a:cubicBezTo>
                  <a:pt x="3237" y="3442"/>
                  <a:pt x="2919" y="2678"/>
                  <a:pt x="2776" y="2376"/>
                </a:cubicBezTo>
                <a:cubicBezTo>
                  <a:pt x="2744" y="2344"/>
                  <a:pt x="2696" y="2328"/>
                  <a:pt x="2664" y="2344"/>
                </a:cubicBezTo>
                <a:cubicBezTo>
                  <a:pt x="2633" y="2360"/>
                  <a:pt x="2617" y="2408"/>
                  <a:pt x="2633" y="2439"/>
                </a:cubicBezTo>
                <a:cubicBezTo>
                  <a:pt x="2776" y="2726"/>
                  <a:pt x="3062" y="3426"/>
                  <a:pt x="2791" y="385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Freeform: Shape 16">
            <a:extLst>
              <a:ext uri="{FF2B5EF4-FFF2-40B4-BE49-F238E27FC236}">
                <a16:creationId xmlns:a16="http://schemas.microsoft.com/office/drawing/2014/main" id="{2AF6AC98-B2BF-604F-B154-D793A4A6FC84}"/>
              </a:ext>
            </a:extLst>
          </p:cNvPr>
          <p:cNvSpPr/>
          <p:nvPr/>
        </p:nvSpPr>
        <p:spPr>
          <a:xfrm>
            <a:off x="21506484" y="3256944"/>
            <a:ext cx="1235880" cy="1685160"/>
          </a:xfrm>
          <a:custGeom>
            <a:avLst/>
            <a:gdLst/>
            <a:ahLst/>
            <a:cxnLst>
              <a:cxn ang="3cd4">
                <a:pos x="hc" y="t"/>
              </a:cxn>
              <a:cxn ang="cd2">
                <a:pos x="l" y="vc"/>
              </a:cxn>
              <a:cxn ang="cd4">
                <a:pos x="hc" y="b"/>
              </a:cxn>
              <a:cxn ang="0">
                <a:pos x="r" y="vc"/>
              </a:cxn>
            </a:cxnLst>
            <a:rect l="l" t="t" r="r" b="b"/>
            <a:pathLst>
              <a:path w="3434" h="4682">
                <a:moveTo>
                  <a:pt x="550" y="4642"/>
                </a:moveTo>
                <a:cubicBezTo>
                  <a:pt x="979" y="4434"/>
                  <a:pt x="1441" y="4148"/>
                  <a:pt x="1727" y="3958"/>
                </a:cubicBezTo>
                <a:cubicBezTo>
                  <a:pt x="2029" y="4196"/>
                  <a:pt x="2427" y="4419"/>
                  <a:pt x="2888" y="4642"/>
                </a:cubicBezTo>
                <a:cubicBezTo>
                  <a:pt x="2935" y="4673"/>
                  <a:pt x="2999" y="4673"/>
                  <a:pt x="3047" y="4673"/>
                </a:cubicBezTo>
                <a:cubicBezTo>
                  <a:pt x="3190" y="4673"/>
                  <a:pt x="3334" y="4594"/>
                  <a:pt x="3397" y="4467"/>
                </a:cubicBezTo>
                <a:cubicBezTo>
                  <a:pt x="3444" y="4371"/>
                  <a:pt x="3444" y="4276"/>
                  <a:pt x="3413" y="4180"/>
                </a:cubicBezTo>
                <a:cubicBezTo>
                  <a:pt x="3381" y="4069"/>
                  <a:pt x="3317" y="4005"/>
                  <a:pt x="3222" y="3958"/>
                </a:cubicBezTo>
                <a:cubicBezTo>
                  <a:pt x="2856" y="3767"/>
                  <a:pt x="2538" y="3592"/>
                  <a:pt x="2283" y="3417"/>
                </a:cubicBezTo>
                <a:cubicBezTo>
                  <a:pt x="2363" y="3337"/>
                  <a:pt x="2443" y="3210"/>
                  <a:pt x="2459" y="3162"/>
                </a:cubicBezTo>
                <a:cubicBezTo>
                  <a:pt x="2538" y="3051"/>
                  <a:pt x="2602" y="2924"/>
                  <a:pt x="2634" y="2797"/>
                </a:cubicBezTo>
                <a:cubicBezTo>
                  <a:pt x="2713" y="2542"/>
                  <a:pt x="2713" y="2288"/>
                  <a:pt x="2649" y="2049"/>
                </a:cubicBezTo>
                <a:cubicBezTo>
                  <a:pt x="2570" y="1762"/>
                  <a:pt x="2427" y="1524"/>
                  <a:pt x="2268" y="1333"/>
                </a:cubicBezTo>
                <a:cubicBezTo>
                  <a:pt x="2522" y="1126"/>
                  <a:pt x="2888" y="856"/>
                  <a:pt x="3111" y="697"/>
                </a:cubicBezTo>
                <a:cubicBezTo>
                  <a:pt x="3301" y="586"/>
                  <a:pt x="3349" y="347"/>
                  <a:pt x="3222" y="172"/>
                </a:cubicBezTo>
                <a:cubicBezTo>
                  <a:pt x="3174" y="92"/>
                  <a:pt x="3079" y="29"/>
                  <a:pt x="2983" y="13"/>
                </a:cubicBezTo>
                <a:cubicBezTo>
                  <a:pt x="2888" y="-19"/>
                  <a:pt x="2777" y="13"/>
                  <a:pt x="2697" y="61"/>
                </a:cubicBezTo>
                <a:cubicBezTo>
                  <a:pt x="2363" y="283"/>
                  <a:pt x="2077" y="490"/>
                  <a:pt x="1838" y="681"/>
                </a:cubicBezTo>
                <a:cubicBezTo>
                  <a:pt x="1790" y="729"/>
                  <a:pt x="1790" y="729"/>
                  <a:pt x="1790" y="729"/>
                </a:cubicBezTo>
                <a:cubicBezTo>
                  <a:pt x="1759" y="744"/>
                  <a:pt x="1743" y="761"/>
                  <a:pt x="1711" y="776"/>
                </a:cubicBezTo>
                <a:cubicBezTo>
                  <a:pt x="1393" y="506"/>
                  <a:pt x="1043" y="267"/>
                  <a:pt x="741" y="61"/>
                </a:cubicBezTo>
                <a:cubicBezTo>
                  <a:pt x="566" y="-51"/>
                  <a:pt x="327" y="-3"/>
                  <a:pt x="216" y="172"/>
                </a:cubicBezTo>
                <a:cubicBezTo>
                  <a:pt x="89" y="347"/>
                  <a:pt x="152" y="586"/>
                  <a:pt x="327" y="697"/>
                </a:cubicBezTo>
                <a:cubicBezTo>
                  <a:pt x="598" y="888"/>
                  <a:pt x="900" y="1095"/>
                  <a:pt x="1186" y="1333"/>
                </a:cubicBezTo>
                <a:lnTo>
                  <a:pt x="1170" y="1349"/>
                </a:lnTo>
                <a:cubicBezTo>
                  <a:pt x="1122" y="1397"/>
                  <a:pt x="1090" y="1444"/>
                  <a:pt x="1090" y="1444"/>
                </a:cubicBezTo>
                <a:cubicBezTo>
                  <a:pt x="836" y="1794"/>
                  <a:pt x="709" y="2144"/>
                  <a:pt x="741" y="2510"/>
                </a:cubicBezTo>
                <a:cubicBezTo>
                  <a:pt x="757" y="2828"/>
                  <a:pt x="884" y="3130"/>
                  <a:pt x="1138" y="3433"/>
                </a:cubicBezTo>
                <a:cubicBezTo>
                  <a:pt x="916" y="3576"/>
                  <a:pt x="518" y="3798"/>
                  <a:pt x="216" y="3958"/>
                </a:cubicBezTo>
                <a:cubicBezTo>
                  <a:pt x="25" y="4053"/>
                  <a:pt x="-55" y="4276"/>
                  <a:pt x="41" y="4467"/>
                </a:cubicBezTo>
                <a:cubicBezTo>
                  <a:pt x="136" y="4657"/>
                  <a:pt x="359" y="4737"/>
                  <a:pt x="550" y="4642"/>
                </a:cubicBezTo>
                <a:close/>
                <a:moveTo>
                  <a:pt x="1886" y="856"/>
                </a:moveTo>
                <a:cubicBezTo>
                  <a:pt x="1950" y="808"/>
                  <a:pt x="1950" y="808"/>
                  <a:pt x="1950" y="808"/>
                </a:cubicBezTo>
                <a:cubicBezTo>
                  <a:pt x="2172" y="617"/>
                  <a:pt x="2443" y="410"/>
                  <a:pt x="2792" y="204"/>
                </a:cubicBezTo>
                <a:cubicBezTo>
                  <a:pt x="2840" y="156"/>
                  <a:pt x="2888" y="156"/>
                  <a:pt x="2952" y="172"/>
                </a:cubicBezTo>
                <a:cubicBezTo>
                  <a:pt x="3015" y="172"/>
                  <a:pt x="3063" y="204"/>
                  <a:pt x="3095" y="267"/>
                </a:cubicBezTo>
                <a:cubicBezTo>
                  <a:pt x="3158" y="363"/>
                  <a:pt x="3126" y="506"/>
                  <a:pt x="3031" y="570"/>
                </a:cubicBezTo>
                <a:cubicBezTo>
                  <a:pt x="2792" y="729"/>
                  <a:pt x="2427" y="999"/>
                  <a:pt x="2156" y="1206"/>
                </a:cubicBezTo>
                <a:cubicBezTo>
                  <a:pt x="2061" y="1095"/>
                  <a:pt x="1950" y="983"/>
                  <a:pt x="1838" y="888"/>
                </a:cubicBezTo>
                <a:cubicBezTo>
                  <a:pt x="1854" y="872"/>
                  <a:pt x="1870" y="856"/>
                  <a:pt x="1886" y="856"/>
                </a:cubicBezTo>
                <a:close/>
                <a:moveTo>
                  <a:pt x="407" y="570"/>
                </a:moveTo>
                <a:cubicBezTo>
                  <a:pt x="359" y="538"/>
                  <a:pt x="327" y="490"/>
                  <a:pt x="311" y="426"/>
                </a:cubicBezTo>
                <a:cubicBezTo>
                  <a:pt x="295" y="363"/>
                  <a:pt x="311" y="315"/>
                  <a:pt x="343" y="267"/>
                </a:cubicBezTo>
                <a:cubicBezTo>
                  <a:pt x="407" y="156"/>
                  <a:pt x="550" y="124"/>
                  <a:pt x="661" y="204"/>
                </a:cubicBezTo>
                <a:cubicBezTo>
                  <a:pt x="995" y="426"/>
                  <a:pt x="1393" y="697"/>
                  <a:pt x="1727" y="999"/>
                </a:cubicBezTo>
                <a:cubicBezTo>
                  <a:pt x="1997" y="1238"/>
                  <a:pt x="2363" y="1619"/>
                  <a:pt x="2490" y="2080"/>
                </a:cubicBezTo>
                <a:cubicBezTo>
                  <a:pt x="2554" y="2303"/>
                  <a:pt x="2554" y="2526"/>
                  <a:pt x="2490" y="2749"/>
                </a:cubicBezTo>
                <a:cubicBezTo>
                  <a:pt x="2443" y="2860"/>
                  <a:pt x="2395" y="2971"/>
                  <a:pt x="2331" y="3083"/>
                </a:cubicBezTo>
                <a:cubicBezTo>
                  <a:pt x="2316" y="3115"/>
                  <a:pt x="2220" y="3258"/>
                  <a:pt x="2156" y="3337"/>
                </a:cubicBezTo>
                <a:cubicBezTo>
                  <a:pt x="2029" y="3226"/>
                  <a:pt x="1918" y="3130"/>
                  <a:pt x="1822" y="3035"/>
                </a:cubicBezTo>
                <a:cubicBezTo>
                  <a:pt x="1838" y="3003"/>
                  <a:pt x="1870" y="2955"/>
                  <a:pt x="1902" y="2908"/>
                </a:cubicBezTo>
                <a:cubicBezTo>
                  <a:pt x="1950" y="2828"/>
                  <a:pt x="1997" y="2764"/>
                  <a:pt x="2029" y="2685"/>
                </a:cubicBezTo>
                <a:cubicBezTo>
                  <a:pt x="2108" y="2510"/>
                  <a:pt x="2108" y="2351"/>
                  <a:pt x="2045" y="2160"/>
                </a:cubicBezTo>
                <a:cubicBezTo>
                  <a:pt x="1981" y="1937"/>
                  <a:pt x="1838" y="1747"/>
                  <a:pt x="1679" y="1588"/>
                </a:cubicBezTo>
                <a:cubicBezTo>
                  <a:pt x="1584" y="1460"/>
                  <a:pt x="1472" y="1365"/>
                  <a:pt x="1345" y="1270"/>
                </a:cubicBezTo>
                <a:cubicBezTo>
                  <a:pt x="1043" y="999"/>
                  <a:pt x="725" y="776"/>
                  <a:pt x="407" y="570"/>
                </a:cubicBezTo>
                <a:close/>
                <a:moveTo>
                  <a:pt x="1774" y="2812"/>
                </a:moveTo>
                <a:cubicBezTo>
                  <a:pt x="1774" y="2828"/>
                  <a:pt x="1743" y="2876"/>
                  <a:pt x="1711" y="2908"/>
                </a:cubicBezTo>
                <a:cubicBezTo>
                  <a:pt x="1584" y="2749"/>
                  <a:pt x="1504" y="2606"/>
                  <a:pt x="1504" y="2446"/>
                </a:cubicBezTo>
                <a:cubicBezTo>
                  <a:pt x="1488" y="2303"/>
                  <a:pt x="1536" y="2144"/>
                  <a:pt x="1647" y="1969"/>
                </a:cubicBezTo>
                <a:cubicBezTo>
                  <a:pt x="1663" y="1969"/>
                  <a:pt x="1695" y="1922"/>
                  <a:pt x="1727" y="1890"/>
                </a:cubicBezTo>
                <a:cubicBezTo>
                  <a:pt x="1807" y="1985"/>
                  <a:pt x="1854" y="2097"/>
                  <a:pt x="1902" y="2208"/>
                </a:cubicBezTo>
                <a:cubicBezTo>
                  <a:pt x="1950" y="2367"/>
                  <a:pt x="1950" y="2494"/>
                  <a:pt x="1886" y="2621"/>
                </a:cubicBezTo>
                <a:cubicBezTo>
                  <a:pt x="1854" y="2685"/>
                  <a:pt x="1822" y="2749"/>
                  <a:pt x="1774" y="2812"/>
                </a:cubicBezTo>
                <a:close/>
                <a:moveTo>
                  <a:pt x="900" y="2494"/>
                </a:moveTo>
                <a:cubicBezTo>
                  <a:pt x="884" y="2176"/>
                  <a:pt x="979" y="1858"/>
                  <a:pt x="1218" y="1540"/>
                </a:cubicBezTo>
                <a:cubicBezTo>
                  <a:pt x="1218" y="1524"/>
                  <a:pt x="1250" y="1492"/>
                  <a:pt x="1281" y="1444"/>
                </a:cubicBezTo>
                <a:cubicBezTo>
                  <a:pt x="1298" y="1444"/>
                  <a:pt x="1298" y="1444"/>
                  <a:pt x="1298" y="1428"/>
                </a:cubicBezTo>
                <a:cubicBezTo>
                  <a:pt x="1393" y="1508"/>
                  <a:pt x="1488" y="1604"/>
                  <a:pt x="1568" y="1683"/>
                </a:cubicBezTo>
                <a:cubicBezTo>
                  <a:pt x="1584" y="1715"/>
                  <a:pt x="1599" y="1731"/>
                  <a:pt x="1631" y="1762"/>
                </a:cubicBezTo>
                <a:cubicBezTo>
                  <a:pt x="1616" y="1762"/>
                  <a:pt x="1616" y="1779"/>
                  <a:pt x="1599" y="1794"/>
                </a:cubicBezTo>
                <a:cubicBezTo>
                  <a:pt x="1568" y="1826"/>
                  <a:pt x="1520" y="1874"/>
                  <a:pt x="1520" y="1890"/>
                </a:cubicBezTo>
                <a:cubicBezTo>
                  <a:pt x="1393" y="2080"/>
                  <a:pt x="1329" y="2288"/>
                  <a:pt x="1345" y="2462"/>
                </a:cubicBezTo>
                <a:cubicBezTo>
                  <a:pt x="1361" y="2685"/>
                  <a:pt x="1472" y="2908"/>
                  <a:pt x="1695" y="3130"/>
                </a:cubicBezTo>
                <a:cubicBezTo>
                  <a:pt x="1807" y="3258"/>
                  <a:pt x="1918" y="3353"/>
                  <a:pt x="2077" y="3464"/>
                </a:cubicBezTo>
                <a:cubicBezTo>
                  <a:pt x="2347" y="3671"/>
                  <a:pt x="2713" y="3878"/>
                  <a:pt x="3158" y="4101"/>
                </a:cubicBezTo>
                <a:cubicBezTo>
                  <a:pt x="3270" y="4148"/>
                  <a:pt x="3301" y="4291"/>
                  <a:pt x="3254" y="4387"/>
                </a:cubicBezTo>
                <a:cubicBezTo>
                  <a:pt x="3206" y="4498"/>
                  <a:pt x="3063" y="4546"/>
                  <a:pt x="2952" y="4498"/>
                </a:cubicBezTo>
                <a:cubicBezTo>
                  <a:pt x="1599" y="3830"/>
                  <a:pt x="947" y="3194"/>
                  <a:pt x="900" y="2494"/>
                </a:cubicBezTo>
                <a:close/>
                <a:moveTo>
                  <a:pt x="295" y="4101"/>
                </a:moveTo>
                <a:cubicBezTo>
                  <a:pt x="598" y="3942"/>
                  <a:pt x="1011" y="3703"/>
                  <a:pt x="1234" y="3560"/>
                </a:cubicBezTo>
                <a:cubicBezTo>
                  <a:pt x="1329" y="3655"/>
                  <a:pt x="1441" y="3767"/>
                  <a:pt x="1584" y="3862"/>
                </a:cubicBezTo>
                <a:cubicBezTo>
                  <a:pt x="1298" y="4053"/>
                  <a:pt x="868" y="4307"/>
                  <a:pt x="486" y="4498"/>
                </a:cubicBezTo>
                <a:cubicBezTo>
                  <a:pt x="375" y="4546"/>
                  <a:pt x="232" y="4498"/>
                  <a:pt x="184" y="4403"/>
                </a:cubicBezTo>
                <a:cubicBezTo>
                  <a:pt x="136" y="4291"/>
                  <a:pt x="184" y="4148"/>
                  <a:pt x="295" y="410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4" name="Freeform: Shape 17">
            <a:extLst>
              <a:ext uri="{FF2B5EF4-FFF2-40B4-BE49-F238E27FC236}">
                <a16:creationId xmlns:a16="http://schemas.microsoft.com/office/drawing/2014/main" id="{0BCFE26B-2238-A74B-8233-BD3C88A8DF4C}"/>
              </a:ext>
            </a:extLst>
          </p:cNvPr>
          <p:cNvSpPr/>
          <p:nvPr/>
        </p:nvSpPr>
        <p:spPr>
          <a:xfrm>
            <a:off x="21366968" y="6400811"/>
            <a:ext cx="1585800" cy="1655280"/>
          </a:xfrm>
          <a:custGeom>
            <a:avLst/>
            <a:gdLst/>
            <a:ahLst/>
            <a:cxnLst>
              <a:cxn ang="3cd4">
                <a:pos x="hc" y="t"/>
              </a:cxn>
              <a:cxn ang="cd2">
                <a:pos x="l" y="vc"/>
              </a:cxn>
              <a:cxn ang="cd4">
                <a:pos x="hc" y="b"/>
              </a:cxn>
              <a:cxn ang="0">
                <a:pos x="r" y="vc"/>
              </a:cxn>
            </a:cxnLst>
            <a:rect l="l" t="t" r="r" b="b"/>
            <a:pathLst>
              <a:path w="4406" h="4599">
                <a:moveTo>
                  <a:pt x="2211" y="0"/>
                </a:moveTo>
                <a:cubicBezTo>
                  <a:pt x="2036" y="0"/>
                  <a:pt x="1893" y="144"/>
                  <a:pt x="1893" y="319"/>
                </a:cubicBezTo>
                <a:lnTo>
                  <a:pt x="1893" y="1909"/>
                </a:lnTo>
                <a:lnTo>
                  <a:pt x="1670" y="1687"/>
                </a:lnTo>
                <a:cubicBezTo>
                  <a:pt x="1543" y="1560"/>
                  <a:pt x="1336" y="1560"/>
                  <a:pt x="1209" y="1687"/>
                </a:cubicBezTo>
                <a:cubicBezTo>
                  <a:pt x="1082" y="1814"/>
                  <a:pt x="1082" y="2021"/>
                  <a:pt x="1209" y="2132"/>
                </a:cubicBezTo>
                <a:lnTo>
                  <a:pt x="1972" y="2911"/>
                </a:lnTo>
                <a:cubicBezTo>
                  <a:pt x="2004" y="2943"/>
                  <a:pt x="2036" y="2959"/>
                  <a:pt x="2084" y="2975"/>
                </a:cubicBezTo>
                <a:cubicBezTo>
                  <a:pt x="2115" y="2991"/>
                  <a:pt x="2163" y="3007"/>
                  <a:pt x="2211" y="3007"/>
                </a:cubicBezTo>
                <a:cubicBezTo>
                  <a:pt x="2243" y="3007"/>
                  <a:pt x="2290" y="2991"/>
                  <a:pt x="2338" y="2975"/>
                </a:cubicBezTo>
                <a:cubicBezTo>
                  <a:pt x="2370" y="2959"/>
                  <a:pt x="2402" y="2943"/>
                  <a:pt x="2433" y="2911"/>
                </a:cubicBezTo>
                <a:lnTo>
                  <a:pt x="3197" y="2132"/>
                </a:lnTo>
                <a:cubicBezTo>
                  <a:pt x="3324" y="2021"/>
                  <a:pt x="3324" y="1814"/>
                  <a:pt x="3197" y="1687"/>
                </a:cubicBezTo>
                <a:cubicBezTo>
                  <a:pt x="3070" y="1560"/>
                  <a:pt x="2879" y="1560"/>
                  <a:pt x="2752" y="1687"/>
                </a:cubicBezTo>
                <a:lnTo>
                  <a:pt x="2529" y="1909"/>
                </a:lnTo>
                <a:lnTo>
                  <a:pt x="2529" y="319"/>
                </a:lnTo>
                <a:cubicBezTo>
                  <a:pt x="2529" y="144"/>
                  <a:pt x="2386" y="0"/>
                  <a:pt x="2211" y="0"/>
                </a:cubicBezTo>
                <a:close/>
                <a:moveTo>
                  <a:pt x="2863" y="1798"/>
                </a:moveTo>
                <a:cubicBezTo>
                  <a:pt x="2927" y="1735"/>
                  <a:pt x="3022" y="1735"/>
                  <a:pt x="3086" y="1798"/>
                </a:cubicBezTo>
                <a:cubicBezTo>
                  <a:pt x="3150" y="1862"/>
                  <a:pt x="3150" y="1957"/>
                  <a:pt x="3086" y="2021"/>
                </a:cubicBezTo>
                <a:lnTo>
                  <a:pt x="2322" y="2800"/>
                </a:lnTo>
                <a:cubicBezTo>
                  <a:pt x="2306" y="2816"/>
                  <a:pt x="2290" y="2816"/>
                  <a:pt x="2275" y="2832"/>
                </a:cubicBezTo>
                <a:cubicBezTo>
                  <a:pt x="2227" y="2848"/>
                  <a:pt x="2179" y="2848"/>
                  <a:pt x="2147" y="2832"/>
                </a:cubicBezTo>
                <a:cubicBezTo>
                  <a:pt x="2132" y="2816"/>
                  <a:pt x="2100" y="2816"/>
                  <a:pt x="2100" y="2800"/>
                </a:cubicBezTo>
                <a:lnTo>
                  <a:pt x="1320" y="2021"/>
                </a:lnTo>
                <a:cubicBezTo>
                  <a:pt x="1257" y="1957"/>
                  <a:pt x="1257" y="1862"/>
                  <a:pt x="1320" y="1798"/>
                </a:cubicBezTo>
                <a:cubicBezTo>
                  <a:pt x="1352" y="1766"/>
                  <a:pt x="1400" y="1750"/>
                  <a:pt x="1432" y="1750"/>
                </a:cubicBezTo>
                <a:cubicBezTo>
                  <a:pt x="1479" y="1750"/>
                  <a:pt x="1527" y="1766"/>
                  <a:pt x="1559" y="1798"/>
                </a:cubicBezTo>
                <a:lnTo>
                  <a:pt x="1909" y="2148"/>
                </a:lnTo>
                <a:cubicBezTo>
                  <a:pt x="1924" y="2180"/>
                  <a:pt x="1972" y="2180"/>
                  <a:pt x="1988" y="2164"/>
                </a:cubicBezTo>
                <a:cubicBezTo>
                  <a:pt x="2020" y="2148"/>
                  <a:pt x="2052" y="2132"/>
                  <a:pt x="2052" y="2100"/>
                </a:cubicBezTo>
                <a:lnTo>
                  <a:pt x="2052" y="319"/>
                </a:lnTo>
                <a:cubicBezTo>
                  <a:pt x="2052" y="223"/>
                  <a:pt x="2115" y="160"/>
                  <a:pt x="2211" y="160"/>
                </a:cubicBezTo>
                <a:cubicBezTo>
                  <a:pt x="2290" y="160"/>
                  <a:pt x="2370" y="223"/>
                  <a:pt x="2370" y="319"/>
                </a:cubicBezTo>
                <a:lnTo>
                  <a:pt x="2370" y="2100"/>
                </a:lnTo>
                <a:cubicBezTo>
                  <a:pt x="2370" y="2132"/>
                  <a:pt x="2386" y="2148"/>
                  <a:pt x="2418" y="2164"/>
                </a:cubicBezTo>
                <a:cubicBezTo>
                  <a:pt x="2450" y="2180"/>
                  <a:pt x="2481" y="2180"/>
                  <a:pt x="2513" y="2148"/>
                </a:cubicBezTo>
                <a:close/>
                <a:moveTo>
                  <a:pt x="1097" y="479"/>
                </a:moveTo>
                <a:cubicBezTo>
                  <a:pt x="414" y="876"/>
                  <a:pt x="0" y="1608"/>
                  <a:pt x="0" y="2388"/>
                </a:cubicBezTo>
                <a:cubicBezTo>
                  <a:pt x="0" y="3612"/>
                  <a:pt x="986" y="4599"/>
                  <a:pt x="2195" y="4599"/>
                </a:cubicBezTo>
                <a:cubicBezTo>
                  <a:pt x="3420" y="4599"/>
                  <a:pt x="4406" y="3612"/>
                  <a:pt x="4406" y="2388"/>
                </a:cubicBezTo>
                <a:cubicBezTo>
                  <a:pt x="4406" y="1640"/>
                  <a:pt x="4024" y="956"/>
                  <a:pt x="3404" y="543"/>
                </a:cubicBezTo>
                <a:cubicBezTo>
                  <a:pt x="3340" y="495"/>
                  <a:pt x="3245" y="479"/>
                  <a:pt x="3165" y="495"/>
                </a:cubicBezTo>
                <a:cubicBezTo>
                  <a:pt x="3086" y="527"/>
                  <a:pt x="3006" y="574"/>
                  <a:pt x="2959" y="638"/>
                </a:cubicBezTo>
                <a:cubicBezTo>
                  <a:pt x="2911" y="718"/>
                  <a:pt x="2895" y="797"/>
                  <a:pt x="2911" y="876"/>
                </a:cubicBezTo>
                <a:cubicBezTo>
                  <a:pt x="2927" y="972"/>
                  <a:pt x="2990" y="1036"/>
                  <a:pt x="3054" y="1083"/>
                </a:cubicBezTo>
                <a:cubicBezTo>
                  <a:pt x="3499" y="1370"/>
                  <a:pt x="3754" y="1863"/>
                  <a:pt x="3754" y="2388"/>
                </a:cubicBezTo>
                <a:cubicBezTo>
                  <a:pt x="3754" y="3246"/>
                  <a:pt x="3054" y="3946"/>
                  <a:pt x="2195" y="3946"/>
                </a:cubicBezTo>
                <a:cubicBezTo>
                  <a:pt x="1336" y="3946"/>
                  <a:pt x="636" y="3246"/>
                  <a:pt x="636" y="2388"/>
                </a:cubicBezTo>
                <a:cubicBezTo>
                  <a:pt x="636" y="1831"/>
                  <a:pt x="939" y="1322"/>
                  <a:pt x="1415" y="1036"/>
                </a:cubicBezTo>
                <a:cubicBezTo>
                  <a:pt x="1575" y="956"/>
                  <a:pt x="1623" y="749"/>
                  <a:pt x="1543" y="606"/>
                </a:cubicBezTo>
                <a:cubicBezTo>
                  <a:pt x="1448" y="447"/>
                  <a:pt x="1257" y="400"/>
                  <a:pt x="1097" y="479"/>
                </a:cubicBezTo>
                <a:close/>
                <a:moveTo>
                  <a:pt x="1336" y="908"/>
                </a:moveTo>
                <a:cubicBezTo>
                  <a:pt x="811" y="1210"/>
                  <a:pt x="477" y="1783"/>
                  <a:pt x="477" y="2388"/>
                </a:cubicBezTo>
                <a:cubicBezTo>
                  <a:pt x="477" y="3342"/>
                  <a:pt x="1257" y="4105"/>
                  <a:pt x="2195" y="4105"/>
                </a:cubicBezTo>
                <a:cubicBezTo>
                  <a:pt x="3150" y="4105"/>
                  <a:pt x="3913" y="3342"/>
                  <a:pt x="3913" y="2388"/>
                </a:cubicBezTo>
                <a:cubicBezTo>
                  <a:pt x="3913" y="1815"/>
                  <a:pt x="3627" y="1274"/>
                  <a:pt x="3150" y="956"/>
                </a:cubicBezTo>
                <a:cubicBezTo>
                  <a:pt x="3102" y="924"/>
                  <a:pt x="3086" y="892"/>
                  <a:pt x="3070" y="845"/>
                </a:cubicBezTo>
                <a:cubicBezTo>
                  <a:pt x="3070" y="813"/>
                  <a:pt x="3070" y="765"/>
                  <a:pt x="3102" y="733"/>
                </a:cubicBezTo>
                <a:cubicBezTo>
                  <a:pt x="3118" y="686"/>
                  <a:pt x="3150" y="670"/>
                  <a:pt x="3197" y="654"/>
                </a:cubicBezTo>
                <a:cubicBezTo>
                  <a:pt x="3245" y="654"/>
                  <a:pt x="3277" y="654"/>
                  <a:pt x="3324" y="686"/>
                </a:cubicBezTo>
                <a:cubicBezTo>
                  <a:pt x="3897" y="1067"/>
                  <a:pt x="4247" y="1704"/>
                  <a:pt x="4247" y="2388"/>
                </a:cubicBezTo>
                <a:cubicBezTo>
                  <a:pt x="4247" y="3517"/>
                  <a:pt x="3324" y="4439"/>
                  <a:pt x="2195" y="4439"/>
                </a:cubicBezTo>
                <a:cubicBezTo>
                  <a:pt x="1066" y="4439"/>
                  <a:pt x="143" y="3517"/>
                  <a:pt x="143" y="2388"/>
                </a:cubicBezTo>
                <a:cubicBezTo>
                  <a:pt x="143" y="1656"/>
                  <a:pt x="541" y="988"/>
                  <a:pt x="1177" y="622"/>
                </a:cubicBezTo>
                <a:cubicBezTo>
                  <a:pt x="1209" y="606"/>
                  <a:pt x="1225" y="590"/>
                  <a:pt x="1257" y="590"/>
                </a:cubicBezTo>
                <a:cubicBezTo>
                  <a:pt x="1320" y="590"/>
                  <a:pt x="1368" y="622"/>
                  <a:pt x="1400" y="686"/>
                </a:cubicBezTo>
                <a:cubicBezTo>
                  <a:pt x="1448" y="749"/>
                  <a:pt x="1415" y="861"/>
                  <a:pt x="1336" y="90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5" name="Freeform: Shape 18">
            <a:extLst>
              <a:ext uri="{FF2B5EF4-FFF2-40B4-BE49-F238E27FC236}">
                <a16:creationId xmlns:a16="http://schemas.microsoft.com/office/drawing/2014/main" id="{2B0EFBBF-3825-4546-A6CA-942ECC65B926}"/>
              </a:ext>
            </a:extLst>
          </p:cNvPr>
          <p:cNvSpPr/>
          <p:nvPr/>
        </p:nvSpPr>
        <p:spPr>
          <a:xfrm>
            <a:off x="17474154" y="6406931"/>
            <a:ext cx="1436759" cy="1643039"/>
          </a:xfrm>
          <a:custGeom>
            <a:avLst/>
            <a:gdLst/>
            <a:ahLst/>
            <a:cxnLst>
              <a:cxn ang="3cd4">
                <a:pos x="hc" y="t"/>
              </a:cxn>
              <a:cxn ang="cd2">
                <a:pos x="l" y="vc"/>
              </a:cxn>
              <a:cxn ang="cd4">
                <a:pos x="hc" y="b"/>
              </a:cxn>
              <a:cxn ang="0">
                <a:pos x="r" y="vc"/>
              </a:cxn>
            </a:cxnLst>
            <a:rect l="l" t="t" r="r" b="b"/>
            <a:pathLst>
              <a:path w="3992" h="4565">
                <a:moveTo>
                  <a:pt x="1686" y="302"/>
                </a:moveTo>
                <a:lnTo>
                  <a:pt x="1686" y="1622"/>
                </a:lnTo>
                <a:cubicBezTo>
                  <a:pt x="1686" y="1797"/>
                  <a:pt x="1829" y="1940"/>
                  <a:pt x="1988" y="1940"/>
                </a:cubicBezTo>
                <a:cubicBezTo>
                  <a:pt x="2163" y="1940"/>
                  <a:pt x="2306" y="1797"/>
                  <a:pt x="2306" y="1622"/>
                </a:cubicBezTo>
                <a:lnTo>
                  <a:pt x="2306" y="302"/>
                </a:lnTo>
                <a:cubicBezTo>
                  <a:pt x="2306" y="143"/>
                  <a:pt x="2163" y="0"/>
                  <a:pt x="1988" y="0"/>
                </a:cubicBezTo>
                <a:cubicBezTo>
                  <a:pt x="1829" y="0"/>
                  <a:pt x="1686" y="143"/>
                  <a:pt x="1686" y="302"/>
                </a:cubicBezTo>
                <a:close/>
                <a:moveTo>
                  <a:pt x="2147" y="302"/>
                </a:moveTo>
                <a:lnTo>
                  <a:pt x="2147" y="1622"/>
                </a:lnTo>
                <a:cubicBezTo>
                  <a:pt x="2147" y="1718"/>
                  <a:pt x="2083" y="1781"/>
                  <a:pt x="1988" y="1781"/>
                </a:cubicBezTo>
                <a:cubicBezTo>
                  <a:pt x="1909" y="1781"/>
                  <a:pt x="1845" y="1718"/>
                  <a:pt x="1845" y="1622"/>
                </a:cubicBezTo>
                <a:lnTo>
                  <a:pt x="1845" y="302"/>
                </a:lnTo>
                <a:cubicBezTo>
                  <a:pt x="1845" y="222"/>
                  <a:pt x="1909" y="159"/>
                  <a:pt x="1988" y="159"/>
                </a:cubicBezTo>
                <a:cubicBezTo>
                  <a:pt x="2083" y="159"/>
                  <a:pt x="2147" y="222"/>
                  <a:pt x="2147" y="302"/>
                </a:cubicBezTo>
                <a:close/>
                <a:moveTo>
                  <a:pt x="2974" y="844"/>
                </a:moveTo>
                <a:cubicBezTo>
                  <a:pt x="2815" y="764"/>
                  <a:pt x="2640" y="812"/>
                  <a:pt x="2545" y="955"/>
                </a:cubicBezTo>
                <a:cubicBezTo>
                  <a:pt x="2465" y="1114"/>
                  <a:pt x="2513" y="1289"/>
                  <a:pt x="2672" y="1384"/>
                </a:cubicBezTo>
                <a:cubicBezTo>
                  <a:pt x="3101" y="1623"/>
                  <a:pt x="3372" y="2084"/>
                  <a:pt x="3372" y="2577"/>
                </a:cubicBezTo>
                <a:cubicBezTo>
                  <a:pt x="3372" y="3325"/>
                  <a:pt x="2752" y="3945"/>
                  <a:pt x="1988" y="3945"/>
                </a:cubicBezTo>
                <a:cubicBezTo>
                  <a:pt x="1241" y="3945"/>
                  <a:pt x="620" y="3325"/>
                  <a:pt x="620" y="2577"/>
                </a:cubicBezTo>
                <a:cubicBezTo>
                  <a:pt x="620" y="2084"/>
                  <a:pt x="891" y="1623"/>
                  <a:pt x="1320" y="1384"/>
                </a:cubicBezTo>
                <a:cubicBezTo>
                  <a:pt x="1479" y="1289"/>
                  <a:pt x="1527" y="1098"/>
                  <a:pt x="1447" y="955"/>
                </a:cubicBezTo>
                <a:cubicBezTo>
                  <a:pt x="1352" y="812"/>
                  <a:pt x="1161" y="748"/>
                  <a:pt x="1018" y="844"/>
                </a:cubicBezTo>
                <a:cubicBezTo>
                  <a:pt x="398" y="1193"/>
                  <a:pt x="0" y="1862"/>
                  <a:pt x="0" y="2577"/>
                </a:cubicBezTo>
                <a:cubicBezTo>
                  <a:pt x="0" y="3675"/>
                  <a:pt x="891" y="4565"/>
                  <a:pt x="1988" y="4565"/>
                </a:cubicBezTo>
                <a:cubicBezTo>
                  <a:pt x="3086" y="4565"/>
                  <a:pt x="3992" y="3675"/>
                  <a:pt x="3992" y="2577"/>
                </a:cubicBezTo>
                <a:cubicBezTo>
                  <a:pt x="3992" y="1862"/>
                  <a:pt x="3595" y="1193"/>
                  <a:pt x="2974" y="844"/>
                </a:cubicBezTo>
                <a:close/>
                <a:moveTo>
                  <a:pt x="1988" y="4407"/>
                </a:moveTo>
                <a:cubicBezTo>
                  <a:pt x="986" y="4407"/>
                  <a:pt x="159" y="3579"/>
                  <a:pt x="159" y="2577"/>
                </a:cubicBezTo>
                <a:cubicBezTo>
                  <a:pt x="159" y="1909"/>
                  <a:pt x="525" y="1305"/>
                  <a:pt x="1098" y="971"/>
                </a:cubicBezTo>
                <a:cubicBezTo>
                  <a:pt x="1113" y="971"/>
                  <a:pt x="1145" y="955"/>
                  <a:pt x="1177" y="955"/>
                </a:cubicBezTo>
                <a:cubicBezTo>
                  <a:pt x="1225" y="955"/>
                  <a:pt x="1273" y="987"/>
                  <a:pt x="1304" y="1035"/>
                </a:cubicBezTo>
                <a:cubicBezTo>
                  <a:pt x="1352" y="1114"/>
                  <a:pt x="1320" y="1193"/>
                  <a:pt x="1241" y="1241"/>
                </a:cubicBezTo>
                <a:cubicBezTo>
                  <a:pt x="764" y="1511"/>
                  <a:pt x="461" y="2020"/>
                  <a:pt x="461" y="2577"/>
                </a:cubicBezTo>
                <a:cubicBezTo>
                  <a:pt x="461" y="3420"/>
                  <a:pt x="1145" y="4104"/>
                  <a:pt x="1988" y="4104"/>
                </a:cubicBezTo>
                <a:cubicBezTo>
                  <a:pt x="2831" y="4104"/>
                  <a:pt x="3531" y="3420"/>
                  <a:pt x="3531" y="2577"/>
                </a:cubicBezTo>
                <a:cubicBezTo>
                  <a:pt x="3531" y="2020"/>
                  <a:pt x="3229" y="1511"/>
                  <a:pt x="2752" y="1241"/>
                </a:cubicBezTo>
                <a:cubicBezTo>
                  <a:pt x="2672" y="1193"/>
                  <a:pt x="2640" y="1114"/>
                  <a:pt x="2688" y="1035"/>
                </a:cubicBezTo>
                <a:cubicBezTo>
                  <a:pt x="2720" y="971"/>
                  <a:pt x="2815" y="939"/>
                  <a:pt x="2895" y="971"/>
                </a:cubicBezTo>
                <a:cubicBezTo>
                  <a:pt x="3467" y="1305"/>
                  <a:pt x="3833" y="1909"/>
                  <a:pt x="3833" y="2577"/>
                </a:cubicBezTo>
                <a:cubicBezTo>
                  <a:pt x="3833" y="3579"/>
                  <a:pt x="3006" y="4407"/>
                  <a:pt x="1988" y="440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6350654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Symbols - 5</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33" name="TextBox 32">
            <a:extLst>
              <a:ext uri="{FF2B5EF4-FFF2-40B4-BE49-F238E27FC236}">
                <a16:creationId xmlns:a16="http://schemas.microsoft.com/office/drawing/2014/main" id="{174EAB9C-2811-5D46-858B-5A63A632FA6B}"/>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xpand</a:t>
            </a:r>
          </a:p>
        </p:txBody>
      </p:sp>
      <p:sp>
        <p:nvSpPr>
          <p:cNvPr id="34" name="TextBox 33">
            <a:extLst>
              <a:ext uri="{FF2B5EF4-FFF2-40B4-BE49-F238E27FC236}">
                <a16:creationId xmlns:a16="http://schemas.microsoft.com/office/drawing/2014/main" id="{E20902D8-5923-5641-90A7-A4B683998D71}"/>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i-Fi 1</a:t>
            </a:r>
          </a:p>
        </p:txBody>
      </p:sp>
      <p:sp>
        <p:nvSpPr>
          <p:cNvPr id="35" name="TextBox 34">
            <a:extLst>
              <a:ext uri="{FF2B5EF4-FFF2-40B4-BE49-F238E27FC236}">
                <a16:creationId xmlns:a16="http://schemas.microsoft.com/office/drawing/2014/main" id="{18A5D66D-9BD3-3B4D-BA72-716B21044776}"/>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i-Fi 2</a:t>
            </a:r>
          </a:p>
        </p:txBody>
      </p:sp>
      <p:sp>
        <p:nvSpPr>
          <p:cNvPr id="36" name="TextBox 35">
            <a:extLst>
              <a:ext uri="{FF2B5EF4-FFF2-40B4-BE49-F238E27FC236}">
                <a16:creationId xmlns:a16="http://schemas.microsoft.com/office/drawing/2014/main" id="{82AFE5ED-7970-674B-BDE3-07D520E04215}"/>
              </a:ext>
            </a:extLst>
          </p:cNvPr>
          <p:cNvSpPr txBox="1"/>
          <p:nvPr/>
        </p:nvSpPr>
        <p:spPr>
          <a:xfrm>
            <a:off x="12867894"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SS Feed 2</a:t>
            </a:r>
          </a:p>
        </p:txBody>
      </p:sp>
      <p:sp>
        <p:nvSpPr>
          <p:cNvPr id="37" name="TextBox 36">
            <a:extLst>
              <a:ext uri="{FF2B5EF4-FFF2-40B4-BE49-F238E27FC236}">
                <a16:creationId xmlns:a16="http://schemas.microsoft.com/office/drawing/2014/main" id="{0CE1EF24-D829-A146-A368-3881C82F82DC}"/>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onsolidate</a:t>
            </a:r>
          </a:p>
        </p:txBody>
      </p:sp>
      <p:sp>
        <p:nvSpPr>
          <p:cNvPr id="38" name="Freeform: Shape 26">
            <a:extLst>
              <a:ext uri="{FF2B5EF4-FFF2-40B4-BE49-F238E27FC236}">
                <a16:creationId xmlns:a16="http://schemas.microsoft.com/office/drawing/2014/main" id="{1CA451B7-D947-AC40-97F4-63C49F7E1CDB}"/>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9" name="TextBox 38">
            <a:extLst>
              <a:ext uri="{FF2B5EF4-FFF2-40B4-BE49-F238E27FC236}">
                <a16:creationId xmlns:a16="http://schemas.microsoft.com/office/drawing/2014/main" id="{2C7EDD17-1EBE-4C43-BA02-73504CC67FB9}"/>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ransmit</a:t>
            </a:r>
          </a:p>
        </p:txBody>
      </p:sp>
      <p:sp>
        <p:nvSpPr>
          <p:cNvPr id="40" name="Freeform: Shape 13">
            <a:extLst>
              <a:ext uri="{FF2B5EF4-FFF2-40B4-BE49-F238E27FC236}">
                <a16:creationId xmlns:a16="http://schemas.microsoft.com/office/drawing/2014/main" id="{6084B2E4-4CD7-9A40-AC47-01016CCD985E}"/>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1" name="Freeform: Shape 1">
            <a:extLst>
              <a:ext uri="{FF2B5EF4-FFF2-40B4-BE49-F238E27FC236}">
                <a16:creationId xmlns:a16="http://schemas.microsoft.com/office/drawing/2014/main" id="{844E2941-557B-9647-9C7E-B730B4321ADA}"/>
              </a:ext>
            </a:extLst>
          </p:cNvPr>
          <p:cNvSpPr/>
          <p:nvPr/>
        </p:nvSpPr>
        <p:spPr>
          <a:xfrm>
            <a:off x="21357112" y="3267514"/>
            <a:ext cx="1564919" cy="1329840"/>
          </a:xfrm>
          <a:custGeom>
            <a:avLst/>
            <a:gdLst/>
            <a:ahLst/>
            <a:cxnLst>
              <a:cxn ang="3cd4">
                <a:pos x="hc" y="t"/>
              </a:cxn>
              <a:cxn ang="cd2">
                <a:pos x="l" y="vc"/>
              </a:cxn>
              <a:cxn ang="cd4">
                <a:pos x="hc" y="b"/>
              </a:cxn>
              <a:cxn ang="0">
                <a:pos x="r" y="vc"/>
              </a:cxn>
            </a:cxnLst>
            <a:rect l="l" t="t" r="r" b="b"/>
            <a:pathLst>
              <a:path w="4348" h="3695">
                <a:moveTo>
                  <a:pt x="1978" y="3695"/>
                </a:moveTo>
                <a:lnTo>
                  <a:pt x="2011" y="3695"/>
                </a:lnTo>
                <a:cubicBezTo>
                  <a:pt x="2042" y="3695"/>
                  <a:pt x="2074" y="3679"/>
                  <a:pt x="2074" y="3647"/>
                </a:cubicBezTo>
                <a:lnTo>
                  <a:pt x="2520" y="2549"/>
                </a:lnTo>
                <a:lnTo>
                  <a:pt x="2520" y="2534"/>
                </a:lnTo>
                <a:lnTo>
                  <a:pt x="2520" y="2518"/>
                </a:lnTo>
                <a:lnTo>
                  <a:pt x="2520" y="2502"/>
                </a:lnTo>
                <a:cubicBezTo>
                  <a:pt x="2520" y="2486"/>
                  <a:pt x="2520" y="2470"/>
                  <a:pt x="2503" y="2470"/>
                </a:cubicBezTo>
                <a:lnTo>
                  <a:pt x="2503" y="2454"/>
                </a:lnTo>
                <a:lnTo>
                  <a:pt x="2487" y="2454"/>
                </a:lnTo>
                <a:cubicBezTo>
                  <a:pt x="2487" y="2438"/>
                  <a:pt x="2477" y="2443"/>
                  <a:pt x="2472" y="2438"/>
                </a:cubicBezTo>
                <a:lnTo>
                  <a:pt x="1374" y="2009"/>
                </a:lnTo>
                <a:cubicBezTo>
                  <a:pt x="1326" y="1993"/>
                  <a:pt x="1279" y="2009"/>
                  <a:pt x="1263" y="2057"/>
                </a:cubicBezTo>
                <a:cubicBezTo>
                  <a:pt x="1247" y="2088"/>
                  <a:pt x="1279" y="2136"/>
                  <a:pt x="1311" y="2152"/>
                </a:cubicBezTo>
                <a:lnTo>
                  <a:pt x="2233" y="2518"/>
                </a:lnTo>
                <a:lnTo>
                  <a:pt x="54" y="3472"/>
                </a:lnTo>
                <a:cubicBezTo>
                  <a:pt x="6" y="3488"/>
                  <a:pt x="-10" y="3536"/>
                  <a:pt x="6" y="3567"/>
                </a:cubicBezTo>
                <a:cubicBezTo>
                  <a:pt x="22" y="3599"/>
                  <a:pt x="54" y="3615"/>
                  <a:pt x="86" y="3615"/>
                </a:cubicBezTo>
                <a:lnTo>
                  <a:pt x="118" y="3615"/>
                </a:lnTo>
                <a:lnTo>
                  <a:pt x="2297" y="2661"/>
                </a:lnTo>
                <a:lnTo>
                  <a:pt x="1931" y="3584"/>
                </a:lnTo>
                <a:cubicBezTo>
                  <a:pt x="1915" y="3631"/>
                  <a:pt x="1931" y="3679"/>
                  <a:pt x="1978" y="3695"/>
                </a:cubicBezTo>
                <a:close/>
                <a:moveTo>
                  <a:pt x="38" y="243"/>
                </a:moveTo>
                <a:lnTo>
                  <a:pt x="2233" y="1182"/>
                </a:lnTo>
                <a:lnTo>
                  <a:pt x="1311" y="1548"/>
                </a:lnTo>
                <a:cubicBezTo>
                  <a:pt x="1279" y="1564"/>
                  <a:pt x="1247" y="1611"/>
                  <a:pt x="1263" y="1659"/>
                </a:cubicBezTo>
                <a:cubicBezTo>
                  <a:pt x="1279" y="1691"/>
                  <a:pt x="1311" y="1707"/>
                  <a:pt x="1342" y="1707"/>
                </a:cubicBezTo>
                <a:cubicBezTo>
                  <a:pt x="1358" y="1707"/>
                  <a:pt x="1358" y="1707"/>
                  <a:pt x="1374" y="1691"/>
                </a:cubicBezTo>
                <a:lnTo>
                  <a:pt x="2472" y="1261"/>
                </a:lnTo>
                <a:lnTo>
                  <a:pt x="2487" y="1245"/>
                </a:lnTo>
                <a:lnTo>
                  <a:pt x="2503" y="1245"/>
                </a:lnTo>
                <a:lnTo>
                  <a:pt x="2503" y="1230"/>
                </a:lnTo>
                <a:lnTo>
                  <a:pt x="2520" y="1213"/>
                </a:lnTo>
                <a:lnTo>
                  <a:pt x="2520" y="1198"/>
                </a:lnTo>
                <a:lnTo>
                  <a:pt x="2520" y="1182"/>
                </a:lnTo>
                <a:lnTo>
                  <a:pt x="2520" y="1166"/>
                </a:lnTo>
                <a:lnTo>
                  <a:pt x="2520" y="1150"/>
                </a:lnTo>
                <a:lnTo>
                  <a:pt x="2074" y="52"/>
                </a:lnTo>
                <a:cubicBezTo>
                  <a:pt x="2058" y="21"/>
                  <a:pt x="2011" y="-11"/>
                  <a:pt x="1978" y="4"/>
                </a:cubicBezTo>
                <a:cubicBezTo>
                  <a:pt x="1931" y="21"/>
                  <a:pt x="1915" y="68"/>
                  <a:pt x="1931" y="116"/>
                </a:cubicBezTo>
                <a:lnTo>
                  <a:pt x="2297" y="1039"/>
                </a:lnTo>
                <a:lnTo>
                  <a:pt x="102" y="100"/>
                </a:lnTo>
                <a:cubicBezTo>
                  <a:pt x="70" y="84"/>
                  <a:pt x="22" y="100"/>
                  <a:pt x="6" y="132"/>
                </a:cubicBezTo>
                <a:cubicBezTo>
                  <a:pt x="-10" y="180"/>
                  <a:pt x="6" y="227"/>
                  <a:pt x="38" y="243"/>
                </a:cubicBezTo>
                <a:close/>
                <a:moveTo>
                  <a:pt x="3665" y="2549"/>
                </a:moveTo>
                <a:cubicBezTo>
                  <a:pt x="4030" y="2549"/>
                  <a:pt x="4348" y="2248"/>
                  <a:pt x="4348" y="1866"/>
                </a:cubicBezTo>
                <a:cubicBezTo>
                  <a:pt x="4348" y="1500"/>
                  <a:pt x="4030" y="1198"/>
                  <a:pt x="3665" y="1198"/>
                </a:cubicBezTo>
                <a:cubicBezTo>
                  <a:pt x="3299" y="1198"/>
                  <a:pt x="2996" y="1500"/>
                  <a:pt x="2996" y="1866"/>
                </a:cubicBezTo>
                <a:cubicBezTo>
                  <a:pt x="2996" y="2248"/>
                  <a:pt x="3299" y="2549"/>
                  <a:pt x="3665" y="2549"/>
                </a:cubicBezTo>
                <a:close/>
                <a:moveTo>
                  <a:pt x="3665" y="1357"/>
                </a:moveTo>
                <a:cubicBezTo>
                  <a:pt x="3951" y="1357"/>
                  <a:pt x="4190" y="1579"/>
                  <a:pt x="4190" y="1866"/>
                </a:cubicBezTo>
                <a:cubicBezTo>
                  <a:pt x="4190" y="2152"/>
                  <a:pt x="3951" y="2391"/>
                  <a:pt x="3665" y="2391"/>
                </a:cubicBezTo>
                <a:cubicBezTo>
                  <a:pt x="3378" y="2391"/>
                  <a:pt x="3156" y="2152"/>
                  <a:pt x="3156" y="1866"/>
                </a:cubicBezTo>
                <a:cubicBezTo>
                  <a:pt x="3156" y="1579"/>
                  <a:pt x="3378" y="1357"/>
                  <a:pt x="3665" y="135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2" name="Freeform: Shape 2">
            <a:extLst>
              <a:ext uri="{FF2B5EF4-FFF2-40B4-BE49-F238E27FC236}">
                <a16:creationId xmlns:a16="http://schemas.microsoft.com/office/drawing/2014/main" id="{E86E4C0A-14ED-D542-99F7-BE016B4CB0F0}"/>
              </a:ext>
            </a:extLst>
          </p:cNvPr>
          <p:cNvSpPr/>
          <p:nvPr/>
        </p:nvSpPr>
        <p:spPr>
          <a:xfrm>
            <a:off x="17708220" y="2958634"/>
            <a:ext cx="1488239" cy="1793160"/>
          </a:xfrm>
          <a:custGeom>
            <a:avLst/>
            <a:gdLst/>
            <a:ahLst/>
            <a:cxnLst>
              <a:cxn ang="3cd4">
                <a:pos x="hc" y="t"/>
              </a:cxn>
              <a:cxn ang="cd2">
                <a:pos x="l" y="vc"/>
              </a:cxn>
              <a:cxn ang="cd4">
                <a:pos x="hc" y="b"/>
              </a:cxn>
              <a:cxn ang="0">
                <a:pos x="r" y="vc"/>
              </a:cxn>
            </a:cxnLst>
            <a:rect l="l" t="t" r="r" b="b"/>
            <a:pathLst>
              <a:path w="4135" h="4982">
                <a:moveTo>
                  <a:pt x="2703" y="4457"/>
                </a:moveTo>
                <a:cubicBezTo>
                  <a:pt x="2576" y="4569"/>
                  <a:pt x="2576" y="4776"/>
                  <a:pt x="2703" y="4887"/>
                </a:cubicBezTo>
                <a:cubicBezTo>
                  <a:pt x="2751" y="4951"/>
                  <a:pt x="2831" y="4982"/>
                  <a:pt x="2910" y="4982"/>
                </a:cubicBezTo>
                <a:cubicBezTo>
                  <a:pt x="2990" y="4982"/>
                  <a:pt x="3069" y="4951"/>
                  <a:pt x="3133" y="4887"/>
                </a:cubicBezTo>
                <a:cubicBezTo>
                  <a:pt x="3769" y="4251"/>
                  <a:pt x="4135" y="3392"/>
                  <a:pt x="4135" y="2485"/>
                </a:cubicBezTo>
                <a:cubicBezTo>
                  <a:pt x="4135" y="1579"/>
                  <a:pt x="3769" y="735"/>
                  <a:pt x="3133" y="83"/>
                </a:cubicBezTo>
                <a:cubicBezTo>
                  <a:pt x="3006" y="-28"/>
                  <a:pt x="2815" y="-28"/>
                  <a:pt x="2703" y="83"/>
                </a:cubicBezTo>
                <a:cubicBezTo>
                  <a:pt x="2576" y="210"/>
                  <a:pt x="2576" y="401"/>
                  <a:pt x="2703" y="529"/>
                </a:cubicBezTo>
                <a:cubicBezTo>
                  <a:pt x="3212" y="1053"/>
                  <a:pt x="3515" y="1753"/>
                  <a:pt x="3515" y="2485"/>
                </a:cubicBezTo>
                <a:cubicBezTo>
                  <a:pt x="3515" y="3233"/>
                  <a:pt x="3212" y="3933"/>
                  <a:pt x="2703" y="4457"/>
                </a:cubicBezTo>
                <a:close/>
                <a:moveTo>
                  <a:pt x="2815" y="417"/>
                </a:moveTo>
                <a:cubicBezTo>
                  <a:pt x="2751" y="354"/>
                  <a:pt x="2751" y="258"/>
                  <a:pt x="2815" y="195"/>
                </a:cubicBezTo>
                <a:cubicBezTo>
                  <a:pt x="2831" y="179"/>
                  <a:pt x="2878" y="163"/>
                  <a:pt x="2910" y="163"/>
                </a:cubicBezTo>
                <a:cubicBezTo>
                  <a:pt x="2958" y="163"/>
                  <a:pt x="2990" y="179"/>
                  <a:pt x="3021" y="195"/>
                </a:cubicBezTo>
                <a:cubicBezTo>
                  <a:pt x="3626" y="815"/>
                  <a:pt x="3976" y="1626"/>
                  <a:pt x="3976" y="2485"/>
                </a:cubicBezTo>
                <a:cubicBezTo>
                  <a:pt x="3976" y="3360"/>
                  <a:pt x="3626" y="4171"/>
                  <a:pt x="3021" y="4776"/>
                </a:cubicBezTo>
                <a:cubicBezTo>
                  <a:pt x="2958" y="4839"/>
                  <a:pt x="2863" y="4839"/>
                  <a:pt x="2815" y="4776"/>
                </a:cubicBezTo>
                <a:cubicBezTo>
                  <a:pt x="2783" y="4760"/>
                  <a:pt x="2767" y="4712"/>
                  <a:pt x="2767" y="4680"/>
                </a:cubicBezTo>
                <a:cubicBezTo>
                  <a:pt x="2767" y="4633"/>
                  <a:pt x="2783" y="4600"/>
                  <a:pt x="2815" y="4569"/>
                </a:cubicBezTo>
                <a:cubicBezTo>
                  <a:pt x="3356" y="4012"/>
                  <a:pt x="3674" y="3280"/>
                  <a:pt x="3674" y="2485"/>
                </a:cubicBezTo>
                <a:cubicBezTo>
                  <a:pt x="3674" y="1706"/>
                  <a:pt x="3356" y="974"/>
                  <a:pt x="2815" y="417"/>
                </a:cubicBezTo>
                <a:close/>
                <a:moveTo>
                  <a:pt x="1908" y="783"/>
                </a:moveTo>
                <a:cubicBezTo>
                  <a:pt x="1797" y="895"/>
                  <a:pt x="1797" y="1101"/>
                  <a:pt x="1908" y="1213"/>
                </a:cubicBezTo>
                <a:cubicBezTo>
                  <a:pt x="2624" y="1913"/>
                  <a:pt x="2624" y="3058"/>
                  <a:pt x="1908" y="3758"/>
                </a:cubicBezTo>
                <a:cubicBezTo>
                  <a:pt x="1860" y="3821"/>
                  <a:pt x="1829" y="3901"/>
                  <a:pt x="1829" y="3980"/>
                </a:cubicBezTo>
                <a:cubicBezTo>
                  <a:pt x="1829" y="4060"/>
                  <a:pt x="1860" y="4139"/>
                  <a:pt x="1908" y="4203"/>
                </a:cubicBezTo>
                <a:cubicBezTo>
                  <a:pt x="1972" y="4251"/>
                  <a:pt x="2051" y="4282"/>
                  <a:pt x="2131" y="4282"/>
                </a:cubicBezTo>
                <a:cubicBezTo>
                  <a:pt x="2211" y="4282"/>
                  <a:pt x="2290" y="4251"/>
                  <a:pt x="2354" y="4203"/>
                </a:cubicBezTo>
                <a:cubicBezTo>
                  <a:pt x="3292" y="3264"/>
                  <a:pt x="3292" y="1722"/>
                  <a:pt x="2354" y="783"/>
                </a:cubicBezTo>
                <a:cubicBezTo>
                  <a:pt x="2226" y="656"/>
                  <a:pt x="2036" y="656"/>
                  <a:pt x="1908" y="783"/>
                </a:cubicBezTo>
                <a:close/>
                <a:moveTo>
                  <a:pt x="2242" y="4091"/>
                </a:moveTo>
                <a:cubicBezTo>
                  <a:pt x="2179" y="4139"/>
                  <a:pt x="2083" y="4139"/>
                  <a:pt x="2036" y="4091"/>
                </a:cubicBezTo>
                <a:cubicBezTo>
                  <a:pt x="2003" y="4060"/>
                  <a:pt x="1988" y="4028"/>
                  <a:pt x="1988" y="3980"/>
                </a:cubicBezTo>
                <a:cubicBezTo>
                  <a:pt x="1988" y="3933"/>
                  <a:pt x="2003" y="3901"/>
                  <a:pt x="2036" y="3869"/>
                </a:cubicBezTo>
                <a:cubicBezTo>
                  <a:pt x="2783" y="3106"/>
                  <a:pt x="2783" y="1865"/>
                  <a:pt x="2036" y="1101"/>
                </a:cubicBezTo>
                <a:cubicBezTo>
                  <a:pt x="2003" y="1085"/>
                  <a:pt x="1988" y="1038"/>
                  <a:pt x="1988" y="1006"/>
                </a:cubicBezTo>
                <a:cubicBezTo>
                  <a:pt x="1988" y="958"/>
                  <a:pt x="2003" y="926"/>
                  <a:pt x="2036" y="895"/>
                </a:cubicBezTo>
                <a:cubicBezTo>
                  <a:pt x="2051" y="862"/>
                  <a:pt x="2099" y="847"/>
                  <a:pt x="2131" y="847"/>
                </a:cubicBezTo>
                <a:cubicBezTo>
                  <a:pt x="2179" y="847"/>
                  <a:pt x="2211" y="862"/>
                  <a:pt x="2242" y="895"/>
                </a:cubicBezTo>
                <a:cubicBezTo>
                  <a:pt x="3117" y="1769"/>
                  <a:pt x="3117" y="3201"/>
                  <a:pt x="2242" y="4091"/>
                </a:cubicBezTo>
                <a:close/>
                <a:moveTo>
                  <a:pt x="1129" y="1419"/>
                </a:moveTo>
                <a:cubicBezTo>
                  <a:pt x="1065" y="1483"/>
                  <a:pt x="1033" y="1562"/>
                  <a:pt x="1033" y="1642"/>
                </a:cubicBezTo>
                <a:cubicBezTo>
                  <a:pt x="1033" y="1722"/>
                  <a:pt x="1065" y="1801"/>
                  <a:pt x="1129" y="1865"/>
                </a:cubicBezTo>
                <a:cubicBezTo>
                  <a:pt x="1288" y="2024"/>
                  <a:pt x="1383" y="2262"/>
                  <a:pt x="1383" y="2501"/>
                </a:cubicBezTo>
                <a:cubicBezTo>
                  <a:pt x="1383" y="2740"/>
                  <a:pt x="1288" y="2962"/>
                  <a:pt x="1129" y="3121"/>
                </a:cubicBezTo>
                <a:cubicBezTo>
                  <a:pt x="1002" y="3249"/>
                  <a:pt x="1002" y="3439"/>
                  <a:pt x="1129" y="3567"/>
                </a:cubicBezTo>
                <a:cubicBezTo>
                  <a:pt x="1176" y="3630"/>
                  <a:pt x="1256" y="3662"/>
                  <a:pt x="1336" y="3662"/>
                </a:cubicBezTo>
                <a:cubicBezTo>
                  <a:pt x="1431" y="3662"/>
                  <a:pt x="1511" y="3630"/>
                  <a:pt x="1558" y="3567"/>
                </a:cubicBezTo>
                <a:cubicBezTo>
                  <a:pt x="2147" y="2978"/>
                  <a:pt x="2147" y="2008"/>
                  <a:pt x="1558" y="1419"/>
                </a:cubicBezTo>
                <a:cubicBezTo>
                  <a:pt x="1447" y="1308"/>
                  <a:pt x="1240" y="1308"/>
                  <a:pt x="1129" y="1419"/>
                </a:cubicBezTo>
                <a:close/>
                <a:moveTo>
                  <a:pt x="1447" y="3455"/>
                </a:moveTo>
                <a:cubicBezTo>
                  <a:pt x="1399" y="3503"/>
                  <a:pt x="1288" y="3503"/>
                  <a:pt x="1240" y="3455"/>
                </a:cubicBezTo>
                <a:cubicBezTo>
                  <a:pt x="1176" y="3392"/>
                  <a:pt x="1176" y="3296"/>
                  <a:pt x="1240" y="3233"/>
                </a:cubicBezTo>
                <a:cubicBezTo>
                  <a:pt x="1431" y="3042"/>
                  <a:pt x="1542" y="2771"/>
                  <a:pt x="1542" y="2501"/>
                </a:cubicBezTo>
                <a:cubicBezTo>
                  <a:pt x="1542" y="2215"/>
                  <a:pt x="1431" y="1944"/>
                  <a:pt x="1240" y="1753"/>
                </a:cubicBezTo>
                <a:cubicBezTo>
                  <a:pt x="1208" y="1722"/>
                  <a:pt x="1193" y="1690"/>
                  <a:pt x="1193" y="1642"/>
                </a:cubicBezTo>
                <a:cubicBezTo>
                  <a:pt x="1193" y="1610"/>
                  <a:pt x="1208" y="1562"/>
                  <a:pt x="1240" y="1531"/>
                </a:cubicBezTo>
                <a:cubicBezTo>
                  <a:pt x="1272" y="1499"/>
                  <a:pt x="1304" y="1499"/>
                  <a:pt x="1336" y="1499"/>
                </a:cubicBezTo>
                <a:cubicBezTo>
                  <a:pt x="1383" y="1499"/>
                  <a:pt x="1415" y="1499"/>
                  <a:pt x="1447" y="1531"/>
                </a:cubicBezTo>
                <a:cubicBezTo>
                  <a:pt x="1972" y="2071"/>
                  <a:pt x="1972" y="2930"/>
                  <a:pt x="1447" y="3455"/>
                </a:cubicBezTo>
                <a:close/>
                <a:moveTo>
                  <a:pt x="858" y="2485"/>
                </a:moveTo>
                <a:cubicBezTo>
                  <a:pt x="858" y="2246"/>
                  <a:pt x="667" y="2056"/>
                  <a:pt x="429" y="2056"/>
                </a:cubicBezTo>
                <a:cubicBezTo>
                  <a:pt x="190" y="2056"/>
                  <a:pt x="0" y="2246"/>
                  <a:pt x="0" y="2485"/>
                </a:cubicBezTo>
                <a:cubicBezTo>
                  <a:pt x="0" y="2724"/>
                  <a:pt x="190" y="2915"/>
                  <a:pt x="429" y="2915"/>
                </a:cubicBezTo>
                <a:cubicBezTo>
                  <a:pt x="667" y="2915"/>
                  <a:pt x="858" y="2724"/>
                  <a:pt x="858" y="2485"/>
                </a:cubicBezTo>
                <a:close/>
                <a:moveTo>
                  <a:pt x="158" y="2485"/>
                </a:moveTo>
                <a:cubicBezTo>
                  <a:pt x="158" y="2342"/>
                  <a:pt x="286" y="2215"/>
                  <a:pt x="429" y="2215"/>
                </a:cubicBezTo>
                <a:cubicBezTo>
                  <a:pt x="588" y="2215"/>
                  <a:pt x="699" y="2342"/>
                  <a:pt x="699" y="2485"/>
                </a:cubicBezTo>
                <a:cubicBezTo>
                  <a:pt x="699" y="2644"/>
                  <a:pt x="588" y="2755"/>
                  <a:pt x="429" y="2755"/>
                </a:cubicBezTo>
                <a:cubicBezTo>
                  <a:pt x="286" y="2755"/>
                  <a:pt x="158" y="2644"/>
                  <a:pt x="158" y="248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7" name="Freeform: Shape 3">
            <a:extLst>
              <a:ext uri="{FF2B5EF4-FFF2-40B4-BE49-F238E27FC236}">
                <a16:creationId xmlns:a16="http://schemas.microsoft.com/office/drawing/2014/main" id="{F7717B85-7E9D-2548-8B68-DB04283EAECF}"/>
              </a:ext>
            </a:extLst>
          </p:cNvPr>
          <p:cNvSpPr/>
          <p:nvPr/>
        </p:nvSpPr>
        <p:spPr>
          <a:xfrm>
            <a:off x="14197298" y="3194794"/>
            <a:ext cx="1326600" cy="1322280"/>
          </a:xfrm>
          <a:custGeom>
            <a:avLst/>
            <a:gdLst/>
            <a:ahLst/>
            <a:cxnLst>
              <a:cxn ang="3cd4">
                <a:pos x="hc" y="t"/>
              </a:cxn>
              <a:cxn ang="cd2">
                <a:pos x="l" y="vc"/>
              </a:cxn>
              <a:cxn ang="cd4">
                <a:pos x="hc" y="b"/>
              </a:cxn>
              <a:cxn ang="0">
                <a:pos x="r" y="vc"/>
              </a:cxn>
            </a:cxnLst>
            <a:rect l="l" t="t" r="r" b="b"/>
            <a:pathLst>
              <a:path w="3686" h="3674">
                <a:moveTo>
                  <a:pt x="27" y="286"/>
                </a:moveTo>
                <a:cubicBezTo>
                  <a:pt x="27" y="445"/>
                  <a:pt x="154" y="588"/>
                  <a:pt x="329" y="588"/>
                </a:cubicBezTo>
                <a:cubicBezTo>
                  <a:pt x="1841" y="620"/>
                  <a:pt x="3065" y="1829"/>
                  <a:pt x="3097" y="3340"/>
                </a:cubicBezTo>
                <a:cubicBezTo>
                  <a:pt x="3097" y="3499"/>
                  <a:pt x="3224" y="3642"/>
                  <a:pt x="3383" y="3642"/>
                </a:cubicBezTo>
                <a:lnTo>
                  <a:pt x="3399" y="3642"/>
                </a:lnTo>
                <a:cubicBezTo>
                  <a:pt x="3558" y="3626"/>
                  <a:pt x="3686" y="3499"/>
                  <a:pt x="3686" y="3324"/>
                </a:cubicBezTo>
                <a:cubicBezTo>
                  <a:pt x="3638" y="1495"/>
                  <a:pt x="2175" y="32"/>
                  <a:pt x="329" y="0"/>
                </a:cubicBezTo>
                <a:cubicBezTo>
                  <a:pt x="170" y="0"/>
                  <a:pt x="43" y="127"/>
                  <a:pt x="27" y="286"/>
                </a:cubicBezTo>
                <a:close/>
                <a:moveTo>
                  <a:pt x="329" y="159"/>
                </a:moveTo>
                <a:cubicBezTo>
                  <a:pt x="2079" y="191"/>
                  <a:pt x="3479" y="1590"/>
                  <a:pt x="3526" y="3340"/>
                </a:cubicBezTo>
                <a:cubicBezTo>
                  <a:pt x="3526" y="3404"/>
                  <a:pt x="3463" y="3468"/>
                  <a:pt x="3399" y="3483"/>
                </a:cubicBezTo>
                <a:lnTo>
                  <a:pt x="3383" y="3483"/>
                </a:lnTo>
                <a:cubicBezTo>
                  <a:pt x="3320" y="3483"/>
                  <a:pt x="3256" y="3420"/>
                  <a:pt x="3256" y="3340"/>
                </a:cubicBezTo>
                <a:cubicBezTo>
                  <a:pt x="3208" y="1733"/>
                  <a:pt x="1936" y="461"/>
                  <a:pt x="329" y="429"/>
                </a:cubicBezTo>
                <a:cubicBezTo>
                  <a:pt x="250" y="429"/>
                  <a:pt x="186" y="366"/>
                  <a:pt x="186" y="286"/>
                </a:cubicBezTo>
                <a:cubicBezTo>
                  <a:pt x="186" y="206"/>
                  <a:pt x="250" y="159"/>
                  <a:pt x="329" y="159"/>
                </a:cubicBezTo>
                <a:close/>
                <a:moveTo>
                  <a:pt x="314" y="1654"/>
                </a:moveTo>
                <a:cubicBezTo>
                  <a:pt x="1236" y="1686"/>
                  <a:pt x="1984" y="2433"/>
                  <a:pt x="2015" y="3356"/>
                </a:cubicBezTo>
                <a:cubicBezTo>
                  <a:pt x="2015" y="3515"/>
                  <a:pt x="2159" y="3642"/>
                  <a:pt x="2318" y="3642"/>
                </a:cubicBezTo>
                <a:cubicBezTo>
                  <a:pt x="2493" y="3642"/>
                  <a:pt x="2620" y="3499"/>
                  <a:pt x="2604" y="3340"/>
                </a:cubicBezTo>
                <a:cubicBezTo>
                  <a:pt x="2572" y="2099"/>
                  <a:pt x="1570" y="1097"/>
                  <a:pt x="329" y="1066"/>
                </a:cubicBezTo>
                <a:cubicBezTo>
                  <a:pt x="250" y="1066"/>
                  <a:pt x="170" y="1097"/>
                  <a:pt x="123" y="1145"/>
                </a:cubicBezTo>
                <a:cubicBezTo>
                  <a:pt x="59" y="1209"/>
                  <a:pt x="27" y="1272"/>
                  <a:pt x="27" y="1352"/>
                </a:cubicBezTo>
                <a:cubicBezTo>
                  <a:pt x="27" y="1527"/>
                  <a:pt x="154" y="1654"/>
                  <a:pt x="314" y="1654"/>
                </a:cubicBezTo>
                <a:close/>
                <a:moveTo>
                  <a:pt x="234" y="1257"/>
                </a:moveTo>
                <a:cubicBezTo>
                  <a:pt x="250" y="1241"/>
                  <a:pt x="282" y="1224"/>
                  <a:pt x="329" y="1224"/>
                </a:cubicBezTo>
                <a:cubicBezTo>
                  <a:pt x="1490" y="1257"/>
                  <a:pt x="2413" y="2195"/>
                  <a:pt x="2445" y="3340"/>
                </a:cubicBezTo>
                <a:cubicBezTo>
                  <a:pt x="2461" y="3420"/>
                  <a:pt x="2397" y="3483"/>
                  <a:pt x="2318" y="3483"/>
                </a:cubicBezTo>
                <a:cubicBezTo>
                  <a:pt x="2238" y="3483"/>
                  <a:pt x="2175" y="3435"/>
                  <a:pt x="2175" y="3356"/>
                </a:cubicBezTo>
                <a:cubicBezTo>
                  <a:pt x="2142" y="2338"/>
                  <a:pt x="1332" y="1527"/>
                  <a:pt x="314" y="1495"/>
                </a:cubicBezTo>
                <a:cubicBezTo>
                  <a:pt x="250" y="1495"/>
                  <a:pt x="186" y="1432"/>
                  <a:pt x="186" y="1368"/>
                </a:cubicBezTo>
                <a:cubicBezTo>
                  <a:pt x="186" y="1320"/>
                  <a:pt x="202" y="1288"/>
                  <a:pt x="234" y="1257"/>
                </a:cubicBezTo>
                <a:close/>
                <a:moveTo>
                  <a:pt x="154" y="3531"/>
                </a:moveTo>
                <a:cubicBezTo>
                  <a:pt x="250" y="3626"/>
                  <a:pt x="377" y="3674"/>
                  <a:pt x="505" y="3674"/>
                </a:cubicBezTo>
                <a:cubicBezTo>
                  <a:pt x="648" y="3674"/>
                  <a:pt x="759" y="3626"/>
                  <a:pt x="854" y="3531"/>
                </a:cubicBezTo>
                <a:cubicBezTo>
                  <a:pt x="1061" y="3340"/>
                  <a:pt x="1061" y="3006"/>
                  <a:pt x="854" y="2815"/>
                </a:cubicBezTo>
                <a:cubicBezTo>
                  <a:pt x="663" y="2624"/>
                  <a:pt x="345" y="2624"/>
                  <a:pt x="154" y="2815"/>
                </a:cubicBezTo>
                <a:cubicBezTo>
                  <a:pt x="-51" y="3006"/>
                  <a:pt x="-51" y="3340"/>
                  <a:pt x="154" y="3531"/>
                </a:cubicBezTo>
                <a:close/>
                <a:moveTo>
                  <a:pt x="266" y="2926"/>
                </a:moveTo>
                <a:cubicBezTo>
                  <a:pt x="329" y="2863"/>
                  <a:pt x="425" y="2831"/>
                  <a:pt x="505" y="2831"/>
                </a:cubicBezTo>
                <a:cubicBezTo>
                  <a:pt x="600" y="2831"/>
                  <a:pt x="679" y="2863"/>
                  <a:pt x="743" y="2926"/>
                </a:cubicBezTo>
                <a:cubicBezTo>
                  <a:pt x="886" y="3070"/>
                  <a:pt x="886" y="3277"/>
                  <a:pt x="743" y="3420"/>
                </a:cubicBezTo>
                <a:cubicBezTo>
                  <a:pt x="616" y="3547"/>
                  <a:pt x="393" y="3547"/>
                  <a:pt x="266" y="3420"/>
                </a:cubicBezTo>
                <a:cubicBezTo>
                  <a:pt x="123" y="3277"/>
                  <a:pt x="123" y="3070"/>
                  <a:pt x="266" y="292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8" name="Freeform: Shape 4">
            <a:extLst>
              <a:ext uri="{FF2B5EF4-FFF2-40B4-BE49-F238E27FC236}">
                <a16:creationId xmlns:a16="http://schemas.microsoft.com/office/drawing/2014/main" id="{F87EB8BE-504D-5645-82B5-8F4228B98322}"/>
              </a:ext>
            </a:extLst>
          </p:cNvPr>
          <p:cNvSpPr/>
          <p:nvPr/>
        </p:nvSpPr>
        <p:spPr>
          <a:xfrm>
            <a:off x="1750569" y="3108753"/>
            <a:ext cx="1637280" cy="1494360"/>
          </a:xfrm>
          <a:custGeom>
            <a:avLst/>
            <a:gdLst/>
            <a:ahLst/>
            <a:cxnLst>
              <a:cxn ang="3cd4">
                <a:pos x="hc" y="t"/>
              </a:cxn>
              <a:cxn ang="cd2">
                <a:pos x="l" y="vc"/>
              </a:cxn>
              <a:cxn ang="cd4">
                <a:pos x="hc" y="b"/>
              </a:cxn>
              <a:cxn ang="0">
                <a:pos x="r" y="vc"/>
              </a:cxn>
            </a:cxnLst>
            <a:rect l="l" t="t" r="r" b="b"/>
            <a:pathLst>
              <a:path w="4549" h="4152">
                <a:moveTo>
                  <a:pt x="4549" y="493"/>
                </a:moveTo>
                <a:cubicBezTo>
                  <a:pt x="4549" y="223"/>
                  <a:pt x="4310" y="0"/>
                  <a:pt x="4040" y="0"/>
                </a:cubicBezTo>
                <a:cubicBezTo>
                  <a:pt x="3786" y="0"/>
                  <a:pt x="3579" y="175"/>
                  <a:pt x="3531" y="398"/>
                </a:cubicBezTo>
                <a:cubicBezTo>
                  <a:pt x="2402" y="398"/>
                  <a:pt x="2402" y="398"/>
                  <a:pt x="2402" y="398"/>
                </a:cubicBezTo>
                <a:cubicBezTo>
                  <a:pt x="2354" y="175"/>
                  <a:pt x="2147" y="0"/>
                  <a:pt x="1908" y="0"/>
                </a:cubicBezTo>
                <a:cubicBezTo>
                  <a:pt x="1622" y="0"/>
                  <a:pt x="1399" y="223"/>
                  <a:pt x="1399" y="493"/>
                </a:cubicBezTo>
                <a:cubicBezTo>
                  <a:pt x="1399" y="764"/>
                  <a:pt x="1575" y="971"/>
                  <a:pt x="1829" y="1002"/>
                </a:cubicBezTo>
                <a:cubicBezTo>
                  <a:pt x="1829" y="1543"/>
                  <a:pt x="1829" y="1543"/>
                  <a:pt x="1829" y="1543"/>
                </a:cubicBezTo>
                <a:cubicBezTo>
                  <a:pt x="1559" y="1575"/>
                  <a:pt x="1368" y="1782"/>
                  <a:pt x="1320" y="2052"/>
                </a:cubicBezTo>
                <a:cubicBezTo>
                  <a:pt x="1018" y="2052"/>
                  <a:pt x="1018" y="2052"/>
                  <a:pt x="1018" y="2052"/>
                </a:cubicBezTo>
                <a:cubicBezTo>
                  <a:pt x="970" y="1814"/>
                  <a:pt x="763" y="1623"/>
                  <a:pt x="509" y="1623"/>
                </a:cubicBezTo>
                <a:cubicBezTo>
                  <a:pt x="223" y="1623"/>
                  <a:pt x="0" y="1845"/>
                  <a:pt x="0" y="2132"/>
                </a:cubicBezTo>
                <a:cubicBezTo>
                  <a:pt x="0" y="2418"/>
                  <a:pt x="223" y="2641"/>
                  <a:pt x="509" y="2641"/>
                </a:cubicBezTo>
                <a:cubicBezTo>
                  <a:pt x="763" y="2641"/>
                  <a:pt x="970" y="2450"/>
                  <a:pt x="1018" y="2211"/>
                </a:cubicBezTo>
                <a:cubicBezTo>
                  <a:pt x="1320" y="2211"/>
                  <a:pt x="1320" y="2211"/>
                  <a:pt x="1320" y="2211"/>
                </a:cubicBezTo>
                <a:cubicBezTo>
                  <a:pt x="1368" y="2466"/>
                  <a:pt x="1559" y="2672"/>
                  <a:pt x="1829" y="2720"/>
                </a:cubicBezTo>
                <a:cubicBezTo>
                  <a:pt x="1829" y="3150"/>
                  <a:pt x="1829" y="3150"/>
                  <a:pt x="1829" y="3150"/>
                </a:cubicBezTo>
                <a:cubicBezTo>
                  <a:pt x="1575" y="3181"/>
                  <a:pt x="1399" y="3388"/>
                  <a:pt x="1399" y="3643"/>
                </a:cubicBezTo>
                <a:cubicBezTo>
                  <a:pt x="1399" y="3929"/>
                  <a:pt x="1622" y="4152"/>
                  <a:pt x="1908" y="4152"/>
                </a:cubicBezTo>
                <a:cubicBezTo>
                  <a:pt x="2179" y="4152"/>
                  <a:pt x="2402" y="3929"/>
                  <a:pt x="2402" y="3643"/>
                </a:cubicBezTo>
                <a:cubicBezTo>
                  <a:pt x="2402" y="3388"/>
                  <a:pt x="2227" y="3181"/>
                  <a:pt x="1988" y="3150"/>
                </a:cubicBezTo>
                <a:cubicBezTo>
                  <a:pt x="1988" y="2720"/>
                  <a:pt x="1988" y="2720"/>
                  <a:pt x="1988" y="2720"/>
                </a:cubicBezTo>
                <a:cubicBezTo>
                  <a:pt x="2259" y="2689"/>
                  <a:pt x="2465" y="2481"/>
                  <a:pt x="2513" y="2211"/>
                </a:cubicBezTo>
                <a:cubicBezTo>
                  <a:pt x="3531" y="2211"/>
                  <a:pt x="3531" y="2211"/>
                  <a:pt x="3531" y="2211"/>
                </a:cubicBezTo>
                <a:cubicBezTo>
                  <a:pt x="3579" y="2450"/>
                  <a:pt x="3786" y="2641"/>
                  <a:pt x="4040" y="2641"/>
                </a:cubicBezTo>
                <a:cubicBezTo>
                  <a:pt x="4310" y="2641"/>
                  <a:pt x="4549" y="2418"/>
                  <a:pt x="4549" y="2132"/>
                </a:cubicBezTo>
                <a:cubicBezTo>
                  <a:pt x="4549" y="1877"/>
                  <a:pt x="4358" y="1671"/>
                  <a:pt x="4119" y="1623"/>
                </a:cubicBezTo>
                <a:cubicBezTo>
                  <a:pt x="4119" y="1002"/>
                  <a:pt x="4119" y="1002"/>
                  <a:pt x="4119" y="1002"/>
                </a:cubicBezTo>
                <a:cubicBezTo>
                  <a:pt x="4358" y="971"/>
                  <a:pt x="4549" y="748"/>
                  <a:pt x="4549" y="493"/>
                </a:cubicBezTo>
                <a:close/>
                <a:moveTo>
                  <a:pt x="3531" y="2052"/>
                </a:moveTo>
                <a:cubicBezTo>
                  <a:pt x="2513" y="2052"/>
                  <a:pt x="2513" y="2052"/>
                  <a:pt x="2513" y="2052"/>
                </a:cubicBezTo>
                <a:cubicBezTo>
                  <a:pt x="2465" y="1782"/>
                  <a:pt x="2259" y="1575"/>
                  <a:pt x="1988" y="1543"/>
                </a:cubicBezTo>
                <a:cubicBezTo>
                  <a:pt x="1988" y="1002"/>
                  <a:pt x="1988" y="1002"/>
                  <a:pt x="1988" y="1002"/>
                </a:cubicBezTo>
                <a:cubicBezTo>
                  <a:pt x="2211" y="971"/>
                  <a:pt x="2370" y="780"/>
                  <a:pt x="2402" y="557"/>
                </a:cubicBezTo>
                <a:cubicBezTo>
                  <a:pt x="3531" y="557"/>
                  <a:pt x="3531" y="557"/>
                  <a:pt x="3531" y="557"/>
                </a:cubicBezTo>
                <a:cubicBezTo>
                  <a:pt x="3563" y="796"/>
                  <a:pt x="3738" y="971"/>
                  <a:pt x="3961" y="1002"/>
                </a:cubicBezTo>
                <a:cubicBezTo>
                  <a:pt x="3961" y="1623"/>
                  <a:pt x="3961" y="1623"/>
                  <a:pt x="3961" y="1623"/>
                </a:cubicBezTo>
                <a:cubicBezTo>
                  <a:pt x="3738" y="1654"/>
                  <a:pt x="3563" y="1829"/>
                  <a:pt x="3531" y="2052"/>
                </a:cubicBezTo>
                <a:close/>
                <a:moveTo>
                  <a:pt x="4040" y="144"/>
                </a:moveTo>
                <a:cubicBezTo>
                  <a:pt x="4231" y="144"/>
                  <a:pt x="4390" y="302"/>
                  <a:pt x="4390" y="493"/>
                </a:cubicBezTo>
                <a:cubicBezTo>
                  <a:pt x="4390" y="700"/>
                  <a:pt x="4231" y="844"/>
                  <a:pt x="4040" y="844"/>
                </a:cubicBezTo>
                <a:cubicBezTo>
                  <a:pt x="3849" y="844"/>
                  <a:pt x="3690" y="700"/>
                  <a:pt x="3690" y="493"/>
                </a:cubicBezTo>
                <a:cubicBezTo>
                  <a:pt x="3690" y="302"/>
                  <a:pt x="3849" y="144"/>
                  <a:pt x="4040" y="144"/>
                </a:cubicBezTo>
                <a:close/>
                <a:moveTo>
                  <a:pt x="1559" y="493"/>
                </a:moveTo>
                <a:cubicBezTo>
                  <a:pt x="1559" y="302"/>
                  <a:pt x="1702" y="144"/>
                  <a:pt x="1908" y="144"/>
                </a:cubicBezTo>
                <a:cubicBezTo>
                  <a:pt x="2099" y="144"/>
                  <a:pt x="2259" y="302"/>
                  <a:pt x="2259" y="493"/>
                </a:cubicBezTo>
                <a:cubicBezTo>
                  <a:pt x="2259" y="700"/>
                  <a:pt x="2099" y="844"/>
                  <a:pt x="1908" y="844"/>
                </a:cubicBezTo>
                <a:cubicBezTo>
                  <a:pt x="1702" y="844"/>
                  <a:pt x="1559" y="700"/>
                  <a:pt x="1559" y="493"/>
                </a:cubicBezTo>
                <a:close/>
                <a:moveTo>
                  <a:pt x="509" y="2481"/>
                </a:moveTo>
                <a:cubicBezTo>
                  <a:pt x="318" y="2481"/>
                  <a:pt x="159" y="2323"/>
                  <a:pt x="159" y="2132"/>
                </a:cubicBezTo>
                <a:cubicBezTo>
                  <a:pt x="159" y="1941"/>
                  <a:pt x="318" y="1782"/>
                  <a:pt x="509" y="1782"/>
                </a:cubicBezTo>
                <a:cubicBezTo>
                  <a:pt x="700" y="1782"/>
                  <a:pt x="859" y="1941"/>
                  <a:pt x="859" y="2132"/>
                </a:cubicBezTo>
                <a:cubicBezTo>
                  <a:pt x="859" y="2323"/>
                  <a:pt x="700" y="2481"/>
                  <a:pt x="509" y="2481"/>
                </a:cubicBezTo>
                <a:close/>
                <a:moveTo>
                  <a:pt x="2259" y="3643"/>
                </a:moveTo>
                <a:cubicBezTo>
                  <a:pt x="2259" y="3834"/>
                  <a:pt x="2099" y="3993"/>
                  <a:pt x="1908" y="3993"/>
                </a:cubicBezTo>
                <a:cubicBezTo>
                  <a:pt x="1702" y="3993"/>
                  <a:pt x="1559" y="3834"/>
                  <a:pt x="1559" y="3643"/>
                </a:cubicBezTo>
                <a:cubicBezTo>
                  <a:pt x="1559" y="3452"/>
                  <a:pt x="1702" y="3293"/>
                  <a:pt x="1908" y="3293"/>
                </a:cubicBezTo>
                <a:cubicBezTo>
                  <a:pt x="2099" y="3293"/>
                  <a:pt x="2259" y="3452"/>
                  <a:pt x="2259" y="3643"/>
                </a:cubicBezTo>
                <a:close/>
                <a:moveTo>
                  <a:pt x="1908" y="2561"/>
                </a:moveTo>
                <a:cubicBezTo>
                  <a:pt x="1670" y="2561"/>
                  <a:pt x="1479" y="2370"/>
                  <a:pt x="1479" y="2132"/>
                </a:cubicBezTo>
                <a:cubicBezTo>
                  <a:pt x="1479" y="1893"/>
                  <a:pt x="1670" y="1686"/>
                  <a:pt x="1908" y="1686"/>
                </a:cubicBezTo>
                <a:cubicBezTo>
                  <a:pt x="2147" y="1686"/>
                  <a:pt x="2354" y="1877"/>
                  <a:pt x="2354" y="2116"/>
                </a:cubicBezTo>
                <a:cubicBezTo>
                  <a:pt x="2354" y="2132"/>
                  <a:pt x="2354" y="2132"/>
                  <a:pt x="2354" y="2132"/>
                </a:cubicBezTo>
                <a:cubicBezTo>
                  <a:pt x="2354" y="2370"/>
                  <a:pt x="2147" y="2561"/>
                  <a:pt x="1908" y="2561"/>
                </a:cubicBezTo>
                <a:close/>
                <a:moveTo>
                  <a:pt x="4390" y="2132"/>
                </a:moveTo>
                <a:cubicBezTo>
                  <a:pt x="4390" y="2323"/>
                  <a:pt x="4231" y="2481"/>
                  <a:pt x="4040" y="2481"/>
                </a:cubicBezTo>
                <a:cubicBezTo>
                  <a:pt x="3849" y="2481"/>
                  <a:pt x="3690" y="2323"/>
                  <a:pt x="3690" y="2132"/>
                </a:cubicBezTo>
                <a:cubicBezTo>
                  <a:pt x="3690" y="1941"/>
                  <a:pt x="3849" y="1782"/>
                  <a:pt x="4040" y="1782"/>
                </a:cubicBezTo>
                <a:cubicBezTo>
                  <a:pt x="4231" y="1782"/>
                  <a:pt x="4390" y="1941"/>
                  <a:pt x="4390" y="213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9" name="Freeform: Shape 5">
            <a:extLst>
              <a:ext uri="{FF2B5EF4-FFF2-40B4-BE49-F238E27FC236}">
                <a16:creationId xmlns:a16="http://schemas.microsoft.com/office/drawing/2014/main" id="{6721F0C9-2F0E-BE42-B127-EF121BF3A305}"/>
              </a:ext>
            </a:extLst>
          </p:cNvPr>
          <p:cNvSpPr/>
          <p:nvPr/>
        </p:nvSpPr>
        <p:spPr>
          <a:xfrm>
            <a:off x="5824926" y="3143314"/>
            <a:ext cx="1963440" cy="1425239"/>
          </a:xfrm>
          <a:custGeom>
            <a:avLst/>
            <a:gdLst/>
            <a:ahLst/>
            <a:cxnLst>
              <a:cxn ang="3cd4">
                <a:pos x="hc" y="t"/>
              </a:cxn>
              <a:cxn ang="cd2">
                <a:pos x="l" y="vc"/>
              </a:cxn>
              <a:cxn ang="cd4">
                <a:pos x="hc" y="b"/>
              </a:cxn>
              <a:cxn ang="0">
                <a:pos x="r" y="vc"/>
              </a:cxn>
            </a:cxnLst>
            <a:rect l="l" t="t" r="r" b="b"/>
            <a:pathLst>
              <a:path w="5455" h="3960">
                <a:moveTo>
                  <a:pt x="2727" y="0"/>
                </a:moveTo>
                <a:cubicBezTo>
                  <a:pt x="1709" y="0"/>
                  <a:pt x="739" y="397"/>
                  <a:pt x="23" y="1113"/>
                </a:cubicBezTo>
                <a:cubicBezTo>
                  <a:pt x="-8" y="1145"/>
                  <a:pt x="-8" y="1193"/>
                  <a:pt x="23" y="1224"/>
                </a:cubicBezTo>
                <a:cubicBezTo>
                  <a:pt x="39" y="1240"/>
                  <a:pt x="55" y="1240"/>
                  <a:pt x="71" y="1240"/>
                </a:cubicBezTo>
                <a:cubicBezTo>
                  <a:pt x="103" y="1240"/>
                  <a:pt x="119" y="1240"/>
                  <a:pt x="135" y="1224"/>
                </a:cubicBezTo>
                <a:cubicBezTo>
                  <a:pt x="834" y="525"/>
                  <a:pt x="1741" y="159"/>
                  <a:pt x="2727" y="159"/>
                </a:cubicBezTo>
                <a:cubicBezTo>
                  <a:pt x="3713" y="159"/>
                  <a:pt x="4620" y="525"/>
                  <a:pt x="5320" y="1224"/>
                </a:cubicBezTo>
                <a:cubicBezTo>
                  <a:pt x="5352" y="1256"/>
                  <a:pt x="5400" y="1256"/>
                  <a:pt x="5431" y="1224"/>
                </a:cubicBezTo>
                <a:cubicBezTo>
                  <a:pt x="5463" y="1193"/>
                  <a:pt x="5463" y="1145"/>
                  <a:pt x="5431" y="1113"/>
                </a:cubicBezTo>
                <a:cubicBezTo>
                  <a:pt x="4715" y="397"/>
                  <a:pt x="3745" y="0"/>
                  <a:pt x="2727" y="0"/>
                </a:cubicBezTo>
                <a:close/>
                <a:moveTo>
                  <a:pt x="4748" y="1909"/>
                </a:moveTo>
                <a:cubicBezTo>
                  <a:pt x="4779" y="1893"/>
                  <a:pt x="4779" y="1829"/>
                  <a:pt x="4748" y="1797"/>
                </a:cubicBezTo>
                <a:cubicBezTo>
                  <a:pt x="4206" y="1272"/>
                  <a:pt x="3491" y="970"/>
                  <a:pt x="2727" y="970"/>
                </a:cubicBezTo>
                <a:cubicBezTo>
                  <a:pt x="1964" y="970"/>
                  <a:pt x="1248" y="1272"/>
                  <a:pt x="707" y="1797"/>
                </a:cubicBezTo>
                <a:cubicBezTo>
                  <a:pt x="676" y="1829"/>
                  <a:pt x="676" y="1893"/>
                  <a:pt x="707" y="1909"/>
                </a:cubicBezTo>
                <a:cubicBezTo>
                  <a:pt x="723" y="1924"/>
                  <a:pt x="755" y="1940"/>
                  <a:pt x="771" y="1940"/>
                </a:cubicBezTo>
                <a:cubicBezTo>
                  <a:pt x="787" y="1940"/>
                  <a:pt x="803" y="1924"/>
                  <a:pt x="819" y="1909"/>
                </a:cubicBezTo>
                <a:cubicBezTo>
                  <a:pt x="1328" y="1415"/>
                  <a:pt x="2012" y="1129"/>
                  <a:pt x="2727" y="1129"/>
                </a:cubicBezTo>
                <a:cubicBezTo>
                  <a:pt x="3443" y="1129"/>
                  <a:pt x="4127" y="1415"/>
                  <a:pt x="4620" y="1909"/>
                </a:cubicBezTo>
                <a:cubicBezTo>
                  <a:pt x="4652" y="1940"/>
                  <a:pt x="4715" y="1940"/>
                  <a:pt x="4748" y="1909"/>
                </a:cubicBezTo>
                <a:close/>
                <a:moveTo>
                  <a:pt x="4000" y="2624"/>
                </a:moveTo>
                <a:cubicBezTo>
                  <a:pt x="4016" y="2624"/>
                  <a:pt x="4031" y="2624"/>
                  <a:pt x="4048" y="2608"/>
                </a:cubicBezTo>
                <a:cubicBezTo>
                  <a:pt x="4079" y="2576"/>
                  <a:pt x="4079" y="2529"/>
                  <a:pt x="4048" y="2497"/>
                </a:cubicBezTo>
                <a:cubicBezTo>
                  <a:pt x="3697" y="2147"/>
                  <a:pt x="3221" y="1940"/>
                  <a:pt x="2727" y="1940"/>
                </a:cubicBezTo>
                <a:cubicBezTo>
                  <a:pt x="2234" y="1940"/>
                  <a:pt x="1757" y="2147"/>
                  <a:pt x="1407" y="2497"/>
                </a:cubicBezTo>
                <a:cubicBezTo>
                  <a:pt x="1375" y="2529"/>
                  <a:pt x="1375" y="2576"/>
                  <a:pt x="1407" y="2608"/>
                </a:cubicBezTo>
                <a:cubicBezTo>
                  <a:pt x="1439" y="2640"/>
                  <a:pt x="1486" y="2640"/>
                  <a:pt x="1518" y="2608"/>
                </a:cubicBezTo>
                <a:cubicBezTo>
                  <a:pt x="1837" y="2290"/>
                  <a:pt x="2266" y="2099"/>
                  <a:pt x="2727" y="2099"/>
                </a:cubicBezTo>
                <a:cubicBezTo>
                  <a:pt x="3188" y="2099"/>
                  <a:pt x="3618" y="2290"/>
                  <a:pt x="3936" y="2608"/>
                </a:cubicBezTo>
                <a:cubicBezTo>
                  <a:pt x="3952" y="2624"/>
                  <a:pt x="3968" y="2624"/>
                  <a:pt x="4000" y="2624"/>
                </a:cubicBezTo>
                <a:close/>
                <a:moveTo>
                  <a:pt x="2266" y="3515"/>
                </a:moveTo>
                <a:cubicBezTo>
                  <a:pt x="2266" y="3754"/>
                  <a:pt x="2473" y="3960"/>
                  <a:pt x="2727" y="3960"/>
                </a:cubicBezTo>
                <a:cubicBezTo>
                  <a:pt x="2966" y="3960"/>
                  <a:pt x="3173" y="3754"/>
                  <a:pt x="3173" y="3515"/>
                </a:cubicBezTo>
                <a:cubicBezTo>
                  <a:pt x="3173" y="3260"/>
                  <a:pt x="2966" y="3054"/>
                  <a:pt x="2727" y="3054"/>
                </a:cubicBezTo>
                <a:cubicBezTo>
                  <a:pt x="2473" y="3054"/>
                  <a:pt x="2266" y="3260"/>
                  <a:pt x="2266" y="3515"/>
                </a:cubicBezTo>
                <a:close/>
                <a:moveTo>
                  <a:pt x="3013" y="3515"/>
                </a:moveTo>
                <a:cubicBezTo>
                  <a:pt x="3013" y="3674"/>
                  <a:pt x="2886" y="3801"/>
                  <a:pt x="2727" y="3801"/>
                </a:cubicBezTo>
                <a:cubicBezTo>
                  <a:pt x="2568" y="3801"/>
                  <a:pt x="2425" y="3674"/>
                  <a:pt x="2425" y="3515"/>
                </a:cubicBezTo>
                <a:cubicBezTo>
                  <a:pt x="2425" y="3356"/>
                  <a:pt x="2568" y="3213"/>
                  <a:pt x="2727" y="3213"/>
                </a:cubicBezTo>
                <a:cubicBezTo>
                  <a:pt x="2886" y="3213"/>
                  <a:pt x="3013" y="3356"/>
                  <a:pt x="3013" y="351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1" name="Freeform: Shape 6">
            <a:extLst>
              <a:ext uri="{FF2B5EF4-FFF2-40B4-BE49-F238E27FC236}">
                <a16:creationId xmlns:a16="http://schemas.microsoft.com/office/drawing/2014/main" id="{7C93A7A4-E781-4A48-8813-1A6FFB5AE7DA}"/>
              </a:ext>
            </a:extLst>
          </p:cNvPr>
          <p:cNvSpPr/>
          <p:nvPr/>
        </p:nvSpPr>
        <p:spPr>
          <a:xfrm>
            <a:off x="10162283" y="3492514"/>
            <a:ext cx="1467000" cy="1076040"/>
          </a:xfrm>
          <a:custGeom>
            <a:avLst/>
            <a:gdLst/>
            <a:ahLst/>
            <a:cxnLst>
              <a:cxn ang="3cd4">
                <a:pos x="hc" y="t"/>
              </a:cxn>
              <a:cxn ang="cd2">
                <a:pos x="l" y="vc"/>
              </a:cxn>
              <a:cxn ang="cd4">
                <a:pos x="hc" y="b"/>
              </a:cxn>
              <a:cxn ang="0">
                <a:pos x="r" y="vc"/>
              </a:cxn>
            </a:cxnLst>
            <a:rect l="l" t="t" r="r" b="b"/>
            <a:pathLst>
              <a:path w="4076" h="2990">
                <a:moveTo>
                  <a:pt x="2044" y="0"/>
                </a:moveTo>
                <a:cubicBezTo>
                  <a:pt x="1281" y="0"/>
                  <a:pt x="565" y="302"/>
                  <a:pt x="24" y="827"/>
                </a:cubicBezTo>
                <a:cubicBezTo>
                  <a:pt x="-8" y="859"/>
                  <a:pt x="-8" y="923"/>
                  <a:pt x="24" y="939"/>
                </a:cubicBezTo>
                <a:cubicBezTo>
                  <a:pt x="40" y="954"/>
                  <a:pt x="72" y="970"/>
                  <a:pt x="88" y="970"/>
                </a:cubicBezTo>
                <a:cubicBezTo>
                  <a:pt x="104" y="970"/>
                  <a:pt x="120" y="954"/>
                  <a:pt x="135" y="939"/>
                </a:cubicBezTo>
                <a:cubicBezTo>
                  <a:pt x="644" y="445"/>
                  <a:pt x="1328" y="159"/>
                  <a:pt x="2044" y="159"/>
                </a:cubicBezTo>
                <a:cubicBezTo>
                  <a:pt x="2760" y="159"/>
                  <a:pt x="3444" y="445"/>
                  <a:pt x="3937" y="939"/>
                </a:cubicBezTo>
                <a:cubicBezTo>
                  <a:pt x="3969" y="970"/>
                  <a:pt x="4033" y="970"/>
                  <a:pt x="4064" y="939"/>
                </a:cubicBezTo>
                <a:cubicBezTo>
                  <a:pt x="4080" y="923"/>
                  <a:pt x="4080" y="859"/>
                  <a:pt x="4064" y="827"/>
                </a:cubicBezTo>
                <a:cubicBezTo>
                  <a:pt x="3524" y="302"/>
                  <a:pt x="2808" y="0"/>
                  <a:pt x="2044" y="0"/>
                </a:cubicBezTo>
                <a:close/>
                <a:moveTo>
                  <a:pt x="3253" y="1638"/>
                </a:moveTo>
                <a:cubicBezTo>
                  <a:pt x="3269" y="1654"/>
                  <a:pt x="3285" y="1654"/>
                  <a:pt x="3317" y="1654"/>
                </a:cubicBezTo>
                <a:cubicBezTo>
                  <a:pt x="3333" y="1654"/>
                  <a:pt x="3349" y="1654"/>
                  <a:pt x="3364" y="1638"/>
                </a:cubicBezTo>
                <a:cubicBezTo>
                  <a:pt x="3396" y="1606"/>
                  <a:pt x="3396" y="1559"/>
                  <a:pt x="3364" y="1527"/>
                </a:cubicBezTo>
                <a:cubicBezTo>
                  <a:pt x="3015" y="1177"/>
                  <a:pt x="2537" y="970"/>
                  <a:pt x="2044" y="970"/>
                </a:cubicBezTo>
                <a:cubicBezTo>
                  <a:pt x="1551" y="970"/>
                  <a:pt x="1074" y="1177"/>
                  <a:pt x="724" y="1527"/>
                </a:cubicBezTo>
                <a:cubicBezTo>
                  <a:pt x="692" y="1559"/>
                  <a:pt x="692" y="1606"/>
                  <a:pt x="724" y="1638"/>
                </a:cubicBezTo>
                <a:cubicBezTo>
                  <a:pt x="756" y="1670"/>
                  <a:pt x="804" y="1670"/>
                  <a:pt x="835" y="1638"/>
                </a:cubicBezTo>
                <a:cubicBezTo>
                  <a:pt x="1153" y="1320"/>
                  <a:pt x="1583" y="1129"/>
                  <a:pt x="2044" y="1129"/>
                </a:cubicBezTo>
                <a:cubicBezTo>
                  <a:pt x="2506" y="1129"/>
                  <a:pt x="2935" y="1320"/>
                  <a:pt x="3253" y="1638"/>
                </a:cubicBezTo>
                <a:close/>
                <a:moveTo>
                  <a:pt x="1583" y="2545"/>
                </a:moveTo>
                <a:cubicBezTo>
                  <a:pt x="1583" y="2784"/>
                  <a:pt x="1790" y="2990"/>
                  <a:pt x="2044" y="2990"/>
                </a:cubicBezTo>
                <a:cubicBezTo>
                  <a:pt x="2283" y="2990"/>
                  <a:pt x="2489" y="2784"/>
                  <a:pt x="2489" y="2545"/>
                </a:cubicBezTo>
                <a:cubicBezTo>
                  <a:pt x="2489" y="2290"/>
                  <a:pt x="2283" y="2084"/>
                  <a:pt x="2044" y="2084"/>
                </a:cubicBezTo>
                <a:cubicBezTo>
                  <a:pt x="1790" y="2084"/>
                  <a:pt x="1583" y="2290"/>
                  <a:pt x="1583" y="2545"/>
                </a:cubicBezTo>
                <a:close/>
                <a:moveTo>
                  <a:pt x="2331" y="2545"/>
                </a:moveTo>
                <a:cubicBezTo>
                  <a:pt x="2331" y="2704"/>
                  <a:pt x="2203" y="2831"/>
                  <a:pt x="2044" y="2831"/>
                </a:cubicBezTo>
                <a:cubicBezTo>
                  <a:pt x="1885" y="2831"/>
                  <a:pt x="1742" y="2704"/>
                  <a:pt x="1742" y="2545"/>
                </a:cubicBezTo>
                <a:cubicBezTo>
                  <a:pt x="1742" y="2386"/>
                  <a:pt x="1885" y="2243"/>
                  <a:pt x="2044" y="2243"/>
                </a:cubicBezTo>
                <a:cubicBezTo>
                  <a:pt x="2203" y="2243"/>
                  <a:pt x="2331" y="2386"/>
                  <a:pt x="2331" y="254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2206965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A9F7E-D786-A24E-802A-9FDBA76DEEEF}"/>
              </a:ext>
            </a:extLst>
          </p:cNvPr>
          <p:cNvSpPr>
            <a:spLocks noGrp="1"/>
          </p:cNvSpPr>
          <p:nvPr>
            <p:ph type="title"/>
          </p:nvPr>
        </p:nvSpPr>
        <p:spPr>
          <a:xfrm>
            <a:off x="1257300" y="346075"/>
            <a:ext cx="12854940" cy="1939924"/>
          </a:xfrm>
        </p:spPr>
        <p:txBody>
          <a:bodyPr>
            <a:noAutofit/>
          </a:bodyPr>
          <a:lstStyle/>
          <a:p>
            <a:r>
              <a:rPr lang="en-US" dirty="0"/>
              <a:t>Slide with edge-to-edge photo example</a:t>
            </a:r>
          </a:p>
        </p:txBody>
      </p:sp>
      <p:sp>
        <p:nvSpPr>
          <p:cNvPr id="3" name="Content Placeholder 2">
            <a:extLst>
              <a:ext uri="{FF2B5EF4-FFF2-40B4-BE49-F238E27FC236}">
                <a16:creationId xmlns:a16="http://schemas.microsoft.com/office/drawing/2014/main" id="{800B9B2E-13BA-D741-A23F-D7A0915DFAC4}"/>
              </a:ext>
            </a:extLst>
          </p:cNvPr>
          <p:cNvSpPr>
            <a:spLocks noGrp="1"/>
          </p:cNvSpPr>
          <p:nvPr>
            <p:ph sz="quarter" idx="10"/>
          </p:nvPr>
        </p:nvSpPr>
        <p:spPr>
          <a:xfrm>
            <a:off x="1257300" y="2860675"/>
            <a:ext cx="12975535" cy="9471020"/>
          </a:xfrm>
        </p:spPr>
        <p:txBody>
          <a:bodyPr/>
          <a:lstStyle/>
          <a:p>
            <a:r>
              <a:rPr lang="en-US" dirty="0"/>
              <a:t>This style is used for impact, to give a modern look</a:t>
            </a:r>
          </a:p>
          <a:p>
            <a:r>
              <a:rPr lang="en-US" dirty="0"/>
              <a:t>This treatment is used to create emphasis; use selectively</a:t>
            </a:r>
          </a:p>
          <a:p>
            <a:r>
              <a:rPr lang="en-US" dirty="0"/>
              <a:t>Keep image flush with the </a:t>
            </a:r>
            <a:r>
              <a:rPr lang="en-US" dirty="0" err="1"/>
              <a:t>keyline</a:t>
            </a:r>
            <a:r>
              <a:rPr lang="en-US" dirty="0"/>
              <a:t> along the footer of the slide</a:t>
            </a:r>
          </a:p>
          <a:p>
            <a:endParaRPr lang="en-US" dirty="0"/>
          </a:p>
        </p:txBody>
      </p:sp>
      <p:pic>
        <p:nvPicPr>
          <p:cNvPr id="4" name="Content Placeholder 6">
            <a:extLst>
              <a:ext uri="{FF2B5EF4-FFF2-40B4-BE49-F238E27FC236}">
                <a16:creationId xmlns:a16="http://schemas.microsoft.com/office/drawing/2014/main" id="{F25230A4-4D10-E146-99BE-FF3D53ED279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4999798" y="0"/>
            <a:ext cx="9382616" cy="12746443"/>
          </a:xfrm>
          <a:prstGeom prst="rect">
            <a:avLst/>
          </a:prstGeom>
        </p:spPr>
      </p:pic>
    </p:spTree>
    <p:extLst>
      <p:ext uri="{BB962C8B-B14F-4D97-AF65-F5344CB8AC3E}">
        <p14:creationId xmlns:p14="http://schemas.microsoft.com/office/powerpoint/2010/main" val="194757682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Time - 1</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18" name="TextBox 17">
            <a:extLst>
              <a:ext uri="{FF2B5EF4-FFF2-40B4-BE49-F238E27FC236}">
                <a16:creationId xmlns:a16="http://schemas.microsoft.com/office/drawing/2014/main" id="{A749B686-BA83-4A40-B745-9147DC6B416D}"/>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larm 1</a:t>
            </a:r>
          </a:p>
        </p:txBody>
      </p:sp>
      <p:sp>
        <p:nvSpPr>
          <p:cNvPr id="19" name="TextBox 18">
            <a:extLst>
              <a:ext uri="{FF2B5EF4-FFF2-40B4-BE49-F238E27FC236}">
                <a16:creationId xmlns:a16="http://schemas.microsoft.com/office/drawing/2014/main" id="{54607785-F437-8C4A-B925-E36CAC4BAB60}"/>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larm 2</a:t>
            </a:r>
          </a:p>
        </p:txBody>
      </p:sp>
      <p:sp>
        <p:nvSpPr>
          <p:cNvPr id="20" name="TextBox 19">
            <a:extLst>
              <a:ext uri="{FF2B5EF4-FFF2-40B4-BE49-F238E27FC236}">
                <a16:creationId xmlns:a16="http://schemas.microsoft.com/office/drawing/2014/main" id="{1F04F5C7-3587-BD42-8DDB-B496DA942225}"/>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larm radio</a:t>
            </a:r>
          </a:p>
        </p:txBody>
      </p:sp>
      <p:sp>
        <p:nvSpPr>
          <p:cNvPr id="21" name="TextBox 20">
            <a:extLst>
              <a:ext uri="{FF2B5EF4-FFF2-40B4-BE49-F238E27FC236}">
                <a16:creationId xmlns:a16="http://schemas.microsoft.com/office/drawing/2014/main" id="{AE22DF52-254D-9741-A9AE-8B7F23EFA63F}"/>
              </a:ext>
            </a:extLst>
          </p:cNvPr>
          <p:cNvSpPr txBox="1"/>
          <p:nvPr/>
        </p:nvSpPr>
        <p:spPr>
          <a:xfrm>
            <a:off x="12867894"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larm 3</a:t>
            </a:r>
          </a:p>
        </p:txBody>
      </p:sp>
      <p:sp>
        <p:nvSpPr>
          <p:cNvPr id="22" name="TextBox 21">
            <a:extLst>
              <a:ext uri="{FF2B5EF4-FFF2-40B4-BE49-F238E27FC236}">
                <a16:creationId xmlns:a16="http://schemas.microsoft.com/office/drawing/2014/main" id="{978CAF96-E6F5-8546-84A4-7B203121B2C6}"/>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uckoo</a:t>
            </a:r>
          </a:p>
        </p:txBody>
      </p:sp>
      <p:sp>
        <p:nvSpPr>
          <p:cNvPr id="23" name="TextBox 22">
            <a:extLst>
              <a:ext uri="{FF2B5EF4-FFF2-40B4-BE49-F238E27FC236}">
                <a16:creationId xmlns:a16="http://schemas.microsoft.com/office/drawing/2014/main" id="{7C7C29C1-E078-AB48-BD9B-C77ED91ECAAE}"/>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un Dial</a:t>
            </a:r>
          </a:p>
        </p:txBody>
      </p:sp>
      <p:sp>
        <p:nvSpPr>
          <p:cNvPr id="24" name="TextBox 23">
            <a:extLst>
              <a:ext uri="{FF2B5EF4-FFF2-40B4-BE49-F238E27FC236}">
                <a16:creationId xmlns:a16="http://schemas.microsoft.com/office/drawing/2014/main" id="{DF15E0D5-9129-254D-AE1C-1F09047B6179}"/>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ime Forward</a:t>
            </a:r>
          </a:p>
        </p:txBody>
      </p:sp>
      <p:sp>
        <p:nvSpPr>
          <p:cNvPr id="25" name="TextBox 24">
            <a:extLst>
              <a:ext uri="{FF2B5EF4-FFF2-40B4-BE49-F238E27FC236}">
                <a16:creationId xmlns:a16="http://schemas.microsoft.com/office/drawing/2014/main" id="{952AA36C-1F0B-AF4C-90A9-247EC5CD18A0}"/>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ime Back</a:t>
            </a:r>
          </a:p>
        </p:txBody>
      </p:sp>
      <p:sp>
        <p:nvSpPr>
          <p:cNvPr id="26" name="TextBox 25">
            <a:extLst>
              <a:ext uri="{FF2B5EF4-FFF2-40B4-BE49-F238E27FC236}">
                <a16:creationId xmlns:a16="http://schemas.microsoft.com/office/drawing/2014/main" id="{463A912A-4525-2F4E-919C-6D3805EA3D13}"/>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pwatch 1</a:t>
            </a:r>
          </a:p>
        </p:txBody>
      </p:sp>
      <p:sp>
        <p:nvSpPr>
          <p:cNvPr id="27" name="TextBox 26">
            <a:extLst>
              <a:ext uri="{FF2B5EF4-FFF2-40B4-BE49-F238E27FC236}">
                <a16:creationId xmlns:a16="http://schemas.microsoft.com/office/drawing/2014/main" id="{321FF084-6C06-9849-B85A-587A8EEB741F}"/>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our Glass</a:t>
            </a:r>
          </a:p>
        </p:txBody>
      </p:sp>
      <p:sp>
        <p:nvSpPr>
          <p:cNvPr id="28" name="TextBox 27">
            <a:extLst>
              <a:ext uri="{FF2B5EF4-FFF2-40B4-BE49-F238E27FC236}">
                <a16:creationId xmlns:a16="http://schemas.microsoft.com/office/drawing/2014/main" id="{F2AF2352-2479-6F48-A274-7BEFDBE902F0}"/>
              </a:ext>
            </a:extLst>
          </p:cNvPr>
          <p:cNvSpPr txBox="1"/>
          <p:nvPr/>
        </p:nvSpPr>
        <p:spPr>
          <a:xfrm>
            <a:off x="-47946" y="11657695"/>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ourglass</a:t>
            </a:r>
          </a:p>
        </p:txBody>
      </p:sp>
      <p:sp>
        <p:nvSpPr>
          <p:cNvPr id="29" name="TextBox 28">
            <a:extLst>
              <a:ext uri="{FF2B5EF4-FFF2-40B4-BE49-F238E27FC236}">
                <a16:creationId xmlns:a16="http://schemas.microsoft.com/office/drawing/2014/main" id="{BC98C80B-466C-FF4D-A16E-853A8A2B0068}"/>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pwatch 3</a:t>
            </a:r>
          </a:p>
        </p:txBody>
      </p:sp>
      <p:sp>
        <p:nvSpPr>
          <p:cNvPr id="30" name="TextBox 29">
            <a:extLst>
              <a:ext uri="{FF2B5EF4-FFF2-40B4-BE49-F238E27FC236}">
                <a16:creationId xmlns:a16="http://schemas.microsoft.com/office/drawing/2014/main" id="{FDEA8338-EF3E-E14C-93DA-8FDB28EBBFF5}"/>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ristwatch 1</a:t>
            </a:r>
          </a:p>
        </p:txBody>
      </p:sp>
      <p:sp>
        <p:nvSpPr>
          <p:cNvPr id="31" name="TextBox 30">
            <a:extLst>
              <a:ext uri="{FF2B5EF4-FFF2-40B4-BE49-F238E27FC236}">
                <a16:creationId xmlns:a16="http://schemas.microsoft.com/office/drawing/2014/main" id="{6D585707-3864-1449-9F82-E9B586FD7630}"/>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ristwatch 2</a:t>
            </a:r>
          </a:p>
        </p:txBody>
      </p:sp>
      <p:sp>
        <p:nvSpPr>
          <p:cNvPr id="32" name="TextBox 31">
            <a:extLst>
              <a:ext uri="{FF2B5EF4-FFF2-40B4-BE49-F238E27FC236}">
                <a16:creationId xmlns:a16="http://schemas.microsoft.com/office/drawing/2014/main" id="{B33F65A6-DA26-8342-99A7-2EECF030A72E}"/>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p clock</a:t>
            </a:r>
          </a:p>
        </p:txBody>
      </p:sp>
      <p:sp>
        <p:nvSpPr>
          <p:cNvPr id="43" name="Freeform: Shape 26">
            <a:extLst>
              <a:ext uri="{FF2B5EF4-FFF2-40B4-BE49-F238E27FC236}">
                <a16:creationId xmlns:a16="http://schemas.microsoft.com/office/drawing/2014/main" id="{A413B7F7-9563-A049-9592-9CC389069E46}"/>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4" name="TextBox 43">
            <a:extLst>
              <a:ext uri="{FF2B5EF4-FFF2-40B4-BE49-F238E27FC236}">
                <a16:creationId xmlns:a16="http://schemas.microsoft.com/office/drawing/2014/main" id="{71495ADB-9EAD-3E46-B807-2B7D19C23596}"/>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larm Digital</a:t>
            </a:r>
          </a:p>
        </p:txBody>
      </p:sp>
      <p:sp>
        <p:nvSpPr>
          <p:cNvPr id="45" name="TextBox 44">
            <a:extLst>
              <a:ext uri="{FF2B5EF4-FFF2-40B4-BE49-F238E27FC236}">
                <a16:creationId xmlns:a16="http://schemas.microsoft.com/office/drawing/2014/main" id="{C452632C-A0AE-4241-B39D-2BABBF63673B}"/>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pwatch 2</a:t>
            </a:r>
          </a:p>
        </p:txBody>
      </p:sp>
      <p:sp>
        <p:nvSpPr>
          <p:cNvPr id="46" name="TextBox 45">
            <a:extLst>
              <a:ext uri="{FF2B5EF4-FFF2-40B4-BE49-F238E27FC236}">
                <a16:creationId xmlns:a16="http://schemas.microsoft.com/office/drawing/2014/main" id="{73DA27C2-4648-F745-9593-74EC3C9FDCD4}"/>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Wristwatch 3</a:t>
            </a:r>
          </a:p>
        </p:txBody>
      </p:sp>
      <p:sp>
        <p:nvSpPr>
          <p:cNvPr id="47" name="Freeform: Shape 13">
            <a:extLst>
              <a:ext uri="{FF2B5EF4-FFF2-40B4-BE49-F238E27FC236}">
                <a16:creationId xmlns:a16="http://schemas.microsoft.com/office/drawing/2014/main" id="{614C0071-5928-994A-98E4-208486A70820}"/>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8" name="Freeform: Shape 1">
            <a:extLst>
              <a:ext uri="{FF2B5EF4-FFF2-40B4-BE49-F238E27FC236}">
                <a16:creationId xmlns:a16="http://schemas.microsoft.com/office/drawing/2014/main" id="{5762188D-2B58-E24D-984C-062517DAF5D8}"/>
              </a:ext>
            </a:extLst>
          </p:cNvPr>
          <p:cNvSpPr/>
          <p:nvPr/>
        </p:nvSpPr>
        <p:spPr>
          <a:xfrm>
            <a:off x="21147214" y="9678039"/>
            <a:ext cx="1717560" cy="1711439"/>
          </a:xfrm>
          <a:custGeom>
            <a:avLst/>
            <a:gdLst/>
            <a:ahLst/>
            <a:cxnLst>
              <a:cxn ang="3cd4">
                <a:pos x="hc" y="t"/>
              </a:cxn>
              <a:cxn ang="cd2">
                <a:pos x="l" y="vc"/>
              </a:cxn>
              <a:cxn ang="cd4">
                <a:pos x="hc" y="b"/>
              </a:cxn>
              <a:cxn ang="0">
                <a:pos x="r" y="vc"/>
              </a:cxn>
            </a:cxnLst>
            <a:rect l="l" t="t" r="r" b="b"/>
            <a:pathLst>
              <a:path w="4772" h="4755">
                <a:moveTo>
                  <a:pt x="3754" y="636"/>
                </a:moveTo>
                <a:lnTo>
                  <a:pt x="3754" y="79"/>
                </a:lnTo>
                <a:cubicBezTo>
                  <a:pt x="3754" y="31"/>
                  <a:pt x="3722" y="0"/>
                  <a:pt x="3675" y="0"/>
                </a:cubicBezTo>
                <a:lnTo>
                  <a:pt x="1098" y="0"/>
                </a:lnTo>
                <a:cubicBezTo>
                  <a:pt x="1050" y="0"/>
                  <a:pt x="1018" y="31"/>
                  <a:pt x="1018" y="79"/>
                </a:cubicBezTo>
                <a:lnTo>
                  <a:pt x="1018" y="636"/>
                </a:lnTo>
                <a:cubicBezTo>
                  <a:pt x="446" y="715"/>
                  <a:pt x="0" y="1208"/>
                  <a:pt x="0" y="1813"/>
                </a:cubicBezTo>
                <a:cubicBezTo>
                  <a:pt x="0" y="2433"/>
                  <a:pt x="478" y="2942"/>
                  <a:pt x="1082" y="2990"/>
                </a:cubicBezTo>
                <a:lnTo>
                  <a:pt x="1082" y="3006"/>
                </a:lnTo>
                <a:lnTo>
                  <a:pt x="1082" y="4676"/>
                </a:lnTo>
                <a:cubicBezTo>
                  <a:pt x="1082" y="4723"/>
                  <a:pt x="1114" y="4755"/>
                  <a:pt x="1161" y="4755"/>
                </a:cubicBezTo>
                <a:lnTo>
                  <a:pt x="3706" y="4755"/>
                </a:lnTo>
                <a:cubicBezTo>
                  <a:pt x="3738" y="4755"/>
                  <a:pt x="3786" y="4723"/>
                  <a:pt x="3786" y="4676"/>
                </a:cubicBezTo>
                <a:lnTo>
                  <a:pt x="3786" y="3006"/>
                </a:lnTo>
                <a:lnTo>
                  <a:pt x="3770" y="2990"/>
                </a:lnTo>
                <a:cubicBezTo>
                  <a:pt x="4342" y="2894"/>
                  <a:pt x="4772" y="2401"/>
                  <a:pt x="4772" y="1813"/>
                </a:cubicBezTo>
                <a:cubicBezTo>
                  <a:pt x="4772" y="1208"/>
                  <a:pt x="4327" y="715"/>
                  <a:pt x="3754" y="636"/>
                </a:cubicBezTo>
                <a:close/>
                <a:moveTo>
                  <a:pt x="160" y="1813"/>
                </a:moveTo>
                <a:cubicBezTo>
                  <a:pt x="160" y="1240"/>
                  <a:pt x="621" y="779"/>
                  <a:pt x="1193" y="779"/>
                </a:cubicBezTo>
                <a:cubicBezTo>
                  <a:pt x="1766" y="779"/>
                  <a:pt x="2227" y="1240"/>
                  <a:pt x="2227" y="1813"/>
                </a:cubicBezTo>
                <a:cubicBezTo>
                  <a:pt x="2227" y="2385"/>
                  <a:pt x="1766" y="2846"/>
                  <a:pt x="1193" y="2846"/>
                </a:cubicBezTo>
                <a:cubicBezTo>
                  <a:pt x="621" y="2846"/>
                  <a:pt x="160" y="2385"/>
                  <a:pt x="160" y="1813"/>
                </a:cubicBezTo>
                <a:close/>
                <a:moveTo>
                  <a:pt x="3627" y="3006"/>
                </a:moveTo>
                <a:lnTo>
                  <a:pt x="3627" y="4596"/>
                </a:lnTo>
                <a:lnTo>
                  <a:pt x="1241" y="4596"/>
                </a:lnTo>
                <a:lnTo>
                  <a:pt x="1241" y="3006"/>
                </a:lnTo>
                <a:cubicBezTo>
                  <a:pt x="1877" y="2974"/>
                  <a:pt x="2386" y="2449"/>
                  <a:pt x="2386" y="1813"/>
                </a:cubicBezTo>
                <a:cubicBezTo>
                  <a:pt x="2386" y="1161"/>
                  <a:pt x="1861" y="619"/>
                  <a:pt x="1193" y="619"/>
                </a:cubicBezTo>
                <a:lnTo>
                  <a:pt x="1177" y="619"/>
                </a:lnTo>
                <a:lnTo>
                  <a:pt x="1177" y="158"/>
                </a:lnTo>
                <a:lnTo>
                  <a:pt x="3595" y="158"/>
                </a:lnTo>
                <a:lnTo>
                  <a:pt x="3595" y="619"/>
                </a:lnTo>
                <a:lnTo>
                  <a:pt x="3579" y="619"/>
                </a:lnTo>
                <a:cubicBezTo>
                  <a:pt x="2927" y="619"/>
                  <a:pt x="2386" y="1161"/>
                  <a:pt x="2386" y="1813"/>
                </a:cubicBezTo>
                <a:cubicBezTo>
                  <a:pt x="2386" y="2465"/>
                  <a:pt x="2927" y="3006"/>
                  <a:pt x="3579" y="3006"/>
                </a:cubicBezTo>
                <a:close/>
                <a:moveTo>
                  <a:pt x="3579" y="2846"/>
                </a:moveTo>
                <a:cubicBezTo>
                  <a:pt x="3006" y="2846"/>
                  <a:pt x="2545" y="2385"/>
                  <a:pt x="2545" y="1813"/>
                </a:cubicBezTo>
                <a:cubicBezTo>
                  <a:pt x="2545" y="1240"/>
                  <a:pt x="3006" y="779"/>
                  <a:pt x="3579" y="779"/>
                </a:cubicBezTo>
                <a:cubicBezTo>
                  <a:pt x="4151" y="779"/>
                  <a:pt x="4613" y="1240"/>
                  <a:pt x="4613" y="1813"/>
                </a:cubicBezTo>
                <a:cubicBezTo>
                  <a:pt x="4613" y="2385"/>
                  <a:pt x="4151" y="2846"/>
                  <a:pt x="3579" y="2846"/>
                </a:cubicBezTo>
                <a:close/>
                <a:moveTo>
                  <a:pt x="1591" y="1415"/>
                </a:moveTo>
                <a:cubicBezTo>
                  <a:pt x="1559" y="1383"/>
                  <a:pt x="1511" y="1383"/>
                  <a:pt x="1479" y="1415"/>
                </a:cubicBezTo>
                <a:lnTo>
                  <a:pt x="1098" y="1797"/>
                </a:lnTo>
                <a:lnTo>
                  <a:pt x="843" y="1542"/>
                </a:lnTo>
                <a:cubicBezTo>
                  <a:pt x="812" y="1510"/>
                  <a:pt x="764" y="1510"/>
                  <a:pt x="732" y="1542"/>
                </a:cubicBezTo>
                <a:cubicBezTo>
                  <a:pt x="700" y="1574"/>
                  <a:pt x="700" y="1637"/>
                  <a:pt x="732" y="1654"/>
                </a:cubicBezTo>
                <a:lnTo>
                  <a:pt x="1034" y="1972"/>
                </a:lnTo>
                <a:cubicBezTo>
                  <a:pt x="1050" y="1988"/>
                  <a:pt x="1082" y="1988"/>
                  <a:pt x="1098" y="1988"/>
                </a:cubicBezTo>
                <a:cubicBezTo>
                  <a:pt x="1114" y="1988"/>
                  <a:pt x="1145" y="1988"/>
                  <a:pt x="1145" y="1972"/>
                </a:cubicBezTo>
                <a:lnTo>
                  <a:pt x="1591" y="1526"/>
                </a:lnTo>
                <a:cubicBezTo>
                  <a:pt x="1623" y="1494"/>
                  <a:pt x="1623" y="1447"/>
                  <a:pt x="1591" y="1415"/>
                </a:cubicBezTo>
                <a:close/>
                <a:moveTo>
                  <a:pt x="3929" y="1256"/>
                </a:moveTo>
                <a:lnTo>
                  <a:pt x="3484" y="1654"/>
                </a:lnTo>
                <a:cubicBezTo>
                  <a:pt x="3468" y="1669"/>
                  <a:pt x="3452" y="1701"/>
                  <a:pt x="3468" y="1733"/>
                </a:cubicBezTo>
                <a:lnTo>
                  <a:pt x="3468" y="1749"/>
                </a:lnTo>
                <a:lnTo>
                  <a:pt x="3468" y="2226"/>
                </a:lnTo>
                <a:cubicBezTo>
                  <a:pt x="3468" y="2258"/>
                  <a:pt x="3499" y="2290"/>
                  <a:pt x="3547" y="2290"/>
                </a:cubicBezTo>
                <a:cubicBezTo>
                  <a:pt x="3579" y="2290"/>
                  <a:pt x="3627" y="2258"/>
                  <a:pt x="3627" y="2226"/>
                </a:cubicBezTo>
                <a:lnTo>
                  <a:pt x="3627" y="1749"/>
                </a:lnTo>
                <a:lnTo>
                  <a:pt x="4024" y="1367"/>
                </a:lnTo>
                <a:cubicBezTo>
                  <a:pt x="4056" y="1351"/>
                  <a:pt x="4056" y="1288"/>
                  <a:pt x="4041" y="1256"/>
                </a:cubicBezTo>
                <a:cubicBezTo>
                  <a:pt x="4008" y="1224"/>
                  <a:pt x="3961" y="1224"/>
                  <a:pt x="3929" y="1256"/>
                </a:cubicBezTo>
                <a:close/>
                <a:moveTo>
                  <a:pt x="1988" y="3228"/>
                </a:moveTo>
                <a:cubicBezTo>
                  <a:pt x="1734" y="3228"/>
                  <a:pt x="1511" y="3435"/>
                  <a:pt x="1511" y="3705"/>
                </a:cubicBezTo>
                <a:cubicBezTo>
                  <a:pt x="1511" y="3960"/>
                  <a:pt x="1734" y="4167"/>
                  <a:pt x="1988" y="4167"/>
                </a:cubicBezTo>
                <a:cubicBezTo>
                  <a:pt x="2259" y="4167"/>
                  <a:pt x="2466" y="3960"/>
                  <a:pt x="2466" y="3705"/>
                </a:cubicBezTo>
                <a:cubicBezTo>
                  <a:pt x="2466" y="3435"/>
                  <a:pt x="2259" y="3228"/>
                  <a:pt x="1988" y="3228"/>
                </a:cubicBezTo>
                <a:close/>
                <a:moveTo>
                  <a:pt x="1988" y="4008"/>
                </a:moveTo>
                <a:cubicBezTo>
                  <a:pt x="1814" y="4008"/>
                  <a:pt x="1670" y="3881"/>
                  <a:pt x="1670" y="3705"/>
                </a:cubicBezTo>
                <a:cubicBezTo>
                  <a:pt x="1670" y="3515"/>
                  <a:pt x="1814" y="3387"/>
                  <a:pt x="1988" y="3387"/>
                </a:cubicBezTo>
                <a:cubicBezTo>
                  <a:pt x="2163" y="3387"/>
                  <a:pt x="2306" y="3515"/>
                  <a:pt x="2306" y="3705"/>
                </a:cubicBezTo>
                <a:cubicBezTo>
                  <a:pt x="2306" y="3881"/>
                  <a:pt x="2163" y="4008"/>
                  <a:pt x="1988" y="4008"/>
                </a:cubicBezTo>
                <a:close/>
                <a:moveTo>
                  <a:pt x="2911" y="3403"/>
                </a:moveTo>
                <a:cubicBezTo>
                  <a:pt x="2863" y="3403"/>
                  <a:pt x="2832" y="3451"/>
                  <a:pt x="2832" y="3482"/>
                </a:cubicBezTo>
                <a:lnTo>
                  <a:pt x="2832" y="4119"/>
                </a:lnTo>
                <a:cubicBezTo>
                  <a:pt x="2832" y="4167"/>
                  <a:pt x="2863" y="4199"/>
                  <a:pt x="2911" y="4199"/>
                </a:cubicBezTo>
                <a:cubicBezTo>
                  <a:pt x="2943" y="4199"/>
                  <a:pt x="2991" y="4167"/>
                  <a:pt x="2991" y="4119"/>
                </a:cubicBezTo>
                <a:lnTo>
                  <a:pt x="2991" y="3482"/>
                </a:lnTo>
                <a:cubicBezTo>
                  <a:pt x="2991" y="3451"/>
                  <a:pt x="2943" y="3403"/>
                  <a:pt x="2911" y="3403"/>
                </a:cubicBezTo>
                <a:close/>
                <a:moveTo>
                  <a:pt x="3229" y="3403"/>
                </a:moveTo>
                <a:cubicBezTo>
                  <a:pt x="3181" y="3403"/>
                  <a:pt x="3150" y="3451"/>
                  <a:pt x="3150" y="3482"/>
                </a:cubicBezTo>
                <a:lnTo>
                  <a:pt x="3150" y="4119"/>
                </a:lnTo>
                <a:cubicBezTo>
                  <a:pt x="3150" y="4167"/>
                  <a:pt x="3181" y="4199"/>
                  <a:pt x="3229" y="4199"/>
                </a:cubicBezTo>
                <a:cubicBezTo>
                  <a:pt x="3261" y="4199"/>
                  <a:pt x="3309" y="4167"/>
                  <a:pt x="3309" y="4119"/>
                </a:cubicBezTo>
                <a:lnTo>
                  <a:pt x="3309" y="3482"/>
                </a:lnTo>
                <a:cubicBezTo>
                  <a:pt x="3309" y="3451"/>
                  <a:pt x="3261" y="3403"/>
                  <a:pt x="3229" y="340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9" name="Freeform: Shape 2">
            <a:extLst>
              <a:ext uri="{FF2B5EF4-FFF2-40B4-BE49-F238E27FC236}">
                <a16:creationId xmlns:a16="http://schemas.microsoft.com/office/drawing/2014/main" id="{73601A0B-0466-2145-B4DC-63BDB4506BB7}"/>
              </a:ext>
            </a:extLst>
          </p:cNvPr>
          <p:cNvSpPr/>
          <p:nvPr/>
        </p:nvSpPr>
        <p:spPr>
          <a:xfrm>
            <a:off x="17748752" y="9678039"/>
            <a:ext cx="1139040" cy="1711439"/>
          </a:xfrm>
          <a:custGeom>
            <a:avLst/>
            <a:gdLst/>
            <a:ahLst/>
            <a:cxnLst>
              <a:cxn ang="3cd4">
                <a:pos x="hc" y="t"/>
              </a:cxn>
              <a:cxn ang="cd2">
                <a:pos x="l" y="vc"/>
              </a:cxn>
              <a:cxn ang="cd4">
                <a:pos x="hc" y="b"/>
              </a:cxn>
              <a:cxn ang="0">
                <a:pos x="r" y="vc"/>
              </a:cxn>
            </a:cxnLst>
            <a:rect l="l" t="t" r="r" b="b"/>
            <a:pathLst>
              <a:path w="3165" h="4755">
                <a:moveTo>
                  <a:pt x="779" y="1749"/>
                </a:moveTo>
                <a:cubicBezTo>
                  <a:pt x="747" y="1749"/>
                  <a:pt x="699" y="1781"/>
                  <a:pt x="699" y="1828"/>
                </a:cubicBezTo>
                <a:lnTo>
                  <a:pt x="699" y="2926"/>
                </a:lnTo>
                <a:cubicBezTo>
                  <a:pt x="699" y="2974"/>
                  <a:pt x="747" y="3006"/>
                  <a:pt x="779" y="3006"/>
                </a:cubicBezTo>
                <a:lnTo>
                  <a:pt x="2369" y="3006"/>
                </a:lnTo>
                <a:cubicBezTo>
                  <a:pt x="2417" y="3006"/>
                  <a:pt x="2449" y="2974"/>
                  <a:pt x="2449" y="2926"/>
                </a:cubicBezTo>
                <a:lnTo>
                  <a:pt x="2449" y="1828"/>
                </a:lnTo>
                <a:cubicBezTo>
                  <a:pt x="2449" y="1781"/>
                  <a:pt x="2417" y="1749"/>
                  <a:pt x="2369" y="1749"/>
                </a:cubicBezTo>
                <a:close/>
                <a:moveTo>
                  <a:pt x="2290" y="2846"/>
                </a:moveTo>
                <a:lnTo>
                  <a:pt x="859" y="2846"/>
                </a:lnTo>
                <a:lnTo>
                  <a:pt x="859" y="1908"/>
                </a:lnTo>
                <a:lnTo>
                  <a:pt x="2290" y="1908"/>
                </a:lnTo>
                <a:close/>
                <a:moveTo>
                  <a:pt x="3086" y="2226"/>
                </a:moveTo>
                <a:lnTo>
                  <a:pt x="2926" y="2226"/>
                </a:lnTo>
                <a:lnTo>
                  <a:pt x="2926" y="1765"/>
                </a:lnTo>
                <a:cubicBezTo>
                  <a:pt x="2926" y="1733"/>
                  <a:pt x="2926" y="1717"/>
                  <a:pt x="2910" y="1701"/>
                </a:cubicBezTo>
                <a:lnTo>
                  <a:pt x="2465" y="1288"/>
                </a:lnTo>
                <a:cubicBezTo>
                  <a:pt x="2449" y="1272"/>
                  <a:pt x="2433" y="1272"/>
                  <a:pt x="2401" y="1272"/>
                </a:cubicBezTo>
                <a:lnTo>
                  <a:pt x="747" y="1272"/>
                </a:lnTo>
                <a:cubicBezTo>
                  <a:pt x="732" y="1272"/>
                  <a:pt x="699" y="1272"/>
                  <a:pt x="684" y="1288"/>
                </a:cubicBezTo>
                <a:lnTo>
                  <a:pt x="254" y="1701"/>
                </a:lnTo>
                <a:cubicBezTo>
                  <a:pt x="238" y="1717"/>
                  <a:pt x="238" y="1733"/>
                  <a:pt x="238" y="1765"/>
                </a:cubicBezTo>
                <a:lnTo>
                  <a:pt x="238" y="2067"/>
                </a:lnTo>
                <a:lnTo>
                  <a:pt x="79" y="2067"/>
                </a:lnTo>
                <a:cubicBezTo>
                  <a:pt x="32" y="2067"/>
                  <a:pt x="0" y="2099"/>
                  <a:pt x="0" y="2146"/>
                </a:cubicBezTo>
                <a:cubicBezTo>
                  <a:pt x="0" y="2178"/>
                  <a:pt x="32" y="2210"/>
                  <a:pt x="79" y="2210"/>
                </a:cubicBezTo>
                <a:lnTo>
                  <a:pt x="238" y="2210"/>
                </a:lnTo>
                <a:lnTo>
                  <a:pt x="238" y="2528"/>
                </a:lnTo>
                <a:lnTo>
                  <a:pt x="79" y="2528"/>
                </a:lnTo>
                <a:cubicBezTo>
                  <a:pt x="32" y="2528"/>
                  <a:pt x="0" y="2576"/>
                  <a:pt x="0" y="2608"/>
                </a:cubicBezTo>
                <a:cubicBezTo>
                  <a:pt x="0" y="2655"/>
                  <a:pt x="32" y="2687"/>
                  <a:pt x="79" y="2687"/>
                </a:cubicBezTo>
                <a:lnTo>
                  <a:pt x="238" y="2687"/>
                </a:lnTo>
                <a:lnTo>
                  <a:pt x="238" y="2958"/>
                </a:lnTo>
                <a:cubicBezTo>
                  <a:pt x="238" y="2974"/>
                  <a:pt x="238" y="2990"/>
                  <a:pt x="254" y="3006"/>
                </a:cubicBezTo>
                <a:lnTo>
                  <a:pt x="684" y="3467"/>
                </a:lnTo>
                <a:cubicBezTo>
                  <a:pt x="699" y="3482"/>
                  <a:pt x="715" y="3482"/>
                  <a:pt x="747" y="3482"/>
                </a:cubicBezTo>
                <a:lnTo>
                  <a:pt x="2465" y="3482"/>
                </a:lnTo>
                <a:cubicBezTo>
                  <a:pt x="2481" y="3482"/>
                  <a:pt x="2513" y="3482"/>
                  <a:pt x="2529" y="3467"/>
                </a:cubicBezTo>
                <a:lnTo>
                  <a:pt x="2910" y="3006"/>
                </a:lnTo>
                <a:cubicBezTo>
                  <a:pt x="2926" y="2990"/>
                  <a:pt x="2926" y="2974"/>
                  <a:pt x="2926" y="2958"/>
                </a:cubicBezTo>
                <a:lnTo>
                  <a:pt x="2926" y="2369"/>
                </a:lnTo>
                <a:lnTo>
                  <a:pt x="3086" y="2369"/>
                </a:lnTo>
                <a:cubicBezTo>
                  <a:pt x="3133" y="2369"/>
                  <a:pt x="3165" y="2337"/>
                  <a:pt x="3165" y="2290"/>
                </a:cubicBezTo>
                <a:cubicBezTo>
                  <a:pt x="3165" y="2258"/>
                  <a:pt x="3133" y="2226"/>
                  <a:pt x="3086" y="2226"/>
                </a:cubicBezTo>
                <a:close/>
                <a:moveTo>
                  <a:pt x="2767" y="2926"/>
                </a:moveTo>
                <a:lnTo>
                  <a:pt x="2417" y="3324"/>
                </a:lnTo>
                <a:lnTo>
                  <a:pt x="779" y="3324"/>
                </a:lnTo>
                <a:lnTo>
                  <a:pt x="397" y="2926"/>
                </a:lnTo>
                <a:lnTo>
                  <a:pt x="397" y="1797"/>
                </a:lnTo>
                <a:lnTo>
                  <a:pt x="779" y="1431"/>
                </a:lnTo>
                <a:lnTo>
                  <a:pt x="2369" y="1431"/>
                </a:lnTo>
                <a:lnTo>
                  <a:pt x="2767" y="1797"/>
                </a:lnTo>
                <a:close/>
                <a:moveTo>
                  <a:pt x="620" y="1033"/>
                </a:moveTo>
                <a:cubicBezTo>
                  <a:pt x="620" y="1065"/>
                  <a:pt x="668" y="1113"/>
                  <a:pt x="699" y="1113"/>
                </a:cubicBezTo>
                <a:lnTo>
                  <a:pt x="2449" y="1113"/>
                </a:lnTo>
                <a:cubicBezTo>
                  <a:pt x="2497" y="1113"/>
                  <a:pt x="2529" y="1065"/>
                  <a:pt x="2529" y="1033"/>
                </a:cubicBezTo>
                <a:cubicBezTo>
                  <a:pt x="2529" y="985"/>
                  <a:pt x="2497" y="954"/>
                  <a:pt x="2449" y="954"/>
                </a:cubicBezTo>
                <a:lnTo>
                  <a:pt x="699" y="954"/>
                </a:lnTo>
                <a:cubicBezTo>
                  <a:pt x="668" y="954"/>
                  <a:pt x="620" y="985"/>
                  <a:pt x="620" y="1033"/>
                </a:cubicBezTo>
                <a:close/>
                <a:moveTo>
                  <a:pt x="859" y="795"/>
                </a:moveTo>
                <a:lnTo>
                  <a:pt x="2290" y="795"/>
                </a:lnTo>
                <a:cubicBezTo>
                  <a:pt x="2338" y="795"/>
                  <a:pt x="2369" y="747"/>
                  <a:pt x="2369" y="715"/>
                </a:cubicBezTo>
                <a:cubicBezTo>
                  <a:pt x="2369" y="667"/>
                  <a:pt x="2338" y="636"/>
                  <a:pt x="2290" y="636"/>
                </a:cubicBezTo>
                <a:lnTo>
                  <a:pt x="859" y="636"/>
                </a:lnTo>
                <a:cubicBezTo>
                  <a:pt x="827" y="636"/>
                  <a:pt x="779" y="667"/>
                  <a:pt x="779" y="715"/>
                </a:cubicBezTo>
                <a:cubicBezTo>
                  <a:pt x="779" y="747"/>
                  <a:pt x="827" y="795"/>
                  <a:pt x="859" y="795"/>
                </a:cubicBezTo>
                <a:close/>
                <a:moveTo>
                  <a:pt x="859" y="476"/>
                </a:moveTo>
                <a:lnTo>
                  <a:pt x="2290" y="476"/>
                </a:lnTo>
                <a:cubicBezTo>
                  <a:pt x="2338" y="476"/>
                  <a:pt x="2369" y="429"/>
                  <a:pt x="2369" y="397"/>
                </a:cubicBezTo>
                <a:cubicBezTo>
                  <a:pt x="2369" y="349"/>
                  <a:pt x="2338" y="318"/>
                  <a:pt x="2290" y="318"/>
                </a:cubicBezTo>
                <a:lnTo>
                  <a:pt x="859" y="318"/>
                </a:lnTo>
                <a:cubicBezTo>
                  <a:pt x="827" y="318"/>
                  <a:pt x="779" y="349"/>
                  <a:pt x="779" y="397"/>
                </a:cubicBezTo>
                <a:cubicBezTo>
                  <a:pt x="779" y="429"/>
                  <a:pt x="827" y="476"/>
                  <a:pt x="859" y="476"/>
                </a:cubicBezTo>
                <a:close/>
                <a:moveTo>
                  <a:pt x="859" y="158"/>
                </a:moveTo>
                <a:lnTo>
                  <a:pt x="2290" y="158"/>
                </a:lnTo>
                <a:cubicBezTo>
                  <a:pt x="2338" y="158"/>
                  <a:pt x="2369" y="110"/>
                  <a:pt x="2369" y="79"/>
                </a:cubicBezTo>
                <a:cubicBezTo>
                  <a:pt x="2369" y="31"/>
                  <a:pt x="2338" y="0"/>
                  <a:pt x="2290" y="0"/>
                </a:cubicBezTo>
                <a:lnTo>
                  <a:pt x="859" y="0"/>
                </a:lnTo>
                <a:cubicBezTo>
                  <a:pt x="827" y="0"/>
                  <a:pt x="779" y="31"/>
                  <a:pt x="779" y="79"/>
                </a:cubicBezTo>
                <a:cubicBezTo>
                  <a:pt x="779" y="110"/>
                  <a:pt x="827" y="158"/>
                  <a:pt x="859" y="158"/>
                </a:cubicBezTo>
                <a:close/>
                <a:moveTo>
                  <a:pt x="2449" y="3642"/>
                </a:moveTo>
                <a:lnTo>
                  <a:pt x="699" y="3642"/>
                </a:lnTo>
                <a:cubicBezTo>
                  <a:pt x="668" y="3642"/>
                  <a:pt x="620" y="3690"/>
                  <a:pt x="620" y="3721"/>
                </a:cubicBezTo>
                <a:cubicBezTo>
                  <a:pt x="620" y="3769"/>
                  <a:pt x="668" y="3801"/>
                  <a:pt x="699" y="3801"/>
                </a:cubicBezTo>
                <a:lnTo>
                  <a:pt x="2449" y="3801"/>
                </a:lnTo>
                <a:cubicBezTo>
                  <a:pt x="2497" y="3801"/>
                  <a:pt x="2529" y="3769"/>
                  <a:pt x="2529" y="3721"/>
                </a:cubicBezTo>
                <a:cubicBezTo>
                  <a:pt x="2529" y="3690"/>
                  <a:pt x="2497" y="3642"/>
                  <a:pt x="2449" y="3642"/>
                </a:cubicBezTo>
                <a:close/>
                <a:moveTo>
                  <a:pt x="2290" y="3960"/>
                </a:moveTo>
                <a:lnTo>
                  <a:pt x="859" y="3960"/>
                </a:lnTo>
                <a:cubicBezTo>
                  <a:pt x="827" y="3960"/>
                  <a:pt x="779" y="4008"/>
                  <a:pt x="779" y="4039"/>
                </a:cubicBezTo>
                <a:cubicBezTo>
                  <a:pt x="779" y="4087"/>
                  <a:pt x="827" y="4119"/>
                  <a:pt x="859" y="4119"/>
                </a:cubicBezTo>
                <a:lnTo>
                  <a:pt x="2290" y="4119"/>
                </a:lnTo>
                <a:cubicBezTo>
                  <a:pt x="2338" y="4119"/>
                  <a:pt x="2369" y="4087"/>
                  <a:pt x="2369" y="4039"/>
                </a:cubicBezTo>
                <a:cubicBezTo>
                  <a:pt x="2369" y="4008"/>
                  <a:pt x="2338" y="3960"/>
                  <a:pt x="2290" y="3960"/>
                </a:cubicBezTo>
                <a:close/>
                <a:moveTo>
                  <a:pt x="2290" y="4278"/>
                </a:moveTo>
                <a:lnTo>
                  <a:pt x="859" y="4278"/>
                </a:lnTo>
                <a:cubicBezTo>
                  <a:pt x="827" y="4278"/>
                  <a:pt x="779" y="4326"/>
                  <a:pt x="779" y="4357"/>
                </a:cubicBezTo>
                <a:cubicBezTo>
                  <a:pt x="779" y="4405"/>
                  <a:pt x="827" y="4437"/>
                  <a:pt x="859" y="4437"/>
                </a:cubicBezTo>
                <a:lnTo>
                  <a:pt x="2290" y="4437"/>
                </a:lnTo>
                <a:cubicBezTo>
                  <a:pt x="2338" y="4437"/>
                  <a:pt x="2369" y="4405"/>
                  <a:pt x="2369" y="4357"/>
                </a:cubicBezTo>
                <a:cubicBezTo>
                  <a:pt x="2369" y="4326"/>
                  <a:pt x="2338" y="4278"/>
                  <a:pt x="2290" y="4278"/>
                </a:cubicBezTo>
                <a:close/>
                <a:moveTo>
                  <a:pt x="2290" y="4596"/>
                </a:moveTo>
                <a:lnTo>
                  <a:pt x="859" y="4596"/>
                </a:lnTo>
                <a:cubicBezTo>
                  <a:pt x="827" y="4596"/>
                  <a:pt x="779" y="4644"/>
                  <a:pt x="779" y="4676"/>
                </a:cubicBezTo>
                <a:cubicBezTo>
                  <a:pt x="779" y="4723"/>
                  <a:pt x="827" y="4755"/>
                  <a:pt x="859" y="4755"/>
                </a:cubicBezTo>
                <a:lnTo>
                  <a:pt x="2290" y="4755"/>
                </a:lnTo>
                <a:cubicBezTo>
                  <a:pt x="2338" y="4755"/>
                  <a:pt x="2369" y="4723"/>
                  <a:pt x="2369" y="4676"/>
                </a:cubicBezTo>
                <a:cubicBezTo>
                  <a:pt x="2369" y="4644"/>
                  <a:pt x="2338" y="4596"/>
                  <a:pt x="2290" y="459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0" name="Freeform: Shape 3">
            <a:extLst>
              <a:ext uri="{FF2B5EF4-FFF2-40B4-BE49-F238E27FC236}">
                <a16:creationId xmlns:a16="http://schemas.microsoft.com/office/drawing/2014/main" id="{74819A3A-82C8-8B40-AF9D-DD290CE62389}"/>
              </a:ext>
            </a:extLst>
          </p:cNvPr>
          <p:cNvSpPr/>
          <p:nvPr/>
        </p:nvSpPr>
        <p:spPr>
          <a:xfrm>
            <a:off x="14398912" y="9678039"/>
            <a:ext cx="755280" cy="1711439"/>
          </a:xfrm>
          <a:custGeom>
            <a:avLst/>
            <a:gdLst/>
            <a:ahLst/>
            <a:cxnLst>
              <a:cxn ang="3cd4">
                <a:pos x="hc" y="t"/>
              </a:cxn>
              <a:cxn ang="cd2">
                <a:pos x="l" y="vc"/>
              </a:cxn>
              <a:cxn ang="cd4">
                <a:pos x="hc" y="b"/>
              </a:cxn>
              <a:cxn ang="0">
                <a:pos x="r" y="vc"/>
              </a:cxn>
            </a:cxnLst>
            <a:rect l="l" t="t" r="r" b="b"/>
            <a:pathLst>
              <a:path w="2099" h="4755">
                <a:moveTo>
                  <a:pt x="1718" y="3642"/>
                </a:moveTo>
                <a:lnTo>
                  <a:pt x="286" y="3642"/>
                </a:lnTo>
                <a:cubicBezTo>
                  <a:pt x="254" y="3642"/>
                  <a:pt x="206" y="3690"/>
                  <a:pt x="206" y="3721"/>
                </a:cubicBezTo>
                <a:lnTo>
                  <a:pt x="206" y="4437"/>
                </a:lnTo>
                <a:cubicBezTo>
                  <a:pt x="206" y="4644"/>
                  <a:pt x="318" y="4755"/>
                  <a:pt x="524" y="4755"/>
                </a:cubicBezTo>
                <a:lnTo>
                  <a:pt x="1479" y="4755"/>
                </a:lnTo>
                <a:cubicBezTo>
                  <a:pt x="1685" y="4755"/>
                  <a:pt x="1797" y="4644"/>
                  <a:pt x="1797" y="4437"/>
                </a:cubicBezTo>
                <a:lnTo>
                  <a:pt x="1797" y="3721"/>
                </a:lnTo>
                <a:cubicBezTo>
                  <a:pt x="1797" y="3690"/>
                  <a:pt x="1765" y="3642"/>
                  <a:pt x="1718" y="3642"/>
                </a:cubicBezTo>
                <a:close/>
                <a:moveTo>
                  <a:pt x="1479" y="4596"/>
                </a:moveTo>
                <a:lnTo>
                  <a:pt x="524" y="4596"/>
                </a:lnTo>
                <a:cubicBezTo>
                  <a:pt x="413" y="4596"/>
                  <a:pt x="366" y="4564"/>
                  <a:pt x="366" y="4437"/>
                </a:cubicBezTo>
                <a:lnTo>
                  <a:pt x="366" y="3801"/>
                </a:lnTo>
                <a:lnTo>
                  <a:pt x="1638" y="3801"/>
                </a:lnTo>
                <a:lnTo>
                  <a:pt x="1638" y="4437"/>
                </a:lnTo>
                <a:cubicBezTo>
                  <a:pt x="1638" y="4564"/>
                  <a:pt x="1606" y="4596"/>
                  <a:pt x="1479" y="4596"/>
                </a:cubicBezTo>
                <a:close/>
                <a:moveTo>
                  <a:pt x="1718" y="1113"/>
                </a:moveTo>
                <a:cubicBezTo>
                  <a:pt x="1765" y="1113"/>
                  <a:pt x="1797" y="1065"/>
                  <a:pt x="1797" y="1033"/>
                </a:cubicBezTo>
                <a:lnTo>
                  <a:pt x="1797" y="318"/>
                </a:lnTo>
                <a:cubicBezTo>
                  <a:pt x="1797" y="143"/>
                  <a:pt x="1685" y="15"/>
                  <a:pt x="1511" y="0"/>
                </a:cubicBezTo>
                <a:lnTo>
                  <a:pt x="1479" y="0"/>
                </a:lnTo>
                <a:lnTo>
                  <a:pt x="524" y="0"/>
                </a:lnTo>
                <a:lnTo>
                  <a:pt x="509" y="0"/>
                </a:lnTo>
                <a:lnTo>
                  <a:pt x="493" y="0"/>
                </a:lnTo>
                <a:cubicBezTo>
                  <a:pt x="238" y="0"/>
                  <a:pt x="206" y="143"/>
                  <a:pt x="206" y="318"/>
                </a:cubicBezTo>
                <a:lnTo>
                  <a:pt x="206" y="1033"/>
                </a:lnTo>
                <a:cubicBezTo>
                  <a:pt x="206" y="1065"/>
                  <a:pt x="254" y="1113"/>
                  <a:pt x="286" y="1113"/>
                </a:cubicBezTo>
                <a:close/>
                <a:moveTo>
                  <a:pt x="493" y="158"/>
                </a:moveTo>
                <a:lnTo>
                  <a:pt x="509" y="158"/>
                </a:lnTo>
                <a:lnTo>
                  <a:pt x="524" y="158"/>
                </a:lnTo>
                <a:lnTo>
                  <a:pt x="1447" y="158"/>
                </a:lnTo>
                <a:cubicBezTo>
                  <a:pt x="1638" y="158"/>
                  <a:pt x="1638" y="270"/>
                  <a:pt x="1638" y="318"/>
                </a:cubicBezTo>
                <a:lnTo>
                  <a:pt x="1638" y="954"/>
                </a:lnTo>
                <a:lnTo>
                  <a:pt x="366" y="954"/>
                </a:lnTo>
                <a:lnTo>
                  <a:pt x="366" y="318"/>
                </a:lnTo>
                <a:cubicBezTo>
                  <a:pt x="366" y="158"/>
                  <a:pt x="397" y="158"/>
                  <a:pt x="493" y="158"/>
                </a:cubicBezTo>
                <a:close/>
                <a:moveTo>
                  <a:pt x="1956" y="1845"/>
                </a:moveTo>
                <a:lnTo>
                  <a:pt x="1956" y="1431"/>
                </a:lnTo>
                <a:cubicBezTo>
                  <a:pt x="1956" y="1383"/>
                  <a:pt x="1924" y="1351"/>
                  <a:pt x="1876" y="1351"/>
                </a:cubicBezTo>
                <a:cubicBezTo>
                  <a:pt x="1829" y="1351"/>
                  <a:pt x="1797" y="1383"/>
                  <a:pt x="1797" y="1431"/>
                </a:cubicBezTo>
                <a:lnTo>
                  <a:pt x="1797" y="1637"/>
                </a:lnTo>
                <a:cubicBezTo>
                  <a:pt x="1606" y="1431"/>
                  <a:pt x="1336" y="1304"/>
                  <a:pt x="1049" y="1304"/>
                </a:cubicBezTo>
                <a:cubicBezTo>
                  <a:pt x="700" y="1304"/>
                  <a:pt x="397" y="1479"/>
                  <a:pt x="206" y="1717"/>
                </a:cubicBezTo>
                <a:lnTo>
                  <a:pt x="206" y="1431"/>
                </a:lnTo>
                <a:cubicBezTo>
                  <a:pt x="206" y="1383"/>
                  <a:pt x="175" y="1351"/>
                  <a:pt x="127" y="1351"/>
                </a:cubicBezTo>
                <a:cubicBezTo>
                  <a:pt x="95" y="1351"/>
                  <a:pt x="48" y="1383"/>
                  <a:pt x="48" y="1431"/>
                </a:cubicBezTo>
                <a:lnTo>
                  <a:pt x="48" y="2019"/>
                </a:lnTo>
                <a:cubicBezTo>
                  <a:pt x="15" y="2131"/>
                  <a:pt x="0" y="2242"/>
                  <a:pt x="0" y="2354"/>
                </a:cubicBezTo>
                <a:cubicBezTo>
                  <a:pt x="0" y="2481"/>
                  <a:pt x="15" y="2592"/>
                  <a:pt x="48" y="2703"/>
                </a:cubicBezTo>
                <a:lnTo>
                  <a:pt x="48" y="3324"/>
                </a:lnTo>
                <a:cubicBezTo>
                  <a:pt x="48" y="3372"/>
                  <a:pt x="95" y="3403"/>
                  <a:pt x="127" y="3403"/>
                </a:cubicBezTo>
                <a:cubicBezTo>
                  <a:pt x="175" y="3403"/>
                  <a:pt x="206" y="3372"/>
                  <a:pt x="206" y="3324"/>
                </a:cubicBezTo>
                <a:lnTo>
                  <a:pt x="206" y="2990"/>
                </a:lnTo>
                <a:cubicBezTo>
                  <a:pt x="397" y="3244"/>
                  <a:pt x="700" y="3403"/>
                  <a:pt x="1049" y="3403"/>
                </a:cubicBezTo>
                <a:cubicBezTo>
                  <a:pt x="1336" y="3403"/>
                  <a:pt x="1606" y="3276"/>
                  <a:pt x="1797" y="3085"/>
                </a:cubicBezTo>
                <a:lnTo>
                  <a:pt x="1797" y="3324"/>
                </a:lnTo>
                <a:cubicBezTo>
                  <a:pt x="1797" y="3372"/>
                  <a:pt x="1829" y="3403"/>
                  <a:pt x="1876" y="3403"/>
                </a:cubicBezTo>
                <a:cubicBezTo>
                  <a:pt x="1924" y="3403"/>
                  <a:pt x="1956" y="3372"/>
                  <a:pt x="1956" y="3324"/>
                </a:cubicBezTo>
                <a:lnTo>
                  <a:pt x="1956" y="2863"/>
                </a:lnTo>
                <a:cubicBezTo>
                  <a:pt x="2036" y="2719"/>
                  <a:pt x="2099" y="2544"/>
                  <a:pt x="2099" y="2354"/>
                </a:cubicBezTo>
                <a:cubicBezTo>
                  <a:pt x="2099" y="2178"/>
                  <a:pt x="2036" y="2003"/>
                  <a:pt x="1956" y="1845"/>
                </a:cubicBezTo>
                <a:close/>
                <a:moveTo>
                  <a:pt x="1049" y="3244"/>
                </a:moveTo>
                <a:cubicBezTo>
                  <a:pt x="557" y="3244"/>
                  <a:pt x="159" y="2846"/>
                  <a:pt x="159" y="2354"/>
                </a:cubicBezTo>
                <a:cubicBezTo>
                  <a:pt x="159" y="2274"/>
                  <a:pt x="175" y="2194"/>
                  <a:pt x="191" y="2115"/>
                </a:cubicBezTo>
                <a:cubicBezTo>
                  <a:pt x="206" y="2099"/>
                  <a:pt x="206" y="2083"/>
                  <a:pt x="206" y="2067"/>
                </a:cubicBezTo>
                <a:lnTo>
                  <a:pt x="206" y="2051"/>
                </a:lnTo>
                <a:cubicBezTo>
                  <a:pt x="334" y="1717"/>
                  <a:pt x="667" y="1463"/>
                  <a:pt x="1049" y="1463"/>
                </a:cubicBezTo>
                <a:cubicBezTo>
                  <a:pt x="1367" y="1463"/>
                  <a:pt x="1638" y="1637"/>
                  <a:pt x="1797" y="1892"/>
                </a:cubicBezTo>
                <a:lnTo>
                  <a:pt x="1797" y="1908"/>
                </a:lnTo>
                <a:cubicBezTo>
                  <a:pt x="1797" y="1924"/>
                  <a:pt x="1813" y="1956"/>
                  <a:pt x="1845" y="1972"/>
                </a:cubicBezTo>
                <a:cubicBezTo>
                  <a:pt x="1908" y="2083"/>
                  <a:pt x="1940" y="2226"/>
                  <a:pt x="1940" y="2354"/>
                </a:cubicBezTo>
                <a:cubicBezTo>
                  <a:pt x="1940" y="2846"/>
                  <a:pt x="1527" y="3244"/>
                  <a:pt x="1049" y="3244"/>
                </a:cubicBezTo>
                <a:close/>
                <a:moveTo>
                  <a:pt x="1479" y="1813"/>
                </a:moveTo>
                <a:lnTo>
                  <a:pt x="1049" y="2242"/>
                </a:lnTo>
                <a:lnTo>
                  <a:pt x="731" y="1924"/>
                </a:lnTo>
                <a:cubicBezTo>
                  <a:pt x="700" y="1892"/>
                  <a:pt x="652" y="1892"/>
                  <a:pt x="620" y="1924"/>
                </a:cubicBezTo>
                <a:cubicBezTo>
                  <a:pt x="588" y="1956"/>
                  <a:pt x="588" y="2003"/>
                  <a:pt x="620" y="2035"/>
                </a:cubicBezTo>
                <a:lnTo>
                  <a:pt x="986" y="2417"/>
                </a:lnTo>
                <a:cubicBezTo>
                  <a:pt x="1002" y="2433"/>
                  <a:pt x="1018" y="2433"/>
                  <a:pt x="1049" y="2433"/>
                </a:cubicBezTo>
                <a:cubicBezTo>
                  <a:pt x="1066" y="2433"/>
                  <a:pt x="1081" y="2433"/>
                  <a:pt x="1097" y="2417"/>
                </a:cubicBezTo>
                <a:lnTo>
                  <a:pt x="1590" y="1924"/>
                </a:lnTo>
                <a:cubicBezTo>
                  <a:pt x="1622" y="1892"/>
                  <a:pt x="1622" y="1845"/>
                  <a:pt x="1590" y="1813"/>
                </a:cubicBezTo>
                <a:cubicBezTo>
                  <a:pt x="1558" y="1781"/>
                  <a:pt x="1511" y="1781"/>
                  <a:pt x="1479" y="181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1" name="Freeform: Shape 4">
            <a:extLst>
              <a:ext uri="{FF2B5EF4-FFF2-40B4-BE49-F238E27FC236}">
                <a16:creationId xmlns:a16="http://schemas.microsoft.com/office/drawing/2014/main" id="{01D174D0-D09A-084B-99D0-A7147E20D259}"/>
              </a:ext>
            </a:extLst>
          </p:cNvPr>
          <p:cNvSpPr/>
          <p:nvPr/>
        </p:nvSpPr>
        <p:spPr>
          <a:xfrm>
            <a:off x="6145197" y="9683439"/>
            <a:ext cx="1339560" cy="1700280"/>
          </a:xfrm>
          <a:custGeom>
            <a:avLst/>
            <a:gdLst/>
            <a:ahLst/>
            <a:cxnLst>
              <a:cxn ang="3cd4">
                <a:pos x="hc" y="t"/>
              </a:cxn>
              <a:cxn ang="cd2">
                <a:pos x="l" y="vc"/>
              </a:cxn>
              <a:cxn ang="cd4">
                <a:pos x="hc" y="b"/>
              </a:cxn>
              <a:cxn ang="0">
                <a:pos x="r" y="vc"/>
              </a:cxn>
            </a:cxnLst>
            <a:rect l="l" t="t" r="r" b="b"/>
            <a:pathLst>
              <a:path w="3722" h="4724">
                <a:moveTo>
                  <a:pt x="2306" y="1050"/>
                </a:moveTo>
                <a:lnTo>
                  <a:pt x="2306" y="795"/>
                </a:lnTo>
                <a:lnTo>
                  <a:pt x="2386" y="795"/>
                </a:lnTo>
                <a:cubicBezTo>
                  <a:pt x="2433" y="795"/>
                  <a:pt x="2465" y="764"/>
                  <a:pt x="2465" y="716"/>
                </a:cubicBezTo>
                <a:lnTo>
                  <a:pt x="2465" y="80"/>
                </a:lnTo>
                <a:cubicBezTo>
                  <a:pt x="2465" y="32"/>
                  <a:pt x="2433" y="0"/>
                  <a:pt x="2386" y="0"/>
                </a:cubicBezTo>
                <a:lnTo>
                  <a:pt x="1431" y="0"/>
                </a:lnTo>
                <a:cubicBezTo>
                  <a:pt x="1384" y="0"/>
                  <a:pt x="1351" y="32"/>
                  <a:pt x="1351" y="80"/>
                </a:cubicBezTo>
                <a:lnTo>
                  <a:pt x="1351" y="716"/>
                </a:lnTo>
                <a:cubicBezTo>
                  <a:pt x="1351" y="764"/>
                  <a:pt x="1384" y="795"/>
                  <a:pt x="1431" y="795"/>
                </a:cubicBezTo>
                <a:lnTo>
                  <a:pt x="1511" y="795"/>
                </a:lnTo>
                <a:lnTo>
                  <a:pt x="1511" y="1018"/>
                </a:lnTo>
                <a:cubicBezTo>
                  <a:pt x="652" y="1193"/>
                  <a:pt x="0" y="1957"/>
                  <a:pt x="0" y="2863"/>
                </a:cubicBezTo>
                <a:cubicBezTo>
                  <a:pt x="0" y="3881"/>
                  <a:pt x="827" y="4724"/>
                  <a:pt x="1860" y="4724"/>
                </a:cubicBezTo>
                <a:cubicBezTo>
                  <a:pt x="2895" y="4724"/>
                  <a:pt x="3722" y="3881"/>
                  <a:pt x="3722" y="2863"/>
                </a:cubicBezTo>
                <a:cubicBezTo>
                  <a:pt x="3722" y="1988"/>
                  <a:pt x="3117" y="1241"/>
                  <a:pt x="2306" y="1050"/>
                </a:cubicBezTo>
                <a:close/>
                <a:moveTo>
                  <a:pt x="1511" y="159"/>
                </a:moveTo>
                <a:lnTo>
                  <a:pt x="2306" y="159"/>
                </a:lnTo>
                <a:lnTo>
                  <a:pt x="2306" y="637"/>
                </a:lnTo>
                <a:lnTo>
                  <a:pt x="1511" y="637"/>
                </a:lnTo>
                <a:close/>
                <a:moveTo>
                  <a:pt x="1670" y="795"/>
                </a:moveTo>
                <a:lnTo>
                  <a:pt x="2147" y="795"/>
                </a:lnTo>
                <a:lnTo>
                  <a:pt x="2147" y="1018"/>
                </a:lnTo>
                <a:cubicBezTo>
                  <a:pt x="2051" y="1002"/>
                  <a:pt x="1956" y="986"/>
                  <a:pt x="1860" y="986"/>
                </a:cubicBezTo>
                <a:cubicBezTo>
                  <a:pt x="1797" y="986"/>
                  <a:pt x="1733" y="1002"/>
                  <a:pt x="1670" y="1002"/>
                </a:cubicBezTo>
                <a:close/>
                <a:moveTo>
                  <a:pt x="1860" y="4565"/>
                </a:moveTo>
                <a:cubicBezTo>
                  <a:pt x="922" y="4565"/>
                  <a:pt x="159" y="3802"/>
                  <a:pt x="159" y="2863"/>
                </a:cubicBezTo>
                <a:cubicBezTo>
                  <a:pt x="159" y="2020"/>
                  <a:pt x="763" y="1321"/>
                  <a:pt x="1559" y="1177"/>
                </a:cubicBezTo>
                <a:cubicBezTo>
                  <a:pt x="1559" y="1193"/>
                  <a:pt x="1574" y="1193"/>
                  <a:pt x="1590" y="1193"/>
                </a:cubicBezTo>
                <a:cubicBezTo>
                  <a:pt x="1622" y="1193"/>
                  <a:pt x="1638" y="1177"/>
                  <a:pt x="1654" y="1161"/>
                </a:cubicBezTo>
                <a:cubicBezTo>
                  <a:pt x="1717" y="1161"/>
                  <a:pt x="1797" y="1146"/>
                  <a:pt x="1860" y="1146"/>
                </a:cubicBezTo>
                <a:cubicBezTo>
                  <a:pt x="1972" y="1146"/>
                  <a:pt x="2083" y="1161"/>
                  <a:pt x="2195" y="1177"/>
                </a:cubicBezTo>
                <a:cubicBezTo>
                  <a:pt x="2211" y="1193"/>
                  <a:pt x="2211" y="1193"/>
                  <a:pt x="2226" y="1193"/>
                </a:cubicBezTo>
                <a:cubicBezTo>
                  <a:pt x="2990" y="1352"/>
                  <a:pt x="3562" y="2036"/>
                  <a:pt x="3562" y="2863"/>
                </a:cubicBezTo>
                <a:cubicBezTo>
                  <a:pt x="3562" y="3802"/>
                  <a:pt x="2799" y="4565"/>
                  <a:pt x="1860" y="4565"/>
                </a:cubicBezTo>
                <a:close/>
                <a:moveTo>
                  <a:pt x="1877" y="1495"/>
                </a:moveTo>
                <a:cubicBezTo>
                  <a:pt x="1113" y="1495"/>
                  <a:pt x="493" y="2100"/>
                  <a:pt x="493" y="2863"/>
                </a:cubicBezTo>
                <a:cubicBezTo>
                  <a:pt x="493" y="3611"/>
                  <a:pt x="1113" y="4231"/>
                  <a:pt x="1877" y="4231"/>
                </a:cubicBezTo>
                <a:cubicBezTo>
                  <a:pt x="2624" y="4231"/>
                  <a:pt x="3244" y="3611"/>
                  <a:pt x="3244" y="2863"/>
                </a:cubicBezTo>
                <a:cubicBezTo>
                  <a:pt x="3244" y="2100"/>
                  <a:pt x="2624" y="1495"/>
                  <a:pt x="1877" y="1495"/>
                </a:cubicBezTo>
                <a:close/>
                <a:moveTo>
                  <a:pt x="1877" y="4072"/>
                </a:moveTo>
                <a:cubicBezTo>
                  <a:pt x="1208" y="4072"/>
                  <a:pt x="652" y="3531"/>
                  <a:pt x="652" y="2863"/>
                </a:cubicBezTo>
                <a:cubicBezTo>
                  <a:pt x="652" y="2195"/>
                  <a:pt x="1208" y="1654"/>
                  <a:pt x="1877" y="1654"/>
                </a:cubicBezTo>
                <a:cubicBezTo>
                  <a:pt x="2544" y="1654"/>
                  <a:pt x="3086" y="2195"/>
                  <a:pt x="3086" y="2863"/>
                </a:cubicBezTo>
                <a:cubicBezTo>
                  <a:pt x="3086" y="3531"/>
                  <a:pt x="2544" y="4072"/>
                  <a:pt x="1877" y="4072"/>
                </a:cubicBezTo>
                <a:close/>
                <a:moveTo>
                  <a:pt x="2401" y="2100"/>
                </a:moveTo>
                <a:lnTo>
                  <a:pt x="1813" y="2704"/>
                </a:lnTo>
                <a:cubicBezTo>
                  <a:pt x="1781" y="2736"/>
                  <a:pt x="1781" y="2784"/>
                  <a:pt x="1813" y="2815"/>
                </a:cubicBezTo>
                <a:cubicBezTo>
                  <a:pt x="1829" y="2831"/>
                  <a:pt x="1845" y="2831"/>
                  <a:pt x="1877" y="2831"/>
                </a:cubicBezTo>
                <a:cubicBezTo>
                  <a:pt x="1892" y="2831"/>
                  <a:pt x="1908" y="2831"/>
                  <a:pt x="1924" y="2815"/>
                </a:cubicBezTo>
                <a:lnTo>
                  <a:pt x="2529" y="2227"/>
                </a:lnTo>
                <a:cubicBezTo>
                  <a:pt x="2544" y="2195"/>
                  <a:pt x="2544" y="2131"/>
                  <a:pt x="2529" y="2100"/>
                </a:cubicBezTo>
                <a:cubicBezTo>
                  <a:pt x="2497" y="2084"/>
                  <a:pt x="2433" y="2084"/>
                  <a:pt x="2401" y="210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2" name="Freeform: Shape 5">
            <a:extLst>
              <a:ext uri="{FF2B5EF4-FFF2-40B4-BE49-F238E27FC236}">
                <a16:creationId xmlns:a16="http://schemas.microsoft.com/office/drawing/2014/main" id="{11598A08-D3B9-5447-BCA7-C2823CBFC5A2}"/>
              </a:ext>
            </a:extLst>
          </p:cNvPr>
          <p:cNvSpPr/>
          <p:nvPr/>
        </p:nvSpPr>
        <p:spPr>
          <a:xfrm>
            <a:off x="1972689" y="9678039"/>
            <a:ext cx="1313280" cy="1711439"/>
          </a:xfrm>
          <a:custGeom>
            <a:avLst/>
            <a:gdLst/>
            <a:ahLst/>
            <a:cxnLst>
              <a:cxn ang="3cd4">
                <a:pos x="hc" y="t"/>
              </a:cxn>
              <a:cxn ang="cd2">
                <a:pos x="l" y="vc"/>
              </a:cxn>
              <a:cxn ang="cd4">
                <a:pos x="hc" y="b"/>
              </a:cxn>
              <a:cxn ang="0">
                <a:pos x="r" y="vc"/>
              </a:cxn>
            </a:cxnLst>
            <a:rect l="l" t="t" r="r" b="b"/>
            <a:pathLst>
              <a:path w="3649" h="4755">
                <a:moveTo>
                  <a:pt x="3649" y="63"/>
                </a:moveTo>
                <a:lnTo>
                  <a:pt x="3649" y="47"/>
                </a:lnTo>
                <a:lnTo>
                  <a:pt x="3649" y="31"/>
                </a:lnTo>
                <a:lnTo>
                  <a:pt x="3633" y="31"/>
                </a:lnTo>
                <a:lnTo>
                  <a:pt x="3633" y="15"/>
                </a:lnTo>
                <a:lnTo>
                  <a:pt x="3617" y="15"/>
                </a:lnTo>
                <a:cubicBezTo>
                  <a:pt x="3617" y="0"/>
                  <a:pt x="3617" y="0"/>
                  <a:pt x="3601" y="0"/>
                </a:cubicBezTo>
                <a:lnTo>
                  <a:pt x="3569" y="0"/>
                </a:lnTo>
                <a:lnTo>
                  <a:pt x="86" y="0"/>
                </a:lnTo>
                <a:cubicBezTo>
                  <a:pt x="70" y="0"/>
                  <a:pt x="54" y="0"/>
                  <a:pt x="39" y="15"/>
                </a:cubicBezTo>
                <a:cubicBezTo>
                  <a:pt x="6" y="31"/>
                  <a:pt x="-9" y="79"/>
                  <a:pt x="6" y="127"/>
                </a:cubicBezTo>
                <a:lnTo>
                  <a:pt x="340" y="588"/>
                </a:lnTo>
                <a:lnTo>
                  <a:pt x="340" y="604"/>
                </a:lnTo>
                <a:lnTo>
                  <a:pt x="357" y="619"/>
                </a:lnTo>
                <a:lnTo>
                  <a:pt x="372" y="619"/>
                </a:lnTo>
                <a:cubicBezTo>
                  <a:pt x="377" y="625"/>
                  <a:pt x="372" y="636"/>
                  <a:pt x="388" y="636"/>
                </a:cubicBezTo>
                <a:lnTo>
                  <a:pt x="404" y="636"/>
                </a:lnTo>
                <a:lnTo>
                  <a:pt x="627" y="636"/>
                </a:lnTo>
                <a:cubicBezTo>
                  <a:pt x="627" y="731"/>
                  <a:pt x="643" y="842"/>
                  <a:pt x="658" y="938"/>
                </a:cubicBezTo>
                <a:cubicBezTo>
                  <a:pt x="802" y="1654"/>
                  <a:pt x="1104" y="2163"/>
                  <a:pt x="1518" y="2354"/>
                </a:cubicBezTo>
                <a:cubicBezTo>
                  <a:pt x="1040" y="2576"/>
                  <a:pt x="706" y="3228"/>
                  <a:pt x="611" y="4119"/>
                </a:cubicBezTo>
                <a:lnTo>
                  <a:pt x="404" y="4119"/>
                </a:lnTo>
                <a:lnTo>
                  <a:pt x="388" y="4119"/>
                </a:lnTo>
                <a:cubicBezTo>
                  <a:pt x="382" y="4124"/>
                  <a:pt x="372" y="4119"/>
                  <a:pt x="372" y="4135"/>
                </a:cubicBezTo>
                <a:lnTo>
                  <a:pt x="357" y="4135"/>
                </a:lnTo>
                <a:lnTo>
                  <a:pt x="340" y="4151"/>
                </a:lnTo>
                <a:lnTo>
                  <a:pt x="340" y="4167"/>
                </a:lnTo>
                <a:lnTo>
                  <a:pt x="325" y="4167"/>
                </a:lnTo>
                <a:lnTo>
                  <a:pt x="22" y="4628"/>
                </a:lnTo>
                <a:lnTo>
                  <a:pt x="6" y="4644"/>
                </a:lnTo>
                <a:lnTo>
                  <a:pt x="6" y="4660"/>
                </a:lnTo>
                <a:lnTo>
                  <a:pt x="6" y="4676"/>
                </a:lnTo>
                <a:lnTo>
                  <a:pt x="6" y="4691"/>
                </a:lnTo>
                <a:lnTo>
                  <a:pt x="6" y="4708"/>
                </a:lnTo>
                <a:lnTo>
                  <a:pt x="6" y="4723"/>
                </a:lnTo>
                <a:lnTo>
                  <a:pt x="22" y="4723"/>
                </a:lnTo>
                <a:lnTo>
                  <a:pt x="22" y="4739"/>
                </a:lnTo>
                <a:lnTo>
                  <a:pt x="39" y="4739"/>
                </a:lnTo>
                <a:cubicBezTo>
                  <a:pt x="39" y="4755"/>
                  <a:pt x="39" y="4755"/>
                  <a:pt x="54" y="4755"/>
                </a:cubicBezTo>
                <a:lnTo>
                  <a:pt x="70" y="4755"/>
                </a:lnTo>
                <a:lnTo>
                  <a:pt x="86" y="4755"/>
                </a:lnTo>
                <a:lnTo>
                  <a:pt x="3569" y="4755"/>
                </a:lnTo>
                <a:lnTo>
                  <a:pt x="3585" y="4755"/>
                </a:lnTo>
                <a:lnTo>
                  <a:pt x="3601" y="4755"/>
                </a:lnTo>
                <a:cubicBezTo>
                  <a:pt x="3617" y="4755"/>
                  <a:pt x="3617" y="4755"/>
                  <a:pt x="3617" y="4739"/>
                </a:cubicBezTo>
                <a:lnTo>
                  <a:pt x="3633" y="4739"/>
                </a:lnTo>
                <a:lnTo>
                  <a:pt x="3633" y="4723"/>
                </a:lnTo>
                <a:lnTo>
                  <a:pt x="3649" y="4723"/>
                </a:lnTo>
                <a:lnTo>
                  <a:pt x="3649" y="4708"/>
                </a:lnTo>
                <a:lnTo>
                  <a:pt x="3649" y="4691"/>
                </a:lnTo>
                <a:lnTo>
                  <a:pt x="3649" y="4676"/>
                </a:lnTo>
                <a:lnTo>
                  <a:pt x="3649" y="4660"/>
                </a:lnTo>
                <a:lnTo>
                  <a:pt x="3649" y="4644"/>
                </a:lnTo>
                <a:lnTo>
                  <a:pt x="3633" y="4628"/>
                </a:lnTo>
                <a:lnTo>
                  <a:pt x="3331" y="4167"/>
                </a:lnTo>
                <a:lnTo>
                  <a:pt x="3315" y="4167"/>
                </a:lnTo>
                <a:lnTo>
                  <a:pt x="3315" y="4151"/>
                </a:lnTo>
                <a:lnTo>
                  <a:pt x="3299" y="4135"/>
                </a:lnTo>
                <a:lnTo>
                  <a:pt x="3283" y="4135"/>
                </a:lnTo>
                <a:lnTo>
                  <a:pt x="3283" y="4119"/>
                </a:lnTo>
                <a:lnTo>
                  <a:pt x="3267" y="4119"/>
                </a:lnTo>
                <a:lnTo>
                  <a:pt x="3251" y="4119"/>
                </a:lnTo>
                <a:lnTo>
                  <a:pt x="3108" y="4119"/>
                </a:lnTo>
                <a:cubicBezTo>
                  <a:pt x="3029" y="3228"/>
                  <a:pt x="2694" y="2576"/>
                  <a:pt x="2218" y="2354"/>
                </a:cubicBezTo>
                <a:cubicBezTo>
                  <a:pt x="2631" y="2163"/>
                  <a:pt x="2933" y="1654"/>
                  <a:pt x="3060" y="938"/>
                </a:cubicBezTo>
                <a:cubicBezTo>
                  <a:pt x="3092" y="827"/>
                  <a:pt x="3092" y="731"/>
                  <a:pt x="3108" y="636"/>
                </a:cubicBezTo>
                <a:lnTo>
                  <a:pt x="3251" y="636"/>
                </a:lnTo>
                <a:lnTo>
                  <a:pt x="3267" y="636"/>
                </a:lnTo>
                <a:cubicBezTo>
                  <a:pt x="3283" y="636"/>
                  <a:pt x="3277" y="625"/>
                  <a:pt x="3283" y="619"/>
                </a:cubicBezTo>
                <a:lnTo>
                  <a:pt x="3299" y="619"/>
                </a:lnTo>
                <a:lnTo>
                  <a:pt x="3315" y="604"/>
                </a:lnTo>
                <a:lnTo>
                  <a:pt x="3315" y="588"/>
                </a:lnTo>
                <a:lnTo>
                  <a:pt x="3331" y="588"/>
                </a:lnTo>
                <a:lnTo>
                  <a:pt x="3633" y="110"/>
                </a:lnTo>
                <a:lnTo>
                  <a:pt x="3649" y="110"/>
                </a:lnTo>
                <a:lnTo>
                  <a:pt x="3649" y="95"/>
                </a:lnTo>
                <a:lnTo>
                  <a:pt x="3649" y="79"/>
                </a:lnTo>
                <a:close/>
                <a:moveTo>
                  <a:pt x="3220" y="476"/>
                </a:moveTo>
                <a:lnTo>
                  <a:pt x="3092" y="476"/>
                </a:lnTo>
                <a:cubicBezTo>
                  <a:pt x="3076" y="461"/>
                  <a:pt x="3060" y="461"/>
                  <a:pt x="3045" y="445"/>
                </a:cubicBezTo>
                <a:cubicBezTo>
                  <a:pt x="3029" y="445"/>
                  <a:pt x="2997" y="461"/>
                  <a:pt x="2981" y="476"/>
                </a:cubicBezTo>
                <a:lnTo>
                  <a:pt x="738" y="476"/>
                </a:lnTo>
                <a:cubicBezTo>
                  <a:pt x="722" y="461"/>
                  <a:pt x="706" y="445"/>
                  <a:pt x="691" y="445"/>
                </a:cubicBezTo>
                <a:cubicBezTo>
                  <a:pt x="675" y="461"/>
                  <a:pt x="658" y="461"/>
                  <a:pt x="643" y="476"/>
                </a:cubicBezTo>
                <a:lnTo>
                  <a:pt x="436" y="476"/>
                </a:lnTo>
                <a:lnTo>
                  <a:pt x="229" y="158"/>
                </a:lnTo>
                <a:lnTo>
                  <a:pt x="3426" y="158"/>
                </a:lnTo>
                <a:close/>
                <a:moveTo>
                  <a:pt x="1867" y="3864"/>
                </a:moveTo>
                <a:lnTo>
                  <a:pt x="2138" y="4119"/>
                </a:lnTo>
                <a:lnTo>
                  <a:pt x="1597" y="4119"/>
                </a:lnTo>
                <a:close/>
                <a:moveTo>
                  <a:pt x="3220" y="4278"/>
                </a:moveTo>
                <a:lnTo>
                  <a:pt x="3426" y="4596"/>
                </a:lnTo>
                <a:lnTo>
                  <a:pt x="229" y="4596"/>
                </a:lnTo>
                <a:lnTo>
                  <a:pt x="436" y="4278"/>
                </a:lnTo>
                <a:close/>
                <a:moveTo>
                  <a:pt x="2949" y="4119"/>
                </a:moveTo>
                <a:lnTo>
                  <a:pt x="2345" y="4119"/>
                </a:lnTo>
                <a:lnTo>
                  <a:pt x="2313" y="4087"/>
                </a:lnTo>
                <a:lnTo>
                  <a:pt x="1915" y="3690"/>
                </a:lnTo>
                <a:cubicBezTo>
                  <a:pt x="1884" y="3658"/>
                  <a:pt x="1836" y="3658"/>
                  <a:pt x="1804" y="3690"/>
                </a:cubicBezTo>
                <a:lnTo>
                  <a:pt x="1406" y="4087"/>
                </a:lnTo>
                <a:cubicBezTo>
                  <a:pt x="1406" y="4103"/>
                  <a:pt x="1390" y="4103"/>
                  <a:pt x="1390" y="4119"/>
                </a:cubicBezTo>
                <a:lnTo>
                  <a:pt x="770" y="4119"/>
                </a:lnTo>
                <a:cubicBezTo>
                  <a:pt x="881" y="3117"/>
                  <a:pt x="1311" y="2433"/>
                  <a:pt x="1867" y="2433"/>
                </a:cubicBezTo>
                <a:cubicBezTo>
                  <a:pt x="2424" y="2433"/>
                  <a:pt x="2854" y="3117"/>
                  <a:pt x="2949" y="4119"/>
                </a:cubicBezTo>
                <a:close/>
                <a:moveTo>
                  <a:pt x="1867" y="2274"/>
                </a:moveTo>
                <a:cubicBezTo>
                  <a:pt x="1390" y="2274"/>
                  <a:pt x="1009" y="1797"/>
                  <a:pt x="849" y="1017"/>
                </a:cubicBezTo>
                <a:lnTo>
                  <a:pt x="1852" y="1240"/>
                </a:lnTo>
                <a:lnTo>
                  <a:pt x="1867" y="1240"/>
                </a:lnTo>
                <a:lnTo>
                  <a:pt x="1884" y="1240"/>
                </a:lnTo>
                <a:lnTo>
                  <a:pt x="2885" y="1017"/>
                </a:lnTo>
                <a:cubicBezTo>
                  <a:pt x="2726" y="1797"/>
                  <a:pt x="2345" y="2274"/>
                  <a:pt x="1867" y="2274"/>
                </a:cubicBezTo>
                <a:close/>
                <a:moveTo>
                  <a:pt x="2917" y="858"/>
                </a:moveTo>
                <a:lnTo>
                  <a:pt x="1867" y="1081"/>
                </a:lnTo>
                <a:lnTo>
                  <a:pt x="818" y="858"/>
                </a:lnTo>
                <a:cubicBezTo>
                  <a:pt x="802" y="779"/>
                  <a:pt x="786" y="715"/>
                  <a:pt x="786" y="636"/>
                </a:cubicBezTo>
                <a:lnTo>
                  <a:pt x="2949" y="636"/>
                </a:lnTo>
                <a:cubicBezTo>
                  <a:pt x="2949" y="715"/>
                  <a:pt x="2933" y="779"/>
                  <a:pt x="2917" y="858"/>
                </a:cubicBezTo>
                <a:close/>
                <a:moveTo>
                  <a:pt x="1755" y="2926"/>
                </a:moveTo>
                <a:cubicBezTo>
                  <a:pt x="1787" y="2926"/>
                  <a:pt x="1835" y="2894"/>
                  <a:pt x="1835" y="2846"/>
                </a:cubicBezTo>
                <a:lnTo>
                  <a:pt x="1835" y="2687"/>
                </a:lnTo>
                <a:cubicBezTo>
                  <a:pt x="1835" y="2655"/>
                  <a:pt x="1787" y="2608"/>
                  <a:pt x="1755" y="2608"/>
                </a:cubicBezTo>
                <a:cubicBezTo>
                  <a:pt x="1708" y="2608"/>
                  <a:pt x="1675" y="2655"/>
                  <a:pt x="1675" y="2687"/>
                </a:cubicBezTo>
                <a:lnTo>
                  <a:pt x="1675" y="2846"/>
                </a:lnTo>
                <a:cubicBezTo>
                  <a:pt x="1675" y="2894"/>
                  <a:pt x="1708" y="2926"/>
                  <a:pt x="1755" y="2926"/>
                </a:cubicBezTo>
                <a:close/>
                <a:moveTo>
                  <a:pt x="1835" y="3164"/>
                </a:moveTo>
                <a:cubicBezTo>
                  <a:pt x="1835" y="3212"/>
                  <a:pt x="1866" y="3244"/>
                  <a:pt x="1898" y="3244"/>
                </a:cubicBezTo>
                <a:cubicBezTo>
                  <a:pt x="1946" y="3244"/>
                  <a:pt x="1978" y="3212"/>
                  <a:pt x="1978" y="3164"/>
                </a:cubicBezTo>
                <a:lnTo>
                  <a:pt x="1978" y="3006"/>
                </a:lnTo>
                <a:cubicBezTo>
                  <a:pt x="1978" y="2974"/>
                  <a:pt x="1946" y="2926"/>
                  <a:pt x="1898" y="2926"/>
                </a:cubicBezTo>
                <a:cubicBezTo>
                  <a:pt x="1866" y="2926"/>
                  <a:pt x="1835" y="2974"/>
                  <a:pt x="1835" y="3006"/>
                </a:cubicBezTo>
                <a:close/>
                <a:moveTo>
                  <a:pt x="1755" y="3562"/>
                </a:moveTo>
                <a:cubicBezTo>
                  <a:pt x="1787" y="3562"/>
                  <a:pt x="1835" y="3530"/>
                  <a:pt x="1835" y="3482"/>
                </a:cubicBezTo>
                <a:lnTo>
                  <a:pt x="1835" y="3324"/>
                </a:lnTo>
                <a:cubicBezTo>
                  <a:pt x="1835" y="3292"/>
                  <a:pt x="1787" y="3244"/>
                  <a:pt x="1755" y="3244"/>
                </a:cubicBezTo>
                <a:cubicBezTo>
                  <a:pt x="1708" y="3244"/>
                  <a:pt x="1675" y="3292"/>
                  <a:pt x="1675" y="3324"/>
                </a:cubicBezTo>
                <a:lnTo>
                  <a:pt x="1675" y="3482"/>
                </a:lnTo>
                <a:cubicBezTo>
                  <a:pt x="1675" y="3530"/>
                  <a:pt x="1708" y="3562"/>
                  <a:pt x="1755" y="356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3" name="Freeform: Shape 6">
            <a:extLst>
              <a:ext uri="{FF2B5EF4-FFF2-40B4-BE49-F238E27FC236}">
                <a16:creationId xmlns:a16="http://schemas.microsoft.com/office/drawing/2014/main" id="{30317766-BDDF-944E-AB61-BCDB37F7D72C}"/>
              </a:ext>
            </a:extLst>
          </p:cNvPr>
          <p:cNvSpPr/>
          <p:nvPr/>
        </p:nvSpPr>
        <p:spPr>
          <a:xfrm>
            <a:off x="21514196" y="6353291"/>
            <a:ext cx="1316880" cy="1711439"/>
          </a:xfrm>
          <a:custGeom>
            <a:avLst/>
            <a:gdLst/>
            <a:ahLst/>
            <a:cxnLst>
              <a:cxn ang="3cd4">
                <a:pos x="hc" y="t"/>
              </a:cxn>
              <a:cxn ang="cd2">
                <a:pos x="l" y="vc"/>
              </a:cxn>
              <a:cxn ang="cd4">
                <a:pos x="hc" y="b"/>
              </a:cxn>
              <a:cxn ang="0">
                <a:pos x="r" y="vc"/>
              </a:cxn>
            </a:cxnLst>
            <a:rect l="l" t="t" r="r" b="b"/>
            <a:pathLst>
              <a:path w="3659" h="4755">
                <a:moveTo>
                  <a:pt x="3659" y="63"/>
                </a:moveTo>
                <a:cubicBezTo>
                  <a:pt x="3643" y="63"/>
                  <a:pt x="3643" y="47"/>
                  <a:pt x="3643" y="47"/>
                </a:cubicBezTo>
                <a:lnTo>
                  <a:pt x="3643" y="31"/>
                </a:lnTo>
                <a:lnTo>
                  <a:pt x="3627" y="31"/>
                </a:lnTo>
                <a:cubicBezTo>
                  <a:pt x="3627" y="15"/>
                  <a:pt x="3627" y="15"/>
                  <a:pt x="3627" y="15"/>
                </a:cubicBezTo>
                <a:lnTo>
                  <a:pt x="3611" y="15"/>
                </a:lnTo>
                <a:cubicBezTo>
                  <a:pt x="3611" y="0"/>
                  <a:pt x="3611" y="0"/>
                  <a:pt x="3611" y="0"/>
                </a:cubicBezTo>
                <a:cubicBezTo>
                  <a:pt x="3596" y="0"/>
                  <a:pt x="3580" y="0"/>
                  <a:pt x="3563" y="0"/>
                </a:cubicBezTo>
                <a:cubicBezTo>
                  <a:pt x="80" y="0"/>
                  <a:pt x="80" y="0"/>
                  <a:pt x="80" y="0"/>
                </a:cubicBezTo>
                <a:cubicBezTo>
                  <a:pt x="64" y="0"/>
                  <a:pt x="48" y="0"/>
                  <a:pt x="33" y="15"/>
                </a:cubicBezTo>
                <a:cubicBezTo>
                  <a:pt x="1" y="31"/>
                  <a:pt x="-15" y="79"/>
                  <a:pt x="17" y="127"/>
                </a:cubicBezTo>
                <a:cubicBezTo>
                  <a:pt x="335" y="588"/>
                  <a:pt x="335" y="588"/>
                  <a:pt x="335" y="588"/>
                </a:cubicBezTo>
                <a:cubicBezTo>
                  <a:pt x="335" y="604"/>
                  <a:pt x="335" y="604"/>
                  <a:pt x="351" y="604"/>
                </a:cubicBezTo>
                <a:lnTo>
                  <a:pt x="351" y="619"/>
                </a:lnTo>
                <a:cubicBezTo>
                  <a:pt x="366" y="619"/>
                  <a:pt x="366" y="619"/>
                  <a:pt x="366" y="619"/>
                </a:cubicBezTo>
                <a:lnTo>
                  <a:pt x="382" y="619"/>
                </a:lnTo>
                <a:lnTo>
                  <a:pt x="382" y="636"/>
                </a:lnTo>
                <a:lnTo>
                  <a:pt x="399" y="636"/>
                </a:lnTo>
                <a:cubicBezTo>
                  <a:pt x="621" y="636"/>
                  <a:pt x="621" y="636"/>
                  <a:pt x="621" y="636"/>
                </a:cubicBezTo>
                <a:cubicBezTo>
                  <a:pt x="717" y="1510"/>
                  <a:pt x="1051" y="2146"/>
                  <a:pt x="1512" y="2354"/>
                </a:cubicBezTo>
                <a:cubicBezTo>
                  <a:pt x="1098" y="2560"/>
                  <a:pt x="780" y="3101"/>
                  <a:pt x="653" y="3864"/>
                </a:cubicBezTo>
                <a:cubicBezTo>
                  <a:pt x="637" y="3944"/>
                  <a:pt x="621" y="4039"/>
                  <a:pt x="621" y="4119"/>
                </a:cubicBezTo>
                <a:cubicBezTo>
                  <a:pt x="399" y="4119"/>
                  <a:pt x="399" y="4119"/>
                  <a:pt x="399" y="4119"/>
                </a:cubicBezTo>
                <a:lnTo>
                  <a:pt x="382" y="4119"/>
                </a:lnTo>
                <a:cubicBezTo>
                  <a:pt x="366" y="4135"/>
                  <a:pt x="366" y="4135"/>
                  <a:pt x="366" y="4135"/>
                </a:cubicBezTo>
                <a:cubicBezTo>
                  <a:pt x="351" y="4135"/>
                  <a:pt x="351" y="4151"/>
                  <a:pt x="335" y="4151"/>
                </a:cubicBezTo>
                <a:lnTo>
                  <a:pt x="335" y="4167"/>
                </a:lnTo>
                <a:cubicBezTo>
                  <a:pt x="17" y="4628"/>
                  <a:pt x="17" y="4628"/>
                  <a:pt x="17" y="4628"/>
                </a:cubicBezTo>
                <a:cubicBezTo>
                  <a:pt x="17" y="4644"/>
                  <a:pt x="17" y="4644"/>
                  <a:pt x="17" y="4644"/>
                </a:cubicBezTo>
                <a:lnTo>
                  <a:pt x="1" y="4644"/>
                </a:lnTo>
                <a:lnTo>
                  <a:pt x="1" y="4660"/>
                </a:lnTo>
                <a:cubicBezTo>
                  <a:pt x="1" y="4676"/>
                  <a:pt x="1" y="4676"/>
                  <a:pt x="1" y="4676"/>
                </a:cubicBezTo>
                <a:cubicBezTo>
                  <a:pt x="1" y="4691"/>
                  <a:pt x="1" y="4691"/>
                  <a:pt x="1" y="4691"/>
                </a:cubicBezTo>
                <a:lnTo>
                  <a:pt x="1" y="4708"/>
                </a:lnTo>
                <a:lnTo>
                  <a:pt x="17" y="4723"/>
                </a:lnTo>
                <a:cubicBezTo>
                  <a:pt x="17" y="4739"/>
                  <a:pt x="17" y="4739"/>
                  <a:pt x="17" y="4739"/>
                </a:cubicBezTo>
                <a:cubicBezTo>
                  <a:pt x="33" y="4739"/>
                  <a:pt x="33" y="4739"/>
                  <a:pt x="33" y="4739"/>
                </a:cubicBezTo>
                <a:cubicBezTo>
                  <a:pt x="33" y="4755"/>
                  <a:pt x="48" y="4755"/>
                  <a:pt x="48" y="4755"/>
                </a:cubicBezTo>
                <a:lnTo>
                  <a:pt x="64" y="4755"/>
                </a:lnTo>
                <a:lnTo>
                  <a:pt x="80" y="4755"/>
                </a:lnTo>
                <a:cubicBezTo>
                  <a:pt x="3580" y="4755"/>
                  <a:pt x="3580" y="4755"/>
                  <a:pt x="3580" y="4755"/>
                </a:cubicBezTo>
                <a:lnTo>
                  <a:pt x="3596" y="4755"/>
                </a:lnTo>
                <a:lnTo>
                  <a:pt x="3611" y="4755"/>
                </a:lnTo>
                <a:lnTo>
                  <a:pt x="3611" y="4739"/>
                </a:lnTo>
                <a:cubicBezTo>
                  <a:pt x="3627" y="4739"/>
                  <a:pt x="3627" y="4739"/>
                  <a:pt x="3627" y="4739"/>
                </a:cubicBezTo>
                <a:lnTo>
                  <a:pt x="3627" y="4723"/>
                </a:lnTo>
                <a:cubicBezTo>
                  <a:pt x="3643" y="4723"/>
                  <a:pt x="3643" y="4723"/>
                  <a:pt x="3643" y="4723"/>
                </a:cubicBezTo>
                <a:cubicBezTo>
                  <a:pt x="3643" y="4708"/>
                  <a:pt x="3643" y="4708"/>
                  <a:pt x="3643" y="4708"/>
                </a:cubicBezTo>
                <a:cubicBezTo>
                  <a:pt x="3643" y="4708"/>
                  <a:pt x="3643" y="4691"/>
                  <a:pt x="3659" y="4691"/>
                </a:cubicBezTo>
                <a:lnTo>
                  <a:pt x="3659" y="4676"/>
                </a:lnTo>
                <a:lnTo>
                  <a:pt x="3659" y="4660"/>
                </a:lnTo>
                <a:cubicBezTo>
                  <a:pt x="3643" y="4660"/>
                  <a:pt x="3643" y="4660"/>
                  <a:pt x="3643" y="4660"/>
                </a:cubicBezTo>
                <a:lnTo>
                  <a:pt x="3643" y="4644"/>
                </a:lnTo>
                <a:lnTo>
                  <a:pt x="3643" y="4628"/>
                </a:lnTo>
                <a:cubicBezTo>
                  <a:pt x="3325" y="4167"/>
                  <a:pt x="3325" y="4167"/>
                  <a:pt x="3325" y="4167"/>
                </a:cubicBezTo>
                <a:cubicBezTo>
                  <a:pt x="3325" y="4151"/>
                  <a:pt x="3309" y="4151"/>
                  <a:pt x="3309" y="4151"/>
                </a:cubicBezTo>
                <a:lnTo>
                  <a:pt x="3309" y="4135"/>
                </a:lnTo>
                <a:lnTo>
                  <a:pt x="3293" y="4135"/>
                </a:lnTo>
                <a:cubicBezTo>
                  <a:pt x="3277" y="4135"/>
                  <a:pt x="3277" y="4135"/>
                  <a:pt x="3277" y="4135"/>
                </a:cubicBezTo>
                <a:cubicBezTo>
                  <a:pt x="3277" y="4119"/>
                  <a:pt x="3277" y="4119"/>
                  <a:pt x="3277" y="4119"/>
                </a:cubicBezTo>
                <a:cubicBezTo>
                  <a:pt x="3262" y="4119"/>
                  <a:pt x="3262" y="4119"/>
                  <a:pt x="3262" y="4119"/>
                </a:cubicBezTo>
                <a:cubicBezTo>
                  <a:pt x="3118" y="4119"/>
                  <a:pt x="3118" y="4119"/>
                  <a:pt x="3118" y="4119"/>
                </a:cubicBezTo>
                <a:cubicBezTo>
                  <a:pt x="3102" y="4039"/>
                  <a:pt x="3087" y="3944"/>
                  <a:pt x="3087" y="3864"/>
                </a:cubicBezTo>
                <a:cubicBezTo>
                  <a:pt x="2959" y="3101"/>
                  <a:pt x="2641" y="2560"/>
                  <a:pt x="2212" y="2354"/>
                </a:cubicBezTo>
                <a:cubicBezTo>
                  <a:pt x="2673" y="2146"/>
                  <a:pt x="3023" y="1510"/>
                  <a:pt x="3102" y="636"/>
                </a:cubicBezTo>
                <a:cubicBezTo>
                  <a:pt x="3262" y="636"/>
                  <a:pt x="3262" y="636"/>
                  <a:pt x="3262" y="636"/>
                </a:cubicBezTo>
                <a:lnTo>
                  <a:pt x="3277" y="636"/>
                </a:lnTo>
                <a:lnTo>
                  <a:pt x="3277" y="619"/>
                </a:lnTo>
                <a:lnTo>
                  <a:pt x="3293" y="619"/>
                </a:lnTo>
                <a:lnTo>
                  <a:pt x="3309" y="619"/>
                </a:lnTo>
                <a:cubicBezTo>
                  <a:pt x="3309" y="604"/>
                  <a:pt x="3309" y="604"/>
                  <a:pt x="3309" y="604"/>
                </a:cubicBezTo>
                <a:cubicBezTo>
                  <a:pt x="3309" y="604"/>
                  <a:pt x="3325" y="604"/>
                  <a:pt x="3325" y="588"/>
                </a:cubicBezTo>
                <a:cubicBezTo>
                  <a:pt x="3643" y="110"/>
                  <a:pt x="3643" y="110"/>
                  <a:pt x="3643" y="110"/>
                </a:cubicBezTo>
                <a:cubicBezTo>
                  <a:pt x="3643" y="95"/>
                  <a:pt x="3643" y="95"/>
                  <a:pt x="3643" y="95"/>
                </a:cubicBezTo>
                <a:lnTo>
                  <a:pt x="3659" y="95"/>
                </a:lnTo>
                <a:cubicBezTo>
                  <a:pt x="3659" y="79"/>
                  <a:pt x="3659" y="79"/>
                  <a:pt x="3659" y="79"/>
                </a:cubicBezTo>
                <a:cubicBezTo>
                  <a:pt x="3659" y="63"/>
                  <a:pt x="3659" y="63"/>
                  <a:pt x="3659" y="63"/>
                </a:cubicBezTo>
                <a:close/>
                <a:moveTo>
                  <a:pt x="3214" y="476"/>
                </a:moveTo>
                <a:cubicBezTo>
                  <a:pt x="3087" y="476"/>
                  <a:pt x="3087" y="476"/>
                  <a:pt x="3087" y="476"/>
                </a:cubicBezTo>
                <a:cubicBezTo>
                  <a:pt x="3087" y="461"/>
                  <a:pt x="3071" y="461"/>
                  <a:pt x="3039" y="445"/>
                </a:cubicBezTo>
                <a:cubicBezTo>
                  <a:pt x="3023" y="445"/>
                  <a:pt x="3007" y="461"/>
                  <a:pt x="2991" y="476"/>
                </a:cubicBezTo>
                <a:cubicBezTo>
                  <a:pt x="748" y="476"/>
                  <a:pt x="748" y="476"/>
                  <a:pt x="748" y="476"/>
                </a:cubicBezTo>
                <a:cubicBezTo>
                  <a:pt x="732" y="461"/>
                  <a:pt x="700" y="445"/>
                  <a:pt x="685" y="445"/>
                </a:cubicBezTo>
                <a:cubicBezTo>
                  <a:pt x="669" y="461"/>
                  <a:pt x="653" y="461"/>
                  <a:pt x="637" y="476"/>
                </a:cubicBezTo>
                <a:cubicBezTo>
                  <a:pt x="446" y="476"/>
                  <a:pt x="446" y="476"/>
                  <a:pt x="446" y="476"/>
                </a:cubicBezTo>
                <a:cubicBezTo>
                  <a:pt x="223" y="158"/>
                  <a:pt x="223" y="158"/>
                  <a:pt x="223" y="158"/>
                </a:cubicBezTo>
                <a:cubicBezTo>
                  <a:pt x="3420" y="158"/>
                  <a:pt x="3420" y="158"/>
                  <a:pt x="3420" y="158"/>
                </a:cubicBezTo>
                <a:close/>
                <a:moveTo>
                  <a:pt x="3214" y="4278"/>
                </a:moveTo>
                <a:cubicBezTo>
                  <a:pt x="3420" y="4596"/>
                  <a:pt x="3420" y="4596"/>
                  <a:pt x="3420" y="4596"/>
                </a:cubicBezTo>
                <a:cubicBezTo>
                  <a:pt x="223" y="4596"/>
                  <a:pt x="223" y="4596"/>
                  <a:pt x="223" y="4596"/>
                </a:cubicBezTo>
                <a:cubicBezTo>
                  <a:pt x="446" y="4278"/>
                  <a:pt x="446" y="4278"/>
                  <a:pt x="446" y="4278"/>
                </a:cubicBezTo>
                <a:close/>
                <a:moveTo>
                  <a:pt x="780" y="4119"/>
                </a:moveTo>
                <a:cubicBezTo>
                  <a:pt x="780" y="4055"/>
                  <a:pt x="796" y="3976"/>
                  <a:pt x="796" y="3912"/>
                </a:cubicBezTo>
                <a:cubicBezTo>
                  <a:pt x="1862" y="3053"/>
                  <a:pt x="1862" y="3053"/>
                  <a:pt x="1862" y="3053"/>
                </a:cubicBezTo>
                <a:cubicBezTo>
                  <a:pt x="2927" y="3912"/>
                  <a:pt x="2927" y="3912"/>
                  <a:pt x="2927" y="3912"/>
                </a:cubicBezTo>
                <a:cubicBezTo>
                  <a:pt x="2943" y="3976"/>
                  <a:pt x="2943" y="4055"/>
                  <a:pt x="2959" y="4119"/>
                </a:cubicBezTo>
                <a:close/>
                <a:moveTo>
                  <a:pt x="2880" y="3673"/>
                </a:moveTo>
                <a:cubicBezTo>
                  <a:pt x="1909" y="2894"/>
                  <a:pt x="1909" y="2894"/>
                  <a:pt x="1909" y="2894"/>
                </a:cubicBezTo>
                <a:cubicBezTo>
                  <a:pt x="1909" y="2878"/>
                  <a:pt x="1909" y="2878"/>
                  <a:pt x="1893" y="2878"/>
                </a:cubicBezTo>
                <a:cubicBezTo>
                  <a:pt x="1862" y="2863"/>
                  <a:pt x="1830" y="2878"/>
                  <a:pt x="1814" y="2894"/>
                </a:cubicBezTo>
                <a:cubicBezTo>
                  <a:pt x="844" y="3673"/>
                  <a:pt x="844" y="3673"/>
                  <a:pt x="844" y="3673"/>
                </a:cubicBezTo>
                <a:cubicBezTo>
                  <a:pt x="1019" y="2910"/>
                  <a:pt x="1400" y="2433"/>
                  <a:pt x="1862" y="2433"/>
                </a:cubicBezTo>
                <a:cubicBezTo>
                  <a:pt x="2339" y="2433"/>
                  <a:pt x="2721" y="2910"/>
                  <a:pt x="2880" y="3673"/>
                </a:cubicBezTo>
                <a:close/>
                <a:moveTo>
                  <a:pt x="1862" y="2274"/>
                </a:moveTo>
                <a:cubicBezTo>
                  <a:pt x="1321" y="2274"/>
                  <a:pt x="891" y="1622"/>
                  <a:pt x="780" y="636"/>
                </a:cubicBezTo>
                <a:cubicBezTo>
                  <a:pt x="2943" y="636"/>
                  <a:pt x="2943" y="636"/>
                  <a:pt x="2943" y="636"/>
                </a:cubicBezTo>
                <a:cubicBezTo>
                  <a:pt x="2848" y="1622"/>
                  <a:pt x="2418" y="2274"/>
                  <a:pt x="1862" y="227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4" name="Freeform: Shape 7">
            <a:extLst>
              <a:ext uri="{FF2B5EF4-FFF2-40B4-BE49-F238E27FC236}">
                <a16:creationId xmlns:a16="http://schemas.microsoft.com/office/drawing/2014/main" id="{D7CFD4CF-035D-7F4C-8AA6-F94044AC562C}"/>
              </a:ext>
            </a:extLst>
          </p:cNvPr>
          <p:cNvSpPr/>
          <p:nvPr/>
        </p:nvSpPr>
        <p:spPr>
          <a:xfrm>
            <a:off x="14092552" y="6302988"/>
            <a:ext cx="1339560" cy="1706040"/>
          </a:xfrm>
          <a:custGeom>
            <a:avLst/>
            <a:gdLst/>
            <a:ahLst/>
            <a:cxnLst>
              <a:cxn ang="3cd4">
                <a:pos x="hc" y="t"/>
              </a:cxn>
              <a:cxn ang="cd2">
                <a:pos x="l" y="vc"/>
              </a:cxn>
              <a:cxn ang="cd4">
                <a:pos x="hc" y="b"/>
              </a:cxn>
              <a:cxn ang="0">
                <a:pos x="r" y="vc"/>
              </a:cxn>
            </a:cxnLst>
            <a:rect l="l" t="t" r="r" b="b"/>
            <a:pathLst>
              <a:path w="3722" h="4740">
                <a:moveTo>
                  <a:pt x="2712" y="1909"/>
                </a:moveTo>
                <a:cubicBezTo>
                  <a:pt x="2664" y="1877"/>
                  <a:pt x="2616" y="1892"/>
                  <a:pt x="2601" y="1924"/>
                </a:cubicBezTo>
                <a:lnTo>
                  <a:pt x="1805" y="2910"/>
                </a:lnTo>
                <a:cubicBezTo>
                  <a:pt x="1774" y="2942"/>
                  <a:pt x="1774" y="2990"/>
                  <a:pt x="1805" y="3022"/>
                </a:cubicBezTo>
                <a:cubicBezTo>
                  <a:pt x="1821" y="3022"/>
                  <a:pt x="1837" y="3038"/>
                  <a:pt x="1853" y="3038"/>
                </a:cubicBezTo>
                <a:cubicBezTo>
                  <a:pt x="1884" y="3038"/>
                  <a:pt x="1901" y="3022"/>
                  <a:pt x="1917" y="3006"/>
                </a:cubicBezTo>
                <a:lnTo>
                  <a:pt x="2712" y="2020"/>
                </a:lnTo>
                <a:cubicBezTo>
                  <a:pt x="2744" y="1988"/>
                  <a:pt x="2744" y="1940"/>
                  <a:pt x="2712" y="1909"/>
                </a:cubicBezTo>
                <a:close/>
                <a:moveTo>
                  <a:pt x="2298" y="1225"/>
                </a:moveTo>
                <a:lnTo>
                  <a:pt x="2298" y="954"/>
                </a:lnTo>
                <a:lnTo>
                  <a:pt x="2378" y="954"/>
                </a:lnTo>
                <a:cubicBezTo>
                  <a:pt x="2426" y="954"/>
                  <a:pt x="2457" y="906"/>
                  <a:pt x="2457" y="874"/>
                </a:cubicBezTo>
                <a:lnTo>
                  <a:pt x="2457" y="79"/>
                </a:lnTo>
                <a:cubicBezTo>
                  <a:pt x="2457" y="32"/>
                  <a:pt x="2426" y="0"/>
                  <a:pt x="2378" y="0"/>
                </a:cubicBezTo>
                <a:lnTo>
                  <a:pt x="1423" y="0"/>
                </a:lnTo>
                <a:cubicBezTo>
                  <a:pt x="1376" y="0"/>
                  <a:pt x="1344" y="32"/>
                  <a:pt x="1344" y="79"/>
                </a:cubicBezTo>
                <a:lnTo>
                  <a:pt x="1344" y="874"/>
                </a:lnTo>
                <a:cubicBezTo>
                  <a:pt x="1344" y="906"/>
                  <a:pt x="1376" y="954"/>
                  <a:pt x="1423" y="954"/>
                </a:cubicBezTo>
                <a:lnTo>
                  <a:pt x="1503" y="954"/>
                </a:lnTo>
                <a:lnTo>
                  <a:pt x="1503" y="1209"/>
                </a:lnTo>
                <a:cubicBezTo>
                  <a:pt x="1137" y="1288"/>
                  <a:pt x="803" y="1479"/>
                  <a:pt x="565" y="1734"/>
                </a:cubicBezTo>
                <a:lnTo>
                  <a:pt x="390" y="1558"/>
                </a:lnTo>
                <a:lnTo>
                  <a:pt x="533" y="1415"/>
                </a:lnTo>
                <a:cubicBezTo>
                  <a:pt x="565" y="1383"/>
                  <a:pt x="565" y="1336"/>
                  <a:pt x="533" y="1304"/>
                </a:cubicBezTo>
                <a:cubicBezTo>
                  <a:pt x="501" y="1272"/>
                  <a:pt x="453" y="1272"/>
                  <a:pt x="421" y="1304"/>
                </a:cubicBezTo>
                <a:lnTo>
                  <a:pt x="215" y="1511"/>
                </a:lnTo>
                <a:lnTo>
                  <a:pt x="24" y="1702"/>
                </a:lnTo>
                <a:cubicBezTo>
                  <a:pt x="-8" y="1734"/>
                  <a:pt x="-8" y="1781"/>
                  <a:pt x="24" y="1813"/>
                </a:cubicBezTo>
                <a:cubicBezTo>
                  <a:pt x="39" y="1829"/>
                  <a:pt x="56" y="1845"/>
                  <a:pt x="71" y="1845"/>
                </a:cubicBezTo>
                <a:cubicBezTo>
                  <a:pt x="87" y="1845"/>
                  <a:pt x="119" y="1829"/>
                  <a:pt x="135" y="1813"/>
                </a:cubicBezTo>
                <a:lnTo>
                  <a:pt x="278" y="1670"/>
                </a:lnTo>
                <a:lnTo>
                  <a:pt x="453" y="1861"/>
                </a:lnTo>
                <a:cubicBezTo>
                  <a:pt x="215" y="2163"/>
                  <a:pt x="71" y="2545"/>
                  <a:pt x="71" y="2958"/>
                </a:cubicBezTo>
                <a:cubicBezTo>
                  <a:pt x="71" y="3928"/>
                  <a:pt x="883" y="4740"/>
                  <a:pt x="1853" y="4740"/>
                </a:cubicBezTo>
                <a:cubicBezTo>
                  <a:pt x="2839" y="4740"/>
                  <a:pt x="3650" y="3928"/>
                  <a:pt x="3650" y="2958"/>
                </a:cubicBezTo>
                <a:cubicBezTo>
                  <a:pt x="3650" y="2545"/>
                  <a:pt x="3507" y="2163"/>
                  <a:pt x="3268" y="1861"/>
                </a:cubicBezTo>
                <a:lnTo>
                  <a:pt x="3444" y="1670"/>
                </a:lnTo>
                <a:lnTo>
                  <a:pt x="3587" y="1813"/>
                </a:lnTo>
                <a:cubicBezTo>
                  <a:pt x="3602" y="1829"/>
                  <a:pt x="3634" y="1845"/>
                  <a:pt x="3650" y="1845"/>
                </a:cubicBezTo>
                <a:cubicBezTo>
                  <a:pt x="3666" y="1845"/>
                  <a:pt x="3682" y="1829"/>
                  <a:pt x="3698" y="1813"/>
                </a:cubicBezTo>
                <a:cubicBezTo>
                  <a:pt x="3730" y="1781"/>
                  <a:pt x="3730" y="1734"/>
                  <a:pt x="3698" y="1702"/>
                </a:cubicBezTo>
                <a:lnTo>
                  <a:pt x="3507" y="1511"/>
                </a:lnTo>
                <a:lnTo>
                  <a:pt x="3300" y="1304"/>
                </a:lnTo>
                <a:cubicBezTo>
                  <a:pt x="3268" y="1272"/>
                  <a:pt x="3221" y="1272"/>
                  <a:pt x="3189" y="1304"/>
                </a:cubicBezTo>
                <a:cubicBezTo>
                  <a:pt x="3157" y="1336"/>
                  <a:pt x="3157" y="1383"/>
                  <a:pt x="3189" y="1415"/>
                </a:cubicBezTo>
                <a:lnTo>
                  <a:pt x="3332" y="1558"/>
                </a:lnTo>
                <a:lnTo>
                  <a:pt x="3157" y="1734"/>
                </a:lnTo>
                <a:cubicBezTo>
                  <a:pt x="2935" y="1495"/>
                  <a:pt x="2632" y="1304"/>
                  <a:pt x="2298" y="1225"/>
                </a:cubicBezTo>
                <a:close/>
                <a:moveTo>
                  <a:pt x="1503" y="159"/>
                </a:moveTo>
                <a:lnTo>
                  <a:pt x="2298" y="159"/>
                </a:lnTo>
                <a:lnTo>
                  <a:pt x="2298" y="795"/>
                </a:lnTo>
                <a:lnTo>
                  <a:pt x="1503" y="795"/>
                </a:lnTo>
                <a:close/>
                <a:moveTo>
                  <a:pt x="1662" y="954"/>
                </a:moveTo>
                <a:lnTo>
                  <a:pt x="2139" y="954"/>
                </a:lnTo>
                <a:lnTo>
                  <a:pt x="2139" y="1193"/>
                </a:lnTo>
                <a:cubicBezTo>
                  <a:pt x="2044" y="1177"/>
                  <a:pt x="1948" y="1177"/>
                  <a:pt x="1853" y="1177"/>
                </a:cubicBezTo>
                <a:lnTo>
                  <a:pt x="1662" y="1177"/>
                </a:lnTo>
                <a:close/>
                <a:moveTo>
                  <a:pt x="1853" y="4581"/>
                </a:moveTo>
                <a:cubicBezTo>
                  <a:pt x="962" y="4581"/>
                  <a:pt x="230" y="3849"/>
                  <a:pt x="230" y="2958"/>
                </a:cubicBezTo>
                <a:cubicBezTo>
                  <a:pt x="230" y="2052"/>
                  <a:pt x="962" y="1336"/>
                  <a:pt x="1853" y="1336"/>
                </a:cubicBezTo>
                <a:cubicBezTo>
                  <a:pt x="2759" y="1336"/>
                  <a:pt x="3491" y="2052"/>
                  <a:pt x="3491" y="2958"/>
                </a:cubicBezTo>
                <a:cubicBezTo>
                  <a:pt x="3491" y="3849"/>
                  <a:pt x="2759" y="4581"/>
                  <a:pt x="1853" y="458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5" name="Freeform: Shape 8">
            <a:extLst>
              <a:ext uri="{FF2B5EF4-FFF2-40B4-BE49-F238E27FC236}">
                <a16:creationId xmlns:a16="http://schemas.microsoft.com/office/drawing/2014/main" id="{1B20A12B-04EC-0D49-B558-193705DAA07E}"/>
              </a:ext>
            </a:extLst>
          </p:cNvPr>
          <p:cNvSpPr/>
          <p:nvPr/>
        </p:nvSpPr>
        <p:spPr>
          <a:xfrm>
            <a:off x="1857619" y="6302988"/>
            <a:ext cx="1700280" cy="1706040"/>
          </a:xfrm>
          <a:custGeom>
            <a:avLst/>
            <a:gdLst/>
            <a:ahLst/>
            <a:cxnLst>
              <a:cxn ang="3cd4">
                <a:pos x="hc" y="t"/>
              </a:cxn>
              <a:cxn ang="cd2">
                <a:pos x="l" y="vc"/>
              </a:cxn>
              <a:cxn ang="cd4">
                <a:pos x="hc" y="b"/>
              </a:cxn>
              <a:cxn ang="0">
                <a:pos x="r" y="vc"/>
              </a:cxn>
            </a:cxnLst>
            <a:rect l="l" t="t" r="r" b="b"/>
            <a:pathLst>
              <a:path w="4724" h="4740">
                <a:moveTo>
                  <a:pt x="3945" y="2306"/>
                </a:moveTo>
                <a:cubicBezTo>
                  <a:pt x="3929" y="2306"/>
                  <a:pt x="3929" y="2306"/>
                  <a:pt x="3913" y="2306"/>
                </a:cubicBezTo>
                <a:cubicBezTo>
                  <a:pt x="2307" y="32"/>
                  <a:pt x="2307" y="32"/>
                  <a:pt x="2307" y="32"/>
                </a:cubicBezTo>
                <a:cubicBezTo>
                  <a:pt x="2291" y="0"/>
                  <a:pt x="2259" y="0"/>
                  <a:pt x="2211" y="0"/>
                </a:cubicBezTo>
                <a:cubicBezTo>
                  <a:pt x="2179" y="16"/>
                  <a:pt x="2164" y="47"/>
                  <a:pt x="2164" y="79"/>
                </a:cubicBezTo>
                <a:cubicBezTo>
                  <a:pt x="2164" y="1956"/>
                  <a:pt x="2164" y="1956"/>
                  <a:pt x="2164" y="1956"/>
                </a:cubicBezTo>
                <a:cubicBezTo>
                  <a:pt x="939" y="2004"/>
                  <a:pt x="0" y="2609"/>
                  <a:pt x="0" y="3340"/>
                </a:cubicBezTo>
                <a:cubicBezTo>
                  <a:pt x="0" y="3754"/>
                  <a:pt x="303" y="4119"/>
                  <a:pt x="780" y="4374"/>
                </a:cubicBezTo>
                <a:cubicBezTo>
                  <a:pt x="780" y="4374"/>
                  <a:pt x="795" y="4390"/>
                  <a:pt x="812" y="4390"/>
                </a:cubicBezTo>
                <a:cubicBezTo>
                  <a:pt x="1225" y="4597"/>
                  <a:pt x="1766" y="4740"/>
                  <a:pt x="2354" y="4740"/>
                </a:cubicBezTo>
                <a:cubicBezTo>
                  <a:pt x="2959" y="4740"/>
                  <a:pt x="3500" y="4597"/>
                  <a:pt x="3913" y="4390"/>
                </a:cubicBezTo>
                <a:cubicBezTo>
                  <a:pt x="3929" y="4390"/>
                  <a:pt x="3945" y="4374"/>
                  <a:pt x="3945" y="4374"/>
                </a:cubicBezTo>
                <a:cubicBezTo>
                  <a:pt x="4422" y="4119"/>
                  <a:pt x="4724" y="3754"/>
                  <a:pt x="4724" y="3340"/>
                </a:cubicBezTo>
                <a:cubicBezTo>
                  <a:pt x="4724" y="2942"/>
                  <a:pt x="4438" y="2576"/>
                  <a:pt x="3945" y="2306"/>
                </a:cubicBezTo>
                <a:close/>
                <a:moveTo>
                  <a:pt x="2322" y="334"/>
                </a:moveTo>
                <a:cubicBezTo>
                  <a:pt x="3770" y="2370"/>
                  <a:pt x="3770" y="2370"/>
                  <a:pt x="3770" y="2370"/>
                </a:cubicBezTo>
                <a:cubicBezTo>
                  <a:pt x="2322" y="3228"/>
                  <a:pt x="2322" y="3228"/>
                  <a:pt x="2322" y="3228"/>
                </a:cubicBezTo>
                <a:close/>
                <a:moveTo>
                  <a:pt x="3897" y="4215"/>
                </a:moveTo>
                <a:cubicBezTo>
                  <a:pt x="3595" y="4024"/>
                  <a:pt x="3595" y="4024"/>
                  <a:pt x="3595" y="4024"/>
                </a:cubicBezTo>
                <a:cubicBezTo>
                  <a:pt x="3563" y="3992"/>
                  <a:pt x="3515" y="4008"/>
                  <a:pt x="3484" y="4040"/>
                </a:cubicBezTo>
                <a:cubicBezTo>
                  <a:pt x="3468" y="4088"/>
                  <a:pt x="3468" y="4135"/>
                  <a:pt x="3515" y="4151"/>
                </a:cubicBezTo>
                <a:cubicBezTo>
                  <a:pt x="3738" y="4310"/>
                  <a:pt x="3738" y="4310"/>
                  <a:pt x="3738" y="4310"/>
                </a:cubicBezTo>
                <a:cubicBezTo>
                  <a:pt x="3357" y="4469"/>
                  <a:pt x="2879" y="4581"/>
                  <a:pt x="2354" y="4581"/>
                </a:cubicBezTo>
                <a:cubicBezTo>
                  <a:pt x="2354" y="4581"/>
                  <a:pt x="2339" y="4581"/>
                  <a:pt x="2322" y="4581"/>
                </a:cubicBezTo>
                <a:cubicBezTo>
                  <a:pt x="2322" y="4294"/>
                  <a:pt x="2322" y="4294"/>
                  <a:pt x="2322" y="4294"/>
                </a:cubicBezTo>
                <a:cubicBezTo>
                  <a:pt x="2322" y="4246"/>
                  <a:pt x="2291" y="4215"/>
                  <a:pt x="2243" y="4215"/>
                </a:cubicBezTo>
                <a:cubicBezTo>
                  <a:pt x="2195" y="4215"/>
                  <a:pt x="2164" y="4246"/>
                  <a:pt x="2164" y="4294"/>
                </a:cubicBezTo>
                <a:cubicBezTo>
                  <a:pt x="2164" y="4565"/>
                  <a:pt x="2164" y="4565"/>
                  <a:pt x="2164" y="4565"/>
                </a:cubicBezTo>
                <a:cubicBezTo>
                  <a:pt x="1718" y="4549"/>
                  <a:pt x="1321" y="4454"/>
                  <a:pt x="986" y="4310"/>
                </a:cubicBezTo>
                <a:cubicBezTo>
                  <a:pt x="1209" y="4151"/>
                  <a:pt x="1209" y="4151"/>
                  <a:pt x="1209" y="4151"/>
                </a:cubicBezTo>
                <a:cubicBezTo>
                  <a:pt x="1241" y="4135"/>
                  <a:pt x="1257" y="4088"/>
                  <a:pt x="1225" y="4040"/>
                </a:cubicBezTo>
                <a:cubicBezTo>
                  <a:pt x="1209" y="4008"/>
                  <a:pt x="1161" y="3992"/>
                  <a:pt x="1113" y="4024"/>
                </a:cubicBezTo>
                <a:cubicBezTo>
                  <a:pt x="827" y="4215"/>
                  <a:pt x="827" y="4215"/>
                  <a:pt x="827" y="4215"/>
                </a:cubicBezTo>
                <a:cubicBezTo>
                  <a:pt x="414" y="3992"/>
                  <a:pt x="159" y="3690"/>
                  <a:pt x="159" y="3340"/>
                </a:cubicBezTo>
                <a:cubicBezTo>
                  <a:pt x="573" y="3340"/>
                  <a:pt x="573" y="3340"/>
                  <a:pt x="573" y="3340"/>
                </a:cubicBezTo>
                <a:cubicBezTo>
                  <a:pt x="621" y="3340"/>
                  <a:pt x="652" y="3308"/>
                  <a:pt x="652" y="3261"/>
                </a:cubicBezTo>
                <a:cubicBezTo>
                  <a:pt x="652" y="3213"/>
                  <a:pt x="621" y="3181"/>
                  <a:pt x="573" y="3181"/>
                </a:cubicBezTo>
                <a:cubicBezTo>
                  <a:pt x="175" y="3181"/>
                  <a:pt x="175" y="3181"/>
                  <a:pt x="175" y="3181"/>
                </a:cubicBezTo>
                <a:cubicBezTo>
                  <a:pt x="255" y="2863"/>
                  <a:pt x="541" y="2576"/>
                  <a:pt x="986" y="2370"/>
                </a:cubicBezTo>
                <a:cubicBezTo>
                  <a:pt x="1177" y="2545"/>
                  <a:pt x="1177" y="2545"/>
                  <a:pt x="1177" y="2545"/>
                </a:cubicBezTo>
                <a:cubicBezTo>
                  <a:pt x="1193" y="2561"/>
                  <a:pt x="1209" y="2561"/>
                  <a:pt x="1225" y="2561"/>
                </a:cubicBezTo>
                <a:cubicBezTo>
                  <a:pt x="1257" y="2561"/>
                  <a:pt x="1273" y="2561"/>
                  <a:pt x="1289" y="2529"/>
                </a:cubicBezTo>
                <a:cubicBezTo>
                  <a:pt x="1321" y="2497"/>
                  <a:pt x="1321" y="2449"/>
                  <a:pt x="1289" y="2418"/>
                </a:cubicBezTo>
                <a:cubicBezTo>
                  <a:pt x="1146" y="2306"/>
                  <a:pt x="1146" y="2306"/>
                  <a:pt x="1146" y="2306"/>
                </a:cubicBezTo>
                <a:cubicBezTo>
                  <a:pt x="1448" y="2195"/>
                  <a:pt x="1782" y="2131"/>
                  <a:pt x="2164" y="2115"/>
                </a:cubicBezTo>
                <a:cubicBezTo>
                  <a:pt x="2164" y="3356"/>
                  <a:pt x="2164" y="3356"/>
                  <a:pt x="2164" y="3356"/>
                </a:cubicBezTo>
                <a:cubicBezTo>
                  <a:pt x="2164" y="3388"/>
                  <a:pt x="2179" y="3419"/>
                  <a:pt x="2211" y="3436"/>
                </a:cubicBezTo>
                <a:cubicBezTo>
                  <a:pt x="2211" y="3436"/>
                  <a:pt x="2227" y="3436"/>
                  <a:pt x="2243" y="3436"/>
                </a:cubicBezTo>
                <a:cubicBezTo>
                  <a:pt x="2259" y="3436"/>
                  <a:pt x="2275" y="3436"/>
                  <a:pt x="2291" y="3436"/>
                </a:cubicBezTo>
                <a:cubicBezTo>
                  <a:pt x="3913" y="2465"/>
                  <a:pt x="3913" y="2465"/>
                  <a:pt x="3913" y="2465"/>
                </a:cubicBezTo>
                <a:cubicBezTo>
                  <a:pt x="4263" y="2656"/>
                  <a:pt x="4470" y="2910"/>
                  <a:pt x="4533" y="3181"/>
                </a:cubicBezTo>
                <a:cubicBezTo>
                  <a:pt x="4072" y="3181"/>
                  <a:pt x="4072" y="3181"/>
                  <a:pt x="4072" y="3181"/>
                </a:cubicBezTo>
                <a:cubicBezTo>
                  <a:pt x="4024" y="3181"/>
                  <a:pt x="3993" y="3213"/>
                  <a:pt x="3993" y="3261"/>
                </a:cubicBezTo>
                <a:cubicBezTo>
                  <a:pt x="3993" y="3308"/>
                  <a:pt x="4024" y="3340"/>
                  <a:pt x="4072" y="3340"/>
                </a:cubicBezTo>
                <a:cubicBezTo>
                  <a:pt x="4549" y="3340"/>
                  <a:pt x="4549" y="3340"/>
                  <a:pt x="4549" y="3340"/>
                </a:cubicBezTo>
                <a:lnTo>
                  <a:pt x="4565" y="3340"/>
                </a:lnTo>
                <a:cubicBezTo>
                  <a:pt x="4565" y="3690"/>
                  <a:pt x="4311" y="3992"/>
                  <a:pt x="3897" y="421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6" name="Freeform: Shape 9">
            <a:extLst>
              <a:ext uri="{FF2B5EF4-FFF2-40B4-BE49-F238E27FC236}">
                <a16:creationId xmlns:a16="http://schemas.microsoft.com/office/drawing/2014/main" id="{52F33108-D326-6C42-84E6-32A5CC207889}"/>
              </a:ext>
            </a:extLst>
          </p:cNvPr>
          <p:cNvSpPr/>
          <p:nvPr/>
        </p:nvSpPr>
        <p:spPr>
          <a:xfrm>
            <a:off x="10002824" y="3531003"/>
            <a:ext cx="1711800" cy="1173600"/>
          </a:xfrm>
          <a:custGeom>
            <a:avLst/>
            <a:gdLst/>
            <a:ahLst/>
            <a:cxnLst>
              <a:cxn ang="3cd4">
                <a:pos x="hc" y="t"/>
              </a:cxn>
              <a:cxn ang="cd2">
                <a:pos x="l" y="vc"/>
              </a:cxn>
              <a:cxn ang="cd4">
                <a:pos x="hc" y="b"/>
              </a:cxn>
              <a:cxn ang="0">
                <a:pos x="r" y="vc"/>
              </a:cxn>
            </a:cxnLst>
            <a:rect l="l" t="t" r="r" b="b"/>
            <a:pathLst>
              <a:path w="4756" h="3261">
                <a:moveTo>
                  <a:pt x="3420" y="2641"/>
                </a:moveTo>
                <a:cubicBezTo>
                  <a:pt x="4008" y="2641"/>
                  <a:pt x="4485" y="2164"/>
                  <a:pt x="4485" y="1575"/>
                </a:cubicBezTo>
                <a:cubicBezTo>
                  <a:pt x="4485" y="987"/>
                  <a:pt x="4008" y="509"/>
                  <a:pt x="3420" y="509"/>
                </a:cubicBezTo>
                <a:cubicBezTo>
                  <a:pt x="2831" y="509"/>
                  <a:pt x="2354" y="987"/>
                  <a:pt x="2354" y="1575"/>
                </a:cubicBezTo>
                <a:cubicBezTo>
                  <a:pt x="2354" y="2164"/>
                  <a:pt x="2831" y="2641"/>
                  <a:pt x="3420" y="2641"/>
                </a:cubicBezTo>
                <a:close/>
                <a:moveTo>
                  <a:pt x="3420" y="669"/>
                </a:moveTo>
                <a:cubicBezTo>
                  <a:pt x="3913" y="669"/>
                  <a:pt x="4326" y="1082"/>
                  <a:pt x="4326" y="1575"/>
                </a:cubicBezTo>
                <a:cubicBezTo>
                  <a:pt x="4326" y="2068"/>
                  <a:pt x="3913" y="2482"/>
                  <a:pt x="3420" y="2482"/>
                </a:cubicBezTo>
                <a:cubicBezTo>
                  <a:pt x="2911" y="2482"/>
                  <a:pt x="2513" y="2068"/>
                  <a:pt x="2513" y="1575"/>
                </a:cubicBezTo>
                <a:cubicBezTo>
                  <a:pt x="2513" y="1082"/>
                  <a:pt x="2911" y="669"/>
                  <a:pt x="3420" y="669"/>
                </a:cubicBezTo>
                <a:close/>
                <a:moveTo>
                  <a:pt x="4676" y="0"/>
                </a:moveTo>
                <a:lnTo>
                  <a:pt x="80" y="0"/>
                </a:lnTo>
                <a:cubicBezTo>
                  <a:pt x="32" y="0"/>
                  <a:pt x="0" y="48"/>
                  <a:pt x="0" y="80"/>
                </a:cubicBezTo>
                <a:lnTo>
                  <a:pt x="0" y="2943"/>
                </a:lnTo>
                <a:cubicBezTo>
                  <a:pt x="0" y="2991"/>
                  <a:pt x="32" y="3023"/>
                  <a:pt x="80" y="3023"/>
                </a:cubicBezTo>
                <a:lnTo>
                  <a:pt x="795" y="3023"/>
                </a:lnTo>
                <a:lnTo>
                  <a:pt x="795" y="3182"/>
                </a:lnTo>
                <a:cubicBezTo>
                  <a:pt x="795" y="3229"/>
                  <a:pt x="827" y="3261"/>
                  <a:pt x="875" y="3261"/>
                </a:cubicBezTo>
                <a:cubicBezTo>
                  <a:pt x="907" y="3261"/>
                  <a:pt x="954" y="3229"/>
                  <a:pt x="954" y="3182"/>
                </a:cubicBezTo>
                <a:lnTo>
                  <a:pt x="954" y="3023"/>
                </a:lnTo>
                <a:lnTo>
                  <a:pt x="3801" y="3023"/>
                </a:lnTo>
                <a:lnTo>
                  <a:pt x="3801" y="3182"/>
                </a:lnTo>
                <a:cubicBezTo>
                  <a:pt x="3801" y="3229"/>
                  <a:pt x="3849" y="3261"/>
                  <a:pt x="3881" y="3261"/>
                </a:cubicBezTo>
                <a:cubicBezTo>
                  <a:pt x="3929" y="3261"/>
                  <a:pt x="3961" y="3229"/>
                  <a:pt x="3961" y="3182"/>
                </a:cubicBezTo>
                <a:lnTo>
                  <a:pt x="3961" y="3023"/>
                </a:lnTo>
                <a:lnTo>
                  <a:pt x="4676" y="3023"/>
                </a:lnTo>
                <a:cubicBezTo>
                  <a:pt x="4724" y="3023"/>
                  <a:pt x="4756" y="2991"/>
                  <a:pt x="4756" y="2943"/>
                </a:cubicBezTo>
                <a:lnTo>
                  <a:pt x="4756" y="80"/>
                </a:lnTo>
                <a:cubicBezTo>
                  <a:pt x="4756" y="48"/>
                  <a:pt x="4724" y="0"/>
                  <a:pt x="4676" y="0"/>
                </a:cubicBezTo>
                <a:close/>
                <a:moveTo>
                  <a:pt x="4597" y="2863"/>
                </a:moveTo>
                <a:lnTo>
                  <a:pt x="159" y="2863"/>
                </a:lnTo>
                <a:lnTo>
                  <a:pt x="159" y="160"/>
                </a:lnTo>
                <a:lnTo>
                  <a:pt x="4597" y="160"/>
                </a:lnTo>
                <a:close/>
                <a:moveTo>
                  <a:pt x="556" y="2545"/>
                </a:moveTo>
                <a:lnTo>
                  <a:pt x="1193" y="2545"/>
                </a:lnTo>
                <a:cubicBezTo>
                  <a:pt x="1225" y="2545"/>
                  <a:pt x="1272" y="2514"/>
                  <a:pt x="1272" y="2466"/>
                </a:cubicBezTo>
                <a:lnTo>
                  <a:pt x="1272" y="1670"/>
                </a:lnTo>
                <a:cubicBezTo>
                  <a:pt x="1272" y="1623"/>
                  <a:pt x="1225" y="1591"/>
                  <a:pt x="1193" y="1591"/>
                </a:cubicBezTo>
                <a:lnTo>
                  <a:pt x="556" y="1591"/>
                </a:lnTo>
                <a:cubicBezTo>
                  <a:pt x="509" y="1591"/>
                  <a:pt x="477" y="1623"/>
                  <a:pt x="477" y="1670"/>
                </a:cubicBezTo>
                <a:lnTo>
                  <a:pt x="477" y="2466"/>
                </a:lnTo>
                <a:cubicBezTo>
                  <a:pt x="477" y="2514"/>
                  <a:pt x="509" y="2545"/>
                  <a:pt x="556" y="2545"/>
                </a:cubicBezTo>
                <a:close/>
                <a:moveTo>
                  <a:pt x="1113" y="2387"/>
                </a:moveTo>
                <a:lnTo>
                  <a:pt x="636" y="2387"/>
                </a:lnTo>
                <a:lnTo>
                  <a:pt x="636" y="2227"/>
                </a:lnTo>
                <a:lnTo>
                  <a:pt x="1113" y="2227"/>
                </a:lnTo>
                <a:close/>
                <a:moveTo>
                  <a:pt x="636" y="1750"/>
                </a:moveTo>
                <a:lnTo>
                  <a:pt x="1113" y="1750"/>
                </a:lnTo>
                <a:lnTo>
                  <a:pt x="1113" y="2068"/>
                </a:lnTo>
                <a:lnTo>
                  <a:pt x="636" y="2068"/>
                </a:lnTo>
                <a:close/>
                <a:moveTo>
                  <a:pt x="556" y="1432"/>
                </a:moveTo>
                <a:lnTo>
                  <a:pt x="2131" y="1432"/>
                </a:lnTo>
                <a:cubicBezTo>
                  <a:pt x="2179" y="1432"/>
                  <a:pt x="2211" y="1400"/>
                  <a:pt x="2211" y="1352"/>
                </a:cubicBezTo>
                <a:lnTo>
                  <a:pt x="2211" y="557"/>
                </a:lnTo>
                <a:cubicBezTo>
                  <a:pt x="2211" y="525"/>
                  <a:pt x="2179" y="478"/>
                  <a:pt x="2131" y="478"/>
                </a:cubicBezTo>
                <a:lnTo>
                  <a:pt x="556" y="478"/>
                </a:lnTo>
                <a:cubicBezTo>
                  <a:pt x="509" y="478"/>
                  <a:pt x="477" y="525"/>
                  <a:pt x="477" y="557"/>
                </a:cubicBezTo>
                <a:lnTo>
                  <a:pt x="477" y="1352"/>
                </a:lnTo>
                <a:cubicBezTo>
                  <a:pt x="477" y="1400"/>
                  <a:pt x="509" y="1432"/>
                  <a:pt x="556" y="1432"/>
                </a:cubicBezTo>
                <a:close/>
                <a:moveTo>
                  <a:pt x="2052" y="1273"/>
                </a:moveTo>
                <a:lnTo>
                  <a:pt x="636" y="1273"/>
                </a:lnTo>
                <a:lnTo>
                  <a:pt x="636" y="955"/>
                </a:lnTo>
                <a:lnTo>
                  <a:pt x="2052" y="955"/>
                </a:lnTo>
                <a:close/>
                <a:moveTo>
                  <a:pt x="636" y="637"/>
                </a:moveTo>
                <a:lnTo>
                  <a:pt x="2052" y="637"/>
                </a:lnTo>
                <a:lnTo>
                  <a:pt x="2052" y="796"/>
                </a:lnTo>
                <a:lnTo>
                  <a:pt x="636" y="796"/>
                </a:lnTo>
                <a:close/>
                <a:moveTo>
                  <a:pt x="2131" y="1591"/>
                </a:moveTo>
                <a:lnTo>
                  <a:pt x="1511" y="1591"/>
                </a:lnTo>
                <a:cubicBezTo>
                  <a:pt x="1463" y="1591"/>
                  <a:pt x="1431" y="1623"/>
                  <a:pt x="1431" y="1670"/>
                </a:cubicBezTo>
                <a:lnTo>
                  <a:pt x="1431" y="2466"/>
                </a:lnTo>
                <a:cubicBezTo>
                  <a:pt x="1431" y="2514"/>
                  <a:pt x="1463" y="2545"/>
                  <a:pt x="1511" y="2545"/>
                </a:cubicBezTo>
                <a:lnTo>
                  <a:pt x="2131" y="2545"/>
                </a:lnTo>
                <a:cubicBezTo>
                  <a:pt x="2179" y="2545"/>
                  <a:pt x="2211" y="2514"/>
                  <a:pt x="2211" y="2466"/>
                </a:cubicBezTo>
                <a:lnTo>
                  <a:pt x="2211" y="1670"/>
                </a:lnTo>
                <a:cubicBezTo>
                  <a:pt x="2211" y="1623"/>
                  <a:pt x="2179" y="1591"/>
                  <a:pt x="2131" y="1591"/>
                </a:cubicBezTo>
                <a:close/>
                <a:moveTo>
                  <a:pt x="1590" y="1750"/>
                </a:moveTo>
                <a:lnTo>
                  <a:pt x="2052" y="1750"/>
                </a:lnTo>
                <a:lnTo>
                  <a:pt x="2052" y="2068"/>
                </a:lnTo>
                <a:lnTo>
                  <a:pt x="1590" y="2068"/>
                </a:lnTo>
                <a:close/>
                <a:moveTo>
                  <a:pt x="2052" y="2387"/>
                </a:moveTo>
                <a:lnTo>
                  <a:pt x="1590" y="2387"/>
                </a:lnTo>
                <a:lnTo>
                  <a:pt x="1590" y="2227"/>
                </a:lnTo>
                <a:lnTo>
                  <a:pt x="2052" y="2227"/>
                </a:lnTo>
                <a:close/>
                <a:moveTo>
                  <a:pt x="3356" y="1639"/>
                </a:moveTo>
                <a:cubicBezTo>
                  <a:pt x="3372" y="1655"/>
                  <a:pt x="3388" y="1655"/>
                  <a:pt x="3404" y="1655"/>
                </a:cubicBezTo>
                <a:cubicBezTo>
                  <a:pt x="3420" y="1655"/>
                  <a:pt x="3452" y="1655"/>
                  <a:pt x="3467" y="1639"/>
                </a:cubicBezTo>
                <a:lnTo>
                  <a:pt x="3961" y="1130"/>
                </a:lnTo>
                <a:cubicBezTo>
                  <a:pt x="3992" y="1098"/>
                  <a:pt x="3992" y="1050"/>
                  <a:pt x="3961" y="1018"/>
                </a:cubicBezTo>
                <a:cubicBezTo>
                  <a:pt x="3929" y="987"/>
                  <a:pt x="3881" y="987"/>
                  <a:pt x="3849" y="1018"/>
                </a:cubicBezTo>
                <a:lnTo>
                  <a:pt x="3404" y="1464"/>
                </a:lnTo>
                <a:lnTo>
                  <a:pt x="3070" y="1130"/>
                </a:lnTo>
                <a:cubicBezTo>
                  <a:pt x="3038" y="1098"/>
                  <a:pt x="2990" y="1098"/>
                  <a:pt x="2958" y="1130"/>
                </a:cubicBezTo>
                <a:cubicBezTo>
                  <a:pt x="2926" y="1146"/>
                  <a:pt x="2926" y="1209"/>
                  <a:pt x="2958" y="124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7" name="Freeform: Shape 10">
            <a:extLst>
              <a:ext uri="{FF2B5EF4-FFF2-40B4-BE49-F238E27FC236}">
                <a16:creationId xmlns:a16="http://schemas.microsoft.com/office/drawing/2014/main" id="{9326B9AA-C6CC-7B4D-A61B-1E24B3350B1B}"/>
              </a:ext>
            </a:extLst>
          </p:cNvPr>
          <p:cNvSpPr/>
          <p:nvPr/>
        </p:nvSpPr>
        <p:spPr>
          <a:xfrm>
            <a:off x="5927443" y="3353524"/>
            <a:ext cx="1711800" cy="1528560"/>
          </a:xfrm>
          <a:custGeom>
            <a:avLst/>
            <a:gdLst/>
            <a:ahLst/>
            <a:cxnLst>
              <a:cxn ang="3cd4">
                <a:pos x="hc" y="t"/>
              </a:cxn>
              <a:cxn ang="cd2">
                <a:pos x="l" y="vc"/>
              </a:cxn>
              <a:cxn ang="cd4">
                <a:pos x="hc" y="b"/>
              </a:cxn>
              <a:cxn ang="0">
                <a:pos x="r" y="vc"/>
              </a:cxn>
            </a:cxnLst>
            <a:rect l="l" t="t" r="r" b="b"/>
            <a:pathLst>
              <a:path w="4756" h="4247">
                <a:moveTo>
                  <a:pt x="4692" y="1480"/>
                </a:moveTo>
                <a:lnTo>
                  <a:pt x="3181" y="1480"/>
                </a:lnTo>
                <a:cubicBezTo>
                  <a:pt x="3134" y="1098"/>
                  <a:pt x="2815" y="796"/>
                  <a:pt x="2418" y="796"/>
                </a:cubicBezTo>
                <a:cubicBezTo>
                  <a:pt x="2020" y="796"/>
                  <a:pt x="1702" y="1098"/>
                  <a:pt x="1654" y="1480"/>
                </a:cubicBezTo>
                <a:lnTo>
                  <a:pt x="80" y="1480"/>
                </a:lnTo>
                <a:cubicBezTo>
                  <a:pt x="32" y="1480"/>
                  <a:pt x="0" y="1511"/>
                  <a:pt x="0" y="1559"/>
                </a:cubicBezTo>
                <a:lnTo>
                  <a:pt x="0" y="3929"/>
                </a:lnTo>
                <a:cubicBezTo>
                  <a:pt x="0" y="3977"/>
                  <a:pt x="32" y="4008"/>
                  <a:pt x="80" y="4008"/>
                </a:cubicBezTo>
                <a:lnTo>
                  <a:pt x="795" y="4008"/>
                </a:lnTo>
                <a:lnTo>
                  <a:pt x="795" y="4168"/>
                </a:lnTo>
                <a:cubicBezTo>
                  <a:pt x="795" y="4216"/>
                  <a:pt x="827" y="4247"/>
                  <a:pt x="875" y="4247"/>
                </a:cubicBezTo>
                <a:cubicBezTo>
                  <a:pt x="922" y="4247"/>
                  <a:pt x="955" y="4216"/>
                  <a:pt x="955" y="4168"/>
                </a:cubicBezTo>
                <a:lnTo>
                  <a:pt x="955" y="4008"/>
                </a:lnTo>
                <a:lnTo>
                  <a:pt x="3818" y="4008"/>
                </a:lnTo>
                <a:lnTo>
                  <a:pt x="3818" y="4168"/>
                </a:lnTo>
                <a:cubicBezTo>
                  <a:pt x="3818" y="4216"/>
                  <a:pt x="3849" y="4247"/>
                  <a:pt x="3897" y="4247"/>
                </a:cubicBezTo>
                <a:cubicBezTo>
                  <a:pt x="3929" y="4247"/>
                  <a:pt x="3976" y="4216"/>
                  <a:pt x="3976" y="4168"/>
                </a:cubicBezTo>
                <a:lnTo>
                  <a:pt x="3976" y="4008"/>
                </a:lnTo>
                <a:lnTo>
                  <a:pt x="4692" y="4008"/>
                </a:lnTo>
                <a:cubicBezTo>
                  <a:pt x="4724" y="4008"/>
                  <a:pt x="4756" y="3977"/>
                  <a:pt x="4756" y="3929"/>
                </a:cubicBezTo>
                <a:lnTo>
                  <a:pt x="4756" y="1559"/>
                </a:lnTo>
                <a:cubicBezTo>
                  <a:pt x="4756" y="1511"/>
                  <a:pt x="4724" y="1480"/>
                  <a:pt x="4692" y="1480"/>
                </a:cubicBezTo>
                <a:close/>
                <a:moveTo>
                  <a:pt x="2418" y="955"/>
                </a:moveTo>
                <a:cubicBezTo>
                  <a:pt x="2720" y="955"/>
                  <a:pt x="2974" y="1177"/>
                  <a:pt x="3022" y="1480"/>
                </a:cubicBezTo>
                <a:lnTo>
                  <a:pt x="1813" y="1480"/>
                </a:lnTo>
                <a:cubicBezTo>
                  <a:pt x="1861" y="1177"/>
                  <a:pt x="2116" y="955"/>
                  <a:pt x="2418" y="955"/>
                </a:cubicBezTo>
                <a:close/>
                <a:moveTo>
                  <a:pt x="4613" y="3850"/>
                </a:moveTo>
                <a:lnTo>
                  <a:pt x="159" y="3850"/>
                </a:lnTo>
                <a:lnTo>
                  <a:pt x="159" y="1639"/>
                </a:lnTo>
                <a:lnTo>
                  <a:pt x="1670" y="1639"/>
                </a:lnTo>
                <a:cubicBezTo>
                  <a:pt x="1686" y="1639"/>
                  <a:pt x="1702" y="1654"/>
                  <a:pt x="1718" y="1654"/>
                </a:cubicBezTo>
                <a:cubicBezTo>
                  <a:pt x="1750" y="1654"/>
                  <a:pt x="1765" y="1639"/>
                  <a:pt x="1782" y="1639"/>
                </a:cubicBezTo>
                <a:lnTo>
                  <a:pt x="3070" y="1639"/>
                </a:lnTo>
                <a:cubicBezTo>
                  <a:pt x="3086" y="1644"/>
                  <a:pt x="3101" y="1654"/>
                  <a:pt x="3118" y="1654"/>
                </a:cubicBezTo>
                <a:cubicBezTo>
                  <a:pt x="3134" y="1654"/>
                  <a:pt x="3149" y="1639"/>
                  <a:pt x="3165" y="1639"/>
                </a:cubicBezTo>
                <a:lnTo>
                  <a:pt x="4613" y="1639"/>
                </a:lnTo>
                <a:close/>
                <a:moveTo>
                  <a:pt x="875" y="1957"/>
                </a:moveTo>
                <a:cubicBezTo>
                  <a:pt x="827" y="1957"/>
                  <a:pt x="795" y="1989"/>
                  <a:pt x="795" y="2036"/>
                </a:cubicBezTo>
                <a:lnTo>
                  <a:pt x="795" y="3293"/>
                </a:lnTo>
                <a:cubicBezTo>
                  <a:pt x="795" y="3341"/>
                  <a:pt x="827" y="3372"/>
                  <a:pt x="875" y="3372"/>
                </a:cubicBezTo>
                <a:lnTo>
                  <a:pt x="3897" y="3372"/>
                </a:lnTo>
                <a:cubicBezTo>
                  <a:pt x="3929" y="3372"/>
                  <a:pt x="3976" y="3341"/>
                  <a:pt x="3976" y="3293"/>
                </a:cubicBezTo>
                <a:lnTo>
                  <a:pt x="3976" y="2036"/>
                </a:lnTo>
                <a:cubicBezTo>
                  <a:pt x="3976" y="1989"/>
                  <a:pt x="3929" y="1957"/>
                  <a:pt x="3897" y="1957"/>
                </a:cubicBezTo>
                <a:close/>
                <a:moveTo>
                  <a:pt x="3818" y="3213"/>
                </a:moveTo>
                <a:lnTo>
                  <a:pt x="955" y="3213"/>
                </a:lnTo>
                <a:lnTo>
                  <a:pt x="955" y="2100"/>
                </a:lnTo>
                <a:lnTo>
                  <a:pt x="3818" y="2100"/>
                </a:lnTo>
                <a:close/>
                <a:moveTo>
                  <a:pt x="938" y="1257"/>
                </a:moveTo>
                <a:cubicBezTo>
                  <a:pt x="970" y="1257"/>
                  <a:pt x="1018" y="1241"/>
                  <a:pt x="1034" y="1193"/>
                </a:cubicBezTo>
                <a:cubicBezTo>
                  <a:pt x="1209" y="589"/>
                  <a:pt x="1782" y="160"/>
                  <a:pt x="2418" y="160"/>
                </a:cubicBezTo>
                <a:cubicBezTo>
                  <a:pt x="3054" y="160"/>
                  <a:pt x="3627" y="589"/>
                  <a:pt x="3801" y="1193"/>
                </a:cubicBezTo>
                <a:cubicBezTo>
                  <a:pt x="3818" y="1225"/>
                  <a:pt x="3849" y="1257"/>
                  <a:pt x="3881" y="1257"/>
                </a:cubicBezTo>
                <a:lnTo>
                  <a:pt x="3913" y="1257"/>
                </a:lnTo>
                <a:cubicBezTo>
                  <a:pt x="3945" y="1241"/>
                  <a:pt x="3976" y="1193"/>
                  <a:pt x="3961" y="1145"/>
                </a:cubicBezTo>
                <a:cubicBezTo>
                  <a:pt x="3754" y="478"/>
                  <a:pt x="3134" y="0"/>
                  <a:pt x="2418" y="0"/>
                </a:cubicBezTo>
                <a:cubicBezTo>
                  <a:pt x="1718" y="0"/>
                  <a:pt x="1082" y="478"/>
                  <a:pt x="875" y="1145"/>
                </a:cubicBezTo>
                <a:cubicBezTo>
                  <a:pt x="859" y="1193"/>
                  <a:pt x="891" y="1241"/>
                  <a:pt x="938" y="125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8" name="Freeform: Shape 11">
            <a:extLst>
              <a:ext uri="{FF2B5EF4-FFF2-40B4-BE49-F238E27FC236}">
                <a16:creationId xmlns:a16="http://schemas.microsoft.com/office/drawing/2014/main" id="{1F92896B-B550-DB42-A97A-A356657A2182}"/>
              </a:ext>
            </a:extLst>
          </p:cNvPr>
          <p:cNvSpPr/>
          <p:nvPr/>
        </p:nvSpPr>
        <p:spPr>
          <a:xfrm>
            <a:off x="1621886" y="3250563"/>
            <a:ext cx="1729439" cy="1740239"/>
          </a:xfrm>
          <a:custGeom>
            <a:avLst/>
            <a:gdLst/>
            <a:ahLst/>
            <a:cxnLst>
              <a:cxn ang="3cd4">
                <a:pos x="hc" y="t"/>
              </a:cxn>
              <a:cxn ang="cd2">
                <a:pos x="l" y="vc"/>
              </a:cxn>
              <a:cxn ang="cd4">
                <a:pos x="hc" y="b"/>
              </a:cxn>
              <a:cxn ang="0">
                <a:pos x="r" y="vc"/>
              </a:cxn>
            </a:cxnLst>
            <a:rect l="l" t="t" r="r" b="b"/>
            <a:pathLst>
              <a:path w="4805" h="4835">
                <a:moveTo>
                  <a:pt x="3914" y="1226"/>
                </a:moveTo>
                <a:cubicBezTo>
                  <a:pt x="4296" y="1512"/>
                  <a:pt x="4550" y="1910"/>
                  <a:pt x="4646" y="2371"/>
                </a:cubicBezTo>
                <a:cubicBezTo>
                  <a:pt x="4646" y="2403"/>
                  <a:pt x="4678" y="2435"/>
                  <a:pt x="4725" y="2435"/>
                </a:cubicBezTo>
                <a:lnTo>
                  <a:pt x="4741" y="2435"/>
                </a:lnTo>
                <a:cubicBezTo>
                  <a:pt x="4773" y="2419"/>
                  <a:pt x="4805" y="2387"/>
                  <a:pt x="4805" y="2339"/>
                </a:cubicBezTo>
                <a:cubicBezTo>
                  <a:pt x="4693" y="1846"/>
                  <a:pt x="4423" y="1401"/>
                  <a:pt x="4010" y="1099"/>
                </a:cubicBezTo>
                <a:cubicBezTo>
                  <a:pt x="3978" y="1083"/>
                  <a:pt x="3930" y="1083"/>
                  <a:pt x="3898" y="1114"/>
                </a:cubicBezTo>
                <a:cubicBezTo>
                  <a:pt x="3883" y="1146"/>
                  <a:pt x="3883" y="1194"/>
                  <a:pt x="3914" y="1226"/>
                </a:cubicBezTo>
                <a:close/>
                <a:moveTo>
                  <a:pt x="1527" y="4406"/>
                </a:moveTo>
                <a:cubicBezTo>
                  <a:pt x="1543" y="4406"/>
                  <a:pt x="1559" y="4422"/>
                  <a:pt x="1575" y="4422"/>
                </a:cubicBezTo>
                <a:cubicBezTo>
                  <a:pt x="1607" y="4422"/>
                  <a:pt x="1623" y="4406"/>
                  <a:pt x="1638" y="4390"/>
                </a:cubicBezTo>
                <a:cubicBezTo>
                  <a:pt x="1670" y="4358"/>
                  <a:pt x="1670" y="4294"/>
                  <a:pt x="1623" y="4279"/>
                </a:cubicBezTo>
                <a:cubicBezTo>
                  <a:pt x="1480" y="4167"/>
                  <a:pt x="1352" y="4040"/>
                  <a:pt x="1241" y="3897"/>
                </a:cubicBezTo>
                <a:cubicBezTo>
                  <a:pt x="1225" y="3865"/>
                  <a:pt x="1177" y="3849"/>
                  <a:pt x="1129" y="3881"/>
                </a:cubicBezTo>
                <a:cubicBezTo>
                  <a:pt x="1098" y="3913"/>
                  <a:pt x="1098" y="3961"/>
                  <a:pt x="1129" y="3993"/>
                </a:cubicBezTo>
                <a:cubicBezTo>
                  <a:pt x="1241" y="4151"/>
                  <a:pt x="1384" y="4279"/>
                  <a:pt x="1527" y="4406"/>
                </a:cubicBezTo>
                <a:close/>
                <a:moveTo>
                  <a:pt x="4724" y="3006"/>
                </a:moveTo>
                <a:lnTo>
                  <a:pt x="4215" y="3006"/>
                </a:lnTo>
                <a:cubicBezTo>
                  <a:pt x="4231" y="2927"/>
                  <a:pt x="4247" y="2847"/>
                  <a:pt x="4247" y="2752"/>
                </a:cubicBezTo>
                <a:cubicBezTo>
                  <a:pt x="4247" y="1957"/>
                  <a:pt x="3611" y="1304"/>
                  <a:pt x="2816" y="1288"/>
                </a:cubicBezTo>
                <a:lnTo>
                  <a:pt x="2816" y="1098"/>
                </a:lnTo>
                <a:lnTo>
                  <a:pt x="3611" y="1098"/>
                </a:lnTo>
                <a:lnTo>
                  <a:pt x="3643" y="1098"/>
                </a:lnTo>
                <a:lnTo>
                  <a:pt x="3659" y="1098"/>
                </a:lnTo>
                <a:cubicBezTo>
                  <a:pt x="3706" y="1098"/>
                  <a:pt x="3738" y="1066"/>
                  <a:pt x="3738" y="1018"/>
                </a:cubicBezTo>
                <a:cubicBezTo>
                  <a:pt x="3738" y="446"/>
                  <a:pt x="3277" y="0"/>
                  <a:pt x="2673" y="0"/>
                </a:cubicBezTo>
                <a:cubicBezTo>
                  <a:pt x="2068" y="0"/>
                  <a:pt x="1607" y="446"/>
                  <a:pt x="1607" y="1018"/>
                </a:cubicBezTo>
                <a:cubicBezTo>
                  <a:pt x="1607" y="1066"/>
                  <a:pt x="1638" y="1098"/>
                  <a:pt x="1686" y="1098"/>
                </a:cubicBezTo>
                <a:lnTo>
                  <a:pt x="1702" y="1098"/>
                </a:lnTo>
                <a:lnTo>
                  <a:pt x="2656" y="1098"/>
                </a:lnTo>
                <a:lnTo>
                  <a:pt x="2656" y="1288"/>
                </a:lnTo>
                <a:cubicBezTo>
                  <a:pt x="1973" y="1336"/>
                  <a:pt x="1416" y="1861"/>
                  <a:pt x="1320" y="2529"/>
                </a:cubicBezTo>
                <a:lnTo>
                  <a:pt x="1225" y="2529"/>
                </a:lnTo>
                <a:lnTo>
                  <a:pt x="1225" y="1734"/>
                </a:lnTo>
                <a:cubicBezTo>
                  <a:pt x="1225" y="1718"/>
                  <a:pt x="1225" y="1702"/>
                  <a:pt x="1209" y="1702"/>
                </a:cubicBezTo>
                <a:cubicBezTo>
                  <a:pt x="1225" y="1686"/>
                  <a:pt x="1225" y="1670"/>
                  <a:pt x="1225" y="1654"/>
                </a:cubicBezTo>
                <a:cubicBezTo>
                  <a:pt x="1225" y="1606"/>
                  <a:pt x="1193" y="1575"/>
                  <a:pt x="1146" y="1575"/>
                </a:cubicBezTo>
                <a:cubicBezTo>
                  <a:pt x="541" y="1575"/>
                  <a:pt x="0" y="2068"/>
                  <a:pt x="0" y="2640"/>
                </a:cubicBezTo>
                <a:cubicBezTo>
                  <a:pt x="0" y="3197"/>
                  <a:pt x="525" y="3690"/>
                  <a:pt x="1114" y="3722"/>
                </a:cubicBezTo>
                <a:lnTo>
                  <a:pt x="1146" y="3722"/>
                </a:lnTo>
                <a:cubicBezTo>
                  <a:pt x="1193" y="3722"/>
                  <a:pt x="1225" y="3690"/>
                  <a:pt x="1225" y="3642"/>
                </a:cubicBezTo>
                <a:lnTo>
                  <a:pt x="1225" y="2688"/>
                </a:lnTo>
                <a:lnTo>
                  <a:pt x="1305" y="2688"/>
                </a:lnTo>
                <a:lnTo>
                  <a:pt x="1305" y="2752"/>
                </a:lnTo>
                <a:cubicBezTo>
                  <a:pt x="1305" y="3563"/>
                  <a:pt x="1957" y="4215"/>
                  <a:pt x="2768" y="4215"/>
                </a:cubicBezTo>
                <a:cubicBezTo>
                  <a:pt x="2847" y="4215"/>
                  <a:pt x="2911" y="4215"/>
                  <a:pt x="2974" y="4199"/>
                </a:cubicBezTo>
                <a:lnTo>
                  <a:pt x="2974" y="4756"/>
                </a:lnTo>
                <a:cubicBezTo>
                  <a:pt x="2974" y="4803"/>
                  <a:pt x="3007" y="4835"/>
                  <a:pt x="3054" y="4835"/>
                </a:cubicBezTo>
                <a:cubicBezTo>
                  <a:pt x="3102" y="4835"/>
                  <a:pt x="3134" y="4803"/>
                  <a:pt x="3134" y="4756"/>
                </a:cubicBezTo>
                <a:lnTo>
                  <a:pt x="3134" y="4167"/>
                </a:lnTo>
                <a:cubicBezTo>
                  <a:pt x="3627" y="4056"/>
                  <a:pt x="4040" y="3658"/>
                  <a:pt x="4183" y="3166"/>
                </a:cubicBezTo>
                <a:lnTo>
                  <a:pt x="4724" y="3166"/>
                </a:lnTo>
                <a:cubicBezTo>
                  <a:pt x="4756" y="3166"/>
                  <a:pt x="4804" y="3133"/>
                  <a:pt x="4804" y="3086"/>
                </a:cubicBezTo>
                <a:cubicBezTo>
                  <a:pt x="4804" y="3038"/>
                  <a:pt x="4756" y="3006"/>
                  <a:pt x="4724" y="3006"/>
                </a:cubicBezTo>
                <a:close/>
                <a:moveTo>
                  <a:pt x="2673" y="143"/>
                </a:moveTo>
                <a:cubicBezTo>
                  <a:pt x="3165" y="143"/>
                  <a:pt x="3547" y="493"/>
                  <a:pt x="3579" y="939"/>
                </a:cubicBezTo>
                <a:lnTo>
                  <a:pt x="1766" y="939"/>
                </a:lnTo>
                <a:cubicBezTo>
                  <a:pt x="1798" y="493"/>
                  <a:pt x="2195" y="143"/>
                  <a:pt x="2673" y="143"/>
                </a:cubicBezTo>
                <a:close/>
                <a:moveTo>
                  <a:pt x="1066" y="3547"/>
                </a:moveTo>
                <a:cubicBezTo>
                  <a:pt x="573" y="3515"/>
                  <a:pt x="159" y="3102"/>
                  <a:pt x="159" y="2640"/>
                </a:cubicBezTo>
                <a:cubicBezTo>
                  <a:pt x="159" y="2179"/>
                  <a:pt x="573" y="1782"/>
                  <a:pt x="1066" y="1734"/>
                </a:cubicBezTo>
                <a:lnTo>
                  <a:pt x="1066" y="2529"/>
                </a:lnTo>
                <a:cubicBezTo>
                  <a:pt x="1018" y="2529"/>
                  <a:pt x="986" y="2561"/>
                  <a:pt x="986" y="2609"/>
                </a:cubicBezTo>
                <a:cubicBezTo>
                  <a:pt x="986" y="2657"/>
                  <a:pt x="1018" y="2688"/>
                  <a:pt x="1066" y="2688"/>
                </a:cubicBezTo>
                <a:close/>
                <a:moveTo>
                  <a:pt x="2768" y="4056"/>
                </a:moveTo>
                <a:cubicBezTo>
                  <a:pt x="2052" y="4056"/>
                  <a:pt x="1464" y="3467"/>
                  <a:pt x="1464" y="2752"/>
                </a:cubicBezTo>
                <a:cubicBezTo>
                  <a:pt x="1464" y="2068"/>
                  <a:pt x="1989" y="1511"/>
                  <a:pt x="2656" y="1448"/>
                </a:cubicBezTo>
                <a:cubicBezTo>
                  <a:pt x="2673" y="1479"/>
                  <a:pt x="2704" y="1495"/>
                  <a:pt x="2736" y="1495"/>
                </a:cubicBezTo>
                <a:cubicBezTo>
                  <a:pt x="2768" y="1495"/>
                  <a:pt x="2800" y="1479"/>
                  <a:pt x="2816" y="1448"/>
                </a:cubicBezTo>
                <a:cubicBezTo>
                  <a:pt x="3516" y="1463"/>
                  <a:pt x="4088" y="2036"/>
                  <a:pt x="4088" y="2752"/>
                </a:cubicBezTo>
                <a:cubicBezTo>
                  <a:pt x="4088" y="2847"/>
                  <a:pt x="4072" y="2927"/>
                  <a:pt x="4056" y="3022"/>
                </a:cubicBezTo>
                <a:cubicBezTo>
                  <a:pt x="4025" y="3022"/>
                  <a:pt x="4009" y="3054"/>
                  <a:pt x="4009" y="3086"/>
                </a:cubicBezTo>
                <a:cubicBezTo>
                  <a:pt x="4009" y="3102"/>
                  <a:pt x="4009" y="3118"/>
                  <a:pt x="4025" y="3133"/>
                </a:cubicBezTo>
                <a:cubicBezTo>
                  <a:pt x="3865" y="3674"/>
                  <a:pt x="3356" y="4056"/>
                  <a:pt x="2768" y="4056"/>
                </a:cubicBezTo>
                <a:close/>
                <a:moveTo>
                  <a:pt x="2879" y="2752"/>
                </a:moveTo>
                <a:lnTo>
                  <a:pt x="3229" y="2418"/>
                </a:lnTo>
                <a:cubicBezTo>
                  <a:pt x="3261" y="2386"/>
                  <a:pt x="3261" y="2322"/>
                  <a:pt x="3229" y="2291"/>
                </a:cubicBezTo>
                <a:cubicBezTo>
                  <a:pt x="3197" y="2275"/>
                  <a:pt x="3150" y="2275"/>
                  <a:pt x="3118" y="2291"/>
                </a:cubicBezTo>
                <a:lnTo>
                  <a:pt x="2720" y="2688"/>
                </a:lnTo>
                <a:cubicBezTo>
                  <a:pt x="2688" y="2720"/>
                  <a:pt x="2688" y="2784"/>
                  <a:pt x="2720" y="2800"/>
                </a:cubicBezTo>
                <a:lnTo>
                  <a:pt x="3309" y="3404"/>
                </a:lnTo>
                <a:cubicBezTo>
                  <a:pt x="3325" y="3420"/>
                  <a:pt x="3340" y="3420"/>
                  <a:pt x="3373" y="3420"/>
                </a:cubicBezTo>
                <a:cubicBezTo>
                  <a:pt x="3388" y="3420"/>
                  <a:pt x="3404" y="3420"/>
                  <a:pt x="3420" y="3404"/>
                </a:cubicBezTo>
                <a:cubicBezTo>
                  <a:pt x="3452" y="3372"/>
                  <a:pt x="3452" y="3324"/>
                  <a:pt x="3420" y="329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9" name="Freeform: Shape 12">
            <a:extLst>
              <a:ext uri="{FF2B5EF4-FFF2-40B4-BE49-F238E27FC236}">
                <a16:creationId xmlns:a16="http://schemas.microsoft.com/office/drawing/2014/main" id="{061AF704-6167-5749-8519-8E6033BB1758}"/>
              </a:ext>
            </a:extLst>
          </p:cNvPr>
          <p:cNvSpPr/>
          <p:nvPr/>
        </p:nvSpPr>
        <p:spPr>
          <a:xfrm>
            <a:off x="21714908" y="3256324"/>
            <a:ext cx="889919" cy="1722960"/>
          </a:xfrm>
          <a:custGeom>
            <a:avLst/>
            <a:gdLst/>
            <a:ahLst/>
            <a:cxnLst>
              <a:cxn ang="3cd4">
                <a:pos x="hc" y="t"/>
              </a:cxn>
              <a:cxn ang="cd2">
                <a:pos x="l" y="vc"/>
              </a:cxn>
              <a:cxn ang="cd4">
                <a:pos x="hc" y="b"/>
              </a:cxn>
              <a:cxn ang="0">
                <a:pos x="r" y="vc"/>
              </a:cxn>
            </a:cxnLst>
            <a:rect l="l" t="t" r="r" b="b"/>
            <a:pathLst>
              <a:path w="2473" h="4787">
                <a:moveTo>
                  <a:pt x="478" y="1479"/>
                </a:moveTo>
                <a:cubicBezTo>
                  <a:pt x="478" y="1909"/>
                  <a:pt x="812" y="2259"/>
                  <a:pt x="1241" y="2259"/>
                </a:cubicBezTo>
                <a:cubicBezTo>
                  <a:pt x="1671" y="2259"/>
                  <a:pt x="2021" y="1909"/>
                  <a:pt x="2021" y="1479"/>
                </a:cubicBezTo>
                <a:cubicBezTo>
                  <a:pt x="2021" y="1050"/>
                  <a:pt x="1671" y="700"/>
                  <a:pt x="1241" y="700"/>
                </a:cubicBezTo>
                <a:cubicBezTo>
                  <a:pt x="812" y="700"/>
                  <a:pt x="478" y="1050"/>
                  <a:pt x="478" y="1479"/>
                </a:cubicBezTo>
                <a:close/>
                <a:moveTo>
                  <a:pt x="1862" y="1479"/>
                </a:moveTo>
                <a:cubicBezTo>
                  <a:pt x="1862" y="1813"/>
                  <a:pt x="1591" y="2099"/>
                  <a:pt x="1241" y="2099"/>
                </a:cubicBezTo>
                <a:cubicBezTo>
                  <a:pt x="907" y="2099"/>
                  <a:pt x="637" y="1813"/>
                  <a:pt x="637" y="1479"/>
                </a:cubicBezTo>
                <a:cubicBezTo>
                  <a:pt x="637" y="1145"/>
                  <a:pt x="907" y="859"/>
                  <a:pt x="1241" y="859"/>
                </a:cubicBezTo>
                <a:cubicBezTo>
                  <a:pt x="1591" y="859"/>
                  <a:pt x="1862" y="1145"/>
                  <a:pt x="1862" y="1479"/>
                </a:cubicBezTo>
                <a:close/>
                <a:moveTo>
                  <a:pt x="2434" y="716"/>
                </a:moveTo>
                <a:lnTo>
                  <a:pt x="1273" y="16"/>
                </a:lnTo>
                <a:lnTo>
                  <a:pt x="1258" y="0"/>
                </a:lnTo>
                <a:lnTo>
                  <a:pt x="1241" y="0"/>
                </a:lnTo>
                <a:lnTo>
                  <a:pt x="1225" y="0"/>
                </a:lnTo>
                <a:lnTo>
                  <a:pt x="1210" y="0"/>
                </a:lnTo>
                <a:lnTo>
                  <a:pt x="1210" y="16"/>
                </a:lnTo>
                <a:lnTo>
                  <a:pt x="1194" y="16"/>
                </a:lnTo>
                <a:lnTo>
                  <a:pt x="32" y="716"/>
                </a:lnTo>
                <a:cubicBezTo>
                  <a:pt x="1" y="732"/>
                  <a:pt x="-15" y="779"/>
                  <a:pt x="17" y="827"/>
                </a:cubicBezTo>
                <a:cubicBezTo>
                  <a:pt x="32" y="843"/>
                  <a:pt x="49" y="859"/>
                  <a:pt x="80" y="859"/>
                </a:cubicBezTo>
                <a:cubicBezTo>
                  <a:pt x="96" y="859"/>
                  <a:pt x="112" y="859"/>
                  <a:pt x="112" y="843"/>
                </a:cubicBezTo>
                <a:lnTo>
                  <a:pt x="176" y="811"/>
                </a:lnTo>
                <a:lnTo>
                  <a:pt x="176" y="2465"/>
                </a:lnTo>
                <a:cubicBezTo>
                  <a:pt x="176" y="2513"/>
                  <a:pt x="207" y="2545"/>
                  <a:pt x="255" y="2545"/>
                </a:cubicBezTo>
                <a:lnTo>
                  <a:pt x="892" y="2545"/>
                </a:lnTo>
                <a:lnTo>
                  <a:pt x="892" y="4135"/>
                </a:lnTo>
                <a:lnTo>
                  <a:pt x="653" y="4135"/>
                </a:lnTo>
                <a:cubicBezTo>
                  <a:pt x="621" y="4135"/>
                  <a:pt x="589" y="4151"/>
                  <a:pt x="573" y="4183"/>
                </a:cubicBezTo>
                <a:lnTo>
                  <a:pt x="573" y="4263"/>
                </a:lnTo>
                <a:lnTo>
                  <a:pt x="876" y="4756"/>
                </a:lnTo>
                <a:cubicBezTo>
                  <a:pt x="892" y="4772"/>
                  <a:pt x="923" y="4787"/>
                  <a:pt x="939" y="4787"/>
                </a:cubicBezTo>
                <a:cubicBezTo>
                  <a:pt x="971" y="4787"/>
                  <a:pt x="1003" y="4772"/>
                  <a:pt x="1019" y="4756"/>
                </a:cubicBezTo>
                <a:lnTo>
                  <a:pt x="1305" y="4263"/>
                </a:lnTo>
                <a:cubicBezTo>
                  <a:pt x="1321" y="4231"/>
                  <a:pt x="1321" y="4199"/>
                  <a:pt x="1321" y="4183"/>
                </a:cubicBezTo>
                <a:cubicBezTo>
                  <a:pt x="1305" y="4151"/>
                  <a:pt x="1273" y="4135"/>
                  <a:pt x="1241" y="4135"/>
                </a:cubicBezTo>
                <a:lnTo>
                  <a:pt x="1050" y="4135"/>
                </a:lnTo>
                <a:lnTo>
                  <a:pt x="1050" y="2545"/>
                </a:lnTo>
                <a:lnTo>
                  <a:pt x="1528" y="2545"/>
                </a:lnTo>
                <a:lnTo>
                  <a:pt x="1528" y="3181"/>
                </a:lnTo>
                <a:lnTo>
                  <a:pt x="1401" y="3181"/>
                </a:lnTo>
                <a:cubicBezTo>
                  <a:pt x="1368" y="3181"/>
                  <a:pt x="1353" y="3197"/>
                  <a:pt x="1337" y="3229"/>
                </a:cubicBezTo>
                <a:cubicBezTo>
                  <a:pt x="1321" y="3245"/>
                  <a:pt x="1321" y="3277"/>
                  <a:pt x="1337" y="3293"/>
                </a:cubicBezTo>
                <a:lnTo>
                  <a:pt x="1576" y="3802"/>
                </a:lnTo>
                <a:cubicBezTo>
                  <a:pt x="1576" y="3817"/>
                  <a:pt x="1607" y="3833"/>
                  <a:pt x="1639" y="3833"/>
                </a:cubicBezTo>
                <a:cubicBezTo>
                  <a:pt x="1671" y="3833"/>
                  <a:pt x="1703" y="3817"/>
                  <a:pt x="1719" y="3786"/>
                </a:cubicBezTo>
                <a:lnTo>
                  <a:pt x="1910" y="3293"/>
                </a:lnTo>
                <a:cubicBezTo>
                  <a:pt x="1925" y="3277"/>
                  <a:pt x="1925" y="3245"/>
                  <a:pt x="1910" y="3213"/>
                </a:cubicBezTo>
                <a:cubicBezTo>
                  <a:pt x="1894" y="3197"/>
                  <a:pt x="1862" y="3181"/>
                  <a:pt x="1846" y="3181"/>
                </a:cubicBezTo>
                <a:lnTo>
                  <a:pt x="1687" y="3181"/>
                </a:lnTo>
                <a:lnTo>
                  <a:pt x="1687" y="2545"/>
                </a:lnTo>
                <a:lnTo>
                  <a:pt x="2228" y="2545"/>
                </a:lnTo>
                <a:cubicBezTo>
                  <a:pt x="2259" y="2545"/>
                  <a:pt x="2307" y="2513"/>
                  <a:pt x="2307" y="2465"/>
                </a:cubicBezTo>
                <a:lnTo>
                  <a:pt x="2307" y="811"/>
                </a:lnTo>
                <a:lnTo>
                  <a:pt x="2355" y="843"/>
                </a:lnTo>
                <a:cubicBezTo>
                  <a:pt x="2371" y="859"/>
                  <a:pt x="2386" y="859"/>
                  <a:pt x="2403" y="859"/>
                </a:cubicBezTo>
                <a:cubicBezTo>
                  <a:pt x="2419" y="859"/>
                  <a:pt x="2450" y="843"/>
                  <a:pt x="2466" y="827"/>
                </a:cubicBezTo>
                <a:cubicBezTo>
                  <a:pt x="2482" y="779"/>
                  <a:pt x="2466" y="732"/>
                  <a:pt x="2434" y="716"/>
                </a:cubicBezTo>
                <a:close/>
                <a:moveTo>
                  <a:pt x="939" y="4565"/>
                </a:moveTo>
                <a:lnTo>
                  <a:pt x="796" y="4295"/>
                </a:lnTo>
                <a:lnTo>
                  <a:pt x="1098" y="4295"/>
                </a:lnTo>
                <a:close/>
                <a:moveTo>
                  <a:pt x="1719" y="3340"/>
                </a:moveTo>
                <a:lnTo>
                  <a:pt x="1639" y="3563"/>
                </a:lnTo>
                <a:lnTo>
                  <a:pt x="1528" y="3340"/>
                </a:lnTo>
                <a:close/>
                <a:moveTo>
                  <a:pt x="2148" y="2386"/>
                </a:moveTo>
                <a:lnTo>
                  <a:pt x="335" y="2386"/>
                </a:lnTo>
                <a:lnTo>
                  <a:pt x="335" y="716"/>
                </a:lnTo>
                <a:lnTo>
                  <a:pt x="1241" y="175"/>
                </a:lnTo>
                <a:lnTo>
                  <a:pt x="2148" y="71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Freeform: Shape 13">
            <a:extLst>
              <a:ext uri="{FF2B5EF4-FFF2-40B4-BE49-F238E27FC236}">
                <a16:creationId xmlns:a16="http://schemas.microsoft.com/office/drawing/2014/main" id="{4984C34F-91E5-FF4D-B95A-908CDFE836A5}"/>
              </a:ext>
            </a:extLst>
          </p:cNvPr>
          <p:cNvSpPr/>
          <p:nvPr/>
        </p:nvSpPr>
        <p:spPr>
          <a:xfrm>
            <a:off x="6124230" y="6394427"/>
            <a:ext cx="1649160" cy="1522800"/>
          </a:xfrm>
          <a:custGeom>
            <a:avLst/>
            <a:gdLst/>
            <a:ahLst/>
            <a:cxnLst>
              <a:cxn ang="3cd4">
                <a:pos x="hc" y="t"/>
              </a:cxn>
              <a:cxn ang="cd2">
                <a:pos x="l" y="vc"/>
              </a:cxn>
              <a:cxn ang="cd4">
                <a:pos x="hc" y="b"/>
              </a:cxn>
              <a:cxn ang="0">
                <a:pos x="r" y="vc"/>
              </a:cxn>
            </a:cxnLst>
            <a:rect l="l" t="t" r="r" b="b"/>
            <a:pathLst>
              <a:path w="4582" h="4231">
                <a:moveTo>
                  <a:pt x="3706" y="2052"/>
                </a:moveTo>
                <a:cubicBezTo>
                  <a:pt x="3674" y="2084"/>
                  <a:pt x="3674" y="2132"/>
                  <a:pt x="3706" y="2164"/>
                </a:cubicBezTo>
                <a:lnTo>
                  <a:pt x="4088" y="2561"/>
                </a:lnTo>
                <a:cubicBezTo>
                  <a:pt x="4103" y="2577"/>
                  <a:pt x="4135" y="2593"/>
                  <a:pt x="4151" y="2593"/>
                </a:cubicBezTo>
                <a:cubicBezTo>
                  <a:pt x="4183" y="2593"/>
                  <a:pt x="4199" y="2577"/>
                  <a:pt x="4215" y="2561"/>
                </a:cubicBezTo>
                <a:lnTo>
                  <a:pt x="4564" y="2116"/>
                </a:lnTo>
                <a:cubicBezTo>
                  <a:pt x="4597" y="2084"/>
                  <a:pt x="4581" y="2020"/>
                  <a:pt x="4549" y="2004"/>
                </a:cubicBezTo>
                <a:cubicBezTo>
                  <a:pt x="4517" y="1973"/>
                  <a:pt x="4469" y="1973"/>
                  <a:pt x="4437" y="2020"/>
                </a:cubicBezTo>
                <a:lnTo>
                  <a:pt x="4231" y="2291"/>
                </a:lnTo>
                <a:cubicBezTo>
                  <a:pt x="4135" y="1002"/>
                  <a:pt x="3070" y="0"/>
                  <a:pt x="1765" y="0"/>
                </a:cubicBezTo>
                <a:cubicBezTo>
                  <a:pt x="1718" y="0"/>
                  <a:pt x="1686" y="32"/>
                  <a:pt x="1686" y="80"/>
                </a:cubicBezTo>
                <a:cubicBezTo>
                  <a:pt x="1686" y="128"/>
                  <a:pt x="1718" y="159"/>
                  <a:pt x="1765" y="159"/>
                </a:cubicBezTo>
                <a:cubicBezTo>
                  <a:pt x="2990" y="159"/>
                  <a:pt x="3992" y="1114"/>
                  <a:pt x="4072" y="2307"/>
                </a:cubicBezTo>
                <a:lnTo>
                  <a:pt x="3817" y="2052"/>
                </a:lnTo>
                <a:cubicBezTo>
                  <a:pt x="3785" y="2020"/>
                  <a:pt x="3737" y="2020"/>
                  <a:pt x="3706" y="2052"/>
                </a:cubicBezTo>
                <a:close/>
                <a:moveTo>
                  <a:pt x="1718" y="2513"/>
                </a:moveTo>
                <a:cubicBezTo>
                  <a:pt x="1734" y="2529"/>
                  <a:pt x="1749" y="2545"/>
                  <a:pt x="1765" y="2545"/>
                </a:cubicBezTo>
                <a:cubicBezTo>
                  <a:pt x="1797" y="2545"/>
                  <a:pt x="1813" y="2529"/>
                  <a:pt x="1829" y="2513"/>
                </a:cubicBezTo>
                <a:lnTo>
                  <a:pt x="2624" y="1718"/>
                </a:lnTo>
                <a:cubicBezTo>
                  <a:pt x="2656" y="1686"/>
                  <a:pt x="2656" y="1638"/>
                  <a:pt x="2624" y="1607"/>
                </a:cubicBezTo>
                <a:cubicBezTo>
                  <a:pt x="2592" y="1575"/>
                  <a:pt x="2545" y="1575"/>
                  <a:pt x="2513" y="1607"/>
                </a:cubicBezTo>
                <a:lnTo>
                  <a:pt x="1765" y="2355"/>
                </a:lnTo>
                <a:lnTo>
                  <a:pt x="1225" y="1813"/>
                </a:lnTo>
                <a:cubicBezTo>
                  <a:pt x="1192" y="1782"/>
                  <a:pt x="1145" y="1782"/>
                  <a:pt x="1113" y="1813"/>
                </a:cubicBezTo>
                <a:cubicBezTo>
                  <a:pt x="1081" y="1846"/>
                  <a:pt x="1081" y="1893"/>
                  <a:pt x="1113" y="1925"/>
                </a:cubicBezTo>
                <a:close/>
                <a:moveTo>
                  <a:pt x="0" y="2465"/>
                </a:moveTo>
                <a:cubicBezTo>
                  <a:pt x="0" y="3436"/>
                  <a:pt x="795" y="4231"/>
                  <a:pt x="1765" y="4231"/>
                </a:cubicBezTo>
                <a:cubicBezTo>
                  <a:pt x="2736" y="4231"/>
                  <a:pt x="3531" y="3436"/>
                  <a:pt x="3531" y="2465"/>
                </a:cubicBezTo>
                <a:cubicBezTo>
                  <a:pt x="3531" y="1480"/>
                  <a:pt x="2736" y="700"/>
                  <a:pt x="1765" y="700"/>
                </a:cubicBezTo>
                <a:cubicBezTo>
                  <a:pt x="795" y="700"/>
                  <a:pt x="0" y="1480"/>
                  <a:pt x="0" y="2465"/>
                </a:cubicBezTo>
                <a:close/>
                <a:moveTo>
                  <a:pt x="1765" y="859"/>
                </a:moveTo>
                <a:cubicBezTo>
                  <a:pt x="2656" y="859"/>
                  <a:pt x="3372" y="1575"/>
                  <a:pt x="3372" y="2465"/>
                </a:cubicBezTo>
                <a:cubicBezTo>
                  <a:pt x="3372" y="3340"/>
                  <a:pt x="2656" y="4072"/>
                  <a:pt x="1765" y="4072"/>
                </a:cubicBezTo>
                <a:cubicBezTo>
                  <a:pt x="874" y="4072"/>
                  <a:pt x="159" y="3340"/>
                  <a:pt x="159" y="2465"/>
                </a:cubicBezTo>
                <a:cubicBezTo>
                  <a:pt x="159" y="1575"/>
                  <a:pt x="874" y="859"/>
                  <a:pt x="1765" y="8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Freeform: Shape 14">
            <a:extLst>
              <a:ext uri="{FF2B5EF4-FFF2-40B4-BE49-F238E27FC236}">
                <a16:creationId xmlns:a16="http://schemas.microsoft.com/office/drawing/2014/main" id="{4133D5B3-EA54-EC4D-9FAD-4EFA0F99C76C}"/>
              </a:ext>
            </a:extLst>
          </p:cNvPr>
          <p:cNvSpPr/>
          <p:nvPr/>
        </p:nvSpPr>
        <p:spPr>
          <a:xfrm>
            <a:off x="9896984" y="6394427"/>
            <a:ext cx="1649160" cy="1522800"/>
          </a:xfrm>
          <a:custGeom>
            <a:avLst/>
            <a:gdLst/>
            <a:ahLst/>
            <a:cxnLst>
              <a:cxn ang="3cd4">
                <a:pos x="hc" y="t"/>
              </a:cxn>
              <a:cxn ang="cd2">
                <a:pos x="l" y="vc"/>
              </a:cxn>
              <a:cxn ang="cd4">
                <a:pos x="hc" y="b"/>
              </a:cxn>
              <a:cxn ang="0">
                <a:pos x="r" y="vc"/>
              </a:cxn>
            </a:cxnLst>
            <a:rect l="l" t="t" r="r" b="b"/>
            <a:pathLst>
              <a:path w="4582" h="4231">
                <a:moveTo>
                  <a:pt x="431" y="2593"/>
                </a:moveTo>
                <a:cubicBezTo>
                  <a:pt x="447" y="2593"/>
                  <a:pt x="479" y="2577"/>
                  <a:pt x="479" y="2561"/>
                </a:cubicBezTo>
                <a:lnTo>
                  <a:pt x="876" y="2164"/>
                </a:lnTo>
                <a:cubicBezTo>
                  <a:pt x="908" y="2132"/>
                  <a:pt x="908" y="2084"/>
                  <a:pt x="876" y="2052"/>
                </a:cubicBezTo>
                <a:cubicBezTo>
                  <a:pt x="845" y="2020"/>
                  <a:pt x="797" y="2020"/>
                  <a:pt x="765" y="2052"/>
                </a:cubicBezTo>
                <a:lnTo>
                  <a:pt x="510" y="2307"/>
                </a:lnTo>
                <a:cubicBezTo>
                  <a:pt x="590" y="1114"/>
                  <a:pt x="1592" y="159"/>
                  <a:pt x="2817" y="159"/>
                </a:cubicBezTo>
                <a:cubicBezTo>
                  <a:pt x="2849" y="159"/>
                  <a:pt x="2896" y="128"/>
                  <a:pt x="2896" y="80"/>
                </a:cubicBezTo>
                <a:cubicBezTo>
                  <a:pt x="2896" y="32"/>
                  <a:pt x="2849" y="0"/>
                  <a:pt x="2817" y="0"/>
                </a:cubicBezTo>
                <a:cubicBezTo>
                  <a:pt x="1513" y="0"/>
                  <a:pt x="447" y="1002"/>
                  <a:pt x="352" y="2291"/>
                </a:cubicBezTo>
                <a:lnTo>
                  <a:pt x="145" y="2020"/>
                </a:lnTo>
                <a:cubicBezTo>
                  <a:pt x="113" y="1973"/>
                  <a:pt x="65" y="1973"/>
                  <a:pt x="33" y="2004"/>
                </a:cubicBezTo>
                <a:cubicBezTo>
                  <a:pt x="1" y="2020"/>
                  <a:pt x="-14" y="2084"/>
                  <a:pt x="18" y="2116"/>
                </a:cubicBezTo>
                <a:lnTo>
                  <a:pt x="367" y="2561"/>
                </a:lnTo>
                <a:cubicBezTo>
                  <a:pt x="383" y="2577"/>
                  <a:pt x="399" y="2593"/>
                  <a:pt x="431" y="2593"/>
                </a:cubicBezTo>
                <a:close/>
                <a:moveTo>
                  <a:pt x="3453" y="1607"/>
                </a:moveTo>
                <a:lnTo>
                  <a:pt x="2706" y="2355"/>
                </a:lnTo>
                <a:lnTo>
                  <a:pt x="2165" y="1813"/>
                </a:lnTo>
                <a:cubicBezTo>
                  <a:pt x="2149" y="1782"/>
                  <a:pt x="2085" y="1782"/>
                  <a:pt x="2054" y="1813"/>
                </a:cubicBezTo>
                <a:cubicBezTo>
                  <a:pt x="2021" y="1846"/>
                  <a:pt x="2021" y="1893"/>
                  <a:pt x="2054" y="1925"/>
                </a:cubicBezTo>
                <a:lnTo>
                  <a:pt x="2658" y="2513"/>
                </a:lnTo>
                <a:cubicBezTo>
                  <a:pt x="2674" y="2529"/>
                  <a:pt x="2690" y="2545"/>
                  <a:pt x="2706" y="2545"/>
                </a:cubicBezTo>
                <a:cubicBezTo>
                  <a:pt x="2737" y="2545"/>
                  <a:pt x="2753" y="2529"/>
                  <a:pt x="2769" y="2513"/>
                </a:cubicBezTo>
                <a:lnTo>
                  <a:pt x="3564" y="1718"/>
                </a:lnTo>
                <a:cubicBezTo>
                  <a:pt x="3596" y="1686"/>
                  <a:pt x="3596" y="1638"/>
                  <a:pt x="3564" y="1607"/>
                </a:cubicBezTo>
                <a:cubicBezTo>
                  <a:pt x="3533" y="1575"/>
                  <a:pt x="3485" y="1575"/>
                  <a:pt x="3453" y="1607"/>
                </a:cubicBezTo>
                <a:close/>
                <a:moveTo>
                  <a:pt x="2817" y="700"/>
                </a:moveTo>
                <a:cubicBezTo>
                  <a:pt x="1831" y="700"/>
                  <a:pt x="1051" y="1480"/>
                  <a:pt x="1051" y="2465"/>
                </a:cubicBezTo>
                <a:cubicBezTo>
                  <a:pt x="1051" y="3436"/>
                  <a:pt x="1831" y="4231"/>
                  <a:pt x="2817" y="4231"/>
                </a:cubicBezTo>
                <a:cubicBezTo>
                  <a:pt x="3787" y="4231"/>
                  <a:pt x="4582" y="3436"/>
                  <a:pt x="4582" y="2465"/>
                </a:cubicBezTo>
                <a:cubicBezTo>
                  <a:pt x="4582" y="1480"/>
                  <a:pt x="3787" y="700"/>
                  <a:pt x="2817" y="700"/>
                </a:cubicBezTo>
                <a:close/>
                <a:moveTo>
                  <a:pt x="2817" y="4072"/>
                </a:moveTo>
                <a:cubicBezTo>
                  <a:pt x="1926" y="4072"/>
                  <a:pt x="1210" y="3340"/>
                  <a:pt x="1210" y="2465"/>
                </a:cubicBezTo>
                <a:cubicBezTo>
                  <a:pt x="1210" y="1575"/>
                  <a:pt x="1926" y="859"/>
                  <a:pt x="2817" y="859"/>
                </a:cubicBezTo>
                <a:cubicBezTo>
                  <a:pt x="3691" y="859"/>
                  <a:pt x="4423" y="1575"/>
                  <a:pt x="4423" y="2465"/>
                </a:cubicBezTo>
                <a:cubicBezTo>
                  <a:pt x="4423" y="3340"/>
                  <a:pt x="3691" y="4072"/>
                  <a:pt x="2817" y="40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15">
            <a:extLst>
              <a:ext uri="{FF2B5EF4-FFF2-40B4-BE49-F238E27FC236}">
                <a16:creationId xmlns:a16="http://schemas.microsoft.com/office/drawing/2014/main" id="{CCCC276F-80CA-8648-96A3-62726A4150C6}"/>
              </a:ext>
            </a:extLst>
          </p:cNvPr>
          <p:cNvSpPr/>
          <p:nvPr/>
        </p:nvSpPr>
        <p:spPr>
          <a:xfrm>
            <a:off x="10244477" y="9678039"/>
            <a:ext cx="1328040" cy="1711439"/>
          </a:xfrm>
          <a:custGeom>
            <a:avLst/>
            <a:gdLst/>
            <a:ahLst/>
            <a:cxnLst>
              <a:cxn ang="3cd4">
                <a:pos x="hc" y="t"/>
              </a:cxn>
              <a:cxn ang="cd2">
                <a:pos x="l" y="vc"/>
              </a:cxn>
              <a:cxn ang="cd4">
                <a:pos x="hc" y="b"/>
              </a:cxn>
              <a:cxn ang="0">
                <a:pos x="r" y="vc"/>
              </a:cxn>
            </a:cxnLst>
            <a:rect l="l" t="t" r="r" b="b"/>
            <a:pathLst>
              <a:path w="3690" h="4755">
                <a:moveTo>
                  <a:pt x="2577" y="970"/>
                </a:moveTo>
                <a:lnTo>
                  <a:pt x="2577" y="79"/>
                </a:lnTo>
                <a:cubicBezTo>
                  <a:pt x="2577" y="31"/>
                  <a:pt x="2545" y="0"/>
                  <a:pt x="2497" y="0"/>
                </a:cubicBezTo>
                <a:lnTo>
                  <a:pt x="764" y="0"/>
                </a:lnTo>
                <a:cubicBezTo>
                  <a:pt x="716" y="0"/>
                  <a:pt x="684" y="31"/>
                  <a:pt x="684" y="79"/>
                </a:cubicBezTo>
                <a:lnTo>
                  <a:pt x="684" y="1017"/>
                </a:lnTo>
                <a:cubicBezTo>
                  <a:pt x="271" y="1319"/>
                  <a:pt x="0" y="1813"/>
                  <a:pt x="0" y="2354"/>
                </a:cubicBezTo>
                <a:cubicBezTo>
                  <a:pt x="0" y="2910"/>
                  <a:pt x="271" y="3387"/>
                  <a:pt x="684" y="3690"/>
                </a:cubicBezTo>
                <a:lnTo>
                  <a:pt x="684" y="4676"/>
                </a:lnTo>
                <a:cubicBezTo>
                  <a:pt x="684" y="4723"/>
                  <a:pt x="716" y="4755"/>
                  <a:pt x="764" y="4755"/>
                </a:cubicBezTo>
                <a:lnTo>
                  <a:pt x="2497" y="4755"/>
                </a:lnTo>
                <a:cubicBezTo>
                  <a:pt x="2545" y="4755"/>
                  <a:pt x="2577" y="4723"/>
                  <a:pt x="2577" y="4676"/>
                </a:cubicBezTo>
                <a:lnTo>
                  <a:pt x="2577" y="3769"/>
                </a:lnTo>
                <a:lnTo>
                  <a:pt x="2577" y="3753"/>
                </a:lnTo>
                <a:cubicBezTo>
                  <a:pt x="3038" y="3451"/>
                  <a:pt x="3341" y="2942"/>
                  <a:pt x="3341" y="2354"/>
                </a:cubicBezTo>
                <a:cubicBezTo>
                  <a:pt x="3341" y="1781"/>
                  <a:pt x="3038" y="1256"/>
                  <a:pt x="2577" y="970"/>
                </a:cubicBezTo>
                <a:close/>
                <a:moveTo>
                  <a:pt x="843" y="906"/>
                </a:moveTo>
                <a:lnTo>
                  <a:pt x="843" y="158"/>
                </a:lnTo>
                <a:lnTo>
                  <a:pt x="2418" y="158"/>
                </a:lnTo>
                <a:lnTo>
                  <a:pt x="2418" y="842"/>
                </a:lnTo>
                <a:cubicBezTo>
                  <a:pt x="2259" y="747"/>
                  <a:pt x="2020" y="715"/>
                  <a:pt x="1845" y="699"/>
                </a:cubicBezTo>
                <a:cubicBezTo>
                  <a:pt x="1782" y="699"/>
                  <a:pt x="1718" y="683"/>
                  <a:pt x="1670" y="683"/>
                </a:cubicBezTo>
                <a:lnTo>
                  <a:pt x="1654" y="683"/>
                </a:lnTo>
                <a:lnTo>
                  <a:pt x="1623" y="683"/>
                </a:lnTo>
                <a:cubicBezTo>
                  <a:pt x="1416" y="683"/>
                  <a:pt x="1241" y="731"/>
                  <a:pt x="1066" y="810"/>
                </a:cubicBezTo>
                <a:cubicBezTo>
                  <a:pt x="1002" y="827"/>
                  <a:pt x="923" y="858"/>
                  <a:pt x="859" y="906"/>
                </a:cubicBezTo>
                <a:close/>
                <a:moveTo>
                  <a:pt x="2418" y="4596"/>
                </a:moveTo>
                <a:lnTo>
                  <a:pt x="843" y="4596"/>
                </a:lnTo>
                <a:lnTo>
                  <a:pt x="843" y="3801"/>
                </a:lnTo>
                <a:cubicBezTo>
                  <a:pt x="1082" y="3944"/>
                  <a:pt x="1368" y="4024"/>
                  <a:pt x="1670" y="4024"/>
                </a:cubicBezTo>
                <a:cubicBezTo>
                  <a:pt x="1941" y="4024"/>
                  <a:pt x="2196" y="3960"/>
                  <a:pt x="2418" y="3848"/>
                </a:cubicBezTo>
                <a:close/>
                <a:moveTo>
                  <a:pt x="1670" y="3864"/>
                </a:moveTo>
                <a:cubicBezTo>
                  <a:pt x="843" y="3864"/>
                  <a:pt x="160" y="3196"/>
                  <a:pt x="160" y="2354"/>
                </a:cubicBezTo>
                <a:cubicBezTo>
                  <a:pt x="160" y="1797"/>
                  <a:pt x="461" y="1304"/>
                  <a:pt x="923" y="1049"/>
                </a:cubicBezTo>
                <a:cubicBezTo>
                  <a:pt x="1002" y="1001"/>
                  <a:pt x="1082" y="970"/>
                  <a:pt x="1161" y="938"/>
                </a:cubicBezTo>
                <a:cubicBezTo>
                  <a:pt x="1305" y="874"/>
                  <a:pt x="1479" y="858"/>
                  <a:pt x="1654" y="842"/>
                </a:cubicBezTo>
                <a:cubicBezTo>
                  <a:pt x="1687" y="842"/>
                  <a:pt x="1734" y="842"/>
                  <a:pt x="1766" y="858"/>
                </a:cubicBezTo>
                <a:cubicBezTo>
                  <a:pt x="2545" y="906"/>
                  <a:pt x="3181" y="1558"/>
                  <a:pt x="3181" y="2354"/>
                </a:cubicBezTo>
                <a:cubicBezTo>
                  <a:pt x="3181" y="3196"/>
                  <a:pt x="2497" y="3864"/>
                  <a:pt x="1670" y="3864"/>
                </a:cubicBezTo>
                <a:close/>
                <a:moveTo>
                  <a:pt x="2211" y="1701"/>
                </a:moveTo>
                <a:lnTo>
                  <a:pt x="1670" y="2242"/>
                </a:lnTo>
                <a:lnTo>
                  <a:pt x="1321" y="1908"/>
                </a:lnTo>
                <a:cubicBezTo>
                  <a:pt x="1289" y="1876"/>
                  <a:pt x="1241" y="1876"/>
                  <a:pt x="1209" y="1908"/>
                </a:cubicBezTo>
                <a:cubicBezTo>
                  <a:pt x="1178" y="1940"/>
                  <a:pt x="1178" y="1988"/>
                  <a:pt x="1209" y="2019"/>
                </a:cubicBezTo>
                <a:lnTo>
                  <a:pt x="1607" y="2417"/>
                </a:lnTo>
                <a:cubicBezTo>
                  <a:pt x="1623" y="2433"/>
                  <a:pt x="1654" y="2433"/>
                  <a:pt x="1670" y="2433"/>
                </a:cubicBezTo>
                <a:cubicBezTo>
                  <a:pt x="1687" y="2433"/>
                  <a:pt x="1702" y="2433"/>
                  <a:pt x="1718" y="2417"/>
                </a:cubicBezTo>
                <a:lnTo>
                  <a:pt x="2323" y="1813"/>
                </a:lnTo>
                <a:cubicBezTo>
                  <a:pt x="2354" y="1781"/>
                  <a:pt x="2354" y="1733"/>
                  <a:pt x="2323" y="1701"/>
                </a:cubicBezTo>
                <a:cubicBezTo>
                  <a:pt x="2291" y="1669"/>
                  <a:pt x="2243" y="1669"/>
                  <a:pt x="2211" y="1701"/>
                </a:cubicBezTo>
                <a:close/>
                <a:moveTo>
                  <a:pt x="3611" y="2146"/>
                </a:moveTo>
                <a:cubicBezTo>
                  <a:pt x="3563" y="2146"/>
                  <a:pt x="3532" y="2178"/>
                  <a:pt x="3532" y="2226"/>
                </a:cubicBezTo>
                <a:lnTo>
                  <a:pt x="3532" y="2528"/>
                </a:lnTo>
                <a:cubicBezTo>
                  <a:pt x="3532" y="2576"/>
                  <a:pt x="3563" y="2608"/>
                  <a:pt x="3611" y="2608"/>
                </a:cubicBezTo>
                <a:cubicBezTo>
                  <a:pt x="3659" y="2608"/>
                  <a:pt x="3690" y="2576"/>
                  <a:pt x="3690" y="2528"/>
                </a:cubicBezTo>
                <a:lnTo>
                  <a:pt x="3690" y="2226"/>
                </a:lnTo>
                <a:cubicBezTo>
                  <a:pt x="3690" y="2178"/>
                  <a:pt x="3659" y="2146"/>
                  <a:pt x="3611" y="2146"/>
                </a:cubicBezTo>
                <a:close/>
                <a:moveTo>
                  <a:pt x="1670" y="1161"/>
                </a:moveTo>
                <a:cubicBezTo>
                  <a:pt x="1002" y="1161"/>
                  <a:pt x="461" y="1701"/>
                  <a:pt x="461" y="2354"/>
                </a:cubicBezTo>
                <a:cubicBezTo>
                  <a:pt x="461" y="3021"/>
                  <a:pt x="1002" y="3562"/>
                  <a:pt x="1670" y="3562"/>
                </a:cubicBezTo>
                <a:cubicBezTo>
                  <a:pt x="2323" y="3562"/>
                  <a:pt x="2863" y="3021"/>
                  <a:pt x="2863" y="2354"/>
                </a:cubicBezTo>
                <a:cubicBezTo>
                  <a:pt x="2863" y="1701"/>
                  <a:pt x="2323" y="1161"/>
                  <a:pt x="1670" y="1161"/>
                </a:cubicBezTo>
                <a:close/>
                <a:moveTo>
                  <a:pt x="1670" y="3403"/>
                </a:moveTo>
                <a:cubicBezTo>
                  <a:pt x="1098" y="3403"/>
                  <a:pt x="621" y="2926"/>
                  <a:pt x="621" y="2354"/>
                </a:cubicBezTo>
                <a:cubicBezTo>
                  <a:pt x="621" y="1781"/>
                  <a:pt x="1098" y="1319"/>
                  <a:pt x="1670" y="1319"/>
                </a:cubicBezTo>
                <a:cubicBezTo>
                  <a:pt x="2243" y="1319"/>
                  <a:pt x="2705" y="1781"/>
                  <a:pt x="2705" y="2354"/>
                </a:cubicBezTo>
                <a:cubicBezTo>
                  <a:pt x="2705" y="2926"/>
                  <a:pt x="2243" y="3403"/>
                  <a:pt x="1670" y="340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3" name="Freeform: Shape 16">
            <a:extLst>
              <a:ext uri="{FF2B5EF4-FFF2-40B4-BE49-F238E27FC236}">
                <a16:creationId xmlns:a16="http://schemas.microsoft.com/office/drawing/2014/main" id="{17997425-0182-824D-9953-DDAB4262816A}"/>
              </a:ext>
            </a:extLst>
          </p:cNvPr>
          <p:cNvSpPr/>
          <p:nvPr/>
        </p:nvSpPr>
        <p:spPr>
          <a:xfrm>
            <a:off x="13945838" y="3341284"/>
            <a:ext cx="1530360" cy="1558079"/>
          </a:xfrm>
          <a:custGeom>
            <a:avLst/>
            <a:gdLst/>
            <a:ahLst/>
            <a:cxnLst>
              <a:cxn ang="3cd4">
                <a:pos x="hc" y="t"/>
              </a:cxn>
              <a:cxn ang="cd2">
                <a:pos x="l" y="vc"/>
              </a:cxn>
              <a:cxn ang="cd4">
                <a:pos x="hc" y="b"/>
              </a:cxn>
              <a:cxn ang="0">
                <a:pos x="r" y="vc"/>
              </a:cxn>
            </a:cxnLst>
            <a:rect l="l" t="t" r="r" b="b"/>
            <a:pathLst>
              <a:path w="4252" h="4329">
                <a:moveTo>
                  <a:pt x="3000" y="1577"/>
                </a:moveTo>
                <a:lnTo>
                  <a:pt x="2157" y="2420"/>
                </a:lnTo>
                <a:lnTo>
                  <a:pt x="1680" y="1943"/>
                </a:lnTo>
                <a:cubicBezTo>
                  <a:pt x="1649" y="1911"/>
                  <a:pt x="1601" y="1911"/>
                  <a:pt x="1569" y="1943"/>
                </a:cubicBezTo>
                <a:cubicBezTo>
                  <a:pt x="1537" y="1975"/>
                  <a:pt x="1537" y="2023"/>
                  <a:pt x="1569" y="2054"/>
                </a:cubicBezTo>
                <a:lnTo>
                  <a:pt x="2110" y="2595"/>
                </a:lnTo>
                <a:cubicBezTo>
                  <a:pt x="2125" y="2611"/>
                  <a:pt x="2142" y="2611"/>
                  <a:pt x="2157" y="2611"/>
                </a:cubicBezTo>
                <a:cubicBezTo>
                  <a:pt x="2189" y="2611"/>
                  <a:pt x="2205" y="2611"/>
                  <a:pt x="2221" y="2595"/>
                </a:cubicBezTo>
                <a:lnTo>
                  <a:pt x="3112" y="1688"/>
                </a:lnTo>
                <a:cubicBezTo>
                  <a:pt x="3143" y="1657"/>
                  <a:pt x="3143" y="1609"/>
                  <a:pt x="3112" y="1577"/>
                </a:cubicBezTo>
                <a:cubicBezTo>
                  <a:pt x="3080" y="1545"/>
                  <a:pt x="3032" y="1545"/>
                  <a:pt x="3000" y="1577"/>
                </a:cubicBezTo>
                <a:close/>
                <a:moveTo>
                  <a:pt x="3827" y="146"/>
                </a:moveTo>
                <a:cubicBezTo>
                  <a:pt x="3605" y="18"/>
                  <a:pt x="3351" y="-29"/>
                  <a:pt x="3112" y="18"/>
                </a:cubicBezTo>
                <a:cubicBezTo>
                  <a:pt x="2857" y="66"/>
                  <a:pt x="2651" y="225"/>
                  <a:pt x="2507" y="432"/>
                </a:cubicBezTo>
                <a:cubicBezTo>
                  <a:pt x="2491" y="448"/>
                  <a:pt x="2491" y="480"/>
                  <a:pt x="2507" y="496"/>
                </a:cubicBezTo>
                <a:cubicBezTo>
                  <a:pt x="2507" y="512"/>
                  <a:pt x="2523" y="527"/>
                  <a:pt x="2539" y="543"/>
                </a:cubicBezTo>
                <a:cubicBezTo>
                  <a:pt x="2773" y="686"/>
                  <a:pt x="2857" y="718"/>
                  <a:pt x="3239" y="973"/>
                </a:cubicBezTo>
                <a:lnTo>
                  <a:pt x="3112" y="1132"/>
                </a:lnTo>
                <a:cubicBezTo>
                  <a:pt x="2842" y="941"/>
                  <a:pt x="2523" y="830"/>
                  <a:pt x="2157" y="830"/>
                </a:cubicBezTo>
                <a:cubicBezTo>
                  <a:pt x="1807" y="830"/>
                  <a:pt x="1473" y="941"/>
                  <a:pt x="1203" y="1132"/>
                </a:cubicBezTo>
                <a:lnTo>
                  <a:pt x="1060" y="941"/>
                </a:lnTo>
                <a:cubicBezTo>
                  <a:pt x="1426" y="702"/>
                  <a:pt x="1495" y="676"/>
                  <a:pt x="1712" y="543"/>
                </a:cubicBezTo>
                <a:cubicBezTo>
                  <a:pt x="1744" y="527"/>
                  <a:pt x="1744" y="512"/>
                  <a:pt x="1760" y="496"/>
                </a:cubicBezTo>
                <a:cubicBezTo>
                  <a:pt x="1760" y="480"/>
                  <a:pt x="1760" y="448"/>
                  <a:pt x="1744" y="432"/>
                </a:cubicBezTo>
                <a:cubicBezTo>
                  <a:pt x="1601" y="225"/>
                  <a:pt x="1394" y="66"/>
                  <a:pt x="1140" y="18"/>
                </a:cubicBezTo>
                <a:cubicBezTo>
                  <a:pt x="901" y="-29"/>
                  <a:pt x="646" y="18"/>
                  <a:pt x="424" y="146"/>
                </a:cubicBezTo>
                <a:cubicBezTo>
                  <a:pt x="-6" y="432"/>
                  <a:pt x="-133" y="1021"/>
                  <a:pt x="153" y="1466"/>
                </a:cubicBezTo>
                <a:cubicBezTo>
                  <a:pt x="169" y="1482"/>
                  <a:pt x="185" y="1498"/>
                  <a:pt x="201" y="1498"/>
                </a:cubicBezTo>
                <a:lnTo>
                  <a:pt x="217" y="1498"/>
                </a:lnTo>
                <a:cubicBezTo>
                  <a:pt x="233" y="1498"/>
                  <a:pt x="249" y="1498"/>
                  <a:pt x="265" y="1482"/>
                </a:cubicBezTo>
                <a:cubicBezTo>
                  <a:pt x="488" y="1328"/>
                  <a:pt x="551" y="1275"/>
                  <a:pt x="933" y="1021"/>
                </a:cubicBezTo>
                <a:lnTo>
                  <a:pt x="1076" y="1227"/>
                </a:lnTo>
                <a:cubicBezTo>
                  <a:pt x="710" y="1545"/>
                  <a:pt x="471" y="2007"/>
                  <a:pt x="471" y="2532"/>
                </a:cubicBezTo>
                <a:cubicBezTo>
                  <a:pt x="471" y="2929"/>
                  <a:pt x="598" y="3295"/>
                  <a:pt x="837" y="3581"/>
                </a:cubicBezTo>
                <a:lnTo>
                  <a:pt x="392" y="4202"/>
                </a:lnTo>
                <a:cubicBezTo>
                  <a:pt x="360" y="4233"/>
                  <a:pt x="376" y="4281"/>
                  <a:pt x="408" y="4313"/>
                </a:cubicBezTo>
                <a:cubicBezTo>
                  <a:pt x="424" y="4313"/>
                  <a:pt x="440" y="4329"/>
                  <a:pt x="455" y="4329"/>
                </a:cubicBezTo>
                <a:cubicBezTo>
                  <a:pt x="471" y="4329"/>
                  <a:pt x="503" y="4313"/>
                  <a:pt x="519" y="4297"/>
                </a:cubicBezTo>
                <a:lnTo>
                  <a:pt x="933" y="3709"/>
                </a:lnTo>
                <a:cubicBezTo>
                  <a:pt x="1251" y="4027"/>
                  <a:pt x="1680" y="4233"/>
                  <a:pt x="2157" y="4233"/>
                </a:cubicBezTo>
                <a:cubicBezTo>
                  <a:pt x="2651" y="4233"/>
                  <a:pt x="3080" y="4027"/>
                  <a:pt x="3382" y="3709"/>
                </a:cubicBezTo>
                <a:lnTo>
                  <a:pt x="3812" y="4297"/>
                </a:lnTo>
                <a:cubicBezTo>
                  <a:pt x="3827" y="4313"/>
                  <a:pt x="3843" y="4329"/>
                  <a:pt x="3875" y="4329"/>
                </a:cubicBezTo>
                <a:cubicBezTo>
                  <a:pt x="3891" y="4329"/>
                  <a:pt x="3907" y="4313"/>
                  <a:pt x="3923" y="4313"/>
                </a:cubicBezTo>
                <a:cubicBezTo>
                  <a:pt x="3955" y="4281"/>
                  <a:pt x="3955" y="4233"/>
                  <a:pt x="3939" y="4202"/>
                </a:cubicBezTo>
                <a:lnTo>
                  <a:pt x="3494" y="3581"/>
                </a:lnTo>
                <a:cubicBezTo>
                  <a:pt x="3732" y="3295"/>
                  <a:pt x="3860" y="2929"/>
                  <a:pt x="3860" y="2532"/>
                </a:cubicBezTo>
                <a:cubicBezTo>
                  <a:pt x="3860" y="2007"/>
                  <a:pt x="3621" y="1545"/>
                  <a:pt x="3239" y="1227"/>
                </a:cubicBezTo>
                <a:lnTo>
                  <a:pt x="3366" y="1052"/>
                </a:lnTo>
                <a:cubicBezTo>
                  <a:pt x="3716" y="1291"/>
                  <a:pt x="3780" y="1339"/>
                  <a:pt x="3987" y="1482"/>
                </a:cubicBezTo>
                <a:cubicBezTo>
                  <a:pt x="4003" y="1498"/>
                  <a:pt x="4018" y="1498"/>
                  <a:pt x="4034" y="1498"/>
                </a:cubicBezTo>
                <a:lnTo>
                  <a:pt x="4050" y="1498"/>
                </a:lnTo>
                <a:cubicBezTo>
                  <a:pt x="4066" y="1498"/>
                  <a:pt x="4098" y="1482"/>
                  <a:pt x="4098" y="1466"/>
                </a:cubicBezTo>
                <a:cubicBezTo>
                  <a:pt x="4384" y="1036"/>
                  <a:pt x="4257" y="432"/>
                  <a:pt x="3827" y="146"/>
                </a:cubicBezTo>
                <a:close/>
                <a:moveTo>
                  <a:pt x="249" y="1307"/>
                </a:moveTo>
                <a:cubicBezTo>
                  <a:pt x="58" y="957"/>
                  <a:pt x="169" y="512"/>
                  <a:pt x="519" y="289"/>
                </a:cubicBezTo>
                <a:cubicBezTo>
                  <a:pt x="646" y="209"/>
                  <a:pt x="789" y="161"/>
                  <a:pt x="949" y="161"/>
                </a:cubicBezTo>
                <a:cubicBezTo>
                  <a:pt x="996" y="161"/>
                  <a:pt x="1060" y="161"/>
                  <a:pt x="1107" y="178"/>
                </a:cubicBezTo>
                <a:cubicBezTo>
                  <a:pt x="1298" y="209"/>
                  <a:pt x="1442" y="305"/>
                  <a:pt x="1569" y="448"/>
                </a:cubicBezTo>
                <a:cubicBezTo>
                  <a:pt x="1442" y="527"/>
                  <a:pt x="1187" y="670"/>
                  <a:pt x="917" y="846"/>
                </a:cubicBezTo>
                <a:lnTo>
                  <a:pt x="901" y="846"/>
                </a:lnTo>
                <a:lnTo>
                  <a:pt x="901" y="861"/>
                </a:lnTo>
                <a:lnTo>
                  <a:pt x="885" y="861"/>
                </a:lnTo>
                <a:cubicBezTo>
                  <a:pt x="598" y="1052"/>
                  <a:pt x="360" y="1227"/>
                  <a:pt x="249" y="1307"/>
                </a:cubicBezTo>
                <a:close/>
                <a:moveTo>
                  <a:pt x="3700" y="2532"/>
                </a:moveTo>
                <a:cubicBezTo>
                  <a:pt x="3700" y="3390"/>
                  <a:pt x="3016" y="4075"/>
                  <a:pt x="2157" y="4075"/>
                </a:cubicBezTo>
                <a:cubicBezTo>
                  <a:pt x="1315" y="4075"/>
                  <a:pt x="631" y="3390"/>
                  <a:pt x="631" y="2532"/>
                </a:cubicBezTo>
                <a:cubicBezTo>
                  <a:pt x="631" y="2054"/>
                  <a:pt x="837" y="1625"/>
                  <a:pt x="1187" y="1354"/>
                </a:cubicBezTo>
                <a:lnTo>
                  <a:pt x="1219" y="1354"/>
                </a:lnTo>
                <a:cubicBezTo>
                  <a:pt x="1235" y="1354"/>
                  <a:pt x="1251" y="1354"/>
                  <a:pt x="1267" y="1339"/>
                </a:cubicBezTo>
                <a:cubicBezTo>
                  <a:pt x="1298" y="1323"/>
                  <a:pt x="1298" y="1291"/>
                  <a:pt x="1298" y="1259"/>
                </a:cubicBezTo>
                <a:cubicBezTo>
                  <a:pt x="1537" y="1100"/>
                  <a:pt x="1839" y="989"/>
                  <a:pt x="2157" y="989"/>
                </a:cubicBezTo>
                <a:cubicBezTo>
                  <a:pt x="2491" y="989"/>
                  <a:pt x="2778" y="1100"/>
                  <a:pt x="3032" y="1259"/>
                </a:cubicBezTo>
                <a:cubicBezTo>
                  <a:pt x="3032" y="1291"/>
                  <a:pt x="3032" y="1323"/>
                  <a:pt x="3064" y="1339"/>
                </a:cubicBezTo>
                <a:cubicBezTo>
                  <a:pt x="3080" y="1354"/>
                  <a:pt x="3096" y="1354"/>
                  <a:pt x="3112" y="1354"/>
                </a:cubicBezTo>
                <a:lnTo>
                  <a:pt x="3143" y="1354"/>
                </a:lnTo>
                <a:cubicBezTo>
                  <a:pt x="3478" y="1625"/>
                  <a:pt x="3700" y="2054"/>
                  <a:pt x="3700" y="2532"/>
                </a:cubicBezTo>
                <a:close/>
                <a:moveTo>
                  <a:pt x="4018" y="1307"/>
                </a:moveTo>
                <a:cubicBezTo>
                  <a:pt x="3907" y="1227"/>
                  <a:pt x="3700" y="1084"/>
                  <a:pt x="3462" y="925"/>
                </a:cubicBezTo>
                <a:cubicBezTo>
                  <a:pt x="3462" y="893"/>
                  <a:pt x="3446" y="861"/>
                  <a:pt x="3430" y="846"/>
                </a:cubicBezTo>
                <a:cubicBezTo>
                  <a:pt x="3398" y="830"/>
                  <a:pt x="3366" y="830"/>
                  <a:pt x="3334" y="846"/>
                </a:cubicBezTo>
                <a:cubicBezTo>
                  <a:pt x="3064" y="670"/>
                  <a:pt x="2809" y="527"/>
                  <a:pt x="2698" y="448"/>
                </a:cubicBezTo>
                <a:cubicBezTo>
                  <a:pt x="2809" y="305"/>
                  <a:pt x="2969" y="209"/>
                  <a:pt x="3143" y="178"/>
                </a:cubicBezTo>
                <a:cubicBezTo>
                  <a:pt x="3351" y="130"/>
                  <a:pt x="3557" y="178"/>
                  <a:pt x="3732" y="289"/>
                </a:cubicBezTo>
                <a:cubicBezTo>
                  <a:pt x="4082" y="512"/>
                  <a:pt x="4193" y="957"/>
                  <a:pt x="4018" y="130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4" name="Freeform: Shape 17">
            <a:extLst>
              <a:ext uri="{FF2B5EF4-FFF2-40B4-BE49-F238E27FC236}">
                <a16:creationId xmlns:a16="http://schemas.microsoft.com/office/drawing/2014/main" id="{0A4C2EA2-5013-0645-AC20-281209C545EB}"/>
              </a:ext>
            </a:extLst>
          </p:cNvPr>
          <p:cNvSpPr/>
          <p:nvPr/>
        </p:nvSpPr>
        <p:spPr>
          <a:xfrm>
            <a:off x="17414760" y="6353291"/>
            <a:ext cx="1717560" cy="1711439"/>
          </a:xfrm>
          <a:custGeom>
            <a:avLst/>
            <a:gdLst/>
            <a:ahLst/>
            <a:cxnLst>
              <a:cxn ang="3cd4">
                <a:pos x="hc" y="t"/>
              </a:cxn>
              <a:cxn ang="cd2">
                <a:pos x="l" y="vc"/>
              </a:cxn>
              <a:cxn ang="cd4">
                <a:pos x="hc" y="b"/>
              </a:cxn>
              <a:cxn ang="0">
                <a:pos x="r" y="vc"/>
              </a:cxn>
            </a:cxnLst>
            <a:rect l="l" t="t" r="r" b="b"/>
            <a:pathLst>
              <a:path w="4772" h="4755">
                <a:moveTo>
                  <a:pt x="3897" y="1590"/>
                </a:moveTo>
                <a:lnTo>
                  <a:pt x="716" y="1590"/>
                </a:lnTo>
                <a:cubicBezTo>
                  <a:pt x="685" y="1590"/>
                  <a:pt x="637" y="1622"/>
                  <a:pt x="637" y="1669"/>
                </a:cubicBezTo>
                <a:lnTo>
                  <a:pt x="637" y="3721"/>
                </a:lnTo>
                <a:cubicBezTo>
                  <a:pt x="637" y="3769"/>
                  <a:pt x="685" y="3801"/>
                  <a:pt x="716" y="3801"/>
                </a:cubicBezTo>
                <a:lnTo>
                  <a:pt x="3897" y="3801"/>
                </a:lnTo>
                <a:cubicBezTo>
                  <a:pt x="3945" y="3801"/>
                  <a:pt x="3977" y="3769"/>
                  <a:pt x="3977" y="3721"/>
                </a:cubicBezTo>
                <a:lnTo>
                  <a:pt x="3977" y="1669"/>
                </a:lnTo>
                <a:cubicBezTo>
                  <a:pt x="3977" y="1622"/>
                  <a:pt x="3945" y="1590"/>
                  <a:pt x="3897" y="1590"/>
                </a:cubicBezTo>
                <a:close/>
                <a:moveTo>
                  <a:pt x="3818" y="3642"/>
                </a:moveTo>
                <a:lnTo>
                  <a:pt x="796" y="3642"/>
                </a:lnTo>
                <a:lnTo>
                  <a:pt x="796" y="1749"/>
                </a:lnTo>
                <a:lnTo>
                  <a:pt x="3818" y="1749"/>
                </a:lnTo>
                <a:close/>
                <a:moveTo>
                  <a:pt x="4724" y="1479"/>
                </a:moveTo>
                <a:lnTo>
                  <a:pt x="4486" y="1336"/>
                </a:lnTo>
                <a:lnTo>
                  <a:pt x="4741" y="922"/>
                </a:lnTo>
                <a:cubicBezTo>
                  <a:pt x="4756" y="906"/>
                  <a:pt x="4756" y="890"/>
                  <a:pt x="4756" y="874"/>
                </a:cubicBezTo>
                <a:cubicBezTo>
                  <a:pt x="4741" y="842"/>
                  <a:pt x="4741" y="827"/>
                  <a:pt x="4724" y="827"/>
                </a:cubicBezTo>
                <a:lnTo>
                  <a:pt x="3866" y="301"/>
                </a:lnTo>
                <a:cubicBezTo>
                  <a:pt x="3834" y="286"/>
                  <a:pt x="3786" y="286"/>
                  <a:pt x="3770" y="333"/>
                </a:cubicBezTo>
                <a:lnTo>
                  <a:pt x="3515" y="731"/>
                </a:lnTo>
                <a:lnTo>
                  <a:pt x="3357" y="636"/>
                </a:lnTo>
                <a:lnTo>
                  <a:pt x="3309" y="636"/>
                </a:lnTo>
                <a:lnTo>
                  <a:pt x="3023" y="636"/>
                </a:lnTo>
                <a:lnTo>
                  <a:pt x="3023" y="79"/>
                </a:lnTo>
                <a:cubicBezTo>
                  <a:pt x="3023" y="31"/>
                  <a:pt x="2991" y="0"/>
                  <a:pt x="2943" y="0"/>
                </a:cubicBezTo>
                <a:lnTo>
                  <a:pt x="1989" y="0"/>
                </a:lnTo>
                <a:cubicBezTo>
                  <a:pt x="1957" y="0"/>
                  <a:pt x="1909" y="31"/>
                  <a:pt x="1909" y="79"/>
                </a:cubicBezTo>
                <a:lnTo>
                  <a:pt x="1909" y="636"/>
                </a:lnTo>
                <a:lnTo>
                  <a:pt x="1543" y="636"/>
                </a:lnTo>
                <a:lnTo>
                  <a:pt x="1512" y="636"/>
                </a:lnTo>
                <a:lnTo>
                  <a:pt x="1352" y="731"/>
                </a:lnTo>
                <a:lnTo>
                  <a:pt x="1098" y="333"/>
                </a:lnTo>
                <a:cubicBezTo>
                  <a:pt x="1066" y="286"/>
                  <a:pt x="1018" y="270"/>
                  <a:pt x="987" y="301"/>
                </a:cubicBezTo>
                <a:lnTo>
                  <a:pt x="143" y="827"/>
                </a:lnTo>
                <a:cubicBezTo>
                  <a:pt x="128" y="827"/>
                  <a:pt x="112" y="842"/>
                  <a:pt x="96" y="874"/>
                </a:cubicBezTo>
                <a:cubicBezTo>
                  <a:pt x="96" y="890"/>
                  <a:pt x="96" y="906"/>
                  <a:pt x="112" y="922"/>
                </a:cubicBezTo>
                <a:lnTo>
                  <a:pt x="351" y="1319"/>
                </a:lnTo>
                <a:lnTo>
                  <a:pt x="96" y="1479"/>
                </a:lnTo>
                <a:cubicBezTo>
                  <a:pt x="64" y="1494"/>
                  <a:pt x="48" y="1510"/>
                  <a:pt x="48" y="1526"/>
                </a:cubicBezTo>
                <a:cubicBezTo>
                  <a:pt x="48" y="1542"/>
                  <a:pt x="48" y="1542"/>
                  <a:pt x="32" y="1558"/>
                </a:cubicBezTo>
                <a:cubicBezTo>
                  <a:pt x="32" y="1590"/>
                  <a:pt x="0" y="1622"/>
                  <a:pt x="0" y="1669"/>
                </a:cubicBezTo>
                <a:lnTo>
                  <a:pt x="0" y="3642"/>
                </a:lnTo>
                <a:cubicBezTo>
                  <a:pt x="0" y="4230"/>
                  <a:pt x="541" y="4755"/>
                  <a:pt x="1130" y="4755"/>
                </a:cubicBezTo>
                <a:lnTo>
                  <a:pt x="3723" y="4755"/>
                </a:lnTo>
                <a:cubicBezTo>
                  <a:pt x="4295" y="4755"/>
                  <a:pt x="4772" y="4246"/>
                  <a:pt x="4772" y="3642"/>
                </a:cubicBezTo>
                <a:lnTo>
                  <a:pt x="4772" y="1637"/>
                </a:lnTo>
                <a:lnTo>
                  <a:pt x="4772" y="1526"/>
                </a:lnTo>
                <a:cubicBezTo>
                  <a:pt x="4756" y="1510"/>
                  <a:pt x="4756" y="1494"/>
                  <a:pt x="4724" y="1479"/>
                </a:cubicBezTo>
                <a:close/>
                <a:moveTo>
                  <a:pt x="3850" y="476"/>
                </a:moveTo>
                <a:lnTo>
                  <a:pt x="4566" y="922"/>
                </a:lnTo>
                <a:lnTo>
                  <a:pt x="4359" y="1256"/>
                </a:lnTo>
                <a:lnTo>
                  <a:pt x="3643" y="827"/>
                </a:lnTo>
                <a:close/>
                <a:moveTo>
                  <a:pt x="2068" y="158"/>
                </a:moveTo>
                <a:lnTo>
                  <a:pt x="2863" y="158"/>
                </a:lnTo>
                <a:lnTo>
                  <a:pt x="2863" y="636"/>
                </a:lnTo>
                <a:lnTo>
                  <a:pt x="2068" y="636"/>
                </a:lnTo>
                <a:close/>
                <a:moveTo>
                  <a:pt x="287" y="922"/>
                </a:moveTo>
                <a:lnTo>
                  <a:pt x="1003" y="476"/>
                </a:lnTo>
                <a:lnTo>
                  <a:pt x="1209" y="810"/>
                </a:lnTo>
                <a:lnTo>
                  <a:pt x="494" y="1240"/>
                </a:lnTo>
                <a:close/>
                <a:moveTo>
                  <a:pt x="4613" y="1637"/>
                </a:moveTo>
                <a:lnTo>
                  <a:pt x="4613" y="3642"/>
                </a:lnTo>
                <a:cubicBezTo>
                  <a:pt x="4613" y="4167"/>
                  <a:pt x="4200" y="4596"/>
                  <a:pt x="3723" y="4596"/>
                </a:cubicBezTo>
                <a:lnTo>
                  <a:pt x="1130" y="4596"/>
                </a:lnTo>
                <a:cubicBezTo>
                  <a:pt x="637" y="4596"/>
                  <a:pt x="160" y="4151"/>
                  <a:pt x="160" y="3642"/>
                </a:cubicBezTo>
                <a:lnTo>
                  <a:pt x="160" y="1669"/>
                </a:lnTo>
                <a:cubicBezTo>
                  <a:pt x="160" y="1654"/>
                  <a:pt x="176" y="1654"/>
                  <a:pt x="176" y="1637"/>
                </a:cubicBezTo>
                <a:cubicBezTo>
                  <a:pt x="191" y="1622"/>
                  <a:pt x="191" y="1606"/>
                  <a:pt x="191" y="1590"/>
                </a:cubicBezTo>
                <a:lnTo>
                  <a:pt x="509" y="1415"/>
                </a:lnTo>
                <a:lnTo>
                  <a:pt x="1575" y="795"/>
                </a:lnTo>
                <a:lnTo>
                  <a:pt x="1989" y="795"/>
                </a:lnTo>
                <a:lnTo>
                  <a:pt x="2943" y="795"/>
                </a:lnTo>
                <a:lnTo>
                  <a:pt x="3293" y="795"/>
                </a:lnTo>
                <a:lnTo>
                  <a:pt x="3500" y="922"/>
                </a:lnTo>
                <a:lnTo>
                  <a:pt x="4343" y="1431"/>
                </a:lnTo>
                <a:lnTo>
                  <a:pt x="4613" y="1590"/>
                </a:lnTo>
                <a:close/>
                <a:moveTo>
                  <a:pt x="1337" y="3164"/>
                </a:moveTo>
                <a:cubicBezTo>
                  <a:pt x="1384" y="3164"/>
                  <a:pt x="1432" y="3164"/>
                  <a:pt x="1480" y="3149"/>
                </a:cubicBezTo>
                <a:cubicBezTo>
                  <a:pt x="1527" y="3117"/>
                  <a:pt x="1559" y="3085"/>
                  <a:pt x="1591" y="3053"/>
                </a:cubicBezTo>
                <a:cubicBezTo>
                  <a:pt x="1623" y="3006"/>
                  <a:pt x="1639" y="2958"/>
                  <a:pt x="1655" y="2894"/>
                </a:cubicBezTo>
                <a:cubicBezTo>
                  <a:pt x="1670" y="2830"/>
                  <a:pt x="1687" y="2767"/>
                  <a:pt x="1687" y="2687"/>
                </a:cubicBezTo>
                <a:cubicBezTo>
                  <a:pt x="1687" y="2608"/>
                  <a:pt x="1670" y="2544"/>
                  <a:pt x="1655" y="2481"/>
                </a:cubicBezTo>
                <a:cubicBezTo>
                  <a:pt x="1639" y="2417"/>
                  <a:pt x="1623" y="2369"/>
                  <a:pt x="1591" y="2321"/>
                </a:cubicBezTo>
                <a:cubicBezTo>
                  <a:pt x="1559" y="2290"/>
                  <a:pt x="1527" y="2258"/>
                  <a:pt x="1480" y="2226"/>
                </a:cubicBezTo>
                <a:cubicBezTo>
                  <a:pt x="1432" y="2210"/>
                  <a:pt x="1384" y="2194"/>
                  <a:pt x="1337" y="2194"/>
                </a:cubicBezTo>
                <a:cubicBezTo>
                  <a:pt x="1273" y="2194"/>
                  <a:pt x="1225" y="2210"/>
                  <a:pt x="1193" y="2226"/>
                </a:cubicBezTo>
                <a:cubicBezTo>
                  <a:pt x="1146" y="2258"/>
                  <a:pt x="1098" y="2290"/>
                  <a:pt x="1082" y="2321"/>
                </a:cubicBezTo>
                <a:cubicBezTo>
                  <a:pt x="1050" y="2369"/>
                  <a:pt x="1018" y="2417"/>
                  <a:pt x="1003" y="2481"/>
                </a:cubicBezTo>
                <a:cubicBezTo>
                  <a:pt x="987" y="2544"/>
                  <a:pt x="987" y="2608"/>
                  <a:pt x="987" y="2687"/>
                </a:cubicBezTo>
                <a:cubicBezTo>
                  <a:pt x="987" y="2846"/>
                  <a:pt x="1018" y="2974"/>
                  <a:pt x="1066" y="3053"/>
                </a:cubicBezTo>
                <a:cubicBezTo>
                  <a:pt x="1130" y="3133"/>
                  <a:pt x="1225" y="3164"/>
                  <a:pt x="1337" y="3164"/>
                </a:cubicBezTo>
                <a:close/>
                <a:moveTo>
                  <a:pt x="1337" y="2369"/>
                </a:moveTo>
                <a:cubicBezTo>
                  <a:pt x="1369" y="2369"/>
                  <a:pt x="1384" y="2385"/>
                  <a:pt x="1400" y="2385"/>
                </a:cubicBezTo>
                <a:cubicBezTo>
                  <a:pt x="1432" y="2401"/>
                  <a:pt x="1448" y="2417"/>
                  <a:pt x="1448" y="2449"/>
                </a:cubicBezTo>
                <a:cubicBezTo>
                  <a:pt x="1464" y="2465"/>
                  <a:pt x="1480" y="2512"/>
                  <a:pt x="1480" y="2544"/>
                </a:cubicBezTo>
                <a:cubicBezTo>
                  <a:pt x="1496" y="2592"/>
                  <a:pt x="1496" y="2640"/>
                  <a:pt x="1496" y="2687"/>
                </a:cubicBezTo>
                <a:cubicBezTo>
                  <a:pt x="1496" y="2735"/>
                  <a:pt x="1496" y="2783"/>
                  <a:pt x="1480" y="2830"/>
                </a:cubicBezTo>
                <a:cubicBezTo>
                  <a:pt x="1480" y="2863"/>
                  <a:pt x="1464" y="2910"/>
                  <a:pt x="1448" y="2926"/>
                </a:cubicBezTo>
                <a:cubicBezTo>
                  <a:pt x="1448" y="2958"/>
                  <a:pt x="1432" y="2974"/>
                  <a:pt x="1400" y="2990"/>
                </a:cubicBezTo>
                <a:cubicBezTo>
                  <a:pt x="1384" y="2990"/>
                  <a:pt x="1369" y="3006"/>
                  <a:pt x="1337" y="3006"/>
                </a:cubicBezTo>
                <a:cubicBezTo>
                  <a:pt x="1305" y="3006"/>
                  <a:pt x="1273" y="2990"/>
                  <a:pt x="1257" y="2990"/>
                </a:cubicBezTo>
                <a:cubicBezTo>
                  <a:pt x="1241" y="2974"/>
                  <a:pt x="1225" y="2958"/>
                  <a:pt x="1209" y="2926"/>
                </a:cubicBezTo>
                <a:cubicBezTo>
                  <a:pt x="1193" y="2910"/>
                  <a:pt x="1178" y="2863"/>
                  <a:pt x="1178" y="2830"/>
                </a:cubicBezTo>
                <a:cubicBezTo>
                  <a:pt x="1178" y="2783"/>
                  <a:pt x="1161" y="2735"/>
                  <a:pt x="1161" y="2687"/>
                </a:cubicBezTo>
                <a:cubicBezTo>
                  <a:pt x="1161" y="2640"/>
                  <a:pt x="1178" y="2592"/>
                  <a:pt x="1178" y="2544"/>
                </a:cubicBezTo>
                <a:cubicBezTo>
                  <a:pt x="1178" y="2512"/>
                  <a:pt x="1193" y="2465"/>
                  <a:pt x="1209" y="2449"/>
                </a:cubicBezTo>
                <a:cubicBezTo>
                  <a:pt x="1225" y="2417"/>
                  <a:pt x="1241" y="2401"/>
                  <a:pt x="1257" y="2385"/>
                </a:cubicBezTo>
                <a:cubicBezTo>
                  <a:pt x="1273" y="2385"/>
                  <a:pt x="1305" y="2369"/>
                  <a:pt x="1337" y="2369"/>
                </a:cubicBezTo>
                <a:close/>
                <a:moveTo>
                  <a:pt x="1846" y="3149"/>
                </a:moveTo>
                <a:lnTo>
                  <a:pt x="1973" y="3149"/>
                </a:lnTo>
                <a:cubicBezTo>
                  <a:pt x="1989" y="3149"/>
                  <a:pt x="2005" y="3133"/>
                  <a:pt x="2005" y="3117"/>
                </a:cubicBezTo>
                <a:lnTo>
                  <a:pt x="2005" y="2974"/>
                </a:lnTo>
                <a:cubicBezTo>
                  <a:pt x="2005" y="2942"/>
                  <a:pt x="1989" y="2926"/>
                  <a:pt x="1973" y="2926"/>
                </a:cubicBezTo>
                <a:lnTo>
                  <a:pt x="1846" y="2926"/>
                </a:lnTo>
                <a:cubicBezTo>
                  <a:pt x="1830" y="2926"/>
                  <a:pt x="1814" y="2942"/>
                  <a:pt x="1814" y="2974"/>
                </a:cubicBezTo>
                <a:lnTo>
                  <a:pt x="1814" y="3117"/>
                </a:lnTo>
                <a:cubicBezTo>
                  <a:pt x="1814" y="3133"/>
                  <a:pt x="1830" y="3149"/>
                  <a:pt x="1846" y="3149"/>
                </a:cubicBezTo>
                <a:close/>
                <a:moveTo>
                  <a:pt x="1846" y="2655"/>
                </a:moveTo>
                <a:lnTo>
                  <a:pt x="1973" y="2655"/>
                </a:lnTo>
                <a:cubicBezTo>
                  <a:pt x="1989" y="2655"/>
                  <a:pt x="2005" y="2640"/>
                  <a:pt x="2005" y="2624"/>
                </a:cubicBezTo>
                <a:lnTo>
                  <a:pt x="2005" y="2481"/>
                </a:lnTo>
                <a:cubicBezTo>
                  <a:pt x="2005" y="2449"/>
                  <a:pt x="1989" y="2433"/>
                  <a:pt x="1973" y="2433"/>
                </a:cubicBezTo>
                <a:lnTo>
                  <a:pt x="1846" y="2433"/>
                </a:lnTo>
                <a:cubicBezTo>
                  <a:pt x="1830" y="2433"/>
                  <a:pt x="1814" y="2449"/>
                  <a:pt x="1814" y="2481"/>
                </a:cubicBezTo>
                <a:lnTo>
                  <a:pt x="1814" y="2624"/>
                </a:lnTo>
                <a:cubicBezTo>
                  <a:pt x="1814" y="2640"/>
                  <a:pt x="1830" y="2655"/>
                  <a:pt x="1846" y="2655"/>
                </a:cubicBezTo>
                <a:close/>
                <a:moveTo>
                  <a:pt x="2482" y="3164"/>
                </a:moveTo>
                <a:cubicBezTo>
                  <a:pt x="2545" y="3164"/>
                  <a:pt x="2593" y="3164"/>
                  <a:pt x="2625" y="3149"/>
                </a:cubicBezTo>
                <a:cubicBezTo>
                  <a:pt x="2673" y="3117"/>
                  <a:pt x="2720" y="3085"/>
                  <a:pt x="2752" y="3053"/>
                </a:cubicBezTo>
                <a:cubicBezTo>
                  <a:pt x="2768" y="3006"/>
                  <a:pt x="2800" y="2958"/>
                  <a:pt x="2816" y="2894"/>
                </a:cubicBezTo>
                <a:cubicBezTo>
                  <a:pt x="2832" y="2830"/>
                  <a:pt x="2832" y="2767"/>
                  <a:pt x="2832" y="2687"/>
                </a:cubicBezTo>
                <a:cubicBezTo>
                  <a:pt x="2832" y="2608"/>
                  <a:pt x="2832" y="2544"/>
                  <a:pt x="2816" y="2481"/>
                </a:cubicBezTo>
                <a:cubicBezTo>
                  <a:pt x="2800" y="2417"/>
                  <a:pt x="2768" y="2369"/>
                  <a:pt x="2752" y="2321"/>
                </a:cubicBezTo>
                <a:cubicBezTo>
                  <a:pt x="2720" y="2290"/>
                  <a:pt x="2673" y="2258"/>
                  <a:pt x="2641" y="2226"/>
                </a:cubicBezTo>
                <a:cubicBezTo>
                  <a:pt x="2593" y="2210"/>
                  <a:pt x="2545" y="2194"/>
                  <a:pt x="2482" y="2194"/>
                </a:cubicBezTo>
                <a:cubicBezTo>
                  <a:pt x="2434" y="2194"/>
                  <a:pt x="2387" y="2210"/>
                  <a:pt x="2339" y="2226"/>
                </a:cubicBezTo>
                <a:cubicBezTo>
                  <a:pt x="2291" y="2258"/>
                  <a:pt x="2259" y="2290"/>
                  <a:pt x="2227" y="2321"/>
                </a:cubicBezTo>
                <a:cubicBezTo>
                  <a:pt x="2196" y="2369"/>
                  <a:pt x="2179" y="2417"/>
                  <a:pt x="2164" y="2481"/>
                </a:cubicBezTo>
                <a:cubicBezTo>
                  <a:pt x="2148" y="2544"/>
                  <a:pt x="2132" y="2608"/>
                  <a:pt x="2132" y="2687"/>
                </a:cubicBezTo>
                <a:cubicBezTo>
                  <a:pt x="2132" y="2846"/>
                  <a:pt x="2164" y="2974"/>
                  <a:pt x="2227" y="3053"/>
                </a:cubicBezTo>
                <a:cubicBezTo>
                  <a:pt x="2291" y="3133"/>
                  <a:pt x="2370" y="3164"/>
                  <a:pt x="2482" y="3164"/>
                </a:cubicBezTo>
                <a:close/>
                <a:moveTo>
                  <a:pt x="2482" y="2369"/>
                </a:moveTo>
                <a:cubicBezTo>
                  <a:pt x="2514" y="2369"/>
                  <a:pt x="2545" y="2385"/>
                  <a:pt x="2561" y="2385"/>
                </a:cubicBezTo>
                <a:cubicBezTo>
                  <a:pt x="2577" y="2401"/>
                  <a:pt x="2593" y="2417"/>
                  <a:pt x="2609" y="2449"/>
                </a:cubicBezTo>
                <a:cubicBezTo>
                  <a:pt x="2625" y="2465"/>
                  <a:pt x="2625" y="2512"/>
                  <a:pt x="2641" y="2544"/>
                </a:cubicBezTo>
                <a:lnTo>
                  <a:pt x="2641" y="2687"/>
                </a:lnTo>
                <a:lnTo>
                  <a:pt x="2641" y="2830"/>
                </a:lnTo>
                <a:cubicBezTo>
                  <a:pt x="2625" y="2863"/>
                  <a:pt x="2625" y="2910"/>
                  <a:pt x="2609" y="2926"/>
                </a:cubicBezTo>
                <a:cubicBezTo>
                  <a:pt x="2593" y="2958"/>
                  <a:pt x="2577" y="2974"/>
                  <a:pt x="2561" y="2990"/>
                </a:cubicBezTo>
                <a:cubicBezTo>
                  <a:pt x="2545" y="2990"/>
                  <a:pt x="2514" y="3006"/>
                  <a:pt x="2482" y="3006"/>
                </a:cubicBezTo>
                <a:cubicBezTo>
                  <a:pt x="2450" y="3006"/>
                  <a:pt x="2434" y="2990"/>
                  <a:pt x="2418" y="2990"/>
                </a:cubicBezTo>
                <a:cubicBezTo>
                  <a:pt x="2387" y="2974"/>
                  <a:pt x="2370" y="2958"/>
                  <a:pt x="2370" y="2926"/>
                </a:cubicBezTo>
                <a:cubicBezTo>
                  <a:pt x="2354" y="2910"/>
                  <a:pt x="2339" y="2863"/>
                  <a:pt x="2339" y="2830"/>
                </a:cubicBezTo>
                <a:cubicBezTo>
                  <a:pt x="2323" y="2783"/>
                  <a:pt x="2323" y="2735"/>
                  <a:pt x="2323" y="2687"/>
                </a:cubicBezTo>
                <a:cubicBezTo>
                  <a:pt x="2323" y="2640"/>
                  <a:pt x="2323" y="2592"/>
                  <a:pt x="2339" y="2544"/>
                </a:cubicBezTo>
                <a:cubicBezTo>
                  <a:pt x="2339" y="2512"/>
                  <a:pt x="2354" y="2465"/>
                  <a:pt x="2370" y="2449"/>
                </a:cubicBezTo>
                <a:cubicBezTo>
                  <a:pt x="2370" y="2417"/>
                  <a:pt x="2387" y="2401"/>
                  <a:pt x="2418" y="2385"/>
                </a:cubicBezTo>
                <a:cubicBezTo>
                  <a:pt x="2434" y="2385"/>
                  <a:pt x="2450" y="2369"/>
                  <a:pt x="2482" y="2369"/>
                </a:cubicBezTo>
                <a:close/>
                <a:moveTo>
                  <a:pt x="3293" y="3164"/>
                </a:moveTo>
                <a:cubicBezTo>
                  <a:pt x="3341" y="3164"/>
                  <a:pt x="3388" y="3164"/>
                  <a:pt x="3436" y="3149"/>
                </a:cubicBezTo>
                <a:cubicBezTo>
                  <a:pt x="3484" y="3117"/>
                  <a:pt x="3515" y="3085"/>
                  <a:pt x="3548" y="3053"/>
                </a:cubicBezTo>
                <a:cubicBezTo>
                  <a:pt x="3579" y="3006"/>
                  <a:pt x="3595" y="2958"/>
                  <a:pt x="3611" y="2894"/>
                </a:cubicBezTo>
                <a:cubicBezTo>
                  <a:pt x="3627" y="2830"/>
                  <a:pt x="3643" y="2767"/>
                  <a:pt x="3643" y="2687"/>
                </a:cubicBezTo>
                <a:cubicBezTo>
                  <a:pt x="3643" y="2608"/>
                  <a:pt x="3627" y="2544"/>
                  <a:pt x="3611" y="2481"/>
                </a:cubicBezTo>
                <a:cubicBezTo>
                  <a:pt x="3595" y="2417"/>
                  <a:pt x="3579" y="2369"/>
                  <a:pt x="3548" y="2321"/>
                </a:cubicBezTo>
                <a:cubicBezTo>
                  <a:pt x="3515" y="2290"/>
                  <a:pt x="3484" y="2258"/>
                  <a:pt x="3436" y="2226"/>
                </a:cubicBezTo>
                <a:cubicBezTo>
                  <a:pt x="3388" y="2210"/>
                  <a:pt x="3341" y="2194"/>
                  <a:pt x="3293" y="2194"/>
                </a:cubicBezTo>
                <a:cubicBezTo>
                  <a:pt x="3245" y="2194"/>
                  <a:pt x="3197" y="2210"/>
                  <a:pt x="3150" y="2226"/>
                </a:cubicBezTo>
                <a:cubicBezTo>
                  <a:pt x="3102" y="2258"/>
                  <a:pt x="3070" y="2290"/>
                  <a:pt x="3039" y="2321"/>
                </a:cubicBezTo>
                <a:cubicBezTo>
                  <a:pt x="3006" y="2369"/>
                  <a:pt x="2975" y="2417"/>
                  <a:pt x="2959" y="2481"/>
                </a:cubicBezTo>
                <a:cubicBezTo>
                  <a:pt x="2943" y="2544"/>
                  <a:pt x="2943" y="2608"/>
                  <a:pt x="2943" y="2687"/>
                </a:cubicBezTo>
                <a:cubicBezTo>
                  <a:pt x="2943" y="2846"/>
                  <a:pt x="2975" y="2974"/>
                  <a:pt x="3023" y="3053"/>
                </a:cubicBezTo>
                <a:cubicBezTo>
                  <a:pt x="3086" y="3133"/>
                  <a:pt x="3182" y="3164"/>
                  <a:pt x="3293" y="3164"/>
                </a:cubicBezTo>
                <a:close/>
                <a:moveTo>
                  <a:pt x="3293" y="2369"/>
                </a:moveTo>
                <a:cubicBezTo>
                  <a:pt x="3325" y="2369"/>
                  <a:pt x="3341" y="2385"/>
                  <a:pt x="3357" y="2385"/>
                </a:cubicBezTo>
                <a:cubicBezTo>
                  <a:pt x="3388" y="2401"/>
                  <a:pt x="3405" y="2417"/>
                  <a:pt x="3405" y="2449"/>
                </a:cubicBezTo>
                <a:cubicBezTo>
                  <a:pt x="3420" y="2465"/>
                  <a:pt x="3436" y="2512"/>
                  <a:pt x="3436" y="2544"/>
                </a:cubicBezTo>
                <a:cubicBezTo>
                  <a:pt x="3452" y="2592"/>
                  <a:pt x="3452" y="2640"/>
                  <a:pt x="3452" y="2687"/>
                </a:cubicBezTo>
                <a:cubicBezTo>
                  <a:pt x="3452" y="2735"/>
                  <a:pt x="3452" y="2783"/>
                  <a:pt x="3436" y="2830"/>
                </a:cubicBezTo>
                <a:cubicBezTo>
                  <a:pt x="3436" y="2863"/>
                  <a:pt x="3420" y="2910"/>
                  <a:pt x="3405" y="2926"/>
                </a:cubicBezTo>
                <a:cubicBezTo>
                  <a:pt x="3405" y="2958"/>
                  <a:pt x="3388" y="2974"/>
                  <a:pt x="3357" y="2990"/>
                </a:cubicBezTo>
                <a:cubicBezTo>
                  <a:pt x="3341" y="2990"/>
                  <a:pt x="3325" y="3006"/>
                  <a:pt x="3293" y="3006"/>
                </a:cubicBezTo>
                <a:cubicBezTo>
                  <a:pt x="3261" y="3006"/>
                  <a:pt x="3229" y="2990"/>
                  <a:pt x="3214" y="2990"/>
                </a:cubicBezTo>
                <a:cubicBezTo>
                  <a:pt x="3197" y="2974"/>
                  <a:pt x="3182" y="2958"/>
                  <a:pt x="3166" y="2926"/>
                </a:cubicBezTo>
                <a:cubicBezTo>
                  <a:pt x="3150" y="2910"/>
                  <a:pt x="3150" y="2863"/>
                  <a:pt x="3134" y="2830"/>
                </a:cubicBezTo>
                <a:lnTo>
                  <a:pt x="3134" y="2687"/>
                </a:lnTo>
                <a:lnTo>
                  <a:pt x="3134" y="2544"/>
                </a:lnTo>
                <a:cubicBezTo>
                  <a:pt x="3150" y="2512"/>
                  <a:pt x="3150" y="2465"/>
                  <a:pt x="3166" y="2449"/>
                </a:cubicBezTo>
                <a:cubicBezTo>
                  <a:pt x="3182" y="2417"/>
                  <a:pt x="3197" y="2401"/>
                  <a:pt x="3214" y="2385"/>
                </a:cubicBezTo>
                <a:cubicBezTo>
                  <a:pt x="3229" y="2385"/>
                  <a:pt x="3261" y="2369"/>
                  <a:pt x="3293" y="236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5" name="Freeform: Shape 18">
            <a:extLst>
              <a:ext uri="{FF2B5EF4-FFF2-40B4-BE49-F238E27FC236}">
                <a16:creationId xmlns:a16="http://schemas.microsoft.com/office/drawing/2014/main" id="{17B831AB-9221-794B-AFEB-81410ECBF1E6}"/>
              </a:ext>
            </a:extLst>
          </p:cNvPr>
          <p:cNvSpPr/>
          <p:nvPr/>
        </p:nvSpPr>
        <p:spPr>
          <a:xfrm>
            <a:off x="17406300" y="3402124"/>
            <a:ext cx="1717200" cy="1434240"/>
          </a:xfrm>
          <a:custGeom>
            <a:avLst/>
            <a:gdLst/>
            <a:ahLst/>
            <a:cxnLst>
              <a:cxn ang="3cd4">
                <a:pos x="hc" y="t"/>
              </a:cxn>
              <a:cxn ang="cd2">
                <a:pos x="l" y="vc"/>
              </a:cxn>
              <a:cxn ang="cd4">
                <a:pos x="hc" y="b"/>
              </a:cxn>
              <a:cxn ang="0">
                <a:pos x="r" y="vc"/>
              </a:cxn>
            </a:cxnLst>
            <a:rect l="l" t="t" r="r" b="b"/>
            <a:pathLst>
              <a:path w="4771" h="3985">
                <a:moveTo>
                  <a:pt x="4692" y="1201"/>
                </a:moveTo>
                <a:lnTo>
                  <a:pt x="2513" y="1201"/>
                </a:lnTo>
                <a:lnTo>
                  <a:pt x="3181" y="533"/>
                </a:lnTo>
                <a:cubicBezTo>
                  <a:pt x="3212" y="501"/>
                  <a:pt x="3212" y="454"/>
                  <a:pt x="3181" y="422"/>
                </a:cubicBezTo>
                <a:cubicBezTo>
                  <a:pt x="3149" y="390"/>
                  <a:pt x="3101" y="390"/>
                  <a:pt x="3069" y="422"/>
                </a:cubicBezTo>
                <a:lnTo>
                  <a:pt x="2417" y="1074"/>
                </a:lnTo>
                <a:lnTo>
                  <a:pt x="1383" y="25"/>
                </a:lnTo>
                <a:cubicBezTo>
                  <a:pt x="1352" y="-8"/>
                  <a:pt x="1304" y="-8"/>
                  <a:pt x="1272" y="25"/>
                </a:cubicBezTo>
                <a:cubicBezTo>
                  <a:pt x="1240" y="56"/>
                  <a:pt x="1240" y="120"/>
                  <a:pt x="1272" y="136"/>
                </a:cubicBezTo>
                <a:lnTo>
                  <a:pt x="2338" y="1201"/>
                </a:lnTo>
                <a:lnTo>
                  <a:pt x="79" y="1201"/>
                </a:lnTo>
                <a:cubicBezTo>
                  <a:pt x="47" y="1201"/>
                  <a:pt x="0" y="1233"/>
                  <a:pt x="0" y="1281"/>
                </a:cubicBezTo>
                <a:lnTo>
                  <a:pt x="0" y="3667"/>
                </a:lnTo>
                <a:cubicBezTo>
                  <a:pt x="0" y="3699"/>
                  <a:pt x="47" y="3746"/>
                  <a:pt x="79" y="3746"/>
                </a:cubicBezTo>
                <a:lnTo>
                  <a:pt x="636" y="3746"/>
                </a:lnTo>
                <a:lnTo>
                  <a:pt x="636" y="3906"/>
                </a:lnTo>
                <a:cubicBezTo>
                  <a:pt x="636" y="3937"/>
                  <a:pt x="683" y="3985"/>
                  <a:pt x="715" y="3985"/>
                </a:cubicBezTo>
                <a:cubicBezTo>
                  <a:pt x="763" y="3985"/>
                  <a:pt x="795" y="3937"/>
                  <a:pt x="795" y="3906"/>
                </a:cubicBezTo>
                <a:lnTo>
                  <a:pt x="795" y="3746"/>
                </a:lnTo>
                <a:lnTo>
                  <a:pt x="3976" y="3746"/>
                </a:lnTo>
                <a:lnTo>
                  <a:pt x="3976" y="3906"/>
                </a:lnTo>
                <a:cubicBezTo>
                  <a:pt x="3976" y="3937"/>
                  <a:pt x="4008" y="3985"/>
                  <a:pt x="4055" y="3985"/>
                </a:cubicBezTo>
                <a:cubicBezTo>
                  <a:pt x="4103" y="3985"/>
                  <a:pt x="4135" y="3937"/>
                  <a:pt x="4135" y="3906"/>
                </a:cubicBezTo>
                <a:lnTo>
                  <a:pt x="4135" y="3746"/>
                </a:lnTo>
                <a:lnTo>
                  <a:pt x="4692" y="3746"/>
                </a:lnTo>
                <a:cubicBezTo>
                  <a:pt x="4739" y="3746"/>
                  <a:pt x="4771" y="3699"/>
                  <a:pt x="4771" y="3667"/>
                </a:cubicBezTo>
                <a:lnTo>
                  <a:pt x="4771" y="1281"/>
                </a:lnTo>
                <a:cubicBezTo>
                  <a:pt x="4771" y="1233"/>
                  <a:pt x="4739" y="1201"/>
                  <a:pt x="4692" y="1201"/>
                </a:cubicBezTo>
                <a:close/>
                <a:moveTo>
                  <a:pt x="4612" y="3587"/>
                </a:moveTo>
                <a:lnTo>
                  <a:pt x="159" y="3587"/>
                </a:lnTo>
                <a:lnTo>
                  <a:pt x="159" y="1361"/>
                </a:lnTo>
                <a:lnTo>
                  <a:pt x="4612" y="1361"/>
                </a:lnTo>
                <a:close/>
                <a:moveTo>
                  <a:pt x="1033" y="2919"/>
                </a:moveTo>
                <a:cubicBezTo>
                  <a:pt x="1081" y="2919"/>
                  <a:pt x="1129" y="2919"/>
                  <a:pt x="1177" y="2888"/>
                </a:cubicBezTo>
                <a:cubicBezTo>
                  <a:pt x="1224" y="2872"/>
                  <a:pt x="1256" y="2840"/>
                  <a:pt x="1288" y="2808"/>
                </a:cubicBezTo>
                <a:cubicBezTo>
                  <a:pt x="1320" y="2760"/>
                  <a:pt x="1336" y="2712"/>
                  <a:pt x="1352" y="2649"/>
                </a:cubicBezTo>
                <a:cubicBezTo>
                  <a:pt x="1367" y="2585"/>
                  <a:pt x="1383" y="2522"/>
                  <a:pt x="1383" y="2442"/>
                </a:cubicBezTo>
                <a:cubicBezTo>
                  <a:pt x="1383" y="2363"/>
                  <a:pt x="1367" y="2283"/>
                  <a:pt x="1352" y="2236"/>
                </a:cubicBezTo>
                <a:cubicBezTo>
                  <a:pt x="1336" y="2172"/>
                  <a:pt x="1320" y="2124"/>
                  <a:pt x="1288" y="2076"/>
                </a:cubicBezTo>
                <a:cubicBezTo>
                  <a:pt x="1256" y="2028"/>
                  <a:pt x="1224" y="1997"/>
                  <a:pt x="1177" y="1981"/>
                </a:cubicBezTo>
                <a:cubicBezTo>
                  <a:pt x="1129" y="1965"/>
                  <a:pt x="1081" y="1949"/>
                  <a:pt x="1033" y="1949"/>
                </a:cubicBezTo>
                <a:cubicBezTo>
                  <a:pt x="986" y="1949"/>
                  <a:pt x="938" y="1965"/>
                  <a:pt x="890" y="1981"/>
                </a:cubicBezTo>
                <a:cubicBezTo>
                  <a:pt x="843" y="1997"/>
                  <a:pt x="811" y="2028"/>
                  <a:pt x="779" y="2076"/>
                </a:cubicBezTo>
                <a:cubicBezTo>
                  <a:pt x="747" y="2124"/>
                  <a:pt x="715" y="2172"/>
                  <a:pt x="700" y="2236"/>
                </a:cubicBezTo>
                <a:cubicBezTo>
                  <a:pt x="683" y="2283"/>
                  <a:pt x="683" y="2363"/>
                  <a:pt x="683" y="2442"/>
                </a:cubicBezTo>
                <a:cubicBezTo>
                  <a:pt x="683" y="2601"/>
                  <a:pt x="715" y="2728"/>
                  <a:pt x="763" y="2808"/>
                </a:cubicBezTo>
                <a:cubicBezTo>
                  <a:pt x="827" y="2888"/>
                  <a:pt x="922" y="2919"/>
                  <a:pt x="1033" y="2919"/>
                </a:cubicBezTo>
                <a:close/>
                <a:moveTo>
                  <a:pt x="1033" y="2124"/>
                </a:moveTo>
                <a:cubicBezTo>
                  <a:pt x="1065" y="2124"/>
                  <a:pt x="1081" y="2124"/>
                  <a:pt x="1097" y="2140"/>
                </a:cubicBezTo>
                <a:cubicBezTo>
                  <a:pt x="1129" y="2156"/>
                  <a:pt x="1145" y="2172"/>
                  <a:pt x="1145" y="2203"/>
                </a:cubicBezTo>
                <a:cubicBezTo>
                  <a:pt x="1161" y="2219"/>
                  <a:pt x="1177" y="2251"/>
                  <a:pt x="1177" y="2299"/>
                </a:cubicBezTo>
                <a:cubicBezTo>
                  <a:pt x="1192" y="2346"/>
                  <a:pt x="1192" y="2394"/>
                  <a:pt x="1192" y="2442"/>
                </a:cubicBezTo>
                <a:cubicBezTo>
                  <a:pt x="1192" y="2490"/>
                  <a:pt x="1192" y="2537"/>
                  <a:pt x="1177" y="2585"/>
                </a:cubicBezTo>
                <a:cubicBezTo>
                  <a:pt x="1177" y="2617"/>
                  <a:pt x="1161" y="2649"/>
                  <a:pt x="1145" y="2681"/>
                </a:cubicBezTo>
                <a:cubicBezTo>
                  <a:pt x="1145" y="2712"/>
                  <a:pt x="1129" y="2728"/>
                  <a:pt x="1097" y="2745"/>
                </a:cubicBezTo>
                <a:cubicBezTo>
                  <a:pt x="1081" y="2745"/>
                  <a:pt x="1065" y="2760"/>
                  <a:pt x="1033" y="2760"/>
                </a:cubicBezTo>
                <a:cubicBezTo>
                  <a:pt x="1001" y="2760"/>
                  <a:pt x="970" y="2745"/>
                  <a:pt x="954" y="2745"/>
                </a:cubicBezTo>
                <a:cubicBezTo>
                  <a:pt x="938" y="2728"/>
                  <a:pt x="922" y="2712"/>
                  <a:pt x="906" y="2681"/>
                </a:cubicBezTo>
                <a:cubicBezTo>
                  <a:pt x="890" y="2649"/>
                  <a:pt x="890" y="2617"/>
                  <a:pt x="874" y="2585"/>
                </a:cubicBezTo>
                <a:lnTo>
                  <a:pt x="874" y="2442"/>
                </a:lnTo>
                <a:lnTo>
                  <a:pt x="874" y="2299"/>
                </a:lnTo>
                <a:cubicBezTo>
                  <a:pt x="890" y="2251"/>
                  <a:pt x="890" y="2219"/>
                  <a:pt x="906" y="2203"/>
                </a:cubicBezTo>
                <a:cubicBezTo>
                  <a:pt x="922" y="2172"/>
                  <a:pt x="938" y="2156"/>
                  <a:pt x="954" y="2140"/>
                </a:cubicBezTo>
                <a:cubicBezTo>
                  <a:pt x="970" y="2124"/>
                  <a:pt x="1001" y="2124"/>
                  <a:pt x="1033" y="2124"/>
                </a:cubicBezTo>
                <a:close/>
                <a:moveTo>
                  <a:pt x="1574" y="2776"/>
                </a:moveTo>
                <a:cubicBezTo>
                  <a:pt x="1590" y="2824"/>
                  <a:pt x="1638" y="2855"/>
                  <a:pt x="1670" y="2888"/>
                </a:cubicBezTo>
                <a:cubicBezTo>
                  <a:pt x="1718" y="2903"/>
                  <a:pt x="1781" y="2919"/>
                  <a:pt x="1845" y="2919"/>
                </a:cubicBezTo>
                <a:cubicBezTo>
                  <a:pt x="1892" y="2919"/>
                  <a:pt x="1940" y="2919"/>
                  <a:pt x="1972" y="2903"/>
                </a:cubicBezTo>
                <a:cubicBezTo>
                  <a:pt x="2019" y="2888"/>
                  <a:pt x="2051" y="2855"/>
                  <a:pt x="2083" y="2840"/>
                </a:cubicBezTo>
                <a:cubicBezTo>
                  <a:pt x="2115" y="2808"/>
                  <a:pt x="2131" y="2776"/>
                  <a:pt x="2147" y="2728"/>
                </a:cubicBezTo>
                <a:cubicBezTo>
                  <a:pt x="2163" y="2697"/>
                  <a:pt x="2163" y="2649"/>
                  <a:pt x="2163" y="2601"/>
                </a:cubicBezTo>
                <a:cubicBezTo>
                  <a:pt x="2163" y="2554"/>
                  <a:pt x="2163" y="2522"/>
                  <a:pt x="2147" y="2474"/>
                </a:cubicBezTo>
                <a:cubicBezTo>
                  <a:pt x="2147" y="2442"/>
                  <a:pt x="2131" y="2410"/>
                  <a:pt x="2099" y="2379"/>
                </a:cubicBezTo>
                <a:cubicBezTo>
                  <a:pt x="2083" y="2346"/>
                  <a:pt x="2051" y="2331"/>
                  <a:pt x="2004" y="2315"/>
                </a:cubicBezTo>
                <a:cubicBezTo>
                  <a:pt x="1972" y="2283"/>
                  <a:pt x="1924" y="2283"/>
                  <a:pt x="1876" y="2283"/>
                </a:cubicBezTo>
                <a:cubicBezTo>
                  <a:pt x="1813" y="2283"/>
                  <a:pt x="1765" y="2299"/>
                  <a:pt x="1733" y="2315"/>
                </a:cubicBezTo>
                <a:cubicBezTo>
                  <a:pt x="1718" y="2315"/>
                  <a:pt x="1712" y="2326"/>
                  <a:pt x="1701" y="2331"/>
                </a:cubicBezTo>
                <a:lnTo>
                  <a:pt x="1701" y="2283"/>
                </a:lnTo>
                <a:cubicBezTo>
                  <a:pt x="1718" y="2236"/>
                  <a:pt x="1733" y="2203"/>
                  <a:pt x="1749" y="2188"/>
                </a:cubicBezTo>
                <a:cubicBezTo>
                  <a:pt x="1765" y="2156"/>
                  <a:pt x="1781" y="2140"/>
                  <a:pt x="1797" y="2140"/>
                </a:cubicBezTo>
                <a:cubicBezTo>
                  <a:pt x="1813" y="2124"/>
                  <a:pt x="1845" y="2124"/>
                  <a:pt x="1861" y="2124"/>
                </a:cubicBezTo>
                <a:lnTo>
                  <a:pt x="1924" y="2124"/>
                </a:lnTo>
                <a:lnTo>
                  <a:pt x="1940" y="2140"/>
                </a:lnTo>
                <a:cubicBezTo>
                  <a:pt x="1956" y="2140"/>
                  <a:pt x="1956" y="2156"/>
                  <a:pt x="1972" y="2172"/>
                </a:cubicBezTo>
                <a:cubicBezTo>
                  <a:pt x="1977" y="2188"/>
                  <a:pt x="1988" y="2188"/>
                  <a:pt x="1988" y="2219"/>
                </a:cubicBezTo>
                <a:cubicBezTo>
                  <a:pt x="1988" y="2236"/>
                  <a:pt x="2004" y="2236"/>
                  <a:pt x="2019" y="2236"/>
                </a:cubicBezTo>
                <a:lnTo>
                  <a:pt x="2131" y="2219"/>
                </a:lnTo>
                <a:cubicBezTo>
                  <a:pt x="2136" y="2214"/>
                  <a:pt x="2147" y="2219"/>
                  <a:pt x="2147" y="2203"/>
                </a:cubicBezTo>
                <a:cubicBezTo>
                  <a:pt x="2163" y="2203"/>
                  <a:pt x="2163" y="2188"/>
                  <a:pt x="2163" y="2172"/>
                </a:cubicBezTo>
                <a:cubicBezTo>
                  <a:pt x="2147" y="2108"/>
                  <a:pt x="2115" y="2045"/>
                  <a:pt x="2067" y="2013"/>
                </a:cubicBezTo>
                <a:cubicBezTo>
                  <a:pt x="2019" y="1981"/>
                  <a:pt x="1956" y="1949"/>
                  <a:pt x="1861" y="1949"/>
                </a:cubicBezTo>
                <a:cubicBezTo>
                  <a:pt x="1813" y="1949"/>
                  <a:pt x="1781" y="1965"/>
                  <a:pt x="1733" y="1981"/>
                </a:cubicBezTo>
                <a:cubicBezTo>
                  <a:pt x="1686" y="1997"/>
                  <a:pt x="1654" y="2028"/>
                  <a:pt x="1622" y="2076"/>
                </a:cubicBezTo>
                <a:cubicBezTo>
                  <a:pt x="1590" y="2108"/>
                  <a:pt x="1558" y="2172"/>
                  <a:pt x="1542" y="2236"/>
                </a:cubicBezTo>
                <a:cubicBezTo>
                  <a:pt x="1510" y="2315"/>
                  <a:pt x="1510" y="2394"/>
                  <a:pt x="1510" y="2490"/>
                </a:cubicBezTo>
                <a:cubicBezTo>
                  <a:pt x="1510" y="2537"/>
                  <a:pt x="1510" y="2601"/>
                  <a:pt x="1527" y="2649"/>
                </a:cubicBezTo>
                <a:cubicBezTo>
                  <a:pt x="1527" y="2697"/>
                  <a:pt x="1542" y="2745"/>
                  <a:pt x="1574" y="2776"/>
                </a:cubicBezTo>
                <a:close/>
                <a:moveTo>
                  <a:pt x="1797" y="2458"/>
                </a:moveTo>
                <a:cubicBezTo>
                  <a:pt x="1813" y="2442"/>
                  <a:pt x="1829" y="2442"/>
                  <a:pt x="1861" y="2442"/>
                </a:cubicBezTo>
                <a:cubicBezTo>
                  <a:pt x="1876" y="2442"/>
                  <a:pt x="1908" y="2442"/>
                  <a:pt x="1924" y="2458"/>
                </a:cubicBezTo>
                <a:cubicBezTo>
                  <a:pt x="1940" y="2458"/>
                  <a:pt x="1956" y="2474"/>
                  <a:pt x="1956" y="2490"/>
                </a:cubicBezTo>
                <a:cubicBezTo>
                  <a:pt x="1972" y="2506"/>
                  <a:pt x="1972" y="2522"/>
                  <a:pt x="1988" y="2537"/>
                </a:cubicBezTo>
                <a:lnTo>
                  <a:pt x="1988" y="2601"/>
                </a:lnTo>
                <a:cubicBezTo>
                  <a:pt x="1988" y="2649"/>
                  <a:pt x="1972" y="2697"/>
                  <a:pt x="1956" y="2728"/>
                </a:cubicBezTo>
                <a:cubicBezTo>
                  <a:pt x="1924" y="2745"/>
                  <a:pt x="1892" y="2760"/>
                  <a:pt x="1845" y="2760"/>
                </a:cubicBezTo>
                <a:cubicBezTo>
                  <a:pt x="1813" y="2760"/>
                  <a:pt x="1797" y="2760"/>
                  <a:pt x="1781" y="2745"/>
                </a:cubicBezTo>
                <a:cubicBezTo>
                  <a:pt x="1765" y="2745"/>
                  <a:pt x="1749" y="2728"/>
                  <a:pt x="1733" y="2712"/>
                </a:cubicBezTo>
                <a:cubicBezTo>
                  <a:pt x="1733" y="2697"/>
                  <a:pt x="1718" y="2681"/>
                  <a:pt x="1718" y="2665"/>
                </a:cubicBezTo>
                <a:cubicBezTo>
                  <a:pt x="1701" y="2649"/>
                  <a:pt x="1701" y="2633"/>
                  <a:pt x="1701" y="2601"/>
                </a:cubicBezTo>
                <a:cubicBezTo>
                  <a:pt x="1701" y="2585"/>
                  <a:pt x="1701" y="2554"/>
                  <a:pt x="1718" y="2537"/>
                </a:cubicBezTo>
                <a:cubicBezTo>
                  <a:pt x="1718" y="2506"/>
                  <a:pt x="1733" y="2490"/>
                  <a:pt x="1749" y="2474"/>
                </a:cubicBezTo>
                <a:cubicBezTo>
                  <a:pt x="1765" y="2474"/>
                  <a:pt x="1781" y="2458"/>
                  <a:pt x="1797" y="2458"/>
                </a:cubicBezTo>
                <a:close/>
                <a:moveTo>
                  <a:pt x="2322" y="2410"/>
                </a:moveTo>
                <a:lnTo>
                  <a:pt x="2449" y="2410"/>
                </a:lnTo>
                <a:cubicBezTo>
                  <a:pt x="2465" y="2410"/>
                  <a:pt x="2481" y="2394"/>
                  <a:pt x="2481" y="2379"/>
                </a:cubicBezTo>
                <a:lnTo>
                  <a:pt x="2481" y="2236"/>
                </a:lnTo>
                <a:cubicBezTo>
                  <a:pt x="2481" y="2203"/>
                  <a:pt x="2465" y="2188"/>
                  <a:pt x="2449" y="2188"/>
                </a:cubicBezTo>
                <a:lnTo>
                  <a:pt x="2322" y="2188"/>
                </a:lnTo>
                <a:cubicBezTo>
                  <a:pt x="2306" y="2188"/>
                  <a:pt x="2290" y="2203"/>
                  <a:pt x="2290" y="2236"/>
                </a:cubicBezTo>
                <a:lnTo>
                  <a:pt x="2290" y="2379"/>
                </a:lnTo>
                <a:cubicBezTo>
                  <a:pt x="2290" y="2394"/>
                  <a:pt x="2306" y="2410"/>
                  <a:pt x="2322" y="2410"/>
                </a:cubicBezTo>
                <a:close/>
                <a:moveTo>
                  <a:pt x="2322" y="2903"/>
                </a:moveTo>
                <a:lnTo>
                  <a:pt x="2449" y="2903"/>
                </a:lnTo>
                <a:cubicBezTo>
                  <a:pt x="2465" y="2903"/>
                  <a:pt x="2481" y="2888"/>
                  <a:pt x="2481" y="2872"/>
                </a:cubicBezTo>
                <a:lnTo>
                  <a:pt x="2481" y="2728"/>
                </a:lnTo>
                <a:cubicBezTo>
                  <a:pt x="2481" y="2697"/>
                  <a:pt x="2465" y="2681"/>
                  <a:pt x="2449" y="2681"/>
                </a:cubicBezTo>
                <a:lnTo>
                  <a:pt x="2322" y="2681"/>
                </a:lnTo>
                <a:cubicBezTo>
                  <a:pt x="2306" y="2681"/>
                  <a:pt x="2290" y="2697"/>
                  <a:pt x="2290" y="2728"/>
                </a:cubicBezTo>
                <a:lnTo>
                  <a:pt x="2290" y="2872"/>
                </a:lnTo>
                <a:cubicBezTo>
                  <a:pt x="2290" y="2888"/>
                  <a:pt x="2306" y="2903"/>
                  <a:pt x="2322" y="2903"/>
                </a:cubicBezTo>
                <a:close/>
                <a:moveTo>
                  <a:pt x="2958" y="2760"/>
                </a:moveTo>
                <a:cubicBezTo>
                  <a:pt x="2910" y="2760"/>
                  <a:pt x="2863" y="2745"/>
                  <a:pt x="2847" y="2728"/>
                </a:cubicBezTo>
                <a:cubicBezTo>
                  <a:pt x="2831" y="2712"/>
                  <a:pt x="2815" y="2665"/>
                  <a:pt x="2799" y="2633"/>
                </a:cubicBezTo>
                <a:cubicBezTo>
                  <a:pt x="2799" y="2601"/>
                  <a:pt x="2783" y="2601"/>
                  <a:pt x="2767" y="2601"/>
                </a:cubicBezTo>
                <a:lnTo>
                  <a:pt x="2656" y="2601"/>
                </a:lnTo>
                <a:lnTo>
                  <a:pt x="2640" y="2601"/>
                </a:lnTo>
                <a:cubicBezTo>
                  <a:pt x="2624" y="2617"/>
                  <a:pt x="2624" y="2617"/>
                  <a:pt x="2624" y="2633"/>
                </a:cubicBezTo>
                <a:cubicBezTo>
                  <a:pt x="2624" y="2665"/>
                  <a:pt x="2640" y="2697"/>
                  <a:pt x="2640" y="2728"/>
                </a:cubicBezTo>
                <a:cubicBezTo>
                  <a:pt x="2656" y="2760"/>
                  <a:pt x="2672" y="2792"/>
                  <a:pt x="2703" y="2824"/>
                </a:cubicBezTo>
                <a:cubicBezTo>
                  <a:pt x="2719" y="2855"/>
                  <a:pt x="2767" y="2888"/>
                  <a:pt x="2799" y="2903"/>
                </a:cubicBezTo>
                <a:cubicBezTo>
                  <a:pt x="2847" y="2919"/>
                  <a:pt x="2894" y="2919"/>
                  <a:pt x="2958" y="2919"/>
                </a:cubicBezTo>
                <a:cubicBezTo>
                  <a:pt x="3022" y="2919"/>
                  <a:pt x="3069" y="2919"/>
                  <a:pt x="3101" y="2903"/>
                </a:cubicBezTo>
                <a:cubicBezTo>
                  <a:pt x="3149" y="2888"/>
                  <a:pt x="3181" y="2872"/>
                  <a:pt x="3212" y="2840"/>
                </a:cubicBezTo>
                <a:cubicBezTo>
                  <a:pt x="3228" y="2808"/>
                  <a:pt x="3260" y="2776"/>
                  <a:pt x="3260" y="2745"/>
                </a:cubicBezTo>
                <a:cubicBezTo>
                  <a:pt x="3276" y="2712"/>
                  <a:pt x="3292" y="2665"/>
                  <a:pt x="3292" y="2617"/>
                </a:cubicBezTo>
                <a:cubicBezTo>
                  <a:pt x="3292" y="2569"/>
                  <a:pt x="3276" y="2522"/>
                  <a:pt x="3245" y="2474"/>
                </a:cubicBezTo>
                <a:cubicBezTo>
                  <a:pt x="3228" y="2442"/>
                  <a:pt x="3212" y="2426"/>
                  <a:pt x="3181" y="2410"/>
                </a:cubicBezTo>
                <a:cubicBezTo>
                  <a:pt x="3197" y="2394"/>
                  <a:pt x="3212" y="2379"/>
                  <a:pt x="3228" y="2346"/>
                </a:cubicBezTo>
                <a:cubicBezTo>
                  <a:pt x="3260" y="2315"/>
                  <a:pt x="3260" y="2267"/>
                  <a:pt x="3260" y="2203"/>
                </a:cubicBezTo>
                <a:cubicBezTo>
                  <a:pt x="3260" y="2172"/>
                  <a:pt x="3260" y="2140"/>
                  <a:pt x="3245" y="2108"/>
                </a:cubicBezTo>
                <a:cubicBezTo>
                  <a:pt x="3228" y="2076"/>
                  <a:pt x="3212" y="2045"/>
                  <a:pt x="3181" y="2028"/>
                </a:cubicBezTo>
                <a:cubicBezTo>
                  <a:pt x="3165" y="2013"/>
                  <a:pt x="3133" y="1981"/>
                  <a:pt x="3085" y="1981"/>
                </a:cubicBezTo>
                <a:cubicBezTo>
                  <a:pt x="3054" y="1965"/>
                  <a:pt x="3006" y="1949"/>
                  <a:pt x="2958" y="1949"/>
                </a:cubicBezTo>
                <a:cubicBezTo>
                  <a:pt x="2910" y="1949"/>
                  <a:pt x="2863" y="1965"/>
                  <a:pt x="2831" y="1981"/>
                </a:cubicBezTo>
                <a:cubicBezTo>
                  <a:pt x="2783" y="1981"/>
                  <a:pt x="2751" y="2013"/>
                  <a:pt x="2719" y="2028"/>
                </a:cubicBezTo>
                <a:cubicBezTo>
                  <a:pt x="2703" y="2060"/>
                  <a:pt x="2672" y="2076"/>
                  <a:pt x="2672" y="2108"/>
                </a:cubicBezTo>
                <a:cubicBezTo>
                  <a:pt x="2656" y="2140"/>
                  <a:pt x="2640" y="2172"/>
                  <a:pt x="2640" y="2203"/>
                </a:cubicBezTo>
                <a:cubicBezTo>
                  <a:pt x="2624" y="2219"/>
                  <a:pt x="2640" y="2219"/>
                  <a:pt x="2640" y="2236"/>
                </a:cubicBezTo>
                <a:lnTo>
                  <a:pt x="2656" y="2251"/>
                </a:lnTo>
                <a:lnTo>
                  <a:pt x="2767" y="2267"/>
                </a:lnTo>
                <a:cubicBezTo>
                  <a:pt x="2783" y="2267"/>
                  <a:pt x="2799" y="2251"/>
                  <a:pt x="2799" y="2236"/>
                </a:cubicBezTo>
                <a:cubicBezTo>
                  <a:pt x="2815" y="2203"/>
                  <a:pt x="2831" y="2172"/>
                  <a:pt x="2863" y="2156"/>
                </a:cubicBezTo>
                <a:cubicBezTo>
                  <a:pt x="2879" y="2124"/>
                  <a:pt x="2910" y="2124"/>
                  <a:pt x="2958" y="2124"/>
                </a:cubicBezTo>
                <a:cubicBezTo>
                  <a:pt x="3006" y="2124"/>
                  <a:pt x="3037" y="2140"/>
                  <a:pt x="3054" y="2156"/>
                </a:cubicBezTo>
                <a:cubicBezTo>
                  <a:pt x="3069" y="2172"/>
                  <a:pt x="3085" y="2188"/>
                  <a:pt x="3085" y="2219"/>
                </a:cubicBezTo>
                <a:cubicBezTo>
                  <a:pt x="3085" y="2267"/>
                  <a:pt x="3069" y="2299"/>
                  <a:pt x="3054" y="2315"/>
                </a:cubicBezTo>
                <a:cubicBezTo>
                  <a:pt x="3037" y="2331"/>
                  <a:pt x="3006" y="2331"/>
                  <a:pt x="2974" y="2331"/>
                </a:cubicBezTo>
                <a:lnTo>
                  <a:pt x="2863" y="2331"/>
                </a:lnTo>
                <a:cubicBezTo>
                  <a:pt x="2847" y="2331"/>
                  <a:pt x="2831" y="2346"/>
                  <a:pt x="2831" y="2379"/>
                </a:cubicBezTo>
                <a:lnTo>
                  <a:pt x="2831" y="2474"/>
                </a:lnTo>
                <a:cubicBezTo>
                  <a:pt x="2831" y="2490"/>
                  <a:pt x="2847" y="2506"/>
                  <a:pt x="2863" y="2506"/>
                </a:cubicBezTo>
                <a:lnTo>
                  <a:pt x="2974" y="2506"/>
                </a:lnTo>
                <a:cubicBezTo>
                  <a:pt x="3006" y="2506"/>
                  <a:pt x="3054" y="2522"/>
                  <a:pt x="3069" y="2537"/>
                </a:cubicBezTo>
                <a:cubicBezTo>
                  <a:pt x="3085" y="2554"/>
                  <a:pt x="3101" y="2585"/>
                  <a:pt x="3101" y="2633"/>
                </a:cubicBezTo>
                <a:cubicBezTo>
                  <a:pt x="3101" y="2665"/>
                  <a:pt x="3085" y="2697"/>
                  <a:pt x="3069" y="2728"/>
                </a:cubicBezTo>
                <a:cubicBezTo>
                  <a:pt x="3054" y="2745"/>
                  <a:pt x="3006" y="2760"/>
                  <a:pt x="2958" y="2760"/>
                </a:cubicBezTo>
                <a:close/>
                <a:moveTo>
                  <a:pt x="3737" y="2919"/>
                </a:moveTo>
                <a:cubicBezTo>
                  <a:pt x="3801" y="2919"/>
                  <a:pt x="3849" y="2919"/>
                  <a:pt x="3897" y="2888"/>
                </a:cubicBezTo>
                <a:cubicBezTo>
                  <a:pt x="3928" y="2872"/>
                  <a:pt x="3976" y="2840"/>
                  <a:pt x="4008" y="2808"/>
                </a:cubicBezTo>
                <a:cubicBezTo>
                  <a:pt x="4040" y="2760"/>
                  <a:pt x="4055" y="2712"/>
                  <a:pt x="4072" y="2649"/>
                </a:cubicBezTo>
                <a:cubicBezTo>
                  <a:pt x="4087" y="2585"/>
                  <a:pt x="4087" y="2522"/>
                  <a:pt x="4087" y="2442"/>
                </a:cubicBezTo>
                <a:cubicBezTo>
                  <a:pt x="4087" y="2363"/>
                  <a:pt x="4087" y="2283"/>
                  <a:pt x="4072" y="2236"/>
                </a:cubicBezTo>
                <a:cubicBezTo>
                  <a:pt x="4055" y="2172"/>
                  <a:pt x="4040" y="2124"/>
                  <a:pt x="4008" y="2076"/>
                </a:cubicBezTo>
                <a:cubicBezTo>
                  <a:pt x="3976" y="2028"/>
                  <a:pt x="3928" y="1997"/>
                  <a:pt x="3897" y="1981"/>
                </a:cubicBezTo>
                <a:cubicBezTo>
                  <a:pt x="3849" y="1965"/>
                  <a:pt x="3801" y="1949"/>
                  <a:pt x="3754" y="1949"/>
                </a:cubicBezTo>
                <a:cubicBezTo>
                  <a:pt x="3690" y="1949"/>
                  <a:pt x="3642" y="1965"/>
                  <a:pt x="3594" y="1981"/>
                </a:cubicBezTo>
                <a:cubicBezTo>
                  <a:pt x="3563" y="1997"/>
                  <a:pt x="3515" y="2028"/>
                  <a:pt x="3483" y="2076"/>
                </a:cubicBezTo>
                <a:cubicBezTo>
                  <a:pt x="3451" y="2124"/>
                  <a:pt x="3435" y="2172"/>
                  <a:pt x="3419" y="2236"/>
                </a:cubicBezTo>
                <a:cubicBezTo>
                  <a:pt x="3403" y="2283"/>
                  <a:pt x="3388" y="2363"/>
                  <a:pt x="3388" y="2442"/>
                </a:cubicBezTo>
                <a:cubicBezTo>
                  <a:pt x="3388" y="2601"/>
                  <a:pt x="3419" y="2728"/>
                  <a:pt x="3483" y="2808"/>
                </a:cubicBezTo>
                <a:cubicBezTo>
                  <a:pt x="3546" y="2888"/>
                  <a:pt x="3626" y="2919"/>
                  <a:pt x="3737" y="2919"/>
                </a:cubicBezTo>
                <a:close/>
                <a:moveTo>
                  <a:pt x="3737" y="2124"/>
                </a:moveTo>
                <a:cubicBezTo>
                  <a:pt x="3769" y="2124"/>
                  <a:pt x="3801" y="2124"/>
                  <a:pt x="3817" y="2140"/>
                </a:cubicBezTo>
                <a:cubicBezTo>
                  <a:pt x="3833" y="2156"/>
                  <a:pt x="3849" y="2172"/>
                  <a:pt x="3864" y="2203"/>
                </a:cubicBezTo>
                <a:cubicBezTo>
                  <a:pt x="3881" y="2219"/>
                  <a:pt x="3881" y="2251"/>
                  <a:pt x="3897" y="2299"/>
                </a:cubicBezTo>
                <a:cubicBezTo>
                  <a:pt x="3897" y="2346"/>
                  <a:pt x="3912" y="2394"/>
                  <a:pt x="3912" y="2442"/>
                </a:cubicBezTo>
                <a:cubicBezTo>
                  <a:pt x="3912" y="2490"/>
                  <a:pt x="3897" y="2537"/>
                  <a:pt x="3897" y="2585"/>
                </a:cubicBezTo>
                <a:cubicBezTo>
                  <a:pt x="3881" y="2617"/>
                  <a:pt x="3881" y="2649"/>
                  <a:pt x="3864" y="2681"/>
                </a:cubicBezTo>
                <a:cubicBezTo>
                  <a:pt x="3849" y="2712"/>
                  <a:pt x="3833" y="2728"/>
                  <a:pt x="3817" y="2745"/>
                </a:cubicBezTo>
                <a:cubicBezTo>
                  <a:pt x="3801" y="2745"/>
                  <a:pt x="3769" y="2760"/>
                  <a:pt x="3737" y="2760"/>
                </a:cubicBezTo>
                <a:cubicBezTo>
                  <a:pt x="3721" y="2760"/>
                  <a:pt x="3690" y="2745"/>
                  <a:pt x="3674" y="2745"/>
                </a:cubicBezTo>
                <a:cubicBezTo>
                  <a:pt x="3642" y="2728"/>
                  <a:pt x="3626" y="2712"/>
                  <a:pt x="3626" y="2681"/>
                </a:cubicBezTo>
                <a:cubicBezTo>
                  <a:pt x="3610" y="2649"/>
                  <a:pt x="3594" y="2617"/>
                  <a:pt x="3594" y="2585"/>
                </a:cubicBezTo>
                <a:cubicBezTo>
                  <a:pt x="3578" y="2537"/>
                  <a:pt x="3578" y="2490"/>
                  <a:pt x="3578" y="2442"/>
                </a:cubicBezTo>
                <a:cubicBezTo>
                  <a:pt x="3578" y="2394"/>
                  <a:pt x="3578" y="2346"/>
                  <a:pt x="3594" y="2299"/>
                </a:cubicBezTo>
                <a:cubicBezTo>
                  <a:pt x="3594" y="2251"/>
                  <a:pt x="3610" y="2219"/>
                  <a:pt x="3626" y="2203"/>
                </a:cubicBezTo>
                <a:cubicBezTo>
                  <a:pt x="3626" y="2172"/>
                  <a:pt x="3642" y="2156"/>
                  <a:pt x="3674" y="2140"/>
                </a:cubicBezTo>
                <a:cubicBezTo>
                  <a:pt x="3690" y="2124"/>
                  <a:pt x="3721" y="2124"/>
                  <a:pt x="3737" y="212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16225469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Time - 2</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28" name="TextBox 27">
            <a:extLst>
              <a:ext uri="{FF2B5EF4-FFF2-40B4-BE49-F238E27FC236}">
                <a16:creationId xmlns:a16="http://schemas.microsoft.com/office/drawing/2014/main" id="{F2AF2352-2479-6F48-A274-7BEFDBE902F0}"/>
              </a:ext>
            </a:extLst>
          </p:cNvPr>
          <p:cNvSpPr txBox="1"/>
          <p:nvPr/>
        </p:nvSpPr>
        <p:spPr>
          <a:xfrm>
            <a:off x="-47946" y="11657695"/>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ourglass</a:t>
            </a:r>
          </a:p>
        </p:txBody>
      </p:sp>
      <p:sp>
        <p:nvSpPr>
          <p:cNvPr id="42" name="TextBox 41">
            <a:extLst>
              <a:ext uri="{FF2B5EF4-FFF2-40B4-BE49-F238E27FC236}">
                <a16:creationId xmlns:a16="http://schemas.microsoft.com/office/drawing/2014/main" id="{DF898051-F1D8-F741-885B-A9AAF53FBD22}"/>
              </a:ext>
            </a:extLst>
          </p:cNvPr>
          <p:cNvSpPr txBox="1"/>
          <p:nvPr/>
        </p:nvSpPr>
        <p:spPr>
          <a:xfrm>
            <a:off x="19265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12 Hours</a:t>
            </a:r>
          </a:p>
        </p:txBody>
      </p:sp>
      <p:sp>
        <p:nvSpPr>
          <p:cNvPr id="66" name="TextBox 65">
            <a:extLst>
              <a:ext uri="{FF2B5EF4-FFF2-40B4-BE49-F238E27FC236}">
                <a16:creationId xmlns:a16="http://schemas.microsoft.com/office/drawing/2014/main" id="{0D836CB5-5F16-8840-BAAB-CDB967071A8C}"/>
              </a:ext>
            </a:extLst>
          </p:cNvPr>
          <p:cNvSpPr txBox="1"/>
          <p:nvPr/>
        </p:nvSpPr>
        <p:spPr>
          <a:xfrm>
            <a:off x="424490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ic Toc</a:t>
            </a:r>
          </a:p>
        </p:txBody>
      </p:sp>
      <p:sp>
        <p:nvSpPr>
          <p:cNvPr id="67" name="TextBox 66">
            <a:extLst>
              <a:ext uri="{FF2B5EF4-FFF2-40B4-BE49-F238E27FC236}">
                <a16:creationId xmlns:a16="http://schemas.microsoft.com/office/drawing/2014/main" id="{A9549059-7158-924F-98D7-443F08E7D03D}"/>
              </a:ext>
            </a:extLst>
          </p:cNvPr>
          <p:cNvSpPr txBox="1"/>
          <p:nvPr/>
        </p:nvSpPr>
        <p:spPr>
          <a:xfrm>
            <a:off x="12205049"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pwatch Digital</a:t>
            </a:r>
          </a:p>
        </p:txBody>
      </p:sp>
      <p:sp>
        <p:nvSpPr>
          <p:cNvPr id="68" name="Freeform: Shape 26">
            <a:extLst>
              <a:ext uri="{FF2B5EF4-FFF2-40B4-BE49-F238E27FC236}">
                <a16:creationId xmlns:a16="http://schemas.microsoft.com/office/drawing/2014/main" id="{E6AD9D7F-8157-814A-8306-F4E5E3A717C5}"/>
              </a:ext>
            </a:extLst>
          </p:cNvPr>
          <p:cNvSpPr/>
          <p:nvPr/>
        </p:nvSpPr>
        <p:spPr>
          <a:xfrm>
            <a:off x="600181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9" name="TextBox 68">
            <a:extLst>
              <a:ext uri="{FF2B5EF4-FFF2-40B4-BE49-F238E27FC236}">
                <a16:creationId xmlns:a16="http://schemas.microsoft.com/office/drawing/2014/main" id="{D6D36239-C2C1-8945-98D6-F0CDB7C0F848}"/>
              </a:ext>
            </a:extLst>
          </p:cNvPr>
          <p:cNvSpPr txBox="1"/>
          <p:nvPr/>
        </p:nvSpPr>
        <p:spPr>
          <a:xfrm>
            <a:off x="8359708"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ck Digital</a:t>
            </a:r>
          </a:p>
        </p:txBody>
      </p:sp>
      <p:sp>
        <p:nvSpPr>
          <p:cNvPr id="70" name="Freeform: Shape 2">
            <a:extLst>
              <a:ext uri="{FF2B5EF4-FFF2-40B4-BE49-F238E27FC236}">
                <a16:creationId xmlns:a16="http://schemas.microsoft.com/office/drawing/2014/main" id="{5DC9DB77-720C-5F42-ADF6-A582CB00A816}"/>
              </a:ext>
            </a:extLst>
          </p:cNvPr>
          <p:cNvSpPr/>
          <p:nvPr/>
        </p:nvSpPr>
        <p:spPr>
          <a:xfrm>
            <a:off x="5458882" y="3070367"/>
            <a:ext cx="1259280" cy="1717560"/>
          </a:xfrm>
          <a:custGeom>
            <a:avLst/>
            <a:gdLst/>
            <a:ahLst/>
            <a:cxnLst>
              <a:cxn ang="3cd4">
                <a:pos x="hc" y="t"/>
              </a:cxn>
              <a:cxn ang="cd2">
                <a:pos x="l" y="vc"/>
              </a:cxn>
              <a:cxn ang="cd4">
                <a:pos x="hc" y="b"/>
              </a:cxn>
              <a:cxn ang="0">
                <a:pos x="r" y="vc"/>
              </a:cxn>
            </a:cxnLst>
            <a:rect l="l" t="t" r="r" b="b"/>
            <a:pathLst>
              <a:path w="3499" h="4772">
                <a:moveTo>
                  <a:pt x="2910" y="3276"/>
                </a:moveTo>
                <a:cubicBezTo>
                  <a:pt x="2656" y="3276"/>
                  <a:pt x="2481" y="2990"/>
                  <a:pt x="2465" y="2704"/>
                </a:cubicBezTo>
                <a:lnTo>
                  <a:pt x="2608" y="2704"/>
                </a:lnTo>
                <a:cubicBezTo>
                  <a:pt x="2624" y="2704"/>
                  <a:pt x="2640" y="2704"/>
                  <a:pt x="2656" y="2688"/>
                </a:cubicBezTo>
                <a:lnTo>
                  <a:pt x="3149" y="2258"/>
                </a:lnTo>
                <a:cubicBezTo>
                  <a:pt x="3165" y="2243"/>
                  <a:pt x="3181" y="2227"/>
                  <a:pt x="3181" y="2195"/>
                </a:cubicBezTo>
                <a:lnTo>
                  <a:pt x="3181" y="573"/>
                </a:lnTo>
                <a:cubicBezTo>
                  <a:pt x="3181" y="556"/>
                  <a:pt x="3165" y="541"/>
                  <a:pt x="3149" y="525"/>
                </a:cubicBezTo>
                <a:lnTo>
                  <a:pt x="2656" y="32"/>
                </a:lnTo>
                <a:cubicBezTo>
                  <a:pt x="2640" y="16"/>
                  <a:pt x="2624" y="0"/>
                  <a:pt x="2608" y="0"/>
                </a:cubicBezTo>
                <a:lnTo>
                  <a:pt x="970" y="0"/>
                </a:lnTo>
                <a:cubicBezTo>
                  <a:pt x="954" y="0"/>
                  <a:pt x="922" y="16"/>
                  <a:pt x="922" y="32"/>
                </a:cubicBezTo>
                <a:lnTo>
                  <a:pt x="493" y="525"/>
                </a:lnTo>
                <a:cubicBezTo>
                  <a:pt x="493" y="541"/>
                  <a:pt x="476" y="556"/>
                  <a:pt x="476" y="573"/>
                </a:cubicBezTo>
                <a:lnTo>
                  <a:pt x="476" y="2195"/>
                </a:lnTo>
                <a:cubicBezTo>
                  <a:pt x="476" y="2227"/>
                  <a:pt x="493" y="2243"/>
                  <a:pt x="508" y="2258"/>
                </a:cubicBezTo>
                <a:lnTo>
                  <a:pt x="922" y="2688"/>
                </a:lnTo>
                <a:cubicBezTo>
                  <a:pt x="938" y="2704"/>
                  <a:pt x="954" y="2704"/>
                  <a:pt x="970" y="2704"/>
                </a:cubicBezTo>
                <a:lnTo>
                  <a:pt x="1113" y="2704"/>
                </a:lnTo>
                <a:cubicBezTo>
                  <a:pt x="1097" y="2974"/>
                  <a:pt x="874" y="3276"/>
                  <a:pt x="604" y="3276"/>
                </a:cubicBezTo>
                <a:lnTo>
                  <a:pt x="588" y="3276"/>
                </a:lnTo>
                <a:cubicBezTo>
                  <a:pt x="238" y="3276"/>
                  <a:pt x="0" y="3547"/>
                  <a:pt x="0" y="3960"/>
                </a:cubicBezTo>
                <a:lnTo>
                  <a:pt x="0" y="4692"/>
                </a:lnTo>
                <a:cubicBezTo>
                  <a:pt x="0" y="4740"/>
                  <a:pt x="31" y="4772"/>
                  <a:pt x="79" y="4772"/>
                </a:cubicBezTo>
                <a:lnTo>
                  <a:pt x="3419" y="4772"/>
                </a:lnTo>
                <a:cubicBezTo>
                  <a:pt x="3467" y="4772"/>
                  <a:pt x="3499" y="4740"/>
                  <a:pt x="3499" y="4692"/>
                </a:cubicBezTo>
                <a:lnTo>
                  <a:pt x="3499" y="3960"/>
                </a:lnTo>
                <a:cubicBezTo>
                  <a:pt x="3499" y="3547"/>
                  <a:pt x="3260" y="3276"/>
                  <a:pt x="2910" y="3276"/>
                </a:cubicBezTo>
                <a:close/>
                <a:moveTo>
                  <a:pt x="636" y="2163"/>
                </a:moveTo>
                <a:lnTo>
                  <a:pt x="636" y="604"/>
                </a:lnTo>
                <a:lnTo>
                  <a:pt x="1017" y="159"/>
                </a:lnTo>
                <a:lnTo>
                  <a:pt x="2576" y="159"/>
                </a:lnTo>
                <a:lnTo>
                  <a:pt x="3021" y="604"/>
                </a:lnTo>
                <a:lnTo>
                  <a:pt x="3021" y="2163"/>
                </a:lnTo>
                <a:lnTo>
                  <a:pt x="2576" y="2545"/>
                </a:lnTo>
                <a:lnTo>
                  <a:pt x="1002" y="2545"/>
                </a:lnTo>
                <a:close/>
                <a:moveTo>
                  <a:pt x="3339" y="4612"/>
                </a:moveTo>
                <a:lnTo>
                  <a:pt x="158" y="4612"/>
                </a:lnTo>
                <a:lnTo>
                  <a:pt x="158" y="3960"/>
                </a:lnTo>
                <a:cubicBezTo>
                  <a:pt x="158" y="3722"/>
                  <a:pt x="270" y="3436"/>
                  <a:pt x="588" y="3436"/>
                </a:cubicBezTo>
                <a:lnTo>
                  <a:pt x="604" y="3436"/>
                </a:lnTo>
                <a:cubicBezTo>
                  <a:pt x="970" y="3436"/>
                  <a:pt x="1256" y="3054"/>
                  <a:pt x="1272" y="2704"/>
                </a:cubicBezTo>
                <a:lnTo>
                  <a:pt x="1717" y="2704"/>
                </a:lnTo>
                <a:lnTo>
                  <a:pt x="1892" y="3515"/>
                </a:lnTo>
                <a:cubicBezTo>
                  <a:pt x="1685" y="3547"/>
                  <a:pt x="1526" y="3738"/>
                  <a:pt x="1526" y="3960"/>
                </a:cubicBezTo>
                <a:cubicBezTo>
                  <a:pt x="1526" y="4199"/>
                  <a:pt x="1733" y="4406"/>
                  <a:pt x="1988" y="4406"/>
                </a:cubicBezTo>
                <a:cubicBezTo>
                  <a:pt x="2242" y="4406"/>
                  <a:pt x="2449" y="4199"/>
                  <a:pt x="2449" y="3960"/>
                </a:cubicBezTo>
                <a:cubicBezTo>
                  <a:pt x="2449" y="3722"/>
                  <a:pt x="2274" y="3531"/>
                  <a:pt x="2051" y="3499"/>
                </a:cubicBezTo>
                <a:lnTo>
                  <a:pt x="1876" y="2704"/>
                </a:lnTo>
                <a:lnTo>
                  <a:pt x="2306" y="2704"/>
                </a:lnTo>
                <a:cubicBezTo>
                  <a:pt x="2321" y="3070"/>
                  <a:pt x="2544" y="3436"/>
                  <a:pt x="2910" y="3436"/>
                </a:cubicBezTo>
                <a:cubicBezTo>
                  <a:pt x="3229" y="3436"/>
                  <a:pt x="3339" y="3706"/>
                  <a:pt x="3339" y="3960"/>
                </a:cubicBezTo>
                <a:close/>
                <a:moveTo>
                  <a:pt x="1988" y="3658"/>
                </a:moveTo>
                <a:cubicBezTo>
                  <a:pt x="2147" y="3658"/>
                  <a:pt x="2290" y="3785"/>
                  <a:pt x="2290" y="3960"/>
                </a:cubicBezTo>
                <a:cubicBezTo>
                  <a:pt x="2290" y="4119"/>
                  <a:pt x="2147" y="4246"/>
                  <a:pt x="1988" y="4246"/>
                </a:cubicBezTo>
                <a:cubicBezTo>
                  <a:pt x="1829" y="4246"/>
                  <a:pt x="1685" y="4119"/>
                  <a:pt x="1685" y="3960"/>
                </a:cubicBezTo>
                <a:cubicBezTo>
                  <a:pt x="1685" y="3785"/>
                  <a:pt x="1829" y="3658"/>
                  <a:pt x="1988" y="3658"/>
                </a:cubicBezTo>
                <a:close/>
                <a:moveTo>
                  <a:pt x="1781" y="509"/>
                </a:moveTo>
                <a:cubicBezTo>
                  <a:pt x="1304" y="509"/>
                  <a:pt x="922" y="907"/>
                  <a:pt x="922" y="1383"/>
                </a:cubicBezTo>
                <a:cubicBezTo>
                  <a:pt x="922" y="1877"/>
                  <a:pt x="1304" y="2258"/>
                  <a:pt x="1781" y="2258"/>
                </a:cubicBezTo>
                <a:cubicBezTo>
                  <a:pt x="2274" y="2258"/>
                  <a:pt x="2656" y="1877"/>
                  <a:pt x="2656" y="1383"/>
                </a:cubicBezTo>
                <a:cubicBezTo>
                  <a:pt x="2656" y="907"/>
                  <a:pt x="2274" y="509"/>
                  <a:pt x="1781" y="509"/>
                </a:cubicBezTo>
                <a:close/>
                <a:moveTo>
                  <a:pt x="1781" y="2100"/>
                </a:moveTo>
                <a:cubicBezTo>
                  <a:pt x="1399" y="2100"/>
                  <a:pt x="1081" y="1781"/>
                  <a:pt x="1081" y="1383"/>
                </a:cubicBezTo>
                <a:cubicBezTo>
                  <a:pt x="1081" y="1002"/>
                  <a:pt x="1399" y="668"/>
                  <a:pt x="1781" y="668"/>
                </a:cubicBezTo>
                <a:cubicBezTo>
                  <a:pt x="2178" y="668"/>
                  <a:pt x="2497" y="1002"/>
                  <a:pt x="2497" y="1383"/>
                </a:cubicBezTo>
                <a:cubicBezTo>
                  <a:pt x="2497" y="1781"/>
                  <a:pt x="2178" y="2100"/>
                  <a:pt x="1781" y="2100"/>
                </a:cubicBezTo>
                <a:close/>
                <a:moveTo>
                  <a:pt x="2131" y="922"/>
                </a:moveTo>
                <a:lnTo>
                  <a:pt x="1733" y="1320"/>
                </a:lnTo>
                <a:cubicBezTo>
                  <a:pt x="1702" y="1352"/>
                  <a:pt x="1702" y="1400"/>
                  <a:pt x="1733" y="1431"/>
                </a:cubicBezTo>
                <a:lnTo>
                  <a:pt x="1972" y="1686"/>
                </a:lnTo>
                <a:cubicBezTo>
                  <a:pt x="1988" y="1686"/>
                  <a:pt x="2020" y="1702"/>
                  <a:pt x="2035" y="1702"/>
                </a:cubicBezTo>
                <a:cubicBezTo>
                  <a:pt x="2051" y="1702"/>
                  <a:pt x="2067" y="1686"/>
                  <a:pt x="2083" y="1686"/>
                </a:cubicBezTo>
                <a:cubicBezTo>
                  <a:pt x="2115" y="1654"/>
                  <a:pt x="2115" y="1591"/>
                  <a:pt x="2083" y="1559"/>
                </a:cubicBezTo>
                <a:lnTo>
                  <a:pt x="1892" y="1383"/>
                </a:lnTo>
                <a:lnTo>
                  <a:pt x="2242" y="1034"/>
                </a:lnTo>
                <a:cubicBezTo>
                  <a:pt x="2274" y="1002"/>
                  <a:pt x="2274" y="954"/>
                  <a:pt x="2242" y="922"/>
                </a:cubicBezTo>
                <a:cubicBezTo>
                  <a:pt x="2211" y="891"/>
                  <a:pt x="2163" y="891"/>
                  <a:pt x="2131" y="92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1" name="Freeform: Shape 5">
            <a:extLst>
              <a:ext uri="{FF2B5EF4-FFF2-40B4-BE49-F238E27FC236}">
                <a16:creationId xmlns:a16="http://schemas.microsoft.com/office/drawing/2014/main" id="{DA397AC9-FFC9-F542-8465-9166681A9810}"/>
              </a:ext>
            </a:extLst>
          </p:cNvPr>
          <p:cNvSpPr/>
          <p:nvPr/>
        </p:nvSpPr>
        <p:spPr>
          <a:xfrm>
            <a:off x="9036979" y="3081887"/>
            <a:ext cx="1700280" cy="1699919"/>
          </a:xfrm>
          <a:custGeom>
            <a:avLst/>
            <a:gdLst/>
            <a:ahLst/>
            <a:cxnLst>
              <a:cxn ang="3cd4">
                <a:pos x="hc" y="t"/>
              </a:cxn>
              <a:cxn ang="cd2">
                <a:pos x="l" y="vc"/>
              </a:cxn>
              <a:cxn ang="cd4">
                <a:pos x="hc" y="b"/>
              </a:cxn>
              <a:cxn ang="0">
                <a:pos x="r" y="vc"/>
              </a:cxn>
            </a:cxnLst>
            <a:rect l="l" t="t" r="r" b="b"/>
            <a:pathLst>
              <a:path w="4724" h="4723">
                <a:moveTo>
                  <a:pt x="4708" y="2672"/>
                </a:moveTo>
                <a:cubicBezTo>
                  <a:pt x="4708" y="2640"/>
                  <a:pt x="4724" y="2608"/>
                  <a:pt x="4724" y="2577"/>
                </a:cubicBezTo>
                <a:lnTo>
                  <a:pt x="4724" y="2560"/>
                </a:lnTo>
                <a:lnTo>
                  <a:pt x="4724" y="2465"/>
                </a:lnTo>
                <a:lnTo>
                  <a:pt x="4724" y="2449"/>
                </a:lnTo>
                <a:lnTo>
                  <a:pt x="4724" y="2354"/>
                </a:lnTo>
                <a:cubicBezTo>
                  <a:pt x="4724" y="1050"/>
                  <a:pt x="3674" y="0"/>
                  <a:pt x="2370" y="0"/>
                </a:cubicBezTo>
                <a:cubicBezTo>
                  <a:pt x="1066" y="0"/>
                  <a:pt x="0" y="1050"/>
                  <a:pt x="0" y="2354"/>
                </a:cubicBezTo>
                <a:lnTo>
                  <a:pt x="0" y="2433"/>
                </a:lnTo>
                <a:lnTo>
                  <a:pt x="0" y="2449"/>
                </a:lnTo>
                <a:lnTo>
                  <a:pt x="0" y="2529"/>
                </a:lnTo>
                <a:cubicBezTo>
                  <a:pt x="16" y="2560"/>
                  <a:pt x="16" y="2592"/>
                  <a:pt x="16" y="2608"/>
                </a:cubicBezTo>
                <a:lnTo>
                  <a:pt x="16" y="2640"/>
                </a:lnTo>
                <a:cubicBezTo>
                  <a:pt x="16" y="2656"/>
                  <a:pt x="16" y="2672"/>
                  <a:pt x="32" y="2704"/>
                </a:cubicBezTo>
                <a:cubicBezTo>
                  <a:pt x="175" y="3706"/>
                  <a:pt x="955" y="4501"/>
                  <a:pt x="1941" y="4692"/>
                </a:cubicBezTo>
                <a:lnTo>
                  <a:pt x="1973" y="4692"/>
                </a:lnTo>
                <a:lnTo>
                  <a:pt x="2036" y="4692"/>
                </a:lnTo>
                <a:cubicBezTo>
                  <a:pt x="2036" y="4708"/>
                  <a:pt x="2052" y="4708"/>
                  <a:pt x="2068" y="4708"/>
                </a:cubicBezTo>
                <a:lnTo>
                  <a:pt x="2147" y="4708"/>
                </a:lnTo>
                <a:lnTo>
                  <a:pt x="2163" y="4708"/>
                </a:lnTo>
                <a:cubicBezTo>
                  <a:pt x="2195" y="4723"/>
                  <a:pt x="2227" y="4723"/>
                  <a:pt x="2259" y="4723"/>
                </a:cubicBezTo>
                <a:lnTo>
                  <a:pt x="2274" y="4723"/>
                </a:lnTo>
                <a:lnTo>
                  <a:pt x="2370" y="4723"/>
                </a:lnTo>
                <a:lnTo>
                  <a:pt x="2450" y="4723"/>
                </a:lnTo>
                <a:lnTo>
                  <a:pt x="2465" y="4723"/>
                </a:lnTo>
                <a:lnTo>
                  <a:pt x="2529" y="4723"/>
                </a:lnTo>
                <a:lnTo>
                  <a:pt x="2545" y="4723"/>
                </a:lnTo>
                <a:cubicBezTo>
                  <a:pt x="2577" y="4708"/>
                  <a:pt x="2593" y="4708"/>
                  <a:pt x="2625" y="4708"/>
                </a:cubicBezTo>
                <a:lnTo>
                  <a:pt x="2640" y="4708"/>
                </a:lnTo>
                <a:cubicBezTo>
                  <a:pt x="2672" y="4708"/>
                  <a:pt x="2688" y="4708"/>
                  <a:pt x="2704" y="4692"/>
                </a:cubicBezTo>
                <a:lnTo>
                  <a:pt x="2720" y="4692"/>
                </a:lnTo>
                <a:cubicBezTo>
                  <a:pt x="3722" y="4549"/>
                  <a:pt x="4518" y="3769"/>
                  <a:pt x="4692" y="2783"/>
                </a:cubicBezTo>
                <a:lnTo>
                  <a:pt x="4692" y="2767"/>
                </a:lnTo>
                <a:cubicBezTo>
                  <a:pt x="4692" y="2735"/>
                  <a:pt x="4708" y="2720"/>
                  <a:pt x="4708" y="2688"/>
                </a:cubicBezTo>
                <a:close/>
                <a:moveTo>
                  <a:pt x="2704" y="4533"/>
                </a:moveTo>
                <a:lnTo>
                  <a:pt x="2688" y="4533"/>
                </a:lnTo>
                <a:cubicBezTo>
                  <a:pt x="2609" y="4549"/>
                  <a:pt x="2529" y="4565"/>
                  <a:pt x="2450" y="4565"/>
                </a:cubicBezTo>
                <a:lnTo>
                  <a:pt x="2434" y="4565"/>
                </a:lnTo>
                <a:lnTo>
                  <a:pt x="2370" y="4565"/>
                </a:lnTo>
                <a:lnTo>
                  <a:pt x="2274" y="4565"/>
                </a:lnTo>
                <a:lnTo>
                  <a:pt x="2259" y="4565"/>
                </a:lnTo>
                <a:cubicBezTo>
                  <a:pt x="2227" y="4565"/>
                  <a:pt x="2211" y="4565"/>
                  <a:pt x="2179" y="4549"/>
                </a:cubicBezTo>
                <a:lnTo>
                  <a:pt x="2163" y="4549"/>
                </a:lnTo>
                <a:lnTo>
                  <a:pt x="2084" y="4549"/>
                </a:lnTo>
                <a:lnTo>
                  <a:pt x="2052" y="4549"/>
                </a:lnTo>
                <a:cubicBezTo>
                  <a:pt x="2036" y="4533"/>
                  <a:pt x="2020" y="4533"/>
                  <a:pt x="1988" y="4533"/>
                </a:cubicBezTo>
                <a:cubicBezTo>
                  <a:pt x="1050" y="4374"/>
                  <a:pt x="318" y="3610"/>
                  <a:pt x="175" y="2672"/>
                </a:cubicBezTo>
                <a:lnTo>
                  <a:pt x="175" y="2624"/>
                </a:lnTo>
                <a:lnTo>
                  <a:pt x="175" y="2592"/>
                </a:lnTo>
                <a:cubicBezTo>
                  <a:pt x="175" y="2577"/>
                  <a:pt x="175" y="2545"/>
                  <a:pt x="159" y="2529"/>
                </a:cubicBezTo>
                <a:lnTo>
                  <a:pt x="159" y="2513"/>
                </a:lnTo>
                <a:lnTo>
                  <a:pt x="159" y="2449"/>
                </a:lnTo>
                <a:lnTo>
                  <a:pt x="159" y="2433"/>
                </a:lnTo>
                <a:lnTo>
                  <a:pt x="159" y="2354"/>
                </a:lnTo>
                <a:cubicBezTo>
                  <a:pt x="159" y="1145"/>
                  <a:pt x="1146" y="159"/>
                  <a:pt x="2370" y="159"/>
                </a:cubicBezTo>
                <a:cubicBezTo>
                  <a:pt x="3579" y="159"/>
                  <a:pt x="4565" y="1145"/>
                  <a:pt x="4565" y="2354"/>
                </a:cubicBezTo>
                <a:lnTo>
                  <a:pt x="4565" y="2449"/>
                </a:lnTo>
                <a:lnTo>
                  <a:pt x="4565" y="2465"/>
                </a:lnTo>
                <a:lnTo>
                  <a:pt x="4565" y="2545"/>
                </a:lnTo>
                <a:lnTo>
                  <a:pt x="4565" y="2560"/>
                </a:lnTo>
                <a:cubicBezTo>
                  <a:pt x="4565" y="2592"/>
                  <a:pt x="4549" y="2624"/>
                  <a:pt x="4549" y="2640"/>
                </a:cubicBezTo>
                <a:lnTo>
                  <a:pt x="4549" y="2672"/>
                </a:lnTo>
                <a:lnTo>
                  <a:pt x="4549" y="2720"/>
                </a:lnTo>
                <a:cubicBezTo>
                  <a:pt x="4390" y="3658"/>
                  <a:pt x="3643" y="4390"/>
                  <a:pt x="2704" y="4533"/>
                </a:cubicBezTo>
                <a:close/>
                <a:moveTo>
                  <a:pt x="1638" y="2004"/>
                </a:moveTo>
                <a:cubicBezTo>
                  <a:pt x="1607" y="1956"/>
                  <a:pt x="1575" y="1924"/>
                  <a:pt x="1527" y="1908"/>
                </a:cubicBezTo>
                <a:cubicBezTo>
                  <a:pt x="1479" y="1877"/>
                  <a:pt x="1432" y="1877"/>
                  <a:pt x="1384" y="1877"/>
                </a:cubicBezTo>
                <a:cubicBezTo>
                  <a:pt x="1336" y="1877"/>
                  <a:pt x="1289" y="1877"/>
                  <a:pt x="1241" y="1908"/>
                </a:cubicBezTo>
                <a:cubicBezTo>
                  <a:pt x="1193" y="1924"/>
                  <a:pt x="1161" y="1956"/>
                  <a:pt x="1129" y="2004"/>
                </a:cubicBezTo>
                <a:cubicBezTo>
                  <a:pt x="1098" y="2036"/>
                  <a:pt x="1066" y="2083"/>
                  <a:pt x="1050" y="2147"/>
                </a:cubicBezTo>
                <a:cubicBezTo>
                  <a:pt x="1034" y="2211"/>
                  <a:pt x="1034" y="2274"/>
                  <a:pt x="1034" y="2354"/>
                </a:cubicBezTo>
                <a:cubicBezTo>
                  <a:pt x="1034" y="2529"/>
                  <a:pt x="1066" y="2640"/>
                  <a:pt x="1113" y="2720"/>
                </a:cubicBezTo>
                <a:cubicBezTo>
                  <a:pt x="1177" y="2799"/>
                  <a:pt x="1273" y="2847"/>
                  <a:pt x="1384" y="2847"/>
                </a:cubicBezTo>
                <a:cubicBezTo>
                  <a:pt x="1432" y="2847"/>
                  <a:pt x="1479" y="2831"/>
                  <a:pt x="1527" y="2815"/>
                </a:cubicBezTo>
                <a:cubicBezTo>
                  <a:pt x="1575" y="2799"/>
                  <a:pt x="1607" y="2767"/>
                  <a:pt x="1638" y="2720"/>
                </a:cubicBezTo>
                <a:cubicBezTo>
                  <a:pt x="1670" y="2688"/>
                  <a:pt x="1686" y="2624"/>
                  <a:pt x="1702" y="2577"/>
                </a:cubicBezTo>
                <a:cubicBezTo>
                  <a:pt x="1718" y="2513"/>
                  <a:pt x="1734" y="2433"/>
                  <a:pt x="1734" y="2354"/>
                </a:cubicBezTo>
                <a:cubicBezTo>
                  <a:pt x="1734" y="2274"/>
                  <a:pt x="1718" y="2211"/>
                  <a:pt x="1702" y="2147"/>
                </a:cubicBezTo>
                <a:cubicBezTo>
                  <a:pt x="1686" y="2083"/>
                  <a:pt x="1670" y="2036"/>
                  <a:pt x="1638" y="2004"/>
                </a:cubicBezTo>
                <a:close/>
                <a:moveTo>
                  <a:pt x="1447" y="2656"/>
                </a:moveTo>
                <a:cubicBezTo>
                  <a:pt x="1432" y="2672"/>
                  <a:pt x="1416" y="2672"/>
                  <a:pt x="1384" y="2672"/>
                </a:cubicBezTo>
                <a:cubicBezTo>
                  <a:pt x="1352" y="2672"/>
                  <a:pt x="1320" y="2672"/>
                  <a:pt x="1304" y="2656"/>
                </a:cubicBezTo>
                <a:cubicBezTo>
                  <a:pt x="1289" y="2640"/>
                  <a:pt x="1273" y="2624"/>
                  <a:pt x="1256" y="2608"/>
                </a:cubicBezTo>
                <a:cubicBezTo>
                  <a:pt x="1241" y="2577"/>
                  <a:pt x="1241" y="2545"/>
                  <a:pt x="1225" y="2497"/>
                </a:cubicBezTo>
                <a:lnTo>
                  <a:pt x="1225" y="2354"/>
                </a:lnTo>
                <a:lnTo>
                  <a:pt x="1225" y="2211"/>
                </a:lnTo>
                <a:cubicBezTo>
                  <a:pt x="1241" y="2179"/>
                  <a:pt x="1241" y="2147"/>
                  <a:pt x="1256" y="2115"/>
                </a:cubicBezTo>
                <a:cubicBezTo>
                  <a:pt x="1273" y="2099"/>
                  <a:pt x="1289" y="2068"/>
                  <a:pt x="1304" y="2068"/>
                </a:cubicBezTo>
                <a:cubicBezTo>
                  <a:pt x="1320" y="2051"/>
                  <a:pt x="1352" y="2036"/>
                  <a:pt x="1384" y="2036"/>
                </a:cubicBezTo>
                <a:cubicBezTo>
                  <a:pt x="1416" y="2036"/>
                  <a:pt x="1432" y="2051"/>
                  <a:pt x="1447" y="2068"/>
                </a:cubicBezTo>
                <a:cubicBezTo>
                  <a:pt x="1479" y="2068"/>
                  <a:pt x="1495" y="2099"/>
                  <a:pt x="1495" y="2115"/>
                </a:cubicBezTo>
                <a:cubicBezTo>
                  <a:pt x="1511" y="2147"/>
                  <a:pt x="1527" y="2179"/>
                  <a:pt x="1527" y="2211"/>
                </a:cubicBezTo>
                <a:cubicBezTo>
                  <a:pt x="1543" y="2258"/>
                  <a:pt x="1543" y="2306"/>
                  <a:pt x="1543" y="2354"/>
                </a:cubicBezTo>
                <a:cubicBezTo>
                  <a:pt x="1543" y="2417"/>
                  <a:pt x="1543" y="2465"/>
                  <a:pt x="1527" y="2497"/>
                </a:cubicBezTo>
                <a:cubicBezTo>
                  <a:pt x="1527" y="2545"/>
                  <a:pt x="1511" y="2577"/>
                  <a:pt x="1495" y="2608"/>
                </a:cubicBezTo>
                <a:cubicBezTo>
                  <a:pt x="1495" y="2624"/>
                  <a:pt x="1479" y="2640"/>
                  <a:pt x="1447" y="2656"/>
                </a:cubicBezTo>
                <a:close/>
                <a:moveTo>
                  <a:pt x="2020" y="2608"/>
                </a:moveTo>
                <a:lnTo>
                  <a:pt x="1893" y="2608"/>
                </a:lnTo>
                <a:cubicBezTo>
                  <a:pt x="1877" y="2608"/>
                  <a:pt x="1861" y="2624"/>
                  <a:pt x="1861" y="2640"/>
                </a:cubicBezTo>
                <a:lnTo>
                  <a:pt x="1861" y="2783"/>
                </a:lnTo>
                <a:cubicBezTo>
                  <a:pt x="1861" y="2799"/>
                  <a:pt x="1877" y="2815"/>
                  <a:pt x="1893" y="2815"/>
                </a:cubicBezTo>
                <a:lnTo>
                  <a:pt x="2020" y="2815"/>
                </a:lnTo>
                <a:cubicBezTo>
                  <a:pt x="2036" y="2815"/>
                  <a:pt x="2052" y="2799"/>
                  <a:pt x="2052" y="2783"/>
                </a:cubicBezTo>
                <a:lnTo>
                  <a:pt x="2052" y="2640"/>
                </a:lnTo>
                <a:cubicBezTo>
                  <a:pt x="2052" y="2624"/>
                  <a:pt x="2036" y="2608"/>
                  <a:pt x="2020" y="2608"/>
                </a:cubicBezTo>
                <a:close/>
                <a:moveTo>
                  <a:pt x="2020" y="2115"/>
                </a:moveTo>
                <a:lnTo>
                  <a:pt x="1893" y="2115"/>
                </a:lnTo>
                <a:cubicBezTo>
                  <a:pt x="1877" y="2115"/>
                  <a:pt x="1861" y="2131"/>
                  <a:pt x="1861" y="2147"/>
                </a:cubicBezTo>
                <a:lnTo>
                  <a:pt x="1861" y="2290"/>
                </a:lnTo>
                <a:cubicBezTo>
                  <a:pt x="1861" y="2306"/>
                  <a:pt x="1877" y="2322"/>
                  <a:pt x="1893" y="2322"/>
                </a:cubicBezTo>
                <a:lnTo>
                  <a:pt x="2020" y="2322"/>
                </a:lnTo>
                <a:cubicBezTo>
                  <a:pt x="2036" y="2322"/>
                  <a:pt x="2052" y="2306"/>
                  <a:pt x="2052" y="2290"/>
                </a:cubicBezTo>
                <a:lnTo>
                  <a:pt x="2052" y="2147"/>
                </a:lnTo>
                <a:cubicBezTo>
                  <a:pt x="2052" y="2131"/>
                  <a:pt x="2036" y="2115"/>
                  <a:pt x="2020" y="2115"/>
                </a:cubicBezTo>
                <a:close/>
                <a:moveTo>
                  <a:pt x="2800" y="2004"/>
                </a:moveTo>
                <a:cubicBezTo>
                  <a:pt x="2768" y="1956"/>
                  <a:pt x="2720" y="1924"/>
                  <a:pt x="2688" y="1908"/>
                </a:cubicBezTo>
                <a:cubicBezTo>
                  <a:pt x="2640" y="1877"/>
                  <a:pt x="2593" y="1877"/>
                  <a:pt x="2545" y="1877"/>
                </a:cubicBezTo>
                <a:cubicBezTo>
                  <a:pt x="2482" y="1877"/>
                  <a:pt x="2434" y="1877"/>
                  <a:pt x="2386" y="1908"/>
                </a:cubicBezTo>
                <a:cubicBezTo>
                  <a:pt x="2354" y="1924"/>
                  <a:pt x="2307" y="1956"/>
                  <a:pt x="2274" y="2004"/>
                </a:cubicBezTo>
                <a:cubicBezTo>
                  <a:pt x="2243" y="2036"/>
                  <a:pt x="2227" y="2083"/>
                  <a:pt x="2211" y="2147"/>
                </a:cubicBezTo>
                <a:cubicBezTo>
                  <a:pt x="2195" y="2211"/>
                  <a:pt x="2179" y="2274"/>
                  <a:pt x="2179" y="2354"/>
                </a:cubicBezTo>
                <a:cubicBezTo>
                  <a:pt x="2179" y="2529"/>
                  <a:pt x="2211" y="2640"/>
                  <a:pt x="2274" y="2720"/>
                </a:cubicBezTo>
                <a:cubicBezTo>
                  <a:pt x="2338" y="2799"/>
                  <a:pt x="2418" y="2847"/>
                  <a:pt x="2529" y="2847"/>
                </a:cubicBezTo>
                <a:cubicBezTo>
                  <a:pt x="2593" y="2847"/>
                  <a:pt x="2640" y="2831"/>
                  <a:pt x="2688" y="2815"/>
                </a:cubicBezTo>
                <a:cubicBezTo>
                  <a:pt x="2720" y="2799"/>
                  <a:pt x="2768" y="2767"/>
                  <a:pt x="2800" y="2720"/>
                </a:cubicBezTo>
                <a:cubicBezTo>
                  <a:pt x="2831" y="2688"/>
                  <a:pt x="2847" y="2624"/>
                  <a:pt x="2863" y="2577"/>
                </a:cubicBezTo>
                <a:cubicBezTo>
                  <a:pt x="2879" y="2513"/>
                  <a:pt x="2879" y="2433"/>
                  <a:pt x="2879" y="2354"/>
                </a:cubicBezTo>
                <a:cubicBezTo>
                  <a:pt x="2879" y="2274"/>
                  <a:pt x="2879" y="2211"/>
                  <a:pt x="2863" y="2147"/>
                </a:cubicBezTo>
                <a:cubicBezTo>
                  <a:pt x="2847" y="2083"/>
                  <a:pt x="2831" y="2036"/>
                  <a:pt x="2800" y="2004"/>
                </a:cubicBezTo>
                <a:close/>
                <a:moveTo>
                  <a:pt x="2609" y="2656"/>
                </a:moveTo>
                <a:cubicBezTo>
                  <a:pt x="2593" y="2672"/>
                  <a:pt x="2561" y="2672"/>
                  <a:pt x="2529" y="2672"/>
                </a:cubicBezTo>
                <a:cubicBezTo>
                  <a:pt x="2513" y="2672"/>
                  <a:pt x="2482" y="2672"/>
                  <a:pt x="2465" y="2656"/>
                </a:cubicBezTo>
                <a:cubicBezTo>
                  <a:pt x="2434" y="2640"/>
                  <a:pt x="2418" y="2624"/>
                  <a:pt x="2418" y="2608"/>
                </a:cubicBezTo>
                <a:cubicBezTo>
                  <a:pt x="2402" y="2577"/>
                  <a:pt x="2386" y="2545"/>
                  <a:pt x="2386" y="2497"/>
                </a:cubicBezTo>
                <a:cubicBezTo>
                  <a:pt x="2370" y="2465"/>
                  <a:pt x="2370" y="2417"/>
                  <a:pt x="2370" y="2354"/>
                </a:cubicBezTo>
                <a:cubicBezTo>
                  <a:pt x="2370" y="2306"/>
                  <a:pt x="2370" y="2258"/>
                  <a:pt x="2386" y="2211"/>
                </a:cubicBezTo>
                <a:cubicBezTo>
                  <a:pt x="2386" y="2179"/>
                  <a:pt x="2402" y="2147"/>
                  <a:pt x="2418" y="2115"/>
                </a:cubicBezTo>
                <a:cubicBezTo>
                  <a:pt x="2434" y="2099"/>
                  <a:pt x="2434" y="2068"/>
                  <a:pt x="2465" y="2068"/>
                </a:cubicBezTo>
                <a:cubicBezTo>
                  <a:pt x="2482" y="2051"/>
                  <a:pt x="2513" y="2036"/>
                  <a:pt x="2529" y="2036"/>
                </a:cubicBezTo>
                <a:cubicBezTo>
                  <a:pt x="2561" y="2036"/>
                  <a:pt x="2593" y="2051"/>
                  <a:pt x="2609" y="2068"/>
                </a:cubicBezTo>
                <a:cubicBezTo>
                  <a:pt x="2625" y="2068"/>
                  <a:pt x="2640" y="2099"/>
                  <a:pt x="2656" y="2115"/>
                </a:cubicBezTo>
                <a:cubicBezTo>
                  <a:pt x="2672" y="2147"/>
                  <a:pt x="2688" y="2179"/>
                  <a:pt x="2688" y="2211"/>
                </a:cubicBezTo>
                <a:cubicBezTo>
                  <a:pt x="2688" y="2258"/>
                  <a:pt x="2704" y="2306"/>
                  <a:pt x="2704" y="2354"/>
                </a:cubicBezTo>
                <a:cubicBezTo>
                  <a:pt x="2704" y="2417"/>
                  <a:pt x="2688" y="2465"/>
                  <a:pt x="2688" y="2497"/>
                </a:cubicBezTo>
                <a:cubicBezTo>
                  <a:pt x="2688" y="2545"/>
                  <a:pt x="2672" y="2577"/>
                  <a:pt x="2656" y="2608"/>
                </a:cubicBezTo>
                <a:cubicBezTo>
                  <a:pt x="2640" y="2624"/>
                  <a:pt x="2625" y="2640"/>
                  <a:pt x="2609" y="2656"/>
                </a:cubicBezTo>
                <a:close/>
                <a:moveTo>
                  <a:pt x="3595" y="2004"/>
                </a:moveTo>
                <a:cubicBezTo>
                  <a:pt x="3563" y="1956"/>
                  <a:pt x="3531" y="1924"/>
                  <a:pt x="3483" y="1908"/>
                </a:cubicBezTo>
                <a:cubicBezTo>
                  <a:pt x="3452" y="1877"/>
                  <a:pt x="3388" y="1877"/>
                  <a:pt x="3340" y="1877"/>
                </a:cubicBezTo>
                <a:cubicBezTo>
                  <a:pt x="3292" y="1877"/>
                  <a:pt x="3245" y="1877"/>
                  <a:pt x="3197" y="1908"/>
                </a:cubicBezTo>
                <a:cubicBezTo>
                  <a:pt x="3149" y="1924"/>
                  <a:pt x="3118" y="1956"/>
                  <a:pt x="3086" y="2004"/>
                </a:cubicBezTo>
                <a:cubicBezTo>
                  <a:pt x="3054" y="2036"/>
                  <a:pt x="3022" y="2083"/>
                  <a:pt x="3006" y="2147"/>
                </a:cubicBezTo>
                <a:cubicBezTo>
                  <a:pt x="2991" y="2211"/>
                  <a:pt x="2991" y="2274"/>
                  <a:pt x="2991" y="2354"/>
                </a:cubicBezTo>
                <a:cubicBezTo>
                  <a:pt x="2991" y="2529"/>
                  <a:pt x="3022" y="2640"/>
                  <a:pt x="3086" y="2720"/>
                </a:cubicBezTo>
                <a:cubicBezTo>
                  <a:pt x="3134" y="2799"/>
                  <a:pt x="3229" y="2847"/>
                  <a:pt x="3340" y="2847"/>
                </a:cubicBezTo>
                <a:cubicBezTo>
                  <a:pt x="3388" y="2847"/>
                  <a:pt x="3436" y="2831"/>
                  <a:pt x="3483" y="2815"/>
                </a:cubicBezTo>
                <a:cubicBezTo>
                  <a:pt x="3531" y="2799"/>
                  <a:pt x="3563" y="2767"/>
                  <a:pt x="3595" y="2720"/>
                </a:cubicBezTo>
                <a:cubicBezTo>
                  <a:pt x="3627" y="2688"/>
                  <a:pt x="3658" y="2624"/>
                  <a:pt x="3658" y="2577"/>
                </a:cubicBezTo>
                <a:cubicBezTo>
                  <a:pt x="3674" y="2513"/>
                  <a:pt x="3690" y="2433"/>
                  <a:pt x="3690" y="2354"/>
                </a:cubicBezTo>
                <a:cubicBezTo>
                  <a:pt x="3690" y="2274"/>
                  <a:pt x="3674" y="2211"/>
                  <a:pt x="3658" y="2147"/>
                </a:cubicBezTo>
                <a:cubicBezTo>
                  <a:pt x="3658" y="2083"/>
                  <a:pt x="3627" y="2036"/>
                  <a:pt x="3595" y="2004"/>
                </a:cubicBezTo>
                <a:close/>
                <a:moveTo>
                  <a:pt x="3420" y="2656"/>
                </a:moveTo>
                <a:cubicBezTo>
                  <a:pt x="3388" y="2672"/>
                  <a:pt x="3372" y="2672"/>
                  <a:pt x="3340" y="2672"/>
                </a:cubicBezTo>
                <a:cubicBezTo>
                  <a:pt x="3309" y="2672"/>
                  <a:pt x="3292" y="2672"/>
                  <a:pt x="3261" y="2656"/>
                </a:cubicBezTo>
                <a:lnTo>
                  <a:pt x="3213" y="2608"/>
                </a:lnTo>
                <a:cubicBezTo>
                  <a:pt x="3197" y="2577"/>
                  <a:pt x="3197" y="2545"/>
                  <a:pt x="3181" y="2497"/>
                </a:cubicBezTo>
                <a:lnTo>
                  <a:pt x="3181" y="2354"/>
                </a:lnTo>
                <a:lnTo>
                  <a:pt x="3181" y="2211"/>
                </a:lnTo>
                <a:cubicBezTo>
                  <a:pt x="3197" y="2179"/>
                  <a:pt x="3197" y="2147"/>
                  <a:pt x="3213" y="2115"/>
                </a:cubicBezTo>
                <a:cubicBezTo>
                  <a:pt x="3229" y="2099"/>
                  <a:pt x="3245" y="2068"/>
                  <a:pt x="3261" y="2068"/>
                </a:cubicBezTo>
                <a:cubicBezTo>
                  <a:pt x="3292" y="2051"/>
                  <a:pt x="3309" y="2036"/>
                  <a:pt x="3340" y="2036"/>
                </a:cubicBezTo>
                <a:cubicBezTo>
                  <a:pt x="3372" y="2036"/>
                  <a:pt x="3388" y="2051"/>
                  <a:pt x="3420" y="2068"/>
                </a:cubicBezTo>
                <a:cubicBezTo>
                  <a:pt x="3436" y="2068"/>
                  <a:pt x="3452" y="2099"/>
                  <a:pt x="3468" y="2115"/>
                </a:cubicBezTo>
                <a:cubicBezTo>
                  <a:pt x="3468" y="2147"/>
                  <a:pt x="3483" y="2179"/>
                  <a:pt x="3483" y="2211"/>
                </a:cubicBezTo>
                <a:cubicBezTo>
                  <a:pt x="3500" y="2258"/>
                  <a:pt x="3500" y="2306"/>
                  <a:pt x="3500" y="2354"/>
                </a:cubicBezTo>
                <a:cubicBezTo>
                  <a:pt x="3500" y="2417"/>
                  <a:pt x="3500" y="2465"/>
                  <a:pt x="3483" y="2497"/>
                </a:cubicBezTo>
                <a:cubicBezTo>
                  <a:pt x="3483" y="2545"/>
                  <a:pt x="3468" y="2577"/>
                  <a:pt x="3468" y="260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2" name="Freeform: Shape 6">
            <a:extLst>
              <a:ext uri="{FF2B5EF4-FFF2-40B4-BE49-F238E27FC236}">
                <a16:creationId xmlns:a16="http://schemas.microsoft.com/office/drawing/2014/main" id="{1F08E70A-61DA-D342-B47D-4C0982E54484}"/>
              </a:ext>
            </a:extLst>
          </p:cNvPr>
          <p:cNvSpPr/>
          <p:nvPr/>
        </p:nvSpPr>
        <p:spPr>
          <a:xfrm>
            <a:off x="13263574" y="3081887"/>
            <a:ext cx="1339920" cy="1699919"/>
          </a:xfrm>
          <a:custGeom>
            <a:avLst/>
            <a:gdLst/>
            <a:ahLst/>
            <a:cxnLst>
              <a:cxn ang="3cd4">
                <a:pos x="hc" y="t"/>
              </a:cxn>
              <a:cxn ang="cd2">
                <a:pos x="l" y="vc"/>
              </a:cxn>
              <a:cxn ang="cd4">
                <a:pos x="hc" y="b"/>
              </a:cxn>
              <a:cxn ang="0">
                <a:pos x="r" y="vc"/>
              </a:cxn>
            </a:cxnLst>
            <a:rect l="l" t="t" r="r" b="b"/>
            <a:pathLst>
              <a:path w="3723" h="4723">
                <a:moveTo>
                  <a:pt x="2297" y="1033"/>
                </a:moveTo>
                <a:lnTo>
                  <a:pt x="2297" y="795"/>
                </a:lnTo>
                <a:lnTo>
                  <a:pt x="2376" y="795"/>
                </a:lnTo>
                <a:cubicBezTo>
                  <a:pt x="2424" y="795"/>
                  <a:pt x="2456" y="747"/>
                  <a:pt x="2456" y="715"/>
                </a:cubicBezTo>
                <a:lnTo>
                  <a:pt x="2456" y="79"/>
                </a:lnTo>
                <a:cubicBezTo>
                  <a:pt x="2456" y="32"/>
                  <a:pt x="2424" y="0"/>
                  <a:pt x="2376" y="0"/>
                </a:cubicBezTo>
                <a:lnTo>
                  <a:pt x="1263" y="0"/>
                </a:lnTo>
                <a:cubicBezTo>
                  <a:pt x="1231" y="0"/>
                  <a:pt x="1183" y="32"/>
                  <a:pt x="1183" y="79"/>
                </a:cubicBezTo>
                <a:lnTo>
                  <a:pt x="1183" y="715"/>
                </a:lnTo>
                <a:cubicBezTo>
                  <a:pt x="1183" y="747"/>
                  <a:pt x="1231" y="795"/>
                  <a:pt x="1263" y="795"/>
                </a:cubicBezTo>
                <a:lnTo>
                  <a:pt x="1342" y="795"/>
                </a:lnTo>
                <a:lnTo>
                  <a:pt x="1342" y="1065"/>
                </a:lnTo>
                <a:cubicBezTo>
                  <a:pt x="881" y="1193"/>
                  <a:pt x="499" y="1511"/>
                  <a:pt x="261" y="1908"/>
                </a:cubicBezTo>
                <a:cubicBezTo>
                  <a:pt x="70" y="2242"/>
                  <a:pt x="-25" y="2624"/>
                  <a:pt x="6" y="3022"/>
                </a:cubicBezTo>
                <a:cubicBezTo>
                  <a:pt x="6" y="3069"/>
                  <a:pt x="22" y="3117"/>
                  <a:pt x="22" y="3165"/>
                </a:cubicBezTo>
                <a:cubicBezTo>
                  <a:pt x="181" y="4071"/>
                  <a:pt x="976" y="4723"/>
                  <a:pt x="1867" y="4723"/>
                </a:cubicBezTo>
                <a:cubicBezTo>
                  <a:pt x="1963" y="4723"/>
                  <a:pt x="2074" y="4708"/>
                  <a:pt x="2185" y="4692"/>
                </a:cubicBezTo>
                <a:cubicBezTo>
                  <a:pt x="3187" y="4517"/>
                  <a:pt x="3871" y="3547"/>
                  <a:pt x="3696" y="2545"/>
                </a:cubicBezTo>
                <a:cubicBezTo>
                  <a:pt x="3569" y="1781"/>
                  <a:pt x="2996" y="1208"/>
                  <a:pt x="2297" y="1033"/>
                </a:cubicBezTo>
                <a:close/>
                <a:moveTo>
                  <a:pt x="1342" y="636"/>
                </a:moveTo>
                <a:lnTo>
                  <a:pt x="1342" y="159"/>
                </a:lnTo>
                <a:lnTo>
                  <a:pt x="2297" y="159"/>
                </a:lnTo>
                <a:lnTo>
                  <a:pt x="2297" y="636"/>
                </a:lnTo>
                <a:close/>
                <a:moveTo>
                  <a:pt x="1502" y="795"/>
                </a:moveTo>
                <a:lnTo>
                  <a:pt x="2138" y="795"/>
                </a:lnTo>
                <a:lnTo>
                  <a:pt x="2138" y="1002"/>
                </a:lnTo>
                <a:cubicBezTo>
                  <a:pt x="1947" y="986"/>
                  <a:pt x="1756" y="986"/>
                  <a:pt x="1549" y="1018"/>
                </a:cubicBezTo>
                <a:lnTo>
                  <a:pt x="1502" y="1018"/>
                </a:lnTo>
                <a:close/>
                <a:moveTo>
                  <a:pt x="2154" y="4533"/>
                </a:moveTo>
                <a:cubicBezTo>
                  <a:pt x="1231" y="4692"/>
                  <a:pt x="340" y="4071"/>
                  <a:pt x="181" y="3149"/>
                </a:cubicBezTo>
                <a:cubicBezTo>
                  <a:pt x="166" y="3101"/>
                  <a:pt x="166" y="3053"/>
                  <a:pt x="166" y="3006"/>
                </a:cubicBezTo>
                <a:cubicBezTo>
                  <a:pt x="133" y="2656"/>
                  <a:pt x="213" y="2306"/>
                  <a:pt x="388" y="2004"/>
                </a:cubicBezTo>
                <a:cubicBezTo>
                  <a:pt x="627" y="1574"/>
                  <a:pt x="1056" y="1256"/>
                  <a:pt x="1581" y="1177"/>
                </a:cubicBezTo>
                <a:cubicBezTo>
                  <a:pt x="1788" y="1129"/>
                  <a:pt x="1994" y="1145"/>
                  <a:pt x="2185" y="1177"/>
                </a:cubicBezTo>
                <a:cubicBezTo>
                  <a:pt x="2201" y="1177"/>
                  <a:pt x="2206" y="1188"/>
                  <a:pt x="2217" y="1193"/>
                </a:cubicBezTo>
                <a:lnTo>
                  <a:pt x="2233" y="1193"/>
                </a:lnTo>
                <a:cubicBezTo>
                  <a:pt x="2885" y="1336"/>
                  <a:pt x="3426" y="1860"/>
                  <a:pt x="3553" y="2560"/>
                </a:cubicBezTo>
                <a:cubicBezTo>
                  <a:pt x="3712" y="3499"/>
                  <a:pt x="3076" y="4374"/>
                  <a:pt x="2154" y="4533"/>
                </a:cubicBezTo>
                <a:close/>
                <a:moveTo>
                  <a:pt x="1135" y="2481"/>
                </a:moveTo>
                <a:cubicBezTo>
                  <a:pt x="1119" y="2433"/>
                  <a:pt x="1071" y="2401"/>
                  <a:pt x="1023" y="2386"/>
                </a:cubicBezTo>
                <a:cubicBezTo>
                  <a:pt x="992" y="2369"/>
                  <a:pt x="944" y="2354"/>
                  <a:pt x="880" y="2354"/>
                </a:cubicBezTo>
                <a:cubicBezTo>
                  <a:pt x="832" y="2354"/>
                  <a:pt x="784" y="2369"/>
                  <a:pt x="737" y="2386"/>
                </a:cubicBezTo>
                <a:cubicBezTo>
                  <a:pt x="689" y="2401"/>
                  <a:pt x="657" y="2433"/>
                  <a:pt x="626" y="2481"/>
                </a:cubicBezTo>
                <a:cubicBezTo>
                  <a:pt x="594" y="2529"/>
                  <a:pt x="578" y="2577"/>
                  <a:pt x="562" y="2640"/>
                </a:cubicBezTo>
                <a:cubicBezTo>
                  <a:pt x="546" y="2688"/>
                  <a:pt x="530" y="2767"/>
                  <a:pt x="530" y="2847"/>
                </a:cubicBezTo>
                <a:cubicBezTo>
                  <a:pt x="530" y="3006"/>
                  <a:pt x="562" y="3133"/>
                  <a:pt x="626" y="3213"/>
                </a:cubicBezTo>
                <a:cubicBezTo>
                  <a:pt x="689" y="3292"/>
                  <a:pt x="769" y="3324"/>
                  <a:pt x="880" y="3324"/>
                </a:cubicBezTo>
                <a:cubicBezTo>
                  <a:pt x="928" y="3324"/>
                  <a:pt x="992" y="3324"/>
                  <a:pt x="1023" y="3292"/>
                </a:cubicBezTo>
                <a:cubicBezTo>
                  <a:pt x="1071" y="3276"/>
                  <a:pt x="1103" y="3244"/>
                  <a:pt x="1135" y="3213"/>
                </a:cubicBezTo>
                <a:cubicBezTo>
                  <a:pt x="1166" y="3165"/>
                  <a:pt x="1198" y="3117"/>
                  <a:pt x="1214" y="3053"/>
                </a:cubicBezTo>
                <a:cubicBezTo>
                  <a:pt x="1230" y="2990"/>
                  <a:pt x="1230" y="2926"/>
                  <a:pt x="1230" y="2847"/>
                </a:cubicBezTo>
                <a:cubicBezTo>
                  <a:pt x="1230" y="2767"/>
                  <a:pt x="1230" y="2688"/>
                  <a:pt x="1214" y="2640"/>
                </a:cubicBezTo>
                <a:cubicBezTo>
                  <a:pt x="1198" y="2577"/>
                  <a:pt x="1166" y="2529"/>
                  <a:pt x="1135" y="2481"/>
                </a:cubicBezTo>
                <a:close/>
                <a:moveTo>
                  <a:pt x="960" y="3133"/>
                </a:moveTo>
                <a:cubicBezTo>
                  <a:pt x="944" y="3149"/>
                  <a:pt x="912" y="3165"/>
                  <a:pt x="880" y="3165"/>
                </a:cubicBezTo>
                <a:cubicBezTo>
                  <a:pt x="848" y="3165"/>
                  <a:pt x="832" y="3149"/>
                  <a:pt x="801" y="3133"/>
                </a:cubicBezTo>
                <a:cubicBezTo>
                  <a:pt x="784" y="3133"/>
                  <a:pt x="769" y="3117"/>
                  <a:pt x="753" y="3086"/>
                </a:cubicBezTo>
                <a:cubicBezTo>
                  <a:pt x="753" y="3053"/>
                  <a:pt x="737" y="3022"/>
                  <a:pt x="737" y="2990"/>
                </a:cubicBezTo>
                <a:cubicBezTo>
                  <a:pt x="721" y="2942"/>
                  <a:pt x="721" y="2895"/>
                  <a:pt x="721" y="2847"/>
                </a:cubicBezTo>
                <a:cubicBezTo>
                  <a:pt x="721" y="2783"/>
                  <a:pt x="721" y="2735"/>
                  <a:pt x="737" y="2704"/>
                </a:cubicBezTo>
                <a:cubicBezTo>
                  <a:pt x="737" y="2656"/>
                  <a:pt x="753" y="2624"/>
                  <a:pt x="753" y="2608"/>
                </a:cubicBezTo>
                <a:cubicBezTo>
                  <a:pt x="769" y="2577"/>
                  <a:pt x="784" y="2560"/>
                  <a:pt x="801" y="2545"/>
                </a:cubicBezTo>
                <a:cubicBezTo>
                  <a:pt x="832" y="2529"/>
                  <a:pt x="848" y="2529"/>
                  <a:pt x="880" y="2529"/>
                </a:cubicBezTo>
                <a:cubicBezTo>
                  <a:pt x="912" y="2529"/>
                  <a:pt x="944" y="2529"/>
                  <a:pt x="960" y="2545"/>
                </a:cubicBezTo>
                <a:cubicBezTo>
                  <a:pt x="975" y="2560"/>
                  <a:pt x="992" y="2577"/>
                  <a:pt x="1007" y="2608"/>
                </a:cubicBezTo>
                <a:cubicBezTo>
                  <a:pt x="1023" y="2624"/>
                  <a:pt x="1023" y="2656"/>
                  <a:pt x="1039" y="2704"/>
                </a:cubicBezTo>
                <a:lnTo>
                  <a:pt x="1039" y="2847"/>
                </a:lnTo>
                <a:lnTo>
                  <a:pt x="1039" y="2990"/>
                </a:lnTo>
                <a:cubicBezTo>
                  <a:pt x="1023" y="3022"/>
                  <a:pt x="1023" y="3053"/>
                  <a:pt x="1007" y="3086"/>
                </a:cubicBezTo>
                <a:cubicBezTo>
                  <a:pt x="992" y="3117"/>
                  <a:pt x="975" y="3133"/>
                  <a:pt x="960" y="3133"/>
                </a:cubicBezTo>
                <a:close/>
                <a:moveTo>
                  <a:pt x="1516" y="3086"/>
                </a:moveTo>
                <a:lnTo>
                  <a:pt x="1405" y="3086"/>
                </a:lnTo>
                <a:cubicBezTo>
                  <a:pt x="1373" y="3086"/>
                  <a:pt x="1357" y="3101"/>
                  <a:pt x="1357" y="3133"/>
                </a:cubicBezTo>
                <a:lnTo>
                  <a:pt x="1357" y="3276"/>
                </a:lnTo>
                <a:cubicBezTo>
                  <a:pt x="1357" y="3292"/>
                  <a:pt x="1373" y="3308"/>
                  <a:pt x="1405" y="3308"/>
                </a:cubicBezTo>
                <a:lnTo>
                  <a:pt x="1516" y="3308"/>
                </a:lnTo>
                <a:cubicBezTo>
                  <a:pt x="1548" y="3308"/>
                  <a:pt x="1564" y="3292"/>
                  <a:pt x="1564" y="3276"/>
                </a:cubicBezTo>
                <a:lnTo>
                  <a:pt x="1564" y="3133"/>
                </a:lnTo>
                <a:cubicBezTo>
                  <a:pt x="1564" y="3101"/>
                  <a:pt x="1548" y="3086"/>
                  <a:pt x="1516" y="3086"/>
                </a:cubicBezTo>
                <a:close/>
                <a:moveTo>
                  <a:pt x="1516" y="2592"/>
                </a:moveTo>
                <a:lnTo>
                  <a:pt x="1405" y="2592"/>
                </a:lnTo>
                <a:cubicBezTo>
                  <a:pt x="1373" y="2592"/>
                  <a:pt x="1357" y="2608"/>
                  <a:pt x="1357" y="2624"/>
                </a:cubicBezTo>
                <a:lnTo>
                  <a:pt x="1357" y="2783"/>
                </a:lnTo>
                <a:cubicBezTo>
                  <a:pt x="1357" y="2799"/>
                  <a:pt x="1373" y="2815"/>
                  <a:pt x="1405" y="2815"/>
                </a:cubicBezTo>
                <a:lnTo>
                  <a:pt x="1516" y="2815"/>
                </a:lnTo>
                <a:cubicBezTo>
                  <a:pt x="1548" y="2815"/>
                  <a:pt x="1564" y="2799"/>
                  <a:pt x="1564" y="2783"/>
                </a:cubicBezTo>
                <a:lnTo>
                  <a:pt x="1564" y="2624"/>
                </a:lnTo>
                <a:cubicBezTo>
                  <a:pt x="1564" y="2608"/>
                  <a:pt x="1548" y="2592"/>
                  <a:pt x="1516" y="2592"/>
                </a:cubicBezTo>
                <a:close/>
                <a:moveTo>
                  <a:pt x="2296" y="2481"/>
                </a:moveTo>
                <a:cubicBezTo>
                  <a:pt x="2264" y="2433"/>
                  <a:pt x="2232" y="2401"/>
                  <a:pt x="2184" y="2386"/>
                </a:cubicBezTo>
                <a:cubicBezTo>
                  <a:pt x="2137" y="2369"/>
                  <a:pt x="2089" y="2354"/>
                  <a:pt x="2041" y="2354"/>
                </a:cubicBezTo>
                <a:cubicBezTo>
                  <a:pt x="1993" y="2354"/>
                  <a:pt x="1930" y="2369"/>
                  <a:pt x="1898" y="2386"/>
                </a:cubicBezTo>
                <a:cubicBezTo>
                  <a:pt x="1850" y="2401"/>
                  <a:pt x="1819" y="2433"/>
                  <a:pt x="1787" y="2481"/>
                </a:cubicBezTo>
                <a:cubicBezTo>
                  <a:pt x="1755" y="2529"/>
                  <a:pt x="1723" y="2577"/>
                  <a:pt x="1707" y="2640"/>
                </a:cubicBezTo>
                <a:cubicBezTo>
                  <a:pt x="1691" y="2688"/>
                  <a:pt x="1691" y="2767"/>
                  <a:pt x="1691" y="2847"/>
                </a:cubicBezTo>
                <a:cubicBezTo>
                  <a:pt x="1691" y="3006"/>
                  <a:pt x="1723" y="3133"/>
                  <a:pt x="1771" y="3213"/>
                </a:cubicBezTo>
                <a:cubicBezTo>
                  <a:pt x="1835" y="3292"/>
                  <a:pt x="1930" y="3324"/>
                  <a:pt x="2041" y="3324"/>
                </a:cubicBezTo>
                <a:cubicBezTo>
                  <a:pt x="2089" y="3324"/>
                  <a:pt x="2137" y="3324"/>
                  <a:pt x="2184" y="3292"/>
                </a:cubicBezTo>
                <a:cubicBezTo>
                  <a:pt x="2232" y="3276"/>
                  <a:pt x="2264" y="3244"/>
                  <a:pt x="2296" y="3213"/>
                </a:cubicBezTo>
                <a:cubicBezTo>
                  <a:pt x="2328" y="3165"/>
                  <a:pt x="2343" y="3117"/>
                  <a:pt x="2359" y="3053"/>
                </a:cubicBezTo>
                <a:cubicBezTo>
                  <a:pt x="2375" y="2990"/>
                  <a:pt x="2391" y="2926"/>
                  <a:pt x="2391" y="2847"/>
                </a:cubicBezTo>
                <a:cubicBezTo>
                  <a:pt x="2391" y="2767"/>
                  <a:pt x="2375" y="2688"/>
                  <a:pt x="2359" y="2640"/>
                </a:cubicBezTo>
                <a:cubicBezTo>
                  <a:pt x="2343" y="2577"/>
                  <a:pt x="2328" y="2529"/>
                  <a:pt x="2296" y="2481"/>
                </a:cubicBezTo>
                <a:close/>
                <a:moveTo>
                  <a:pt x="2105" y="3133"/>
                </a:moveTo>
                <a:cubicBezTo>
                  <a:pt x="2089" y="3149"/>
                  <a:pt x="2073" y="3165"/>
                  <a:pt x="2041" y="3165"/>
                </a:cubicBezTo>
                <a:cubicBezTo>
                  <a:pt x="2010" y="3165"/>
                  <a:pt x="1978" y="3149"/>
                  <a:pt x="1962" y="3133"/>
                </a:cubicBezTo>
                <a:cubicBezTo>
                  <a:pt x="1946" y="3133"/>
                  <a:pt x="1930" y="3117"/>
                  <a:pt x="1914" y="3086"/>
                </a:cubicBezTo>
                <a:cubicBezTo>
                  <a:pt x="1898" y="3053"/>
                  <a:pt x="1898" y="3022"/>
                  <a:pt x="1882" y="2990"/>
                </a:cubicBezTo>
                <a:lnTo>
                  <a:pt x="1882" y="2847"/>
                </a:lnTo>
                <a:lnTo>
                  <a:pt x="1882" y="2704"/>
                </a:lnTo>
                <a:cubicBezTo>
                  <a:pt x="1898" y="2656"/>
                  <a:pt x="1898" y="2624"/>
                  <a:pt x="1914" y="2608"/>
                </a:cubicBezTo>
                <a:cubicBezTo>
                  <a:pt x="1930" y="2577"/>
                  <a:pt x="1946" y="2560"/>
                  <a:pt x="1962" y="2545"/>
                </a:cubicBezTo>
                <a:cubicBezTo>
                  <a:pt x="1978" y="2529"/>
                  <a:pt x="2010" y="2529"/>
                  <a:pt x="2041" y="2529"/>
                </a:cubicBezTo>
                <a:cubicBezTo>
                  <a:pt x="2073" y="2529"/>
                  <a:pt x="2089" y="2529"/>
                  <a:pt x="2105" y="2545"/>
                </a:cubicBezTo>
                <a:cubicBezTo>
                  <a:pt x="2137" y="2560"/>
                  <a:pt x="2153" y="2577"/>
                  <a:pt x="2153" y="2608"/>
                </a:cubicBezTo>
                <a:cubicBezTo>
                  <a:pt x="2168" y="2624"/>
                  <a:pt x="2184" y="2656"/>
                  <a:pt x="2184" y="2704"/>
                </a:cubicBezTo>
                <a:cubicBezTo>
                  <a:pt x="2200" y="2735"/>
                  <a:pt x="2200" y="2799"/>
                  <a:pt x="2200" y="2847"/>
                </a:cubicBezTo>
                <a:cubicBezTo>
                  <a:pt x="2200" y="2895"/>
                  <a:pt x="2200" y="2942"/>
                  <a:pt x="2184" y="2990"/>
                </a:cubicBezTo>
                <a:cubicBezTo>
                  <a:pt x="2184" y="3022"/>
                  <a:pt x="2168" y="3053"/>
                  <a:pt x="2153" y="3086"/>
                </a:cubicBezTo>
                <a:cubicBezTo>
                  <a:pt x="2153" y="3117"/>
                  <a:pt x="2137" y="3133"/>
                  <a:pt x="2105" y="3133"/>
                </a:cubicBezTo>
                <a:close/>
                <a:moveTo>
                  <a:pt x="3107" y="2481"/>
                </a:moveTo>
                <a:cubicBezTo>
                  <a:pt x="3075" y="2433"/>
                  <a:pt x="3028" y="2401"/>
                  <a:pt x="2995" y="2386"/>
                </a:cubicBezTo>
                <a:cubicBezTo>
                  <a:pt x="2948" y="2369"/>
                  <a:pt x="2900" y="2354"/>
                  <a:pt x="2837" y="2354"/>
                </a:cubicBezTo>
                <a:cubicBezTo>
                  <a:pt x="2789" y="2354"/>
                  <a:pt x="2741" y="2369"/>
                  <a:pt x="2693" y="2386"/>
                </a:cubicBezTo>
                <a:cubicBezTo>
                  <a:pt x="2662" y="2401"/>
                  <a:pt x="2614" y="2433"/>
                  <a:pt x="2582" y="2481"/>
                </a:cubicBezTo>
                <a:cubicBezTo>
                  <a:pt x="2550" y="2529"/>
                  <a:pt x="2534" y="2577"/>
                  <a:pt x="2519" y="2640"/>
                </a:cubicBezTo>
                <a:cubicBezTo>
                  <a:pt x="2502" y="2688"/>
                  <a:pt x="2487" y="2767"/>
                  <a:pt x="2487" y="2847"/>
                </a:cubicBezTo>
                <a:cubicBezTo>
                  <a:pt x="2487" y="3006"/>
                  <a:pt x="2519" y="3133"/>
                  <a:pt x="2582" y="3213"/>
                </a:cubicBezTo>
                <a:cubicBezTo>
                  <a:pt x="2646" y="3292"/>
                  <a:pt x="2725" y="3324"/>
                  <a:pt x="2837" y="3324"/>
                </a:cubicBezTo>
                <a:cubicBezTo>
                  <a:pt x="2900" y="3324"/>
                  <a:pt x="2948" y="3324"/>
                  <a:pt x="2980" y="3292"/>
                </a:cubicBezTo>
                <a:cubicBezTo>
                  <a:pt x="3028" y="3276"/>
                  <a:pt x="3075" y="3244"/>
                  <a:pt x="3107" y="3213"/>
                </a:cubicBezTo>
                <a:cubicBezTo>
                  <a:pt x="3123" y="3165"/>
                  <a:pt x="3155" y="3117"/>
                  <a:pt x="3171" y="3053"/>
                </a:cubicBezTo>
                <a:cubicBezTo>
                  <a:pt x="3186" y="2990"/>
                  <a:pt x="3186" y="2926"/>
                  <a:pt x="3186" y="2847"/>
                </a:cubicBezTo>
                <a:cubicBezTo>
                  <a:pt x="3186" y="2767"/>
                  <a:pt x="3186" y="2688"/>
                  <a:pt x="3171" y="2640"/>
                </a:cubicBezTo>
                <a:cubicBezTo>
                  <a:pt x="3155" y="2577"/>
                  <a:pt x="3123" y="2529"/>
                  <a:pt x="3107" y="2481"/>
                </a:cubicBezTo>
                <a:close/>
                <a:moveTo>
                  <a:pt x="2916" y="3133"/>
                </a:moveTo>
                <a:cubicBezTo>
                  <a:pt x="2900" y="3149"/>
                  <a:pt x="2868" y="3165"/>
                  <a:pt x="2837" y="3165"/>
                </a:cubicBezTo>
                <a:cubicBezTo>
                  <a:pt x="2805" y="3165"/>
                  <a:pt x="2789" y="3149"/>
                  <a:pt x="2773" y="3133"/>
                </a:cubicBezTo>
                <a:cubicBezTo>
                  <a:pt x="2741" y="3133"/>
                  <a:pt x="2725" y="3117"/>
                  <a:pt x="2725" y="3086"/>
                </a:cubicBezTo>
                <a:cubicBezTo>
                  <a:pt x="2709" y="3053"/>
                  <a:pt x="2693" y="3022"/>
                  <a:pt x="2693" y="2990"/>
                </a:cubicBezTo>
                <a:cubicBezTo>
                  <a:pt x="2677" y="2942"/>
                  <a:pt x="2677" y="2895"/>
                  <a:pt x="2677" y="2847"/>
                </a:cubicBezTo>
                <a:cubicBezTo>
                  <a:pt x="2677" y="2783"/>
                  <a:pt x="2677" y="2735"/>
                  <a:pt x="2693" y="2704"/>
                </a:cubicBezTo>
                <a:cubicBezTo>
                  <a:pt x="2693" y="2656"/>
                  <a:pt x="2709" y="2624"/>
                  <a:pt x="2725" y="2608"/>
                </a:cubicBezTo>
                <a:cubicBezTo>
                  <a:pt x="2725" y="2577"/>
                  <a:pt x="2741" y="2560"/>
                  <a:pt x="2773" y="2545"/>
                </a:cubicBezTo>
                <a:cubicBezTo>
                  <a:pt x="2789" y="2529"/>
                  <a:pt x="2805" y="2529"/>
                  <a:pt x="2837" y="2529"/>
                </a:cubicBezTo>
                <a:cubicBezTo>
                  <a:pt x="2868" y="2529"/>
                  <a:pt x="2900" y="2529"/>
                  <a:pt x="2916" y="2545"/>
                </a:cubicBezTo>
                <a:cubicBezTo>
                  <a:pt x="2932" y="2560"/>
                  <a:pt x="2948" y="2577"/>
                  <a:pt x="2964" y="2608"/>
                </a:cubicBezTo>
                <a:cubicBezTo>
                  <a:pt x="2980" y="2624"/>
                  <a:pt x="2980" y="2656"/>
                  <a:pt x="2995" y="2704"/>
                </a:cubicBezTo>
                <a:lnTo>
                  <a:pt x="2995" y="2847"/>
                </a:lnTo>
                <a:lnTo>
                  <a:pt x="2995" y="2990"/>
                </a:lnTo>
                <a:cubicBezTo>
                  <a:pt x="2980" y="3022"/>
                  <a:pt x="2980" y="3053"/>
                  <a:pt x="2964" y="3086"/>
                </a:cubicBezTo>
                <a:cubicBezTo>
                  <a:pt x="2948" y="3117"/>
                  <a:pt x="2932" y="3133"/>
                  <a:pt x="2916" y="313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3" name="Freeform: Shape 3">
            <a:extLst>
              <a:ext uri="{FF2B5EF4-FFF2-40B4-BE49-F238E27FC236}">
                <a16:creationId xmlns:a16="http://schemas.microsoft.com/office/drawing/2014/main" id="{DF8C1B1E-B9E7-F24B-9E0F-96054E097D68}"/>
              </a:ext>
            </a:extLst>
          </p:cNvPr>
          <p:cNvSpPr/>
          <p:nvPr/>
        </p:nvSpPr>
        <p:spPr>
          <a:xfrm>
            <a:off x="1274000" y="3313505"/>
            <a:ext cx="1505519" cy="1663559"/>
          </a:xfrm>
          <a:custGeom>
            <a:avLst/>
            <a:gdLst/>
            <a:ahLst/>
            <a:cxnLst>
              <a:cxn ang="3cd4">
                <a:pos x="hc" y="t"/>
              </a:cxn>
              <a:cxn ang="cd2">
                <a:pos x="l" y="vc"/>
              </a:cxn>
              <a:cxn ang="cd4">
                <a:pos x="hc" y="b"/>
              </a:cxn>
              <a:cxn ang="0">
                <a:pos x="r" y="vc"/>
              </a:cxn>
            </a:cxnLst>
            <a:rect l="l" t="t" r="r" b="b"/>
            <a:pathLst>
              <a:path w="4183" h="4622">
                <a:moveTo>
                  <a:pt x="3484" y="948"/>
                </a:moveTo>
                <a:cubicBezTo>
                  <a:pt x="3436" y="916"/>
                  <a:pt x="3388" y="916"/>
                  <a:pt x="3372" y="948"/>
                </a:cubicBezTo>
                <a:cubicBezTo>
                  <a:pt x="3341" y="980"/>
                  <a:pt x="3341" y="1028"/>
                  <a:pt x="3372" y="1059"/>
                </a:cubicBezTo>
                <a:cubicBezTo>
                  <a:pt x="3786" y="1425"/>
                  <a:pt x="4024" y="1966"/>
                  <a:pt x="4024" y="2523"/>
                </a:cubicBezTo>
                <a:cubicBezTo>
                  <a:pt x="4024" y="3589"/>
                  <a:pt x="3166" y="4464"/>
                  <a:pt x="2084" y="4464"/>
                </a:cubicBezTo>
                <a:cubicBezTo>
                  <a:pt x="1018" y="4464"/>
                  <a:pt x="143" y="3589"/>
                  <a:pt x="143" y="2523"/>
                </a:cubicBezTo>
                <a:cubicBezTo>
                  <a:pt x="143" y="1505"/>
                  <a:pt x="923" y="678"/>
                  <a:pt x="1925" y="583"/>
                </a:cubicBezTo>
                <a:lnTo>
                  <a:pt x="1623" y="1028"/>
                </a:lnTo>
                <a:cubicBezTo>
                  <a:pt x="1607" y="1059"/>
                  <a:pt x="1607" y="1107"/>
                  <a:pt x="1654" y="1139"/>
                </a:cubicBezTo>
                <a:lnTo>
                  <a:pt x="1702" y="1139"/>
                </a:lnTo>
                <a:cubicBezTo>
                  <a:pt x="1718" y="1139"/>
                  <a:pt x="1750" y="1139"/>
                  <a:pt x="1766" y="1107"/>
                </a:cubicBezTo>
                <a:lnTo>
                  <a:pt x="2163" y="519"/>
                </a:lnTo>
                <a:cubicBezTo>
                  <a:pt x="2163" y="503"/>
                  <a:pt x="2179" y="487"/>
                  <a:pt x="2163" y="455"/>
                </a:cubicBezTo>
                <a:cubicBezTo>
                  <a:pt x="2163" y="439"/>
                  <a:pt x="2148" y="423"/>
                  <a:pt x="2132" y="407"/>
                </a:cubicBezTo>
                <a:lnTo>
                  <a:pt x="1543" y="10"/>
                </a:lnTo>
                <a:cubicBezTo>
                  <a:pt x="1511" y="-6"/>
                  <a:pt x="1448" y="-6"/>
                  <a:pt x="1432" y="41"/>
                </a:cubicBezTo>
                <a:cubicBezTo>
                  <a:pt x="1400" y="74"/>
                  <a:pt x="1416" y="121"/>
                  <a:pt x="1448" y="137"/>
                </a:cubicBezTo>
                <a:lnTo>
                  <a:pt x="1877" y="423"/>
                </a:lnTo>
                <a:cubicBezTo>
                  <a:pt x="811" y="535"/>
                  <a:pt x="0" y="1425"/>
                  <a:pt x="0" y="2523"/>
                </a:cubicBezTo>
                <a:cubicBezTo>
                  <a:pt x="0" y="3668"/>
                  <a:pt x="939" y="4622"/>
                  <a:pt x="2084" y="4622"/>
                </a:cubicBezTo>
                <a:cubicBezTo>
                  <a:pt x="3245" y="4622"/>
                  <a:pt x="4183" y="3668"/>
                  <a:pt x="4183" y="2523"/>
                </a:cubicBezTo>
                <a:cubicBezTo>
                  <a:pt x="4183" y="1919"/>
                  <a:pt x="3929" y="1346"/>
                  <a:pt x="3484" y="948"/>
                </a:cubicBezTo>
                <a:close/>
                <a:moveTo>
                  <a:pt x="2036" y="2491"/>
                </a:moveTo>
                <a:lnTo>
                  <a:pt x="939" y="3573"/>
                </a:lnTo>
                <a:cubicBezTo>
                  <a:pt x="907" y="3604"/>
                  <a:pt x="907" y="3652"/>
                  <a:pt x="939" y="3684"/>
                </a:cubicBezTo>
                <a:cubicBezTo>
                  <a:pt x="954" y="3700"/>
                  <a:pt x="987" y="3716"/>
                  <a:pt x="1002" y="3716"/>
                </a:cubicBezTo>
                <a:cubicBezTo>
                  <a:pt x="1018" y="3716"/>
                  <a:pt x="1034" y="3700"/>
                  <a:pt x="1050" y="3684"/>
                </a:cubicBezTo>
                <a:lnTo>
                  <a:pt x="2084" y="2650"/>
                </a:lnTo>
                <a:lnTo>
                  <a:pt x="2704" y="3270"/>
                </a:lnTo>
                <a:cubicBezTo>
                  <a:pt x="2720" y="3286"/>
                  <a:pt x="2736" y="3286"/>
                  <a:pt x="2752" y="3286"/>
                </a:cubicBezTo>
                <a:cubicBezTo>
                  <a:pt x="2784" y="3286"/>
                  <a:pt x="2800" y="3286"/>
                  <a:pt x="2815" y="3270"/>
                </a:cubicBezTo>
                <a:cubicBezTo>
                  <a:pt x="2847" y="3239"/>
                  <a:pt x="2847" y="3191"/>
                  <a:pt x="2815" y="3159"/>
                </a:cubicBezTo>
                <a:lnTo>
                  <a:pt x="2148" y="2491"/>
                </a:lnTo>
                <a:cubicBezTo>
                  <a:pt x="2115" y="2459"/>
                  <a:pt x="2068" y="2459"/>
                  <a:pt x="2036" y="249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65359556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Security - 1</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14" name="TextBox 13">
            <a:extLst>
              <a:ext uri="{FF2B5EF4-FFF2-40B4-BE49-F238E27FC236}">
                <a16:creationId xmlns:a16="http://schemas.microsoft.com/office/drawing/2014/main" id="{8C0F2E1D-8FD7-1C42-8D7A-681CDBF407EC}"/>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Key</a:t>
            </a:r>
          </a:p>
        </p:txBody>
      </p:sp>
      <p:sp>
        <p:nvSpPr>
          <p:cNvPr id="15" name="TextBox 14">
            <a:extLst>
              <a:ext uri="{FF2B5EF4-FFF2-40B4-BE49-F238E27FC236}">
                <a16:creationId xmlns:a16="http://schemas.microsoft.com/office/drawing/2014/main" id="{3A60A5CC-69F3-A345-91EC-7E3D638A9AF3}"/>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dlock Closed</a:t>
            </a:r>
          </a:p>
        </p:txBody>
      </p:sp>
      <p:sp>
        <p:nvSpPr>
          <p:cNvPr id="16" name="TextBox 15">
            <a:extLst>
              <a:ext uri="{FF2B5EF4-FFF2-40B4-BE49-F238E27FC236}">
                <a16:creationId xmlns:a16="http://schemas.microsoft.com/office/drawing/2014/main" id="{A26D9A6B-E3B9-A148-8EEC-3B3E394869DC}"/>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dlock Open</a:t>
            </a:r>
          </a:p>
        </p:txBody>
      </p:sp>
      <p:sp>
        <p:nvSpPr>
          <p:cNvPr id="17" name="TextBox 16">
            <a:extLst>
              <a:ext uri="{FF2B5EF4-FFF2-40B4-BE49-F238E27FC236}">
                <a16:creationId xmlns:a16="http://schemas.microsoft.com/office/drawing/2014/main" id="{ED4AC02E-3DD1-404C-979F-4D1A8817C5A3}"/>
              </a:ext>
            </a:extLst>
          </p:cNvPr>
          <p:cNvSpPr txBox="1"/>
          <p:nvPr/>
        </p:nvSpPr>
        <p:spPr>
          <a:xfrm>
            <a:off x="12867894"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SL Lock</a:t>
            </a:r>
          </a:p>
        </p:txBody>
      </p:sp>
      <p:sp>
        <p:nvSpPr>
          <p:cNvPr id="18" name="TextBox 17">
            <a:extLst>
              <a:ext uri="{FF2B5EF4-FFF2-40B4-BE49-F238E27FC236}">
                <a16:creationId xmlns:a16="http://schemas.microsoft.com/office/drawing/2014/main" id="{78311850-54C1-554D-A1D9-F10F12BA9889}"/>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ock Key</a:t>
            </a:r>
          </a:p>
        </p:txBody>
      </p:sp>
      <p:sp>
        <p:nvSpPr>
          <p:cNvPr id="19" name="TextBox 18">
            <a:extLst>
              <a:ext uri="{FF2B5EF4-FFF2-40B4-BE49-F238E27FC236}">
                <a16:creationId xmlns:a16="http://schemas.microsoft.com/office/drawing/2014/main" id="{7C029C3C-2D76-E34F-B74D-C1DFE2ED4A53}"/>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ssword 1</a:t>
            </a:r>
          </a:p>
        </p:txBody>
      </p:sp>
      <p:sp>
        <p:nvSpPr>
          <p:cNvPr id="20" name="TextBox 19">
            <a:extLst>
              <a:ext uri="{FF2B5EF4-FFF2-40B4-BE49-F238E27FC236}">
                <a16:creationId xmlns:a16="http://schemas.microsoft.com/office/drawing/2014/main" id="{D80C5671-B22E-F04A-B41F-CBB981420662}"/>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ssword 2</a:t>
            </a:r>
          </a:p>
        </p:txBody>
      </p:sp>
      <p:sp>
        <p:nvSpPr>
          <p:cNvPr id="21" name="TextBox 20">
            <a:extLst>
              <a:ext uri="{FF2B5EF4-FFF2-40B4-BE49-F238E27FC236}">
                <a16:creationId xmlns:a16="http://schemas.microsoft.com/office/drawing/2014/main" id="{85E59CA0-C1C6-E343-A3FD-14248EDCE9F9}"/>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etina Scan</a:t>
            </a:r>
          </a:p>
        </p:txBody>
      </p:sp>
      <p:sp>
        <p:nvSpPr>
          <p:cNvPr id="22" name="TextBox 21">
            <a:extLst>
              <a:ext uri="{FF2B5EF4-FFF2-40B4-BE49-F238E27FC236}">
                <a16:creationId xmlns:a16="http://schemas.microsoft.com/office/drawing/2014/main" id="{622AD44D-0C7E-1B4A-B0D2-98BD0181276E}"/>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afe/ Vault</a:t>
            </a:r>
          </a:p>
        </p:txBody>
      </p:sp>
      <p:sp>
        <p:nvSpPr>
          <p:cNvPr id="23" name="TextBox 22">
            <a:extLst>
              <a:ext uri="{FF2B5EF4-FFF2-40B4-BE49-F238E27FC236}">
                <a16:creationId xmlns:a16="http://schemas.microsoft.com/office/drawing/2014/main" id="{69613B00-9E82-FE42-9A5B-E37FD979DA0F}"/>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hield 2</a:t>
            </a:r>
          </a:p>
        </p:txBody>
      </p:sp>
      <p:sp>
        <p:nvSpPr>
          <p:cNvPr id="24" name="TextBox 23">
            <a:extLst>
              <a:ext uri="{FF2B5EF4-FFF2-40B4-BE49-F238E27FC236}">
                <a16:creationId xmlns:a16="http://schemas.microsoft.com/office/drawing/2014/main" id="{A2DD2914-38B2-4A4D-A820-682D8711CC34}"/>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hield 4</a:t>
            </a:r>
          </a:p>
        </p:txBody>
      </p:sp>
      <p:sp>
        <p:nvSpPr>
          <p:cNvPr id="25" name="TextBox 24">
            <a:extLst>
              <a:ext uri="{FF2B5EF4-FFF2-40B4-BE49-F238E27FC236}">
                <a16:creationId xmlns:a16="http://schemas.microsoft.com/office/drawing/2014/main" id="{E74282F5-78EA-5042-AE5A-45A1AC6D3C78}"/>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hield 5</a:t>
            </a:r>
          </a:p>
        </p:txBody>
      </p:sp>
      <p:sp>
        <p:nvSpPr>
          <p:cNvPr id="26" name="TextBox 25">
            <a:extLst>
              <a:ext uri="{FF2B5EF4-FFF2-40B4-BE49-F238E27FC236}">
                <a16:creationId xmlns:a16="http://schemas.microsoft.com/office/drawing/2014/main" id="{CA5BDDCE-3374-A948-BDEF-C75107522955}"/>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hield 6</a:t>
            </a:r>
          </a:p>
        </p:txBody>
      </p:sp>
      <p:sp>
        <p:nvSpPr>
          <p:cNvPr id="27" name="TextBox 26">
            <a:extLst>
              <a:ext uri="{FF2B5EF4-FFF2-40B4-BE49-F238E27FC236}">
                <a16:creationId xmlns:a16="http://schemas.microsoft.com/office/drawing/2014/main" id="{28F08434-21F9-6445-80A4-160D41BA4FA7}"/>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cure Monitor</a:t>
            </a:r>
          </a:p>
        </p:txBody>
      </p:sp>
      <p:sp>
        <p:nvSpPr>
          <p:cNvPr id="29" name="Freeform: Shape 26">
            <a:extLst>
              <a:ext uri="{FF2B5EF4-FFF2-40B4-BE49-F238E27FC236}">
                <a16:creationId xmlns:a16="http://schemas.microsoft.com/office/drawing/2014/main" id="{AF0AABE0-A805-3747-A417-95FB2AD37C2D}"/>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0" name="TextBox 29">
            <a:extLst>
              <a:ext uri="{FF2B5EF4-FFF2-40B4-BE49-F238E27FC236}">
                <a16:creationId xmlns:a16="http://schemas.microsoft.com/office/drawing/2014/main" id="{F1A0AB53-C671-EA43-87A3-4A576D4CE957}"/>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ock Check</a:t>
            </a:r>
          </a:p>
        </p:txBody>
      </p:sp>
      <p:sp>
        <p:nvSpPr>
          <p:cNvPr id="31" name="TextBox 30">
            <a:extLst>
              <a:ext uri="{FF2B5EF4-FFF2-40B4-BE49-F238E27FC236}">
                <a16:creationId xmlns:a16="http://schemas.microsoft.com/office/drawing/2014/main" id="{732DB6CB-1FDE-5144-9F72-65F8B4C24CB6}"/>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hield 1</a:t>
            </a:r>
          </a:p>
        </p:txBody>
      </p:sp>
      <p:sp>
        <p:nvSpPr>
          <p:cNvPr id="32" name="TextBox 31">
            <a:extLst>
              <a:ext uri="{FF2B5EF4-FFF2-40B4-BE49-F238E27FC236}">
                <a16:creationId xmlns:a16="http://schemas.microsoft.com/office/drawing/2014/main" id="{6C9A2089-E3D1-8946-9DDC-D09FF3E04B9A}"/>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hield/Badge</a:t>
            </a:r>
          </a:p>
        </p:txBody>
      </p:sp>
      <p:sp>
        <p:nvSpPr>
          <p:cNvPr id="33" name="Freeform: Shape 13">
            <a:extLst>
              <a:ext uri="{FF2B5EF4-FFF2-40B4-BE49-F238E27FC236}">
                <a16:creationId xmlns:a16="http://schemas.microsoft.com/office/drawing/2014/main" id="{E39E6F44-7B16-A840-9C29-BBAFF62E2965}"/>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4" name="Freeform: Shape 1">
            <a:extLst>
              <a:ext uri="{FF2B5EF4-FFF2-40B4-BE49-F238E27FC236}">
                <a16:creationId xmlns:a16="http://schemas.microsoft.com/office/drawing/2014/main" id="{2B7BC26D-15F2-B241-BFF9-3A0C0A229E34}"/>
              </a:ext>
            </a:extLst>
          </p:cNvPr>
          <p:cNvSpPr/>
          <p:nvPr/>
        </p:nvSpPr>
        <p:spPr>
          <a:xfrm>
            <a:off x="10200464" y="3207953"/>
            <a:ext cx="1316520" cy="1683000"/>
          </a:xfrm>
          <a:custGeom>
            <a:avLst/>
            <a:gdLst/>
            <a:ahLst/>
            <a:cxnLst>
              <a:cxn ang="3cd4">
                <a:pos x="hc" y="t"/>
              </a:cxn>
              <a:cxn ang="cd2">
                <a:pos x="l" y="vc"/>
              </a:cxn>
              <a:cxn ang="cd4">
                <a:pos x="hc" y="b"/>
              </a:cxn>
              <a:cxn ang="0">
                <a:pos x="r" y="vc"/>
              </a:cxn>
            </a:cxnLst>
            <a:rect l="l" t="t" r="r" b="b"/>
            <a:pathLst>
              <a:path w="3658" h="4676">
                <a:moveTo>
                  <a:pt x="206" y="1623"/>
                </a:moveTo>
                <a:cubicBezTo>
                  <a:pt x="206" y="1702"/>
                  <a:pt x="206" y="1798"/>
                  <a:pt x="222" y="1861"/>
                </a:cubicBezTo>
                <a:cubicBezTo>
                  <a:pt x="95" y="1909"/>
                  <a:pt x="0" y="2036"/>
                  <a:pt x="0" y="2163"/>
                </a:cubicBezTo>
                <a:cubicBezTo>
                  <a:pt x="0" y="4343"/>
                  <a:pt x="0" y="4343"/>
                  <a:pt x="0" y="4343"/>
                </a:cubicBezTo>
                <a:cubicBezTo>
                  <a:pt x="0" y="4517"/>
                  <a:pt x="159" y="4676"/>
                  <a:pt x="334" y="4676"/>
                </a:cubicBezTo>
                <a:cubicBezTo>
                  <a:pt x="3340" y="4676"/>
                  <a:pt x="3340" y="4676"/>
                  <a:pt x="3340" y="4676"/>
                </a:cubicBezTo>
                <a:cubicBezTo>
                  <a:pt x="3515" y="4676"/>
                  <a:pt x="3658" y="4517"/>
                  <a:pt x="3658" y="4343"/>
                </a:cubicBezTo>
                <a:cubicBezTo>
                  <a:pt x="3658" y="2163"/>
                  <a:pt x="3658" y="2163"/>
                  <a:pt x="3658" y="2163"/>
                </a:cubicBezTo>
                <a:cubicBezTo>
                  <a:pt x="3658" y="1989"/>
                  <a:pt x="3515" y="1845"/>
                  <a:pt x="3340" y="1845"/>
                </a:cubicBezTo>
                <a:cubicBezTo>
                  <a:pt x="382" y="1845"/>
                  <a:pt x="382" y="1845"/>
                  <a:pt x="382" y="1845"/>
                </a:cubicBezTo>
                <a:cubicBezTo>
                  <a:pt x="366" y="1781"/>
                  <a:pt x="366" y="1702"/>
                  <a:pt x="366" y="1623"/>
                </a:cubicBezTo>
                <a:cubicBezTo>
                  <a:pt x="366" y="811"/>
                  <a:pt x="970" y="159"/>
                  <a:pt x="1733" y="159"/>
                </a:cubicBezTo>
                <a:cubicBezTo>
                  <a:pt x="2131" y="159"/>
                  <a:pt x="2513" y="350"/>
                  <a:pt x="2767" y="668"/>
                </a:cubicBezTo>
                <a:cubicBezTo>
                  <a:pt x="2799" y="700"/>
                  <a:pt x="2847" y="716"/>
                  <a:pt x="2879" y="684"/>
                </a:cubicBezTo>
                <a:cubicBezTo>
                  <a:pt x="2911" y="653"/>
                  <a:pt x="2926" y="605"/>
                  <a:pt x="2894" y="573"/>
                </a:cubicBezTo>
                <a:cubicBezTo>
                  <a:pt x="2608" y="207"/>
                  <a:pt x="2179" y="0"/>
                  <a:pt x="1733" y="0"/>
                </a:cubicBezTo>
                <a:cubicBezTo>
                  <a:pt x="891" y="0"/>
                  <a:pt x="206" y="732"/>
                  <a:pt x="206" y="1623"/>
                </a:cubicBezTo>
                <a:close/>
                <a:moveTo>
                  <a:pt x="3499" y="2163"/>
                </a:moveTo>
                <a:cubicBezTo>
                  <a:pt x="3499" y="4343"/>
                  <a:pt x="3499" y="4343"/>
                  <a:pt x="3499" y="4343"/>
                </a:cubicBezTo>
                <a:cubicBezTo>
                  <a:pt x="3499" y="4438"/>
                  <a:pt x="3435" y="4517"/>
                  <a:pt x="3340" y="4517"/>
                </a:cubicBezTo>
                <a:cubicBezTo>
                  <a:pt x="334" y="4517"/>
                  <a:pt x="334" y="4517"/>
                  <a:pt x="334" y="4517"/>
                </a:cubicBezTo>
                <a:cubicBezTo>
                  <a:pt x="239" y="4517"/>
                  <a:pt x="159" y="4438"/>
                  <a:pt x="159" y="4343"/>
                </a:cubicBezTo>
                <a:cubicBezTo>
                  <a:pt x="159" y="2163"/>
                  <a:pt x="159" y="2163"/>
                  <a:pt x="159" y="2163"/>
                </a:cubicBezTo>
                <a:cubicBezTo>
                  <a:pt x="159" y="2084"/>
                  <a:pt x="239" y="2004"/>
                  <a:pt x="334" y="2004"/>
                </a:cubicBezTo>
                <a:cubicBezTo>
                  <a:pt x="3340" y="2004"/>
                  <a:pt x="3340" y="2004"/>
                  <a:pt x="3340" y="2004"/>
                </a:cubicBezTo>
                <a:cubicBezTo>
                  <a:pt x="3435" y="2004"/>
                  <a:pt x="3499" y="2084"/>
                  <a:pt x="3499" y="21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5" name="Freeform: Shape 2">
            <a:extLst>
              <a:ext uri="{FF2B5EF4-FFF2-40B4-BE49-F238E27FC236}">
                <a16:creationId xmlns:a16="http://schemas.microsoft.com/office/drawing/2014/main" id="{5F15F9C3-E15C-174D-9C97-CCB1D86311A9}"/>
              </a:ext>
            </a:extLst>
          </p:cNvPr>
          <p:cNvSpPr/>
          <p:nvPr/>
        </p:nvSpPr>
        <p:spPr>
          <a:xfrm>
            <a:off x="14062990" y="6570731"/>
            <a:ext cx="1493999" cy="1493999"/>
          </a:xfrm>
          <a:custGeom>
            <a:avLst/>
            <a:gdLst/>
            <a:ahLst/>
            <a:cxnLst>
              <a:cxn ang="3cd4">
                <a:pos x="hc" y="t"/>
              </a:cxn>
              <a:cxn ang="cd2">
                <a:pos x="l" y="vc"/>
              </a:cxn>
              <a:cxn ang="cd4">
                <a:pos x="hc" y="b"/>
              </a:cxn>
              <a:cxn ang="0">
                <a:pos x="r" y="vc"/>
              </a:cxn>
            </a:cxnLst>
            <a:rect l="l" t="t" r="r" b="b"/>
            <a:pathLst>
              <a:path w="4151" h="4151">
                <a:moveTo>
                  <a:pt x="0" y="318"/>
                </a:moveTo>
                <a:lnTo>
                  <a:pt x="0" y="3484"/>
                </a:lnTo>
                <a:cubicBezTo>
                  <a:pt x="0" y="3659"/>
                  <a:pt x="143" y="3802"/>
                  <a:pt x="334" y="3802"/>
                </a:cubicBezTo>
                <a:lnTo>
                  <a:pt x="684" y="3802"/>
                </a:lnTo>
                <a:lnTo>
                  <a:pt x="684" y="4072"/>
                </a:lnTo>
                <a:cubicBezTo>
                  <a:pt x="684" y="4120"/>
                  <a:pt x="716" y="4151"/>
                  <a:pt x="763" y="4151"/>
                </a:cubicBezTo>
                <a:cubicBezTo>
                  <a:pt x="811" y="4151"/>
                  <a:pt x="843" y="4120"/>
                  <a:pt x="843" y="4072"/>
                </a:cubicBezTo>
                <a:lnTo>
                  <a:pt x="843" y="3802"/>
                </a:lnTo>
                <a:lnTo>
                  <a:pt x="3308" y="3802"/>
                </a:lnTo>
                <a:lnTo>
                  <a:pt x="3308" y="4072"/>
                </a:lnTo>
                <a:cubicBezTo>
                  <a:pt x="3308" y="4120"/>
                  <a:pt x="3340" y="4151"/>
                  <a:pt x="3388" y="4151"/>
                </a:cubicBezTo>
                <a:cubicBezTo>
                  <a:pt x="3435" y="4151"/>
                  <a:pt x="3467" y="4120"/>
                  <a:pt x="3467" y="4072"/>
                </a:cubicBezTo>
                <a:lnTo>
                  <a:pt x="3467" y="3802"/>
                </a:lnTo>
                <a:lnTo>
                  <a:pt x="3817" y="3802"/>
                </a:lnTo>
                <a:cubicBezTo>
                  <a:pt x="3992" y="3802"/>
                  <a:pt x="4151" y="3659"/>
                  <a:pt x="4151" y="3484"/>
                </a:cubicBezTo>
                <a:lnTo>
                  <a:pt x="4151" y="318"/>
                </a:lnTo>
                <a:cubicBezTo>
                  <a:pt x="4151" y="143"/>
                  <a:pt x="3992" y="0"/>
                  <a:pt x="3817" y="0"/>
                </a:cubicBezTo>
                <a:lnTo>
                  <a:pt x="334" y="0"/>
                </a:lnTo>
                <a:cubicBezTo>
                  <a:pt x="143" y="0"/>
                  <a:pt x="0" y="143"/>
                  <a:pt x="0" y="318"/>
                </a:cubicBezTo>
                <a:close/>
                <a:moveTo>
                  <a:pt x="3992" y="318"/>
                </a:moveTo>
                <a:lnTo>
                  <a:pt x="3992" y="3484"/>
                </a:lnTo>
                <a:cubicBezTo>
                  <a:pt x="3992" y="3579"/>
                  <a:pt x="3913" y="3642"/>
                  <a:pt x="3817" y="3642"/>
                </a:cubicBezTo>
                <a:lnTo>
                  <a:pt x="334" y="3642"/>
                </a:lnTo>
                <a:cubicBezTo>
                  <a:pt x="238" y="3642"/>
                  <a:pt x="159" y="3579"/>
                  <a:pt x="159" y="3484"/>
                </a:cubicBezTo>
                <a:lnTo>
                  <a:pt x="159" y="318"/>
                </a:lnTo>
                <a:cubicBezTo>
                  <a:pt x="159" y="239"/>
                  <a:pt x="238" y="160"/>
                  <a:pt x="334" y="160"/>
                </a:cubicBezTo>
                <a:lnTo>
                  <a:pt x="3817" y="160"/>
                </a:lnTo>
                <a:cubicBezTo>
                  <a:pt x="3913" y="160"/>
                  <a:pt x="3992" y="239"/>
                  <a:pt x="3992" y="318"/>
                </a:cubicBezTo>
                <a:close/>
                <a:moveTo>
                  <a:pt x="732" y="3150"/>
                </a:moveTo>
                <a:cubicBezTo>
                  <a:pt x="779" y="3150"/>
                  <a:pt x="811" y="3118"/>
                  <a:pt x="811" y="3070"/>
                </a:cubicBezTo>
                <a:lnTo>
                  <a:pt x="811" y="1432"/>
                </a:lnTo>
                <a:lnTo>
                  <a:pt x="811" y="1146"/>
                </a:lnTo>
                <a:lnTo>
                  <a:pt x="811" y="732"/>
                </a:lnTo>
                <a:cubicBezTo>
                  <a:pt x="811" y="684"/>
                  <a:pt x="779" y="652"/>
                  <a:pt x="732" y="652"/>
                </a:cubicBezTo>
                <a:cubicBezTo>
                  <a:pt x="700" y="652"/>
                  <a:pt x="652" y="684"/>
                  <a:pt x="652" y="732"/>
                </a:cubicBezTo>
                <a:lnTo>
                  <a:pt x="652" y="1146"/>
                </a:lnTo>
                <a:lnTo>
                  <a:pt x="652" y="1432"/>
                </a:lnTo>
                <a:lnTo>
                  <a:pt x="652" y="3070"/>
                </a:lnTo>
                <a:cubicBezTo>
                  <a:pt x="652" y="3118"/>
                  <a:pt x="700" y="3150"/>
                  <a:pt x="732" y="3150"/>
                </a:cubicBezTo>
                <a:close/>
                <a:moveTo>
                  <a:pt x="2481" y="2259"/>
                </a:moveTo>
                <a:cubicBezTo>
                  <a:pt x="2688" y="2259"/>
                  <a:pt x="2847" y="2100"/>
                  <a:pt x="2847" y="1909"/>
                </a:cubicBezTo>
                <a:cubicBezTo>
                  <a:pt x="2847" y="1702"/>
                  <a:pt x="2688" y="1543"/>
                  <a:pt x="2481" y="1543"/>
                </a:cubicBezTo>
                <a:cubicBezTo>
                  <a:pt x="2290" y="1543"/>
                  <a:pt x="2131" y="1702"/>
                  <a:pt x="2131" y="1909"/>
                </a:cubicBezTo>
                <a:cubicBezTo>
                  <a:pt x="2131" y="2100"/>
                  <a:pt x="2290" y="2259"/>
                  <a:pt x="2481" y="2259"/>
                </a:cubicBezTo>
                <a:close/>
                <a:moveTo>
                  <a:pt x="2481" y="1702"/>
                </a:moveTo>
                <a:cubicBezTo>
                  <a:pt x="2592" y="1702"/>
                  <a:pt x="2688" y="1797"/>
                  <a:pt x="2688" y="1909"/>
                </a:cubicBezTo>
                <a:cubicBezTo>
                  <a:pt x="2688" y="2020"/>
                  <a:pt x="2592" y="2100"/>
                  <a:pt x="2481" y="2100"/>
                </a:cubicBezTo>
                <a:cubicBezTo>
                  <a:pt x="2386" y="2100"/>
                  <a:pt x="2290" y="2020"/>
                  <a:pt x="2290" y="1909"/>
                </a:cubicBezTo>
                <a:cubicBezTo>
                  <a:pt x="2290" y="1797"/>
                  <a:pt x="2386" y="1702"/>
                  <a:pt x="2481" y="1702"/>
                </a:cubicBezTo>
                <a:close/>
                <a:moveTo>
                  <a:pt x="1384" y="1988"/>
                </a:moveTo>
                <a:lnTo>
                  <a:pt x="1638" y="1988"/>
                </a:lnTo>
                <a:cubicBezTo>
                  <a:pt x="1654" y="2163"/>
                  <a:pt x="1734" y="2339"/>
                  <a:pt x="1845" y="2466"/>
                </a:cubicBezTo>
                <a:lnTo>
                  <a:pt x="1654" y="2641"/>
                </a:lnTo>
                <a:cubicBezTo>
                  <a:pt x="1622" y="2672"/>
                  <a:pt x="1622" y="2720"/>
                  <a:pt x="1654" y="2752"/>
                </a:cubicBezTo>
                <a:cubicBezTo>
                  <a:pt x="1670" y="2768"/>
                  <a:pt x="1686" y="2784"/>
                  <a:pt x="1717" y="2784"/>
                </a:cubicBezTo>
                <a:cubicBezTo>
                  <a:pt x="1734" y="2784"/>
                  <a:pt x="1750" y="2768"/>
                  <a:pt x="1765" y="2752"/>
                </a:cubicBezTo>
                <a:lnTo>
                  <a:pt x="1956" y="2577"/>
                </a:lnTo>
                <a:cubicBezTo>
                  <a:pt x="2083" y="2672"/>
                  <a:pt x="2243" y="2752"/>
                  <a:pt x="2417" y="2752"/>
                </a:cubicBezTo>
                <a:lnTo>
                  <a:pt x="2417" y="3023"/>
                </a:lnTo>
                <a:cubicBezTo>
                  <a:pt x="2417" y="3070"/>
                  <a:pt x="2465" y="3102"/>
                  <a:pt x="2497" y="3102"/>
                </a:cubicBezTo>
                <a:cubicBezTo>
                  <a:pt x="2545" y="3102"/>
                  <a:pt x="2577" y="3070"/>
                  <a:pt x="2577" y="3023"/>
                </a:cubicBezTo>
                <a:lnTo>
                  <a:pt x="2577" y="2752"/>
                </a:lnTo>
                <a:cubicBezTo>
                  <a:pt x="2752" y="2736"/>
                  <a:pt x="2910" y="2672"/>
                  <a:pt x="3038" y="2561"/>
                </a:cubicBezTo>
                <a:lnTo>
                  <a:pt x="3229" y="2752"/>
                </a:lnTo>
                <a:cubicBezTo>
                  <a:pt x="3244" y="2768"/>
                  <a:pt x="3276" y="2784"/>
                  <a:pt x="3292" y="2784"/>
                </a:cubicBezTo>
                <a:cubicBezTo>
                  <a:pt x="3308" y="2784"/>
                  <a:pt x="3340" y="2768"/>
                  <a:pt x="3340" y="2752"/>
                </a:cubicBezTo>
                <a:cubicBezTo>
                  <a:pt x="3372" y="2720"/>
                  <a:pt x="3372" y="2672"/>
                  <a:pt x="3340" y="2641"/>
                </a:cubicBezTo>
                <a:lnTo>
                  <a:pt x="3149" y="2450"/>
                </a:lnTo>
                <a:cubicBezTo>
                  <a:pt x="3261" y="2323"/>
                  <a:pt x="3324" y="2163"/>
                  <a:pt x="3340" y="1988"/>
                </a:cubicBezTo>
                <a:lnTo>
                  <a:pt x="3626" y="1988"/>
                </a:lnTo>
                <a:cubicBezTo>
                  <a:pt x="3658" y="1988"/>
                  <a:pt x="3706" y="1957"/>
                  <a:pt x="3706" y="1909"/>
                </a:cubicBezTo>
                <a:cubicBezTo>
                  <a:pt x="3706" y="1861"/>
                  <a:pt x="3658" y="1830"/>
                  <a:pt x="3626" y="1830"/>
                </a:cubicBezTo>
                <a:lnTo>
                  <a:pt x="3340" y="1830"/>
                </a:lnTo>
                <a:cubicBezTo>
                  <a:pt x="3324" y="1654"/>
                  <a:pt x="3261" y="1496"/>
                  <a:pt x="3149" y="1368"/>
                </a:cubicBezTo>
                <a:lnTo>
                  <a:pt x="3340" y="1178"/>
                </a:lnTo>
                <a:cubicBezTo>
                  <a:pt x="3372" y="1146"/>
                  <a:pt x="3372" y="1098"/>
                  <a:pt x="3340" y="1066"/>
                </a:cubicBezTo>
                <a:cubicBezTo>
                  <a:pt x="3324" y="1034"/>
                  <a:pt x="3261" y="1034"/>
                  <a:pt x="3229" y="1066"/>
                </a:cubicBezTo>
                <a:lnTo>
                  <a:pt x="3038" y="1257"/>
                </a:lnTo>
                <a:cubicBezTo>
                  <a:pt x="2910" y="1146"/>
                  <a:pt x="2752" y="1066"/>
                  <a:pt x="2577" y="1050"/>
                </a:cubicBezTo>
                <a:lnTo>
                  <a:pt x="2577" y="796"/>
                </a:lnTo>
                <a:cubicBezTo>
                  <a:pt x="2577" y="748"/>
                  <a:pt x="2545" y="716"/>
                  <a:pt x="2497" y="716"/>
                </a:cubicBezTo>
                <a:cubicBezTo>
                  <a:pt x="2465" y="716"/>
                  <a:pt x="2417" y="748"/>
                  <a:pt x="2417" y="796"/>
                </a:cubicBezTo>
                <a:lnTo>
                  <a:pt x="2417" y="1050"/>
                </a:lnTo>
                <a:cubicBezTo>
                  <a:pt x="2243" y="1066"/>
                  <a:pt x="2083" y="1130"/>
                  <a:pt x="1940" y="1241"/>
                </a:cubicBezTo>
                <a:lnTo>
                  <a:pt x="1765" y="1066"/>
                </a:lnTo>
                <a:cubicBezTo>
                  <a:pt x="1734" y="1034"/>
                  <a:pt x="1686" y="1034"/>
                  <a:pt x="1654" y="1066"/>
                </a:cubicBezTo>
                <a:cubicBezTo>
                  <a:pt x="1622" y="1098"/>
                  <a:pt x="1622" y="1146"/>
                  <a:pt x="1654" y="1178"/>
                </a:cubicBezTo>
                <a:lnTo>
                  <a:pt x="1829" y="1352"/>
                </a:lnTo>
                <a:cubicBezTo>
                  <a:pt x="1717" y="1479"/>
                  <a:pt x="1654" y="1654"/>
                  <a:pt x="1638" y="1830"/>
                </a:cubicBezTo>
                <a:lnTo>
                  <a:pt x="1384" y="1830"/>
                </a:lnTo>
                <a:cubicBezTo>
                  <a:pt x="1336" y="1830"/>
                  <a:pt x="1304" y="1861"/>
                  <a:pt x="1304" y="1909"/>
                </a:cubicBezTo>
                <a:cubicBezTo>
                  <a:pt x="1304" y="1957"/>
                  <a:pt x="1336" y="1988"/>
                  <a:pt x="1384" y="1988"/>
                </a:cubicBezTo>
                <a:close/>
                <a:moveTo>
                  <a:pt x="2481" y="1209"/>
                </a:moveTo>
                <a:cubicBezTo>
                  <a:pt x="2879" y="1209"/>
                  <a:pt x="3181" y="1527"/>
                  <a:pt x="3181" y="1909"/>
                </a:cubicBezTo>
                <a:cubicBezTo>
                  <a:pt x="3181" y="2291"/>
                  <a:pt x="2879" y="2609"/>
                  <a:pt x="2481" y="2609"/>
                </a:cubicBezTo>
                <a:cubicBezTo>
                  <a:pt x="2099" y="2609"/>
                  <a:pt x="1797" y="2291"/>
                  <a:pt x="1797" y="1909"/>
                </a:cubicBezTo>
                <a:cubicBezTo>
                  <a:pt x="1797" y="1527"/>
                  <a:pt x="2099" y="1209"/>
                  <a:pt x="2481" y="12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6" name="Freeform: Shape 3">
            <a:extLst>
              <a:ext uri="{FF2B5EF4-FFF2-40B4-BE49-F238E27FC236}">
                <a16:creationId xmlns:a16="http://schemas.microsoft.com/office/drawing/2014/main" id="{2A0DE48D-D059-1B43-A8D2-312FFD91942A}"/>
              </a:ext>
            </a:extLst>
          </p:cNvPr>
          <p:cNvSpPr/>
          <p:nvPr/>
        </p:nvSpPr>
        <p:spPr>
          <a:xfrm>
            <a:off x="9993116" y="6637475"/>
            <a:ext cx="1717560" cy="1144800"/>
          </a:xfrm>
          <a:custGeom>
            <a:avLst/>
            <a:gdLst/>
            <a:ahLst/>
            <a:cxnLst>
              <a:cxn ang="3cd4">
                <a:pos x="hc" y="t"/>
              </a:cxn>
              <a:cxn ang="cd2">
                <a:pos x="l" y="vc"/>
              </a:cxn>
              <a:cxn ang="cd4">
                <a:pos x="hc" y="b"/>
              </a:cxn>
              <a:cxn ang="0">
                <a:pos x="r" y="vc"/>
              </a:cxn>
            </a:cxnLst>
            <a:rect l="l" t="t" r="r" b="b"/>
            <a:pathLst>
              <a:path w="4772" h="3181">
                <a:moveTo>
                  <a:pt x="334" y="1622"/>
                </a:moveTo>
                <a:cubicBezTo>
                  <a:pt x="318" y="1638"/>
                  <a:pt x="318" y="1654"/>
                  <a:pt x="318" y="1670"/>
                </a:cubicBezTo>
                <a:lnTo>
                  <a:pt x="318" y="1686"/>
                </a:lnTo>
                <a:cubicBezTo>
                  <a:pt x="318" y="1701"/>
                  <a:pt x="318" y="1718"/>
                  <a:pt x="334" y="1734"/>
                </a:cubicBezTo>
                <a:cubicBezTo>
                  <a:pt x="700" y="2338"/>
                  <a:pt x="1463" y="2719"/>
                  <a:pt x="2354" y="2736"/>
                </a:cubicBezTo>
                <a:lnTo>
                  <a:pt x="2433" y="2736"/>
                </a:lnTo>
                <a:cubicBezTo>
                  <a:pt x="3340" y="2736"/>
                  <a:pt x="4167" y="2354"/>
                  <a:pt x="4581" y="1734"/>
                </a:cubicBezTo>
                <a:cubicBezTo>
                  <a:pt x="4586" y="1728"/>
                  <a:pt x="4597" y="1734"/>
                  <a:pt x="4597" y="1718"/>
                </a:cubicBezTo>
                <a:lnTo>
                  <a:pt x="4597" y="1701"/>
                </a:lnTo>
                <a:cubicBezTo>
                  <a:pt x="4612" y="1670"/>
                  <a:pt x="4612" y="1638"/>
                  <a:pt x="4597" y="1622"/>
                </a:cubicBezTo>
                <a:cubicBezTo>
                  <a:pt x="4167" y="986"/>
                  <a:pt x="3308" y="588"/>
                  <a:pt x="2354" y="620"/>
                </a:cubicBezTo>
                <a:cubicBezTo>
                  <a:pt x="1463" y="636"/>
                  <a:pt x="700" y="1018"/>
                  <a:pt x="334" y="1622"/>
                </a:cubicBezTo>
                <a:close/>
                <a:moveTo>
                  <a:pt x="2354" y="779"/>
                </a:moveTo>
                <a:cubicBezTo>
                  <a:pt x="3228" y="763"/>
                  <a:pt x="4024" y="1097"/>
                  <a:pt x="4437" y="1670"/>
                </a:cubicBezTo>
                <a:cubicBezTo>
                  <a:pt x="4024" y="2243"/>
                  <a:pt x="3228" y="2592"/>
                  <a:pt x="2354" y="2576"/>
                </a:cubicBezTo>
                <a:cubicBezTo>
                  <a:pt x="1527" y="2561"/>
                  <a:pt x="843" y="2227"/>
                  <a:pt x="493" y="1670"/>
                </a:cubicBezTo>
                <a:cubicBezTo>
                  <a:pt x="843" y="1129"/>
                  <a:pt x="1543" y="795"/>
                  <a:pt x="2354" y="779"/>
                </a:cubicBezTo>
                <a:close/>
                <a:moveTo>
                  <a:pt x="2418" y="2147"/>
                </a:moveTo>
                <a:cubicBezTo>
                  <a:pt x="2736" y="2147"/>
                  <a:pt x="3006" y="1877"/>
                  <a:pt x="3006" y="1558"/>
                </a:cubicBezTo>
                <a:cubicBezTo>
                  <a:pt x="3006" y="1240"/>
                  <a:pt x="2736" y="986"/>
                  <a:pt x="2418" y="986"/>
                </a:cubicBezTo>
                <a:cubicBezTo>
                  <a:pt x="2100" y="986"/>
                  <a:pt x="1845" y="1240"/>
                  <a:pt x="1845" y="1558"/>
                </a:cubicBezTo>
                <a:cubicBezTo>
                  <a:pt x="1845" y="1877"/>
                  <a:pt x="2100" y="2147"/>
                  <a:pt x="2418" y="2147"/>
                </a:cubicBezTo>
                <a:close/>
                <a:moveTo>
                  <a:pt x="2418" y="1145"/>
                </a:moveTo>
                <a:cubicBezTo>
                  <a:pt x="2656" y="1145"/>
                  <a:pt x="2847" y="1336"/>
                  <a:pt x="2847" y="1558"/>
                </a:cubicBezTo>
                <a:cubicBezTo>
                  <a:pt x="2847" y="1797"/>
                  <a:pt x="2656" y="1988"/>
                  <a:pt x="2418" y="1988"/>
                </a:cubicBezTo>
                <a:cubicBezTo>
                  <a:pt x="2195" y="1988"/>
                  <a:pt x="2004" y="1797"/>
                  <a:pt x="2004" y="1558"/>
                </a:cubicBezTo>
                <a:cubicBezTo>
                  <a:pt x="2004" y="1336"/>
                  <a:pt x="2195" y="1145"/>
                  <a:pt x="2418" y="1145"/>
                </a:cubicBezTo>
                <a:close/>
                <a:moveTo>
                  <a:pt x="80" y="716"/>
                </a:moveTo>
                <a:cubicBezTo>
                  <a:pt x="127" y="716"/>
                  <a:pt x="159" y="684"/>
                  <a:pt x="159" y="636"/>
                </a:cubicBezTo>
                <a:lnTo>
                  <a:pt x="159" y="159"/>
                </a:lnTo>
                <a:lnTo>
                  <a:pt x="636" y="159"/>
                </a:lnTo>
                <a:cubicBezTo>
                  <a:pt x="684" y="159"/>
                  <a:pt x="716" y="127"/>
                  <a:pt x="716" y="79"/>
                </a:cubicBezTo>
                <a:cubicBezTo>
                  <a:pt x="716" y="32"/>
                  <a:pt x="684" y="0"/>
                  <a:pt x="636" y="0"/>
                </a:cubicBezTo>
                <a:lnTo>
                  <a:pt x="80" y="0"/>
                </a:lnTo>
                <a:cubicBezTo>
                  <a:pt x="32" y="0"/>
                  <a:pt x="0" y="32"/>
                  <a:pt x="0" y="79"/>
                </a:cubicBezTo>
                <a:lnTo>
                  <a:pt x="0" y="636"/>
                </a:lnTo>
                <a:cubicBezTo>
                  <a:pt x="0" y="684"/>
                  <a:pt x="32" y="716"/>
                  <a:pt x="80" y="716"/>
                </a:cubicBezTo>
                <a:close/>
                <a:moveTo>
                  <a:pt x="4135" y="159"/>
                </a:moveTo>
                <a:lnTo>
                  <a:pt x="4612" y="159"/>
                </a:lnTo>
                <a:lnTo>
                  <a:pt x="4612" y="636"/>
                </a:lnTo>
                <a:cubicBezTo>
                  <a:pt x="4612" y="684"/>
                  <a:pt x="4644" y="716"/>
                  <a:pt x="4692" y="716"/>
                </a:cubicBezTo>
                <a:cubicBezTo>
                  <a:pt x="4724" y="716"/>
                  <a:pt x="4772" y="684"/>
                  <a:pt x="4772" y="636"/>
                </a:cubicBezTo>
                <a:lnTo>
                  <a:pt x="4772" y="79"/>
                </a:lnTo>
                <a:cubicBezTo>
                  <a:pt x="4772" y="32"/>
                  <a:pt x="4724" y="0"/>
                  <a:pt x="4692" y="0"/>
                </a:cubicBezTo>
                <a:lnTo>
                  <a:pt x="4135" y="0"/>
                </a:lnTo>
                <a:cubicBezTo>
                  <a:pt x="4088" y="0"/>
                  <a:pt x="4055" y="32"/>
                  <a:pt x="4055" y="79"/>
                </a:cubicBezTo>
                <a:cubicBezTo>
                  <a:pt x="4055" y="127"/>
                  <a:pt x="4088" y="159"/>
                  <a:pt x="4135" y="159"/>
                </a:cubicBezTo>
                <a:close/>
                <a:moveTo>
                  <a:pt x="0" y="3101"/>
                </a:moveTo>
                <a:cubicBezTo>
                  <a:pt x="0" y="3133"/>
                  <a:pt x="32" y="3181"/>
                  <a:pt x="80" y="3181"/>
                </a:cubicBezTo>
                <a:lnTo>
                  <a:pt x="636" y="3181"/>
                </a:lnTo>
                <a:cubicBezTo>
                  <a:pt x="684" y="3181"/>
                  <a:pt x="716" y="3133"/>
                  <a:pt x="716" y="3101"/>
                </a:cubicBezTo>
                <a:cubicBezTo>
                  <a:pt x="716" y="3054"/>
                  <a:pt x="684" y="3022"/>
                  <a:pt x="636" y="3022"/>
                </a:cubicBezTo>
                <a:lnTo>
                  <a:pt x="159" y="3022"/>
                </a:lnTo>
                <a:lnTo>
                  <a:pt x="159" y="2545"/>
                </a:lnTo>
                <a:cubicBezTo>
                  <a:pt x="159" y="2497"/>
                  <a:pt x="127" y="2465"/>
                  <a:pt x="80" y="2465"/>
                </a:cubicBezTo>
                <a:cubicBezTo>
                  <a:pt x="32" y="2465"/>
                  <a:pt x="0" y="2497"/>
                  <a:pt x="0" y="2545"/>
                </a:cubicBezTo>
                <a:close/>
                <a:moveTo>
                  <a:pt x="4772" y="2545"/>
                </a:moveTo>
                <a:cubicBezTo>
                  <a:pt x="4772" y="2497"/>
                  <a:pt x="4724" y="2465"/>
                  <a:pt x="4692" y="2465"/>
                </a:cubicBezTo>
                <a:cubicBezTo>
                  <a:pt x="4644" y="2465"/>
                  <a:pt x="4612" y="2497"/>
                  <a:pt x="4612" y="2545"/>
                </a:cubicBezTo>
                <a:lnTo>
                  <a:pt x="4612" y="3022"/>
                </a:lnTo>
                <a:lnTo>
                  <a:pt x="4135" y="3022"/>
                </a:lnTo>
                <a:cubicBezTo>
                  <a:pt x="4088" y="3022"/>
                  <a:pt x="4055" y="3054"/>
                  <a:pt x="4055" y="3101"/>
                </a:cubicBezTo>
                <a:cubicBezTo>
                  <a:pt x="4055" y="3133"/>
                  <a:pt x="4088" y="3181"/>
                  <a:pt x="4135" y="3181"/>
                </a:cubicBezTo>
                <a:lnTo>
                  <a:pt x="4692" y="3181"/>
                </a:lnTo>
                <a:cubicBezTo>
                  <a:pt x="4724" y="3181"/>
                  <a:pt x="4772" y="3133"/>
                  <a:pt x="4772" y="310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7" name="Freeform: Shape 4">
            <a:extLst>
              <a:ext uri="{FF2B5EF4-FFF2-40B4-BE49-F238E27FC236}">
                <a16:creationId xmlns:a16="http://schemas.microsoft.com/office/drawing/2014/main" id="{BC00BFE9-EA1F-4343-AF67-F05E7638A212}"/>
              </a:ext>
            </a:extLst>
          </p:cNvPr>
          <p:cNvSpPr/>
          <p:nvPr/>
        </p:nvSpPr>
        <p:spPr>
          <a:xfrm>
            <a:off x="5927443" y="6766560"/>
            <a:ext cx="1711439" cy="801360"/>
          </a:xfrm>
          <a:custGeom>
            <a:avLst/>
            <a:gdLst/>
            <a:ahLst/>
            <a:cxnLst>
              <a:cxn ang="3cd4">
                <a:pos x="hc" y="t"/>
              </a:cxn>
              <a:cxn ang="cd2">
                <a:pos x="l" y="vc"/>
              </a:cxn>
              <a:cxn ang="cd4">
                <a:pos x="hc" y="b"/>
              </a:cxn>
              <a:cxn ang="0">
                <a:pos x="r" y="vc"/>
              </a:cxn>
            </a:cxnLst>
            <a:rect l="l" t="t" r="r" b="b"/>
            <a:pathLst>
              <a:path w="4755" h="2227">
                <a:moveTo>
                  <a:pt x="1415" y="1590"/>
                </a:moveTo>
                <a:lnTo>
                  <a:pt x="620" y="1590"/>
                </a:lnTo>
                <a:cubicBezTo>
                  <a:pt x="588" y="1590"/>
                  <a:pt x="541" y="1623"/>
                  <a:pt x="541" y="1670"/>
                </a:cubicBezTo>
                <a:cubicBezTo>
                  <a:pt x="541" y="1702"/>
                  <a:pt x="588" y="1750"/>
                  <a:pt x="620" y="1750"/>
                </a:cubicBezTo>
                <a:lnTo>
                  <a:pt x="1415" y="1750"/>
                </a:lnTo>
                <a:cubicBezTo>
                  <a:pt x="1463" y="1750"/>
                  <a:pt x="1495" y="1702"/>
                  <a:pt x="1495" y="1670"/>
                </a:cubicBezTo>
                <a:cubicBezTo>
                  <a:pt x="1495" y="1623"/>
                  <a:pt x="1463" y="1590"/>
                  <a:pt x="1415" y="1590"/>
                </a:cubicBezTo>
                <a:close/>
                <a:moveTo>
                  <a:pt x="684" y="1209"/>
                </a:moveTo>
                <a:cubicBezTo>
                  <a:pt x="700" y="1224"/>
                  <a:pt x="715" y="1224"/>
                  <a:pt x="747" y="1224"/>
                </a:cubicBezTo>
                <a:cubicBezTo>
                  <a:pt x="763" y="1224"/>
                  <a:pt x="779" y="1224"/>
                  <a:pt x="795" y="1209"/>
                </a:cubicBezTo>
                <a:lnTo>
                  <a:pt x="1018" y="986"/>
                </a:lnTo>
                <a:lnTo>
                  <a:pt x="1241" y="1209"/>
                </a:lnTo>
                <a:cubicBezTo>
                  <a:pt x="1256" y="1224"/>
                  <a:pt x="1288" y="1224"/>
                  <a:pt x="1304" y="1224"/>
                </a:cubicBezTo>
                <a:cubicBezTo>
                  <a:pt x="1320" y="1224"/>
                  <a:pt x="1336" y="1224"/>
                  <a:pt x="1351" y="1209"/>
                </a:cubicBezTo>
                <a:cubicBezTo>
                  <a:pt x="1384" y="1177"/>
                  <a:pt x="1384" y="1129"/>
                  <a:pt x="1351" y="1097"/>
                </a:cubicBezTo>
                <a:lnTo>
                  <a:pt x="1129" y="875"/>
                </a:lnTo>
                <a:lnTo>
                  <a:pt x="1351" y="652"/>
                </a:lnTo>
                <a:cubicBezTo>
                  <a:pt x="1384" y="620"/>
                  <a:pt x="1384" y="557"/>
                  <a:pt x="1351" y="541"/>
                </a:cubicBezTo>
                <a:cubicBezTo>
                  <a:pt x="1336" y="509"/>
                  <a:pt x="1272" y="509"/>
                  <a:pt x="1241" y="541"/>
                </a:cubicBezTo>
                <a:lnTo>
                  <a:pt x="1018" y="763"/>
                </a:lnTo>
                <a:lnTo>
                  <a:pt x="795" y="541"/>
                </a:lnTo>
                <a:cubicBezTo>
                  <a:pt x="763" y="509"/>
                  <a:pt x="715" y="509"/>
                  <a:pt x="684" y="541"/>
                </a:cubicBezTo>
                <a:cubicBezTo>
                  <a:pt x="652" y="557"/>
                  <a:pt x="652" y="620"/>
                  <a:pt x="684" y="652"/>
                </a:cubicBezTo>
                <a:lnTo>
                  <a:pt x="906" y="875"/>
                </a:lnTo>
                <a:lnTo>
                  <a:pt x="684" y="1097"/>
                </a:lnTo>
                <a:cubicBezTo>
                  <a:pt x="652" y="1129"/>
                  <a:pt x="652" y="1177"/>
                  <a:pt x="684" y="1209"/>
                </a:cubicBezTo>
                <a:close/>
                <a:moveTo>
                  <a:pt x="2529" y="1590"/>
                </a:moveTo>
                <a:lnTo>
                  <a:pt x="1733" y="1590"/>
                </a:lnTo>
                <a:cubicBezTo>
                  <a:pt x="1702" y="1590"/>
                  <a:pt x="1654" y="1623"/>
                  <a:pt x="1654" y="1670"/>
                </a:cubicBezTo>
                <a:cubicBezTo>
                  <a:pt x="1654" y="1702"/>
                  <a:pt x="1702" y="1750"/>
                  <a:pt x="1733" y="1750"/>
                </a:cubicBezTo>
                <a:lnTo>
                  <a:pt x="2529" y="1750"/>
                </a:lnTo>
                <a:cubicBezTo>
                  <a:pt x="2577" y="1750"/>
                  <a:pt x="2608" y="1702"/>
                  <a:pt x="2608" y="1670"/>
                </a:cubicBezTo>
                <a:cubicBezTo>
                  <a:pt x="2608" y="1623"/>
                  <a:pt x="2577" y="1590"/>
                  <a:pt x="2529" y="1590"/>
                </a:cubicBezTo>
                <a:close/>
                <a:moveTo>
                  <a:pt x="1877" y="1209"/>
                </a:moveTo>
                <a:cubicBezTo>
                  <a:pt x="1893" y="1224"/>
                  <a:pt x="1908" y="1224"/>
                  <a:pt x="1940" y="1224"/>
                </a:cubicBezTo>
                <a:cubicBezTo>
                  <a:pt x="1956" y="1224"/>
                  <a:pt x="1972" y="1224"/>
                  <a:pt x="1988" y="1209"/>
                </a:cubicBezTo>
                <a:lnTo>
                  <a:pt x="2211" y="986"/>
                </a:lnTo>
                <a:lnTo>
                  <a:pt x="2433" y="1209"/>
                </a:lnTo>
                <a:cubicBezTo>
                  <a:pt x="2449" y="1224"/>
                  <a:pt x="2481" y="1224"/>
                  <a:pt x="2497" y="1224"/>
                </a:cubicBezTo>
                <a:cubicBezTo>
                  <a:pt x="2513" y="1224"/>
                  <a:pt x="2529" y="1224"/>
                  <a:pt x="2544" y="1209"/>
                </a:cubicBezTo>
                <a:cubicBezTo>
                  <a:pt x="2577" y="1177"/>
                  <a:pt x="2577" y="1129"/>
                  <a:pt x="2544" y="1097"/>
                </a:cubicBezTo>
                <a:lnTo>
                  <a:pt x="2322" y="875"/>
                </a:lnTo>
                <a:lnTo>
                  <a:pt x="2544" y="652"/>
                </a:lnTo>
                <a:cubicBezTo>
                  <a:pt x="2577" y="620"/>
                  <a:pt x="2577" y="557"/>
                  <a:pt x="2544" y="541"/>
                </a:cubicBezTo>
                <a:cubicBezTo>
                  <a:pt x="2513" y="509"/>
                  <a:pt x="2465" y="509"/>
                  <a:pt x="2433" y="541"/>
                </a:cubicBezTo>
                <a:lnTo>
                  <a:pt x="2211" y="763"/>
                </a:lnTo>
                <a:lnTo>
                  <a:pt x="1988" y="541"/>
                </a:lnTo>
                <a:cubicBezTo>
                  <a:pt x="1956" y="509"/>
                  <a:pt x="1908" y="509"/>
                  <a:pt x="1877" y="541"/>
                </a:cubicBezTo>
                <a:cubicBezTo>
                  <a:pt x="1845" y="557"/>
                  <a:pt x="1845" y="620"/>
                  <a:pt x="1877" y="652"/>
                </a:cubicBezTo>
                <a:lnTo>
                  <a:pt x="2099" y="875"/>
                </a:lnTo>
                <a:lnTo>
                  <a:pt x="1877" y="1097"/>
                </a:lnTo>
                <a:cubicBezTo>
                  <a:pt x="1845" y="1129"/>
                  <a:pt x="1845" y="1177"/>
                  <a:pt x="1877" y="1209"/>
                </a:cubicBezTo>
                <a:close/>
                <a:moveTo>
                  <a:pt x="3801" y="1590"/>
                </a:moveTo>
                <a:lnTo>
                  <a:pt x="3006" y="1590"/>
                </a:lnTo>
                <a:cubicBezTo>
                  <a:pt x="2958" y="1590"/>
                  <a:pt x="2926" y="1623"/>
                  <a:pt x="2926" y="1670"/>
                </a:cubicBezTo>
                <a:cubicBezTo>
                  <a:pt x="2926" y="1702"/>
                  <a:pt x="2958" y="1750"/>
                  <a:pt x="3006" y="1750"/>
                </a:cubicBezTo>
                <a:lnTo>
                  <a:pt x="3801" y="1750"/>
                </a:lnTo>
                <a:cubicBezTo>
                  <a:pt x="3849" y="1750"/>
                  <a:pt x="3880" y="1702"/>
                  <a:pt x="3880" y="1670"/>
                </a:cubicBezTo>
                <a:cubicBezTo>
                  <a:pt x="3880" y="1623"/>
                  <a:pt x="3849" y="1590"/>
                  <a:pt x="3801" y="1590"/>
                </a:cubicBezTo>
                <a:close/>
                <a:moveTo>
                  <a:pt x="0" y="79"/>
                </a:moveTo>
                <a:lnTo>
                  <a:pt x="0" y="2147"/>
                </a:lnTo>
                <a:cubicBezTo>
                  <a:pt x="0" y="2179"/>
                  <a:pt x="32" y="2227"/>
                  <a:pt x="63" y="2227"/>
                </a:cubicBezTo>
                <a:lnTo>
                  <a:pt x="4676" y="2227"/>
                </a:lnTo>
                <a:cubicBezTo>
                  <a:pt x="4723" y="2227"/>
                  <a:pt x="4755" y="2179"/>
                  <a:pt x="4755" y="2147"/>
                </a:cubicBezTo>
                <a:lnTo>
                  <a:pt x="4755" y="79"/>
                </a:lnTo>
                <a:cubicBezTo>
                  <a:pt x="4755" y="32"/>
                  <a:pt x="4723" y="0"/>
                  <a:pt x="4676" y="0"/>
                </a:cubicBezTo>
                <a:lnTo>
                  <a:pt x="63" y="0"/>
                </a:lnTo>
                <a:cubicBezTo>
                  <a:pt x="32" y="0"/>
                  <a:pt x="0" y="32"/>
                  <a:pt x="0" y="79"/>
                </a:cubicBezTo>
                <a:close/>
                <a:moveTo>
                  <a:pt x="143" y="159"/>
                </a:moveTo>
                <a:lnTo>
                  <a:pt x="4596" y="159"/>
                </a:lnTo>
                <a:lnTo>
                  <a:pt x="4596" y="2068"/>
                </a:lnTo>
                <a:lnTo>
                  <a:pt x="143" y="2068"/>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8" name="Freeform: Shape 5">
            <a:extLst>
              <a:ext uri="{FF2B5EF4-FFF2-40B4-BE49-F238E27FC236}">
                <a16:creationId xmlns:a16="http://schemas.microsoft.com/office/drawing/2014/main" id="{67F45EBA-D524-2E4A-B19C-5E38D0C15B25}"/>
              </a:ext>
            </a:extLst>
          </p:cNvPr>
          <p:cNvSpPr/>
          <p:nvPr/>
        </p:nvSpPr>
        <p:spPr>
          <a:xfrm>
            <a:off x="1843247" y="3792233"/>
            <a:ext cx="1522800" cy="629280"/>
          </a:xfrm>
          <a:custGeom>
            <a:avLst/>
            <a:gdLst/>
            <a:ahLst/>
            <a:cxnLst>
              <a:cxn ang="3cd4">
                <a:pos x="hc" y="t"/>
              </a:cxn>
              <a:cxn ang="cd2">
                <a:pos x="l" y="vc"/>
              </a:cxn>
              <a:cxn ang="cd4">
                <a:pos x="hc" y="b"/>
              </a:cxn>
              <a:cxn ang="0">
                <a:pos x="r" y="vc"/>
              </a:cxn>
            </a:cxnLst>
            <a:rect l="l" t="t" r="r" b="b"/>
            <a:pathLst>
              <a:path w="4231" h="1749">
                <a:moveTo>
                  <a:pt x="1273" y="0"/>
                </a:moveTo>
                <a:cubicBezTo>
                  <a:pt x="1018" y="0"/>
                  <a:pt x="795" y="206"/>
                  <a:pt x="795" y="477"/>
                </a:cubicBezTo>
                <a:cubicBezTo>
                  <a:pt x="795" y="493"/>
                  <a:pt x="795" y="509"/>
                  <a:pt x="795" y="524"/>
                </a:cubicBezTo>
                <a:cubicBezTo>
                  <a:pt x="716" y="445"/>
                  <a:pt x="605" y="397"/>
                  <a:pt x="477" y="397"/>
                </a:cubicBezTo>
                <a:cubicBezTo>
                  <a:pt x="223" y="397"/>
                  <a:pt x="0" y="604"/>
                  <a:pt x="0" y="875"/>
                </a:cubicBezTo>
                <a:cubicBezTo>
                  <a:pt x="0" y="1129"/>
                  <a:pt x="223" y="1351"/>
                  <a:pt x="477" y="1351"/>
                </a:cubicBezTo>
                <a:cubicBezTo>
                  <a:pt x="605" y="1351"/>
                  <a:pt x="716" y="1304"/>
                  <a:pt x="795" y="1224"/>
                </a:cubicBezTo>
                <a:cubicBezTo>
                  <a:pt x="795" y="1240"/>
                  <a:pt x="795" y="1256"/>
                  <a:pt x="795" y="1272"/>
                </a:cubicBezTo>
                <a:cubicBezTo>
                  <a:pt x="795" y="1527"/>
                  <a:pt x="1018" y="1749"/>
                  <a:pt x="1273" y="1749"/>
                </a:cubicBezTo>
                <a:cubicBezTo>
                  <a:pt x="1543" y="1749"/>
                  <a:pt x="1750" y="1527"/>
                  <a:pt x="1750" y="1272"/>
                </a:cubicBezTo>
                <a:cubicBezTo>
                  <a:pt x="1750" y="1145"/>
                  <a:pt x="1702" y="1033"/>
                  <a:pt x="1622" y="954"/>
                </a:cubicBezTo>
                <a:cubicBezTo>
                  <a:pt x="3356" y="954"/>
                  <a:pt x="3356" y="954"/>
                  <a:pt x="3356" y="954"/>
                </a:cubicBezTo>
                <a:cubicBezTo>
                  <a:pt x="3356" y="1113"/>
                  <a:pt x="3356" y="1113"/>
                  <a:pt x="3356" y="1113"/>
                </a:cubicBezTo>
                <a:cubicBezTo>
                  <a:pt x="3356" y="1145"/>
                  <a:pt x="3404" y="1193"/>
                  <a:pt x="3436" y="1193"/>
                </a:cubicBezTo>
                <a:cubicBezTo>
                  <a:pt x="3484" y="1193"/>
                  <a:pt x="3515" y="1145"/>
                  <a:pt x="3515" y="1113"/>
                </a:cubicBezTo>
                <a:cubicBezTo>
                  <a:pt x="3515" y="954"/>
                  <a:pt x="3515" y="954"/>
                  <a:pt x="3515" y="954"/>
                </a:cubicBezTo>
                <a:cubicBezTo>
                  <a:pt x="3833" y="954"/>
                  <a:pt x="3833" y="954"/>
                  <a:pt x="3833" y="954"/>
                </a:cubicBezTo>
                <a:cubicBezTo>
                  <a:pt x="3833" y="1431"/>
                  <a:pt x="3833" y="1431"/>
                  <a:pt x="3833" y="1431"/>
                </a:cubicBezTo>
                <a:cubicBezTo>
                  <a:pt x="3833" y="1463"/>
                  <a:pt x="3865" y="1511"/>
                  <a:pt x="3913" y="1511"/>
                </a:cubicBezTo>
                <a:cubicBezTo>
                  <a:pt x="3961" y="1511"/>
                  <a:pt x="3993" y="1463"/>
                  <a:pt x="3993" y="1431"/>
                </a:cubicBezTo>
                <a:cubicBezTo>
                  <a:pt x="3993" y="954"/>
                  <a:pt x="3993" y="954"/>
                  <a:pt x="3993" y="954"/>
                </a:cubicBezTo>
                <a:cubicBezTo>
                  <a:pt x="4151" y="954"/>
                  <a:pt x="4151" y="954"/>
                  <a:pt x="4151" y="954"/>
                </a:cubicBezTo>
                <a:cubicBezTo>
                  <a:pt x="4199" y="954"/>
                  <a:pt x="4231" y="906"/>
                  <a:pt x="4231" y="875"/>
                </a:cubicBezTo>
                <a:cubicBezTo>
                  <a:pt x="4231" y="827"/>
                  <a:pt x="4199" y="795"/>
                  <a:pt x="4151" y="795"/>
                </a:cubicBezTo>
                <a:cubicBezTo>
                  <a:pt x="1622" y="795"/>
                  <a:pt x="1622" y="795"/>
                  <a:pt x="1622" y="795"/>
                </a:cubicBezTo>
                <a:cubicBezTo>
                  <a:pt x="1702" y="699"/>
                  <a:pt x="1750" y="588"/>
                  <a:pt x="1750" y="477"/>
                </a:cubicBezTo>
                <a:cubicBezTo>
                  <a:pt x="1750" y="206"/>
                  <a:pt x="1543" y="0"/>
                  <a:pt x="1273" y="0"/>
                </a:cubicBezTo>
                <a:close/>
                <a:moveTo>
                  <a:pt x="1273" y="158"/>
                </a:moveTo>
                <a:cubicBezTo>
                  <a:pt x="1448" y="158"/>
                  <a:pt x="1591" y="302"/>
                  <a:pt x="1591" y="477"/>
                </a:cubicBezTo>
                <a:cubicBezTo>
                  <a:pt x="1591" y="652"/>
                  <a:pt x="1448" y="795"/>
                  <a:pt x="1273" y="795"/>
                </a:cubicBezTo>
                <a:cubicBezTo>
                  <a:pt x="1098" y="795"/>
                  <a:pt x="955" y="652"/>
                  <a:pt x="955" y="477"/>
                </a:cubicBezTo>
                <a:cubicBezTo>
                  <a:pt x="955" y="302"/>
                  <a:pt x="1098" y="158"/>
                  <a:pt x="1273" y="158"/>
                </a:cubicBezTo>
                <a:close/>
                <a:moveTo>
                  <a:pt x="1018" y="875"/>
                </a:moveTo>
                <a:cubicBezTo>
                  <a:pt x="986" y="890"/>
                  <a:pt x="970" y="890"/>
                  <a:pt x="955" y="906"/>
                </a:cubicBezTo>
                <a:cubicBezTo>
                  <a:pt x="955" y="906"/>
                  <a:pt x="955" y="890"/>
                  <a:pt x="955" y="875"/>
                </a:cubicBezTo>
                <a:cubicBezTo>
                  <a:pt x="955" y="858"/>
                  <a:pt x="955" y="842"/>
                  <a:pt x="955" y="827"/>
                </a:cubicBezTo>
                <a:cubicBezTo>
                  <a:pt x="970" y="842"/>
                  <a:pt x="986" y="858"/>
                  <a:pt x="1018" y="875"/>
                </a:cubicBezTo>
                <a:close/>
                <a:moveTo>
                  <a:pt x="477" y="1193"/>
                </a:moveTo>
                <a:cubicBezTo>
                  <a:pt x="303" y="1193"/>
                  <a:pt x="159" y="1049"/>
                  <a:pt x="159" y="875"/>
                </a:cubicBezTo>
                <a:cubicBezTo>
                  <a:pt x="159" y="699"/>
                  <a:pt x="303" y="556"/>
                  <a:pt x="477" y="556"/>
                </a:cubicBezTo>
                <a:cubicBezTo>
                  <a:pt x="652" y="556"/>
                  <a:pt x="795" y="699"/>
                  <a:pt x="795" y="875"/>
                </a:cubicBezTo>
                <a:cubicBezTo>
                  <a:pt x="795" y="1049"/>
                  <a:pt x="652" y="1193"/>
                  <a:pt x="477" y="1193"/>
                </a:cubicBezTo>
                <a:close/>
                <a:moveTo>
                  <a:pt x="1273" y="1590"/>
                </a:moveTo>
                <a:cubicBezTo>
                  <a:pt x="1098" y="1590"/>
                  <a:pt x="955" y="1447"/>
                  <a:pt x="955" y="1272"/>
                </a:cubicBezTo>
                <a:cubicBezTo>
                  <a:pt x="955" y="1097"/>
                  <a:pt x="1098" y="954"/>
                  <a:pt x="1273" y="954"/>
                </a:cubicBezTo>
                <a:cubicBezTo>
                  <a:pt x="1448" y="954"/>
                  <a:pt x="1591" y="1097"/>
                  <a:pt x="1591" y="1272"/>
                </a:cubicBezTo>
                <a:cubicBezTo>
                  <a:pt x="1591" y="1447"/>
                  <a:pt x="1448" y="1590"/>
                  <a:pt x="1273" y="159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9" name="Freeform: Shape 6">
            <a:extLst>
              <a:ext uri="{FF2B5EF4-FFF2-40B4-BE49-F238E27FC236}">
                <a16:creationId xmlns:a16="http://schemas.microsoft.com/office/drawing/2014/main" id="{6A6615A8-FC8D-8942-BE00-699ABC082BEE}"/>
              </a:ext>
            </a:extLst>
          </p:cNvPr>
          <p:cNvSpPr/>
          <p:nvPr/>
        </p:nvSpPr>
        <p:spPr>
          <a:xfrm>
            <a:off x="6109690" y="3202193"/>
            <a:ext cx="1351080" cy="1614600"/>
          </a:xfrm>
          <a:custGeom>
            <a:avLst/>
            <a:gdLst/>
            <a:ahLst/>
            <a:cxnLst>
              <a:cxn ang="3cd4">
                <a:pos x="hc" y="t"/>
              </a:cxn>
              <a:cxn ang="cd2">
                <a:pos x="l" y="vc"/>
              </a:cxn>
              <a:cxn ang="cd4">
                <a:pos x="hc" y="b"/>
              </a:cxn>
              <a:cxn ang="0">
                <a:pos x="r" y="vc"/>
              </a:cxn>
            </a:cxnLst>
            <a:rect l="l" t="t" r="r" b="b"/>
            <a:pathLst>
              <a:path w="3754" h="4486">
                <a:moveTo>
                  <a:pt x="413" y="1559"/>
                </a:moveTo>
                <a:cubicBezTo>
                  <a:pt x="413" y="1623"/>
                  <a:pt x="429" y="1702"/>
                  <a:pt x="429" y="1766"/>
                </a:cubicBezTo>
                <a:cubicBezTo>
                  <a:pt x="318" y="1766"/>
                  <a:pt x="318" y="1766"/>
                  <a:pt x="318" y="1766"/>
                </a:cubicBezTo>
                <a:cubicBezTo>
                  <a:pt x="143" y="1766"/>
                  <a:pt x="0" y="1909"/>
                  <a:pt x="0" y="2084"/>
                </a:cubicBezTo>
                <a:cubicBezTo>
                  <a:pt x="0" y="4183"/>
                  <a:pt x="0" y="4183"/>
                  <a:pt x="0" y="4183"/>
                </a:cubicBezTo>
                <a:cubicBezTo>
                  <a:pt x="0" y="4342"/>
                  <a:pt x="143" y="4486"/>
                  <a:pt x="318" y="4486"/>
                </a:cubicBezTo>
                <a:cubicBezTo>
                  <a:pt x="3451" y="4486"/>
                  <a:pt x="3451" y="4486"/>
                  <a:pt x="3451" y="4486"/>
                </a:cubicBezTo>
                <a:cubicBezTo>
                  <a:pt x="3610" y="4486"/>
                  <a:pt x="3754" y="4342"/>
                  <a:pt x="3754" y="4183"/>
                </a:cubicBezTo>
                <a:cubicBezTo>
                  <a:pt x="3754" y="2084"/>
                  <a:pt x="3754" y="2084"/>
                  <a:pt x="3754" y="2084"/>
                </a:cubicBezTo>
                <a:cubicBezTo>
                  <a:pt x="3754" y="1909"/>
                  <a:pt x="3610" y="1766"/>
                  <a:pt x="3451" y="1766"/>
                </a:cubicBezTo>
                <a:cubicBezTo>
                  <a:pt x="3356" y="1766"/>
                  <a:pt x="3356" y="1766"/>
                  <a:pt x="3356" y="1766"/>
                </a:cubicBezTo>
                <a:cubicBezTo>
                  <a:pt x="3356" y="1702"/>
                  <a:pt x="3372" y="1623"/>
                  <a:pt x="3372" y="1559"/>
                </a:cubicBezTo>
                <a:cubicBezTo>
                  <a:pt x="3372" y="700"/>
                  <a:pt x="2704" y="0"/>
                  <a:pt x="1892" y="0"/>
                </a:cubicBezTo>
                <a:cubicBezTo>
                  <a:pt x="1082" y="0"/>
                  <a:pt x="413" y="700"/>
                  <a:pt x="413" y="1559"/>
                </a:cubicBezTo>
                <a:close/>
                <a:moveTo>
                  <a:pt x="3594" y="2084"/>
                </a:moveTo>
                <a:cubicBezTo>
                  <a:pt x="3594" y="4183"/>
                  <a:pt x="3594" y="4183"/>
                  <a:pt x="3594" y="4183"/>
                </a:cubicBezTo>
                <a:cubicBezTo>
                  <a:pt x="3594" y="4263"/>
                  <a:pt x="3531" y="4326"/>
                  <a:pt x="3451" y="4326"/>
                </a:cubicBezTo>
                <a:cubicBezTo>
                  <a:pt x="318" y="4326"/>
                  <a:pt x="318" y="4326"/>
                  <a:pt x="318" y="4326"/>
                </a:cubicBezTo>
                <a:cubicBezTo>
                  <a:pt x="222" y="4326"/>
                  <a:pt x="159" y="4263"/>
                  <a:pt x="159" y="4183"/>
                </a:cubicBezTo>
                <a:cubicBezTo>
                  <a:pt x="159" y="2084"/>
                  <a:pt x="159" y="2084"/>
                  <a:pt x="159" y="2084"/>
                </a:cubicBezTo>
                <a:cubicBezTo>
                  <a:pt x="159" y="2005"/>
                  <a:pt x="222" y="1925"/>
                  <a:pt x="318" y="1925"/>
                </a:cubicBezTo>
                <a:cubicBezTo>
                  <a:pt x="3451" y="1925"/>
                  <a:pt x="3451" y="1925"/>
                  <a:pt x="3451" y="1925"/>
                </a:cubicBezTo>
                <a:cubicBezTo>
                  <a:pt x="3531" y="1925"/>
                  <a:pt x="3594" y="2005"/>
                  <a:pt x="3594" y="2084"/>
                </a:cubicBezTo>
                <a:close/>
                <a:moveTo>
                  <a:pt x="3213" y="1559"/>
                </a:moveTo>
                <a:cubicBezTo>
                  <a:pt x="3213" y="1623"/>
                  <a:pt x="3197" y="1702"/>
                  <a:pt x="3197" y="1766"/>
                </a:cubicBezTo>
                <a:cubicBezTo>
                  <a:pt x="588" y="1766"/>
                  <a:pt x="588" y="1766"/>
                  <a:pt x="588" y="1766"/>
                </a:cubicBezTo>
                <a:cubicBezTo>
                  <a:pt x="588" y="1702"/>
                  <a:pt x="573" y="1623"/>
                  <a:pt x="573" y="1559"/>
                </a:cubicBezTo>
                <a:cubicBezTo>
                  <a:pt x="573" y="780"/>
                  <a:pt x="1161" y="160"/>
                  <a:pt x="1892" y="160"/>
                </a:cubicBezTo>
                <a:cubicBezTo>
                  <a:pt x="2624" y="160"/>
                  <a:pt x="3213" y="780"/>
                  <a:pt x="3213" y="15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0" name="Freeform: Shape 7">
            <a:extLst>
              <a:ext uri="{FF2B5EF4-FFF2-40B4-BE49-F238E27FC236}">
                <a16:creationId xmlns:a16="http://schemas.microsoft.com/office/drawing/2014/main" id="{18885F1D-F4D9-784F-B0DB-7FF3974BDF77}"/>
              </a:ext>
            </a:extLst>
          </p:cNvPr>
          <p:cNvSpPr/>
          <p:nvPr/>
        </p:nvSpPr>
        <p:spPr>
          <a:xfrm>
            <a:off x="14101012" y="3379672"/>
            <a:ext cx="1351080" cy="1620360"/>
          </a:xfrm>
          <a:custGeom>
            <a:avLst/>
            <a:gdLst/>
            <a:ahLst/>
            <a:cxnLst>
              <a:cxn ang="3cd4">
                <a:pos x="hc" y="t"/>
              </a:cxn>
              <a:cxn ang="cd2">
                <a:pos x="l" y="vc"/>
              </a:cxn>
              <a:cxn ang="cd4">
                <a:pos x="hc" y="b"/>
              </a:cxn>
              <a:cxn ang="0">
                <a:pos x="r" y="vc"/>
              </a:cxn>
            </a:cxnLst>
            <a:rect l="l" t="t" r="r" b="b"/>
            <a:pathLst>
              <a:path w="3754" h="4502">
                <a:moveTo>
                  <a:pt x="875" y="3579"/>
                </a:moveTo>
                <a:cubicBezTo>
                  <a:pt x="906" y="3595"/>
                  <a:pt x="954" y="3611"/>
                  <a:pt x="1002" y="3627"/>
                </a:cubicBezTo>
                <a:cubicBezTo>
                  <a:pt x="1050" y="3643"/>
                  <a:pt x="1114" y="3643"/>
                  <a:pt x="1161" y="3643"/>
                </a:cubicBezTo>
                <a:cubicBezTo>
                  <a:pt x="1225" y="3643"/>
                  <a:pt x="1288" y="3643"/>
                  <a:pt x="1336" y="3627"/>
                </a:cubicBezTo>
                <a:cubicBezTo>
                  <a:pt x="1384" y="3611"/>
                  <a:pt x="1415" y="3579"/>
                  <a:pt x="1447" y="3563"/>
                </a:cubicBezTo>
                <a:cubicBezTo>
                  <a:pt x="1479" y="3531"/>
                  <a:pt x="1511" y="3500"/>
                  <a:pt x="1527" y="3468"/>
                </a:cubicBezTo>
                <a:cubicBezTo>
                  <a:pt x="1543" y="3420"/>
                  <a:pt x="1543" y="3388"/>
                  <a:pt x="1543" y="3340"/>
                </a:cubicBezTo>
                <a:cubicBezTo>
                  <a:pt x="1543" y="3245"/>
                  <a:pt x="1527" y="3181"/>
                  <a:pt x="1463" y="3118"/>
                </a:cubicBezTo>
                <a:cubicBezTo>
                  <a:pt x="1415" y="3086"/>
                  <a:pt x="1336" y="3038"/>
                  <a:pt x="1241" y="3022"/>
                </a:cubicBezTo>
                <a:lnTo>
                  <a:pt x="1097" y="3006"/>
                </a:lnTo>
                <a:cubicBezTo>
                  <a:pt x="1066" y="2991"/>
                  <a:pt x="1050" y="2991"/>
                  <a:pt x="1018" y="2975"/>
                </a:cubicBezTo>
                <a:cubicBezTo>
                  <a:pt x="1002" y="2975"/>
                  <a:pt x="986" y="2959"/>
                  <a:pt x="970" y="2959"/>
                </a:cubicBezTo>
                <a:cubicBezTo>
                  <a:pt x="970" y="2943"/>
                  <a:pt x="959" y="2938"/>
                  <a:pt x="954" y="2927"/>
                </a:cubicBezTo>
                <a:lnTo>
                  <a:pt x="954" y="2863"/>
                </a:lnTo>
                <a:lnTo>
                  <a:pt x="954" y="2816"/>
                </a:lnTo>
                <a:lnTo>
                  <a:pt x="986" y="2784"/>
                </a:lnTo>
                <a:cubicBezTo>
                  <a:pt x="1002" y="2768"/>
                  <a:pt x="1018" y="2768"/>
                  <a:pt x="1050" y="2752"/>
                </a:cubicBezTo>
                <a:cubicBezTo>
                  <a:pt x="1082" y="2752"/>
                  <a:pt x="1114" y="2736"/>
                  <a:pt x="1145" y="2736"/>
                </a:cubicBezTo>
                <a:cubicBezTo>
                  <a:pt x="1177" y="2736"/>
                  <a:pt x="1209" y="2752"/>
                  <a:pt x="1241" y="2752"/>
                </a:cubicBezTo>
                <a:cubicBezTo>
                  <a:pt x="1257" y="2752"/>
                  <a:pt x="1288" y="2768"/>
                  <a:pt x="1304" y="2784"/>
                </a:cubicBezTo>
                <a:lnTo>
                  <a:pt x="1336" y="2816"/>
                </a:lnTo>
                <a:cubicBezTo>
                  <a:pt x="1336" y="2848"/>
                  <a:pt x="1352" y="2863"/>
                  <a:pt x="1352" y="2895"/>
                </a:cubicBezTo>
                <a:cubicBezTo>
                  <a:pt x="1368" y="2895"/>
                  <a:pt x="1384" y="2911"/>
                  <a:pt x="1400" y="2911"/>
                </a:cubicBezTo>
                <a:lnTo>
                  <a:pt x="1511" y="2879"/>
                </a:lnTo>
                <a:lnTo>
                  <a:pt x="1527" y="2879"/>
                </a:lnTo>
                <a:lnTo>
                  <a:pt x="1527" y="2848"/>
                </a:lnTo>
                <a:cubicBezTo>
                  <a:pt x="1527" y="2816"/>
                  <a:pt x="1511" y="2784"/>
                  <a:pt x="1495" y="2752"/>
                </a:cubicBezTo>
                <a:cubicBezTo>
                  <a:pt x="1479" y="2720"/>
                  <a:pt x="1463" y="2688"/>
                  <a:pt x="1432" y="2657"/>
                </a:cubicBezTo>
                <a:cubicBezTo>
                  <a:pt x="1400" y="2640"/>
                  <a:pt x="1368" y="2609"/>
                  <a:pt x="1320" y="2593"/>
                </a:cubicBezTo>
                <a:cubicBezTo>
                  <a:pt x="1272" y="2577"/>
                  <a:pt x="1209" y="2577"/>
                  <a:pt x="1145" y="2577"/>
                </a:cubicBezTo>
                <a:cubicBezTo>
                  <a:pt x="1097" y="2577"/>
                  <a:pt x="1050" y="2577"/>
                  <a:pt x="1002" y="2593"/>
                </a:cubicBezTo>
                <a:cubicBezTo>
                  <a:pt x="954" y="2609"/>
                  <a:pt x="906" y="2625"/>
                  <a:pt x="875" y="2657"/>
                </a:cubicBezTo>
                <a:cubicBezTo>
                  <a:pt x="843" y="2673"/>
                  <a:pt x="811" y="2704"/>
                  <a:pt x="795" y="2736"/>
                </a:cubicBezTo>
                <a:cubicBezTo>
                  <a:pt x="779" y="2784"/>
                  <a:pt x="763" y="2831"/>
                  <a:pt x="763" y="2879"/>
                </a:cubicBezTo>
                <a:cubicBezTo>
                  <a:pt x="763" y="2927"/>
                  <a:pt x="763" y="2959"/>
                  <a:pt x="779" y="3006"/>
                </a:cubicBezTo>
                <a:cubicBezTo>
                  <a:pt x="795" y="3038"/>
                  <a:pt x="827" y="3070"/>
                  <a:pt x="843" y="3086"/>
                </a:cubicBezTo>
                <a:cubicBezTo>
                  <a:pt x="875" y="3118"/>
                  <a:pt x="906" y="3134"/>
                  <a:pt x="954" y="3149"/>
                </a:cubicBezTo>
                <a:cubicBezTo>
                  <a:pt x="986" y="3166"/>
                  <a:pt x="1034" y="3166"/>
                  <a:pt x="1082" y="3181"/>
                </a:cubicBezTo>
                <a:lnTo>
                  <a:pt x="1209" y="3197"/>
                </a:lnTo>
                <a:cubicBezTo>
                  <a:pt x="1241" y="3213"/>
                  <a:pt x="1272" y="3213"/>
                  <a:pt x="1288" y="3229"/>
                </a:cubicBezTo>
                <a:cubicBezTo>
                  <a:pt x="1304" y="3229"/>
                  <a:pt x="1320" y="3245"/>
                  <a:pt x="1336" y="3261"/>
                </a:cubicBezTo>
                <a:cubicBezTo>
                  <a:pt x="1341" y="3272"/>
                  <a:pt x="1352" y="3277"/>
                  <a:pt x="1352" y="3293"/>
                </a:cubicBezTo>
                <a:lnTo>
                  <a:pt x="1352" y="3340"/>
                </a:lnTo>
                <a:lnTo>
                  <a:pt x="1352" y="3388"/>
                </a:lnTo>
                <a:cubicBezTo>
                  <a:pt x="1336" y="3404"/>
                  <a:pt x="1336" y="3420"/>
                  <a:pt x="1320" y="3436"/>
                </a:cubicBezTo>
                <a:cubicBezTo>
                  <a:pt x="1304" y="3452"/>
                  <a:pt x="1288" y="3452"/>
                  <a:pt x="1257" y="3468"/>
                </a:cubicBezTo>
                <a:cubicBezTo>
                  <a:pt x="1241" y="3484"/>
                  <a:pt x="1209" y="3484"/>
                  <a:pt x="1161" y="3484"/>
                </a:cubicBezTo>
                <a:cubicBezTo>
                  <a:pt x="1082" y="3484"/>
                  <a:pt x="1034" y="3468"/>
                  <a:pt x="986" y="3436"/>
                </a:cubicBezTo>
                <a:cubicBezTo>
                  <a:pt x="954" y="3420"/>
                  <a:pt x="938" y="3372"/>
                  <a:pt x="923" y="3309"/>
                </a:cubicBezTo>
                <a:cubicBezTo>
                  <a:pt x="923" y="3293"/>
                  <a:pt x="906" y="3293"/>
                  <a:pt x="891" y="3293"/>
                </a:cubicBezTo>
                <a:lnTo>
                  <a:pt x="763" y="3293"/>
                </a:lnTo>
                <a:lnTo>
                  <a:pt x="748" y="3293"/>
                </a:lnTo>
                <a:lnTo>
                  <a:pt x="748" y="3324"/>
                </a:lnTo>
                <a:cubicBezTo>
                  <a:pt x="748" y="3372"/>
                  <a:pt x="763" y="3420"/>
                  <a:pt x="779" y="3468"/>
                </a:cubicBezTo>
                <a:cubicBezTo>
                  <a:pt x="811" y="3515"/>
                  <a:pt x="843" y="3547"/>
                  <a:pt x="875" y="3579"/>
                </a:cubicBezTo>
                <a:close/>
                <a:moveTo>
                  <a:pt x="1766" y="3579"/>
                </a:moveTo>
                <a:cubicBezTo>
                  <a:pt x="1797" y="3595"/>
                  <a:pt x="1845" y="3611"/>
                  <a:pt x="1893" y="3627"/>
                </a:cubicBezTo>
                <a:cubicBezTo>
                  <a:pt x="1941" y="3643"/>
                  <a:pt x="1988" y="3643"/>
                  <a:pt x="2052" y="3643"/>
                </a:cubicBezTo>
                <a:cubicBezTo>
                  <a:pt x="2115" y="3643"/>
                  <a:pt x="2163" y="3643"/>
                  <a:pt x="2211" y="3627"/>
                </a:cubicBezTo>
                <a:cubicBezTo>
                  <a:pt x="2259" y="3611"/>
                  <a:pt x="2306" y="3579"/>
                  <a:pt x="2338" y="3563"/>
                </a:cubicBezTo>
                <a:cubicBezTo>
                  <a:pt x="2370" y="3531"/>
                  <a:pt x="2386" y="3500"/>
                  <a:pt x="2402" y="3468"/>
                </a:cubicBezTo>
                <a:cubicBezTo>
                  <a:pt x="2418" y="3420"/>
                  <a:pt x="2433" y="3388"/>
                  <a:pt x="2433" y="3340"/>
                </a:cubicBezTo>
                <a:cubicBezTo>
                  <a:pt x="2433" y="3245"/>
                  <a:pt x="2402" y="3181"/>
                  <a:pt x="2354" y="3134"/>
                </a:cubicBezTo>
                <a:cubicBezTo>
                  <a:pt x="2306" y="3086"/>
                  <a:pt x="2227" y="3038"/>
                  <a:pt x="2115" y="3022"/>
                </a:cubicBezTo>
                <a:lnTo>
                  <a:pt x="1988" y="3006"/>
                </a:lnTo>
                <a:cubicBezTo>
                  <a:pt x="1956" y="2991"/>
                  <a:pt x="1924" y="2991"/>
                  <a:pt x="1909" y="2975"/>
                </a:cubicBezTo>
                <a:cubicBezTo>
                  <a:pt x="1893" y="2975"/>
                  <a:pt x="1877" y="2959"/>
                  <a:pt x="1861" y="2959"/>
                </a:cubicBezTo>
                <a:cubicBezTo>
                  <a:pt x="1845" y="2943"/>
                  <a:pt x="1850" y="2938"/>
                  <a:pt x="1845" y="2927"/>
                </a:cubicBezTo>
                <a:cubicBezTo>
                  <a:pt x="1829" y="2911"/>
                  <a:pt x="1829" y="2895"/>
                  <a:pt x="1829" y="2863"/>
                </a:cubicBezTo>
                <a:cubicBezTo>
                  <a:pt x="1829" y="2848"/>
                  <a:pt x="1829" y="2831"/>
                  <a:pt x="1845" y="2816"/>
                </a:cubicBezTo>
                <a:cubicBezTo>
                  <a:pt x="1845" y="2800"/>
                  <a:pt x="1861" y="2800"/>
                  <a:pt x="1877" y="2784"/>
                </a:cubicBezTo>
                <a:cubicBezTo>
                  <a:pt x="1893" y="2768"/>
                  <a:pt x="1909" y="2768"/>
                  <a:pt x="1924" y="2752"/>
                </a:cubicBezTo>
                <a:cubicBezTo>
                  <a:pt x="1956" y="2752"/>
                  <a:pt x="1988" y="2736"/>
                  <a:pt x="2036" y="2736"/>
                </a:cubicBezTo>
                <a:cubicBezTo>
                  <a:pt x="2068" y="2736"/>
                  <a:pt x="2099" y="2752"/>
                  <a:pt x="2131" y="2752"/>
                </a:cubicBezTo>
                <a:cubicBezTo>
                  <a:pt x="2147" y="2752"/>
                  <a:pt x="2163" y="2768"/>
                  <a:pt x="2179" y="2784"/>
                </a:cubicBezTo>
                <a:cubicBezTo>
                  <a:pt x="2195" y="2784"/>
                  <a:pt x="2211" y="2800"/>
                  <a:pt x="2211" y="2816"/>
                </a:cubicBezTo>
                <a:cubicBezTo>
                  <a:pt x="2227" y="2848"/>
                  <a:pt x="2242" y="2863"/>
                  <a:pt x="2242" y="2895"/>
                </a:cubicBezTo>
                <a:cubicBezTo>
                  <a:pt x="2253" y="2900"/>
                  <a:pt x="2259" y="2911"/>
                  <a:pt x="2275" y="2911"/>
                </a:cubicBezTo>
                <a:lnTo>
                  <a:pt x="2402" y="2879"/>
                </a:lnTo>
                <a:lnTo>
                  <a:pt x="2418" y="2879"/>
                </a:lnTo>
                <a:lnTo>
                  <a:pt x="2418" y="2848"/>
                </a:lnTo>
                <a:cubicBezTo>
                  <a:pt x="2418" y="2816"/>
                  <a:pt x="2402" y="2784"/>
                  <a:pt x="2386" y="2752"/>
                </a:cubicBezTo>
                <a:cubicBezTo>
                  <a:pt x="2370" y="2720"/>
                  <a:pt x="2338" y="2688"/>
                  <a:pt x="2322" y="2657"/>
                </a:cubicBezTo>
                <a:cubicBezTo>
                  <a:pt x="2290" y="2640"/>
                  <a:pt x="2242" y="2609"/>
                  <a:pt x="2195" y="2593"/>
                </a:cubicBezTo>
                <a:cubicBezTo>
                  <a:pt x="2163" y="2577"/>
                  <a:pt x="2099" y="2577"/>
                  <a:pt x="2036" y="2577"/>
                </a:cubicBezTo>
                <a:cubicBezTo>
                  <a:pt x="1972" y="2577"/>
                  <a:pt x="1924" y="2577"/>
                  <a:pt x="1877" y="2593"/>
                </a:cubicBezTo>
                <a:cubicBezTo>
                  <a:pt x="1845" y="2609"/>
                  <a:pt x="1797" y="2625"/>
                  <a:pt x="1766" y="2657"/>
                </a:cubicBezTo>
                <a:cubicBezTo>
                  <a:pt x="1733" y="2673"/>
                  <a:pt x="1702" y="2704"/>
                  <a:pt x="1686" y="2736"/>
                </a:cubicBezTo>
                <a:cubicBezTo>
                  <a:pt x="1654" y="2784"/>
                  <a:pt x="1654" y="2831"/>
                  <a:pt x="1654" y="2879"/>
                </a:cubicBezTo>
                <a:cubicBezTo>
                  <a:pt x="1654" y="2927"/>
                  <a:pt x="1654" y="2959"/>
                  <a:pt x="1670" y="3006"/>
                </a:cubicBezTo>
                <a:cubicBezTo>
                  <a:pt x="1686" y="3038"/>
                  <a:pt x="1702" y="3070"/>
                  <a:pt x="1733" y="3086"/>
                </a:cubicBezTo>
                <a:cubicBezTo>
                  <a:pt x="1766" y="3118"/>
                  <a:pt x="1797" y="3134"/>
                  <a:pt x="1845" y="3149"/>
                </a:cubicBezTo>
                <a:cubicBezTo>
                  <a:pt x="1877" y="3166"/>
                  <a:pt x="1924" y="3166"/>
                  <a:pt x="1972" y="3181"/>
                </a:cubicBezTo>
                <a:lnTo>
                  <a:pt x="2084" y="3197"/>
                </a:lnTo>
                <a:cubicBezTo>
                  <a:pt x="2131" y="3213"/>
                  <a:pt x="2147" y="3213"/>
                  <a:pt x="2179" y="3229"/>
                </a:cubicBezTo>
                <a:cubicBezTo>
                  <a:pt x="2195" y="3229"/>
                  <a:pt x="2211" y="3245"/>
                  <a:pt x="2211" y="3261"/>
                </a:cubicBezTo>
                <a:cubicBezTo>
                  <a:pt x="2227" y="3261"/>
                  <a:pt x="2227" y="3277"/>
                  <a:pt x="2242" y="3293"/>
                </a:cubicBezTo>
                <a:lnTo>
                  <a:pt x="2242" y="3340"/>
                </a:lnTo>
                <a:cubicBezTo>
                  <a:pt x="2242" y="3357"/>
                  <a:pt x="2242" y="3372"/>
                  <a:pt x="2227" y="3388"/>
                </a:cubicBezTo>
                <a:cubicBezTo>
                  <a:pt x="2227" y="3404"/>
                  <a:pt x="2211" y="3420"/>
                  <a:pt x="2211" y="3436"/>
                </a:cubicBezTo>
                <a:cubicBezTo>
                  <a:pt x="2195" y="3452"/>
                  <a:pt x="2163" y="3452"/>
                  <a:pt x="2147" y="3468"/>
                </a:cubicBezTo>
                <a:cubicBezTo>
                  <a:pt x="2115" y="3484"/>
                  <a:pt x="2084" y="3484"/>
                  <a:pt x="2052" y="3484"/>
                </a:cubicBezTo>
                <a:cubicBezTo>
                  <a:pt x="1972" y="3484"/>
                  <a:pt x="1909" y="3468"/>
                  <a:pt x="1877" y="3436"/>
                </a:cubicBezTo>
                <a:cubicBezTo>
                  <a:pt x="1845" y="3420"/>
                  <a:pt x="1813" y="3372"/>
                  <a:pt x="1813" y="3309"/>
                </a:cubicBezTo>
                <a:cubicBezTo>
                  <a:pt x="1813" y="3293"/>
                  <a:pt x="1797" y="3293"/>
                  <a:pt x="1781" y="3293"/>
                </a:cubicBezTo>
                <a:lnTo>
                  <a:pt x="1654" y="3293"/>
                </a:lnTo>
                <a:lnTo>
                  <a:pt x="1638" y="3293"/>
                </a:lnTo>
                <a:cubicBezTo>
                  <a:pt x="1623" y="3309"/>
                  <a:pt x="1623" y="3309"/>
                  <a:pt x="1623" y="3324"/>
                </a:cubicBezTo>
                <a:cubicBezTo>
                  <a:pt x="1638" y="3372"/>
                  <a:pt x="1638" y="3420"/>
                  <a:pt x="1670" y="3468"/>
                </a:cubicBezTo>
                <a:cubicBezTo>
                  <a:pt x="1686" y="3515"/>
                  <a:pt x="1718" y="3547"/>
                  <a:pt x="1766" y="3579"/>
                </a:cubicBezTo>
                <a:close/>
                <a:moveTo>
                  <a:pt x="2577" y="3627"/>
                </a:moveTo>
                <a:lnTo>
                  <a:pt x="3181" y="3627"/>
                </a:lnTo>
                <a:cubicBezTo>
                  <a:pt x="3197" y="3627"/>
                  <a:pt x="3213" y="3611"/>
                  <a:pt x="3213" y="3595"/>
                </a:cubicBezTo>
                <a:lnTo>
                  <a:pt x="3229" y="3484"/>
                </a:lnTo>
                <a:cubicBezTo>
                  <a:pt x="3224" y="3479"/>
                  <a:pt x="3229" y="3468"/>
                  <a:pt x="3213" y="3468"/>
                </a:cubicBezTo>
                <a:cubicBezTo>
                  <a:pt x="3213" y="3452"/>
                  <a:pt x="3213" y="3452"/>
                  <a:pt x="3197" y="3452"/>
                </a:cubicBezTo>
                <a:lnTo>
                  <a:pt x="2736" y="3452"/>
                </a:lnTo>
                <a:lnTo>
                  <a:pt x="2736" y="2625"/>
                </a:lnTo>
                <a:cubicBezTo>
                  <a:pt x="2736" y="2609"/>
                  <a:pt x="2720" y="2609"/>
                  <a:pt x="2704" y="2609"/>
                </a:cubicBezTo>
                <a:lnTo>
                  <a:pt x="2577" y="2609"/>
                </a:lnTo>
                <a:cubicBezTo>
                  <a:pt x="2561" y="2609"/>
                  <a:pt x="2545" y="2609"/>
                  <a:pt x="2545" y="2625"/>
                </a:cubicBezTo>
                <a:lnTo>
                  <a:pt x="2545" y="3595"/>
                </a:lnTo>
                <a:cubicBezTo>
                  <a:pt x="2545" y="3611"/>
                  <a:pt x="2561" y="3627"/>
                  <a:pt x="2577" y="3627"/>
                </a:cubicBezTo>
                <a:close/>
                <a:moveTo>
                  <a:pt x="430" y="1575"/>
                </a:moveTo>
                <a:lnTo>
                  <a:pt x="430" y="1782"/>
                </a:lnTo>
                <a:lnTo>
                  <a:pt x="318" y="1782"/>
                </a:lnTo>
                <a:cubicBezTo>
                  <a:pt x="143" y="1782"/>
                  <a:pt x="0" y="1925"/>
                  <a:pt x="0" y="2084"/>
                </a:cubicBezTo>
                <a:lnTo>
                  <a:pt x="0" y="4184"/>
                </a:lnTo>
                <a:cubicBezTo>
                  <a:pt x="0" y="4358"/>
                  <a:pt x="143" y="4502"/>
                  <a:pt x="318" y="4502"/>
                </a:cubicBezTo>
                <a:lnTo>
                  <a:pt x="3451" y="4502"/>
                </a:lnTo>
                <a:cubicBezTo>
                  <a:pt x="3626" y="4502"/>
                  <a:pt x="3754" y="4358"/>
                  <a:pt x="3754" y="4184"/>
                </a:cubicBezTo>
                <a:lnTo>
                  <a:pt x="3754" y="2084"/>
                </a:lnTo>
                <a:cubicBezTo>
                  <a:pt x="3754" y="1925"/>
                  <a:pt x="3626" y="1782"/>
                  <a:pt x="3451" y="1782"/>
                </a:cubicBezTo>
                <a:lnTo>
                  <a:pt x="3356" y="1782"/>
                </a:lnTo>
                <a:cubicBezTo>
                  <a:pt x="3372" y="1718"/>
                  <a:pt x="3372" y="1639"/>
                  <a:pt x="3372" y="1575"/>
                </a:cubicBezTo>
                <a:cubicBezTo>
                  <a:pt x="3372" y="700"/>
                  <a:pt x="2704" y="0"/>
                  <a:pt x="1893" y="0"/>
                </a:cubicBezTo>
                <a:cubicBezTo>
                  <a:pt x="1082" y="0"/>
                  <a:pt x="430" y="700"/>
                  <a:pt x="430" y="1575"/>
                </a:cubicBezTo>
                <a:close/>
                <a:moveTo>
                  <a:pt x="3611" y="2084"/>
                </a:moveTo>
                <a:lnTo>
                  <a:pt x="3611" y="4184"/>
                </a:lnTo>
                <a:cubicBezTo>
                  <a:pt x="3611" y="4263"/>
                  <a:pt x="3531" y="4342"/>
                  <a:pt x="3451" y="4342"/>
                </a:cubicBezTo>
                <a:lnTo>
                  <a:pt x="318" y="4342"/>
                </a:lnTo>
                <a:cubicBezTo>
                  <a:pt x="239" y="4342"/>
                  <a:pt x="159" y="4263"/>
                  <a:pt x="159" y="4184"/>
                </a:cubicBezTo>
                <a:lnTo>
                  <a:pt x="159" y="2084"/>
                </a:lnTo>
                <a:cubicBezTo>
                  <a:pt x="159" y="2004"/>
                  <a:pt x="239" y="1941"/>
                  <a:pt x="318" y="1941"/>
                </a:cubicBezTo>
                <a:lnTo>
                  <a:pt x="3451" y="1941"/>
                </a:lnTo>
                <a:cubicBezTo>
                  <a:pt x="3531" y="1941"/>
                  <a:pt x="3611" y="2004"/>
                  <a:pt x="3611" y="2084"/>
                </a:cubicBezTo>
                <a:close/>
                <a:moveTo>
                  <a:pt x="1893" y="159"/>
                </a:moveTo>
                <a:cubicBezTo>
                  <a:pt x="2624" y="159"/>
                  <a:pt x="3213" y="795"/>
                  <a:pt x="3213" y="1575"/>
                </a:cubicBezTo>
                <a:cubicBezTo>
                  <a:pt x="3213" y="1639"/>
                  <a:pt x="3213" y="1718"/>
                  <a:pt x="3197" y="1782"/>
                </a:cubicBezTo>
                <a:lnTo>
                  <a:pt x="588" y="1782"/>
                </a:lnTo>
                <a:lnTo>
                  <a:pt x="588" y="1575"/>
                </a:lnTo>
                <a:cubicBezTo>
                  <a:pt x="588" y="795"/>
                  <a:pt x="1177" y="159"/>
                  <a:pt x="1893" y="1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1" name="Freeform: Shape 8">
            <a:extLst>
              <a:ext uri="{FF2B5EF4-FFF2-40B4-BE49-F238E27FC236}">
                <a16:creationId xmlns:a16="http://schemas.microsoft.com/office/drawing/2014/main" id="{96E8180D-9A24-D747-B567-1FA0DC2BDD99}"/>
              </a:ext>
            </a:extLst>
          </p:cNvPr>
          <p:cNvSpPr/>
          <p:nvPr/>
        </p:nvSpPr>
        <p:spPr>
          <a:xfrm>
            <a:off x="1903339" y="6414275"/>
            <a:ext cx="1654560" cy="1654560"/>
          </a:xfrm>
          <a:custGeom>
            <a:avLst/>
            <a:gdLst/>
            <a:ahLst/>
            <a:cxnLst>
              <a:cxn ang="3cd4">
                <a:pos x="hc" y="t"/>
              </a:cxn>
              <a:cxn ang="cd2">
                <a:pos x="l" y="vc"/>
              </a:cxn>
              <a:cxn ang="cd4">
                <a:pos x="hc" y="b"/>
              </a:cxn>
              <a:cxn ang="0">
                <a:pos x="r" y="vc"/>
              </a:cxn>
            </a:cxnLst>
            <a:rect l="l" t="t" r="r" b="b"/>
            <a:pathLst>
              <a:path w="4597" h="4597">
                <a:moveTo>
                  <a:pt x="0" y="4517"/>
                </a:moveTo>
                <a:cubicBezTo>
                  <a:pt x="0" y="4565"/>
                  <a:pt x="32" y="4597"/>
                  <a:pt x="80" y="4597"/>
                </a:cubicBezTo>
                <a:lnTo>
                  <a:pt x="875" y="4597"/>
                </a:lnTo>
                <a:cubicBezTo>
                  <a:pt x="907" y="4597"/>
                  <a:pt x="955" y="4565"/>
                  <a:pt x="955" y="4517"/>
                </a:cubicBezTo>
                <a:cubicBezTo>
                  <a:pt x="955" y="4485"/>
                  <a:pt x="907" y="4438"/>
                  <a:pt x="875" y="4438"/>
                </a:cubicBezTo>
                <a:lnTo>
                  <a:pt x="80" y="4438"/>
                </a:lnTo>
                <a:cubicBezTo>
                  <a:pt x="32" y="4438"/>
                  <a:pt x="0" y="4485"/>
                  <a:pt x="0" y="4517"/>
                </a:cubicBezTo>
                <a:close/>
                <a:moveTo>
                  <a:pt x="207" y="3991"/>
                </a:moveTo>
                <a:cubicBezTo>
                  <a:pt x="223" y="4007"/>
                  <a:pt x="255" y="4007"/>
                  <a:pt x="271" y="4007"/>
                </a:cubicBezTo>
                <a:cubicBezTo>
                  <a:pt x="286" y="4007"/>
                  <a:pt x="318" y="4007"/>
                  <a:pt x="334" y="3991"/>
                </a:cubicBezTo>
                <a:lnTo>
                  <a:pt x="557" y="3769"/>
                </a:lnTo>
                <a:lnTo>
                  <a:pt x="780" y="3991"/>
                </a:lnTo>
                <a:cubicBezTo>
                  <a:pt x="795" y="4007"/>
                  <a:pt x="811" y="4007"/>
                  <a:pt x="827" y="4007"/>
                </a:cubicBezTo>
                <a:cubicBezTo>
                  <a:pt x="859" y="4007"/>
                  <a:pt x="875" y="4007"/>
                  <a:pt x="891" y="3991"/>
                </a:cubicBezTo>
                <a:cubicBezTo>
                  <a:pt x="923" y="3960"/>
                  <a:pt x="923" y="3912"/>
                  <a:pt x="891" y="3880"/>
                </a:cubicBezTo>
                <a:lnTo>
                  <a:pt x="668" y="3657"/>
                </a:lnTo>
                <a:lnTo>
                  <a:pt x="891" y="3419"/>
                </a:lnTo>
                <a:cubicBezTo>
                  <a:pt x="923" y="3387"/>
                  <a:pt x="923" y="3339"/>
                  <a:pt x="891" y="3307"/>
                </a:cubicBezTo>
                <a:cubicBezTo>
                  <a:pt x="859" y="3276"/>
                  <a:pt x="811" y="3276"/>
                  <a:pt x="780" y="3307"/>
                </a:cubicBezTo>
                <a:lnTo>
                  <a:pt x="557" y="3530"/>
                </a:lnTo>
                <a:lnTo>
                  <a:pt x="334" y="3307"/>
                </a:lnTo>
                <a:cubicBezTo>
                  <a:pt x="302" y="3276"/>
                  <a:pt x="239" y="3276"/>
                  <a:pt x="207" y="3307"/>
                </a:cubicBezTo>
                <a:cubicBezTo>
                  <a:pt x="191" y="3339"/>
                  <a:pt x="191" y="3387"/>
                  <a:pt x="207" y="3419"/>
                </a:cubicBezTo>
                <a:lnTo>
                  <a:pt x="446" y="3657"/>
                </a:lnTo>
                <a:lnTo>
                  <a:pt x="207" y="3880"/>
                </a:lnTo>
                <a:cubicBezTo>
                  <a:pt x="191" y="3912"/>
                  <a:pt x="191" y="3960"/>
                  <a:pt x="207" y="3991"/>
                </a:cubicBezTo>
                <a:close/>
                <a:moveTo>
                  <a:pt x="1273" y="4517"/>
                </a:moveTo>
                <a:cubicBezTo>
                  <a:pt x="1273" y="4565"/>
                  <a:pt x="1304" y="4597"/>
                  <a:pt x="1352" y="4597"/>
                </a:cubicBezTo>
                <a:lnTo>
                  <a:pt x="2147" y="4597"/>
                </a:lnTo>
                <a:cubicBezTo>
                  <a:pt x="2179" y="4597"/>
                  <a:pt x="2227" y="4565"/>
                  <a:pt x="2227" y="4517"/>
                </a:cubicBezTo>
                <a:cubicBezTo>
                  <a:pt x="2227" y="4485"/>
                  <a:pt x="2179" y="4438"/>
                  <a:pt x="2147" y="4438"/>
                </a:cubicBezTo>
                <a:lnTo>
                  <a:pt x="1352" y="4438"/>
                </a:lnTo>
                <a:cubicBezTo>
                  <a:pt x="1304" y="4438"/>
                  <a:pt x="1273" y="4485"/>
                  <a:pt x="1273" y="4517"/>
                </a:cubicBezTo>
                <a:close/>
                <a:moveTo>
                  <a:pt x="1400" y="3991"/>
                </a:moveTo>
                <a:cubicBezTo>
                  <a:pt x="1416" y="4007"/>
                  <a:pt x="1447" y="4007"/>
                  <a:pt x="1464" y="4007"/>
                </a:cubicBezTo>
                <a:cubicBezTo>
                  <a:pt x="1479" y="4007"/>
                  <a:pt x="1495" y="4007"/>
                  <a:pt x="1511" y="3991"/>
                </a:cubicBezTo>
                <a:lnTo>
                  <a:pt x="1734" y="3769"/>
                </a:lnTo>
                <a:lnTo>
                  <a:pt x="1973" y="3991"/>
                </a:lnTo>
                <a:cubicBezTo>
                  <a:pt x="1988" y="4007"/>
                  <a:pt x="2004" y="4007"/>
                  <a:pt x="2020" y="4007"/>
                </a:cubicBezTo>
                <a:cubicBezTo>
                  <a:pt x="2036" y="4007"/>
                  <a:pt x="2068" y="4007"/>
                  <a:pt x="2084" y="3991"/>
                </a:cubicBezTo>
                <a:cubicBezTo>
                  <a:pt x="2116" y="3960"/>
                  <a:pt x="2116" y="3912"/>
                  <a:pt x="2084" y="3880"/>
                </a:cubicBezTo>
                <a:lnTo>
                  <a:pt x="1861" y="3657"/>
                </a:lnTo>
                <a:lnTo>
                  <a:pt x="2084" y="3419"/>
                </a:lnTo>
                <a:cubicBezTo>
                  <a:pt x="2116" y="3387"/>
                  <a:pt x="2116" y="3339"/>
                  <a:pt x="2084" y="3307"/>
                </a:cubicBezTo>
                <a:cubicBezTo>
                  <a:pt x="2052" y="3276"/>
                  <a:pt x="2004" y="3276"/>
                  <a:pt x="1973" y="3307"/>
                </a:cubicBezTo>
                <a:lnTo>
                  <a:pt x="1734" y="3530"/>
                </a:lnTo>
                <a:lnTo>
                  <a:pt x="1511" y="3307"/>
                </a:lnTo>
                <a:cubicBezTo>
                  <a:pt x="1479" y="3276"/>
                  <a:pt x="1432" y="3276"/>
                  <a:pt x="1400" y="3307"/>
                </a:cubicBezTo>
                <a:cubicBezTo>
                  <a:pt x="1368" y="3339"/>
                  <a:pt x="1368" y="3387"/>
                  <a:pt x="1400" y="3419"/>
                </a:cubicBezTo>
                <a:lnTo>
                  <a:pt x="1622" y="3657"/>
                </a:lnTo>
                <a:lnTo>
                  <a:pt x="1400" y="3880"/>
                </a:lnTo>
                <a:cubicBezTo>
                  <a:pt x="1368" y="3912"/>
                  <a:pt x="1368" y="3960"/>
                  <a:pt x="1400" y="3991"/>
                </a:cubicBezTo>
                <a:close/>
                <a:moveTo>
                  <a:pt x="2386" y="4517"/>
                </a:moveTo>
                <a:cubicBezTo>
                  <a:pt x="2386" y="4565"/>
                  <a:pt x="2418" y="4597"/>
                  <a:pt x="2465" y="4597"/>
                </a:cubicBezTo>
                <a:lnTo>
                  <a:pt x="3245" y="4597"/>
                </a:lnTo>
                <a:cubicBezTo>
                  <a:pt x="3292" y="4597"/>
                  <a:pt x="3324" y="4565"/>
                  <a:pt x="3324" y="4517"/>
                </a:cubicBezTo>
                <a:cubicBezTo>
                  <a:pt x="3324" y="4485"/>
                  <a:pt x="3292" y="4438"/>
                  <a:pt x="3245" y="4438"/>
                </a:cubicBezTo>
                <a:lnTo>
                  <a:pt x="2465" y="4438"/>
                </a:lnTo>
                <a:cubicBezTo>
                  <a:pt x="2418" y="4438"/>
                  <a:pt x="2386" y="4485"/>
                  <a:pt x="2386" y="4517"/>
                </a:cubicBezTo>
                <a:close/>
                <a:moveTo>
                  <a:pt x="2593" y="3991"/>
                </a:moveTo>
                <a:cubicBezTo>
                  <a:pt x="2609" y="4007"/>
                  <a:pt x="2625" y="4007"/>
                  <a:pt x="2656" y="4007"/>
                </a:cubicBezTo>
                <a:cubicBezTo>
                  <a:pt x="2672" y="4007"/>
                  <a:pt x="2688" y="4007"/>
                  <a:pt x="2704" y="3991"/>
                </a:cubicBezTo>
                <a:lnTo>
                  <a:pt x="2927" y="3769"/>
                </a:lnTo>
                <a:lnTo>
                  <a:pt x="3149" y="3991"/>
                </a:lnTo>
                <a:cubicBezTo>
                  <a:pt x="3165" y="4007"/>
                  <a:pt x="3197" y="4007"/>
                  <a:pt x="3213" y="4007"/>
                </a:cubicBezTo>
                <a:cubicBezTo>
                  <a:pt x="3229" y="4007"/>
                  <a:pt x="3261" y="4007"/>
                  <a:pt x="3277" y="3991"/>
                </a:cubicBezTo>
                <a:cubicBezTo>
                  <a:pt x="3292" y="3960"/>
                  <a:pt x="3292" y="3912"/>
                  <a:pt x="3277" y="3880"/>
                </a:cubicBezTo>
                <a:lnTo>
                  <a:pt x="3038" y="3657"/>
                </a:lnTo>
                <a:lnTo>
                  <a:pt x="3277" y="3419"/>
                </a:lnTo>
                <a:cubicBezTo>
                  <a:pt x="3292" y="3387"/>
                  <a:pt x="3292" y="3339"/>
                  <a:pt x="3277" y="3307"/>
                </a:cubicBezTo>
                <a:cubicBezTo>
                  <a:pt x="3245" y="3276"/>
                  <a:pt x="3181" y="3276"/>
                  <a:pt x="3149" y="3307"/>
                </a:cubicBezTo>
                <a:lnTo>
                  <a:pt x="2927" y="3530"/>
                </a:lnTo>
                <a:lnTo>
                  <a:pt x="2704" y="3307"/>
                </a:lnTo>
                <a:cubicBezTo>
                  <a:pt x="2672" y="3276"/>
                  <a:pt x="2625" y="3276"/>
                  <a:pt x="2593" y="3307"/>
                </a:cubicBezTo>
                <a:cubicBezTo>
                  <a:pt x="2561" y="3339"/>
                  <a:pt x="2561" y="3387"/>
                  <a:pt x="2593" y="3419"/>
                </a:cubicBezTo>
                <a:lnTo>
                  <a:pt x="2815" y="3657"/>
                </a:lnTo>
                <a:lnTo>
                  <a:pt x="2593" y="3880"/>
                </a:lnTo>
                <a:cubicBezTo>
                  <a:pt x="2561" y="3912"/>
                  <a:pt x="2561" y="3960"/>
                  <a:pt x="2593" y="3991"/>
                </a:cubicBezTo>
                <a:close/>
                <a:moveTo>
                  <a:pt x="4517" y="4438"/>
                </a:moveTo>
                <a:lnTo>
                  <a:pt x="3722" y="4438"/>
                </a:lnTo>
                <a:cubicBezTo>
                  <a:pt x="3690" y="4438"/>
                  <a:pt x="3642" y="4485"/>
                  <a:pt x="3642" y="4517"/>
                </a:cubicBezTo>
                <a:cubicBezTo>
                  <a:pt x="3642" y="4565"/>
                  <a:pt x="3690" y="4597"/>
                  <a:pt x="3722" y="4597"/>
                </a:cubicBezTo>
                <a:lnTo>
                  <a:pt x="4517" y="4597"/>
                </a:lnTo>
                <a:cubicBezTo>
                  <a:pt x="4565" y="4597"/>
                  <a:pt x="4597" y="4565"/>
                  <a:pt x="4597" y="4517"/>
                </a:cubicBezTo>
                <a:cubicBezTo>
                  <a:pt x="4597" y="4485"/>
                  <a:pt x="4565" y="4438"/>
                  <a:pt x="4517" y="4438"/>
                </a:cubicBezTo>
                <a:close/>
                <a:moveTo>
                  <a:pt x="1225" y="1066"/>
                </a:moveTo>
                <a:cubicBezTo>
                  <a:pt x="1225" y="1098"/>
                  <a:pt x="1225" y="1129"/>
                  <a:pt x="1241" y="1177"/>
                </a:cubicBezTo>
                <a:lnTo>
                  <a:pt x="1193" y="1177"/>
                </a:lnTo>
                <a:cubicBezTo>
                  <a:pt x="1066" y="1177"/>
                  <a:pt x="955" y="1272"/>
                  <a:pt x="955" y="1400"/>
                </a:cubicBezTo>
                <a:lnTo>
                  <a:pt x="955" y="2783"/>
                </a:lnTo>
                <a:cubicBezTo>
                  <a:pt x="955" y="2911"/>
                  <a:pt x="1066" y="3022"/>
                  <a:pt x="1193" y="3022"/>
                </a:cubicBezTo>
                <a:lnTo>
                  <a:pt x="3245" y="3022"/>
                </a:lnTo>
                <a:cubicBezTo>
                  <a:pt x="3388" y="3022"/>
                  <a:pt x="3483" y="2911"/>
                  <a:pt x="3483" y="2783"/>
                </a:cubicBezTo>
                <a:lnTo>
                  <a:pt x="3483" y="1400"/>
                </a:lnTo>
                <a:cubicBezTo>
                  <a:pt x="3483" y="1272"/>
                  <a:pt x="3388" y="1177"/>
                  <a:pt x="3245" y="1177"/>
                </a:cubicBezTo>
                <a:lnTo>
                  <a:pt x="3229" y="1177"/>
                </a:lnTo>
                <a:lnTo>
                  <a:pt x="3229" y="1066"/>
                </a:lnTo>
                <a:cubicBezTo>
                  <a:pt x="3229" y="477"/>
                  <a:pt x="2783" y="0"/>
                  <a:pt x="2227" y="0"/>
                </a:cubicBezTo>
                <a:cubicBezTo>
                  <a:pt x="1686" y="0"/>
                  <a:pt x="1225" y="477"/>
                  <a:pt x="1225" y="1066"/>
                </a:cubicBezTo>
                <a:close/>
                <a:moveTo>
                  <a:pt x="3324" y="1400"/>
                </a:moveTo>
                <a:lnTo>
                  <a:pt x="3324" y="2783"/>
                </a:lnTo>
                <a:cubicBezTo>
                  <a:pt x="3324" y="2831"/>
                  <a:pt x="3292" y="2863"/>
                  <a:pt x="3245" y="2863"/>
                </a:cubicBezTo>
                <a:lnTo>
                  <a:pt x="1193" y="2863"/>
                </a:lnTo>
                <a:cubicBezTo>
                  <a:pt x="1146" y="2863"/>
                  <a:pt x="1113" y="2831"/>
                  <a:pt x="1113" y="2783"/>
                </a:cubicBezTo>
                <a:lnTo>
                  <a:pt x="1113" y="1400"/>
                </a:lnTo>
                <a:cubicBezTo>
                  <a:pt x="1113" y="1368"/>
                  <a:pt x="1146" y="1336"/>
                  <a:pt x="1193" y="1336"/>
                </a:cubicBezTo>
                <a:lnTo>
                  <a:pt x="3245" y="1336"/>
                </a:lnTo>
                <a:cubicBezTo>
                  <a:pt x="3292" y="1336"/>
                  <a:pt x="3324" y="1368"/>
                  <a:pt x="3324" y="1400"/>
                </a:cubicBezTo>
                <a:close/>
                <a:moveTo>
                  <a:pt x="2227" y="159"/>
                </a:moveTo>
                <a:cubicBezTo>
                  <a:pt x="2688" y="159"/>
                  <a:pt x="3070" y="557"/>
                  <a:pt x="3070" y="1066"/>
                </a:cubicBezTo>
                <a:lnTo>
                  <a:pt x="3070" y="1177"/>
                </a:lnTo>
                <a:lnTo>
                  <a:pt x="1400" y="1177"/>
                </a:lnTo>
                <a:cubicBezTo>
                  <a:pt x="1384" y="1129"/>
                  <a:pt x="1384" y="1098"/>
                  <a:pt x="1384" y="1066"/>
                </a:cubicBezTo>
                <a:cubicBezTo>
                  <a:pt x="1384" y="557"/>
                  <a:pt x="1765" y="159"/>
                  <a:pt x="2227" y="1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3" name="Freeform: Shape 9">
            <a:extLst>
              <a:ext uri="{FF2B5EF4-FFF2-40B4-BE49-F238E27FC236}">
                <a16:creationId xmlns:a16="http://schemas.microsoft.com/office/drawing/2014/main" id="{56112768-D818-C942-B1FD-D2F5EB8EF6C1}"/>
              </a:ext>
            </a:extLst>
          </p:cNvPr>
          <p:cNvSpPr/>
          <p:nvPr/>
        </p:nvSpPr>
        <p:spPr>
          <a:xfrm>
            <a:off x="17586120" y="3248273"/>
            <a:ext cx="1546200" cy="1751759"/>
          </a:xfrm>
          <a:custGeom>
            <a:avLst/>
            <a:gdLst/>
            <a:ahLst/>
            <a:cxnLst>
              <a:cxn ang="3cd4">
                <a:pos x="hc" y="t"/>
              </a:cxn>
              <a:cxn ang="cd2">
                <a:pos x="l" y="vc"/>
              </a:cxn>
              <a:cxn ang="cd4">
                <a:pos x="hc" y="b"/>
              </a:cxn>
              <a:cxn ang="0">
                <a:pos x="r" y="vc"/>
              </a:cxn>
            </a:cxnLst>
            <a:rect l="l" t="t" r="r" b="b"/>
            <a:pathLst>
              <a:path w="4296" h="4867">
                <a:moveTo>
                  <a:pt x="287" y="1368"/>
                </a:moveTo>
                <a:lnTo>
                  <a:pt x="287" y="2147"/>
                </a:lnTo>
                <a:lnTo>
                  <a:pt x="318" y="2147"/>
                </a:lnTo>
                <a:lnTo>
                  <a:pt x="446" y="2147"/>
                </a:lnTo>
                <a:lnTo>
                  <a:pt x="446" y="1368"/>
                </a:lnTo>
                <a:cubicBezTo>
                  <a:pt x="446" y="668"/>
                  <a:pt x="987" y="159"/>
                  <a:pt x="1734" y="159"/>
                </a:cubicBezTo>
                <a:lnTo>
                  <a:pt x="1941" y="159"/>
                </a:lnTo>
                <a:cubicBezTo>
                  <a:pt x="2609" y="159"/>
                  <a:pt x="3308" y="604"/>
                  <a:pt x="3308" y="1368"/>
                </a:cubicBezTo>
                <a:lnTo>
                  <a:pt x="3308" y="2147"/>
                </a:lnTo>
                <a:lnTo>
                  <a:pt x="3468" y="2147"/>
                </a:lnTo>
                <a:lnTo>
                  <a:pt x="3468" y="1368"/>
                </a:lnTo>
                <a:cubicBezTo>
                  <a:pt x="3468" y="604"/>
                  <a:pt x="2800" y="0"/>
                  <a:pt x="1941" y="0"/>
                </a:cubicBezTo>
                <a:lnTo>
                  <a:pt x="1734" y="0"/>
                </a:lnTo>
                <a:cubicBezTo>
                  <a:pt x="907" y="0"/>
                  <a:pt x="287" y="572"/>
                  <a:pt x="287" y="1368"/>
                </a:cubicBezTo>
                <a:close/>
                <a:moveTo>
                  <a:pt x="1305" y="3291"/>
                </a:moveTo>
                <a:cubicBezTo>
                  <a:pt x="1273" y="3259"/>
                  <a:pt x="1225" y="3259"/>
                  <a:pt x="1193" y="3291"/>
                </a:cubicBezTo>
                <a:cubicBezTo>
                  <a:pt x="1161" y="3323"/>
                  <a:pt x="1161" y="3370"/>
                  <a:pt x="1193" y="3402"/>
                </a:cubicBezTo>
                <a:lnTo>
                  <a:pt x="1782" y="3991"/>
                </a:lnTo>
                <a:cubicBezTo>
                  <a:pt x="1797" y="4007"/>
                  <a:pt x="1814" y="4007"/>
                  <a:pt x="1829" y="4007"/>
                </a:cubicBezTo>
                <a:cubicBezTo>
                  <a:pt x="1861" y="4007"/>
                  <a:pt x="1877" y="4007"/>
                  <a:pt x="1877" y="3991"/>
                </a:cubicBezTo>
                <a:lnTo>
                  <a:pt x="4263" y="2209"/>
                </a:lnTo>
                <a:cubicBezTo>
                  <a:pt x="4295" y="2194"/>
                  <a:pt x="4311" y="2130"/>
                  <a:pt x="4279" y="2098"/>
                </a:cubicBezTo>
                <a:cubicBezTo>
                  <a:pt x="4263" y="2066"/>
                  <a:pt x="4199" y="2050"/>
                  <a:pt x="4168" y="2082"/>
                </a:cubicBezTo>
                <a:lnTo>
                  <a:pt x="1845" y="3832"/>
                </a:lnTo>
                <a:close/>
                <a:moveTo>
                  <a:pt x="446" y="2147"/>
                </a:moveTo>
                <a:lnTo>
                  <a:pt x="318" y="2147"/>
                </a:lnTo>
                <a:lnTo>
                  <a:pt x="287" y="2147"/>
                </a:lnTo>
                <a:cubicBezTo>
                  <a:pt x="127" y="2163"/>
                  <a:pt x="0" y="2290"/>
                  <a:pt x="0" y="2449"/>
                </a:cubicBezTo>
                <a:lnTo>
                  <a:pt x="0" y="4549"/>
                </a:lnTo>
                <a:cubicBezTo>
                  <a:pt x="0" y="4723"/>
                  <a:pt x="143" y="4867"/>
                  <a:pt x="318" y="4867"/>
                </a:cubicBezTo>
                <a:lnTo>
                  <a:pt x="3451" y="4867"/>
                </a:lnTo>
                <a:cubicBezTo>
                  <a:pt x="3611" y="4867"/>
                  <a:pt x="3754" y="4723"/>
                  <a:pt x="3754" y="4549"/>
                </a:cubicBezTo>
                <a:lnTo>
                  <a:pt x="3754" y="3181"/>
                </a:lnTo>
                <a:cubicBezTo>
                  <a:pt x="3754" y="3133"/>
                  <a:pt x="3722" y="3101"/>
                  <a:pt x="3674" y="3101"/>
                </a:cubicBezTo>
                <a:cubicBezTo>
                  <a:pt x="3627" y="3101"/>
                  <a:pt x="3595" y="3133"/>
                  <a:pt x="3595" y="3181"/>
                </a:cubicBezTo>
                <a:lnTo>
                  <a:pt x="3595" y="4549"/>
                </a:lnTo>
                <a:cubicBezTo>
                  <a:pt x="3595" y="4628"/>
                  <a:pt x="3531" y="4707"/>
                  <a:pt x="3451" y="4707"/>
                </a:cubicBezTo>
                <a:lnTo>
                  <a:pt x="318" y="4707"/>
                </a:lnTo>
                <a:cubicBezTo>
                  <a:pt x="223" y="4707"/>
                  <a:pt x="160" y="4628"/>
                  <a:pt x="160" y="4549"/>
                </a:cubicBezTo>
                <a:lnTo>
                  <a:pt x="160" y="2449"/>
                </a:lnTo>
                <a:cubicBezTo>
                  <a:pt x="160" y="2369"/>
                  <a:pt x="223" y="2306"/>
                  <a:pt x="318" y="2306"/>
                </a:cubicBezTo>
                <a:lnTo>
                  <a:pt x="3468" y="2306"/>
                </a:lnTo>
                <a:cubicBezTo>
                  <a:pt x="3515" y="2306"/>
                  <a:pt x="3547" y="2274"/>
                  <a:pt x="3547" y="2226"/>
                </a:cubicBezTo>
                <a:cubicBezTo>
                  <a:pt x="3547" y="2178"/>
                  <a:pt x="3515" y="2147"/>
                  <a:pt x="3468" y="2147"/>
                </a:cubicBezTo>
                <a:lnTo>
                  <a:pt x="3308" y="2147"/>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4" name="Freeform: Shape 10">
            <a:extLst>
              <a:ext uri="{FF2B5EF4-FFF2-40B4-BE49-F238E27FC236}">
                <a16:creationId xmlns:a16="http://schemas.microsoft.com/office/drawing/2014/main" id="{6BD3A5B5-54CE-6F49-9B59-1770F433A61C}"/>
              </a:ext>
            </a:extLst>
          </p:cNvPr>
          <p:cNvSpPr/>
          <p:nvPr/>
        </p:nvSpPr>
        <p:spPr>
          <a:xfrm>
            <a:off x="21125036" y="3248273"/>
            <a:ext cx="1706040" cy="1751759"/>
          </a:xfrm>
          <a:custGeom>
            <a:avLst/>
            <a:gdLst/>
            <a:ahLst/>
            <a:cxnLst>
              <a:cxn ang="3cd4">
                <a:pos x="hc" y="t"/>
              </a:cxn>
              <a:cxn ang="cd2">
                <a:pos x="l" y="vc"/>
              </a:cxn>
              <a:cxn ang="cd4">
                <a:pos x="hc" y="b"/>
              </a:cxn>
              <a:cxn ang="0">
                <a:pos x="r" y="vc"/>
              </a:cxn>
            </a:cxnLst>
            <a:rect l="l" t="t" r="r" b="b"/>
            <a:pathLst>
              <a:path w="4740" h="4867">
                <a:moveTo>
                  <a:pt x="573" y="2878"/>
                </a:moveTo>
                <a:cubicBezTo>
                  <a:pt x="255" y="2878"/>
                  <a:pt x="0" y="3133"/>
                  <a:pt x="0" y="3451"/>
                </a:cubicBezTo>
                <a:cubicBezTo>
                  <a:pt x="0" y="3769"/>
                  <a:pt x="255" y="4023"/>
                  <a:pt x="573" y="4023"/>
                </a:cubicBezTo>
                <a:cubicBezTo>
                  <a:pt x="875" y="4023"/>
                  <a:pt x="1130" y="3785"/>
                  <a:pt x="1145" y="3499"/>
                </a:cubicBezTo>
                <a:lnTo>
                  <a:pt x="2704" y="3499"/>
                </a:lnTo>
                <a:lnTo>
                  <a:pt x="2704" y="3976"/>
                </a:lnTo>
                <a:cubicBezTo>
                  <a:pt x="2704" y="4008"/>
                  <a:pt x="2736" y="4040"/>
                  <a:pt x="2784" y="4040"/>
                </a:cubicBezTo>
                <a:cubicBezTo>
                  <a:pt x="2831" y="4040"/>
                  <a:pt x="2863" y="4008"/>
                  <a:pt x="2863" y="3976"/>
                </a:cubicBezTo>
                <a:lnTo>
                  <a:pt x="2863" y="3499"/>
                </a:lnTo>
                <a:lnTo>
                  <a:pt x="3022" y="3499"/>
                </a:lnTo>
                <a:cubicBezTo>
                  <a:pt x="3070" y="3499"/>
                  <a:pt x="3102" y="3451"/>
                  <a:pt x="3102" y="3419"/>
                </a:cubicBezTo>
                <a:cubicBezTo>
                  <a:pt x="3102" y="3371"/>
                  <a:pt x="3070" y="3340"/>
                  <a:pt x="3022" y="3340"/>
                </a:cubicBezTo>
                <a:lnTo>
                  <a:pt x="1145" y="3340"/>
                </a:lnTo>
                <a:cubicBezTo>
                  <a:pt x="1082" y="3069"/>
                  <a:pt x="859" y="2878"/>
                  <a:pt x="573" y="2878"/>
                </a:cubicBezTo>
                <a:close/>
                <a:moveTo>
                  <a:pt x="573" y="3865"/>
                </a:moveTo>
                <a:cubicBezTo>
                  <a:pt x="350" y="3865"/>
                  <a:pt x="159" y="3689"/>
                  <a:pt x="159" y="3451"/>
                </a:cubicBezTo>
                <a:cubicBezTo>
                  <a:pt x="159" y="3228"/>
                  <a:pt x="350" y="3038"/>
                  <a:pt x="573" y="3038"/>
                </a:cubicBezTo>
                <a:cubicBezTo>
                  <a:pt x="811" y="3038"/>
                  <a:pt x="986" y="3228"/>
                  <a:pt x="986" y="3451"/>
                </a:cubicBezTo>
                <a:cubicBezTo>
                  <a:pt x="986" y="3689"/>
                  <a:pt x="811" y="3865"/>
                  <a:pt x="573" y="3865"/>
                </a:cubicBezTo>
                <a:close/>
                <a:moveTo>
                  <a:pt x="1431" y="2147"/>
                </a:moveTo>
                <a:lnTo>
                  <a:pt x="1431" y="1368"/>
                </a:lnTo>
                <a:cubicBezTo>
                  <a:pt x="1431" y="684"/>
                  <a:pt x="2004" y="159"/>
                  <a:pt x="2767" y="159"/>
                </a:cubicBezTo>
                <a:lnTo>
                  <a:pt x="2958" y="159"/>
                </a:lnTo>
                <a:cubicBezTo>
                  <a:pt x="3722" y="159"/>
                  <a:pt x="4294" y="684"/>
                  <a:pt x="4294" y="1368"/>
                </a:cubicBezTo>
                <a:lnTo>
                  <a:pt x="4294" y="2147"/>
                </a:lnTo>
                <a:lnTo>
                  <a:pt x="4422" y="2147"/>
                </a:lnTo>
                <a:lnTo>
                  <a:pt x="4454" y="2147"/>
                </a:lnTo>
                <a:lnTo>
                  <a:pt x="4454" y="1368"/>
                </a:lnTo>
                <a:cubicBezTo>
                  <a:pt x="4454" y="588"/>
                  <a:pt x="3802" y="0"/>
                  <a:pt x="2958" y="0"/>
                </a:cubicBezTo>
                <a:lnTo>
                  <a:pt x="2767" y="0"/>
                </a:lnTo>
                <a:cubicBezTo>
                  <a:pt x="1909" y="0"/>
                  <a:pt x="1273" y="588"/>
                  <a:pt x="1273" y="1368"/>
                </a:cubicBezTo>
                <a:lnTo>
                  <a:pt x="1273" y="2147"/>
                </a:lnTo>
                <a:lnTo>
                  <a:pt x="1288" y="2147"/>
                </a:lnTo>
                <a:close/>
                <a:moveTo>
                  <a:pt x="3340" y="3674"/>
                </a:moveTo>
                <a:lnTo>
                  <a:pt x="3340" y="3849"/>
                </a:lnTo>
                <a:cubicBezTo>
                  <a:pt x="3340" y="4071"/>
                  <a:pt x="3133" y="4262"/>
                  <a:pt x="2895" y="4262"/>
                </a:cubicBezTo>
                <a:cubicBezTo>
                  <a:pt x="2656" y="4262"/>
                  <a:pt x="2449" y="4071"/>
                  <a:pt x="2449" y="3849"/>
                </a:cubicBezTo>
                <a:cubicBezTo>
                  <a:pt x="2449" y="3801"/>
                  <a:pt x="2402" y="3769"/>
                  <a:pt x="2370" y="3769"/>
                </a:cubicBezTo>
                <a:cubicBezTo>
                  <a:pt x="2322" y="3769"/>
                  <a:pt x="2291" y="3801"/>
                  <a:pt x="2291" y="3849"/>
                </a:cubicBezTo>
                <a:cubicBezTo>
                  <a:pt x="2291" y="4167"/>
                  <a:pt x="2561" y="4421"/>
                  <a:pt x="2895" y="4421"/>
                </a:cubicBezTo>
                <a:cubicBezTo>
                  <a:pt x="3213" y="4421"/>
                  <a:pt x="3499" y="4167"/>
                  <a:pt x="3499" y="3849"/>
                </a:cubicBezTo>
                <a:lnTo>
                  <a:pt x="3499" y="3674"/>
                </a:lnTo>
                <a:cubicBezTo>
                  <a:pt x="3499" y="3642"/>
                  <a:pt x="3515" y="3610"/>
                  <a:pt x="3531" y="3562"/>
                </a:cubicBezTo>
                <a:cubicBezTo>
                  <a:pt x="3547" y="3499"/>
                  <a:pt x="3563" y="3435"/>
                  <a:pt x="3563" y="3356"/>
                </a:cubicBezTo>
                <a:cubicBezTo>
                  <a:pt x="3563" y="2990"/>
                  <a:pt x="3245" y="2672"/>
                  <a:pt x="2879" y="2672"/>
                </a:cubicBezTo>
                <a:cubicBezTo>
                  <a:pt x="2624" y="2672"/>
                  <a:pt x="2402" y="2799"/>
                  <a:pt x="2291" y="3005"/>
                </a:cubicBezTo>
                <a:cubicBezTo>
                  <a:pt x="2258" y="3053"/>
                  <a:pt x="2275" y="3101"/>
                  <a:pt x="2306" y="3117"/>
                </a:cubicBezTo>
                <a:cubicBezTo>
                  <a:pt x="2354" y="3149"/>
                  <a:pt x="2402" y="3133"/>
                  <a:pt x="2418" y="3085"/>
                </a:cubicBezTo>
                <a:cubicBezTo>
                  <a:pt x="2513" y="2942"/>
                  <a:pt x="2688" y="2831"/>
                  <a:pt x="2879" y="2831"/>
                </a:cubicBezTo>
                <a:cubicBezTo>
                  <a:pt x="3165" y="2831"/>
                  <a:pt x="3404" y="3069"/>
                  <a:pt x="3404" y="3356"/>
                </a:cubicBezTo>
                <a:cubicBezTo>
                  <a:pt x="3404" y="3403"/>
                  <a:pt x="3388" y="3467"/>
                  <a:pt x="3372" y="3514"/>
                </a:cubicBezTo>
                <a:cubicBezTo>
                  <a:pt x="3356" y="3562"/>
                  <a:pt x="3340" y="3626"/>
                  <a:pt x="3340" y="3674"/>
                </a:cubicBezTo>
                <a:close/>
                <a:moveTo>
                  <a:pt x="4454" y="2147"/>
                </a:moveTo>
                <a:lnTo>
                  <a:pt x="4422" y="2147"/>
                </a:lnTo>
                <a:lnTo>
                  <a:pt x="4294" y="2147"/>
                </a:lnTo>
                <a:lnTo>
                  <a:pt x="1431" y="2147"/>
                </a:lnTo>
                <a:lnTo>
                  <a:pt x="1288" y="2147"/>
                </a:lnTo>
                <a:lnTo>
                  <a:pt x="1273" y="2147"/>
                </a:lnTo>
                <a:cubicBezTo>
                  <a:pt x="1113" y="2147"/>
                  <a:pt x="986" y="2258"/>
                  <a:pt x="986" y="2386"/>
                </a:cubicBezTo>
                <a:lnTo>
                  <a:pt x="986" y="2544"/>
                </a:lnTo>
                <a:cubicBezTo>
                  <a:pt x="986" y="2592"/>
                  <a:pt x="1018" y="2624"/>
                  <a:pt x="1066" y="2624"/>
                </a:cubicBezTo>
                <a:cubicBezTo>
                  <a:pt x="1113" y="2624"/>
                  <a:pt x="1145" y="2592"/>
                  <a:pt x="1145" y="2544"/>
                </a:cubicBezTo>
                <a:lnTo>
                  <a:pt x="1145" y="2386"/>
                </a:lnTo>
                <a:cubicBezTo>
                  <a:pt x="1145" y="2353"/>
                  <a:pt x="1209" y="2306"/>
                  <a:pt x="1288" y="2306"/>
                </a:cubicBezTo>
                <a:lnTo>
                  <a:pt x="4422" y="2306"/>
                </a:lnTo>
                <a:cubicBezTo>
                  <a:pt x="4517" y="2306"/>
                  <a:pt x="4581" y="2369"/>
                  <a:pt x="4581" y="2449"/>
                </a:cubicBezTo>
                <a:lnTo>
                  <a:pt x="4581" y="4549"/>
                </a:lnTo>
                <a:cubicBezTo>
                  <a:pt x="4581" y="4628"/>
                  <a:pt x="4517" y="4707"/>
                  <a:pt x="4422" y="4707"/>
                </a:cubicBezTo>
                <a:lnTo>
                  <a:pt x="1288" y="4707"/>
                </a:lnTo>
                <a:cubicBezTo>
                  <a:pt x="1209" y="4707"/>
                  <a:pt x="1145" y="4628"/>
                  <a:pt x="1145" y="4549"/>
                </a:cubicBezTo>
                <a:lnTo>
                  <a:pt x="1145" y="4310"/>
                </a:lnTo>
                <a:cubicBezTo>
                  <a:pt x="1145" y="4262"/>
                  <a:pt x="1113" y="4231"/>
                  <a:pt x="1066" y="4231"/>
                </a:cubicBezTo>
                <a:cubicBezTo>
                  <a:pt x="1018" y="4231"/>
                  <a:pt x="986" y="4262"/>
                  <a:pt x="986" y="4310"/>
                </a:cubicBezTo>
                <a:lnTo>
                  <a:pt x="986" y="4549"/>
                </a:lnTo>
                <a:cubicBezTo>
                  <a:pt x="986" y="4723"/>
                  <a:pt x="1130" y="4867"/>
                  <a:pt x="1288" y="4867"/>
                </a:cubicBezTo>
                <a:lnTo>
                  <a:pt x="4422" y="4867"/>
                </a:lnTo>
                <a:cubicBezTo>
                  <a:pt x="4597" y="4867"/>
                  <a:pt x="4740" y="4723"/>
                  <a:pt x="4740" y="4549"/>
                </a:cubicBezTo>
                <a:lnTo>
                  <a:pt x="4740" y="2449"/>
                </a:lnTo>
                <a:cubicBezTo>
                  <a:pt x="4740" y="2290"/>
                  <a:pt x="4612" y="2163"/>
                  <a:pt x="4454" y="214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5" name="Freeform: Shape 11">
            <a:extLst>
              <a:ext uri="{FF2B5EF4-FFF2-40B4-BE49-F238E27FC236}">
                <a16:creationId xmlns:a16="http://schemas.microsoft.com/office/drawing/2014/main" id="{B686B014-4EAA-0945-AAB1-5EE93D222A21}"/>
              </a:ext>
            </a:extLst>
          </p:cNvPr>
          <p:cNvSpPr/>
          <p:nvPr/>
        </p:nvSpPr>
        <p:spPr>
          <a:xfrm>
            <a:off x="21368166" y="6191072"/>
            <a:ext cx="1706040" cy="1889640"/>
          </a:xfrm>
          <a:custGeom>
            <a:avLst/>
            <a:gdLst/>
            <a:ahLst/>
            <a:cxnLst>
              <a:cxn ang="3cd4">
                <a:pos x="hc" y="t"/>
              </a:cxn>
              <a:cxn ang="cd2">
                <a:pos x="l" y="vc"/>
              </a:cxn>
              <a:cxn ang="cd4">
                <a:pos x="hc" y="b"/>
              </a:cxn>
              <a:cxn ang="0">
                <a:pos x="r" y="vc"/>
              </a:cxn>
            </a:cxnLst>
            <a:rect l="l" t="t" r="r" b="b"/>
            <a:pathLst>
              <a:path w="4740" h="5250">
                <a:moveTo>
                  <a:pt x="3362" y="1520"/>
                </a:moveTo>
                <a:lnTo>
                  <a:pt x="1378" y="1520"/>
                </a:lnTo>
                <a:cubicBezTo>
                  <a:pt x="1361" y="1520"/>
                  <a:pt x="1344" y="1537"/>
                  <a:pt x="1329" y="1552"/>
                </a:cubicBezTo>
                <a:cubicBezTo>
                  <a:pt x="1313" y="1568"/>
                  <a:pt x="1298" y="1583"/>
                  <a:pt x="1298" y="1617"/>
                </a:cubicBezTo>
                <a:lnTo>
                  <a:pt x="1504" y="3393"/>
                </a:lnTo>
                <a:cubicBezTo>
                  <a:pt x="1538" y="3568"/>
                  <a:pt x="1698" y="3713"/>
                  <a:pt x="1873" y="3713"/>
                </a:cubicBezTo>
                <a:cubicBezTo>
                  <a:pt x="2867" y="3713"/>
                  <a:pt x="2536" y="3713"/>
                  <a:pt x="2867" y="3713"/>
                </a:cubicBezTo>
                <a:cubicBezTo>
                  <a:pt x="3042" y="3713"/>
                  <a:pt x="3219" y="3568"/>
                  <a:pt x="3234" y="3393"/>
                </a:cubicBezTo>
                <a:lnTo>
                  <a:pt x="3442" y="1617"/>
                </a:lnTo>
                <a:cubicBezTo>
                  <a:pt x="3442" y="1583"/>
                  <a:pt x="3427" y="1568"/>
                  <a:pt x="3427" y="1552"/>
                </a:cubicBezTo>
                <a:cubicBezTo>
                  <a:pt x="3411" y="1537"/>
                  <a:pt x="3379" y="1520"/>
                  <a:pt x="3362" y="1520"/>
                </a:cubicBezTo>
                <a:close/>
                <a:moveTo>
                  <a:pt x="3074" y="3377"/>
                </a:moveTo>
                <a:cubicBezTo>
                  <a:pt x="3059" y="3473"/>
                  <a:pt x="2962" y="3553"/>
                  <a:pt x="2867" y="3553"/>
                </a:cubicBezTo>
                <a:cubicBezTo>
                  <a:pt x="1873" y="3553"/>
                  <a:pt x="2204" y="3553"/>
                  <a:pt x="1873" y="3553"/>
                </a:cubicBezTo>
                <a:cubicBezTo>
                  <a:pt x="1778" y="3553"/>
                  <a:pt x="1681" y="3473"/>
                  <a:pt x="1666" y="3377"/>
                </a:cubicBezTo>
                <a:lnTo>
                  <a:pt x="1473" y="1680"/>
                </a:lnTo>
                <a:lnTo>
                  <a:pt x="3267" y="1680"/>
                </a:lnTo>
                <a:close/>
                <a:moveTo>
                  <a:pt x="2753" y="3232"/>
                </a:moveTo>
                <a:cubicBezTo>
                  <a:pt x="2802" y="3232"/>
                  <a:pt x="2834" y="3200"/>
                  <a:pt x="2834" y="3168"/>
                </a:cubicBezTo>
                <a:lnTo>
                  <a:pt x="2930" y="2080"/>
                </a:lnTo>
                <a:cubicBezTo>
                  <a:pt x="2930" y="2032"/>
                  <a:pt x="2899" y="2000"/>
                  <a:pt x="2850" y="2000"/>
                </a:cubicBezTo>
                <a:cubicBezTo>
                  <a:pt x="2802" y="1985"/>
                  <a:pt x="2770" y="2032"/>
                  <a:pt x="2770" y="2065"/>
                </a:cubicBezTo>
                <a:lnTo>
                  <a:pt x="2675" y="3153"/>
                </a:lnTo>
                <a:cubicBezTo>
                  <a:pt x="2675" y="3200"/>
                  <a:pt x="2707" y="3232"/>
                  <a:pt x="2753" y="3232"/>
                </a:cubicBezTo>
                <a:close/>
                <a:moveTo>
                  <a:pt x="2370" y="3232"/>
                </a:moveTo>
                <a:cubicBezTo>
                  <a:pt x="2418" y="3232"/>
                  <a:pt x="2450" y="3200"/>
                  <a:pt x="2450" y="3153"/>
                </a:cubicBezTo>
                <a:lnTo>
                  <a:pt x="2450" y="2065"/>
                </a:lnTo>
                <a:cubicBezTo>
                  <a:pt x="2450" y="2032"/>
                  <a:pt x="2418" y="1985"/>
                  <a:pt x="2370" y="1985"/>
                </a:cubicBezTo>
                <a:cubicBezTo>
                  <a:pt x="2322" y="1985"/>
                  <a:pt x="2290" y="2032"/>
                  <a:pt x="2290" y="2065"/>
                </a:cubicBezTo>
                <a:lnTo>
                  <a:pt x="2290" y="3153"/>
                </a:lnTo>
                <a:cubicBezTo>
                  <a:pt x="2290" y="3200"/>
                  <a:pt x="2322" y="3232"/>
                  <a:pt x="2370" y="3232"/>
                </a:cubicBezTo>
                <a:close/>
                <a:moveTo>
                  <a:pt x="1986" y="3232"/>
                </a:moveTo>
                <a:cubicBezTo>
                  <a:pt x="2033" y="3232"/>
                  <a:pt x="2065" y="3200"/>
                  <a:pt x="2065" y="3153"/>
                </a:cubicBezTo>
                <a:lnTo>
                  <a:pt x="1970" y="2065"/>
                </a:lnTo>
                <a:cubicBezTo>
                  <a:pt x="1970" y="2032"/>
                  <a:pt x="1938" y="1985"/>
                  <a:pt x="1890" y="2000"/>
                </a:cubicBezTo>
                <a:cubicBezTo>
                  <a:pt x="1841" y="2000"/>
                  <a:pt x="1810" y="2032"/>
                  <a:pt x="1810" y="2080"/>
                </a:cubicBezTo>
                <a:lnTo>
                  <a:pt x="1906" y="3168"/>
                </a:lnTo>
                <a:cubicBezTo>
                  <a:pt x="1906" y="3200"/>
                  <a:pt x="1938" y="3232"/>
                  <a:pt x="1986" y="3232"/>
                </a:cubicBezTo>
                <a:close/>
                <a:moveTo>
                  <a:pt x="3331" y="1137"/>
                </a:moveTo>
                <a:cubicBezTo>
                  <a:pt x="3331" y="1183"/>
                  <a:pt x="3299" y="1217"/>
                  <a:pt x="3250" y="1217"/>
                </a:cubicBezTo>
                <a:cubicBezTo>
                  <a:pt x="3315" y="1217"/>
                  <a:pt x="3362" y="1248"/>
                  <a:pt x="3379" y="1280"/>
                </a:cubicBezTo>
                <a:cubicBezTo>
                  <a:pt x="3379" y="1312"/>
                  <a:pt x="3411" y="1328"/>
                  <a:pt x="3442" y="1328"/>
                </a:cubicBezTo>
                <a:lnTo>
                  <a:pt x="3474" y="1328"/>
                </a:lnTo>
                <a:cubicBezTo>
                  <a:pt x="3522" y="1297"/>
                  <a:pt x="3539" y="1248"/>
                  <a:pt x="3522" y="1217"/>
                </a:cubicBezTo>
                <a:cubicBezTo>
                  <a:pt x="3474" y="1120"/>
                  <a:pt x="3379" y="1057"/>
                  <a:pt x="3250" y="1057"/>
                </a:cubicBezTo>
                <a:cubicBezTo>
                  <a:pt x="3299" y="1057"/>
                  <a:pt x="3331" y="1088"/>
                  <a:pt x="3331" y="1137"/>
                </a:cubicBezTo>
                <a:close/>
                <a:moveTo>
                  <a:pt x="3250" y="1057"/>
                </a:moveTo>
                <a:close/>
                <a:moveTo>
                  <a:pt x="1489" y="1057"/>
                </a:moveTo>
                <a:cubicBezTo>
                  <a:pt x="1361" y="1057"/>
                  <a:pt x="1266" y="1120"/>
                  <a:pt x="1217" y="1217"/>
                </a:cubicBezTo>
                <a:cubicBezTo>
                  <a:pt x="1201" y="1248"/>
                  <a:pt x="1217" y="1297"/>
                  <a:pt x="1266" y="1328"/>
                </a:cubicBezTo>
                <a:lnTo>
                  <a:pt x="1298" y="1328"/>
                </a:lnTo>
                <a:cubicBezTo>
                  <a:pt x="1329" y="1328"/>
                  <a:pt x="1361" y="1312"/>
                  <a:pt x="1361" y="1280"/>
                </a:cubicBezTo>
                <a:cubicBezTo>
                  <a:pt x="1393" y="1248"/>
                  <a:pt x="1424" y="1217"/>
                  <a:pt x="1489" y="1217"/>
                </a:cubicBezTo>
                <a:lnTo>
                  <a:pt x="3250" y="1217"/>
                </a:lnTo>
                <a:cubicBezTo>
                  <a:pt x="3299" y="1217"/>
                  <a:pt x="3331" y="1183"/>
                  <a:pt x="3331" y="1137"/>
                </a:cubicBezTo>
                <a:cubicBezTo>
                  <a:pt x="3331" y="1088"/>
                  <a:pt x="3299" y="1057"/>
                  <a:pt x="3250" y="1057"/>
                </a:cubicBezTo>
                <a:close/>
                <a:moveTo>
                  <a:pt x="4691" y="912"/>
                </a:moveTo>
                <a:lnTo>
                  <a:pt x="2402" y="0"/>
                </a:lnTo>
                <a:lnTo>
                  <a:pt x="2338" y="0"/>
                </a:lnTo>
                <a:lnTo>
                  <a:pt x="48" y="912"/>
                </a:lnTo>
                <a:cubicBezTo>
                  <a:pt x="15" y="928"/>
                  <a:pt x="0" y="960"/>
                  <a:pt x="0" y="992"/>
                </a:cubicBezTo>
                <a:cubicBezTo>
                  <a:pt x="257" y="2848"/>
                  <a:pt x="1056" y="4305"/>
                  <a:pt x="2322" y="5233"/>
                </a:cubicBezTo>
                <a:cubicBezTo>
                  <a:pt x="2338" y="5250"/>
                  <a:pt x="2353" y="5250"/>
                  <a:pt x="2370" y="5250"/>
                </a:cubicBezTo>
                <a:cubicBezTo>
                  <a:pt x="2387" y="5250"/>
                  <a:pt x="2402" y="5250"/>
                  <a:pt x="2418" y="5233"/>
                </a:cubicBezTo>
                <a:cubicBezTo>
                  <a:pt x="3682" y="4305"/>
                  <a:pt x="4483" y="2848"/>
                  <a:pt x="4740" y="992"/>
                </a:cubicBezTo>
                <a:cubicBezTo>
                  <a:pt x="4740" y="960"/>
                  <a:pt x="4725" y="928"/>
                  <a:pt x="4691" y="912"/>
                </a:cubicBezTo>
                <a:close/>
                <a:moveTo>
                  <a:pt x="2370" y="5073"/>
                </a:moveTo>
                <a:cubicBezTo>
                  <a:pt x="1184" y="4176"/>
                  <a:pt x="432" y="2785"/>
                  <a:pt x="177" y="1040"/>
                </a:cubicBezTo>
                <a:lnTo>
                  <a:pt x="2370" y="160"/>
                </a:lnTo>
                <a:cubicBezTo>
                  <a:pt x="4563" y="1040"/>
                  <a:pt x="3832" y="747"/>
                  <a:pt x="4563" y="1040"/>
                </a:cubicBezTo>
                <a:cubicBezTo>
                  <a:pt x="4308" y="2785"/>
                  <a:pt x="3554" y="4176"/>
                  <a:pt x="2370" y="507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6" name="Freeform: Shape 12">
            <a:extLst>
              <a:ext uri="{FF2B5EF4-FFF2-40B4-BE49-F238E27FC236}">
                <a16:creationId xmlns:a16="http://schemas.microsoft.com/office/drawing/2014/main" id="{023B92C9-63AD-234F-AC1E-DC9063658E38}"/>
              </a:ext>
            </a:extLst>
          </p:cNvPr>
          <p:cNvSpPr/>
          <p:nvPr/>
        </p:nvSpPr>
        <p:spPr>
          <a:xfrm>
            <a:off x="17441102" y="6135099"/>
            <a:ext cx="1705680" cy="1889640"/>
          </a:xfrm>
          <a:custGeom>
            <a:avLst/>
            <a:gdLst/>
            <a:ahLst/>
            <a:cxnLst>
              <a:cxn ang="3cd4">
                <a:pos x="hc" y="t"/>
              </a:cxn>
              <a:cxn ang="cd2">
                <a:pos x="l" y="vc"/>
              </a:cxn>
              <a:cxn ang="cd4">
                <a:pos x="hc" y="b"/>
              </a:cxn>
              <a:cxn ang="0">
                <a:pos x="r" y="vc"/>
              </a:cxn>
            </a:cxnLst>
            <a:rect l="l" t="t" r="r" b="b"/>
            <a:pathLst>
              <a:path w="4739" h="5250">
                <a:moveTo>
                  <a:pt x="1184" y="2448"/>
                </a:moveTo>
                <a:cubicBezTo>
                  <a:pt x="1184" y="3105"/>
                  <a:pt x="1729" y="3632"/>
                  <a:pt x="2370" y="3632"/>
                </a:cubicBezTo>
                <a:cubicBezTo>
                  <a:pt x="3027" y="3632"/>
                  <a:pt x="3555" y="3105"/>
                  <a:pt x="3555" y="2448"/>
                </a:cubicBezTo>
                <a:cubicBezTo>
                  <a:pt x="3555" y="1808"/>
                  <a:pt x="3027" y="1280"/>
                  <a:pt x="2370" y="1280"/>
                </a:cubicBezTo>
                <a:cubicBezTo>
                  <a:pt x="1729" y="1280"/>
                  <a:pt x="1184" y="1808"/>
                  <a:pt x="1184" y="2448"/>
                </a:cubicBezTo>
                <a:close/>
                <a:moveTo>
                  <a:pt x="3394" y="2448"/>
                </a:moveTo>
                <a:cubicBezTo>
                  <a:pt x="3394" y="3025"/>
                  <a:pt x="2930" y="3473"/>
                  <a:pt x="2370" y="3473"/>
                </a:cubicBezTo>
                <a:cubicBezTo>
                  <a:pt x="1809" y="3473"/>
                  <a:pt x="1344" y="3025"/>
                  <a:pt x="1344" y="2448"/>
                </a:cubicBezTo>
                <a:cubicBezTo>
                  <a:pt x="1344" y="1888"/>
                  <a:pt x="1809" y="1440"/>
                  <a:pt x="2370" y="1440"/>
                </a:cubicBezTo>
                <a:cubicBezTo>
                  <a:pt x="2930" y="1440"/>
                  <a:pt x="3394" y="1888"/>
                  <a:pt x="3394" y="2448"/>
                </a:cubicBezTo>
                <a:close/>
                <a:moveTo>
                  <a:pt x="1841" y="2448"/>
                </a:moveTo>
                <a:cubicBezTo>
                  <a:pt x="1841" y="2497"/>
                  <a:pt x="1873" y="2528"/>
                  <a:pt x="1921" y="2528"/>
                </a:cubicBezTo>
                <a:cubicBezTo>
                  <a:pt x="2867" y="2528"/>
                  <a:pt x="2551" y="2528"/>
                  <a:pt x="2867" y="2528"/>
                </a:cubicBezTo>
                <a:cubicBezTo>
                  <a:pt x="2913" y="2528"/>
                  <a:pt x="2945" y="2497"/>
                  <a:pt x="2945" y="2448"/>
                </a:cubicBezTo>
                <a:cubicBezTo>
                  <a:pt x="2945" y="2417"/>
                  <a:pt x="2913" y="2368"/>
                  <a:pt x="2867" y="2368"/>
                </a:cubicBezTo>
                <a:cubicBezTo>
                  <a:pt x="1921" y="2368"/>
                  <a:pt x="2236" y="2368"/>
                  <a:pt x="1921" y="2368"/>
                </a:cubicBezTo>
                <a:cubicBezTo>
                  <a:pt x="1873" y="2368"/>
                  <a:pt x="1841" y="2417"/>
                  <a:pt x="1841" y="2448"/>
                </a:cubicBezTo>
                <a:close/>
                <a:moveTo>
                  <a:pt x="4691" y="912"/>
                </a:moveTo>
                <a:lnTo>
                  <a:pt x="2401" y="0"/>
                </a:lnTo>
                <a:lnTo>
                  <a:pt x="2338" y="0"/>
                </a:lnTo>
                <a:cubicBezTo>
                  <a:pt x="63" y="912"/>
                  <a:pt x="822" y="608"/>
                  <a:pt x="63" y="912"/>
                </a:cubicBezTo>
                <a:cubicBezTo>
                  <a:pt x="17" y="928"/>
                  <a:pt x="0" y="960"/>
                  <a:pt x="0" y="992"/>
                </a:cubicBezTo>
                <a:cubicBezTo>
                  <a:pt x="255" y="2848"/>
                  <a:pt x="1057" y="4305"/>
                  <a:pt x="2321" y="5233"/>
                </a:cubicBezTo>
                <a:cubicBezTo>
                  <a:pt x="2338" y="5250"/>
                  <a:pt x="2353" y="5250"/>
                  <a:pt x="2370" y="5250"/>
                </a:cubicBezTo>
                <a:cubicBezTo>
                  <a:pt x="2386" y="5250"/>
                  <a:pt x="2401" y="5250"/>
                  <a:pt x="2418" y="5233"/>
                </a:cubicBezTo>
                <a:cubicBezTo>
                  <a:pt x="3682" y="4305"/>
                  <a:pt x="4482" y="2848"/>
                  <a:pt x="4739" y="992"/>
                </a:cubicBezTo>
                <a:cubicBezTo>
                  <a:pt x="4739" y="960"/>
                  <a:pt x="4723" y="928"/>
                  <a:pt x="4691" y="912"/>
                </a:cubicBezTo>
                <a:close/>
                <a:moveTo>
                  <a:pt x="2370" y="5073"/>
                </a:moveTo>
                <a:cubicBezTo>
                  <a:pt x="1184" y="4177"/>
                  <a:pt x="432" y="2785"/>
                  <a:pt x="175" y="1040"/>
                </a:cubicBezTo>
                <a:lnTo>
                  <a:pt x="2370" y="160"/>
                </a:lnTo>
                <a:lnTo>
                  <a:pt x="4564" y="1040"/>
                </a:lnTo>
                <a:cubicBezTo>
                  <a:pt x="4307" y="2785"/>
                  <a:pt x="3555" y="4177"/>
                  <a:pt x="2370" y="507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7" name="Freeform: Shape 13">
            <a:extLst>
              <a:ext uri="{FF2B5EF4-FFF2-40B4-BE49-F238E27FC236}">
                <a16:creationId xmlns:a16="http://schemas.microsoft.com/office/drawing/2014/main" id="{67B1449D-4038-A940-AE04-C8CCB8569B05}"/>
              </a:ext>
            </a:extLst>
          </p:cNvPr>
          <p:cNvSpPr/>
          <p:nvPr/>
        </p:nvSpPr>
        <p:spPr>
          <a:xfrm>
            <a:off x="1757848" y="9570077"/>
            <a:ext cx="1706760" cy="1890000"/>
          </a:xfrm>
          <a:custGeom>
            <a:avLst/>
            <a:gdLst/>
            <a:ahLst/>
            <a:cxnLst>
              <a:cxn ang="3cd4">
                <a:pos x="hc" y="t"/>
              </a:cxn>
              <a:cxn ang="cd2">
                <a:pos x="l" y="vc"/>
              </a:cxn>
              <a:cxn ang="cd4">
                <a:pos x="hc" y="b"/>
              </a:cxn>
              <a:cxn ang="0">
                <a:pos x="r" y="vc"/>
              </a:cxn>
            </a:cxnLst>
            <a:rect l="l" t="t" r="r" b="b"/>
            <a:pathLst>
              <a:path w="4742" h="5251">
                <a:moveTo>
                  <a:pt x="2290" y="1022"/>
                </a:moveTo>
                <a:lnTo>
                  <a:pt x="2018" y="1854"/>
                </a:lnTo>
                <a:lnTo>
                  <a:pt x="1154" y="1854"/>
                </a:lnTo>
                <a:cubicBezTo>
                  <a:pt x="1106" y="1854"/>
                  <a:pt x="1089" y="1886"/>
                  <a:pt x="1074" y="1918"/>
                </a:cubicBezTo>
                <a:cubicBezTo>
                  <a:pt x="1058" y="1951"/>
                  <a:pt x="1074" y="1999"/>
                  <a:pt x="1106" y="2014"/>
                </a:cubicBezTo>
                <a:lnTo>
                  <a:pt x="1810" y="2448"/>
                </a:lnTo>
                <a:lnTo>
                  <a:pt x="1538" y="3184"/>
                </a:lnTo>
                <a:cubicBezTo>
                  <a:pt x="1521" y="3215"/>
                  <a:pt x="1538" y="3247"/>
                  <a:pt x="1570" y="3280"/>
                </a:cubicBezTo>
                <a:cubicBezTo>
                  <a:pt x="1603" y="3295"/>
                  <a:pt x="1635" y="3295"/>
                  <a:pt x="1666" y="3280"/>
                </a:cubicBezTo>
                <a:lnTo>
                  <a:pt x="2372" y="2768"/>
                </a:lnTo>
                <a:lnTo>
                  <a:pt x="3076" y="3312"/>
                </a:lnTo>
                <a:cubicBezTo>
                  <a:pt x="3093" y="3312"/>
                  <a:pt x="3108" y="3327"/>
                  <a:pt x="3124" y="3327"/>
                </a:cubicBezTo>
                <a:cubicBezTo>
                  <a:pt x="3139" y="3327"/>
                  <a:pt x="3156" y="3312"/>
                  <a:pt x="3173" y="3312"/>
                </a:cubicBezTo>
                <a:cubicBezTo>
                  <a:pt x="3204" y="3295"/>
                  <a:pt x="3219" y="3247"/>
                  <a:pt x="3204" y="3215"/>
                </a:cubicBezTo>
                <a:cubicBezTo>
                  <a:pt x="2931" y="2431"/>
                  <a:pt x="3022" y="2693"/>
                  <a:pt x="2931" y="2431"/>
                </a:cubicBezTo>
                <a:lnTo>
                  <a:pt x="3636" y="2014"/>
                </a:lnTo>
                <a:cubicBezTo>
                  <a:pt x="3668" y="1999"/>
                  <a:pt x="3685" y="1951"/>
                  <a:pt x="3668" y="1918"/>
                </a:cubicBezTo>
                <a:cubicBezTo>
                  <a:pt x="3653" y="1886"/>
                  <a:pt x="3620" y="1854"/>
                  <a:pt x="3588" y="1854"/>
                </a:cubicBezTo>
                <a:lnTo>
                  <a:pt x="2724" y="1854"/>
                </a:lnTo>
                <a:lnTo>
                  <a:pt x="2452" y="1022"/>
                </a:lnTo>
                <a:cubicBezTo>
                  <a:pt x="2435" y="990"/>
                  <a:pt x="2404" y="973"/>
                  <a:pt x="2372" y="973"/>
                </a:cubicBezTo>
                <a:cubicBezTo>
                  <a:pt x="2339" y="973"/>
                  <a:pt x="2307" y="990"/>
                  <a:pt x="2290" y="1022"/>
                </a:cubicBezTo>
                <a:close/>
                <a:moveTo>
                  <a:pt x="2579" y="1966"/>
                </a:moveTo>
                <a:cubicBezTo>
                  <a:pt x="2596" y="1999"/>
                  <a:pt x="2627" y="2014"/>
                  <a:pt x="2659" y="2014"/>
                </a:cubicBezTo>
                <a:lnTo>
                  <a:pt x="3299" y="2014"/>
                </a:lnTo>
                <a:lnTo>
                  <a:pt x="2804" y="2335"/>
                </a:lnTo>
                <a:cubicBezTo>
                  <a:pt x="2772" y="2351"/>
                  <a:pt x="2756" y="2400"/>
                  <a:pt x="2756" y="2431"/>
                </a:cubicBezTo>
                <a:cubicBezTo>
                  <a:pt x="2964" y="3024"/>
                  <a:pt x="2895" y="2826"/>
                  <a:pt x="2964" y="3024"/>
                </a:cubicBezTo>
                <a:lnTo>
                  <a:pt x="2419" y="2607"/>
                </a:lnTo>
                <a:cubicBezTo>
                  <a:pt x="2404" y="2607"/>
                  <a:pt x="2387" y="2592"/>
                  <a:pt x="2372" y="2592"/>
                </a:cubicBezTo>
                <a:cubicBezTo>
                  <a:pt x="2355" y="2592"/>
                  <a:pt x="2339" y="2607"/>
                  <a:pt x="2324" y="2607"/>
                </a:cubicBezTo>
                <a:lnTo>
                  <a:pt x="1778" y="2992"/>
                </a:lnTo>
                <a:lnTo>
                  <a:pt x="1987" y="2431"/>
                </a:lnTo>
                <a:cubicBezTo>
                  <a:pt x="1987" y="2400"/>
                  <a:pt x="1970" y="2366"/>
                  <a:pt x="1938" y="2335"/>
                </a:cubicBezTo>
                <a:lnTo>
                  <a:pt x="1426" y="2014"/>
                </a:lnTo>
                <a:lnTo>
                  <a:pt x="2083" y="2014"/>
                </a:lnTo>
                <a:cubicBezTo>
                  <a:pt x="2115" y="2014"/>
                  <a:pt x="2147" y="1999"/>
                  <a:pt x="2164" y="1966"/>
                </a:cubicBezTo>
                <a:lnTo>
                  <a:pt x="2372" y="1310"/>
                </a:lnTo>
                <a:close/>
                <a:moveTo>
                  <a:pt x="4694" y="910"/>
                </a:moveTo>
                <a:lnTo>
                  <a:pt x="2404" y="13"/>
                </a:lnTo>
                <a:cubicBezTo>
                  <a:pt x="2387" y="-4"/>
                  <a:pt x="2355" y="-4"/>
                  <a:pt x="2339" y="13"/>
                </a:cubicBezTo>
                <a:lnTo>
                  <a:pt x="48" y="910"/>
                </a:lnTo>
                <a:cubicBezTo>
                  <a:pt x="17" y="925"/>
                  <a:pt x="0" y="957"/>
                  <a:pt x="0" y="1005"/>
                </a:cubicBezTo>
                <a:cubicBezTo>
                  <a:pt x="257" y="2848"/>
                  <a:pt x="1058" y="4321"/>
                  <a:pt x="2324" y="5234"/>
                </a:cubicBezTo>
                <a:cubicBezTo>
                  <a:pt x="2339" y="5251"/>
                  <a:pt x="2355" y="5251"/>
                  <a:pt x="2372" y="5251"/>
                </a:cubicBezTo>
                <a:cubicBezTo>
                  <a:pt x="2387" y="5251"/>
                  <a:pt x="2404" y="5251"/>
                  <a:pt x="2419" y="5234"/>
                </a:cubicBezTo>
                <a:cubicBezTo>
                  <a:pt x="3685" y="4321"/>
                  <a:pt x="4486" y="2848"/>
                  <a:pt x="4742" y="1005"/>
                </a:cubicBezTo>
                <a:cubicBezTo>
                  <a:pt x="4742" y="957"/>
                  <a:pt x="4726" y="925"/>
                  <a:pt x="4694" y="910"/>
                </a:cubicBezTo>
                <a:close/>
                <a:moveTo>
                  <a:pt x="2372" y="5074"/>
                </a:moveTo>
                <a:cubicBezTo>
                  <a:pt x="1186" y="4193"/>
                  <a:pt x="432" y="2800"/>
                  <a:pt x="177" y="1038"/>
                </a:cubicBezTo>
                <a:lnTo>
                  <a:pt x="2372" y="173"/>
                </a:lnTo>
                <a:cubicBezTo>
                  <a:pt x="4566" y="1038"/>
                  <a:pt x="3834" y="750"/>
                  <a:pt x="4566" y="1038"/>
                </a:cubicBezTo>
                <a:cubicBezTo>
                  <a:pt x="4309" y="2800"/>
                  <a:pt x="3556" y="4193"/>
                  <a:pt x="2372" y="507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8" name="Freeform: Shape 14">
            <a:extLst>
              <a:ext uri="{FF2B5EF4-FFF2-40B4-BE49-F238E27FC236}">
                <a16:creationId xmlns:a16="http://schemas.microsoft.com/office/drawing/2014/main" id="{F1357B26-BFEB-D140-AA27-1C61F0D95B33}"/>
              </a:ext>
            </a:extLst>
          </p:cNvPr>
          <p:cNvSpPr/>
          <p:nvPr/>
        </p:nvSpPr>
        <p:spPr>
          <a:xfrm>
            <a:off x="6070950" y="9570077"/>
            <a:ext cx="1702440" cy="1890000"/>
          </a:xfrm>
          <a:custGeom>
            <a:avLst/>
            <a:gdLst/>
            <a:ahLst/>
            <a:cxnLst>
              <a:cxn ang="3cd4">
                <a:pos x="hc" y="t"/>
              </a:cxn>
              <a:cxn ang="cd2">
                <a:pos x="l" y="vc"/>
              </a:cxn>
              <a:cxn ang="cd4">
                <a:pos x="hc" y="b"/>
              </a:cxn>
              <a:cxn ang="0">
                <a:pos x="r" y="vc"/>
              </a:cxn>
            </a:cxnLst>
            <a:rect l="l" t="t" r="r" b="b"/>
            <a:pathLst>
              <a:path w="4730" h="5251">
                <a:moveTo>
                  <a:pt x="1382" y="3584"/>
                </a:moveTo>
                <a:cubicBezTo>
                  <a:pt x="1398" y="3616"/>
                  <a:pt x="1430" y="3632"/>
                  <a:pt x="1462" y="3632"/>
                </a:cubicBezTo>
                <a:lnTo>
                  <a:pt x="1478" y="3632"/>
                </a:lnTo>
                <a:cubicBezTo>
                  <a:pt x="1527" y="3616"/>
                  <a:pt x="1542" y="3584"/>
                  <a:pt x="1542" y="3536"/>
                </a:cubicBezTo>
                <a:cubicBezTo>
                  <a:pt x="1413" y="3152"/>
                  <a:pt x="1398" y="3024"/>
                  <a:pt x="1510" y="2752"/>
                </a:cubicBezTo>
                <a:cubicBezTo>
                  <a:pt x="1478" y="2655"/>
                  <a:pt x="1462" y="2560"/>
                  <a:pt x="1445" y="2463"/>
                </a:cubicBezTo>
                <a:cubicBezTo>
                  <a:pt x="1253" y="2960"/>
                  <a:pt x="1222" y="3072"/>
                  <a:pt x="1382" y="3584"/>
                </a:cubicBezTo>
                <a:close/>
                <a:moveTo>
                  <a:pt x="1413" y="2014"/>
                </a:moveTo>
                <a:cubicBezTo>
                  <a:pt x="1110" y="2128"/>
                  <a:pt x="965" y="2366"/>
                  <a:pt x="981" y="2768"/>
                </a:cubicBezTo>
                <a:cubicBezTo>
                  <a:pt x="981" y="2815"/>
                  <a:pt x="1013" y="2848"/>
                  <a:pt x="1061" y="2848"/>
                </a:cubicBezTo>
                <a:cubicBezTo>
                  <a:pt x="1093" y="2848"/>
                  <a:pt x="1141" y="2815"/>
                  <a:pt x="1141" y="2768"/>
                </a:cubicBezTo>
                <a:cubicBezTo>
                  <a:pt x="1125" y="2448"/>
                  <a:pt x="1222" y="2271"/>
                  <a:pt x="1413" y="2191"/>
                </a:cubicBezTo>
                <a:close/>
                <a:moveTo>
                  <a:pt x="1510" y="1631"/>
                </a:moveTo>
                <a:cubicBezTo>
                  <a:pt x="1317" y="1422"/>
                  <a:pt x="1253" y="1359"/>
                  <a:pt x="1285" y="1038"/>
                </a:cubicBezTo>
                <a:cubicBezTo>
                  <a:pt x="1285" y="1005"/>
                  <a:pt x="1253" y="957"/>
                  <a:pt x="1205" y="957"/>
                </a:cubicBezTo>
                <a:cubicBezTo>
                  <a:pt x="1173" y="957"/>
                  <a:pt x="1125" y="990"/>
                  <a:pt x="1125" y="1038"/>
                </a:cubicBezTo>
                <a:cubicBezTo>
                  <a:pt x="1093" y="1405"/>
                  <a:pt x="1190" y="1517"/>
                  <a:pt x="1398" y="1742"/>
                </a:cubicBezTo>
                <a:cubicBezTo>
                  <a:pt x="1413" y="1759"/>
                  <a:pt x="1445" y="1791"/>
                  <a:pt x="1462" y="1822"/>
                </a:cubicBezTo>
                <a:cubicBezTo>
                  <a:pt x="1478" y="1759"/>
                  <a:pt x="1510" y="1711"/>
                  <a:pt x="1542" y="1662"/>
                </a:cubicBezTo>
                <a:cubicBezTo>
                  <a:pt x="1527" y="1662"/>
                  <a:pt x="1527" y="1646"/>
                  <a:pt x="1510" y="1631"/>
                </a:cubicBezTo>
                <a:close/>
                <a:moveTo>
                  <a:pt x="3223" y="3536"/>
                </a:moveTo>
                <a:cubicBezTo>
                  <a:pt x="3208" y="3584"/>
                  <a:pt x="3240" y="3616"/>
                  <a:pt x="3272" y="3632"/>
                </a:cubicBezTo>
                <a:lnTo>
                  <a:pt x="3303" y="3632"/>
                </a:lnTo>
                <a:cubicBezTo>
                  <a:pt x="3335" y="3632"/>
                  <a:pt x="3368" y="3616"/>
                  <a:pt x="3383" y="3584"/>
                </a:cubicBezTo>
                <a:cubicBezTo>
                  <a:pt x="3544" y="3072"/>
                  <a:pt x="3512" y="2960"/>
                  <a:pt x="3320" y="2448"/>
                </a:cubicBezTo>
                <a:cubicBezTo>
                  <a:pt x="3303" y="2431"/>
                  <a:pt x="3303" y="2431"/>
                  <a:pt x="3288" y="2415"/>
                </a:cubicBezTo>
                <a:cubicBezTo>
                  <a:pt x="3272" y="2511"/>
                  <a:pt x="3257" y="2607"/>
                  <a:pt x="3240" y="2687"/>
                </a:cubicBezTo>
                <a:cubicBezTo>
                  <a:pt x="3352" y="3007"/>
                  <a:pt x="3352" y="3120"/>
                  <a:pt x="3223" y="3536"/>
                </a:cubicBezTo>
                <a:close/>
                <a:moveTo>
                  <a:pt x="3320" y="2174"/>
                </a:moveTo>
                <a:cubicBezTo>
                  <a:pt x="3544" y="2255"/>
                  <a:pt x="3624" y="2431"/>
                  <a:pt x="3624" y="2768"/>
                </a:cubicBezTo>
                <a:cubicBezTo>
                  <a:pt x="3624" y="2815"/>
                  <a:pt x="3657" y="2848"/>
                  <a:pt x="3704" y="2848"/>
                </a:cubicBezTo>
                <a:cubicBezTo>
                  <a:pt x="3752" y="2848"/>
                  <a:pt x="3784" y="2815"/>
                  <a:pt x="3784" y="2768"/>
                </a:cubicBezTo>
                <a:cubicBezTo>
                  <a:pt x="3784" y="2351"/>
                  <a:pt x="3640" y="2094"/>
                  <a:pt x="3303" y="1999"/>
                </a:cubicBezTo>
                <a:cubicBezTo>
                  <a:pt x="3303" y="2046"/>
                  <a:pt x="3320" y="2111"/>
                  <a:pt x="3320" y="2174"/>
                </a:cubicBezTo>
                <a:close/>
                <a:moveTo>
                  <a:pt x="3288" y="1839"/>
                </a:moveTo>
                <a:cubicBezTo>
                  <a:pt x="3320" y="1806"/>
                  <a:pt x="3335" y="1774"/>
                  <a:pt x="3368" y="1742"/>
                </a:cubicBezTo>
                <a:cubicBezTo>
                  <a:pt x="3577" y="1517"/>
                  <a:pt x="3672" y="1405"/>
                  <a:pt x="3640" y="1038"/>
                </a:cubicBezTo>
                <a:cubicBezTo>
                  <a:pt x="3640" y="990"/>
                  <a:pt x="3592" y="957"/>
                  <a:pt x="3544" y="957"/>
                </a:cubicBezTo>
                <a:cubicBezTo>
                  <a:pt x="3512" y="957"/>
                  <a:pt x="3480" y="1005"/>
                  <a:pt x="3480" y="1038"/>
                </a:cubicBezTo>
                <a:cubicBezTo>
                  <a:pt x="3495" y="1359"/>
                  <a:pt x="3448" y="1422"/>
                  <a:pt x="3257" y="1631"/>
                </a:cubicBezTo>
                <a:cubicBezTo>
                  <a:pt x="3240" y="1646"/>
                  <a:pt x="3223" y="1662"/>
                  <a:pt x="3208" y="1694"/>
                </a:cubicBezTo>
                <a:cubicBezTo>
                  <a:pt x="3240" y="1742"/>
                  <a:pt x="3257" y="1791"/>
                  <a:pt x="3272" y="1839"/>
                </a:cubicBezTo>
                <a:close/>
                <a:moveTo>
                  <a:pt x="2808" y="1566"/>
                </a:moveTo>
                <a:cubicBezTo>
                  <a:pt x="2760" y="1566"/>
                  <a:pt x="2726" y="1534"/>
                  <a:pt x="2726" y="1486"/>
                </a:cubicBezTo>
                <a:cubicBezTo>
                  <a:pt x="2726" y="1454"/>
                  <a:pt x="2711" y="1422"/>
                  <a:pt x="2711" y="1390"/>
                </a:cubicBezTo>
                <a:cubicBezTo>
                  <a:pt x="2599" y="1374"/>
                  <a:pt x="2488" y="1359"/>
                  <a:pt x="2359" y="1374"/>
                </a:cubicBezTo>
                <a:cubicBezTo>
                  <a:pt x="2231" y="1359"/>
                  <a:pt x="2119" y="1374"/>
                  <a:pt x="2022" y="1390"/>
                </a:cubicBezTo>
                <a:cubicBezTo>
                  <a:pt x="2006" y="1422"/>
                  <a:pt x="2006" y="1454"/>
                  <a:pt x="2006" y="1486"/>
                </a:cubicBezTo>
                <a:cubicBezTo>
                  <a:pt x="2006" y="1534"/>
                  <a:pt x="1974" y="1566"/>
                  <a:pt x="1925" y="1566"/>
                </a:cubicBezTo>
                <a:cubicBezTo>
                  <a:pt x="1879" y="1566"/>
                  <a:pt x="1847" y="1534"/>
                  <a:pt x="1847" y="1486"/>
                </a:cubicBezTo>
                <a:lnTo>
                  <a:pt x="1847" y="1439"/>
                </a:lnTo>
                <a:cubicBezTo>
                  <a:pt x="1734" y="1470"/>
                  <a:pt x="1654" y="1534"/>
                  <a:pt x="1590" y="1614"/>
                </a:cubicBezTo>
                <a:lnTo>
                  <a:pt x="1542" y="1662"/>
                </a:lnTo>
                <a:cubicBezTo>
                  <a:pt x="1510" y="1711"/>
                  <a:pt x="1478" y="1759"/>
                  <a:pt x="1462" y="1822"/>
                </a:cubicBezTo>
                <a:cubicBezTo>
                  <a:pt x="1445" y="1871"/>
                  <a:pt x="1430" y="1934"/>
                  <a:pt x="1413" y="2014"/>
                </a:cubicBezTo>
                <a:lnTo>
                  <a:pt x="1413" y="2191"/>
                </a:lnTo>
                <a:cubicBezTo>
                  <a:pt x="1413" y="2255"/>
                  <a:pt x="1430" y="2335"/>
                  <a:pt x="1430" y="2415"/>
                </a:cubicBezTo>
                <a:cubicBezTo>
                  <a:pt x="1445" y="2431"/>
                  <a:pt x="1445" y="2448"/>
                  <a:pt x="1445" y="2463"/>
                </a:cubicBezTo>
                <a:cubicBezTo>
                  <a:pt x="1462" y="2560"/>
                  <a:pt x="1478" y="2655"/>
                  <a:pt x="1510" y="2752"/>
                </a:cubicBezTo>
                <a:cubicBezTo>
                  <a:pt x="1670" y="3327"/>
                  <a:pt x="2006" y="3761"/>
                  <a:pt x="2343" y="3761"/>
                </a:cubicBezTo>
                <a:lnTo>
                  <a:pt x="2359" y="3744"/>
                </a:lnTo>
                <a:cubicBezTo>
                  <a:pt x="2374" y="3744"/>
                  <a:pt x="2374" y="3761"/>
                  <a:pt x="2391" y="3761"/>
                </a:cubicBezTo>
                <a:cubicBezTo>
                  <a:pt x="2743" y="3744"/>
                  <a:pt x="3080" y="3312"/>
                  <a:pt x="3240" y="2687"/>
                </a:cubicBezTo>
                <a:cubicBezTo>
                  <a:pt x="3257" y="2607"/>
                  <a:pt x="3272" y="2511"/>
                  <a:pt x="3288" y="2415"/>
                </a:cubicBezTo>
                <a:cubicBezTo>
                  <a:pt x="3303" y="2320"/>
                  <a:pt x="3303" y="2238"/>
                  <a:pt x="3320" y="2174"/>
                </a:cubicBezTo>
                <a:cubicBezTo>
                  <a:pt x="3320" y="2111"/>
                  <a:pt x="3303" y="2046"/>
                  <a:pt x="3303" y="1999"/>
                </a:cubicBezTo>
                <a:cubicBezTo>
                  <a:pt x="3303" y="1951"/>
                  <a:pt x="3288" y="1886"/>
                  <a:pt x="3272" y="1839"/>
                </a:cubicBezTo>
                <a:cubicBezTo>
                  <a:pt x="3257" y="1791"/>
                  <a:pt x="3240" y="1742"/>
                  <a:pt x="3208" y="1694"/>
                </a:cubicBezTo>
                <a:cubicBezTo>
                  <a:pt x="3192" y="1662"/>
                  <a:pt x="3160" y="1631"/>
                  <a:pt x="3143" y="1614"/>
                </a:cubicBezTo>
                <a:cubicBezTo>
                  <a:pt x="3080" y="1534"/>
                  <a:pt x="2983" y="1470"/>
                  <a:pt x="2871" y="1439"/>
                </a:cubicBezTo>
                <a:cubicBezTo>
                  <a:pt x="2871" y="1454"/>
                  <a:pt x="2888" y="1470"/>
                  <a:pt x="2888" y="1486"/>
                </a:cubicBezTo>
                <a:cubicBezTo>
                  <a:pt x="2888" y="1534"/>
                  <a:pt x="2840" y="1566"/>
                  <a:pt x="2808" y="1566"/>
                </a:cubicBezTo>
                <a:close/>
                <a:moveTo>
                  <a:pt x="3031" y="1711"/>
                </a:moveTo>
                <a:cubicBezTo>
                  <a:pt x="3143" y="1854"/>
                  <a:pt x="3175" y="2079"/>
                  <a:pt x="3128" y="2383"/>
                </a:cubicBezTo>
                <a:cubicBezTo>
                  <a:pt x="3031" y="3135"/>
                  <a:pt x="2648" y="3616"/>
                  <a:pt x="2374" y="3584"/>
                </a:cubicBezTo>
                <a:lnTo>
                  <a:pt x="2359" y="3584"/>
                </a:lnTo>
                <a:cubicBezTo>
                  <a:pt x="2071" y="3616"/>
                  <a:pt x="1702" y="3135"/>
                  <a:pt x="1590" y="2383"/>
                </a:cubicBezTo>
                <a:cubicBezTo>
                  <a:pt x="1542" y="2079"/>
                  <a:pt x="1590" y="1854"/>
                  <a:pt x="1702" y="1711"/>
                </a:cubicBezTo>
                <a:cubicBezTo>
                  <a:pt x="1814" y="1582"/>
                  <a:pt x="2006" y="1534"/>
                  <a:pt x="2311" y="1534"/>
                </a:cubicBezTo>
                <a:lnTo>
                  <a:pt x="2359" y="1534"/>
                </a:lnTo>
                <a:cubicBezTo>
                  <a:pt x="2694" y="1517"/>
                  <a:pt x="2903" y="1582"/>
                  <a:pt x="3031" y="1711"/>
                </a:cubicBezTo>
                <a:close/>
                <a:moveTo>
                  <a:pt x="2679" y="1262"/>
                </a:moveTo>
                <a:cubicBezTo>
                  <a:pt x="2648" y="1262"/>
                  <a:pt x="2614" y="1245"/>
                  <a:pt x="2614" y="1230"/>
                </a:cubicBezTo>
                <a:cubicBezTo>
                  <a:pt x="2583" y="1197"/>
                  <a:pt x="2599" y="1134"/>
                  <a:pt x="2631" y="1117"/>
                </a:cubicBezTo>
                <a:cubicBezTo>
                  <a:pt x="2648" y="1102"/>
                  <a:pt x="2663" y="1102"/>
                  <a:pt x="2679" y="1085"/>
                </a:cubicBezTo>
                <a:cubicBezTo>
                  <a:pt x="2599" y="1022"/>
                  <a:pt x="2488" y="973"/>
                  <a:pt x="2359" y="973"/>
                </a:cubicBezTo>
                <a:cubicBezTo>
                  <a:pt x="2247" y="973"/>
                  <a:pt x="2134" y="1022"/>
                  <a:pt x="2039" y="1085"/>
                </a:cubicBezTo>
                <a:cubicBezTo>
                  <a:pt x="2054" y="1102"/>
                  <a:pt x="2071" y="1102"/>
                  <a:pt x="2086" y="1117"/>
                </a:cubicBezTo>
                <a:cubicBezTo>
                  <a:pt x="2134" y="1134"/>
                  <a:pt x="2151" y="1197"/>
                  <a:pt x="2119" y="1230"/>
                </a:cubicBezTo>
                <a:cubicBezTo>
                  <a:pt x="2102" y="1245"/>
                  <a:pt x="2071" y="1262"/>
                  <a:pt x="2054" y="1262"/>
                </a:cubicBezTo>
                <a:cubicBezTo>
                  <a:pt x="2039" y="1262"/>
                  <a:pt x="2022" y="1262"/>
                  <a:pt x="2006" y="1245"/>
                </a:cubicBezTo>
                <a:cubicBezTo>
                  <a:pt x="1991" y="1245"/>
                  <a:pt x="1959" y="1230"/>
                  <a:pt x="1942" y="1197"/>
                </a:cubicBezTo>
                <a:cubicBezTo>
                  <a:pt x="1894" y="1277"/>
                  <a:pt x="1862" y="1359"/>
                  <a:pt x="1847" y="1439"/>
                </a:cubicBezTo>
                <a:lnTo>
                  <a:pt x="1847" y="1486"/>
                </a:lnTo>
                <a:cubicBezTo>
                  <a:pt x="1847" y="1534"/>
                  <a:pt x="1879" y="1566"/>
                  <a:pt x="1925" y="1566"/>
                </a:cubicBezTo>
                <a:cubicBezTo>
                  <a:pt x="1974" y="1566"/>
                  <a:pt x="2006" y="1534"/>
                  <a:pt x="2006" y="1486"/>
                </a:cubicBezTo>
                <a:cubicBezTo>
                  <a:pt x="2006" y="1454"/>
                  <a:pt x="2006" y="1422"/>
                  <a:pt x="2022" y="1390"/>
                </a:cubicBezTo>
                <a:cubicBezTo>
                  <a:pt x="2071" y="1245"/>
                  <a:pt x="2199" y="1134"/>
                  <a:pt x="2359" y="1134"/>
                </a:cubicBezTo>
                <a:cubicBezTo>
                  <a:pt x="2519" y="1134"/>
                  <a:pt x="2663" y="1245"/>
                  <a:pt x="2711" y="1390"/>
                </a:cubicBezTo>
                <a:cubicBezTo>
                  <a:pt x="2711" y="1422"/>
                  <a:pt x="2726" y="1454"/>
                  <a:pt x="2726" y="1486"/>
                </a:cubicBezTo>
                <a:cubicBezTo>
                  <a:pt x="2726" y="1534"/>
                  <a:pt x="2760" y="1566"/>
                  <a:pt x="2808" y="1566"/>
                </a:cubicBezTo>
                <a:cubicBezTo>
                  <a:pt x="2840" y="1566"/>
                  <a:pt x="2888" y="1534"/>
                  <a:pt x="2888" y="1486"/>
                </a:cubicBezTo>
                <a:cubicBezTo>
                  <a:pt x="2888" y="1470"/>
                  <a:pt x="2871" y="1454"/>
                  <a:pt x="2871" y="1439"/>
                </a:cubicBezTo>
                <a:cubicBezTo>
                  <a:pt x="2871" y="1359"/>
                  <a:pt x="2840" y="1277"/>
                  <a:pt x="2791" y="1197"/>
                </a:cubicBezTo>
                <a:cubicBezTo>
                  <a:pt x="2760" y="1230"/>
                  <a:pt x="2743" y="1245"/>
                  <a:pt x="2711" y="1245"/>
                </a:cubicBezTo>
                <a:cubicBezTo>
                  <a:pt x="2711" y="1262"/>
                  <a:pt x="2694" y="1262"/>
                  <a:pt x="2679" y="1262"/>
                </a:cubicBezTo>
                <a:close/>
                <a:moveTo>
                  <a:pt x="2054" y="1262"/>
                </a:moveTo>
                <a:cubicBezTo>
                  <a:pt x="2071" y="1262"/>
                  <a:pt x="2102" y="1245"/>
                  <a:pt x="2119" y="1230"/>
                </a:cubicBezTo>
                <a:cubicBezTo>
                  <a:pt x="2151" y="1197"/>
                  <a:pt x="2134" y="1134"/>
                  <a:pt x="2086" y="1117"/>
                </a:cubicBezTo>
                <a:cubicBezTo>
                  <a:pt x="2071" y="1102"/>
                  <a:pt x="2054" y="1102"/>
                  <a:pt x="2039" y="1085"/>
                </a:cubicBezTo>
                <a:cubicBezTo>
                  <a:pt x="1862" y="973"/>
                  <a:pt x="1719" y="828"/>
                  <a:pt x="1719" y="782"/>
                </a:cubicBezTo>
                <a:cubicBezTo>
                  <a:pt x="1719" y="733"/>
                  <a:pt x="1685" y="685"/>
                  <a:pt x="1654" y="685"/>
                </a:cubicBezTo>
                <a:cubicBezTo>
                  <a:pt x="1605" y="670"/>
                  <a:pt x="1559" y="701"/>
                  <a:pt x="1559" y="750"/>
                </a:cubicBezTo>
                <a:cubicBezTo>
                  <a:pt x="1527" y="910"/>
                  <a:pt x="1765" y="1102"/>
                  <a:pt x="1942" y="1197"/>
                </a:cubicBezTo>
                <a:cubicBezTo>
                  <a:pt x="1959" y="1230"/>
                  <a:pt x="1991" y="1245"/>
                  <a:pt x="2006" y="1245"/>
                </a:cubicBezTo>
                <a:cubicBezTo>
                  <a:pt x="2022" y="1262"/>
                  <a:pt x="2039" y="1262"/>
                  <a:pt x="2054" y="1262"/>
                </a:cubicBezTo>
                <a:close/>
                <a:moveTo>
                  <a:pt x="2679" y="1085"/>
                </a:moveTo>
                <a:cubicBezTo>
                  <a:pt x="2663" y="1102"/>
                  <a:pt x="2648" y="1102"/>
                  <a:pt x="2631" y="1117"/>
                </a:cubicBezTo>
                <a:cubicBezTo>
                  <a:pt x="2599" y="1134"/>
                  <a:pt x="2583" y="1197"/>
                  <a:pt x="2614" y="1230"/>
                </a:cubicBezTo>
                <a:cubicBezTo>
                  <a:pt x="2614" y="1245"/>
                  <a:pt x="2648" y="1262"/>
                  <a:pt x="2679" y="1262"/>
                </a:cubicBezTo>
                <a:cubicBezTo>
                  <a:pt x="2694" y="1262"/>
                  <a:pt x="2711" y="1262"/>
                  <a:pt x="2711" y="1245"/>
                </a:cubicBezTo>
                <a:cubicBezTo>
                  <a:pt x="2743" y="1245"/>
                  <a:pt x="2760" y="1230"/>
                  <a:pt x="2791" y="1197"/>
                </a:cubicBezTo>
                <a:cubicBezTo>
                  <a:pt x="2951" y="1102"/>
                  <a:pt x="3192" y="910"/>
                  <a:pt x="3175" y="750"/>
                </a:cubicBezTo>
                <a:cubicBezTo>
                  <a:pt x="3160" y="701"/>
                  <a:pt x="3128" y="670"/>
                  <a:pt x="3080" y="685"/>
                </a:cubicBezTo>
                <a:cubicBezTo>
                  <a:pt x="3031" y="685"/>
                  <a:pt x="3000" y="733"/>
                  <a:pt x="3015" y="782"/>
                </a:cubicBezTo>
                <a:cubicBezTo>
                  <a:pt x="3015" y="828"/>
                  <a:pt x="2855" y="973"/>
                  <a:pt x="2679" y="1085"/>
                </a:cubicBezTo>
                <a:close/>
                <a:moveTo>
                  <a:pt x="4681" y="910"/>
                </a:moveTo>
                <a:lnTo>
                  <a:pt x="2391" y="13"/>
                </a:lnTo>
                <a:cubicBezTo>
                  <a:pt x="2374" y="-4"/>
                  <a:pt x="2359" y="-4"/>
                  <a:pt x="2326" y="13"/>
                </a:cubicBezTo>
                <a:lnTo>
                  <a:pt x="52" y="910"/>
                </a:lnTo>
                <a:cubicBezTo>
                  <a:pt x="21" y="925"/>
                  <a:pt x="-11" y="957"/>
                  <a:pt x="4" y="1005"/>
                </a:cubicBezTo>
                <a:cubicBezTo>
                  <a:pt x="261" y="2848"/>
                  <a:pt x="1061" y="4321"/>
                  <a:pt x="2311" y="5234"/>
                </a:cubicBezTo>
                <a:cubicBezTo>
                  <a:pt x="2326" y="5251"/>
                  <a:pt x="2343" y="5251"/>
                  <a:pt x="2359" y="5251"/>
                </a:cubicBezTo>
                <a:cubicBezTo>
                  <a:pt x="2374" y="5251"/>
                  <a:pt x="2391" y="5251"/>
                  <a:pt x="2406" y="5234"/>
                </a:cubicBezTo>
                <a:cubicBezTo>
                  <a:pt x="3672" y="4321"/>
                  <a:pt x="4473" y="2848"/>
                  <a:pt x="4730" y="1005"/>
                </a:cubicBezTo>
                <a:cubicBezTo>
                  <a:pt x="4730" y="957"/>
                  <a:pt x="4713" y="925"/>
                  <a:pt x="4681" y="910"/>
                </a:cubicBezTo>
                <a:close/>
                <a:moveTo>
                  <a:pt x="2359" y="5074"/>
                </a:moveTo>
                <a:cubicBezTo>
                  <a:pt x="1173" y="4193"/>
                  <a:pt x="421" y="2800"/>
                  <a:pt x="164" y="1038"/>
                </a:cubicBezTo>
                <a:lnTo>
                  <a:pt x="2359" y="173"/>
                </a:lnTo>
                <a:lnTo>
                  <a:pt x="4569" y="1038"/>
                </a:lnTo>
                <a:cubicBezTo>
                  <a:pt x="4313" y="2800"/>
                  <a:pt x="3544" y="4193"/>
                  <a:pt x="2359" y="507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9" name="Freeform: Shape 16">
            <a:extLst>
              <a:ext uri="{FF2B5EF4-FFF2-40B4-BE49-F238E27FC236}">
                <a16:creationId xmlns:a16="http://schemas.microsoft.com/office/drawing/2014/main" id="{BAA6E026-82AB-D14B-A8EB-76E38E007259}"/>
              </a:ext>
            </a:extLst>
          </p:cNvPr>
          <p:cNvSpPr/>
          <p:nvPr/>
        </p:nvSpPr>
        <p:spPr>
          <a:xfrm>
            <a:off x="17406300" y="9570077"/>
            <a:ext cx="1702440" cy="1889640"/>
          </a:xfrm>
          <a:custGeom>
            <a:avLst/>
            <a:gdLst/>
            <a:ahLst/>
            <a:cxnLst>
              <a:cxn ang="3cd4">
                <a:pos x="hc" y="t"/>
              </a:cxn>
              <a:cxn ang="cd2">
                <a:pos x="l" y="vc"/>
              </a:cxn>
              <a:cxn ang="cd4">
                <a:pos x="hc" y="b"/>
              </a:cxn>
              <a:cxn ang="0">
                <a:pos x="r" y="vc"/>
              </a:cxn>
            </a:cxnLst>
            <a:rect l="l" t="t" r="r" b="b"/>
            <a:pathLst>
              <a:path w="4730" h="5250">
                <a:moveTo>
                  <a:pt x="1730" y="1921"/>
                </a:moveTo>
                <a:cubicBezTo>
                  <a:pt x="1730" y="1937"/>
                  <a:pt x="1730" y="1932"/>
                  <a:pt x="1730" y="1937"/>
                </a:cubicBezTo>
                <a:cubicBezTo>
                  <a:pt x="1730" y="2129"/>
                  <a:pt x="1810" y="2352"/>
                  <a:pt x="2371" y="2466"/>
                </a:cubicBezTo>
                <a:cubicBezTo>
                  <a:pt x="2788" y="2561"/>
                  <a:pt x="2820" y="2657"/>
                  <a:pt x="2820" y="2769"/>
                </a:cubicBezTo>
                <a:cubicBezTo>
                  <a:pt x="2820" y="2786"/>
                  <a:pt x="2820" y="2780"/>
                  <a:pt x="2820" y="2786"/>
                </a:cubicBezTo>
                <a:cubicBezTo>
                  <a:pt x="2820" y="2946"/>
                  <a:pt x="2659" y="3074"/>
                  <a:pt x="2419" y="3074"/>
                </a:cubicBezTo>
                <a:cubicBezTo>
                  <a:pt x="2211" y="3074"/>
                  <a:pt x="2019" y="2994"/>
                  <a:pt x="1859" y="2832"/>
                </a:cubicBezTo>
                <a:cubicBezTo>
                  <a:pt x="1844" y="2817"/>
                  <a:pt x="1827" y="2817"/>
                  <a:pt x="1795" y="2817"/>
                </a:cubicBezTo>
                <a:cubicBezTo>
                  <a:pt x="1778" y="2817"/>
                  <a:pt x="1762" y="2832"/>
                  <a:pt x="1747" y="2849"/>
                </a:cubicBezTo>
                <a:lnTo>
                  <a:pt x="1682" y="2897"/>
                </a:lnTo>
                <a:cubicBezTo>
                  <a:pt x="1667" y="2914"/>
                  <a:pt x="1667" y="2946"/>
                  <a:pt x="1667" y="2961"/>
                </a:cubicBezTo>
                <a:cubicBezTo>
                  <a:pt x="1667" y="2977"/>
                  <a:pt x="1682" y="2994"/>
                  <a:pt x="1698" y="3009"/>
                </a:cubicBezTo>
                <a:cubicBezTo>
                  <a:pt x="1907" y="3218"/>
                  <a:pt x="2147" y="3314"/>
                  <a:pt x="2419" y="3314"/>
                </a:cubicBezTo>
                <a:cubicBezTo>
                  <a:pt x="2804" y="3314"/>
                  <a:pt x="3076" y="3089"/>
                  <a:pt x="3076" y="2769"/>
                </a:cubicBezTo>
                <a:cubicBezTo>
                  <a:pt x="3076" y="2561"/>
                  <a:pt x="2996" y="2352"/>
                  <a:pt x="2436" y="2241"/>
                </a:cubicBezTo>
                <a:cubicBezTo>
                  <a:pt x="2002" y="2146"/>
                  <a:pt x="1970" y="2049"/>
                  <a:pt x="1970" y="1921"/>
                </a:cubicBezTo>
                <a:cubicBezTo>
                  <a:pt x="1970" y="1744"/>
                  <a:pt x="2164" y="1649"/>
                  <a:pt x="2356" y="1649"/>
                </a:cubicBezTo>
                <a:cubicBezTo>
                  <a:pt x="2531" y="1649"/>
                  <a:pt x="2691" y="1697"/>
                  <a:pt x="2836" y="1825"/>
                </a:cubicBezTo>
                <a:cubicBezTo>
                  <a:pt x="2851" y="1825"/>
                  <a:pt x="2868" y="1840"/>
                  <a:pt x="2885" y="1840"/>
                </a:cubicBezTo>
                <a:cubicBezTo>
                  <a:pt x="2916" y="1825"/>
                  <a:pt x="2931" y="1825"/>
                  <a:pt x="2948" y="1809"/>
                </a:cubicBezTo>
                <a:lnTo>
                  <a:pt x="2996" y="1744"/>
                </a:lnTo>
                <a:cubicBezTo>
                  <a:pt x="3028" y="1697"/>
                  <a:pt x="3011" y="1649"/>
                  <a:pt x="2980" y="1632"/>
                </a:cubicBezTo>
                <a:cubicBezTo>
                  <a:pt x="2804" y="1489"/>
                  <a:pt x="2596" y="1409"/>
                  <a:pt x="2356" y="1409"/>
                </a:cubicBezTo>
                <a:cubicBezTo>
                  <a:pt x="2002" y="1409"/>
                  <a:pt x="1730" y="1632"/>
                  <a:pt x="1730" y="1921"/>
                </a:cubicBezTo>
                <a:close/>
                <a:moveTo>
                  <a:pt x="4678" y="912"/>
                </a:moveTo>
                <a:lnTo>
                  <a:pt x="2402" y="0"/>
                </a:lnTo>
                <a:lnTo>
                  <a:pt x="2339" y="0"/>
                </a:lnTo>
                <a:lnTo>
                  <a:pt x="48" y="912"/>
                </a:lnTo>
                <a:cubicBezTo>
                  <a:pt x="17" y="929"/>
                  <a:pt x="0" y="960"/>
                  <a:pt x="0" y="1009"/>
                </a:cubicBezTo>
                <a:cubicBezTo>
                  <a:pt x="257" y="2849"/>
                  <a:pt x="1058" y="4323"/>
                  <a:pt x="2322" y="5235"/>
                </a:cubicBezTo>
                <a:cubicBezTo>
                  <a:pt x="2339" y="5250"/>
                  <a:pt x="2356" y="5250"/>
                  <a:pt x="2371" y="5250"/>
                </a:cubicBezTo>
                <a:cubicBezTo>
                  <a:pt x="2387" y="5250"/>
                  <a:pt x="2402" y="5250"/>
                  <a:pt x="2419" y="5235"/>
                </a:cubicBezTo>
                <a:cubicBezTo>
                  <a:pt x="3669" y="4323"/>
                  <a:pt x="4486" y="2849"/>
                  <a:pt x="4726" y="1009"/>
                </a:cubicBezTo>
                <a:cubicBezTo>
                  <a:pt x="4741" y="960"/>
                  <a:pt x="4710" y="929"/>
                  <a:pt x="4678" y="912"/>
                </a:cubicBezTo>
                <a:close/>
                <a:moveTo>
                  <a:pt x="2371" y="5075"/>
                </a:moveTo>
                <a:cubicBezTo>
                  <a:pt x="1186" y="4194"/>
                  <a:pt x="417" y="2801"/>
                  <a:pt x="177" y="1040"/>
                </a:cubicBezTo>
                <a:lnTo>
                  <a:pt x="2371" y="160"/>
                </a:lnTo>
                <a:lnTo>
                  <a:pt x="4566" y="1040"/>
                </a:lnTo>
                <a:cubicBezTo>
                  <a:pt x="4309" y="2801"/>
                  <a:pt x="3557" y="4194"/>
                  <a:pt x="2371" y="507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0" name="Freeform: Shape 17">
            <a:extLst>
              <a:ext uri="{FF2B5EF4-FFF2-40B4-BE49-F238E27FC236}">
                <a16:creationId xmlns:a16="http://schemas.microsoft.com/office/drawing/2014/main" id="{C40BBFF6-DD06-2747-8264-3C9801554493}"/>
              </a:ext>
            </a:extLst>
          </p:cNvPr>
          <p:cNvSpPr/>
          <p:nvPr/>
        </p:nvSpPr>
        <p:spPr>
          <a:xfrm>
            <a:off x="21151534" y="10046144"/>
            <a:ext cx="1713240" cy="1374839"/>
          </a:xfrm>
          <a:custGeom>
            <a:avLst/>
            <a:gdLst/>
            <a:ahLst/>
            <a:cxnLst>
              <a:cxn ang="3cd4">
                <a:pos x="hc" y="t"/>
              </a:cxn>
              <a:cxn ang="cd2">
                <a:pos x="l" y="vc"/>
              </a:cxn>
              <a:cxn ang="cd4">
                <a:pos x="hc" y="b"/>
              </a:cxn>
              <a:cxn ang="0">
                <a:pos x="r" y="vc"/>
              </a:cxn>
            </a:cxnLst>
            <a:rect l="l" t="t" r="r" b="b"/>
            <a:pathLst>
              <a:path w="4760" h="3820">
                <a:moveTo>
                  <a:pt x="4282" y="0"/>
                </a:moveTo>
                <a:lnTo>
                  <a:pt x="476" y="0"/>
                </a:lnTo>
                <a:cubicBezTo>
                  <a:pt x="206" y="0"/>
                  <a:pt x="0" y="222"/>
                  <a:pt x="0" y="477"/>
                </a:cubicBezTo>
                <a:lnTo>
                  <a:pt x="0" y="2865"/>
                </a:lnTo>
                <a:cubicBezTo>
                  <a:pt x="0" y="3120"/>
                  <a:pt x="206" y="3342"/>
                  <a:pt x="476" y="3342"/>
                </a:cubicBezTo>
                <a:lnTo>
                  <a:pt x="1894" y="3342"/>
                </a:lnTo>
                <a:lnTo>
                  <a:pt x="1894" y="3661"/>
                </a:lnTo>
                <a:lnTo>
                  <a:pt x="1576" y="3661"/>
                </a:lnTo>
                <a:cubicBezTo>
                  <a:pt x="1544" y="3661"/>
                  <a:pt x="1496" y="3692"/>
                  <a:pt x="1496" y="3740"/>
                </a:cubicBezTo>
                <a:cubicBezTo>
                  <a:pt x="1496" y="3772"/>
                  <a:pt x="1544" y="3820"/>
                  <a:pt x="1576" y="3820"/>
                </a:cubicBezTo>
                <a:lnTo>
                  <a:pt x="3168" y="3820"/>
                </a:lnTo>
                <a:cubicBezTo>
                  <a:pt x="3216" y="3820"/>
                  <a:pt x="3247" y="3772"/>
                  <a:pt x="3247" y="3740"/>
                </a:cubicBezTo>
                <a:cubicBezTo>
                  <a:pt x="3247" y="3692"/>
                  <a:pt x="3216" y="3661"/>
                  <a:pt x="3168" y="3661"/>
                </a:cubicBezTo>
                <a:lnTo>
                  <a:pt x="2849" y="3661"/>
                </a:lnTo>
                <a:lnTo>
                  <a:pt x="2849" y="3342"/>
                </a:lnTo>
                <a:lnTo>
                  <a:pt x="4282" y="3342"/>
                </a:lnTo>
                <a:cubicBezTo>
                  <a:pt x="4554" y="3342"/>
                  <a:pt x="4760" y="3120"/>
                  <a:pt x="4760" y="2865"/>
                </a:cubicBezTo>
                <a:lnTo>
                  <a:pt x="4760" y="477"/>
                </a:lnTo>
                <a:cubicBezTo>
                  <a:pt x="4760" y="222"/>
                  <a:pt x="4554" y="0"/>
                  <a:pt x="4282" y="0"/>
                </a:cubicBezTo>
                <a:close/>
                <a:moveTo>
                  <a:pt x="2690" y="3661"/>
                </a:moveTo>
                <a:lnTo>
                  <a:pt x="2053" y="3661"/>
                </a:lnTo>
                <a:lnTo>
                  <a:pt x="2053" y="3342"/>
                </a:lnTo>
                <a:lnTo>
                  <a:pt x="2690" y="3342"/>
                </a:lnTo>
                <a:close/>
                <a:moveTo>
                  <a:pt x="4601" y="2865"/>
                </a:moveTo>
                <a:cubicBezTo>
                  <a:pt x="4601" y="3041"/>
                  <a:pt x="4458" y="3183"/>
                  <a:pt x="4282" y="3183"/>
                </a:cubicBezTo>
                <a:lnTo>
                  <a:pt x="476" y="3183"/>
                </a:lnTo>
                <a:cubicBezTo>
                  <a:pt x="302" y="3183"/>
                  <a:pt x="158" y="3041"/>
                  <a:pt x="158" y="2865"/>
                </a:cubicBezTo>
                <a:lnTo>
                  <a:pt x="158" y="2706"/>
                </a:lnTo>
                <a:lnTo>
                  <a:pt x="4601" y="2706"/>
                </a:lnTo>
                <a:close/>
                <a:moveTo>
                  <a:pt x="4601" y="2547"/>
                </a:moveTo>
                <a:lnTo>
                  <a:pt x="158" y="2547"/>
                </a:lnTo>
                <a:lnTo>
                  <a:pt x="158" y="477"/>
                </a:lnTo>
                <a:cubicBezTo>
                  <a:pt x="158" y="302"/>
                  <a:pt x="302" y="159"/>
                  <a:pt x="476" y="159"/>
                </a:cubicBezTo>
                <a:lnTo>
                  <a:pt x="4282" y="159"/>
                </a:lnTo>
                <a:cubicBezTo>
                  <a:pt x="4458" y="159"/>
                  <a:pt x="4601" y="302"/>
                  <a:pt x="4601" y="477"/>
                </a:cubicBezTo>
                <a:close/>
                <a:moveTo>
                  <a:pt x="3216" y="716"/>
                </a:moveTo>
                <a:lnTo>
                  <a:pt x="2403" y="398"/>
                </a:lnTo>
                <a:lnTo>
                  <a:pt x="2340" y="398"/>
                </a:lnTo>
                <a:lnTo>
                  <a:pt x="1544" y="716"/>
                </a:lnTo>
                <a:cubicBezTo>
                  <a:pt x="1511" y="733"/>
                  <a:pt x="1496" y="764"/>
                  <a:pt x="1496" y="811"/>
                </a:cubicBezTo>
                <a:cubicBezTo>
                  <a:pt x="1592" y="1464"/>
                  <a:pt x="1877" y="1989"/>
                  <a:pt x="2323" y="2324"/>
                </a:cubicBezTo>
                <a:cubicBezTo>
                  <a:pt x="2340" y="2339"/>
                  <a:pt x="2357" y="2339"/>
                  <a:pt x="2372" y="2339"/>
                </a:cubicBezTo>
                <a:cubicBezTo>
                  <a:pt x="2388" y="2339"/>
                  <a:pt x="2403" y="2339"/>
                  <a:pt x="2420" y="2324"/>
                </a:cubicBezTo>
                <a:cubicBezTo>
                  <a:pt x="2881" y="1989"/>
                  <a:pt x="3168" y="1464"/>
                  <a:pt x="3264" y="811"/>
                </a:cubicBezTo>
                <a:cubicBezTo>
                  <a:pt x="3264" y="764"/>
                  <a:pt x="3247" y="733"/>
                  <a:pt x="3216" y="716"/>
                </a:cubicBezTo>
                <a:close/>
                <a:moveTo>
                  <a:pt x="2372" y="2165"/>
                </a:moveTo>
                <a:cubicBezTo>
                  <a:pt x="2005" y="1862"/>
                  <a:pt x="1751" y="1416"/>
                  <a:pt x="1655" y="844"/>
                </a:cubicBezTo>
                <a:lnTo>
                  <a:pt x="2372" y="557"/>
                </a:lnTo>
                <a:lnTo>
                  <a:pt x="3088" y="844"/>
                </a:lnTo>
                <a:cubicBezTo>
                  <a:pt x="3008" y="1416"/>
                  <a:pt x="2755" y="1862"/>
                  <a:pt x="2372" y="216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1" name="Freeform: Shape 18">
            <a:extLst>
              <a:ext uri="{FF2B5EF4-FFF2-40B4-BE49-F238E27FC236}">
                <a16:creationId xmlns:a16="http://schemas.microsoft.com/office/drawing/2014/main" id="{9A487467-FB2E-6648-8615-F367A5010370}"/>
              </a:ext>
            </a:extLst>
          </p:cNvPr>
          <p:cNvSpPr/>
          <p:nvPr/>
        </p:nvSpPr>
        <p:spPr>
          <a:xfrm>
            <a:off x="10003633" y="9570077"/>
            <a:ext cx="1702440" cy="1890000"/>
          </a:xfrm>
          <a:custGeom>
            <a:avLst/>
            <a:gdLst/>
            <a:ahLst/>
            <a:cxnLst>
              <a:cxn ang="3cd4">
                <a:pos x="hc" y="t"/>
              </a:cxn>
              <a:cxn ang="cd2">
                <a:pos x="l" y="vc"/>
              </a:cxn>
              <a:cxn ang="cd4">
                <a:pos x="hc" y="b"/>
              </a:cxn>
              <a:cxn ang="0">
                <a:pos x="r" y="vc"/>
              </a:cxn>
            </a:cxnLst>
            <a:rect l="l" t="t" r="r" b="b"/>
            <a:pathLst>
              <a:path w="4730" h="5251">
                <a:moveTo>
                  <a:pt x="4677" y="910"/>
                </a:moveTo>
                <a:lnTo>
                  <a:pt x="2387" y="13"/>
                </a:lnTo>
                <a:cubicBezTo>
                  <a:pt x="2370" y="-4"/>
                  <a:pt x="2355" y="-4"/>
                  <a:pt x="2339" y="13"/>
                </a:cubicBezTo>
                <a:lnTo>
                  <a:pt x="48" y="910"/>
                </a:lnTo>
                <a:cubicBezTo>
                  <a:pt x="17" y="925"/>
                  <a:pt x="0" y="957"/>
                  <a:pt x="0" y="1005"/>
                </a:cubicBezTo>
                <a:cubicBezTo>
                  <a:pt x="257" y="2848"/>
                  <a:pt x="1058" y="4321"/>
                  <a:pt x="2322" y="5234"/>
                </a:cubicBezTo>
                <a:cubicBezTo>
                  <a:pt x="2339" y="5251"/>
                  <a:pt x="2355" y="5251"/>
                  <a:pt x="2370" y="5251"/>
                </a:cubicBezTo>
                <a:cubicBezTo>
                  <a:pt x="2387" y="5251"/>
                  <a:pt x="2402" y="5251"/>
                  <a:pt x="2419" y="5234"/>
                </a:cubicBezTo>
                <a:cubicBezTo>
                  <a:pt x="3668" y="4321"/>
                  <a:pt x="4469" y="2848"/>
                  <a:pt x="4726" y="1005"/>
                </a:cubicBezTo>
                <a:cubicBezTo>
                  <a:pt x="4741" y="957"/>
                  <a:pt x="4709" y="925"/>
                  <a:pt x="4677" y="910"/>
                </a:cubicBezTo>
                <a:close/>
                <a:moveTo>
                  <a:pt x="2370" y="5074"/>
                </a:moveTo>
                <a:cubicBezTo>
                  <a:pt x="1186" y="4193"/>
                  <a:pt x="417" y="2800"/>
                  <a:pt x="160" y="1038"/>
                </a:cubicBezTo>
                <a:lnTo>
                  <a:pt x="2370" y="173"/>
                </a:lnTo>
                <a:lnTo>
                  <a:pt x="4566" y="1038"/>
                </a:lnTo>
                <a:cubicBezTo>
                  <a:pt x="4309" y="2800"/>
                  <a:pt x="3556" y="4193"/>
                  <a:pt x="2370" y="5074"/>
                </a:cubicBezTo>
                <a:close/>
                <a:moveTo>
                  <a:pt x="2355" y="2687"/>
                </a:moveTo>
                <a:lnTo>
                  <a:pt x="2307" y="2672"/>
                </a:lnTo>
                <a:cubicBezTo>
                  <a:pt x="2307" y="2640"/>
                  <a:pt x="2290" y="2607"/>
                  <a:pt x="2290" y="2575"/>
                </a:cubicBezTo>
                <a:cubicBezTo>
                  <a:pt x="2339" y="2543"/>
                  <a:pt x="2323" y="2554"/>
                  <a:pt x="2339" y="2543"/>
                </a:cubicBezTo>
                <a:cubicBezTo>
                  <a:pt x="2355" y="2543"/>
                  <a:pt x="2355" y="2543"/>
                  <a:pt x="2370" y="2526"/>
                </a:cubicBezTo>
                <a:cubicBezTo>
                  <a:pt x="2402" y="2495"/>
                  <a:pt x="2402" y="2431"/>
                  <a:pt x="2387" y="2383"/>
                </a:cubicBezTo>
                <a:lnTo>
                  <a:pt x="2322" y="2271"/>
                </a:lnTo>
                <a:cubicBezTo>
                  <a:pt x="2307" y="2255"/>
                  <a:pt x="2275" y="2223"/>
                  <a:pt x="2242" y="2223"/>
                </a:cubicBezTo>
                <a:cubicBezTo>
                  <a:pt x="2210" y="2206"/>
                  <a:pt x="2179" y="2223"/>
                  <a:pt x="2162" y="2238"/>
                </a:cubicBezTo>
                <a:lnTo>
                  <a:pt x="2113" y="2255"/>
                </a:lnTo>
                <a:cubicBezTo>
                  <a:pt x="2082" y="2238"/>
                  <a:pt x="2067" y="2223"/>
                  <a:pt x="2035" y="2206"/>
                </a:cubicBezTo>
                <a:lnTo>
                  <a:pt x="2050" y="2143"/>
                </a:lnTo>
                <a:cubicBezTo>
                  <a:pt x="2067" y="2079"/>
                  <a:pt x="2035" y="2014"/>
                  <a:pt x="1970" y="1999"/>
                </a:cubicBezTo>
                <a:lnTo>
                  <a:pt x="1842" y="1966"/>
                </a:lnTo>
                <a:cubicBezTo>
                  <a:pt x="1810" y="1951"/>
                  <a:pt x="1762" y="1966"/>
                  <a:pt x="1730" y="1999"/>
                </a:cubicBezTo>
                <a:cubicBezTo>
                  <a:pt x="1715" y="2014"/>
                  <a:pt x="1698" y="2031"/>
                  <a:pt x="1698" y="2046"/>
                </a:cubicBezTo>
                <a:lnTo>
                  <a:pt x="1681" y="2111"/>
                </a:lnTo>
                <a:lnTo>
                  <a:pt x="1586" y="2111"/>
                </a:lnTo>
                <a:lnTo>
                  <a:pt x="1570" y="2079"/>
                </a:lnTo>
                <a:cubicBezTo>
                  <a:pt x="1553" y="2046"/>
                  <a:pt x="1521" y="2031"/>
                  <a:pt x="1490" y="2014"/>
                </a:cubicBezTo>
                <a:cubicBezTo>
                  <a:pt x="1458" y="1999"/>
                  <a:pt x="1426" y="2014"/>
                  <a:pt x="1393" y="2031"/>
                </a:cubicBezTo>
                <a:lnTo>
                  <a:pt x="1298" y="2094"/>
                </a:lnTo>
                <a:cubicBezTo>
                  <a:pt x="1281" y="2094"/>
                  <a:pt x="1281" y="2094"/>
                  <a:pt x="1266" y="2111"/>
                </a:cubicBezTo>
                <a:cubicBezTo>
                  <a:pt x="1233" y="2143"/>
                  <a:pt x="1218" y="2206"/>
                  <a:pt x="1249" y="2255"/>
                </a:cubicBezTo>
                <a:lnTo>
                  <a:pt x="1266" y="2303"/>
                </a:lnTo>
                <a:cubicBezTo>
                  <a:pt x="1249" y="2320"/>
                  <a:pt x="1233" y="2351"/>
                  <a:pt x="1218" y="2366"/>
                </a:cubicBezTo>
                <a:cubicBezTo>
                  <a:pt x="1169" y="2351"/>
                  <a:pt x="1185" y="2356"/>
                  <a:pt x="1169" y="2351"/>
                </a:cubicBezTo>
                <a:cubicBezTo>
                  <a:pt x="1121" y="2351"/>
                  <a:pt x="1073" y="2366"/>
                  <a:pt x="1041" y="2383"/>
                </a:cubicBezTo>
                <a:cubicBezTo>
                  <a:pt x="1026" y="2400"/>
                  <a:pt x="1026" y="2431"/>
                  <a:pt x="1009" y="2448"/>
                </a:cubicBezTo>
                <a:lnTo>
                  <a:pt x="978" y="2560"/>
                </a:lnTo>
                <a:cubicBezTo>
                  <a:pt x="978" y="2592"/>
                  <a:pt x="978" y="2623"/>
                  <a:pt x="993" y="2655"/>
                </a:cubicBezTo>
                <a:cubicBezTo>
                  <a:pt x="1009" y="2687"/>
                  <a:pt x="1041" y="2703"/>
                  <a:pt x="1073" y="2703"/>
                </a:cubicBezTo>
                <a:lnTo>
                  <a:pt x="1121" y="2720"/>
                </a:lnTo>
                <a:cubicBezTo>
                  <a:pt x="1121" y="2752"/>
                  <a:pt x="1121" y="2783"/>
                  <a:pt x="1138" y="2815"/>
                </a:cubicBezTo>
                <a:lnTo>
                  <a:pt x="1089" y="2848"/>
                </a:lnTo>
                <a:cubicBezTo>
                  <a:pt x="1073" y="2848"/>
                  <a:pt x="1073" y="2863"/>
                  <a:pt x="1058" y="2863"/>
                </a:cubicBezTo>
                <a:cubicBezTo>
                  <a:pt x="1026" y="2895"/>
                  <a:pt x="1009" y="2960"/>
                  <a:pt x="1041" y="3007"/>
                </a:cubicBezTo>
                <a:cubicBezTo>
                  <a:pt x="1104" y="3120"/>
                  <a:pt x="1083" y="3083"/>
                  <a:pt x="1104" y="3120"/>
                </a:cubicBezTo>
                <a:cubicBezTo>
                  <a:pt x="1121" y="3152"/>
                  <a:pt x="1138" y="3169"/>
                  <a:pt x="1169" y="3169"/>
                </a:cubicBezTo>
                <a:cubicBezTo>
                  <a:pt x="1201" y="3184"/>
                  <a:pt x="1233" y="3184"/>
                  <a:pt x="1266" y="3169"/>
                </a:cubicBezTo>
                <a:lnTo>
                  <a:pt x="1314" y="3135"/>
                </a:lnTo>
                <a:cubicBezTo>
                  <a:pt x="1329" y="3152"/>
                  <a:pt x="1361" y="3169"/>
                  <a:pt x="1393" y="3200"/>
                </a:cubicBezTo>
                <a:cubicBezTo>
                  <a:pt x="1378" y="3247"/>
                  <a:pt x="1383" y="3232"/>
                  <a:pt x="1378" y="3247"/>
                </a:cubicBezTo>
                <a:cubicBezTo>
                  <a:pt x="1361" y="3280"/>
                  <a:pt x="1361" y="3312"/>
                  <a:pt x="1378" y="3344"/>
                </a:cubicBezTo>
                <a:cubicBezTo>
                  <a:pt x="1393" y="3361"/>
                  <a:pt x="1426" y="3392"/>
                  <a:pt x="1458" y="3392"/>
                </a:cubicBezTo>
                <a:lnTo>
                  <a:pt x="1570" y="3424"/>
                </a:lnTo>
                <a:lnTo>
                  <a:pt x="1601" y="3424"/>
                </a:lnTo>
                <a:cubicBezTo>
                  <a:pt x="1635" y="3424"/>
                  <a:pt x="1666" y="3424"/>
                  <a:pt x="1698" y="3392"/>
                </a:cubicBezTo>
                <a:cubicBezTo>
                  <a:pt x="1715" y="3376"/>
                  <a:pt x="1715" y="3361"/>
                  <a:pt x="1730" y="3344"/>
                </a:cubicBezTo>
                <a:lnTo>
                  <a:pt x="1746" y="3295"/>
                </a:lnTo>
                <a:cubicBezTo>
                  <a:pt x="1778" y="3280"/>
                  <a:pt x="1793" y="3280"/>
                  <a:pt x="1827" y="3280"/>
                </a:cubicBezTo>
                <a:cubicBezTo>
                  <a:pt x="1858" y="3327"/>
                  <a:pt x="1848" y="3312"/>
                  <a:pt x="1858" y="3327"/>
                </a:cubicBezTo>
                <a:cubicBezTo>
                  <a:pt x="1873" y="3361"/>
                  <a:pt x="1907" y="3376"/>
                  <a:pt x="1938" y="3376"/>
                </a:cubicBezTo>
                <a:cubicBezTo>
                  <a:pt x="1970" y="3392"/>
                  <a:pt x="2002" y="3392"/>
                  <a:pt x="2018" y="3376"/>
                </a:cubicBezTo>
                <a:lnTo>
                  <a:pt x="2130" y="3312"/>
                </a:lnTo>
                <a:cubicBezTo>
                  <a:pt x="2147" y="3295"/>
                  <a:pt x="2147" y="3295"/>
                  <a:pt x="2162" y="3295"/>
                </a:cubicBezTo>
                <a:cubicBezTo>
                  <a:pt x="2194" y="3247"/>
                  <a:pt x="2210" y="3184"/>
                  <a:pt x="2179" y="3135"/>
                </a:cubicBezTo>
                <a:lnTo>
                  <a:pt x="2147" y="3104"/>
                </a:lnTo>
                <a:cubicBezTo>
                  <a:pt x="2162" y="3072"/>
                  <a:pt x="2194" y="3055"/>
                  <a:pt x="2210" y="3024"/>
                </a:cubicBezTo>
                <a:lnTo>
                  <a:pt x="2259" y="3040"/>
                </a:lnTo>
                <a:cubicBezTo>
                  <a:pt x="2307" y="3055"/>
                  <a:pt x="2339" y="3040"/>
                  <a:pt x="2370" y="3007"/>
                </a:cubicBezTo>
                <a:cubicBezTo>
                  <a:pt x="2387" y="2992"/>
                  <a:pt x="2402" y="2975"/>
                  <a:pt x="2402" y="2960"/>
                </a:cubicBezTo>
                <a:lnTo>
                  <a:pt x="2435" y="2832"/>
                </a:lnTo>
                <a:cubicBezTo>
                  <a:pt x="2450" y="2768"/>
                  <a:pt x="2419" y="2703"/>
                  <a:pt x="2355" y="2687"/>
                </a:cubicBezTo>
                <a:close/>
                <a:moveTo>
                  <a:pt x="2259" y="2880"/>
                </a:moveTo>
                <a:lnTo>
                  <a:pt x="2194" y="2848"/>
                </a:lnTo>
                <a:cubicBezTo>
                  <a:pt x="2147" y="2848"/>
                  <a:pt x="2113" y="2863"/>
                  <a:pt x="2098" y="2895"/>
                </a:cubicBezTo>
                <a:cubicBezTo>
                  <a:pt x="2082" y="2927"/>
                  <a:pt x="2050" y="2975"/>
                  <a:pt x="2018" y="3007"/>
                </a:cubicBezTo>
                <a:lnTo>
                  <a:pt x="2002" y="3024"/>
                </a:lnTo>
                <a:cubicBezTo>
                  <a:pt x="1970" y="3040"/>
                  <a:pt x="1955" y="3089"/>
                  <a:pt x="1987" y="3120"/>
                </a:cubicBezTo>
                <a:lnTo>
                  <a:pt x="2018" y="3184"/>
                </a:lnTo>
                <a:lnTo>
                  <a:pt x="1970" y="3215"/>
                </a:lnTo>
                <a:lnTo>
                  <a:pt x="1938" y="3152"/>
                </a:lnTo>
                <a:cubicBezTo>
                  <a:pt x="1922" y="3120"/>
                  <a:pt x="1873" y="3104"/>
                  <a:pt x="1842" y="3104"/>
                </a:cubicBezTo>
                <a:cubicBezTo>
                  <a:pt x="1793" y="3120"/>
                  <a:pt x="1746" y="3135"/>
                  <a:pt x="1681" y="3135"/>
                </a:cubicBezTo>
                <a:cubicBezTo>
                  <a:pt x="1650" y="3120"/>
                  <a:pt x="1618" y="3152"/>
                  <a:pt x="1601" y="3184"/>
                </a:cubicBezTo>
                <a:lnTo>
                  <a:pt x="1586" y="3264"/>
                </a:lnTo>
                <a:cubicBezTo>
                  <a:pt x="1538" y="3247"/>
                  <a:pt x="1554" y="3253"/>
                  <a:pt x="1538" y="3247"/>
                </a:cubicBezTo>
                <a:lnTo>
                  <a:pt x="1553" y="3169"/>
                </a:lnTo>
                <a:cubicBezTo>
                  <a:pt x="1570" y="3135"/>
                  <a:pt x="1553" y="3104"/>
                  <a:pt x="1521" y="3089"/>
                </a:cubicBezTo>
                <a:cubicBezTo>
                  <a:pt x="1473" y="3055"/>
                  <a:pt x="1426" y="3024"/>
                  <a:pt x="1393" y="2975"/>
                </a:cubicBezTo>
                <a:cubicBezTo>
                  <a:pt x="1361" y="2960"/>
                  <a:pt x="1314" y="2943"/>
                  <a:pt x="1281" y="2960"/>
                </a:cubicBezTo>
                <a:lnTo>
                  <a:pt x="1218" y="3007"/>
                </a:lnTo>
                <a:lnTo>
                  <a:pt x="1201" y="2960"/>
                </a:lnTo>
                <a:lnTo>
                  <a:pt x="1266" y="2927"/>
                </a:lnTo>
                <a:cubicBezTo>
                  <a:pt x="1298" y="2912"/>
                  <a:pt x="1314" y="2863"/>
                  <a:pt x="1298" y="2832"/>
                </a:cubicBezTo>
                <a:cubicBezTo>
                  <a:pt x="1281" y="2783"/>
                  <a:pt x="1281" y="2720"/>
                  <a:pt x="1281" y="2672"/>
                </a:cubicBezTo>
                <a:cubicBezTo>
                  <a:pt x="1281" y="2640"/>
                  <a:pt x="1266" y="2592"/>
                  <a:pt x="1218" y="2592"/>
                </a:cubicBezTo>
                <a:lnTo>
                  <a:pt x="1153" y="2575"/>
                </a:lnTo>
                <a:lnTo>
                  <a:pt x="1153" y="2526"/>
                </a:lnTo>
                <a:lnTo>
                  <a:pt x="1233" y="2543"/>
                </a:lnTo>
                <a:cubicBezTo>
                  <a:pt x="1266" y="2560"/>
                  <a:pt x="1314" y="2543"/>
                  <a:pt x="1329" y="2495"/>
                </a:cubicBezTo>
                <a:cubicBezTo>
                  <a:pt x="1346" y="2463"/>
                  <a:pt x="1378" y="2431"/>
                  <a:pt x="1410" y="2400"/>
                </a:cubicBezTo>
                <a:cubicBezTo>
                  <a:pt x="1410" y="2383"/>
                  <a:pt x="1426" y="2383"/>
                  <a:pt x="1426" y="2366"/>
                </a:cubicBezTo>
                <a:cubicBezTo>
                  <a:pt x="1458" y="2351"/>
                  <a:pt x="1458" y="2303"/>
                  <a:pt x="1441" y="2271"/>
                </a:cubicBezTo>
                <a:lnTo>
                  <a:pt x="1410" y="2206"/>
                </a:lnTo>
                <a:cubicBezTo>
                  <a:pt x="1441" y="2191"/>
                  <a:pt x="1431" y="2196"/>
                  <a:pt x="1441" y="2191"/>
                </a:cubicBezTo>
                <a:lnTo>
                  <a:pt x="1490" y="2255"/>
                </a:lnTo>
                <a:cubicBezTo>
                  <a:pt x="1506" y="2286"/>
                  <a:pt x="1538" y="2303"/>
                  <a:pt x="1570" y="2286"/>
                </a:cubicBezTo>
                <a:cubicBezTo>
                  <a:pt x="1635" y="2271"/>
                  <a:pt x="1681" y="2255"/>
                  <a:pt x="1746" y="2271"/>
                </a:cubicBezTo>
                <a:cubicBezTo>
                  <a:pt x="1778" y="2271"/>
                  <a:pt x="1810" y="2238"/>
                  <a:pt x="1827" y="2206"/>
                </a:cubicBezTo>
                <a:lnTo>
                  <a:pt x="1842" y="2128"/>
                </a:lnTo>
                <a:lnTo>
                  <a:pt x="1890" y="2143"/>
                </a:lnTo>
                <a:lnTo>
                  <a:pt x="1858" y="2223"/>
                </a:lnTo>
                <a:cubicBezTo>
                  <a:pt x="1858" y="2255"/>
                  <a:pt x="1873" y="2286"/>
                  <a:pt x="1907" y="2320"/>
                </a:cubicBezTo>
                <a:cubicBezTo>
                  <a:pt x="1955" y="2335"/>
                  <a:pt x="2002" y="2366"/>
                  <a:pt x="2035" y="2415"/>
                </a:cubicBezTo>
                <a:cubicBezTo>
                  <a:pt x="2067" y="2448"/>
                  <a:pt x="2098" y="2448"/>
                  <a:pt x="2130" y="2431"/>
                </a:cubicBezTo>
                <a:lnTo>
                  <a:pt x="2194" y="2383"/>
                </a:lnTo>
                <a:lnTo>
                  <a:pt x="2227" y="2431"/>
                </a:lnTo>
                <a:cubicBezTo>
                  <a:pt x="2162" y="2463"/>
                  <a:pt x="2184" y="2452"/>
                  <a:pt x="2162" y="2463"/>
                </a:cubicBezTo>
                <a:cubicBezTo>
                  <a:pt x="2130" y="2495"/>
                  <a:pt x="2113" y="2526"/>
                  <a:pt x="2113" y="2560"/>
                </a:cubicBezTo>
                <a:cubicBezTo>
                  <a:pt x="2147" y="2623"/>
                  <a:pt x="2147" y="2672"/>
                  <a:pt x="2147" y="2720"/>
                </a:cubicBezTo>
                <a:cubicBezTo>
                  <a:pt x="2147" y="2768"/>
                  <a:pt x="2162" y="2800"/>
                  <a:pt x="2194" y="2815"/>
                </a:cubicBezTo>
                <a:lnTo>
                  <a:pt x="2275" y="2832"/>
                </a:lnTo>
                <a:close/>
                <a:moveTo>
                  <a:pt x="2339" y="1165"/>
                </a:moveTo>
                <a:lnTo>
                  <a:pt x="2242" y="1310"/>
                </a:lnTo>
                <a:cubicBezTo>
                  <a:pt x="2210" y="1374"/>
                  <a:pt x="2227" y="1454"/>
                  <a:pt x="2290" y="1502"/>
                </a:cubicBezTo>
                <a:lnTo>
                  <a:pt x="2370" y="1551"/>
                </a:lnTo>
                <a:cubicBezTo>
                  <a:pt x="2355" y="1614"/>
                  <a:pt x="2339" y="1662"/>
                  <a:pt x="2339" y="1726"/>
                </a:cubicBezTo>
                <a:lnTo>
                  <a:pt x="2242" y="1742"/>
                </a:lnTo>
                <a:cubicBezTo>
                  <a:pt x="2179" y="1759"/>
                  <a:pt x="2130" y="1839"/>
                  <a:pt x="2147" y="1903"/>
                </a:cubicBezTo>
                <a:lnTo>
                  <a:pt x="2179" y="2079"/>
                </a:lnTo>
                <a:cubicBezTo>
                  <a:pt x="2179" y="2111"/>
                  <a:pt x="2210" y="2143"/>
                  <a:pt x="2242" y="2159"/>
                </a:cubicBezTo>
                <a:cubicBezTo>
                  <a:pt x="2275" y="2191"/>
                  <a:pt x="2307" y="2191"/>
                  <a:pt x="2339" y="2191"/>
                </a:cubicBezTo>
                <a:lnTo>
                  <a:pt x="2435" y="2159"/>
                </a:lnTo>
                <a:cubicBezTo>
                  <a:pt x="2467" y="2206"/>
                  <a:pt x="2499" y="2255"/>
                  <a:pt x="2547" y="2303"/>
                </a:cubicBezTo>
                <a:lnTo>
                  <a:pt x="2482" y="2383"/>
                </a:lnTo>
                <a:cubicBezTo>
                  <a:pt x="2467" y="2415"/>
                  <a:pt x="2467" y="2463"/>
                  <a:pt x="2467" y="2495"/>
                </a:cubicBezTo>
                <a:cubicBezTo>
                  <a:pt x="2482" y="2526"/>
                  <a:pt x="2499" y="2560"/>
                  <a:pt x="2531" y="2575"/>
                </a:cubicBezTo>
                <a:lnTo>
                  <a:pt x="2676" y="2672"/>
                </a:lnTo>
                <a:cubicBezTo>
                  <a:pt x="2739" y="2720"/>
                  <a:pt x="2819" y="2687"/>
                  <a:pt x="2867" y="2623"/>
                </a:cubicBezTo>
                <a:lnTo>
                  <a:pt x="2916" y="2543"/>
                </a:lnTo>
                <a:cubicBezTo>
                  <a:pt x="2979" y="2560"/>
                  <a:pt x="3028" y="2575"/>
                  <a:pt x="3091" y="2575"/>
                </a:cubicBezTo>
                <a:lnTo>
                  <a:pt x="3108" y="2672"/>
                </a:lnTo>
                <a:cubicBezTo>
                  <a:pt x="3123" y="2703"/>
                  <a:pt x="3139" y="2735"/>
                  <a:pt x="3171" y="2752"/>
                </a:cubicBezTo>
                <a:cubicBezTo>
                  <a:pt x="3188" y="2768"/>
                  <a:pt x="3219" y="2783"/>
                  <a:pt x="3251" y="2783"/>
                </a:cubicBezTo>
                <a:lnTo>
                  <a:pt x="3268" y="2783"/>
                </a:lnTo>
                <a:lnTo>
                  <a:pt x="3445" y="2735"/>
                </a:lnTo>
                <a:cubicBezTo>
                  <a:pt x="3476" y="2735"/>
                  <a:pt x="3508" y="2703"/>
                  <a:pt x="3523" y="2672"/>
                </a:cubicBezTo>
                <a:cubicBezTo>
                  <a:pt x="3556" y="2640"/>
                  <a:pt x="3556" y="2607"/>
                  <a:pt x="3556" y="2575"/>
                </a:cubicBezTo>
                <a:lnTo>
                  <a:pt x="3523" y="2480"/>
                </a:lnTo>
                <a:cubicBezTo>
                  <a:pt x="3571" y="2448"/>
                  <a:pt x="3620" y="2415"/>
                  <a:pt x="3668" y="2383"/>
                </a:cubicBezTo>
                <a:lnTo>
                  <a:pt x="3748" y="2431"/>
                </a:lnTo>
                <a:cubicBezTo>
                  <a:pt x="3780" y="2448"/>
                  <a:pt x="3828" y="2463"/>
                  <a:pt x="3860" y="2448"/>
                </a:cubicBezTo>
                <a:cubicBezTo>
                  <a:pt x="3892" y="2448"/>
                  <a:pt x="3923" y="2415"/>
                  <a:pt x="3940" y="2383"/>
                </a:cubicBezTo>
                <a:lnTo>
                  <a:pt x="4037" y="2238"/>
                </a:lnTo>
                <a:cubicBezTo>
                  <a:pt x="4052" y="2206"/>
                  <a:pt x="4068" y="2174"/>
                  <a:pt x="4052" y="2143"/>
                </a:cubicBezTo>
                <a:cubicBezTo>
                  <a:pt x="4052" y="2094"/>
                  <a:pt x="4020" y="2079"/>
                  <a:pt x="3988" y="2046"/>
                </a:cubicBezTo>
                <a:lnTo>
                  <a:pt x="3908" y="1999"/>
                </a:lnTo>
                <a:cubicBezTo>
                  <a:pt x="3923" y="1951"/>
                  <a:pt x="3940" y="1886"/>
                  <a:pt x="3940" y="1822"/>
                </a:cubicBezTo>
                <a:lnTo>
                  <a:pt x="4037" y="1806"/>
                </a:lnTo>
                <a:cubicBezTo>
                  <a:pt x="4068" y="1806"/>
                  <a:pt x="4100" y="1774"/>
                  <a:pt x="4117" y="1742"/>
                </a:cubicBezTo>
                <a:cubicBezTo>
                  <a:pt x="4149" y="1711"/>
                  <a:pt x="4149" y="1679"/>
                  <a:pt x="4149" y="1646"/>
                </a:cubicBezTo>
                <a:lnTo>
                  <a:pt x="4100" y="1470"/>
                </a:lnTo>
                <a:cubicBezTo>
                  <a:pt x="4100" y="1439"/>
                  <a:pt x="4068" y="1405"/>
                  <a:pt x="4037" y="1390"/>
                </a:cubicBezTo>
                <a:cubicBezTo>
                  <a:pt x="4020" y="1374"/>
                  <a:pt x="3972" y="1359"/>
                  <a:pt x="3940" y="1374"/>
                </a:cubicBezTo>
                <a:lnTo>
                  <a:pt x="3845" y="1390"/>
                </a:lnTo>
                <a:cubicBezTo>
                  <a:pt x="3812" y="1342"/>
                  <a:pt x="3780" y="1294"/>
                  <a:pt x="3748" y="1245"/>
                </a:cubicBezTo>
                <a:lnTo>
                  <a:pt x="3797" y="1165"/>
                </a:lnTo>
                <a:cubicBezTo>
                  <a:pt x="3845" y="1102"/>
                  <a:pt x="3812" y="1022"/>
                  <a:pt x="3748" y="973"/>
                </a:cubicBezTo>
                <a:lnTo>
                  <a:pt x="3603" y="877"/>
                </a:lnTo>
                <a:cubicBezTo>
                  <a:pt x="3540" y="845"/>
                  <a:pt x="3460" y="862"/>
                  <a:pt x="3411" y="925"/>
                </a:cubicBezTo>
                <a:lnTo>
                  <a:pt x="3365" y="1005"/>
                </a:lnTo>
                <a:cubicBezTo>
                  <a:pt x="3316" y="990"/>
                  <a:pt x="3251" y="973"/>
                  <a:pt x="3188" y="973"/>
                </a:cubicBezTo>
                <a:lnTo>
                  <a:pt x="3171" y="877"/>
                </a:lnTo>
                <a:cubicBezTo>
                  <a:pt x="3171" y="845"/>
                  <a:pt x="3139" y="813"/>
                  <a:pt x="3108" y="797"/>
                </a:cubicBezTo>
                <a:cubicBezTo>
                  <a:pt x="3076" y="782"/>
                  <a:pt x="3044" y="765"/>
                  <a:pt x="3011" y="782"/>
                </a:cubicBezTo>
                <a:lnTo>
                  <a:pt x="2834" y="813"/>
                </a:lnTo>
                <a:cubicBezTo>
                  <a:pt x="2771" y="828"/>
                  <a:pt x="2724" y="910"/>
                  <a:pt x="2739" y="973"/>
                </a:cubicBezTo>
                <a:lnTo>
                  <a:pt x="2756" y="1070"/>
                </a:lnTo>
                <a:cubicBezTo>
                  <a:pt x="2707" y="1102"/>
                  <a:pt x="2659" y="1134"/>
                  <a:pt x="2611" y="1182"/>
                </a:cubicBezTo>
                <a:lnTo>
                  <a:pt x="2531" y="1117"/>
                </a:lnTo>
                <a:cubicBezTo>
                  <a:pt x="2467" y="1085"/>
                  <a:pt x="2387" y="1102"/>
                  <a:pt x="2339" y="1165"/>
                </a:cubicBezTo>
                <a:close/>
                <a:moveTo>
                  <a:pt x="2467" y="1262"/>
                </a:moveTo>
                <a:lnTo>
                  <a:pt x="2579" y="1342"/>
                </a:lnTo>
                <a:cubicBezTo>
                  <a:pt x="2611" y="1359"/>
                  <a:pt x="2659" y="1359"/>
                  <a:pt x="2676" y="1325"/>
                </a:cubicBezTo>
                <a:cubicBezTo>
                  <a:pt x="2739" y="1277"/>
                  <a:pt x="2802" y="1230"/>
                  <a:pt x="2882" y="1197"/>
                </a:cubicBezTo>
                <a:cubicBezTo>
                  <a:pt x="2916" y="1182"/>
                  <a:pt x="2931" y="1134"/>
                  <a:pt x="2931" y="1102"/>
                </a:cubicBezTo>
                <a:lnTo>
                  <a:pt x="2899" y="957"/>
                </a:lnTo>
                <a:lnTo>
                  <a:pt x="3028" y="942"/>
                </a:lnTo>
                <a:lnTo>
                  <a:pt x="3044" y="1070"/>
                </a:lnTo>
                <a:cubicBezTo>
                  <a:pt x="3059" y="1117"/>
                  <a:pt x="3091" y="1134"/>
                  <a:pt x="3123" y="1134"/>
                </a:cubicBezTo>
                <a:cubicBezTo>
                  <a:pt x="3219" y="1134"/>
                  <a:pt x="3299" y="1150"/>
                  <a:pt x="3365" y="1182"/>
                </a:cubicBezTo>
                <a:cubicBezTo>
                  <a:pt x="3411" y="1197"/>
                  <a:pt x="3445" y="1182"/>
                  <a:pt x="3460" y="1150"/>
                </a:cubicBezTo>
                <a:lnTo>
                  <a:pt x="3540" y="1022"/>
                </a:lnTo>
                <a:lnTo>
                  <a:pt x="3651" y="1102"/>
                </a:lnTo>
                <a:cubicBezTo>
                  <a:pt x="3571" y="1214"/>
                  <a:pt x="3598" y="1176"/>
                  <a:pt x="3571" y="1214"/>
                </a:cubicBezTo>
                <a:cubicBezTo>
                  <a:pt x="3556" y="1245"/>
                  <a:pt x="3556" y="1294"/>
                  <a:pt x="3588" y="1310"/>
                </a:cubicBezTo>
                <a:cubicBezTo>
                  <a:pt x="3651" y="1374"/>
                  <a:pt x="3700" y="1439"/>
                  <a:pt x="3732" y="1517"/>
                </a:cubicBezTo>
                <a:cubicBezTo>
                  <a:pt x="3748" y="1551"/>
                  <a:pt x="3780" y="1566"/>
                  <a:pt x="3812" y="1566"/>
                </a:cubicBezTo>
                <a:lnTo>
                  <a:pt x="3957" y="1534"/>
                </a:lnTo>
                <a:lnTo>
                  <a:pt x="3988" y="1662"/>
                </a:lnTo>
                <a:lnTo>
                  <a:pt x="3845" y="1679"/>
                </a:lnTo>
                <a:cubicBezTo>
                  <a:pt x="3812" y="1694"/>
                  <a:pt x="3780" y="1726"/>
                  <a:pt x="3780" y="1759"/>
                </a:cubicBezTo>
                <a:cubicBezTo>
                  <a:pt x="3780" y="1854"/>
                  <a:pt x="3765" y="1934"/>
                  <a:pt x="3732" y="1999"/>
                </a:cubicBezTo>
                <a:cubicBezTo>
                  <a:pt x="3732" y="2046"/>
                  <a:pt x="3732" y="2079"/>
                  <a:pt x="3765" y="2094"/>
                </a:cubicBezTo>
                <a:lnTo>
                  <a:pt x="3892" y="2174"/>
                </a:lnTo>
                <a:lnTo>
                  <a:pt x="3828" y="2286"/>
                </a:lnTo>
                <a:lnTo>
                  <a:pt x="3700" y="2206"/>
                </a:lnTo>
                <a:cubicBezTo>
                  <a:pt x="3668" y="2191"/>
                  <a:pt x="3636" y="2191"/>
                  <a:pt x="3603" y="2223"/>
                </a:cubicBezTo>
                <a:cubicBezTo>
                  <a:pt x="3540" y="2286"/>
                  <a:pt x="3476" y="2320"/>
                  <a:pt x="3396" y="2366"/>
                </a:cubicBezTo>
                <a:cubicBezTo>
                  <a:pt x="3365" y="2383"/>
                  <a:pt x="3348" y="2415"/>
                  <a:pt x="3365" y="2448"/>
                </a:cubicBezTo>
                <a:lnTo>
                  <a:pt x="3396" y="2592"/>
                </a:lnTo>
                <a:lnTo>
                  <a:pt x="3268" y="2623"/>
                </a:lnTo>
                <a:lnTo>
                  <a:pt x="3236" y="2480"/>
                </a:lnTo>
                <a:cubicBezTo>
                  <a:pt x="3219" y="2448"/>
                  <a:pt x="3188" y="2415"/>
                  <a:pt x="3156" y="2415"/>
                </a:cubicBezTo>
                <a:cubicBezTo>
                  <a:pt x="3076" y="2415"/>
                  <a:pt x="2996" y="2400"/>
                  <a:pt x="2916" y="2366"/>
                </a:cubicBezTo>
                <a:cubicBezTo>
                  <a:pt x="2882" y="2366"/>
                  <a:pt x="2834" y="2366"/>
                  <a:pt x="2819" y="2400"/>
                </a:cubicBezTo>
                <a:lnTo>
                  <a:pt x="2739" y="2526"/>
                </a:lnTo>
                <a:lnTo>
                  <a:pt x="2627" y="2448"/>
                </a:lnTo>
                <a:cubicBezTo>
                  <a:pt x="2707" y="2335"/>
                  <a:pt x="2681" y="2372"/>
                  <a:pt x="2707" y="2335"/>
                </a:cubicBezTo>
                <a:cubicBezTo>
                  <a:pt x="2724" y="2303"/>
                  <a:pt x="2724" y="2255"/>
                  <a:pt x="2691" y="2238"/>
                </a:cubicBezTo>
                <a:cubicBezTo>
                  <a:pt x="2642" y="2174"/>
                  <a:pt x="2596" y="2111"/>
                  <a:pt x="2562" y="2031"/>
                </a:cubicBezTo>
                <a:cubicBezTo>
                  <a:pt x="2547" y="1999"/>
                  <a:pt x="2499" y="1983"/>
                  <a:pt x="2467" y="1999"/>
                </a:cubicBezTo>
                <a:lnTo>
                  <a:pt x="2322" y="2031"/>
                </a:lnTo>
                <a:lnTo>
                  <a:pt x="2307" y="1903"/>
                </a:lnTo>
                <a:lnTo>
                  <a:pt x="2435" y="1871"/>
                </a:lnTo>
                <a:cubicBezTo>
                  <a:pt x="2482" y="1854"/>
                  <a:pt x="2499" y="1822"/>
                  <a:pt x="2499" y="1791"/>
                </a:cubicBezTo>
                <a:cubicBezTo>
                  <a:pt x="2499" y="1711"/>
                  <a:pt x="2514" y="1631"/>
                  <a:pt x="2547" y="1551"/>
                </a:cubicBezTo>
                <a:cubicBezTo>
                  <a:pt x="2562" y="1517"/>
                  <a:pt x="2547" y="1470"/>
                  <a:pt x="2514" y="1454"/>
                </a:cubicBezTo>
                <a:lnTo>
                  <a:pt x="2387" y="1374"/>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2" name="Freeform: Shape 1">
            <a:extLst>
              <a:ext uri="{FF2B5EF4-FFF2-40B4-BE49-F238E27FC236}">
                <a16:creationId xmlns:a16="http://schemas.microsoft.com/office/drawing/2014/main" id="{EB595488-D20B-7F47-8AC4-F961DF50E5F5}"/>
              </a:ext>
            </a:extLst>
          </p:cNvPr>
          <p:cNvSpPr/>
          <p:nvPr/>
        </p:nvSpPr>
        <p:spPr>
          <a:xfrm>
            <a:off x="13958769" y="9570077"/>
            <a:ext cx="1702440" cy="1896840"/>
          </a:xfrm>
          <a:custGeom>
            <a:avLst/>
            <a:gdLst/>
            <a:ahLst/>
            <a:cxnLst>
              <a:cxn ang="3cd4">
                <a:pos x="hc" y="t"/>
              </a:cxn>
              <a:cxn ang="cd2">
                <a:pos x="l" y="vc"/>
              </a:cxn>
              <a:cxn ang="cd4">
                <a:pos x="hc" y="b"/>
              </a:cxn>
              <a:cxn ang="0">
                <a:pos x="r" y="vc"/>
              </a:cxn>
            </a:cxnLst>
            <a:rect l="l" t="t" r="r" b="b"/>
            <a:pathLst>
              <a:path w="4730" h="5270">
                <a:moveTo>
                  <a:pt x="4648" y="1536"/>
                </a:moveTo>
                <a:cubicBezTo>
                  <a:pt x="4679" y="1365"/>
                  <a:pt x="4710" y="1178"/>
                  <a:pt x="4726" y="1007"/>
                </a:cubicBezTo>
                <a:cubicBezTo>
                  <a:pt x="4742" y="960"/>
                  <a:pt x="4710" y="930"/>
                  <a:pt x="4679" y="913"/>
                </a:cubicBezTo>
                <a:cubicBezTo>
                  <a:pt x="2393" y="11"/>
                  <a:pt x="2393" y="11"/>
                  <a:pt x="2393" y="11"/>
                </a:cubicBezTo>
                <a:cubicBezTo>
                  <a:pt x="2378" y="-4"/>
                  <a:pt x="2347" y="-4"/>
                  <a:pt x="2331" y="11"/>
                </a:cubicBezTo>
                <a:cubicBezTo>
                  <a:pt x="46" y="913"/>
                  <a:pt x="46" y="913"/>
                  <a:pt x="46" y="913"/>
                </a:cubicBezTo>
                <a:cubicBezTo>
                  <a:pt x="15" y="930"/>
                  <a:pt x="0" y="960"/>
                  <a:pt x="0" y="1007"/>
                </a:cubicBezTo>
                <a:cubicBezTo>
                  <a:pt x="15" y="1178"/>
                  <a:pt x="46" y="1365"/>
                  <a:pt x="93" y="1536"/>
                </a:cubicBezTo>
                <a:cubicBezTo>
                  <a:pt x="139" y="1754"/>
                  <a:pt x="186" y="1971"/>
                  <a:pt x="249" y="2174"/>
                </a:cubicBezTo>
                <a:cubicBezTo>
                  <a:pt x="249" y="2190"/>
                  <a:pt x="249" y="2190"/>
                  <a:pt x="249" y="2190"/>
                </a:cubicBezTo>
                <a:cubicBezTo>
                  <a:pt x="590" y="3341"/>
                  <a:pt x="1181" y="4290"/>
                  <a:pt x="1990" y="4990"/>
                </a:cubicBezTo>
                <a:cubicBezTo>
                  <a:pt x="2098" y="5083"/>
                  <a:pt x="2207" y="5161"/>
                  <a:pt x="2316" y="5255"/>
                </a:cubicBezTo>
                <a:cubicBezTo>
                  <a:pt x="2331" y="5255"/>
                  <a:pt x="2347" y="5270"/>
                  <a:pt x="2363" y="5270"/>
                </a:cubicBezTo>
                <a:cubicBezTo>
                  <a:pt x="2378" y="5270"/>
                  <a:pt x="2393" y="5255"/>
                  <a:pt x="2409" y="5255"/>
                </a:cubicBezTo>
                <a:cubicBezTo>
                  <a:pt x="2518" y="5161"/>
                  <a:pt x="2643" y="5083"/>
                  <a:pt x="2736" y="4990"/>
                </a:cubicBezTo>
                <a:cubicBezTo>
                  <a:pt x="3545" y="4290"/>
                  <a:pt x="4135" y="3341"/>
                  <a:pt x="4477" y="2190"/>
                </a:cubicBezTo>
                <a:lnTo>
                  <a:pt x="4477" y="2174"/>
                </a:lnTo>
                <a:cubicBezTo>
                  <a:pt x="4539" y="1971"/>
                  <a:pt x="4602" y="1754"/>
                  <a:pt x="4648" y="1536"/>
                </a:cubicBezTo>
                <a:close/>
                <a:moveTo>
                  <a:pt x="4492" y="1443"/>
                </a:moveTo>
                <a:cubicBezTo>
                  <a:pt x="2767" y="1443"/>
                  <a:pt x="2767" y="1443"/>
                  <a:pt x="2767" y="1443"/>
                </a:cubicBezTo>
                <a:cubicBezTo>
                  <a:pt x="2767" y="322"/>
                  <a:pt x="2767" y="322"/>
                  <a:pt x="2767" y="322"/>
                </a:cubicBezTo>
                <a:cubicBezTo>
                  <a:pt x="4570" y="1038"/>
                  <a:pt x="4570" y="1038"/>
                  <a:pt x="4570" y="1038"/>
                </a:cubicBezTo>
                <a:cubicBezTo>
                  <a:pt x="4539" y="1178"/>
                  <a:pt x="4523" y="1319"/>
                  <a:pt x="4492" y="1443"/>
                </a:cubicBezTo>
                <a:close/>
                <a:moveTo>
                  <a:pt x="1958" y="322"/>
                </a:moveTo>
                <a:cubicBezTo>
                  <a:pt x="1958" y="1443"/>
                  <a:pt x="1958" y="1443"/>
                  <a:pt x="1958" y="1443"/>
                </a:cubicBezTo>
                <a:cubicBezTo>
                  <a:pt x="232" y="1443"/>
                  <a:pt x="232" y="1443"/>
                  <a:pt x="232" y="1443"/>
                </a:cubicBezTo>
                <a:cubicBezTo>
                  <a:pt x="201" y="1319"/>
                  <a:pt x="186" y="1178"/>
                  <a:pt x="170" y="1038"/>
                </a:cubicBezTo>
                <a:close/>
                <a:moveTo>
                  <a:pt x="435" y="2236"/>
                </a:moveTo>
                <a:cubicBezTo>
                  <a:pt x="1958" y="2236"/>
                  <a:pt x="1958" y="2236"/>
                  <a:pt x="1958" y="2236"/>
                </a:cubicBezTo>
                <a:cubicBezTo>
                  <a:pt x="1958" y="4742"/>
                  <a:pt x="1958" y="4742"/>
                  <a:pt x="1958" y="4742"/>
                </a:cubicBezTo>
                <a:cubicBezTo>
                  <a:pt x="1274" y="4103"/>
                  <a:pt x="746" y="3248"/>
                  <a:pt x="435" y="2236"/>
                </a:cubicBezTo>
                <a:close/>
                <a:moveTo>
                  <a:pt x="2363" y="5083"/>
                </a:moveTo>
                <a:cubicBezTo>
                  <a:pt x="2285" y="5021"/>
                  <a:pt x="2207" y="4959"/>
                  <a:pt x="2130" y="4897"/>
                </a:cubicBezTo>
                <a:cubicBezTo>
                  <a:pt x="2130" y="2158"/>
                  <a:pt x="2130" y="2158"/>
                  <a:pt x="2130" y="2158"/>
                </a:cubicBezTo>
                <a:cubicBezTo>
                  <a:pt x="2130" y="2112"/>
                  <a:pt x="2083" y="2081"/>
                  <a:pt x="2052" y="2081"/>
                </a:cubicBezTo>
                <a:cubicBezTo>
                  <a:pt x="389" y="2081"/>
                  <a:pt x="389" y="2081"/>
                  <a:pt x="389" y="2081"/>
                </a:cubicBezTo>
                <a:cubicBezTo>
                  <a:pt x="341" y="1925"/>
                  <a:pt x="295" y="1770"/>
                  <a:pt x="264" y="1598"/>
                </a:cubicBezTo>
                <a:cubicBezTo>
                  <a:pt x="2052" y="1598"/>
                  <a:pt x="2052" y="1598"/>
                  <a:pt x="2052" y="1598"/>
                </a:cubicBezTo>
                <a:cubicBezTo>
                  <a:pt x="2083" y="1598"/>
                  <a:pt x="2130" y="1567"/>
                  <a:pt x="2130" y="1520"/>
                </a:cubicBezTo>
                <a:cubicBezTo>
                  <a:pt x="2130" y="260"/>
                  <a:pt x="2130" y="260"/>
                  <a:pt x="2130" y="260"/>
                </a:cubicBezTo>
                <a:cubicBezTo>
                  <a:pt x="2363" y="166"/>
                  <a:pt x="2363" y="166"/>
                  <a:pt x="2363" y="166"/>
                </a:cubicBezTo>
                <a:cubicBezTo>
                  <a:pt x="2612" y="260"/>
                  <a:pt x="2612" y="260"/>
                  <a:pt x="2612" y="260"/>
                </a:cubicBezTo>
                <a:cubicBezTo>
                  <a:pt x="2612" y="1520"/>
                  <a:pt x="2612" y="1520"/>
                  <a:pt x="2612" y="1520"/>
                </a:cubicBezTo>
                <a:cubicBezTo>
                  <a:pt x="2612" y="1567"/>
                  <a:pt x="2643" y="1598"/>
                  <a:pt x="2689" y="1598"/>
                </a:cubicBezTo>
                <a:cubicBezTo>
                  <a:pt x="4461" y="1598"/>
                  <a:pt x="4461" y="1598"/>
                  <a:pt x="4461" y="1598"/>
                </a:cubicBezTo>
                <a:cubicBezTo>
                  <a:pt x="4430" y="1770"/>
                  <a:pt x="4384" y="1925"/>
                  <a:pt x="4337" y="2081"/>
                </a:cubicBezTo>
                <a:cubicBezTo>
                  <a:pt x="2689" y="2081"/>
                  <a:pt x="2689" y="2081"/>
                  <a:pt x="2689" y="2081"/>
                </a:cubicBezTo>
                <a:cubicBezTo>
                  <a:pt x="2643" y="2081"/>
                  <a:pt x="2612" y="2112"/>
                  <a:pt x="2612" y="2158"/>
                </a:cubicBezTo>
                <a:cubicBezTo>
                  <a:pt x="2612" y="4897"/>
                  <a:pt x="2612" y="4897"/>
                  <a:pt x="2612" y="4897"/>
                </a:cubicBezTo>
                <a:cubicBezTo>
                  <a:pt x="2533" y="4959"/>
                  <a:pt x="2440" y="5021"/>
                  <a:pt x="2363" y="5083"/>
                </a:cubicBezTo>
                <a:close/>
                <a:moveTo>
                  <a:pt x="2767" y="4742"/>
                </a:moveTo>
                <a:cubicBezTo>
                  <a:pt x="2767" y="2236"/>
                  <a:pt x="2767" y="2236"/>
                  <a:pt x="2767" y="2236"/>
                </a:cubicBezTo>
                <a:cubicBezTo>
                  <a:pt x="4291" y="2236"/>
                  <a:pt x="4291" y="2236"/>
                  <a:pt x="4291" y="2236"/>
                </a:cubicBezTo>
                <a:cubicBezTo>
                  <a:pt x="3980" y="3248"/>
                  <a:pt x="3466" y="4103"/>
                  <a:pt x="2767" y="474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3" name="TextBox 52">
            <a:extLst>
              <a:ext uri="{FF2B5EF4-FFF2-40B4-BE49-F238E27FC236}">
                <a16:creationId xmlns:a16="http://schemas.microsoft.com/office/drawing/2014/main" id="{3D06EAE4-6166-E545-9C2F-A1250A08C023}"/>
              </a:ext>
            </a:extLst>
          </p:cNvPr>
          <p:cNvSpPr txBox="1"/>
          <p:nvPr/>
        </p:nvSpPr>
        <p:spPr>
          <a:xfrm>
            <a:off x="-47946" y="11657695"/>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hield 3</a:t>
            </a:r>
          </a:p>
        </p:txBody>
      </p:sp>
    </p:spTree>
    <p:extLst>
      <p:ext uri="{BB962C8B-B14F-4D97-AF65-F5344CB8AC3E}">
        <p14:creationId xmlns:p14="http://schemas.microsoft.com/office/powerpoint/2010/main" val="44658193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Security - 2</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42" name="TextBox 41">
            <a:extLst>
              <a:ext uri="{FF2B5EF4-FFF2-40B4-BE49-F238E27FC236}">
                <a16:creationId xmlns:a16="http://schemas.microsoft.com/office/drawing/2014/main" id="{6C61E970-4F8A-4543-92F8-83F0AE6CDCA0}"/>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cure Laptop</a:t>
            </a:r>
          </a:p>
        </p:txBody>
      </p:sp>
      <p:sp>
        <p:nvSpPr>
          <p:cNvPr id="54" name="TextBox 53">
            <a:extLst>
              <a:ext uri="{FF2B5EF4-FFF2-40B4-BE49-F238E27FC236}">
                <a16:creationId xmlns:a16="http://schemas.microsoft.com/office/drawing/2014/main" id="{77405BDB-5DEA-9543-8F74-9083C19ED83A}"/>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cure iPad</a:t>
            </a:r>
          </a:p>
        </p:txBody>
      </p:sp>
      <p:sp>
        <p:nvSpPr>
          <p:cNvPr id="55" name="TextBox 54">
            <a:extLst>
              <a:ext uri="{FF2B5EF4-FFF2-40B4-BE49-F238E27FC236}">
                <a16:creationId xmlns:a16="http://schemas.microsoft.com/office/drawing/2014/main" id="{EE3905F8-8662-124F-96FF-11D06BD492AD}"/>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inger Print</a:t>
            </a:r>
          </a:p>
        </p:txBody>
      </p:sp>
      <p:sp>
        <p:nvSpPr>
          <p:cNvPr id="56" name="TextBox 55">
            <a:extLst>
              <a:ext uri="{FF2B5EF4-FFF2-40B4-BE49-F238E27FC236}">
                <a16:creationId xmlns:a16="http://schemas.microsoft.com/office/drawing/2014/main" id="{39A02546-A52F-D14C-8BA2-F3D0AD966E43}"/>
              </a:ext>
            </a:extLst>
          </p:cNvPr>
          <p:cNvSpPr txBox="1"/>
          <p:nvPr/>
        </p:nvSpPr>
        <p:spPr>
          <a:xfrm>
            <a:off x="12867894"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Key</a:t>
            </a:r>
          </a:p>
        </p:txBody>
      </p:sp>
      <p:sp>
        <p:nvSpPr>
          <p:cNvPr id="57" name="TextBox 56">
            <a:extLst>
              <a:ext uri="{FF2B5EF4-FFF2-40B4-BE49-F238E27FC236}">
                <a16:creationId xmlns:a16="http://schemas.microsoft.com/office/drawing/2014/main" id="{F3C292E5-2B9E-DD43-B699-7768C512281F}"/>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 Password</a:t>
            </a:r>
          </a:p>
        </p:txBody>
      </p:sp>
      <p:sp>
        <p:nvSpPr>
          <p:cNvPr id="58" name="TextBox 57">
            <a:extLst>
              <a:ext uri="{FF2B5EF4-FFF2-40B4-BE49-F238E27FC236}">
                <a16:creationId xmlns:a16="http://schemas.microsoft.com/office/drawing/2014/main" id="{B7D046A1-6EF0-4B4C-BDE7-6C67D8473B1A}"/>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cure Phone</a:t>
            </a:r>
          </a:p>
        </p:txBody>
      </p:sp>
      <p:sp>
        <p:nvSpPr>
          <p:cNvPr id="59" name="TextBox 58">
            <a:extLst>
              <a:ext uri="{FF2B5EF4-FFF2-40B4-BE49-F238E27FC236}">
                <a16:creationId xmlns:a16="http://schemas.microsoft.com/office/drawing/2014/main" id="{617B3FEB-E0D5-1546-9BD3-F48962DEE05E}"/>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Security</a:t>
            </a:r>
          </a:p>
        </p:txBody>
      </p:sp>
      <p:sp>
        <p:nvSpPr>
          <p:cNvPr id="60" name="TextBox 59">
            <a:extLst>
              <a:ext uri="{FF2B5EF4-FFF2-40B4-BE49-F238E27FC236}">
                <a16:creationId xmlns:a16="http://schemas.microsoft.com/office/drawing/2014/main" id="{5E5EF7B0-4A17-4144-AF18-F6817BC20765}"/>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curity 1</a:t>
            </a:r>
          </a:p>
        </p:txBody>
      </p:sp>
      <p:sp>
        <p:nvSpPr>
          <p:cNvPr id="61" name="TextBox 60">
            <a:extLst>
              <a:ext uri="{FF2B5EF4-FFF2-40B4-BE49-F238E27FC236}">
                <a16:creationId xmlns:a16="http://schemas.microsoft.com/office/drawing/2014/main" id="{23B35FE7-7395-8D4D-9E9F-E9EE248A43D8}"/>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curity 2</a:t>
            </a:r>
          </a:p>
        </p:txBody>
      </p:sp>
      <p:sp>
        <p:nvSpPr>
          <p:cNvPr id="62" name="TextBox 61">
            <a:extLst>
              <a:ext uri="{FF2B5EF4-FFF2-40B4-BE49-F238E27FC236}">
                <a16:creationId xmlns:a16="http://schemas.microsoft.com/office/drawing/2014/main" id="{37362382-C1C4-724D-828C-D797DDF30BE0}"/>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ashboard</a:t>
            </a:r>
          </a:p>
        </p:txBody>
      </p:sp>
      <p:sp>
        <p:nvSpPr>
          <p:cNvPr id="63" name="TextBox 62">
            <a:extLst>
              <a:ext uri="{FF2B5EF4-FFF2-40B4-BE49-F238E27FC236}">
                <a16:creationId xmlns:a16="http://schemas.microsoft.com/office/drawing/2014/main" id="{B43F84B2-659D-674B-8B84-B64E28D9623A}"/>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tch/Update</a:t>
            </a:r>
          </a:p>
        </p:txBody>
      </p:sp>
      <p:sp>
        <p:nvSpPr>
          <p:cNvPr id="64" name="TextBox 63">
            <a:extLst>
              <a:ext uri="{FF2B5EF4-FFF2-40B4-BE49-F238E27FC236}">
                <a16:creationId xmlns:a16="http://schemas.microsoft.com/office/drawing/2014/main" id="{07F9EC2B-B8FD-644A-8570-54B46D370CCE}"/>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ud Ready</a:t>
            </a:r>
          </a:p>
        </p:txBody>
      </p:sp>
      <p:sp>
        <p:nvSpPr>
          <p:cNvPr id="65" name="Freeform: Shape 26">
            <a:extLst>
              <a:ext uri="{FF2B5EF4-FFF2-40B4-BE49-F238E27FC236}">
                <a16:creationId xmlns:a16="http://schemas.microsoft.com/office/drawing/2014/main" id="{23CDB8D6-1048-C249-BEA6-C21B878A761A}"/>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6" name="TextBox 65">
            <a:extLst>
              <a:ext uri="{FF2B5EF4-FFF2-40B4-BE49-F238E27FC236}">
                <a16:creationId xmlns:a16="http://schemas.microsoft.com/office/drawing/2014/main" id="{A51FDB0B-A09C-5B44-8F08-AFF5391CC479}"/>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mart Card</a:t>
            </a:r>
          </a:p>
        </p:txBody>
      </p:sp>
      <p:sp>
        <p:nvSpPr>
          <p:cNvPr id="67" name="TextBox 66">
            <a:extLst>
              <a:ext uri="{FF2B5EF4-FFF2-40B4-BE49-F238E27FC236}">
                <a16:creationId xmlns:a16="http://schemas.microsoft.com/office/drawing/2014/main" id="{61E12AA8-ADE1-184E-ACE2-0CA1AAE91E55}"/>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curity 3</a:t>
            </a:r>
          </a:p>
        </p:txBody>
      </p:sp>
      <p:sp>
        <p:nvSpPr>
          <p:cNvPr id="68" name="Freeform: Shape 13">
            <a:extLst>
              <a:ext uri="{FF2B5EF4-FFF2-40B4-BE49-F238E27FC236}">
                <a16:creationId xmlns:a16="http://schemas.microsoft.com/office/drawing/2014/main" id="{FAA77527-888E-CA4F-86C2-01E6E40CCA2D}"/>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9" name="Freeform: Shape 1">
            <a:extLst>
              <a:ext uri="{FF2B5EF4-FFF2-40B4-BE49-F238E27FC236}">
                <a16:creationId xmlns:a16="http://schemas.microsoft.com/office/drawing/2014/main" id="{BAAD90C1-375A-5A4D-8EF5-DB74C0DF6851}"/>
              </a:ext>
            </a:extLst>
          </p:cNvPr>
          <p:cNvSpPr/>
          <p:nvPr/>
        </p:nvSpPr>
        <p:spPr>
          <a:xfrm>
            <a:off x="13920558" y="3107786"/>
            <a:ext cx="1554840" cy="1511279"/>
          </a:xfrm>
          <a:custGeom>
            <a:avLst/>
            <a:gdLst/>
            <a:ahLst/>
            <a:cxnLst>
              <a:cxn ang="3cd4">
                <a:pos x="hc" y="t"/>
              </a:cxn>
              <a:cxn ang="cd2">
                <a:pos x="l" y="vc"/>
              </a:cxn>
              <a:cxn ang="cd4">
                <a:pos x="hc" y="b"/>
              </a:cxn>
              <a:cxn ang="0">
                <a:pos x="r" y="vc"/>
              </a:cxn>
            </a:cxnLst>
            <a:rect l="l" t="t" r="r" b="b"/>
            <a:pathLst>
              <a:path w="4320" h="4199">
                <a:moveTo>
                  <a:pt x="2936" y="2132"/>
                </a:moveTo>
                <a:cubicBezTo>
                  <a:pt x="2968" y="2100"/>
                  <a:pt x="2968" y="2052"/>
                  <a:pt x="2936" y="2020"/>
                </a:cubicBezTo>
                <a:lnTo>
                  <a:pt x="2539" y="1638"/>
                </a:lnTo>
                <a:cubicBezTo>
                  <a:pt x="2571" y="1543"/>
                  <a:pt x="2634" y="1336"/>
                  <a:pt x="2587" y="1082"/>
                </a:cubicBezTo>
                <a:cubicBezTo>
                  <a:pt x="2539" y="827"/>
                  <a:pt x="2380" y="366"/>
                  <a:pt x="1839" y="127"/>
                </a:cubicBezTo>
                <a:cubicBezTo>
                  <a:pt x="1473" y="-31"/>
                  <a:pt x="1123" y="-48"/>
                  <a:pt x="789" y="112"/>
                </a:cubicBezTo>
                <a:cubicBezTo>
                  <a:pt x="391" y="287"/>
                  <a:pt x="153" y="636"/>
                  <a:pt x="90" y="827"/>
                </a:cubicBezTo>
                <a:cubicBezTo>
                  <a:pt x="-38" y="1193"/>
                  <a:pt x="-133" y="1893"/>
                  <a:pt x="566" y="2386"/>
                </a:cubicBezTo>
                <a:cubicBezTo>
                  <a:pt x="980" y="2672"/>
                  <a:pt x="1457" y="2593"/>
                  <a:pt x="1616" y="2561"/>
                </a:cubicBezTo>
                <a:lnTo>
                  <a:pt x="1998" y="2942"/>
                </a:lnTo>
                <a:cubicBezTo>
                  <a:pt x="2030" y="2974"/>
                  <a:pt x="2078" y="2974"/>
                  <a:pt x="2109" y="2942"/>
                </a:cubicBezTo>
                <a:lnTo>
                  <a:pt x="2253" y="2815"/>
                </a:lnTo>
                <a:lnTo>
                  <a:pt x="2602" y="3165"/>
                </a:lnTo>
                <a:cubicBezTo>
                  <a:pt x="2618" y="3181"/>
                  <a:pt x="2634" y="3181"/>
                  <a:pt x="2666" y="3181"/>
                </a:cubicBezTo>
                <a:lnTo>
                  <a:pt x="2857" y="3181"/>
                </a:lnTo>
                <a:lnTo>
                  <a:pt x="2873" y="3579"/>
                </a:lnTo>
                <a:cubicBezTo>
                  <a:pt x="2873" y="3611"/>
                  <a:pt x="2889" y="3626"/>
                  <a:pt x="2905" y="3642"/>
                </a:cubicBezTo>
                <a:cubicBezTo>
                  <a:pt x="2920" y="3659"/>
                  <a:pt x="2936" y="3659"/>
                  <a:pt x="2968" y="3659"/>
                </a:cubicBezTo>
                <a:lnTo>
                  <a:pt x="3381" y="3642"/>
                </a:lnTo>
                <a:lnTo>
                  <a:pt x="3398" y="3945"/>
                </a:lnTo>
                <a:cubicBezTo>
                  <a:pt x="3398" y="3977"/>
                  <a:pt x="3429" y="4008"/>
                  <a:pt x="3477" y="4008"/>
                </a:cubicBezTo>
                <a:lnTo>
                  <a:pt x="3636" y="4024"/>
                </a:lnTo>
                <a:lnTo>
                  <a:pt x="3795" y="4183"/>
                </a:lnTo>
                <a:cubicBezTo>
                  <a:pt x="3811" y="4199"/>
                  <a:pt x="3827" y="4199"/>
                  <a:pt x="3859" y="4199"/>
                </a:cubicBezTo>
                <a:lnTo>
                  <a:pt x="4256" y="4151"/>
                </a:lnTo>
                <a:cubicBezTo>
                  <a:pt x="4288" y="4151"/>
                  <a:pt x="4320" y="4120"/>
                  <a:pt x="4320" y="4072"/>
                </a:cubicBezTo>
                <a:lnTo>
                  <a:pt x="4320" y="3722"/>
                </a:lnTo>
                <a:cubicBezTo>
                  <a:pt x="4320" y="3706"/>
                  <a:pt x="4320" y="3674"/>
                  <a:pt x="4304" y="3674"/>
                </a:cubicBezTo>
                <a:lnTo>
                  <a:pt x="2857" y="2211"/>
                </a:lnTo>
                <a:close/>
                <a:moveTo>
                  <a:pt x="4161" y="3754"/>
                </a:moveTo>
                <a:lnTo>
                  <a:pt x="4161" y="4008"/>
                </a:lnTo>
                <a:lnTo>
                  <a:pt x="3875" y="4040"/>
                </a:lnTo>
                <a:lnTo>
                  <a:pt x="3732" y="3881"/>
                </a:lnTo>
                <a:cubicBezTo>
                  <a:pt x="3716" y="3881"/>
                  <a:pt x="3700" y="3865"/>
                  <a:pt x="3684" y="3865"/>
                </a:cubicBezTo>
                <a:lnTo>
                  <a:pt x="3557" y="3865"/>
                </a:lnTo>
                <a:lnTo>
                  <a:pt x="3541" y="3547"/>
                </a:lnTo>
                <a:cubicBezTo>
                  <a:pt x="3541" y="3531"/>
                  <a:pt x="3525" y="3515"/>
                  <a:pt x="3509" y="3499"/>
                </a:cubicBezTo>
                <a:cubicBezTo>
                  <a:pt x="3493" y="3483"/>
                  <a:pt x="3477" y="3468"/>
                  <a:pt x="3445" y="3468"/>
                </a:cubicBezTo>
                <a:lnTo>
                  <a:pt x="3032" y="3499"/>
                </a:lnTo>
                <a:lnTo>
                  <a:pt x="3016" y="3102"/>
                </a:lnTo>
                <a:cubicBezTo>
                  <a:pt x="3016" y="3054"/>
                  <a:pt x="2984" y="3022"/>
                  <a:pt x="2936" y="3022"/>
                </a:cubicBezTo>
                <a:lnTo>
                  <a:pt x="2698" y="3022"/>
                </a:lnTo>
                <a:lnTo>
                  <a:pt x="2300" y="2641"/>
                </a:lnTo>
                <a:cubicBezTo>
                  <a:pt x="2284" y="2609"/>
                  <a:pt x="2221" y="2609"/>
                  <a:pt x="2189" y="2641"/>
                </a:cubicBezTo>
                <a:lnTo>
                  <a:pt x="2062" y="2784"/>
                </a:lnTo>
                <a:lnTo>
                  <a:pt x="1696" y="2418"/>
                </a:lnTo>
                <a:cubicBezTo>
                  <a:pt x="1664" y="2386"/>
                  <a:pt x="1632" y="2386"/>
                  <a:pt x="1616" y="2386"/>
                </a:cubicBezTo>
                <a:cubicBezTo>
                  <a:pt x="1600" y="2386"/>
                  <a:pt x="1075" y="2545"/>
                  <a:pt x="662" y="2243"/>
                </a:cubicBezTo>
                <a:cubicBezTo>
                  <a:pt x="42" y="1814"/>
                  <a:pt x="121" y="1193"/>
                  <a:pt x="233" y="875"/>
                </a:cubicBezTo>
                <a:cubicBezTo>
                  <a:pt x="280" y="748"/>
                  <a:pt x="487" y="414"/>
                  <a:pt x="853" y="255"/>
                </a:cubicBezTo>
                <a:cubicBezTo>
                  <a:pt x="1139" y="127"/>
                  <a:pt x="1441" y="127"/>
                  <a:pt x="1775" y="270"/>
                </a:cubicBezTo>
                <a:cubicBezTo>
                  <a:pt x="2221" y="461"/>
                  <a:pt x="2380" y="827"/>
                  <a:pt x="2427" y="1114"/>
                </a:cubicBezTo>
                <a:cubicBezTo>
                  <a:pt x="2475" y="1400"/>
                  <a:pt x="2396" y="1453"/>
                  <a:pt x="2380" y="1623"/>
                </a:cubicBezTo>
                <a:cubicBezTo>
                  <a:pt x="2364" y="1654"/>
                  <a:pt x="2364" y="1686"/>
                  <a:pt x="2396" y="1718"/>
                </a:cubicBezTo>
                <a:lnTo>
                  <a:pt x="2762" y="2084"/>
                </a:lnTo>
                <a:lnTo>
                  <a:pt x="2682" y="2163"/>
                </a:lnTo>
                <a:cubicBezTo>
                  <a:pt x="2650" y="2195"/>
                  <a:pt x="2650" y="2243"/>
                  <a:pt x="2682" y="2275"/>
                </a:cubicBezTo>
                <a:close/>
                <a:moveTo>
                  <a:pt x="1298" y="779"/>
                </a:moveTo>
                <a:cubicBezTo>
                  <a:pt x="1012" y="779"/>
                  <a:pt x="773" y="1018"/>
                  <a:pt x="773" y="1305"/>
                </a:cubicBezTo>
                <a:cubicBezTo>
                  <a:pt x="773" y="1591"/>
                  <a:pt x="1012" y="1829"/>
                  <a:pt x="1298" y="1829"/>
                </a:cubicBezTo>
                <a:cubicBezTo>
                  <a:pt x="1584" y="1829"/>
                  <a:pt x="1823" y="1591"/>
                  <a:pt x="1823" y="1305"/>
                </a:cubicBezTo>
                <a:cubicBezTo>
                  <a:pt x="1823" y="1018"/>
                  <a:pt x="1584" y="779"/>
                  <a:pt x="1298" y="779"/>
                </a:cubicBezTo>
                <a:close/>
                <a:moveTo>
                  <a:pt x="1298" y="1670"/>
                </a:moveTo>
                <a:cubicBezTo>
                  <a:pt x="1091" y="1670"/>
                  <a:pt x="932" y="1495"/>
                  <a:pt x="932" y="1305"/>
                </a:cubicBezTo>
                <a:cubicBezTo>
                  <a:pt x="932" y="1097"/>
                  <a:pt x="1091" y="939"/>
                  <a:pt x="1298" y="939"/>
                </a:cubicBezTo>
                <a:cubicBezTo>
                  <a:pt x="1489" y="939"/>
                  <a:pt x="1664" y="1097"/>
                  <a:pt x="1664" y="1305"/>
                </a:cubicBezTo>
                <a:cubicBezTo>
                  <a:pt x="1664" y="1495"/>
                  <a:pt x="1489" y="1670"/>
                  <a:pt x="1298" y="167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0" name="Freeform: Shape 2">
            <a:extLst>
              <a:ext uri="{FF2B5EF4-FFF2-40B4-BE49-F238E27FC236}">
                <a16:creationId xmlns:a16="http://schemas.microsoft.com/office/drawing/2014/main" id="{1B15F258-FC3D-7A40-921B-11FDB4620342}"/>
              </a:ext>
            </a:extLst>
          </p:cNvPr>
          <p:cNvSpPr/>
          <p:nvPr/>
        </p:nvSpPr>
        <p:spPr>
          <a:xfrm>
            <a:off x="21262821" y="6040927"/>
            <a:ext cx="1940760" cy="1940400"/>
          </a:xfrm>
          <a:custGeom>
            <a:avLst/>
            <a:gdLst/>
            <a:ahLst/>
            <a:cxnLst>
              <a:cxn ang="3cd4">
                <a:pos x="hc" y="t"/>
              </a:cxn>
              <a:cxn ang="cd2">
                <a:pos x="l" y="vc"/>
              </a:cxn>
              <a:cxn ang="cd4">
                <a:pos x="hc" y="b"/>
              </a:cxn>
              <a:cxn ang="0">
                <a:pos x="r" y="vc"/>
              </a:cxn>
            </a:cxnLst>
            <a:rect l="l" t="t" r="r" b="b"/>
            <a:pathLst>
              <a:path w="5392" h="5391">
                <a:moveTo>
                  <a:pt x="2704" y="0"/>
                </a:moveTo>
                <a:cubicBezTo>
                  <a:pt x="1209" y="0"/>
                  <a:pt x="0" y="1208"/>
                  <a:pt x="0" y="2687"/>
                </a:cubicBezTo>
                <a:cubicBezTo>
                  <a:pt x="0" y="4182"/>
                  <a:pt x="1209" y="5391"/>
                  <a:pt x="2704" y="5391"/>
                </a:cubicBezTo>
                <a:cubicBezTo>
                  <a:pt x="4183" y="5391"/>
                  <a:pt x="5392" y="4182"/>
                  <a:pt x="5392" y="2687"/>
                </a:cubicBezTo>
                <a:cubicBezTo>
                  <a:pt x="5392" y="1208"/>
                  <a:pt x="4183" y="0"/>
                  <a:pt x="2704" y="0"/>
                </a:cubicBezTo>
                <a:close/>
                <a:moveTo>
                  <a:pt x="2704" y="5232"/>
                </a:moveTo>
                <a:cubicBezTo>
                  <a:pt x="1304" y="5232"/>
                  <a:pt x="159" y="4087"/>
                  <a:pt x="159" y="2687"/>
                </a:cubicBezTo>
                <a:cubicBezTo>
                  <a:pt x="159" y="1288"/>
                  <a:pt x="1304" y="158"/>
                  <a:pt x="2704" y="158"/>
                </a:cubicBezTo>
                <a:cubicBezTo>
                  <a:pt x="4103" y="158"/>
                  <a:pt x="5233" y="1288"/>
                  <a:pt x="5233" y="2687"/>
                </a:cubicBezTo>
                <a:cubicBezTo>
                  <a:pt x="5233" y="4087"/>
                  <a:pt x="4103" y="5232"/>
                  <a:pt x="2704" y="5232"/>
                </a:cubicBezTo>
                <a:close/>
                <a:moveTo>
                  <a:pt x="3357" y="1303"/>
                </a:moveTo>
                <a:cubicBezTo>
                  <a:pt x="3309" y="1288"/>
                  <a:pt x="3262" y="1303"/>
                  <a:pt x="3245" y="1351"/>
                </a:cubicBezTo>
                <a:cubicBezTo>
                  <a:pt x="3230" y="1383"/>
                  <a:pt x="3245" y="1431"/>
                  <a:pt x="3277" y="1446"/>
                </a:cubicBezTo>
                <a:cubicBezTo>
                  <a:pt x="3420" y="1526"/>
                  <a:pt x="3548" y="1606"/>
                  <a:pt x="3659" y="1717"/>
                </a:cubicBezTo>
                <a:cubicBezTo>
                  <a:pt x="3675" y="1733"/>
                  <a:pt x="3691" y="1733"/>
                  <a:pt x="3707" y="1733"/>
                </a:cubicBezTo>
                <a:cubicBezTo>
                  <a:pt x="3739" y="1733"/>
                  <a:pt x="3754" y="1733"/>
                  <a:pt x="3771" y="1717"/>
                </a:cubicBezTo>
                <a:cubicBezTo>
                  <a:pt x="3802" y="1685"/>
                  <a:pt x="3802" y="1637"/>
                  <a:pt x="3771" y="1606"/>
                </a:cubicBezTo>
                <a:cubicBezTo>
                  <a:pt x="3643" y="1479"/>
                  <a:pt x="3500" y="1383"/>
                  <a:pt x="3357" y="1303"/>
                </a:cubicBezTo>
                <a:close/>
                <a:moveTo>
                  <a:pt x="3961" y="1972"/>
                </a:moveTo>
                <a:cubicBezTo>
                  <a:pt x="3929" y="1988"/>
                  <a:pt x="3914" y="2035"/>
                  <a:pt x="3929" y="2083"/>
                </a:cubicBezTo>
                <a:cubicBezTo>
                  <a:pt x="3993" y="2210"/>
                  <a:pt x="4041" y="2369"/>
                  <a:pt x="4057" y="2512"/>
                </a:cubicBezTo>
                <a:cubicBezTo>
                  <a:pt x="4072" y="2560"/>
                  <a:pt x="4104" y="2592"/>
                  <a:pt x="4136" y="2592"/>
                </a:cubicBezTo>
                <a:lnTo>
                  <a:pt x="4152" y="2592"/>
                </a:lnTo>
                <a:cubicBezTo>
                  <a:pt x="4200" y="2576"/>
                  <a:pt x="4216" y="2544"/>
                  <a:pt x="4216" y="2496"/>
                </a:cubicBezTo>
                <a:cubicBezTo>
                  <a:pt x="4200" y="2321"/>
                  <a:pt x="4152" y="2163"/>
                  <a:pt x="4072" y="2003"/>
                </a:cubicBezTo>
                <a:cubicBezTo>
                  <a:pt x="4057" y="1972"/>
                  <a:pt x="4009" y="1955"/>
                  <a:pt x="3961" y="1972"/>
                </a:cubicBezTo>
                <a:close/>
                <a:moveTo>
                  <a:pt x="1368" y="2146"/>
                </a:moveTo>
                <a:cubicBezTo>
                  <a:pt x="1320" y="2131"/>
                  <a:pt x="1272" y="2146"/>
                  <a:pt x="1256" y="2194"/>
                </a:cubicBezTo>
                <a:cubicBezTo>
                  <a:pt x="1209" y="2353"/>
                  <a:pt x="1177" y="2528"/>
                  <a:pt x="1177" y="2687"/>
                </a:cubicBezTo>
                <a:cubicBezTo>
                  <a:pt x="1177" y="2735"/>
                  <a:pt x="1209" y="2767"/>
                  <a:pt x="1256" y="2767"/>
                </a:cubicBezTo>
                <a:cubicBezTo>
                  <a:pt x="1304" y="2767"/>
                  <a:pt x="1336" y="2735"/>
                  <a:pt x="1336" y="2687"/>
                </a:cubicBezTo>
                <a:cubicBezTo>
                  <a:pt x="1336" y="2544"/>
                  <a:pt x="1368" y="2385"/>
                  <a:pt x="1416" y="2242"/>
                </a:cubicBezTo>
                <a:cubicBezTo>
                  <a:pt x="1431" y="2194"/>
                  <a:pt x="1399" y="2163"/>
                  <a:pt x="1368" y="2146"/>
                </a:cubicBezTo>
                <a:close/>
                <a:moveTo>
                  <a:pt x="2863" y="1176"/>
                </a:moveTo>
                <a:cubicBezTo>
                  <a:pt x="2688" y="1160"/>
                  <a:pt x="2513" y="1160"/>
                  <a:pt x="2354" y="1208"/>
                </a:cubicBezTo>
                <a:cubicBezTo>
                  <a:pt x="2306" y="1224"/>
                  <a:pt x="2274" y="1256"/>
                  <a:pt x="2290" y="1303"/>
                </a:cubicBezTo>
                <a:cubicBezTo>
                  <a:pt x="2306" y="1336"/>
                  <a:pt x="2338" y="1367"/>
                  <a:pt x="2370" y="1367"/>
                </a:cubicBezTo>
                <a:lnTo>
                  <a:pt x="2386" y="1367"/>
                </a:lnTo>
                <a:cubicBezTo>
                  <a:pt x="2529" y="1319"/>
                  <a:pt x="2688" y="1319"/>
                  <a:pt x="2847" y="1336"/>
                </a:cubicBezTo>
                <a:cubicBezTo>
                  <a:pt x="2879" y="1336"/>
                  <a:pt x="2926" y="1303"/>
                  <a:pt x="2926" y="1256"/>
                </a:cubicBezTo>
                <a:cubicBezTo>
                  <a:pt x="2926" y="1224"/>
                  <a:pt x="2895" y="1176"/>
                  <a:pt x="2863" y="1176"/>
                </a:cubicBezTo>
                <a:close/>
                <a:moveTo>
                  <a:pt x="2704" y="492"/>
                </a:moveTo>
                <a:cubicBezTo>
                  <a:pt x="1479" y="492"/>
                  <a:pt x="493" y="1479"/>
                  <a:pt x="493" y="2687"/>
                </a:cubicBezTo>
                <a:cubicBezTo>
                  <a:pt x="493" y="2973"/>
                  <a:pt x="541" y="3228"/>
                  <a:pt x="636" y="3499"/>
                </a:cubicBezTo>
                <a:cubicBezTo>
                  <a:pt x="652" y="3514"/>
                  <a:pt x="684" y="3546"/>
                  <a:pt x="716" y="3546"/>
                </a:cubicBezTo>
                <a:lnTo>
                  <a:pt x="4692" y="3546"/>
                </a:lnTo>
                <a:cubicBezTo>
                  <a:pt x="4724" y="3546"/>
                  <a:pt x="4755" y="3514"/>
                  <a:pt x="4755" y="3499"/>
                </a:cubicBezTo>
                <a:cubicBezTo>
                  <a:pt x="4867" y="3228"/>
                  <a:pt x="4915" y="2973"/>
                  <a:pt x="4915" y="2687"/>
                </a:cubicBezTo>
                <a:cubicBezTo>
                  <a:pt x="4915" y="1479"/>
                  <a:pt x="3913" y="492"/>
                  <a:pt x="2704" y="492"/>
                </a:cubicBezTo>
                <a:close/>
                <a:moveTo>
                  <a:pt x="2704" y="3085"/>
                </a:moveTo>
                <a:cubicBezTo>
                  <a:pt x="2879" y="3085"/>
                  <a:pt x="3022" y="3212"/>
                  <a:pt x="3038" y="3387"/>
                </a:cubicBezTo>
                <a:lnTo>
                  <a:pt x="2370" y="3387"/>
                </a:lnTo>
                <a:cubicBezTo>
                  <a:pt x="2386" y="3212"/>
                  <a:pt x="2529" y="3085"/>
                  <a:pt x="2704" y="3085"/>
                </a:cubicBezTo>
                <a:close/>
                <a:moveTo>
                  <a:pt x="4628" y="3387"/>
                </a:moveTo>
                <a:lnTo>
                  <a:pt x="3197" y="3387"/>
                </a:lnTo>
                <a:cubicBezTo>
                  <a:pt x="3181" y="3133"/>
                  <a:pt x="2958" y="2926"/>
                  <a:pt x="2704" y="2926"/>
                </a:cubicBezTo>
                <a:lnTo>
                  <a:pt x="2624" y="2926"/>
                </a:lnTo>
                <a:lnTo>
                  <a:pt x="2004" y="1176"/>
                </a:lnTo>
                <a:cubicBezTo>
                  <a:pt x="1988" y="1128"/>
                  <a:pt x="1940" y="1113"/>
                  <a:pt x="1893" y="1128"/>
                </a:cubicBezTo>
                <a:cubicBezTo>
                  <a:pt x="1861" y="1145"/>
                  <a:pt x="1829" y="1192"/>
                  <a:pt x="1845" y="1224"/>
                </a:cubicBezTo>
                <a:lnTo>
                  <a:pt x="1908" y="1399"/>
                </a:lnTo>
                <a:lnTo>
                  <a:pt x="1877" y="1399"/>
                </a:lnTo>
                <a:cubicBezTo>
                  <a:pt x="1734" y="1494"/>
                  <a:pt x="1607" y="1606"/>
                  <a:pt x="1511" y="1749"/>
                </a:cubicBezTo>
                <a:cubicBezTo>
                  <a:pt x="1479" y="1781"/>
                  <a:pt x="1479" y="1828"/>
                  <a:pt x="1511" y="1860"/>
                </a:cubicBezTo>
                <a:cubicBezTo>
                  <a:pt x="1527" y="1876"/>
                  <a:pt x="1543" y="1876"/>
                  <a:pt x="1574" y="1876"/>
                </a:cubicBezTo>
                <a:cubicBezTo>
                  <a:pt x="1590" y="1876"/>
                  <a:pt x="1607" y="1860"/>
                  <a:pt x="1622" y="1845"/>
                </a:cubicBezTo>
                <a:cubicBezTo>
                  <a:pt x="1717" y="1733"/>
                  <a:pt x="1829" y="1622"/>
                  <a:pt x="1956" y="1542"/>
                </a:cubicBezTo>
                <a:lnTo>
                  <a:pt x="2465" y="2990"/>
                </a:lnTo>
                <a:cubicBezTo>
                  <a:pt x="2322" y="3053"/>
                  <a:pt x="2226" y="3212"/>
                  <a:pt x="2211" y="3387"/>
                </a:cubicBezTo>
                <a:lnTo>
                  <a:pt x="779" y="3387"/>
                </a:lnTo>
                <a:cubicBezTo>
                  <a:pt x="700" y="3164"/>
                  <a:pt x="652" y="2926"/>
                  <a:pt x="652" y="2687"/>
                </a:cubicBezTo>
                <a:cubicBezTo>
                  <a:pt x="652" y="1558"/>
                  <a:pt x="1574" y="636"/>
                  <a:pt x="2704" y="636"/>
                </a:cubicBezTo>
                <a:cubicBezTo>
                  <a:pt x="3833" y="636"/>
                  <a:pt x="4755" y="1558"/>
                  <a:pt x="4755" y="2687"/>
                </a:cubicBezTo>
                <a:cubicBezTo>
                  <a:pt x="4755" y="2926"/>
                  <a:pt x="4708" y="3164"/>
                  <a:pt x="4628" y="338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1" name="Freeform: Shape 3">
            <a:extLst>
              <a:ext uri="{FF2B5EF4-FFF2-40B4-BE49-F238E27FC236}">
                <a16:creationId xmlns:a16="http://schemas.microsoft.com/office/drawing/2014/main" id="{CDD38DDB-F59E-0144-92EC-92B10E3853F3}"/>
              </a:ext>
            </a:extLst>
          </p:cNvPr>
          <p:cNvSpPr/>
          <p:nvPr/>
        </p:nvSpPr>
        <p:spPr>
          <a:xfrm>
            <a:off x="17317783" y="3222266"/>
            <a:ext cx="1751399" cy="1282320"/>
          </a:xfrm>
          <a:custGeom>
            <a:avLst/>
            <a:gdLst/>
            <a:ahLst/>
            <a:cxnLst>
              <a:cxn ang="3cd4">
                <a:pos x="hc" y="t"/>
              </a:cxn>
              <a:cxn ang="cd2">
                <a:pos x="l" y="vc"/>
              </a:cxn>
              <a:cxn ang="cd4">
                <a:pos x="hc" y="b"/>
              </a:cxn>
              <a:cxn ang="0">
                <a:pos x="r" y="vc"/>
              </a:cxn>
            </a:cxnLst>
            <a:rect l="l" t="t" r="r" b="b"/>
            <a:pathLst>
              <a:path w="4866" h="3563">
                <a:moveTo>
                  <a:pt x="2767" y="334"/>
                </a:moveTo>
                <a:lnTo>
                  <a:pt x="2767" y="80"/>
                </a:lnTo>
                <a:cubicBezTo>
                  <a:pt x="2767" y="32"/>
                  <a:pt x="2735" y="0"/>
                  <a:pt x="2688" y="0"/>
                </a:cubicBezTo>
                <a:lnTo>
                  <a:pt x="2194" y="0"/>
                </a:lnTo>
                <a:cubicBezTo>
                  <a:pt x="2147" y="0"/>
                  <a:pt x="2115" y="32"/>
                  <a:pt x="2115" y="80"/>
                </a:cubicBezTo>
                <a:lnTo>
                  <a:pt x="2115" y="334"/>
                </a:lnTo>
                <a:lnTo>
                  <a:pt x="445" y="334"/>
                </a:lnTo>
                <a:cubicBezTo>
                  <a:pt x="206" y="334"/>
                  <a:pt x="0" y="525"/>
                  <a:pt x="0" y="779"/>
                </a:cubicBezTo>
                <a:lnTo>
                  <a:pt x="0" y="3133"/>
                </a:lnTo>
                <a:cubicBezTo>
                  <a:pt x="0" y="3372"/>
                  <a:pt x="206" y="3563"/>
                  <a:pt x="445" y="3563"/>
                </a:cubicBezTo>
                <a:lnTo>
                  <a:pt x="4421" y="3563"/>
                </a:lnTo>
                <a:cubicBezTo>
                  <a:pt x="4676" y="3563"/>
                  <a:pt x="4866" y="3372"/>
                  <a:pt x="4866" y="3133"/>
                </a:cubicBezTo>
                <a:lnTo>
                  <a:pt x="4866" y="779"/>
                </a:lnTo>
                <a:cubicBezTo>
                  <a:pt x="4866" y="525"/>
                  <a:pt x="4676" y="334"/>
                  <a:pt x="4421" y="334"/>
                </a:cubicBezTo>
                <a:close/>
                <a:moveTo>
                  <a:pt x="2608" y="160"/>
                </a:moveTo>
                <a:lnTo>
                  <a:pt x="2608" y="779"/>
                </a:lnTo>
                <a:lnTo>
                  <a:pt x="2274" y="779"/>
                </a:lnTo>
                <a:lnTo>
                  <a:pt x="2274" y="446"/>
                </a:lnTo>
                <a:lnTo>
                  <a:pt x="2274" y="414"/>
                </a:lnTo>
                <a:lnTo>
                  <a:pt x="2274" y="366"/>
                </a:lnTo>
                <a:lnTo>
                  <a:pt x="2274" y="160"/>
                </a:lnTo>
                <a:close/>
                <a:moveTo>
                  <a:pt x="4708" y="779"/>
                </a:moveTo>
                <a:lnTo>
                  <a:pt x="4708" y="3133"/>
                </a:lnTo>
                <a:cubicBezTo>
                  <a:pt x="4708" y="3277"/>
                  <a:pt x="4580" y="3404"/>
                  <a:pt x="4421" y="3404"/>
                </a:cubicBezTo>
                <a:lnTo>
                  <a:pt x="445" y="3404"/>
                </a:lnTo>
                <a:cubicBezTo>
                  <a:pt x="286" y="3404"/>
                  <a:pt x="159" y="3277"/>
                  <a:pt x="159" y="3133"/>
                </a:cubicBezTo>
                <a:lnTo>
                  <a:pt x="159" y="779"/>
                </a:lnTo>
                <a:cubicBezTo>
                  <a:pt x="159" y="621"/>
                  <a:pt x="286" y="493"/>
                  <a:pt x="445" y="493"/>
                </a:cubicBezTo>
                <a:lnTo>
                  <a:pt x="2115" y="493"/>
                </a:lnTo>
                <a:lnTo>
                  <a:pt x="2115" y="859"/>
                </a:lnTo>
                <a:cubicBezTo>
                  <a:pt x="2115" y="907"/>
                  <a:pt x="2147" y="939"/>
                  <a:pt x="2194" y="939"/>
                </a:cubicBezTo>
                <a:lnTo>
                  <a:pt x="2688" y="939"/>
                </a:lnTo>
                <a:cubicBezTo>
                  <a:pt x="2735" y="939"/>
                  <a:pt x="2767" y="907"/>
                  <a:pt x="2767" y="859"/>
                </a:cubicBezTo>
                <a:lnTo>
                  <a:pt x="2767" y="493"/>
                </a:lnTo>
                <a:lnTo>
                  <a:pt x="4421" y="493"/>
                </a:lnTo>
                <a:cubicBezTo>
                  <a:pt x="4580" y="493"/>
                  <a:pt x="4708" y="621"/>
                  <a:pt x="4708" y="779"/>
                </a:cubicBezTo>
                <a:close/>
                <a:moveTo>
                  <a:pt x="1224" y="1734"/>
                </a:moveTo>
                <a:cubicBezTo>
                  <a:pt x="1447" y="1734"/>
                  <a:pt x="1622" y="1559"/>
                  <a:pt x="1622" y="1336"/>
                </a:cubicBezTo>
                <a:cubicBezTo>
                  <a:pt x="1622" y="1114"/>
                  <a:pt x="1447" y="939"/>
                  <a:pt x="1224" y="939"/>
                </a:cubicBezTo>
                <a:cubicBezTo>
                  <a:pt x="1001" y="939"/>
                  <a:pt x="827" y="1114"/>
                  <a:pt x="827" y="1336"/>
                </a:cubicBezTo>
                <a:cubicBezTo>
                  <a:pt x="827" y="1559"/>
                  <a:pt x="1001" y="1734"/>
                  <a:pt x="1224" y="1734"/>
                </a:cubicBezTo>
                <a:close/>
                <a:moveTo>
                  <a:pt x="1224" y="1098"/>
                </a:moveTo>
                <a:cubicBezTo>
                  <a:pt x="1352" y="1098"/>
                  <a:pt x="1463" y="1193"/>
                  <a:pt x="1463" y="1336"/>
                </a:cubicBezTo>
                <a:cubicBezTo>
                  <a:pt x="1463" y="1463"/>
                  <a:pt x="1352" y="1575"/>
                  <a:pt x="1224" y="1575"/>
                </a:cubicBezTo>
                <a:cubicBezTo>
                  <a:pt x="1097" y="1575"/>
                  <a:pt x="986" y="1463"/>
                  <a:pt x="986" y="1336"/>
                </a:cubicBezTo>
                <a:cubicBezTo>
                  <a:pt x="986" y="1193"/>
                  <a:pt x="1097" y="1098"/>
                  <a:pt x="1224" y="1098"/>
                </a:cubicBezTo>
                <a:close/>
                <a:moveTo>
                  <a:pt x="4119" y="1066"/>
                </a:moveTo>
                <a:lnTo>
                  <a:pt x="2560" y="1066"/>
                </a:lnTo>
                <a:cubicBezTo>
                  <a:pt x="2528" y="1066"/>
                  <a:pt x="2481" y="1098"/>
                  <a:pt x="2481" y="1145"/>
                </a:cubicBezTo>
                <a:cubicBezTo>
                  <a:pt x="2481" y="1177"/>
                  <a:pt x="2528" y="1225"/>
                  <a:pt x="2560" y="1225"/>
                </a:cubicBezTo>
                <a:lnTo>
                  <a:pt x="4119" y="1225"/>
                </a:lnTo>
                <a:cubicBezTo>
                  <a:pt x="4151" y="1225"/>
                  <a:pt x="4199" y="1177"/>
                  <a:pt x="4199" y="1145"/>
                </a:cubicBezTo>
                <a:cubicBezTo>
                  <a:pt x="4199" y="1098"/>
                  <a:pt x="4151" y="1066"/>
                  <a:pt x="4119" y="1066"/>
                </a:cubicBezTo>
                <a:close/>
                <a:moveTo>
                  <a:pt x="4119" y="1527"/>
                </a:moveTo>
                <a:lnTo>
                  <a:pt x="2560" y="1527"/>
                </a:lnTo>
                <a:cubicBezTo>
                  <a:pt x="2528" y="1527"/>
                  <a:pt x="2481" y="1575"/>
                  <a:pt x="2481" y="1606"/>
                </a:cubicBezTo>
                <a:cubicBezTo>
                  <a:pt x="2481" y="1654"/>
                  <a:pt x="2528" y="1686"/>
                  <a:pt x="2560" y="1686"/>
                </a:cubicBezTo>
                <a:lnTo>
                  <a:pt x="4119" y="1686"/>
                </a:lnTo>
                <a:cubicBezTo>
                  <a:pt x="4151" y="1686"/>
                  <a:pt x="4199" y="1654"/>
                  <a:pt x="4199" y="1606"/>
                </a:cubicBezTo>
                <a:cubicBezTo>
                  <a:pt x="4199" y="1575"/>
                  <a:pt x="4151" y="1527"/>
                  <a:pt x="4119" y="1527"/>
                </a:cubicBezTo>
                <a:close/>
                <a:moveTo>
                  <a:pt x="4119" y="2004"/>
                </a:moveTo>
                <a:lnTo>
                  <a:pt x="2560" y="2004"/>
                </a:lnTo>
                <a:cubicBezTo>
                  <a:pt x="2528" y="2004"/>
                  <a:pt x="2481" y="2036"/>
                  <a:pt x="2481" y="2084"/>
                </a:cubicBezTo>
                <a:cubicBezTo>
                  <a:pt x="2481" y="2132"/>
                  <a:pt x="2528" y="2163"/>
                  <a:pt x="2560" y="2163"/>
                </a:cubicBezTo>
                <a:lnTo>
                  <a:pt x="4119" y="2163"/>
                </a:lnTo>
                <a:cubicBezTo>
                  <a:pt x="4151" y="2163"/>
                  <a:pt x="4199" y="2132"/>
                  <a:pt x="4199" y="2084"/>
                </a:cubicBezTo>
                <a:cubicBezTo>
                  <a:pt x="4199" y="2036"/>
                  <a:pt x="4151" y="2004"/>
                  <a:pt x="4119" y="2004"/>
                </a:cubicBezTo>
                <a:close/>
                <a:moveTo>
                  <a:pt x="4119" y="2990"/>
                </a:moveTo>
                <a:lnTo>
                  <a:pt x="3212" y="2990"/>
                </a:lnTo>
                <a:cubicBezTo>
                  <a:pt x="3181" y="2990"/>
                  <a:pt x="3133" y="3022"/>
                  <a:pt x="3133" y="3070"/>
                </a:cubicBezTo>
                <a:cubicBezTo>
                  <a:pt x="3133" y="3118"/>
                  <a:pt x="3181" y="3150"/>
                  <a:pt x="3212" y="3150"/>
                </a:cubicBezTo>
                <a:lnTo>
                  <a:pt x="4119" y="3150"/>
                </a:lnTo>
                <a:cubicBezTo>
                  <a:pt x="4151" y="3150"/>
                  <a:pt x="4199" y="3118"/>
                  <a:pt x="4199" y="3070"/>
                </a:cubicBezTo>
                <a:cubicBezTo>
                  <a:pt x="4199" y="3022"/>
                  <a:pt x="4151" y="2990"/>
                  <a:pt x="4119" y="2990"/>
                </a:cubicBezTo>
                <a:close/>
                <a:moveTo>
                  <a:pt x="1622" y="2990"/>
                </a:moveTo>
                <a:lnTo>
                  <a:pt x="731" y="2990"/>
                </a:lnTo>
                <a:cubicBezTo>
                  <a:pt x="683" y="2990"/>
                  <a:pt x="652" y="3022"/>
                  <a:pt x="652" y="3070"/>
                </a:cubicBezTo>
                <a:cubicBezTo>
                  <a:pt x="652" y="3118"/>
                  <a:pt x="683" y="3150"/>
                  <a:pt x="731" y="3150"/>
                </a:cubicBezTo>
                <a:lnTo>
                  <a:pt x="1622" y="3150"/>
                </a:lnTo>
                <a:cubicBezTo>
                  <a:pt x="1670" y="3150"/>
                  <a:pt x="1701" y="3118"/>
                  <a:pt x="1701" y="3070"/>
                </a:cubicBezTo>
                <a:cubicBezTo>
                  <a:pt x="1701" y="3022"/>
                  <a:pt x="1670" y="2990"/>
                  <a:pt x="1622" y="2990"/>
                </a:cubicBezTo>
                <a:close/>
                <a:moveTo>
                  <a:pt x="1558" y="1957"/>
                </a:moveTo>
                <a:cubicBezTo>
                  <a:pt x="1256" y="1766"/>
                  <a:pt x="954" y="1877"/>
                  <a:pt x="779" y="2052"/>
                </a:cubicBezTo>
                <a:cubicBezTo>
                  <a:pt x="620" y="2211"/>
                  <a:pt x="540" y="2497"/>
                  <a:pt x="540" y="2529"/>
                </a:cubicBezTo>
                <a:cubicBezTo>
                  <a:pt x="540" y="2561"/>
                  <a:pt x="540" y="2577"/>
                  <a:pt x="556" y="2593"/>
                </a:cubicBezTo>
                <a:cubicBezTo>
                  <a:pt x="572" y="2609"/>
                  <a:pt x="604" y="2624"/>
                  <a:pt x="620" y="2624"/>
                </a:cubicBezTo>
                <a:lnTo>
                  <a:pt x="1813" y="2624"/>
                </a:lnTo>
                <a:cubicBezTo>
                  <a:pt x="1845" y="2624"/>
                  <a:pt x="1861" y="2609"/>
                  <a:pt x="1876" y="2593"/>
                </a:cubicBezTo>
                <a:cubicBezTo>
                  <a:pt x="1892" y="2577"/>
                  <a:pt x="1892" y="2561"/>
                  <a:pt x="1892" y="2545"/>
                </a:cubicBezTo>
                <a:cubicBezTo>
                  <a:pt x="1892" y="2529"/>
                  <a:pt x="1861" y="2163"/>
                  <a:pt x="1558" y="1957"/>
                </a:cubicBezTo>
                <a:close/>
                <a:moveTo>
                  <a:pt x="731" y="2466"/>
                </a:moveTo>
                <a:cubicBezTo>
                  <a:pt x="747" y="2370"/>
                  <a:pt x="811" y="2243"/>
                  <a:pt x="890" y="2179"/>
                </a:cubicBezTo>
                <a:cubicBezTo>
                  <a:pt x="954" y="2100"/>
                  <a:pt x="1192" y="1909"/>
                  <a:pt x="1479" y="2100"/>
                </a:cubicBezTo>
                <a:cubicBezTo>
                  <a:pt x="1638" y="2195"/>
                  <a:pt x="1701" y="2370"/>
                  <a:pt x="1718" y="246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2" name="Freeform: Shape 4">
            <a:extLst>
              <a:ext uri="{FF2B5EF4-FFF2-40B4-BE49-F238E27FC236}">
                <a16:creationId xmlns:a16="http://schemas.microsoft.com/office/drawing/2014/main" id="{42DBDE73-3743-E14D-A3F4-684DD33C67F3}"/>
              </a:ext>
            </a:extLst>
          </p:cNvPr>
          <p:cNvSpPr/>
          <p:nvPr/>
        </p:nvSpPr>
        <p:spPr>
          <a:xfrm>
            <a:off x="5963554" y="9785488"/>
            <a:ext cx="1614240" cy="1390680"/>
          </a:xfrm>
          <a:custGeom>
            <a:avLst/>
            <a:gdLst/>
            <a:ahLst/>
            <a:cxnLst>
              <a:cxn ang="3cd4">
                <a:pos x="hc" y="t"/>
              </a:cxn>
              <a:cxn ang="cd2">
                <a:pos x="l" y="vc"/>
              </a:cxn>
              <a:cxn ang="cd4">
                <a:pos x="hc" y="b"/>
              </a:cxn>
              <a:cxn ang="0">
                <a:pos x="r" y="vc"/>
              </a:cxn>
            </a:cxnLst>
            <a:rect l="l" t="t" r="r" b="b"/>
            <a:pathLst>
              <a:path w="4485" h="3864">
                <a:moveTo>
                  <a:pt x="4294" y="620"/>
                </a:moveTo>
                <a:lnTo>
                  <a:pt x="3085" y="620"/>
                </a:lnTo>
                <a:lnTo>
                  <a:pt x="3085" y="222"/>
                </a:lnTo>
                <a:cubicBezTo>
                  <a:pt x="3085" y="95"/>
                  <a:pt x="2990" y="0"/>
                  <a:pt x="2863" y="0"/>
                </a:cubicBezTo>
                <a:lnTo>
                  <a:pt x="1591" y="0"/>
                </a:lnTo>
                <a:cubicBezTo>
                  <a:pt x="1463" y="0"/>
                  <a:pt x="1368" y="95"/>
                  <a:pt x="1368" y="222"/>
                </a:cubicBezTo>
                <a:lnTo>
                  <a:pt x="1368" y="620"/>
                </a:lnTo>
                <a:lnTo>
                  <a:pt x="191" y="620"/>
                </a:lnTo>
                <a:cubicBezTo>
                  <a:pt x="80" y="620"/>
                  <a:pt x="0" y="700"/>
                  <a:pt x="0" y="795"/>
                </a:cubicBezTo>
                <a:lnTo>
                  <a:pt x="0" y="3674"/>
                </a:lnTo>
                <a:cubicBezTo>
                  <a:pt x="0" y="3769"/>
                  <a:pt x="80" y="3864"/>
                  <a:pt x="191" y="3864"/>
                </a:cubicBezTo>
                <a:lnTo>
                  <a:pt x="4294" y="3864"/>
                </a:lnTo>
                <a:cubicBezTo>
                  <a:pt x="4390" y="3864"/>
                  <a:pt x="4485" y="3769"/>
                  <a:pt x="4485" y="3674"/>
                </a:cubicBezTo>
                <a:lnTo>
                  <a:pt x="4485" y="795"/>
                </a:lnTo>
                <a:cubicBezTo>
                  <a:pt x="4485" y="700"/>
                  <a:pt x="4390" y="620"/>
                  <a:pt x="4294" y="620"/>
                </a:cubicBezTo>
                <a:close/>
                <a:moveTo>
                  <a:pt x="1527" y="222"/>
                </a:moveTo>
                <a:cubicBezTo>
                  <a:pt x="1527" y="191"/>
                  <a:pt x="1559" y="159"/>
                  <a:pt x="1591" y="159"/>
                </a:cubicBezTo>
                <a:lnTo>
                  <a:pt x="2863" y="159"/>
                </a:lnTo>
                <a:cubicBezTo>
                  <a:pt x="2910" y="159"/>
                  <a:pt x="2927" y="191"/>
                  <a:pt x="2927" y="222"/>
                </a:cubicBezTo>
                <a:lnTo>
                  <a:pt x="2927" y="620"/>
                </a:lnTo>
                <a:lnTo>
                  <a:pt x="1527" y="620"/>
                </a:lnTo>
                <a:close/>
                <a:moveTo>
                  <a:pt x="4326" y="3674"/>
                </a:moveTo>
                <a:cubicBezTo>
                  <a:pt x="4326" y="3690"/>
                  <a:pt x="4310" y="3706"/>
                  <a:pt x="4294" y="3706"/>
                </a:cubicBezTo>
                <a:lnTo>
                  <a:pt x="191" y="3706"/>
                </a:lnTo>
                <a:cubicBezTo>
                  <a:pt x="175" y="3706"/>
                  <a:pt x="159" y="3690"/>
                  <a:pt x="159" y="3674"/>
                </a:cubicBezTo>
                <a:lnTo>
                  <a:pt x="159" y="795"/>
                </a:lnTo>
                <a:cubicBezTo>
                  <a:pt x="159" y="779"/>
                  <a:pt x="175" y="779"/>
                  <a:pt x="191" y="779"/>
                </a:cubicBezTo>
                <a:lnTo>
                  <a:pt x="1447" y="779"/>
                </a:lnTo>
                <a:lnTo>
                  <a:pt x="3006" y="779"/>
                </a:lnTo>
                <a:lnTo>
                  <a:pt x="4294" y="779"/>
                </a:lnTo>
                <a:cubicBezTo>
                  <a:pt x="4310" y="779"/>
                  <a:pt x="4326" y="779"/>
                  <a:pt x="4326" y="795"/>
                </a:cubicBezTo>
                <a:close/>
                <a:moveTo>
                  <a:pt x="3085" y="1781"/>
                </a:moveTo>
                <a:lnTo>
                  <a:pt x="2688" y="1781"/>
                </a:lnTo>
                <a:lnTo>
                  <a:pt x="2688" y="1383"/>
                </a:lnTo>
                <a:cubicBezTo>
                  <a:pt x="2688" y="1336"/>
                  <a:pt x="2656" y="1304"/>
                  <a:pt x="2609" y="1304"/>
                </a:cubicBezTo>
                <a:lnTo>
                  <a:pt x="1877" y="1304"/>
                </a:lnTo>
                <a:cubicBezTo>
                  <a:pt x="1829" y="1304"/>
                  <a:pt x="1797" y="1336"/>
                  <a:pt x="1797" y="1383"/>
                </a:cubicBezTo>
                <a:lnTo>
                  <a:pt x="1797" y="1781"/>
                </a:lnTo>
                <a:lnTo>
                  <a:pt x="1400" y="1781"/>
                </a:lnTo>
                <a:cubicBezTo>
                  <a:pt x="1352" y="1781"/>
                  <a:pt x="1320" y="1813"/>
                  <a:pt x="1320" y="1861"/>
                </a:cubicBezTo>
                <a:lnTo>
                  <a:pt x="1320" y="2592"/>
                </a:lnTo>
                <a:cubicBezTo>
                  <a:pt x="1320" y="2640"/>
                  <a:pt x="1352" y="2672"/>
                  <a:pt x="1400" y="2672"/>
                </a:cubicBezTo>
                <a:lnTo>
                  <a:pt x="1797" y="2672"/>
                </a:lnTo>
                <a:lnTo>
                  <a:pt x="1797" y="3069"/>
                </a:lnTo>
                <a:cubicBezTo>
                  <a:pt x="1797" y="3117"/>
                  <a:pt x="1829" y="3149"/>
                  <a:pt x="1877" y="3149"/>
                </a:cubicBezTo>
                <a:lnTo>
                  <a:pt x="2609" y="3149"/>
                </a:lnTo>
                <a:cubicBezTo>
                  <a:pt x="2656" y="3149"/>
                  <a:pt x="2688" y="3117"/>
                  <a:pt x="2688" y="3069"/>
                </a:cubicBezTo>
                <a:lnTo>
                  <a:pt x="2688" y="2672"/>
                </a:lnTo>
                <a:lnTo>
                  <a:pt x="3085" y="2672"/>
                </a:lnTo>
                <a:cubicBezTo>
                  <a:pt x="3133" y="2672"/>
                  <a:pt x="3165" y="2640"/>
                  <a:pt x="3165" y="2592"/>
                </a:cubicBezTo>
                <a:lnTo>
                  <a:pt x="3165" y="1861"/>
                </a:lnTo>
                <a:cubicBezTo>
                  <a:pt x="3165" y="1813"/>
                  <a:pt x="3133" y="1781"/>
                  <a:pt x="3085" y="1781"/>
                </a:cubicBezTo>
                <a:close/>
                <a:moveTo>
                  <a:pt x="3006" y="2513"/>
                </a:moveTo>
                <a:lnTo>
                  <a:pt x="2609" y="2513"/>
                </a:lnTo>
                <a:cubicBezTo>
                  <a:pt x="2561" y="2513"/>
                  <a:pt x="2529" y="2545"/>
                  <a:pt x="2529" y="2592"/>
                </a:cubicBezTo>
                <a:lnTo>
                  <a:pt x="2529" y="2990"/>
                </a:lnTo>
                <a:lnTo>
                  <a:pt x="1956" y="2990"/>
                </a:lnTo>
                <a:lnTo>
                  <a:pt x="1956" y="2592"/>
                </a:lnTo>
                <a:cubicBezTo>
                  <a:pt x="1956" y="2545"/>
                  <a:pt x="1925" y="2513"/>
                  <a:pt x="1877" y="2513"/>
                </a:cubicBezTo>
                <a:lnTo>
                  <a:pt x="1479" y="2513"/>
                </a:lnTo>
                <a:lnTo>
                  <a:pt x="1479" y="1940"/>
                </a:lnTo>
                <a:lnTo>
                  <a:pt x="1877" y="1940"/>
                </a:lnTo>
                <a:cubicBezTo>
                  <a:pt x="1925" y="1940"/>
                  <a:pt x="1956" y="1909"/>
                  <a:pt x="1956" y="1861"/>
                </a:cubicBezTo>
                <a:lnTo>
                  <a:pt x="1956" y="1463"/>
                </a:lnTo>
                <a:lnTo>
                  <a:pt x="2529" y="1463"/>
                </a:lnTo>
                <a:lnTo>
                  <a:pt x="2529" y="1861"/>
                </a:lnTo>
                <a:cubicBezTo>
                  <a:pt x="2529" y="1909"/>
                  <a:pt x="2561" y="1940"/>
                  <a:pt x="2609" y="1940"/>
                </a:cubicBezTo>
                <a:lnTo>
                  <a:pt x="3006" y="1940"/>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3" name="Freeform: Shape 5">
            <a:extLst>
              <a:ext uri="{FF2B5EF4-FFF2-40B4-BE49-F238E27FC236}">
                <a16:creationId xmlns:a16="http://schemas.microsoft.com/office/drawing/2014/main" id="{7D11454A-A677-424C-A1E6-243AF7C1E6CD}"/>
              </a:ext>
            </a:extLst>
          </p:cNvPr>
          <p:cNvSpPr/>
          <p:nvPr/>
        </p:nvSpPr>
        <p:spPr>
          <a:xfrm>
            <a:off x="10003633" y="6373113"/>
            <a:ext cx="1797480" cy="1230480"/>
          </a:xfrm>
          <a:custGeom>
            <a:avLst/>
            <a:gdLst/>
            <a:ahLst/>
            <a:cxnLst>
              <a:cxn ang="3cd4">
                <a:pos x="hc" y="t"/>
              </a:cxn>
              <a:cxn ang="cd2">
                <a:pos x="l" y="vc"/>
              </a:cxn>
              <a:cxn ang="cd4">
                <a:pos x="hc" y="b"/>
              </a:cxn>
              <a:cxn ang="0">
                <a:pos x="r" y="vc"/>
              </a:cxn>
            </a:cxnLst>
            <a:rect l="l" t="t" r="r" b="b"/>
            <a:pathLst>
              <a:path w="4994" h="3419">
                <a:moveTo>
                  <a:pt x="4262" y="0"/>
                </a:moveTo>
                <a:lnTo>
                  <a:pt x="731" y="0"/>
                </a:lnTo>
                <a:cubicBezTo>
                  <a:pt x="334" y="0"/>
                  <a:pt x="0" y="318"/>
                  <a:pt x="0" y="716"/>
                </a:cubicBezTo>
                <a:lnTo>
                  <a:pt x="0" y="2688"/>
                </a:lnTo>
                <a:cubicBezTo>
                  <a:pt x="0" y="3085"/>
                  <a:pt x="334" y="3419"/>
                  <a:pt x="731" y="3419"/>
                </a:cubicBezTo>
                <a:lnTo>
                  <a:pt x="4262" y="3419"/>
                </a:lnTo>
                <a:cubicBezTo>
                  <a:pt x="4660" y="3419"/>
                  <a:pt x="4994" y="3085"/>
                  <a:pt x="4994" y="2688"/>
                </a:cubicBezTo>
                <a:lnTo>
                  <a:pt x="4994" y="716"/>
                </a:lnTo>
                <a:cubicBezTo>
                  <a:pt x="4994" y="318"/>
                  <a:pt x="4660" y="0"/>
                  <a:pt x="4262" y="0"/>
                </a:cubicBezTo>
                <a:close/>
                <a:moveTo>
                  <a:pt x="4787" y="2688"/>
                </a:moveTo>
                <a:cubicBezTo>
                  <a:pt x="4787" y="2974"/>
                  <a:pt x="4548" y="3213"/>
                  <a:pt x="4262" y="3213"/>
                </a:cubicBezTo>
                <a:lnTo>
                  <a:pt x="731" y="3213"/>
                </a:lnTo>
                <a:cubicBezTo>
                  <a:pt x="445" y="3213"/>
                  <a:pt x="206" y="2974"/>
                  <a:pt x="206" y="2688"/>
                </a:cubicBezTo>
                <a:lnTo>
                  <a:pt x="206" y="716"/>
                </a:lnTo>
                <a:cubicBezTo>
                  <a:pt x="206" y="429"/>
                  <a:pt x="445" y="207"/>
                  <a:pt x="731" y="207"/>
                </a:cubicBezTo>
                <a:lnTo>
                  <a:pt x="4262" y="207"/>
                </a:lnTo>
                <a:cubicBezTo>
                  <a:pt x="4548" y="207"/>
                  <a:pt x="4787" y="429"/>
                  <a:pt x="4787" y="716"/>
                </a:cubicBezTo>
                <a:close/>
                <a:moveTo>
                  <a:pt x="1272" y="2083"/>
                </a:moveTo>
                <a:lnTo>
                  <a:pt x="747" y="2083"/>
                </a:lnTo>
                <a:cubicBezTo>
                  <a:pt x="699" y="2083"/>
                  <a:pt x="667" y="2115"/>
                  <a:pt x="667" y="2163"/>
                </a:cubicBezTo>
                <a:cubicBezTo>
                  <a:pt x="667" y="2211"/>
                  <a:pt x="699" y="2243"/>
                  <a:pt x="747" y="2243"/>
                </a:cubicBezTo>
                <a:lnTo>
                  <a:pt x="1272" y="2243"/>
                </a:lnTo>
                <a:cubicBezTo>
                  <a:pt x="1320" y="2243"/>
                  <a:pt x="1351" y="2211"/>
                  <a:pt x="1351" y="2163"/>
                </a:cubicBezTo>
                <a:cubicBezTo>
                  <a:pt x="1351" y="2115"/>
                  <a:pt x="1320" y="2083"/>
                  <a:pt x="1272" y="2083"/>
                </a:cubicBezTo>
                <a:close/>
                <a:moveTo>
                  <a:pt x="2274" y="2083"/>
                </a:moveTo>
                <a:lnTo>
                  <a:pt x="1749" y="2083"/>
                </a:lnTo>
                <a:cubicBezTo>
                  <a:pt x="1702" y="2083"/>
                  <a:pt x="1670" y="2115"/>
                  <a:pt x="1670" y="2163"/>
                </a:cubicBezTo>
                <a:cubicBezTo>
                  <a:pt x="1670" y="2211"/>
                  <a:pt x="1702" y="2243"/>
                  <a:pt x="1749" y="2243"/>
                </a:cubicBezTo>
                <a:lnTo>
                  <a:pt x="2274" y="2243"/>
                </a:lnTo>
                <a:cubicBezTo>
                  <a:pt x="2306" y="2243"/>
                  <a:pt x="2354" y="2211"/>
                  <a:pt x="2354" y="2163"/>
                </a:cubicBezTo>
                <a:cubicBezTo>
                  <a:pt x="2354" y="2115"/>
                  <a:pt x="2306" y="2083"/>
                  <a:pt x="2274" y="2083"/>
                </a:cubicBezTo>
                <a:close/>
                <a:moveTo>
                  <a:pt x="3260" y="2083"/>
                </a:moveTo>
                <a:lnTo>
                  <a:pt x="2735" y="2083"/>
                </a:lnTo>
                <a:cubicBezTo>
                  <a:pt x="2703" y="2083"/>
                  <a:pt x="2656" y="2115"/>
                  <a:pt x="2656" y="2163"/>
                </a:cubicBezTo>
                <a:cubicBezTo>
                  <a:pt x="2656" y="2211"/>
                  <a:pt x="2703" y="2243"/>
                  <a:pt x="2735" y="2243"/>
                </a:cubicBezTo>
                <a:lnTo>
                  <a:pt x="3260" y="2243"/>
                </a:lnTo>
                <a:cubicBezTo>
                  <a:pt x="3308" y="2243"/>
                  <a:pt x="3339" y="2211"/>
                  <a:pt x="3339" y="2163"/>
                </a:cubicBezTo>
                <a:cubicBezTo>
                  <a:pt x="3339" y="2115"/>
                  <a:pt x="3308" y="2083"/>
                  <a:pt x="3260" y="2083"/>
                </a:cubicBezTo>
                <a:close/>
                <a:moveTo>
                  <a:pt x="4262" y="2083"/>
                </a:moveTo>
                <a:lnTo>
                  <a:pt x="3737" y="2083"/>
                </a:lnTo>
                <a:cubicBezTo>
                  <a:pt x="3690" y="2083"/>
                  <a:pt x="3658" y="2115"/>
                  <a:pt x="3658" y="2163"/>
                </a:cubicBezTo>
                <a:cubicBezTo>
                  <a:pt x="3658" y="2211"/>
                  <a:pt x="3690" y="2243"/>
                  <a:pt x="3737" y="2243"/>
                </a:cubicBezTo>
                <a:lnTo>
                  <a:pt x="4262" y="2243"/>
                </a:lnTo>
                <a:cubicBezTo>
                  <a:pt x="4294" y="2243"/>
                  <a:pt x="4342" y="2211"/>
                  <a:pt x="4342" y="2163"/>
                </a:cubicBezTo>
                <a:cubicBezTo>
                  <a:pt x="4342" y="2115"/>
                  <a:pt x="4294" y="2083"/>
                  <a:pt x="4262" y="2083"/>
                </a:cubicBezTo>
                <a:close/>
                <a:moveTo>
                  <a:pt x="1272" y="2592"/>
                </a:moveTo>
                <a:lnTo>
                  <a:pt x="747" y="2592"/>
                </a:lnTo>
                <a:cubicBezTo>
                  <a:pt x="699" y="2592"/>
                  <a:pt x="667" y="2640"/>
                  <a:pt x="667" y="2672"/>
                </a:cubicBezTo>
                <a:cubicBezTo>
                  <a:pt x="667" y="2719"/>
                  <a:pt x="699" y="2752"/>
                  <a:pt x="747" y="2752"/>
                </a:cubicBezTo>
                <a:lnTo>
                  <a:pt x="1272" y="2752"/>
                </a:lnTo>
                <a:cubicBezTo>
                  <a:pt x="1320" y="2752"/>
                  <a:pt x="1351" y="2719"/>
                  <a:pt x="1351" y="2672"/>
                </a:cubicBezTo>
                <a:cubicBezTo>
                  <a:pt x="1351" y="2640"/>
                  <a:pt x="1320" y="2592"/>
                  <a:pt x="1272" y="2592"/>
                </a:cubicBezTo>
                <a:close/>
                <a:moveTo>
                  <a:pt x="2274" y="2592"/>
                </a:moveTo>
                <a:lnTo>
                  <a:pt x="1749" y="2592"/>
                </a:lnTo>
                <a:cubicBezTo>
                  <a:pt x="1702" y="2592"/>
                  <a:pt x="1670" y="2640"/>
                  <a:pt x="1670" y="2672"/>
                </a:cubicBezTo>
                <a:cubicBezTo>
                  <a:pt x="1670" y="2719"/>
                  <a:pt x="1702" y="2752"/>
                  <a:pt x="1749" y="2752"/>
                </a:cubicBezTo>
                <a:lnTo>
                  <a:pt x="2274" y="2752"/>
                </a:lnTo>
                <a:cubicBezTo>
                  <a:pt x="2306" y="2752"/>
                  <a:pt x="2354" y="2719"/>
                  <a:pt x="2354" y="2672"/>
                </a:cubicBezTo>
                <a:cubicBezTo>
                  <a:pt x="2354" y="2640"/>
                  <a:pt x="2306" y="2592"/>
                  <a:pt x="2274" y="2592"/>
                </a:cubicBezTo>
                <a:close/>
                <a:moveTo>
                  <a:pt x="3260" y="2592"/>
                </a:moveTo>
                <a:lnTo>
                  <a:pt x="2735" y="2592"/>
                </a:lnTo>
                <a:cubicBezTo>
                  <a:pt x="2703" y="2592"/>
                  <a:pt x="2656" y="2640"/>
                  <a:pt x="2656" y="2672"/>
                </a:cubicBezTo>
                <a:cubicBezTo>
                  <a:pt x="2656" y="2719"/>
                  <a:pt x="2703" y="2752"/>
                  <a:pt x="2735" y="2752"/>
                </a:cubicBezTo>
                <a:lnTo>
                  <a:pt x="3260" y="2752"/>
                </a:lnTo>
                <a:cubicBezTo>
                  <a:pt x="3308" y="2752"/>
                  <a:pt x="3339" y="2719"/>
                  <a:pt x="3339" y="2672"/>
                </a:cubicBezTo>
                <a:cubicBezTo>
                  <a:pt x="3339" y="2640"/>
                  <a:pt x="3308" y="2592"/>
                  <a:pt x="3260" y="2592"/>
                </a:cubicBezTo>
                <a:close/>
                <a:moveTo>
                  <a:pt x="4262" y="2592"/>
                </a:moveTo>
                <a:lnTo>
                  <a:pt x="3737" y="2592"/>
                </a:lnTo>
                <a:cubicBezTo>
                  <a:pt x="3690" y="2592"/>
                  <a:pt x="3658" y="2640"/>
                  <a:pt x="3658" y="2672"/>
                </a:cubicBezTo>
                <a:cubicBezTo>
                  <a:pt x="3658" y="2719"/>
                  <a:pt x="3690" y="2752"/>
                  <a:pt x="3737" y="2752"/>
                </a:cubicBezTo>
                <a:lnTo>
                  <a:pt x="4262" y="2752"/>
                </a:lnTo>
                <a:cubicBezTo>
                  <a:pt x="4294" y="2752"/>
                  <a:pt x="4342" y="2719"/>
                  <a:pt x="4342" y="2672"/>
                </a:cubicBezTo>
                <a:cubicBezTo>
                  <a:pt x="4342" y="2640"/>
                  <a:pt x="4294" y="2592"/>
                  <a:pt x="4262" y="2592"/>
                </a:cubicBezTo>
                <a:close/>
                <a:moveTo>
                  <a:pt x="4166" y="652"/>
                </a:moveTo>
                <a:lnTo>
                  <a:pt x="842" y="652"/>
                </a:lnTo>
                <a:cubicBezTo>
                  <a:pt x="699" y="652"/>
                  <a:pt x="588" y="779"/>
                  <a:pt x="588" y="907"/>
                </a:cubicBezTo>
                <a:lnTo>
                  <a:pt x="588" y="1463"/>
                </a:lnTo>
                <a:cubicBezTo>
                  <a:pt x="588" y="1606"/>
                  <a:pt x="699" y="1717"/>
                  <a:pt x="842" y="1717"/>
                </a:cubicBezTo>
                <a:lnTo>
                  <a:pt x="4166" y="1717"/>
                </a:lnTo>
                <a:cubicBezTo>
                  <a:pt x="4294" y="1717"/>
                  <a:pt x="4421" y="1606"/>
                  <a:pt x="4421" y="1463"/>
                </a:cubicBezTo>
                <a:lnTo>
                  <a:pt x="4421" y="907"/>
                </a:lnTo>
                <a:cubicBezTo>
                  <a:pt x="4421" y="779"/>
                  <a:pt x="4294" y="652"/>
                  <a:pt x="4166" y="652"/>
                </a:cubicBezTo>
                <a:close/>
                <a:moveTo>
                  <a:pt x="4262" y="1463"/>
                </a:moveTo>
                <a:cubicBezTo>
                  <a:pt x="4262" y="1511"/>
                  <a:pt x="4214" y="1559"/>
                  <a:pt x="4166" y="1559"/>
                </a:cubicBezTo>
                <a:lnTo>
                  <a:pt x="842" y="1559"/>
                </a:lnTo>
                <a:cubicBezTo>
                  <a:pt x="795" y="1559"/>
                  <a:pt x="747" y="1511"/>
                  <a:pt x="747" y="1463"/>
                </a:cubicBezTo>
                <a:lnTo>
                  <a:pt x="747" y="907"/>
                </a:lnTo>
                <a:cubicBezTo>
                  <a:pt x="747" y="859"/>
                  <a:pt x="795" y="811"/>
                  <a:pt x="842" y="811"/>
                </a:cubicBezTo>
                <a:lnTo>
                  <a:pt x="4166" y="811"/>
                </a:lnTo>
                <a:cubicBezTo>
                  <a:pt x="4214" y="811"/>
                  <a:pt x="4262" y="859"/>
                  <a:pt x="4262" y="90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4" name="Freeform: Shape 6">
            <a:extLst>
              <a:ext uri="{FF2B5EF4-FFF2-40B4-BE49-F238E27FC236}">
                <a16:creationId xmlns:a16="http://schemas.microsoft.com/office/drawing/2014/main" id="{7CE1B5C4-0CA0-5345-B2D6-BDB1C57053EE}"/>
              </a:ext>
            </a:extLst>
          </p:cNvPr>
          <p:cNvSpPr/>
          <p:nvPr/>
        </p:nvSpPr>
        <p:spPr>
          <a:xfrm>
            <a:off x="13941782" y="6602073"/>
            <a:ext cx="1906200" cy="766800"/>
          </a:xfrm>
          <a:custGeom>
            <a:avLst/>
            <a:gdLst/>
            <a:ahLst/>
            <a:cxnLst>
              <a:cxn ang="3cd4">
                <a:pos x="hc" y="t"/>
              </a:cxn>
              <a:cxn ang="cd2">
                <a:pos x="l" y="vc"/>
              </a:cxn>
              <a:cxn ang="cd4">
                <a:pos x="hc" y="b"/>
              </a:cxn>
              <a:cxn ang="0">
                <a:pos x="r" y="vc"/>
              </a:cxn>
            </a:cxnLst>
            <a:rect l="l" t="t" r="r" b="b"/>
            <a:pathLst>
              <a:path w="5296" h="2131">
                <a:moveTo>
                  <a:pt x="3053" y="1352"/>
                </a:moveTo>
                <a:lnTo>
                  <a:pt x="2656" y="1352"/>
                </a:lnTo>
                <a:cubicBezTo>
                  <a:pt x="2624" y="1352"/>
                  <a:pt x="2576" y="1384"/>
                  <a:pt x="2576" y="1416"/>
                </a:cubicBezTo>
                <a:cubicBezTo>
                  <a:pt x="2576" y="1463"/>
                  <a:pt x="2624" y="1495"/>
                  <a:pt x="2656" y="1495"/>
                </a:cubicBezTo>
                <a:lnTo>
                  <a:pt x="3053" y="1495"/>
                </a:lnTo>
                <a:cubicBezTo>
                  <a:pt x="3085" y="1495"/>
                  <a:pt x="3133" y="1463"/>
                  <a:pt x="3133" y="1416"/>
                </a:cubicBezTo>
                <a:cubicBezTo>
                  <a:pt x="3133" y="1384"/>
                  <a:pt x="3085" y="1352"/>
                  <a:pt x="3053" y="1352"/>
                </a:cubicBezTo>
                <a:close/>
                <a:moveTo>
                  <a:pt x="3880" y="1352"/>
                </a:moveTo>
                <a:lnTo>
                  <a:pt x="3483" y="1352"/>
                </a:lnTo>
                <a:cubicBezTo>
                  <a:pt x="3451" y="1352"/>
                  <a:pt x="3403" y="1384"/>
                  <a:pt x="3403" y="1416"/>
                </a:cubicBezTo>
                <a:cubicBezTo>
                  <a:pt x="3403" y="1463"/>
                  <a:pt x="3451" y="1495"/>
                  <a:pt x="3483" y="1495"/>
                </a:cubicBezTo>
                <a:lnTo>
                  <a:pt x="3880" y="1495"/>
                </a:lnTo>
                <a:cubicBezTo>
                  <a:pt x="3928" y="1495"/>
                  <a:pt x="3960" y="1463"/>
                  <a:pt x="3960" y="1416"/>
                </a:cubicBezTo>
                <a:cubicBezTo>
                  <a:pt x="3960" y="1384"/>
                  <a:pt x="3928" y="1352"/>
                  <a:pt x="3880" y="1352"/>
                </a:cubicBezTo>
                <a:close/>
                <a:moveTo>
                  <a:pt x="4707" y="1352"/>
                </a:moveTo>
                <a:lnTo>
                  <a:pt x="4326" y="1352"/>
                </a:lnTo>
                <a:cubicBezTo>
                  <a:pt x="4278" y="1352"/>
                  <a:pt x="4246" y="1384"/>
                  <a:pt x="4246" y="1416"/>
                </a:cubicBezTo>
                <a:cubicBezTo>
                  <a:pt x="4246" y="1463"/>
                  <a:pt x="4278" y="1495"/>
                  <a:pt x="4326" y="1495"/>
                </a:cubicBezTo>
                <a:lnTo>
                  <a:pt x="4707" y="1495"/>
                </a:lnTo>
                <a:cubicBezTo>
                  <a:pt x="4755" y="1495"/>
                  <a:pt x="4787" y="1463"/>
                  <a:pt x="4787" y="1416"/>
                </a:cubicBezTo>
                <a:cubicBezTo>
                  <a:pt x="4787" y="1384"/>
                  <a:pt x="4755" y="1352"/>
                  <a:pt x="4707" y="1352"/>
                </a:cubicBezTo>
                <a:close/>
                <a:moveTo>
                  <a:pt x="4755" y="700"/>
                </a:moveTo>
                <a:lnTo>
                  <a:pt x="2608" y="700"/>
                </a:lnTo>
                <a:cubicBezTo>
                  <a:pt x="2576" y="700"/>
                  <a:pt x="2529" y="732"/>
                  <a:pt x="2529" y="780"/>
                </a:cubicBezTo>
                <a:cubicBezTo>
                  <a:pt x="2529" y="811"/>
                  <a:pt x="2576" y="859"/>
                  <a:pt x="2608" y="859"/>
                </a:cubicBezTo>
                <a:lnTo>
                  <a:pt x="4755" y="859"/>
                </a:lnTo>
                <a:cubicBezTo>
                  <a:pt x="4803" y="859"/>
                  <a:pt x="4835" y="811"/>
                  <a:pt x="4835" y="780"/>
                </a:cubicBezTo>
                <a:cubicBezTo>
                  <a:pt x="4835" y="732"/>
                  <a:pt x="4803" y="700"/>
                  <a:pt x="4755" y="700"/>
                </a:cubicBezTo>
                <a:close/>
                <a:moveTo>
                  <a:pt x="1065" y="414"/>
                </a:moveTo>
                <a:cubicBezTo>
                  <a:pt x="699" y="414"/>
                  <a:pt x="413" y="700"/>
                  <a:pt x="413" y="1066"/>
                </a:cubicBezTo>
                <a:cubicBezTo>
                  <a:pt x="413" y="1432"/>
                  <a:pt x="699" y="1718"/>
                  <a:pt x="1065" y="1718"/>
                </a:cubicBezTo>
                <a:cubicBezTo>
                  <a:pt x="1431" y="1718"/>
                  <a:pt x="1733" y="1432"/>
                  <a:pt x="1733" y="1066"/>
                </a:cubicBezTo>
                <a:cubicBezTo>
                  <a:pt x="1733" y="700"/>
                  <a:pt x="1431" y="414"/>
                  <a:pt x="1065" y="414"/>
                </a:cubicBezTo>
                <a:close/>
                <a:moveTo>
                  <a:pt x="1065" y="1559"/>
                </a:moveTo>
                <a:cubicBezTo>
                  <a:pt x="795" y="1559"/>
                  <a:pt x="572" y="1336"/>
                  <a:pt x="572" y="1066"/>
                </a:cubicBezTo>
                <a:cubicBezTo>
                  <a:pt x="572" y="795"/>
                  <a:pt x="795" y="572"/>
                  <a:pt x="1065" y="572"/>
                </a:cubicBezTo>
                <a:cubicBezTo>
                  <a:pt x="1351" y="572"/>
                  <a:pt x="1574" y="795"/>
                  <a:pt x="1574" y="1066"/>
                </a:cubicBezTo>
                <a:cubicBezTo>
                  <a:pt x="1574" y="1336"/>
                  <a:pt x="1351" y="1559"/>
                  <a:pt x="1065" y="1559"/>
                </a:cubicBezTo>
                <a:close/>
                <a:moveTo>
                  <a:pt x="4994" y="271"/>
                </a:moveTo>
                <a:lnTo>
                  <a:pt x="1829" y="271"/>
                </a:lnTo>
                <a:cubicBezTo>
                  <a:pt x="1813" y="286"/>
                  <a:pt x="1797" y="286"/>
                  <a:pt x="1781" y="271"/>
                </a:cubicBezTo>
                <a:cubicBezTo>
                  <a:pt x="1749" y="254"/>
                  <a:pt x="1733" y="223"/>
                  <a:pt x="1702" y="207"/>
                </a:cubicBezTo>
                <a:cubicBezTo>
                  <a:pt x="1686" y="207"/>
                  <a:pt x="1686" y="191"/>
                  <a:pt x="1669" y="191"/>
                </a:cubicBezTo>
                <a:cubicBezTo>
                  <a:pt x="1495" y="63"/>
                  <a:pt x="1288" y="0"/>
                  <a:pt x="1065" y="0"/>
                </a:cubicBezTo>
                <a:cubicBezTo>
                  <a:pt x="477" y="0"/>
                  <a:pt x="0" y="477"/>
                  <a:pt x="0" y="1066"/>
                </a:cubicBezTo>
                <a:cubicBezTo>
                  <a:pt x="0" y="1654"/>
                  <a:pt x="477" y="2131"/>
                  <a:pt x="1065" y="2131"/>
                </a:cubicBezTo>
                <a:cubicBezTo>
                  <a:pt x="1336" y="2131"/>
                  <a:pt x="1606" y="2036"/>
                  <a:pt x="1797" y="1845"/>
                </a:cubicBezTo>
                <a:lnTo>
                  <a:pt x="1829" y="1845"/>
                </a:lnTo>
                <a:lnTo>
                  <a:pt x="4994" y="1845"/>
                </a:lnTo>
                <a:cubicBezTo>
                  <a:pt x="5153" y="1845"/>
                  <a:pt x="5296" y="1702"/>
                  <a:pt x="5296" y="1543"/>
                </a:cubicBezTo>
                <a:lnTo>
                  <a:pt x="5296" y="572"/>
                </a:lnTo>
                <a:cubicBezTo>
                  <a:pt x="5296" y="414"/>
                  <a:pt x="5153" y="271"/>
                  <a:pt x="4994" y="271"/>
                </a:cubicBezTo>
                <a:close/>
                <a:moveTo>
                  <a:pt x="5137" y="1543"/>
                </a:moveTo>
                <a:cubicBezTo>
                  <a:pt x="5137" y="1622"/>
                  <a:pt x="5073" y="1686"/>
                  <a:pt x="4994" y="1686"/>
                </a:cubicBezTo>
                <a:lnTo>
                  <a:pt x="1813" y="1686"/>
                </a:lnTo>
                <a:lnTo>
                  <a:pt x="1781" y="1686"/>
                </a:lnTo>
                <a:cubicBezTo>
                  <a:pt x="1765" y="1686"/>
                  <a:pt x="1733" y="1686"/>
                  <a:pt x="1717" y="1702"/>
                </a:cubicBezTo>
                <a:cubicBezTo>
                  <a:pt x="1702" y="1702"/>
                  <a:pt x="1686" y="1718"/>
                  <a:pt x="1669" y="1734"/>
                </a:cubicBezTo>
                <a:cubicBezTo>
                  <a:pt x="1606" y="1781"/>
                  <a:pt x="1558" y="1829"/>
                  <a:pt x="1495" y="1861"/>
                </a:cubicBezTo>
                <a:cubicBezTo>
                  <a:pt x="1368" y="1940"/>
                  <a:pt x="1224" y="1972"/>
                  <a:pt x="1065" y="1972"/>
                </a:cubicBezTo>
                <a:cubicBezTo>
                  <a:pt x="572" y="1972"/>
                  <a:pt x="159" y="1575"/>
                  <a:pt x="159" y="1066"/>
                </a:cubicBezTo>
                <a:cubicBezTo>
                  <a:pt x="159" y="572"/>
                  <a:pt x="572" y="159"/>
                  <a:pt x="1065" y="159"/>
                </a:cubicBezTo>
                <a:cubicBezTo>
                  <a:pt x="1256" y="159"/>
                  <a:pt x="1431" y="223"/>
                  <a:pt x="1574" y="318"/>
                </a:cubicBezTo>
                <a:lnTo>
                  <a:pt x="1590" y="318"/>
                </a:lnTo>
                <a:cubicBezTo>
                  <a:pt x="1590" y="334"/>
                  <a:pt x="1590" y="334"/>
                  <a:pt x="1606" y="334"/>
                </a:cubicBezTo>
                <a:cubicBezTo>
                  <a:pt x="1638" y="350"/>
                  <a:pt x="1638" y="366"/>
                  <a:pt x="1654" y="382"/>
                </a:cubicBezTo>
                <a:cubicBezTo>
                  <a:pt x="1717" y="429"/>
                  <a:pt x="1749" y="445"/>
                  <a:pt x="1829" y="429"/>
                </a:cubicBezTo>
                <a:lnTo>
                  <a:pt x="4994" y="429"/>
                </a:lnTo>
                <a:cubicBezTo>
                  <a:pt x="5073" y="429"/>
                  <a:pt x="5137" y="493"/>
                  <a:pt x="5137" y="5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5" name="Freeform: Shape 7">
            <a:extLst>
              <a:ext uri="{FF2B5EF4-FFF2-40B4-BE49-F238E27FC236}">
                <a16:creationId xmlns:a16="http://schemas.microsoft.com/office/drawing/2014/main" id="{116C7535-2DF6-5249-B3E2-622EF78455E4}"/>
              </a:ext>
            </a:extLst>
          </p:cNvPr>
          <p:cNvSpPr/>
          <p:nvPr/>
        </p:nvSpPr>
        <p:spPr>
          <a:xfrm>
            <a:off x="17268336" y="6533046"/>
            <a:ext cx="1980720" cy="955799"/>
          </a:xfrm>
          <a:custGeom>
            <a:avLst/>
            <a:gdLst/>
            <a:ahLst/>
            <a:cxnLst>
              <a:cxn ang="3cd4">
                <a:pos x="hc" y="t"/>
              </a:cxn>
              <a:cxn ang="cd2">
                <a:pos x="l" y="vc"/>
              </a:cxn>
              <a:cxn ang="cd4">
                <a:pos x="hc" y="b"/>
              </a:cxn>
              <a:cxn ang="0">
                <a:pos x="r" y="vc"/>
              </a:cxn>
            </a:cxnLst>
            <a:rect l="l" t="t" r="r" b="b"/>
            <a:pathLst>
              <a:path w="5503" h="2656">
                <a:moveTo>
                  <a:pt x="4581" y="0"/>
                </a:moveTo>
                <a:lnTo>
                  <a:pt x="922" y="0"/>
                </a:lnTo>
                <a:cubicBezTo>
                  <a:pt x="413" y="0"/>
                  <a:pt x="0" y="414"/>
                  <a:pt x="0" y="923"/>
                </a:cubicBezTo>
                <a:lnTo>
                  <a:pt x="0" y="1718"/>
                </a:lnTo>
                <a:cubicBezTo>
                  <a:pt x="0" y="2227"/>
                  <a:pt x="413" y="2656"/>
                  <a:pt x="922" y="2656"/>
                </a:cubicBezTo>
                <a:lnTo>
                  <a:pt x="4581" y="2656"/>
                </a:lnTo>
                <a:cubicBezTo>
                  <a:pt x="5090" y="2656"/>
                  <a:pt x="5503" y="2227"/>
                  <a:pt x="5503" y="1718"/>
                </a:cubicBezTo>
                <a:lnTo>
                  <a:pt x="5503" y="923"/>
                </a:lnTo>
                <a:cubicBezTo>
                  <a:pt x="5503" y="414"/>
                  <a:pt x="5090" y="0"/>
                  <a:pt x="4581" y="0"/>
                </a:cubicBezTo>
                <a:close/>
                <a:moveTo>
                  <a:pt x="5344" y="1718"/>
                </a:moveTo>
                <a:cubicBezTo>
                  <a:pt x="5344" y="2147"/>
                  <a:pt x="5010" y="2497"/>
                  <a:pt x="4581" y="2497"/>
                </a:cubicBezTo>
                <a:lnTo>
                  <a:pt x="922" y="2497"/>
                </a:lnTo>
                <a:cubicBezTo>
                  <a:pt x="509" y="2497"/>
                  <a:pt x="159" y="2147"/>
                  <a:pt x="159" y="1718"/>
                </a:cubicBezTo>
                <a:lnTo>
                  <a:pt x="159" y="923"/>
                </a:lnTo>
                <a:cubicBezTo>
                  <a:pt x="159" y="509"/>
                  <a:pt x="509" y="159"/>
                  <a:pt x="922" y="159"/>
                </a:cubicBezTo>
                <a:lnTo>
                  <a:pt x="4581" y="159"/>
                </a:lnTo>
                <a:cubicBezTo>
                  <a:pt x="5010" y="159"/>
                  <a:pt x="5344" y="509"/>
                  <a:pt x="5344" y="923"/>
                </a:cubicBezTo>
                <a:close/>
                <a:moveTo>
                  <a:pt x="4851" y="509"/>
                </a:moveTo>
                <a:lnTo>
                  <a:pt x="636" y="509"/>
                </a:lnTo>
                <a:cubicBezTo>
                  <a:pt x="589" y="509"/>
                  <a:pt x="557" y="541"/>
                  <a:pt x="557" y="588"/>
                </a:cubicBezTo>
                <a:lnTo>
                  <a:pt x="557" y="1209"/>
                </a:lnTo>
                <a:cubicBezTo>
                  <a:pt x="557" y="1257"/>
                  <a:pt x="589" y="1288"/>
                  <a:pt x="636" y="1288"/>
                </a:cubicBezTo>
                <a:lnTo>
                  <a:pt x="4851" y="1288"/>
                </a:lnTo>
                <a:cubicBezTo>
                  <a:pt x="4883" y="1288"/>
                  <a:pt x="4930" y="1257"/>
                  <a:pt x="4930" y="1209"/>
                </a:cubicBezTo>
                <a:lnTo>
                  <a:pt x="4930" y="588"/>
                </a:lnTo>
                <a:cubicBezTo>
                  <a:pt x="4930" y="541"/>
                  <a:pt x="4883" y="509"/>
                  <a:pt x="4851" y="509"/>
                </a:cubicBezTo>
                <a:close/>
                <a:moveTo>
                  <a:pt x="4772" y="1129"/>
                </a:moveTo>
                <a:lnTo>
                  <a:pt x="716" y="1129"/>
                </a:lnTo>
                <a:lnTo>
                  <a:pt x="716" y="668"/>
                </a:lnTo>
                <a:lnTo>
                  <a:pt x="4772" y="668"/>
                </a:lnTo>
                <a:close/>
                <a:moveTo>
                  <a:pt x="3229" y="1638"/>
                </a:moveTo>
                <a:lnTo>
                  <a:pt x="2799" y="1638"/>
                </a:lnTo>
                <a:cubicBezTo>
                  <a:pt x="2752" y="1638"/>
                  <a:pt x="2720" y="1670"/>
                  <a:pt x="2720" y="1718"/>
                </a:cubicBezTo>
                <a:cubicBezTo>
                  <a:pt x="2720" y="1766"/>
                  <a:pt x="2752" y="1797"/>
                  <a:pt x="2799" y="1797"/>
                </a:cubicBezTo>
                <a:lnTo>
                  <a:pt x="3229" y="1797"/>
                </a:lnTo>
                <a:cubicBezTo>
                  <a:pt x="3276" y="1797"/>
                  <a:pt x="3308" y="1766"/>
                  <a:pt x="3308" y="1718"/>
                </a:cubicBezTo>
                <a:cubicBezTo>
                  <a:pt x="3308" y="1670"/>
                  <a:pt x="3276" y="1638"/>
                  <a:pt x="3229" y="1638"/>
                </a:cubicBezTo>
                <a:close/>
                <a:moveTo>
                  <a:pt x="4040" y="1638"/>
                </a:moveTo>
                <a:lnTo>
                  <a:pt x="3611" y="1638"/>
                </a:lnTo>
                <a:cubicBezTo>
                  <a:pt x="3563" y="1638"/>
                  <a:pt x="3531" y="1670"/>
                  <a:pt x="3531" y="1718"/>
                </a:cubicBezTo>
                <a:cubicBezTo>
                  <a:pt x="3531" y="1766"/>
                  <a:pt x="3563" y="1797"/>
                  <a:pt x="3611" y="1797"/>
                </a:cubicBezTo>
                <a:lnTo>
                  <a:pt x="4040" y="1797"/>
                </a:lnTo>
                <a:cubicBezTo>
                  <a:pt x="4088" y="1797"/>
                  <a:pt x="4120" y="1766"/>
                  <a:pt x="4120" y="1718"/>
                </a:cubicBezTo>
                <a:cubicBezTo>
                  <a:pt x="4120" y="1670"/>
                  <a:pt x="4088" y="1638"/>
                  <a:pt x="4040" y="1638"/>
                </a:cubicBezTo>
                <a:close/>
                <a:moveTo>
                  <a:pt x="4851" y="1638"/>
                </a:moveTo>
                <a:lnTo>
                  <a:pt x="4422" y="1638"/>
                </a:lnTo>
                <a:cubicBezTo>
                  <a:pt x="4374" y="1638"/>
                  <a:pt x="4342" y="1670"/>
                  <a:pt x="4342" y="1718"/>
                </a:cubicBezTo>
                <a:cubicBezTo>
                  <a:pt x="4342" y="1766"/>
                  <a:pt x="4374" y="1797"/>
                  <a:pt x="4422" y="1797"/>
                </a:cubicBezTo>
                <a:lnTo>
                  <a:pt x="4851" y="1797"/>
                </a:lnTo>
                <a:cubicBezTo>
                  <a:pt x="4883" y="1797"/>
                  <a:pt x="4930" y="1766"/>
                  <a:pt x="4930" y="1718"/>
                </a:cubicBezTo>
                <a:cubicBezTo>
                  <a:pt x="4930" y="1670"/>
                  <a:pt x="4883" y="1638"/>
                  <a:pt x="4851" y="1638"/>
                </a:cubicBezTo>
                <a:close/>
                <a:moveTo>
                  <a:pt x="3229" y="1988"/>
                </a:moveTo>
                <a:lnTo>
                  <a:pt x="2799" y="1988"/>
                </a:lnTo>
                <a:cubicBezTo>
                  <a:pt x="2752" y="1988"/>
                  <a:pt x="2720" y="2036"/>
                  <a:pt x="2720" y="2068"/>
                </a:cubicBezTo>
                <a:cubicBezTo>
                  <a:pt x="2720" y="2115"/>
                  <a:pt x="2752" y="2147"/>
                  <a:pt x="2799" y="2147"/>
                </a:cubicBezTo>
                <a:lnTo>
                  <a:pt x="3229" y="2147"/>
                </a:lnTo>
                <a:cubicBezTo>
                  <a:pt x="3276" y="2147"/>
                  <a:pt x="3308" y="2115"/>
                  <a:pt x="3308" y="2068"/>
                </a:cubicBezTo>
                <a:cubicBezTo>
                  <a:pt x="3308" y="2036"/>
                  <a:pt x="3276" y="1988"/>
                  <a:pt x="3229" y="1988"/>
                </a:cubicBezTo>
                <a:close/>
                <a:moveTo>
                  <a:pt x="4040" y="1988"/>
                </a:moveTo>
                <a:lnTo>
                  <a:pt x="3611" y="1988"/>
                </a:lnTo>
                <a:cubicBezTo>
                  <a:pt x="3563" y="1988"/>
                  <a:pt x="3531" y="2036"/>
                  <a:pt x="3531" y="2068"/>
                </a:cubicBezTo>
                <a:cubicBezTo>
                  <a:pt x="3531" y="2115"/>
                  <a:pt x="3563" y="2147"/>
                  <a:pt x="3611" y="2147"/>
                </a:cubicBezTo>
                <a:lnTo>
                  <a:pt x="4040" y="2147"/>
                </a:lnTo>
                <a:cubicBezTo>
                  <a:pt x="4088" y="2147"/>
                  <a:pt x="4120" y="2115"/>
                  <a:pt x="4120" y="2068"/>
                </a:cubicBezTo>
                <a:cubicBezTo>
                  <a:pt x="4120" y="2036"/>
                  <a:pt x="4088" y="1988"/>
                  <a:pt x="4040" y="1988"/>
                </a:cubicBezTo>
                <a:close/>
                <a:moveTo>
                  <a:pt x="4851" y="1988"/>
                </a:moveTo>
                <a:lnTo>
                  <a:pt x="4422" y="1988"/>
                </a:lnTo>
                <a:cubicBezTo>
                  <a:pt x="4374" y="1988"/>
                  <a:pt x="4342" y="2036"/>
                  <a:pt x="4342" y="2068"/>
                </a:cubicBezTo>
                <a:cubicBezTo>
                  <a:pt x="4342" y="2115"/>
                  <a:pt x="4374" y="2147"/>
                  <a:pt x="4422" y="2147"/>
                </a:cubicBezTo>
                <a:lnTo>
                  <a:pt x="4851" y="2147"/>
                </a:lnTo>
                <a:cubicBezTo>
                  <a:pt x="4883" y="2147"/>
                  <a:pt x="4930" y="2115"/>
                  <a:pt x="4930" y="2068"/>
                </a:cubicBezTo>
                <a:cubicBezTo>
                  <a:pt x="4930" y="2036"/>
                  <a:pt x="4883" y="1988"/>
                  <a:pt x="4851" y="198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6" name="Freeform: Shape 8">
            <a:extLst>
              <a:ext uri="{FF2B5EF4-FFF2-40B4-BE49-F238E27FC236}">
                <a16:creationId xmlns:a16="http://schemas.microsoft.com/office/drawing/2014/main" id="{981D9EA3-F5BD-BD46-953E-81CC8F0315EC}"/>
              </a:ext>
            </a:extLst>
          </p:cNvPr>
          <p:cNvSpPr/>
          <p:nvPr/>
        </p:nvSpPr>
        <p:spPr>
          <a:xfrm>
            <a:off x="21482826" y="3388226"/>
            <a:ext cx="1476719" cy="950400"/>
          </a:xfrm>
          <a:custGeom>
            <a:avLst/>
            <a:gdLst/>
            <a:ahLst/>
            <a:cxnLst>
              <a:cxn ang="3cd4">
                <a:pos x="hc" y="t"/>
              </a:cxn>
              <a:cxn ang="cd2">
                <a:pos x="l" y="vc"/>
              </a:cxn>
              <a:cxn ang="cd4">
                <a:pos x="hc" y="b"/>
              </a:cxn>
              <a:cxn ang="0">
                <a:pos x="r" y="vc"/>
              </a:cxn>
            </a:cxnLst>
            <a:rect l="l" t="t" r="r" b="b"/>
            <a:pathLst>
              <a:path w="4103" h="2641">
                <a:moveTo>
                  <a:pt x="3785" y="0"/>
                </a:moveTo>
                <a:lnTo>
                  <a:pt x="3260" y="0"/>
                </a:lnTo>
                <a:cubicBezTo>
                  <a:pt x="3229" y="0"/>
                  <a:pt x="3181" y="32"/>
                  <a:pt x="3181" y="80"/>
                </a:cubicBezTo>
                <a:cubicBezTo>
                  <a:pt x="3181" y="128"/>
                  <a:pt x="3229" y="160"/>
                  <a:pt x="3260" y="160"/>
                </a:cubicBezTo>
                <a:lnTo>
                  <a:pt x="3785" y="160"/>
                </a:lnTo>
                <a:cubicBezTo>
                  <a:pt x="3865" y="160"/>
                  <a:pt x="3944" y="239"/>
                  <a:pt x="3944" y="318"/>
                </a:cubicBezTo>
                <a:lnTo>
                  <a:pt x="3944" y="2323"/>
                </a:lnTo>
                <a:cubicBezTo>
                  <a:pt x="3944" y="2418"/>
                  <a:pt x="3865" y="2482"/>
                  <a:pt x="3785" y="2482"/>
                </a:cubicBezTo>
                <a:lnTo>
                  <a:pt x="3324" y="2482"/>
                </a:lnTo>
                <a:cubicBezTo>
                  <a:pt x="3276" y="2482"/>
                  <a:pt x="3244" y="2529"/>
                  <a:pt x="3244" y="2561"/>
                </a:cubicBezTo>
                <a:cubicBezTo>
                  <a:pt x="3244" y="2609"/>
                  <a:pt x="3276" y="2641"/>
                  <a:pt x="3324" y="2641"/>
                </a:cubicBezTo>
                <a:lnTo>
                  <a:pt x="3785" y="2641"/>
                </a:lnTo>
                <a:cubicBezTo>
                  <a:pt x="3960" y="2641"/>
                  <a:pt x="4103" y="2498"/>
                  <a:pt x="4103" y="2323"/>
                </a:cubicBezTo>
                <a:lnTo>
                  <a:pt x="4103" y="318"/>
                </a:lnTo>
                <a:cubicBezTo>
                  <a:pt x="4103" y="144"/>
                  <a:pt x="3960" y="0"/>
                  <a:pt x="3785" y="0"/>
                </a:cubicBezTo>
                <a:close/>
                <a:moveTo>
                  <a:pt x="318" y="160"/>
                </a:moveTo>
                <a:lnTo>
                  <a:pt x="843" y="160"/>
                </a:lnTo>
                <a:cubicBezTo>
                  <a:pt x="890" y="160"/>
                  <a:pt x="922" y="128"/>
                  <a:pt x="922" y="80"/>
                </a:cubicBezTo>
                <a:cubicBezTo>
                  <a:pt x="922" y="32"/>
                  <a:pt x="890" y="0"/>
                  <a:pt x="843" y="0"/>
                </a:cubicBezTo>
                <a:lnTo>
                  <a:pt x="318" y="0"/>
                </a:lnTo>
                <a:cubicBezTo>
                  <a:pt x="143" y="0"/>
                  <a:pt x="0" y="144"/>
                  <a:pt x="0" y="318"/>
                </a:cubicBezTo>
                <a:lnTo>
                  <a:pt x="0" y="2323"/>
                </a:lnTo>
                <a:cubicBezTo>
                  <a:pt x="0" y="2498"/>
                  <a:pt x="143" y="2641"/>
                  <a:pt x="318" y="2641"/>
                </a:cubicBezTo>
                <a:lnTo>
                  <a:pt x="875" y="2641"/>
                </a:lnTo>
                <a:cubicBezTo>
                  <a:pt x="922" y="2641"/>
                  <a:pt x="954" y="2609"/>
                  <a:pt x="954" y="2561"/>
                </a:cubicBezTo>
                <a:cubicBezTo>
                  <a:pt x="954" y="2529"/>
                  <a:pt x="922" y="2482"/>
                  <a:pt x="875" y="2482"/>
                </a:cubicBezTo>
                <a:lnTo>
                  <a:pt x="318" y="2482"/>
                </a:lnTo>
                <a:cubicBezTo>
                  <a:pt x="222" y="2482"/>
                  <a:pt x="158" y="2418"/>
                  <a:pt x="158" y="2323"/>
                </a:cubicBezTo>
                <a:lnTo>
                  <a:pt x="158" y="318"/>
                </a:lnTo>
                <a:cubicBezTo>
                  <a:pt x="158" y="239"/>
                  <a:pt x="222" y="160"/>
                  <a:pt x="318" y="160"/>
                </a:cubicBezTo>
                <a:close/>
                <a:moveTo>
                  <a:pt x="1193" y="1321"/>
                </a:moveTo>
                <a:cubicBezTo>
                  <a:pt x="1193" y="1178"/>
                  <a:pt x="1081" y="1066"/>
                  <a:pt x="922" y="1066"/>
                </a:cubicBezTo>
                <a:cubicBezTo>
                  <a:pt x="779" y="1066"/>
                  <a:pt x="667" y="1178"/>
                  <a:pt x="667" y="1321"/>
                </a:cubicBezTo>
                <a:cubicBezTo>
                  <a:pt x="667" y="1464"/>
                  <a:pt x="779" y="1591"/>
                  <a:pt x="922" y="1591"/>
                </a:cubicBezTo>
                <a:cubicBezTo>
                  <a:pt x="1081" y="1591"/>
                  <a:pt x="1193" y="1464"/>
                  <a:pt x="1193" y="1321"/>
                </a:cubicBezTo>
                <a:close/>
                <a:moveTo>
                  <a:pt x="2036" y="1591"/>
                </a:moveTo>
                <a:cubicBezTo>
                  <a:pt x="2179" y="1591"/>
                  <a:pt x="2290" y="1464"/>
                  <a:pt x="2290" y="1321"/>
                </a:cubicBezTo>
                <a:cubicBezTo>
                  <a:pt x="2290" y="1178"/>
                  <a:pt x="2179" y="1066"/>
                  <a:pt x="2036" y="1066"/>
                </a:cubicBezTo>
                <a:cubicBezTo>
                  <a:pt x="1892" y="1066"/>
                  <a:pt x="1765" y="1178"/>
                  <a:pt x="1765" y="1321"/>
                </a:cubicBezTo>
                <a:cubicBezTo>
                  <a:pt x="1765" y="1464"/>
                  <a:pt x="1892" y="1591"/>
                  <a:pt x="2036" y="1591"/>
                </a:cubicBezTo>
                <a:close/>
                <a:moveTo>
                  <a:pt x="3403" y="1321"/>
                </a:moveTo>
                <a:cubicBezTo>
                  <a:pt x="3403" y="1178"/>
                  <a:pt x="3276" y="1066"/>
                  <a:pt x="3133" y="1066"/>
                </a:cubicBezTo>
                <a:cubicBezTo>
                  <a:pt x="2990" y="1066"/>
                  <a:pt x="2878" y="1178"/>
                  <a:pt x="2878" y="1321"/>
                </a:cubicBezTo>
                <a:cubicBezTo>
                  <a:pt x="2878" y="1464"/>
                  <a:pt x="2990" y="1591"/>
                  <a:pt x="3133" y="1591"/>
                </a:cubicBezTo>
                <a:cubicBezTo>
                  <a:pt x="3276" y="1591"/>
                  <a:pt x="3403" y="1464"/>
                  <a:pt x="3403" y="132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7" name="Freeform: Shape 9">
            <a:extLst>
              <a:ext uri="{FF2B5EF4-FFF2-40B4-BE49-F238E27FC236}">
                <a16:creationId xmlns:a16="http://schemas.microsoft.com/office/drawing/2014/main" id="{7694B088-7037-C64A-B827-92FAFC1AE18E}"/>
              </a:ext>
            </a:extLst>
          </p:cNvPr>
          <p:cNvSpPr/>
          <p:nvPr/>
        </p:nvSpPr>
        <p:spPr>
          <a:xfrm>
            <a:off x="1803190" y="9785488"/>
            <a:ext cx="1643039" cy="1390680"/>
          </a:xfrm>
          <a:custGeom>
            <a:avLst/>
            <a:gdLst/>
            <a:ahLst/>
            <a:cxnLst>
              <a:cxn ang="3cd4">
                <a:pos x="hc" y="t"/>
              </a:cxn>
              <a:cxn ang="cd2">
                <a:pos x="l" y="vc"/>
              </a:cxn>
              <a:cxn ang="cd4">
                <a:pos x="hc" y="b"/>
              </a:cxn>
              <a:cxn ang="0">
                <a:pos x="r" y="vc"/>
              </a:cxn>
            </a:cxnLst>
            <a:rect l="l" t="t" r="r" b="b"/>
            <a:pathLst>
              <a:path w="4565" h="3864">
                <a:moveTo>
                  <a:pt x="1225" y="2688"/>
                </a:moveTo>
                <a:cubicBezTo>
                  <a:pt x="1130" y="2688"/>
                  <a:pt x="1050" y="2767"/>
                  <a:pt x="1050" y="2879"/>
                </a:cubicBezTo>
                <a:cubicBezTo>
                  <a:pt x="1050" y="2974"/>
                  <a:pt x="1130" y="3054"/>
                  <a:pt x="1225" y="3054"/>
                </a:cubicBezTo>
                <a:cubicBezTo>
                  <a:pt x="1336" y="3054"/>
                  <a:pt x="1416" y="2974"/>
                  <a:pt x="1416" y="2879"/>
                </a:cubicBezTo>
                <a:cubicBezTo>
                  <a:pt x="1416" y="2767"/>
                  <a:pt x="1336" y="2688"/>
                  <a:pt x="1225" y="2688"/>
                </a:cubicBezTo>
                <a:close/>
                <a:moveTo>
                  <a:pt x="1862" y="2688"/>
                </a:moveTo>
                <a:cubicBezTo>
                  <a:pt x="1766" y="2688"/>
                  <a:pt x="1671" y="2767"/>
                  <a:pt x="1671" y="2879"/>
                </a:cubicBezTo>
                <a:cubicBezTo>
                  <a:pt x="1671" y="2974"/>
                  <a:pt x="1766" y="3054"/>
                  <a:pt x="1862" y="3054"/>
                </a:cubicBezTo>
                <a:cubicBezTo>
                  <a:pt x="1957" y="3054"/>
                  <a:pt x="2036" y="2974"/>
                  <a:pt x="2036" y="2879"/>
                </a:cubicBezTo>
                <a:cubicBezTo>
                  <a:pt x="2036" y="2767"/>
                  <a:pt x="1957" y="2688"/>
                  <a:pt x="1862" y="2688"/>
                </a:cubicBezTo>
                <a:close/>
                <a:moveTo>
                  <a:pt x="2481" y="2688"/>
                </a:moveTo>
                <a:cubicBezTo>
                  <a:pt x="2386" y="2688"/>
                  <a:pt x="2307" y="2767"/>
                  <a:pt x="2307" y="2879"/>
                </a:cubicBezTo>
                <a:cubicBezTo>
                  <a:pt x="2307" y="2974"/>
                  <a:pt x="2386" y="3054"/>
                  <a:pt x="2481" y="3054"/>
                </a:cubicBezTo>
                <a:cubicBezTo>
                  <a:pt x="2577" y="3054"/>
                  <a:pt x="2657" y="2974"/>
                  <a:pt x="2657" y="2879"/>
                </a:cubicBezTo>
                <a:cubicBezTo>
                  <a:pt x="2657" y="2767"/>
                  <a:pt x="2577" y="2688"/>
                  <a:pt x="2481" y="2688"/>
                </a:cubicBezTo>
                <a:close/>
                <a:moveTo>
                  <a:pt x="3102" y="2688"/>
                </a:moveTo>
                <a:cubicBezTo>
                  <a:pt x="3007" y="2688"/>
                  <a:pt x="2927" y="2767"/>
                  <a:pt x="2927" y="2879"/>
                </a:cubicBezTo>
                <a:cubicBezTo>
                  <a:pt x="2927" y="2974"/>
                  <a:pt x="3007" y="3054"/>
                  <a:pt x="3102" y="3054"/>
                </a:cubicBezTo>
                <a:cubicBezTo>
                  <a:pt x="3198" y="3054"/>
                  <a:pt x="3277" y="2974"/>
                  <a:pt x="3277" y="2879"/>
                </a:cubicBezTo>
                <a:cubicBezTo>
                  <a:pt x="3277" y="2767"/>
                  <a:pt x="3198" y="2688"/>
                  <a:pt x="3102" y="2688"/>
                </a:cubicBezTo>
                <a:close/>
                <a:moveTo>
                  <a:pt x="3738" y="2688"/>
                </a:moveTo>
                <a:cubicBezTo>
                  <a:pt x="3627" y="2688"/>
                  <a:pt x="3547" y="2767"/>
                  <a:pt x="3547" y="2879"/>
                </a:cubicBezTo>
                <a:cubicBezTo>
                  <a:pt x="3547" y="2974"/>
                  <a:pt x="3627" y="3054"/>
                  <a:pt x="3738" y="3054"/>
                </a:cubicBezTo>
                <a:cubicBezTo>
                  <a:pt x="3834" y="3054"/>
                  <a:pt x="3913" y="2974"/>
                  <a:pt x="3913" y="2879"/>
                </a:cubicBezTo>
                <a:cubicBezTo>
                  <a:pt x="3913" y="2767"/>
                  <a:pt x="3834" y="2688"/>
                  <a:pt x="3738" y="2688"/>
                </a:cubicBezTo>
                <a:close/>
                <a:moveTo>
                  <a:pt x="1225" y="3165"/>
                </a:moveTo>
                <a:cubicBezTo>
                  <a:pt x="1130" y="3165"/>
                  <a:pt x="1050" y="3245"/>
                  <a:pt x="1050" y="3340"/>
                </a:cubicBezTo>
                <a:cubicBezTo>
                  <a:pt x="1050" y="3435"/>
                  <a:pt x="1130" y="3515"/>
                  <a:pt x="1225" y="3515"/>
                </a:cubicBezTo>
                <a:cubicBezTo>
                  <a:pt x="1336" y="3515"/>
                  <a:pt x="1416" y="3435"/>
                  <a:pt x="1416" y="3340"/>
                </a:cubicBezTo>
                <a:cubicBezTo>
                  <a:pt x="1416" y="3245"/>
                  <a:pt x="1336" y="3165"/>
                  <a:pt x="1225" y="3165"/>
                </a:cubicBezTo>
                <a:close/>
                <a:moveTo>
                  <a:pt x="1862" y="3165"/>
                </a:moveTo>
                <a:cubicBezTo>
                  <a:pt x="1766" y="3165"/>
                  <a:pt x="1671" y="3245"/>
                  <a:pt x="1671" y="3340"/>
                </a:cubicBezTo>
                <a:cubicBezTo>
                  <a:pt x="1671" y="3435"/>
                  <a:pt x="1766" y="3515"/>
                  <a:pt x="1862" y="3515"/>
                </a:cubicBezTo>
                <a:cubicBezTo>
                  <a:pt x="1957" y="3515"/>
                  <a:pt x="2036" y="3435"/>
                  <a:pt x="2036" y="3340"/>
                </a:cubicBezTo>
                <a:cubicBezTo>
                  <a:pt x="2036" y="3245"/>
                  <a:pt x="1957" y="3165"/>
                  <a:pt x="1862" y="3165"/>
                </a:cubicBezTo>
                <a:close/>
                <a:moveTo>
                  <a:pt x="2481" y="3165"/>
                </a:moveTo>
                <a:cubicBezTo>
                  <a:pt x="2386" y="3165"/>
                  <a:pt x="2307" y="3245"/>
                  <a:pt x="2307" y="3340"/>
                </a:cubicBezTo>
                <a:cubicBezTo>
                  <a:pt x="2307" y="3435"/>
                  <a:pt x="2386" y="3515"/>
                  <a:pt x="2481" y="3515"/>
                </a:cubicBezTo>
                <a:cubicBezTo>
                  <a:pt x="2577" y="3515"/>
                  <a:pt x="2657" y="3435"/>
                  <a:pt x="2657" y="3340"/>
                </a:cubicBezTo>
                <a:cubicBezTo>
                  <a:pt x="2657" y="3245"/>
                  <a:pt x="2577" y="3165"/>
                  <a:pt x="2481" y="3165"/>
                </a:cubicBezTo>
                <a:close/>
                <a:moveTo>
                  <a:pt x="3102" y="3165"/>
                </a:moveTo>
                <a:cubicBezTo>
                  <a:pt x="3007" y="3165"/>
                  <a:pt x="2927" y="3245"/>
                  <a:pt x="2927" y="3340"/>
                </a:cubicBezTo>
                <a:cubicBezTo>
                  <a:pt x="2927" y="3435"/>
                  <a:pt x="3007" y="3515"/>
                  <a:pt x="3102" y="3515"/>
                </a:cubicBezTo>
                <a:cubicBezTo>
                  <a:pt x="3198" y="3515"/>
                  <a:pt x="3277" y="3435"/>
                  <a:pt x="3277" y="3340"/>
                </a:cubicBezTo>
                <a:cubicBezTo>
                  <a:pt x="3277" y="3245"/>
                  <a:pt x="3198" y="3165"/>
                  <a:pt x="3102" y="3165"/>
                </a:cubicBezTo>
                <a:close/>
                <a:moveTo>
                  <a:pt x="3738" y="3165"/>
                </a:moveTo>
                <a:cubicBezTo>
                  <a:pt x="3627" y="3165"/>
                  <a:pt x="3547" y="3245"/>
                  <a:pt x="3547" y="3340"/>
                </a:cubicBezTo>
                <a:cubicBezTo>
                  <a:pt x="3547" y="3435"/>
                  <a:pt x="3627" y="3515"/>
                  <a:pt x="3738" y="3515"/>
                </a:cubicBezTo>
                <a:cubicBezTo>
                  <a:pt x="3834" y="3515"/>
                  <a:pt x="3913" y="3435"/>
                  <a:pt x="3913" y="3340"/>
                </a:cubicBezTo>
                <a:cubicBezTo>
                  <a:pt x="3913" y="3245"/>
                  <a:pt x="3834" y="3165"/>
                  <a:pt x="3738" y="3165"/>
                </a:cubicBezTo>
                <a:close/>
                <a:moveTo>
                  <a:pt x="4565" y="3546"/>
                </a:moveTo>
                <a:lnTo>
                  <a:pt x="4565" y="1765"/>
                </a:lnTo>
                <a:cubicBezTo>
                  <a:pt x="4565" y="1574"/>
                  <a:pt x="4406" y="1431"/>
                  <a:pt x="4231" y="1431"/>
                </a:cubicBezTo>
                <a:lnTo>
                  <a:pt x="2672" y="1431"/>
                </a:lnTo>
                <a:lnTo>
                  <a:pt x="2672" y="143"/>
                </a:lnTo>
                <a:cubicBezTo>
                  <a:pt x="2672" y="64"/>
                  <a:pt x="2593" y="0"/>
                  <a:pt x="2514" y="0"/>
                </a:cubicBezTo>
                <a:lnTo>
                  <a:pt x="160" y="0"/>
                </a:lnTo>
                <a:cubicBezTo>
                  <a:pt x="80" y="0"/>
                  <a:pt x="0" y="64"/>
                  <a:pt x="0" y="143"/>
                </a:cubicBezTo>
                <a:lnTo>
                  <a:pt x="0" y="1718"/>
                </a:lnTo>
                <a:cubicBezTo>
                  <a:pt x="0" y="1797"/>
                  <a:pt x="80" y="1861"/>
                  <a:pt x="160" y="1861"/>
                </a:cubicBezTo>
                <a:lnTo>
                  <a:pt x="398" y="1861"/>
                </a:lnTo>
                <a:lnTo>
                  <a:pt x="398" y="3546"/>
                </a:lnTo>
                <a:cubicBezTo>
                  <a:pt x="398" y="3721"/>
                  <a:pt x="541" y="3864"/>
                  <a:pt x="732" y="3864"/>
                </a:cubicBezTo>
                <a:lnTo>
                  <a:pt x="4231" y="3864"/>
                </a:lnTo>
                <a:cubicBezTo>
                  <a:pt x="4406" y="3864"/>
                  <a:pt x="4565" y="3721"/>
                  <a:pt x="4565" y="3546"/>
                </a:cubicBezTo>
                <a:close/>
                <a:moveTo>
                  <a:pt x="2514" y="143"/>
                </a:moveTo>
                <a:lnTo>
                  <a:pt x="2514" y="731"/>
                </a:lnTo>
                <a:lnTo>
                  <a:pt x="160" y="731"/>
                </a:lnTo>
                <a:lnTo>
                  <a:pt x="160" y="159"/>
                </a:lnTo>
                <a:close/>
                <a:moveTo>
                  <a:pt x="160" y="891"/>
                </a:moveTo>
                <a:lnTo>
                  <a:pt x="2514" y="891"/>
                </a:lnTo>
                <a:lnTo>
                  <a:pt x="2514" y="1431"/>
                </a:lnTo>
                <a:lnTo>
                  <a:pt x="732" y="1431"/>
                </a:lnTo>
                <a:cubicBezTo>
                  <a:pt x="573" y="1431"/>
                  <a:pt x="430" y="1558"/>
                  <a:pt x="414" y="1701"/>
                </a:cubicBezTo>
                <a:lnTo>
                  <a:pt x="160" y="1718"/>
                </a:lnTo>
                <a:close/>
                <a:moveTo>
                  <a:pt x="557" y="3546"/>
                </a:moveTo>
                <a:lnTo>
                  <a:pt x="557" y="1765"/>
                </a:lnTo>
                <a:cubicBezTo>
                  <a:pt x="557" y="1670"/>
                  <a:pt x="636" y="1590"/>
                  <a:pt x="732" y="1590"/>
                </a:cubicBezTo>
                <a:lnTo>
                  <a:pt x="4231" y="1590"/>
                </a:lnTo>
                <a:cubicBezTo>
                  <a:pt x="4326" y="1590"/>
                  <a:pt x="4406" y="1670"/>
                  <a:pt x="4406" y="1765"/>
                </a:cubicBezTo>
                <a:lnTo>
                  <a:pt x="4406" y="3546"/>
                </a:lnTo>
                <a:cubicBezTo>
                  <a:pt x="4406" y="3642"/>
                  <a:pt x="4326" y="3706"/>
                  <a:pt x="4231" y="3706"/>
                </a:cubicBezTo>
                <a:lnTo>
                  <a:pt x="732" y="3706"/>
                </a:lnTo>
                <a:cubicBezTo>
                  <a:pt x="636" y="3706"/>
                  <a:pt x="557" y="3642"/>
                  <a:pt x="557" y="3546"/>
                </a:cubicBezTo>
                <a:close/>
                <a:moveTo>
                  <a:pt x="3945" y="1813"/>
                </a:moveTo>
                <a:lnTo>
                  <a:pt x="1018" y="1813"/>
                </a:lnTo>
                <a:cubicBezTo>
                  <a:pt x="971" y="1813"/>
                  <a:pt x="939" y="1845"/>
                  <a:pt x="939" y="1892"/>
                </a:cubicBezTo>
                <a:lnTo>
                  <a:pt x="939" y="2481"/>
                </a:lnTo>
                <a:cubicBezTo>
                  <a:pt x="939" y="2528"/>
                  <a:pt x="971" y="2561"/>
                  <a:pt x="1018" y="2561"/>
                </a:cubicBezTo>
                <a:lnTo>
                  <a:pt x="3945" y="2561"/>
                </a:lnTo>
                <a:cubicBezTo>
                  <a:pt x="3993" y="2561"/>
                  <a:pt x="4025" y="2528"/>
                  <a:pt x="4025" y="2481"/>
                </a:cubicBezTo>
                <a:lnTo>
                  <a:pt x="4025" y="1892"/>
                </a:lnTo>
                <a:cubicBezTo>
                  <a:pt x="4025" y="1845"/>
                  <a:pt x="3993" y="1813"/>
                  <a:pt x="3945" y="1813"/>
                </a:cubicBezTo>
                <a:close/>
                <a:moveTo>
                  <a:pt x="3865" y="2401"/>
                </a:moveTo>
                <a:lnTo>
                  <a:pt x="1098" y="2401"/>
                </a:lnTo>
                <a:lnTo>
                  <a:pt x="1098" y="1972"/>
                </a:lnTo>
                <a:lnTo>
                  <a:pt x="3865" y="1972"/>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8" name="Freeform: Shape 10">
            <a:extLst>
              <a:ext uri="{FF2B5EF4-FFF2-40B4-BE49-F238E27FC236}">
                <a16:creationId xmlns:a16="http://schemas.microsoft.com/office/drawing/2014/main" id="{DF8FD698-D21D-A249-A94D-9EC47949FB0E}"/>
              </a:ext>
            </a:extLst>
          </p:cNvPr>
          <p:cNvSpPr/>
          <p:nvPr/>
        </p:nvSpPr>
        <p:spPr>
          <a:xfrm>
            <a:off x="9958282" y="2902586"/>
            <a:ext cx="1969560" cy="1968480"/>
          </a:xfrm>
          <a:custGeom>
            <a:avLst/>
            <a:gdLst/>
            <a:ahLst/>
            <a:cxnLst>
              <a:cxn ang="3cd4">
                <a:pos x="hc" y="t"/>
              </a:cxn>
              <a:cxn ang="cd2">
                <a:pos x="l" y="vc"/>
              </a:cxn>
              <a:cxn ang="cd4">
                <a:pos x="hc" y="b"/>
              </a:cxn>
              <a:cxn ang="0">
                <a:pos x="r" y="vc"/>
              </a:cxn>
            </a:cxnLst>
            <a:rect l="l" t="t" r="r" b="b"/>
            <a:pathLst>
              <a:path w="5472" h="5469">
                <a:moveTo>
                  <a:pt x="3276" y="76"/>
                </a:moveTo>
                <a:cubicBezTo>
                  <a:pt x="3164" y="44"/>
                  <a:pt x="3053" y="29"/>
                  <a:pt x="2942" y="12"/>
                </a:cubicBezTo>
                <a:cubicBezTo>
                  <a:pt x="2130" y="-67"/>
                  <a:pt x="1335" y="235"/>
                  <a:pt x="779" y="856"/>
                </a:cubicBezTo>
                <a:lnTo>
                  <a:pt x="763" y="871"/>
                </a:lnTo>
                <a:cubicBezTo>
                  <a:pt x="636" y="1014"/>
                  <a:pt x="333" y="1333"/>
                  <a:pt x="142" y="1874"/>
                </a:cubicBezTo>
                <a:cubicBezTo>
                  <a:pt x="127" y="1921"/>
                  <a:pt x="142" y="1953"/>
                  <a:pt x="190" y="1969"/>
                </a:cubicBezTo>
                <a:cubicBezTo>
                  <a:pt x="222" y="1985"/>
                  <a:pt x="270" y="1969"/>
                  <a:pt x="285" y="1921"/>
                </a:cubicBezTo>
                <a:cubicBezTo>
                  <a:pt x="476" y="1412"/>
                  <a:pt x="763" y="1110"/>
                  <a:pt x="874" y="983"/>
                </a:cubicBezTo>
                <a:lnTo>
                  <a:pt x="906" y="951"/>
                </a:lnTo>
                <a:cubicBezTo>
                  <a:pt x="1415" y="378"/>
                  <a:pt x="2178" y="92"/>
                  <a:pt x="2926" y="172"/>
                </a:cubicBezTo>
                <a:cubicBezTo>
                  <a:pt x="3037" y="187"/>
                  <a:pt x="3148" y="203"/>
                  <a:pt x="3244" y="219"/>
                </a:cubicBezTo>
                <a:cubicBezTo>
                  <a:pt x="4644" y="538"/>
                  <a:pt x="5486" y="1698"/>
                  <a:pt x="5280" y="2987"/>
                </a:cubicBezTo>
                <a:cubicBezTo>
                  <a:pt x="5280" y="3019"/>
                  <a:pt x="5311" y="3066"/>
                  <a:pt x="5343" y="3066"/>
                </a:cubicBezTo>
                <a:lnTo>
                  <a:pt x="5359" y="3082"/>
                </a:lnTo>
                <a:cubicBezTo>
                  <a:pt x="5407" y="3082"/>
                  <a:pt x="5439" y="3050"/>
                  <a:pt x="5439" y="3002"/>
                </a:cubicBezTo>
                <a:cubicBezTo>
                  <a:pt x="5662" y="1635"/>
                  <a:pt x="4755" y="394"/>
                  <a:pt x="3276" y="76"/>
                </a:cubicBezTo>
                <a:close/>
                <a:moveTo>
                  <a:pt x="269" y="3958"/>
                </a:moveTo>
                <a:cubicBezTo>
                  <a:pt x="237" y="3974"/>
                  <a:pt x="221" y="4021"/>
                  <a:pt x="237" y="4069"/>
                </a:cubicBezTo>
                <a:cubicBezTo>
                  <a:pt x="253" y="4085"/>
                  <a:pt x="284" y="4101"/>
                  <a:pt x="316" y="4101"/>
                </a:cubicBezTo>
                <a:cubicBezTo>
                  <a:pt x="327" y="4096"/>
                  <a:pt x="332" y="4101"/>
                  <a:pt x="348" y="4085"/>
                </a:cubicBezTo>
                <a:cubicBezTo>
                  <a:pt x="364" y="4085"/>
                  <a:pt x="682" y="3878"/>
                  <a:pt x="682" y="3338"/>
                </a:cubicBezTo>
                <a:cubicBezTo>
                  <a:pt x="682" y="3242"/>
                  <a:pt x="682" y="3147"/>
                  <a:pt x="666" y="3051"/>
                </a:cubicBezTo>
                <a:cubicBezTo>
                  <a:pt x="666" y="2733"/>
                  <a:pt x="650" y="2431"/>
                  <a:pt x="746" y="2129"/>
                </a:cubicBezTo>
                <a:cubicBezTo>
                  <a:pt x="984" y="1397"/>
                  <a:pt x="1796" y="634"/>
                  <a:pt x="2718" y="666"/>
                </a:cubicBezTo>
                <a:cubicBezTo>
                  <a:pt x="3386" y="697"/>
                  <a:pt x="4038" y="1063"/>
                  <a:pt x="4435" y="1620"/>
                </a:cubicBezTo>
                <a:cubicBezTo>
                  <a:pt x="4658" y="1906"/>
                  <a:pt x="4770" y="2240"/>
                  <a:pt x="4786" y="2574"/>
                </a:cubicBezTo>
                <a:cubicBezTo>
                  <a:pt x="4801" y="2813"/>
                  <a:pt x="4801" y="3067"/>
                  <a:pt x="4786" y="3354"/>
                </a:cubicBezTo>
                <a:cubicBezTo>
                  <a:pt x="4770" y="3401"/>
                  <a:pt x="4801" y="3433"/>
                  <a:pt x="4849" y="3433"/>
                </a:cubicBezTo>
                <a:cubicBezTo>
                  <a:pt x="4897" y="3449"/>
                  <a:pt x="4929" y="3401"/>
                  <a:pt x="4929" y="3369"/>
                </a:cubicBezTo>
                <a:cubicBezTo>
                  <a:pt x="4961" y="3067"/>
                  <a:pt x="4961" y="2813"/>
                  <a:pt x="4944" y="2574"/>
                </a:cubicBezTo>
                <a:cubicBezTo>
                  <a:pt x="4929" y="2208"/>
                  <a:pt x="4801" y="1843"/>
                  <a:pt x="4563" y="1524"/>
                </a:cubicBezTo>
                <a:cubicBezTo>
                  <a:pt x="4149" y="936"/>
                  <a:pt x="3434" y="539"/>
                  <a:pt x="2734" y="506"/>
                </a:cubicBezTo>
                <a:cubicBezTo>
                  <a:pt x="1732" y="475"/>
                  <a:pt x="841" y="1302"/>
                  <a:pt x="603" y="2081"/>
                </a:cubicBezTo>
                <a:cubicBezTo>
                  <a:pt x="491" y="2415"/>
                  <a:pt x="507" y="2749"/>
                  <a:pt x="507" y="3067"/>
                </a:cubicBezTo>
                <a:cubicBezTo>
                  <a:pt x="523" y="3163"/>
                  <a:pt x="523" y="3258"/>
                  <a:pt x="523" y="3338"/>
                </a:cubicBezTo>
                <a:cubicBezTo>
                  <a:pt x="523" y="3783"/>
                  <a:pt x="284" y="3942"/>
                  <a:pt x="269" y="3958"/>
                </a:cubicBezTo>
                <a:close/>
                <a:moveTo>
                  <a:pt x="666" y="4324"/>
                </a:moveTo>
                <a:cubicBezTo>
                  <a:pt x="635" y="4356"/>
                  <a:pt x="650" y="4403"/>
                  <a:pt x="682" y="4435"/>
                </a:cubicBezTo>
                <a:cubicBezTo>
                  <a:pt x="714" y="4451"/>
                  <a:pt x="762" y="4451"/>
                  <a:pt x="793" y="4419"/>
                </a:cubicBezTo>
                <a:cubicBezTo>
                  <a:pt x="968" y="4196"/>
                  <a:pt x="1207" y="3878"/>
                  <a:pt x="1254" y="3512"/>
                </a:cubicBezTo>
                <a:cubicBezTo>
                  <a:pt x="1287" y="3322"/>
                  <a:pt x="1271" y="3115"/>
                  <a:pt x="1254" y="2924"/>
                </a:cubicBezTo>
                <a:cubicBezTo>
                  <a:pt x="1239" y="2622"/>
                  <a:pt x="1223" y="2351"/>
                  <a:pt x="1350" y="2081"/>
                </a:cubicBezTo>
                <a:cubicBezTo>
                  <a:pt x="1493" y="1747"/>
                  <a:pt x="1796" y="1461"/>
                  <a:pt x="2161" y="1302"/>
                </a:cubicBezTo>
                <a:cubicBezTo>
                  <a:pt x="2798" y="1048"/>
                  <a:pt x="3656" y="1318"/>
                  <a:pt x="4022" y="1906"/>
                </a:cubicBezTo>
                <a:cubicBezTo>
                  <a:pt x="4356" y="2447"/>
                  <a:pt x="4325" y="2845"/>
                  <a:pt x="4277" y="3433"/>
                </a:cubicBezTo>
                <a:lnTo>
                  <a:pt x="4277" y="3512"/>
                </a:lnTo>
                <a:cubicBezTo>
                  <a:pt x="4229" y="3990"/>
                  <a:pt x="4181" y="4658"/>
                  <a:pt x="3863" y="5056"/>
                </a:cubicBezTo>
                <a:cubicBezTo>
                  <a:pt x="3847" y="5087"/>
                  <a:pt x="3847" y="5135"/>
                  <a:pt x="3879" y="5167"/>
                </a:cubicBezTo>
                <a:cubicBezTo>
                  <a:pt x="3895" y="5183"/>
                  <a:pt x="3911" y="5183"/>
                  <a:pt x="3927" y="5183"/>
                </a:cubicBezTo>
                <a:cubicBezTo>
                  <a:pt x="3959" y="5183"/>
                  <a:pt x="3974" y="5167"/>
                  <a:pt x="3990" y="5151"/>
                </a:cubicBezTo>
                <a:cubicBezTo>
                  <a:pt x="4340" y="4721"/>
                  <a:pt x="4388" y="4021"/>
                  <a:pt x="4435" y="3512"/>
                </a:cubicBezTo>
                <a:lnTo>
                  <a:pt x="4435" y="3449"/>
                </a:lnTo>
                <a:cubicBezTo>
                  <a:pt x="4483" y="2845"/>
                  <a:pt x="4515" y="2399"/>
                  <a:pt x="4149" y="1827"/>
                </a:cubicBezTo>
                <a:cubicBezTo>
                  <a:pt x="3752" y="1175"/>
                  <a:pt x="2813" y="872"/>
                  <a:pt x="2114" y="1158"/>
                </a:cubicBezTo>
                <a:cubicBezTo>
                  <a:pt x="1700" y="1334"/>
                  <a:pt x="1366" y="1636"/>
                  <a:pt x="1207" y="2018"/>
                </a:cubicBezTo>
                <a:cubicBezTo>
                  <a:pt x="1064" y="2320"/>
                  <a:pt x="1080" y="2638"/>
                  <a:pt x="1111" y="2940"/>
                </a:cubicBezTo>
                <a:cubicBezTo>
                  <a:pt x="1111" y="3115"/>
                  <a:pt x="1127" y="3306"/>
                  <a:pt x="1096" y="3497"/>
                </a:cubicBezTo>
                <a:cubicBezTo>
                  <a:pt x="1064" y="3783"/>
                  <a:pt x="889" y="4038"/>
                  <a:pt x="666" y="4324"/>
                </a:cubicBezTo>
                <a:close/>
                <a:moveTo>
                  <a:pt x="3196" y="5453"/>
                </a:moveTo>
                <a:cubicBezTo>
                  <a:pt x="3196" y="5469"/>
                  <a:pt x="3212" y="5469"/>
                  <a:pt x="3228" y="5469"/>
                </a:cubicBezTo>
                <a:cubicBezTo>
                  <a:pt x="3260" y="5469"/>
                  <a:pt x="3291" y="5453"/>
                  <a:pt x="3308" y="5437"/>
                </a:cubicBezTo>
                <a:cubicBezTo>
                  <a:pt x="3482" y="5151"/>
                  <a:pt x="3609" y="4880"/>
                  <a:pt x="3689" y="4610"/>
                </a:cubicBezTo>
                <a:cubicBezTo>
                  <a:pt x="3689" y="4578"/>
                  <a:pt x="3673" y="4530"/>
                  <a:pt x="3626" y="4515"/>
                </a:cubicBezTo>
                <a:cubicBezTo>
                  <a:pt x="3578" y="4515"/>
                  <a:pt x="3546" y="4530"/>
                  <a:pt x="3530" y="4578"/>
                </a:cubicBezTo>
                <a:cubicBezTo>
                  <a:pt x="3466" y="4833"/>
                  <a:pt x="3339" y="5087"/>
                  <a:pt x="3164" y="5342"/>
                </a:cubicBezTo>
                <a:cubicBezTo>
                  <a:pt x="3148" y="5389"/>
                  <a:pt x="3148" y="5437"/>
                  <a:pt x="3196" y="5453"/>
                </a:cubicBezTo>
                <a:close/>
                <a:moveTo>
                  <a:pt x="3721" y="4260"/>
                </a:moveTo>
                <a:cubicBezTo>
                  <a:pt x="3769" y="4260"/>
                  <a:pt x="3800" y="4244"/>
                  <a:pt x="3800" y="4196"/>
                </a:cubicBezTo>
                <a:cubicBezTo>
                  <a:pt x="3848" y="3974"/>
                  <a:pt x="3896" y="3656"/>
                  <a:pt x="3896" y="3481"/>
                </a:cubicBezTo>
                <a:lnTo>
                  <a:pt x="3912" y="3322"/>
                </a:lnTo>
                <a:cubicBezTo>
                  <a:pt x="3928" y="3036"/>
                  <a:pt x="3944" y="2733"/>
                  <a:pt x="3880" y="2463"/>
                </a:cubicBezTo>
                <a:cubicBezTo>
                  <a:pt x="3817" y="2176"/>
                  <a:pt x="3435" y="1556"/>
                  <a:pt x="2719" y="1556"/>
                </a:cubicBezTo>
                <a:cubicBezTo>
                  <a:pt x="2305" y="1556"/>
                  <a:pt x="1860" y="1858"/>
                  <a:pt x="1669" y="2272"/>
                </a:cubicBezTo>
                <a:cubicBezTo>
                  <a:pt x="1542" y="2574"/>
                  <a:pt x="1558" y="2892"/>
                  <a:pt x="1590" y="3194"/>
                </a:cubicBezTo>
                <a:cubicBezTo>
                  <a:pt x="1590" y="3338"/>
                  <a:pt x="1606" y="3449"/>
                  <a:pt x="1606" y="3576"/>
                </a:cubicBezTo>
                <a:cubicBezTo>
                  <a:pt x="1606" y="3624"/>
                  <a:pt x="1590" y="3687"/>
                  <a:pt x="1590" y="3735"/>
                </a:cubicBezTo>
                <a:cubicBezTo>
                  <a:pt x="1574" y="3783"/>
                  <a:pt x="1606" y="3831"/>
                  <a:pt x="1653" y="3831"/>
                </a:cubicBezTo>
                <a:cubicBezTo>
                  <a:pt x="1685" y="3847"/>
                  <a:pt x="1733" y="3815"/>
                  <a:pt x="1749" y="3767"/>
                </a:cubicBezTo>
                <a:cubicBezTo>
                  <a:pt x="1749" y="3703"/>
                  <a:pt x="1764" y="3640"/>
                  <a:pt x="1764" y="3576"/>
                </a:cubicBezTo>
                <a:cubicBezTo>
                  <a:pt x="1764" y="3449"/>
                  <a:pt x="1749" y="3322"/>
                  <a:pt x="1749" y="3194"/>
                </a:cubicBezTo>
                <a:cubicBezTo>
                  <a:pt x="1733" y="2908"/>
                  <a:pt x="1701" y="2606"/>
                  <a:pt x="1812" y="2336"/>
                </a:cubicBezTo>
                <a:cubicBezTo>
                  <a:pt x="1972" y="1986"/>
                  <a:pt x="2369" y="1715"/>
                  <a:pt x="2719" y="1715"/>
                </a:cubicBezTo>
                <a:cubicBezTo>
                  <a:pt x="3339" y="1715"/>
                  <a:pt x="3673" y="2256"/>
                  <a:pt x="3721" y="2494"/>
                </a:cubicBezTo>
                <a:cubicBezTo>
                  <a:pt x="3785" y="2749"/>
                  <a:pt x="3769" y="3036"/>
                  <a:pt x="3753" y="3322"/>
                </a:cubicBezTo>
                <a:lnTo>
                  <a:pt x="3737" y="3481"/>
                </a:lnTo>
                <a:cubicBezTo>
                  <a:pt x="3737" y="3640"/>
                  <a:pt x="3689" y="3942"/>
                  <a:pt x="3641" y="4181"/>
                </a:cubicBezTo>
                <a:cubicBezTo>
                  <a:pt x="3641" y="4212"/>
                  <a:pt x="3673" y="4260"/>
                  <a:pt x="3705" y="4260"/>
                </a:cubicBezTo>
                <a:close/>
                <a:moveTo>
                  <a:pt x="1573" y="4069"/>
                </a:moveTo>
                <a:cubicBezTo>
                  <a:pt x="1525" y="4053"/>
                  <a:pt x="1477" y="4069"/>
                  <a:pt x="1462" y="4117"/>
                </a:cubicBezTo>
                <a:cubicBezTo>
                  <a:pt x="1271" y="4483"/>
                  <a:pt x="1144" y="4530"/>
                  <a:pt x="984" y="4737"/>
                </a:cubicBezTo>
                <a:cubicBezTo>
                  <a:pt x="953" y="4769"/>
                  <a:pt x="936" y="4817"/>
                  <a:pt x="968" y="4848"/>
                </a:cubicBezTo>
                <a:cubicBezTo>
                  <a:pt x="984" y="4865"/>
                  <a:pt x="1016" y="4880"/>
                  <a:pt x="1032" y="4880"/>
                </a:cubicBezTo>
                <a:cubicBezTo>
                  <a:pt x="1048" y="4880"/>
                  <a:pt x="1064" y="4880"/>
                  <a:pt x="1080" y="4865"/>
                </a:cubicBezTo>
                <a:cubicBezTo>
                  <a:pt x="1096" y="4848"/>
                  <a:pt x="1398" y="4578"/>
                  <a:pt x="1605" y="4181"/>
                </a:cubicBezTo>
                <a:cubicBezTo>
                  <a:pt x="1620" y="4149"/>
                  <a:pt x="1605" y="4101"/>
                  <a:pt x="1573" y="4069"/>
                </a:cubicBezTo>
                <a:close/>
                <a:moveTo>
                  <a:pt x="2559" y="5452"/>
                </a:moveTo>
                <a:cubicBezTo>
                  <a:pt x="2575" y="5468"/>
                  <a:pt x="2591" y="5468"/>
                  <a:pt x="2607" y="5468"/>
                </a:cubicBezTo>
                <a:cubicBezTo>
                  <a:pt x="2638" y="5468"/>
                  <a:pt x="2654" y="5452"/>
                  <a:pt x="2670" y="5436"/>
                </a:cubicBezTo>
                <a:cubicBezTo>
                  <a:pt x="3020" y="4864"/>
                  <a:pt x="3354" y="4259"/>
                  <a:pt x="3338" y="3528"/>
                </a:cubicBezTo>
                <a:cubicBezTo>
                  <a:pt x="3338" y="3305"/>
                  <a:pt x="3322" y="3066"/>
                  <a:pt x="3322" y="2828"/>
                </a:cubicBezTo>
                <a:cubicBezTo>
                  <a:pt x="3307" y="2653"/>
                  <a:pt x="3290" y="2398"/>
                  <a:pt x="3163" y="2239"/>
                </a:cubicBezTo>
                <a:cubicBezTo>
                  <a:pt x="2972" y="2032"/>
                  <a:pt x="2607" y="2048"/>
                  <a:pt x="2384" y="2192"/>
                </a:cubicBezTo>
                <a:cubicBezTo>
                  <a:pt x="2161" y="2366"/>
                  <a:pt x="2145" y="2684"/>
                  <a:pt x="2145" y="2939"/>
                </a:cubicBezTo>
                <a:lnTo>
                  <a:pt x="2145" y="3035"/>
                </a:lnTo>
                <a:cubicBezTo>
                  <a:pt x="2161" y="3241"/>
                  <a:pt x="2161" y="3464"/>
                  <a:pt x="2145" y="3686"/>
                </a:cubicBezTo>
                <a:cubicBezTo>
                  <a:pt x="2098" y="4180"/>
                  <a:pt x="1780" y="4641"/>
                  <a:pt x="1445" y="5070"/>
                </a:cubicBezTo>
                <a:cubicBezTo>
                  <a:pt x="1414" y="5102"/>
                  <a:pt x="1414" y="5150"/>
                  <a:pt x="1445" y="5182"/>
                </a:cubicBezTo>
                <a:cubicBezTo>
                  <a:pt x="1477" y="5198"/>
                  <a:pt x="1541" y="5198"/>
                  <a:pt x="1557" y="5166"/>
                </a:cubicBezTo>
                <a:cubicBezTo>
                  <a:pt x="1923" y="4720"/>
                  <a:pt x="2257" y="4243"/>
                  <a:pt x="2304" y="3702"/>
                </a:cubicBezTo>
                <a:cubicBezTo>
                  <a:pt x="2320" y="3480"/>
                  <a:pt x="2320" y="3241"/>
                  <a:pt x="2304" y="3019"/>
                </a:cubicBezTo>
                <a:lnTo>
                  <a:pt x="2304" y="2939"/>
                </a:lnTo>
                <a:cubicBezTo>
                  <a:pt x="2304" y="2716"/>
                  <a:pt x="2320" y="2446"/>
                  <a:pt x="2480" y="2319"/>
                </a:cubicBezTo>
                <a:cubicBezTo>
                  <a:pt x="2623" y="2207"/>
                  <a:pt x="2925" y="2207"/>
                  <a:pt x="3036" y="2335"/>
                </a:cubicBezTo>
                <a:cubicBezTo>
                  <a:pt x="3147" y="2462"/>
                  <a:pt x="3147" y="2669"/>
                  <a:pt x="3163" y="2844"/>
                </a:cubicBezTo>
                <a:cubicBezTo>
                  <a:pt x="3163" y="3082"/>
                  <a:pt x="3179" y="3305"/>
                  <a:pt x="3179" y="3543"/>
                </a:cubicBezTo>
                <a:cubicBezTo>
                  <a:pt x="3195" y="4211"/>
                  <a:pt x="2893" y="4784"/>
                  <a:pt x="2543" y="5341"/>
                </a:cubicBezTo>
                <a:cubicBezTo>
                  <a:pt x="2511" y="5388"/>
                  <a:pt x="2527" y="5436"/>
                  <a:pt x="2559" y="5452"/>
                </a:cubicBezTo>
                <a:close/>
                <a:moveTo>
                  <a:pt x="1939" y="5357"/>
                </a:moveTo>
                <a:cubicBezTo>
                  <a:pt x="1954" y="5374"/>
                  <a:pt x="1971" y="5374"/>
                  <a:pt x="1986" y="5374"/>
                </a:cubicBezTo>
                <a:cubicBezTo>
                  <a:pt x="2018" y="5374"/>
                  <a:pt x="2034" y="5357"/>
                  <a:pt x="2050" y="5342"/>
                </a:cubicBezTo>
                <a:cubicBezTo>
                  <a:pt x="2654" y="4674"/>
                  <a:pt x="2893" y="3815"/>
                  <a:pt x="2813" y="2670"/>
                </a:cubicBezTo>
                <a:cubicBezTo>
                  <a:pt x="2798" y="2622"/>
                  <a:pt x="2766" y="2590"/>
                  <a:pt x="2718" y="2590"/>
                </a:cubicBezTo>
                <a:cubicBezTo>
                  <a:pt x="2670" y="2590"/>
                  <a:pt x="2638" y="2638"/>
                  <a:pt x="2654" y="2685"/>
                </a:cubicBezTo>
                <a:cubicBezTo>
                  <a:pt x="2734" y="3799"/>
                  <a:pt x="2527" y="4594"/>
                  <a:pt x="1939" y="5246"/>
                </a:cubicBezTo>
                <a:cubicBezTo>
                  <a:pt x="1907" y="5278"/>
                  <a:pt x="1907" y="5326"/>
                  <a:pt x="1939" y="5357"/>
                </a:cubicBezTo>
                <a:close/>
                <a:moveTo>
                  <a:pt x="94" y="3163"/>
                </a:moveTo>
                <a:cubicBezTo>
                  <a:pt x="141" y="3163"/>
                  <a:pt x="173" y="3115"/>
                  <a:pt x="173" y="3083"/>
                </a:cubicBezTo>
                <a:cubicBezTo>
                  <a:pt x="173" y="3067"/>
                  <a:pt x="141" y="2654"/>
                  <a:pt x="173" y="2336"/>
                </a:cubicBezTo>
                <a:cubicBezTo>
                  <a:pt x="173" y="2304"/>
                  <a:pt x="141" y="2256"/>
                  <a:pt x="94" y="2256"/>
                </a:cubicBezTo>
                <a:cubicBezTo>
                  <a:pt x="62" y="2256"/>
                  <a:pt x="14" y="2288"/>
                  <a:pt x="14" y="2336"/>
                </a:cubicBezTo>
                <a:cubicBezTo>
                  <a:pt x="-18" y="2654"/>
                  <a:pt x="14" y="3067"/>
                  <a:pt x="14" y="3083"/>
                </a:cubicBezTo>
                <a:cubicBezTo>
                  <a:pt x="14" y="3131"/>
                  <a:pt x="46" y="3163"/>
                  <a:pt x="94" y="3163"/>
                </a:cubicBezTo>
                <a:close/>
                <a:moveTo>
                  <a:pt x="4658" y="4626"/>
                </a:moveTo>
                <a:cubicBezTo>
                  <a:pt x="4690" y="4626"/>
                  <a:pt x="4722" y="4610"/>
                  <a:pt x="4722" y="4578"/>
                </a:cubicBezTo>
                <a:cubicBezTo>
                  <a:pt x="4833" y="4308"/>
                  <a:pt x="4881" y="3894"/>
                  <a:pt x="4881" y="3878"/>
                </a:cubicBezTo>
                <a:cubicBezTo>
                  <a:pt x="4881" y="3831"/>
                  <a:pt x="4849" y="3783"/>
                  <a:pt x="4801" y="3783"/>
                </a:cubicBezTo>
                <a:cubicBezTo>
                  <a:pt x="4770" y="3783"/>
                  <a:pt x="4722" y="3815"/>
                  <a:pt x="4722" y="3847"/>
                </a:cubicBezTo>
                <a:cubicBezTo>
                  <a:pt x="4722" y="3863"/>
                  <a:pt x="4674" y="4276"/>
                  <a:pt x="4579" y="4515"/>
                </a:cubicBezTo>
                <a:cubicBezTo>
                  <a:pt x="4563" y="4562"/>
                  <a:pt x="4579" y="4610"/>
                  <a:pt x="4626" y="462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9" name="Freeform: Shape 11">
            <a:extLst>
              <a:ext uri="{FF2B5EF4-FFF2-40B4-BE49-F238E27FC236}">
                <a16:creationId xmlns:a16="http://schemas.microsoft.com/office/drawing/2014/main" id="{A7E1F6B4-77FB-264A-BB72-C6970868F8F2}"/>
              </a:ext>
            </a:extLst>
          </p:cNvPr>
          <p:cNvSpPr/>
          <p:nvPr/>
        </p:nvSpPr>
        <p:spPr>
          <a:xfrm>
            <a:off x="14284572" y="9570077"/>
            <a:ext cx="1007640" cy="1872000"/>
          </a:xfrm>
          <a:custGeom>
            <a:avLst/>
            <a:gdLst/>
            <a:ahLst/>
            <a:cxnLst>
              <a:cxn ang="3cd4">
                <a:pos x="hc" y="t"/>
              </a:cxn>
              <a:cxn ang="cd2">
                <a:pos x="l" y="vc"/>
              </a:cxn>
              <a:cxn ang="cd4">
                <a:pos x="hc" y="b"/>
              </a:cxn>
              <a:cxn ang="0">
                <a:pos x="r" y="vc"/>
              </a:cxn>
            </a:cxnLst>
            <a:rect l="l" t="t" r="r" b="b"/>
            <a:pathLst>
              <a:path w="2800" h="5201">
                <a:moveTo>
                  <a:pt x="2800" y="1146"/>
                </a:moveTo>
                <a:cubicBezTo>
                  <a:pt x="2800" y="955"/>
                  <a:pt x="2657" y="796"/>
                  <a:pt x="2498" y="796"/>
                </a:cubicBezTo>
                <a:cubicBezTo>
                  <a:pt x="2466" y="796"/>
                  <a:pt x="2434" y="796"/>
                  <a:pt x="2418" y="812"/>
                </a:cubicBezTo>
                <a:cubicBezTo>
                  <a:pt x="2402" y="621"/>
                  <a:pt x="2259" y="462"/>
                  <a:pt x="2100" y="462"/>
                </a:cubicBezTo>
                <a:cubicBezTo>
                  <a:pt x="2036" y="462"/>
                  <a:pt x="1973" y="478"/>
                  <a:pt x="1925" y="526"/>
                </a:cubicBezTo>
                <a:cubicBezTo>
                  <a:pt x="1877" y="366"/>
                  <a:pt x="1766" y="255"/>
                  <a:pt x="1623" y="255"/>
                </a:cubicBezTo>
                <a:cubicBezTo>
                  <a:pt x="1544" y="255"/>
                  <a:pt x="1464" y="287"/>
                  <a:pt x="1416" y="351"/>
                </a:cubicBezTo>
                <a:cubicBezTo>
                  <a:pt x="1353" y="223"/>
                  <a:pt x="1257" y="144"/>
                  <a:pt x="1130" y="144"/>
                </a:cubicBezTo>
                <a:cubicBezTo>
                  <a:pt x="1018" y="144"/>
                  <a:pt x="923" y="208"/>
                  <a:pt x="875" y="319"/>
                </a:cubicBezTo>
                <a:cubicBezTo>
                  <a:pt x="796" y="128"/>
                  <a:pt x="637" y="0"/>
                  <a:pt x="462" y="0"/>
                </a:cubicBezTo>
                <a:cubicBezTo>
                  <a:pt x="208" y="0"/>
                  <a:pt x="0" y="255"/>
                  <a:pt x="0" y="573"/>
                </a:cubicBezTo>
                <a:cubicBezTo>
                  <a:pt x="0" y="827"/>
                  <a:pt x="144" y="1035"/>
                  <a:pt x="318" y="1114"/>
                </a:cubicBezTo>
                <a:cubicBezTo>
                  <a:pt x="160" y="1257"/>
                  <a:pt x="64" y="1448"/>
                  <a:pt x="112" y="1671"/>
                </a:cubicBezTo>
                <a:cubicBezTo>
                  <a:pt x="175" y="2005"/>
                  <a:pt x="462" y="2243"/>
                  <a:pt x="812" y="2307"/>
                </a:cubicBezTo>
                <a:cubicBezTo>
                  <a:pt x="1225" y="2386"/>
                  <a:pt x="1336" y="2911"/>
                  <a:pt x="1305" y="3277"/>
                </a:cubicBezTo>
                <a:cubicBezTo>
                  <a:pt x="1241" y="3707"/>
                  <a:pt x="1098" y="3865"/>
                  <a:pt x="860" y="4120"/>
                </a:cubicBezTo>
                <a:cubicBezTo>
                  <a:pt x="780" y="4216"/>
                  <a:pt x="780" y="4216"/>
                  <a:pt x="780" y="4216"/>
                </a:cubicBezTo>
                <a:cubicBezTo>
                  <a:pt x="621" y="4390"/>
                  <a:pt x="573" y="4597"/>
                  <a:pt x="669" y="4804"/>
                </a:cubicBezTo>
                <a:cubicBezTo>
                  <a:pt x="780" y="5043"/>
                  <a:pt x="1035" y="5201"/>
                  <a:pt x="1305" y="5201"/>
                </a:cubicBezTo>
                <a:cubicBezTo>
                  <a:pt x="1321" y="5201"/>
                  <a:pt x="1321" y="5201"/>
                  <a:pt x="1321" y="5201"/>
                </a:cubicBezTo>
                <a:cubicBezTo>
                  <a:pt x="1591" y="5201"/>
                  <a:pt x="1989" y="5090"/>
                  <a:pt x="2163" y="4788"/>
                </a:cubicBezTo>
                <a:cubicBezTo>
                  <a:pt x="2307" y="4549"/>
                  <a:pt x="2323" y="4247"/>
                  <a:pt x="2323" y="3993"/>
                </a:cubicBezTo>
                <a:cubicBezTo>
                  <a:pt x="2323" y="3898"/>
                  <a:pt x="2323" y="3898"/>
                  <a:pt x="2323" y="3898"/>
                </a:cubicBezTo>
                <a:cubicBezTo>
                  <a:pt x="2339" y="3563"/>
                  <a:pt x="2354" y="3181"/>
                  <a:pt x="2450" y="2784"/>
                </a:cubicBezTo>
                <a:cubicBezTo>
                  <a:pt x="2466" y="2689"/>
                  <a:pt x="2498" y="2593"/>
                  <a:pt x="2529" y="2482"/>
                </a:cubicBezTo>
                <a:cubicBezTo>
                  <a:pt x="2577" y="2339"/>
                  <a:pt x="2641" y="2196"/>
                  <a:pt x="2657" y="2036"/>
                </a:cubicBezTo>
                <a:cubicBezTo>
                  <a:pt x="2672" y="1877"/>
                  <a:pt x="2609" y="1671"/>
                  <a:pt x="2498" y="1496"/>
                </a:cubicBezTo>
                <a:cubicBezTo>
                  <a:pt x="2657" y="1496"/>
                  <a:pt x="2800" y="1336"/>
                  <a:pt x="2800" y="1146"/>
                </a:cubicBezTo>
                <a:close/>
                <a:moveTo>
                  <a:pt x="1353" y="891"/>
                </a:moveTo>
                <a:cubicBezTo>
                  <a:pt x="1353" y="891"/>
                  <a:pt x="1353" y="907"/>
                  <a:pt x="1368" y="907"/>
                </a:cubicBezTo>
                <a:cubicBezTo>
                  <a:pt x="1353" y="907"/>
                  <a:pt x="1336" y="907"/>
                  <a:pt x="1336" y="907"/>
                </a:cubicBezTo>
                <a:cubicBezTo>
                  <a:pt x="1336" y="907"/>
                  <a:pt x="1336" y="891"/>
                  <a:pt x="1353" y="891"/>
                </a:cubicBezTo>
                <a:close/>
                <a:moveTo>
                  <a:pt x="1814" y="1003"/>
                </a:moveTo>
                <a:close/>
                <a:moveTo>
                  <a:pt x="2100" y="621"/>
                </a:moveTo>
                <a:cubicBezTo>
                  <a:pt x="2180" y="621"/>
                  <a:pt x="2259" y="717"/>
                  <a:pt x="2259" y="844"/>
                </a:cubicBezTo>
                <a:cubicBezTo>
                  <a:pt x="2259" y="955"/>
                  <a:pt x="2180" y="1066"/>
                  <a:pt x="2100" y="1066"/>
                </a:cubicBezTo>
                <a:cubicBezTo>
                  <a:pt x="2020" y="1066"/>
                  <a:pt x="1941" y="955"/>
                  <a:pt x="1941" y="844"/>
                </a:cubicBezTo>
                <a:cubicBezTo>
                  <a:pt x="1941" y="717"/>
                  <a:pt x="2020" y="621"/>
                  <a:pt x="2100" y="621"/>
                </a:cubicBezTo>
                <a:close/>
                <a:moveTo>
                  <a:pt x="1623" y="414"/>
                </a:moveTo>
                <a:cubicBezTo>
                  <a:pt x="1702" y="414"/>
                  <a:pt x="1782" y="526"/>
                  <a:pt x="1782" y="669"/>
                </a:cubicBezTo>
                <a:cubicBezTo>
                  <a:pt x="1782" y="796"/>
                  <a:pt x="1702" y="923"/>
                  <a:pt x="1623" y="923"/>
                </a:cubicBezTo>
                <a:cubicBezTo>
                  <a:pt x="1527" y="923"/>
                  <a:pt x="1448" y="796"/>
                  <a:pt x="1448" y="669"/>
                </a:cubicBezTo>
                <a:cubicBezTo>
                  <a:pt x="1448" y="526"/>
                  <a:pt x="1527" y="414"/>
                  <a:pt x="1623" y="414"/>
                </a:cubicBezTo>
                <a:close/>
                <a:moveTo>
                  <a:pt x="1130" y="303"/>
                </a:moveTo>
                <a:cubicBezTo>
                  <a:pt x="1225" y="303"/>
                  <a:pt x="1289" y="430"/>
                  <a:pt x="1289" y="573"/>
                </a:cubicBezTo>
                <a:cubicBezTo>
                  <a:pt x="1289" y="717"/>
                  <a:pt x="1225" y="844"/>
                  <a:pt x="1130" y="844"/>
                </a:cubicBezTo>
                <a:cubicBezTo>
                  <a:pt x="1035" y="844"/>
                  <a:pt x="971" y="717"/>
                  <a:pt x="971" y="573"/>
                </a:cubicBezTo>
                <a:cubicBezTo>
                  <a:pt x="971" y="430"/>
                  <a:pt x="1035" y="303"/>
                  <a:pt x="1130" y="303"/>
                </a:cubicBezTo>
                <a:close/>
                <a:moveTo>
                  <a:pt x="907" y="891"/>
                </a:moveTo>
                <a:cubicBezTo>
                  <a:pt x="891" y="891"/>
                  <a:pt x="860" y="891"/>
                  <a:pt x="844" y="891"/>
                </a:cubicBezTo>
                <a:cubicBezTo>
                  <a:pt x="860" y="875"/>
                  <a:pt x="860" y="860"/>
                  <a:pt x="875" y="827"/>
                </a:cubicBezTo>
                <a:cubicBezTo>
                  <a:pt x="875" y="860"/>
                  <a:pt x="891" y="875"/>
                  <a:pt x="907" y="891"/>
                </a:cubicBezTo>
                <a:close/>
                <a:moveTo>
                  <a:pt x="462" y="987"/>
                </a:moveTo>
                <a:cubicBezTo>
                  <a:pt x="303" y="987"/>
                  <a:pt x="160" y="796"/>
                  <a:pt x="160" y="573"/>
                </a:cubicBezTo>
                <a:cubicBezTo>
                  <a:pt x="160" y="351"/>
                  <a:pt x="303" y="160"/>
                  <a:pt x="462" y="160"/>
                </a:cubicBezTo>
                <a:cubicBezTo>
                  <a:pt x="637" y="160"/>
                  <a:pt x="764" y="351"/>
                  <a:pt x="764" y="573"/>
                </a:cubicBezTo>
                <a:cubicBezTo>
                  <a:pt x="764" y="748"/>
                  <a:pt x="684" y="907"/>
                  <a:pt x="573" y="955"/>
                </a:cubicBezTo>
                <a:cubicBezTo>
                  <a:pt x="557" y="971"/>
                  <a:pt x="541" y="971"/>
                  <a:pt x="541" y="971"/>
                </a:cubicBezTo>
                <a:cubicBezTo>
                  <a:pt x="509" y="987"/>
                  <a:pt x="494" y="987"/>
                  <a:pt x="462" y="987"/>
                </a:cubicBezTo>
                <a:close/>
                <a:moveTo>
                  <a:pt x="2498" y="2020"/>
                </a:moveTo>
                <a:cubicBezTo>
                  <a:pt x="2482" y="2163"/>
                  <a:pt x="2434" y="2291"/>
                  <a:pt x="2386" y="2434"/>
                </a:cubicBezTo>
                <a:cubicBezTo>
                  <a:pt x="2354" y="2529"/>
                  <a:pt x="2307" y="2641"/>
                  <a:pt x="2291" y="2752"/>
                </a:cubicBezTo>
                <a:cubicBezTo>
                  <a:pt x="2196" y="3150"/>
                  <a:pt x="2180" y="3547"/>
                  <a:pt x="2163" y="3881"/>
                </a:cubicBezTo>
                <a:cubicBezTo>
                  <a:pt x="2163" y="3977"/>
                  <a:pt x="2163" y="3977"/>
                  <a:pt x="2163" y="3977"/>
                </a:cubicBezTo>
                <a:cubicBezTo>
                  <a:pt x="2163" y="4231"/>
                  <a:pt x="2163" y="4502"/>
                  <a:pt x="2036" y="4708"/>
                </a:cubicBezTo>
                <a:cubicBezTo>
                  <a:pt x="1893" y="4947"/>
                  <a:pt x="1575" y="5043"/>
                  <a:pt x="1321" y="5043"/>
                </a:cubicBezTo>
                <a:lnTo>
                  <a:pt x="1305" y="5043"/>
                </a:lnTo>
                <a:cubicBezTo>
                  <a:pt x="1098" y="5043"/>
                  <a:pt x="891" y="4915"/>
                  <a:pt x="812" y="4740"/>
                </a:cubicBezTo>
                <a:cubicBezTo>
                  <a:pt x="748" y="4597"/>
                  <a:pt x="780" y="4438"/>
                  <a:pt x="891" y="4311"/>
                </a:cubicBezTo>
                <a:cubicBezTo>
                  <a:pt x="971" y="4231"/>
                  <a:pt x="971" y="4231"/>
                  <a:pt x="971" y="4231"/>
                </a:cubicBezTo>
                <a:cubicBezTo>
                  <a:pt x="1209" y="3977"/>
                  <a:pt x="1400" y="3770"/>
                  <a:pt x="1464" y="3293"/>
                </a:cubicBezTo>
                <a:cubicBezTo>
                  <a:pt x="1511" y="2800"/>
                  <a:pt x="1321" y="2243"/>
                  <a:pt x="844" y="2163"/>
                </a:cubicBezTo>
                <a:cubicBezTo>
                  <a:pt x="557" y="2100"/>
                  <a:pt x="318" y="1909"/>
                  <a:pt x="271" y="1639"/>
                </a:cubicBezTo>
                <a:cubicBezTo>
                  <a:pt x="223" y="1416"/>
                  <a:pt x="382" y="1209"/>
                  <a:pt x="589" y="1114"/>
                </a:cubicBezTo>
                <a:cubicBezTo>
                  <a:pt x="605" y="1114"/>
                  <a:pt x="621" y="1114"/>
                  <a:pt x="621" y="1114"/>
                </a:cubicBezTo>
                <a:cubicBezTo>
                  <a:pt x="653" y="1098"/>
                  <a:pt x="684" y="1082"/>
                  <a:pt x="700" y="1082"/>
                </a:cubicBezTo>
                <a:cubicBezTo>
                  <a:pt x="1114" y="971"/>
                  <a:pt x="1687" y="1130"/>
                  <a:pt x="1877" y="1178"/>
                </a:cubicBezTo>
                <a:cubicBezTo>
                  <a:pt x="2259" y="1273"/>
                  <a:pt x="2514" y="1766"/>
                  <a:pt x="2498" y="2020"/>
                </a:cubicBezTo>
                <a:close/>
                <a:moveTo>
                  <a:pt x="2498" y="1336"/>
                </a:moveTo>
                <a:cubicBezTo>
                  <a:pt x="2418" y="1336"/>
                  <a:pt x="2339" y="1241"/>
                  <a:pt x="2339" y="1146"/>
                </a:cubicBezTo>
                <a:cubicBezTo>
                  <a:pt x="2339" y="1035"/>
                  <a:pt x="2418" y="955"/>
                  <a:pt x="2498" y="955"/>
                </a:cubicBezTo>
                <a:cubicBezTo>
                  <a:pt x="2577" y="955"/>
                  <a:pt x="2641" y="1035"/>
                  <a:pt x="2641" y="1146"/>
                </a:cubicBezTo>
                <a:cubicBezTo>
                  <a:pt x="2641" y="1241"/>
                  <a:pt x="2577" y="1336"/>
                  <a:pt x="2498" y="133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0" name="Freeform: Shape 12">
            <a:extLst>
              <a:ext uri="{FF2B5EF4-FFF2-40B4-BE49-F238E27FC236}">
                <a16:creationId xmlns:a16="http://schemas.microsoft.com/office/drawing/2014/main" id="{1392BEB6-8FCA-A746-AE3F-4952EA7297B1}"/>
              </a:ext>
            </a:extLst>
          </p:cNvPr>
          <p:cNvSpPr/>
          <p:nvPr/>
        </p:nvSpPr>
        <p:spPr>
          <a:xfrm>
            <a:off x="9679409" y="9590008"/>
            <a:ext cx="2374920" cy="1626119"/>
          </a:xfrm>
          <a:custGeom>
            <a:avLst/>
            <a:gdLst/>
            <a:ahLst/>
            <a:cxnLst>
              <a:cxn ang="3cd4">
                <a:pos x="hc" y="t"/>
              </a:cxn>
              <a:cxn ang="cd2">
                <a:pos x="l" y="vc"/>
              </a:cxn>
              <a:cxn ang="cd4">
                <a:pos x="hc" y="b"/>
              </a:cxn>
              <a:cxn ang="0">
                <a:pos x="r" y="vc"/>
              </a:cxn>
            </a:cxnLst>
            <a:rect l="l" t="t" r="r" b="b"/>
            <a:pathLst>
              <a:path w="6598" h="4518">
                <a:moveTo>
                  <a:pt x="4308" y="1798"/>
                </a:moveTo>
                <a:lnTo>
                  <a:pt x="3083" y="3023"/>
                </a:lnTo>
                <a:lnTo>
                  <a:pt x="2542" y="2498"/>
                </a:lnTo>
                <a:cubicBezTo>
                  <a:pt x="2526" y="2466"/>
                  <a:pt x="2463" y="2466"/>
                  <a:pt x="2431" y="2498"/>
                </a:cubicBezTo>
                <a:cubicBezTo>
                  <a:pt x="2399" y="2514"/>
                  <a:pt x="2399" y="2578"/>
                  <a:pt x="2431" y="2609"/>
                </a:cubicBezTo>
                <a:lnTo>
                  <a:pt x="3035" y="3198"/>
                </a:lnTo>
                <a:cubicBezTo>
                  <a:pt x="3046" y="3204"/>
                  <a:pt x="3051" y="3214"/>
                  <a:pt x="3068" y="3214"/>
                </a:cubicBezTo>
                <a:lnTo>
                  <a:pt x="3083" y="3214"/>
                </a:lnTo>
                <a:cubicBezTo>
                  <a:pt x="3099" y="3214"/>
                  <a:pt x="3115" y="3214"/>
                  <a:pt x="3131" y="3198"/>
                </a:cubicBezTo>
                <a:lnTo>
                  <a:pt x="3147" y="3198"/>
                </a:lnTo>
                <a:lnTo>
                  <a:pt x="4419" y="1910"/>
                </a:lnTo>
                <a:cubicBezTo>
                  <a:pt x="4451" y="1878"/>
                  <a:pt x="4451" y="1830"/>
                  <a:pt x="4419" y="1798"/>
                </a:cubicBezTo>
                <a:cubicBezTo>
                  <a:pt x="4387" y="1767"/>
                  <a:pt x="4340" y="1767"/>
                  <a:pt x="4308" y="1798"/>
                </a:cubicBezTo>
                <a:close/>
                <a:moveTo>
                  <a:pt x="5755" y="1862"/>
                </a:moveTo>
                <a:lnTo>
                  <a:pt x="5755" y="1687"/>
                </a:lnTo>
                <a:cubicBezTo>
                  <a:pt x="5803" y="1098"/>
                  <a:pt x="5485" y="510"/>
                  <a:pt x="4944" y="208"/>
                </a:cubicBezTo>
                <a:cubicBezTo>
                  <a:pt x="4340" y="-111"/>
                  <a:pt x="3513" y="-63"/>
                  <a:pt x="2988" y="351"/>
                </a:cubicBezTo>
                <a:cubicBezTo>
                  <a:pt x="2845" y="462"/>
                  <a:pt x="2702" y="653"/>
                  <a:pt x="2638" y="749"/>
                </a:cubicBezTo>
                <a:cubicBezTo>
                  <a:pt x="2590" y="717"/>
                  <a:pt x="2526" y="669"/>
                  <a:pt x="2415" y="621"/>
                </a:cubicBezTo>
                <a:cubicBezTo>
                  <a:pt x="2050" y="431"/>
                  <a:pt x="1604" y="462"/>
                  <a:pt x="1254" y="701"/>
                </a:cubicBezTo>
                <a:cubicBezTo>
                  <a:pt x="904" y="939"/>
                  <a:pt x="714" y="1321"/>
                  <a:pt x="761" y="1719"/>
                </a:cubicBezTo>
                <a:lnTo>
                  <a:pt x="761" y="1862"/>
                </a:lnTo>
                <a:cubicBezTo>
                  <a:pt x="745" y="1878"/>
                  <a:pt x="729" y="1878"/>
                  <a:pt x="714" y="1894"/>
                </a:cubicBezTo>
                <a:cubicBezTo>
                  <a:pt x="602" y="1957"/>
                  <a:pt x="332" y="2100"/>
                  <a:pt x="141" y="2530"/>
                </a:cubicBezTo>
                <a:cubicBezTo>
                  <a:pt x="-146" y="3150"/>
                  <a:pt x="14" y="3866"/>
                  <a:pt x="538" y="4232"/>
                </a:cubicBezTo>
                <a:cubicBezTo>
                  <a:pt x="777" y="4406"/>
                  <a:pt x="1079" y="4518"/>
                  <a:pt x="1366" y="4518"/>
                </a:cubicBezTo>
                <a:lnTo>
                  <a:pt x="5214" y="4518"/>
                </a:lnTo>
                <a:cubicBezTo>
                  <a:pt x="6073" y="4470"/>
                  <a:pt x="6598" y="3945"/>
                  <a:pt x="6598" y="3103"/>
                </a:cubicBezTo>
                <a:cubicBezTo>
                  <a:pt x="6598" y="2291"/>
                  <a:pt x="5946" y="1942"/>
                  <a:pt x="5755" y="1862"/>
                </a:cubicBezTo>
                <a:close/>
                <a:moveTo>
                  <a:pt x="5214" y="4359"/>
                </a:moveTo>
                <a:lnTo>
                  <a:pt x="1366" y="4359"/>
                </a:lnTo>
                <a:cubicBezTo>
                  <a:pt x="1111" y="4359"/>
                  <a:pt x="841" y="4263"/>
                  <a:pt x="618" y="4105"/>
                </a:cubicBezTo>
                <a:cubicBezTo>
                  <a:pt x="173" y="3787"/>
                  <a:pt x="30" y="3134"/>
                  <a:pt x="284" y="2594"/>
                </a:cubicBezTo>
                <a:cubicBezTo>
                  <a:pt x="459" y="2228"/>
                  <a:pt x="682" y="2100"/>
                  <a:pt x="793" y="2037"/>
                </a:cubicBezTo>
                <a:cubicBezTo>
                  <a:pt x="857" y="2005"/>
                  <a:pt x="904" y="1973"/>
                  <a:pt x="920" y="1925"/>
                </a:cubicBezTo>
                <a:lnTo>
                  <a:pt x="920" y="1894"/>
                </a:lnTo>
                <a:lnTo>
                  <a:pt x="920" y="1703"/>
                </a:lnTo>
                <a:cubicBezTo>
                  <a:pt x="888" y="1353"/>
                  <a:pt x="1047" y="1035"/>
                  <a:pt x="1333" y="828"/>
                </a:cubicBezTo>
                <a:cubicBezTo>
                  <a:pt x="1509" y="717"/>
                  <a:pt x="1715" y="653"/>
                  <a:pt x="1906" y="653"/>
                </a:cubicBezTo>
                <a:cubicBezTo>
                  <a:pt x="2050" y="653"/>
                  <a:pt x="2208" y="685"/>
                  <a:pt x="2351" y="764"/>
                </a:cubicBezTo>
                <a:cubicBezTo>
                  <a:pt x="2526" y="860"/>
                  <a:pt x="2510" y="871"/>
                  <a:pt x="2590" y="924"/>
                </a:cubicBezTo>
                <a:cubicBezTo>
                  <a:pt x="2606" y="939"/>
                  <a:pt x="2622" y="955"/>
                  <a:pt x="2654" y="955"/>
                </a:cubicBezTo>
                <a:cubicBezTo>
                  <a:pt x="2686" y="955"/>
                  <a:pt x="2702" y="939"/>
                  <a:pt x="2717" y="924"/>
                </a:cubicBezTo>
                <a:cubicBezTo>
                  <a:pt x="2717" y="907"/>
                  <a:pt x="2908" y="621"/>
                  <a:pt x="3083" y="478"/>
                </a:cubicBezTo>
                <a:cubicBezTo>
                  <a:pt x="3576" y="112"/>
                  <a:pt x="4324" y="49"/>
                  <a:pt x="4880" y="351"/>
                </a:cubicBezTo>
                <a:cubicBezTo>
                  <a:pt x="5358" y="621"/>
                  <a:pt x="5644" y="1146"/>
                  <a:pt x="5596" y="1671"/>
                </a:cubicBezTo>
                <a:lnTo>
                  <a:pt x="5596" y="1925"/>
                </a:lnTo>
                <a:cubicBezTo>
                  <a:pt x="5596" y="1957"/>
                  <a:pt x="5628" y="1973"/>
                  <a:pt x="5660" y="1989"/>
                </a:cubicBezTo>
                <a:cubicBezTo>
                  <a:pt x="5692" y="2005"/>
                  <a:pt x="6439" y="2275"/>
                  <a:pt x="6439" y="3103"/>
                </a:cubicBezTo>
                <a:cubicBezTo>
                  <a:pt x="6439" y="3850"/>
                  <a:pt x="5994" y="4311"/>
                  <a:pt x="5214" y="43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1" name="Freeform: Shape 13">
            <a:extLst>
              <a:ext uri="{FF2B5EF4-FFF2-40B4-BE49-F238E27FC236}">
                <a16:creationId xmlns:a16="http://schemas.microsoft.com/office/drawing/2014/main" id="{A948BD77-1AC0-324E-8896-49DDF169044B}"/>
              </a:ext>
            </a:extLst>
          </p:cNvPr>
          <p:cNvSpPr/>
          <p:nvPr/>
        </p:nvSpPr>
        <p:spPr>
          <a:xfrm>
            <a:off x="1841059" y="3140701"/>
            <a:ext cx="1716840" cy="1317600"/>
          </a:xfrm>
          <a:custGeom>
            <a:avLst/>
            <a:gdLst/>
            <a:ahLst/>
            <a:cxnLst>
              <a:cxn ang="3cd4">
                <a:pos x="hc" y="t"/>
              </a:cxn>
              <a:cxn ang="cd2">
                <a:pos x="l" y="vc"/>
              </a:cxn>
              <a:cxn ang="cd4">
                <a:pos x="hc" y="b"/>
              </a:cxn>
              <a:cxn ang="0">
                <a:pos x="r" y="vc"/>
              </a:cxn>
            </a:cxnLst>
            <a:rect l="l" t="t" r="r" b="b"/>
            <a:pathLst>
              <a:path w="4770" h="3661">
                <a:moveTo>
                  <a:pt x="4690" y="2866"/>
                </a:moveTo>
                <a:lnTo>
                  <a:pt x="4452" y="2866"/>
                </a:lnTo>
                <a:lnTo>
                  <a:pt x="4452" y="2945"/>
                </a:lnTo>
                <a:cubicBezTo>
                  <a:pt x="4452" y="2993"/>
                  <a:pt x="4420" y="3025"/>
                  <a:pt x="4372" y="3025"/>
                </a:cubicBezTo>
                <a:lnTo>
                  <a:pt x="4611" y="3025"/>
                </a:lnTo>
                <a:lnTo>
                  <a:pt x="4611" y="3184"/>
                </a:lnTo>
                <a:cubicBezTo>
                  <a:pt x="4611" y="3360"/>
                  <a:pt x="4483" y="3502"/>
                  <a:pt x="4309" y="3502"/>
                </a:cubicBezTo>
                <a:cubicBezTo>
                  <a:pt x="540" y="3502"/>
                  <a:pt x="1796" y="3502"/>
                  <a:pt x="540" y="3502"/>
                </a:cubicBezTo>
                <a:cubicBezTo>
                  <a:pt x="381" y="3502"/>
                  <a:pt x="159" y="3360"/>
                  <a:pt x="159" y="3184"/>
                </a:cubicBezTo>
                <a:lnTo>
                  <a:pt x="159" y="3025"/>
                </a:lnTo>
                <a:lnTo>
                  <a:pt x="397" y="3025"/>
                </a:lnTo>
                <a:cubicBezTo>
                  <a:pt x="364" y="3025"/>
                  <a:pt x="318" y="2993"/>
                  <a:pt x="318" y="2945"/>
                </a:cubicBezTo>
                <a:lnTo>
                  <a:pt x="318" y="2866"/>
                </a:lnTo>
                <a:lnTo>
                  <a:pt x="79" y="2866"/>
                </a:lnTo>
                <a:cubicBezTo>
                  <a:pt x="46" y="2866"/>
                  <a:pt x="0" y="2897"/>
                  <a:pt x="0" y="2945"/>
                </a:cubicBezTo>
                <a:lnTo>
                  <a:pt x="0" y="3184"/>
                </a:lnTo>
                <a:cubicBezTo>
                  <a:pt x="0" y="3456"/>
                  <a:pt x="287" y="3661"/>
                  <a:pt x="540" y="3661"/>
                </a:cubicBezTo>
                <a:cubicBezTo>
                  <a:pt x="4309" y="3661"/>
                  <a:pt x="3053" y="3661"/>
                  <a:pt x="4309" y="3661"/>
                </a:cubicBezTo>
                <a:cubicBezTo>
                  <a:pt x="4563" y="3661"/>
                  <a:pt x="4770" y="3456"/>
                  <a:pt x="4770" y="3184"/>
                </a:cubicBezTo>
                <a:lnTo>
                  <a:pt x="4770" y="2945"/>
                </a:lnTo>
                <a:cubicBezTo>
                  <a:pt x="4770" y="2897"/>
                  <a:pt x="4738" y="2866"/>
                  <a:pt x="4690" y="2866"/>
                </a:cubicBezTo>
                <a:close/>
                <a:moveTo>
                  <a:pt x="397" y="3025"/>
                </a:moveTo>
                <a:lnTo>
                  <a:pt x="4372" y="3025"/>
                </a:lnTo>
                <a:cubicBezTo>
                  <a:pt x="4420" y="3025"/>
                  <a:pt x="4452" y="2993"/>
                  <a:pt x="4452" y="2945"/>
                </a:cubicBezTo>
                <a:lnTo>
                  <a:pt x="4452" y="2866"/>
                </a:lnTo>
                <a:lnTo>
                  <a:pt x="4452" y="398"/>
                </a:lnTo>
                <a:cubicBezTo>
                  <a:pt x="4452" y="143"/>
                  <a:pt x="4309" y="0"/>
                  <a:pt x="4039" y="0"/>
                </a:cubicBezTo>
                <a:lnTo>
                  <a:pt x="747" y="0"/>
                </a:lnTo>
                <a:cubicBezTo>
                  <a:pt x="477" y="0"/>
                  <a:pt x="318" y="143"/>
                  <a:pt x="318" y="398"/>
                </a:cubicBezTo>
                <a:lnTo>
                  <a:pt x="318" y="2866"/>
                </a:lnTo>
                <a:lnTo>
                  <a:pt x="318" y="2945"/>
                </a:lnTo>
                <a:cubicBezTo>
                  <a:pt x="318" y="2993"/>
                  <a:pt x="364" y="3025"/>
                  <a:pt x="397" y="3025"/>
                </a:cubicBezTo>
                <a:close/>
                <a:moveTo>
                  <a:pt x="477" y="398"/>
                </a:moveTo>
                <a:cubicBezTo>
                  <a:pt x="477" y="239"/>
                  <a:pt x="556" y="159"/>
                  <a:pt x="747" y="159"/>
                </a:cubicBezTo>
                <a:lnTo>
                  <a:pt x="4039" y="159"/>
                </a:lnTo>
                <a:cubicBezTo>
                  <a:pt x="4213" y="159"/>
                  <a:pt x="4293" y="239"/>
                  <a:pt x="4293" y="398"/>
                </a:cubicBezTo>
                <a:lnTo>
                  <a:pt x="4293" y="2866"/>
                </a:lnTo>
                <a:lnTo>
                  <a:pt x="477" y="2866"/>
                </a:lnTo>
                <a:close/>
                <a:moveTo>
                  <a:pt x="3211" y="876"/>
                </a:moveTo>
                <a:lnTo>
                  <a:pt x="2416" y="541"/>
                </a:lnTo>
                <a:lnTo>
                  <a:pt x="2353" y="541"/>
                </a:lnTo>
                <a:lnTo>
                  <a:pt x="1558" y="876"/>
                </a:lnTo>
                <a:cubicBezTo>
                  <a:pt x="1525" y="876"/>
                  <a:pt x="1510" y="924"/>
                  <a:pt x="1510" y="955"/>
                </a:cubicBezTo>
                <a:cubicBezTo>
                  <a:pt x="1606" y="1623"/>
                  <a:pt x="1891" y="2149"/>
                  <a:pt x="2337" y="2468"/>
                </a:cubicBezTo>
                <a:cubicBezTo>
                  <a:pt x="2353" y="2484"/>
                  <a:pt x="2368" y="2484"/>
                  <a:pt x="2385" y="2484"/>
                </a:cubicBezTo>
                <a:cubicBezTo>
                  <a:pt x="2401" y="2484"/>
                  <a:pt x="2416" y="2484"/>
                  <a:pt x="2433" y="2468"/>
                </a:cubicBezTo>
                <a:cubicBezTo>
                  <a:pt x="2893" y="2149"/>
                  <a:pt x="3180" y="1623"/>
                  <a:pt x="3276" y="955"/>
                </a:cubicBezTo>
                <a:cubicBezTo>
                  <a:pt x="3276" y="924"/>
                  <a:pt x="3259" y="876"/>
                  <a:pt x="3211" y="876"/>
                </a:cubicBezTo>
                <a:close/>
                <a:moveTo>
                  <a:pt x="2385" y="2308"/>
                </a:moveTo>
                <a:cubicBezTo>
                  <a:pt x="2004" y="2021"/>
                  <a:pt x="1764" y="1560"/>
                  <a:pt x="1669" y="987"/>
                </a:cubicBezTo>
                <a:lnTo>
                  <a:pt x="2385" y="701"/>
                </a:lnTo>
                <a:lnTo>
                  <a:pt x="3100" y="987"/>
                </a:lnTo>
                <a:cubicBezTo>
                  <a:pt x="3006" y="1560"/>
                  <a:pt x="2766" y="2021"/>
                  <a:pt x="2385" y="230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2" name="Freeform: Shape 14">
            <a:extLst>
              <a:ext uri="{FF2B5EF4-FFF2-40B4-BE49-F238E27FC236}">
                <a16:creationId xmlns:a16="http://schemas.microsoft.com/office/drawing/2014/main" id="{9031D753-6057-614C-A346-A852E7A39EC3}"/>
              </a:ext>
            </a:extLst>
          </p:cNvPr>
          <p:cNvSpPr/>
          <p:nvPr/>
        </p:nvSpPr>
        <p:spPr>
          <a:xfrm>
            <a:off x="6014796" y="3091021"/>
            <a:ext cx="1601640" cy="1717200"/>
          </a:xfrm>
          <a:custGeom>
            <a:avLst/>
            <a:gdLst/>
            <a:ahLst/>
            <a:cxnLst>
              <a:cxn ang="3cd4">
                <a:pos x="hc" y="t"/>
              </a:cxn>
              <a:cxn ang="cd2">
                <a:pos x="l" y="vc"/>
              </a:cxn>
              <a:cxn ang="cd4">
                <a:pos x="hc" y="b"/>
              </a:cxn>
              <a:cxn ang="0">
                <a:pos x="r" y="vc"/>
              </a:cxn>
            </a:cxnLst>
            <a:rect l="l" t="t" r="r" b="b"/>
            <a:pathLst>
              <a:path w="4450" h="4771">
                <a:moveTo>
                  <a:pt x="3972" y="0"/>
                </a:moveTo>
                <a:lnTo>
                  <a:pt x="477" y="0"/>
                </a:lnTo>
                <a:cubicBezTo>
                  <a:pt x="222" y="0"/>
                  <a:pt x="0" y="222"/>
                  <a:pt x="0" y="477"/>
                </a:cubicBezTo>
                <a:lnTo>
                  <a:pt x="0" y="4293"/>
                </a:lnTo>
                <a:cubicBezTo>
                  <a:pt x="0" y="4564"/>
                  <a:pt x="222" y="4771"/>
                  <a:pt x="477" y="4771"/>
                </a:cubicBezTo>
                <a:lnTo>
                  <a:pt x="3972" y="4771"/>
                </a:lnTo>
                <a:cubicBezTo>
                  <a:pt x="4226" y="4771"/>
                  <a:pt x="4450" y="4564"/>
                  <a:pt x="4450" y="4293"/>
                </a:cubicBezTo>
                <a:lnTo>
                  <a:pt x="4450" y="477"/>
                </a:lnTo>
                <a:cubicBezTo>
                  <a:pt x="4450" y="222"/>
                  <a:pt x="4226" y="0"/>
                  <a:pt x="3972" y="0"/>
                </a:cubicBezTo>
                <a:close/>
                <a:moveTo>
                  <a:pt x="4289" y="4293"/>
                </a:moveTo>
                <a:cubicBezTo>
                  <a:pt x="4289" y="4468"/>
                  <a:pt x="4147" y="4611"/>
                  <a:pt x="3972" y="4611"/>
                </a:cubicBezTo>
                <a:lnTo>
                  <a:pt x="477" y="4611"/>
                </a:lnTo>
                <a:cubicBezTo>
                  <a:pt x="301" y="4611"/>
                  <a:pt x="159" y="4468"/>
                  <a:pt x="159" y="4293"/>
                </a:cubicBezTo>
                <a:lnTo>
                  <a:pt x="159" y="477"/>
                </a:lnTo>
                <a:cubicBezTo>
                  <a:pt x="159" y="301"/>
                  <a:pt x="301" y="159"/>
                  <a:pt x="477" y="159"/>
                </a:cubicBezTo>
                <a:lnTo>
                  <a:pt x="3972" y="159"/>
                </a:lnTo>
                <a:cubicBezTo>
                  <a:pt x="4147" y="159"/>
                  <a:pt x="4289" y="301"/>
                  <a:pt x="4289" y="477"/>
                </a:cubicBezTo>
                <a:close/>
                <a:moveTo>
                  <a:pt x="3892" y="477"/>
                </a:moveTo>
                <a:lnTo>
                  <a:pt x="556" y="477"/>
                </a:lnTo>
                <a:cubicBezTo>
                  <a:pt x="525" y="477"/>
                  <a:pt x="477" y="525"/>
                  <a:pt x="477" y="556"/>
                </a:cubicBezTo>
                <a:lnTo>
                  <a:pt x="477" y="3736"/>
                </a:lnTo>
                <a:cubicBezTo>
                  <a:pt x="477" y="3784"/>
                  <a:pt x="525" y="3816"/>
                  <a:pt x="556" y="3816"/>
                </a:cubicBezTo>
                <a:lnTo>
                  <a:pt x="3892" y="3816"/>
                </a:lnTo>
                <a:cubicBezTo>
                  <a:pt x="3940" y="3816"/>
                  <a:pt x="3972" y="3784"/>
                  <a:pt x="3972" y="3736"/>
                </a:cubicBezTo>
                <a:lnTo>
                  <a:pt x="3972" y="556"/>
                </a:lnTo>
                <a:cubicBezTo>
                  <a:pt x="3972" y="525"/>
                  <a:pt x="3940" y="477"/>
                  <a:pt x="3892" y="477"/>
                </a:cubicBezTo>
                <a:close/>
                <a:moveTo>
                  <a:pt x="3813" y="3657"/>
                </a:moveTo>
                <a:lnTo>
                  <a:pt x="635" y="3657"/>
                </a:lnTo>
                <a:lnTo>
                  <a:pt x="635" y="636"/>
                </a:lnTo>
                <a:lnTo>
                  <a:pt x="3813" y="636"/>
                </a:lnTo>
                <a:close/>
                <a:moveTo>
                  <a:pt x="2224" y="3880"/>
                </a:moveTo>
                <a:cubicBezTo>
                  <a:pt x="2065" y="3880"/>
                  <a:pt x="1954" y="4008"/>
                  <a:pt x="1954" y="4150"/>
                </a:cubicBezTo>
                <a:cubicBezTo>
                  <a:pt x="1954" y="4309"/>
                  <a:pt x="2065" y="4437"/>
                  <a:pt x="2224" y="4437"/>
                </a:cubicBezTo>
                <a:cubicBezTo>
                  <a:pt x="2383" y="4437"/>
                  <a:pt x="2510" y="4309"/>
                  <a:pt x="2510" y="4150"/>
                </a:cubicBezTo>
                <a:cubicBezTo>
                  <a:pt x="2510" y="4008"/>
                  <a:pt x="2383" y="3880"/>
                  <a:pt x="2224" y="3880"/>
                </a:cubicBezTo>
                <a:close/>
                <a:moveTo>
                  <a:pt x="2224" y="4278"/>
                </a:moveTo>
                <a:cubicBezTo>
                  <a:pt x="2161" y="4278"/>
                  <a:pt x="2113" y="4213"/>
                  <a:pt x="2113" y="4150"/>
                </a:cubicBezTo>
                <a:cubicBezTo>
                  <a:pt x="2113" y="4087"/>
                  <a:pt x="2161" y="4039"/>
                  <a:pt x="2224" y="4039"/>
                </a:cubicBezTo>
                <a:cubicBezTo>
                  <a:pt x="2289" y="4039"/>
                  <a:pt x="2351" y="4087"/>
                  <a:pt x="2351" y="4150"/>
                </a:cubicBezTo>
                <a:cubicBezTo>
                  <a:pt x="2351" y="4213"/>
                  <a:pt x="2289" y="4278"/>
                  <a:pt x="2224" y="4278"/>
                </a:cubicBezTo>
                <a:close/>
                <a:moveTo>
                  <a:pt x="2176" y="3100"/>
                </a:moveTo>
                <a:cubicBezTo>
                  <a:pt x="2193" y="3117"/>
                  <a:pt x="2209" y="3117"/>
                  <a:pt x="2224" y="3117"/>
                </a:cubicBezTo>
                <a:cubicBezTo>
                  <a:pt x="2241" y="3117"/>
                  <a:pt x="2256" y="3117"/>
                  <a:pt x="2272" y="3100"/>
                </a:cubicBezTo>
                <a:cubicBezTo>
                  <a:pt x="2734" y="2782"/>
                  <a:pt x="3018" y="2257"/>
                  <a:pt x="3098" y="1590"/>
                </a:cubicBezTo>
                <a:cubicBezTo>
                  <a:pt x="3114" y="1558"/>
                  <a:pt x="3098" y="1510"/>
                  <a:pt x="3051" y="1510"/>
                </a:cubicBezTo>
                <a:lnTo>
                  <a:pt x="2256" y="1176"/>
                </a:lnTo>
                <a:lnTo>
                  <a:pt x="2193" y="1176"/>
                </a:lnTo>
                <a:lnTo>
                  <a:pt x="1398" y="1510"/>
                </a:lnTo>
                <a:cubicBezTo>
                  <a:pt x="1367" y="1510"/>
                  <a:pt x="1335" y="1558"/>
                  <a:pt x="1350" y="1590"/>
                </a:cubicBezTo>
                <a:cubicBezTo>
                  <a:pt x="1446" y="2257"/>
                  <a:pt x="1733" y="2782"/>
                  <a:pt x="2176" y="3100"/>
                </a:cubicBezTo>
                <a:close/>
                <a:moveTo>
                  <a:pt x="2224" y="1335"/>
                </a:moveTo>
                <a:lnTo>
                  <a:pt x="2939" y="1621"/>
                </a:lnTo>
                <a:cubicBezTo>
                  <a:pt x="2845" y="2194"/>
                  <a:pt x="2606" y="2656"/>
                  <a:pt x="2224" y="2941"/>
                </a:cubicBezTo>
                <a:cubicBezTo>
                  <a:pt x="1843" y="2656"/>
                  <a:pt x="1605" y="2194"/>
                  <a:pt x="1509" y="162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4" name="Freeform: Shape 20">
            <a:extLst>
              <a:ext uri="{FF2B5EF4-FFF2-40B4-BE49-F238E27FC236}">
                <a16:creationId xmlns:a16="http://schemas.microsoft.com/office/drawing/2014/main" id="{074CFFF4-BA49-BE49-AA3B-AB6A6450D310}"/>
              </a:ext>
            </a:extLst>
          </p:cNvPr>
          <p:cNvSpPr/>
          <p:nvPr/>
        </p:nvSpPr>
        <p:spPr>
          <a:xfrm>
            <a:off x="5585489" y="6434673"/>
            <a:ext cx="2376000" cy="1622880"/>
          </a:xfrm>
          <a:custGeom>
            <a:avLst/>
            <a:gdLst/>
            <a:ahLst/>
            <a:cxnLst>
              <a:cxn ang="3cd4">
                <a:pos x="hc" y="t"/>
              </a:cxn>
              <a:cxn ang="cd2">
                <a:pos x="l" y="vc"/>
              </a:cxn>
              <a:cxn ang="cd4">
                <a:pos x="hc" y="b"/>
              </a:cxn>
              <a:cxn ang="0">
                <a:pos x="r" y="vc"/>
              </a:cxn>
            </a:cxnLst>
            <a:rect l="l" t="t" r="r" b="b"/>
            <a:pathLst>
              <a:path w="6601" h="4509">
                <a:moveTo>
                  <a:pt x="2941" y="2283"/>
                </a:moveTo>
                <a:cubicBezTo>
                  <a:pt x="2941" y="2490"/>
                  <a:pt x="3134" y="2553"/>
                  <a:pt x="3291" y="2584"/>
                </a:cubicBezTo>
                <a:cubicBezTo>
                  <a:pt x="3483" y="2632"/>
                  <a:pt x="3483" y="2664"/>
                  <a:pt x="3483" y="2697"/>
                </a:cubicBezTo>
                <a:cubicBezTo>
                  <a:pt x="3483" y="2760"/>
                  <a:pt x="3419" y="2791"/>
                  <a:pt x="3324" y="2791"/>
                </a:cubicBezTo>
                <a:cubicBezTo>
                  <a:pt x="3228" y="2791"/>
                  <a:pt x="3149" y="2760"/>
                  <a:pt x="3069" y="2697"/>
                </a:cubicBezTo>
                <a:cubicBezTo>
                  <a:pt x="3069" y="2680"/>
                  <a:pt x="3038" y="2680"/>
                  <a:pt x="3021" y="2680"/>
                </a:cubicBezTo>
                <a:cubicBezTo>
                  <a:pt x="3006" y="2680"/>
                  <a:pt x="2973" y="2680"/>
                  <a:pt x="2958" y="2697"/>
                </a:cubicBezTo>
                <a:lnTo>
                  <a:pt x="2941" y="2728"/>
                </a:lnTo>
                <a:cubicBezTo>
                  <a:pt x="2927" y="2743"/>
                  <a:pt x="2910" y="2760"/>
                  <a:pt x="2910" y="2791"/>
                </a:cubicBezTo>
                <a:cubicBezTo>
                  <a:pt x="2910" y="2808"/>
                  <a:pt x="2927" y="2823"/>
                  <a:pt x="2941" y="2839"/>
                </a:cubicBezTo>
                <a:cubicBezTo>
                  <a:pt x="3054" y="2950"/>
                  <a:pt x="3180" y="2998"/>
                  <a:pt x="3324" y="2998"/>
                </a:cubicBezTo>
                <a:cubicBezTo>
                  <a:pt x="3531" y="2998"/>
                  <a:pt x="3674" y="2871"/>
                  <a:pt x="3674" y="2697"/>
                </a:cubicBezTo>
                <a:cubicBezTo>
                  <a:pt x="3674" y="2490"/>
                  <a:pt x="3498" y="2425"/>
                  <a:pt x="3339" y="2394"/>
                </a:cubicBezTo>
                <a:cubicBezTo>
                  <a:pt x="3149" y="2362"/>
                  <a:pt x="3149" y="2314"/>
                  <a:pt x="3149" y="2283"/>
                </a:cubicBezTo>
                <a:cubicBezTo>
                  <a:pt x="3149" y="2234"/>
                  <a:pt x="3197" y="2186"/>
                  <a:pt x="3291" y="2186"/>
                </a:cubicBezTo>
                <a:cubicBezTo>
                  <a:pt x="3372" y="2186"/>
                  <a:pt x="3435" y="2218"/>
                  <a:pt x="3498" y="2266"/>
                </a:cubicBezTo>
                <a:cubicBezTo>
                  <a:pt x="3515" y="2283"/>
                  <a:pt x="3531" y="2283"/>
                  <a:pt x="3546" y="2283"/>
                </a:cubicBezTo>
                <a:cubicBezTo>
                  <a:pt x="3578" y="2283"/>
                  <a:pt x="3594" y="2266"/>
                  <a:pt x="3609" y="2251"/>
                </a:cubicBezTo>
                <a:lnTo>
                  <a:pt x="3626" y="2218"/>
                </a:lnTo>
                <a:cubicBezTo>
                  <a:pt x="3657" y="2186"/>
                  <a:pt x="3657" y="2138"/>
                  <a:pt x="3626" y="2107"/>
                </a:cubicBezTo>
                <a:cubicBezTo>
                  <a:pt x="3531" y="2027"/>
                  <a:pt x="3419" y="1996"/>
                  <a:pt x="3291" y="1996"/>
                </a:cubicBezTo>
                <a:cubicBezTo>
                  <a:pt x="3100" y="1996"/>
                  <a:pt x="2941" y="2123"/>
                  <a:pt x="2941" y="2283"/>
                </a:cubicBezTo>
                <a:close/>
                <a:moveTo>
                  <a:pt x="6155" y="2107"/>
                </a:moveTo>
                <a:cubicBezTo>
                  <a:pt x="5996" y="1979"/>
                  <a:pt x="5837" y="1900"/>
                  <a:pt x="5758" y="1868"/>
                </a:cubicBezTo>
                <a:lnTo>
                  <a:pt x="5758" y="1694"/>
                </a:lnTo>
                <a:cubicBezTo>
                  <a:pt x="5806" y="1105"/>
                  <a:pt x="5488" y="500"/>
                  <a:pt x="4946" y="215"/>
                </a:cubicBezTo>
                <a:cubicBezTo>
                  <a:pt x="4341" y="-120"/>
                  <a:pt x="3515" y="-57"/>
                  <a:pt x="2989" y="357"/>
                </a:cubicBezTo>
                <a:cubicBezTo>
                  <a:pt x="2847" y="468"/>
                  <a:pt x="2703" y="661"/>
                  <a:pt x="2640" y="755"/>
                </a:cubicBezTo>
                <a:cubicBezTo>
                  <a:pt x="2592" y="723"/>
                  <a:pt x="2529" y="675"/>
                  <a:pt x="2418" y="627"/>
                </a:cubicBezTo>
                <a:cubicBezTo>
                  <a:pt x="2035" y="437"/>
                  <a:pt x="1606" y="468"/>
                  <a:pt x="1255" y="707"/>
                </a:cubicBezTo>
                <a:cubicBezTo>
                  <a:pt x="906" y="931"/>
                  <a:pt x="715" y="1312"/>
                  <a:pt x="763" y="1726"/>
                </a:cubicBezTo>
                <a:lnTo>
                  <a:pt x="763" y="1868"/>
                </a:lnTo>
                <a:cubicBezTo>
                  <a:pt x="747" y="1885"/>
                  <a:pt x="732" y="1885"/>
                  <a:pt x="715" y="1900"/>
                </a:cubicBezTo>
                <a:cubicBezTo>
                  <a:pt x="604" y="1964"/>
                  <a:pt x="334" y="2107"/>
                  <a:pt x="142" y="2521"/>
                </a:cubicBezTo>
                <a:cubicBezTo>
                  <a:pt x="-1" y="2823"/>
                  <a:pt x="-32" y="3157"/>
                  <a:pt x="31" y="3459"/>
                </a:cubicBezTo>
                <a:cubicBezTo>
                  <a:pt x="94" y="3779"/>
                  <a:pt x="269" y="4064"/>
                  <a:pt x="539" y="4239"/>
                </a:cubicBezTo>
                <a:cubicBezTo>
                  <a:pt x="778" y="4415"/>
                  <a:pt x="1081" y="4509"/>
                  <a:pt x="1368" y="4509"/>
                </a:cubicBezTo>
                <a:lnTo>
                  <a:pt x="5216" y="4509"/>
                </a:lnTo>
                <a:cubicBezTo>
                  <a:pt x="6076" y="4461"/>
                  <a:pt x="6601" y="3936"/>
                  <a:pt x="6601" y="3109"/>
                </a:cubicBezTo>
                <a:cubicBezTo>
                  <a:pt x="6601" y="2616"/>
                  <a:pt x="6346" y="2297"/>
                  <a:pt x="6155" y="2107"/>
                </a:cubicBezTo>
                <a:close/>
                <a:moveTo>
                  <a:pt x="5201" y="4350"/>
                </a:moveTo>
                <a:lnTo>
                  <a:pt x="1368" y="4350"/>
                </a:lnTo>
                <a:cubicBezTo>
                  <a:pt x="1113" y="4350"/>
                  <a:pt x="843" y="4271"/>
                  <a:pt x="619" y="4112"/>
                </a:cubicBezTo>
                <a:cubicBezTo>
                  <a:pt x="397" y="3953"/>
                  <a:pt x="238" y="3714"/>
                  <a:pt x="190" y="3427"/>
                </a:cubicBezTo>
                <a:cubicBezTo>
                  <a:pt x="127" y="3157"/>
                  <a:pt x="158" y="2854"/>
                  <a:pt x="286" y="2601"/>
                </a:cubicBezTo>
                <a:cubicBezTo>
                  <a:pt x="460" y="2218"/>
                  <a:pt x="684" y="2107"/>
                  <a:pt x="795" y="2027"/>
                </a:cubicBezTo>
                <a:cubicBezTo>
                  <a:pt x="858" y="1996"/>
                  <a:pt x="906" y="1979"/>
                  <a:pt x="922" y="1933"/>
                </a:cubicBezTo>
                <a:lnTo>
                  <a:pt x="922" y="1900"/>
                </a:lnTo>
                <a:lnTo>
                  <a:pt x="922" y="1709"/>
                </a:lnTo>
                <a:cubicBezTo>
                  <a:pt x="891" y="1360"/>
                  <a:pt x="1050" y="1042"/>
                  <a:pt x="1336" y="834"/>
                </a:cubicBezTo>
                <a:cubicBezTo>
                  <a:pt x="1510" y="723"/>
                  <a:pt x="1701" y="661"/>
                  <a:pt x="1908" y="661"/>
                </a:cubicBezTo>
                <a:cubicBezTo>
                  <a:pt x="2052" y="661"/>
                  <a:pt x="2209" y="692"/>
                  <a:pt x="2353" y="772"/>
                </a:cubicBezTo>
                <a:cubicBezTo>
                  <a:pt x="2529" y="851"/>
                  <a:pt x="2512" y="878"/>
                  <a:pt x="2592" y="931"/>
                </a:cubicBezTo>
                <a:cubicBezTo>
                  <a:pt x="2608" y="945"/>
                  <a:pt x="2623" y="962"/>
                  <a:pt x="2655" y="962"/>
                </a:cubicBezTo>
                <a:cubicBezTo>
                  <a:pt x="2688" y="962"/>
                  <a:pt x="2703" y="945"/>
                  <a:pt x="2719" y="914"/>
                </a:cubicBezTo>
                <a:cubicBezTo>
                  <a:pt x="2841" y="771"/>
                  <a:pt x="2910" y="627"/>
                  <a:pt x="3086" y="485"/>
                </a:cubicBezTo>
                <a:cubicBezTo>
                  <a:pt x="3563" y="102"/>
                  <a:pt x="4326" y="54"/>
                  <a:pt x="4883" y="357"/>
                </a:cubicBezTo>
                <a:cubicBezTo>
                  <a:pt x="5360" y="612"/>
                  <a:pt x="5647" y="1153"/>
                  <a:pt x="5599" y="1678"/>
                </a:cubicBezTo>
                <a:lnTo>
                  <a:pt x="5599" y="1916"/>
                </a:lnTo>
                <a:cubicBezTo>
                  <a:pt x="5599" y="1948"/>
                  <a:pt x="5630" y="1979"/>
                  <a:pt x="5661" y="1996"/>
                </a:cubicBezTo>
                <a:cubicBezTo>
                  <a:pt x="5693" y="1996"/>
                  <a:pt x="6442" y="2266"/>
                  <a:pt x="6442" y="3109"/>
                </a:cubicBezTo>
                <a:cubicBezTo>
                  <a:pt x="6442" y="3856"/>
                  <a:pt x="5980" y="4319"/>
                  <a:pt x="5201" y="4350"/>
                </a:cubicBezTo>
                <a:close/>
                <a:moveTo>
                  <a:pt x="4136" y="1964"/>
                </a:moveTo>
                <a:lnTo>
                  <a:pt x="3324" y="1646"/>
                </a:lnTo>
                <a:lnTo>
                  <a:pt x="3259" y="1646"/>
                </a:lnTo>
                <a:lnTo>
                  <a:pt x="2464" y="1964"/>
                </a:lnTo>
                <a:cubicBezTo>
                  <a:pt x="2433" y="1979"/>
                  <a:pt x="2418" y="2012"/>
                  <a:pt x="2418" y="2044"/>
                </a:cubicBezTo>
                <a:cubicBezTo>
                  <a:pt x="2512" y="2712"/>
                  <a:pt x="2799" y="3237"/>
                  <a:pt x="3245" y="3570"/>
                </a:cubicBezTo>
                <a:cubicBezTo>
                  <a:pt x="3259" y="3586"/>
                  <a:pt x="3276" y="3586"/>
                  <a:pt x="3291" y="3586"/>
                </a:cubicBezTo>
                <a:cubicBezTo>
                  <a:pt x="3308" y="3586"/>
                  <a:pt x="3324" y="3586"/>
                  <a:pt x="3339" y="3570"/>
                </a:cubicBezTo>
                <a:cubicBezTo>
                  <a:pt x="3801" y="3237"/>
                  <a:pt x="4088" y="2712"/>
                  <a:pt x="4182" y="2044"/>
                </a:cubicBezTo>
                <a:cubicBezTo>
                  <a:pt x="4182" y="2012"/>
                  <a:pt x="4167" y="1979"/>
                  <a:pt x="4136" y="1964"/>
                </a:cubicBezTo>
                <a:close/>
                <a:moveTo>
                  <a:pt x="3291" y="3412"/>
                </a:moveTo>
                <a:cubicBezTo>
                  <a:pt x="2927" y="3109"/>
                  <a:pt x="2671" y="2664"/>
                  <a:pt x="2575" y="2092"/>
                </a:cubicBezTo>
                <a:lnTo>
                  <a:pt x="3291" y="1805"/>
                </a:lnTo>
                <a:lnTo>
                  <a:pt x="4008" y="2092"/>
                </a:lnTo>
                <a:cubicBezTo>
                  <a:pt x="3912" y="2664"/>
                  <a:pt x="3674" y="3109"/>
                  <a:pt x="3291" y="341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TextBox 84">
            <a:extLst>
              <a:ext uri="{FF2B5EF4-FFF2-40B4-BE49-F238E27FC236}">
                <a16:creationId xmlns:a16="http://schemas.microsoft.com/office/drawing/2014/main" id="{A1B75A1A-1293-884A-BE7E-0B8C20FBC92F}"/>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otprint</a:t>
            </a:r>
          </a:p>
        </p:txBody>
      </p:sp>
      <p:sp>
        <p:nvSpPr>
          <p:cNvPr id="86" name="Freeform: Shape 45">
            <a:extLst>
              <a:ext uri="{FF2B5EF4-FFF2-40B4-BE49-F238E27FC236}">
                <a16:creationId xmlns:a16="http://schemas.microsoft.com/office/drawing/2014/main" id="{E1F7EC2E-40D7-AE46-8E51-52F2AAFCE326}"/>
              </a:ext>
            </a:extLst>
          </p:cNvPr>
          <p:cNvSpPr/>
          <p:nvPr/>
        </p:nvSpPr>
        <p:spPr>
          <a:xfrm>
            <a:off x="2080309" y="6392210"/>
            <a:ext cx="921533" cy="1635338"/>
          </a:xfrm>
          <a:custGeom>
            <a:avLst/>
            <a:gdLst/>
            <a:ahLst/>
            <a:cxnLst>
              <a:cxn ang="3cd4">
                <a:pos x="hc" y="t"/>
              </a:cxn>
              <a:cxn ang="cd2">
                <a:pos x="l" y="vc"/>
              </a:cxn>
              <a:cxn ang="cd4">
                <a:pos x="hc" y="b"/>
              </a:cxn>
              <a:cxn ang="0">
                <a:pos x="r" y="vc"/>
              </a:cxn>
            </a:cxnLst>
            <a:rect l="l" t="t" r="r" b="b"/>
            <a:pathLst>
              <a:path w="1150" h="2040">
                <a:moveTo>
                  <a:pt x="993" y="0"/>
                </a:moveTo>
                <a:lnTo>
                  <a:pt x="163" y="0"/>
                </a:lnTo>
                <a:cubicBezTo>
                  <a:pt x="78" y="0"/>
                  <a:pt x="0" y="72"/>
                  <a:pt x="0" y="166"/>
                </a:cubicBezTo>
                <a:lnTo>
                  <a:pt x="0" y="339"/>
                </a:lnTo>
                <a:lnTo>
                  <a:pt x="0" y="409"/>
                </a:lnTo>
                <a:lnTo>
                  <a:pt x="0" y="1630"/>
                </a:lnTo>
                <a:lnTo>
                  <a:pt x="0" y="1703"/>
                </a:lnTo>
                <a:lnTo>
                  <a:pt x="0" y="1874"/>
                </a:lnTo>
                <a:cubicBezTo>
                  <a:pt x="0" y="1960"/>
                  <a:pt x="78" y="2040"/>
                  <a:pt x="163" y="2040"/>
                </a:cubicBezTo>
                <a:lnTo>
                  <a:pt x="993" y="2040"/>
                </a:lnTo>
                <a:cubicBezTo>
                  <a:pt x="1079" y="2040"/>
                  <a:pt x="1150" y="1960"/>
                  <a:pt x="1150" y="1874"/>
                </a:cubicBezTo>
                <a:lnTo>
                  <a:pt x="1150" y="409"/>
                </a:lnTo>
                <a:lnTo>
                  <a:pt x="1150" y="339"/>
                </a:lnTo>
                <a:lnTo>
                  <a:pt x="1150" y="166"/>
                </a:lnTo>
                <a:cubicBezTo>
                  <a:pt x="1150" y="72"/>
                  <a:pt x="1079" y="0"/>
                  <a:pt x="993" y="0"/>
                </a:cubicBezTo>
                <a:close/>
                <a:moveTo>
                  <a:pt x="1079" y="1874"/>
                </a:moveTo>
                <a:cubicBezTo>
                  <a:pt x="1079" y="1924"/>
                  <a:pt x="1044" y="1968"/>
                  <a:pt x="993" y="1968"/>
                </a:cubicBezTo>
                <a:lnTo>
                  <a:pt x="163" y="1968"/>
                </a:lnTo>
                <a:cubicBezTo>
                  <a:pt x="114" y="1968"/>
                  <a:pt x="70" y="1924"/>
                  <a:pt x="70" y="1874"/>
                </a:cubicBezTo>
                <a:lnTo>
                  <a:pt x="70" y="1703"/>
                </a:lnTo>
                <a:lnTo>
                  <a:pt x="1079" y="1703"/>
                </a:lnTo>
                <a:close/>
                <a:moveTo>
                  <a:pt x="1079" y="1630"/>
                </a:moveTo>
                <a:lnTo>
                  <a:pt x="70" y="1630"/>
                </a:lnTo>
                <a:lnTo>
                  <a:pt x="70" y="409"/>
                </a:lnTo>
                <a:lnTo>
                  <a:pt x="1079" y="409"/>
                </a:lnTo>
                <a:close/>
                <a:moveTo>
                  <a:pt x="70" y="339"/>
                </a:moveTo>
                <a:lnTo>
                  <a:pt x="70" y="166"/>
                </a:lnTo>
                <a:cubicBezTo>
                  <a:pt x="70" y="116"/>
                  <a:pt x="114" y="72"/>
                  <a:pt x="163" y="72"/>
                </a:cubicBezTo>
                <a:lnTo>
                  <a:pt x="993" y="72"/>
                </a:lnTo>
                <a:cubicBezTo>
                  <a:pt x="1044" y="72"/>
                  <a:pt x="1079" y="116"/>
                  <a:pt x="1079" y="166"/>
                </a:cubicBezTo>
                <a:lnTo>
                  <a:pt x="1079" y="339"/>
                </a:lnTo>
                <a:close/>
                <a:moveTo>
                  <a:pt x="556" y="1451"/>
                </a:moveTo>
                <a:cubicBezTo>
                  <a:pt x="564" y="1457"/>
                  <a:pt x="571" y="1457"/>
                  <a:pt x="579" y="1457"/>
                </a:cubicBezTo>
                <a:cubicBezTo>
                  <a:pt x="585" y="1457"/>
                  <a:pt x="592" y="1457"/>
                  <a:pt x="600" y="1451"/>
                </a:cubicBezTo>
                <a:cubicBezTo>
                  <a:pt x="801" y="1301"/>
                  <a:pt x="928" y="1063"/>
                  <a:pt x="972" y="762"/>
                </a:cubicBezTo>
                <a:cubicBezTo>
                  <a:pt x="979" y="747"/>
                  <a:pt x="964" y="733"/>
                  <a:pt x="951" y="726"/>
                </a:cubicBezTo>
                <a:lnTo>
                  <a:pt x="592" y="583"/>
                </a:lnTo>
                <a:lnTo>
                  <a:pt x="564" y="583"/>
                </a:lnTo>
                <a:lnTo>
                  <a:pt x="207" y="726"/>
                </a:lnTo>
                <a:cubicBezTo>
                  <a:pt x="184" y="733"/>
                  <a:pt x="178" y="747"/>
                  <a:pt x="184" y="762"/>
                </a:cubicBezTo>
                <a:cubicBezTo>
                  <a:pt x="220" y="1063"/>
                  <a:pt x="349" y="1301"/>
                  <a:pt x="556" y="1451"/>
                </a:cubicBezTo>
                <a:close/>
                <a:moveTo>
                  <a:pt x="579" y="653"/>
                </a:moveTo>
                <a:cubicBezTo>
                  <a:pt x="900" y="783"/>
                  <a:pt x="793" y="740"/>
                  <a:pt x="900" y="783"/>
                </a:cubicBezTo>
                <a:cubicBezTo>
                  <a:pt x="858" y="1042"/>
                  <a:pt x="750" y="1242"/>
                  <a:pt x="579" y="1379"/>
                </a:cubicBezTo>
                <a:cubicBezTo>
                  <a:pt x="406" y="1242"/>
                  <a:pt x="300" y="1042"/>
                  <a:pt x="256" y="78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7" name="TextBox 86">
            <a:extLst>
              <a:ext uri="{FF2B5EF4-FFF2-40B4-BE49-F238E27FC236}">
                <a16:creationId xmlns:a16="http://schemas.microsoft.com/office/drawing/2014/main" id="{145263A8-A69D-D644-9F30-D65BA612802D}"/>
              </a:ext>
            </a:extLst>
          </p:cNvPr>
          <p:cNvSpPr txBox="1"/>
          <p:nvPr/>
        </p:nvSpPr>
        <p:spPr>
          <a:xfrm>
            <a:off x="-47946" y="11657695"/>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rd Reader</a:t>
            </a:r>
          </a:p>
        </p:txBody>
      </p:sp>
    </p:spTree>
    <p:extLst>
      <p:ext uri="{BB962C8B-B14F-4D97-AF65-F5344CB8AC3E}">
        <p14:creationId xmlns:p14="http://schemas.microsoft.com/office/powerpoint/2010/main" val="145289556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Music / Video - 1</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111" name="TextBox 110">
            <a:extLst>
              <a:ext uri="{FF2B5EF4-FFF2-40B4-BE49-F238E27FC236}">
                <a16:creationId xmlns:a16="http://schemas.microsoft.com/office/drawing/2014/main" id="{052FED20-673C-DB45-8CB2-6CC7EB35C565}"/>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top</a:t>
            </a:r>
          </a:p>
        </p:txBody>
      </p:sp>
      <p:sp>
        <p:nvSpPr>
          <p:cNvPr id="112" name="TextBox 111">
            <a:extLst>
              <a:ext uri="{FF2B5EF4-FFF2-40B4-BE49-F238E27FC236}">
                <a16:creationId xmlns:a16="http://schemas.microsoft.com/office/drawing/2014/main" id="{A6A83FBF-BFC8-6B4E-9BC3-48A454B78F23}"/>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lay</a:t>
            </a:r>
          </a:p>
        </p:txBody>
      </p:sp>
      <p:sp>
        <p:nvSpPr>
          <p:cNvPr id="113" name="TextBox 112">
            <a:extLst>
              <a:ext uri="{FF2B5EF4-FFF2-40B4-BE49-F238E27FC236}">
                <a16:creationId xmlns:a16="http://schemas.microsoft.com/office/drawing/2014/main" id="{53B805D9-7D1D-5646-A0B9-47DD1BB4BCA1}"/>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ecord</a:t>
            </a:r>
          </a:p>
        </p:txBody>
      </p:sp>
      <p:sp>
        <p:nvSpPr>
          <p:cNvPr id="114" name="TextBox 113">
            <a:extLst>
              <a:ext uri="{FF2B5EF4-FFF2-40B4-BE49-F238E27FC236}">
                <a16:creationId xmlns:a16="http://schemas.microsoft.com/office/drawing/2014/main" id="{D8CAFBEF-F36C-554A-8404-73DDD57AE1BD}"/>
              </a:ext>
            </a:extLst>
          </p:cNvPr>
          <p:cNvSpPr txBox="1"/>
          <p:nvPr/>
        </p:nvSpPr>
        <p:spPr>
          <a:xfrm>
            <a:off x="12867894"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use</a:t>
            </a:r>
          </a:p>
        </p:txBody>
      </p:sp>
      <p:sp>
        <p:nvSpPr>
          <p:cNvPr id="115" name="TextBox 114">
            <a:extLst>
              <a:ext uri="{FF2B5EF4-FFF2-40B4-BE49-F238E27FC236}">
                <a16:creationId xmlns:a16="http://schemas.microsoft.com/office/drawing/2014/main" id="{52FB7C7A-1994-7340-B99A-55C6D253A28A}"/>
              </a:ext>
            </a:extLst>
          </p:cNvPr>
          <p:cNvSpPr txBox="1"/>
          <p:nvPr/>
        </p:nvSpPr>
        <p:spPr>
          <a:xfrm>
            <a:off x="20219674"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R</a:t>
            </a:r>
          </a:p>
        </p:txBody>
      </p:sp>
      <p:sp>
        <p:nvSpPr>
          <p:cNvPr id="116" name="TextBox 115">
            <a:extLst>
              <a:ext uri="{FF2B5EF4-FFF2-40B4-BE49-F238E27FC236}">
                <a16:creationId xmlns:a16="http://schemas.microsoft.com/office/drawing/2014/main" id="{504D6B55-F693-1B46-8954-FBDDA496A09B}"/>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ject</a:t>
            </a:r>
          </a:p>
        </p:txBody>
      </p:sp>
      <p:sp>
        <p:nvSpPr>
          <p:cNvPr id="117" name="TextBox 116">
            <a:extLst>
              <a:ext uri="{FF2B5EF4-FFF2-40B4-BE49-F238E27FC236}">
                <a16:creationId xmlns:a16="http://schemas.microsoft.com/office/drawing/2014/main" id="{EBDE027F-93AD-1F42-8C86-32376BD94FDE}"/>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Next</a:t>
            </a:r>
          </a:p>
        </p:txBody>
      </p:sp>
      <p:sp>
        <p:nvSpPr>
          <p:cNvPr id="118" name="TextBox 117">
            <a:extLst>
              <a:ext uri="{FF2B5EF4-FFF2-40B4-BE49-F238E27FC236}">
                <a16:creationId xmlns:a16="http://schemas.microsoft.com/office/drawing/2014/main" id="{592AEF69-408E-C145-AA34-F0A94D552594}"/>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No Sound</a:t>
            </a:r>
          </a:p>
        </p:txBody>
      </p:sp>
      <p:sp>
        <p:nvSpPr>
          <p:cNvPr id="119" name="TextBox 118">
            <a:extLst>
              <a:ext uri="{FF2B5EF4-FFF2-40B4-BE49-F238E27FC236}">
                <a16:creationId xmlns:a16="http://schemas.microsoft.com/office/drawing/2014/main" id="{B55591C0-04A3-8540-A8EF-E7DDC4E9C880}"/>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ute</a:t>
            </a:r>
          </a:p>
        </p:txBody>
      </p:sp>
      <p:sp>
        <p:nvSpPr>
          <p:cNvPr id="120" name="TextBox 119">
            <a:extLst>
              <a:ext uri="{FF2B5EF4-FFF2-40B4-BE49-F238E27FC236}">
                <a16:creationId xmlns:a16="http://schemas.microsoft.com/office/drawing/2014/main" id="{4FE11C51-5EAE-4B40-A881-4F7760B03817}"/>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une 2</a:t>
            </a:r>
          </a:p>
        </p:txBody>
      </p:sp>
      <p:sp>
        <p:nvSpPr>
          <p:cNvPr id="121" name="TextBox 120">
            <a:extLst>
              <a:ext uri="{FF2B5EF4-FFF2-40B4-BE49-F238E27FC236}">
                <a16:creationId xmlns:a16="http://schemas.microsoft.com/office/drawing/2014/main" id="{01BC4B58-A08F-EF4E-8F88-7E13EBBB7307}"/>
              </a:ext>
            </a:extLst>
          </p:cNvPr>
          <p:cNvSpPr txBox="1"/>
          <p:nvPr/>
        </p:nvSpPr>
        <p:spPr>
          <a:xfrm>
            <a:off x="-47946" y="11657695"/>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eadphones</a:t>
            </a:r>
          </a:p>
        </p:txBody>
      </p:sp>
      <p:sp>
        <p:nvSpPr>
          <p:cNvPr id="122" name="TextBox 121">
            <a:extLst>
              <a:ext uri="{FF2B5EF4-FFF2-40B4-BE49-F238E27FC236}">
                <a16:creationId xmlns:a16="http://schemas.microsoft.com/office/drawing/2014/main" id="{095CE5FD-EACD-9245-8D40-73707A6270DF}"/>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ic</a:t>
            </a:r>
          </a:p>
        </p:txBody>
      </p:sp>
      <p:sp>
        <p:nvSpPr>
          <p:cNvPr id="123" name="TextBox 122">
            <a:extLst>
              <a:ext uri="{FF2B5EF4-FFF2-40B4-BE49-F238E27FC236}">
                <a16:creationId xmlns:a16="http://schemas.microsoft.com/office/drawing/2014/main" id="{98CF139E-8686-D341-906B-7ADBD7C09182}"/>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ic 2</a:t>
            </a:r>
          </a:p>
        </p:txBody>
      </p:sp>
      <p:sp>
        <p:nvSpPr>
          <p:cNvPr id="124" name="TextBox 123">
            <a:extLst>
              <a:ext uri="{FF2B5EF4-FFF2-40B4-BE49-F238E27FC236}">
                <a16:creationId xmlns:a16="http://schemas.microsoft.com/office/drawing/2014/main" id="{7094E36D-6C0B-3746-8464-C0F511FE684E}"/>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evels</a:t>
            </a:r>
          </a:p>
        </p:txBody>
      </p:sp>
      <p:sp>
        <p:nvSpPr>
          <p:cNvPr id="125" name="TextBox 124">
            <a:extLst>
              <a:ext uri="{FF2B5EF4-FFF2-40B4-BE49-F238E27FC236}">
                <a16:creationId xmlns:a16="http://schemas.microsoft.com/office/drawing/2014/main" id="{822823A4-AC6C-134D-B47C-43BE9F07E076}"/>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udio</a:t>
            </a:r>
          </a:p>
        </p:txBody>
      </p:sp>
      <p:sp>
        <p:nvSpPr>
          <p:cNvPr id="126" name="Freeform: Shape 26">
            <a:extLst>
              <a:ext uri="{FF2B5EF4-FFF2-40B4-BE49-F238E27FC236}">
                <a16:creationId xmlns:a16="http://schemas.microsoft.com/office/drawing/2014/main" id="{E3B27E52-AF0F-0C4A-B41F-703EC985E99F}"/>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7" name="TextBox 126">
            <a:extLst>
              <a:ext uri="{FF2B5EF4-FFF2-40B4-BE49-F238E27FC236}">
                <a16:creationId xmlns:a16="http://schemas.microsoft.com/office/drawing/2014/main" id="{CEB730A0-DBA6-F94B-9109-A43274FDB22A}"/>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F</a:t>
            </a:r>
          </a:p>
        </p:txBody>
      </p:sp>
      <p:sp>
        <p:nvSpPr>
          <p:cNvPr id="128" name="TextBox 127">
            <a:extLst>
              <a:ext uri="{FF2B5EF4-FFF2-40B4-BE49-F238E27FC236}">
                <a16:creationId xmlns:a16="http://schemas.microsoft.com/office/drawing/2014/main" id="{2387C0AD-460E-8349-B201-75042A645A4A}"/>
              </a:ext>
            </a:extLst>
          </p:cNvPr>
          <p:cNvSpPr txBox="1"/>
          <p:nvPr/>
        </p:nvSpPr>
        <p:spPr>
          <a:xfrm>
            <a:off x="16447964"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une</a:t>
            </a:r>
          </a:p>
        </p:txBody>
      </p:sp>
      <p:sp>
        <p:nvSpPr>
          <p:cNvPr id="129" name="TextBox 128">
            <a:extLst>
              <a:ext uri="{FF2B5EF4-FFF2-40B4-BE49-F238E27FC236}">
                <a16:creationId xmlns:a16="http://schemas.microsoft.com/office/drawing/2014/main" id="{81652632-DDD2-6A4D-8F32-51D7FC1A193F}"/>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ound 1</a:t>
            </a:r>
          </a:p>
        </p:txBody>
      </p:sp>
      <p:sp>
        <p:nvSpPr>
          <p:cNvPr id="130" name="Freeform: Shape 13">
            <a:extLst>
              <a:ext uri="{FF2B5EF4-FFF2-40B4-BE49-F238E27FC236}">
                <a16:creationId xmlns:a16="http://schemas.microsoft.com/office/drawing/2014/main" id="{451458F8-6135-064E-AAE2-92BDF0CCF870}"/>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1" name="Freeform: Shape 1">
            <a:extLst>
              <a:ext uri="{FF2B5EF4-FFF2-40B4-BE49-F238E27FC236}">
                <a16:creationId xmlns:a16="http://schemas.microsoft.com/office/drawing/2014/main" id="{D981C11B-1F5A-3E4A-8450-A8050DD4E6C8}"/>
              </a:ext>
            </a:extLst>
          </p:cNvPr>
          <p:cNvSpPr/>
          <p:nvPr/>
        </p:nvSpPr>
        <p:spPr>
          <a:xfrm>
            <a:off x="2081027" y="3751546"/>
            <a:ext cx="1047239" cy="1053360"/>
          </a:xfrm>
          <a:custGeom>
            <a:avLst/>
            <a:gdLst/>
            <a:ahLst/>
            <a:cxnLst>
              <a:cxn ang="3cd4">
                <a:pos x="hc" y="t"/>
              </a:cxn>
              <a:cxn ang="cd2">
                <a:pos x="l" y="vc"/>
              </a:cxn>
              <a:cxn ang="cd4">
                <a:pos x="hc" y="b"/>
              </a:cxn>
              <a:cxn ang="0">
                <a:pos x="r" y="vc"/>
              </a:cxn>
            </a:cxnLst>
            <a:rect l="l" t="t" r="r" b="b"/>
            <a:pathLst>
              <a:path w="2910" h="2927">
                <a:moveTo>
                  <a:pt x="2656" y="0"/>
                </a:moveTo>
                <a:cubicBezTo>
                  <a:pt x="254" y="0"/>
                  <a:pt x="254" y="0"/>
                  <a:pt x="254" y="0"/>
                </a:cubicBezTo>
                <a:cubicBezTo>
                  <a:pt x="111" y="0"/>
                  <a:pt x="0" y="112"/>
                  <a:pt x="0" y="255"/>
                </a:cubicBezTo>
                <a:cubicBezTo>
                  <a:pt x="0" y="2688"/>
                  <a:pt x="0" y="2688"/>
                  <a:pt x="0" y="2688"/>
                </a:cubicBezTo>
                <a:cubicBezTo>
                  <a:pt x="0" y="2815"/>
                  <a:pt x="111" y="2927"/>
                  <a:pt x="254" y="2927"/>
                </a:cubicBezTo>
                <a:cubicBezTo>
                  <a:pt x="2656" y="2927"/>
                  <a:pt x="2656" y="2927"/>
                  <a:pt x="2656" y="2927"/>
                </a:cubicBezTo>
                <a:cubicBezTo>
                  <a:pt x="2799" y="2927"/>
                  <a:pt x="2910" y="2815"/>
                  <a:pt x="2910" y="2688"/>
                </a:cubicBezTo>
                <a:cubicBezTo>
                  <a:pt x="2910" y="255"/>
                  <a:pt x="2910" y="255"/>
                  <a:pt x="2910" y="255"/>
                </a:cubicBezTo>
                <a:cubicBezTo>
                  <a:pt x="2910" y="112"/>
                  <a:pt x="2799" y="0"/>
                  <a:pt x="2656" y="0"/>
                </a:cubicBezTo>
                <a:close/>
                <a:moveTo>
                  <a:pt x="2751" y="2688"/>
                </a:moveTo>
                <a:cubicBezTo>
                  <a:pt x="2751" y="2736"/>
                  <a:pt x="2720" y="2768"/>
                  <a:pt x="2656" y="2768"/>
                </a:cubicBezTo>
                <a:cubicBezTo>
                  <a:pt x="254" y="2768"/>
                  <a:pt x="254" y="2768"/>
                  <a:pt x="254" y="2768"/>
                </a:cubicBezTo>
                <a:cubicBezTo>
                  <a:pt x="206" y="2768"/>
                  <a:pt x="159" y="2736"/>
                  <a:pt x="159" y="2688"/>
                </a:cubicBezTo>
                <a:cubicBezTo>
                  <a:pt x="159" y="255"/>
                  <a:pt x="159" y="255"/>
                  <a:pt x="159" y="255"/>
                </a:cubicBezTo>
                <a:cubicBezTo>
                  <a:pt x="159" y="191"/>
                  <a:pt x="206" y="160"/>
                  <a:pt x="254" y="160"/>
                </a:cubicBezTo>
                <a:cubicBezTo>
                  <a:pt x="2656" y="160"/>
                  <a:pt x="2656" y="160"/>
                  <a:pt x="2656" y="160"/>
                </a:cubicBezTo>
                <a:cubicBezTo>
                  <a:pt x="2720" y="160"/>
                  <a:pt x="2751" y="191"/>
                  <a:pt x="2751" y="25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2" name="Freeform: Shape 2">
            <a:extLst>
              <a:ext uri="{FF2B5EF4-FFF2-40B4-BE49-F238E27FC236}">
                <a16:creationId xmlns:a16="http://schemas.microsoft.com/office/drawing/2014/main" id="{35506A8C-65BB-1141-9335-23BEDC10B3D8}"/>
              </a:ext>
            </a:extLst>
          </p:cNvPr>
          <p:cNvSpPr/>
          <p:nvPr/>
        </p:nvSpPr>
        <p:spPr>
          <a:xfrm>
            <a:off x="6450030" y="3713026"/>
            <a:ext cx="944280" cy="1131840"/>
          </a:xfrm>
          <a:custGeom>
            <a:avLst/>
            <a:gdLst/>
            <a:ahLst/>
            <a:cxnLst>
              <a:cxn ang="3cd4">
                <a:pos x="hc" y="t"/>
              </a:cxn>
              <a:cxn ang="cd2">
                <a:pos x="l" y="vc"/>
              </a:cxn>
              <a:cxn ang="cd4">
                <a:pos x="hc" y="b"/>
              </a:cxn>
              <a:cxn ang="0">
                <a:pos x="r" y="vc"/>
              </a:cxn>
            </a:cxnLst>
            <a:rect l="l" t="t" r="r" b="b"/>
            <a:pathLst>
              <a:path w="2624" h="3145">
                <a:moveTo>
                  <a:pt x="111" y="3145"/>
                </a:moveTo>
                <a:cubicBezTo>
                  <a:pt x="127" y="3145"/>
                  <a:pt x="158" y="3129"/>
                  <a:pt x="174" y="3129"/>
                </a:cubicBezTo>
                <a:cubicBezTo>
                  <a:pt x="2528" y="1746"/>
                  <a:pt x="2528" y="1746"/>
                  <a:pt x="2528" y="1746"/>
                </a:cubicBezTo>
                <a:cubicBezTo>
                  <a:pt x="2592" y="1713"/>
                  <a:pt x="2624" y="1650"/>
                  <a:pt x="2624" y="1570"/>
                </a:cubicBezTo>
                <a:cubicBezTo>
                  <a:pt x="2624" y="1507"/>
                  <a:pt x="2592" y="1443"/>
                  <a:pt x="2528" y="1395"/>
                </a:cubicBezTo>
                <a:cubicBezTo>
                  <a:pt x="174" y="12"/>
                  <a:pt x="174" y="12"/>
                  <a:pt x="174" y="12"/>
                </a:cubicBezTo>
                <a:cubicBezTo>
                  <a:pt x="143" y="-4"/>
                  <a:pt x="95" y="-4"/>
                  <a:pt x="63" y="12"/>
                </a:cubicBezTo>
                <a:cubicBezTo>
                  <a:pt x="15" y="44"/>
                  <a:pt x="0" y="76"/>
                  <a:pt x="0" y="123"/>
                </a:cubicBezTo>
                <a:cubicBezTo>
                  <a:pt x="0" y="3034"/>
                  <a:pt x="0" y="3034"/>
                  <a:pt x="0" y="3034"/>
                </a:cubicBezTo>
                <a:cubicBezTo>
                  <a:pt x="0" y="3066"/>
                  <a:pt x="15" y="3113"/>
                  <a:pt x="47" y="3129"/>
                </a:cubicBezTo>
                <a:cubicBezTo>
                  <a:pt x="79" y="3129"/>
                  <a:pt x="95" y="3145"/>
                  <a:pt x="111" y="3145"/>
                </a:cubicBezTo>
                <a:close/>
                <a:moveTo>
                  <a:pt x="158" y="203"/>
                </a:moveTo>
                <a:cubicBezTo>
                  <a:pt x="2449" y="1539"/>
                  <a:pt x="2449" y="1539"/>
                  <a:pt x="2449" y="1539"/>
                </a:cubicBezTo>
                <a:cubicBezTo>
                  <a:pt x="2465" y="1555"/>
                  <a:pt x="2465" y="1570"/>
                  <a:pt x="2465" y="1570"/>
                </a:cubicBezTo>
                <a:cubicBezTo>
                  <a:pt x="2465" y="1586"/>
                  <a:pt x="2465" y="1603"/>
                  <a:pt x="2449" y="1603"/>
                </a:cubicBezTo>
                <a:cubicBezTo>
                  <a:pt x="158" y="2954"/>
                  <a:pt x="158" y="2954"/>
                  <a:pt x="158" y="295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3" name="Freeform: Shape 3">
            <a:extLst>
              <a:ext uri="{FF2B5EF4-FFF2-40B4-BE49-F238E27FC236}">
                <a16:creationId xmlns:a16="http://schemas.microsoft.com/office/drawing/2014/main" id="{E50C8898-F3E7-024D-9041-FF01869AC21F}"/>
              </a:ext>
            </a:extLst>
          </p:cNvPr>
          <p:cNvSpPr/>
          <p:nvPr/>
        </p:nvSpPr>
        <p:spPr>
          <a:xfrm>
            <a:off x="17581159" y="3625546"/>
            <a:ext cx="1517039" cy="1305360"/>
          </a:xfrm>
          <a:custGeom>
            <a:avLst/>
            <a:gdLst/>
            <a:ahLst/>
            <a:cxnLst>
              <a:cxn ang="3cd4">
                <a:pos x="hc" y="t"/>
              </a:cxn>
              <a:cxn ang="cd2">
                <a:pos x="l" y="vc"/>
              </a:cxn>
              <a:cxn ang="cd4">
                <a:pos x="hc" y="b"/>
              </a:cxn>
              <a:cxn ang="0">
                <a:pos x="r" y="vc"/>
              </a:cxn>
            </a:cxnLst>
            <a:rect l="l" t="t" r="r" b="b"/>
            <a:pathLst>
              <a:path w="4215" h="3627">
                <a:moveTo>
                  <a:pt x="4215" y="1813"/>
                </a:moveTo>
                <a:cubicBezTo>
                  <a:pt x="4215" y="1670"/>
                  <a:pt x="4168" y="1543"/>
                  <a:pt x="4056" y="1464"/>
                </a:cubicBezTo>
                <a:cubicBezTo>
                  <a:pt x="2323" y="48"/>
                  <a:pt x="2323" y="48"/>
                  <a:pt x="2323" y="48"/>
                </a:cubicBezTo>
                <a:cubicBezTo>
                  <a:pt x="2211" y="-16"/>
                  <a:pt x="2084" y="-16"/>
                  <a:pt x="1973" y="48"/>
                </a:cubicBezTo>
                <a:cubicBezTo>
                  <a:pt x="1861" y="112"/>
                  <a:pt x="1782" y="239"/>
                  <a:pt x="1782" y="366"/>
                </a:cubicBezTo>
                <a:cubicBezTo>
                  <a:pt x="1782" y="1066"/>
                  <a:pt x="1782" y="1066"/>
                  <a:pt x="1782" y="1066"/>
                </a:cubicBezTo>
                <a:cubicBezTo>
                  <a:pt x="541" y="48"/>
                  <a:pt x="541" y="48"/>
                  <a:pt x="541" y="48"/>
                </a:cubicBezTo>
                <a:cubicBezTo>
                  <a:pt x="430" y="-16"/>
                  <a:pt x="287" y="-16"/>
                  <a:pt x="176" y="48"/>
                </a:cubicBezTo>
                <a:cubicBezTo>
                  <a:pt x="64" y="112"/>
                  <a:pt x="0" y="239"/>
                  <a:pt x="0" y="366"/>
                </a:cubicBezTo>
                <a:cubicBezTo>
                  <a:pt x="0" y="3277"/>
                  <a:pt x="0" y="3277"/>
                  <a:pt x="0" y="3277"/>
                </a:cubicBezTo>
                <a:cubicBezTo>
                  <a:pt x="0" y="3404"/>
                  <a:pt x="64" y="3515"/>
                  <a:pt x="191" y="3579"/>
                </a:cubicBezTo>
                <a:cubicBezTo>
                  <a:pt x="303" y="3643"/>
                  <a:pt x="430" y="3643"/>
                  <a:pt x="557" y="3563"/>
                </a:cubicBezTo>
                <a:cubicBezTo>
                  <a:pt x="1782" y="2577"/>
                  <a:pt x="1782" y="2577"/>
                  <a:pt x="1782" y="2577"/>
                </a:cubicBezTo>
                <a:cubicBezTo>
                  <a:pt x="1782" y="3277"/>
                  <a:pt x="1782" y="3277"/>
                  <a:pt x="1782" y="3277"/>
                </a:cubicBezTo>
                <a:cubicBezTo>
                  <a:pt x="1782" y="3404"/>
                  <a:pt x="1861" y="3515"/>
                  <a:pt x="1973" y="3579"/>
                </a:cubicBezTo>
                <a:cubicBezTo>
                  <a:pt x="2021" y="3611"/>
                  <a:pt x="2068" y="3627"/>
                  <a:pt x="2132" y="3627"/>
                </a:cubicBezTo>
                <a:cubicBezTo>
                  <a:pt x="2211" y="3627"/>
                  <a:pt x="2275" y="3611"/>
                  <a:pt x="2354" y="3563"/>
                </a:cubicBezTo>
                <a:cubicBezTo>
                  <a:pt x="4056" y="2179"/>
                  <a:pt x="4056" y="2179"/>
                  <a:pt x="4056" y="2179"/>
                </a:cubicBezTo>
                <a:cubicBezTo>
                  <a:pt x="4168" y="2084"/>
                  <a:pt x="4215" y="1956"/>
                  <a:pt x="4215" y="1813"/>
                </a:cubicBezTo>
                <a:close/>
                <a:moveTo>
                  <a:pt x="3945" y="2052"/>
                </a:moveTo>
                <a:cubicBezTo>
                  <a:pt x="2259" y="3436"/>
                  <a:pt x="2259" y="3436"/>
                  <a:pt x="2259" y="3436"/>
                </a:cubicBezTo>
                <a:cubicBezTo>
                  <a:pt x="2179" y="3483"/>
                  <a:pt x="2116" y="3483"/>
                  <a:pt x="2052" y="3452"/>
                </a:cubicBezTo>
                <a:cubicBezTo>
                  <a:pt x="1988" y="3404"/>
                  <a:pt x="1941" y="3340"/>
                  <a:pt x="1941" y="3277"/>
                </a:cubicBezTo>
                <a:cubicBezTo>
                  <a:pt x="1941" y="2465"/>
                  <a:pt x="1941" y="2465"/>
                  <a:pt x="1941" y="2465"/>
                </a:cubicBezTo>
                <a:cubicBezTo>
                  <a:pt x="1941" y="2434"/>
                  <a:pt x="1925" y="2386"/>
                  <a:pt x="1878" y="2370"/>
                </a:cubicBezTo>
                <a:cubicBezTo>
                  <a:pt x="1861" y="2370"/>
                  <a:pt x="1845" y="2354"/>
                  <a:pt x="1830" y="2354"/>
                </a:cubicBezTo>
                <a:cubicBezTo>
                  <a:pt x="1814" y="2354"/>
                  <a:pt x="1782" y="2370"/>
                  <a:pt x="1766" y="2386"/>
                </a:cubicBezTo>
                <a:cubicBezTo>
                  <a:pt x="478" y="3436"/>
                  <a:pt x="478" y="3436"/>
                  <a:pt x="478" y="3436"/>
                </a:cubicBezTo>
                <a:cubicBezTo>
                  <a:pt x="398" y="3483"/>
                  <a:pt x="319" y="3483"/>
                  <a:pt x="255" y="3452"/>
                </a:cubicBezTo>
                <a:cubicBezTo>
                  <a:pt x="191" y="3404"/>
                  <a:pt x="160" y="3340"/>
                  <a:pt x="160" y="3277"/>
                </a:cubicBezTo>
                <a:cubicBezTo>
                  <a:pt x="160" y="366"/>
                  <a:pt x="160" y="366"/>
                  <a:pt x="160" y="366"/>
                </a:cubicBezTo>
                <a:cubicBezTo>
                  <a:pt x="160" y="287"/>
                  <a:pt x="191" y="223"/>
                  <a:pt x="255" y="191"/>
                </a:cubicBezTo>
                <a:cubicBezTo>
                  <a:pt x="319" y="159"/>
                  <a:pt x="398" y="159"/>
                  <a:pt x="446" y="175"/>
                </a:cubicBezTo>
                <a:cubicBezTo>
                  <a:pt x="1766" y="1257"/>
                  <a:pt x="1766" y="1257"/>
                  <a:pt x="1766" y="1257"/>
                </a:cubicBezTo>
                <a:lnTo>
                  <a:pt x="1782" y="1257"/>
                </a:lnTo>
                <a:cubicBezTo>
                  <a:pt x="1830" y="1273"/>
                  <a:pt x="1878" y="1273"/>
                  <a:pt x="1909" y="1241"/>
                </a:cubicBezTo>
                <a:cubicBezTo>
                  <a:pt x="1925" y="1225"/>
                  <a:pt x="1941" y="1193"/>
                  <a:pt x="1941" y="1161"/>
                </a:cubicBezTo>
                <a:cubicBezTo>
                  <a:pt x="1941" y="366"/>
                  <a:pt x="1941" y="366"/>
                  <a:pt x="1941" y="366"/>
                </a:cubicBezTo>
                <a:cubicBezTo>
                  <a:pt x="1941" y="287"/>
                  <a:pt x="1988" y="223"/>
                  <a:pt x="2052" y="191"/>
                </a:cubicBezTo>
                <a:cubicBezTo>
                  <a:pt x="2116" y="159"/>
                  <a:pt x="2179" y="159"/>
                  <a:pt x="2227" y="175"/>
                </a:cubicBezTo>
                <a:cubicBezTo>
                  <a:pt x="3945" y="1575"/>
                  <a:pt x="3945" y="1575"/>
                  <a:pt x="3945" y="1575"/>
                </a:cubicBezTo>
                <a:cubicBezTo>
                  <a:pt x="4024" y="1638"/>
                  <a:pt x="4056" y="1718"/>
                  <a:pt x="4056" y="1813"/>
                </a:cubicBezTo>
                <a:cubicBezTo>
                  <a:pt x="4056" y="1909"/>
                  <a:pt x="4024" y="1989"/>
                  <a:pt x="3945" y="205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4" name="Freeform: Shape 4">
            <a:extLst>
              <a:ext uri="{FF2B5EF4-FFF2-40B4-BE49-F238E27FC236}">
                <a16:creationId xmlns:a16="http://schemas.microsoft.com/office/drawing/2014/main" id="{550E32D5-0840-C541-8F71-7E2B27C7F76A}"/>
              </a:ext>
            </a:extLst>
          </p:cNvPr>
          <p:cNvSpPr/>
          <p:nvPr/>
        </p:nvSpPr>
        <p:spPr>
          <a:xfrm>
            <a:off x="21239144" y="3626265"/>
            <a:ext cx="1522800" cy="1304640"/>
          </a:xfrm>
          <a:custGeom>
            <a:avLst/>
            <a:gdLst/>
            <a:ahLst/>
            <a:cxnLst>
              <a:cxn ang="3cd4">
                <a:pos x="hc" y="t"/>
              </a:cxn>
              <a:cxn ang="cd2">
                <a:pos x="l" y="vc"/>
              </a:cxn>
              <a:cxn ang="cd4">
                <a:pos x="hc" y="b"/>
              </a:cxn>
              <a:cxn ang="0">
                <a:pos x="r" y="vc"/>
              </a:cxn>
            </a:cxnLst>
            <a:rect l="l" t="t" r="r" b="b"/>
            <a:pathLst>
              <a:path w="4231" h="3625">
                <a:moveTo>
                  <a:pt x="2259" y="3577"/>
                </a:moveTo>
                <a:cubicBezTo>
                  <a:pt x="2370" y="3513"/>
                  <a:pt x="2434" y="3402"/>
                  <a:pt x="2434" y="3275"/>
                </a:cubicBezTo>
                <a:cubicBezTo>
                  <a:pt x="2434" y="2559"/>
                  <a:pt x="2434" y="2559"/>
                  <a:pt x="2434" y="2559"/>
                </a:cubicBezTo>
                <a:cubicBezTo>
                  <a:pt x="3690" y="3577"/>
                  <a:pt x="3690" y="3577"/>
                  <a:pt x="3690" y="3577"/>
                </a:cubicBezTo>
                <a:cubicBezTo>
                  <a:pt x="3738" y="3609"/>
                  <a:pt x="3802" y="3625"/>
                  <a:pt x="3866" y="3625"/>
                </a:cubicBezTo>
                <a:cubicBezTo>
                  <a:pt x="3929" y="3625"/>
                  <a:pt x="3993" y="3609"/>
                  <a:pt x="4041" y="3577"/>
                </a:cubicBezTo>
                <a:cubicBezTo>
                  <a:pt x="4152" y="3513"/>
                  <a:pt x="4231" y="3402"/>
                  <a:pt x="4231" y="3275"/>
                </a:cubicBezTo>
                <a:cubicBezTo>
                  <a:pt x="4231" y="364"/>
                  <a:pt x="4231" y="364"/>
                  <a:pt x="4231" y="364"/>
                </a:cubicBezTo>
                <a:cubicBezTo>
                  <a:pt x="4231" y="237"/>
                  <a:pt x="4152" y="110"/>
                  <a:pt x="4041" y="46"/>
                </a:cubicBezTo>
                <a:cubicBezTo>
                  <a:pt x="3929" y="-18"/>
                  <a:pt x="3786" y="-18"/>
                  <a:pt x="3659" y="62"/>
                </a:cubicBezTo>
                <a:cubicBezTo>
                  <a:pt x="2434" y="1064"/>
                  <a:pt x="2434" y="1064"/>
                  <a:pt x="2434" y="1064"/>
                </a:cubicBezTo>
                <a:cubicBezTo>
                  <a:pt x="2434" y="364"/>
                  <a:pt x="2434" y="364"/>
                  <a:pt x="2434" y="364"/>
                </a:cubicBezTo>
                <a:cubicBezTo>
                  <a:pt x="2434" y="221"/>
                  <a:pt x="2370" y="110"/>
                  <a:pt x="2259" y="46"/>
                </a:cubicBezTo>
                <a:cubicBezTo>
                  <a:pt x="2148" y="-18"/>
                  <a:pt x="2005" y="-18"/>
                  <a:pt x="1878" y="62"/>
                </a:cubicBezTo>
                <a:cubicBezTo>
                  <a:pt x="176" y="1462"/>
                  <a:pt x="176" y="1462"/>
                  <a:pt x="176" y="1462"/>
                </a:cubicBezTo>
                <a:cubicBezTo>
                  <a:pt x="64" y="1541"/>
                  <a:pt x="0" y="1668"/>
                  <a:pt x="0" y="1811"/>
                </a:cubicBezTo>
                <a:cubicBezTo>
                  <a:pt x="0" y="1954"/>
                  <a:pt x="64" y="2082"/>
                  <a:pt x="176" y="2177"/>
                </a:cubicBezTo>
                <a:cubicBezTo>
                  <a:pt x="1909" y="3577"/>
                  <a:pt x="1909" y="3577"/>
                  <a:pt x="1909" y="3577"/>
                </a:cubicBezTo>
                <a:cubicBezTo>
                  <a:pt x="2021" y="3641"/>
                  <a:pt x="2148" y="3641"/>
                  <a:pt x="2259" y="3577"/>
                </a:cubicBezTo>
                <a:close/>
                <a:moveTo>
                  <a:pt x="160" y="1811"/>
                </a:moveTo>
                <a:cubicBezTo>
                  <a:pt x="160" y="1716"/>
                  <a:pt x="207" y="1636"/>
                  <a:pt x="271" y="1573"/>
                </a:cubicBezTo>
                <a:cubicBezTo>
                  <a:pt x="1973" y="205"/>
                  <a:pt x="1973" y="205"/>
                  <a:pt x="1973" y="205"/>
                </a:cubicBezTo>
                <a:cubicBezTo>
                  <a:pt x="2036" y="157"/>
                  <a:pt x="2116" y="142"/>
                  <a:pt x="2179" y="189"/>
                </a:cubicBezTo>
                <a:cubicBezTo>
                  <a:pt x="2243" y="221"/>
                  <a:pt x="2275" y="285"/>
                  <a:pt x="2275" y="364"/>
                </a:cubicBezTo>
                <a:cubicBezTo>
                  <a:pt x="2275" y="1159"/>
                  <a:pt x="2275" y="1159"/>
                  <a:pt x="2275" y="1159"/>
                </a:cubicBezTo>
                <a:cubicBezTo>
                  <a:pt x="2275" y="1207"/>
                  <a:pt x="2307" y="1239"/>
                  <a:pt x="2339" y="1255"/>
                </a:cubicBezTo>
                <a:cubicBezTo>
                  <a:pt x="2386" y="1271"/>
                  <a:pt x="2434" y="1271"/>
                  <a:pt x="2466" y="1239"/>
                </a:cubicBezTo>
                <a:cubicBezTo>
                  <a:pt x="3754" y="205"/>
                  <a:pt x="3754" y="205"/>
                  <a:pt x="3754" y="205"/>
                </a:cubicBezTo>
                <a:cubicBezTo>
                  <a:pt x="3833" y="157"/>
                  <a:pt x="3897" y="142"/>
                  <a:pt x="3961" y="189"/>
                </a:cubicBezTo>
                <a:cubicBezTo>
                  <a:pt x="4024" y="221"/>
                  <a:pt x="4072" y="285"/>
                  <a:pt x="4072" y="364"/>
                </a:cubicBezTo>
                <a:cubicBezTo>
                  <a:pt x="4072" y="3275"/>
                  <a:pt x="4072" y="3275"/>
                  <a:pt x="4072" y="3275"/>
                </a:cubicBezTo>
                <a:cubicBezTo>
                  <a:pt x="4072" y="3338"/>
                  <a:pt x="4024" y="3402"/>
                  <a:pt x="3961" y="3434"/>
                </a:cubicBezTo>
                <a:cubicBezTo>
                  <a:pt x="3897" y="3481"/>
                  <a:pt x="3833" y="3481"/>
                  <a:pt x="3770" y="3450"/>
                </a:cubicBezTo>
                <a:cubicBezTo>
                  <a:pt x="2466" y="2384"/>
                  <a:pt x="2466" y="2384"/>
                  <a:pt x="2466" y="2384"/>
                </a:cubicBezTo>
                <a:cubicBezTo>
                  <a:pt x="2466" y="2368"/>
                  <a:pt x="2450" y="2368"/>
                  <a:pt x="2434" y="2368"/>
                </a:cubicBezTo>
                <a:cubicBezTo>
                  <a:pt x="2386" y="2352"/>
                  <a:pt x="2354" y="2352"/>
                  <a:pt x="2323" y="2384"/>
                </a:cubicBezTo>
                <a:cubicBezTo>
                  <a:pt x="2291" y="2400"/>
                  <a:pt x="2275" y="2432"/>
                  <a:pt x="2275" y="2463"/>
                </a:cubicBezTo>
                <a:cubicBezTo>
                  <a:pt x="2275" y="3275"/>
                  <a:pt x="2275" y="3275"/>
                  <a:pt x="2275" y="3275"/>
                </a:cubicBezTo>
                <a:cubicBezTo>
                  <a:pt x="2275" y="3338"/>
                  <a:pt x="2243" y="3402"/>
                  <a:pt x="2179" y="3434"/>
                </a:cubicBezTo>
                <a:cubicBezTo>
                  <a:pt x="2116" y="3481"/>
                  <a:pt x="2036" y="3481"/>
                  <a:pt x="1988" y="3450"/>
                </a:cubicBezTo>
                <a:cubicBezTo>
                  <a:pt x="271" y="2050"/>
                  <a:pt x="271" y="2050"/>
                  <a:pt x="271" y="2050"/>
                </a:cubicBezTo>
                <a:cubicBezTo>
                  <a:pt x="207" y="1987"/>
                  <a:pt x="160" y="1907"/>
                  <a:pt x="160" y="181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5" name="Freeform: Shape 5">
            <a:extLst>
              <a:ext uri="{FF2B5EF4-FFF2-40B4-BE49-F238E27FC236}">
                <a16:creationId xmlns:a16="http://schemas.microsoft.com/office/drawing/2014/main" id="{46D2FE20-0EE2-5042-978A-8E4BCBC9A8E1}"/>
              </a:ext>
            </a:extLst>
          </p:cNvPr>
          <p:cNvSpPr/>
          <p:nvPr/>
        </p:nvSpPr>
        <p:spPr>
          <a:xfrm>
            <a:off x="10262396" y="3688545"/>
            <a:ext cx="1179000" cy="1179360"/>
          </a:xfrm>
          <a:custGeom>
            <a:avLst/>
            <a:gdLst/>
            <a:ahLst/>
            <a:cxnLst>
              <a:cxn ang="3cd4">
                <a:pos x="hc" y="t"/>
              </a:cxn>
              <a:cxn ang="cd2">
                <a:pos x="l" y="vc"/>
              </a:cxn>
              <a:cxn ang="cd4">
                <a:pos x="hc" y="b"/>
              </a:cxn>
              <a:cxn ang="0">
                <a:pos x="r" y="vc"/>
              </a:cxn>
            </a:cxnLst>
            <a:rect l="l" t="t" r="r" b="b"/>
            <a:pathLst>
              <a:path w="3276" h="3277">
                <a:moveTo>
                  <a:pt x="0" y="1638"/>
                </a:moveTo>
                <a:cubicBezTo>
                  <a:pt x="0" y="2545"/>
                  <a:pt x="732" y="3277"/>
                  <a:pt x="1638" y="3277"/>
                </a:cubicBezTo>
                <a:cubicBezTo>
                  <a:pt x="2545" y="3277"/>
                  <a:pt x="3276" y="2545"/>
                  <a:pt x="3276" y="1638"/>
                </a:cubicBezTo>
                <a:cubicBezTo>
                  <a:pt x="3276" y="732"/>
                  <a:pt x="2545" y="0"/>
                  <a:pt x="1638" y="0"/>
                </a:cubicBezTo>
                <a:cubicBezTo>
                  <a:pt x="732" y="0"/>
                  <a:pt x="0" y="732"/>
                  <a:pt x="0" y="1638"/>
                </a:cubicBezTo>
                <a:close/>
                <a:moveTo>
                  <a:pt x="3117" y="1638"/>
                </a:moveTo>
                <a:cubicBezTo>
                  <a:pt x="3117" y="2466"/>
                  <a:pt x="2449" y="3117"/>
                  <a:pt x="1638" y="3117"/>
                </a:cubicBezTo>
                <a:cubicBezTo>
                  <a:pt x="827" y="3117"/>
                  <a:pt x="159" y="2466"/>
                  <a:pt x="159" y="1638"/>
                </a:cubicBezTo>
                <a:cubicBezTo>
                  <a:pt x="159" y="827"/>
                  <a:pt x="827" y="159"/>
                  <a:pt x="1638" y="159"/>
                </a:cubicBezTo>
                <a:cubicBezTo>
                  <a:pt x="2449" y="159"/>
                  <a:pt x="3117" y="827"/>
                  <a:pt x="3117" y="163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6" name="Freeform: Shape 6">
            <a:extLst>
              <a:ext uri="{FF2B5EF4-FFF2-40B4-BE49-F238E27FC236}">
                <a16:creationId xmlns:a16="http://schemas.microsoft.com/office/drawing/2014/main" id="{F4E07B4E-D5C8-9B44-B0CD-584B372F5E8D}"/>
              </a:ext>
            </a:extLst>
          </p:cNvPr>
          <p:cNvSpPr/>
          <p:nvPr/>
        </p:nvSpPr>
        <p:spPr>
          <a:xfrm>
            <a:off x="14349189" y="3705826"/>
            <a:ext cx="921600" cy="1144800"/>
          </a:xfrm>
          <a:custGeom>
            <a:avLst/>
            <a:gdLst/>
            <a:ahLst/>
            <a:cxnLst>
              <a:cxn ang="3cd4">
                <a:pos x="hc" y="t"/>
              </a:cxn>
              <a:cxn ang="cd2">
                <a:pos x="l" y="vc"/>
              </a:cxn>
              <a:cxn ang="cd4">
                <a:pos x="hc" y="b"/>
              </a:cxn>
              <a:cxn ang="0">
                <a:pos x="r" y="vc"/>
              </a:cxn>
            </a:cxnLst>
            <a:rect l="l" t="t" r="r" b="b"/>
            <a:pathLst>
              <a:path w="2561" h="3181">
                <a:moveTo>
                  <a:pt x="2290" y="3181"/>
                </a:moveTo>
                <a:cubicBezTo>
                  <a:pt x="2449" y="3181"/>
                  <a:pt x="2561" y="3054"/>
                  <a:pt x="2561" y="2911"/>
                </a:cubicBezTo>
                <a:lnTo>
                  <a:pt x="2561" y="270"/>
                </a:lnTo>
                <a:cubicBezTo>
                  <a:pt x="2561" y="127"/>
                  <a:pt x="2449" y="0"/>
                  <a:pt x="2290" y="0"/>
                </a:cubicBezTo>
                <a:lnTo>
                  <a:pt x="1861" y="0"/>
                </a:lnTo>
                <a:cubicBezTo>
                  <a:pt x="1702" y="0"/>
                  <a:pt x="1591" y="127"/>
                  <a:pt x="1591" y="270"/>
                </a:cubicBezTo>
                <a:lnTo>
                  <a:pt x="1591" y="2911"/>
                </a:lnTo>
                <a:cubicBezTo>
                  <a:pt x="1591" y="3054"/>
                  <a:pt x="1702" y="3181"/>
                  <a:pt x="1861" y="3181"/>
                </a:cubicBezTo>
                <a:close/>
                <a:moveTo>
                  <a:pt x="1749" y="2911"/>
                </a:moveTo>
                <a:lnTo>
                  <a:pt x="1749" y="270"/>
                </a:lnTo>
                <a:cubicBezTo>
                  <a:pt x="1749" y="207"/>
                  <a:pt x="1797" y="159"/>
                  <a:pt x="1861" y="159"/>
                </a:cubicBezTo>
                <a:lnTo>
                  <a:pt x="2290" y="159"/>
                </a:lnTo>
                <a:cubicBezTo>
                  <a:pt x="2354" y="159"/>
                  <a:pt x="2401" y="207"/>
                  <a:pt x="2401" y="270"/>
                </a:cubicBezTo>
                <a:lnTo>
                  <a:pt x="2401" y="2911"/>
                </a:lnTo>
                <a:cubicBezTo>
                  <a:pt x="2401" y="2974"/>
                  <a:pt x="2354" y="3022"/>
                  <a:pt x="2290" y="3022"/>
                </a:cubicBezTo>
                <a:lnTo>
                  <a:pt x="1861" y="3022"/>
                </a:lnTo>
                <a:cubicBezTo>
                  <a:pt x="1797" y="3022"/>
                  <a:pt x="1749" y="2974"/>
                  <a:pt x="1749" y="2911"/>
                </a:cubicBezTo>
                <a:close/>
                <a:moveTo>
                  <a:pt x="716" y="0"/>
                </a:moveTo>
                <a:lnTo>
                  <a:pt x="286" y="0"/>
                </a:lnTo>
                <a:cubicBezTo>
                  <a:pt x="127" y="0"/>
                  <a:pt x="0" y="127"/>
                  <a:pt x="0" y="270"/>
                </a:cubicBezTo>
                <a:lnTo>
                  <a:pt x="0" y="2911"/>
                </a:lnTo>
                <a:cubicBezTo>
                  <a:pt x="0" y="3054"/>
                  <a:pt x="127" y="3181"/>
                  <a:pt x="286" y="3181"/>
                </a:cubicBezTo>
                <a:lnTo>
                  <a:pt x="716" y="3181"/>
                </a:lnTo>
                <a:cubicBezTo>
                  <a:pt x="859" y="3181"/>
                  <a:pt x="986" y="3054"/>
                  <a:pt x="986" y="2911"/>
                </a:cubicBezTo>
                <a:lnTo>
                  <a:pt x="986" y="270"/>
                </a:lnTo>
                <a:cubicBezTo>
                  <a:pt x="986" y="127"/>
                  <a:pt x="859" y="0"/>
                  <a:pt x="716" y="0"/>
                </a:cubicBezTo>
                <a:close/>
                <a:moveTo>
                  <a:pt x="827" y="2911"/>
                </a:moveTo>
                <a:cubicBezTo>
                  <a:pt x="827" y="2974"/>
                  <a:pt x="779" y="3022"/>
                  <a:pt x="716" y="3022"/>
                </a:cubicBezTo>
                <a:lnTo>
                  <a:pt x="286" y="3022"/>
                </a:lnTo>
                <a:cubicBezTo>
                  <a:pt x="223" y="3022"/>
                  <a:pt x="159" y="2974"/>
                  <a:pt x="159" y="2911"/>
                </a:cubicBezTo>
                <a:lnTo>
                  <a:pt x="159" y="270"/>
                </a:lnTo>
                <a:cubicBezTo>
                  <a:pt x="159" y="207"/>
                  <a:pt x="223" y="159"/>
                  <a:pt x="286" y="159"/>
                </a:cubicBezTo>
                <a:lnTo>
                  <a:pt x="716" y="159"/>
                </a:lnTo>
                <a:cubicBezTo>
                  <a:pt x="779" y="159"/>
                  <a:pt x="827" y="207"/>
                  <a:pt x="827" y="27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7" name="Freeform: Shape 7">
            <a:extLst>
              <a:ext uri="{FF2B5EF4-FFF2-40B4-BE49-F238E27FC236}">
                <a16:creationId xmlns:a16="http://schemas.microsoft.com/office/drawing/2014/main" id="{537ECB5F-F003-A141-B967-E8E61135CF38}"/>
              </a:ext>
            </a:extLst>
          </p:cNvPr>
          <p:cNvSpPr/>
          <p:nvPr/>
        </p:nvSpPr>
        <p:spPr>
          <a:xfrm>
            <a:off x="6047050" y="6562560"/>
            <a:ext cx="1413720" cy="1270800"/>
          </a:xfrm>
          <a:custGeom>
            <a:avLst/>
            <a:gdLst/>
            <a:ahLst/>
            <a:cxnLst>
              <a:cxn ang="3cd4">
                <a:pos x="hc" y="t"/>
              </a:cxn>
              <a:cxn ang="cd2">
                <a:pos x="l" y="vc"/>
              </a:cxn>
              <a:cxn ang="cd4">
                <a:pos x="hc" y="b"/>
              </a:cxn>
              <a:cxn ang="0">
                <a:pos x="r" y="vc"/>
              </a:cxn>
            </a:cxnLst>
            <a:rect l="l" t="t" r="r" b="b"/>
            <a:pathLst>
              <a:path w="3928" h="3531">
                <a:moveTo>
                  <a:pt x="3928" y="3101"/>
                </a:moveTo>
                <a:lnTo>
                  <a:pt x="3928" y="445"/>
                </a:lnTo>
                <a:cubicBezTo>
                  <a:pt x="3928" y="191"/>
                  <a:pt x="3737" y="0"/>
                  <a:pt x="3482" y="0"/>
                </a:cubicBezTo>
                <a:lnTo>
                  <a:pt x="3037" y="0"/>
                </a:lnTo>
                <a:cubicBezTo>
                  <a:pt x="2783" y="0"/>
                  <a:pt x="2592" y="191"/>
                  <a:pt x="2592" y="445"/>
                </a:cubicBezTo>
                <a:lnTo>
                  <a:pt x="2592" y="3101"/>
                </a:lnTo>
                <a:cubicBezTo>
                  <a:pt x="2592" y="3340"/>
                  <a:pt x="2783" y="3531"/>
                  <a:pt x="3037" y="3531"/>
                </a:cubicBezTo>
                <a:lnTo>
                  <a:pt x="3482" y="3531"/>
                </a:lnTo>
                <a:cubicBezTo>
                  <a:pt x="3737" y="3531"/>
                  <a:pt x="3928" y="3340"/>
                  <a:pt x="3928" y="3101"/>
                </a:cubicBezTo>
                <a:close/>
                <a:moveTo>
                  <a:pt x="3769" y="3101"/>
                </a:moveTo>
                <a:cubicBezTo>
                  <a:pt x="3769" y="3244"/>
                  <a:pt x="3642" y="3388"/>
                  <a:pt x="3482" y="3388"/>
                </a:cubicBezTo>
                <a:lnTo>
                  <a:pt x="3037" y="3388"/>
                </a:lnTo>
                <a:cubicBezTo>
                  <a:pt x="2878" y="3388"/>
                  <a:pt x="2751" y="3244"/>
                  <a:pt x="2751" y="3101"/>
                </a:cubicBezTo>
                <a:lnTo>
                  <a:pt x="2751" y="445"/>
                </a:lnTo>
                <a:cubicBezTo>
                  <a:pt x="2751" y="286"/>
                  <a:pt x="2878" y="159"/>
                  <a:pt x="3037" y="159"/>
                </a:cubicBezTo>
                <a:lnTo>
                  <a:pt x="3482" y="159"/>
                </a:lnTo>
                <a:cubicBezTo>
                  <a:pt x="3642" y="159"/>
                  <a:pt x="3769" y="286"/>
                  <a:pt x="3769" y="445"/>
                </a:cubicBezTo>
                <a:close/>
                <a:moveTo>
                  <a:pt x="286" y="3515"/>
                </a:moveTo>
                <a:cubicBezTo>
                  <a:pt x="349" y="3515"/>
                  <a:pt x="397" y="3499"/>
                  <a:pt x="445" y="3467"/>
                </a:cubicBezTo>
                <a:cubicBezTo>
                  <a:pt x="477" y="3452"/>
                  <a:pt x="1081" y="2974"/>
                  <a:pt x="2035" y="2179"/>
                </a:cubicBezTo>
                <a:lnTo>
                  <a:pt x="2163" y="2084"/>
                </a:lnTo>
                <a:cubicBezTo>
                  <a:pt x="2258" y="2004"/>
                  <a:pt x="2321" y="1893"/>
                  <a:pt x="2321" y="1765"/>
                </a:cubicBezTo>
                <a:cubicBezTo>
                  <a:pt x="2321" y="1638"/>
                  <a:pt x="2258" y="1527"/>
                  <a:pt x="2163" y="1447"/>
                </a:cubicBezTo>
                <a:lnTo>
                  <a:pt x="2035" y="1352"/>
                </a:lnTo>
                <a:cubicBezTo>
                  <a:pt x="652" y="223"/>
                  <a:pt x="461" y="80"/>
                  <a:pt x="445" y="48"/>
                </a:cubicBezTo>
                <a:cubicBezTo>
                  <a:pt x="349" y="0"/>
                  <a:pt x="238" y="0"/>
                  <a:pt x="143" y="64"/>
                </a:cubicBezTo>
                <a:cubicBezTo>
                  <a:pt x="47" y="111"/>
                  <a:pt x="0" y="207"/>
                  <a:pt x="0" y="318"/>
                </a:cubicBezTo>
                <a:lnTo>
                  <a:pt x="0" y="3229"/>
                </a:lnTo>
                <a:cubicBezTo>
                  <a:pt x="0" y="3324"/>
                  <a:pt x="47" y="3420"/>
                  <a:pt x="143" y="3483"/>
                </a:cubicBezTo>
                <a:cubicBezTo>
                  <a:pt x="190" y="3499"/>
                  <a:pt x="238" y="3515"/>
                  <a:pt x="286" y="3515"/>
                </a:cubicBezTo>
                <a:close/>
                <a:moveTo>
                  <a:pt x="158" y="318"/>
                </a:moveTo>
                <a:cubicBezTo>
                  <a:pt x="158" y="271"/>
                  <a:pt x="174" y="223"/>
                  <a:pt x="222" y="191"/>
                </a:cubicBezTo>
                <a:cubicBezTo>
                  <a:pt x="254" y="175"/>
                  <a:pt x="270" y="175"/>
                  <a:pt x="301" y="175"/>
                </a:cubicBezTo>
                <a:cubicBezTo>
                  <a:pt x="318" y="175"/>
                  <a:pt x="333" y="175"/>
                  <a:pt x="349" y="191"/>
                </a:cubicBezTo>
                <a:cubicBezTo>
                  <a:pt x="397" y="223"/>
                  <a:pt x="1558" y="1161"/>
                  <a:pt x="1940" y="1463"/>
                </a:cubicBezTo>
                <a:lnTo>
                  <a:pt x="2067" y="1575"/>
                </a:lnTo>
                <a:cubicBezTo>
                  <a:pt x="2115" y="1622"/>
                  <a:pt x="2163" y="1686"/>
                  <a:pt x="2163" y="1765"/>
                </a:cubicBezTo>
                <a:cubicBezTo>
                  <a:pt x="2163" y="1845"/>
                  <a:pt x="2115" y="1908"/>
                  <a:pt x="2067" y="1956"/>
                </a:cubicBezTo>
                <a:lnTo>
                  <a:pt x="1940" y="2068"/>
                </a:lnTo>
                <a:cubicBezTo>
                  <a:pt x="890" y="2911"/>
                  <a:pt x="381" y="3324"/>
                  <a:pt x="365" y="3340"/>
                </a:cubicBezTo>
                <a:cubicBezTo>
                  <a:pt x="318" y="3372"/>
                  <a:pt x="270" y="3372"/>
                  <a:pt x="222" y="3340"/>
                </a:cubicBezTo>
                <a:cubicBezTo>
                  <a:pt x="174" y="3324"/>
                  <a:pt x="158" y="3277"/>
                  <a:pt x="158" y="322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8" name="Freeform: Shape 8">
            <a:extLst>
              <a:ext uri="{FF2B5EF4-FFF2-40B4-BE49-F238E27FC236}">
                <a16:creationId xmlns:a16="http://schemas.microsoft.com/office/drawing/2014/main" id="{E537C937-F364-9742-94CE-DDEDB19B6F8F}"/>
              </a:ext>
            </a:extLst>
          </p:cNvPr>
          <p:cNvSpPr/>
          <p:nvPr/>
        </p:nvSpPr>
        <p:spPr>
          <a:xfrm>
            <a:off x="2058668" y="6488040"/>
            <a:ext cx="1276560" cy="1425239"/>
          </a:xfrm>
          <a:custGeom>
            <a:avLst/>
            <a:gdLst/>
            <a:ahLst/>
            <a:cxnLst>
              <a:cxn ang="3cd4">
                <a:pos x="hc" y="t"/>
              </a:cxn>
              <a:cxn ang="cd2">
                <a:pos x="l" y="vc"/>
              </a:cxn>
              <a:cxn ang="cd4">
                <a:pos x="hc" y="b"/>
              </a:cxn>
              <a:cxn ang="0">
                <a:pos x="r" y="vc"/>
              </a:cxn>
            </a:cxnLst>
            <a:rect l="l" t="t" r="r" b="b"/>
            <a:pathLst>
              <a:path w="3547" h="3960">
                <a:moveTo>
                  <a:pt x="3547" y="3515"/>
                </a:moveTo>
                <a:lnTo>
                  <a:pt x="3547" y="3054"/>
                </a:lnTo>
                <a:cubicBezTo>
                  <a:pt x="3547" y="2815"/>
                  <a:pt x="3356" y="2609"/>
                  <a:pt x="3102" y="2609"/>
                </a:cubicBezTo>
                <a:lnTo>
                  <a:pt x="446" y="2609"/>
                </a:lnTo>
                <a:cubicBezTo>
                  <a:pt x="207" y="2609"/>
                  <a:pt x="0" y="2815"/>
                  <a:pt x="0" y="3054"/>
                </a:cubicBezTo>
                <a:lnTo>
                  <a:pt x="0" y="3515"/>
                </a:lnTo>
                <a:cubicBezTo>
                  <a:pt x="0" y="3754"/>
                  <a:pt x="207" y="3960"/>
                  <a:pt x="446" y="3960"/>
                </a:cubicBezTo>
                <a:lnTo>
                  <a:pt x="3102" y="3960"/>
                </a:lnTo>
                <a:cubicBezTo>
                  <a:pt x="3356" y="3960"/>
                  <a:pt x="3547" y="3754"/>
                  <a:pt x="3547" y="3515"/>
                </a:cubicBezTo>
                <a:close/>
                <a:moveTo>
                  <a:pt x="3388" y="3515"/>
                </a:moveTo>
                <a:cubicBezTo>
                  <a:pt x="3388" y="3674"/>
                  <a:pt x="3261" y="3802"/>
                  <a:pt x="3102" y="3802"/>
                </a:cubicBezTo>
                <a:lnTo>
                  <a:pt x="446" y="3802"/>
                </a:lnTo>
                <a:cubicBezTo>
                  <a:pt x="303" y="3802"/>
                  <a:pt x="159" y="3674"/>
                  <a:pt x="159" y="3515"/>
                </a:cubicBezTo>
                <a:lnTo>
                  <a:pt x="159" y="3054"/>
                </a:lnTo>
                <a:cubicBezTo>
                  <a:pt x="159" y="2895"/>
                  <a:pt x="303" y="2768"/>
                  <a:pt x="446" y="2768"/>
                </a:cubicBezTo>
                <a:lnTo>
                  <a:pt x="3102" y="2768"/>
                </a:lnTo>
                <a:cubicBezTo>
                  <a:pt x="3261" y="2768"/>
                  <a:pt x="3388" y="2895"/>
                  <a:pt x="3388" y="3054"/>
                </a:cubicBezTo>
                <a:close/>
                <a:moveTo>
                  <a:pt x="2148" y="191"/>
                </a:moveTo>
                <a:lnTo>
                  <a:pt x="2100" y="143"/>
                </a:lnTo>
                <a:cubicBezTo>
                  <a:pt x="2020" y="48"/>
                  <a:pt x="1909" y="0"/>
                  <a:pt x="1782" y="0"/>
                </a:cubicBezTo>
                <a:cubicBezTo>
                  <a:pt x="1654" y="0"/>
                  <a:pt x="1543" y="48"/>
                  <a:pt x="1464" y="143"/>
                </a:cubicBezTo>
                <a:lnTo>
                  <a:pt x="1416" y="191"/>
                </a:lnTo>
                <a:cubicBezTo>
                  <a:pt x="541" y="1273"/>
                  <a:pt x="112" y="1814"/>
                  <a:pt x="64" y="1861"/>
                </a:cubicBezTo>
                <a:cubicBezTo>
                  <a:pt x="16" y="1957"/>
                  <a:pt x="16" y="2068"/>
                  <a:pt x="64" y="2163"/>
                </a:cubicBezTo>
                <a:cubicBezTo>
                  <a:pt x="128" y="2259"/>
                  <a:pt x="223" y="2306"/>
                  <a:pt x="318" y="2306"/>
                </a:cubicBezTo>
                <a:lnTo>
                  <a:pt x="3229" y="2306"/>
                </a:lnTo>
                <a:cubicBezTo>
                  <a:pt x="3340" y="2306"/>
                  <a:pt x="3436" y="2259"/>
                  <a:pt x="3484" y="2163"/>
                </a:cubicBezTo>
                <a:cubicBezTo>
                  <a:pt x="3547" y="2068"/>
                  <a:pt x="3547" y="1957"/>
                  <a:pt x="3484" y="1861"/>
                </a:cubicBezTo>
                <a:cubicBezTo>
                  <a:pt x="3467" y="1845"/>
                  <a:pt x="3293" y="1607"/>
                  <a:pt x="2148" y="191"/>
                </a:cubicBezTo>
                <a:close/>
                <a:moveTo>
                  <a:pt x="3356" y="2084"/>
                </a:moveTo>
                <a:cubicBezTo>
                  <a:pt x="3324" y="2132"/>
                  <a:pt x="3276" y="2148"/>
                  <a:pt x="3229" y="2148"/>
                </a:cubicBezTo>
                <a:lnTo>
                  <a:pt x="318" y="2148"/>
                </a:lnTo>
                <a:cubicBezTo>
                  <a:pt x="271" y="2148"/>
                  <a:pt x="223" y="2132"/>
                  <a:pt x="207" y="2084"/>
                </a:cubicBezTo>
                <a:cubicBezTo>
                  <a:pt x="175" y="2036"/>
                  <a:pt x="175" y="1988"/>
                  <a:pt x="191" y="1957"/>
                </a:cubicBezTo>
                <a:cubicBezTo>
                  <a:pt x="223" y="1909"/>
                  <a:pt x="684" y="1352"/>
                  <a:pt x="1543" y="303"/>
                </a:cubicBezTo>
                <a:lnTo>
                  <a:pt x="1591" y="239"/>
                </a:lnTo>
                <a:cubicBezTo>
                  <a:pt x="1686" y="127"/>
                  <a:pt x="1877" y="127"/>
                  <a:pt x="1972" y="239"/>
                </a:cubicBezTo>
                <a:lnTo>
                  <a:pt x="2020" y="303"/>
                </a:lnTo>
                <a:cubicBezTo>
                  <a:pt x="3165" y="1702"/>
                  <a:pt x="2911" y="1395"/>
                  <a:pt x="3356" y="1941"/>
                </a:cubicBezTo>
                <a:cubicBezTo>
                  <a:pt x="3372" y="1988"/>
                  <a:pt x="3372" y="2036"/>
                  <a:pt x="3356" y="208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39" name="Freeform: Shape 9">
            <a:extLst>
              <a:ext uri="{FF2B5EF4-FFF2-40B4-BE49-F238E27FC236}">
                <a16:creationId xmlns:a16="http://schemas.microsoft.com/office/drawing/2014/main" id="{672E8259-D147-1F4E-8BF0-375CC2E8E462}"/>
              </a:ext>
            </a:extLst>
          </p:cNvPr>
          <p:cNvSpPr/>
          <p:nvPr/>
        </p:nvSpPr>
        <p:spPr>
          <a:xfrm>
            <a:off x="6275544" y="9654969"/>
            <a:ext cx="1270800" cy="1940760"/>
          </a:xfrm>
          <a:custGeom>
            <a:avLst/>
            <a:gdLst/>
            <a:ahLst/>
            <a:cxnLst>
              <a:cxn ang="3cd4">
                <a:pos x="hc" y="t"/>
              </a:cxn>
              <a:cxn ang="cd2">
                <a:pos x="l" y="vc"/>
              </a:cxn>
              <a:cxn ang="cd4">
                <a:pos x="hc" y="b"/>
              </a:cxn>
              <a:cxn ang="0">
                <a:pos x="r" y="vc"/>
              </a:cxn>
            </a:cxnLst>
            <a:rect l="l" t="t" r="r" b="b"/>
            <a:pathLst>
              <a:path w="3531" h="5392">
                <a:moveTo>
                  <a:pt x="875" y="875"/>
                </a:moveTo>
                <a:lnTo>
                  <a:pt x="875" y="2481"/>
                </a:lnTo>
                <a:cubicBezTo>
                  <a:pt x="875" y="2958"/>
                  <a:pt x="1289" y="3356"/>
                  <a:pt x="1765" y="3356"/>
                </a:cubicBezTo>
                <a:cubicBezTo>
                  <a:pt x="2243" y="3356"/>
                  <a:pt x="2640" y="2958"/>
                  <a:pt x="2640" y="2481"/>
                </a:cubicBezTo>
                <a:lnTo>
                  <a:pt x="2640" y="875"/>
                </a:lnTo>
                <a:cubicBezTo>
                  <a:pt x="2640" y="398"/>
                  <a:pt x="2227" y="0"/>
                  <a:pt x="1750" y="0"/>
                </a:cubicBezTo>
                <a:cubicBezTo>
                  <a:pt x="1272" y="0"/>
                  <a:pt x="875" y="398"/>
                  <a:pt x="875" y="875"/>
                </a:cubicBezTo>
                <a:close/>
                <a:moveTo>
                  <a:pt x="2481" y="875"/>
                </a:moveTo>
                <a:lnTo>
                  <a:pt x="2481" y="2481"/>
                </a:lnTo>
                <a:cubicBezTo>
                  <a:pt x="2481" y="2879"/>
                  <a:pt x="2163" y="3197"/>
                  <a:pt x="1765" y="3197"/>
                </a:cubicBezTo>
                <a:cubicBezTo>
                  <a:pt x="1368" y="3197"/>
                  <a:pt x="1034" y="2863"/>
                  <a:pt x="1034" y="2481"/>
                </a:cubicBezTo>
                <a:lnTo>
                  <a:pt x="1034" y="875"/>
                </a:lnTo>
                <a:cubicBezTo>
                  <a:pt x="1034" y="477"/>
                  <a:pt x="1352" y="159"/>
                  <a:pt x="1750" y="159"/>
                </a:cubicBezTo>
                <a:cubicBezTo>
                  <a:pt x="2147" y="159"/>
                  <a:pt x="2481" y="493"/>
                  <a:pt x="2481" y="875"/>
                </a:cubicBezTo>
                <a:close/>
                <a:moveTo>
                  <a:pt x="239" y="1893"/>
                </a:moveTo>
                <a:cubicBezTo>
                  <a:pt x="111" y="1893"/>
                  <a:pt x="0" y="2004"/>
                  <a:pt x="0" y="2131"/>
                </a:cubicBezTo>
                <a:lnTo>
                  <a:pt x="0" y="2529"/>
                </a:lnTo>
                <a:cubicBezTo>
                  <a:pt x="0" y="3356"/>
                  <a:pt x="557" y="4056"/>
                  <a:pt x="1368" y="4230"/>
                </a:cubicBezTo>
                <a:cubicBezTo>
                  <a:pt x="1447" y="4263"/>
                  <a:pt x="1511" y="4342"/>
                  <a:pt x="1511" y="4421"/>
                </a:cubicBezTo>
                <a:lnTo>
                  <a:pt x="1511" y="4628"/>
                </a:lnTo>
                <a:cubicBezTo>
                  <a:pt x="1511" y="4724"/>
                  <a:pt x="1432" y="4819"/>
                  <a:pt x="1336" y="4819"/>
                </a:cubicBezTo>
                <a:cubicBezTo>
                  <a:pt x="1289" y="4835"/>
                  <a:pt x="1241" y="4835"/>
                  <a:pt x="1209" y="4851"/>
                </a:cubicBezTo>
                <a:cubicBezTo>
                  <a:pt x="970" y="4867"/>
                  <a:pt x="732" y="4899"/>
                  <a:pt x="732" y="5137"/>
                </a:cubicBezTo>
                <a:cubicBezTo>
                  <a:pt x="732" y="5248"/>
                  <a:pt x="827" y="5392"/>
                  <a:pt x="1002" y="5392"/>
                </a:cubicBezTo>
                <a:lnTo>
                  <a:pt x="2529" y="5392"/>
                </a:lnTo>
                <a:cubicBezTo>
                  <a:pt x="2704" y="5392"/>
                  <a:pt x="2783" y="5248"/>
                  <a:pt x="2783" y="5137"/>
                </a:cubicBezTo>
                <a:cubicBezTo>
                  <a:pt x="2783" y="4899"/>
                  <a:pt x="2561" y="4883"/>
                  <a:pt x="2290" y="4835"/>
                </a:cubicBezTo>
                <a:cubicBezTo>
                  <a:pt x="2259" y="4835"/>
                  <a:pt x="2227" y="4835"/>
                  <a:pt x="2179" y="4819"/>
                </a:cubicBezTo>
                <a:cubicBezTo>
                  <a:pt x="2084" y="4819"/>
                  <a:pt x="2020" y="4724"/>
                  <a:pt x="2020" y="4628"/>
                </a:cubicBezTo>
                <a:lnTo>
                  <a:pt x="2020" y="4438"/>
                </a:lnTo>
                <a:cubicBezTo>
                  <a:pt x="2020" y="4342"/>
                  <a:pt x="2084" y="4263"/>
                  <a:pt x="2163" y="4247"/>
                </a:cubicBezTo>
                <a:cubicBezTo>
                  <a:pt x="2958" y="4072"/>
                  <a:pt x="3531" y="3340"/>
                  <a:pt x="3531" y="2529"/>
                </a:cubicBezTo>
                <a:lnTo>
                  <a:pt x="3531" y="2131"/>
                </a:lnTo>
                <a:cubicBezTo>
                  <a:pt x="3531" y="2004"/>
                  <a:pt x="3404" y="1893"/>
                  <a:pt x="3277" y="1893"/>
                </a:cubicBezTo>
                <a:cubicBezTo>
                  <a:pt x="3134" y="1893"/>
                  <a:pt x="3022" y="2004"/>
                  <a:pt x="3022" y="2131"/>
                </a:cubicBezTo>
                <a:lnTo>
                  <a:pt x="3022" y="2497"/>
                </a:lnTo>
                <a:cubicBezTo>
                  <a:pt x="3022" y="3213"/>
                  <a:pt x="2465" y="3785"/>
                  <a:pt x="1781" y="3785"/>
                </a:cubicBezTo>
                <a:cubicBezTo>
                  <a:pt x="1081" y="3785"/>
                  <a:pt x="493" y="3213"/>
                  <a:pt x="493" y="2529"/>
                </a:cubicBezTo>
                <a:lnTo>
                  <a:pt x="493" y="2131"/>
                </a:lnTo>
                <a:cubicBezTo>
                  <a:pt x="493" y="2004"/>
                  <a:pt x="382" y="1893"/>
                  <a:pt x="239" y="1893"/>
                </a:cubicBezTo>
                <a:close/>
                <a:moveTo>
                  <a:pt x="1781" y="3944"/>
                </a:moveTo>
                <a:cubicBezTo>
                  <a:pt x="2561" y="3944"/>
                  <a:pt x="3181" y="3292"/>
                  <a:pt x="3181" y="2497"/>
                </a:cubicBezTo>
                <a:lnTo>
                  <a:pt x="3181" y="2131"/>
                </a:lnTo>
                <a:cubicBezTo>
                  <a:pt x="3181" y="2084"/>
                  <a:pt x="3229" y="2052"/>
                  <a:pt x="3277" y="2052"/>
                </a:cubicBezTo>
                <a:cubicBezTo>
                  <a:pt x="3324" y="2052"/>
                  <a:pt x="3372" y="2084"/>
                  <a:pt x="3372" y="2131"/>
                </a:cubicBezTo>
                <a:lnTo>
                  <a:pt x="3372" y="2529"/>
                </a:lnTo>
                <a:cubicBezTo>
                  <a:pt x="3372" y="3276"/>
                  <a:pt x="2847" y="3929"/>
                  <a:pt x="2131" y="4087"/>
                </a:cubicBezTo>
                <a:cubicBezTo>
                  <a:pt x="1972" y="4120"/>
                  <a:pt x="1861" y="4263"/>
                  <a:pt x="1861" y="4438"/>
                </a:cubicBezTo>
                <a:lnTo>
                  <a:pt x="1861" y="4628"/>
                </a:lnTo>
                <a:cubicBezTo>
                  <a:pt x="1861" y="4803"/>
                  <a:pt x="1988" y="4962"/>
                  <a:pt x="2163" y="4978"/>
                </a:cubicBezTo>
                <a:cubicBezTo>
                  <a:pt x="2195" y="4994"/>
                  <a:pt x="2243" y="4994"/>
                  <a:pt x="2290" y="4994"/>
                </a:cubicBezTo>
                <a:cubicBezTo>
                  <a:pt x="2545" y="5042"/>
                  <a:pt x="2625" y="5058"/>
                  <a:pt x="2625" y="5137"/>
                </a:cubicBezTo>
                <a:cubicBezTo>
                  <a:pt x="2593" y="5169"/>
                  <a:pt x="2608" y="5233"/>
                  <a:pt x="2529" y="5233"/>
                </a:cubicBezTo>
                <a:lnTo>
                  <a:pt x="1002" y="5233"/>
                </a:lnTo>
                <a:cubicBezTo>
                  <a:pt x="907" y="5233"/>
                  <a:pt x="928" y="5169"/>
                  <a:pt x="891" y="5137"/>
                </a:cubicBezTo>
                <a:cubicBezTo>
                  <a:pt x="891" y="5058"/>
                  <a:pt x="970" y="5042"/>
                  <a:pt x="1225" y="4994"/>
                </a:cubicBezTo>
                <a:cubicBezTo>
                  <a:pt x="1272" y="4994"/>
                  <a:pt x="1304" y="4994"/>
                  <a:pt x="1352" y="4978"/>
                </a:cubicBezTo>
                <a:cubicBezTo>
                  <a:pt x="1527" y="4962"/>
                  <a:pt x="1670" y="4803"/>
                  <a:pt x="1670" y="4628"/>
                </a:cubicBezTo>
                <a:lnTo>
                  <a:pt x="1670" y="4421"/>
                </a:lnTo>
                <a:cubicBezTo>
                  <a:pt x="1670" y="4263"/>
                  <a:pt x="1559" y="4120"/>
                  <a:pt x="1400" y="4087"/>
                </a:cubicBezTo>
                <a:cubicBezTo>
                  <a:pt x="668" y="3912"/>
                  <a:pt x="159" y="3276"/>
                  <a:pt x="159" y="2529"/>
                </a:cubicBezTo>
                <a:lnTo>
                  <a:pt x="159" y="2131"/>
                </a:lnTo>
                <a:cubicBezTo>
                  <a:pt x="159" y="2084"/>
                  <a:pt x="191" y="2052"/>
                  <a:pt x="239" y="2052"/>
                </a:cubicBezTo>
                <a:cubicBezTo>
                  <a:pt x="286" y="2052"/>
                  <a:pt x="334" y="2084"/>
                  <a:pt x="334" y="2131"/>
                </a:cubicBezTo>
                <a:lnTo>
                  <a:pt x="334" y="2529"/>
                </a:lnTo>
                <a:cubicBezTo>
                  <a:pt x="334" y="3308"/>
                  <a:pt x="986" y="3944"/>
                  <a:pt x="1781" y="394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0" name="Freeform: Shape 10">
            <a:extLst>
              <a:ext uri="{FF2B5EF4-FFF2-40B4-BE49-F238E27FC236}">
                <a16:creationId xmlns:a16="http://schemas.microsoft.com/office/drawing/2014/main" id="{5463EA6C-7AE5-074F-BB1F-72CFEE0AA066}"/>
              </a:ext>
            </a:extLst>
          </p:cNvPr>
          <p:cNvSpPr/>
          <p:nvPr/>
        </p:nvSpPr>
        <p:spPr>
          <a:xfrm>
            <a:off x="10239836" y="6400559"/>
            <a:ext cx="1139040" cy="1593000"/>
          </a:xfrm>
          <a:custGeom>
            <a:avLst/>
            <a:gdLst/>
            <a:ahLst/>
            <a:cxnLst>
              <a:cxn ang="3cd4">
                <a:pos x="hc" y="t"/>
              </a:cxn>
              <a:cxn ang="cd2">
                <a:pos x="l" y="vc"/>
              </a:cxn>
              <a:cxn ang="cd4">
                <a:pos x="hc" y="b"/>
              </a:cxn>
              <a:cxn ang="0">
                <a:pos x="r" y="vc"/>
              </a:cxn>
            </a:cxnLst>
            <a:rect l="l" t="t" r="r" b="b"/>
            <a:pathLst>
              <a:path w="3165" h="4426">
                <a:moveTo>
                  <a:pt x="1081" y="3090"/>
                </a:moveTo>
                <a:cubicBezTo>
                  <a:pt x="1097" y="3106"/>
                  <a:pt x="1097" y="3106"/>
                  <a:pt x="1097" y="3106"/>
                </a:cubicBezTo>
                <a:cubicBezTo>
                  <a:pt x="2751" y="4379"/>
                  <a:pt x="2751" y="4379"/>
                  <a:pt x="2751" y="4379"/>
                </a:cubicBezTo>
                <a:cubicBezTo>
                  <a:pt x="2799" y="4411"/>
                  <a:pt x="2847" y="4426"/>
                  <a:pt x="2911" y="4426"/>
                </a:cubicBezTo>
                <a:cubicBezTo>
                  <a:pt x="2942" y="4426"/>
                  <a:pt x="2990" y="4426"/>
                  <a:pt x="3022" y="4411"/>
                </a:cubicBezTo>
                <a:cubicBezTo>
                  <a:pt x="3117" y="4363"/>
                  <a:pt x="3165" y="4267"/>
                  <a:pt x="3165" y="4172"/>
                </a:cubicBezTo>
                <a:cubicBezTo>
                  <a:pt x="3165" y="259"/>
                  <a:pt x="3165" y="259"/>
                  <a:pt x="3165" y="259"/>
                </a:cubicBezTo>
                <a:cubicBezTo>
                  <a:pt x="3165" y="164"/>
                  <a:pt x="3117" y="68"/>
                  <a:pt x="3022" y="21"/>
                </a:cubicBezTo>
                <a:cubicBezTo>
                  <a:pt x="2942" y="-11"/>
                  <a:pt x="2831" y="-11"/>
                  <a:pt x="2751" y="52"/>
                </a:cubicBezTo>
                <a:cubicBezTo>
                  <a:pt x="1097" y="1325"/>
                  <a:pt x="1097" y="1325"/>
                  <a:pt x="1097" y="1325"/>
                </a:cubicBezTo>
                <a:lnTo>
                  <a:pt x="1081" y="1341"/>
                </a:lnTo>
                <a:cubicBezTo>
                  <a:pt x="509" y="1341"/>
                  <a:pt x="509" y="1341"/>
                  <a:pt x="509" y="1341"/>
                </a:cubicBezTo>
                <a:cubicBezTo>
                  <a:pt x="223" y="1341"/>
                  <a:pt x="0" y="1595"/>
                  <a:pt x="0" y="1929"/>
                </a:cubicBezTo>
                <a:cubicBezTo>
                  <a:pt x="0" y="2518"/>
                  <a:pt x="0" y="2518"/>
                  <a:pt x="0" y="2518"/>
                </a:cubicBezTo>
                <a:cubicBezTo>
                  <a:pt x="0" y="2836"/>
                  <a:pt x="223" y="3090"/>
                  <a:pt x="509" y="3090"/>
                </a:cubicBezTo>
                <a:close/>
                <a:moveTo>
                  <a:pt x="159" y="2518"/>
                </a:moveTo>
                <a:cubicBezTo>
                  <a:pt x="159" y="1929"/>
                  <a:pt x="159" y="1929"/>
                  <a:pt x="159" y="1929"/>
                </a:cubicBezTo>
                <a:cubicBezTo>
                  <a:pt x="159" y="1691"/>
                  <a:pt x="318" y="1500"/>
                  <a:pt x="509" y="1500"/>
                </a:cubicBezTo>
                <a:cubicBezTo>
                  <a:pt x="1145" y="1500"/>
                  <a:pt x="1145" y="1500"/>
                  <a:pt x="1145" y="1500"/>
                </a:cubicBezTo>
                <a:cubicBezTo>
                  <a:pt x="1193" y="1500"/>
                  <a:pt x="1224" y="1468"/>
                  <a:pt x="1224" y="1420"/>
                </a:cubicBezTo>
                <a:cubicBezTo>
                  <a:pt x="2847" y="180"/>
                  <a:pt x="2847" y="180"/>
                  <a:pt x="2847" y="180"/>
                </a:cubicBezTo>
                <a:cubicBezTo>
                  <a:pt x="2879" y="164"/>
                  <a:pt x="2926" y="148"/>
                  <a:pt x="2958" y="164"/>
                </a:cubicBezTo>
                <a:cubicBezTo>
                  <a:pt x="2990" y="195"/>
                  <a:pt x="3022" y="227"/>
                  <a:pt x="3022" y="259"/>
                </a:cubicBezTo>
                <a:cubicBezTo>
                  <a:pt x="3022" y="4172"/>
                  <a:pt x="3022" y="4172"/>
                  <a:pt x="3022" y="4172"/>
                </a:cubicBezTo>
                <a:cubicBezTo>
                  <a:pt x="3022" y="4203"/>
                  <a:pt x="2990" y="4251"/>
                  <a:pt x="2958" y="4267"/>
                </a:cubicBezTo>
                <a:cubicBezTo>
                  <a:pt x="2926" y="4283"/>
                  <a:pt x="2879" y="4283"/>
                  <a:pt x="2847" y="4251"/>
                </a:cubicBezTo>
                <a:cubicBezTo>
                  <a:pt x="1224" y="3011"/>
                  <a:pt x="1224" y="3011"/>
                  <a:pt x="1224" y="3011"/>
                </a:cubicBezTo>
                <a:cubicBezTo>
                  <a:pt x="1224" y="2963"/>
                  <a:pt x="1193" y="2931"/>
                  <a:pt x="1145" y="2931"/>
                </a:cubicBezTo>
                <a:cubicBezTo>
                  <a:pt x="509" y="2931"/>
                  <a:pt x="509" y="2931"/>
                  <a:pt x="509" y="2931"/>
                </a:cubicBezTo>
                <a:cubicBezTo>
                  <a:pt x="318" y="2931"/>
                  <a:pt x="159" y="2740"/>
                  <a:pt x="159" y="251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1" name="Freeform: Shape 11">
            <a:extLst>
              <a:ext uri="{FF2B5EF4-FFF2-40B4-BE49-F238E27FC236}">
                <a16:creationId xmlns:a16="http://schemas.microsoft.com/office/drawing/2014/main" id="{6E55097F-EAA0-B540-9D93-29C4549F0A7D}"/>
              </a:ext>
            </a:extLst>
          </p:cNvPr>
          <p:cNvSpPr/>
          <p:nvPr/>
        </p:nvSpPr>
        <p:spPr>
          <a:xfrm>
            <a:off x="14250822" y="6391920"/>
            <a:ext cx="1438199" cy="1613160"/>
          </a:xfrm>
          <a:custGeom>
            <a:avLst/>
            <a:gdLst/>
            <a:ahLst/>
            <a:cxnLst>
              <a:cxn ang="3cd4">
                <a:pos x="hc" y="t"/>
              </a:cxn>
              <a:cxn ang="cd2">
                <a:pos x="l" y="vc"/>
              </a:cxn>
              <a:cxn ang="cd4">
                <a:pos x="hc" y="b"/>
              </a:cxn>
              <a:cxn ang="0">
                <a:pos x="r" y="vc"/>
              </a:cxn>
            </a:cxnLst>
            <a:rect l="l" t="t" r="r" b="b"/>
            <a:pathLst>
              <a:path w="3996" h="4482">
                <a:moveTo>
                  <a:pt x="3054" y="29"/>
                </a:moveTo>
                <a:cubicBezTo>
                  <a:pt x="2958" y="-19"/>
                  <a:pt x="2863" y="-3"/>
                  <a:pt x="2799" y="45"/>
                </a:cubicBezTo>
                <a:cubicBezTo>
                  <a:pt x="1113" y="1349"/>
                  <a:pt x="1113" y="1349"/>
                  <a:pt x="1113" y="1349"/>
                </a:cubicBezTo>
                <a:cubicBezTo>
                  <a:pt x="1097" y="1349"/>
                  <a:pt x="1097" y="1349"/>
                  <a:pt x="1097" y="1365"/>
                </a:cubicBezTo>
                <a:cubicBezTo>
                  <a:pt x="509" y="1365"/>
                  <a:pt x="509" y="1365"/>
                  <a:pt x="509" y="1365"/>
                </a:cubicBezTo>
                <a:cubicBezTo>
                  <a:pt x="239" y="1365"/>
                  <a:pt x="0" y="1619"/>
                  <a:pt x="0" y="1953"/>
                </a:cubicBezTo>
                <a:cubicBezTo>
                  <a:pt x="0" y="2542"/>
                  <a:pt x="0" y="2542"/>
                  <a:pt x="0" y="2542"/>
                </a:cubicBezTo>
                <a:cubicBezTo>
                  <a:pt x="0" y="2860"/>
                  <a:pt x="239" y="3114"/>
                  <a:pt x="509" y="3114"/>
                </a:cubicBezTo>
                <a:cubicBezTo>
                  <a:pt x="764" y="3114"/>
                  <a:pt x="764" y="3114"/>
                  <a:pt x="764" y="3114"/>
                </a:cubicBezTo>
                <a:cubicBezTo>
                  <a:pt x="143" y="3735"/>
                  <a:pt x="143" y="3735"/>
                  <a:pt x="143" y="3735"/>
                </a:cubicBezTo>
                <a:cubicBezTo>
                  <a:pt x="95" y="3782"/>
                  <a:pt x="64" y="3846"/>
                  <a:pt x="64" y="3926"/>
                </a:cubicBezTo>
                <a:cubicBezTo>
                  <a:pt x="64" y="4005"/>
                  <a:pt x="95" y="4069"/>
                  <a:pt x="143" y="4132"/>
                </a:cubicBezTo>
                <a:cubicBezTo>
                  <a:pt x="207" y="4180"/>
                  <a:pt x="270" y="4212"/>
                  <a:pt x="350" y="4212"/>
                </a:cubicBezTo>
                <a:cubicBezTo>
                  <a:pt x="413" y="4212"/>
                  <a:pt x="493" y="4180"/>
                  <a:pt x="541" y="4132"/>
                </a:cubicBezTo>
                <a:cubicBezTo>
                  <a:pt x="1352" y="3321"/>
                  <a:pt x="1352" y="3321"/>
                  <a:pt x="1352" y="3321"/>
                </a:cubicBezTo>
                <a:cubicBezTo>
                  <a:pt x="2799" y="4435"/>
                  <a:pt x="2799" y="4435"/>
                  <a:pt x="2799" y="4435"/>
                </a:cubicBezTo>
                <a:cubicBezTo>
                  <a:pt x="2831" y="4466"/>
                  <a:pt x="2895" y="4482"/>
                  <a:pt x="2942" y="4482"/>
                </a:cubicBezTo>
                <a:cubicBezTo>
                  <a:pt x="2974" y="4482"/>
                  <a:pt x="3006" y="4466"/>
                  <a:pt x="3054" y="4450"/>
                </a:cubicBezTo>
                <a:cubicBezTo>
                  <a:pt x="3133" y="4418"/>
                  <a:pt x="3181" y="4339"/>
                  <a:pt x="3181" y="4244"/>
                </a:cubicBezTo>
                <a:cubicBezTo>
                  <a:pt x="3181" y="1492"/>
                  <a:pt x="3181" y="1492"/>
                  <a:pt x="3181" y="1492"/>
                </a:cubicBezTo>
                <a:cubicBezTo>
                  <a:pt x="3912" y="745"/>
                  <a:pt x="3912" y="745"/>
                  <a:pt x="3912" y="745"/>
                </a:cubicBezTo>
                <a:cubicBezTo>
                  <a:pt x="4024" y="649"/>
                  <a:pt x="4024" y="458"/>
                  <a:pt x="3912" y="363"/>
                </a:cubicBezTo>
                <a:cubicBezTo>
                  <a:pt x="3865" y="299"/>
                  <a:pt x="3802" y="267"/>
                  <a:pt x="3722" y="267"/>
                </a:cubicBezTo>
                <a:cubicBezTo>
                  <a:pt x="3642" y="267"/>
                  <a:pt x="3579" y="299"/>
                  <a:pt x="3515" y="363"/>
                </a:cubicBezTo>
                <a:cubicBezTo>
                  <a:pt x="3181" y="697"/>
                  <a:pt x="3181" y="697"/>
                  <a:pt x="3181" y="697"/>
                </a:cubicBezTo>
                <a:cubicBezTo>
                  <a:pt x="3181" y="236"/>
                  <a:pt x="3181" y="236"/>
                  <a:pt x="3181" y="236"/>
                </a:cubicBezTo>
                <a:cubicBezTo>
                  <a:pt x="3181" y="140"/>
                  <a:pt x="3133" y="61"/>
                  <a:pt x="3054" y="29"/>
                </a:cubicBezTo>
                <a:close/>
                <a:moveTo>
                  <a:pt x="509" y="2955"/>
                </a:moveTo>
                <a:cubicBezTo>
                  <a:pt x="318" y="2955"/>
                  <a:pt x="159" y="2764"/>
                  <a:pt x="159" y="2542"/>
                </a:cubicBezTo>
                <a:cubicBezTo>
                  <a:pt x="159" y="1953"/>
                  <a:pt x="159" y="1953"/>
                  <a:pt x="159" y="1953"/>
                </a:cubicBezTo>
                <a:cubicBezTo>
                  <a:pt x="159" y="1715"/>
                  <a:pt x="318" y="1524"/>
                  <a:pt x="509" y="1524"/>
                </a:cubicBezTo>
                <a:cubicBezTo>
                  <a:pt x="1161" y="1524"/>
                  <a:pt x="1161" y="1524"/>
                  <a:pt x="1161" y="1524"/>
                </a:cubicBezTo>
                <a:cubicBezTo>
                  <a:pt x="1193" y="1524"/>
                  <a:pt x="1225" y="1492"/>
                  <a:pt x="1240" y="1444"/>
                </a:cubicBezTo>
                <a:cubicBezTo>
                  <a:pt x="2895" y="172"/>
                  <a:pt x="2895" y="172"/>
                  <a:pt x="2895" y="172"/>
                </a:cubicBezTo>
                <a:cubicBezTo>
                  <a:pt x="2911" y="156"/>
                  <a:pt x="2942" y="156"/>
                  <a:pt x="2974" y="172"/>
                </a:cubicBezTo>
                <a:cubicBezTo>
                  <a:pt x="3006" y="188"/>
                  <a:pt x="3022" y="204"/>
                  <a:pt x="3022" y="236"/>
                </a:cubicBezTo>
                <a:cubicBezTo>
                  <a:pt x="3022" y="856"/>
                  <a:pt x="3022" y="856"/>
                  <a:pt x="3022" y="856"/>
                </a:cubicBezTo>
                <a:cubicBezTo>
                  <a:pt x="907" y="2955"/>
                  <a:pt x="907" y="2955"/>
                  <a:pt x="907" y="2955"/>
                </a:cubicBezTo>
                <a:close/>
                <a:moveTo>
                  <a:pt x="3022" y="4244"/>
                </a:moveTo>
                <a:cubicBezTo>
                  <a:pt x="3022" y="4275"/>
                  <a:pt x="3006" y="4307"/>
                  <a:pt x="2974" y="4307"/>
                </a:cubicBezTo>
                <a:cubicBezTo>
                  <a:pt x="2942" y="4323"/>
                  <a:pt x="2911" y="4323"/>
                  <a:pt x="2895" y="4307"/>
                </a:cubicBezTo>
                <a:cubicBezTo>
                  <a:pt x="1463" y="3210"/>
                  <a:pt x="1463" y="3210"/>
                  <a:pt x="1463" y="3210"/>
                </a:cubicBezTo>
                <a:cubicBezTo>
                  <a:pt x="3022" y="1651"/>
                  <a:pt x="3022" y="1651"/>
                  <a:pt x="3022" y="1651"/>
                </a:cubicBezTo>
                <a:close/>
                <a:moveTo>
                  <a:pt x="3642" y="474"/>
                </a:moveTo>
                <a:cubicBezTo>
                  <a:pt x="3674" y="427"/>
                  <a:pt x="3754" y="427"/>
                  <a:pt x="3802" y="474"/>
                </a:cubicBezTo>
                <a:cubicBezTo>
                  <a:pt x="3849" y="522"/>
                  <a:pt x="3849" y="585"/>
                  <a:pt x="3802" y="633"/>
                </a:cubicBezTo>
                <a:cubicBezTo>
                  <a:pt x="1288" y="3162"/>
                  <a:pt x="1288" y="3162"/>
                  <a:pt x="1288" y="3162"/>
                </a:cubicBezTo>
                <a:cubicBezTo>
                  <a:pt x="430" y="4021"/>
                  <a:pt x="430" y="4021"/>
                  <a:pt x="430" y="4021"/>
                </a:cubicBezTo>
                <a:cubicBezTo>
                  <a:pt x="382" y="4069"/>
                  <a:pt x="302" y="4069"/>
                  <a:pt x="255" y="4021"/>
                </a:cubicBezTo>
                <a:cubicBezTo>
                  <a:pt x="239" y="3989"/>
                  <a:pt x="223" y="3957"/>
                  <a:pt x="223" y="3926"/>
                </a:cubicBezTo>
                <a:cubicBezTo>
                  <a:pt x="223" y="3894"/>
                  <a:pt x="239" y="3862"/>
                  <a:pt x="255" y="384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2" name="Freeform: Shape 12">
            <a:extLst>
              <a:ext uri="{FF2B5EF4-FFF2-40B4-BE49-F238E27FC236}">
                <a16:creationId xmlns:a16="http://schemas.microsoft.com/office/drawing/2014/main" id="{10CAD929-19FE-0242-88BA-9EBC9546771C}"/>
              </a:ext>
            </a:extLst>
          </p:cNvPr>
          <p:cNvSpPr/>
          <p:nvPr/>
        </p:nvSpPr>
        <p:spPr>
          <a:xfrm>
            <a:off x="21061175" y="9828129"/>
            <a:ext cx="1818719" cy="1595880"/>
          </a:xfrm>
          <a:custGeom>
            <a:avLst/>
            <a:gdLst/>
            <a:ahLst/>
            <a:cxnLst>
              <a:cxn ang="3cd4">
                <a:pos x="hc" y="t"/>
              </a:cxn>
              <a:cxn ang="cd2">
                <a:pos x="l" y="vc"/>
              </a:cxn>
              <a:cxn ang="cd4">
                <a:pos x="hc" y="b"/>
              </a:cxn>
              <a:cxn ang="0">
                <a:pos x="r" y="vc"/>
              </a:cxn>
            </a:cxnLst>
            <a:rect l="l" t="t" r="r" b="b"/>
            <a:pathLst>
              <a:path w="5053" h="4434">
                <a:moveTo>
                  <a:pt x="0" y="1921"/>
                </a:moveTo>
                <a:lnTo>
                  <a:pt x="0" y="2509"/>
                </a:lnTo>
                <a:cubicBezTo>
                  <a:pt x="0" y="2843"/>
                  <a:pt x="222" y="3097"/>
                  <a:pt x="509" y="3097"/>
                </a:cubicBezTo>
                <a:lnTo>
                  <a:pt x="1097" y="3097"/>
                </a:lnTo>
                <a:lnTo>
                  <a:pt x="1097" y="3113"/>
                </a:lnTo>
                <a:lnTo>
                  <a:pt x="2751" y="4386"/>
                </a:lnTo>
                <a:cubicBezTo>
                  <a:pt x="2799" y="4418"/>
                  <a:pt x="2863" y="4434"/>
                  <a:pt x="2910" y="4434"/>
                </a:cubicBezTo>
                <a:cubicBezTo>
                  <a:pt x="2958" y="4434"/>
                  <a:pt x="2990" y="4434"/>
                  <a:pt x="3037" y="4402"/>
                </a:cubicBezTo>
                <a:cubicBezTo>
                  <a:pt x="3117" y="4370"/>
                  <a:pt x="3181" y="4275"/>
                  <a:pt x="3181" y="4179"/>
                </a:cubicBezTo>
                <a:lnTo>
                  <a:pt x="3181" y="267"/>
                </a:lnTo>
                <a:cubicBezTo>
                  <a:pt x="3181" y="171"/>
                  <a:pt x="3117" y="76"/>
                  <a:pt x="3037" y="28"/>
                </a:cubicBezTo>
                <a:cubicBezTo>
                  <a:pt x="2942" y="-20"/>
                  <a:pt x="2831" y="-4"/>
                  <a:pt x="2751" y="60"/>
                </a:cubicBezTo>
                <a:lnTo>
                  <a:pt x="1097" y="1332"/>
                </a:lnTo>
                <a:lnTo>
                  <a:pt x="509" y="1332"/>
                </a:lnTo>
                <a:cubicBezTo>
                  <a:pt x="222" y="1332"/>
                  <a:pt x="0" y="1603"/>
                  <a:pt x="0" y="1921"/>
                </a:cubicBezTo>
                <a:close/>
                <a:moveTo>
                  <a:pt x="1145" y="1491"/>
                </a:moveTo>
                <a:cubicBezTo>
                  <a:pt x="1193" y="1491"/>
                  <a:pt x="1225" y="1475"/>
                  <a:pt x="1225" y="1428"/>
                </a:cubicBezTo>
                <a:lnTo>
                  <a:pt x="2847" y="187"/>
                </a:lnTo>
                <a:cubicBezTo>
                  <a:pt x="2879" y="155"/>
                  <a:pt x="2927" y="155"/>
                  <a:pt x="2958" y="171"/>
                </a:cubicBezTo>
                <a:cubicBezTo>
                  <a:pt x="2990" y="187"/>
                  <a:pt x="3022" y="219"/>
                  <a:pt x="3022" y="267"/>
                </a:cubicBezTo>
                <a:lnTo>
                  <a:pt x="3022" y="4179"/>
                </a:lnTo>
                <a:cubicBezTo>
                  <a:pt x="3022" y="4211"/>
                  <a:pt x="2990" y="4243"/>
                  <a:pt x="2958" y="4258"/>
                </a:cubicBezTo>
                <a:cubicBezTo>
                  <a:pt x="2927" y="4290"/>
                  <a:pt x="2879" y="4275"/>
                  <a:pt x="2847" y="4258"/>
                </a:cubicBezTo>
                <a:lnTo>
                  <a:pt x="1225" y="3018"/>
                </a:lnTo>
                <a:cubicBezTo>
                  <a:pt x="1225" y="2970"/>
                  <a:pt x="1193" y="2939"/>
                  <a:pt x="1145" y="2939"/>
                </a:cubicBezTo>
                <a:lnTo>
                  <a:pt x="509" y="2939"/>
                </a:lnTo>
                <a:cubicBezTo>
                  <a:pt x="318" y="2939"/>
                  <a:pt x="159" y="2748"/>
                  <a:pt x="159" y="2509"/>
                </a:cubicBezTo>
                <a:lnTo>
                  <a:pt x="159" y="1921"/>
                </a:lnTo>
                <a:cubicBezTo>
                  <a:pt x="159" y="1698"/>
                  <a:pt x="318" y="1491"/>
                  <a:pt x="509" y="1491"/>
                </a:cubicBezTo>
                <a:close/>
                <a:moveTo>
                  <a:pt x="4310" y="585"/>
                </a:moveTo>
                <a:cubicBezTo>
                  <a:pt x="4278" y="616"/>
                  <a:pt x="4278" y="664"/>
                  <a:pt x="4310" y="696"/>
                </a:cubicBezTo>
                <a:cubicBezTo>
                  <a:pt x="5090" y="1523"/>
                  <a:pt x="5090" y="2891"/>
                  <a:pt x="4310" y="3734"/>
                </a:cubicBezTo>
                <a:cubicBezTo>
                  <a:pt x="4278" y="3766"/>
                  <a:pt x="4278" y="3813"/>
                  <a:pt x="4310" y="3845"/>
                </a:cubicBezTo>
                <a:cubicBezTo>
                  <a:pt x="4326" y="3861"/>
                  <a:pt x="4342" y="3861"/>
                  <a:pt x="4358" y="3861"/>
                </a:cubicBezTo>
                <a:cubicBezTo>
                  <a:pt x="4390" y="3861"/>
                  <a:pt x="4406" y="3861"/>
                  <a:pt x="4421" y="3829"/>
                </a:cubicBezTo>
                <a:cubicBezTo>
                  <a:pt x="5264" y="2939"/>
                  <a:pt x="5264" y="1475"/>
                  <a:pt x="4421" y="585"/>
                </a:cubicBezTo>
                <a:cubicBezTo>
                  <a:pt x="4390" y="553"/>
                  <a:pt x="4342" y="553"/>
                  <a:pt x="4310" y="585"/>
                </a:cubicBezTo>
                <a:close/>
                <a:moveTo>
                  <a:pt x="3944" y="1094"/>
                </a:moveTo>
                <a:cubicBezTo>
                  <a:pt x="3912" y="1062"/>
                  <a:pt x="3865" y="1062"/>
                  <a:pt x="3833" y="1094"/>
                </a:cubicBezTo>
                <a:cubicBezTo>
                  <a:pt x="3801" y="1125"/>
                  <a:pt x="3801" y="1173"/>
                  <a:pt x="3833" y="1205"/>
                </a:cubicBezTo>
                <a:cubicBezTo>
                  <a:pt x="4342" y="1761"/>
                  <a:pt x="4342" y="2668"/>
                  <a:pt x="3833" y="3225"/>
                </a:cubicBezTo>
                <a:cubicBezTo>
                  <a:pt x="3801" y="3257"/>
                  <a:pt x="3801" y="3304"/>
                  <a:pt x="3833" y="3336"/>
                </a:cubicBezTo>
                <a:cubicBezTo>
                  <a:pt x="3849" y="3352"/>
                  <a:pt x="3865" y="3352"/>
                  <a:pt x="3881" y="3352"/>
                </a:cubicBezTo>
                <a:cubicBezTo>
                  <a:pt x="3912" y="3352"/>
                  <a:pt x="3928" y="3352"/>
                  <a:pt x="3944" y="3320"/>
                </a:cubicBezTo>
                <a:cubicBezTo>
                  <a:pt x="4517" y="2716"/>
                  <a:pt x="4517" y="1714"/>
                  <a:pt x="3944" y="1094"/>
                </a:cubicBezTo>
                <a:close/>
                <a:moveTo>
                  <a:pt x="3419" y="2891"/>
                </a:moveTo>
                <a:cubicBezTo>
                  <a:pt x="3436" y="2907"/>
                  <a:pt x="3451" y="2907"/>
                  <a:pt x="3467" y="2907"/>
                </a:cubicBezTo>
                <a:cubicBezTo>
                  <a:pt x="3499" y="2907"/>
                  <a:pt x="3515" y="2907"/>
                  <a:pt x="3531" y="2891"/>
                </a:cubicBezTo>
                <a:cubicBezTo>
                  <a:pt x="3881" y="2509"/>
                  <a:pt x="3881" y="1904"/>
                  <a:pt x="3531" y="1539"/>
                </a:cubicBezTo>
                <a:cubicBezTo>
                  <a:pt x="3499" y="1507"/>
                  <a:pt x="3451" y="1507"/>
                  <a:pt x="3419" y="1539"/>
                </a:cubicBezTo>
                <a:cubicBezTo>
                  <a:pt x="3388" y="1555"/>
                  <a:pt x="3388" y="1618"/>
                  <a:pt x="3419" y="1650"/>
                </a:cubicBezTo>
                <a:cubicBezTo>
                  <a:pt x="3706" y="1952"/>
                  <a:pt x="3706" y="2461"/>
                  <a:pt x="3419" y="2779"/>
                </a:cubicBezTo>
                <a:cubicBezTo>
                  <a:pt x="3388" y="2811"/>
                  <a:pt x="3388" y="2859"/>
                  <a:pt x="3419" y="289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3" name="Freeform: Shape 13">
            <a:extLst>
              <a:ext uri="{FF2B5EF4-FFF2-40B4-BE49-F238E27FC236}">
                <a16:creationId xmlns:a16="http://schemas.microsoft.com/office/drawing/2014/main" id="{E57FD75C-90C5-4E41-9F2B-17A52A82563E}"/>
              </a:ext>
            </a:extLst>
          </p:cNvPr>
          <p:cNvSpPr/>
          <p:nvPr/>
        </p:nvSpPr>
        <p:spPr>
          <a:xfrm>
            <a:off x="17277273" y="9828129"/>
            <a:ext cx="1733399" cy="1595880"/>
          </a:xfrm>
          <a:custGeom>
            <a:avLst/>
            <a:gdLst/>
            <a:ahLst/>
            <a:cxnLst>
              <a:cxn ang="3cd4">
                <a:pos x="hc" y="t"/>
              </a:cxn>
              <a:cxn ang="cd2">
                <a:pos x="l" y="vc"/>
              </a:cxn>
              <a:cxn ang="cd4">
                <a:pos x="hc" y="b"/>
              </a:cxn>
              <a:cxn ang="0">
                <a:pos x="r" y="vc"/>
              </a:cxn>
            </a:cxnLst>
            <a:rect l="l" t="t" r="r" b="b"/>
            <a:pathLst>
              <a:path w="4816" h="4434">
                <a:moveTo>
                  <a:pt x="1081" y="3097"/>
                </a:moveTo>
                <a:cubicBezTo>
                  <a:pt x="1097" y="3097"/>
                  <a:pt x="1092" y="3108"/>
                  <a:pt x="1097" y="3113"/>
                </a:cubicBezTo>
                <a:lnTo>
                  <a:pt x="2751" y="4386"/>
                </a:lnTo>
                <a:cubicBezTo>
                  <a:pt x="2799" y="4418"/>
                  <a:pt x="2847" y="4434"/>
                  <a:pt x="2910" y="4434"/>
                </a:cubicBezTo>
                <a:cubicBezTo>
                  <a:pt x="2942" y="4434"/>
                  <a:pt x="2990" y="4434"/>
                  <a:pt x="3022" y="4402"/>
                </a:cubicBezTo>
                <a:cubicBezTo>
                  <a:pt x="3117" y="4370"/>
                  <a:pt x="3165" y="4275"/>
                  <a:pt x="3165" y="4179"/>
                </a:cubicBezTo>
                <a:lnTo>
                  <a:pt x="3165" y="267"/>
                </a:lnTo>
                <a:cubicBezTo>
                  <a:pt x="3165" y="171"/>
                  <a:pt x="3117" y="76"/>
                  <a:pt x="3022" y="28"/>
                </a:cubicBezTo>
                <a:cubicBezTo>
                  <a:pt x="2942" y="-20"/>
                  <a:pt x="2831" y="-4"/>
                  <a:pt x="2751" y="60"/>
                </a:cubicBezTo>
                <a:lnTo>
                  <a:pt x="1097" y="1332"/>
                </a:lnTo>
                <a:lnTo>
                  <a:pt x="1081" y="1332"/>
                </a:lnTo>
                <a:lnTo>
                  <a:pt x="509" y="1332"/>
                </a:lnTo>
                <a:cubicBezTo>
                  <a:pt x="223" y="1332"/>
                  <a:pt x="0" y="1603"/>
                  <a:pt x="0" y="1921"/>
                </a:cubicBezTo>
                <a:lnTo>
                  <a:pt x="0" y="2509"/>
                </a:lnTo>
                <a:cubicBezTo>
                  <a:pt x="0" y="2843"/>
                  <a:pt x="223" y="3097"/>
                  <a:pt x="509" y="3097"/>
                </a:cubicBezTo>
                <a:close/>
                <a:moveTo>
                  <a:pt x="159" y="2509"/>
                </a:moveTo>
                <a:lnTo>
                  <a:pt x="159" y="1921"/>
                </a:lnTo>
                <a:cubicBezTo>
                  <a:pt x="159" y="1698"/>
                  <a:pt x="318" y="1491"/>
                  <a:pt x="509" y="1491"/>
                </a:cubicBezTo>
                <a:lnTo>
                  <a:pt x="1145" y="1491"/>
                </a:lnTo>
                <a:cubicBezTo>
                  <a:pt x="1193" y="1491"/>
                  <a:pt x="1224" y="1475"/>
                  <a:pt x="1224" y="1428"/>
                </a:cubicBezTo>
                <a:lnTo>
                  <a:pt x="2847" y="187"/>
                </a:lnTo>
                <a:cubicBezTo>
                  <a:pt x="2878" y="155"/>
                  <a:pt x="2926" y="155"/>
                  <a:pt x="2958" y="171"/>
                </a:cubicBezTo>
                <a:cubicBezTo>
                  <a:pt x="2990" y="187"/>
                  <a:pt x="3006" y="219"/>
                  <a:pt x="3006" y="267"/>
                </a:cubicBezTo>
                <a:lnTo>
                  <a:pt x="3006" y="4179"/>
                </a:lnTo>
                <a:cubicBezTo>
                  <a:pt x="3006" y="4211"/>
                  <a:pt x="2990" y="4243"/>
                  <a:pt x="2958" y="4258"/>
                </a:cubicBezTo>
                <a:cubicBezTo>
                  <a:pt x="2926" y="4290"/>
                  <a:pt x="2878" y="4275"/>
                  <a:pt x="2847" y="4258"/>
                </a:cubicBezTo>
                <a:lnTo>
                  <a:pt x="1224" y="3018"/>
                </a:lnTo>
                <a:cubicBezTo>
                  <a:pt x="1224" y="2970"/>
                  <a:pt x="1193" y="2939"/>
                  <a:pt x="1145" y="2939"/>
                </a:cubicBezTo>
                <a:lnTo>
                  <a:pt x="509" y="2939"/>
                </a:lnTo>
                <a:cubicBezTo>
                  <a:pt x="318" y="2939"/>
                  <a:pt x="159" y="2748"/>
                  <a:pt x="159" y="2509"/>
                </a:cubicBezTo>
                <a:close/>
                <a:moveTo>
                  <a:pt x="4071" y="585"/>
                </a:moveTo>
                <a:cubicBezTo>
                  <a:pt x="4040" y="616"/>
                  <a:pt x="4040" y="664"/>
                  <a:pt x="4071" y="696"/>
                </a:cubicBezTo>
                <a:cubicBezTo>
                  <a:pt x="4850" y="1523"/>
                  <a:pt x="4850" y="2891"/>
                  <a:pt x="4071" y="3734"/>
                </a:cubicBezTo>
                <a:cubicBezTo>
                  <a:pt x="4040" y="3766"/>
                  <a:pt x="4040" y="3813"/>
                  <a:pt x="4071" y="3845"/>
                </a:cubicBezTo>
                <a:cubicBezTo>
                  <a:pt x="4087" y="3861"/>
                  <a:pt x="4103" y="3861"/>
                  <a:pt x="4119" y="3861"/>
                </a:cubicBezTo>
                <a:cubicBezTo>
                  <a:pt x="4151" y="3861"/>
                  <a:pt x="4167" y="3861"/>
                  <a:pt x="4183" y="3829"/>
                </a:cubicBezTo>
                <a:cubicBezTo>
                  <a:pt x="5026" y="2939"/>
                  <a:pt x="5026" y="1475"/>
                  <a:pt x="4183" y="585"/>
                </a:cubicBezTo>
                <a:cubicBezTo>
                  <a:pt x="4151" y="553"/>
                  <a:pt x="4103" y="553"/>
                  <a:pt x="4071" y="585"/>
                </a:cubicBezTo>
                <a:close/>
                <a:moveTo>
                  <a:pt x="3594" y="3336"/>
                </a:moveTo>
                <a:cubicBezTo>
                  <a:pt x="3610" y="3352"/>
                  <a:pt x="3626" y="3352"/>
                  <a:pt x="3642" y="3352"/>
                </a:cubicBezTo>
                <a:cubicBezTo>
                  <a:pt x="3674" y="3352"/>
                  <a:pt x="3690" y="3352"/>
                  <a:pt x="3705" y="3320"/>
                </a:cubicBezTo>
                <a:cubicBezTo>
                  <a:pt x="4278" y="2716"/>
                  <a:pt x="4278" y="1714"/>
                  <a:pt x="3705" y="1094"/>
                </a:cubicBezTo>
                <a:cubicBezTo>
                  <a:pt x="3674" y="1062"/>
                  <a:pt x="3626" y="1062"/>
                  <a:pt x="3594" y="1094"/>
                </a:cubicBezTo>
                <a:cubicBezTo>
                  <a:pt x="3562" y="1125"/>
                  <a:pt x="3562" y="1173"/>
                  <a:pt x="3594" y="1205"/>
                </a:cubicBezTo>
                <a:cubicBezTo>
                  <a:pt x="4103" y="1761"/>
                  <a:pt x="4103" y="2668"/>
                  <a:pt x="3594" y="3225"/>
                </a:cubicBezTo>
                <a:cubicBezTo>
                  <a:pt x="3562" y="3257"/>
                  <a:pt x="3562" y="3304"/>
                  <a:pt x="3594" y="333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4" name="Freeform: Shape 14">
            <a:extLst>
              <a:ext uri="{FF2B5EF4-FFF2-40B4-BE49-F238E27FC236}">
                <a16:creationId xmlns:a16="http://schemas.microsoft.com/office/drawing/2014/main" id="{33584A83-785F-414D-8866-91FFBD2C5A7A}"/>
              </a:ext>
            </a:extLst>
          </p:cNvPr>
          <p:cNvSpPr/>
          <p:nvPr/>
        </p:nvSpPr>
        <p:spPr>
          <a:xfrm>
            <a:off x="1668568" y="9861249"/>
            <a:ext cx="1803600" cy="1328040"/>
          </a:xfrm>
          <a:custGeom>
            <a:avLst/>
            <a:gdLst/>
            <a:ahLst/>
            <a:cxnLst>
              <a:cxn ang="3cd4">
                <a:pos x="hc" y="t"/>
              </a:cxn>
              <a:cxn ang="cd2">
                <a:pos x="l" y="vc"/>
              </a:cxn>
              <a:cxn ang="cd4">
                <a:pos x="hc" y="b"/>
              </a:cxn>
              <a:cxn ang="0">
                <a:pos x="r" y="vc"/>
              </a:cxn>
            </a:cxnLst>
            <a:rect l="l" t="t" r="r" b="b"/>
            <a:pathLst>
              <a:path w="5011" h="3690">
                <a:moveTo>
                  <a:pt x="509" y="3483"/>
                </a:moveTo>
                <a:cubicBezTo>
                  <a:pt x="541" y="3594"/>
                  <a:pt x="653" y="3690"/>
                  <a:pt x="780" y="3690"/>
                </a:cubicBezTo>
                <a:cubicBezTo>
                  <a:pt x="939" y="3690"/>
                  <a:pt x="1066" y="3562"/>
                  <a:pt x="1066" y="3403"/>
                </a:cubicBezTo>
                <a:cubicBezTo>
                  <a:pt x="1066" y="1892"/>
                  <a:pt x="1066" y="1892"/>
                  <a:pt x="1066" y="1892"/>
                </a:cubicBezTo>
                <a:cubicBezTo>
                  <a:pt x="1066" y="1765"/>
                  <a:pt x="987" y="1654"/>
                  <a:pt x="875" y="1622"/>
                </a:cubicBezTo>
                <a:cubicBezTo>
                  <a:pt x="955" y="795"/>
                  <a:pt x="1654" y="158"/>
                  <a:pt x="2498" y="158"/>
                </a:cubicBezTo>
                <a:cubicBezTo>
                  <a:pt x="3341" y="158"/>
                  <a:pt x="4040" y="795"/>
                  <a:pt x="4136" y="1622"/>
                </a:cubicBezTo>
                <a:cubicBezTo>
                  <a:pt x="4025" y="1654"/>
                  <a:pt x="3929" y="1765"/>
                  <a:pt x="3929" y="1892"/>
                </a:cubicBezTo>
                <a:cubicBezTo>
                  <a:pt x="3929" y="3403"/>
                  <a:pt x="3929" y="3403"/>
                  <a:pt x="3929" y="3403"/>
                </a:cubicBezTo>
                <a:cubicBezTo>
                  <a:pt x="3929" y="3562"/>
                  <a:pt x="4056" y="3690"/>
                  <a:pt x="4216" y="3690"/>
                </a:cubicBezTo>
                <a:cubicBezTo>
                  <a:pt x="4343" y="3690"/>
                  <a:pt x="4454" y="3594"/>
                  <a:pt x="4486" y="3483"/>
                </a:cubicBezTo>
                <a:cubicBezTo>
                  <a:pt x="4772" y="3435"/>
                  <a:pt x="5011" y="3069"/>
                  <a:pt x="5011" y="2640"/>
                </a:cubicBezTo>
                <a:cubicBezTo>
                  <a:pt x="5011" y="2211"/>
                  <a:pt x="4788" y="1860"/>
                  <a:pt x="4486" y="1812"/>
                </a:cubicBezTo>
                <a:cubicBezTo>
                  <a:pt x="4470" y="1717"/>
                  <a:pt x="4390" y="1638"/>
                  <a:pt x="4295" y="1622"/>
                </a:cubicBezTo>
                <a:cubicBezTo>
                  <a:pt x="4199" y="699"/>
                  <a:pt x="3436" y="0"/>
                  <a:pt x="2498" y="0"/>
                </a:cubicBezTo>
                <a:cubicBezTo>
                  <a:pt x="1575" y="0"/>
                  <a:pt x="796" y="699"/>
                  <a:pt x="716" y="1622"/>
                </a:cubicBezTo>
                <a:cubicBezTo>
                  <a:pt x="621" y="1638"/>
                  <a:pt x="541" y="1717"/>
                  <a:pt x="509" y="1812"/>
                </a:cubicBezTo>
                <a:cubicBezTo>
                  <a:pt x="223" y="1860"/>
                  <a:pt x="0" y="2211"/>
                  <a:pt x="0" y="2640"/>
                </a:cubicBezTo>
                <a:cubicBezTo>
                  <a:pt x="0" y="3085"/>
                  <a:pt x="223" y="3435"/>
                  <a:pt x="509" y="3483"/>
                </a:cubicBezTo>
                <a:close/>
                <a:moveTo>
                  <a:pt x="4852" y="2640"/>
                </a:moveTo>
                <a:cubicBezTo>
                  <a:pt x="4852" y="2974"/>
                  <a:pt x="4692" y="3244"/>
                  <a:pt x="4502" y="3308"/>
                </a:cubicBezTo>
                <a:cubicBezTo>
                  <a:pt x="4502" y="1988"/>
                  <a:pt x="4502" y="1988"/>
                  <a:pt x="4502" y="1988"/>
                </a:cubicBezTo>
                <a:cubicBezTo>
                  <a:pt x="4692" y="2035"/>
                  <a:pt x="4852" y="2321"/>
                  <a:pt x="4852" y="2640"/>
                </a:cubicBezTo>
                <a:close/>
                <a:moveTo>
                  <a:pt x="4343" y="1892"/>
                </a:moveTo>
                <a:cubicBezTo>
                  <a:pt x="4343" y="3403"/>
                  <a:pt x="4343" y="3403"/>
                  <a:pt x="4343" y="3403"/>
                </a:cubicBezTo>
                <a:cubicBezTo>
                  <a:pt x="4343" y="3467"/>
                  <a:pt x="4279" y="3530"/>
                  <a:pt x="4216" y="3530"/>
                </a:cubicBezTo>
                <a:cubicBezTo>
                  <a:pt x="4152" y="3530"/>
                  <a:pt x="4088" y="3467"/>
                  <a:pt x="4088" y="3403"/>
                </a:cubicBezTo>
                <a:cubicBezTo>
                  <a:pt x="4088" y="1892"/>
                  <a:pt x="4088" y="1892"/>
                  <a:pt x="4088" y="1892"/>
                </a:cubicBezTo>
                <a:cubicBezTo>
                  <a:pt x="4088" y="1845"/>
                  <a:pt x="4120" y="1812"/>
                  <a:pt x="4152" y="1781"/>
                </a:cubicBezTo>
                <a:cubicBezTo>
                  <a:pt x="4279" y="1781"/>
                  <a:pt x="4279" y="1781"/>
                  <a:pt x="4279" y="1781"/>
                </a:cubicBezTo>
                <a:cubicBezTo>
                  <a:pt x="4311" y="1812"/>
                  <a:pt x="4343" y="1845"/>
                  <a:pt x="4343" y="1892"/>
                </a:cubicBezTo>
                <a:close/>
                <a:moveTo>
                  <a:pt x="669" y="1892"/>
                </a:moveTo>
                <a:cubicBezTo>
                  <a:pt x="669" y="1845"/>
                  <a:pt x="684" y="1812"/>
                  <a:pt x="716" y="1781"/>
                </a:cubicBezTo>
                <a:cubicBezTo>
                  <a:pt x="859" y="1781"/>
                  <a:pt x="859" y="1781"/>
                  <a:pt x="859" y="1781"/>
                </a:cubicBezTo>
                <a:cubicBezTo>
                  <a:pt x="891" y="1812"/>
                  <a:pt x="907" y="1845"/>
                  <a:pt x="907" y="1892"/>
                </a:cubicBezTo>
                <a:cubicBezTo>
                  <a:pt x="907" y="3403"/>
                  <a:pt x="907" y="3403"/>
                  <a:pt x="907" y="3403"/>
                </a:cubicBezTo>
                <a:cubicBezTo>
                  <a:pt x="907" y="3467"/>
                  <a:pt x="859" y="3530"/>
                  <a:pt x="780" y="3530"/>
                </a:cubicBezTo>
                <a:cubicBezTo>
                  <a:pt x="716" y="3530"/>
                  <a:pt x="669" y="3467"/>
                  <a:pt x="669" y="3403"/>
                </a:cubicBezTo>
                <a:close/>
                <a:moveTo>
                  <a:pt x="509" y="1988"/>
                </a:moveTo>
                <a:cubicBezTo>
                  <a:pt x="509" y="3308"/>
                  <a:pt x="509" y="3308"/>
                  <a:pt x="509" y="3308"/>
                </a:cubicBezTo>
                <a:cubicBezTo>
                  <a:pt x="303" y="3244"/>
                  <a:pt x="160" y="2974"/>
                  <a:pt x="160" y="2640"/>
                </a:cubicBezTo>
                <a:cubicBezTo>
                  <a:pt x="160" y="2321"/>
                  <a:pt x="303" y="2035"/>
                  <a:pt x="509" y="198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5" name="Freeform: Shape 15">
            <a:extLst>
              <a:ext uri="{FF2B5EF4-FFF2-40B4-BE49-F238E27FC236}">
                <a16:creationId xmlns:a16="http://schemas.microsoft.com/office/drawing/2014/main" id="{995CA80A-6F7A-1247-92A9-AAD5EF95E885}"/>
              </a:ext>
            </a:extLst>
          </p:cNvPr>
          <p:cNvSpPr/>
          <p:nvPr/>
        </p:nvSpPr>
        <p:spPr>
          <a:xfrm>
            <a:off x="14053665" y="9872408"/>
            <a:ext cx="1545839" cy="1511279"/>
          </a:xfrm>
          <a:custGeom>
            <a:avLst/>
            <a:gdLst/>
            <a:ahLst/>
            <a:cxnLst>
              <a:cxn ang="3cd4">
                <a:pos x="hc" y="t"/>
              </a:cxn>
              <a:cxn ang="cd2">
                <a:pos x="l" y="vc"/>
              </a:cxn>
              <a:cxn ang="cd4">
                <a:pos x="hc" y="b"/>
              </a:cxn>
              <a:cxn ang="0">
                <a:pos x="r" y="vc"/>
              </a:cxn>
            </a:cxnLst>
            <a:rect l="l" t="t" r="r" b="b"/>
            <a:pathLst>
              <a:path w="4295" h="4199">
                <a:moveTo>
                  <a:pt x="1607" y="0"/>
                </a:moveTo>
                <a:cubicBezTo>
                  <a:pt x="1463" y="0"/>
                  <a:pt x="1352" y="112"/>
                  <a:pt x="1352" y="255"/>
                </a:cubicBezTo>
                <a:lnTo>
                  <a:pt x="1352" y="2545"/>
                </a:lnTo>
                <a:lnTo>
                  <a:pt x="1289" y="2545"/>
                </a:lnTo>
                <a:cubicBezTo>
                  <a:pt x="1145" y="2545"/>
                  <a:pt x="1034" y="2672"/>
                  <a:pt x="1034" y="2816"/>
                </a:cubicBezTo>
                <a:cubicBezTo>
                  <a:pt x="1034" y="2959"/>
                  <a:pt x="1145" y="3070"/>
                  <a:pt x="1289" y="3070"/>
                </a:cubicBezTo>
                <a:lnTo>
                  <a:pt x="1352" y="3070"/>
                </a:lnTo>
                <a:lnTo>
                  <a:pt x="1352" y="3945"/>
                </a:lnTo>
                <a:cubicBezTo>
                  <a:pt x="1352" y="4088"/>
                  <a:pt x="1463" y="4199"/>
                  <a:pt x="1607" y="4199"/>
                </a:cubicBezTo>
                <a:cubicBezTo>
                  <a:pt x="1750" y="4199"/>
                  <a:pt x="1877" y="4088"/>
                  <a:pt x="1877" y="3945"/>
                </a:cubicBezTo>
                <a:lnTo>
                  <a:pt x="1877" y="3070"/>
                </a:lnTo>
                <a:lnTo>
                  <a:pt x="1925" y="3070"/>
                </a:lnTo>
                <a:cubicBezTo>
                  <a:pt x="2068" y="3070"/>
                  <a:pt x="2195" y="2959"/>
                  <a:pt x="2195" y="2816"/>
                </a:cubicBezTo>
                <a:cubicBezTo>
                  <a:pt x="2195" y="2672"/>
                  <a:pt x="2068" y="2545"/>
                  <a:pt x="1925" y="2545"/>
                </a:cubicBezTo>
                <a:lnTo>
                  <a:pt x="1877" y="2545"/>
                </a:lnTo>
                <a:lnTo>
                  <a:pt x="1877" y="255"/>
                </a:lnTo>
                <a:cubicBezTo>
                  <a:pt x="1877" y="112"/>
                  <a:pt x="1750" y="0"/>
                  <a:pt x="1607" y="0"/>
                </a:cubicBezTo>
                <a:close/>
                <a:moveTo>
                  <a:pt x="1511" y="255"/>
                </a:moveTo>
                <a:cubicBezTo>
                  <a:pt x="1511" y="207"/>
                  <a:pt x="1559" y="159"/>
                  <a:pt x="1607" y="159"/>
                </a:cubicBezTo>
                <a:cubicBezTo>
                  <a:pt x="1671" y="159"/>
                  <a:pt x="1718" y="207"/>
                  <a:pt x="1718" y="255"/>
                </a:cubicBezTo>
                <a:lnTo>
                  <a:pt x="1718" y="2545"/>
                </a:lnTo>
                <a:lnTo>
                  <a:pt x="1511" y="2545"/>
                </a:lnTo>
                <a:close/>
                <a:moveTo>
                  <a:pt x="1718" y="3945"/>
                </a:moveTo>
                <a:cubicBezTo>
                  <a:pt x="1718" y="3992"/>
                  <a:pt x="1671" y="4040"/>
                  <a:pt x="1607" y="4040"/>
                </a:cubicBezTo>
                <a:cubicBezTo>
                  <a:pt x="1559" y="4040"/>
                  <a:pt x="1511" y="3992"/>
                  <a:pt x="1511" y="3945"/>
                </a:cubicBezTo>
                <a:lnTo>
                  <a:pt x="1511" y="3070"/>
                </a:lnTo>
                <a:lnTo>
                  <a:pt x="1718" y="3070"/>
                </a:lnTo>
                <a:close/>
                <a:moveTo>
                  <a:pt x="2036" y="2816"/>
                </a:moveTo>
                <a:cubicBezTo>
                  <a:pt x="2036" y="2863"/>
                  <a:pt x="1989" y="2911"/>
                  <a:pt x="1925" y="2911"/>
                </a:cubicBezTo>
                <a:lnTo>
                  <a:pt x="1289" y="2911"/>
                </a:lnTo>
                <a:cubicBezTo>
                  <a:pt x="1241" y="2911"/>
                  <a:pt x="1193" y="2863"/>
                  <a:pt x="1193" y="2816"/>
                </a:cubicBezTo>
                <a:cubicBezTo>
                  <a:pt x="1193" y="2752"/>
                  <a:pt x="1241" y="2704"/>
                  <a:pt x="1289" y="2704"/>
                </a:cubicBezTo>
                <a:lnTo>
                  <a:pt x="1925" y="2704"/>
                </a:lnTo>
                <a:cubicBezTo>
                  <a:pt x="1989" y="2704"/>
                  <a:pt x="2036" y="2752"/>
                  <a:pt x="2036" y="2816"/>
                </a:cubicBezTo>
                <a:close/>
                <a:moveTo>
                  <a:pt x="318" y="1638"/>
                </a:moveTo>
                <a:lnTo>
                  <a:pt x="318" y="3945"/>
                </a:lnTo>
                <a:cubicBezTo>
                  <a:pt x="318" y="4088"/>
                  <a:pt x="430" y="4199"/>
                  <a:pt x="573" y="4199"/>
                </a:cubicBezTo>
                <a:cubicBezTo>
                  <a:pt x="716" y="4199"/>
                  <a:pt x="843" y="4088"/>
                  <a:pt x="843" y="3945"/>
                </a:cubicBezTo>
                <a:lnTo>
                  <a:pt x="843" y="1638"/>
                </a:lnTo>
                <a:lnTo>
                  <a:pt x="907" y="1638"/>
                </a:lnTo>
                <a:cubicBezTo>
                  <a:pt x="1050" y="1638"/>
                  <a:pt x="1162" y="1527"/>
                  <a:pt x="1162" y="1384"/>
                </a:cubicBezTo>
                <a:cubicBezTo>
                  <a:pt x="1162" y="1241"/>
                  <a:pt x="1050" y="1130"/>
                  <a:pt x="907" y="1130"/>
                </a:cubicBezTo>
                <a:lnTo>
                  <a:pt x="843" y="1130"/>
                </a:lnTo>
                <a:lnTo>
                  <a:pt x="843" y="255"/>
                </a:lnTo>
                <a:cubicBezTo>
                  <a:pt x="843" y="112"/>
                  <a:pt x="716" y="0"/>
                  <a:pt x="573" y="0"/>
                </a:cubicBezTo>
                <a:cubicBezTo>
                  <a:pt x="430" y="0"/>
                  <a:pt x="318" y="112"/>
                  <a:pt x="318" y="255"/>
                </a:cubicBezTo>
                <a:lnTo>
                  <a:pt x="318" y="1130"/>
                </a:lnTo>
                <a:lnTo>
                  <a:pt x="255" y="1130"/>
                </a:lnTo>
                <a:cubicBezTo>
                  <a:pt x="112" y="1130"/>
                  <a:pt x="0" y="1241"/>
                  <a:pt x="0" y="1384"/>
                </a:cubicBezTo>
                <a:cubicBezTo>
                  <a:pt x="0" y="1527"/>
                  <a:pt x="112" y="1638"/>
                  <a:pt x="255" y="1638"/>
                </a:cubicBezTo>
                <a:close/>
                <a:moveTo>
                  <a:pt x="684" y="3945"/>
                </a:moveTo>
                <a:cubicBezTo>
                  <a:pt x="684" y="3992"/>
                  <a:pt x="636" y="4040"/>
                  <a:pt x="573" y="4040"/>
                </a:cubicBezTo>
                <a:cubicBezTo>
                  <a:pt x="525" y="4040"/>
                  <a:pt x="478" y="3992"/>
                  <a:pt x="478" y="3945"/>
                </a:cubicBezTo>
                <a:lnTo>
                  <a:pt x="478" y="1638"/>
                </a:lnTo>
                <a:lnTo>
                  <a:pt x="684" y="1638"/>
                </a:lnTo>
                <a:close/>
                <a:moveTo>
                  <a:pt x="478" y="255"/>
                </a:moveTo>
                <a:cubicBezTo>
                  <a:pt x="478" y="207"/>
                  <a:pt x="525" y="159"/>
                  <a:pt x="573" y="159"/>
                </a:cubicBezTo>
                <a:cubicBezTo>
                  <a:pt x="636" y="159"/>
                  <a:pt x="684" y="207"/>
                  <a:pt x="684" y="255"/>
                </a:cubicBezTo>
                <a:lnTo>
                  <a:pt x="684" y="1130"/>
                </a:lnTo>
                <a:lnTo>
                  <a:pt x="478" y="1130"/>
                </a:lnTo>
                <a:close/>
                <a:moveTo>
                  <a:pt x="159" y="1384"/>
                </a:moveTo>
                <a:cubicBezTo>
                  <a:pt x="159" y="1320"/>
                  <a:pt x="207" y="1289"/>
                  <a:pt x="255" y="1289"/>
                </a:cubicBezTo>
                <a:lnTo>
                  <a:pt x="907" y="1289"/>
                </a:lnTo>
                <a:cubicBezTo>
                  <a:pt x="954" y="1289"/>
                  <a:pt x="1002" y="1320"/>
                  <a:pt x="1002" y="1384"/>
                </a:cubicBezTo>
                <a:cubicBezTo>
                  <a:pt x="1002" y="1432"/>
                  <a:pt x="954" y="1480"/>
                  <a:pt x="907" y="1480"/>
                </a:cubicBezTo>
                <a:lnTo>
                  <a:pt x="255" y="1480"/>
                </a:lnTo>
                <a:cubicBezTo>
                  <a:pt x="207" y="1480"/>
                  <a:pt x="159" y="1432"/>
                  <a:pt x="159" y="1384"/>
                </a:cubicBezTo>
                <a:close/>
                <a:moveTo>
                  <a:pt x="3261" y="1384"/>
                </a:moveTo>
                <a:cubicBezTo>
                  <a:pt x="3261" y="1241"/>
                  <a:pt x="3150" y="1130"/>
                  <a:pt x="3007" y="1130"/>
                </a:cubicBezTo>
                <a:lnTo>
                  <a:pt x="2943" y="1130"/>
                </a:lnTo>
                <a:lnTo>
                  <a:pt x="2943" y="255"/>
                </a:lnTo>
                <a:cubicBezTo>
                  <a:pt x="2943" y="112"/>
                  <a:pt x="2831" y="0"/>
                  <a:pt x="2688" y="0"/>
                </a:cubicBezTo>
                <a:cubicBezTo>
                  <a:pt x="2545" y="0"/>
                  <a:pt x="2434" y="112"/>
                  <a:pt x="2434" y="255"/>
                </a:cubicBezTo>
                <a:lnTo>
                  <a:pt x="2434" y="1130"/>
                </a:lnTo>
                <a:lnTo>
                  <a:pt x="2370" y="1130"/>
                </a:lnTo>
                <a:cubicBezTo>
                  <a:pt x="2227" y="1130"/>
                  <a:pt x="2100" y="1241"/>
                  <a:pt x="2100" y="1384"/>
                </a:cubicBezTo>
                <a:cubicBezTo>
                  <a:pt x="2100" y="1527"/>
                  <a:pt x="2227" y="1638"/>
                  <a:pt x="2370" y="1638"/>
                </a:cubicBezTo>
                <a:lnTo>
                  <a:pt x="2434" y="1638"/>
                </a:lnTo>
                <a:lnTo>
                  <a:pt x="2434" y="3945"/>
                </a:lnTo>
                <a:cubicBezTo>
                  <a:pt x="2434" y="4088"/>
                  <a:pt x="2545" y="4199"/>
                  <a:pt x="2688" y="4199"/>
                </a:cubicBezTo>
                <a:cubicBezTo>
                  <a:pt x="2831" y="4199"/>
                  <a:pt x="2943" y="4088"/>
                  <a:pt x="2943" y="3945"/>
                </a:cubicBezTo>
                <a:lnTo>
                  <a:pt x="2943" y="1638"/>
                </a:lnTo>
                <a:lnTo>
                  <a:pt x="3007" y="1638"/>
                </a:lnTo>
                <a:cubicBezTo>
                  <a:pt x="3150" y="1638"/>
                  <a:pt x="3261" y="1527"/>
                  <a:pt x="3261" y="1384"/>
                </a:cubicBezTo>
                <a:close/>
                <a:moveTo>
                  <a:pt x="2593" y="255"/>
                </a:moveTo>
                <a:cubicBezTo>
                  <a:pt x="2593" y="207"/>
                  <a:pt x="2625" y="159"/>
                  <a:pt x="2688" y="159"/>
                </a:cubicBezTo>
                <a:cubicBezTo>
                  <a:pt x="2736" y="159"/>
                  <a:pt x="2784" y="207"/>
                  <a:pt x="2784" y="255"/>
                </a:cubicBezTo>
                <a:lnTo>
                  <a:pt x="2784" y="1130"/>
                </a:lnTo>
                <a:lnTo>
                  <a:pt x="2593" y="1130"/>
                </a:lnTo>
                <a:close/>
                <a:moveTo>
                  <a:pt x="2784" y="3945"/>
                </a:moveTo>
                <a:cubicBezTo>
                  <a:pt x="2784" y="3992"/>
                  <a:pt x="2736" y="4040"/>
                  <a:pt x="2688" y="4040"/>
                </a:cubicBezTo>
                <a:cubicBezTo>
                  <a:pt x="2625" y="4040"/>
                  <a:pt x="2593" y="3992"/>
                  <a:pt x="2593" y="3945"/>
                </a:cubicBezTo>
                <a:lnTo>
                  <a:pt x="2593" y="1638"/>
                </a:lnTo>
                <a:lnTo>
                  <a:pt x="2784" y="1638"/>
                </a:lnTo>
                <a:close/>
                <a:moveTo>
                  <a:pt x="3007" y="1480"/>
                </a:moveTo>
                <a:lnTo>
                  <a:pt x="2370" y="1480"/>
                </a:lnTo>
                <a:cubicBezTo>
                  <a:pt x="2307" y="1480"/>
                  <a:pt x="2259" y="1432"/>
                  <a:pt x="2259" y="1384"/>
                </a:cubicBezTo>
                <a:cubicBezTo>
                  <a:pt x="2259" y="1320"/>
                  <a:pt x="2307" y="1289"/>
                  <a:pt x="2370" y="1289"/>
                </a:cubicBezTo>
                <a:lnTo>
                  <a:pt x="3007" y="1289"/>
                </a:lnTo>
                <a:cubicBezTo>
                  <a:pt x="3070" y="1289"/>
                  <a:pt x="3102" y="1320"/>
                  <a:pt x="3102" y="1384"/>
                </a:cubicBezTo>
                <a:cubicBezTo>
                  <a:pt x="3102" y="1432"/>
                  <a:pt x="3070" y="1480"/>
                  <a:pt x="3007" y="1480"/>
                </a:cubicBezTo>
                <a:close/>
                <a:moveTo>
                  <a:pt x="4040" y="2545"/>
                </a:moveTo>
                <a:lnTo>
                  <a:pt x="3977" y="2545"/>
                </a:lnTo>
                <a:lnTo>
                  <a:pt x="3977" y="255"/>
                </a:lnTo>
                <a:cubicBezTo>
                  <a:pt x="3977" y="112"/>
                  <a:pt x="3865" y="0"/>
                  <a:pt x="3722" y="0"/>
                </a:cubicBezTo>
                <a:cubicBezTo>
                  <a:pt x="3579" y="0"/>
                  <a:pt x="3452" y="112"/>
                  <a:pt x="3452" y="255"/>
                </a:cubicBezTo>
                <a:lnTo>
                  <a:pt x="3452" y="2545"/>
                </a:lnTo>
                <a:lnTo>
                  <a:pt x="3404" y="2545"/>
                </a:lnTo>
                <a:cubicBezTo>
                  <a:pt x="3261" y="2545"/>
                  <a:pt x="3134" y="2672"/>
                  <a:pt x="3134" y="2816"/>
                </a:cubicBezTo>
                <a:cubicBezTo>
                  <a:pt x="3134" y="2959"/>
                  <a:pt x="3261" y="3070"/>
                  <a:pt x="3404" y="3070"/>
                </a:cubicBezTo>
                <a:lnTo>
                  <a:pt x="3452" y="3070"/>
                </a:lnTo>
                <a:lnTo>
                  <a:pt x="3452" y="3945"/>
                </a:lnTo>
                <a:cubicBezTo>
                  <a:pt x="3452" y="4088"/>
                  <a:pt x="3579" y="4199"/>
                  <a:pt x="3722" y="4199"/>
                </a:cubicBezTo>
                <a:cubicBezTo>
                  <a:pt x="3865" y="4199"/>
                  <a:pt x="3977" y="4088"/>
                  <a:pt x="3977" y="3945"/>
                </a:cubicBezTo>
                <a:lnTo>
                  <a:pt x="3977" y="3070"/>
                </a:lnTo>
                <a:lnTo>
                  <a:pt x="4040" y="3070"/>
                </a:lnTo>
                <a:cubicBezTo>
                  <a:pt x="4183" y="3070"/>
                  <a:pt x="4295" y="2959"/>
                  <a:pt x="4295" y="2816"/>
                </a:cubicBezTo>
                <a:cubicBezTo>
                  <a:pt x="4295" y="2672"/>
                  <a:pt x="4183" y="2545"/>
                  <a:pt x="4040" y="2545"/>
                </a:cubicBezTo>
                <a:close/>
                <a:moveTo>
                  <a:pt x="3611" y="255"/>
                </a:moveTo>
                <a:cubicBezTo>
                  <a:pt x="3611" y="207"/>
                  <a:pt x="3659" y="159"/>
                  <a:pt x="3722" y="159"/>
                </a:cubicBezTo>
                <a:cubicBezTo>
                  <a:pt x="3770" y="159"/>
                  <a:pt x="3817" y="207"/>
                  <a:pt x="3817" y="255"/>
                </a:cubicBezTo>
                <a:lnTo>
                  <a:pt x="3817" y="2545"/>
                </a:lnTo>
                <a:lnTo>
                  <a:pt x="3611" y="2545"/>
                </a:lnTo>
                <a:close/>
                <a:moveTo>
                  <a:pt x="3817" y="3945"/>
                </a:moveTo>
                <a:cubicBezTo>
                  <a:pt x="3817" y="3992"/>
                  <a:pt x="3770" y="4040"/>
                  <a:pt x="3722" y="4040"/>
                </a:cubicBezTo>
                <a:cubicBezTo>
                  <a:pt x="3659" y="4040"/>
                  <a:pt x="3611" y="3992"/>
                  <a:pt x="3611" y="3945"/>
                </a:cubicBezTo>
                <a:lnTo>
                  <a:pt x="3611" y="3070"/>
                </a:lnTo>
                <a:lnTo>
                  <a:pt x="3817" y="3070"/>
                </a:lnTo>
                <a:close/>
                <a:moveTo>
                  <a:pt x="4040" y="2911"/>
                </a:moveTo>
                <a:lnTo>
                  <a:pt x="3404" y="2911"/>
                </a:lnTo>
                <a:cubicBezTo>
                  <a:pt x="3340" y="2911"/>
                  <a:pt x="3293" y="2863"/>
                  <a:pt x="3293" y="2816"/>
                </a:cubicBezTo>
                <a:cubicBezTo>
                  <a:pt x="3293" y="2752"/>
                  <a:pt x="3340" y="2704"/>
                  <a:pt x="3404" y="2704"/>
                </a:cubicBezTo>
                <a:lnTo>
                  <a:pt x="4040" y="2704"/>
                </a:lnTo>
                <a:cubicBezTo>
                  <a:pt x="4088" y="2704"/>
                  <a:pt x="4135" y="2752"/>
                  <a:pt x="4135" y="2816"/>
                </a:cubicBezTo>
                <a:cubicBezTo>
                  <a:pt x="4135" y="2863"/>
                  <a:pt x="4088" y="2911"/>
                  <a:pt x="4040" y="291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6" name="Freeform: Shape 16">
            <a:extLst>
              <a:ext uri="{FF2B5EF4-FFF2-40B4-BE49-F238E27FC236}">
                <a16:creationId xmlns:a16="http://schemas.microsoft.com/office/drawing/2014/main" id="{CDA29AE7-35AA-9144-A798-0E6F7B8CDFCB}"/>
              </a:ext>
            </a:extLst>
          </p:cNvPr>
          <p:cNvSpPr/>
          <p:nvPr/>
        </p:nvSpPr>
        <p:spPr>
          <a:xfrm>
            <a:off x="10311626" y="9889689"/>
            <a:ext cx="1336680" cy="1477080"/>
          </a:xfrm>
          <a:custGeom>
            <a:avLst/>
            <a:gdLst/>
            <a:ahLst/>
            <a:cxnLst>
              <a:cxn ang="3cd4">
                <a:pos x="hc" y="t"/>
              </a:cxn>
              <a:cxn ang="cd2">
                <a:pos x="l" y="vc"/>
              </a:cxn>
              <a:cxn ang="cd4">
                <a:pos x="hc" y="b"/>
              </a:cxn>
              <a:cxn ang="0">
                <a:pos x="r" y="vc"/>
              </a:cxn>
            </a:cxnLst>
            <a:rect l="l" t="t" r="r" b="b"/>
            <a:pathLst>
              <a:path w="3714" h="4104">
                <a:moveTo>
                  <a:pt x="2743" y="0"/>
                </a:moveTo>
                <a:cubicBezTo>
                  <a:pt x="2457" y="0"/>
                  <a:pt x="2203" y="111"/>
                  <a:pt x="2028" y="302"/>
                </a:cubicBezTo>
                <a:cubicBezTo>
                  <a:pt x="2012" y="287"/>
                  <a:pt x="1996" y="270"/>
                  <a:pt x="1996" y="270"/>
                </a:cubicBezTo>
                <a:cubicBezTo>
                  <a:pt x="1980" y="223"/>
                  <a:pt x="1932" y="207"/>
                  <a:pt x="1900" y="239"/>
                </a:cubicBezTo>
                <a:cubicBezTo>
                  <a:pt x="1852" y="254"/>
                  <a:pt x="1837" y="302"/>
                  <a:pt x="1869" y="350"/>
                </a:cubicBezTo>
                <a:cubicBezTo>
                  <a:pt x="1869" y="350"/>
                  <a:pt x="1885" y="382"/>
                  <a:pt x="1932" y="445"/>
                </a:cubicBezTo>
                <a:cubicBezTo>
                  <a:pt x="1821" y="588"/>
                  <a:pt x="1773" y="779"/>
                  <a:pt x="1773" y="970"/>
                </a:cubicBezTo>
                <a:cubicBezTo>
                  <a:pt x="1773" y="986"/>
                  <a:pt x="1773" y="1018"/>
                  <a:pt x="1773" y="1050"/>
                </a:cubicBezTo>
                <a:cubicBezTo>
                  <a:pt x="103" y="3388"/>
                  <a:pt x="103" y="3388"/>
                  <a:pt x="103" y="3388"/>
                </a:cubicBezTo>
                <a:cubicBezTo>
                  <a:pt x="87" y="3404"/>
                  <a:pt x="-56" y="3547"/>
                  <a:pt x="24" y="3738"/>
                </a:cubicBezTo>
                <a:cubicBezTo>
                  <a:pt x="87" y="3897"/>
                  <a:pt x="151" y="3944"/>
                  <a:pt x="215" y="3992"/>
                </a:cubicBezTo>
                <a:cubicBezTo>
                  <a:pt x="294" y="4056"/>
                  <a:pt x="437" y="4104"/>
                  <a:pt x="516" y="4104"/>
                </a:cubicBezTo>
                <a:lnTo>
                  <a:pt x="533" y="4104"/>
                </a:lnTo>
                <a:cubicBezTo>
                  <a:pt x="628" y="4104"/>
                  <a:pt x="707" y="4056"/>
                  <a:pt x="755" y="4008"/>
                </a:cubicBezTo>
                <a:cubicBezTo>
                  <a:pt x="787" y="3976"/>
                  <a:pt x="2552" y="2179"/>
                  <a:pt x="2775" y="1941"/>
                </a:cubicBezTo>
                <a:cubicBezTo>
                  <a:pt x="3030" y="1924"/>
                  <a:pt x="3252" y="1829"/>
                  <a:pt x="3411" y="1670"/>
                </a:cubicBezTo>
                <a:cubicBezTo>
                  <a:pt x="3459" y="1686"/>
                  <a:pt x="3491" y="1702"/>
                  <a:pt x="3507" y="1718"/>
                </a:cubicBezTo>
                <a:cubicBezTo>
                  <a:pt x="3523" y="1718"/>
                  <a:pt x="3523" y="1718"/>
                  <a:pt x="3539" y="1718"/>
                </a:cubicBezTo>
                <a:cubicBezTo>
                  <a:pt x="3570" y="1718"/>
                  <a:pt x="3602" y="1702"/>
                  <a:pt x="3602" y="1670"/>
                </a:cubicBezTo>
                <a:cubicBezTo>
                  <a:pt x="3618" y="1623"/>
                  <a:pt x="3602" y="1575"/>
                  <a:pt x="3570" y="1575"/>
                </a:cubicBezTo>
                <a:cubicBezTo>
                  <a:pt x="3554" y="1559"/>
                  <a:pt x="3539" y="1559"/>
                  <a:pt x="3523" y="1559"/>
                </a:cubicBezTo>
                <a:cubicBezTo>
                  <a:pt x="3650" y="1384"/>
                  <a:pt x="3714" y="1193"/>
                  <a:pt x="3714" y="970"/>
                </a:cubicBezTo>
                <a:cubicBezTo>
                  <a:pt x="3714" y="430"/>
                  <a:pt x="3284" y="0"/>
                  <a:pt x="2743" y="0"/>
                </a:cubicBezTo>
                <a:close/>
                <a:moveTo>
                  <a:pt x="644" y="3897"/>
                </a:moveTo>
                <a:cubicBezTo>
                  <a:pt x="612" y="3929"/>
                  <a:pt x="564" y="3944"/>
                  <a:pt x="533" y="3944"/>
                </a:cubicBezTo>
                <a:cubicBezTo>
                  <a:pt x="485" y="3944"/>
                  <a:pt x="358" y="3897"/>
                  <a:pt x="310" y="3865"/>
                </a:cubicBezTo>
                <a:cubicBezTo>
                  <a:pt x="246" y="3817"/>
                  <a:pt x="215" y="3786"/>
                  <a:pt x="167" y="3674"/>
                </a:cubicBezTo>
                <a:cubicBezTo>
                  <a:pt x="135" y="3595"/>
                  <a:pt x="215" y="3499"/>
                  <a:pt x="215" y="3499"/>
                </a:cubicBezTo>
                <a:cubicBezTo>
                  <a:pt x="1821" y="1257"/>
                  <a:pt x="1821" y="1257"/>
                  <a:pt x="1821" y="1257"/>
                </a:cubicBezTo>
                <a:cubicBezTo>
                  <a:pt x="1916" y="1606"/>
                  <a:pt x="2218" y="1861"/>
                  <a:pt x="2569" y="1924"/>
                </a:cubicBezTo>
                <a:cubicBezTo>
                  <a:pt x="2139" y="2370"/>
                  <a:pt x="676" y="3865"/>
                  <a:pt x="644" y="3897"/>
                </a:cubicBezTo>
                <a:close/>
                <a:moveTo>
                  <a:pt x="2743" y="1781"/>
                </a:moveTo>
                <a:cubicBezTo>
                  <a:pt x="2298" y="1781"/>
                  <a:pt x="1932" y="1415"/>
                  <a:pt x="1932" y="970"/>
                </a:cubicBezTo>
                <a:cubicBezTo>
                  <a:pt x="1932" y="827"/>
                  <a:pt x="1964" y="700"/>
                  <a:pt x="2028" y="588"/>
                </a:cubicBezTo>
                <a:cubicBezTo>
                  <a:pt x="2139" y="732"/>
                  <a:pt x="2298" y="939"/>
                  <a:pt x="2521" y="1114"/>
                </a:cubicBezTo>
                <a:cubicBezTo>
                  <a:pt x="2775" y="1320"/>
                  <a:pt x="3045" y="1495"/>
                  <a:pt x="3252" y="1606"/>
                </a:cubicBezTo>
                <a:cubicBezTo>
                  <a:pt x="3125" y="1718"/>
                  <a:pt x="2934" y="1781"/>
                  <a:pt x="2743" y="1781"/>
                </a:cubicBezTo>
                <a:close/>
                <a:moveTo>
                  <a:pt x="2616" y="986"/>
                </a:moveTo>
                <a:cubicBezTo>
                  <a:pt x="2393" y="795"/>
                  <a:pt x="2218" y="588"/>
                  <a:pt x="2123" y="445"/>
                </a:cubicBezTo>
                <a:cubicBezTo>
                  <a:pt x="2266" y="270"/>
                  <a:pt x="2489" y="159"/>
                  <a:pt x="2743" y="159"/>
                </a:cubicBezTo>
                <a:cubicBezTo>
                  <a:pt x="3188" y="159"/>
                  <a:pt x="3554" y="525"/>
                  <a:pt x="3554" y="970"/>
                </a:cubicBezTo>
                <a:cubicBezTo>
                  <a:pt x="3554" y="1161"/>
                  <a:pt x="3491" y="1336"/>
                  <a:pt x="3379" y="1479"/>
                </a:cubicBezTo>
                <a:cubicBezTo>
                  <a:pt x="3188" y="1384"/>
                  <a:pt x="2902" y="1209"/>
                  <a:pt x="2616" y="98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7" name="Freeform: Shape 17">
            <a:extLst>
              <a:ext uri="{FF2B5EF4-FFF2-40B4-BE49-F238E27FC236}">
                <a16:creationId xmlns:a16="http://schemas.microsoft.com/office/drawing/2014/main" id="{D56746AD-5B80-644A-AB5E-C72FD9424EEA}"/>
              </a:ext>
            </a:extLst>
          </p:cNvPr>
          <p:cNvSpPr/>
          <p:nvPr/>
        </p:nvSpPr>
        <p:spPr>
          <a:xfrm>
            <a:off x="17488593" y="6527007"/>
            <a:ext cx="1310760" cy="1527120"/>
          </a:xfrm>
          <a:custGeom>
            <a:avLst/>
            <a:gdLst/>
            <a:ahLst/>
            <a:cxnLst>
              <a:cxn ang="3cd4">
                <a:pos x="hc" y="t"/>
              </a:cxn>
              <a:cxn ang="cd2">
                <a:pos x="l" y="vc"/>
              </a:cxn>
              <a:cxn ang="cd4">
                <a:pos x="hc" y="b"/>
              </a:cxn>
              <a:cxn ang="0">
                <a:pos x="r" y="vc"/>
              </a:cxn>
            </a:cxnLst>
            <a:rect l="l" t="t" r="r" b="b"/>
            <a:pathLst>
              <a:path w="3642" h="4243">
                <a:moveTo>
                  <a:pt x="0" y="3639"/>
                </a:moveTo>
                <a:cubicBezTo>
                  <a:pt x="0" y="3972"/>
                  <a:pt x="366" y="4243"/>
                  <a:pt x="796" y="4243"/>
                </a:cubicBezTo>
                <a:cubicBezTo>
                  <a:pt x="1241" y="4243"/>
                  <a:pt x="1606" y="3972"/>
                  <a:pt x="1606" y="3639"/>
                </a:cubicBezTo>
                <a:cubicBezTo>
                  <a:pt x="1606" y="2160"/>
                  <a:pt x="1606" y="2160"/>
                  <a:pt x="1606" y="2160"/>
                </a:cubicBezTo>
                <a:cubicBezTo>
                  <a:pt x="3483" y="1014"/>
                  <a:pt x="3483" y="1014"/>
                  <a:pt x="3483" y="1014"/>
                </a:cubicBezTo>
                <a:cubicBezTo>
                  <a:pt x="3483" y="2970"/>
                  <a:pt x="3483" y="2970"/>
                  <a:pt x="3483" y="2970"/>
                </a:cubicBezTo>
                <a:cubicBezTo>
                  <a:pt x="3340" y="2827"/>
                  <a:pt x="3102" y="2716"/>
                  <a:pt x="2831" y="2716"/>
                </a:cubicBezTo>
                <a:cubicBezTo>
                  <a:pt x="2402" y="2716"/>
                  <a:pt x="2036" y="3002"/>
                  <a:pt x="2036" y="3336"/>
                </a:cubicBezTo>
                <a:cubicBezTo>
                  <a:pt x="2036" y="3686"/>
                  <a:pt x="2402" y="3957"/>
                  <a:pt x="2831" y="3957"/>
                </a:cubicBezTo>
                <a:cubicBezTo>
                  <a:pt x="3277" y="3957"/>
                  <a:pt x="3642" y="3686"/>
                  <a:pt x="3642" y="3336"/>
                </a:cubicBezTo>
                <a:cubicBezTo>
                  <a:pt x="3642" y="76"/>
                  <a:pt x="3642" y="76"/>
                  <a:pt x="3642" y="76"/>
                </a:cubicBezTo>
                <a:cubicBezTo>
                  <a:pt x="3642" y="44"/>
                  <a:pt x="3626" y="28"/>
                  <a:pt x="3595" y="12"/>
                </a:cubicBezTo>
                <a:cubicBezTo>
                  <a:pt x="3579" y="-4"/>
                  <a:pt x="3547" y="-4"/>
                  <a:pt x="3515" y="12"/>
                </a:cubicBezTo>
                <a:cubicBezTo>
                  <a:pt x="1479" y="1316"/>
                  <a:pt x="1479" y="1316"/>
                  <a:pt x="1479" y="1316"/>
                </a:cubicBezTo>
                <a:cubicBezTo>
                  <a:pt x="1463" y="1316"/>
                  <a:pt x="1448" y="1348"/>
                  <a:pt x="1448" y="1380"/>
                </a:cubicBezTo>
                <a:cubicBezTo>
                  <a:pt x="1448" y="3257"/>
                  <a:pt x="1448" y="3257"/>
                  <a:pt x="1448" y="3257"/>
                </a:cubicBezTo>
                <a:cubicBezTo>
                  <a:pt x="1305" y="3114"/>
                  <a:pt x="1066" y="3018"/>
                  <a:pt x="796" y="3018"/>
                </a:cubicBezTo>
                <a:cubicBezTo>
                  <a:pt x="366" y="3018"/>
                  <a:pt x="0" y="3288"/>
                  <a:pt x="0" y="3639"/>
                </a:cubicBezTo>
                <a:close/>
                <a:moveTo>
                  <a:pt x="2831" y="3797"/>
                </a:moveTo>
                <a:cubicBezTo>
                  <a:pt x="2481" y="3797"/>
                  <a:pt x="2195" y="3591"/>
                  <a:pt x="2195" y="3336"/>
                </a:cubicBezTo>
                <a:cubicBezTo>
                  <a:pt x="2195" y="3082"/>
                  <a:pt x="2481" y="2875"/>
                  <a:pt x="2831" y="2875"/>
                </a:cubicBezTo>
                <a:cubicBezTo>
                  <a:pt x="3197" y="2875"/>
                  <a:pt x="3483" y="3082"/>
                  <a:pt x="3483" y="3336"/>
                </a:cubicBezTo>
                <a:cubicBezTo>
                  <a:pt x="3483" y="3591"/>
                  <a:pt x="3197" y="3797"/>
                  <a:pt x="2831" y="3797"/>
                </a:cubicBezTo>
                <a:close/>
                <a:moveTo>
                  <a:pt x="3483" y="219"/>
                </a:moveTo>
                <a:cubicBezTo>
                  <a:pt x="3483" y="823"/>
                  <a:pt x="3483" y="823"/>
                  <a:pt x="3483" y="823"/>
                </a:cubicBezTo>
                <a:cubicBezTo>
                  <a:pt x="1606" y="1969"/>
                  <a:pt x="1606" y="1969"/>
                  <a:pt x="1606" y="1969"/>
                </a:cubicBezTo>
                <a:cubicBezTo>
                  <a:pt x="1606" y="1428"/>
                  <a:pt x="1606" y="1428"/>
                  <a:pt x="1606" y="1428"/>
                </a:cubicBezTo>
                <a:close/>
                <a:moveTo>
                  <a:pt x="796" y="3177"/>
                </a:moveTo>
                <a:cubicBezTo>
                  <a:pt x="1161" y="3177"/>
                  <a:pt x="1448" y="3384"/>
                  <a:pt x="1448" y="3639"/>
                </a:cubicBezTo>
                <a:cubicBezTo>
                  <a:pt x="1448" y="3877"/>
                  <a:pt x="1161" y="4084"/>
                  <a:pt x="796" y="4084"/>
                </a:cubicBezTo>
                <a:cubicBezTo>
                  <a:pt x="445" y="4084"/>
                  <a:pt x="159" y="3877"/>
                  <a:pt x="159" y="3639"/>
                </a:cubicBezTo>
                <a:cubicBezTo>
                  <a:pt x="159" y="3384"/>
                  <a:pt x="445" y="3177"/>
                  <a:pt x="796" y="317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48" name="Freeform: Shape 18">
            <a:extLst>
              <a:ext uri="{FF2B5EF4-FFF2-40B4-BE49-F238E27FC236}">
                <a16:creationId xmlns:a16="http://schemas.microsoft.com/office/drawing/2014/main" id="{1891EC1A-F4DC-7449-AAE0-3842A425CC6D}"/>
              </a:ext>
            </a:extLst>
          </p:cNvPr>
          <p:cNvSpPr/>
          <p:nvPr/>
        </p:nvSpPr>
        <p:spPr>
          <a:xfrm>
            <a:off x="21460414" y="6560127"/>
            <a:ext cx="1419480" cy="1430999"/>
          </a:xfrm>
          <a:custGeom>
            <a:avLst/>
            <a:gdLst/>
            <a:ahLst/>
            <a:cxnLst>
              <a:cxn ang="3cd4">
                <a:pos x="hc" y="t"/>
              </a:cxn>
              <a:cxn ang="cd2">
                <a:pos x="l" y="vc"/>
              </a:cxn>
              <a:cxn ang="cd4">
                <a:pos x="hc" y="b"/>
              </a:cxn>
              <a:cxn ang="0">
                <a:pos x="r" y="vc"/>
              </a:cxn>
            </a:cxnLst>
            <a:rect l="l" t="t" r="r" b="b"/>
            <a:pathLst>
              <a:path w="3944" h="3976">
                <a:moveTo>
                  <a:pt x="1177" y="3292"/>
                </a:moveTo>
                <a:cubicBezTo>
                  <a:pt x="1479" y="3292"/>
                  <a:pt x="1702" y="3101"/>
                  <a:pt x="1702" y="2878"/>
                </a:cubicBezTo>
                <a:lnTo>
                  <a:pt x="1702" y="1988"/>
                </a:lnTo>
                <a:lnTo>
                  <a:pt x="2799" y="1320"/>
                </a:lnTo>
                <a:lnTo>
                  <a:pt x="2799" y="2401"/>
                </a:lnTo>
                <a:cubicBezTo>
                  <a:pt x="2704" y="2338"/>
                  <a:pt x="2577" y="2290"/>
                  <a:pt x="2434" y="2290"/>
                </a:cubicBezTo>
                <a:cubicBezTo>
                  <a:pt x="2147" y="2290"/>
                  <a:pt x="1908" y="2465"/>
                  <a:pt x="1908" y="2704"/>
                </a:cubicBezTo>
                <a:cubicBezTo>
                  <a:pt x="1908" y="2926"/>
                  <a:pt x="2147" y="3101"/>
                  <a:pt x="2434" y="3101"/>
                </a:cubicBezTo>
                <a:cubicBezTo>
                  <a:pt x="2720" y="3101"/>
                  <a:pt x="2958" y="2926"/>
                  <a:pt x="2958" y="2704"/>
                </a:cubicBezTo>
                <a:lnTo>
                  <a:pt x="2958" y="699"/>
                </a:lnTo>
                <a:cubicBezTo>
                  <a:pt x="2958" y="668"/>
                  <a:pt x="2942" y="636"/>
                  <a:pt x="2910" y="620"/>
                </a:cubicBezTo>
                <a:cubicBezTo>
                  <a:pt x="2895" y="620"/>
                  <a:pt x="2863" y="620"/>
                  <a:pt x="2831" y="636"/>
                </a:cubicBezTo>
                <a:lnTo>
                  <a:pt x="1590" y="1431"/>
                </a:lnTo>
                <a:cubicBezTo>
                  <a:pt x="1559" y="1447"/>
                  <a:pt x="1543" y="1463"/>
                  <a:pt x="1543" y="1495"/>
                </a:cubicBezTo>
                <a:lnTo>
                  <a:pt x="1543" y="2576"/>
                </a:lnTo>
                <a:cubicBezTo>
                  <a:pt x="1447" y="2513"/>
                  <a:pt x="1320" y="2465"/>
                  <a:pt x="1177" y="2465"/>
                </a:cubicBezTo>
                <a:cubicBezTo>
                  <a:pt x="890" y="2465"/>
                  <a:pt x="668" y="2656"/>
                  <a:pt x="668" y="2878"/>
                </a:cubicBezTo>
                <a:cubicBezTo>
                  <a:pt x="668" y="3101"/>
                  <a:pt x="890" y="3292"/>
                  <a:pt x="1177" y="3292"/>
                </a:cubicBezTo>
                <a:close/>
                <a:moveTo>
                  <a:pt x="2434" y="2942"/>
                </a:moveTo>
                <a:cubicBezTo>
                  <a:pt x="2243" y="2942"/>
                  <a:pt x="2068" y="2831"/>
                  <a:pt x="2068" y="2704"/>
                </a:cubicBezTo>
                <a:cubicBezTo>
                  <a:pt x="2068" y="2560"/>
                  <a:pt x="2243" y="2449"/>
                  <a:pt x="2434" y="2449"/>
                </a:cubicBezTo>
                <a:cubicBezTo>
                  <a:pt x="2624" y="2449"/>
                  <a:pt x="2799" y="2560"/>
                  <a:pt x="2799" y="2704"/>
                </a:cubicBezTo>
                <a:cubicBezTo>
                  <a:pt x="2799" y="2831"/>
                  <a:pt x="2624" y="2942"/>
                  <a:pt x="2434" y="2942"/>
                </a:cubicBezTo>
                <a:close/>
                <a:moveTo>
                  <a:pt x="2799" y="842"/>
                </a:moveTo>
                <a:lnTo>
                  <a:pt x="2799" y="1145"/>
                </a:lnTo>
                <a:lnTo>
                  <a:pt x="1702" y="1813"/>
                </a:lnTo>
                <a:lnTo>
                  <a:pt x="1702" y="1542"/>
                </a:lnTo>
                <a:close/>
                <a:moveTo>
                  <a:pt x="1177" y="2624"/>
                </a:moveTo>
                <a:cubicBezTo>
                  <a:pt x="1384" y="2624"/>
                  <a:pt x="1543" y="2735"/>
                  <a:pt x="1543" y="2878"/>
                </a:cubicBezTo>
                <a:cubicBezTo>
                  <a:pt x="1543" y="3006"/>
                  <a:pt x="1384" y="3133"/>
                  <a:pt x="1177" y="3133"/>
                </a:cubicBezTo>
                <a:cubicBezTo>
                  <a:pt x="986" y="3133"/>
                  <a:pt x="827" y="3006"/>
                  <a:pt x="827" y="2878"/>
                </a:cubicBezTo>
                <a:cubicBezTo>
                  <a:pt x="827" y="2735"/>
                  <a:pt x="986" y="2624"/>
                  <a:pt x="1177" y="2624"/>
                </a:cubicBezTo>
                <a:close/>
                <a:moveTo>
                  <a:pt x="0" y="302"/>
                </a:moveTo>
                <a:lnTo>
                  <a:pt x="0" y="3658"/>
                </a:lnTo>
                <a:cubicBezTo>
                  <a:pt x="0" y="3833"/>
                  <a:pt x="143" y="3976"/>
                  <a:pt x="318" y="3976"/>
                </a:cubicBezTo>
                <a:lnTo>
                  <a:pt x="3642" y="3976"/>
                </a:lnTo>
                <a:cubicBezTo>
                  <a:pt x="3801" y="3976"/>
                  <a:pt x="3944" y="3833"/>
                  <a:pt x="3944" y="3658"/>
                </a:cubicBezTo>
                <a:lnTo>
                  <a:pt x="3944" y="302"/>
                </a:lnTo>
                <a:cubicBezTo>
                  <a:pt x="3944" y="143"/>
                  <a:pt x="3801" y="0"/>
                  <a:pt x="3642" y="0"/>
                </a:cubicBezTo>
                <a:lnTo>
                  <a:pt x="318" y="0"/>
                </a:lnTo>
                <a:cubicBezTo>
                  <a:pt x="143" y="0"/>
                  <a:pt x="0" y="143"/>
                  <a:pt x="0" y="302"/>
                </a:cubicBezTo>
                <a:close/>
                <a:moveTo>
                  <a:pt x="3785" y="302"/>
                </a:moveTo>
                <a:lnTo>
                  <a:pt x="3785" y="3658"/>
                </a:lnTo>
                <a:cubicBezTo>
                  <a:pt x="3785" y="3753"/>
                  <a:pt x="3722" y="3817"/>
                  <a:pt x="3642" y="3817"/>
                </a:cubicBezTo>
                <a:lnTo>
                  <a:pt x="318" y="3817"/>
                </a:lnTo>
                <a:cubicBezTo>
                  <a:pt x="238" y="3817"/>
                  <a:pt x="159" y="3753"/>
                  <a:pt x="159" y="3658"/>
                </a:cubicBezTo>
                <a:lnTo>
                  <a:pt x="159" y="302"/>
                </a:lnTo>
                <a:cubicBezTo>
                  <a:pt x="159" y="223"/>
                  <a:pt x="238" y="159"/>
                  <a:pt x="318" y="159"/>
                </a:cubicBezTo>
                <a:lnTo>
                  <a:pt x="3642" y="159"/>
                </a:lnTo>
                <a:cubicBezTo>
                  <a:pt x="3722" y="159"/>
                  <a:pt x="3785" y="223"/>
                  <a:pt x="3785" y="30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74486849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Music / Video - 2</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42" name="TextBox 41">
            <a:extLst>
              <a:ext uri="{FF2B5EF4-FFF2-40B4-BE49-F238E27FC236}">
                <a16:creationId xmlns:a16="http://schemas.microsoft.com/office/drawing/2014/main" id="{8386DA05-FFF2-894F-A180-73C2D8A240B5}"/>
              </a:ext>
            </a:extLst>
          </p:cNvPr>
          <p:cNvSpPr txBox="1"/>
          <p:nvPr/>
        </p:nvSpPr>
        <p:spPr>
          <a:xfrm>
            <a:off x="1052420" y="51649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ound –</a:t>
            </a:r>
          </a:p>
        </p:txBody>
      </p:sp>
      <p:sp>
        <p:nvSpPr>
          <p:cNvPr id="43" name="TextBox 42">
            <a:extLst>
              <a:ext uri="{FF2B5EF4-FFF2-40B4-BE49-F238E27FC236}">
                <a16:creationId xmlns:a16="http://schemas.microsoft.com/office/drawing/2014/main" id="{25BE1F84-B31B-B447-BA74-E7E07BF39A18}"/>
              </a:ext>
            </a:extLst>
          </p:cNvPr>
          <p:cNvSpPr txBox="1"/>
          <p:nvPr/>
        </p:nvSpPr>
        <p:spPr>
          <a:xfrm>
            <a:off x="5032286" y="51649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ound +</a:t>
            </a:r>
          </a:p>
        </p:txBody>
      </p:sp>
      <p:sp>
        <p:nvSpPr>
          <p:cNvPr id="44" name="TextBox 43">
            <a:extLst>
              <a:ext uri="{FF2B5EF4-FFF2-40B4-BE49-F238E27FC236}">
                <a16:creationId xmlns:a16="http://schemas.microsoft.com/office/drawing/2014/main" id="{ADDCAC7D-00BE-9147-BA49-6A1ABC40D117}"/>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peaker</a:t>
            </a:r>
          </a:p>
        </p:txBody>
      </p:sp>
      <p:sp>
        <p:nvSpPr>
          <p:cNvPr id="45" name="TextBox 44">
            <a:extLst>
              <a:ext uri="{FF2B5EF4-FFF2-40B4-BE49-F238E27FC236}">
                <a16:creationId xmlns:a16="http://schemas.microsoft.com/office/drawing/2014/main" id="{F6BE4420-0A58-9C4B-BEAF-19D6A4B652BF}"/>
              </a:ext>
            </a:extLst>
          </p:cNvPr>
          <p:cNvSpPr txBox="1"/>
          <p:nvPr/>
        </p:nvSpPr>
        <p:spPr>
          <a:xfrm>
            <a:off x="16760869"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pe</a:t>
            </a:r>
          </a:p>
        </p:txBody>
      </p:sp>
      <p:sp>
        <p:nvSpPr>
          <p:cNvPr id="46" name="TextBox 45">
            <a:extLst>
              <a:ext uri="{FF2B5EF4-FFF2-40B4-BE49-F238E27FC236}">
                <a16:creationId xmlns:a16="http://schemas.microsoft.com/office/drawing/2014/main" id="{6ED312A2-6231-6E4F-8562-15B393F8A358}"/>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Video Play 2</a:t>
            </a:r>
          </a:p>
        </p:txBody>
      </p:sp>
      <p:sp>
        <p:nvSpPr>
          <p:cNvPr id="47" name="TextBox 46">
            <a:extLst>
              <a:ext uri="{FF2B5EF4-FFF2-40B4-BE49-F238E27FC236}">
                <a16:creationId xmlns:a16="http://schemas.microsoft.com/office/drawing/2014/main" id="{BDFD9249-7B96-9C4E-B1E8-DECAB29C212C}"/>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ilm Play</a:t>
            </a:r>
          </a:p>
        </p:txBody>
      </p:sp>
      <p:sp>
        <p:nvSpPr>
          <p:cNvPr id="48" name="TextBox 47">
            <a:extLst>
              <a:ext uri="{FF2B5EF4-FFF2-40B4-BE49-F238E27FC236}">
                <a16:creationId xmlns:a16="http://schemas.microsoft.com/office/drawing/2014/main" id="{FEF2F780-2C0F-234C-91A6-14252C98BE27}"/>
              </a:ext>
            </a:extLst>
          </p:cNvPr>
          <p:cNvSpPr txBox="1"/>
          <p:nvPr/>
        </p:nvSpPr>
        <p:spPr>
          <a:xfrm>
            <a:off x="9084538" y="8292956"/>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ircle Play</a:t>
            </a:r>
          </a:p>
        </p:txBody>
      </p:sp>
      <p:sp>
        <p:nvSpPr>
          <p:cNvPr id="49" name="TextBox 48">
            <a:extLst>
              <a:ext uri="{FF2B5EF4-FFF2-40B4-BE49-F238E27FC236}">
                <a16:creationId xmlns:a16="http://schemas.microsoft.com/office/drawing/2014/main" id="{26387B42-B021-924B-A6EE-996234BA3624}"/>
              </a:ext>
            </a:extLst>
          </p:cNvPr>
          <p:cNvSpPr txBox="1"/>
          <p:nvPr/>
        </p:nvSpPr>
        <p:spPr>
          <a:xfrm>
            <a:off x="13117472" y="8292956"/>
            <a:ext cx="333049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Video RR</a:t>
            </a:r>
          </a:p>
        </p:txBody>
      </p:sp>
      <p:sp>
        <p:nvSpPr>
          <p:cNvPr id="50" name="TextBox 49">
            <a:extLst>
              <a:ext uri="{FF2B5EF4-FFF2-40B4-BE49-F238E27FC236}">
                <a16:creationId xmlns:a16="http://schemas.microsoft.com/office/drawing/2014/main" id="{423FF9F4-B7DF-6946-B424-19CC403026B5}"/>
              </a:ext>
            </a:extLst>
          </p:cNvPr>
          <p:cNvSpPr txBox="1"/>
          <p:nvPr/>
        </p:nvSpPr>
        <p:spPr>
          <a:xfrm>
            <a:off x="20572486" y="8292956"/>
            <a:ext cx="29659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layer</a:t>
            </a:r>
          </a:p>
        </p:txBody>
      </p:sp>
      <p:sp>
        <p:nvSpPr>
          <p:cNvPr id="51" name="TextBox 50">
            <a:extLst>
              <a:ext uri="{FF2B5EF4-FFF2-40B4-BE49-F238E27FC236}">
                <a16:creationId xmlns:a16="http://schemas.microsoft.com/office/drawing/2014/main" id="{CF54DEDB-4A97-874C-8047-E60C436DB407}"/>
              </a:ext>
            </a:extLst>
          </p:cNvPr>
          <p:cNvSpPr txBox="1"/>
          <p:nvPr/>
        </p:nvSpPr>
        <p:spPr>
          <a:xfrm>
            <a:off x="-47946" y="11657695"/>
            <a:ext cx="535455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ilm Projector</a:t>
            </a:r>
          </a:p>
        </p:txBody>
      </p:sp>
      <p:sp>
        <p:nvSpPr>
          <p:cNvPr id="52" name="TextBox 51">
            <a:extLst>
              <a:ext uri="{FF2B5EF4-FFF2-40B4-BE49-F238E27FC236}">
                <a16:creationId xmlns:a16="http://schemas.microsoft.com/office/drawing/2014/main" id="{F925B76A-22E1-9E44-A1DE-D9DB15569298}"/>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V</a:t>
            </a:r>
          </a:p>
        </p:txBody>
      </p:sp>
      <p:sp>
        <p:nvSpPr>
          <p:cNvPr id="53" name="TextBox 52">
            <a:extLst>
              <a:ext uri="{FF2B5EF4-FFF2-40B4-BE49-F238E27FC236}">
                <a16:creationId xmlns:a16="http://schemas.microsoft.com/office/drawing/2014/main" id="{A8FF267D-F1AD-1244-B515-A131F9E8A911}"/>
              </a:ext>
            </a:extLst>
          </p:cNvPr>
          <p:cNvSpPr txBox="1"/>
          <p:nvPr/>
        </p:nvSpPr>
        <p:spPr>
          <a:xfrm>
            <a:off x="8980459"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ilm Projector 2</a:t>
            </a:r>
          </a:p>
        </p:txBody>
      </p:sp>
      <p:sp>
        <p:nvSpPr>
          <p:cNvPr id="54" name="TextBox 53">
            <a:extLst>
              <a:ext uri="{FF2B5EF4-FFF2-40B4-BE49-F238E27FC236}">
                <a16:creationId xmlns:a16="http://schemas.microsoft.com/office/drawing/2014/main" id="{8AC90E06-52BC-0F4E-A9FF-5E5C8EAD7BBB}"/>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ilmstrip 1</a:t>
            </a:r>
          </a:p>
        </p:txBody>
      </p:sp>
      <p:sp>
        <p:nvSpPr>
          <p:cNvPr id="55" name="TextBox 54">
            <a:extLst>
              <a:ext uri="{FF2B5EF4-FFF2-40B4-BE49-F238E27FC236}">
                <a16:creationId xmlns:a16="http://schemas.microsoft.com/office/drawing/2014/main" id="{0612EF0B-2A65-0841-A5DA-3176B4A3B02A}"/>
              </a:ext>
            </a:extLst>
          </p:cNvPr>
          <p:cNvSpPr txBox="1"/>
          <p:nvPr/>
        </p:nvSpPr>
        <p:spPr>
          <a:xfrm>
            <a:off x="20182842" y="5288031"/>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HD</a:t>
            </a:r>
          </a:p>
        </p:txBody>
      </p:sp>
      <p:sp>
        <p:nvSpPr>
          <p:cNvPr id="56" name="Freeform: Shape 26">
            <a:extLst>
              <a:ext uri="{FF2B5EF4-FFF2-40B4-BE49-F238E27FC236}">
                <a16:creationId xmlns:a16="http://schemas.microsoft.com/office/drawing/2014/main" id="{61E58B96-BEA7-F140-B4C9-F3B03CEA511C}"/>
              </a:ext>
            </a:extLst>
          </p:cNvPr>
          <p:cNvSpPr/>
          <p:nvPr/>
        </p:nvSpPr>
        <p:spPr>
          <a:xfrm>
            <a:off x="10841443"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7" name="TextBox 56">
            <a:extLst>
              <a:ext uri="{FF2B5EF4-FFF2-40B4-BE49-F238E27FC236}">
                <a16:creationId xmlns:a16="http://schemas.microsoft.com/office/drawing/2014/main" id="{DF1B33EF-DFE0-1C48-AD90-FCEEDC855500}"/>
              </a:ext>
            </a:extLst>
          </p:cNvPr>
          <p:cNvSpPr txBox="1"/>
          <p:nvPr/>
        </p:nvSpPr>
        <p:spPr>
          <a:xfrm>
            <a:off x="13238737"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de-DE" sz="2800" dirty="0"/>
              <a:t>CD 1</a:t>
            </a:r>
            <a:endParaRPr lang="en-US" sz="2800" dirty="0"/>
          </a:p>
        </p:txBody>
      </p:sp>
      <p:sp>
        <p:nvSpPr>
          <p:cNvPr id="58" name="TextBox 57">
            <a:extLst>
              <a:ext uri="{FF2B5EF4-FFF2-40B4-BE49-F238E27FC236}">
                <a16:creationId xmlns:a16="http://schemas.microsoft.com/office/drawing/2014/main" id="{BA01A7B6-85F8-6444-ABD9-EC75812B4B5C}"/>
              </a:ext>
            </a:extLst>
          </p:cNvPr>
          <p:cNvSpPr txBox="1"/>
          <p:nvPr/>
        </p:nvSpPr>
        <p:spPr>
          <a:xfrm>
            <a:off x="16916236" y="8292956"/>
            <a:ext cx="34910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ic 3</a:t>
            </a:r>
          </a:p>
        </p:txBody>
      </p:sp>
      <p:sp>
        <p:nvSpPr>
          <p:cNvPr id="59" name="Freeform: Shape 13">
            <a:extLst>
              <a:ext uri="{FF2B5EF4-FFF2-40B4-BE49-F238E27FC236}">
                <a16:creationId xmlns:a16="http://schemas.microsoft.com/office/drawing/2014/main" id="{C15FEFA4-83FC-9C44-A5A9-19DC3F08183B}"/>
              </a:ext>
            </a:extLst>
          </p:cNvPr>
          <p:cNvSpPr/>
          <p:nvPr/>
        </p:nvSpPr>
        <p:spPr>
          <a:xfrm>
            <a:off x="2586189"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Freeform: Shape 1">
            <a:extLst>
              <a:ext uri="{FF2B5EF4-FFF2-40B4-BE49-F238E27FC236}">
                <a16:creationId xmlns:a16="http://schemas.microsoft.com/office/drawing/2014/main" id="{F2C88AE7-9F78-554D-8A94-B781A2C163CC}"/>
              </a:ext>
            </a:extLst>
          </p:cNvPr>
          <p:cNvSpPr/>
          <p:nvPr/>
        </p:nvSpPr>
        <p:spPr>
          <a:xfrm>
            <a:off x="10546886" y="9597367"/>
            <a:ext cx="866159" cy="1700280"/>
          </a:xfrm>
          <a:custGeom>
            <a:avLst/>
            <a:gdLst/>
            <a:ahLst/>
            <a:cxnLst>
              <a:cxn ang="3cd4">
                <a:pos x="hc" y="t"/>
              </a:cxn>
              <a:cxn ang="cd2">
                <a:pos x="l" y="vc"/>
              </a:cxn>
              <a:cxn ang="cd4">
                <a:pos x="hc" y="b"/>
              </a:cxn>
              <a:cxn ang="0">
                <a:pos x="r" y="vc"/>
              </a:cxn>
            </a:cxnLst>
            <a:rect l="l" t="t" r="r" b="b"/>
            <a:pathLst>
              <a:path w="2407" h="4724">
                <a:moveTo>
                  <a:pt x="1723" y="1623"/>
                </a:moveTo>
                <a:cubicBezTo>
                  <a:pt x="2280" y="1972"/>
                  <a:pt x="2280" y="1972"/>
                  <a:pt x="2280" y="1972"/>
                </a:cubicBezTo>
                <a:cubicBezTo>
                  <a:pt x="2296" y="1972"/>
                  <a:pt x="2312" y="1972"/>
                  <a:pt x="2328" y="1972"/>
                </a:cubicBezTo>
                <a:cubicBezTo>
                  <a:pt x="2328" y="1972"/>
                  <a:pt x="2344" y="1972"/>
                  <a:pt x="2360" y="1972"/>
                </a:cubicBezTo>
                <a:cubicBezTo>
                  <a:pt x="2392" y="1957"/>
                  <a:pt x="2407" y="1925"/>
                  <a:pt x="2407" y="1893"/>
                </a:cubicBezTo>
                <a:cubicBezTo>
                  <a:pt x="2407" y="509"/>
                  <a:pt x="2407" y="509"/>
                  <a:pt x="2407" y="509"/>
                </a:cubicBezTo>
                <a:cubicBezTo>
                  <a:pt x="2407" y="478"/>
                  <a:pt x="2392" y="461"/>
                  <a:pt x="2360" y="446"/>
                </a:cubicBezTo>
                <a:cubicBezTo>
                  <a:pt x="2328" y="430"/>
                  <a:pt x="2296" y="430"/>
                  <a:pt x="2280" y="446"/>
                </a:cubicBezTo>
                <a:cubicBezTo>
                  <a:pt x="1819" y="732"/>
                  <a:pt x="1819" y="732"/>
                  <a:pt x="1819" y="732"/>
                </a:cubicBezTo>
                <a:cubicBezTo>
                  <a:pt x="1867" y="652"/>
                  <a:pt x="1898" y="573"/>
                  <a:pt x="1898" y="478"/>
                </a:cubicBezTo>
                <a:cubicBezTo>
                  <a:pt x="1898" y="207"/>
                  <a:pt x="1676" y="0"/>
                  <a:pt x="1422" y="0"/>
                </a:cubicBezTo>
                <a:cubicBezTo>
                  <a:pt x="1247" y="0"/>
                  <a:pt x="1103" y="80"/>
                  <a:pt x="1024" y="207"/>
                </a:cubicBezTo>
                <a:cubicBezTo>
                  <a:pt x="928" y="80"/>
                  <a:pt x="785" y="0"/>
                  <a:pt x="626" y="0"/>
                </a:cubicBezTo>
                <a:cubicBezTo>
                  <a:pt x="356" y="0"/>
                  <a:pt x="149" y="207"/>
                  <a:pt x="149" y="478"/>
                </a:cubicBezTo>
                <a:cubicBezTo>
                  <a:pt x="149" y="605"/>
                  <a:pt x="213" y="748"/>
                  <a:pt x="308" y="827"/>
                </a:cubicBezTo>
                <a:cubicBezTo>
                  <a:pt x="260" y="827"/>
                  <a:pt x="260" y="827"/>
                  <a:pt x="260" y="827"/>
                </a:cubicBezTo>
                <a:cubicBezTo>
                  <a:pt x="213" y="827"/>
                  <a:pt x="181" y="859"/>
                  <a:pt x="181" y="907"/>
                </a:cubicBezTo>
                <a:cubicBezTo>
                  <a:pt x="181" y="1543"/>
                  <a:pt x="181" y="1543"/>
                  <a:pt x="181" y="1543"/>
                </a:cubicBezTo>
                <a:cubicBezTo>
                  <a:pt x="181" y="1591"/>
                  <a:pt x="213" y="1623"/>
                  <a:pt x="260" y="1623"/>
                </a:cubicBezTo>
                <a:cubicBezTo>
                  <a:pt x="753" y="1623"/>
                  <a:pt x="753" y="1623"/>
                  <a:pt x="753" y="1623"/>
                </a:cubicBezTo>
                <a:cubicBezTo>
                  <a:pt x="738" y="1639"/>
                  <a:pt x="738" y="1654"/>
                  <a:pt x="738" y="1686"/>
                </a:cubicBezTo>
                <a:cubicBezTo>
                  <a:pt x="738" y="1718"/>
                  <a:pt x="769" y="1766"/>
                  <a:pt x="817" y="1766"/>
                </a:cubicBezTo>
                <a:cubicBezTo>
                  <a:pt x="976" y="1766"/>
                  <a:pt x="976" y="1766"/>
                  <a:pt x="976" y="1766"/>
                </a:cubicBezTo>
                <a:cubicBezTo>
                  <a:pt x="976" y="2418"/>
                  <a:pt x="976" y="2418"/>
                  <a:pt x="976" y="2418"/>
                </a:cubicBezTo>
                <a:cubicBezTo>
                  <a:pt x="769" y="2418"/>
                  <a:pt x="769" y="2418"/>
                  <a:pt x="769" y="2418"/>
                </a:cubicBezTo>
                <a:cubicBezTo>
                  <a:pt x="738" y="2418"/>
                  <a:pt x="705" y="2434"/>
                  <a:pt x="690" y="2466"/>
                </a:cubicBezTo>
                <a:cubicBezTo>
                  <a:pt x="6" y="4549"/>
                  <a:pt x="6" y="4549"/>
                  <a:pt x="6" y="4549"/>
                </a:cubicBezTo>
                <a:cubicBezTo>
                  <a:pt x="-10" y="4597"/>
                  <a:pt x="6" y="4644"/>
                  <a:pt x="54" y="4660"/>
                </a:cubicBezTo>
                <a:cubicBezTo>
                  <a:pt x="86" y="4677"/>
                  <a:pt x="133" y="4644"/>
                  <a:pt x="149" y="4597"/>
                </a:cubicBezTo>
                <a:cubicBezTo>
                  <a:pt x="833" y="2577"/>
                  <a:pt x="833" y="2577"/>
                  <a:pt x="833" y="2577"/>
                </a:cubicBezTo>
                <a:cubicBezTo>
                  <a:pt x="976" y="2577"/>
                  <a:pt x="976" y="2577"/>
                  <a:pt x="976" y="2577"/>
                </a:cubicBezTo>
                <a:cubicBezTo>
                  <a:pt x="976" y="4644"/>
                  <a:pt x="976" y="4644"/>
                  <a:pt x="976" y="4644"/>
                </a:cubicBezTo>
                <a:cubicBezTo>
                  <a:pt x="976" y="4677"/>
                  <a:pt x="1008" y="4724"/>
                  <a:pt x="1056" y="4724"/>
                </a:cubicBezTo>
                <a:cubicBezTo>
                  <a:pt x="1087" y="4724"/>
                  <a:pt x="1135" y="4677"/>
                  <a:pt x="1135" y="4644"/>
                </a:cubicBezTo>
                <a:cubicBezTo>
                  <a:pt x="1135" y="2577"/>
                  <a:pt x="1135" y="2577"/>
                  <a:pt x="1135" y="2577"/>
                </a:cubicBezTo>
                <a:cubicBezTo>
                  <a:pt x="1310" y="2577"/>
                  <a:pt x="1310" y="2577"/>
                  <a:pt x="1310" y="2577"/>
                </a:cubicBezTo>
                <a:cubicBezTo>
                  <a:pt x="1978" y="4597"/>
                  <a:pt x="1978" y="4597"/>
                  <a:pt x="1978" y="4597"/>
                </a:cubicBezTo>
                <a:cubicBezTo>
                  <a:pt x="1994" y="4644"/>
                  <a:pt x="2026" y="4660"/>
                  <a:pt x="2058" y="4660"/>
                </a:cubicBezTo>
                <a:cubicBezTo>
                  <a:pt x="2074" y="4660"/>
                  <a:pt x="2074" y="4660"/>
                  <a:pt x="2089" y="4660"/>
                </a:cubicBezTo>
                <a:cubicBezTo>
                  <a:pt x="2121" y="4644"/>
                  <a:pt x="2153" y="4597"/>
                  <a:pt x="2137" y="4549"/>
                </a:cubicBezTo>
                <a:cubicBezTo>
                  <a:pt x="1437" y="2466"/>
                  <a:pt x="1437" y="2466"/>
                  <a:pt x="1437" y="2466"/>
                </a:cubicBezTo>
                <a:cubicBezTo>
                  <a:pt x="1437" y="2434"/>
                  <a:pt x="1405" y="2418"/>
                  <a:pt x="1374" y="2418"/>
                </a:cubicBezTo>
                <a:cubicBezTo>
                  <a:pt x="1135" y="2418"/>
                  <a:pt x="1135" y="2418"/>
                  <a:pt x="1135" y="2418"/>
                </a:cubicBezTo>
                <a:cubicBezTo>
                  <a:pt x="1135" y="1766"/>
                  <a:pt x="1135" y="1766"/>
                  <a:pt x="1135" y="1766"/>
                </a:cubicBezTo>
                <a:cubicBezTo>
                  <a:pt x="1294" y="1766"/>
                  <a:pt x="1294" y="1766"/>
                  <a:pt x="1294" y="1766"/>
                </a:cubicBezTo>
                <a:cubicBezTo>
                  <a:pt x="1326" y="1766"/>
                  <a:pt x="1374" y="1718"/>
                  <a:pt x="1374" y="1686"/>
                </a:cubicBezTo>
                <a:cubicBezTo>
                  <a:pt x="1374" y="1654"/>
                  <a:pt x="1358" y="1639"/>
                  <a:pt x="1342" y="1623"/>
                </a:cubicBezTo>
                <a:cubicBezTo>
                  <a:pt x="1692" y="1623"/>
                  <a:pt x="1692" y="1623"/>
                  <a:pt x="1692" y="1623"/>
                </a:cubicBezTo>
                <a:cubicBezTo>
                  <a:pt x="1692" y="1623"/>
                  <a:pt x="1708" y="1623"/>
                  <a:pt x="1723" y="1623"/>
                </a:cubicBezTo>
                <a:close/>
                <a:moveTo>
                  <a:pt x="2249" y="1750"/>
                </a:moveTo>
                <a:cubicBezTo>
                  <a:pt x="1771" y="1463"/>
                  <a:pt x="1771" y="1463"/>
                  <a:pt x="1771" y="1463"/>
                </a:cubicBezTo>
                <a:cubicBezTo>
                  <a:pt x="1771" y="955"/>
                  <a:pt x="1771" y="955"/>
                  <a:pt x="1771" y="955"/>
                </a:cubicBezTo>
                <a:cubicBezTo>
                  <a:pt x="2249" y="652"/>
                  <a:pt x="2249" y="652"/>
                  <a:pt x="2249" y="652"/>
                </a:cubicBezTo>
                <a:close/>
                <a:moveTo>
                  <a:pt x="1422" y="160"/>
                </a:moveTo>
                <a:cubicBezTo>
                  <a:pt x="1596" y="160"/>
                  <a:pt x="1740" y="303"/>
                  <a:pt x="1740" y="478"/>
                </a:cubicBezTo>
                <a:cubicBezTo>
                  <a:pt x="1740" y="652"/>
                  <a:pt x="1596" y="796"/>
                  <a:pt x="1422" y="796"/>
                </a:cubicBezTo>
                <a:cubicBezTo>
                  <a:pt x="1247" y="796"/>
                  <a:pt x="1103" y="652"/>
                  <a:pt x="1103" y="478"/>
                </a:cubicBezTo>
                <a:cubicBezTo>
                  <a:pt x="1103" y="303"/>
                  <a:pt x="1247" y="160"/>
                  <a:pt x="1422" y="160"/>
                </a:cubicBezTo>
                <a:close/>
                <a:moveTo>
                  <a:pt x="626" y="160"/>
                </a:moveTo>
                <a:cubicBezTo>
                  <a:pt x="801" y="160"/>
                  <a:pt x="944" y="303"/>
                  <a:pt x="944" y="478"/>
                </a:cubicBezTo>
                <a:cubicBezTo>
                  <a:pt x="944" y="652"/>
                  <a:pt x="801" y="796"/>
                  <a:pt x="626" y="796"/>
                </a:cubicBezTo>
                <a:cubicBezTo>
                  <a:pt x="451" y="796"/>
                  <a:pt x="308" y="652"/>
                  <a:pt x="308" y="478"/>
                </a:cubicBezTo>
                <a:cubicBezTo>
                  <a:pt x="308" y="303"/>
                  <a:pt x="451" y="160"/>
                  <a:pt x="626" y="160"/>
                </a:cubicBezTo>
                <a:close/>
                <a:moveTo>
                  <a:pt x="1024" y="732"/>
                </a:moveTo>
                <a:cubicBezTo>
                  <a:pt x="1040" y="764"/>
                  <a:pt x="1071" y="796"/>
                  <a:pt x="1103" y="827"/>
                </a:cubicBezTo>
                <a:cubicBezTo>
                  <a:pt x="944" y="827"/>
                  <a:pt x="944" y="827"/>
                  <a:pt x="944" y="827"/>
                </a:cubicBezTo>
                <a:cubicBezTo>
                  <a:pt x="960" y="796"/>
                  <a:pt x="992" y="764"/>
                  <a:pt x="1024" y="732"/>
                </a:cubicBezTo>
                <a:close/>
                <a:moveTo>
                  <a:pt x="340" y="987"/>
                </a:moveTo>
                <a:cubicBezTo>
                  <a:pt x="1612" y="987"/>
                  <a:pt x="1612" y="987"/>
                  <a:pt x="1612" y="987"/>
                </a:cubicBezTo>
                <a:cubicBezTo>
                  <a:pt x="1612" y="1463"/>
                  <a:pt x="1612" y="1463"/>
                  <a:pt x="1612" y="1463"/>
                </a:cubicBezTo>
                <a:cubicBezTo>
                  <a:pt x="340" y="1463"/>
                  <a:pt x="340" y="1463"/>
                  <a:pt x="340" y="14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Freeform: Shape 2">
            <a:extLst>
              <a:ext uri="{FF2B5EF4-FFF2-40B4-BE49-F238E27FC236}">
                <a16:creationId xmlns:a16="http://schemas.microsoft.com/office/drawing/2014/main" id="{F364EBED-374E-D744-810B-29BEAE2CB463}"/>
              </a:ext>
            </a:extLst>
          </p:cNvPr>
          <p:cNvSpPr/>
          <p:nvPr/>
        </p:nvSpPr>
        <p:spPr>
          <a:xfrm>
            <a:off x="1749428" y="9677647"/>
            <a:ext cx="1585800" cy="1706040"/>
          </a:xfrm>
          <a:custGeom>
            <a:avLst/>
            <a:gdLst/>
            <a:ahLst/>
            <a:cxnLst>
              <a:cxn ang="3cd4">
                <a:pos x="hc" y="t"/>
              </a:cxn>
              <a:cxn ang="cd2">
                <a:pos x="l" y="vc"/>
              </a:cxn>
              <a:cxn ang="cd4">
                <a:pos x="hc" y="b"/>
              </a:cxn>
              <a:cxn ang="0">
                <a:pos x="r" y="vc"/>
              </a:cxn>
            </a:cxnLst>
            <a:rect l="l" t="t" r="r" b="b"/>
            <a:pathLst>
              <a:path w="4406" h="4740">
                <a:moveTo>
                  <a:pt x="4374" y="1304"/>
                </a:moveTo>
                <a:cubicBezTo>
                  <a:pt x="4342" y="1288"/>
                  <a:pt x="4327" y="1288"/>
                  <a:pt x="4295" y="1288"/>
                </a:cubicBezTo>
                <a:cubicBezTo>
                  <a:pt x="3102" y="1670"/>
                  <a:pt x="3102" y="1670"/>
                  <a:pt x="3102" y="1670"/>
                </a:cubicBezTo>
                <a:cubicBezTo>
                  <a:pt x="3086" y="1654"/>
                  <a:pt x="3070" y="1638"/>
                  <a:pt x="3054" y="1638"/>
                </a:cubicBezTo>
                <a:cubicBezTo>
                  <a:pt x="2863" y="1638"/>
                  <a:pt x="2863" y="1638"/>
                  <a:pt x="2863" y="1638"/>
                </a:cubicBezTo>
                <a:cubicBezTo>
                  <a:pt x="3150" y="1495"/>
                  <a:pt x="3341" y="1209"/>
                  <a:pt x="3341" y="875"/>
                </a:cubicBezTo>
                <a:cubicBezTo>
                  <a:pt x="3341" y="382"/>
                  <a:pt x="2943" y="0"/>
                  <a:pt x="2466" y="0"/>
                </a:cubicBezTo>
                <a:cubicBezTo>
                  <a:pt x="2116" y="0"/>
                  <a:pt x="1814" y="207"/>
                  <a:pt x="1670" y="509"/>
                </a:cubicBezTo>
                <a:cubicBezTo>
                  <a:pt x="1527" y="207"/>
                  <a:pt x="1225" y="0"/>
                  <a:pt x="875" y="0"/>
                </a:cubicBezTo>
                <a:cubicBezTo>
                  <a:pt x="398" y="0"/>
                  <a:pt x="0" y="382"/>
                  <a:pt x="0" y="875"/>
                </a:cubicBezTo>
                <a:cubicBezTo>
                  <a:pt x="0" y="1209"/>
                  <a:pt x="191" y="1495"/>
                  <a:pt x="478" y="1638"/>
                </a:cubicBezTo>
                <a:cubicBezTo>
                  <a:pt x="191" y="1638"/>
                  <a:pt x="191" y="1638"/>
                  <a:pt x="191" y="1638"/>
                </a:cubicBezTo>
                <a:cubicBezTo>
                  <a:pt x="144" y="1638"/>
                  <a:pt x="112" y="1686"/>
                  <a:pt x="112" y="1718"/>
                </a:cubicBezTo>
                <a:cubicBezTo>
                  <a:pt x="112" y="3626"/>
                  <a:pt x="112" y="3626"/>
                  <a:pt x="112" y="3626"/>
                </a:cubicBezTo>
                <a:cubicBezTo>
                  <a:pt x="112" y="3674"/>
                  <a:pt x="144" y="3706"/>
                  <a:pt x="191" y="3706"/>
                </a:cubicBezTo>
                <a:cubicBezTo>
                  <a:pt x="1384" y="3706"/>
                  <a:pt x="1384" y="3706"/>
                  <a:pt x="1384" y="3706"/>
                </a:cubicBezTo>
                <a:cubicBezTo>
                  <a:pt x="176" y="4581"/>
                  <a:pt x="176" y="4581"/>
                  <a:pt x="176" y="4581"/>
                </a:cubicBezTo>
                <a:cubicBezTo>
                  <a:pt x="144" y="4597"/>
                  <a:pt x="128" y="4660"/>
                  <a:pt x="160" y="4692"/>
                </a:cubicBezTo>
                <a:cubicBezTo>
                  <a:pt x="176" y="4708"/>
                  <a:pt x="191" y="4724"/>
                  <a:pt x="223" y="4724"/>
                </a:cubicBezTo>
                <a:cubicBezTo>
                  <a:pt x="239" y="4724"/>
                  <a:pt x="255" y="4724"/>
                  <a:pt x="271" y="4708"/>
                </a:cubicBezTo>
                <a:cubicBezTo>
                  <a:pt x="1655" y="3706"/>
                  <a:pt x="1655" y="3706"/>
                  <a:pt x="1655" y="3706"/>
                </a:cubicBezTo>
                <a:cubicBezTo>
                  <a:pt x="1702" y="3706"/>
                  <a:pt x="1702" y="3706"/>
                  <a:pt x="1702" y="3706"/>
                </a:cubicBezTo>
                <a:cubicBezTo>
                  <a:pt x="1702" y="4660"/>
                  <a:pt x="1702" y="4660"/>
                  <a:pt x="1702" y="4660"/>
                </a:cubicBezTo>
                <a:cubicBezTo>
                  <a:pt x="1702" y="4708"/>
                  <a:pt x="1734" y="4740"/>
                  <a:pt x="1782" y="4740"/>
                </a:cubicBezTo>
                <a:cubicBezTo>
                  <a:pt x="1830" y="4740"/>
                  <a:pt x="1861" y="4708"/>
                  <a:pt x="1861" y="4660"/>
                </a:cubicBezTo>
                <a:cubicBezTo>
                  <a:pt x="1861" y="3706"/>
                  <a:pt x="1861" y="3706"/>
                  <a:pt x="1861" y="3706"/>
                </a:cubicBezTo>
                <a:cubicBezTo>
                  <a:pt x="1957" y="3706"/>
                  <a:pt x="1957" y="3706"/>
                  <a:pt x="1957" y="3706"/>
                </a:cubicBezTo>
                <a:cubicBezTo>
                  <a:pt x="3166" y="4708"/>
                  <a:pt x="3166" y="4708"/>
                  <a:pt x="3166" y="4708"/>
                </a:cubicBezTo>
                <a:cubicBezTo>
                  <a:pt x="3181" y="4708"/>
                  <a:pt x="3197" y="4724"/>
                  <a:pt x="3229" y="4724"/>
                </a:cubicBezTo>
                <a:cubicBezTo>
                  <a:pt x="3245" y="4724"/>
                  <a:pt x="3261" y="4708"/>
                  <a:pt x="3277" y="4692"/>
                </a:cubicBezTo>
                <a:cubicBezTo>
                  <a:pt x="3309" y="4660"/>
                  <a:pt x="3309" y="4612"/>
                  <a:pt x="3277" y="4581"/>
                </a:cubicBezTo>
                <a:cubicBezTo>
                  <a:pt x="2211" y="3706"/>
                  <a:pt x="2211" y="3706"/>
                  <a:pt x="2211" y="3706"/>
                </a:cubicBezTo>
                <a:cubicBezTo>
                  <a:pt x="3054" y="3706"/>
                  <a:pt x="3054" y="3706"/>
                  <a:pt x="3054" y="3706"/>
                </a:cubicBezTo>
                <a:cubicBezTo>
                  <a:pt x="3086" y="3706"/>
                  <a:pt x="3118" y="3690"/>
                  <a:pt x="3134" y="3658"/>
                </a:cubicBezTo>
                <a:cubicBezTo>
                  <a:pt x="4295" y="4024"/>
                  <a:pt x="4295" y="4024"/>
                  <a:pt x="4295" y="4024"/>
                </a:cubicBezTo>
                <a:cubicBezTo>
                  <a:pt x="4311" y="4024"/>
                  <a:pt x="4311" y="4024"/>
                  <a:pt x="4327" y="4024"/>
                </a:cubicBezTo>
                <a:cubicBezTo>
                  <a:pt x="4342" y="4024"/>
                  <a:pt x="4359" y="4024"/>
                  <a:pt x="4374" y="4008"/>
                </a:cubicBezTo>
                <a:cubicBezTo>
                  <a:pt x="4390" y="3992"/>
                  <a:pt x="4406" y="3976"/>
                  <a:pt x="4406" y="3945"/>
                </a:cubicBezTo>
                <a:cubicBezTo>
                  <a:pt x="4406" y="1368"/>
                  <a:pt x="4406" y="1368"/>
                  <a:pt x="4406" y="1368"/>
                </a:cubicBezTo>
                <a:cubicBezTo>
                  <a:pt x="4406" y="1336"/>
                  <a:pt x="4390" y="1320"/>
                  <a:pt x="4374" y="1304"/>
                </a:cubicBezTo>
                <a:close/>
                <a:moveTo>
                  <a:pt x="2466" y="159"/>
                </a:moveTo>
                <a:cubicBezTo>
                  <a:pt x="2863" y="159"/>
                  <a:pt x="3181" y="477"/>
                  <a:pt x="3181" y="875"/>
                </a:cubicBezTo>
                <a:cubicBezTo>
                  <a:pt x="3181" y="1273"/>
                  <a:pt x="2863" y="1591"/>
                  <a:pt x="2466" y="1591"/>
                </a:cubicBezTo>
                <a:cubicBezTo>
                  <a:pt x="2068" y="1591"/>
                  <a:pt x="1750" y="1273"/>
                  <a:pt x="1750" y="875"/>
                </a:cubicBezTo>
                <a:cubicBezTo>
                  <a:pt x="1750" y="477"/>
                  <a:pt x="2068" y="159"/>
                  <a:pt x="2466" y="159"/>
                </a:cubicBezTo>
                <a:close/>
                <a:moveTo>
                  <a:pt x="160" y="875"/>
                </a:moveTo>
                <a:cubicBezTo>
                  <a:pt x="160" y="477"/>
                  <a:pt x="478" y="159"/>
                  <a:pt x="875" y="159"/>
                </a:cubicBezTo>
                <a:cubicBezTo>
                  <a:pt x="1273" y="159"/>
                  <a:pt x="1591" y="477"/>
                  <a:pt x="1591" y="875"/>
                </a:cubicBezTo>
                <a:cubicBezTo>
                  <a:pt x="1591" y="1273"/>
                  <a:pt x="1273" y="1591"/>
                  <a:pt x="875" y="1591"/>
                </a:cubicBezTo>
                <a:cubicBezTo>
                  <a:pt x="478" y="1591"/>
                  <a:pt x="160" y="1273"/>
                  <a:pt x="160" y="875"/>
                </a:cubicBezTo>
                <a:close/>
                <a:moveTo>
                  <a:pt x="1670" y="1240"/>
                </a:moveTo>
                <a:cubicBezTo>
                  <a:pt x="1750" y="1416"/>
                  <a:pt x="1893" y="1559"/>
                  <a:pt x="2068" y="1638"/>
                </a:cubicBezTo>
                <a:cubicBezTo>
                  <a:pt x="1289" y="1638"/>
                  <a:pt x="1289" y="1638"/>
                  <a:pt x="1289" y="1638"/>
                </a:cubicBezTo>
                <a:cubicBezTo>
                  <a:pt x="1448" y="1559"/>
                  <a:pt x="1591" y="1416"/>
                  <a:pt x="1670" y="1240"/>
                </a:cubicBezTo>
                <a:close/>
                <a:moveTo>
                  <a:pt x="1623" y="3547"/>
                </a:moveTo>
                <a:cubicBezTo>
                  <a:pt x="271" y="3547"/>
                  <a:pt x="271" y="3547"/>
                  <a:pt x="271" y="3547"/>
                </a:cubicBezTo>
                <a:cubicBezTo>
                  <a:pt x="271" y="1797"/>
                  <a:pt x="271" y="1797"/>
                  <a:pt x="271" y="1797"/>
                </a:cubicBezTo>
                <a:cubicBezTo>
                  <a:pt x="2975" y="1797"/>
                  <a:pt x="2975" y="1797"/>
                  <a:pt x="2975" y="1797"/>
                </a:cubicBezTo>
                <a:cubicBezTo>
                  <a:pt x="2975" y="3547"/>
                  <a:pt x="2975" y="3547"/>
                  <a:pt x="2975" y="3547"/>
                </a:cubicBezTo>
                <a:close/>
                <a:moveTo>
                  <a:pt x="4247" y="3833"/>
                </a:moveTo>
                <a:cubicBezTo>
                  <a:pt x="3134" y="3499"/>
                  <a:pt x="3134" y="3499"/>
                  <a:pt x="3134" y="3499"/>
                </a:cubicBezTo>
                <a:cubicBezTo>
                  <a:pt x="3134" y="1829"/>
                  <a:pt x="3134" y="1829"/>
                  <a:pt x="3134" y="1829"/>
                </a:cubicBezTo>
                <a:cubicBezTo>
                  <a:pt x="4247" y="1479"/>
                  <a:pt x="4247" y="1479"/>
                  <a:pt x="4247" y="147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3">
            <a:extLst>
              <a:ext uri="{FF2B5EF4-FFF2-40B4-BE49-F238E27FC236}">
                <a16:creationId xmlns:a16="http://schemas.microsoft.com/office/drawing/2014/main" id="{B3D5EC14-BBA5-9644-A916-E7F29D2FA068}"/>
              </a:ext>
            </a:extLst>
          </p:cNvPr>
          <p:cNvSpPr/>
          <p:nvPr/>
        </p:nvSpPr>
        <p:spPr>
          <a:xfrm>
            <a:off x="21240786" y="6569527"/>
            <a:ext cx="1717560" cy="1312200"/>
          </a:xfrm>
          <a:custGeom>
            <a:avLst/>
            <a:gdLst/>
            <a:ahLst/>
            <a:cxnLst>
              <a:cxn ang="3cd4">
                <a:pos x="hc" y="t"/>
              </a:cxn>
              <a:cxn ang="cd2">
                <a:pos x="l" y="vc"/>
              </a:cxn>
              <a:cxn ang="cd4">
                <a:pos x="hc" y="b"/>
              </a:cxn>
              <a:cxn ang="0">
                <a:pos x="r" y="vc"/>
              </a:cxn>
            </a:cxnLst>
            <a:rect l="l" t="t" r="r" b="b"/>
            <a:pathLst>
              <a:path w="4772" h="3646">
                <a:moveTo>
                  <a:pt x="2418" y="1005"/>
                </a:moveTo>
                <a:cubicBezTo>
                  <a:pt x="2465" y="1005"/>
                  <a:pt x="2497" y="974"/>
                  <a:pt x="2497" y="926"/>
                </a:cubicBezTo>
                <a:cubicBezTo>
                  <a:pt x="2497" y="878"/>
                  <a:pt x="2465" y="846"/>
                  <a:pt x="2418" y="846"/>
                </a:cubicBezTo>
                <a:cubicBezTo>
                  <a:pt x="1893" y="846"/>
                  <a:pt x="1447" y="1276"/>
                  <a:pt x="1447" y="1816"/>
                </a:cubicBezTo>
                <a:cubicBezTo>
                  <a:pt x="1447" y="1864"/>
                  <a:pt x="1495" y="1896"/>
                  <a:pt x="1527" y="1896"/>
                </a:cubicBezTo>
                <a:cubicBezTo>
                  <a:pt x="1574" y="1896"/>
                  <a:pt x="1607" y="1864"/>
                  <a:pt x="1607" y="1816"/>
                </a:cubicBezTo>
                <a:cubicBezTo>
                  <a:pt x="1607" y="1371"/>
                  <a:pt x="1972" y="1005"/>
                  <a:pt x="2418" y="1005"/>
                </a:cubicBezTo>
                <a:close/>
                <a:moveTo>
                  <a:pt x="3261" y="2150"/>
                </a:moveTo>
                <a:cubicBezTo>
                  <a:pt x="3213" y="2135"/>
                  <a:pt x="3165" y="2150"/>
                  <a:pt x="3149" y="2182"/>
                </a:cubicBezTo>
                <a:cubicBezTo>
                  <a:pt x="3038" y="2405"/>
                  <a:pt x="2847" y="2564"/>
                  <a:pt x="2609" y="2612"/>
                </a:cubicBezTo>
                <a:cubicBezTo>
                  <a:pt x="2561" y="2628"/>
                  <a:pt x="2545" y="2659"/>
                  <a:pt x="2545" y="2707"/>
                </a:cubicBezTo>
                <a:cubicBezTo>
                  <a:pt x="2561" y="2739"/>
                  <a:pt x="2592" y="2771"/>
                  <a:pt x="2624" y="2771"/>
                </a:cubicBezTo>
                <a:lnTo>
                  <a:pt x="2640" y="2771"/>
                </a:lnTo>
                <a:cubicBezTo>
                  <a:pt x="2927" y="2707"/>
                  <a:pt x="3165" y="2516"/>
                  <a:pt x="3292" y="2246"/>
                </a:cubicBezTo>
                <a:cubicBezTo>
                  <a:pt x="3308" y="2214"/>
                  <a:pt x="3292" y="2167"/>
                  <a:pt x="3261" y="2150"/>
                </a:cubicBezTo>
                <a:close/>
                <a:moveTo>
                  <a:pt x="3006" y="1816"/>
                </a:moveTo>
                <a:cubicBezTo>
                  <a:pt x="3006" y="1498"/>
                  <a:pt x="2736" y="1244"/>
                  <a:pt x="2418" y="1244"/>
                </a:cubicBezTo>
                <a:cubicBezTo>
                  <a:pt x="2115" y="1244"/>
                  <a:pt x="1845" y="1498"/>
                  <a:pt x="1845" y="1816"/>
                </a:cubicBezTo>
                <a:cubicBezTo>
                  <a:pt x="1845" y="2135"/>
                  <a:pt x="2115" y="2389"/>
                  <a:pt x="2418" y="2389"/>
                </a:cubicBezTo>
                <a:cubicBezTo>
                  <a:pt x="2736" y="2389"/>
                  <a:pt x="3006" y="2135"/>
                  <a:pt x="3006" y="1816"/>
                </a:cubicBezTo>
                <a:close/>
                <a:moveTo>
                  <a:pt x="2418" y="2230"/>
                </a:moveTo>
                <a:cubicBezTo>
                  <a:pt x="2195" y="2230"/>
                  <a:pt x="2004" y="2055"/>
                  <a:pt x="2004" y="1816"/>
                </a:cubicBezTo>
                <a:cubicBezTo>
                  <a:pt x="2004" y="1594"/>
                  <a:pt x="2195" y="1403"/>
                  <a:pt x="2418" y="1403"/>
                </a:cubicBezTo>
                <a:cubicBezTo>
                  <a:pt x="2656" y="1403"/>
                  <a:pt x="2847" y="1594"/>
                  <a:pt x="2847" y="1816"/>
                </a:cubicBezTo>
                <a:cubicBezTo>
                  <a:pt x="2847" y="2055"/>
                  <a:pt x="2656" y="2230"/>
                  <a:pt x="2418" y="2230"/>
                </a:cubicBezTo>
                <a:close/>
                <a:moveTo>
                  <a:pt x="4103" y="131"/>
                </a:moveTo>
                <a:cubicBezTo>
                  <a:pt x="2752" y="-44"/>
                  <a:pt x="2052" y="-44"/>
                  <a:pt x="700" y="131"/>
                </a:cubicBezTo>
                <a:cubicBezTo>
                  <a:pt x="318" y="194"/>
                  <a:pt x="0" y="544"/>
                  <a:pt x="0" y="910"/>
                </a:cubicBezTo>
                <a:lnTo>
                  <a:pt x="0" y="2723"/>
                </a:lnTo>
                <a:cubicBezTo>
                  <a:pt x="0" y="3089"/>
                  <a:pt x="318" y="3455"/>
                  <a:pt x="684" y="3503"/>
                </a:cubicBezTo>
                <a:cubicBezTo>
                  <a:pt x="1368" y="3598"/>
                  <a:pt x="1877" y="3646"/>
                  <a:pt x="2402" y="3646"/>
                </a:cubicBezTo>
                <a:cubicBezTo>
                  <a:pt x="2927" y="3646"/>
                  <a:pt x="3451" y="3598"/>
                  <a:pt x="4119" y="3503"/>
                </a:cubicBezTo>
                <a:cubicBezTo>
                  <a:pt x="4469" y="3455"/>
                  <a:pt x="4772" y="3105"/>
                  <a:pt x="4772" y="2723"/>
                </a:cubicBezTo>
                <a:lnTo>
                  <a:pt x="4772" y="910"/>
                </a:lnTo>
                <a:cubicBezTo>
                  <a:pt x="4772" y="544"/>
                  <a:pt x="4469" y="178"/>
                  <a:pt x="4103" y="131"/>
                </a:cubicBezTo>
                <a:close/>
                <a:moveTo>
                  <a:pt x="4612" y="2723"/>
                </a:moveTo>
                <a:cubicBezTo>
                  <a:pt x="4612" y="3025"/>
                  <a:pt x="4374" y="3312"/>
                  <a:pt x="4103" y="3343"/>
                </a:cubicBezTo>
                <a:cubicBezTo>
                  <a:pt x="2752" y="3534"/>
                  <a:pt x="2052" y="3534"/>
                  <a:pt x="716" y="3343"/>
                </a:cubicBezTo>
                <a:cubicBezTo>
                  <a:pt x="414" y="3295"/>
                  <a:pt x="159" y="3009"/>
                  <a:pt x="159" y="2723"/>
                </a:cubicBezTo>
                <a:lnTo>
                  <a:pt x="159" y="910"/>
                </a:lnTo>
                <a:cubicBezTo>
                  <a:pt x="159" y="623"/>
                  <a:pt x="429" y="337"/>
                  <a:pt x="716" y="290"/>
                </a:cubicBezTo>
                <a:cubicBezTo>
                  <a:pt x="1384" y="194"/>
                  <a:pt x="1893" y="162"/>
                  <a:pt x="2402" y="162"/>
                </a:cubicBezTo>
                <a:cubicBezTo>
                  <a:pt x="2910" y="162"/>
                  <a:pt x="3419" y="194"/>
                  <a:pt x="4088" y="290"/>
                </a:cubicBezTo>
                <a:cubicBezTo>
                  <a:pt x="4374" y="337"/>
                  <a:pt x="4612" y="623"/>
                  <a:pt x="4612" y="910"/>
                </a:cubicBezTo>
                <a:close/>
                <a:moveTo>
                  <a:pt x="2418" y="353"/>
                </a:moveTo>
                <a:cubicBezTo>
                  <a:pt x="1622" y="353"/>
                  <a:pt x="955" y="1005"/>
                  <a:pt x="955" y="1816"/>
                </a:cubicBezTo>
                <a:cubicBezTo>
                  <a:pt x="955" y="2628"/>
                  <a:pt x="1622" y="3280"/>
                  <a:pt x="2418" y="3280"/>
                </a:cubicBezTo>
                <a:cubicBezTo>
                  <a:pt x="3229" y="3280"/>
                  <a:pt x="3897" y="2628"/>
                  <a:pt x="3897" y="1816"/>
                </a:cubicBezTo>
                <a:cubicBezTo>
                  <a:pt x="3897" y="1005"/>
                  <a:pt x="3229" y="353"/>
                  <a:pt x="2418" y="353"/>
                </a:cubicBezTo>
                <a:close/>
                <a:moveTo>
                  <a:pt x="2418" y="3121"/>
                </a:moveTo>
                <a:cubicBezTo>
                  <a:pt x="1702" y="3121"/>
                  <a:pt x="1113" y="2548"/>
                  <a:pt x="1113" y="1816"/>
                </a:cubicBezTo>
                <a:cubicBezTo>
                  <a:pt x="1113" y="1101"/>
                  <a:pt x="1702" y="512"/>
                  <a:pt x="2418" y="512"/>
                </a:cubicBezTo>
                <a:cubicBezTo>
                  <a:pt x="3149" y="512"/>
                  <a:pt x="3738" y="1101"/>
                  <a:pt x="3738" y="1816"/>
                </a:cubicBezTo>
                <a:cubicBezTo>
                  <a:pt x="3738" y="2548"/>
                  <a:pt x="3149" y="3121"/>
                  <a:pt x="2418" y="312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3" name="Freeform: Shape 4">
            <a:extLst>
              <a:ext uri="{FF2B5EF4-FFF2-40B4-BE49-F238E27FC236}">
                <a16:creationId xmlns:a16="http://schemas.microsoft.com/office/drawing/2014/main" id="{8EDC0F8F-C4F1-6F45-8073-3BC54D000DAA}"/>
              </a:ext>
            </a:extLst>
          </p:cNvPr>
          <p:cNvSpPr/>
          <p:nvPr/>
        </p:nvSpPr>
        <p:spPr>
          <a:xfrm>
            <a:off x="18278096" y="6375846"/>
            <a:ext cx="858599" cy="1711800"/>
          </a:xfrm>
          <a:custGeom>
            <a:avLst/>
            <a:gdLst/>
            <a:ahLst/>
            <a:cxnLst>
              <a:cxn ang="3cd4">
                <a:pos x="hc" y="t"/>
              </a:cxn>
              <a:cxn ang="cd2">
                <a:pos x="l" y="vc"/>
              </a:cxn>
              <a:cxn ang="cd4">
                <a:pos x="hc" y="b"/>
              </a:cxn>
              <a:cxn ang="0">
                <a:pos x="r" y="vc"/>
              </a:cxn>
            </a:cxnLst>
            <a:rect l="l" t="t" r="r" b="b"/>
            <a:pathLst>
              <a:path w="2386" h="4756">
                <a:moveTo>
                  <a:pt x="2307" y="0"/>
                </a:moveTo>
                <a:lnTo>
                  <a:pt x="80" y="0"/>
                </a:lnTo>
                <a:cubicBezTo>
                  <a:pt x="32" y="0"/>
                  <a:pt x="0" y="33"/>
                  <a:pt x="0" y="80"/>
                </a:cubicBezTo>
                <a:lnTo>
                  <a:pt x="0" y="1496"/>
                </a:lnTo>
                <a:cubicBezTo>
                  <a:pt x="0" y="1543"/>
                  <a:pt x="32" y="1575"/>
                  <a:pt x="80" y="1575"/>
                </a:cubicBezTo>
                <a:lnTo>
                  <a:pt x="159" y="1575"/>
                </a:lnTo>
                <a:lnTo>
                  <a:pt x="159" y="4041"/>
                </a:lnTo>
                <a:cubicBezTo>
                  <a:pt x="159" y="4088"/>
                  <a:pt x="191" y="4120"/>
                  <a:pt x="239" y="4120"/>
                </a:cubicBezTo>
                <a:lnTo>
                  <a:pt x="477" y="4120"/>
                </a:lnTo>
                <a:lnTo>
                  <a:pt x="477" y="4677"/>
                </a:lnTo>
                <a:cubicBezTo>
                  <a:pt x="477" y="4724"/>
                  <a:pt x="509" y="4756"/>
                  <a:pt x="557" y="4756"/>
                </a:cubicBezTo>
                <a:lnTo>
                  <a:pt x="1829" y="4756"/>
                </a:lnTo>
                <a:cubicBezTo>
                  <a:pt x="1861" y="4756"/>
                  <a:pt x="1909" y="4724"/>
                  <a:pt x="1909" y="4677"/>
                </a:cubicBezTo>
                <a:lnTo>
                  <a:pt x="1909" y="4120"/>
                </a:lnTo>
                <a:lnTo>
                  <a:pt x="2147" y="4120"/>
                </a:lnTo>
                <a:cubicBezTo>
                  <a:pt x="2179" y="4120"/>
                  <a:pt x="2227" y="4088"/>
                  <a:pt x="2227" y="4041"/>
                </a:cubicBezTo>
                <a:lnTo>
                  <a:pt x="2227" y="1575"/>
                </a:lnTo>
                <a:lnTo>
                  <a:pt x="2307" y="1575"/>
                </a:lnTo>
                <a:cubicBezTo>
                  <a:pt x="2338" y="1575"/>
                  <a:pt x="2386" y="1543"/>
                  <a:pt x="2386" y="1496"/>
                </a:cubicBezTo>
                <a:lnTo>
                  <a:pt x="2386" y="80"/>
                </a:lnTo>
                <a:cubicBezTo>
                  <a:pt x="2386" y="33"/>
                  <a:pt x="2338" y="0"/>
                  <a:pt x="2307" y="0"/>
                </a:cubicBezTo>
                <a:close/>
                <a:moveTo>
                  <a:pt x="2068" y="3643"/>
                </a:moveTo>
                <a:lnTo>
                  <a:pt x="319" y="3643"/>
                </a:lnTo>
                <a:lnTo>
                  <a:pt x="319" y="1893"/>
                </a:lnTo>
                <a:lnTo>
                  <a:pt x="2068" y="1893"/>
                </a:lnTo>
                <a:close/>
                <a:moveTo>
                  <a:pt x="1750" y="4597"/>
                </a:moveTo>
                <a:lnTo>
                  <a:pt x="637" y="4597"/>
                </a:lnTo>
                <a:lnTo>
                  <a:pt x="637" y="4120"/>
                </a:lnTo>
                <a:lnTo>
                  <a:pt x="1750" y="4120"/>
                </a:lnTo>
                <a:close/>
                <a:moveTo>
                  <a:pt x="2068" y="3961"/>
                </a:moveTo>
                <a:lnTo>
                  <a:pt x="1829" y="3961"/>
                </a:lnTo>
                <a:lnTo>
                  <a:pt x="557" y="3961"/>
                </a:lnTo>
                <a:lnTo>
                  <a:pt x="319" y="3961"/>
                </a:lnTo>
                <a:lnTo>
                  <a:pt x="319" y="3802"/>
                </a:lnTo>
                <a:lnTo>
                  <a:pt x="2068" y="3802"/>
                </a:lnTo>
                <a:close/>
                <a:moveTo>
                  <a:pt x="2068" y="1734"/>
                </a:moveTo>
                <a:lnTo>
                  <a:pt x="319" y="1734"/>
                </a:lnTo>
                <a:lnTo>
                  <a:pt x="319" y="1575"/>
                </a:lnTo>
                <a:lnTo>
                  <a:pt x="2068" y="1575"/>
                </a:lnTo>
                <a:close/>
                <a:moveTo>
                  <a:pt x="2227" y="1416"/>
                </a:moveTo>
                <a:lnTo>
                  <a:pt x="2147" y="1416"/>
                </a:lnTo>
                <a:lnTo>
                  <a:pt x="239" y="1416"/>
                </a:lnTo>
                <a:lnTo>
                  <a:pt x="159" y="1416"/>
                </a:lnTo>
                <a:lnTo>
                  <a:pt x="159" y="160"/>
                </a:lnTo>
                <a:lnTo>
                  <a:pt x="2227" y="160"/>
                </a:lnTo>
                <a:close/>
                <a:moveTo>
                  <a:pt x="716" y="3245"/>
                </a:moveTo>
                <a:cubicBezTo>
                  <a:pt x="764" y="3245"/>
                  <a:pt x="795" y="3214"/>
                  <a:pt x="795" y="3166"/>
                </a:cubicBezTo>
                <a:lnTo>
                  <a:pt x="795" y="2370"/>
                </a:lnTo>
                <a:cubicBezTo>
                  <a:pt x="795" y="2339"/>
                  <a:pt x="764" y="2291"/>
                  <a:pt x="716" y="2291"/>
                </a:cubicBezTo>
                <a:cubicBezTo>
                  <a:pt x="668" y="2291"/>
                  <a:pt x="637" y="2339"/>
                  <a:pt x="637" y="2370"/>
                </a:cubicBezTo>
                <a:lnTo>
                  <a:pt x="637" y="3166"/>
                </a:lnTo>
                <a:cubicBezTo>
                  <a:pt x="637" y="3214"/>
                  <a:pt x="668" y="3245"/>
                  <a:pt x="716" y="3245"/>
                </a:cubicBezTo>
                <a:close/>
                <a:moveTo>
                  <a:pt x="1034" y="3245"/>
                </a:moveTo>
                <a:cubicBezTo>
                  <a:pt x="1082" y="3245"/>
                  <a:pt x="1114" y="3214"/>
                  <a:pt x="1114" y="3166"/>
                </a:cubicBezTo>
                <a:lnTo>
                  <a:pt x="1114" y="2370"/>
                </a:lnTo>
                <a:cubicBezTo>
                  <a:pt x="1114" y="2339"/>
                  <a:pt x="1082" y="2291"/>
                  <a:pt x="1034" y="2291"/>
                </a:cubicBezTo>
                <a:cubicBezTo>
                  <a:pt x="986" y="2291"/>
                  <a:pt x="955" y="2339"/>
                  <a:pt x="955" y="2370"/>
                </a:cubicBezTo>
                <a:lnTo>
                  <a:pt x="955" y="3166"/>
                </a:lnTo>
                <a:cubicBezTo>
                  <a:pt x="955" y="3214"/>
                  <a:pt x="986" y="3245"/>
                  <a:pt x="1034" y="3245"/>
                </a:cubicBezTo>
                <a:close/>
                <a:moveTo>
                  <a:pt x="1352" y="3245"/>
                </a:moveTo>
                <a:cubicBezTo>
                  <a:pt x="1400" y="3245"/>
                  <a:pt x="1432" y="3214"/>
                  <a:pt x="1432" y="3166"/>
                </a:cubicBezTo>
                <a:lnTo>
                  <a:pt x="1432" y="2370"/>
                </a:lnTo>
                <a:cubicBezTo>
                  <a:pt x="1432" y="2339"/>
                  <a:pt x="1400" y="2291"/>
                  <a:pt x="1352" y="2291"/>
                </a:cubicBezTo>
                <a:cubicBezTo>
                  <a:pt x="1304" y="2291"/>
                  <a:pt x="1273" y="2339"/>
                  <a:pt x="1273" y="2370"/>
                </a:cubicBezTo>
                <a:lnTo>
                  <a:pt x="1273" y="3166"/>
                </a:lnTo>
                <a:cubicBezTo>
                  <a:pt x="1273" y="3214"/>
                  <a:pt x="1304" y="3245"/>
                  <a:pt x="1352" y="3245"/>
                </a:cubicBezTo>
                <a:close/>
                <a:moveTo>
                  <a:pt x="1670" y="3245"/>
                </a:moveTo>
                <a:cubicBezTo>
                  <a:pt x="1718" y="3245"/>
                  <a:pt x="1750" y="3214"/>
                  <a:pt x="1750" y="3166"/>
                </a:cubicBezTo>
                <a:lnTo>
                  <a:pt x="1750" y="2370"/>
                </a:lnTo>
                <a:cubicBezTo>
                  <a:pt x="1750" y="2339"/>
                  <a:pt x="1718" y="2291"/>
                  <a:pt x="1670" y="2291"/>
                </a:cubicBezTo>
                <a:cubicBezTo>
                  <a:pt x="1622" y="2291"/>
                  <a:pt x="1591" y="2339"/>
                  <a:pt x="1591" y="2370"/>
                </a:cubicBezTo>
                <a:lnTo>
                  <a:pt x="1591" y="3166"/>
                </a:lnTo>
                <a:cubicBezTo>
                  <a:pt x="1591" y="3214"/>
                  <a:pt x="1622" y="3245"/>
                  <a:pt x="1670" y="324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4" name="Freeform: Shape 5">
            <a:extLst>
              <a:ext uri="{FF2B5EF4-FFF2-40B4-BE49-F238E27FC236}">
                <a16:creationId xmlns:a16="http://schemas.microsoft.com/office/drawing/2014/main" id="{C27FFD1C-363A-BD4F-8973-96727588E303}"/>
              </a:ext>
            </a:extLst>
          </p:cNvPr>
          <p:cNvSpPr/>
          <p:nvPr/>
        </p:nvSpPr>
        <p:spPr>
          <a:xfrm>
            <a:off x="9988919" y="6396599"/>
            <a:ext cx="1711800" cy="1717200"/>
          </a:xfrm>
          <a:custGeom>
            <a:avLst/>
            <a:gdLst/>
            <a:ahLst/>
            <a:cxnLst>
              <a:cxn ang="3cd4">
                <a:pos x="hc" y="t"/>
              </a:cxn>
              <a:cxn ang="cd2">
                <a:pos x="l" y="vc"/>
              </a:cxn>
              <a:cxn ang="cd4">
                <a:pos x="hc" y="b"/>
              </a:cxn>
              <a:cxn ang="0">
                <a:pos x="r" y="vc"/>
              </a:cxn>
            </a:cxnLst>
            <a:rect l="l" t="t" r="r" b="b"/>
            <a:pathLst>
              <a:path w="4756" h="4771">
                <a:moveTo>
                  <a:pt x="3372" y="2322"/>
                </a:moveTo>
                <a:lnTo>
                  <a:pt x="1988" y="1400"/>
                </a:lnTo>
                <a:cubicBezTo>
                  <a:pt x="1957" y="1384"/>
                  <a:pt x="1925" y="1384"/>
                  <a:pt x="1909" y="1400"/>
                </a:cubicBezTo>
                <a:cubicBezTo>
                  <a:pt x="1877" y="1416"/>
                  <a:pt x="1861" y="1447"/>
                  <a:pt x="1861" y="1479"/>
                </a:cubicBezTo>
                <a:lnTo>
                  <a:pt x="1861" y="3308"/>
                </a:lnTo>
                <a:cubicBezTo>
                  <a:pt x="1861" y="3340"/>
                  <a:pt x="1877" y="3356"/>
                  <a:pt x="1909" y="3372"/>
                </a:cubicBezTo>
                <a:cubicBezTo>
                  <a:pt x="1909" y="3388"/>
                  <a:pt x="1925" y="3388"/>
                  <a:pt x="1941" y="3388"/>
                </a:cubicBezTo>
                <a:cubicBezTo>
                  <a:pt x="1957" y="3388"/>
                  <a:pt x="1973" y="3388"/>
                  <a:pt x="1988" y="3372"/>
                </a:cubicBezTo>
                <a:lnTo>
                  <a:pt x="3372" y="2450"/>
                </a:lnTo>
                <a:cubicBezTo>
                  <a:pt x="3404" y="2434"/>
                  <a:pt x="3404" y="2417"/>
                  <a:pt x="3404" y="2386"/>
                </a:cubicBezTo>
                <a:cubicBezTo>
                  <a:pt x="3404" y="2370"/>
                  <a:pt x="3404" y="2338"/>
                  <a:pt x="3372" y="2322"/>
                </a:cubicBezTo>
                <a:close/>
                <a:moveTo>
                  <a:pt x="2020" y="3165"/>
                </a:moveTo>
                <a:lnTo>
                  <a:pt x="2020" y="1622"/>
                </a:lnTo>
                <a:lnTo>
                  <a:pt x="3181" y="2386"/>
                </a:lnTo>
                <a:close/>
                <a:moveTo>
                  <a:pt x="2370" y="0"/>
                </a:moveTo>
                <a:cubicBezTo>
                  <a:pt x="1066" y="0"/>
                  <a:pt x="0" y="1081"/>
                  <a:pt x="0" y="2386"/>
                </a:cubicBezTo>
                <a:cubicBezTo>
                  <a:pt x="0" y="3706"/>
                  <a:pt x="1066" y="4771"/>
                  <a:pt x="2370" y="4771"/>
                </a:cubicBezTo>
                <a:cubicBezTo>
                  <a:pt x="3690" y="4771"/>
                  <a:pt x="4756" y="3706"/>
                  <a:pt x="4756" y="2386"/>
                </a:cubicBezTo>
                <a:cubicBezTo>
                  <a:pt x="4756" y="1081"/>
                  <a:pt x="3690" y="0"/>
                  <a:pt x="2370" y="0"/>
                </a:cubicBezTo>
                <a:close/>
                <a:moveTo>
                  <a:pt x="2370" y="4613"/>
                </a:moveTo>
                <a:cubicBezTo>
                  <a:pt x="1146" y="4613"/>
                  <a:pt x="160" y="3610"/>
                  <a:pt x="160" y="2386"/>
                </a:cubicBezTo>
                <a:cubicBezTo>
                  <a:pt x="160" y="1161"/>
                  <a:pt x="1146" y="159"/>
                  <a:pt x="2370" y="159"/>
                </a:cubicBezTo>
                <a:cubicBezTo>
                  <a:pt x="3595" y="159"/>
                  <a:pt x="4597" y="1161"/>
                  <a:pt x="4597" y="2386"/>
                </a:cubicBezTo>
                <a:cubicBezTo>
                  <a:pt x="4597" y="3610"/>
                  <a:pt x="3595" y="4613"/>
                  <a:pt x="2370" y="461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5" name="Freeform: Shape 6">
            <a:extLst>
              <a:ext uri="{FF2B5EF4-FFF2-40B4-BE49-F238E27FC236}">
                <a16:creationId xmlns:a16="http://schemas.microsoft.com/office/drawing/2014/main" id="{9BA91163-C43A-044C-A418-25649B4C5C32}"/>
              </a:ext>
            </a:extLst>
          </p:cNvPr>
          <p:cNvSpPr/>
          <p:nvPr/>
        </p:nvSpPr>
        <p:spPr>
          <a:xfrm>
            <a:off x="13884586" y="3154665"/>
            <a:ext cx="1883520" cy="1888920"/>
          </a:xfrm>
          <a:custGeom>
            <a:avLst/>
            <a:gdLst/>
            <a:ahLst/>
            <a:cxnLst>
              <a:cxn ang="3cd4">
                <a:pos x="hc" y="t"/>
              </a:cxn>
              <a:cxn ang="cd2">
                <a:pos x="l" y="vc"/>
              </a:cxn>
              <a:cxn ang="cd4">
                <a:pos x="hc" y="b"/>
              </a:cxn>
              <a:cxn ang="0">
                <a:pos x="r" y="vc"/>
              </a:cxn>
            </a:cxnLst>
            <a:rect l="l" t="t" r="r" b="b"/>
            <a:pathLst>
              <a:path w="5233" h="5248">
                <a:moveTo>
                  <a:pt x="2625" y="0"/>
                </a:moveTo>
                <a:cubicBezTo>
                  <a:pt x="1178" y="0"/>
                  <a:pt x="0" y="1177"/>
                  <a:pt x="0" y="2624"/>
                </a:cubicBezTo>
                <a:cubicBezTo>
                  <a:pt x="0" y="4072"/>
                  <a:pt x="1178" y="5248"/>
                  <a:pt x="2625" y="5248"/>
                </a:cubicBezTo>
                <a:cubicBezTo>
                  <a:pt x="4056" y="5248"/>
                  <a:pt x="5233" y="4072"/>
                  <a:pt x="5233" y="2624"/>
                </a:cubicBezTo>
                <a:cubicBezTo>
                  <a:pt x="5233" y="1177"/>
                  <a:pt x="4056" y="0"/>
                  <a:pt x="2625" y="0"/>
                </a:cubicBezTo>
                <a:close/>
                <a:moveTo>
                  <a:pt x="2625" y="5089"/>
                </a:moveTo>
                <a:cubicBezTo>
                  <a:pt x="1257" y="5089"/>
                  <a:pt x="160" y="3992"/>
                  <a:pt x="160" y="2624"/>
                </a:cubicBezTo>
                <a:cubicBezTo>
                  <a:pt x="160" y="1272"/>
                  <a:pt x="1257" y="159"/>
                  <a:pt x="2625" y="159"/>
                </a:cubicBezTo>
                <a:cubicBezTo>
                  <a:pt x="3977" y="159"/>
                  <a:pt x="5074" y="1272"/>
                  <a:pt x="5074" y="2624"/>
                </a:cubicBezTo>
                <a:cubicBezTo>
                  <a:pt x="5074" y="3992"/>
                  <a:pt x="3977" y="5089"/>
                  <a:pt x="2625" y="5089"/>
                </a:cubicBezTo>
                <a:close/>
                <a:moveTo>
                  <a:pt x="2625" y="2004"/>
                </a:moveTo>
                <a:cubicBezTo>
                  <a:pt x="2275" y="2004"/>
                  <a:pt x="1989" y="2274"/>
                  <a:pt x="1989" y="2624"/>
                </a:cubicBezTo>
                <a:cubicBezTo>
                  <a:pt x="1989" y="2974"/>
                  <a:pt x="2275" y="3260"/>
                  <a:pt x="2625" y="3260"/>
                </a:cubicBezTo>
                <a:cubicBezTo>
                  <a:pt x="2959" y="3260"/>
                  <a:pt x="3245" y="2974"/>
                  <a:pt x="3245" y="2624"/>
                </a:cubicBezTo>
                <a:cubicBezTo>
                  <a:pt x="3245" y="2274"/>
                  <a:pt x="2959" y="2004"/>
                  <a:pt x="2625" y="2004"/>
                </a:cubicBezTo>
                <a:close/>
                <a:moveTo>
                  <a:pt x="2625" y="3101"/>
                </a:moveTo>
                <a:cubicBezTo>
                  <a:pt x="2354" y="3101"/>
                  <a:pt x="2148" y="2894"/>
                  <a:pt x="2148" y="2624"/>
                </a:cubicBezTo>
                <a:cubicBezTo>
                  <a:pt x="2148" y="2370"/>
                  <a:pt x="2354" y="2163"/>
                  <a:pt x="2625" y="2163"/>
                </a:cubicBezTo>
                <a:cubicBezTo>
                  <a:pt x="2880" y="2163"/>
                  <a:pt x="3086" y="2370"/>
                  <a:pt x="3086" y="2624"/>
                </a:cubicBezTo>
                <a:cubicBezTo>
                  <a:pt x="3086" y="2894"/>
                  <a:pt x="2880" y="3101"/>
                  <a:pt x="2625" y="3101"/>
                </a:cubicBezTo>
                <a:close/>
                <a:moveTo>
                  <a:pt x="2625" y="1511"/>
                </a:moveTo>
                <a:cubicBezTo>
                  <a:pt x="2005" y="1511"/>
                  <a:pt x="1496" y="2004"/>
                  <a:pt x="1496" y="2624"/>
                </a:cubicBezTo>
                <a:cubicBezTo>
                  <a:pt x="1496" y="3244"/>
                  <a:pt x="2005" y="3738"/>
                  <a:pt x="2625" y="3738"/>
                </a:cubicBezTo>
                <a:cubicBezTo>
                  <a:pt x="3229" y="3738"/>
                  <a:pt x="3738" y="3244"/>
                  <a:pt x="3738" y="2624"/>
                </a:cubicBezTo>
                <a:cubicBezTo>
                  <a:pt x="3738" y="2004"/>
                  <a:pt x="3229" y="1511"/>
                  <a:pt x="2625" y="1511"/>
                </a:cubicBezTo>
                <a:close/>
                <a:moveTo>
                  <a:pt x="2625" y="3578"/>
                </a:moveTo>
                <a:cubicBezTo>
                  <a:pt x="2084" y="3578"/>
                  <a:pt x="1654" y="3149"/>
                  <a:pt x="1654" y="2624"/>
                </a:cubicBezTo>
                <a:cubicBezTo>
                  <a:pt x="1654" y="2099"/>
                  <a:pt x="2084" y="1670"/>
                  <a:pt x="2625" y="1670"/>
                </a:cubicBezTo>
                <a:cubicBezTo>
                  <a:pt x="3150" y="1670"/>
                  <a:pt x="3579" y="2099"/>
                  <a:pt x="3579" y="2624"/>
                </a:cubicBezTo>
                <a:cubicBezTo>
                  <a:pt x="3579" y="3149"/>
                  <a:pt x="3150" y="3578"/>
                  <a:pt x="2625" y="357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6" name="Freeform: Shape 7">
            <a:extLst>
              <a:ext uri="{FF2B5EF4-FFF2-40B4-BE49-F238E27FC236}">
                <a16:creationId xmlns:a16="http://schemas.microsoft.com/office/drawing/2014/main" id="{7B2D5F26-467D-9B49-9B4B-158D8F980034}"/>
              </a:ext>
            </a:extLst>
          </p:cNvPr>
          <p:cNvSpPr/>
          <p:nvPr/>
        </p:nvSpPr>
        <p:spPr>
          <a:xfrm>
            <a:off x="17780339" y="3680969"/>
            <a:ext cx="1682639" cy="1167480"/>
          </a:xfrm>
          <a:custGeom>
            <a:avLst/>
            <a:gdLst/>
            <a:ahLst/>
            <a:cxnLst>
              <a:cxn ang="3cd4">
                <a:pos x="hc" y="t"/>
              </a:cxn>
              <a:cxn ang="cd2">
                <a:pos x="l" y="vc"/>
              </a:cxn>
              <a:cxn ang="cd4">
                <a:pos x="hc" y="b"/>
              </a:cxn>
              <a:cxn ang="0">
                <a:pos x="r" y="vc"/>
              </a:cxn>
            </a:cxnLst>
            <a:rect l="l" t="t" r="r" b="b"/>
            <a:pathLst>
              <a:path w="4675" h="3244">
                <a:moveTo>
                  <a:pt x="4469" y="0"/>
                </a:moveTo>
                <a:lnTo>
                  <a:pt x="191" y="0"/>
                </a:lnTo>
                <a:cubicBezTo>
                  <a:pt x="79" y="0"/>
                  <a:pt x="0" y="95"/>
                  <a:pt x="0" y="207"/>
                </a:cubicBezTo>
                <a:lnTo>
                  <a:pt x="0" y="3038"/>
                </a:lnTo>
                <a:cubicBezTo>
                  <a:pt x="0" y="3149"/>
                  <a:pt x="79" y="3244"/>
                  <a:pt x="191" y="3244"/>
                </a:cubicBezTo>
                <a:lnTo>
                  <a:pt x="4469" y="3244"/>
                </a:lnTo>
                <a:cubicBezTo>
                  <a:pt x="4580" y="3244"/>
                  <a:pt x="4675" y="3149"/>
                  <a:pt x="4675" y="3038"/>
                </a:cubicBezTo>
                <a:lnTo>
                  <a:pt x="4675" y="207"/>
                </a:lnTo>
                <a:cubicBezTo>
                  <a:pt x="4675" y="95"/>
                  <a:pt x="4580" y="0"/>
                  <a:pt x="4469" y="0"/>
                </a:cubicBezTo>
                <a:close/>
                <a:moveTo>
                  <a:pt x="4517" y="3038"/>
                </a:moveTo>
                <a:cubicBezTo>
                  <a:pt x="4517" y="3070"/>
                  <a:pt x="4500" y="3086"/>
                  <a:pt x="4469" y="3086"/>
                </a:cubicBezTo>
                <a:lnTo>
                  <a:pt x="191" y="3086"/>
                </a:lnTo>
                <a:cubicBezTo>
                  <a:pt x="174" y="3086"/>
                  <a:pt x="158" y="3070"/>
                  <a:pt x="158" y="3038"/>
                </a:cubicBezTo>
                <a:lnTo>
                  <a:pt x="158" y="207"/>
                </a:lnTo>
                <a:cubicBezTo>
                  <a:pt x="158" y="175"/>
                  <a:pt x="174" y="159"/>
                  <a:pt x="191" y="159"/>
                </a:cubicBezTo>
                <a:lnTo>
                  <a:pt x="4469" y="159"/>
                </a:lnTo>
                <a:cubicBezTo>
                  <a:pt x="4500" y="159"/>
                  <a:pt x="4517" y="175"/>
                  <a:pt x="4517" y="207"/>
                </a:cubicBezTo>
                <a:close/>
                <a:moveTo>
                  <a:pt x="3991" y="381"/>
                </a:moveTo>
                <a:lnTo>
                  <a:pt x="667" y="381"/>
                </a:lnTo>
                <a:cubicBezTo>
                  <a:pt x="556" y="381"/>
                  <a:pt x="461" y="461"/>
                  <a:pt x="461" y="572"/>
                </a:cubicBezTo>
                <a:lnTo>
                  <a:pt x="461" y="2672"/>
                </a:lnTo>
                <a:cubicBezTo>
                  <a:pt x="461" y="2783"/>
                  <a:pt x="556" y="2863"/>
                  <a:pt x="667" y="2863"/>
                </a:cubicBezTo>
                <a:lnTo>
                  <a:pt x="843" y="2863"/>
                </a:lnTo>
                <a:cubicBezTo>
                  <a:pt x="954" y="2863"/>
                  <a:pt x="1049" y="2815"/>
                  <a:pt x="1097" y="2720"/>
                </a:cubicBezTo>
                <a:lnTo>
                  <a:pt x="1256" y="2306"/>
                </a:lnTo>
                <a:cubicBezTo>
                  <a:pt x="1272" y="2274"/>
                  <a:pt x="1319" y="2258"/>
                  <a:pt x="1351" y="2258"/>
                </a:cubicBezTo>
                <a:lnTo>
                  <a:pt x="3292" y="2258"/>
                </a:lnTo>
                <a:cubicBezTo>
                  <a:pt x="3339" y="2258"/>
                  <a:pt x="3372" y="2274"/>
                  <a:pt x="3387" y="2290"/>
                </a:cubicBezTo>
                <a:lnTo>
                  <a:pt x="3578" y="2735"/>
                </a:lnTo>
                <a:cubicBezTo>
                  <a:pt x="3626" y="2815"/>
                  <a:pt x="3721" y="2863"/>
                  <a:pt x="3817" y="2863"/>
                </a:cubicBezTo>
                <a:lnTo>
                  <a:pt x="3991" y="2863"/>
                </a:lnTo>
                <a:cubicBezTo>
                  <a:pt x="4103" y="2863"/>
                  <a:pt x="4199" y="2783"/>
                  <a:pt x="4199" y="2672"/>
                </a:cubicBezTo>
                <a:lnTo>
                  <a:pt x="4199" y="572"/>
                </a:lnTo>
                <a:cubicBezTo>
                  <a:pt x="4199" y="461"/>
                  <a:pt x="4103" y="381"/>
                  <a:pt x="3991" y="381"/>
                </a:cubicBezTo>
                <a:close/>
                <a:moveTo>
                  <a:pt x="4039" y="2672"/>
                </a:moveTo>
                <a:cubicBezTo>
                  <a:pt x="4039" y="2688"/>
                  <a:pt x="4023" y="2720"/>
                  <a:pt x="3991" y="2720"/>
                </a:cubicBezTo>
                <a:lnTo>
                  <a:pt x="3817" y="2720"/>
                </a:lnTo>
                <a:cubicBezTo>
                  <a:pt x="3769" y="2720"/>
                  <a:pt x="3737" y="2688"/>
                  <a:pt x="3721" y="2672"/>
                </a:cubicBezTo>
                <a:lnTo>
                  <a:pt x="3530" y="2211"/>
                </a:lnTo>
                <a:cubicBezTo>
                  <a:pt x="3467" y="2147"/>
                  <a:pt x="3387" y="2099"/>
                  <a:pt x="3292" y="2099"/>
                </a:cubicBezTo>
                <a:lnTo>
                  <a:pt x="1351" y="2099"/>
                </a:lnTo>
                <a:cubicBezTo>
                  <a:pt x="1256" y="2099"/>
                  <a:pt x="1161" y="2147"/>
                  <a:pt x="1113" y="2243"/>
                </a:cubicBezTo>
                <a:lnTo>
                  <a:pt x="954" y="2656"/>
                </a:lnTo>
                <a:cubicBezTo>
                  <a:pt x="922" y="2688"/>
                  <a:pt x="890" y="2720"/>
                  <a:pt x="843" y="2720"/>
                </a:cubicBezTo>
                <a:lnTo>
                  <a:pt x="667" y="2720"/>
                </a:lnTo>
                <a:cubicBezTo>
                  <a:pt x="652" y="2720"/>
                  <a:pt x="620" y="2688"/>
                  <a:pt x="620" y="2672"/>
                </a:cubicBezTo>
                <a:lnTo>
                  <a:pt x="620" y="572"/>
                </a:lnTo>
                <a:cubicBezTo>
                  <a:pt x="620" y="557"/>
                  <a:pt x="652" y="541"/>
                  <a:pt x="667" y="541"/>
                </a:cubicBezTo>
                <a:lnTo>
                  <a:pt x="3991" y="541"/>
                </a:lnTo>
                <a:cubicBezTo>
                  <a:pt x="4023" y="541"/>
                  <a:pt x="4039" y="557"/>
                  <a:pt x="4039" y="572"/>
                </a:cubicBezTo>
                <a:close/>
                <a:moveTo>
                  <a:pt x="1494" y="938"/>
                </a:moveTo>
                <a:cubicBezTo>
                  <a:pt x="1272" y="938"/>
                  <a:pt x="1097" y="1113"/>
                  <a:pt x="1097" y="1336"/>
                </a:cubicBezTo>
                <a:cubicBezTo>
                  <a:pt x="1097" y="1559"/>
                  <a:pt x="1272" y="1734"/>
                  <a:pt x="1494" y="1734"/>
                </a:cubicBezTo>
                <a:cubicBezTo>
                  <a:pt x="1701" y="1734"/>
                  <a:pt x="1876" y="1559"/>
                  <a:pt x="1876" y="1336"/>
                </a:cubicBezTo>
                <a:cubicBezTo>
                  <a:pt x="1876" y="1113"/>
                  <a:pt x="1701" y="938"/>
                  <a:pt x="1494" y="938"/>
                </a:cubicBezTo>
                <a:close/>
                <a:moveTo>
                  <a:pt x="1494" y="1574"/>
                </a:moveTo>
                <a:cubicBezTo>
                  <a:pt x="1351" y="1574"/>
                  <a:pt x="1256" y="1463"/>
                  <a:pt x="1256" y="1336"/>
                </a:cubicBezTo>
                <a:cubicBezTo>
                  <a:pt x="1256" y="1208"/>
                  <a:pt x="1351" y="1098"/>
                  <a:pt x="1494" y="1098"/>
                </a:cubicBezTo>
                <a:cubicBezTo>
                  <a:pt x="1622" y="1098"/>
                  <a:pt x="1717" y="1208"/>
                  <a:pt x="1717" y="1336"/>
                </a:cubicBezTo>
                <a:cubicBezTo>
                  <a:pt x="1717" y="1463"/>
                  <a:pt x="1622" y="1574"/>
                  <a:pt x="1494" y="1574"/>
                </a:cubicBezTo>
                <a:close/>
                <a:moveTo>
                  <a:pt x="3181" y="938"/>
                </a:moveTo>
                <a:cubicBezTo>
                  <a:pt x="2958" y="938"/>
                  <a:pt x="2783" y="1113"/>
                  <a:pt x="2783" y="1336"/>
                </a:cubicBezTo>
                <a:cubicBezTo>
                  <a:pt x="2783" y="1559"/>
                  <a:pt x="2958" y="1734"/>
                  <a:pt x="3181" y="1734"/>
                </a:cubicBezTo>
                <a:cubicBezTo>
                  <a:pt x="3387" y="1734"/>
                  <a:pt x="3562" y="1559"/>
                  <a:pt x="3562" y="1336"/>
                </a:cubicBezTo>
                <a:cubicBezTo>
                  <a:pt x="3562" y="1113"/>
                  <a:pt x="3387" y="938"/>
                  <a:pt x="3181" y="938"/>
                </a:cubicBezTo>
                <a:close/>
                <a:moveTo>
                  <a:pt x="3181" y="1574"/>
                </a:moveTo>
                <a:cubicBezTo>
                  <a:pt x="3053" y="1574"/>
                  <a:pt x="2942" y="1463"/>
                  <a:pt x="2942" y="1336"/>
                </a:cubicBezTo>
                <a:cubicBezTo>
                  <a:pt x="2942" y="1208"/>
                  <a:pt x="3053" y="1098"/>
                  <a:pt x="3181" y="1098"/>
                </a:cubicBezTo>
                <a:cubicBezTo>
                  <a:pt x="3308" y="1098"/>
                  <a:pt x="3403" y="1208"/>
                  <a:pt x="3403" y="1336"/>
                </a:cubicBezTo>
                <a:cubicBezTo>
                  <a:pt x="3403" y="1463"/>
                  <a:pt x="3308" y="1574"/>
                  <a:pt x="3181" y="157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7" name="Freeform: Shape 8">
            <a:extLst>
              <a:ext uri="{FF2B5EF4-FFF2-40B4-BE49-F238E27FC236}">
                <a16:creationId xmlns:a16="http://schemas.microsoft.com/office/drawing/2014/main" id="{467FF271-D6EA-A544-BA43-B54A3C76DC0E}"/>
              </a:ext>
            </a:extLst>
          </p:cNvPr>
          <p:cNvSpPr/>
          <p:nvPr/>
        </p:nvSpPr>
        <p:spPr>
          <a:xfrm>
            <a:off x="6138200" y="3332103"/>
            <a:ext cx="1780200" cy="1595880"/>
          </a:xfrm>
          <a:custGeom>
            <a:avLst/>
            <a:gdLst/>
            <a:ahLst/>
            <a:cxnLst>
              <a:cxn ang="3cd4">
                <a:pos x="hc" y="t"/>
              </a:cxn>
              <a:cxn ang="cd2">
                <a:pos x="l" y="vc"/>
              </a:cxn>
              <a:cxn ang="cd4">
                <a:pos x="hc" y="b"/>
              </a:cxn>
              <a:cxn ang="0">
                <a:pos x="r" y="vc"/>
              </a:cxn>
            </a:cxnLst>
            <a:rect l="l" t="t" r="r" b="b"/>
            <a:pathLst>
              <a:path w="4946" h="4434">
                <a:moveTo>
                  <a:pt x="1097" y="3097"/>
                </a:moveTo>
                <a:lnTo>
                  <a:pt x="1097" y="3113"/>
                </a:lnTo>
                <a:lnTo>
                  <a:pt x="2752" y="4386"/>
                </a:lnTo>
                <a:cubicBezTo>
                  <a:pt x="2799" y="4418"/>
                  <a:pt x="2862" y="4434"/>
                  <a:pt x="2910" y="4434"/>
                </a:cubicBezTo>
                <a:cubicBezTo>
                  <a:pt x="2958" y="4434"/>
                  <a:pt x="2990" y="4434"/>
                  <a:pt x="3038" y="4402"/>
                </a:cubicBezTo>
                <a:cubicBezTo>
                  <a:pt x="3117" y="4370"/>
                  <a:pt x="3181" y="4275"/>
                  <a:pt x="3181" y="4179"/>
                </a:cubicBezTo>
                <a:lnTo>
                  <a:pt x="3181" y="267"/>
                </a:lnTo>
                <a:cubicBezTo>
                  <a:pt x="3181" y="171"/>
                  <a:pt x="3117" y="76"/>
                  <a:pt x="3038" y="28"/>
                </a:cubicBezTo>
                <a:cubicBezTo>
                  <a:pt x="2942" y="-20"/>
                  <a:pt x="2831" y="-4"/>
                  <a:pt x="2752" y="60"/>
                </a:cubicBezTo>
                <a:lnTo>
                  <a:pt x="1097" y="1332"/>
                </a:lnTo>
                <a:lnTo>
                  <a:pt x="509" y="1332"/>
                </a:lnTo>
                <a:cubicBezTo>
                  <a:pt x="223" y="1332"/>
                  <a:pt x="0" y="1603"/>
                  <a:pt x="0" y="1921"/>
                </a:cubicBezTo>
                <a:lnTo>
                  <a:pt x="0" y="2509"/>
                </a:lnTo>
                <a:cubicBezTo>
                  <a:pt x="0" y="2843"/>
                  <a:pt x="223" y="3097"/>
                  <a:pt x="509" y="3097"/>
                </a:cubicBezTo>
                <a:close/>
                <a:moveTo>
                  <a:pt x="159" y="2509"/>
                </a:moveTo>
                <a:lnTo>
                  <a:pt x="159" y="1921"/>
                </a:lnTo>
                <a:cubicBezTo>
                  <a:pt x="159" y="1698"/>
                  <a:pt x="318" y="1491"/>
                  <a:pt x="509" y="1491"/>
                </a:cubicBezTo>
                <a:lnTo>
                  <a:pt x="1145" y="1491"/>
                </a:lnTo>
                <a:cubicBezTo>
                  <a:pt x="1193" y="1491"/>
                  <a:pt x="1225" y="1475"/>
                  <a:pt x="1225" y="1428"/>
                </a:cubicBezTo>
                <a:lnTo>
                  <a:pt x="2847" y="187"/>
                </a:lnTo>
                <a:cubicBezTo>
                  <a:pt x="2879" y="155"/>
                  <a:pt x="2926" y="155"/>
                  <a:pt x="2958" y="171"/>
                </a:cubicBezTo>
                <a:cubicBezTo>
                  <a:pt x="2990" y="187"/>
                  <a:pt x="3022" y="219"/>
                  <a:pt x="3022" y="267"/>
                </a:cubicBezTo>
                <a:lnTo>
                  <a:pt x="3022" y="4179"/>
                </a:lnTo>
                <a:cubicBezTo>
                  <a:pt x="3022" y="4211"/>
                  <a:pt x="2990" y="4243"/>
                  <a:pt x="2958" y="4258"/>
                </a:cubicBezTo>
                <a:cubicBezTo>
                  <a:pt x="2926" y="4290"/>
                  <a:pt x="2879" y="4275"/>
                  <a:pt x="2847" y="4258"/>
                </a:cubicBezTo>
                <a:lnTo>
                  <a:pt x="1225" y="3018"/>
                </a:lnTo>
                <a:cubicBezTo>
                  <a:pt x="1225" y="2970"/>
                  <a:pt x="1193" y="2939"/>
                  <a:pt x="1145" y="2939"/>
                </a:cubicBezTo>
                <a:lnTo>
                  <a:pt x="509" y="2939"/>
                </a:lnTo>
                <a:cubicBezTo>
                  <a:pt x="318" y="2939"/>
                  <a:pt x="159" y="2748"/>
                  <a:pt x="159" y="2509"/>
                </a:cubicBezTo>
                <a:close/>
                <a:moveTo>
                  <a:pt x="4310" y="2859"/>
                </a:moveTo>
                <a:cubicBezTo>
                  <a:pt x="4358" y="2859"/>
                  <a:pt x="4389" y="2827"/>
                  <a:pt x="4389" y="2779"/>
                </a:cubicBezTo>
                <a:lnTo>
                  <a:pt x="4389" y="2303"/>
                </a:lnTo>
                <a:lnTo>
                  <a:pt x="4867" y="2303"/>
                </a:lnTo>
                <a:cubicBezTo>
                  <a:pt x="4915" y="2303"/>
                  <a:pt x="4946" y="2270"/>
                  <a:pt x="4946" y="2223"/>
                </a:cubicBezTo>
                <a:cubicBezTo>
                  <a:pt x="4946" y="2175"/>
                  <a:pt x="4915" y="2143"/>
                  <a:pt x="4867" y="2143"/>
                </a:cubicBezTo>
                <a:lnTo>
                  <a:pt x="4389" y="2143"/>
                </a:lnTo>
                <a:lnTo>
                  <a:pt x="4389" y="1666"/>
                </a:lnTo>
                <a:cubicBezTo>
                  <a:pt x="4389" y="1618"/>
                  <a:pt x="4358" y="1586"/>
                  <a:pt x="4310" y="1586"/>
                </a:cubicBezTo>
                <a:cubicBezTo>
                  <a:pt x="4262" y="1586"/>
                  <a:pt x="4231" y="1618"/>
                  <a:pt x="4231" y="1666"/>
                </a:cubicBezTo>
                <a:lnTo>
                  <a:pt x="4231" y="2143"/>
                </a:lnTo>
                <a:lnTo>
                  <a:pt x="3753" y="2143"/>
                </a:lnTo>
                <a:cubicBezTo>
                  <a:pt x="3706" y="2143"/>
                  <a:pt x="3674" y="2175"/>
                  <a:pt x="3674" y="2223"/>
                </a:cubicBezTo>
                <a:cubicBezTo>
                  <a:pt x="3674" y="2270"/>
                  <a:pt x="3706" y="2303"/>
                  <a:pt x="3753" y="2303"/>
                </a:cubicBezTo>
                <a:lnTo>
                  <a:pt x="4231" y="2303"/>
                </a:lnTo>
                <a:lnTo>
                  <a:pt x="4231" y="2779"/>
                </a:lnTo>
                <a:cubicBezTo>
                  <a:pt x="4231" y="2827"/>
                  <a:pt x="4262" y="2859"/>
                  <a:pt x="4310" y="28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8" name="Freeform: Shape 10">
            <a:extLst>
              <a:ext uri="{FF2B5EF4-FFF2-40B4-BE49-F238E27FC236}">
                <a16:creationId xmlns:a16="http://schemas.microsoft.com/office/drawing/2014/main" id="{8C02C6D6-F3EB-B345-888C-40EE96679E04}"/>
              </a:ext>
            </a:extLst>
          </p:cNvPr>
          <p:cNvSpPr/>
          <p:nvPr/>
        </p:nvSpPr>
        <p:spPr>
          <a:xfrm>
            <a:off x="10349253" y="3292185"/>
            <a:ext cx="1104480" cy="1620000"/>
          </a:xfrm>
          <a:custGeom>
            <a:avLst/>
            <a:gdLst/>
            <a:ahLst/>
            <a:cxnLst>
              <a:cxn ang="3cd4">
                <a:pos x="hc" y="t"/>
              </a:cxn>
              <a:cxn ang="cd2">
                <a:pos x="l" y="vc"/>
              </a:cxn>
              <a:cxn ang="cd4">
                <a:pos x="hc" y="b"/>
              </a:cxn>
              <a:cxn ang="0">
                <a:pos x="r" y="vc"/>
              </a:cxn>
            </a:cxnLst>
            <a:rect l="l" t="t" r="r" b="b"/>
            <a:pathLst>
              <a:path w="3069" h="4501">
                <a:moveTo>
                  <a:pt x="1526" y="2497"/>
                </a:moveTo>
                <a:cubicBezTo>
                  <a:pt x="1097" y="2497"/>
                  <a:pt x="731" y="2862"/>
                  <a:pt x="731" y="3308"/>
                </a:cubicBezTo>
                <a:cubicBezTo>
                  <a:pt x="731" y="3753"/>
                  <a:pt x="1097" y="4103"/>
                  <a:pt x="1526" y="4103"/>
                </a:cubicBezTo>
                <a:cubicBezTo>
                  <a:pt x="1972" y="4103"/>
                  <a:pt x="2337" y="3753"/>
                  <a:pt x="2337" y="3308"/>
                </a:cubicBezTo>
                <a:cubicBezTo>
                  <a:pt x="2337" y="2862"/>
                  <a:pt x="1972" y="2497"/>
                  <a:pt x="1526" y="2497"/>
                </a:cubicBezTo>
                <a:close/>
                <a:moveTo>
                  <a:pt x="1526" y="3944"/>
                </a:moveTo>
                <a:cubicBezTo>
                  <a:pt x="1176" y="3944"/>
                  <a:pt x="890" y="3657"/>
                  <a:pt x="890" y="3308"/>
                </a:cubicBezTo>
                <a:cubicBezTo>
                  <a:pt x="890" y="2958"/>
                  <a:pt x="1176" y="2656"/>
                  <a:pt x="1526" y="2656"/>
                </a:cubicBezTo>
                <a:cubicBezTo>
                  <a:pt x="1892" y="2656"/>
                  <a:pt x="2178" y="2958"/>
                  <a:pt x="2178" y="3308"/>
                </a:cubicBezTo>
                <a:cubicBezTo>
                  <a:pt x="2178" y="3657"/>
                  <a:pt x="1892" y="3944"/>
                  <a:pt x="1526" y="3944"/>
                </a:cubicBezTo>
                <a:close/>
                <a:moveTo>
                  <a:pt x="1526" y="3101"/>
                </a:moveTo>
                <a:cubicBezTo>
                  <a:pt x="1415" y="3101"/>
                  <a:pt x="1319" y="3196"/>
                  <a:pt x="1319" y="3308"/>
                </a:cubicBezTo>
                <a:cubicBezTo>
                  <a:pt x="1319" y="3419"/>
                  <a:pt x="1415" y="3514"/>
                  <a:pt x="1526" y="3514"/>
                </a:cubicBezTo>
                <a:cubicBezTo>
                  <a:pt x="1654" y="3514"/>
                  <a:pt x="1749" y="3419"/>
                  <a:pt x="1749" y="3308"/>
                </a:cubicBezTo>
                <a:cubicBezTo>
                  <a:pt x="1749" y="3196"/>
                  <a:pt x="1654" y="3101"/>
                  <a:pt x="1526" y="3101"/>
                </a:cubicBezTo>
                <a:close/>
                <a:moveTo>
                  <a:pt x="1526" y="2274"/>
                </a:moveTo>
                <a:cubicBezTo>
                  <a:pt x="1812" y="2274"/>
                  <a:pt x="2051" y="2035"/>
                  <a:pt x="2051" y="1749"/>
                </a:cubicBezTo>
                <a:cubicBezTo>
                  <a:pt x="2051" y="1463"/>
                  <a:pt x="1812" y="1224"/>
                  <a:pt x="1526" y="1224"/>
                </a:cubicBezTo>
                <a:cubicBezTo>
                  <a:pt x="1240" y="1224"/>
                  <a:pt x="1017" y="1463"/>
                  <a:pt x="1017" y="1749"/>
                </a:cubicBezTo>
                <a:cubicBezTo>
                  <a:pt x="1017" y="2035"/>
                  <a:pt x="1240" y="2274"/>
                  <a:pt x="1526" y="2274"/>
                </a:cubicBezTo>
                <a:close/>
                <a:moveTo>
                  <a:pt x="1526" y="1383"/>
                </a:moveTo>
                <a:cubicBezTo>
                  <a:pt x="1733" y="1383"/>
                  <a:pt x="1892" y="1558"/>
                  <a:pt x="1892" y="1749"/>
                </a:cubicBezTo>
                <a:cubicBezTo>
                  <a:pt x="1892" y="1940"/>
                  <a:pt x="1733" y="2115"/>
                  <a:pt x="1526" y="2115"/>
                </a:cubicBezTo>
                <a:cubicBezTo>
                  <a:pt x="1336" y="2115"/>
                  <a:pt x="1176" y="1940"/>
                  <a:pt x="1176" y="1749"/>
                </a:cubicBezTo>
                <a:cubicBezTo>
                  <a:pt x="1176" y="1558"/>
                  <a:pt x="1336" y="1383"/>
                  <a:pt x="1526" y="1383"/>
                </a:cubicBezTo>
                <a:close/>
                <a:moveTo>
                  <a:pt x="1526" y="1908"/>
                </a:moveTo>
                <a:cubicBezTo>
                  <a:pt x="1622" y="1908"/>
                  <a:pt x="1685" y="1829"/>
                  <a:pt x="1685" y="1749"/>
                </a:cubicBezTo>
                <a:cubicBezTo>
                  <a:pt x="1685" y="1669"/>
                  <a:pt x="1622" y="1590"/>
                  <a:pt x="1526" y="1590"/>
                </a:cubicBezTo>
                <a:cubicBezTo>
                  <a:pt x="1447" y="1590"/>
                  <a:pt x="1383" y="1669"/>
                  <a:pt x="1383" y="1749"/>
                </a:cubicBezTo>
                <a:cubicBezTo>
                  <a:pt x="1383" y="1829"/>
                  <a:pt x="1447" y="1908"/>
                  <a:pt x="1526" y="1908"/>
                </a:cubicBezTo>
                <a:close/>
                <a:moveTo>
                  <a:pt x="2433" y="0"/>
                </a:moveTo>
                <a:lnTo>
                  <a:pt x="636" y="0"/>
                </a:lnTo>
                <a:cubicBezTo>
                  <a:pt x="556" y="0"/>
                  <a:pt x="476" y="47"/>
                  <a:pt x="445" y="111"/>
                </a:cubicBezTo>
                <a:lnTo>
                  <a:pt x="31" y="842"/>
                </a:lnTo>
                <a:cubicBezTo>
                  <a:pt x="15" y="858"/>
                  <a:pt x="15" y="874"/>
                  <a:pt x="15" y="890"/>
                </a:cubicBezTo>
                <a:cubicBezTo>
                  <a:pt x="10" y="895"/>
                  <a:pt x="0" y="890"/>
                  <a:pt x="0" y="906"/>
                </a:cubicBezTo>
                <a:lnTo>
                  <a:pt x="0" y="954"/>
                </a:lnTo>
                <a:lnTo>
                  <a:pt x="0" y="4262"/>
                </a:lnTo>
                <a:cubicBezTo>
                  <a:pt x="0" y="4389"/>
                  <a:pt x="95" y="4501"/>
                  <a:pt x="222" y="4501"/>
                </a:cubicBezTo>
                <a:lnTo>
                  <a:pt x="2846" y="4501"/>
                </a:lnTo>
                <a:cubicBezTo>
                  <a:pt x="2973" y="4501"/>
                  <a:pt x="3069" y="4389"/>
                  <a:pt x="3069" y="4262"/>
                </a:cubicBezTo>
                <a:lnTo>
                  <a:pt x="3069" y="954"/>
                </a:lnTo>
                <a:cubicBezTo>
                  <a:pt x="3069" y="922"/>
                  <a:pt x="3069" y="874"/>
                  <a:pt x="3037" y="842"/>
                </a:cubicBezTo>
                <a:lnTo>
                  <a:pt x="2624" y="111"/>
                </a:lnTo>
                <a:cubicBezTo>
                  <a:pt x="2576" y="47"/>
                  <a:pt x="2512" y="0"/>
                  <a:pt x="2433" y="0"/>
                </a:cubicBezTo>
                <a:close/>
                <a:moveTo>
                  <a:pt x="588" y="190"/>
                </a:moveTo>
                <a:cubicBezTo>
                  <a:pt x="588" y="175"/>
                  <a:pt x="619" y="158"/>
                  <a:pt x="636" y="158"/>
                </a:cubicBezTo>
                <a:lnTo>
                  <a:pt x="2433" y="158"/>
                </a:lnTo>
                <a:cubicBezTo>
                  <a:pt x="2449" y="158"/>
                  <a:pt x="2464" y="175"/>
                  <a:pt x="2481" y="190"/>
                </a:cubicBezTo>
                <a:lnTo>
                  <a:pt x="2862" y="842"/>
                </a:lnTo>
                <a:lnTo>
                  <a:pt x="222" y="842"/>
                </a:lnTo>
                <a:close/>
                <a:moveTo>
                  <a:pt x="2846" y="4341"/>
                </a:moveTo>
                <a:lnTo>
                  <a:pt x="222" y="4341"/>
                </a:lnTo>
                <a:cubicBezTo>
                  <a:pt x="190" y="4341"/>
                  <a:pt x="158" y="4310"/>
                  <a:pt x="158" y="4262"/>
                </a:cubicBezTo>
                <a:lnTo>
                  <a:pt x="158" y="1002"/>
                </a:lnTo>
                <a:lnTo>
                  <a:pt x="2910" y="1002"/>
                </a:lnTo>
                <a:lnTo>
                  <a:pt x="2910" y="4262"/>
                </a:lnTo>
                <a:cubicBezTo>
                  <a:pt x="2910" y="4310"/>
                  <a:pt x="2894" y="4341"/>
                  <a:pt x="2846" y="434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9" name="Freeform: Shape 11">
            <a:extLst>
              <a:ext uri="{FF2B5EF4-FFF2-40B4-BE49-F238E27FC236}">
                <a16:creationId xmlns:a16="http://schemas.microsoft.com/office/drawing/2014/main" id="{4656B08B-C3C1-3846-8F5A-48F427E75B06}"/>
              </a:ext>
            </a:extLst>
          </p:cNvPr>
          <p:cNvSpPr/>
          <p:nvPr/>
        </p:nvSpPr>
        <p:spPr>
          <a:xfrm>
            <a:off x="14143182" y="6507607"/>
            <a:ext cx="1545839" cy="1448280"/>
          </a:xfrm>
          <a:custGeom>
            <a:avLst/>
            <a:gdLst/>
            <a:ahLst/>
            <a:cxnLst>
              <a:cxn ang="3cd4">
                <a:pos x="hc" y="t"/>
              </a:cxn>
              <a:cxn ang="cd2">
                <a:pos x="l" y="vc"/>
              </a:cxn>
              <a:cxn ang="cd4">
                <a:pos x="hc" y="b"/>
              </a:cxn>
              <a:cxn ang="0">
                <a:pos x="r" y="vc"/>
              </a:cxn>
            </a:cxnLst>
            <a:rect l="l" t="t" r="r" b="b"/>
            <a:pathLst>
              <a:path w="4295" h="4024">
                <a:moveTo>
                  <a:pt x="3643" y="3229"/>
                </a:moveTo>
                <a:lnTo>
                  <a:pt x="1559" y="3229"/>
                </a:lnTo>
                <a:cubicBezTo>
                  <a:pt x="1527" y="3086"/>
                  <a:pt x="1400" y="2975"/>
                  <a:pt x="1241" y="2975"/>
                </a:cubicBezTo>
                <a:cubicBezTo>
                  <a:pt x="1082" y="2975"/>
                  <a:pt x="954" y="3086"/>
                  <a:pt x="923" y="3229"/>
                </a:cubicBezTo>
                <a:lnTo>
                  <a:pt x="653" y="3229"/>
                </a:lnTo>
                <a:cubicBezTo>
                  <a:pt x="605" y="3229"/>
                  <a:pt x="573" y="3261"/>
                  <a:pt x="573" y="3309"/>
                </a:cubicBezTo>
                <a:cubicBezTo>
                  <a:pt x="573" y="3356"/>
                  <a:pt x="605" y="3388"/>
                  <a:pt x="653" y="3388"/>
                </a:cubicBezTo>
                <a:lnTo>
                  <a:pt x="923" y="3388"/>
                </a:lnTo>
                <a:cubicBezTo>
                  <a:pt x="954" y="3531"/>
                  <a:pt x="1082" y="3643"/>
                  <a:pt x="1241" y="3643"/>
                </a:cubicBezTo>
                <a:cubicBezTo>
                  <a:pt x="1400" y="3643"/>
                  <a:pt x="1527" y="3531"/>
                  <a:pt x="1559" y="3388"/>
                </a:cubicBezTo>
                <a:lnTo>
                  <a:pt x="3643" y="3388"/>
                </a:lnTo>
                <a:cubicBezTo>
                  <a:pt x="3690" y="3388"/>
                  <a:pt x="3722" y="3356"/>
                  <a:pt x="3722" y="3309"/>
                </a:cubicBezTo>
                <a:cubicBezTo>
                  <a:pt x="3722" y="3261"/>
                  <a:pt x="3690" y="3229"/>
                  <a:pt x="3643" y="3229"/>
                </a:cubicBezTo>
                <a:close/>
                <a:moveTo>
                  <a:pt x="1241" y="3484"/>
                </a:moveTo>
                <a:cubicBezTo>
                  <a:pt x="1145" y="3484"/>
                  <a:pt x="1066" y="3404"/>
                  <a:pt x="1066" y="3309"/>
                </a:cubicBezTo>
                <a:cubicBezTo>
                  <a:pt x="1066" y="3213"/>
                  <a:pt x="1145" y="3134"/>
                  <a:pt x="1241" y="3134"/>
                </a:cubicBezTo>
                <a:cubicBezTo>
                  <a:pt x="1336" y="3134"/>
                  <a:pt x="1416" y="3213"/>
                  <a:pt x="1416" y="3309"/>
                </a:cubicBezTo>
                <a:cubicBezTo>
                  <a:pt x="1416" y="3404"/>
                  <a:pt x="1336" y="3484"/>
                  <a:pt x="1241" y="3484"/>
                </a:cubicBezTo>
                <a:close/>
                <a:moveTo>
                  <a:pt x="1082" y="1559"/>
                </a:moveTo>
                <a:lnTo>
                  <a:pt x="2450" y="2339"/>
                </a:lnTo>
                <a:cubicBezTo>
                  <a:pt x="2465" y="2354"/>
                  <a:pt x="2498" y="2354"/>
                  <a:pt x="2529" y="2339"/>
                </a:cubicBezTo>
                <a:cubicBezTo>
                  <a:pt x="2545" y="2322"/>
                  <a:pt x="2561" y="2307"/>
                  <a:pt x="2561" y="2275"/>
                </a:cubicBezTo>
                <a:lnTo>
                  <a:pt x="2561" y="2020"/>
                </a:lnTo>
                <a:lnTo>
                  <a:pt x="3134" y="2339"/>
                </a:lnTo>
                <a:cubicBezTo>
                  <a:pt x="3134" y="2354"/>
                  <a:pt x="3150" y="2354"/>
                  <a:pt x="3165" y="2354"/>
                </a:cubicBezTo>
                <a:cubicBezTo>
                  <a:pt x="3181" y="2354"/>
                  <a:pt x="3197" y="2354"/>
                  <a:pt x="3213" y="2339"/>
                </a:cubicBezTo>
                <a:cubicBezTo>
                  <a:pt x="3229" y="2322"/>
                  <a:pt x="3245" y="2307"/>
                  <a:pt x="3245" y="2275"/>
                </a:cubicBezTo>
                <a:lnTo>
                  <a:pt x="3245" y="700"/>
                </a:lnTo>
                <a:cubicBezTo>
                  <a:pt x="3245" y="668"/>
                  <a:pt x="3229" y="652"/>
                  <a:pt x="3213" y="637"/>
                </a:cubicBezTo>
                <a:cubicBezTo>
                  <a:pt x="3181" y="621"/>
                  <a:pt x="3150" y="621"/>
                  <a:pt x="3134" y="637"/>
                </a:cubicBezTo>
                <a:lnTo>
                  <a:pt x="2561" y="955"/>
                </a:lnTo>
                <a:lnTo>
                  <a:pt x="2561" y="700"/>
                </a:lnTo>
                <a:cubicBezTo>
                  <a:pt x="2561" y="668"/>
                  <a:pt x="2545" y="652"/>
                  <a:pt x="2529" y="637"/>
                </a:cubicBezTo>
                <a:cubicBezTo>
                  <a:pt x="2498" y="621"/>
                  <a:pt x="2465" y="621"/>
                  <a:pt x="2450" y="637"/>
                </a:cubicBezTo>
                <a:lnTo>
                  <a:pt x="1082" y="1416"/>
                </a:lnTo>
                <a:cubicBezTo>
                  <a:pt x="1066" y="1432"/>
                  <a:pt x="1050" y="1464"/>
                  <a:pt x="1050" y="1495"/>
                </a:cubicBezTo>
                <a:cubicBezTo>
                  <a:pt x="1050" y="1512"/>
                  <a:pt x="1066" y="1543"/>
                  <a:pt x="1082" y="1559"/>
                </a:cubicBezTo>
                <a:close/>
                <a:moveTo>
                  <a:pt x="2402" y="843"/>
                </a:moveTo>
                <a:lnTo>
                  <a:pt x="2402" y="1098"/>
                </a:lnTo>
                <a:cubicBezTo>
                  <a:pt x="2402" y="1130"/>
                  <a:pt x="2418" y="1146"/>
                  <a:pt x="2450" y="1161"/>
                </a:cubicBezTo>
                <a:cubicBezTo>
                  <a:pt x="2465" y="1177"/>
                  <a:pt x="2498" y="1177"/>
                  <a:pt x="2529" y="1161"/>
                </a:cubicBezTo>
                <a:lnTo>
                  <a:pt x="3086" y="843"/>
                </a:lnTo>
                <a:lnTo>
                  <a:pt x="3086" y="2131"/>
                </a:lnTo>
                <a:lnTo>
                  <a:pt x="2529" y="1813"/>
                </a:lnTo>
                <a:cubicBezTo>
                  <a:pt x="2513" y="1798"/>
                  <a:pt x="2498" y="1798"/>
                  <a:pt x="2481" y="1798"/>
                </a:cubicBezTo>
                <a:cubicBezTo>
                  <a:pt x="2465" y="1798"/>
                  <a:pt x="2465" y="1798"/>
                  <a:pt x="2450" y="1813"/>
                </a:cubicBezTo>
                <a:cubicBezTo>
                  <a:pt x="2418" y="1830"/>
                  <a:pt x="2402" y="1845"/>
                  <a:pt x="2402" y="1877"/>
                </a:cubicBezTo>
                <a:lnTo>
                  <a:pt x="2402" y="2131"/>
                </a:lnTo>
                <a:lnTo>
                  <a:pt x="1289" y="1495"/>
                </a:lnTo>
                <a:close/>
                <a:moveTo>
                  <a:pt x="3945" y="0"/>
                </a:moveTo>
                <a:lnTo>
                  <a:pt x="350" y="0"/>
                </a:lnTo>
                <a:cubicBezTo>
                  <a:pt x="159" y="0"/>
                  <a:pt x="0" y="159"/>
                  <a:pt x="0" y="334"/>
                </a:cubicBezTo>
                <a:lnTo>
                  <a:pt x="0" y="3690"/>
                </a:lnTo>
                <a:cubicBezTo>
                  <a:pt x="0" y="3865"/>
                  <a:pt x="159" y="4024"/>
                  <a:pt x="350" y="4024"/>
                </a:cubicBezTo>
                <a:lnTo>
                  <a:pt x="3945" y="4024"/>
                </a:lnTo>
                <a:cubicBezTo>
                  <a:pt x="4135" y="4024"/>
                  <a:pt x="4295" y="3865"/>
                  <a:pt x="4295" y="3690"/>
                </a:cubicBezTo>
                <a:lnTo>
                  <a:pt x="4295" y="334"/>
                </a:lnTo>
                <a:cubicBezTo>
                  <a:pt x="4295" y="159"/>
                  <a:pt x="4135" y="0"/>
                  <a:pt x="3945" y="0"/>
                </a:cubicBezTo>
                <a:close/>
                <a:moveTo>
                  <a:pt x="4135" y="3690"/>
                </a:moveTo>
                <a:cubicBezTo>
                  <a:pt x="4135" y="3786"/>
                  <a:pt x="4056" y="3865"/>
                  <a:pt x="3945" y="3865"/>
                </a:cubicBezTo>
                <a:lnTo>
                  <a:pt x="350" y="3865"/>
                </a:lnTo>
                <a:cubicBezTo>
                  <a:pt x="239" y="3865"/>
                  <a:pt x="159" y="3786"/>
                  <a:pt x="159" y="3690"/>
                </a:cubicBezTo>
                <a:lnTo>
                  <a:pt x="159" y="334"/>
                </a:lnTo>
                <a:cubicBezTo>
                  <a:pt x="159" y="239"/>
                  <a:pt x="239" y="159"/>
                  <a:pt x="350" y="159"/>
                </a:cubicBezTo>
                <a:lnTo>
                  <a:pt x="3945" y="159"/>
                </a:lnTo>
                <a:cubicBezTo>
                  <a:pt x="4056" y="159"/>
                  <a:pt x="4135" y="239"/>
                  <a:pt x="4135" y="33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0" name="Freeform: Shape 12">
            <a:extLst>
              <a:ext uri="{FF2B5EF4-FFF2-40B4-BE49-F238E27FC236}">
                <a16:creationId xmlns:a16="http://schemas.microsoft.com/office/drawing/2014/main" id="{3DCA0A5D-C995-D243-AC90-875C28FDBFF9}"/>
              </a:ext>
            </a:extLst>
          </p:cNvPr>
          <p:cNvSpPr/>
          <p:nvPr/>
        </p:nvSpPr>
        <p:spPr>
          <a:xfrm>
            <a:off x="14053665" y="9878527"/>
            <a:ext cx="1556999" cy="1448280"/>
          </a:xfrm>
          <a:custGeom>
            <a:avLst/>
            <a:gdLst/>
            <a:ahLst/>
            <a:cxnLst>
              <a:cxn ang="3cd4">
                <a:pos x="hc" y="t"/>
              </a:cxn>
              <a:cxn ang="cd2">
                <a:pos x="l" y="vc"/>
              </a:cxn>
              <a:cxn ang="cd4">
                <a:pos x="hc" y="b"/>
              </a:cxn>
              <a:cxn ang="0">
                <a:pos x="r" y="vc"/>
              </a:cxn>
            </a:cxnLst>
            <a:rect l="l" t="t" r="r" b="b"/>
            <a:pathLst>
              <a:path w="4326" h="4024">
                <a:moveTo>
                  <a:pt x="731" y="3483"/>
                </a:moveTo>
                <a:lnTo>
                  <a:pt x="588" y="3483"/>
                </a:lnTo>
                <a:cubicBezTo>
                  <a:pt x="541" y="3483"/>
                  <a:pt x="509" y="3515"/>
                  <a:pt x="509" y="3563"/>
                </a:cubicBezTo>
                <a:cubicBezTo>
                  <a:pt x="509" y="3595"/>
                  <a:pt x="541" y="3642"/>
                  <a:pt x="588" y="3642"/>
                </a:cubicBezTo>
                <a:lnTo>
                  <a:pt x="731" y="3642"/>
                </a:lnTo>
                <a:cubicBezTo>
                  <a:pt x="779" y="3642"/>
                  <a:pt x="811" y="3595"/>
                  <a:pt x="811" y="3563"/>
                </a:cubicBezTo>
                <a:cubicBezTo>
                  <a:pt x="811" y="3515"/>
                  <a:pt x="779" y="3483"/>
                  <a:pt x="731" y="3483"/>
                </a:cubicBezTo>
                <a:close/>
                <a:moveTo>
                  <a:pt x="1734" y="3483"/>
                </a:moveTo>
                <a:lnTo>
                  <a:pt x="1590" y="3483"/>
                </a:lnTo>
                <a:cubicBezTo>
                  <a:pt x="1543" y="3483"/>
                  <a:pt x="1511" y="3515"/>
                  <a:pt x="1511" y="3563"/>
                </a:cubicBezTo>
                <a:cubicBezTo>
                  <a:pt x="1511" y="3595"/>
                  <a:pt x="1543" y="3642"/>
                  <a:pt x="1590" y="3642"/>
                </a:cubicBezTo>
                <a:lnTo>
                  <a:pt x="1734" y="3642"/>
                </a:lnTo>
                <a:cubicBezTo>
                  <a:pt x="1781" y="3642"/>
                  <a:pt x="1813" y="3595"/>
                  <a:pt x="1813" y="3563"/>
                </a:cubicBezTo>
                <a:cubicBezTo>
                  <a:pt x="1813" y="3515"/>
                  <a:pt x="1781" y="3483"/>
                  <a:pt x="1734" y="3483"/>
                </a:cubicBezTo>
                <a:close/>
                <a:moveTo>
                  <a:pt x="2736" y="3483"/>
                </a:moveTo>
                <a:lnTo>
                  <a:pt x="2592" y="3483"/>
                </a:lnTo>
                <a:cubicBezTo>
                  <a:pt x="2545" y="3483"/>
                  <a:pt x="2513" y="3515"/>
                  <a:pt x="2513" y="3563"/>
                </a:cubicBezTo>
                <a:cubicBezTo>
                  <a:pt x="2513" y="3595"/>
                  <a:pt x="2545" y="3642"/>
                  <a:pt x="2592" y="3642"/>
                </a:cubicBezTo>
                <a:lnTo>
                  <a:pt x="2736" y="3642"/>
                </a:lnTo>
                <a:cubicBezTo>
                  <a:pt x="2783" y="3642"/>
                  <a:pt x="2815" y="3595"/>
                  <a:pt x="2815" y="3563"/>
                </a:cubicBezTo>
                <a:cubicBezTo>
                  <a:pt x="2815" y="3515"/>
                  <a:pt x="2783" y="3483"/>
                  <a:pt x="2736" y="3483"/>
                </a:cubicBezTo>
                <a:close/>
                <a:moveTo>
                  <a:pt x="3737" y="3483"/>
                </a:moveTo>
                <a:lnTo>
                  <a:pt x="3594" y="3483"/>
                </a:lnTo>
                <a:cubicBezTo>
                  <a:pt x="3546" y="3483"/>
                  <a:pt x="3515" y="3515"/>
                  <a:pt x="3515" y="3563"/>
                </a:cubicBezTo>
                <a:cubicBezTo>
                  <a:pt x="3515" y="3595"/>
                  <a:pt x="3546" y="3642"/>
                  <a:pt x="3594" y="3642"/>
                </a:cubicBezTo>
                <a:lnTo>
                  <a:pt x="3737" y="3642"/>
                </a:lnTo>
                <a:cubicBezTo>
                  <a:pt x="3785" y="3642"/>
                  <a:pt x="3817" y="3595"/>
                  <a:pt x="3817" y="3563"/>
                </a:cubicBezTo>
                <a:cubicBezTo>
                  <a:pt x="3817" y="3515"/>
                  <a:pt x="3785" y="3483"/>
                  <a:pt x="3737" y="3483"/>
                </a:cubicBezTo>
                <a:close/>
                <a:moveTo>
                  <a:pt x="588" y="557"/>
                </a:moveTo>
                <a:lnTo>
                  <a:pt x="731" y="557"/>
                </a:lnTo>
                <a:cubicBezTo>
                  <a:pt x="779" y="557"/>
                  <a:pt x="811" y="509"/>
                  <a:pt x="811" y="477"/>
                </a:cubicBezTo>
                <a:cubicBezTo>
                  <a:pt x="811" y="429"/>
                  <a:pt x="779" y="398"/>
                  <a:pt x="731" y="398"/>
                </a:cubicBezTo>
                <a:lnTo>
                  <a:pt x="588" y="398"/>
                </a:lnTo>
                <a:cubicBezTo>
                  <a:pt x="541" y="398"/>
                  <a:pt x="509" y="429"/>
                  <a:pt x="509" y="477"/>
                </a:cubicBezTo>
                <a:cubicBezTo>
                  <a:pt x="509" y="509"/>
                  <a:pt x="541" y="557"/>
                  <a:pt x="588" y="557"/>
                </a:cubicBezTo>
                <a:close/>
                <a:moveTo>
                  <a:pt x="1590" y="557"/>
                </a:moveTo>
                <a:lnTo>
                  <a:pt x="1734" y="557"/>
                </a:lnTo>
                <a:cubicBezTo>
                  <a:pt x="1781" y="557"/>
                  <a:pt x="1813" y="509"/>
                  <a:pt x="1813" y="477"/>
                </a:cubicBezTo>
                <a:cubicBezTo>
                  <a:pt x="1813" y="429"/>
                  <a:pt x="1781" y="398"/>
                  <a:pt x="1734" y="398"/>
                </a:cubicBezTo>
                <a:lnTo>
                  <a:pt x="1590" y="398"/>
                </a:lnTo>
                <a:cubicBezTo>
                  <a:pt x="1543" y="398"/>
                  <a:pt x="1511" y="429"/>
                  <a:pt x="1511" y="477"/>
                </a:cubicBezTo>
                <a:cubicBezTo>
                  <a:pt x="1511" y="509"/>
                  <a:pt x="1543" y="557"/>
                  <a:pt x="1590" y="557"/>
                </a:cubicBezTo>
                <a:close/>
                <a:moveTo>
                  <a:pt x="2592" y="557"/>
                </a:moveTo>
                <a:lnTo>
                  <a:pt x="2736" y="557"/>
                </a:lnTo>
                <a:cubicBezTo>
                  <a:pt x="2783" y="557"/>
                  <a:pt x="2815" y="509"/>
                  <a:pt x="2815" y="477"/>
                </a:cubicBezTo>
                <a:cubicBezTo>
                  <a:pt x="2815" y="429"/>
                  <a:pt x="2783" y="398"/>
                  <a:pt x="2736" y="398"/>
                </a:cubicBezTo>
                <a:lnTo>
                  <a:pt x="2592" y="398"/>
                </a:lnTo>
                <a:cubicBezTo>
                  <a:pt x="2545" y="398"/>
                  <a:pt x="2513" y="429"/>
                  <a:pt x="2513" y="477"/>
                </a:cubicBezTo>
                <a:cubicBezTo>
                  <a:pt x="2513" y="509"/>
                  <a:pt x="2545" y="557"/>
                  <a:pt x="2592" y="557"/>
                </a:cubicBezTo>
                <a:close/>
                <a:moveTo>
                  <a:pt x="3594" y="557"/>
                </a:moveTo>
                <a:lnTo>
                  <a:pt x="3737" y="557"/>
                </a:lnTo>
                <a:cubicBezTo>
                  <a:pt x="3785" y="557"/>
                  <a:pt x="3817" y="509"/>
                  <a:pt x="3817" y="477"/>
                </a:cubicBezTo>
                <a:cubicBezTo>
                  <a:pt x="3817" y="429"/>
                  <a:pt x="3785" y="398"/>
                  <a:pt x="3737" y="398"/>
                </a:cubicBezTo>
                <a:lnTo>
                  <a:pt x="3594" y="398"/>
                </a:lnTo>
                <a:cubicBezTo>
                  <a:pt x="3546" y="398"/>
                  <a:pt x="3515" y="429"/>
                  <a:pt x="3515" y="477"/>
                </a:cubicBezTo>
                <a:cubicBezTo>
                  <a:pt x="3515" y="509"/>
                  <a:pt x="3546" y="557"/>
                  <a:pt x="3594" y="557"/>
                </a:cubicBezTo>
                <a:close/>
                <a:moveTo>
                  <a:pt x="1368" y="2767"/>
                </a:moveTo>
                <a:lnTo>
                  <a:pt x="2942" y="2767"/>
                </a:lnTo>
                <a:cubicBezTo>
                  <a:pt x="2990" y="2767"/>
                  <a:pt x="3022" y="2736"/>
                  <a:pt x="3022" y="2688"/>
                </a:cubicBezTo>
                <a:lnTo>
                  <a:pt x="3022" y="1336"/>
                </a:lnTo>
                <a:cubicBezTo>
                  <a:pt x="3022" y="1288"/>
                  <a:pt x="2990" y="1256"/>
                  <a:pt x="2942" y="1256"/>
                </a:cubicBezTo>
                <a:lnTo>
                  <a:pt x="1368" y="1256"/>
                </a:lnTo>
                <a:cubicBezTo>
                  <a:pt x="1336" y="1256"/>
                  <a:pt x="1288" y="1288"/>
                  <a:pt x="1288" y="1336"/>
                </a:cubicBezTo>
                <a:lnTo>
                  <a:pt x="1288" y="2688"/>
                </a:lnTo>
                <a:cubicBezTo>
                  <a:pt x="1288" y="2736"/>
                  <a:pt x="1336" y="2767"/>
                  <a:pt x="1368" y="2767"/>
                </a:cubicBezTo>
                <a:close/>
                <a:moveTo>
                  <a:pt x="1447" y="1416"/>
                </a:moveTo>
                <a:lnTo>
                  <a:pt x="2863" y="1416"/>
                </a:lnTo>
                <a:lnTo>
                  <a:pt x="2863" y="2609"/>
                </a:lnTo>
                <a:lnTo>
                  <a:pt x="1447" y="2609"/>
                </a:lnTo>
                <a:close/>
                <a:moveTo>
                  <a:pt x="0" y="334"/>
                </a:moveTo>
                <a:lnTo>
                  <a:pt x="0" y="3690"/>
                </a:lnTo>
                <a:cubicBezTo>
                  <a:pt x="0" y="3865"/>
                  <a:pt x="159" y="4024"/>
                  <a:pt x="350" y="4024"/>
                </a:cubicBezTo>
                <a:lnTo>
                  <a:pt x="3960" y="4024"/>
                </a:lnTo>
                <a:cubicBezTo>
                  <a:pt x="4167" y="4024"/>
                  <a:pt x="4326" y="3865"/>
                  <a:pt x="4326" y="3690"/>
                </a:cubicBezTo>
                <a:lnTo>
                  <a:pt x="4326" y="334"/>
                </a:lnTo>
                <a:cubicBezTo>
                  <a:pt x="4326" y="159"/>
                  <a:pt x="4167" y="0"/>
                  <a:pt x="3960" y="0"/>
                </a:cubicBezTo>
                <a:lnTo>
                  <a:pt x="350" y="0"/>
                </a:lnTo>
                <a:cubicBezTo>
                  <a:pt x="159" y="0"/>
                  <a:pt x="0" y="159"/>
                  <a:pt x="0" y="334"/>
                </a:cubicBezTo>
                <a:close/>
                <a:moveTo>
                  <a:pt x="4167" y="2609"/>
                </a:moveTo>
                <a:lnTo>
                  <a:pt x="3594" y="2609"/>
                </a:lnTo>
                <a:lnTo>
                  <a:pt x="3594" y="1416"/>
                </a:lnTo>
                <a:lnTo>
                  <a:pt x="4167" y="1416"/>
                </a:lnTo>
                <a:close/>
                <a:moveTo>
                  <a:pt x="4167" y="1256"/>
                </a:moveTo>
                <a:lnTo>
                  <a:pt x="3515" y="1256"/>
                </a:lnTo>
                <a:cubicBezTo>
                  <a:pt x="3483" y="1256"/>
                  <a:pt x="3435" y="1288"/>
                  <a:pt x="3435" y="1336"/>
                </a:cubicBezTo>
                <a:lnTo>
                  <a:pt x="3435" y="2688"/>
                </a:lnTo>
                <a:cubicBezTo>
                  <a:pt x="3435" y="2736"/>
                  <a:pt x="3483" y="2767"/>
                  <a:pt x="3515" y="2767"/>
                </a:cubicBezTo>
                <a:lnTo>
                  <a:pt x="4167" y="2767"/>
                </a:lnTo>
                <a:lnTo>
                  <a:pt x="4167" y="3101"/>
                </a:lnTo>
                <a:lnTo>
                  <a:pt x="159" y="3101"/>
                </a:lnTo>
                <a:lnTo>
                  <a:pt x="159" y="2767"/>
                </a:lnTo>
                <a:lnTo>
                  <a:pt x="795" y="2767"/>
                </a:lnTo>
                <a:cubicBezTo>
                  <a:pt x="843" y="2767"/>
                  <a:pt x="874" y="2736"/>
                  <a:pt x="874" y="2688"/>
                </a:cubicBezTo>
                <a:lnTo>
                  <a:pt x="874" y="1336"/>
                </a:lnTo>
                <a:cubicBezTo>
                  <a:pt x="874" y="1288"/>
                  <a:pt x="843" y="1256"/>
                  <a:pt x="795" y="1256"/>
                </a:cubicBezTo>
                <a:lnTo>
                  <a:pt x="159" y="1256"/>
                </a:lnTo>
                <a:lnTo>
                  <a:pt x="159" y="922"/>
                </a:lnTo>
                <a:lnTo>
                  <a:pt x="4167" y="922"/>
                </a:lnTo>
                <a:close/>
                <a:moveTo>
                  <a:pt x="159" y="1416"/>
                </a:moveTo>
                <a:lnTo>
                  <a:pt x="716" y="1416"/>
                </a:lnTo>
                <a:lnTo>
                  <a:pt x="716" y="2609"/>
                </a:lnTo>
                <a:lnTo>
                  <a:pt x="159" y="2609"/>
                </a:lnTo>
                <a:close/>
                <a:moveTo>
                  <a:pt x="3960" y="3865"/>
                </a:moveTo>
                <a:lnTo>
                  <a:pt x="350" y="3865"/>
                </a:lnTo>
                <a:cubicBezTo>
                  <a:pt x="254" y="3865"/>
                  <a:pt x="159" y="3785"/>
                  <a:pt x="159" y="3690"/>
                </a:cubicBezTo>
                <a:lnTo>
                  <a:pt x="159" y="3261"/>
                </a:lnTo>
                <a:lnTo>
                  <a:pt x="4167" y="3261"/>
                </a:lnTo>
                <a:lnTo>
                  <a:pt x="4167" y="3690"/>
                </a:lnTo>
                <a:cubicBezTo>
                  <a:pt x="4167" y="3785"/>
                  <a:pt x="4072" y="3865"/>
                  <a:pt x="3960" y="3865"/>
                </a:cubicBezTo>
                <a:close/>
                <a:moveTo>
                  <a:pt x="4167" y="334"/>
                </a:moveTo>
                <a:lnTo>
                  <a:pt x="4167" y="764"/>
                </a:lnTo>
                <a:lnTo>
                  <a:pt x="159" y="764"/>
                </a:lnTo>
                <a:lnTo>
                  <a:pt x="159" y="334"/>
                </a:lnTo>
                <a:cubicBezTo>
                  <a:pt x="159" y="238"/>
                  <a:pt x="254" y="159"/>
                  <a:pt x="350" y="159"/>
                </a:cubicBezTo>
                <a:lnTo>
                  <a:pt x="3960" y="159"/>
                </a:lnTo>
                <a:cubicBezTo>
                  <a:pt x="4072" y="159"/>
                  <a:pt x="4167" y="238"/>
                  <a:pt x="4167" y="33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1" name="Freeform: Shape 13">
            <a:extLst>
              <a:ext uri="{FF2B5EF4-FFF2-40B4-BE49-F238E27FC236}">
                <a16:creationId xmlns:a16="http://schemas.microsoft.com/office/drawing/2014/main" id="{B9FA2F78-9519-7E45-9656-FF363AB92E35}"/>
              </a:ext>
            </a:extLst>
          </p:cNvPr>
          <p:cNvSpPr/>
          <p:nvPr/>
        </p:nvSpPr>
        <p:spPr>
          <a:xfrm>
            <a:off x="6007329" y="6551040"/>
            <a:ext cx="1551599" cy="1442519"/>
          </a:xfrm>
          <a:custGeom>
            <a:avLst/>
            <a:gdLst/>
            <a:ahLst/>
            <a:cxnLst>
              <a:cxn ang="3cd4">
                <a:pos x="hc" y="t"/>
              </a:cxn>
              <a:cxn ang="cd2">
                <a:pos x="l" y="vc"/>
              </a:cxn>
              <a:cxn ang="cd4">
                <a:pos x="hc" y="b"/>
              </a:cxn>
              <a:cxn ang="0">
                <a:pos x="r" y="vc"/>
              </a:cxn>
            </a:cxnLst>
            <a:rect l="l" t="t" r="r" b="b"/>
            <a:pathLst>
              <a:path w="4311" h="4008">
                <a:moveTo>
                  <a:pt x="2863" y="1925"/>
                </a:moveTo>
                <a:lnTo>
                  <a:pt x="1607" y="1098"/>
                </a:lnTo>
                <a:cubicBezTo>
                  <a:pt x="1591" y="1082"/>
                  <a:pt x="1559" y="1082"/>
                  <a:pt x="1527" y="1098"/>
                </a:cubicBezTo>
                <a:cubicBezTo>
                  <a:pt x="1496" y="1114"/>
                  <a:pt x="1480" y="1130"/>
                  <a:pt x="1480" y="1161"/>
                </a:cubicBezTo>
                <a:lnTo>
                  <a:pt x="1480" y="2815"/>
                </a:lnTo>
                <a:cubicBezTo>
                  <a:pt x="1480" y="2848"/>
                  <a:pt x="1496" y="2863"/>
                  <a:pt x="1527" y="2879"/>
                </a:cubicBezTo>
                <a:cubicBezTo>
                  <a:pt x="1544" y="2895"/>
                  <a:pt x="1548" y="2890"/>
                  <a:pt x="1559" y="2895"/>
                </a:cubicBezTo>
                <a:cubicBezTo>
                  <a:pt x="1575" y="2895"/>
                  <a:pt x="1591" y="2895"/>
                  <a:pt x="1607" y="2879"/>
                </a:cubicBezTo>
                <a:lnTo>
                  <a:pt x="2863" y="2052"/>
                </a:lnTo>
                <a:cubicBezTo>
                  <a:pt x="2880" y="2036"/>
                  <a:pt x="2895" y="2021"/>
                  <a:pt x="2895" y="1988"/>
                </a:cubicBezTo>
                <a:cubicBezTo>
                  <a:pt x="2895" y="1957"/>
                  <a:pt x="2880" y="1941"/>
                  <a:pt x="2863" y="1925"/>
                </a:cubicBezTo>
                <a:close/>
                <a:moveTo>
                  <a:pt x="1639" y="2672"/>
                </a:moveTo>
                <a:lnTo>
                  <a:pt x="1639" y="1305"/>
                </a:lnTo>
                <a:lnTo>
                  <a:pt x="2672" y="1988"/>
                </a:lnTo>
                <a:close/>
                <a:moveTo>
                  <a:pt x="573" y="3627"/>
                </a:moveTo>
                <a:lnTo>
                  <a:pt x="717" y="3627"/>
                </a:lnTo>
                <a:cubicBezTo>
                  <a:pt x="764" y="3627"/>
                  <a:pt x="796" y="3595"/>
                  <a:pt x="796" y="3547"/>
                </a:cubicBezTo>
                <a:cubicBezTo>
                  <a:pt x="796" y="3500"/>
                  <a:pt x="764" y="3468"/>
                  <a:pt x="717" y="3468"/>
                </a:cubicBezTo>
                <a:lnTo>
                  <a:pt x="573" y="3468"/>
                </a:lnTo>
                <a:cubicBezTo>
                  <a:pt x="541" y="3468"/>
                  <a:pt x="494" y="3500"/>
                  <a:pt x="494" y="3547"/>
                </a:cubicBezTo>
                <a:cubicBezTo>
                  <a:pt x="494" y="3595"/>
                  <a:pt x="541" y="3627"/>
                  <a:pt x="573" y="3627"/>
                </a:cubicBezTo>
                <a:close/>
                <a:moveTo>
                  <a:pt x="1575" y="3627"/>
                </a:moveTo>
                <a:lnTo>
                  <a:pt x="1718" y="3627"/>
                </a:lnTo>
                <a:cubicBezTo>
                  <a:pt x="1766" y="3627"/>
                  <a:pt x="1798" y="3595"/>
                  <a:pt x="1798" y="3547"/>
                </a:cubicBezTo>
                <a:cubicBezTo>
                  <a:pt x="1798" y="3500"/>
                  <a:pt x="1766" y="3468"/>
                  <a:pt x="1718" y="3468"/>
                </a:cubicBezTo>
                <a:lnTo>
                  <a:pt x="1575" y="3468"/>
                </a:lnTo>
                <a:cubicBezTo>
                  <a:pt x="1544" y="3468"/>
                  <a:pt x="1496" y="3500"/>
                  <a:pt x="1496" y="3547"/>
                </a:cubicBezTo>
                <a:cubicBezTo>
                  <a:pt x="1496" y="3595"/>
                  <a:pt x="1544" y="3627"/>
                  <a:pt x="1575" y="3627"/>
                </a:cubicBezTo>
                <a:close/>
                <a:moveTo>
                  <a:pt x="2577" y="3627"/>
                </a:moveTo>
                <a:lnTo>
                  <a:pt x="2720" y="3627"/>
                </a:lnTo>
                <a:cubicBezTo>
                  <a:pt x="2768" y="3627"/>
                  <a:pt x="2800" y="3595"/>
                  <a:pt x="2800" y="3547"/>
                </a:cubicBezTo>
                <a:cubicBezTo>
                  <a:pt x="2800" y="3500"/>
                  <a:pt x="2768" y="3468"/>
                  <a:pt x="2720" y="3468"/>
                </a:cubicBezTo>
                <a:lnTo>
                  <a:pt x="2577" y="3468"/>
                </a:lnTo>
                <a:cubicBezTo>
                  <a:pt x="2545" y="3468"/>
                  <a:pt x="2498" y="3500"/>
                  <a:pt x="2498" y="3547"/>
                </a:cubicBezTo>
                <a:cubicBezTo>
                  <a:pt x="2498" y="3595"/>
                  <a:pt x="2545" y="3627"/>
                  <a:pt x="2577" y="3627"/>
                </a:cubicBezTo>
                <a:close/>
                <a:moveTo>
                  <a:pt x="3579" y="3627"/>
                </a:moveTo>
                <a:lnTo>
                  <a:pt x="3722" y="3627"/>
                </a:lnTo>
                <a:cubicBezTo>
                  <a:pt x="3770" y="3627"/>
                  <a:pt x="3802" y="3595"/>
                  <a:pt x="3802" y="3547"/>
                </a:cubicBezTo>
                <a:cubicBezTo>
                  <a:pt x="3802" y="3500"/>
                  <a:pt x="3770" y="3468"/>
                  <a:pt x="3722" y="3468"/>
                </a:cubicBezTo>
                <a:lnTo>
                  <a:pt x="3579" y="3468"/>
                </a:lnTo>
                <a:cubicBezTo>
                  <a:pt x="3547" y="3468"/>
                  <a:pt x="3500" y="3500"/>
                  <a:pt x="3500" y="3547"/>
                </a:cubicBezTo>
                <a:cubicBezTo>
                  <a:pt x="3500" y="3595"/>
                  <a:pt x="3547" y="3627"/>
                  <a:pt x="3579" y="3627"/>
                </a:cubicBezTo>
                <a:close/>
                <a:moveTo>
                  <a:pt x="573" y="541"/>
                </a:moveTo>
                <a:lnTo>
                  <a:pt x="717" y="541"/>
                </a:lnTo>
                <a:cubicBezTo>
                  <a:pt x="764" y="541"/>
                  <a:pt x="796" y="509"/>
                  <a:pt x="796" y="462"/>
                </a:cubicBezTo>
                <a:cubicBezTo>
                  <a:pt x="796" y="414"/>
                  <a:pt x="764" y="382"/>
                  <a:pt x="717" y="382"/>
                </a:cubicBezTo>
                <a:lnTo>
                  <a:pt x="573" y="382"/>
                </a:lnTo>
                <a:cubicBezTo>
                  <a:pt x="541" y="382"/>
                  <a:pt x="494" y="414"/>
                  <a:pt x="494" y="462"/>
                </a:cubicBezTo>
                <a:cubicBezTo>
                  <a:pt x="494" y="509"/>
                  <a:pt x="541" y="541"/>
                  <a:pt x="573" y="541"/>
                </a:cubicBezTo>
                <a:close/>
                <a:moveTo>
                  <a:pt x="1575" y="541"/>
                </a:moveTo>
                <a:lnTo>
                  <a:pt x="1718" y="541"/>
                </a:lnTo>
                <a:cubicBezTo>
                  <a:pt x="1766" y="541"/>
                  <a:pt x="1798" y="509"/>
                  <a:pt x="1798" y="462"/>
                </a:cubicBezTo>
                <a:cubicBezTo>
                  <a:pt x="1798" y="414"/>
                  <a:pt x="1766" y="382"/>
                  <a:pt x="1718" y="382"/>
                </a:cubicBezTo>
                <a:lnTo>
                  <a:pt x="1575" y="382"/>
                </a:lnTo>
                <a:cubicBezTo>
                  <a:pt x="1544" y="382"/>
                  <a:pt x="1496" y="414"/>
                  <a:pt x="1496" y="462"/>
                </a:cubicBezTo>
                <a:cubicBezTo>
                  <a:pt x="1496" y="509"/>
                  <a:pt x="1544" y="541"/>
                  <a:pt x="1575" y="541"/>
                </a:cubicBezTo>
                <a:close/>
                <a:moveTo>
                  <a:pt x="2577" y="541"/>
                </a:moveTo>
                <a:lnTo>
                  <a:pt x="2720" y="541"/>
                </a:lnTo>
                <a:cubicBezTo>
                  <a:pt x="2768" y="541"/>
                  <a:pt x="2800" y="509"/>
                  <a:pt x="2800" y="462"/>
                </a:cubicBezTo>
                <a:cubicBezTo>
                  <a:pt x="2800" y="414"/>
                  <a:pt x="2768" y="382"/>
                  <a:pt x="2720" y="382"/>
                </a:cubicBezTo>
                <a:lnTo>
                  <a:pt x="2577" y="382"/>
                </a:lnTo>
                <a:cubicBezTo>
                  <a:pt x="2545" y="382"/>
                  <a:pt x="2498" y="414"/>
                  <a:pt x="2498" y="462"/>
                </a:cubicBezTo>
                <a:cubicBezTo>
                  <a:pt x="2498" y="509"/>
                  <a:pt x="2545" y="541"/>
                  <a:pt x="2577" y="541"/>
                </a:cubicBezTo>
                <a:close/>
                <a:moveTo>
                  <a:pt x="3579" y="541"/>
                </a:moveTo>
                <a:lnTo>
                  <a:pt x="3722" y="541"/>
                </a:lnTo>
                <a:cubicBezTo>
                  <a:pt x="3770" y="541"/>
                  <a:pt x="3802" y="509"/>
                  <a:pt x="3802" y="462"/>
                </a:cubicBezTo>
                <a:cubicBezTo>
                  <a:pt x="3802" y="414"/>
                  <a:pt x="3770" y="382"/>
                  <a:pt x="3722" y="382"/>
                </a:cubicBezTo>
                <a:lnTo>
                  <a:pt x="3579" y="382"/>
                </a:lnTo>
                <a:cubicBezTo>
                  <a:pt x="3547" y="382"/>
                  <a:pt x="3500" y="414"/>
                  <a:pt x="3500" y="462"/>
                </a:cubicBezTo>
                <a:cubicBezTo>
                  <a:pt x="3500" y="509"/>
                  <a:pt x="3547" y="541"/>
                  <a:pt x="3579" y="541"/>
                </a:cubicBezTo>
                <a:close/>
                <a:moveTo>
                  <a:pt x="3961" y="4008"/>
                </a:moveTo>
                <a:cubicBezTo>
                  <a:pt x="4152" y="4008"/>
                  <a:pt x="4311" y="3865"/>
                  <a:pt x="4311" y="3675"/>
                </a:cubicBezTo>
                <a:lnTo>
                  <a:pt x="4311" y="334"/>
                </a:lnTo>
                <a:cubicBezTo>
                  <a:pt x="4311" y="143"/>
                  <a:pt x="4152" y="0"/>
                  <a:pt x="3961" y="0"/>
                </a:cubicBezTo>
                <a:lnTo>
                  <a:pt x="351" y="0"/>
                </a:lnTo>
                <a:cubicBezTo>
                  <a:pt x="160" y="0"/>
                  <a:pt x="0" y="143"/>
                  <a:pt x="0" y="334"/>
                </a:cubicBezTo>
                <a:lnTo>
                  <a:pt x="0" y="3675"/>
                </a:lnTo>
                <a:cubicBezTo>
                  <a:pt x="0" y="3865"/>
                  <a:pt x="160" y="4008"/>
                  <a:pt x="351" y="4008"/>
                </a:cubicBezTo>
                <a:close/>
                <a:moveTo>
                  <a:pt x="160" y="907"/>
                </a:moveTo>
                <a:lnTo>
                  <a:pt x="4152" y="907"/>
                </a:lnTo>
                <a:lnTo>
                  <a:pt x="4152" y="3102"/>
                </a:lnTo>
                <a:lnTo>
                  <a:pt x="160" y="3102"/>
                </a:lnTo>
                <a:close/>
                <a:moveTo>
                  <a:pt x="351" y="160"/>
                </a:moveTo>
                <a:lnTo>
                  <a:pt x="3961" y="160"/>
                </a:lnTo>
                <a:cubicBezTo>
                  <a:pt x="4072" y="160"/>
                  <a:pt x="4152" y="239"/>
                  <a:pt x="4152" y="334"/>
                </a:cubicBezTo>
                <a:lnTo>
                  <a:pt x="4152" y="748"/>
                </a:lnTo>
                <a:lnTo>
                  <a:pt x="160" y="748"/>
                </a:lnTo>
                <a:lnTo>
                  <a:pt x="160" y="334"/>
                </a:lnTo>
                <a:cubicBezTo>
                  <a:pt x="160" y="239"/>
                  <a:pt x="239" y="160"/>
                  <a:pt x="351" y="160"/>
                </a:cubicBezTo>
                <a:close/>
                <a:moveTo>
                  <a:pt x="160" y="3675"/>
                </a:moveTo>
                <a:lnTo>
                  <a:pt x="160" y="3261"/>
                </a:lnTo>
                <a:lnTo>
                  <a:pt x="4152" y="3261"/>
                </a:lnTo>
                <a:lnTo>
                  <a:pt x="4152" y="3675"/>
                </a:lnTo>
                <a:cubicBezTo>
                  <a:pt x="4152" y="3770"/>
                  <a:pt x="4072" y="3850"/>
                  <a:pt x="3961" y="3850"/>
                </a:cubicBezTo>
                <a:lnTo>
                  <a:pt x="351" y="3850"/>
                </a:lnTo>
                <a:cubicBezTo>
                  <a:pt x="239" y="3850"/>
                  <a:pt x="160" y="3770"/>
                  <a:pt x="160" y="367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2" name="Freeform: Shape 14">
            <a:extLst>
              <a:ext uri="{FF2B5EF4-FFF2-40B4-BE49-F238E27FC236}">
                <a16:creationId xmlns:a16="http://schemas.microsoft.com/office/drawing/2014/main" id="{72E69EF6-A938-3440-B0BA-124866407466}"/>
              </a:ext>
            </a:extLst>
          </p:cNvPr>
          <p:cNvSpPr/>
          <p:nvPr/>
        </p:nvSpPr>
        <p:spPr>
          <a:xfrm>
            <a:off x="6097788" y="9688807"/>
            <a:ext cx="1602720" cy="1638000"/>
          </a:xfrm>
          <a:custGeom>
            <a:avLst/>
            <a:gdLst/>
            <a:ahLst/>
            <a:cxnLst>
              <a:cxn ang="3cd4">
                <a:pos x="hc" y="t"/>
              </a:cxn>
              <a:cxn ang="cd2">
                <a:pos x="l" y="vc"/>
              </a:cxn>
              <a:cxn ang="cd4">
                <a:pos x="hc" y="b"/>
              </a:cxn>
              <a:cxn ang="0">
                <a:pos x="r" y="vc"/>
              </a:cxn>
            </a:cxnLst>
            <a:rect l="l" t="t" r="r" b="b"/>
            <a:pathLst>
              <a:path w="4453" h="4551">
                <a:moveTo>
                  <a:pt x="3626" y="3420"/>
                </a:moveTo>
                <a:cubicBezTo>
                  <a:pt x="3467" y="3420"/>
                  <a:pt x="3340" y="3548"/>
                  <a:pt x="3340" y="3706"/>
                </a:cubicBezTo>
                <a:cubicBezTo>
                  <a:pt x="3340" y="3866"/>
                  <a:pt x="3467" y="3977"/>
                  <a:pt x="3626" y="3977"/>
                </a:cubicBezTo>
                <a:cubicBezTo>
                  <a:pt x="3769" y="3977"/>
                  <a:pt x="3897" y="3866"/>
                  <a:pt x="3897" y="3706"/>
                </a:cubicBezTo>
                <a:cubicBezTo>
                  <a:pt x="3897" y="3548"/>
                  <a:pt x="3769" y="3420"/>
                  <a:pt x="3626" y="3420"/>
                </a:cubicBezTo>
                <a:close/>
                <a:moveTo>
                  <a:pt x="3626" y="3818"/>
                </a:moveTo>
                <a:cubicBezTo>
                  <a:pt x="3546" y="3818"/>
                  <a:pt x="3499" y="3770"/>
                  <a:pt x="3499" y="3706"/>
                </a:cubicBezTo>
                <a:cubicBezTo>
                  <a:pt x="3499" y="3643"/>
                  <a:pt x="3546" y="3579"/>
                  <a:pt x="3626" y="3579"/>
                </a:cubicBezTo>
                <a:cubicBezTo>
                  <a:pt x="3690" y="3579"/>
                  <a:pt x="3737" y="3643"/>
                  <a:pt x="3737" y="3706"/>
                </a:cubicBezTo>
                <a:cubicBezTo>
                  <a:pt x="3737" y="3770"/>
                  <a:pt x="3690" y="3818"/>
                  <a:pt x="3626" y="3818"/>
                </a:cubicBezTo>
                <a:close/>
                <a:moveTo>
                  <a:pt x="843" y="3420"/>
                </a:moveTo>
                <a:cubicBezTo>
                  <a:pt x="684" y="3420"/>
                  <a:pt x="556" y="3548"/>
                  <a:pt x="556" y="3706"/>
                </a:cubicBezTo>
                <a:cubicBezTo>
                  <a:pt x="556" y="3866"/>
                  <a:pt x="684" y="3977"/>
                  <a:pt x="843" y="3977"/>
                </a:cubicBezTo>
                <a:cubicBezTo>
                  <a:pt x="1002" y="3977"/>
                  <a:pt x="1113" y="3866"/>
                  <a:pt x="1113" y="3706"/>
                </a:cubicBezTo>
                <a:cubicBezTo>
                  <a:pt x="1113" y="3548"/>
                  <a:pt x="1002" y="3420"/>
                  <a:pt x="843" y="3420"/>
                </a:cubicBezTo>
                <a:close/>
                <a:moveTo>
                  <a:pt x="843" y="3818"/>
                </a:moveTo>
                <a:cubicBezTo>
                  <a:pt x="779" y="3818"/>
                  <a:pt x="716" y="3770"/>
                  <a:pt x="716" y="3706"/>
                </a:cubicBezTo>
                <a:cubicBezTo>
                  <a:pt x="716" y="3643"/>
                  <a:pt x="779" y="3579"/>
                  <a:pt x="843" y="3579"/>
                </a:cubicBezTo>
                <a:cubicBezTo>
                  <a:pt x="907" y="3579"/>
                  <a:pt x="954" y="3643"/>
                  <a:pt x="954" y="3706"/>
                </a:cubicBezTo>
                <a:cubicBezTo>
                  <a:pt x="954" y="3770"/>
                  <a:pt x="907" y="3818"/>
                  <a:pt x="843" y="3818"/>
                </a:cubicBezTo>
                <a:close/>
                <a:moveTo>
                  <a:pt x="2545" y="3754"/>
                </a:moveTo>
                <a:lnTo>
                  <a:pt x="1749" y="3754"/>
                </a:lnTo>
                <a:cubicBezTo>
                  <a:pt x="1702" y="3754"/>
                  <a:pt x="1670" y="3786"/>
                  <a:pt x="1670" y="3834"/>
                </a:cubicBezTo>
                <a:cubicBezTo>
                  <a:pt x="1670" y="3866"/>
                  <a:pt x="1702" y="3914"/>
                  <a:pt x="1749" y="3914"/>
                </a:cubicBezTo>
                <a:lnTo>
                  <a:pt x="2545" y="3914"/>
                </a:lnTo>
                <a:cubicBezTo>
                  <a:pt x="2592" y="3914"/>
                  <a:pt x="2624" y="3866"/>
                  <a:pt x="2624" y="3834"/>
                </a:cubicBezTo>
                <a:cubicBezTo>
                  <a:pt x="2624" y="3786"/>
                  <a:pt x="2592" y="3754"/>
                  <a:pt x="2545" y="3754"/>
                </a:cubicBezTo>
                <a:close/>
                <a:moveTo>
                  <a:pt x="1654" y="1052"/>
                </a:moveTo>
                <a:lnTo>
                  <a:pt x="79" y="1052"/>
                </a:lnTo>
                <a:cubicBezTo>
                  <a:pt x="47" y="1052"/>
                  <a:pt x="0" y="1083"/>
                  <a:pt x="0" y="1131"/>
                </a:cubicBezTo>
                <a:lnTo>
                  <a:pt x="0" y="4312"/>
                </a:lnTo>
                <a:cubicBezTo>
                  <a:pt x="0" y="4344"/>
                  <a:pt x="47" y="4391"/>
                  <a:pt x="79" y="4391"/>
                </a:cubicBezTo>
                <a:lnTo>
                  <a:pt x="477" y="4391"/>
                </a:lnTo>
                <a:cubicBezTo>
                  <a:pt x="445" y="4391"/>
                  <a:pt x="398" y="4424"/>
                  <a:pt x="398" y="4471"/>
                </a:cubicBezTo>
                <a:cubicBezTo>
                  <a:pt x="398" y="4503"/>
                  <a:pt x="445" y="4551"/>
                  <a:pt x="477" y="4551"/>
                </a:cubicBezTo>
                <a:lnTo>
                  <a:pt x="636" y="4551"/>
                </a:lnTo>
                <a:cubicBezTo>
                  <a:pt x="684" y="4551"/>
                  <a:pt x="716" y="4503"/>
                  <a:pt x="716" y="4471"/>
                </a:cubicBezTo>
                <a:cubicBezTo>
                  <a:pt x="716" y="4424"/>
                  <a:pt x="684" y="4391"/>
                  <a:pt x="652" y="4391"/>
                </a:cubicBezTo>
                <a:lnTo>
                  <a:pt x="3817" y="4391"/>
                </a:lnTo>
                <a:cubicBezTo>
                  <a:pt x="3769" y="4391"/>
                  <a:pt x="3737" y="4424"/>
                  <a:pt x="3737" y="4471"/>
                </a:cubicBezTo>
                <a:cubicBezTo>
                  <a:pt x="3737" y="4503"/>
                  <a:pt x="3769" y="4551"/>
                  <a:pt x="3817" y="4551"/>
                </a:cubicBezTo>
                <a:lnTo>
                  <a:pt x="3976" y="4551"/>
                </a:lnTo>
                <a:cubicBezTo>
                  <a:pt x="4024" y="4551"/>
                  <a:pt x="4055" y="4503"/>
                  <a:pt x="4055" y="4471"/>
                </a:cubicBezTo>
                <a:cubicBezTo>
                  <a:pt x="4055" y="4424"/>
                  <a:pt x="4024" y="4391"/>
                  <a:pt x="3976" y="4391"/>
                </a:cubicBezTo>
                <a:lnTo>
                  <a:pt x="4374" y="4391"/>
                </a:lnTo>
                <a:cubicBezTo>
                  <a:pt x="4421" y="4391"/>
                  <a:pt x="4453" y="4344"/>
                  <a:pt x="4453" y="4312"/>
                </a:cubicBezTo>
                <a:lnTo>
                  <a:pt x="4453" y="1131"/>
                </a:lnTo>
                <a:cubicBezTo>
                  <a:pt x="4453" y="1083"/>
                  <a:pt x="4421" y="1052"/>
                  <a:pt x="4374" y="1052"/>
                </a:cubicBezTo>
                <a:lnTo>
                  <a:pt x="2799" y="1052"/>
                </a:lnTo>
                <a:cubicBezTo>
                  <a:pt x="2799" y="908"/>
                  <a:pt x="2736" y="797"/>
                  <a:pt x="2656" y="686"/>
                </a:cubicBezTo>
                <a:lnTo>
                  <a:pt x="3276" y="145"/>
                </a:lnTo>
                <a:cubicBezTo>
                  <a:pt x="3308" y="113"/>
                  <a:pt x="3308" y="65"/>
                  <a:pt x="3276" y="34"/>
                </a:cubicBezTo>
                <a:cubicBezTo>
                  <a:pt x="3245" y="2"/>
                  <a:pt x="3197" y="-14"/>
                  <a:pt x="3165" y="17"/>
                </a:cubicBezTo>
                <a:lnTo>
                  <a:pt x="2529" y="590"/>
                </a:lnTo>
                <a:cubicBezTo>
                  <a:pt x="2449" y="526"/>
                  <a:pt x="2338" y="495"/>
                  <a:pt x="2227" y="495"/>
                </a:cubicBezTo>
                <a:cubicBezTo>
                  <a:pt x="2163" y="495"/>
                  <a:pt x="2100" y="495"/>
                  <a:pt x="2052" y="526"/>
                </a:cubicBezTo>
                <a:lnTo>
                  <a:pt x="1495" y="17"/>
                </a:lnTo>
                <a:cubicBezTo>
                  <a:pt x="1463" y="-14"/>
                  <a:pt x="1415" y="2"/>
                  <a:pt x="1383" y="34"/>
                </a:cubicBezTo>
                <a:cubicBezTo>
                  <a:pt x="1352" y="65"/>
                  <a:pt x="1352" y="113"/>
                  <a:pt x="1383" y="145"/>
                </a:cubicBezTo>
                <a:lnTo>
                  <a:pt x="1892" y="606"/>
                </a:lnTo>
                <a:cubicBezTo>
                  <a:pt x="1765" y="702"/>
                  <a:pt x="1670" y="861"/>
                  <a:pt x="1654" y="1052"/>
                </a:cubicBezTo>
                <a:close/>
                <a:moveTo>
                  <a:pt x="4294" y="4233"/>
                </a:moveTo>
                <a:lnTo>
                  <a:pt x="159" y="4233"/>
                </a:lnTo>
                <a:lnTo>
                  <a:pt x="159" y="1210"/>
                </a:lnTo>
                <a:lnTo>
                  <a:pt x="4294" y="1210"/>
                </a:lnTo>
                <a:close/>
                <a:moveTo>
                  <a:pt x="2640" y="1052"/>
                </a:moveTo>
                <a:lnTo>
                  <a:pt x="1813" y="1052"/>
                </a:lnTo>
                <a:cubicBezTo>
                  <a:pt x="1829" y="829"/>
                  <a:pt x="2020" y="654"/>
                  <a:pt x="2227" y="654"/>
                </a:cubicBezTo>
                <a:cubicBezTo>
                  <a:pt x="2433" y="654"/>
                  <a:pt x="2624" y="829"/>
                  <a:pt x="2640" y="1052"/>
                </a:cubicBezTo>
                <a:close/>
                <a:moveTo>
                  <a:pt x="525" y="3245"/>
                </a:moveTo>
                <a:lnTo>
                  <a:pt x="3928" y="3245"/>
                </a:lnTo>
                <a:cubicBezTo>
                  <a:pt x="3976" y="3245"/>
                  <a:pt x="4008" y="3214"/>
                  <a:pt x="4008" y="3166"/>
                </a:cubicBezTo>
                <a:lnTo>
                  <a:pt x="4008" y="1528"/>
                </a:lnTo>
                <a:cubicBezTo>
                  <a:pt x="4008" y="1480"/>
                  <a:pt x="3976" y="1448"/>
                  <a:pt x="3928" y="1448"/>
                </a:cubicBezTo>
                <a:lnTo>
                  <a:pt x="525" y="1448"/>
                </a:lnTo>
                <a:cubicBezTo>
                  <a:pt x="477" y="1448"/>
                  <a:pt x="445" y="1480"/>
                  <a:pt x="445" y="1528"/>
                </a:cubicBezTo>
                <a:lnTo>
                  <a:pt x="445" y="3166"/>
                </a:lnTo>
                <a:cubicBezTo>
                  <a:pt x="445" y="3214"/>
                  <a:pt x="477" y="3245"/>
                  <a:pt x="525" y="3245"/>
                </a:cubicBezTo>
                <a:close/>
                <a:moveTo>
                  <a:pt x="604" y="1607"/>
                </a:moveTo>
                <a:lnTo>
                  <a:pt x="3849" y="1607"/>
                </a:lnTo>
                <a:lnTo>
                  <a:pt x="3849" y="3087"/>
                </a:lnTo>
                <a:lnTo>
                  <a:pt x="604" y="3087"/>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3" name="Freeform: Shape 15">
            <a:extLst>
              <a:ext uri="{FF2B5EF4-FFF2-40B4-BE49-F238E27FC236}">
                <a16:creationId xmlns:a16="http://schemas.microsoft.com/office/drawing/2014/main" id="{8E0D6874-C038-0343-898A-6D95D6EAE2E6}"/>
              </a:ext>
            </a:extLst>
          </p:cNvPr>
          <p:cNvSpPr/>
          <p:nvPr/>
        </p:nvSpPr>
        <p:spPr>
          <a:xfrm>
            <a:off x="1920928" y="6488040"/>
            <a:ext cx="1551240" cy="1545839"/>
          </a:xfrm>
          <a:custGeom>
            <a:avLst/>
            <a:gdLst/>
            <a:ahLst/>
            <a:cxnLst>
              <a:cxn ang="3cd4">
                <a:pos x="hc" y="t"/>
              </a:cxn>
              <a:cxn ang="cd2">
                <a:pos x="l" y="vc"/>
              </a:cxn>
              <a:cxn ang="cd4">
                <a:pos x="hc" y="b"/>
              </a:cxn>
              <a:cxn ang="0">
                <a:pos x="r" y="vc"/>
              </a:cxn>
            </a:cxnLst>
            <a:rect l="l" t="t" r="r" b="b"/>
            <a:pathLst>
              <a:path w="4310" h="4295">
                <a:moveTo>
                  <a:pt x="3722" y="3420"/>
                </a:moveTo>
                <a:lnTo>
                  <a:pt x="1543" y="3420"/>
                </a:lnTo>
                <a:cubicBezTo>
                  <a:pt x="1495" y="3277"/>
                  <a:pt x="1368" y="3166"/>
                  <a:pt x="1193" y="3166"/>
                </a:cubicBezTo>
                <a:cubicBezTo>
                  <a:pt x="1034" y="3166"/>
                  <a:pt x="891" y="3277"/>
                  <a:pt x="859" y="3420"/>
                </a:cubicBezTo>
                <a:lnTo>
                  <a:pt x="573" y="3420"/>
                </a:lnTo>
                <a:cubicBezTo>
                  <a:pt x="525" y="3420"/>
                  <a:pt x="493" y="3468"/>
                  <a:pt x="493" y="3499"/>
                </a:cubicBezTo>
                <a:cubicBezTo>
                  <a:pt x="493" y="3547"/>
                  <a:pt x="525" y="3579"/>
                  <a:pt x="573" y="3579"/>
                </a:cubicBezTo>
                <a:lnTo>
                  <a:pt x="859" y="3579"/>
                </a:lnTo>
                <a:cubicBezTo>
                  <a:pt x="891" y="3738"/>
                  <a:pt x="1034" y="3850"/>
                  <a:pt x="1193" y="3850"/>
                </a:cubicBezTo>
                <a:cubicBezTo>
                  <a:pt x="1368" y="3850"/>
                  <a:pt x="1495" y="3738"/>
                  <a:pt x="1543" y="3579"/>
                </a:cubicBezTo>
                <a:lnTo>
                  <a:pt x="3722" y="3579"/>
                </a:lnTo>
                <a:cubicBezTo>
                  <a:pt x="3770" y="3579"/>
                  <a:pt x="3801" y="3547"/>
                  <a:pt x="3801" y="3499"/>
                </a:cubicBezTo>
                <a:cubicBezTo>
                  <a:pt x="3801" y="3468"/>
                  <a:pt x="3770" y="3420"/>
                  <a:pt x="3722" y="3420"/>
                </a:cubicBezTo>
                <a:close/>
                <a:moveTo>
                  <a:pt x="1193" y="3690"/>
                </a:moveTo>
                <a:cubicBezTo>
                  <a:pt x="1098" y="3690"/>
                  <a:pt x="1002" y="3611"/>
                  <a:pt x="1002" y="3499"/>
                </a:cubicBezTo>
                <a:cubicBezTo>
                  <a:pt x="1002" y="3404"/>
                  <a:pt x="1098" y="3325"/>
                  <a:pt x="1193" y="3325"/>
                </a:cubicBezTo>
                <a:cubicBezTo>
                  <a:pt x="1304" y="3325"/>
                  <a:pt x="1384" y="3404"/>
                  <a:pt x="1384" y="3499"/>
                </a:cubicBezTo>
                <a:cubicBezTo>
                  <a:pt x="1384" y="3611"/>
                  <a:pt x="1304" y="3690"/>
                  <a:pt x="1193" y="3690"/>
                </a:cubicBezTo>
                <a:close/>
                <a:moveTo>
                  <a:pt x="1464" y="2482"/>
                </a:moveTo>
                <a:cubicBezTo>
                  <a:pt x="1479" y="2498"/>
                  <a:pt x="1495" y="2498"/>
                  <a:pt x="1511" y="2498"/>
                </a:cubicBezTo>
                <a:cubicBezTo>
                  <a:pt x="1522" y="2493"/>
                  <a:pt x="1527" y="2498"/>
                  <a:pt x="1543" y="2482"/>
                </a:cubicBezTo>
                <a:lnTo>
                  <a:pt x="2974" y="1671"/>
                </a:lnTo>
                <a:cubicBezTo>
                  <a:pt x="2991" y="1654"/>
                  <a:pt x="3006" y="1623"/>
                  <a:pt x="3006" y="1591"/>
                </a:cubicBezTo>
                <a:cubicBezTo>
                  <a:pt x="3006" y="1559"/>
                  <a:pt x="2991" y="1544"/>
                  <a:pt x="2974" y="1527"/>
                </a:cubicBezTo>
                <a:lnTo>
                  <a:pt x="1543" y="700"/>
                </a:lnTo>
                <a:cubicBezTo>
                  <a:pt x="1527" y="684"/>
                  <a:pt x="1495" y="684"/>
                  <a:pt x="1464" y="700"/>
                </a:cubicBezTo>
                <a:cubicBezTo>
                  <a:pt x="1447" y="716"/>
                  <a:pt x="1432" y="748"/>
                  <a:pt x="1432" y="764"/>
                </a:cubicBezTo>
                <a:lnTo>
                  <a:pt x="1432" y="2418"/>
                </a:lnTo>
                <a:cubicBezTo>
                  <a:pt x="1432" y="2450"/>
                  <a:pt x="1447" y="2482"/>
                  <a:pt x="1464" y="2482"/>
                </a:cubicBezTo>
                <a:close/>
                <a:moveTo>
                  <a:pt x="1591" y="907"/>
                </a:moveTo>
                <a:lnTo>
                  <a:pt x="2768" y="1591"/>
                </a:lnTo>
                <a:lnTo>
                  <a:pt x="1591" y="2291"/>
                </a:lnTo>
                <a:close/>
                <a:moveTo>
                  <a:pt x="3945" y="0"/>
                </a:moveTo>
                <a:lnTo>
                  <a:pt x="350" y="0"/>
                </a:lnTo>
                <a:cubicBezTo>
                  <a:pt x="159" y="0"/>
                  <a:pt x="0" y="160"/>
                  <a:pt x="0" y="351"/>
                </a:cubicBezTo>
                <a:lnTo>
                  <a:pt x="0" y="3945"/>
                </a:lnTo>
                <a:cubicBezTo>
                  <a:pt x="0" y="4136"/>
                  <a:pt x="159" y="4295"/>
                  <a:pt x="350" y="4295"/>
                </a:cubicBezTo>
                <a:lnTo>
                  <a:pt x="3945" y="4295"/>
                </a:lnTo>
                <a:cubicBezTo>
                  <a:pt x="4151" y="4295"/>
                  <a:pt x="4310" y="4136"/>
                  <a:pt x="4310" y="3945"/>
                </a:cubicBezTo>
                <a:lnTo>
                  <a:pt x="4310" y="351"/>
                </a:lnTo>
                <a:cubicBezTo>
                  <a:pt x="4310" y="160"/>
                  <a:pt x="4151" y="0"/>
                  <a:pt x="3945" y="0"/>
                </a:cubicBezTo>
                <a:close/>
                <a:moveTo>
                  <a:pt x="4151" y="3945"/>
                </a:moveTo>
                <a:cubicBezTo>
                  <a:pt x="4151" y="4056"/>
                  <a:pt x="4056" y="4136"/>
                  <a:pt x="3945" y="4136"/>
                </a:cubicBezTo>
                <a:lnTo>
                  <a:pt x="350" y="4136"/>
                </a:lnTo>
                <a:cubicBezTo>
                  <a:pt x="239" y="4136"/>
                  <a:pt x="159" y="4056"/>
                  <a:pt x="159" y="3945"/>
                </a:cubicBezTo>
                <a:lnTo>
                  <a:pt x="159" y="351"/>
                </a:lnTo>
                <a:cubicBezTo>
                  <a:pt x="159" y="239"/>
                  <a:pt x="239" y="160"/>
                  <a:pt x="350" y="160"/>
                </a:cubicBezTo>
                <a:lnTo>
                  <a:pt x="3945" y="160"/>
                </a:lnTo>
                <a:cubicBezTo>
                  <a:pt x="4056" y="160"/>
                  <a:pt x="4151" y="239"/>
                  <a:pt x="4151" y="35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4" name="Freeform: Shape 17">
            <a:extLst>
              <a:ext uri="{FF2B5EF4-FFF2-40B4-BE49-F238E27FC236}">
                <a16:creationId xmlns:a16="http://schemas.microsoft.com/office/drawing/2014/main" id="{70E81BF5-2255-034E-B59A-D3E2040DDA63}"/>
              </a:ext>
            </a:extLst>
          </p:cNvPr>
          <p:cNvSpPr/>
          <p:nvPr/>
        </p:nvSpPr>
        <p:spPr>
          <a:xfrm>
            <a:off x="21111934" y="3611463"/>
            <a:ext cx="1717200" cy="1316520"/>
          </a:xfrm>
          <a:custGeom>
            <a:avLst/>
            <a:gdLst/>
            <a:ahLst/>
            <a:cxnLst>
              <a:cxn ang="3cd4">
                <a:pos x="hc" y="t"/>
              </a:cxn>
              <a:cxn ang="cd2">
                <a:pos x="l" y="vc"/>
              </a:cxn>
              <a:cxn ang="cd4">
                <a:pos x="hc" y="b"/>
              </a:cxn>
              <a:cxn ang="0">
                <a:pos x="r" y="vc"/>
              </a:cxn>
            </a:cxnLst>
            <a:rect l="l" t="t" r="r" b="b"/>
            <a:pathLst>
              <a:path w="4771" h="3658">
                <a:moveTo>
                  <a:pt x="4580" y="0"/>
                </a:moveTo>
                <a:lnTo>
                  <a:pt x="175" y="0"/>
                </a:lnTo>
                <a:cubicBezTo>
                  <a:pt x="79" y="0"/>
                  <a:pt x="0" y="80"/>
                  <a:pt x="0" y="191"/>
                </a:cubicBezTo>
                <a:lnTo>
                  <a:pt x="0" y="2529"/>
                </a:lnTo>
                <a:cubicBezTo>
                  <a:pt x="0" y="2625"/>
                  <a:pt x="79" y="2704"/>
                  <a:pt x="175" y="2704"/>
                </a:cubicBezTo>
                <a:lnTo>
                  <a:pt x="1876" y="2704"/>
                </a:lnTo>
                <a:cubicBezTo>
                  <a:pt x="1813" y="2863"/>
                  <a:pt x="1542" y="3197"/>
                  <a:pt x="875" y="3197"/>
                </a:cubicBezTo>
                <a:cubicBezTo>
                  <a:pt x="827" y="3197"/>
                  <a:pt x="795" y="3229"/>
                  <a:pt x="795" y="3277"/>
                </a:cubicBezTo>
                <a:lnTo>
                  <a:pt x="795" y="3579"/>
                </a:lnTo>
                <a:cubicBezTo>
                  <a:pt x="795" y="3627"/>
                  <a:pt x="827" y="3658"/>
                  <a:pt x="875" y="3658"/>
                </a:cubicBezTo>
                <a:lnTo>
                  <a:pt x="3896" y="3658"/>
                </a:lnTo>
                <a:cubicBezTo>
                  <a:pt x="3928" y="3658"/>
                  <a:pt x="3976" y="3627"/>
                  <a:pt x="3976" y="3579"/>
                </a:cubicBezTo>
                <a:lnTo>
                  <a:pt x="3976" y="3277"/>
                </a:lnTo>
                <a:cubicBezTo>
                  <a:pt x="3976" y="3229"/>
                  <a:pt x="3928" y="3197"/>
                  <a:pt x="3896" y="3197"/>
                </a:cubicBezTo>
                <a:cubicBezTo>
                  <a:pt x="3244" y="3197"/>
                  <a:pt x="2974" y="2879"/>
                  <a:pt x="2911" y="2704"/>
                </a:cubicBezTo>
                <a:lnTo>
                  <a:pt x="4580" y="2704"/>
                </a:lnTo>
                <a:cubicBezTo>
                  <a:pt x="4692" y="2704"/>
                  <a:pt x="4771" y="2625"/>
                  <a:pt x="4771" y="2529"/>
                </a:cubicBezTo>
                <a:lnTo>
                  <a:pt x="4771" y="191"/>
                </a:lnTo>
                <a:cubicBezTo>
                  <a:pt x="4771" y="80"/>
                  <a:pt x="4692" y="0"/>
                  <a:pt x="4580" y="0"/>
                </a:cubicBezTo>
                <a:close/>
                <a:moveTo>
                  <a:pt x="3817" y="3340"/>
                </a:moveTo>
                <a:lnTo>
                  <a:pt x="3817" y="3500"/>
                </a:lnTo>
                <a:lnTo>
                  <a:pt x="954" y="3500"/>
                </a:lnTo>
                <a:lnTo>
                  <a:pt x="954" y="3340"/>
                </a:lnTo>
                <a:cubicBezTo>
                  <a:pt x="1670" y="3324"/>
                  <a:pt x="1988" y="2927"/>
                  <a:pt x="2051" y="2704"/>
                </a:cubicBezTo>
                <a:lnTo>
                  <a:pt x="2751" y="2704"/>
                </a:lnTo>
                <a:cubicBezTo>
                  <a:pt x="2799" y="2927"/>
                  <a:pt x="3085" y="3324"/>
                  <a:pt x="3817" y="3340"/>
                </a:cubicBezTo>
                <a:close/>
                <a:moveTo>
                  <a:pt x="4612" y="2529"/>
                </a:moveTo>
                <a:cubicBezTo>
                  <a:pt x="4612" y="2545"/>
                  <a:pt x="4596" y="2545"/>
                  <a:pt x="4580" y="2545"/>
                </a:cubicBezTo>
                <a:lnTo>
                  <a:pt x="175" y="2545"/>
                </a:lnTo>
                <a:cubicBezTo>
                  <a:pt x="170" y="2540"/>
                  <a:pt x="159" y="2545"/>
                  <a:pt x="159" y="2529"/>
                </a:cubicBezTo>
                <a:lnTo>
                  <a:pt x="159" y="191"/>
                </a:lnTo>
                <a:cubicBezTo>
                  <a:pt x="159" y="175"/>
                  <a:pt x="170" y="170"/>
                  <a:pt x="175" y="159"/>
                </a:cubicBezTo>
                <a:lnTo>
                  <a:pt x="4580" y="159"/>
                </a:lnTo>
                <a:cubicBezTo>
                  <a:pt x="4596" y="159"/>
                  <a:pt x="4612" y="175"/>
                  <a:pt x="4612" y="191"/>
                </a:cubicBezTo>
                <a:close/>
                <a:moveTo>
                  <a:pt x="2402" y="875"/>
                </a:moveTo>
                <a:lnTo>
                  <a:pt x="2290" y="875"/>
                </a:lnTo>
                <a:cubicBezTo>
                  <a:pt x="2274" y="875"/>
                  <a:pt x="2258" y="891"/>
                  <a:pt x="2258" y="907"/>
                </a:cubicBezTo>
                <a:lnTo>
                  <a:pt x="2258" y="1241"/>
                </a:lnTo>
                <a:lnTo>
                  <a:pt x="1876" y="1241"/>
                </a:lnTo>
                <a:lnTo>
                  <a:pt x="1876" y="907"/>
                </a:lnTo>
                <a:cubicBezTo>
                  <a:pt x="1876" y="891"/>
                  <a:pt x="1861" y="875"/>
                  <a:pt x="1845" y="875"/>
                </a:cubicBezTo>
                <a:lnTo>
                  <a:pt x="1733" y="875"/>
                </a:lnTo>
                <a:cubicBezTo>
                  <a:pt x="1718" y="875"/>
                  <a:pt x="1702" y="891"/>
                  <a:pt x="1702" y="907"/>
                </a:cubicBezTo>
                <a:lnTo>
                  <a:pt x="1702" y="1766"/>
                </a:lnTo>
                <a:cubicBezTo>
                  <a:pt x="1702" y="1782"/>
                  <a:pt x="1718" y="1798"/>
                  <a:pt x="1733" y="1798"/>
                </a:cubicBezTo>
                <a:lnTo>
                  <a:pt x="1845" y="1798"/>
                </a:lnTo>
                <a:cubicBezTo>
                  <a:pt x="1861" y="1798"/>
                  <a:pt x="1876" y="1782"/>
                  <a:pt x="1876" y="1766"/>
                </a:cubicBezTo>
                <a:lnTo>
                  <a:pt x="1876" y="1400"/>
                </a:lnTo>
                <a:lnTo>
                  <a:pt x="2258" y="1400"/>
                </a:lnTo>
                <a:lnTo>
                  <a:pt x="2258" y="1766"/>
                </a:lnTo>
                <a:cubicBezTo>
                  <a:pt x="2258" y="1782"/>
                  <a:pt x="2274" y="1798"/>
                  <a:pt x="2290" y="1798"/>
                </a:cubicBezTo>
                <a:lnTo>
                  <a:pt x="2402" y="1798"/>
                </a:lnTo>
                <a:cubicBezTo>
                  <a:pt x="2417" y="1798"/>
                  <a:pt x="2433" y="1782"/>
                  <a:pt x="2433" y="1766"/>
                </a:cubicBezTo>
                <a:lnTo>
                  <a:pt x="2433" y="907"/>
                </a:lnTo>
                <a:cubicBezTo>
                  <a:pt x="2433" y="891"/>
                  <a:pt x="2417" y="875"/>
                  <a:pt x="2402" y="875"/>
                </a:cubicBezTo>
                <a:close/>
                <a:moveTo>
                  <a:pt x="3212" y="986"/>
                </a:moveTo>
                <a:cubicBezTo>
                  <a:pt x="3165" y="955"/>
                  <a:pt x="3117" y="923"/>
                  <a:pt x="3069" y="891"/>
                </a:cubicBezTo>
                <a:cubicBezTo>
                  <a:pt x="3021" y="875"/>
                  <a:pt x="2958" y="875"/>
                  <a:pt x="2894" y="875"/>
                </a:cubicBezTo>
                <a:lnTo>
                  <a:pt x="2592" y="875"/>
                </a:lnTo>
                <a:cubicBezTo>
                  <a:pt x="2576" y="875"/>
                  <a:pt x="2560" y="891"/>
                  <a:pt x="2560" y="907"/>
                </a:cubicBezTo>
                <a:lnTo>
                  <a:pt x="2560" y="1766"/>
                </a:lnTo>
                <a:cubicBezTo>
                  <a:pt x="2560" y="1782"/>
                  <a:pt x="2576" y="1798"/>
                  <a:pt x="2592" y="1798"/>
                </a:cubicBezTo>
                <a:lnTo>
                  <a:pt x="2863" y="1798"/>
                </a:lnTo>
                <a:cubicBezTo>
                  <a:pt x="2926" y="1798"/>
                  <a:pt x="2990" y="1782"/>
                  <a:pt x="3054" y="1766"/>
                </a:cubicBezTo>
                <a:cubicBezTo>
                  <a:pt x="3101" y="1750"/>
                  <a:pt x="3165" y="1718"/>
                  <a:pt x="3197" y="1670"/>
                </a:cubicBezTo>
                <a:cubicBezTo>
                  <a:pt x="3244" y="1638"/>
                  <a:pt x="3276" y="1591"/>
                  <a:pt x="3292" y="1527"/>
                </a:cubicBezTo>
                <a:cubicBezTo>
                  <a:pt x="3308" y="1464"/>
                  <a:pt x="3324" y="1400"/>
                  <a:pt x="3324" y="1320"/>
                </a:cubicBezTo>
                <a:cubicBezTo>
                  <a:pt x="3324" y="1257"/>
                  <a:pt x="3308" y="1193"/>
                  <a:pt x="3292" y="1129"/>
                </a:cubicBezTo>
                <a:cubicBezTo>
                  <a:pt x="3276" y="1066"/>
                  <a:pt x="3244" y="1018"/>
                  <a:pt x="3212" y="986"/>
                </a:cubicBezTo>
                <a:close/>
                <a:moveTo>
                  <a:pt x="2735" y="1034"/>
                </a:moveTo>
                <a:lnTo>
                  <a:pt x="2894" y="1034"/>
                </a:lnTo>
                <a:cubicBezTo>
                  <a:pt x="2942" y="1034"/>
                  <a:pt x="2974" y="1034"/>
                  <a:pt x="3006" y="1050"/>
                </a:cubicBezTo>
                <a:cubicBezTo>
                  <a:pt x="3038" y="1066"/>
                  <a:pt x="3069" y="1082"/>
                  <a:pt x="3085" y="1098"/>
                </a:cubicBezTo>
                <a:cubicBezTo>
                  <a:pt x="3101" y="1129"/>
                  <a:pt x="3117" y="1161"/>
                  <a:pt x="3133" y="1193"/>
                </a:cubicBezTo>
                <a:cubicBezTo>
                  <a:pt x="3133" y="1241"/>
                  <a:pt x="3149" y="1273"/>
                  <a:pt x="3149" y="1336"/>
                </a:cubicBezTo>
                <a:cubicBezTo>
                  <a:pt x="3149" y="1432"/>
                  <a:pt x="3117" y="1511"/>
                  <a:pt x="3085" y="1559"/>
                </a:cubicBezTo>
                <a:cubicBezTo>
                  <a:pt x="3038" y="1607"/>
                  <a:pt x="2958" y="1638"/>
                  <a:pt x="2863" y="1638"/>
                </a:cubicBezTo>
                <a:lnTo>
                  <a:pt x="2735" y="1638"/>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grpSp>
        <p:nvGrpSpPr>
          <p:cNvPr id="75" name="Group 74">
            <a:extLst>
              <a:ext uri="{FF2B5EF4-FFF2-40B4-BE49-F238E27FC236}">
                <a16:creationId xmlns:a16="http://schemas.microsoft.com/office/drawing/2014/main" id="{5B6662F8-B96B-064E-8251-2125194F3B14}"/>
              </a:ext>
            </a:extLst>
          </p:cNvPr>
          <p:cNvGrpSpPr/>
          <p:nvPr/>
        </p:nvGrpSpPr>
        <p:grpSpPr>
          <a:xfrm>
            <a:off x="1877017" y="3386505"/>
            <a:ext cx="1796039" cy="1594080"/>
            <a:chOff x="1299960" y="3949560"/>
            <a:chExt cx="1796039" cy="1594080"/>
          </a:xfrm>
          <a:solidFill>
            <a:schemeClr val="accent2"/>
          </a:solidFill>
        </p:grpSpPr>
        <p:sp>
          <p:nvSpPr>
            <p:cNvPr id="76" name="Freeform: Shape 46">
              <a:extLst>
                <a:ext uri="{FF2B5EF4-FFF2-40B4-BE49-F238E27FC236}">
                  <a16:creationId xmlns:a16="http://schemas.microsoft.com/office/drawing/2014/main" id="{DE1DFF60-07B8-5443-AAC4-960CD761647C}"/>
                </a:ext>
              </a:extLst>
            </p:cNvPr>
            <p:cNvSpPr/>
            <p:nvPr/>
          </p:nvSpPr>
          <p:spPr>
            <a:xfrm>
              <a:off x="1299960" y="3949560"/>
              <a:ext cx="1141200" cy="1594080"/>
            </a:xfrm>
            <a:custGeom>
              <a:avLst/>
              <a:gdLst/>
              <a:ahLst/>
              <a:cxnLst>
                <a:cxn ang="3cd4">
                  <a:pos x="hc" y="t"/>
                </a:cxn>
                <a:cxn ang="cd2">
                  <a:pos x="l" y="vc"/>
                </a:cxn>
                <a:cxn ang="cd4">
                  <a:pos x="hc" y="b"/>
                </a:cxn>
                <a:cxn ang="0">
                  <a:pos x="r" y="vc"/>
                </a:cxn>
              </a:cxnLst>
              <a:rect l="l" t="t" r="r" b="b"/>
              <a:pathLst>
                <a:path w="3171" h="4429">
                  <a:moveTo>
                    <a:pt x="2912" y="4429"/>
                  </a:moveTo>
                  <a:cubicBezTo>
                    <a:pt x="2853" y="4429"/>
                    <a:pt x="2794" y="4407"/>
                    <a:pt x="2747" y="4372"/>
                  </a:cubicBezTo>
                  <a:cubicBezTo>
                    <a:pt x="1093" y="3106"/>
                    <a:pt x="1093" y="3106"/>
                    <a:pt x="1093" y="3106"/>
                  </a:cubicBezTo>
                  <a:lnTo>
                    <a:pt x="1081" y="3093"/>
                  </a:lnTo>
                  <a:cubicBezTo>
                    <a:pt x="505" y="3093"/>
                    <a:pt x="505" y="3093"/>
                    <a:pt x="505" y="3093"/>
                  </a:cubicBezTo>
                  <a:cubicBezTo>
                    <a:pt x="224" y="3093"/>
                    <a:pt x="0" y="2835"/>
                    <a:pt x="0" y="2506"/>
                  </a:cubicBezTo>
                  <a:cubicBezTo>
                    <a:pt x="0" y="1920"/>
                    <a:pt x="0" y="1920"/>
                    <a:pt x="0" y="1920"/>
                  </a:cubicBezTo>
                  <a:cubicBezTo>
                    <a:pt x="0" y="1591"/>
                    <a:pt x="224" y="1335"/>
                    <a:pt x="505" y="1335"/>
                  </a:cubicBezTo>
                  <a:cubicBezTo>
                    <a:pt x="1081" y="1335"/>
                    <a:pt x="1081" y="1335"/>
                    <a:pt x="1081" y="1335"/>
                  </a:cubicBezTo>
                  <a:cubicBezTo>
                    <a:pt x="1093" y="1335"/>
                    <a:pt x="1093" y="1323"/>
                    <a:pt x="1093" y="1323"/>
                  </a:cubicBezTo>
                  <a:cubicBezTo>
                    <a:pt x="2747" y="56"/>
                    <a:pt x="2747" y="56"/>
                    <a:pt x="2747" y="56"/>
                  </a:cubicBezTo>
                  <a:cubicBezTo>
                    <a:pt x="2831" y="-3"/>
                    <a:pt x="2934" y="-15"/>
                    <a:pt x="3030" y="19"/>
                  </a:cubicBezTo>
                  <a:cubicBezTo>
                    <a:pt x="3112" y="68"/>
                    <a:pt x="3171" y="162"/>
                    <a:pt x="3171" y="255"/>
                  </a:cubicBezTo>
                  <a:cubicBezTo>
                    <a:pt x="3171" y="4171"/>
                    <a:pt x="3171" y="4171"/>
                    <a:pt x="3171" y="4171"/>
                  </a:cubicBezTo>
                  <a:cubicBezTo>
                    <a:pt x="3171" y="4267"/>
                    <a:pt x="3112" y="4360"/>
                    <a:pt x="3030" y="4407"/>
                  </a:cubicBezTo>
                  <a:cubicBezTo>
                    <a:pt x="2993" y="4419"/>
                    <a:pt x="2947" y="4429"/>
                    <a:pt x="2912" y="4429"/>
                  </a:cubicBezTo>
                  <a:close/>
                  <a:moveTo>
                    <a:pt x="1221" y="3000"/>
                  </a:moveTo>
                  <a:cubicBezTo>
                    <a:pt x="2841" y="4254"/>
                    <a:pt x="2841" y="4254"/>
                    <a:pt x="2841" y="4254"/>
                  </a:cubicBezTo>
                  <a:cubicBezTo>
                    <a:pt x="2878" y="4276"/>
                    <a:pt x="2924" y="4276"/>
                    <a:pt x="2959" y="4267"/>
                  </a:cubicBezTo>
                  <a:cubicBezTo>
                    <a:pt x="2993" y="4242"/>
                    <a:pt x="3018" y="4208"/>
                    <a:pt x="3018" y="4171"/>
                  </a:cubicBezTo>
                  <a:cubicBezTo>
                    <a:pt x="3018" y="255"/>
                    <a:pt x="3018" y="255"/>
                    <a:pt x="3018" y="255"/>
                  </a:cubicBezTo>
                  <a:cubicBezTo>
                    <a:pt x="3018" y="218"/>
                    <a:pt x="2993" y="184"/>
                    <a:pt x="2959" y="172"/>
                  </a:cubicBezTo>
                  <a:cubicBezTo>
                    <a:pt x="2924" y="149"/>
                    <a:pt x="2878" y="149"/>
                    <a:pt x="2841" y="172"/>
                  </a:cubicBezTo>
                  <a:cubicBezTo>
                    <a:pt x="1221" y="1428"/>
                    <a:pt x="1221" y="1428"/>
                    <a:pt x="1221" y="1428"/>
                  </a:cubicBezTo>
                  <a:cubicBezTo>
                    <a:pt x="1221" y="1463"/>
                    <a:pt x="1187" y="1485"/>
                    <a:pt x="1152" y="1485"/>
                  </a:cubicBezTo>
                  <a:cubicBezTo>
                    <a:pt x="505" y="1485"/>
                    <a:pt x="505" y="1485"/>
                    <a:pt x="505" y="1485"/>
                  </a:cubicBezTo>
                  <a:cubicBezTo>
                    <a:pt x="305" y="1485"/>
                    <a:pt x="153" y="1687"/>
                    <a:pt x="153" y="1920"/>
                  </a:cubicBezTo>
                  <a:cubicBezTo>
                    <a:pt x="153" y="2506"/>
                    <a:pt x="153" y="2506"/>
                    <a:pt x="153" y="2506"/>
                  </a:cubicBezTo>
                  <a:cubicBezTo>
                    <a:pt x="153" y="2742"/>
                    <a:pt x="305" y="2941"/>
                    <a:pt x="505" y="2941"/>
                  </a:cubicBezTo>
                  <a:cubicBezTo>
                    <a:pt x="1152" y="2941"/>
                    <a:pt x="1152" y="2941"/>
                    <a:pt x="1152" y="2941"/>
                  </a:cubicBezTo>
                  <a:cubicBezTo>
                    <a:pt x="1187" y="2941"/>
                    <a:pt x="1221" y="2963"/>
                    <a:pt x="1221" y="3000"/>
                  </a:cubicBezTo>
                  <a:close/>
                  <a:moveTo>
                    <a:pt x="1152" y="1382"/>
                  </a:move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7" name="Freeform: Shape 47">
              <a:extLst>
                <a:ext uri="{FF2B5EF4-FFF2-40B4-BE49-F238E27FC236}">
                  <a16:creationId xmlns:a16="http://schemas.microsoft.com/office/drawing/2014/main" id="{81E4CF8C-151F-8F40-9EA2-716D3AE70B5D}"/>
                </a:ext>
              </a:extLst>
            </p:cNvPr>
            <p:cNvSpPr/>
            <p:nvPr/>
          </p:nvSpPr>
          <p:spPr>
            <a:xfrm>
              <a:off x="2639880" y="4716720"/>
              <a:ext cx="456119" cy="54360"/>
            </a:xfrm>
            <a:custGeom>
              <a:avLst/>
              <a:gdLst/>
              <a:ahLst/>
              <a:cxnLst>
                <a:cxn ang="3cd4">
                  <a:pos x="hc" y="t"/>
                </a:cxn>
                <a:cxn ang="cd2">
                  <a:pos x="l" y="vc"/>
                </a:cxn>
                <a:cxn ang="cd4">
                  <a:pos x="hc" y="b"/>
                </a:cxn>
                <a:cxn ang="0">
                  <a:pos x="r" y="vc"/>
                </a:cxn>
              </a:cxnLst>
              <a:rect l="l" t="t" r="r" b="b"/>
              <a:pathLst>
                <a:path w="1268" h="152">
                  <a:moveTo>
                    <a:pt x="1196" y="152"/>
                  </a:moveTo>
                  <a:cubicBezTo>
                    <a:pt x="81" y="152"/>
                    <a:pt x="81" y="152"/>
                    <a:pt x="81" y="152"/>
                  </a:cubicBezTo>
                  <a:cubicBezTo>
                    <a:pt x="34" y="152"/>
                    <a:pt x="0" y="118"/>
                    <a:pt x="0" y="81"/>
                  </a:cubicBezTo>
                  <a:cubicBezTo>
                    <a:pt x="0" y="34"/>
                    <a:pt x="34" y="0"/>
                    <a:pt x="81" y="0"/>
                  </a:cubicBezTo>
                  <a:cubicBezTo>
                    <a:pt x="1196" y="0"/>
                    <a:pt x="1196" y="0"/>
                    <a:pt x="1196" y="0"/>
                  </a:cubicBezTo>
                  <a:cubicBezTo>
                    <a:pt x="1233" y="0"/>
                    <a:pt x="1268" y="34"/>
                    <a:pt x="1268" y="81"/>
                  </a:cubicBezTo>
                  <a:cubicBezTo>
                    <a:pt x="1268" y="118"/>
                    <a:pt x="1233" y="152"/>
                    <a:pt x="1196" y="15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grpSp>
      <p:sp>
        <p:nvSpPr>
          <p:cNvPr id="78" name="TextBox 77">
            <a:extLst>
              <a:ext uri="{FF2B5EF4-FFF2-40B4-BE49-F238E27FC236}">
                <a16:creationId xmlns:a16="http://schemas.microsoft.com/office/drawing/2014/main" id="{6EAE6EB7-51AD-D54B-A427-EEA3C05D52A0}"/>
              </a:ext>
            </a:extLst>
          </p:cNvPr>
          <p:cNvSpPr txBox="1"/>
          <p:nvPr/>
        </p:nvSpPr>
        <p:spPr>
          <a:xfrm>
            <a:off x="17150719" y="11648329"/>
            <a:ext cx="3153820"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udience</a:t>
            </a:r>
          </a:p>
        </p:txBody>
      </p:sp>
      <p:sp>
        <p:nvSpPr>
          <p:cNvPr id="79" name="TextBox 78">
            <a:extLst>
              <a:ext uri="{FF2B5EF4-FFF2-40B4-BE49-F238E27FC236}">
                <a16:creationId xmlns:a16="http://schemas.microsoft.com/office/drawing/2014/main" id="{A89415AC-7779-9B42-8EF3-F1E9C43F2048}"/>
              </a:ext>
            </a:extLst>
          </p:cNvPr>
          <p:cNvSpPr txBox="1"/>
          <p:nvPr/>
        </p:nvSpPr>
        <p:spPr>
          <a:xfrm>
            <a:off x="20303684" y="11648329"/>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otary</a:t>
            </a:r>
          </a:p>
        </p:txBody>
      </p:sp>
      <p:sp>
        <p:nvSpPr>
          <p:cNvPr id="80" name="Freeform: Shape 13">
            <a:extLst>
              <a:ext uri="{FF2B5EF4-FFF2-40B4-BE49-F238E27FC236}">
                <a16:creationId xmlns:a16="http://schemas.microsoft.com/office/drawing/2014/main" id="{8C863544-B241-C54D-B5B3-75409B0A35E6}"/>
              </a:ext>
            </a:extLst>
          </p:cNvPr>
          <p:cNvSpPr/>
          <p:nvPr/>
        </p:nvSpPr>
        <p:spPr>
          <a:xfrm>
            <a:off x="18215675" y="106343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w="0" cap="flat">
            <a:solidFill>
              <a:srgbClr val="010101"/>
            </a:solidFill>
            <a:prstDash val="solid"/>
            <a:roun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1" name="Freeform: Shape 5">
            <a:extLst>
              <a:ext uri="{FF2B5EF4-FFF2-40B4-BE49-F238E27FC236}">
                <a16:creationId xmlns:a16="http://schemas.microsoft.com/office/drawing/2014/main" id="{54CEEF84-A898-5847-9B53-CE13C9D13E8B}"/>
              </a:ext>
            </a:extLst>
          </p:cNvPr>
          <p:cNvSpPr/>
          <p:nvPr/>
        </p:nvSpPr>
        <p:spPr>
          <a:xfrm>
            <a:off x="21279661" y="9878527"/>
            <a:ext cx="1717200" cy="1717200"/>
          </a:xfrm>
          <a:custGeom>
            <a:avLst/>
            <a:gdLst/>
            <a:ahLst/>
            <a:cxnLst>
              <a:cxn ang="3cd4">
                <a:pos x="hc" y="t"/>
              </a:cxn>
              <a:cxn ang="cd2">
                <a:pos x="l" y="vc"/>
              </a:cxn>
              <a:cxn ang="cd4">
                <a:pos x="hc" y="b"/>
              </a:cxn>
              <a:cxn ang="0">
                <a:pos x="r" y="vc"/>
              </a:cxn>
            </a:cxnLst>
            <a:rect l="l" t="t" r="r" b="b"/>
            <a:pathLst>
              <a:path w="4771" h="4771">
                <a:moveTo>
                  <a:pt x="2385" y="0"/>
                </a:moveTo>
                <a:cubicBezTo>
                  <a:pt x="1065" y="0"/>
                  <a:pt x="0" y="1066"/>
                  <a:pt x="0" y="2386"/>
                </a:cubicBezTo>
                <a:cubicBezTo>
                  <a:pt x="0" y="3706"/>
                  <a:pt x="1065" y="4771"/>
                  <a:pt x="2385" y="4771"/>
                </a:cubicBezTo>
                <a:cubicBezTo>
                  <a:pt x="3705" y="4771"/>
                  <a:pt x="4771" y="3706"/>
                  <a:pt x="4771" y="2386"/>
                </a:cubicBezTo>
                <a:cubicBezTo>
                  <a:pt x="4771" y="1066"/>
                  <a:pt x="3705" y="0"/>
                  <a:pt x="2385" y="0"/>
                </a:cubicBezTo>
                <a:close/>
                <a:moveTo>
                  <a:pt x="2385" y="4613"/>
                </a:moveTo>
                <a:cubicBezTo>
                  <a:pt x="1161" y="4613"/>
                  <a:pt x="158" y="3610"/>
                  <a:pt x="158" y="2386"/>
                </a:cubicBezTo>
                <a:cubicBezTo>
                  <a:pt x="158" y="1161"/>
                  <a:pt x="1161" y="159"/>
                  <a:pt x="2385" y="159"/>
                </a:cubicBezTo>
                <a:cubicBezTo>
                  <a:pt x="3610" y="159"/>
                  <a:pt x="4612" y="1161"/>
                  <a:pt x="4612" y="2386"/>
                </a:cubicBezTo>
                <a:cubicBezTo>
                  <a:pt x="4612" y="3610"/>
                  <a:pt x="3610" y="4613"/>
                  <a:pt x="2385" y="4613"/>
                </a:cubicBezTo>
                <a:close/>
                <a:moveTo>
                  <a:pt x="2385" y="1590"/>
                </a:moveTo>
                <a:cubicBezTo>
                  <a:pt x="1956" y="1590"/>
                  <a:pt x="1590" y="1941"/>
                  <a:pt x="1590" y="2386"/>
                </a:cubicBezTo>
                <a:cubicBezTo>
                  <a:pt x="1590" y="2831"/>
                  <a:pt x="1956" y="3181"/>
                  <a:pt x="2385" y="3181"/>
                </a:cubicBezTo>
                <a:cubicBezTo>
                  <a:pt x="2830" y="3181"/>
                  <a:pt x="3181" y="2831"/>
                  <a:pt x="3181" y="2386"/>
                </a:cubicBezTo>
                <a:cubicBezTo>
                  <a:pt x="3181" y="1941"/>
                  <a:pt x="2830" y="1590"/>
                  <a:pt x="2385" y="1590"/>
                </a:cubicBezTo>
                <a:close/>
                <a:moveTo>
                  <a:pt x="2385" y="3022"/>
                </a:moveTo>
                <a:cubicBezTo>
                  <a:pt x="2035" y="3022"/>
                  <a:pt x="1749" y="2736"/>
                  <a:pt x="1749" y="2386"/>
                </a:cubicBezTo>
                <a:cubicBezTo>
                  <a:pt x="1749" y="2036"/>
                  <a:pt x="2035" y="1750"/>
                  <a:pt x="2385" y="1750"/>
                </a:cubicBezTo>
                <a:cubicBezTo>
                  <a:pt x="2735" y="1750"/>
                  <a:pt x="3021" y="2036"/>
                  <a:pt x="3021" y="2386"/>
                </a:cubicBezTo>
                <a:cubicBezTo>
                  <a:pt x="3021" y="2736"/>
                  <a:pt x="2735" y="3022"/>
                  <a:pt x="2385" y="3022"/>
                </a:cubicBezTo>
                <a:close/>
                <a:moveTo>
                  <a:pt x="2385" y="1352"/>
                </a:moveTo>
                <a:cubicBezTo>
                  <a:pt x="2655" y="1352"/>
                  <a:pt x="2862" y="1129"/>
                  <a:pt x="2862" y="875"/>
                </a:cubicBezTo>
                <a:cubicBezTo>
                  <a:pt x="2862" y="604"/>
                  <a:pt x="2655" y="398"/>
                  <a:pt x="2385" y="398"/>
                </a:cubicBezTo>
                <a:cubicBezTo>
                  <a:pt x="2131" y="398"/>
                  <a:pt x="1908" y="604"/>
                  <a:pt x="1908" y="875"/>
                </a:cubicBezTo>
                <a:cubicBezTo>
                  <a:pt x="1908" y="1129"/>
                  <a:pt x="2131" y="1352"/>
                  <a:pt x="2385" y="1352"/>
                </a:cubicBezTo>
                <a:close/>
                <a:moveTo>
                  <a:pt x="2385" y="557"/>
                </a:moveTo>
                <a:cubicBezTo>
                  <a:pt x="2560" y="557"/>
                  <a:pt x="2703" y="700"/>
                  <a:pt x="2703" y="875"/>
                </a:cubicBezTo>
                <a:cubicBezTo>
                  <a:pt x="2703" y="1050"/>
                  <a:pt x="2560" y="1193"/>
                  <a:pt x="2385" y="1193"/>
                </a:cubicBezTo>
                <a:cubicBezTo>
                  <a:pt x="2210" y="1193"/>
                  <a:pt x="2067" y="1050"/>
                  <a:pt x="2067" y="875"/>
                </a:cubicBezTo>
                <a:cubicBezTo>
                  <a:pt x="2067" y="700"/>
                  <a:pt x="2210" y="557"/>
                  <a:pt x="2385" y="557"/>
                </a:cubicBezTo>
                <a:close/>
                <a:moveTo>
                  <a:pt x="2385" y="3372"/>
                </a:moveTo>
                <a:cubicBezTo>
                  <a:pt x="2131" y="3372"/>
                  <a:pt x="1908" y="3595"/>
                  <a:pt x="1908" y="3849"/>
                </a:cubicBezTo>
                <a:cubicBezTo>
                  <a:pt x="1908" y="4119"/>
                  <a:pt x="2131" y="4326"/>
                  <a:pt x="2385" y="4326"/>
                </a:cubicBezTo>
                <a:cubicBezTo>
                  <a:pt x="2655" y="4326"/>
                  <a:pt x="2862" y="4119"/>
                  <a:pt x="2862" y="3849"/>
                </a:cubicBezTo>
                <a:cubicBezTo>
                  <a:pt x="2862" y="3595"/>
                  <a:pt x="2655" y="3372"/>
                  <a:pt x="2385" y="3372"/>
                </a:cubicBezTo>
                <a:close/>
                <a:moveTo>
                  <a:pt x="2385" y="4167"/>
                </a:moveTo>
                <a:cubicBezTo>
                  <a:pt x="2210" y="4167"/>
                  <a:pt x="2067" y="4024"/>
                  <a:pt x="2067" y="3849"/>
                </a:cubicBezTo>
                <a:cubicBezTo>
                  <a:pt x="2067" y="3674"/>
                  <a:pt x="2210" y="3531"/>
                  <a:pt x="2385" y="3531"/>
                </a:cubicBezTo>
                <a:cubicBezTo>
                  <a:pt x="2560" y="3531"/>
                  <a:pt x="2703" y="3674"/>
                  <a:pt x="2703" y="3849"/>
                </a:cubicBezTo>
                <a:cubicBezTo>
                  <a:pt x="2703" y="4024"/>
                  <a:pt x="2560" y="4167"/>
                  <a:pt x="2385" y="4167"/>
                </a:cubicBezTo>
                <a:close/>
                <a:moveTo>
                  <a:pt x="1383" y="2354"/>
                </a:moveTo>
                <a:cubicBezTo>
                  <a:pt x="1383" y="2099"/>
                  <a:pt x="1161" y="1877"/>
                  <a:pt x="906" y="1877"/>
                </a:cubicBezTo>
                <a:cubicBezTo>
                  <a:pt x="636" y="1877"/>
                  <a:pt x="429" y="2099"/>
                  <a:pt x="429" y="2354"/>
                </a:cubicBezTo>
                <a:cubicBezTo>
                  <a:pt x="429" y="2625"/>
                  <a:pt x="636" y="2831"/>
                  <a:pt x="906" y="2831"/>
                </a:cubicBezTo>
                <a:cubicBezTo>
                  <a:pt x="1161" y="2831"/>
                  <a:pt x="1383" y="2625"/>
                  <a:pt x="1383" y="2354"/>
                </a:cubicBezTo>
                <a:close/>
                <a:moveTo>
                  <a:pt x="588" y="2354"/>
                </a:moveTo>
                <a:cubicBezTo>
                  <a:pt x="588" y="2179"/>
                  <a:pt x="731" y="2036"/>
                  <a:pt x="906" y="2036"/>
                </a:cubicBezTo>
                <a:cubicBezTo>
                  <a:pt x="1081" y="2036"/>
                  <a:pt x="1224" y="2179"/>
                  <a:pt x="1224" y="2354"/>
                </a:cubicBezTo>
                <a:cubicBezTo>
                  <a:pt x="1224" y="2529"/>
                  <a:pt x="1081" y="2672"/>
                  <a:pt x="906" y="2672"/>
                </a:cubicBezTo>
                <a:cubicBezTo>
                  <a:pt x="731" y="2672"/>
                  <a:pt x="588" y="2529"/>
                  <a:pt x="588" y="2354"/>
                </a:cubicBezTo>
                <a:close/>
                <a:moveTo>
                  <a:pt x="3403" y="2354"/>
                </a:moveTo>
                <a:cubicBezTo>
                  <a:pt x="3403" y="2625"/>
                  <a:pt x="3610" y="2831"/>
                  <a:pt x="3880" y="2831"/>
                </a:cubicBezTo>
                <a:cubicBezTo>
                  <a:pt x="4135" y="2831"/>
                  <a:pt x="4357" y="2625"/>
                  <a:pt x="4357" y="2354"/>
                </a:cubicBezTo>
                <a:cubicBezTo>
                  <a:pt x="4357" y="2099"/>
                  <a:pt x="4135" y="1877"/>
                  <a:pt x="3880" y="1877"/>
                </a:cubicBezTo>
                <a:cubicBezTo>
                  <a:pt x="3610" y="1877"/>
                  <a:pt x="3403" y="2099"/>
                  <a:pt x="3403" y="2354"/>
                </a:cubicBezTo>
                <a:close/>
                <a:moveTo>
                  <a:pt x="4198" y="2354"/>
                </a:moveTo>
                <a:cubicBezTo>
                  <a:pt x="4198" y="2529"/>
                  <a:pt x="4055" y="2672"/>
                  <a:pt x="3880" y="2672"/>
                </a:cubicBezTo>
                <a:cubicBezTo>
                  <a:pt x="3705" y="2672"/>
                  <a:pt x="3562" y="2529"/>
                  <a:pt x="3562" y="2354"/>
                </a:cubicBezTo>
                <a:cubicBezTo>
                  <a:pt x="3562" y="2179"/>
                  <a:pt x="3705" y="2036"/>
                  <a:pt x="3880" y="2036"/>
                </a:cubicBezTo>
                <a:cubicBezTo>
                  <a:pt x="4055" y="2036"/>
                  <a:pt x="4198" y="2179"/>
                  <a:pt x="4198" y="2354"/>
                </a:cubicBezTo>
                <a:close/>
                <a:moveTo>
                  <a:pt x="1001" y="3070"/>
                </a:moveTo>
                <a:cubicBezTo>
                  <a:pt x="810" y="3261"/>
                  <a:pt x="810" y="3563"/>
                  <a:pt x="1001" y="3753"/>
                </a:cubicBezTo>
                <a:cubicBezTo>
                  <a:pt x="1097" y="3849"/>
                  <a:pt x="1208" y="3897"/>
                  <a:pt x="1336" y="3897"/>
                </a:cubicBezTo>
                <a:cubicBezTo>
                  <a:pt x="1463" y="3897"/>
                  <a:pt x="1574" y="3849"/>
                  <a:pt x="1669" y="3753"/>
                </a:cubicBezTo>
                <a:cubicBezTo>
                  <a:pt x="1860" y="3563"/>
                  <a:pt x="1860" y="3261"/>
                  <a:pt x="1669" y="3070"/>
                </a:cubicBezTo>
                <a:cubicBezTo>
                  <a:pt x="1494" y="2895"/>
                  <a:pt x="1176" y="2895"/>
                  <a:pt x="1001" y="3070"/>
                </a:cubicBezTo>
                <a:close/>
                <a:moveTo>
                  <a:pt x="1558" y="3642"/>
                </a:moveTo>
                <a:cubicBezTo>
                  <a:pt x="1431" y="3753"/>
                  <a:pt x="1240" y="3770"/>
                  <a:pt x="1113" y="3642"/>
                </a:cubicBezTo>
                <a:cubicBezTo>
                  <a:pt x="985" y="3515"/>
                  <a:pt x="985" y="3308"/>
                  <a:pt x="1113" y="3181"/>
                </a:cubicBezTo>
                <a:cubicBezTo>
                  <a:pt x="1176" y="3134"/>
                  <a:pt x="1256" y="3101"/>
                  <a:pt x="1336" y="3101"/>
                </a:cubicBezTo>
                <a:cubicBezTo>
                  <a:pt x="1415" y="3101"/>
                  <a:pt x="1494" y="3134"/>
                  <a:pt x="1558" y="3181"/>
                </a:cubicBezTo>
                <a:cubicBezTo>
                  <a:pt x="1685" y="3308"/>
                  <a:pt x="1685" y="3515"/>
                  <a:pt x="1558" y="3642"/>
                </a:cubicBezTo>
                <a:close/>
                <a:moveTo>
                  <a:pt x="3435" y="1781"/>
                </a:moveTo>
                <a:cubicBezTo>
                  <a:pt x="3562" y="1781"/>
                  <a:pt x="3690" y="1734"/>
                  <a:pt x="3785" y="1638"/>
                </a:cubicBezTo>
                <a:cubicBezTo>
                  <a:pt x="3960" y="1463"/>
                  <a:pt x="3960" y="1161"/>
                  <a:pt x="3785" y="970"/>
                </a:cubicBezTo>
                <a:cubicBezTo>
                  <a:pt x="3594" y="781"/>
                  <a:pt x="3292" y="781"/>
                  <a:pt x="3101" y="970"/>
                </a:cubicBezTo>
                <a:cubicBezTo>
                  <a:pt x="2926" y="1161"/>
                  <a:pt x="2926" y="1463"/>
                  <a:pt x="3101" y="1638"/>
                </a:cubicBezTo>
                <a:cubicBezTo>
                  <a:pt x="3196" y="1734"/>
                  <a:pt x="3324" y="1781"/>
                  <a:pt x="3435" y="1781"/>
                </a:cubicBezTo>
                <a:close/>
                <a:moveTo>
                  <a:pt x="3212" y="1081"/>
                </a:moveTo>
                <a:cubicBezTo>
                  <a:pt x="3339" y="954"/>
                  <a:pt x="3546" y="954"/>
                  <a:pt x="3657" y="1081"/>
                </a:cubicBezTo>
                <a:cubicBezTo>
                  <a:pt x="3785" y="1209"/>
                  <a:pt x="3785" y="1416"/>
                  <a:pt x="3657" y="1527"/>
                </a:cubicBezTo>
                <a:cubicBezTo>
                  <a:pt x="3546" y="1654"/>
                  <a:pt x="3339" y="1654"/>
                  <a:pt x="3212" y="1527"/>
                </a:cubicBezTo>
                <a:cubicBezTo>
                  <a:pt x="3085" y="1416"/>
                  <a:pt x="3085" y="1209"/>
                  <a:pt x="3212" y="1081"/>
                </a:cubicBezTo>
                <a:close/>
                <a:moveTo>
                  <a:pt x="3435" y="2943"/>
                </a:moveTo>
                <a:cubicBezTo>
                  <a:pt x="3308" y="2943"/>
                  <a:pt x="3196" y="2990"/>
                  <a:pt x="3101" y="3070"/>
                </a:cubicBezTo>
                <a:cubicBezTo>
                  <a:pt x="2926" y="3261"/>
                  <a:pt x="2926" y="3563"/>
                  <a:pt x="3101" y="3753"/>
                </a:cubicBezTo>
                <a:cubicBezTo>
                  <a:pt x="3196" y="3849"/>
                  <a:pt x="3324" y="3897"/>
                  <a:pt x="3435" y="3897"/>
                </a:cubicBezTo>
                <a:cubicBezTo>
                  <a:pt x="3562" y="3897"/>
                  <a:pt x="3690" y="3849"/>
                  <a:pt x="3785" y="3753"/>
                </a:cubicBezTo>
                <a:cubicBezTo>
                  <a:pt x="3960" y="3563"/>
                  <a:pt x="3960" y="3261"/>
                  <a:pt x="3785" y="3070"/>
                </a:cubicBezTo>
                <a:cubicBezTo>
                  <a:pt x="3690" y="2990"/>
                  <a:pt x="3562" y="2943"/>
                  <a:pt x="3435" y="2943"/>
                </a:cubicBezTo>
                <a:close/>
                <a:moveTo>
                  <a:pt x="3657" y="3642"/>
                </a:moveTo>
                <a:cubicBezTo>
                  <a:pt x="3546" y="3770"/>
                  <a:pt x="3339" y="3770"/>
                  <a:pt x="3212" y="3642"/>
                </a:cubicBezTo>
                <a:cubicBezTo>
                  <a:pt x="3085" y="3515"/>
                  <a:pt x="3085" y="3308"/>
                  <a:pt x="3212" y="3181"/>
                </a:cubicBezTo>
                <a:cubicBezTo>
                  <a:pt x="3276" y="3134"/>
                  <a:pt x="3355" y="3101"/>
                  <a:pt x="3435" y="3101"/>
                </a:cubicBezTo>
                <a:cubicBezTo>
                  <a:pt x="3530" y="3101"/>
                  <a:pt x="3610" y="3134"/>
                  <a:pt x="3657" y="3181"/>
                </a:cubicBezTo>
                <a:cubicBezTo>
                  <a:pt x="3785" y="3308"/>
                  <a:pt x="3785" y="3515"/>
                  <a:pt x="3657" y="3642"/>
                </a:cubicBezTo>
                <a:close/>
                <a:moveTo>
                  <a:pt x="1336" y="1781"/>
                </a:moveTo>
                <a:cubicBezTo>
                  <a:pt x="1463" y="1781"/>
                  <a:pt x="1574" y="1734"/>
                  <a:pt x="1669" y="1638"/>
                </a:cubicBezTo>
                <a:cubicBezTo>
                  <a:pt x="1860" y="1463"/>
                  <a:pt x="1860" y="1161"/>
                  <a:pt x="1669" y="970"/>
                </a:cubicBezTo>
                <a:cubicBezTo>
                  <a:pt x="1479" y="781"/>
                  <a:pt x="1176" y="781"/>
                  <a:pt x="1001" y="970"/>
                </a:cubicBezTo>
                <a:cubicBezTo>
                  <a:pt x="906" y="1066"/>
                  <a:pt x="858" y="1177"/>
                  <a:pt x="858" y="1304"/>
                </a:cubicBezTo>
                <a:cubicBezTo>
                  <a:pt x="858" y="1432"/>
                  <a:pt x="906" y="1559"/>
                  <a:pt x="1001" y="1638"/>
                </a:cubicBezTo>
                <a:cubicBezTo>
                  <a:pt x="1097" y="1734"/>
                  <a:pt x="1208" y="1781"/>
                  <a:pt x="1336" y="1781"/>
                </a:cubicBezTo>
                <a:close/>
                <a:moveTo>
                  <a:pt x="1113" y="1081"/>
                </a:moveTo>
                <a:cubicBezTo>
                  <a:pt x="1176" y="1018"/>
                  <a:pt x="1256" y="986"/>
                  <a:pt x="1336" y="986"/>
                </a:cubicBezTo>
                <a:cubicBezTo>
                  <a:pt x="1415" y="986"/>
                  <a:pt x="1494" y="1018"/>
                  <a:pt x="1558" y="1081"/>
                </a:cubicBezTo>
                <a:cubicBezTo>
                  <a:pt x="1685" y="1209"/>
                  <a:pt x="1685" y="1416"/>
                  <a:pt x="1558" y="1527"/>
                </a:cubicBezTo>
                <a:cubicBezTo>
                  <a:pt x="1431" y="1654"/>
                  <a:pt x="1240" y="1654"/>
                  <a:pt x="1113" y="1527"/>
                </a:cubicBezTo>
                <a:cubicBezTo>
                  <a:pt x="985" y="1416"/>
                  <a:pt x="985" y="1209"/>
                  <a:pt x="1113" y="108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2" name="Freeform: Shape 6">
            <a:extLst>
              <a:ext uri="{FF2B5EF4-FFF2-40B4-BE49-F238E27FC236}">
                <a16:creationId xmlns:a16="http://schemas.microsoft.com/office/drawing/2014/main" id="{87CA722B-9E2B-424A-8EAF-8A88310E53E5}"/>
              </a:ext>
            </a:extLst>
          </p:cNvPr>
          <p:cNvSpPr/>
          <p:nvPr/>
        </p:nvSpPr>
        <p:spPr>
          <a:xfrm>
            <a:off x="18019227" y="9918487"/>
            <a:ext cx="1591560" cy="1551599"/>
          </a:xfrm>
          <a:custGeom>
            <a:avLst/>
            <a:gdLst/>
            <a:ahLst/>
            <a:cxnLst>
              <a:cxn ang="3cd4">
                <a:pos x="hc" y="t"/>
              </a:cxn>
              <a:cxn ang="cd2">
                <a:pos x="l" y="vc"/>
              </a:cxn>
              <a:cxn ang="cd4">
                <a:pos x="hc" y="b"/>
              </a:cxn>
              <a:cxn ang="0">
                <a:pos x="r" y="vc"/>
              </a:cxn>
            </a:cxnLst>
            <a:rect l="l" t="t" r="r" b="b"/>
            <a:pathLst>
              <a:path w="4422" h="4311">
                <a:moveTo>
                  <a:pt x="4311" y="2227"/>
                </a:moveTo>
                <a:lnTo>
                  <a:pt x="4311" y="80"/>
                </a:lnTo>
                <a:cubicBezTo>
                  <a:pt x="4311" y="32"/>
                  <a:pt x="4279" y="0"/>
                  <a:pt x="4231" y="0"/>
                </a:cubicBezTo>
                <a:lnTo>
                  <a:pt x="80" y="0"/>
                </a:lnTo>
                <a:cubicBezTo>
                  <a:pt x="48" y="0"/>
                  <a:pt x="0" y="32"/>
                  <a:pt x="0" y="80"/>
                </a:cubicBezTo>
                <a:lnTo>
                  <a:pt x="0" y="2227"/>
                </a:lnTo>
                <a:cubicBezTo>
                  <a:pt x="0" y="2275"/>
                  <a:pt x="48" y="2306"/>
                  <a:pt x="80" y="2306"/>
                </a:cubicBezTo>
                <a:lnTo>
                  <a:pt x="4231" y="2306"/>
                </a:lnTo>
                <a:cubicBezTo>
                  <a:pt x="4279" y="2306"/>
                  <a:pt x="4311" y="2275"/>
                  <a:pt x="4311" y="2227"/>
                </a:cubicBezTo>
                <a:close/>
                <a:moveTo>
                  <a:pt x="4151" y="2148"/>
                </a:moveTo>
                <a:lnTo>
                  <a:pt x="160" y="2148"/>
                </a:lnTo>
                <a:lnTo>
                  <a:pt x="160" y="160"/>
                </a:lnTo>
                <a:lnTo>
                  <a:pt x="4151" y="160"/>
                </a:lnTo>
                <a:close/>
                <a:moveTo>
                  <a:pt x="351" y="3150"/>
                </a:moveTo>
                <a:cubicBezTo>
                  <a:pt x="351" y="3197"/>
                  <a:pt x="382" y="3229"/>
                  <a:pt x="430" y="3229"/>
                </a:cubicBezTo>
                <a:cubicBezTo>
                  <a:pt x="478" y="3229"/>
                  <a:pt x="509" y="3197"/>
                  <a:pt x="509" y="3150"/>
                </a:cubicBezTo>
                <a:cubicBezTo>
                  <a:pt x="509" y="3006"/>
                  <a:pt x="637" y="2879"/>
                  <a:pt x="780" y="2879"/>
                </a:cubicBezTo>
                <a:cubicBezTo>
                  <a:pt x="939" y="2879"/>
                  <a:pt x="1066" y="3006"/>
                  <a:pt x="1066" y="3150"/>
                </a:cubicBezTo>
                <a:cubicBezTo>
                  <a:pt x="1066" y="3197"/>
                  <a:pt x="1098" y="3229"/>
                  <a:pt x="1146" y="3229"/>
                </a:cubicBezTo>
                <a:cubicBezTo>
                  <a:pt x="1193" y="3229"/>
                  <a:pt x="1225" y="3197"/>
                  <a:pt x="1225" y="3150"/>
                </a:cubicBezTo>
                <a:cubicBezTo>
                  <a:pt x="1225" y="2911"/>
                  <a:pt x="1034" y="2720"/>
                  <a:pt x="780" y="2720"/>
                </a:cubicBezTo>
                <a:cubicBezTo>
                  <a:pt x="541" y="2720"/>
                  <a:pt x="351" y="2911"/>
                  <a:pt x="351" y="3150"/>
                </a:cubicBezTo>
                <a:close/>
                <a:moveTo>
                  <a:pt x="1782" y="3150"/>
                </a:moveTo>
                <a:cubicBezTo>
                  <a:pt x="1782" y="3197"/>
                  <a:pt x="1814" y="3229"/>
                  <a:pt x="1861" y="3229"/>
                </a:cubicBezTo>
                <a:cubicBezTo>
                  <a:pt x="1909" y="3229"/>
                  <a:pt x="1941" y="3197"/>
                  <a:pt x="1941" y="3150"/>
                </a:cubicBezTo>
                <a:cubicBezTo>
                  <a:pt x="1941" y="3006"/>
                  <a:pt x="2068" y="2879"/>
                  <a:pt x="2211" y="2879"/>
                </a:cubicBezTo>
                <a:cubicBezTo>
                  <a:pt x="2370" y="2879"/>
                  <a:pt x="2497" y="3006"/>
                  <a:pt x="2497" y="3150"/>
                </a:cubicBezTo>
                <a:cubicBezTo>
                  <a:pt x="2497" y="3197"/>
                  <a:pt x="2529" y="3229"/>
                  <a:pt x="2577" y="3229"/>
                </a:cubicBezTo>
                <a:cubicBezTo>
                  <a:pt x="2625" y="3229"/>
                  <a:pt x="2657" y="3197"/>
                  <a:pt x="2657" y="3150"/>
                </a:cubicBezTo>
                <a:cubicBezTo>
                  <a:pt x="2657" y="2911"/>
                  <a:pt x="2450" y="2720"/>
                  <a:pt x="2211" y="2720"/>
                </a:cubicBezTo>
                <a:cubicBezTo>
                  <a:pt x="1973" y="2720"/>
                  <a:pt x="1782" y="2911"/>
                  <a:pt x="1782" y="3150"/>
                </a:cubicBezTo>
                <a:close/>
                <a:moveTo>
                  <a:pt x="3213" y="3150"/>
                </a:moveTo>
                <a:cubicBezTo>
                  <a:pt x="3213" y="3197"/>
                  <a:pt x="3245" y="3229"/>
                  <a:pt x="3293" y="3229"/>
                </a:cubicBezTo>
                <a:cubicBezTo>
                  <a:pt x="3324" y="3229"/>
                  <a:pt x="3372" y="3197"/>
                  <a:pt x="3372" y="3150"/>
                </a:cubicBezTo>
                <a:cubicBezTo>
                  <a:pt x="3372" y="3006"/>
                  <a:pt x="3499" y="2879"/>
                  <a:pt x="3642" y="2879"/>
                </a:cubicBezTo>
                <a:cubicBezTo>
                  <a:pt x="3802" y="2879"/>
                  <a:pt x="3929" y="3006"/>
                  <a:pt x="3929" y="3150"/>
                </a:cubicBezTo>
                <a:cubicBezTo>
                  <a:pt x="3929" y="3197"/>
                  <a:pt x="3961" y="3229"/>
                  <a:pt x="4008" y="3229"/>
                </a:cubicBezTo>
                <a:cubicBezTo>
                  <a:pt x="4041" y="3229"/>
                  <a:pt x="4088" y="3197"/>
                  <a:pt x="4088" y="3150"/>
                </a:cubicBezTo>
                <a:cubicBezTo>
                  <a:pt x="4088" y="2911"/>
                  <a:pt x="3881" y="2720"/>
                  <a:pt x="3642" y="2720"/>
                </a:cubicBezTo>
                <a:cubicBezTo>
                  <a:pt x="3404" y="2720"/>
                  <a:pt x="3213" y="2911"/>
                  <a:pt x="3213" y="3150"/>
                </a:cubicBezTo>
                <a:close/>
                <a:moveTo>
                  <a:pt x="780" y="3786"/>
                </a:moveTo>
                <a:cubicBezTo>
                  <a:pt x="541" y="3786"/>
                  <a:pt x="351" y="3993"/>
                  <a:pt x="351" y="4231"/>
                </a:cubicBezTo>
                <a:cubicBezTo>
                  <a:pt x="351" y="4263"/>
                  <a:pt x="382" y="4311"/>
                  <a:pt x="430" y="4311"/>
                </a:cubicBezTo>
                <a:cubicBezTo>
                  <a:pt x="478" y="4311"/>
                  <a:pt x="509" y="4263"/>
                  <a:pt x="509" y="4231"/>
                </a:cubicBezTo>
                <a:cubicBezTo>
                  <a:pt x="509" y="4072"/>
                  <a:pt x="637" y="3945"/>
                  <a:pt x="780" y="3945"/>
                </a:cubicBezTo>
                <a:cubicBezTo>
                  <a:pt x="939" y="3945"/>
                  <a:pt x="1066" y="4072"/>
                  <a:pt x="1066" y="4231"/>
                </a:cubicBezTo>
                <a:cubicBezTo>
                  <a:pt x="1066" y="4263"/>
                  <a:pt x="1098" y="4311"/>
                  <a:pt x="1146" y="4311"/>
                </a:cubicBezTo>
                <a:cubicBezTo>
                  <a:pt x="1193" y="4311"/>
                  <a:pt x="1225" y="4263"/>
                  <a:pt x="1225" y="4231"/>
                </a:cubicBezTo>
                <a:cubicBezTo>
                  <a:pt x="1225" y="3993"/>
                  <a:pt x="1034" y="3786"/>
                  <a:pt x="780" y="3786"/>
                </a:cubicBezTo>
                <a:close/>
                <a:moveTo>
                  <a:pt x="2211" y="3786"/>
                </a:moveTo>
                <a:cubicBezTo>
                  <a:pt x="1973" y="3786"/>
                  <a:pt x="1782" y="3993"/>
                  <a:pt x="1782" y="4231"/>
                </a:cubicBezTo>
                <a:cubicBezTo>
                  <a:pt x="1782" y="4263"/>
                  <a:pt x="1814" y="4311"/>
                  <a:pt x="1861" y="4311"/>
                </a:cubicBezTo>
                <a:cubicBezTo>
                  <a:pt x="1909" y="4311"/>
                  <a:pt x="1941" y="4263"/>
                  <a:pt x="1941" y="4231"/>
                </a:cubicBezTo>
                <a:cubicBezTo>
                  <a:pt x="1941" y="4072"/>
                  <a:pt x="2068" y="3945"/>
                  <a:pt x="2211" y="3945"/>
                </a:cubicBezTo>
                <a:cubicBezTo>
                  <a:pt x="2370" y="3945"/>
                  <a:pt x="2497" y="4072"/>
                  <a:pt x="2497" y="4231"/>
                </a:cubicBezTo>
                <a:cubicBezTo>
                  <a:pt x="2497" y="4263"/>
                  <a:pt x="2529" y="4311"/>
                  <a:pt x="2577" y="4311"/>
                </a:cubicBezTo>
                <a:cubicBezTo>
                  <a:pt x="2625" y="4311"/>
                  <a:pt x="2657" y="4263"/>
                  <a:pt x="2657" y="4231"/>
                </a:cubicBezTo>
                <a:cubicBezTo>
                  <a:pt x="2657" y="3993"/>
                  <a:pt x="2450" y="3786"/>
                  <a:pt x="2211" y="3786"/>
                </a:cubicBezTo>
                <a:close/>
                <a:moveTo>
                  <a:pt x="3642" y="3786"/>
                </a:moveTo>
                <a:cubicBezTo>
                  <a:pt x="3404" y="3786"/>
                  <a:pt x="3213" y="3993"/>
                  <a:pt x="3213" y="4231"/>
                </a:cubicBezTo>
                <a:cubicBezTo>
                  <a:pt x="3213" y="4263"/>
                  <a:pt x="3245" y="4311"/>
                  <a:pt x="3293" y="4311"/>
                </a:cubicBezTo>
                <a:cubicBezTo>
                  <a:pt x="3324" y="4311"/>
                  <a:pt x="3372" y="4263"/>
                  <a:pt x="3372" y="4231"/>
                </a:cubicBezTo>
                <a:cubicBezTo>
                  <a:pt x="3372" y="4072"/>
                  <a:pt x="3499" y="3945"/>
                  <a:pt x="3642" y="3945"/>
                </a:cubicBezTo>
                <a:cubicBezTo>
                  <a:pt x="3802" y="3945"/>
                  <a:pt x="3929" y="4072"/>
                  <a:pt x="3929" y="4231"/>
                </a:cubicBezTo>
                <a:cubicBezTo>
                  <a:pt x="3929" y="4263"/>
                  <a:pt x="3961" y="4311"/>
                  <a:pt x="4008" y="4311"/>
                </a:cubicBezTo>
                <a:cubicBezTo>
                  <a:pt x="4041" y="4311"/>
                  <a:pt x="4088" y="4263"/>
                  <a:pt x="4088" y="4231"/>
                </a:cubicBezTo>
                <a:cubicBezTo>
                  <a:pt x="4088" y="3993"/>
                  <a:pt x="3881" y="3786"/>
                  <a:pt x="3642" y="3786"/>
                </a:cubicBezTo>
                <a:close/>
                <a:moveTo>
                  <a:pt x="430" y="3770"/>
                </a:moveTo>
                <a:cubicBezTo>
                  <a:pt x="478" y="3770"/>
                  <a:pt x="509" y="3738"/>
                  <a:pt x="509" y="3690"/>
                </a:cubicBezTo>
                <a:cubicBezTo>
                  <a:pt x="509" y="3452"/>
                  <a:pt x="318" y="3261"/>
                  <a:pt x="80" y="3261"/>
                </a:cubicBezTo>
                <a:cubicBezTo>
                  <a:pt x="32" y="3261"/>
                  <a:pt x="0" y="3293"/>
                  <a:pt x="0" y="3341"/>
                </a:cubicBezTo>
                <a:cubicBezTo>
                  <a:pt x="0" y="3372"/>
                  <a:pt x="32" y="3420"/>
                  <a:pt x="80" y="3420"/>
                </a:cubicBezTo>
                <a:cubicBezTo>
                  <a:pt x="223" y="3420"/>
                  <a:pt x="351" y="3531"/>
                  <a:pt x="351" y="3690"/>
                </a:cubicBezTo>
                <a:cubicBezTo>
                  <a:pt x="351" y="3738"/>
                  <a:pt x="382" y="3770"/>
                  <a:pt x="430" y="3770"/>
                </a:cubicBezTo>
                <a:close/>
                <a:moveTo>
                  <a:pt x="4342" y="3261"/>
                </a:moveTo>
                <a:cubicBezTo>
                  <a:pt x="4104" y="3261"/>
                  <a:pt x="3897" y="3452"/>
                  <a:pt x="3897" y="3690"/>
                </a:cubicBezTo>
                <a:cubicBezTo>
                  <a:pt x="3897" y="3738"/>
                  <a:pt x="3929" y="3770"/>
                  <a:pt x="3977" y="3770"/>
                </a:cubicBezTo>
                <a:cubicBezTo>
                  <a:pt x="4024" y="3770"/>
                  <a:pt x="4056" y="3738"/>
                  <a:pt x="4056" y="3690"/>
                </a:cubicBezTo>
                <a:cubicBezTo>
                  <a:pt x="4056" y="3531"/>
                  <a:pt x="4184" y="3420"/>
                  <a:pt x="4342" y="3420"/>
                </a:cubicBezTo>
                <a:cubicBezTo>
                  <a:pt x="4374" y="3420"/>
                  <a:pt x="4422" y="3372"/>
                  <a:pt x="4422" y="3341"/>
                </a:cubicBezTo>
                <a:cubicBezTo>
                  <a:pt x="4422" y="3293"/>
                  <a:pt x="4374" y="3261"/>
                  <a:pt x="4342" y="3261"/>
                </a:cubicBezTo>
                <a:close/>
                <a:moveTo>
                  <a:pt x="1861" y="3770"/>
                </a:moveTo>
                <a:cubicBezTo>
                  <a:pt x="1909" y="3770"/>
                  <a:pt x="1941" y="3738"/>
                  <a:pt x="1941" y="3690"/>
                </a:cubicBezTo>
                <a:cubicBezTo>
                  <a:pt x="1941" y="3452"/>
                  <a:pt x="1750" y="3261"/>
                  <a:pt x="1496" y="3261"/>
                </a:cubicBezTo>
                <a:cubicBezTo>
                  <a:pt x="1257" y="3261"/>
                  <a:pt x="1066" y="3452"/>
                  <a:pt x="1066" y="3690"/>
                </a:cubicBezTo>
                <a:cubicBezTo>
                  <a:pt x="1066" y="3738"/>
                  <a:pt x="1098" y="3770"/>
                  <a:pt x="1146" y="3770"/>
                </a:cubicBezTo>
                <a:cubicBezTo>
                  <a:pt x="1193" y="3770"/>
                  <a:pt x="1225" y="3738"/>
                  <a:pt x="1225" y="3690"/>
                </a:cubicBezTo>
                <a:cubicBezTo>
                  <a:pt x="1225" y="3531"/>
                  <a:pt x="1352" y="3420"/>
                  <a:pt x="1496" y="3420"/>
                </a:cubicBezTo>
                <a:cubicBezTo>
                  <a:pt x="1655" y="3420"/>
                  <a:pt x="1782" y="3531"/>
                  <a:pt x="1782" y="3690"/>
                </a:cubicBezTo>
                <a:cubicBezTo>
                  <a:pt x="1782" y="3738"/>
                  <a:pt x="1814" y="3770"/>
                  <a:pt x="1861" y="3770"/>
                </a:cubicBezTo>
                <a:close/>
                <a:moveTo>
                  <a:pt x="3293" y="3770"/>
                </a:moveTo>
                <a:cubicBezTo>
                  <a:pt x="3324" y="3770"/>
                  <a:pt x="3372" y="3738"/>
                  <a:pt x="3372" y="3690"/>
                </a:cubicBezTo>
                <a:cubicBezTo>
                  <a:pt x="3372" y="3452"/>
                  <a:pt x="3166" y="3261"/>
                  <a:pt x="2927" y="3261"/>
                </a:cubicBezTo>
                <a:cubicBezTo>
                  <a:pt x="2688" y="3261"/>
                  <a:pt x="2497" y="3452"/>
                  <a:pt x="2497" y="3690"/>
                </a:cubicBezTo>
                <a:cubicBezTo>
                  <a:pt x="2497" y="3738"/>
                  <a:pt x="2529" y="3770"/>
                  <a:pt x="2577" y="3770"/>
                </a:cubicBezTo>
                <a:cubicBezTo>
                  <a:pt x="2625" y="3770"/>
                  <a:pt x="2657" y="3738"/>
                  <a:pt x="2657" y="3690"/>
                </a:cubicBezTo>
                <a:cubicBezTo>
                  <a:pt x="2657" y="3531"/>
                  <a:pt x="2784" y="3420"/>
                  <a:pt x="2927" y="3420"/>
                </a:cubicBezTo>
                <a:cubicBezTo>
                  <a:pt x="3086" y="3420"/>
                  <a:pt x="3213" y="3531"/>
                  <a:pt x="3213" y="3690"/>
                </a:cubicBezTo>
                <a:cubicBezTo>
                  <a:pt x="3213" y="3738"/>
                  <a:pt x="3245" y="3770"/>
                  <a:pt x="3293" y="377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75549900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Music / Video - 3</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84" name="TextBox 83">
            <a:extLst>
              <a:ext uri="{FF2B5EF4-FFF2-40B4-BE49-F238E27FC236}">
                <a16:creationId xmlns:a16="http://schemas.microsoft.com/office/drawing/2014/main" id="{8918ADA1-C4D3-5040-A2BE-79A1BBA3D5C1}"/>
              </a:ext>
            </a:extLst>
          </p:cNvPr>
          <p:cNvSpPr txBox="1"/>
          <p:nvPr/>
        </p:nvSpPr>
        <p:spPr>
          <a:xfrm>
            <a:off x="717140"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ke 1</a:t>
            </a:r>
          </a:p>
        </p:txBody>
      </p:sp>
      <p:sp>
        <p:nvSpPr>
          <p:cNvPr id="85" name="TextBox 84">
            <a:extLst>
              <a:ext uri="{FF2B5EF4-FFF2-40B4-BE49-F238E27FC236}">
                <a16:creationId xmlns:a16="http://schemas.microsoft.com/office/drawing/2014/main" id="{DBE5AE04-A0D6-2042-99EC-B3A64485EDB1}"/>
              </a:ext>
            </a:extLst>
          </p:cNvPr>
          <p:cNvSpPr txBox="1"/>
          <p:nvPr/>
        </p:nvSpPr>
        <p:spPr>
          <a:xfrm>
            <a:off x="4500496" y="5164929"/>
            <a:ext cx="382964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ke 2</a:t>
            </a:r>
          </a:p>
        </p:txBody>
      </p:sp>
      <p:sp>
        <p:nvSpPr>
          <p:cNvPr id="86" name="TextBox 85">
            <a:extLst>
              <a:ext uri="{FF2B5EF4-FFF2-40B4-BE49-F238E27FC236}">
                <a16:creationId xmlns:a16="http://schemas.microsoft.com/office/drawing/2014/main" id="{CAC964E3-0513-9D43-9F64-1FE4C20C5215}"/>
              </a:ext>
            </a:extLst>
          </p:cNvPr>
          <p:cNvSpPr txBox="1"/>
          <p:nvPr/>
        </p:nvSpPr>
        <p:spPr>
          <a:xfrm>
            <a:off x="11852276" y="5164929"/>
            <a:ext cx="367156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irector Chair</a:t>
            </a:r>
          </a:p>
        </p:txBody>
      </p:sp>
      <p:sp>
        <p:nvSpPr>
          <p:cNvPr id="87" name="TextBox 86">
            <a:extLst>
              <a:ext uri="{FF2B5EF4-FFF2-40B4-BE49-F238E27FC236}">
                <a16:creationId xmlns:a16="http://schemas.microsoft.com/office/drawing/2014/main" id="{5C96A788-EFA3-0B43-B4CC-A5A15C7F26E9}"/>
              </a:ext>
            </a:extLst>
          </p:cNvPr>
          <p:cNvSpPr txBox="1"/>
          <p:nvPr/>
        </p:nvSpPr>
        <p:spPr>
          <a:xfrm>
            <a:off x="14904025" y="5218093"/>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3D</a:t>
            </a:r>
          </a:p>
        </p:txBody>
      </p:sp>
      <p:sp>
        <p:nvSpPr>
          <p:cNvPr id="88" name="Freeform: Shape 26">
            <a:extLst>
              <a:ext uri="{FF2B5EF4-FFF2-40B4-BE49-F238E27FC236}">
                <a16:creationId xmlns:a16="http://schemas.microsoft.com/office/drawing/2014/main" id="{49BA7E61-6166-084A-8F95-0124F50FA0E2}"/>
              </a:ext>
            </a:extLst>
          </p:cNvPr>
          <p:cNvSpPr/>
          <p:nvPr/>
        </p:nvSpPr>
        <p:spPr>
          <a:xfrm>
            <a:off x="2474045" y="415097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9" name="TextBox 88">
            <a:extLst>
              <a:ext uri="{FF2B5EF4-FFF2-40B4-BE49-F238E27FC236}">
                <a16:creationId xmlns:a16="http://schemas.microsoft.com/office/drawing/2014/main" id="{75C9F922-D9AB-9642-A568-6DF6EB929FEF}"/>
              </a:ext>
            </a:extLst>
          </p:cNvPr>
          <p:cNvSpPr txBox="1"/>
          <p:nvPr/>
        </p:nvSpPr>
        <p:spPr>
          <a:xfrm>
            <a:off x="8330144"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de-DE" sz="2800" dirty="0"/>
              <a:t>Computer Play</a:t>
            </a:r>
            <a:endParaRPr lang="en-US" sz="2800" dirty="0"/>
          </a:p>
        </p:txBody>
      </p:sp>
      <p:sp>
        <p:nvSpPr>
          <p:cNvPr id="90" name="TextBox 89">
            <a:extLst>
              <a:ext uri="{FF2B5EF4-FFF2-40B4-BE49-F238E27FC236}">
                <a16:creationId xmlns:a16="http://schemas.microsoft.com/office/drawing/2014/main" id="{901890C6-60A8-7547-BDD4-AC59E6328605}"/>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91" name="Freeform: Shape 1">
            <a:extLst>
              <a:ext uri="{FF2B5EF4-FFF2-40B4-BE49-F238E27FC236}">
                <a16:creationId xmlns:a16="http://schemas.microsoft.com/office/drawing/2014/main" id="{1C44328D-86C0-EE41-AE7B-4C7E877BE4BB}"/>
              </a:ext>
            </a:extLst>
          </p:cNvPr>
          <p:cNvSpPr/>
          <p:nvPr/>
        </p:nvSpPr>
        <p:spPr>
          <a:xfrm>
            <a:off x="12968945" y="3503847"/>
            <a:ext cx="1488239" cy="1545839"/>
          </a:xfrm>
          <a:custGeom>
            <a:avLst/>
            <a:gdLst/>
            <a:ahLst/>
            <a:cxnLst>
              <a:cxn ang="3cd4">
                <a:pos x="hc" y="t"/>
              </a:cxn>
              <a:cxn ang="cd2">
                <a:pos x="l" y="vc"/>
              </a:cxn>
              <a:cxn ang="cd4">
                <a:pos x="hc" y="b"/>
              </a:cxn>
              <a:cxn ang="0">
                <a:pos x="r" y="vc"/>
              </a:cxn>
            </a:cxnLst>
            <a:rect l="l" t="t" r="r" b="b"/>
            <a:pathLst>
              <a:path w="4135" h="4295">
                <a:moveTo>
                  <a:pt x="4055" y="2529"/>
                </a:moveTo>
                <a:cubicBezTo>
                  <a:pt x="3737" y="2529"/>
                  <a:pt x="3737" y="2529"/>
                  <a:pt x="3737" y="2529"/>
                </a:cubicBezTo>
                <a:cubicBezTo>
                  <a:pt x="3737" y="1575"/>
                  <a:pt x="3737" y="1575"/>
                  <a:pt x="3737" y="1575"/>
                </a:cubicBezTo>
                <a:cubicBezTo>
                  <a:pt x="3976" y="1575"/>
                  <a:pt x="3976" y="1575"/>
                  <a:pt x="3976" y="1575"/>
                </a:cubicBezTo>
                <a:cubicBezTo>
                  <a:pt x="4023" y="1575"/>
                  <a:pt x="4055" y="1543"/>
                  <a:pt x="4055" y="1495"/>
                </a:cubicBezTo>
                <a:cubicBezTo>
                  <a:pt x="4055" y="382"/>
                  <a:pt x="4055" y="382"/>
                  <a:pt x="4055" y="382"/>
                </a:cubicBezTo>
                <a:cubicBezTo>
                  <a:pt x="4055" y="350"/>
                  <a:pt x="4023" y="302"/>
                  <a:pt x="3976" y="302"/>
                </a:cubicBezTo>
                <a:cubicBezTo>
                  <a:pt x="3737" y="302"/>
                  <a:pt x="3737" y="302"/>
                  <a:pt x="3737" y="302"/>
                </a:cubicBezTo>
                <a:cubicBezTo>
                  <a:pt x="3737" y="80"/>
                  <a:pt x="3737" y="80"/>
                  <a:pt x="3737" y="80"/>
                </a:cubicBezTo>
                <a:cubicBezTo>
                  <a:pt x="3737" y="32"/>
                  <a:pt x="3705" y="0"/>
                  <a:pt x="3657" y="0"/>
                </a:cubicBezTo>
                <a:cubicBezTo>
                  <a:pt x="3610" y="0"/>
                  <a:pt x="3578" y="32"/>
                  <a:pt x="3578" y="80"/>
                </a:cubicBezTo>
                <a:cubicBezTo>
                  <a:pt x="3578" y="302"/>
                  <a:pt x="3578" y="302"/>
                  <a:pt x="3578" y="302"/>
                </a:cubicBezTo>
                <a:cubicBezTo>
                  <a:pt x="715" y="302"/>
                  <a:pt x="715" y="302"/>
                  <a:pt x="715" y="302"/>
                </a:cubicBezTo>
                <a:cubicBezTo>
                  <a:pt x="715" y="80"/>
                  <a:pt x="715" y="80"/>
                  <a:pt x="715" y="80"/>
                </a:cubicBezTo>
                <a:cubicBezTo>
                  <a:pt x="715" y="32"/>
                  <a:pt x="683" y="0"/>
                  <a:pt x="636" y="0"/>
                </a:cubicBezTo>
                <a:cubicBezTo>
                  <a:pt x="588" y="0"/>
                  <a:pt x="556" y="32"/>
                  <a:pt x="556" y="80"/>
                </a:cubicBezTo>
                <a:cubicBezTo>
                  <a:pt x="556" y="302"/>
                  <a:pt x="556" y="302"/>
                  <a:pt x="556" y="302"/>
                </a:cubicBezTo>
                <a:cubicBezTo>
                  <a:pt x="158" y="302"/>
                  <a:pt x="158" y="302"/>
                  <a:pt x="158" y="302"/>
                </a:cubicBezTo>
                <a:cubicBezTo>
                  <a:pt x="127" y="302"/>
                  <a:pt x="79" y="350"/>
                  <a:pt x="79" y="382"/>
                </a:cubicBezTo>
                <a:cubicBezTo>
                  <a:pt x="79" y="1495"/>
                  <a:pt x="79" y="1495"/>
                  <a:pt x="79" y="1495"/>
                </a:cubicBezTo>
                <a:cubicBezTo>
                  <a:pt x="79" y="1543"/>
                  <a:pt x="127" y="1575"/>
                  <a:pt x="158" y="1575"/>
                </a:cubicBezTo>
                <a:cubicBezTo>
                  <a:pt x="556" y="1575"/>
                  <a:pt x="556" y="1575"/>
                  <a:pt x="556" y="1575"/>
                </a:cubicBezTo>
                <a:cubicBezTo>
                  <a:pt x="556" y="2529"/>
                  <a:pt x="556" y="2529"/>
                  <a:pt x="556" y="2529"/>
                </a:cubicBezTo>
                <a:cubicBezTo>
                  <a:pt x="79" y="2529"/>
                  <a:pt x="79" y="2529"/>
                  <a:pt x="79" y="2529"/>
                </a:cubicBezTo>
                <a:cubicBezTo>
                  <a:pt x="47" y="2529"/>
                  <a:pt x="0" y="2561"/>
                  <a:pt x="0" y="2609"/>
                </a:cubicBezTo>
                <a:cubicBezTo>
                  <a:pt x="0" y="2656"/>
                  <a:pt x="47" y="2688"/>
                  <a:pt x="79" y="2688"/>
                </a:cubicBezTo>
                <a:cubicBezTo>
                  <a:pt x="620" y="2688"/>
                  <a:pt x="620" y="2688"/>
                  <a:pt x="620" y="2688"/>
                </a:cubicBezTo>
                <a:cubicBezTo>
                  <a:pt x="1940" y="3451"/>
                  <a:pt x="1940" y="3451"/>
                  <a:pt x="1940" y="3451"/>
                </a:cubicBezTo>
                <a:cubicBezTo>
                  <a:pt x="731" y="4135"/>
                  <a:pt x="731" y="4135"/>
                  <a:pt x="731" y="4135"/>
                </a:cubicBezTo>
                <a:cubicBezTo>
                  <a:pt x="699" y="4168"/>
                  <a:pt x="683" y="4215"/>
                  <a:pt x="715" y="4247"/>
                </a:cubicBezTo>
                <a:cubicBezTo>
                  <a:pt x="715" y="4278"/>
                  <a:pt x="747" y="4295"/>
                  <a:pt x="779" y="4295"/>
                </a:cubicBezTo>
                <a:cubicBezTo>
                  <a:pt x="795" y="4295"/>
                  <a:pt x="810" y="4278"/>
                  <a:pt x="810" y="4278"/>
                </a:cubicBezTo>
                <a:cubicBezTo>
                  <a:pt x="2099" y="3547"/>
                  <a:pt x="2099" y="3547"/>
                  <a:pt x="2099" y="3547"/>
                </a:cubicBezTo>
                <a:cubicBezTo>
                  <a:pt x="3371" y="4278"/>
                  <a:pt x="3371" y="4278"/>
                  <a:pt x="3371" y="4278"/>
                </a:cubicBezTo>
                <a:cubicBezTo>
                  <a:pt x="3387" y="4278"/>
                  <a:pt x="3387" y="4295"/>
                  <a:pt x="3403" y="4295"/>
                </a:cubicBezTo>
                <a:cubicBezTo>
                  <a:pt x="3435" y="4295"/>
                  <a:pt x="3467" y="4278"/>
                  <a:pt x="3482" y="4247"/>
                </a:cubicBezTo>
                <a:cubicBezTo>
                  <a:pt x="3499" y="4215"/>
                  <a:pt x="3482" y="4168"/>
                  <a:pt x="3451" y="4135"/>
                </a:cubicBezTo>
                <a:cubicBezTo>
                  <a:pt x="2258" y="3451"/>
                  <a:pt x="2258" y="3451"/>
                  <a:pt x="2258" y="3451"/>
                </a:cubicBezTo>
                <a:cubicBezTo>
                  <a:pt x="3562" y="2688"/>
                  <a:pt x="3562" y="2688"/>
                  <a:pt x="3562" y="2688"/>
                </a:cubicBezTo>
                <a:cubicBezTo>
                  <a:pt x="4055" y="2688"/>
                  <a:pt x="4055" y="2688"/>
                  <a:pt x="4055" y="2688"/>
                </a:cubicBezTo>
                <a:cubicBezTo>
                  <a:pt x="4103" y="2688"/>
                  <a:pt x="4135" y="2656"/>
                  <a:pt x="4135" y="2609"/>
                </a:cubicBezTo>
                <a:cubicBezTo>
                  <a:pt x="4135" y="2561"/>
                  <a:pt x="4103" y="2529"/>
                  <a:pt x="4055" y="2529"/>
                </a:cubicBezTo>
                <a:close/>
                <a:moveTo>
                  <a:pt x="238" y="461"/>
                </a:moveTo>
                <a:cubicBezTo>
                  <a:pt x="3896" y="461"/>
                  <a:pt x="3896" y="461"/>
                  <a:pt x="3896" y="461"/>
                </a:cubicBezTo>
                <a:cubicBezTo>
                  <a:pt x="3896" y="1416"/>
                  <a:pt x="3896" y="1416"/>
                  <a:pt x="3896" y="1416"/>
                </a:cubicBezTo>
                <a:cubicBezTo>
                  <a:pt x="238" y="1416"/>
                  <a:pt x="238" y="1416"/>
                  <a:pt x="238" y="1416"/>
                </a:cubicBezTo>
                <a:close/>
                <a:moveTo>
                  <a:pt x="715" y="1575"/>
                </a:moveTo>
                <a:cubicBezTo>
                  <a:pt x="3578" y="1575"/>
                  <a:pt x="3578" y="1575"/>
                  <a:pt x="3578" y="1575"/>
                </a:cubicBezTo>
                <a:cubicBezTo>
                  <a:pt x="3578" y="2529"/>
                  <a:pt x="3578" y="2529"/>
                  <a:pt x="3578" y="2529"/>
                </a:cubicBezTo>
                <a:cubicBezTo>
                  <a:pt x="715" y="2529"/>
                  <a:pt x="715" y="2529"/>
                  <a:pt x="715" y="2529"/>
                </a:cubicBezTo>
                <a:close/>
                <a:moveTo>
                  <a:pt x="2099" y="3356"/>
                </a:moveTo>
                <a:cubicBezTo>
                  <a:pt x="938" y="2688"/>
                  <a:pt x="938" y="2688"/>
                  <a:pt x="938" y="2688"/>
                </a:cubicBezTo>
                <a:cubicBezTo>
                  <a:pt x="3244" y="2688"/>
                  <a:pt x="3244" y="2688"/>
                  <a:pt x="3244" y="268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2" name="Freeform: Shape 2">
            <a:extLst>
              <a:ext uri="{FF2B5EF4-FFF2-40B4-BE49-F238E27FC236}">
                <a16:creationId xmlns:a16="http://schemas.microsoft.com/office/drawing/2014/main" id="{DF6738C6-A976-B547-9BD8-D157FA9A5820}"/>
              </a:ext>
            </a:extLst>
          </p:cNvPr>
          <p:cNvSpPr/>
          <p:nvPr/>
        </p:nvSpPr>
        <p:spPr>
          <a:xfrm>
            <a:off x="9094974" y="3681327"/>
            <a:ext cx="1711800" cy="1316520"/>
          </a:xfrm>
          <a:custGeom>
            <a:avLst/>
            <a:gdLst/>
            <a:ahLst/>
            <a:cxnLst>
              <a:cxn ang="3cd4">
                <a:pos x="hc" y="t"/>
              </a:cxn>
              <a:cxn ang="cd2">
                <a:pos x="l" y="vc"/>
              </a:cxn>
              <a:cxn ang="cd4">
                <a:pos x="hc" y="b"/>
              </a:cxn>
              <a:cxn ang="0">
                <a:pos x="r" y="vc"/>
              </a:cxn>
            </a:cxnLst>
            <a:rect l="l" t="t" r="r" b="b"/>
            <a:pathLst>
              <a:path w="4756" h="3658">
                <a:moveTo>
                  <a:pt x="4581" y="0"/>
                </a:moveTo>
                <a:lnTo>
                  <a:pt x="175" y="0"/>
                </a:lnTo>
                <a:cubicBezTo>
                  <a:pt x="79" y="0"/>
                  <a:pt x="0" y="80"/>
                  <a:pt x="0" y="175"/>
                </a:cubicBezTo>
                <a:lnTo>
                  <a:pt x="0" y="2529"/>
                </a:lnTo>
                <a:cubicBezTo>
                  <a:pt x="0" y="2625"/>
                  <a:pt x="79" y="2704"/>
                  <a:pt x="175" y="2704"/>
                </a:cubicBezTo>
                <a:lnTo>
                  <a:pt x="1877" y="2704"/>
                </a:lnTo>
                <a:cubicBezTo>
                  <a:pt x="1813" y="2863"/>
                  <a:pt x="1527" y="3181"/>
                  <a:pt x="875" y="3181"/>
                </a:cubicBezTo>
                <a:cubicBezTo>
                  <a:pt x="827" y="3181"/>
                  <a:pt x="795" y="3213"/>
                  <a:pt x="795" y="3261"/>
                </a:cubicBezTo>
                <a:lnTo>
                  <a:pt x="795" y="3579"/>
                </a:lnTo>
                <a:cubicBezTo>
                  <a:pt x="795" y="3627"/>
                  <a:pt x="827" y="3658"/>
                  <a:pt x="875" y="3658"/>
                </a:cubicBezTo>
                <a:lnTo>
                  <a:pt x="3881" y="3658"/>
                </a:lnTo>
                <a:cubicBezTo>
                  <a:pt x="3929" y="3658"/>
                  <a:pt x="3960" y="3627"/>
                  <a:pt x="3960" y="3579"/>
                </a:cubicBezTo>
                <a:lnTo>
                  <a:pt x="3960" y="3261"/>
                </a:lnTo>
                <a:cubicBezTo>
                  <a:pt x="3960" y="3213"/>
                  <a:pt x="3929" y="3181"/>
                  <a:pt x="3881" y="3181"/>
                </a:cubicBezTo>
                <a:cubicBezTo>
                  <a:pt x="3229" y="3181"/>
                  <a:pt x="2974" y="2863"/>
                  <a:pt x="2911" y="2704"/>
                </a:cubicBezTo>
                <a:lnTo>
                  <a:pt x="4581" y="2704"/>
                </a:lnTo>
                <a:cubicBezTo>
                  <a:pt x="4676" y="2704"/>
                  <a:pt x="4756" y="2625"/>
                  <a:pt x="4756" y="2529"/>
                </a:cubicBezTo>
                <a:lnTo>
                  <a:pt x="4756" y="175"/>
                </a:lnTo>
                <a:cubicBezTo>
                  <a:pt x="4756" y="80"/>
                  <a:pt x="4676" y="0"/>
                  <a:pt x="4581" y="0"/>
                </a:cubicBezTo>
                <a:close/>
                <a:moveTo>
                  <a:pt x="3801" y="3340"/>
                </a:moveTo>
                <a:lnTo>
                  <a:pt x="3801" y="3499"/>
                </a:lnTo>
                <a:lnTo>
                  <a:pt x="954" y="3499"/>
                </a:lnTo>
                <a:lnTo>
                  <a:pt x="954" y="3340"/>
                </a:lnTo>
                <a:cubicBezTo>
                  <a:pt x="1654" y="3309"/>
                  <a:pt x="1988" y="2927"/>
                  <a:pt x="2036" y="2704"/>
                </a:cubicBezTo>
                <a:lnTo>
                  <a:pt x="2751" y="2704"/>
                </a:lnTo>
                <a:cubicBezTo>
                  <a:pt x="2799" y="2911"/>
                  <a:pt x="3070" y="3309"/>
                  <a:pt x="3801" y="3340"/>
                </a:cubicBezTo>
                <a:close/>
                <a:moveTo>
                  <a:pt x="4596" y="2529"/>
                </a:moveTo>
                <a:cubicBezTo>
                  <a:pt x="4591" y="2534"/>
                  <a:pt x="4596" y="2545"/>
                  <a:pt x="4581" y="2545"/>
                </a:cubicBezTo>
                <a:lnTo>
                  <a:pt x="175" y="2545"/>
                </a:lnTo>
                <a:cubicBezTo>
                  <a:pt x="159" y="2545"/>
                  <a:pt x="164" y="2534"/>
                  <a:pt x="159" y="2529"/>
                </a:cubicBezTo>
                <a:lnTo>
                  <a:pt x="159" y="175"/>
                </a:lnTo>
                <a:cubicBezTo>
                  <a:pt x="164" y="170"/>
                  <a:pt x="159" y="159"/>
                  <a:pt x="175" y="159"/>
                </a:cubicBezTo>
                <a:lnTo>
                  <a:pt x="4581" y="159"/>
                </a:lnTo>
                <a:cubicBezTo>
                  <a:pt x="4596" y="159"/>
                  <a:pt x="4591" y="170"/>
                  <a:pt x="4596" y="175"/>
                </a:cubicBezTo>
                <a:close/>
                <a:moveTo>
                  <a:pt x="3213" y="1225"/>
                </a:moveTo>
                <a:lnTo>
                  <a:pt x="2020" y="541"/>
                </a:lnTo>
                <a:cubicBezTo>
                  <a:pt x="1988" y="525"/>
                  <a:pt x="1972" y="525"/>
                  <a:pt x="1940" y="541"/>
                </a:cubicBezTo>
                <a:cubicBezTo>
                  <a:pt x="1909" y="557"/>
                  <a:pt x="1909" y="573"/>
                  <a:pt x="1909" y="604"/>
                </a:cubicBezTo>
                <a:lnTo>
                  <a:pt x="1909" y="1988"/>
                </a:lnTo>
                <a:cubicBezTo>
                  <a:pt x="1909" y="2004"/>
                  <a:pt x="1909" y="2036"/>
                  <a:pt x="1940" y="2052"/>
                </a:cubicBezTo>
                <a:cubicBezTo>
                  <a:pt x="1956" y="2052"/>
                  <a:pt x="1972" y="2068"/>
                  <a:pt x="1988" y="2068"/>
                </a:cubicBezTo>
                <a:cubicBezTo>
                  <a:pt x="1999" y="2063"/>
                  <a:pt x="2004" y="2052"/>
                  <a:pt x="2020" y="2052"/>
                </a:cubicBezTo>
                <a:lnTo>
                  <a:pt x="3213" y="1368"/>
                </a:lnTo>
                <a:cubicBezTo>
                  <a:pt x="3229" y="1352"/>
                  <a:pt x="3245" y="1321"/>
                  <a:pt x="3245" y="1289"/>
                </a:cubicBezTo>
                <a:cubicBezTo>
                  <a:pt x="3245" y="1273"/>
                  <a:pt x="3229" y="1241"/>
                  <a:pt x="3213" y="1225"/>
                </a:cubicBezTo>
                <a:close/>
                <a:moveTo>
                  <a:pt x="2067" y="1845"/>
                </a:moveTo>
                <a:lnTo>
                  <a:pt x="2067" y="748"/>
                </a:lnTo>
                <a:lnTo>
                  <a:pt x="3006" y="128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Freeform: Shape 3">
            <a:extLst>
              <a:ext uri="{FF2B5EF4-FFF2-40B4-BE49-F238E27FC236}">
                <a16:creationId xmlns:a16="http://schemas.microsoft.com/office/drawing/2014/main" id="{C024BDAB-1349-B942-BAAD-A7143E0C6F05}"/>
              </a:ext>
            </a:extLst>
          </p:cNvPr>
          <p:cNvSpPr/>
          <p:nvPr/>
        </p:nvSpPr>
        <p:spPr>
          <a:xfrm>
            <a:off x="5785680" y="3669807"/>
            <a:ext cx="1259280" cy="1144800"/>
          </a:xfrm>
          <a:custGeom>
            <a:avLst/>
            <a:gdLst/>
            <a:ahLst/>
            <a:cxnLst>
              <a:cxn ang="3cd4">
                <a:pos x="hc" y="t"/>
              </a:cxn>
              <a:cxn ang="cd2">
                <a:pos x="l" y="vc"/>
              </a:cxn>
              <a:cxn ang="cd4">
                <a:pos x="hc" y="b"/>
              </a:cxn>
              <a:cxn ang="0">
                <a:pos x="r" y="vc"/>
              </a:cxn>
            </a:cxnLst>
            <a:rect l="l" t="t" r="r" b="b"/>
            <a:pathLst>
              <a:path w="3499" h="3181">
                <a:moveTo>
                  <a:pt x="3276" y="0"/>
                </a:moveTo>
                <a:cubicBezTo>
                  <a:pt x="223" y="0"/>
                  <a:pt x="223" y="0"/>
                  <a:pt x="223" y="0"/>
                </a:cubicBezTo>
                <a:cubicBezTo>
                  <a:pt x="95" y="0"/>
                  <a:pt x="0" y="112"/>
                  <a:pt x="0" y="223"/>
                </a:cubicBezTo>
                <a:cubicBezTo>
                  <a:pt x="0" y="1193"/>
                  <a:pt x="0" y="1193"/>
                  <a:pt x="0" y="1193"/>
                </a:cubicBezTo>
                <a:cubicBezTo>
                  <a:pt x="0" y="2959"/>
                  <a:pt x="0" y="2959"/>
                  <a:pt x="0" y="2959"/>
                </a:cubicBezTo>
                <a:cubicBezTo>
                  <a:pt x="0" y="3086"/>
                  <a:pt x="95" y="3181"/>
                  <a:pt x="223" y="3181"/>
                </a:cubicBezTo>
                <a:cubicBezTo>
                  <a:pt x="3276" y="3181"/>
                  <a:pt x="3276" y="3181"/>
                  <a:pt x="3276" y="3181"/>
                </a:cubicBezTo>
                <a:cubicBezTo>
                  <a:pt x="3388" y="3181"/>
                  <a:pt x="3499" y="3086"/>
                  <a:pt x="3499" y="2959"/>
                </a:cubicBezTo>
                <a:cubicBezTo>
                  <a:pt x="3499" y="1193"/>
                  <a:pt x="3499" y="1193"/>
                  <a:pt x="3499" y="1193"/>
                </a:cubicBezTo>
                <a:cubicBezTo>
                  <a:pt x="3499" y="223"/>
                  <a:pt x="3499" y="223"/>
                  <a:pt x="3499" y="223"/>
                </a:cubicBezTo>
                <a:cubicBezTo>
                  <a:pt x="3499" y="112"/>
                  <a:pt x="3388" y="0"/>
                  <a:pt x="3276" y="0"/>
                </a:cubicBezTo>
                <a:close/>
                <a:moveTo>
                  <a:pt x="159" y="796"/>
                </a:moveTo>
                <a:cubicBezTo>
                  <a:pt x="493" y="796"/>
                  <a:pt x="493" y="796"/>
                  <a:pt x="493" y="796"/>
                </a:cubicBezTo>
                <a:cubicBezTo>
                  <a:pt x="334" y="1114"/>
                  <a:pt x="334" y="1114"/>
                  <a:pt x="334" y="1114"/>
                </a:cubicBezTo>
                <a:cubicBezTo>
                  <a:pt x="159" y="1114"/>
                  <a:pt x="159" y="1114"/>
                  <a:pt x="159" y="1114"/>
                </a:cubicBezTo>
                <a:close/>
                <a:moveTo>
                  <a:pt x="3293" y="796"/>
                </a:moveTo>
                <a:cubicBezTo>
                  <a:pt x="3133" y="1114"/>
                  <a:pt x="3133" y="1114"/>
                  <a:pt x="3133" y="1114"/>
                </a:cubicBezTo>
                <a:cubicBezTo>
                  <a:pt x="2624" y="1114"/>
                  <a:pt x="2624" y="1114"/>
                  <a:pt x="2624" y="1114"/>
                </a:cubicBezTo>
                <a:cubicBezTo>
                  <a:pt x="2784" y="796"/>
                  <a:pt x="2784" y="796"/>
                  <a:pt x="2784" y="796"/>
                </a:cubicBezTo>
                <a:close/>
                <a:moveTo>
                  <a:pt x="2449" y="1114"/>
                </a:moveTo>
                <a:cubicBezTo>
                  <a:pt x="1925" y="1114"/>
                  <a:pt x="1925" y="1114"/>
                  <a:pt x="1925" y="1114"/>
                </a:cubicBezTo>
                <a:cubicBezTo>
                  <a:pt x="2084" y="796"/>
                  <a:pt x="2084" y="796"/>
                  <a:pt x="2084" y="796"/>
                </a:cubicBezTo>
                <a:cubicBezTo>
                  <a:pt x="2609" y="796"/>
                  <a:pt x="2609" y="796"/>
                  <a:pt x="2609" y="796"/>
                </a:cubicBezTo>
                <a:close/>
                <a:moveTo>
                  <a:pt x="1734" y="1114"/>
                </a:moveTo>
                <a:cubicBezTo>
                  <a:pt x="1209" y="1114"/>
                  <a:pt x="1209" y="1114"/>
                  <a:pt x="1209" y="1114"/>
                </a:cubicBezTo>
                <a:cubicBezTo>
                  <a:pt x="1384" y="796"/>
                  <a:pt x="1384" y="796"/>
                  <a:pt x="1384" y="796"/>
                </a:cubicBezTo>
                <a:cubicBezTo>
                  <a:pt x="1909" y="796"/>
                  <a:pt x="1909" y="796"/>
                  <a:pt x="1909" y="796"/>
                </a:cubicBezTo>
                <a:close/>
                <a:moveTo>
                  <a:pt x="1034" y="1114"/>
                </a:moveTo>
                <a:cubicBezTo>
                  <a:pt x="509" y="1114"/>
                  <a:pt x="509" y="1114"/>
                  <a:pt x="509" y="1114"/>
                </a:cubicBezTo>
                <a:cubicBezTo>
                  <a:pt x="668" y="796"/>
                  <a:pt x="668" y="796"/>
                  <a:pt x="668" y="796"/>
                </a:cubicBezTo>
                <a:cubicBezTo>
                  <a:pt x="1193" y="796"/>
                  <a:pt x="1193" y="796"/>
                  <a:pt x="1193" y="796"/>
                </a:cubicBezTo>
                <a:close/>
                <a:moveTo>
                  <a:pt x="255" y="1273"/>
                </a:moveTo>
                <a:cubicBezTo>
                  <a:pt x="159" y="1432"/>
                  <a:pt x="159" y="1432"/>
                  <a:pt x="159" y="1432"/>
                </a:cubicBezTo>
                <a:cubicBezTo>
                  <a:pt x="159" y="1273"/>
                  <a:pt x="159" y="1273"/>
                  <a:pt x="159" y="1273"/>
                </a:cubicBezTo>
                <a:close/>
                <a:moveTo>
                  <a:pt x="430" y="1273"/>
                </a:moveTo>
                <a:cubicBezTo>
                  <a:pt x="955" y="1273"/>
                  <a:pt x="955" y="1273"/>
                  <a:pt x="955" y="1273"/>
                </a:cubicBezTo>
                <a:cubicBezTo>
                  <a:pt x="779" y="1591"/>
                  <a:pt x="779" y="1591"/>
                  <a:pt x="779" y="1591"/>
                </a:cubicBezTo>
                <a:cubicBezTo>
                  <a:pt x="255" y="1591"/>
                  <a:pt x="255" y="1591"/>
                  <a:pt x="255" y="1591"/>
                </a:cubicBezTo>
                <a:close/>
                <a:moveTo>
                  <a:pt x="1130" y="1273"/>
                </a:moveTo>
                <a:cubicBezTo>
                  <a:pt x="1654" y="1273"/>
                  <a:pt x="1654" y="1273"/>
                  <a:pt x="1654" y="1273"/>
                </a:cubicBezTo>
                <a:cubicBezTo>
                  <a:pt x="1495" y="1591"/>
                  <a:pt x="1495" y="1591"/>
                  <a:pt x="1495" y="1591"/>
                </a:cubicBezTo>
                <a:lnTo>
                  <a:pt x="1479" y="1591"/>
                </a:lnTo>
                <a:cubicBezTo>
                  <a:pt x="955" y="1591"/>
                  <a:pt x="955" y="1591"/>
                  <a:pt x="955" y="1591"/>
                </a:cubicBezTo>
                <a:close/>
                <a:moveTo>
                  <a:pt x="1829" y="1273"/>
                </a:moveTo>
                <a:cubicBezTo>
                  <a:pt x="2354" y="1273"/>
                  <a:pt x="2354" y="1273"/>
                  <a:pt x="2354" y="1273"/>
                </a:cubicBezTo>
                <a:cubicBezTo>
                  <a:pt x="2195" y="1591"/>
                  <a:pt x="2195" y="1591"/>
                  <a:pt x="2195" y="1591"/>
                </a:cubicBezTo>
                <a:cubicBezTo>
                  <a:pt x="1670" y="1591"/>
                  <a:pt x="1670" y="1591"/>
                  <a:pt x="1670" y="1591"/>
                </a:cubicBezTo>
                <a:close/>
                <a:moveTo>
                  <a:pt x="2545" y="1273"/>
                </a:moveTo>
                <a:cubicBezTo>
                  <a:pt x="3054" y="1273"/>
                  <a:pt x="3054" y="1273"/>
                  <a:pt x="3054" y="1273"/>
                </a:cubicBezTo>
                <a:cubicBezTo>
                  <a:pt x="2895" y="1591"/>
                  <a:pt x="2895" y="1591"/>
                  <a:pt x="2895" y="1591"/>
                </a:cubicBezTo>
                <a:cubicBezTo>
                  <a:pt x="2370" y="1591"/>
                  <a:pt x="2370" y="1591"/>
                  <a:pt x="2370" y="1591"/>
                </a:cubicBezTo>
                <a:close/>
                <a:moveTo>
                  <a:pt x="3245" y="1273"/>
                </a:moveTo>
                <a:cubicBezTo>
                  <a:pt x="3340" y="1273"/>
                  <a:pt x="3340" y="1273"/>
                  <a:pt x="3340" y="1273"/>
                </a:cubicBezTo>
                <a:cubicBezTo>
                  <a:pt x="3340" y="1591"/>
                  <a:pt x="3340" y="1591"/>
                  <a:pt x="3340" y="1591"/>
                </a:cubicBezTo>
                <a:cubicBezTo>
                  <a:pt x="3070" y="1591"/>
                  <a:pt x="3070" y="1591"/>
                  <a:pt x="3070" y="1591"/>
                </a:cubicBezTo>
                <a:close/>
                <a:moveTo>
                  <a:pt x="3340" y="1114"/>
                </a:moveTo>
                <a:cubicBezTo>
                  <a:pt x="3324" y="1114"/>
                  <a:pt x="3324" y="1114"/>
                  <a:pt x="3324" y="1114"/>
                </a:cubicBezTo>
                <a:cubicBezTo>
                  <a:pt x="3340" y="1066"/>
                  <a:pt x="3340" y="1066"/>
                  <a:pt x="3340" y="1066"/>
                </a:cubicBezTo>
                <a:close/>
                <a:moveTo>
                  <a:pt x="159" y="223"/>
                </a:moveTo>
                <a:cubicBezTo>
                  <a:pt x="159" y="191"/>
                  <a:pt x="191" y="160"/>
                  <a:pt x="223" y="160"/>
                </a:cubicBezTo>
                <a:cubicBezTo>
                  <a:pt x="3276" y="160"/>
                  <a:pt x="3276" y="160"/>
                  <a:pt x="3276" y="160"/>
                </a:cubicBezTo>
                <a:cubicBezTo>
                  <a:pt x="3308" y="160"/>
                  <a:pt x="3340" y="191"/>
                  <a:pt x="3340" y="223"/>
                </a:cubicBezTo>
                <a:cubicBezTo>
                  <a:pt x="3340" y="636"/>
                  <a:pt x="3340" y="636"/>
                  <a:pt x="3340" y="636"/>
                </a:cubicBezTo>
                <a:cubicBezTo>
                  <a:pt x="159" y="636"/>
                  <a:pt x="159" y="636"/>
                  <a:pt x="159" y="636"/>
                </a:cubicBezTo>
                <a:close/>
                <a:moveTo>
                  <a:pt x="3340" y="2959"/>
                </a:moveTo>
                <a:cubicBezTo>
                  <a:pt x="3340" y="2990"/>
                  <a:pt x="3308" y="3022"/>
                  <a:pt x="3276" y="3022"/>
                </a:cubicBezTo>
                <a:cubicBezTo>
                  <a:pt x="223" y="3022"/>
                  <a:pt x="223" y="3022"/>
                  <a:pt x="223" y="3022"/>
                </a:cubicBezTo>
                <a:cubicBezTo>
                  <a:pt x="191" y="3022"/>
                  <a:pt x="159" y="2990"/>
                  <a:pt x="159" y="2959"/>
                </a:cubicBezTo>
                <a:cubicBezTo>
                  <a:pt x="159" y="1750"/>
                  <a:pt x="159" y="1750"/>
                  <a:pt x="159" y="1750"/>
                </a:cubicBezTo>
                <a:cubicBezTo>
                  <a:pt x="3340" y="1750"/>
                  <a:pt x="3340" y="1750"/>
                  <a:pt x="3340" y="175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4" name="Freeform: Shape 4">
            <a:extLst>
              <a:ext uri="{FF2B5EF4-FFF2-40B4-BE49-F238E27FC236}">
                <a16:creationId xmlns:a16="http://schemas.microsoft.com/office/drawing/2014/main" id="{204483DC-129F-F343-8913-F8858FFFD020}"/>
              </a:ext>
            </a:extLst>
          </p:cNvPr>
          <p:cNvSpPr/>
          <p:nvPr/>
        </p:nvSpPr>
        <p:spPr>
          <a:xfrm>
            <a:off x="1801251" y="3438687"/>
            <a:ext cx="1396439" cy="1662479"/>
          </a:xfrm>
          <a:custGeom>
            <a:avLst/>
            <a:gdLst/>
            <a:ahLst/>
            <a:cxnLst>
              <a:cxn ang="3cd4">
                <a:pos x="hc" y="t"/>
              </a:cxn>
              <a:cxn ang="cd2">
                <a:pos x="l" y="vc"/>
              </a:cxn>
              <a:cxn ang="cd4">
                <a:pos x="hc" y="b"/>
              </a:cxn>
              <a:cxn ang="0">
                <a:pos x="r" y="vc"/>
              </a:cxn>
            </a:cxnLst>
            <a:rect l="l" t="t" r="r" b="b"/>
            <a:pathLst>
              <a:path w="3880" h="4619">
                <a:moveTo>
                  <a:pt x="3642" y="2392"/>
                </a:moveTo>
                <a:cubicBezTo>
                  <a:pt x="874" y="2392"/>
                  <a:pt x="874" y="2392"/>
                  <a:pt x="874" y="2392"/>
                </a:cubicBezTo>
                <a:cubicBezTo>
                  <a:pt x="3340" y="1040"/>
                  <a:pt x="3340" y="1040"/>
                  <a:pt x="3340" y="1040"/>
                </a:cubicBezTo>
                <a:cubicBezTo>
                  <a:pt x="3404" y="1008"/>
                  <a:pt x="3451" y="960"/>
                  <a:pt x="3467" y="897"/>
                </a:cubicBezTo>
                <a:cubicBezTo>
                  <a:pt x="3483" y="833"/>
                  <a:pt x="3467" y="770"/>
                  <a:pt x="3435" y="706"/>
                </a:cubicBezTo>
                <a:cubicBezTo>
                  <a:pt x="3133" y="133"/>
                  <a:pt x="3133" y="133"/>
                  <a:pt x="3133" y="133"/>
                </a:cubicBezTo>
                <a:cubicBezTo>
                  <a:pt x="3101" y="70"/>
                  <a:pt x="3038" y="38"/>
                  <a:pt x="2974" y="6"/>
                </a:cubicBezTo>
                <a:cubicBezTo>
                  <a:pt x="2910" y="-10"/>
                  <a:pt x="2847" y="6"/>
                  <a:pt x="2783" y="38"/>
                </a:cubicBezTo>
                <a:cubicBezTo>
                  <a:pt x="127" y="1486"/>
                  <a:pt x="127" y="1486"/>
                  <a:pt x="127" y="1486"/>
                </a:cubicBezTo>
                <a:cubicBezTo>
                  <a:pt x="0" y="1565"/>
                  <a:pt x="-32" y="1708"/>
                  <a:pt x="32" y="1835"/>
                </a:cubicBezTo>
                <a:cubicBezTo>
                  <a:pt x="350" y="2408"/>
                  <a:pt x="350" y="2408"/>
                  <a:pt x="350" y="2408"/>
                </a:cubicBezTo>
                <a:cubicBezTo>
                  <a:pt x="366" y="2440"/>
                  <a:pt x="397" y="2471"/>
                  <a:pt x="445" y="2504"/>
                </a:cubicBezTo>
                <a:cubicBezTo>
                  <a:pt x="413" y="2535"/>
                  <a:pt x="397" y="2583"/>
                  <a:pt x="397" y="2647"/>
                </a:cubicBezTo>
                <a:cubicBezTo>
                  <a:pt x="397" y="4364"/>
                  <a:pt x="397" y="4364"/>
                  <a:pt x="397" y="4364"/>
                </a:cubicBezTo>
                <a:cubicBezTo>
                  <a:pt x="397" y="4507"/>
                  <a:pt x="509" y="4619"/>
                  <a:pt x="636" y="4619"/>
                </a:cubicBezTo>
                <a:cubicBezTo>
                  <a:pt x="3642" y="4619"/>
                  <a:pt x="3642" y="4619"/>
                  <a:pt x="3642" y="4619"/>
                </a:cubicBezTo>
                <a:cubicBezTo>
                  <a:pt x="3769" y="4619"/>
                  <a:pt x="3880" y="4507"/>
                  <a:pt x="3880" y="4364"/>
                </a:cubicBezTo>
                <a:cubicBezTo>
                  <a:pt x="3880" y="2647"/>
                  <a:pt x="3880" y="2647"/>
                  <a:pt x="3880" y="2647"/>
                </a:cubicBezTo>
                <a:cubicBezTo>
                  <a:pt x="3880" y="2504"/>
                  <a:pt x="3769" y="2392"/>
                  <a:pt x="3642" y="2392"/>
                </a:cubicBezTo>
                <a:close/>
                <a:moveTo>
                  <a:pt x="3722" y="3028"/>
                </a:moveTo>
                <a:cubicBezTo>
                  <a:pt x="3658" y="3028"/>
                  <a:pt x="3658" y="3028"/>
                  <a:pt x="3658" y="3028"/>
                </a:cubicBezTo>
                <a:cubicBezTo>
                  <a:pt x="3722" y="2965"/>
                  <a:pt x="3722" y="2965"/>
                  <a:pt x="3722" y="2965"/>
                </a:cubicBezTo>
                <a:close/>
                <a:moveTo>
                  <a:pt x="3722" y="2647"/>
                </a:moveTo>
                <a:cubicBezTo>
                  <a:pt x="3722" y="2742"/>
                  <a:pt x="3722" y="2742"/>
                  <a:pt x="3722" y="2742"/>
                </a:cubicBezTo>
                <a:cubicBezTo>
                  <a:pt x="3722" y="2742"/>
                  <a:pt x="3722" y="2758"/>
                  <a:pt x="3705" y="2758"/>
                </a:cubicBezTo>
                <a:cubicBezTo>
                  <a:pt x="3451" y="3013"/>
                  <a:pt x="3451" y="3013"/>
                  <a:pt x="3451" y="3013"/>
                </a:cubicBezTo>
                <a:cubicBezTo>
                  <a:pt x="3451" y="3028"/>
                  <a:pt x="3435" y="3028"/>
                  <a:pt x="3435" y="3028"/>
                </a:cubicBezTo>
                <a:cubicBezTo>
                  <a:pt x="3069" y="3028"/>
                  <a:pt x="3069" y="3028"/>
                  <a:pt x="3069" y="3028"/>
                </a:cubicBezTo>
                <a:cubicBezTo>
                  <a:pt x="3514" y="2583"/>
                  <a:pt x="3514" y="2583"/>
                  <a:pt x="3514" y="2583"/>
                </a:cubicBezTo>
                <a:cubicBezTo>
                  <a:pt x="3531" y="2567"/>
                  <a:pt x="3531" y="2567"/>
                  <a:pt x="3547" y="2551"/>
                </a:cubicBezTo>
                <a:cubicBezTo>
                  <a:pt x="3642" y="2551"/>
                  <a:pt x="3642" y="2551"/>
                  <a:pt x="3642" y="2551"/>
                </a:cubicBezTo>
                <a:cubicBezTo>
                  <a:pt x="3690" y="2551"/>
                  <a:pt x="3722" y="2599"/>
                  <a:pt x="3722" y="2647"/>
                </a:cubicBezTo>
                <a:close/>
                <a:moveTo>
                  <a:pt x="636" y="2551"/>
                </a:moveTo>
                <a:cubicBezTo>
                  <a:pt x="938" y="2551"/>
                  <a:pt x="938" y="2551"/>
                  <a:pt x="938" y="2551"/>
                </a:cubicBezTo>
                <a:cubicBezTo>
                  <a:pt x="556" y="2933"/>
                  <a:pt x="556" y="2933"/>
                  <a:pt x="556" y="2933"/>
                </a:cubicBezTo>
                <a:cubicBezTo>
                  <a:pt x="556" y="2647"/>
                  <a:pt x="556" y="2647"/>
                  <a:pt x="556" y="2647"/>
                </a:cubicBezTo>
                <a:cubicBezTo>
                  <a:pt x="556" y="2599"/>
                  <a:pt x="588" y="2551"/>
                  <a:pt x="636" y="2551"/>
                </a:cubicBezTo>
                <a:close/>
                <a:moveTo>
                  <a:pt x="1145" y="2583"/>
                </a:moveTo>
                <a:cubicBezTo>
                  <a:pt x="1145" y="2567"/>
                  <a:pt x="1161" y="2567"/>
                  <a:pt x="1161" y="2551"/>
                </a:cubicBezTo>
                <a:cubicBezTo>
                  <a:pt x="1542" y="2551"/>
                  <a:pt x="1542" y="2551"/>
                  <a:pt x="1542" y="2551"/>
                </a:cubicBezTo>
                <a:cubicBezTo>
                  <a:pt x="1065" y="3013"/>
                  <a:pt x="1065" y="3013"/>
                  <a:pt x="1065" y="3013"/>
                </a:cubicBezTo>
                <a:cubicBezTo>
                  <a:pt x="1065" y="3028"/>
                  <a:pt x="1065" y="3028"/>
                  <a:pt x="1050" y="3028"/>
                </a:cubicBezTo>
                <a:cubicBezTo>
                  <a:pt x="684" y="3028"/>
                  <a:pt x="684" y="3028"/>
                  <a:pt x="684" y="3028"/>
                </a:cubicBezTo>
                <a:close/>
                <a:moveTo>
                  <a:pt x="1733" y="2583"/>
                </a:moveTo>
                <a:cubicBezTo>
                  <a:pt x="1749" y="2567"/>
                  <a:pt x="1749" y="2567"/>
                  <a:pt x="1749" y="2551"/>
                </a:cubicBezTo>
                <a:cubicBezTo>
                  <a:pt x="2131" y="2551"/>
                  <a:pt x="2131" y="2551"/>
                  <a:pt x="2131" y="2551"/>
                </a:cubicBezTo>
                <a:cubicBezTo>
                  <a:pt x="1669" y="3013"/>
                  <a:pt x="1669" y="3013"/>
                  <a:pt x="1669" y="3013"/>
                </a:cubicBezTo>
                <a:cubicBezTo>
                  <a:pt x="1654" y="3028"/>
                  <a:pt x="1654" y="3028"/>
                  <a:pt x="1654" y="3028"/>
                </a:cubicBezTo>
                <a:cubicBezTo>
                  <a:pt x="1288" y="3028"/>
                  <a:pt x="1288" y="3028"/>
                  <a:pt x="1288" y="3028"/>
                </a:cubicBezTo>
                <a:close/>
                <a:moveTo>
                  <a:pt x="2322" y="2583"/>
                </a:moveTo>
                <a:cubicBezTo>
                  <a:pt x="2338" y="2567"/>
                  <a:pt x="2338" y="2567"/>
                  <a:pt x="2354" y="2551"/>
                </a:cubicBezTo>
                <a:cubicBezTo>
                  <a:pt x="2735" y="2551"/>
                  <a:pt x="2735" y="2551"/>
                  <a:pt x="2735" y="2551"/>
                </a:cubicBezTo>
                <a:cubicBezTo>
                  <a:pt x="2258" y="3013"/>
                  <a:pt x="2258" y="3013"/>
                  <a:pt x="2258" y="3013"/>
                </a:cubicBezTo>
                <a:cubicBezTo>
                  <a:pt x="2258" y="3028"/>
                  <a:pt x="2258" y="3028"/>
                  <a:pt x="2242" y="3028"/>
                </a:cubicBezTo>
                <a:cubicBezTo>
                  <a:pt x="1877" y="3028"/>
                  <a:pt x="1877" y="3028"/>
                  <a:pt x="1877" y="3028"/>
                </a:cubicBezTo>
                <a:close/>
                <a:moveTo>
                  <a:pt x="2926" y="2583"/>
                </a:moveTo>
                <a:cubicBezTo>
                  <a:pt x="2926" y="2567"/>
                  <a:pt x="2942" y="2567"/>
                  <a:pt x="2942" y="2551"/>
                </a:cubicBezTo>
                <a:cubicBezTo>
                  <a:pt x="3324" y="2551"/>
                  <a:pt x="3324" y="2551"/>
                  <a:pt x="3324" y="2551"/>
                </a:cubicBezTo>
                <a:cubicBezTo>
                  <a:pt x="2847" y="3013"/>
                  <a:pt x="2847" y="3013"/>
                  <a:pt x="2847" y="3013"/>
                </a:cubicBezTo>
                <a:cubicBezTo>
                  <a:pt x="2847" y="3028"/>
                  <a:pt x="2847" y="3028"/>
                  <a:pt x="2847" y="3028"/>
                </a:cubicBezTo>
                <a:cubicBezTo>
                  <a:pt x="2465" y="3028"/>
                  <a:pt x="2465" y="3028"/>
                  <a:pt x="2465" y="3028"/>
                </a:cubicBezTo>
                <a:close/>
                <a:moveTo>
                  <a:pt x="3308" y="849"/>
                </a:moveTo>
                <a:cubicBezTo>
                  <a:pt x="3308" y="881"/>
                  <a:pt x="3292" y="897"/>
                  <a:pt x="3260" y="897"/>
                </a:cubicBezTo>
                <a:cubicBezTo>
                  <a:pt x="604" y="2360"/>
                  <a:pt x="604" y="2360"/>
                  <a:pt x="604" y="2360"/>
                </a:cubicBezTo>
                <a:cubicBezTo>
                  <a:pt x="572" y="2376"/>
                  <a:pt x="556" y="2376"/>
                  <a:pt x="541" y="2376"/>
                </a:cubicBezTo>
                <a:cubicBezTo>
                  <a:pt x="509" y="2360"/>
                  <a:pt x="493" y="2344"/>
                  <a:pt x="477" y="2328"/>
                </a:cubicBezTo>
                <a:cubicBezTo>
                  <a:pt x="413" y="2201"/>
                  <a:pt x="413" y="2201"/>
                  <a:pt x="413" y="2201"/>
                </a:cubicBezTo>
                <a:cubicBezTo>
                  <a:pt x="413" y="2185"/>
                  <a:pt x="413" y="2185"/>
                  <a:pt x="429" y="2185"/>
                </a:cubicBezTo>
                <a:cubicBezTo>
                  <a:pt x="3213" y="659"/>
                  <a:pt x="3213" y="659"/>
                  <a:pt x="3213" y="659"/>
                </a:cubicBezTo>
                <a:lnTo>
                  <a:pt x="3228" y="659"/>
                </a:lnTo>
                <a:cubicBezTo>
                  <a:pt x="3308" y="786"/>
                  <a:pt x="3308" y="786"/>
                  <a:pt x="3308" y="786"/>
                </a:cubicBezTo>
                <a:cubicBezTo>
                  <a:pt x="3308" y="802"/>
                  <a:pt x="3324" y="833"/>
                  <a:pt x="3308" y="849"/>
                </a:cubicBezTo>
                <a:close/>
                <a:moveTo>
                  <a:pt x="206" y="1629"/>
                </a:moveTo>
                <a:cubicBezTo>
                  <a:pt x="2862" y="165"/>
                  <a:pt x="2862" y="165"/>
                  <a:pt x="2862" y="165"/>
                </a:cubicBezTo>
                <a:cubicBezTo>
                  <a:pt x="2878" y="165"/>
                  <a:pt x="2895" y="165"/>
                  <a:pt x="2910" y="165"/>
                </a:cubicBezTo>
                <a:lnTo>
                  <a:pt x="2926" y="165"/>
                </a:lnTo>
                <a:cubicBezTo>
                  <a:pt x="2958" y="165"/>
                  <a:pt x="2974" y="181"/>
                  <a:pt x="2990" y="213"/>
                </a:cubicBezTo>
                <a:cubicBezTo>
                  <a:pt x="3149" y="515"/>
                  <a:pt x="3149" y="515"/>
                  <a:pt x="3149" y="515"/>
                </a:cubicBezTo>
                <a:lnTo>
                  <a:pt x="3133" y="531"/>
                </a:lnTo>
                <a:cubicBezTo>
                  <a:pt x="350" y="2042"/>
                  <a:pt x="350" y="2042"/>
                  <a:pt x="350" y="2042"/>
                </a:cubicBezTo>
                <a:cubicBezTo>
                  <a:pt x="350" y="2058"/>
                  <a:pt x="333" y="2058"/>
                  <a:pt x="333" y="2058"/>
                </a:cubicBezTo>
                <a:cubicBezTo>
                  <a:pt x="159" y="1756"/>
                  <a:pt x="159" y="1756"/>
                  <a:pt x="159" y="1756"/>
                </a:cubicBezTo>
                <a:cubicBezTo>
                  <a:pt x="143" y="1708"/>
                  <a:pt x="159" y="1660"/>
                  <a:pt x="206" y="1629"/>
                </a:cubicBezTo>
                <a:close/>
                <a:moveTo>
                  <a:pt x="3722" y="4364"/>
                </a:moveTo>
                <a:cubicBezTo>
                  <a:pt x="3722" y="4412"/>
                  <a:pt x="3690" y="4459"/>
                  <a:pt x="3642" y="4459"/>
                </a:cubicBezTo>
                <a:cubicBezTo>
                  <a:pt x="636" y="4459"/>
                  <a:pt x="636" y="4459"/>
                  <a:pt x="636" y="4459"/>
                </a:cubicBezTo>
                <a:cubicBezTo>
                  <a:pt x="588" y="4459"/>
                  <a:pt x="556" y="4412"/>
                  <a:pt x="556" y="4364"/>
                </a:cubicBezTo>
                <a:cubicBezTo>
                  <a:pt x="556" y="3187"/>
                  <a:pt x="556" y="3187"/>
                  <a:pt x="556" y="3187"/>
                </a:cubicBezTo>
                <a:cubicBezTo>
                  <a:pt x="3722" y="3187"/>
                  <a:pt x="3722" y="3187"/>
                  <a:pt x="3722" y="318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5" name="Freeform: Shape 7">
            <a:extLst>
              <a:ext uri="{FF2B5EF4-FFF2-40B4-BE49-F238E27FC236}">
                <a16:creationId xmlns:a16="http://schemas.microsoft.com/office/drawing/2014/main" id="{08527275-40CE-6545-952C-6352F14F4556}"/>
              </a:ext>
            </a:extLst>
          </p:cNvPr>
          <p:cNvSpPr/>
          <p:nvPr/>
        </p:nvSpPr>
        <p:spPr>
          <a:xfrm>
            <a:off x="16016373" y="3691697"/>
            <a:ext cx="1774440" cy="1266120"/>
          </a:xfrm>
          <a:custGeom>
            <a:avLst/>
            <a:gdLst/>
            <a:ahLst/>
            <a:cxnLst>
              <a:cxn ang="3cd4">
                <a:pos x="hc" y="t"/>
              </a:cxn>
              <a:cxn ang="cd2">
                <a:pos x="l" y="vc"/>
              </a:cxn>
              <a:cxn ang="cd4">
                <a:pos x="hc" y="b"/>
              </a:cxn>
              <a:cxn ang="0">
                <a:pos x="r" y="vc"/>
              </a:cxn>
            </a:cxnLst>
            <a:rect l="l" t="t" r="r" b="b"/>
            <a:pathLst>
              <a:path w="4930" h="3518">
                <a:moveTo>
                  <a:pt x="3801" y="290"/>
                </a:moveTo>
                <a:cubicBezTo>
                  <a:pt x="3689" y="146"/>
                  <a:pt x="3403" y="-108"/>
                  <a:pt x="3101" y="51"/>
                </a:cubicBezTo>
                <a:cubicBezTo>
                  <a:pt x="2862" y="163"/>
                  <a:pt x="2704" y="337"/>
                  <a:pt x="2656" y="512"/>
                </a:cubicBezTo>
                <a:cubicBezTo>
                  <a:pt x="2624" y="608"/>
                  <a:pt x="2640" y="703"/>
                  <a:pt x="2687" y="783"/>
                </a:cubicBezTo>
                <a:cubicBezTo>
                  <a:pt x="2735" y="863"/>
                  <a:pt x="2815" y="894"/>
                  <a:pt x="2910" y="894"/>
                </a:cubicBezTo>
                <a:cubicBezTo>
                  <a:pt x="3005" y="894"/>
                  <a:pt x="3117" y="846"/>
                  <a:pt x="3181" y="783"/>
                </a:cubicBezTo>
                <a:cubicBezTo>
                  <a:pt x="3324" y="1006"/>
                  <a:pt x="3562" y="1419"/>
                  <a:pt x="3658" y="1610"/>
                </a:cubicBezTo>
                <a:lnTo>
                  <a:pt x="1272" y="1610"/>
                </a:lnTo>
                <a:cubicBezTo>
                  <a:pt x="1383" y="1419"/>
                  <a:pt x="1622" y="1006"/>
                  <a:pt x="1749" y="783"/>
                </a:cubicBezTo>
                <a:cubicBezTo>
                  <a:pt x="1829" y="846"/>
                  <a:pt x="1940" y="894"/>
                  <a:pt x="2035" y="894"/>
                </a:cubicBezTo>
                <a:cubicBezTo>
                  <a:pt x="2131" y="894"/>
                  <a:pt x="2210" y="863"/>
                  <a:pt x="2258" y="783"/>
                </a:cubicBezTo>
                <a:cubicBezTo>
                  <a:pt x="2306" y="703"/>
                  <a:pt x="2306" y="608"/>
                  <a:pt x="2290" y="512"/>
                </a:cubicBezTo>
                <a:cubicBezTo>
                  <a:pt x="2242" y="337"/>
                  <a:pt x="2067" y="163"/>
                  <a:pt x="1845" y="51"/>
                </a:cubicBezTo>
                <a:cubicBezTo>
                  <a:pt x="1526" y="-108"/>
                  <a:pt x="1240" y="146"/>
                  <a:pt x="1145" y="290"/>
                </a:cubicBezTo>
                <a:lnTo>
                  <a:pt x="63" y="1673"/>
                </a:lnTo>
                <a:cubicBezTo>
                  <a:pt x="32" y="1705"/>
                  <a:pt x="0" y="1753"/>
                  <a:pt x="0" y="1817"/>
                </a:cubicBezTo>
                <a:lnTo>
                  <a:pt x="0" y="3312"/>
                </a:lnTo>
                <a:cubicBezTo>
                  <a:pt x="0" y="3423"/>
                  <a:pt x="95" y="3518"/>
                  <a:pt x="206" y="3518"/>
                </a:cubicBezTo>
                <a:lnTo>
                  <a:pt x="1765" y="3518"/>
                </a:lnTo>
                <a:cubicBezTo>
                  <a:pt x="1829" y="3518"/>
                  <a:pt x="1892" y="3487"/>
                  <a:pt x="1924" y="3455"/>
                </a:cubicBezTo>
                <a:lnTo>
                  <a:pt x="2386" y="2898"/>
                </a:lnTo>
                <a:cubicBezTo>
                  <a:pt x="2417" y="2882"/>
                  <a:pt x="2433" y="2882"/>
                  <a:pt x="2449" y="2898"/>
                </a:cubicBezTo>
                <a:lnTo>
                  <a:pt x="2926" y="3455"/>
                </a:lnTo>
                <a:cubicBezTo>
                  <a:pt x="2958" y="3487"/>
                  <a:pt x="3022" y="3518"/>
                  <a:pt x="3069" y="3518"/>
                </a:cubicBezTo>
                <a:lnTo>
                  <a:pt x="4723" y="3518"/>
                </a:lnTo>
                <a:cubicBezTo>
                  <a:pt x="4835" y="3518"/>
                  <a:pt x="4930" y="3423"/>
                  <a:pt x="4930" y="3312"/>
                </a:cubicBezTo>
                <a:lnTo>
                  <a:pt x="4930" y="1817"/>
                </a:lnTo>
                <a:cubicBezTo>
                  <a:pt x="4930" y="1769"/>
                  <a:pt x="4898" y="1721"/>
                  <a:pt x="4867" y="1673"/>
                </a:cubicBezTo>
                <a:close/>
                <a:moveTo>
                  <a:pt x="3276" y="592"/>
                </a:moveTo>
                <a:cubicBezTo>
                  <a:pt x="3260" y="576"/>
                  <a:pt x="3228" y="560"/>
                  <a:pt x="3196" y="560"/>
                </a:cubicBezTo>
                <a:cubicBezTo>
                  <a:pt x="3165" y="560"/>
                  <a:pt x="3149" y="576"/>
                  <a:pt x="3133" y="592"/>
                </a:cubicBezTo>
                <a:cubicBezTo>
                  <a:pt x="3101" y="655"/>
                  <a:pt x="2990" y="735"/>
                  <a:pt x="2910" y="735"/>
                </a:cubicBezTo>
                <a:cubicBezTo>
                  <a:pt x="2862" y="735"/>
                  <a:pt x="2847" y="719"/>
                  <a:pt x="2815" y="687"/>
                </a:cubicBezTo>
                <a:cubicBezTo>
                  <a:pt x="2799" y="655"/>
                  <a:pt x="2799" y="608"/>
                  <a:pt x="2815" y="560"/>
                </a:cubicBezTo>
                <a:cubicBezTo>
                  <a:pt x="2847" y="433"/>
                  <a:pt x="2990" y="290"/>
                  <a:pt x="3165" y="194"/>
                </a:cubicBezTo>
                <a:cubicBezTo>
                  <a:pt x="3435" y="67"/>
                  <a:pt x="3658" y="369"/>
                  <a:pt x="3674" y="385"/>
                </a:cubicBezTo>
                <a:lnTo>
                  <a:pt x="4628" y="1610"/>
                </a:lnTo>
                <a:lnTo>
                  <a:pt x="3849" y="1610"/>
                </a:lnTo>
                <a:cubicBezTo>
                  <a:pt x="3785" y="1499"/>
                  <a:pt x="3387" y="815"/>
                  <a:pt x="3276" y="592"/>
                </a:cubicBezTo>
                <a:close/>
                <a:moveTo>
                  <a:pt x="1272" y="385"/>
                </a:moveTo>
                <a:cubicBezTo>
                  <a:pt x="1436" y="321"/>
                  <a:pt x="1511" y="67"/>
                  <a:pt x="1765" y="194"/>
                </a:cubicBezTo>
                <a:cubicBezTo>
                  <a:pt x="1956" y="290"/>
                  <a:pt x="2099" y="433"/>
                  <a:pt x="2131" y="560"/>
                </a:cubicBezTo>
                <a:cubicBezTo>
                  <a:pt x="2147" y="608"/>
                  <a:pt x="2147" y="655"/>
                  <a:pt x="2115" y="687"/>
                </a:cubicBezTo>
                <a:cubicBezTo>
                  <a:pt x="2099" y="719"/>
                  <a:pt x="2083" y="735"/>
                  <a:pt x="2035" y="735"/>
                </a:cubicBezTo>
                <a:cubicBezTo>
                  <a:pt x="1956" y="735"/>
                  <a:pt x="1845" y="655"/>
                  <a:pt x="1813" y="592"/>
                </a:cubicBezTo>
                <a:cubicBezTo>
                  <a:pt x="1797" y="576"/>
                  <a:pt x="1765" y="560"/>
                  <a:pt x="1733" y="560"/>
                </a:cubicBezTo>
                <a:cubicBezTo>
                  <a:pt x="1717" y="560"/>
                  <a:pt x="1686" y="576"/>
                  <a:pt x="1669" y="592"/>
                </a:cubicBezTo>
                <a:cubicBezTo>
                  <a:pt x="1558" y="815"/>
                  <a:pt x="1160" y="1482"/>
                  <a:pt x="1097" y="1610"/>
                </a:cubicBezTo>
                <a:lnTo>
                  <a:pt x="302" y="1610"/>
                </a:lnTo>
                <a:close/>
                <a:moveTo>
                  <a:pt x="4771" y="3312"/>
                </a:moveTo>
                <a:cubicBezTo>
                  <a:pt x="4771" y="3344"/>
                  <a:pt x="4755" y="3359"/>
                  <a:pt x="4723" y="3359"/>
                </a:cubicBezTo>
                <a:lnTo>
                  <a:pt x="3069" y="3359"/>
                </a:lnTo>
                <a:cubicBezTo>
                  <a:pt x="3059" y="3354"/>
                  <a:pt x="3053" y="3359"/>
                  <a:pt x="3038" y="3344"/>
                </a:cubicBezTo>
                <a:lnTo>
                  <a:pt x="2576" y="2803"/>
                </a:lnTo>
                <a:cubicBezTo>
                  <a:pt x="2529" y="2755"/>
                  <a:pt x="2481" y="2723"/>
                  <a:pt x="2417" y="2723"/>
                </a:cubicBezTo>
                <a:cubicBezTo>
                  <a:pt x="2369" y="2723"/>
                  <a:pt x="2306" y="2755"/>
                  <a:pt x="2274" y="2803"/>
                </a:cubicBezTo>
                <a:lnTo>
                  <a:pt x="1797" y="3344"/>
                </a:lnTo>
                <a:cubicBezTo>
                  <a:pt x="1797" y="3359"/>
                  <a:pt x="1781" y="3359"/>
                  <a:pt x="1765" y="3359"/>
                </a:cubicBezTo>
                <a:lnTo>
                  <a:pt x="206" y="3359"/>
                </a:lnTo>
                <a:cubicBezTo>
                  <a:pt x="175" y="3359"/>
                  <a:pt x="159" y="3344"/>
                  <a:pt x="159" y="3312"/>
                </a:cubicBezTo>
                <a:lnTo>
                  <a:pt x="159" y="1817"/>
                </a:lnTo>
                <a:lnTo>
                  <a:pt x="159" y="1801"/>
                </a:lnTo>
                <a:lnTo>
                  <a:pt x="175" y="1801"/>
                </a:lnTo>
                <a:lnTo>
                  <a:pt x="175" y="1785"/>
                </a:lnTo>
                <a:cubicBezTo>
                  <a:pt x="190" y="1769"/>
                  <a:pt x="190" y="1769"/>
                  <a:pt x="206" y="1769"/>
                </a:cubicBezTo>
                <a:lnTo>
                  <a:pt x="4723" y="1769"/>
                </a:lnTo>
                <a:cubicBezTo>
                  <a:pt x="4755" y="1769"/>
                  <a:pt x="4771" y="1785"/>
                  <a:pt x="4771" y="1817"/>
                </a:cubicBezTo>
                <a:close/>
                <a:moveTo>
                  <a:pt x="2131" y="2086"/>
                </a:moveTo>
                <a:lnTo>
                  <a:pt x="684" y="2086"/>
                </a:lnTo>
                <a:cubicBezTo>
                  <a:pt x="572" y="2086"/>
                  <a:pt x="477" y="2181"/>
                  <a:pt x="477" y="2293"/>
                </a:cubicBezTo>
                <a:lnTo>
                  <a:pt x="477" y="2993"/>
                </a:lnTo>
                <a:cubicBezTo>
                  <a:pt x="477" y="3104"/>
                  <a:pt x="572" y="3199"/>
                  <a:pt x="684" y="3199"/>
                </a:cubicBezTo>
                <a:lnTo>
                  <a:pt x="1574" y="3199"/>
                </a:lnTo>
                <a:cubicBezTo>
                  <a:pt x="1654" y="3199"/>
                  <a:pt x="1702" y="3168"/>
                  <a:pt x="1749" y="3120"/>
                </a:cubicBezTo>
                <a:lnTo>
                  <a:pt x="2163" y="2516"/>
                </a:lnTo>
                <a:cubicBezTo>
                  <a:pt x="2195" y="2484"/>
                  <a:pt x="2195" y="2452"/>
                  <a:pt x="2195" y="2404"/>
                </a:cubicBezTo>
                <a:lnTo>
                  <a:pt x="2210" y="2165"/>
                </a:lnTo>
                <a:cubicBezTo>
                  <a:pt x="2210" y="2150"/>
                  <a:pt x="2195" y="2134"/>
                  <a:pt x="2178" y="2118"/>
                </a:cubicBezTo>
                <a:cubicBezTo>
                  <a:pt x="2163" y="2102"/>
                  <a:pt x="2147" y="2086"/>
                  <a:pt x="2131" y="2086"/>
                </a:cubicBezTo>
                <a:close/>
                <a:moveTo>
                  <a:pt x="2035" y="2404"/>
                </a:moveTo>
                <a:lnTo>
                  <a:pt x="2035" y="2436"/>
                </a:lnTo>
                <a:lnTo>
                  <a:pt x="1622" y="3025"/>
                </a:lnTo>
                <a:cubicBezTo>
                  <a:pt x="1606" y="3040"/>
                  <a:pt x="1590" y="3040"/>
                  <a:pt x="1574" y="3040"/>
                </a:cubicBezTo>
                <a:lnTo>
                  <a:pt x="684" y="3040"/>
                </a:lnTo>
                <a:cubicBezTo>
                  <a:pt x="652" y="3040"/>
                  <a:pt x="636" y="3025"/>
                  <a:pt x="636" y="2993"/>
                </a:cubicBezTo>
                <a:lnTo>
                  <a:pt x="636" y="2293"/>
                </a:lnTo>
                <a:cubicBezTo>
                  <a:pt x="636" y="2261"/>
                  <a:pt x="652" y="2245"/>
                  <a:pt x="684" y="2245"/>
                </a:cubicBezTo>
                <a:lnTo>
                  <a:pt x="2051" y="2245"/>
                </a:lnTo>
                <a:close/>
                <a:moveTo>
                  <a:pt x="4246" y="2086"/>
                </a:moveTo>
                <a:lnTo>
                  <a:pt x="2719" y="2086"/>
                </a:lnTo>
                <a:cubicBezTo>
                  <a:pt x="2704" y="2086"/>
                  <a:pt x="2672" y="2102"/>
                  <a:pt x="2672" y="2118"/>
                </a:cubicBezTo>
                <a:cubicBezTo>
                  <a:pt x="2656" y="2134"/>
                  <a:pt x="2640" y="2150"/>
                  <a:pt x="2640" y="2165"/>
                </a:cubicBezTo>
                <a:lnTo>
                  <a:pt x="2640" y="2404"/>
                </a:lnTo>
                <a:cubicBezTo>
                  <a:pt x="2640" y="2452"/>
                  <a:pt x="2656" y="2484"/>
                  <a:pt x="2687" y="2516"/>
                </a:cubicBezTo>
                <a:lnTo>
                  <a:pt x="3101" y="3120"/>
                </a:lnTo>
                <a:cubicBezTo>
                  <a:pt x="3133" y="3168"/>
                  <a:pt x="3196" y="3199"/>
                  <a:pt x="3260" y="3199"/>
                </a:cubicBezTo>
                <a:lnTo>
                  <a:pt x="4246" y="3199"/>
                </a:lnTo>
                <a:cubicBezTo>
                  <a:pt x="4358" y="3199"/>
                  <a:pt x="4453" y="3104"/>
                  <a:pt x="4453" y="2993"/>
                </a:cubicBezTo>
                <a:lnTo>
                  <a:pt x="4453" y="2293"/>
                </a:lnTo>
                <a:cubicBezTo>
                  <a:pt x="4453" y="2181"/>
                  <a:pt x="4358" y="2086"/>
                  <a:pt x="4246" y="2086"/>
                </a:cubicBezTo>
                <a:close/>
                <a:moveTo>
                  <a:pt x="4294" y="2993"/>
                </a:moveTo>
                <a:cubicBezTo>
                  <a:pt x="4294" y="3025"/>
                  <a:pt x="4278" y="3040"/>
                  <a:pt x="4246" y="3040"/>
                </a:cubicBezTo>
                <a:lnTo>
                  <a:pt x="3260" y="3040"/>
                </a:lnTo>
                <a:cubicBezTo>
                  <a:pt x="3244" y="3040"/>
                  <a:pt x="3244" y="3040"/>
                  <a:pt x="3228" y="3025"/>
                </a:cubicBezTo>
                <a:lnTo>
                  <a:pt x="2815" y="2436"/>
                </a:lnTo>
                <a:cubicBezTo>
                  <a:pt x="2799" y="2420"/>
                  <a:pt x="2799" y="2420"/>
                  <a:pt x="2799" y="2404"/>
                </a:cubicBezTo>
                <a:lnTo>
                  <a:pt x="2799" y="2245"/>
                </a:lnTo>
                <a:lnTo>
                  <a:pt x="4246" y="2245"/>
                </a:lnTo>
                <a:cubicBezTo>
                  <a:pt x="4278" y="2245"/>
                  <a:pt x="4294" y="2261"/>
                  <a:pt x="4294" y="229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64422495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Magellan focused icons - 1</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90" name="TextBox 89">
            <a:extLst>
              <a:ext uri="{FF2B5EF4-FFF2-40B4-BE49-F238E27FC236}">
                <a16:creationId xmlns:a16="http://schemas.microsoft.com/office/drawing/2014/main" id="{901890C6-60A8-7547-BDD4-AC59E6328605}"/>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16" name="TextBox 15">
            <a:extLst>
              <a:ext uri="{FF2B5EF4-FFF2-40B4-BE49-F238E27FC236}">
                <a16:creationId xmlns:a16="http://schemas.microsoft.com/office/drawing/2014/main" id="{D1494F6B-1D28-DB49-B6DF-9E0527B97E08}"/>
              </a:ext>
            </a:extLst>
          </p:cNvPr>
          <p:cNvSpPr txBox="1"/>
          <p:nvPr/>
        </p:nvSpPr>
        <p:spPr>
          <a:xfrm>
            <a:off x="1246187" y="11608034"/>
            <a:ext cx="10944225"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ntiment Analysis</a:t>
            </a:r>
          </a:p>
        </p:txBody>
      </p:sp>
      <p:sp>
        <p:nvSpPr>
          <p:cNvPr id="17" name="Freeform 16">
            <a:extLst>
              <a:ext uri="{FF2B5EF4-FFF2-40B4-BE49-F238E27FC236}">
                <a16:creationId xmlns:a16="http://schemas.microsoft.com/office/drawing/2014/main" id="{56541B24-8661-8B49-8F53-87C24D794D0F}"/>
              </a:ext>
            </a:extLst>
          </p:cNvPr>
          <p:cNvSpPr/>
          <p:nvPr/>
        </p:nvSpPr>
        <p:spPr>
          <a:xfrm>
            <a:off x="2568657" y="4373419"/>
            <a:ext cx="8299285" cy="4569635"/>
          </a:xfrm>
          <a:custGeom>
            <a:avLst/>
            <a:gdLst/>
            <a:ahLst/>
            <a:cxnLst>
              <a:cxn ang="3cd4">
                <a:pos x="hc" y="t"/>
              </a:cxn>
              <a:cxn ang="cd2">
                <a:pos x="l" y="vc"/>
              </a:cxn>
              <a:cxn ang="cd4">
                <a:pos x="hc" y="b"/>
              </a:cxn>
              <a:cxn ang="0">
                <a:pos x="r" y="vc"/>
              </a:cxn>
            </a:cxnLst>
            <a:rect l="l" t="t" r="r" b="b"/>
            <a:pathLst>
              <a:path w="51744" h="28491">
                <a:moveTo>
                  <a:pt x="25880" y="10493"/>
                </a:moveTo>
                <a:cubicBezTo>
                  <a:pt x="27287" y="10493"/>
                  <a:pt x="28601" y="9945"/>
                  <a:pt x="29586" y="8945"/>
                </a:cubicBezTo>
                <a:cubicBezTo>
                  <a:pt x="30586" y="7959"/>
                  <a:pt x="31118" y="6646"/>
                  <a:pt x="31118" y="5239"/>
                </a:cubicBezTo>
                <a:cubicBezTo>
                  <a:pt x="31118" y="3847"/>
                  <a:pt x="30586" y="2533"/>
                  <a:pt x="29586" y="1548"/>
                </a:cubicBezTo>
                <a:cubicBezTo>
                  <a:pt x="28601" y="548"/>
                  <a:pt x="27287" y="0"/>
                  <a:pt x="25880" y="0"/>
                </a:cubicBezTo>
                <a:cubicBezTo>
                  <a:pt x="24488" y="0"/>
                  <a:pt x="23175" y="548"/>
                  <a:pt x="22174" y="1548"/>
                </a:cubicBezTo>
                <a:cubicBezTo>
                  <a:pt x="21189" y="2533"/>
                  <a:pt x="20641" y="3847"/>
                  <a:pt x="20641" y="5239"/>
                </a:cubicBezTo>
                <a:cubicBezTo>
                  <a:pt x="20641" y="6646"/>
                  <a:pt x="21189" y="7959"/>
                  <a:pt x="22174" y="8945"/>
                </a:cubicBezTo>
                <a:cubicBezTo>
                  <a:pt x="23175" y="9945"/>
                  <a:pt x="24488" y="10493"/>
                  <a:pt x="25880" y="10493"/>
                </a:cubicBezTo>
                <a:close/>
                <a:moveTo>
                  <a:pt x="22690" y="2049"/>
                </a:moveTo>
                <a:cubicBezTo>
                  <a:pt x="23535" y="1189"/>
                  <a:pt x="24676" y="719"/>
                  <a:pt x="25880" y="719"/>
                </a:cubicBezTo>
                <a:cubicBezTo>
                  <a:pt x="27100" y="719"/>
                  <a:pt x="28226" y="1189"/>
                  <a:pt x="29085" y="2049"/>
                </a:cubicBezTo>
                <a:cubicBezTo>
                  <a:pt x="29945" y="2908"/>
                  <a:pt x="30415" y="4034"/>
                  <a:pt x="30415" y="5239"/>
                </a:cubicBezTo>
                <a:cubicBezTo>
                  <a:pt x="30415" y="6458"/>
                  <a:pt x="29945" y="7584"/>
                  <a:pt x="29085" y="8444"/>
                </a:cubicBezTo>
                <a:cubicBezTo>
                  <a:pt x="28226" y="9304"/>
                  <a:pt x="27100" y="9773"/>
                  <a:pt x="25880" y="9773"/>
                </a:cubicBezTo>
                <a:cubicBezTo>
                  <a:pt x="24676" y="9773"/>
                  <a:pt x="23535" y="9304"/>
                  <a:pt x="22690" y="8444"/>
                </a:cubicBezTo>
                <a:cubicBezTo>
                  <a:pt x="21830" y="7584"/>
                  <a:pt x="21361" y="6458"/>
                  <a:pt x="21361" y="5239"/>
                </a:cubicBezTo>
                <a:cubicBezTo>
                  <a:pt x="21361" y="4034"/>
                  <a:pt x="21830" y="2908"/>
                  <a:pt x="22690" y="2049"/>
                </a:cubicBezTo>
                <a:close/>
                <a:moveTo>
                  <a:pt x="23268" y="6959"/>
                </a:moveTo>
                <a:lnTo>
                  <a:pt x="28616" y="6959"/>
                </a:lnTo>
                <a:cubicBezTo>
                  <a:pt x="28820" y="6959"/>
                  <a:pt x="28976" y="6786"/>
                  <a:pt x="28976" y="6599"/>
                </a:cubicBezTo>
                <a:cubicBezTo>
                  <a:pt x="28976" y="6396"/>
                  <a:pt x="28820" y="6239"/>
                  <a:pt x="28616" y="6239"/>
                </a:cubicBezTo>
                <a:lnTo>
                  <a:pt x="23268" y="6239"/>
                </a:lnTo>
                <a:cubicBezTo>
                  <a:pt x="23065" y="6239"/>
                  <a:pt x="22909" y="6396"/>
                  <a:pt x="22909" y="6599"/>
                </a:cubicBezTo>
                <a:cubicBezTo>
                  <a:pt x="22909" y="6786"/>
                  <a:pt x="23065" y="6959"/>
                  <a:pt x="23268" y="6959"/>
                </a:cubicBezTo>
                <a:close/>
                <a:moveTo>
                  <a:pt x="25051" y="3581"/>
                </a:moveTo>
                <a:cubicBezTo>
                  <a:pt x="25254" y="3581"/>
                  <a:pt x="25411" y="3425"/>
                  <a:pt x="25411" y="3221"/>
                </a:cubicBezTo>
                <a:cubicBezTo>
                  <a:pt x="25411" y="2752"/>
                  <a:pt x="25411" y="2908"/>
                  <a:pt x="25411" y="2752"/>
                </a:cubicBezTo>
                <a:cubicBezTo>
                  <a:pt x="25411" y="2549"/>
                  <a:pt x="25254" y="2392"/>
                  <a:pt x="25051" y="2392"/>
                </a:cubicBezTo>
                <a:cubicBezTo>
                  <a:pt x="24848" y="2392"/>
                  <a:pt x="24691" y="2549"/>
                  <a:pt x="24691" y="2752"/>
                </a:cubicBezTo>
                <a:cubicBezTo>
                  <a:pt x="24691" y="3221"/>
                  <a:pt x="24691" y="3065"/>
                  <a:pt x="24691" y="3221"/>
                </a:cubicBezTo>
                <a:cubicBezTo>
                  <a:pt x="24691" y="3425"/>
                  <a:pt x="24848" y="3581"/>
                  <a:pt x="25051" y="3581"/>
                </a:cubicBezTo>
                <a:close/>
                <a:moveTo>
                  <a:pt x="26724" y="3581"/>
                </a:moveTo>
                <a:cubicBezTo>
                  <a:pt x="26912" y="3581"/>
                  <a:pt x="27068" y="3425"/>
                  <a:pt x="27068" y="3221"/>
                </a:cubicBezTo>
                <a:cubicBezTo>
                  <a:pt x="27068" y="2752"/>
                  <a:pt x="27068" y="2908"/>
                  <a:pt x="27068" y="2752"/>
                </a:cubicBezTo>
                <a:cubicBezTo>
                  <a:pt x="27068" y="2549"/>
                  <a:pt x="26912" y="2392"/>
                  <a:pt x="26724" y="2392"/>
                </a:cubicBezTo>
                <a:cubicBezTo>
                  <a:pt x="26521" y="2392"/>
                  <a:pt x="26365" y="2549"/>
                  <a:pt x="26365" y="2752"/>
                </a:cubicBezTo>
                <a:cubicBezTo>
                  <a:pt x="26365" y="3221"/>
                  <a:pt x="26365" y="3065"/>
                  <a:pt x="26365" y="3221"/>
                </a:cubicBezTo>
                <a:cubicBezTo>
                  <a:pt x="26365" y="3425"/>
                  <a:pt x="26521" y="3581"/>
                  <a:pt x="26724" y="3581"/>
                </a:cubicBezTo>
                <a:close/>
                <a:moveTo>
                  <a:pt x="8945" y="12745"/>
                </a:moveTo>
                <a:cubicBezTo>
                  <a:pt x="7960" y="11759"/>
                  <a:pt x="6646" y="11212"/>
                  <a:pt x="5239" y="11212"/>
                </a:cubicBezTo>
                <a:cubicBezTo>
                  <a:pt x="3847" y="11212"/>
                  <a:pt x="2534" y="11759"/>
                  <a:pt x="1533" y="12745"/>
                </a:cubicBezTo>
                <a:cubicBezTo>
                  <a:pt x="548" y="13745"/>
                  <a:pt x="0" y="15059"/>
                  <a:pt x="0" y="16450"/>
                </a:cubicBezTo>
                <a:cubicBezTo>
                  <a:pt x="0" y="17858"/>
                  <a:pt x="548" y="19171"/>
                  <a:pt x="1533" y="20156"/>
                </a:cubicBezTo>
                <a:cubicBezTo>
                  <a:pt x="2534" y="21157"/>
                  <a:pt x="3847" y="21689"/>
                  <a:pt x="5239" y="21689"/>
                </a:cubicBezTo>
                <a:cubicBezTo>
                  <a:pt x="6646" y="21689"/>
                  <a:pt x="7960" y="21157"/>
                  <a:pt x="8945" y="20156"/>
                </a:cubicBezTo>
                <a:cubicBezTo>
                  <a:pt x="9945" y="19171"/>
                  <a:pt x="10493" y="17858"/>
                  <a:pt x="10493" y="16450"/>
                </a:cubicBezTo>
                <a:cubicBezTo>
                  <a:pt x="10493" y="15059"/>
                  <a:pt x="9945" y="13745"/>
                  <a:pt x="8945" y="12745"/>
                </a:cubicBezTo>
                <a:close/>
                <a:moveTo>
                  <a:pt x="8444" y="19656"/>
                </a:moveTo>
                <a:cubicBezTo>
                  <a:pt x="7585" y="20516"/>
                  <a:pt x="6459" y="20985"/>
                  <a:pt x="5239" y="20985"/>
                </a:cubicBezTo>
                <a:cubicBezTo>
                  <a:pt x="4035" y="20985"/>
                  <a:pt x="2893" y="20516"/>
                  <a:pt x="2049" y="19656"/>
                </a:cubicBezTo>
                <a:cubicBezTo>
                  <a:pt x="1189" y="18796"/>
                  <a:pt x="720" y="17670"/>
                  <a:pt x="720" y="16450"/>
                </a:cubicBezTo>
                <a:cubicBezTo>
                  <a:pt x="720" y="15246"/>
                  <a:pt x="1189" y="14105"/>
                  <a:pt x="2049" y="13260"/>
                </a:cubicBezTo>
                <a:cubicBezTo>
                  <a:pt x="2893" y="12400"/>
                  <a:pt x="4035" y="11931"/>
                  <a:pt x="5239" y="11931"/>
                </a:cubicBezTo>
                <a:cubicBezTo>
                  <a:pt x="6459" y="11931"/>
                  <a:pt x="7585" y="12400"/>
                  <a:pt x="8444" y="13260"/>
                </a:cubicBezTo>
                <a:cubicBezTo>
                  <a:pt x="9304" y="14105"/>
                  <a:pt x="9774" y="15246"/>
                  <a:pt x="9774" y="16450"/>
                </a:cubicBezTo>
                <a:cubicBezTo>
                  <a:pt x="9774" y="17670"/>
                  <a:pt x="9304" y="18796"/>
                  <a:pt x="8444" y="19656"/>
                </a:cubicBezTo>
                <a:close/>
                <a:moveTo>
                  <a:pt x="7991" y="15856"/>
                </a:moveTo>
                <a:cubicBezTo>
                  <a:pt x="7788" y="15856"/>
                  <a:pt x="7631" y="16013"/>
                  <a:pt x="7631" y="16216"/>
                </a:cubicBezTo>
                <a:cubicBezTo>
                  <a:pt x="7631" y="17498"/>
                  <a:pt x="6584" y="18546"/>
                  <a:pt x="5301" y="18546"/>
                </a:cubicBezTo>
                <a:cubicBezTo>
                  <a:pt x="4019" y="18546"/>
                  <a:pt x="2987" y="17498"/>
                  <a:pt x="2987" y="16216"/>
                </a:cubicBezTo>
                <a:cubicBezTo>
                  <a:pt x="2987" y="16013"/>
                  <a:pt x="2815" y="15856"/>
                  <a:pt x="2627" y="15856"/>
                </a:cubicBezTo>
                <a:cubicBezTo>
                  <a:pt x="2424" y="15856"/>
                  <a:pt x="2268" y="16013"/>
                  <a:pt x="2268" y="16216"/>
                </a:cubicBezTo>
                <a:cubicBezTo>
                  <a:pt x="2268" y="17889"/>
                  <a:pt x="3628" y="19250"/>
                  <a:pt x="5301" y="19250"/>
                </a:cubicBezTo>
                <a:cubicBezTo>
                  <a:pt x="6975" y="19250"/>
                  <a:pt x="8335" y="17889"/>
                  <a:pt x="8335" y="16216"/>
                </a:cubicBezTo>
                <a:cubicBezTo>
                  <a:pt x="8335" y="16013"/>
                  <a:pt x="8179" y="15856"/>
                  <a:pt x="7991" y="15856"/>
                </a:cubicBezTo>
                <a:close/>
                <a:moveTo>
                  <a:pt x="4410" y="14793"/>
                </a:moveTo>
                <a:cubicBezTo>
                  <a:pt x="4613" y="14793"/>
                  <a:pt x="4770" y="14621"/>
                  <a:pt x="4770" y="14433"/>
                </a:cubicBezTo>
                <a:lnTo>
                  <a:pt x="4770" y="13948"/>
                </a:lnTo>
                <a:cubicBezTo>
                  <a:pt x="4770" y="13761"/>
                  <a:pt x="4613" y="13589"/>
                  <a:pt x="4410" y="13589"/>
                </a:cubicBezTo>
                <a:cubicBezTo>
                  <a:pt x="4207" y="13589"/>
                  <a:pt x="4050" y="13761"/>
                  <a:pt x="4050" y="13948"/>
                </a:cubicBezTo>
                <a:lnTo>
                  <a:pt x="4050" y="14433"/>
                </a:lnTo>
                <a:cubicBezTo>
                  <a:pt x="4050" y="14621"/>
                  <a:pt x="4207" y="14793"/>
                  <a:pt x="4410" y="14793"/>
                </a:cubicBezTo>
                <a:close/>
                <a:moveTo>
                  <a:pt x="6083" y="14793"/>
                </a:moveTo>
                <a:cubicBezTo>
                  <a:pt x="6271" y="14793"/>
                  <a:pt x="6443" y="14621"/>
                  <a:pt x="6443" y="14433"/>
                </a:cubicBezTo>
                <a:lnTo>
                  <a:pt x="6443" y="13948"/>
                </a:lnTo>
                <a:cubicBezTo>
                  <a:pt x="6443" y="13761"/>
                  <a:pt x="6271" y="13589"/>
                  <a:pt x="6083" y="13589"/>
                </a:cubicBezTo>
                <a:cubicBezTo>
                  <a:pt x="5880" y="13589"/>
                  <a:pt x="5724" y="13761"/>
                  <a:pt x="5724" y="13948"/>
                </a:cubicBezTo>
                <a:lnTo>
                  <a:pt x="5724" y="14433"/>
                </a:lnTo>
                <a:cubicBezTo>
                  <a:pt x="5724" y="14621"/>
                  <a:pt x="5880" y="14793"/>
                  <a:pt x="6083" y="14793"/>
                </a:cubicBezTo>
                <a:close/>
                <a:moveTo>
                  <a:pt x="50211" y="12745"/>
                </a:moveTo>
                <a:cubicBezTo>
                  <a:pt x="49210" y="11759"/>
                  <a:pt x="47897" y="11212"/>
                  <a:pt x="46505" y="11212"/>
                </a:cubicBezTo>
                <a:cubicBezTo>
                  <a:pt x="45098" y="11212"/>
                  <a:pt x="43784" y="11759"/>
                  <a:pt x="42799" y="12745"/>
                </a:cubicBezTo>
                <a:cubicBezTo>
                  <a:pt x="41799" y="13745"/>
                  <a:pt x="41267" y="15059"/>
                  <a:pt x="41267" y="16450"/>
                </a:cubicBezTo>
                <a:cubicBezTo>
                  <a:pt x="41267" y="17858"/>
                  <a:pt x="41799" y="19171"/>
                  <a:pt x="42799" y="20156"/>
                </a:cubicBezTo>
                <a:cubicBezTo>
                  <a:pt x="43784" y="21157"/>
                  <a:pt x="45098" y="21689"/>
                  <a:pt x="46505" y="21689"/>
                </a:cubicBezTo>
                <a:cubicBezTo>
                  <a:pt x="47897" y="21689"/>
                  <a:pt x="49210" y="21157"/>
                  <a:pt x="50211" y="20156"/>
                </a:cubicBezTo>
                <a:cubicBezTo>
                  <a:pt x="51197" y="19171"/>
                  <a:pt x="51744" y="17858"/>
                  <a:pt x="51744" y="16450"/>
                </a:cubicBezTo>
                <a:cubicBezTo>
                  <a:pt x="51744" y="15059"/>
                  <a:pt x="51197" y="13745"/>
                  <a:pt x="50211" y="12745"/>
                </a:cubicBezTo>
                <a:close/>
                <a:moveTo>
                  <a:pt x="49695" y="19656"/>
                </a:moveTo>
                <a:cubicBezTo>
                  <a:pt x="48851" y="20516"/>
                  <a:pt x="47709" y="20985"/>
                  <a:pt x="46505" y="20985"/>
                </a:cubicBezTo>
                <a:cubicBezTo>
                  <a:pt x="45285" y="20985"/>
                  <a:pt x="44160" y="20516"/>
                  <a:pt x="43300" y="19656"/>
                </a:cubicBezTo>
                <a:cubicBezTo>
                  <a:pt x="42440" y="18796"/>
                  <a:pt x="41970" y="17670"/>
                  <a:pt x="41970" y="16450"/>
                </a:cubicBezTo>
                <a:cubicBezTo>
                  <a:pt x="41970" y="15246"/>
                  <a:pt x="42440" y="14105"/>
                  <a:pt x="43300" y="13260"/>
                </a:cubicBezTo>
                <a:cubicBezTo>
                  <a:pt x="44160" y="12400"/>
                  <a:pt x="45285" y="11931"/>
                  <a:pt x="46505" y="11931"/>
                </a:cubicBezTo>
                <a:cubicBezTo>
                  <a:pt x="47709" y="11931"/>
                  <a:pt x="48851" y="12400"/>
                  <a:pt x="49695" y="13260"/>
                </a:cubicBezTo>
                <a:cubicBezTo>
                  <a:pt x="50556" y="14105"/>
                  <a:pt x="51024" y="15246"/>
                  <a:pt x="51024" y="16450"/>
                </a:cubicBezTo>
                <a:cubicBezTo>
                  <a:pt x="51024" y="17670"/>
                  <a:pt x="50556" y="18796"/>
                  <a:pt x="49695" y="19656"/>
                </a:cubicBezTo>
                <a:close/>
                <a:moveTo>
                  <a:pt x="46568" y="15856"/>
                </a:moveTo>
                <a:cubicBezTo>
                  <a:pt x="44879" y="15856"/>
                  <a:pt x="43519" y="17217"/>
                  <a:pt x="43519" y="18890"/>
                </a:cubicBezTo>
                <a:cubicBezTo>
                  <a:pt x="43519" y="19093"/>
                  <a:pt x="43691" y="19250"/>
                  <a:pt x="43878" y="19250"/>
                </a:cubicBezTo>
                <a:cubicBezTo>
                  <a:pt x="44081" y="19250"/>
                  <a:pt x="44238" y="19093"/>
                  <a:pt x="44238" y="18890"/>
                </a:cubicBezTo>
                <a:cubicBezTo>
                  <a:pt x="44238" y="17607"/>
                  <a:pt x="45285" y="16576"/>
                  <a:pt x="46568" y="16576"/>
                </a:cubicBezTo>
                <a:cubicBezTo>
                  <a:pt x="47834" y="16576"/>
                  <a:pt x="48882" y="17607"/>
                  <a:pt x="48882" y="18890"/>
                </a:cubicBezTo>
                <a:cubicBezTo>
                  <a:pt x="48882" y="19093"/>
                  <a:pt x="49038" y="19250"/>
                  <a:pt x="49242" y="19250"/>
                </a:cubicBezTo>
                <a:cubicBezTo>
                  <a:pt x="49445" y="19250"/>
                  <a:pt x="49601" y="19093"/>
                  <a:pt x="49601" y="18890"/>
                </a:cubicBezTo>
                <a:cubicBezTo>
                  <a:pt x="49601" y="17217"/>
                  <a:pt x="48241" y="15856"/>
                  <a:pt x="46568" y="15856"/>
                </a:cubicBezTo>
                <a:close/>
                <a:moveTo>
                  <a:pt x="45661" y="14793"/>
                </a:moveTo>
                <a:cubicBezTo>
                  <a:pt x="45864" y="14793"/>
                  <a:pt x="46021" y="14621"/>
                  <a:pt x="46021" y="14433"/>
                </a:cubicBezTo>
                <a:lnTo>
                  <a:pt x="46021" y="13948"/>
                </a:lnTo>
                <a:cubicBezTo>
                  <a:pt x="46021" y="13761"/>
                  <a:pt x="45864" y="13589"/>
                  <a:pt x="45661" y="13589"/>
                </a:cubicBezTo>
                <a:cubicBezTo>
                  <a:pt x="45473" y="13589"/>
                  <a:pt x="45317" y="13761"/>
                  <a:pt x="45317" y="13948"/>
                </a:cubicBezTo>
                <a:lnTo>
                  <a:pt x="45317" y="14433"/>
                </a:lnTo>
                <a:cubicBezTo>
                  <a:pt x="45317" y="14621"/>
                  <a:pt x="45473" y="14793"/>
                  <a:pt x="45661" y="14793"/>
                </a:cubicBezTo>
                <a:close/>
                <a:moveTo>
                  <a:pt x="47334" y="14793"/>
                </a:moveTo>
                <a:cubicBezTo>
                  <a:pt x="47537" y="14793"/>
                  <a:pt x="47694" y="14621"/>
                  <a:pt x="47694" y="14433"/>
                </a:cubicBezTo>
                <a:lnTo>
                  <a:pt x="47694" y="13948"/>
                </a:lnTo>
                <a:cubicBezTo>
                  <a:pt x="47694" y="13761"/>
                  <a:pt x="47537" y="13589"/>
                  <a:pt x="47334" y="13589"/>
                </a:cubicBezTo>
                <a:cubicBezTo>
                  <a:pt x="47131" y="13589"/>
                  <a:pt x="46974" y="13761"/>
                  <a:pt x="46974" y="13948"/>
                </a:cubicBezTo>
                <a:lnTo>
                  <a:pt x="46974" y="14433"/>
                </a:lnTo>
                <a:cubicBezTo>
                  <a:pt x="46974" y="14621"/>
                  <a:pt x="47131" y="14793"/>
                  <a:pt x="47334" y="14793"/>
                </a:cubicBezTo>
                <a:close/>
                <a:moveTo>
                  <a:pt x="36982" y="16403"/>
                </a:moveTo>
                <a:cubicBezTo>
                  <a:pt x="35575" y="15105"/>
                  <a:pt x="33886" y="14089"/>
                  <a:pt x="31979" y="13401"/>
                </a:cubicBezTo>
                <a:cubicBezTo>
                  <a:pt x="30102" y="12745"/>
                  <a:pt x="28054" y="12400"/>
                  <a:pt x="25880" y="12400"/>
                </a:cubicBezTo>
                <a:cubicBezTo>
                  <a:pt x="23706" y="12400"/>
                  <a:pt x="21642" y="12745"/>
                  <a:pt x="19766" y="13401"/>
                </a:cubicBezTo>
                <a:cubicBezTo>
                  <a:pt x="17858" y="14089"/>
                  <a:pt x="16169" y="15105"/>
                  <a:pt x="14762" y="16403"/>
                </a:cubicBezTo>
                <a:cubicBezTo>
                  <a:pt x="11744" y="19218"/>
                  <a:pt x="10149" y="23268"/>
                  <a:pt x="10149" y="28132"/>
                </a:cubicBezTo>
                <a:cubicBezTo>
                  <a:pt x="10149" y="28335"/>
                  <a:pt x="10305" y="28491"/>
                  <a:pt x="10493" y="28491"/>
                </a:cubicBezTo>
                <a:lnTo>
                  <a:pt x="41251" y="28491"/>
                </a:lnTo>
                <a:cubicBezTo>
                  <a:pt x="41439" y="28491"/>
                  <a:pt x="41611" y="28335"/>
                  <a:pt x="41611" y="28132"/>
                </a:cubicBezTo>
                <a:cubicBezTo>
                  <a:pt x="41611" y="23268"/>
                  <a:pt x="40000" y="19218"/>
                  <a:pt x="36982" y="16403"/>
                </a:cubicBezTo>
                <a:close/>
                <a:moveTo>
                  <a:pt x="20016" y="14074"/>
                </a:moveTo>
                <a:cubicBezTo>
                  <a:pt x="21814" y="13433"/>
                  <a:pt x="23785" y="13120"/>
                  <a:pt x="25880" y="13120"/>
                </a:cubicBezTo>
                <a:cubicBezTo>
                  <a:pt x="27959" y="13120"/>
                  <a:pt x="29930" y="13433"/>
                  <a:pt x="31744" y="14074"/>
                </a:cubicBezTo>
                <a:cubicBezTo>
                  <a:pt x="32510" y="14355"/>
                  <a:pt x="33245" y="14684"/>
                  <a:pt x="33933" y="15074"/>
                </a:cubicBezTo>
                <a:cubicBezTo>
                  <a:pt x="32713" y="16857"/>
                  <a:pt x="33120" y="16263"/>
                  <a:pt x="32713" y="16857"/>
                </a:cubicBezTo>
                <a:cubicBezTo>
                  <a:pt x="32041" y="16481"/>
                  <a:pt x="31306" y="16185"/>
                  <a:pt x="30524" y="15935"/>
                </a:cubicBezTo>
                <a:cubicBezTo>
                  <a:pt x="29070" y="15481"/>
                  <a:pt x="27428" y="15262"/>
                  <a:pt x="25645" y="15262"/>
                </a:cubicBezTo>
                <a:cubicBezTo>
                  <a:pt x="23143" y="15262"/>
                  <a:pt x="20891" y="15762"/>
                  <a:pt x="19031" y="16732"/>
                </a:cubicBezTo>
                <a:lnTo>
                  <a:pt x="17874" y="15043"/>
                </a:lnTo>
                <a:cubicBezTo>
                  <a:pt x="18546" y="14668"/>
                  <a:pt x="19265" y="14339"/>
                  <a:pt x="20016" y="14074"/>
                </a:cubicBezTo>
                <a:close/>
                <a:moveTo>
                  <a:pt x="24535" y="25536"/>
                </a:moveTo>
                <a:cubicBezTo>
                  <a:pt x="24551" y="25520"/>
                  <a:pt x="24582" y="25504"/>
                  <a:pt x="24598" y="25488"/>
                </a:cubicBezTo>
                <a:cubicBezTo>
                  <a:pt x="24973" y="25270"/>
                  <a:pt x="25411" y="25129"/>
                  <a:pt x="25880" y="25129"/>
                </a:cubicBezTo>
                <a:cubicBezTo>
                  <a:pt x="27225" y="25129"/>
                  <a:pt x="28304" y="26224"/>
                  <a:pt x="28304" y="27569"/>
                </a:cubicBezTo>
                <a:cubicBezTo>
                  <a:pt x="28304" y="27647"/>
                  <a:pt x="28335" y="27709"/>
                  <a:pt x="28366" y="27772"/>
                </a:cubicBezTo>
                <a:lnTo>
                  <a:pt x="23378" y="27772"/>
                </a:lnTo>
                <a:cubicBezTo>
                  <a:pt x="23409" y="27709"/>
                  <a:pt x="23440" y="27647"/>
                  <a:pt x="23440" y="27569"/>
                </a:cubicBezTo>
                <a:cubicBezTo>
                  <a:pt x="23440" y="26724"/>
                  <a:pt x="23878" y="25973"/>
                  <a:pt x="24535" y="25536"/>
                </a:cubicBezTo>
                <a:close/>
                <a:moveTo>
                  <a:pt x="28101" y="25348"/>
                </a:moveTo>
                <a:cubicBezTo>
                  <a:pt x="27506" y="24753"/>
                  <a:pt x="26708" y="24425"/>
                  <a:pt x="25880" y="24425"/>
                </a:cubicBezTo>
                <a:cubicBezTo>
                  <a:pt x="25364" y="24425"/>
                  <a:pt x="24895" y="24535"/>
                  <a:pt x="24473" y="24753"/>
                </a:cubicBezTo>
                <a:lnTo>
                  <a:pt x="20501" y="19671"/>
                </a:lnTo>
                <a:cubicBezTo>
                  <a:pt x="20391" y="19515"/>
                  <a:pt x="20157" y="19484"/>
                  <a:pt x="20000" y="19609"/>
                </a:cubicBezTo>
                <a:cubicBezTo>
                  <a:pt x="19844" y="19718"/>
                  <a:pt x="19828" y="19953"/>
                  <a:pt x="19938" y="20109"/>
                </a:cubicBezTo>
                <a:lnTo>
                  <a:pt x="23863" y="25145"/>
                </a:lnTo>
                <a:cubicBezTo>
                  <a:pt x="23175" y="25723"/>
                  <a:pt x="22721" y="26599"/>
                  <a:pt x="22721" y="27569"/>
                </a:cubicBezTo>
                <a:cubicBezTo>
                  <a:pt x="22721" y="27647"/>
                  <a:pt x="22737" y="27709"/>
                  <a:pt x="22784" y="27772"/>
                </a:cubicBezTo>
                <a:lnTo>
                  <a:pt x="13730" y="27772"/>
                </a:lnTo>
                <a:cubicBezTo>
                  <a:pt x="13761" y="25833"/>
                  <a:pt x="14074" y="24097"/>
                  <a:pt x="14668" y="22596"/>
                </a:cubicBezTo>
                <a:cubicBezTo>
                  <a:pt x="15262" y="21126"/>
                  <a:pt x="16107" y="19875"/>
                  <a:pt x="17217" y="18858"/>
                </a:cubicBezTo>
                <a:cubicBezTo>
                  <a:pt x="19281" y="16966"/>
                  <a:pt x="22189" y="15966"/>
                  <a:pt x="25645" y="15966"/>
                </a:cubicBezTo>
                <a:cubicBezTo>
                  <a:pt x="27350" y="15966"/>
                  <a:pt x="28929" y="16185"/>
                  <a:pt x="30321" y="16623"/>
                </a:cubicBezTo>
                <a:cubicBezTo>
                  <a:pt x="31775" y="17076"/>
                  <a:pt x="33041" y="17764"/>
                  <a:pt x="34089" y="18687"/>
                </a:cubicBezTo>
                <a:cubicBezTo>
                  <a:pt x="36341" y="20688"/>
                  <a:pt x="37514" y="23753"/>
                  <a:pt x="37561" y="27772"/>
                </a:cubicBezTo>
                <a:lnTo>
                  <a:pt x="28960" y="27772"/>
                </a:lnTo>
                <a:cubicBezTo>
                  <a:pt x="29007" y="27709"/>
                  <a:pt x="29023" y="27647"/>
                  <a:pt x="29023" y="27569"/>
                </a:cubicBezTo>
                <a:cubicBezTo>
                  <a:pt x="29023" y="26724"/>
                  <a:pt x="28695" y="25942"/>
                  <a:pt x="28101" y="25348"/>
                </a:cubicBezTo>
                <a:close/>
                <a:moveTo>
                  <a:pt x="12041" y="21610"/>
                </a:moveTo>
                <a:cubicBezTo>
                  <a:pt x="12776" y="19797"/>
                  <a:pt x="13855" y="18217"/>
                  <a:pt x="15247" y="16935"/>
                </a:cubicBezTo>
                <a:cubicBezTo>
                  <a:pt x="15857" y="16356"/>
                  <a:pt x="16529" y="15840"/>
                  <a:pt x="17264" y="15403"/>
                </a:cubicBezTo>
                <a:cubicBezTo>
                  <a:pt x="18406" y="17091"/>
                  <a:pt x="18025" y="16528"/>
                  <a:pt x="18406" y="17091"/>
                </a:cubicBezTo>
                <a:cubicBezTo>
                  <a:pt x="17796" y="17451"/>
                  <a:pt x="17233" y="17873"/>
                  <a:pt x="16732" y="18327"/>
                </a:cubicBezTo>
                <a:cubicBezTo>
                  <a:pt x="15544" y="19406"/>
                  <a:pt x="14637" y="20751"/>
                  <a:pt x="14011" y="22330"/>
                </a:cubicBezTo>
                <a:cubicBezTo>
                  <a:pt x="13370" y="23909"/>
                  <a:pt x="13042" y="25755"/>
                  <a:pt x="13026" y="27772"/>
                </a:cubicBezTo>
                <a:lnTo>
                  <a:pt x="10853" y="27772"/>
                </a:lnTo>
                <a:cubicBezTo>
                  <a:pt x="10900" y="25520"/>
                  <a:pt x="11290" y="23456"/>
                  <a:pt x="12041" y="21610"/>
                </a:cubicBezTo>
                <a:close/>
                <a:moveTo>
                  <a:pt x="40892" y="27772"/>
                </a:moveTo>
                <a:lnTo>
                  <a:pt x="38264" y="27772"/>
                </a:lnTo>
                <a:cubicBezTo>
                  <a:pt x="38217" y="23534"/>
                  <a:pt x="36982" y="20297"/>
                  <a:pt x="34559" y="18155"/>
                </a:cubicBezTo>
                <a:cubicBezTo>
                  <a:pt x="34168" y="17810"/>
                  <a:pt x="33761" y="17498"/>
                  <a:pt x="33323" y="17217"/>
                </a:cubicBezTo>
                <a:lnTo>
                  <a:pt x="34543" y="15434"/>
                </a:lnTo>
                <a:cubicBezTo>
                  <a:pt x="35247" y="15872"/>
                  <a:pt x="35903" y="16372"/>
                  <a:pt x="36498" y="16935"/>
                </a:cubicBezTo>
                <a:cubicBezTo>
                  <a:pt x="37889" y="18217"/>
                  <a:pt x="38968" y="19797"/>
                  <a:pt x="39703" y="21610"/>
                </a:cubicBezTo>
                <a:cubicBezTo>
                  <a:pt x="40454" y="23456"/>
                  <a:pt x="40844" y="25520"/>
                  <a:pt x="40892" y="277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8" name="Freeform 17">
            <a:extLst>
              <a:ext uri="{FF2B5EF4-FFF2-40B4-BE49-F238E27FC236}">
                <a16:creationId xmlns:a16="http://schemas.microsoft.com/office/drawing/2014/main" id="{D197CD3A-8A01-904F-9638-20EF307504DF}"/>
              </a:ext>
            </a:extLst>
          </p:cNvPr>
          <p:cNvSpPr/>
          <p:nvPr/>
        </p:nvSpPr>
        <p:spPr>
          <a:xfrm>
            <a:off x="14009607" y="2862263"/>
            <a:ext cx="7309011" cy="7591946"/>
          </a:xfrm>
          <a:custGeom>
            <a:avLst/>
            <a:gdLst/>
            <a:ahLst/>
            <a:cxnLst>
              <a:cxn ang="3cd4">
                <a:pos x="hc" y="t"/>
              </a:cxn>
              <a:cxn ang="cd2">
                <a:pos x="l" y="vc"/>
              </a:cxn>
              <a:cxn ang="cd4">
                <a:pos x="hc" y="b"/>
              </a:cxn>
              <a:cxn ang="0">
                <a:pos x="r" y="vc"/>
              </a:cxn>
            </a:cxnLst>
            <a:rect l="l" t="t" r="r" b="b"/>
            <a:pathLst>
              <a:path w="45570" h="47334">
                <a:moveTo>
                  <a:pt x="31434" y="29382"/>
                </a:moveTo>
                <a:cubicBezTo>
                  <a:pt x="31450" y="28851"/>
                  <a:pt x="31434" y="27913"/>
                  <a:pt x="31246" y="27021"/>
                </a:cubicBezTo>
                <a:cubicBezTo>
                  <a:pt x="30996" y="25817"/>
                  <a:pt x="29870" y="25301"/>
                  <a:pt x="29402" y="25145"/>
                </a:cubicBezTo>
                <a:cubicBezTo>
                  <a:pt x="29182" y="24582"/>
                  <a:pt x="28666" y="24222"/>
                  <a:pt x="28510" y="24128"/>
                </a:cubicBezTo>
                <a:cubicBezTo>
                  <a:pt x="28494" y="24113"/>
                  <a:pt x="28416" y="24066"/>
                  <a:pt x="28338" y="24003"/>
                </a:cubicBezTo>
                <a:cubicBezTo>
                  <a:pt x="27666" y="23534"/>
                  <a:pt x="25617" y="22080"/>
                  <a:pt x="23850" y="21376"/>
                </a:cubicBezTo>
                <a:cubicBezTo>
                  <a:pt x="23193" y="21110"/>
                  <a:pt x="22271" y="20907"/>
                  <a:pt x="21473" y="21376"/>
                </a:cubicBezTo>
                <a:cubicBezTo>
                  <a:pt x="21317" y="21470"/>
                  <a:pt x="21192" y="21579"/>
                  <a:pt x="21098" y="21673"/>
                </a:cubicBezTo>
                <a:cubicBezTo>
                  <a:pt x="21067" y="21642"/>
                  <a:pt x="21036" y="21611"/>
                  <a:pt x="21004" y="21595"/>
                </a:cubicBezTo>
                <a:cubicBezTo>
                  <a:pt x="20128" y="20735"/>
                  <a:pt x="18784" y="20282"/>
                  <a:pt x="17298" y="20328"/>
                </a:cubicBezTo>
                <a:cubicBezTo>
                  <a:pt x="16375" y="20360"/>
                  <a:pt x="13905" y="21079"/>
                  <a:pt x="12889" y="21392"/>
                </a:cubicBezTo>
                <a:cubicBezTo>
                  <a:pt x="11012" y="21971"/>
                  <a:pt x="9214" y="22612"/>
                  <a:pt x="8526" y="22940"/>
                </a:cubicBezTo>
                <a:cubicBezTo>
                  <a:pt x="7806" y="23284"/>
                  <a:pt x="7040" y="23659"/>
                  <a:pt x="6430" y="24160"/>
                </a:cubicBezTo>
                <a:cubicBezTo>
                  <a:pt x="5774" y="24691"/>
                  <a:pt x="5383" y="25301"/>
                  <a:pt x="5242" y="25973"/>
                </a:cubicBezTo>
                <a:cubicBezTo>
                  <a:pt x="4554" y="25989"/>
                  <a:pt x="4022" y="26255"/>
                  <a:pt x="3694" y="26740"/>
                </a:cubicBezTo>
                <a:cubicBezTo>
                  <a:pt x="3381" y="27209"/>
                  <a:pt x="2849" y="28131"/>
                  <a:pt x="2271" y="29226"/>
                </a:cubicBezTo>
                <a:cubicBezTo>
                  <a:pt x="2005" y="29727"/>
                  <a:pt x="1380" y="30946"/>
                  <a:pt x="1333" y="31228"/>
                </a:cubicBezTo>
                <a:cubicBezTo>
                  <a:pt x="1333" y="31243"/>
                  <a:pt x="1317" y="31259"/>
                  <a:pt x="1317" y="31290"/>
                </a:cubicBezTo>
                <a:cubicBezTo>
                  <a:pt x="1270" y="31509"/>
                  <a:pt x="1176" y="32041"/>
                  <a:pt x="1270" y="32635"/>
                </a:cubicBezTo>
                <a:cubicBezTo>
                  <a:pt x="1395" y="33323"/>
                  <a:pt x="1739" y="33886"/>
                  <a:pt x="2333" y="34308"/>
                </a:cubicBezTo>
                <a:cubicBezTo>
                  <a:pt x="2365" y="34746"/>
                  <a:pt x="2631" y="35794"/>
                  <a:pt x="3975" y="36560"/>
                </a:cubicBezTo>
                <a:cubicBezTo>
                  <a:pt x="4429" y="36826"/>
                  <a:pt x="4866" y="37076"/>
                  <a:pt x="5242" y="37311"/>
                </a:cubicBezTo>
                <a:cubicBezTo>
                  <a:pt x="6211" y="37873"/>
                  <a:pt x="6900" y="38280"/>
                  <a:pt x="7384" y="38421"/>
                </a:cubicBezTo>
                <a:cubicBezTo>
                  <a:pt x="7822" y="38546"/>
                  <a:pt x="8229" y="38562"/>
                  <a:pt x="8510" y="38562"/>
                </a:cubicBezTo>
                <a:cubicBezTo>
                  <a:pt x="8557" y="38827"/>
                  <a:pt x="8651" y="39203"/>
                  <a:pt x="8823" y="39578"/>
                </a:cubicBezTo>
                <a:cubicBezTo>
                  <a:pt x="9276" y="40516"/>
                  <a:pt x="10042" y="41001"/>
                  <a:pt x="11059" y="41001"/>
                </a:cubicBezTo>
                <a:lnTo>
                  <a:pt x="11090" y="41001"/>
                </a:lnTo>
                <a:cubicBezTo>
                  <a:pt x="13232" y="40985"/>
                  <a:pt x="17110" y="41001"/>
                  <a:pt x="17142" y="41001"/>
                </a:cubicBezTo>
                <a:lnTo>
                  <a:pt x="17173" y="41001"/>
                </a:lnTo>
                <a:cubicBezTo>
                  <a:pt x="17205" y="41001"/>
                  <a:pt x="17830" y="40954"/>
                  <a:pt x="18456" y="40657"/>
                </a:cubicBezTo>
                <a:cubicBezTo>
                  <a:pt x="19362" y="40235"/>
                  <a:pt x="19831" y="39546"/>
                  <a:pt x="19816" y="38655"/>
                </a:cubicBezTo>
                <a:lnTo>
                  <a:pt x="19816" y="36435"/>
                </a:lnTo>
                <a:cubicBezTo>
                  <a:pt x="19831" y="36341"/>
                  <a:pt x="19785" y="36232"/>
                  <a:pt x="19722" y="36169"/>
                </a:cubicBezTo>
                <a:cubicBezTo>
                  <a:pt x="18252" y="34731"/>
                  <a:pt x="18742" y="35210"/>
                  <a:pt x="18252" y="34731"/>
                </a:cubicBezTo>
                <a:cubicBezTo>
                  <a:pt x="18361" y="34543"/>
                  <a:pt x="18408" y="34339"/>
                  <a:pt x="18408" y="34121"/>
                </a:cubicBezTo>
                <a:cubicBezTo>
                  <a:pt x="18408" y="33417"/>
                  <a:pt x="17846" y="32838"/>
                  <a:pt x="17142" y="32838"/>
                </a:cubicBezTo>
                <a:cubicBezTo>
                  <a:pt x="16454" y="32838"/>
                  <a:pt x="15875" y="33417"/>
                  <a:pt x="15875" y="34121"/>
                </a:cubicBezTo>
                <a:cubicBezTo>
                  <a:pt x="15875" y="34809"/>
                  <a:pt x="16454" y="35387"/>
                  <a:pt x="17142" y="35387"/>
                </a:cubicBezTo>
                <a:cubicBezTo>
                  <a:pt x="17361" y="35387"/>
                  <a:pt x="17564" y="35325"/>
                  <a:pt x="17751" y="35231"/>
                </a:cubicBezTo>
                <a:lnTo>
                  <a:pt x="19112" y="36575"/>
                </a:lnTo>
                <a:cubicBezTo>
                  <a:pt x="19097" y="36826"/>
                  <a:pt x="19097" y="37420"/>
                  <a:pt x="19112" y="38671"/>
                </a:cubicBezTo>
                <a:cubicBezTo>
                  <a:pt x="19112" y="39265"/>
                  <a:pt x="18815" y="39703"/>
                  <a:pt x="18174" y="40000"/>
                </a:cubicBezTo>
                <a:cubicBezTo>
                  <a:pt x="17705" y="40219"/>
                  <a:pt x="17220" y="40281"/>
                  <a:pt x="17126" y="40297"/>
                </a:cubicBezTo>
                <a:cubicBezTo>
                  <a:pt x="16845" y="40297"/>
                  <a:pt x="13154" y="40266"/>
                  <a:pt x="11090" y="40297"/>
                </a:cubicBezTo>
                <a:cubicBezTo>
                  <a:pt x="10340" y="40297"/>
                  <a:pt x="9808" y="39969"/>
                  <a:pt x="9480" y="39296"/>
                </a:cubicBezTo>
                <a:cubicBezTo>
                  <a:pt x="9354" y="39030"/>
                  <a:pt x="9276" y="38765"/>
                  <a:pt x="9229" y="38546"/>
                </a:cubicBezTo>
                <a:lnTo>
                  <a:pt x="13842" y="38546"/>
                </a:lnTo>
                <a:cubicBezTo>
                  <a:pt x="13983" y="39077"/>
                  <a:pt x="14483" y="39453"/>
                  <a:pt x="15046" y="39453"/>
                </a:cubicBezTo>
                <a:cubicBezTo>
                  <a:pt x="15750" y="39453"/>
                  <a:pt x="16313" y="38890"/>
                  <a:pt x="16313" y="38186"/>
                </a:cubicBezTo>
                <a:cubicBezTo>
                  <a:pt x="16313" y="37498"/>
                  <a:pt x="15750" y="36920"/>
                  <a:pt x="15046" y="36920"/>
                </a:cubicBezTo>
                <a:cubicBezTo>
                  <a:pt x="14483" y="36920"/>
                  <a:pt x="13983" y="37311"/>
                  <a:pt x="13842" y="37826"/>
                </a:cubicBezTo>
                <a:lnTo>
                  <a:pt x="8823" y="37826"/>
                </a:lnTo>
                <a:lnTo>
                  <a:pt x="8823" y="37842"/>
                </a:lnTo>
                <a:lnTo>
                  <a:pt x="8807" y="37842"/>
                </a:lnTo>
                <a:lnTo>
                  <a:pt x="8776" y="37842"/>
                </a:lnTo>
                <a:cubicBezTo>
                  <a:pt x="8374" y="37806"/>
                  <a:pt x="8213" y="37905"/>
                  <a:pt x="7572" y="37733"/>
                </a:cubicBezTo>
                <a:cubicBezTo>
                  <a:pt x="7181" y="37623"/>
                  <a:pt x="6493" y="37216"/>
                  <a:pt x="5617" y="36701"/>
                </a:cubicBezTo>
                <a:cubicBezTo>
                  <a:pt x="5226" y="36466"/>
                  <a:pt x="4788" y="36216"/>
                  <a:pt x="4320" y="35950"/>
                </a:cubicBezTo>
                <a:cubicBezTo>
                  <a:pt x="3459" y="35450"/>
                  <a:pt x="3162" y="34840"/>
                  <a:pt x="3069" y="34464"/>
                </a:cubicBezTo>
                <a:lnTo>
                  <a:pt x="8526" y="34464"/>
                </a:lnTo>
                <a:cubicBezTo>
                  <a:pt x="8682" y="34981"/>
                  <a:pt x="9167" y="35372"/>
                  <a:pt x="9730" y="35372"/>
                </a:cubicBezTo>
                <a:cubicBezTo>
                  <a:pt x="10433" y="35372"/>
                  <a:pt x="10996" y="34809"/>
                  <a:pt x="10996" y="34105"/>
                </a:cubicBezTo>
                <a:cubicBezTo>
                  <a:pt x="10996" y="33401"/>
                  <a:pt x="10433" y="32838"/>
                  <a:pt x="9730" y="32838"/>
                </a:cubicBezTo>
                <a:cubicBezTo>
                  <a:pt x="9167" y="32838"/>
                  <a:pt x="8682" y="33229"/>
                  <a:pt x="8526" y="33745"/>
                </a:cubicBezTo>
                <a:lnTo>
                  <a:pt x="2787" y="33745"/>
                </a:lnTo>
                <a:cubicBezTo>
                  <a:pt x="2333" y="33448"/>
                  <a:pt x="2068" y="33026"/>
                  <a:pt x="1974" y="32510"/>
                </a:cubicBezTo>
                <a:cubicBezTo>
                  <a:pt x="1896" y="32056"/>
                  <a:pt x="1974" y="31634"/>
                  <a:pt x="2021" y="31431"/>
                </a:cubicBezTo>
                <a:cubicBezTo>
                  <a:pt x="2021" y="31399"/>
                  <a:pt x="2036" y="31368"/>
                  <a:pt x="2036" y="31353"/>
                </a:cubicBezTo>
                <a:cubicBezTo>
                  <a:pt x="2130" y="31024"/>
                  <a:pt x="3584" y="28163"/>
                  <a:pt x="4288" y="27146"/>
                </a:cubicBezTo>
                <a:cubicBezTo>
                  <a:pt x="4460" y="26880"/>
                  <a:pt x="4757" y="26724"/>
                  <a:pt x="5179" y="26693"/>
                </a:cubicBezTo>
                <a:cubicBezTo>
                  <a:pt x="5101" y="27819"/>
                  <a:pt x="5070" y="29602"/>
                  <a:pt x="5054" y="30305"/>
                </a:cubicBezTo>
                <a:cubicBezTo>
                  <a:pt x="4523" y="30461"/>
                  <a:pt x="4132" y="30946"/>
                  <a:pt x="4132" y="31525"/>
                </a:cubicBezTo>
                <a:cubicBezTo>
                  <a:pt x="4132" y="32213"/>
                  <a:pt x="4710" y="32791"/>
                  <a:pt x="5414" y="32791"/>
                </a:cubicBezTo>
                <a:cubicBezTo>
                  <a:pt x="6102" y="32791"/>
                  <a:pt x="6680" y="32213"/>
                  <a:pt x="6680" y="31525"/>
                </a:cubicBezTo>
                <a:cubicBezTo>
                  <a:pt x="6680" y="30946"/>
                  <a:pt x="6290" y="30461"/>
                  <a:pt x="5774" y="30305"/>
                </a:cubicBezTo>
                <a:cubicBezTo>
                  <a:pt x="5774" y="29602"/>
                  <a:pt x="5805" y="27834"/>
                  <a:pt x="5883" y="26740"/>
                </a:cubicBezTo>
                <a:cubicBezTo>
                  <a:pt x="6102" y="26787"/>
                  <a:pt x="6337" y="26849"/>
                  <a:pt x="6571" y="26927"/>
                </a:cubicBezTo>
                <a:cubicBezTo>
                  <a:pt x="6993" y="27209"/>
                  <a:pt x="9980" y="30274"/>
                  <a:pt x="11919" y="32291"/>
                </a:cubicBezTo>
                <a:cubicBezTo>
                  <a:pt x="11841" y="32447"/>
                  <a:pt x="11794" y="32635"/>
                  <a:pt x="11794" y="32838"/>
                </a:cubicBezTo>
                <a:cubicBezTo>
                  <a:pt x="11794" y="33542"/>
                  <a:pt x="12372" y="34105"/>
                  <a:pt x="13060" y="34105"/>
                </a:cubicBezTo>
                <a:cubicBezTo>
                  <a:pt x="13764" y="34105"/>
                  <a:pt x="14327" y="33542"/>
                  <a:pt x="14327" y="32838"/>
                </a:cubicBezTo>
                <a:cubicBezTo>
                  <a:pt x="14327" y="32135"/>
                  <a:pt x="13764" y="31572"/>
                  <a:pt x="13060" y="31572"/>
                </a:cubicBezTo>
                <a:cubicBezTo>
                  <a:pt x="12826" y="31572"/>
                  <a:pt x="12591" y="31634"/>
                  <a:pt x="12404" y="31759"/>
                </a:cubicBezTo>
                <a:cubicBezTo>
                  <a:pt x="11966" y="31306"/>
                  <a:pt x="10965" y="30258"/>
                  <a:pt x="9949" y="29226"/>
                </a:cubicBezTo>
                <a:cubicBezTo>
                  <a:pt x="7150" y="26380"/>
                  <a:pt x="6978" y="26302"/>
                  <a:pt x="6837" y="26255"/>
                </a:cubicBezTo>
                <a:cubicBezTo>
                  <a:pt x="6540" y="26161"/>
                  <a:pt x="6243" y="26083"/>
                  <a:pt x="5961" y="26036"/>
                </a:cubicBezTo>
                <a:cubicBezTo>
                  <a:pt x="6211" y="24973"/>
                  <a:pt x="7337" y="24316"/>
                  <a:pt x="8604" y="23690"/>
                </a:cubicBezTo>
                <a:lnTo>
                  <a:pt x="13060" y="28178"/>
                </a:lnTo>
                <a:cubicBezTo>
                  <a:pt x="12967" y="28335"/>
                  <a:pt x="12935" y="28522"/>
                  <a:pt x="12935" y="28726"/>
                </a:cubicBezTo>
                <a:cubicBezTo>
                  <a:pt x="12935" y="29414"/>
                  <a:pt x="13498" y="29992"/>
                  <a:pt x="14202" y="29992"/>
                </a:cubicBezTo>
                <a:cubicBezTo>
                  <a:pt x="14890" y="29992"/>
                  <a:pt x="15469" y="29414"/>
                  <a:pt x="15469" y="28726"/>
                </a:cubicBezTo>
                <a:cubicBezTo>
                  <a:pt x="15469" y="28022"/>
                  <a:pt x="14890" y="27459"/>
                  <a:pt x="14202" y="27459"/>
                </a:cubicBezTo>
                <a:cubicBezTo>
                  <a:pt x="13952" y="27459"/>
                  <a:pt x="13733" y="27521"/>
                  <a:pt x="13530" y="27647"/>
                </a:cubicBezTo>
                <a:lnTo>
                  <a:pt x="9307" y="23378"/>
                </a:lnTo>
                <a:cubicBezTo>
                  <a:pt x="10074" y="23065"/>
                  <a:pt x="11340" y="22627"/>
                  <a:pt x="12670" y="22221"/>
                </a:cubicBezTo>
                <a:lnTo>
                  <a:pt x="14843" y="24441"/>
                </a:lnTo>
                <a:cubicBezTo>
                  <a:pt x="14734" y="24644"/>
                  <a:pt x="14656" y="24863"/>
                  <a:pt x="14656" y="25114"/>
                </a:cubicBezTo>
                <a:cubicBezTo>
                  <a:pt x="14656" y="25817"/>
                  <a:pt x="15234" y="26380"/>
                  <a:pt x="15922" y="26380"/>
                </a:cubicBezTo>
                <a:cubicBezTo>
                  <a:pt x="16626" y="26380"/>
                  <a:pt x="17189" y="25817"/>
                  <a:pt x="17189" y="25114"/>
                </a:cubicBezTo>
                <a:cubicBezTo>
                  <a:pt x="17189" y="24410"/>
                  <a:pt x="16626" y="23847"/>
                  <a:pt x="15922" y="23847"/>
                </a:cubicBezTo>
                <a:cubicBezTo>
                  <a:pt x="15734" y="23847"/>
                  <a:pt x="15547" y="23894"/>
                  <a:pt x="15391" y="23972"/>
                </a:cubicBezTo>
                <a:lnTo>
                  <a:pt x="13436" y="21971"/>
                </a:lnTo>
                <a:cubicBezTo>
                  <a:pt x="14859" y="21548"/>
                  <a:pt x="16235" y="21188"/>
                  <a:pt x="16985" y="21079"/>
                </a:cubicBezTo>
                <a:lnTo>
                  <a:pt x="18205" y="22659"/>
                </a:lnTo>
                <a:lnTo>
                  <a:pt x="18205" y="29164"/>
                </a:lnTo>
                <a:cubicBezTo>
                  <a:pt x="17673" y="29320"/>
                  <a:pt x="17283" y="29805"/>
                  <a:pt x="17283" y="30368"/>
                </a:cubicBezTo>
                <a:cubicBezTo>
                  <a:pt x="17283" y="31071"/>
                  <a:pt x="17861" y="31650"/>
                  <a:pt x="18549" y="31650"/>
                </a:cubicBezTo>
                <a:cubicBezTo>
                  <a:pt x="19253" y="31650"/>
                  <a:pt x="19816" y="31071"/>
                  <a:pt x="19816" y="30368"/>
                </a:cubicBezTo>
                <a:cubicBezTo>
                  <a:pt x="19816" y="29805"/>
                  <a:pt x="19440" y="29320"/>
                  <a:pt x="18909" y="29164"/>
                </a:cubicBezTo>
                <a:lnTo>
                  <a:pt x="18909" y="22534"/>
                </a:lnTo>
                <a:cubicBezTo>
                  <a:pt x="18909" y="22455"/>
                  <a:pt x="18893" y="22377"/>
                  <a:pt x="18846" y="22314"/>
                </a:cubicBezTo>
                <a:lnTo>
                  <a:pt x="17877" y="21048"/>
                </a:lnTo>
                <a:cubicBezTo>
                  <a:pt x="18940" y="21126"/>
                  <a:pt x="19878" y="21486"/>
                  <a:pt x="20519" y="22096"/>
                </a:cubicBezTo>
                <a:cubicBezTo>
                  <a:pt x="20879" y="22455"/>
                  <a:pt x="21098" y="22877"/>
                  <a:pt x="21098" y="23206"/>
                </a:cubicBezTo>
                <a:lnTo>
                  <a:pt x="21098" y="44847"/>
                </a:lnTo>
                <a:cubicBezTo>
                  <a:pt x="20582" y="45004"/>
                  <a:pt x="20191" y="45489"/>
                  <a:pt x="20191" y="46067"/>
                </a:cubicBezTo>
                <a:cubicBezTo>
                  <a:pt x="20191" y="46755"/>
                  <a:pt x="20754" y="47334"/>
                  <a:pt x="21457" y="47334"/>
                </a:cubicBezTo>
                <a:cubicBezTo>
                  <a:pt x="22161" y="47334"/>
                  <a:pt x="22724" y="46755"/>
                  <a:pt x="22724" y="46067"/>
                </a:cubicBezTo>
                <a:cubicBezTo>
                  <a:pt x="22724" y="45489"/>
                  <a:pt x="22334" y="45004"/>
                  <a:pt x="21817" y="44847"/>
                </a:cubicBezTo>
                <a:lnTo>
                  <a:pt x="21817" y="23206"/>
                </a:lnTo>
                <a:cubicBezTo>
                  <a:pt x="21817" y="22893"/>
                  <a:pt x="21724" y="22565"/>
                  <a:pt x="21536" y="22252"/>
                </a:cubicBezTo>
                <a:cubicBezTo>
                  <a:pt x="21598" y="22174"/>
                  <a:pt x="21708" y="22064"/>
                  <a:pt x="21849" y="21986"/>
                </a:cubicBezTo>
                <a:cubicBezTo>
                  <a:pt x="22271" y="21736"/>
                  <a:pt x="22865" y="21751"/>
                  <a:pt x="23585" y="22033"/>
                </a:cubicBezTo>
                <a:cubicBezTo>
                  <a:pt x="24131" y="22252"/>
                  <a:pt x="24773" y="22580"/>
                  <a:pt x="25476" y="23002"/>
                </a:cubicBezTo>
                <a:lnTo>
                  <a:pt x="24257" y="25129"/>
                </a:lnTo>
                <a:cubicBezTo>
                  <a:pt x="24163" y="25098"/>
                  <a:pt x="24038" y="25082"/>
                  <a:pt x="23928" y="25082"/>
                </a:cubicBezTo>
                <a:cubicBezTo>
                  <a:pt x="23225" y="25082"/>
                  <a:pt x="22662" y="25645"/>
                  <a:pt x="22662" y="26349"/>
                </a:cubicBezTo>
                <a:cubicBezTo>
                  <a:pt x="22662" y="27053"/>
                  <a:pt x="23225" y="27615"/>
                  <a:pt x="23928" y="27615"/>
                </a:cubicBezTo>
                <a:cubicBezTo>
                  <a:pt x="24632" y="27615"/>
                  <a:pt x="25195" y="27053"/>
                  <a:pt x="25195" y="26349"/>
                </a:cubicBezTo>
                <a:cubicBezTo>
                  <a:pt x="25195" y="26020"/>
                  <a:pt x="25070" y="25724"/>
                  <a:pt x="24867" y="25504"/>
                </a:cubicBezTo>
                <a:lnTo>
                  <a:pt x="26086" y="23362"/>
                </a:lnTo>
                <a:cubicBezTo>
                  <a:pt x="26665" y="23722"/>
                  <a:pt x="27275" y="24128"/>
                  <a:pt x="27931" y="24598"/>
                </a:cubicBezTo>
                <a:cubicBezTo>
                  <a:pt x="28041" y="24676"/>
                  <a:pt x="28104" y="24707"/>
                  <a:pt x="28135" y="24723"/>
                </a:cubicBezTo>
                <a:cubicBezTo>
                  <a:pt x="28182" y="24754"/>
                  <a:pt x="28666" y="25082"/>
                  <a:pt x="28776" y="25520"/>
                </a:cubicBezTo>
                <a:lnTo>
                  <a:pt x="28776" y="25536"/>
                </a:lnTo>
                <a:cubicBezTo>
                  <a:pt x="28995" y="26208"/>
                  <a:pt x="28901" y="26708"/>
                  <a:pt x="28776" y="27162"/>
                </a:cubicBezTo>
                <a:cubicBezTo>
                  <a:pt x="28666" y="27475"/>
                  <a:pt x="27150" y="30023"/>
                  <a:pt x="26133" y="31697"/>
                </a:cubicBezTo>
                <a:lnTo>
                  <a:pt x="25961" y="31697"/>
                </a:lnTo>
                <a:cubicBezTo>
                  <a:pt x="25273" y="31697"/>
                  <a:pt x="24694" y="32260"/>
                  <a:pt x="24694" y="32963"/>
                </a:cubicBezTo>
                <a:cubicBezTo>
                  <a:pt x="24694" y="33651"/>
                  <a:pt x="25273" y="34230"/>
                  <a:pt x="25961" y="34230"/>
                </a:cubicBezTo>
                <a:cubicBezTo>
                  <a:pt x="26665" y="34230"/>
                  <a:pt x="27228" y="33651"/>
                  <a:pt x="27228" y="32963"/>
                </a:cubicBezTo>
                <a:cubicBezTo>
                  <a:pt x="27228" y="32572"/>
                  <a:pt x="27056" y="32229"/>
                  <a:pt x="26790" y="31994"/>
                </a:cubicBezTo>
                <a:cubicBezTo>
                  <a:pt x="27040" y="31587"/>
                  <a:pt x="27509" y="30805"/>
                  <a:pt x="27978" y="30008"/>
                </a:cubicBezTo>
                <a:cubicBezTo>
                  <a:pt x="29386" y="27631"/>
                  <a:pt x="29448" y="27443"/>
                  <a:pt x="29464" y="27350"/>
                </a:cubicBezTo>
                <a:cubicBezTo>
                  <a:pt x="29542" y="27115"/>
                  <a:pt x="29667" y="26646"/>
                  <a:pt x="29605" y="26020"/>
                </a:cubicBezTo>
                <a:cubicBezTo>
                  <a:pt x="29980" y="26223"/>
                  <a:pt x="30418" y="26583"/>
                  <a:pt x="30543" y="27162"/>
                </a:cubicBezTo>
                <a:cubicBezTo>
                  <a:pt x="30762" y="28209"/>
                  <a:pt x="30715" y="29351"/>
                  <a:pt x="30699" y="29664"/>
                </a:cubicBezTo>
                <a:lnTo>
                  <a:pt x="26853" y="35794"/>
                </a:lnTo>
                <a:cubicBezTo>
                  <a:pt x="26743" y="35762"/>
                  <a:pt x="26633" y="35747"/>
                  <a:pt x="26524" y="35747"/>
                </a:cubicBezTo>
                <a:cubicBezTo>
                  <a:pt x="25820" y="35747"/>
                  <a:pt x="25242" y="36310"/>
                  <a:pt x="25242" y="37013"/>
                </a:cubicBezTo>
                <a:cubicBezTo>
                  <a:pt x="25242" y="37717"/>
                  <a:pt x="25820" y="38280"/>
                  <a:pt x="26524" y="38280"/>
                </a:cubicBezTo>
                <a:cubicBezTo>
                  <a:pt x="27212" y="38280"/>
                  <a:pt x="27791" y="37717"/>
                  <a:pt x="27791" y="37013"/>
                </a:cubicBezTo>
                <a:cubicBezTo>
                  <a:pt x="27791" y="36685"/>
                  <a:pt x="27666" y="36403"/>
                  <a:pt x="27463" y="36169"/>
                </a:cubicBezTo>
                <a:lnTo>
                  <a:pt x="31262" y="30117"/>
                </a:lnTo>
                <a:cubicBezTo>
                  <a:pt x="31653" y="30070"/>
                  <a:pt x="32717" y="30055"/>
                  <a:pt x="33373" y="30837"/>
                </a:cubicBezTo>
                <a:cubicBezTo>
                  <a:pt x="34046" y="31634"/>
                  <a:pt x="34030" y="32572"/>
                  <a:pt x="33999" y="33573"/>
                </a:cubicBezTo>
                <a:cubicBezTo>
                  <a:pt x="33999" y="33808"/>
                  <a:pt x="33983" y="34058"/>
                  <a:pt x="33999" y="34308"/>
                </a:cubicBezTo>
                <a:cubicBezTo>
                  <a:pt x="34030" y="36357"/>
                  <a:pt x="33576" y="37060"/>
                  <a:pt x="33092" y="37514"/>
                </a:cubicBezTo>
                <a:cubicBezTo>
                  <a:pt x="32544" y="38014"/>
                  <a:pt x="31372" y="37921"/>
                  <a:pt x="30965" y="37842"/>
                </a:cubicBezTo>
                <a:lnTo>
                  <a:pt x="30949" y="37842"/>
                </a:lnTo>
                <a:cubicBezTo>
                  <a:pt x="29902" y="37686"/>
                  <a:pt x="29558" y="36904"/>
                  <a:pt x="29464" y="36607"/>
                </a:cubicBezTo>
                <a:lnTo>
                  <a:pt x="30418" y="34981"/>
                </a:lnTo>
                <a:cubicBezTo>
                  <a:pt x="30574" y="35043"/>
                  <a:pt x="30731" y="35074"/>
                  <a:pt x="30887" y="35074"/>
                </a:cubicBezTo>
                <a:cubicBezTo>
                  <a:pt x="31591" y="35074"/>
                  <a:pt x="32169" y="34511"/>
                  <a:pt x="32169" y="33808"/>
                </a:cubicBezTo>
                <a:cubicBezTo>
                  <a:pt x="32169" y="33104"/>
                  <a:pt x="31591" y="32541"/>
                  <a:pt x="30887" y="32541"/>
                </a:cubicBezTo>
                <a:cubicBezTo>
                  <a:pt x="30199" y="32541"/>
                  <a:pt x="29620" y="33104"/>
                  <a:pt x="29620" y="33808"/>
                </a:cubicBezTo>
                <a:cubicBezTo>
                  <a:pt x="29620" y="34074"/>
                  <a:pt x="29714" y="34339"/>
                  <a:pt x="29855" y="34543"/>
                </a:cubicBezTo>
                <a:lnTo>
                  <a:pt x="28776" y="36372"/>
                </a:lnTo>
                <a:cubicBezTo>
                  <a:pt x="28729" y="36435"/>
                  <a:pt x="28714" y="36528"/>
                  <a:pt x="28729" y="36607"/>
                </a:cubicBezTo>
                <a:cubicBezTo>
                  <a:pt x="28745" y="36654"/>
                  <a:pt x="28807" y="37045"/>
                  <a:pt x="29104" y="37483"/>
                </a:cubicBezTo>
                <a:cubicBezTo>
                  <a:pt x="29355" y="37858"/>
                  <a:pt x="29808" y="38311"/>
                  <a:pt x="30590" y="38499"/>
                </a:cubicBezTo>
                <a:cubicBezTo>
                  <a:pt x="30621" y="38687"/>
                  <a:pt x="30653" y="38984"/>
                  <a:pt x="30668" y="39312"/>
                </a:cubicBezTo>
                <a:cubicBezTo>
                  <a:pt x="30699" y="39969"/>
                  <a:pt x="30590" y="40454"/>
                  <a:pt x="30402" y="40626"/>
                </a:cubicBezTo>
                <a:lnTo>
                  <a:pt x="30371" y="40657"/>
                </a:lnTo>
                <a:cubicBezTo>
                  <a:pt x="29745" y="41267"/>
                  <a:pt x="29386" y="41611"/>
                  <a:pt x="28432" y="41611"/>
                </a:cubicBezTo>
                <a:cubicBezTo>
                  <a:pt x="28025" y="41611"/>
                  <a:pt x="27603" y="41611"/>
                  <a:pt x="27228" y="41626"/>
                </a:cubicBezTo>
                <a:cubicBezTo>
                  <a:pt x="26602" y="41642"/>
                  <a:pt x="26008" y="41657"/>
                  <a:pt x="25758" y="41611"/>
                </a:cubicBezTo>
                <a:cubicBezTo>
                  <a:pt x="25414" y="41548"/>
                  <a:pt x="24116" y="40969"/>
                  <a:pt x="24069" y="39906"/>
                </a:cubicBezTo>
                <a:cubicBezTo>
                  <a:pt x="24022" y="38780"/>
                  <a:pt x="24053" y="32229"/>
                  <a:pt x="24069" y="30743"/>
                </a:cubicBezTo>
                <a:cubicBezTo>
                  <a:pt x="24601" y="30586"/>
                  <a:pt x="24976" y="30102"/>
                  <a:pt x="24976" y="29523"/>
                </a:cubicBezTo>
                <a:cubicBezTo>
                  <a:pt x="24976" y="28819"/>
                  <a:pt x="24413" y="28256"/>
                  <a:pt x="23710" y="28256"/>
                </a:cubicBezTo>
                <a:cubicBezTo>
                  <a:pt x="23022" y="28256"/>
                  <a:pt x="22443" y="28819"/>
                  <a:pt x="22443" y="29523"/>
                </a:cubicBezTo>
                <a:cubicBezTo>
                  <a:pt x="22443" y="30102"/>
                  <a:pt x="22834" y="30586"/>
                  <a:pt x="23350" y="30743"/>
                </a:cubicBezTo>
                <a:cubicBezTo>
                  <a:pt x="23350" y="32260"/>
                  <a:pt x="23303" y="38780"/>
                  <a:pt x="23350" y="39938"/>
                </a:cubicBezTo>
                <a:cubicBezTo>
                  <a:pt x="23381" y="40594"/>
                  <a:pt x="23725" y="41204"/>
                  <a:pt x="24335" y="41673"/>
                </a:cubicBezTo>
                <a:cubicBezTo>
                  <a:pt x="24788" y="42033"/>
                  <a:pt x="25336" y="42267"/>
                  <a:pt x="25633" y="42314"/>
                </a:cubicBezTo>
                <a:cubicBezTo>
                  <a:pt x="25805" y="42345"/>
                  <a:pt x="26055" y="42361"/>
                  <a:pt x="26352" y="42361"/>
                </a:cubicBezTo>
                <a:cubicBezTo>
                  <a:pt x="26618" y="42361"/>
                  <a:pt x="26915" y="42345"/>
                  <a:pt x="27259" y="42345"/>
                </a:cubicBezTo>
                <a:cubicBezTo>
                  <a:pt x="27634" y="42330"/>
                  <a:pt x="28025" y="42314"/>
                  <a:pt x="28432" y="42314"/>
                </a:cubicBezTo>
                <a:cubicBezTo>
                  <a:pt x="29683" y="42314"/>
                  <a:pt x="30199" y="41814"/>
                  <a:pt x="30871" y="41173"/>
                </a:cubicBezTo>
                <a:lnTo>
                  <a:pt x="30903" y="41142"/>
                </a:lnTo>
                <a:cubicBezTo>
                  <a:pt x="31246" y="40813"/>
                  <a:pt x="31419" y="40188"/>
                  <a:pt x="31387" y="39281"/>
                </a:cubicBezTo>
                <a:cubicBezTo>
                  <a:pt x="31372" y="39030"/>
                  <a:pt x="31341" y="38796"/>
                  <a:pt x="31325" y="38609"/>
                </a:cubicBezTo>
                <a:cubicBezTo>
                  <a:pt x="31935" y="38655"/>
                  <a:pt x="32951" y="38624"/>
                  <a:pt x="33576" y="38046"/>
                </a:cubicBezTo>
                <a:cubicBezTo>
                  <a:pt x="33968" y="37670"/>
                  <a:pt x="34249" y="37248"/>
                  <a:pt x="34421" y="36701"/>
                </a:cubicBezTo>
                <a:cubicBezTo>
                  <a:pt x="34624" y="36091"/>
                  <a:pt x="34718" y="35293"/>
                  <a:pt x="34702" y="34293"/>
                </a:cubicBezTo>
                <a:cubicBezTo>
                  <a:pt x="34702" y="34058"/>
                  <a:pt x="34702" y="33823"/>
                  <a:pt x="34718" y="33589"/>
                </a:cubicBezTo>
                <a:cubicBezTo>
                  <a:pt x="34749" y="32494"/>
                  <a:pt x="34765" y="31368"/>
                  <a:pt x="33921" y="30383"/>
                </a:cubicBezTo>
                <a:cubicBezTo>
                  <a:pt x="33154" y="29460"/>
                  <a:pt x="32044" y="29367"/>
                  <a:pt x="31434" y="29382"/>
                </a:cubicBezTo>
                <a:close/>
                <a:moveTo>
                  <a:pt x="16595" y="34121"/>
                </a:moveTo>
                <a:cubicBezTo>
                  <a:pt x="16595" y="33808"/>
                  <a:pt x="16845" y="33558"/>
                  <a:pt x="17142" y="33558"/>
                </a:cubicBezTo>
                <a:cubicBezTo>
                  <a:pt x="17455" y="33558"/>
                  <a:pt x="17705" y="33808"/>
                  <a:pt x="17705" y="34121"/>
                </a:cubicBezTo>
                <a:cubicBezTo>
                  <a:pt x="17705" y="34214"/>
                  <a:pt x="17673" y="34293"/>
                  <a:pt x="17626" y="34371"/>
                </a:cubicBezTo>
                <a:cubicBezTo>
                  <a:pt x="17580" y="34402"/>
                  <a:pt x="17533" y="34418"/>
                  <a:pt x="17486" y="34464"/>
                </a:cubicBezTo>
                <a:cubicBezTo>
                  <a:pt x="17455" y="34511"/>
                  <a:pt x="17423" y="34558"/>
                  <a:pt x="17408" y="34605"/>
                </a:cubicBezTo>
                <a:cubicBezTo>
                  <a:pt x="17330" y="34636"/>
                  <a:pt x="17236" y="34668"/>
                  <a:pt x="17142" y="34668"/>
                </a:cubicBezTo>
                <a:cubicBezTo>
                  <a:pt x="16845" y="34668"/>
                  <a:pt x="16595" y="34418"/>
                  <a:pt x="16595" y="34121"/>
                </a:cubicBezTo>
                <a:close/>
                <a:moveTo>
                  <a:pt x="15046" y="37639"/>
                </a:moveTo>
                <a:cubicBezTo>
                  <a:pt x="15359" y="37639"/>
                  <a:pt x="15609" y="37889"/>
                  <a:pt x="15609" y="38186"/>
                </a:cubicBezTo>
                <a:cubicBezTo>
                  <a:pt x="15609" y="38499"/>
                  <a:pt x="15359" y="38749"/>
                  <a:pt x="15046" y="38749"/>
                </a:cubicBezTo>
                <a:cubicBezTo>
                  <a:pt x="14749" y="38749"/>
                  <a:pt x="14499" y="38499"/>
                  <a:pt x="14499" y="38186"/>
                </a:cubicBezTo>
                <a:cubicBezTo>
                  <a:pt x="14499" y="37889"/>
                  <a:pt x="14749" y="37639"/>
                  <a:pt x="15046" y="37639"/>
                </a:cubicBezTo>
                <a:close/>
                <a:moveTo>
                  <a:pt x="9730" y="33558"/>
                </a:moveTo>
                <a:cubicBezTo>
                  <a:pt x="10042" y="33558"/>
                  <a:pt x="10293" y="33808"/>
                  <a:pt x="10293" y="34105"/>
                </a:cubicBezTo>
                <a:cubicBezTo>
                  <a:pt x="10293" y="34418"/>
                  <a:pt x="10042" y="34652"/>
                  <a:pt x="9730" y="34652"/>
                </a:cubicBezTo>
                <a:cubicBezTo>
                  <a:pt x="9433" y="34652"/>
                  <a:pt x="9182" y="34418"/>
                  <a:pt x="9182" y="34105"/>
                </a:cubicBezTo>
                <a:cubicBezTo>
                  <a:pt x="9182" y="33808"/>
                  <a:pt x="9433" y="33558"/>
                  <a:pt x="9730" y="33558"/>
                </a:cubicBezTo>
                <a:close/>
                <a:moveTo>
                  <a:pt x="13623" y="32838"/>
                </a:moveTo>
                <a:cubicBezTo>
                  <a:pt x="13623" y="33135"/>
                  <a:pt x="13373" y="33385"/>
                  <a:pt x="13060" y="33385"/>
                </a:cubicBezTo>
                <a:cubicBezTo>
                  <a:pt x="12764" y="33385"/>
                  <a:pt x="12513" y="33135"/>
                  <a:pt x="12513" y="32838"/>
                </a:cubicBezTo>
                <a:cubicBezTo>
                  <a:pt x="12513" y="32697"/>
                  <a:pt x="12560" y="32572"/>
                  <a:pt x="12638" y="32479"/>
                </a:cubicBezTo>
                <a:cubicBezTo>
                  <a:pt x="12654" y="32479"/>
                  <a:pt x="12654" y="32479"/>
                  <a:pt x="12654" y="32463"/>
                </a:cubicBezTo>
                <a:cubicBezTo>
                  <a:pt x="12748" y="32354"/>
                  <a:pt x="12904" y="32291"/>
                  <a:pt x="13060" y="32291"/>
                </a:cubicBezTo>
                <a:cubicBezTo>
                  <a:pt x="13373" y="32291"/>
                  <a:pt x="13623" y="32541"/>
                  <a:pt x="13623" y="32838"/>
                </a:cubicBezTo>
                <a:close/>
                <a:moveTo>
                  <a:pt x="5961" y="31525"/>
                </a:moveTo>
                <a:cubicBezTo>
                  <a:pt x="5961" y="31822"/>
                  <a:pt x="5711" y="32072"/>
                  <a:pt x="5414" y="32072"/>
                </a:cubicBezTo>
                <a:cubicBezTo>
                  <a:pt x="5101" y="32072"/>
                  <a:pt x="4851" y="31822"/>
                  <a:pt x="4851" y="31525"/>
                </a:cubicBezTo>
                <a:cubicBezTo>
                  <a:pt x="4851" y="31212"/>
                  <a:pt x="5101" y="30962"/>
                  <a:pt x="5414" y="30962"/>
                </a:cubicBezTo>
                <a:cubicBezTo>
                  <a:pt x="5711" y="30962"/>
                  <a:pt x="5961" y="31212"/>
                  <a:pt x="5961" y="31525"/>
                </a:cubicBezTo>
                <a:close/>
                <a:moveTo>
                  <a:pt x="16485" y="25114"/>
                </a:moveTo>
                <a:cubicBezTo>
                  <a:pt x="16485" y="25411"/>
                  <a:pt x="16235" y="25661"/>
                  <a:pt x="15922" y="25661"/>
                </a:cubicBezTo>
                <a:cubicBezTo>
                  <a:pt x="15625" y="25661"/>
                  <a:pt x="15375" y="25411"/>
                  <a:pt x="15375" y="25114"/>
                </a:cubicBezTo>
                <a:cubicBezTo>
                  <a:pt x="15375" y="24957"/>
                  <a:pt x="15437" y="24801"/>
                  <a:pt x="15547" y="24707"/>
                </a:cubicBezTo>
                <a:lnTo>
                  <a:pt x="15562" y="24707"/>
                </a:lnTo>
                <a:cubicBezTo>
                  <a:pt x="15656" y="24613"/>
                  <a:pt x="15781" y="24566"/>
                  <a:pt x="15922" y="24566"/>
                </a:cubicBezTo>
                <a:cubicBezTo>
                  <a:pt x="16235" y="24566"/>
                  <a:pt x="16485" y="24801"/>
                  <a:pt x="16485" y="25114"/>
                </a:cubicBezTo>
                <a:close/>
                <a:moveTo>
                  <a:pt x="19112" y="30368"/>
                </a:moveTo>
                <a:cubicBezTo>
                  <a:pt x="19112" y="30680"/>
                  <a:pt x="18862" y="30931"/>
                  <a:pt x="18549" y="30931"/>
                </a:cubicBezTo>
                <a:cubicBezTo>
                  <a:pt x="18252" y="30931"/>
                  <a:pt x="18002" y="30680"/>
                  <a:pt x="18002" y="30368"/>
                </a:cubicBezTo>
                <a:cubicBezTo>
                  <a:pt x="18002" y="30070"/>
                  <a:pt x="18252" y="29820"/>
                  <a:pt x="18549" y="29820"/>
                </a:cubicBezTo>
                <a:cubicBezTo>
                  <a:pt x="18862" y="29820"/>
                  <a:pt x="19112" y="30070"/>
                  <a:pt x="19112" y="30368"/>
                </a:cubicBezTo>
                <a:close/>
                <a:moveTo>
                  <a:pt x="14749" y="28726"/>
                </a:moveTo>
                <a:cubicBezTo>
                  <a:pt x="14749" y="29023"/>
                  <a:pt x="14499" y="29273"/>
                  <a:pt x="14202" y="29273"/>
                </a:cubicBezTo>
                <a:cubicBezTo>
                  <a:pt x="13889" y="29273"/>
                  <a:pt x="13639" y="29023"/>
                  <a:pt x="13639" y="28726"/>
                </a:cubicBezTo>
                <a:cubicBezTo>
                  <a:pt x="13639" y="28585"/>
                  <a:pt x="13702" y="28460"/>
                  <a:pt x="13780" y="28366"/>
                </a:cubicBezTo>
                <a:lnTo>
                  <a:pt x="13780" y="28351"/>
                </a:lnTo>
                <a:cubicBezTo>
                  <a:pt x="13889" y="28241"/>
                  <a:pt x="14030" y="28163"/>
                  <a:pt x="14202" y="28163"/>
                </a:cubicBezTo>
                <a:cubicBezTo>
                  <a:pt x="14499" y="28163"/>
                  <a:pt x="14749" y="28413"/>
                  <a:pt x="14749" y="28726"/>
                </a:cubicBezTo>
                <a:close/>
                <a:moveTo>
                  <a:pt x="22005" y="46067"/>
                </a:moveTo>
                <a:cubicBezTo>
                  <a:pt x="22005" y="46365"/>
                  <a:pt x="21771" y="46615"/>
                  <a:pt x="21457" y="46615"/>
                </a:cubicBezTo>
                <a:cubicBezTo>
                  <a:pt x="21161" y="46615"/>
                  <a:pt x="20910" y="46365"/>
                  <a:pt x="20910" y="46067"/>
                </a:cubicBezTo>
                <a:cubicBezTo>
                  <a:pt x="20910" y="45755"/>
                  <a:pt x="21161" y="45504"/>
                  <a:pt x="21457" y="45504"/>
                </a:cubicBezTo>
                <a:cubicBezTo>
                  <a:pt x="21771" y="45504"/>
                  <a:pt x="22005" y="45755"/>
                  <a:pt x="22005" y="46067"/>
                </a:cubicBezTo>
                <a:close/>
                <a:moveTo>
                  <a:pt x="23928" y="26896"/>
                </a:moveTo>
                <a:cubicBezTo>
                  <a:pt x="23616" y="26896"/>
                  <a:pt x="23381" y="26646"/>
                  <a:pt x="23381" y="26349"/>
                </a:cubicBezTo>
                <a:cubicBezTo>
                  <a:pt x="23381" y="26036"/>
                  <a:pt x="23616" y="25802"/>
                  <a:pt x="23928" y="25802"/>
                </a:cubicBezTo>
                <a:cubicBezTo>
                  <a:pt x="24038" y="25802"/>
                  <a:pt x="24131" y="25817"/>
                  <a:pt x="24210" y="25880"/>
                </a:cubicBezTo>
                <a:cubicBezTo>
                  <a:pt x="24226" y="25880"/>
                  <a:pt x="24226" y="25880"/>
                  <a:pt x="24241" y="25895"/>
                </a:cubicBezTo>
                <a:cubicBezTo>
                  <a:pt x="24382" y="25989"/>
                  <a:pt x="24476" y="26161"/>
                  <a:pt x="24476" y="26349"/>
                </a:cubicBezTo>
                <a:cubicBezTo>
                  <a:pt x="24476" y="26646"/>
                  <a:pt x="24226" y="26896"/>
                  <a:pt x="23928" y="26896"/>
                </a:cubicBezTo>
                <a:close/>
                <a:moveTo>
                  <a:pt x="25961" y="33511"/>
                </a:moveTo>
                <a:cubicBezTo>
                  <a:pt x="25664" y="33511"/>
                  <a:pt x="25414" y="33260"/>
                  <a:pt x="25414" y="32963"/>
                </a:cubicBezTo>
                <a:cubicBezTo>
                  <a:pt x="25414" y="32650"/>
                  <a:pt x="25664" y="32400"/>
                  <a:pt x="25961" y="32400"/>
                </a:cubicBezTo>
                <a:cubicBezTo>
                  <a:pt x="26039" y="32400"/>
                  <a:pt x="26086" y="32416"/>
                  <a:pt x="26149" y="32432"/>
                </a:cubicBezTo>
                <a:cubicBezTo>
                  <a:pt x="26165" y="32447"/>
                  <a:pt x="26165" y="32447"/>
                  <a:pt x="26180" y="32447"/>
                </a:cubicBezTo>
                <a:cubicBezTo>
                  <a:pt x="26383" y="32541"/>
                  <a:pt x="26524" y="32728"/>
                  <a:pt x="26524" y="32963"/>
                </a:cubicBezTo>
                <a:cubicBezTo>
                  <a:pt x="26524" y="33260"/>
                  <a:pt x="26274" y="33511"/>
                  <a:pt x="25961" y="33511"/>
                </a:cubicBezTo>
                <a:close/>
                <a:moveTo>
                  <a:pt x="26524" y="37561"/>
                </a:moveTo>
                <a:cubicBezTo>
                  <a:pt x="26212" y="37561"/>
                  <a:pt x="25961" y="37326"/>
                  <a:pt x="25961" y="37013"/>
                </a:cubicBezTo>
                <a:cubicBezTo>
                  <a:pt x="25961" y="36716"/>
                  <a:pt x="26212" y="36466"/>
                  <a:pt x="26524" y="36466"/>
                </a:cubicBezTo>
                <a:cubicBezTo>
                  <a:pt x="26618" y="36466"/>
                  <a:pt x="26712" y="36497"/>
                  <a:pt x="26806" y="36544"/>
                </a:cubicBezTo>
                <a:cubicBezTo>
                  <a:pt x="26811" y="36549"/>
                  <a:pt x="26821" y="36544"/>
                  <a:pt x="26821" y="36560"/>
                </a:cubicBezTo>
                <a:cubicBezTo>
                  <a:pt x="26962" y="36654"/>
                  <a:pt x="27071" y="36826"/>
                  <a:pt x="27071" y="37013"/>
                </a:cubicBezTo>
                <a:cubicBezTo>
                  <a:pt x="27071" y="37326"/>
                  <a:pt x="26821" y="37561"/>
                  <a:pt x="26524" y="37561"/>
                </a:cubicBezTo>
                <a:close/>
                <a:moveTo>
                  <a:pt x="30887" y="33260"/>
                </a:moveTo>
                <a:cubicBezTo>
                  <a:pt x="31199" y="33260"/>
                  <a:pt x="31450" y="33511"/>
                  <a:pt x="31450" y="33808"/>
                </a:cubicBezTo>
                <a:cubicBezTo>
                  <a:pt x="31450" y="34121"/>
                  <a:pt x="31199" y="34355"/>
                  <a:pt x="30887" y="34355"/>
                </a:cubicBezTo>
                <a:cubicBezTo>
                  <a:pt x="30762" y="34355"/>
                  <a:pt x="30636" y="34308"/>
                  <a:pt x="30543" y="34230"/>
                </a:cubicBezTo>
                <a:lnTo>
                  <a:pt x="30527" y="34230"/>
                </a:lnTo>
                <a:cubicBezTo>
                  <a:pt x="30418" y="34121"/>
                  <a:pt x="30340" y="33980"/>
                  <a:pt x="30340" y="33808"/>
                </a:cubicBezTo>
                <a:cubicBezTo>
                  <a:pt x="30340" y="33511"/>
                  <a:pt x="30590" y="33260"/>
                  <a:pt x="30887" y="33260"/>
                </a:cubicBezTo>
                <a:close/>
                <a:moveTo>
                  <a:pt x="23162" y="29523"/>
                </a:moveTo>
                <a:cubicBezTo>
                  <a:pt x="23162" y="29210"/>
                  <a:pt x="23412" y="28960"/>
                  <a:pt x="23710" y="28960"/>
                </a:cubicBezTo>
                <a:cubicBezTo>
                  <a:pt x="24022" y="28960"/>
                  <a:pt x="24273" y="29210"/>
                  <a:pt x="24273" y="29523"/>
                </a:cubicBezTo>
                <a:cubicBezTo>
                  <a:pt x="24273" y="29820"/>
                  <a:pt x="24022" y="30070"/>
                  <a:pt x="23710" y="30070"/>
                </a:cubicBezTo>
                <a:cubicBezTo>
                  <a:pt x="23412" y="30070"/>
                  <a:pt x="23162" y="29820"/>
                  <a:pt x="23162" y="29523"/>
                </a:cubicBezTo>
                <a:close/>
                <a:moveTo>
                  <a:pt x="43991" y="19922"/>
                </a:moveTo>
                <a:cubicBezTo>
                  <a:pt x="42975" y="18890"/>
                  <a:pt x="41614" y="18343"/>
                  <a:pt x="40175" y="18343"/>
                </a:cubicBezTo>
                <a:cubicBezTo>
                  <a:pt x="38737" y="18343"/>
                  <a:pt x="37376" y="18890"/>
                  <a:pt x="36360" y="19922"/>
                </a:cubicBezTo>
                <a:cubicBezTo>
                  <a:pt x="35344" y="20938"/>
                  <a:pt x="34781" y="22283"/>
                  <a:pt x="34781" y="23737"/>
                </a:cubicBezTo>
                <a:cubicBezTo>
                  <a:pt x="34781" y="24754"/>
                  <a:pt x="35062" y="25755"/>
                  <a:pt x="35609" y="26615"/>
                </a:cubicBezTo>
                <a:lnTo>
                  <a:pt x="34984" y="28538"/>
                </a:lnTo>
                <a:cubicBezTo>
                  <a:pt x="34952" y="28663"/>
                  <a:pt x="34984" y="28804"/>
                  <a:pt x="35077" y="28897"/>
                </a:cubicBezTo>
                <a:cubicBezTo>
                  <a:pt x="35172" y="28992"/>
                  <a:pt x="35312" y="29023"/>
                  <a:pt x="35437" y="28976"/>
                </a:cubicBezTo>
                <a:lnTo>
                  <a:pt x="37392" y="28351"/>
                </a:lnTo>
                <a:cubicBezTo>
                  <a:pt x="38236" y="28851"/>
                  <a:pt x="39190" y="29132"/>
                  <a:pt x="40175" y="29132"/>
                </a:cubicBezTo>
                <a:cubicBezTo>
                  <a:pt x="41614" y="29132"/>
                  <a:pt x="42975" y="28569"/>
                  <a:pt x="43991" y="27553"/>
                </a:cubicBezTo>
                <a:cubicBezTo>
                  <a:pt x="45007" y="26521"/>
                  <a:pt x="45570" y="25176"/>
                  <a:pt x="45570" y="23737"/>
                </a:cubicBezTo>
                <a:cubicBezTo>
                  <a:pt x="45570" y="22283"/>
                  <a:pt x="45007" y="20938"/>
                  <a:pt x="43991" y="19922"/>
                </a:cubicBezTo>
                <a:close/>
                <a:moveTo>
                  <a:pt x="43491" y="27037"/>
                </a:moveTo>
                <a:cubicBezTo>
                  <a:pt x="42599" y="27928"/>
                  <a:pt x="41426" y="28413"/>
                  <a:pt x="40175" y="28413"/>
                </a:cubicBezTo>
                <a:cubicBezTo>
                  <a:pt x="39268" y="28413"/>
                  <a:pt x="38377" y="28147"/>
                  <a:pt x="37626" y="27647"/>
                </a:cubicBezTo>
                <a:cubicBezTo>
                  <a:pt x="37564" y="27615"/>
                  <a:pt x="37501" y="27600"/>
                  <a:pt x="37423" y="27600"/>
                </a:cubicBezTo>
                <a:cubicBezTo>
                  <a:pt x="37361" y="27600"/>
                  <a:pt x="37298" y="27615"/>
                  <a:pt x="37251" y="27647"/>
                </a:cubicBezTo>
                <a:lnTo>
                  <a:pt x="35891" y="28084"/>
                </a:lnTo>
                <a:lnTo>
                  <a:pt x="36344" y="26662"/>
                </a:lnTo>
                <a:cubicBezTo>
                  <a:pt x="36375" y="26568"/>
                  <a:pt x="36360" y="26443"/>
                  <a:pt x="36297" y="26365"/>
                </a:cubicBezTo>
                <a:cubicBezTo>
                  <a:pt x="35782" y="25582"/>
                  <a:pt x="35500" y="24676"/>
                  <a:pt x="35500" y="23737"/>
                </a:cubicBezTo>
                <a:cubicBezTo>
                  <a:pt x="35500" y="22486"/>
                  <a:pt x="35985" y="21298"/>
                  <a:pt x="36860" y="20422"/>
                </a:cubicBezTo>
                <a:cubicBezTo>
                  <a:pt x="37752" y="19531"/>
                  <a:pt x="38924" y="19046"/>
                  <a:pt x="40175" y="19046"/>
                </a:cubicBezTo>
                <a:cubicBezTo>
                  <a:pt x="41426" y="19046"/>
                  <a:pt x="42599" y="19531"/>
                  <a:pt x="43491" y="20422"/>
                </a:cubicBezTo>
                <a:cubicBezTo>
                  <a:pt x="44366" y="21298"/>
                  <a:pt x="44851" y="22486"/>
                  <a:pt x="44851" y="23737"/>
                </a:cubicBezTo>
                <a:cubicBezTo>
                  <a:pt x="44851" y="24988"/>
                  <a:pt x="44366" y="26161"/>
                  <a:pt x="43491" y="27037"/>
                </a:cubicBezTo>
                <a:close/>
                <a:moveTo>
                  <a:pt x="37924" y="22862"/>
                </a:moveTo>
                <a:cubicBezTo>
                  <a:pt x="37439" y="22862"/>
                  <a:pt x="37048" y="23253"/>
                  <a:pt x="37048" y="23737"/>
                </a:cubicBezTo>
                <a:cubicBezTo>
                  <a:pt x="37048" y="24222"/>
                  <a:pt x="37439" y="24613"/>
                  <a:pt x="37924" y="24613"/>
                </a:cubicBezTo>
                <a:cubicBezTo>
                  <a:pt x="38409" y="24613"/>
                  <a:pt x="38799" y="24222"/>
                  <a:pt x="38799" y="23737"/>
                </a:cubicBezTo>
                <a:cubicBezTo>
                  <a:pt x="38799" y="23253"/>
                  <a:pt x="38409" y="22862"/>
                  <a:pt x="37924" y="22862"/>
                </a:cubicBezTo>
                <a:close/>
                <a:moveTo>
                  <a:pt x="37924" y="23894"/>
                </a:moveTo>
                <a:cubicBezTo>
                  <a:pt x="37830" y="23894"/>
                  <a:pt x="37767" y="23816"/>
                  <a:pt x="37767" y="23737"/>
                </a:cubicBezTo>
                <a:cubicBezTo>
                  <a:pt x="37767" y="23643"/>
                  <a:pt x="37830" y="23581"/>
                  <a:pt x="37924" y="23581"/>
                </a:cubicBezTo>
                <a:cubicBezTo>
                  <a:pt x="38002" y="23581"/>
                  <a:pt x="38080" y="23643"/>
                  <a:pt x="38080" y="23737"/>
                </a:cubicBezTo>
                <a:cubicBezTo>
                  <a:pt x="38080" y="23816"/>
                  <a:pt x="38002" y="23894"/>
                  <a:pt x="37924" y="23894"/>
                </a:cubicBezTo>
                <a:close/>
                <a:moveTo>
                  <a:pt x="40081" y="22862"/>
                </a:moveTo>
                <a:cubicBezTo>
                  <a:pt x="39597" y="22862"/>
                  <a:pt x="39206" y="23253"/>
                  <a:pt x="39206" y="23737"/>
                </a:cubicBezTo>
                <a:cubicBezTo>
                  <a:pt x="39206" y="24222"/>
                  <a:pt x="39597" y="24613"/>
                  <a:pt x="40081" y="24613"/>
                </a:cubicBezTo>
                <a:cubicBezTo>
                  <a:pt x="40551" y="24613"/>
                  <a:pt x="40942" y="24222"/>
                  <a:pt x="40942" y="23737"/>
                </a:cubicBezTo>
                <a:cubicBezTo>
                  <a:pt x="40942" y="23253"/>
                  <a:pt x="40551" y="22862"/>
                  <a:pt x="40081" y="22862"/>
                </a:cubicBezTo>
                <a:close/>
                <a:moveTo>
                  <a:pt x="40081" y="23894"/>
                </a:moveTo>
                <a:cubicBezTo>
                  <a:pt x="39988" y="23894"/>
                  <a:pt x="39925" y="23816"/>
                  <a:pt x="39925" y="23737"/>
                </a:cubicBezTo>
                <a:cubicBezTo>
                  <a:pt x="39925" y="23643"/>
                  <a:pt x="39988" y="23581"/>
                  <a:pt x="40081" y="23581"/>
                </a:cubicBezTo>
                <a:cubicBezTo>
                  <a:pt x="40160" y="23581"/>
                  <a:pt x="40238" y="23643"/>
                  <a:pt x="40238" y="23737"/>
                </a:cubicBezTo>
                <a:cubicBezTo>
                  <a:pt x="40238" y="23816"/>
                  <a:pt x="40160" y="23894"/>
                  <a:pt x="40081" y="23894"/>
                </a:cubicBezTo>
                <a:close/>
                <a:moveTo>
                  <a:pt x="42224" y="22862"/>
                </a:moveTo>
                <a:cubicBezTo>
                  <a:pt x="41755" y="22862"/>
                  <a:pt x="41364" y="23253"/>
                  <a:pt x="41364" y="23737"/>
                </a:cubicBezTo>
                <a:cubicBezTo>
                  <a:pt x="41364" y="24222"/>
                  <a:pt x="41755" y="24613"/>
                  <a:pt x="42224" y="24613"/>
                </a:cubicBezTo>
                <a:cubicBezTo>
                  <a:pt x="42708" y="24613"/>
                  <a:pt x="43100" y="24222"/>
                  <a:pt x="43100" y="23737"/>
                </a:cubicBezTo>
                <a:cubicBezTo>
                  <a:pt x="43100" y="23253"/>
                  <a:pt x="42708" y="22862"/>
                  <a:pt x="42224" y="22862"/>
                </a:cubicBezTo>
                <a:close/>
                <a:moveTo>
                  <a:pt x="42224" y="23894"/>
                </a:moveTo>
                <a:cubicBezTo>
                  <a:pt x="42145" y="23894"/>
                  <a:pt x="42067" y="23816"/>
                  <a:pt x="42067" y="23737"/>
                </a:cubicBezTo>
                <a:cubicBezTo>
                  <a:pt x="42067" y="23643"/>
                  <a:pt x="42145" y="23581"/>
                  <a:pt x="42224" y="23581"/>
                </a:cubicBezTo>
                <a:cubicBezTo>
                  <a:pt x="42318" y="23581"/>
                  <a:pt x="42380" y="23643"/>
                  <a:pt x="42380" y="23737"/>
                </a:cubicBezTo>
                <a:cubicBezTo>
                  <a:pt x="42380" y="23816"/>
                  <a:pt x="42318" y="23894"/>
                  <a:pt x="42224" y="23894"/>
                </a:cubicBezTo>
                <a:close/>
                <a:moveTo>
                  <a:pt x="11966" y="10195"/>
                </a:moveTo>
                <a:cubicBezTo>
                  <a:pt x="11919" y="10321"/>
                  <a:pt x="11950" y="10462"/>
                  <a:pt x="12044" y="10555"/>
                </a:cubicBezTo>
                <a:cubicBezTo>
                  <a:pt x="12138" y="10665"/>
                  <a:pt x="12279" y="10696"/>
                  <a:pt x="12419" y="10649"/>
                </a:cubicBezTo>
                <a:lnTo>
                  <a:pt x="14358" y="10024"/>
                </a:lnTo>
                <a:cubicBezTo>
                  <a:pt x="15203" y="10524"/>
                  <a:pt x="16157" y="10790"/>
                  <a:pt x="17142" y="10790"/>
                </a:cubicBezTo>
                <a:cubicBezTo>
                  <a:pt x="18581" y="10790"/>
                  <a:pt x="19941" y="10227"/>
                  <a:pt x="20957" y="9211"/>
                </a:cubicBezTo>
                <a:cubicBezTo>
                  <a:pt x="21974" y="8194"/>
                  <a:pt x="22537" y="6834"/>
                  <a:pt x="22537" y="5395"/>
                </a:cubicBezTo>
                <a:cubicBezTo>
                  <a:pt x="22537" y="3957"/>
                  <a:pt x="21974" y="2596"/>
                  <a:pt x="20957" y="1580"/>
                </a:cubicBezTo>
                <a:cubicBezTo>
                  <a:pt x="19941" y="563"/>
                  <a:pt x="18581" y="0"/>
                  <a:pt x="17142" y="0"/>
                </a:cubicBezTo>
                <a:cubicBezTo>
                  <a:pt x="15703" y="0"/>
                  <a:pt x="14358" y="563"/>
                  <a:pt x="13327" y="1580"/>
                </a:cubicBezTo>
                <a:cubicBezTo>
                  <a:pt x="12310" y="2596"/>
                  <a:pt x="11747" y="3957"/>
                  <a:pt x="11747" y="5395"/>
                </a:cubicBezTo>
                <a:cubicBezTo>
                  <a:pt x="11747" y="6427"/>
                  <a:pt x="12044" y="7412"/>
                  <a:pt x="12591" y="8272"/>
                </a:cubicBezTo>
                <a:close/>
                <a:moveTo>
                  <a:pt x="12466" y="5395"/>
                </a:moveTo>
                <a:cubicBezTo>
                  <a:pt x="12466" y="4144"/>
                  <a:pt x="12951" y="2971"/>
                  <a:pt x="13842" y="2096"/>
                </a:cubicBezTo>
                <a:cubicBezTo>
                  <a:pt x="14718" y="1204"/>
                  <a:pt x="15891" y="720"/>
                  <a:pt x="17142" y="720"/>
                </a:cubicBezTo>
                <a:cubicBezTo>
                  <a:pt x="18393" y="720"/>
                  <a:pt x="19565" y="1204"/>
                  <a:pt x="20457" y="2096"/>
                </a:cubicBezTo>
                <a:cubicBezTo>
                  <a:pt x="21333" y="2971"/>
                  <a:pt x="21833" y="4144"/>
                  <a:pt x="21833" y="5395"/>
                </a:cubicBezTo>
                <a:cubicBezTo>
                  <a:pt x="21833" y="6646"/>
                  <a:pt x="21333" y="7819"/>
                  <a:pt x="20457" y="8710"/>
                </a:cubicBezTo>
                <a:cubicBezTo>
                  <a:pt x="19565" y="9586"/>
                  <a:pt x="18393" y="10086"/>
                  <a:pt x="17142" y="10086"/>
                </a:cubicBezTo>
                <a:cubicBezTo>
                  <a:pt x="16235" y="10086"/>
                  <a:pt x="15359" y="9820"/>
                  <a:pt x="14593" y="9320"/>
                </a:cubicBezTo>
                <a:cubicBezTo>
                  <a:pt x="14530" y="9289"/>
                  <a:pt x="14468" y="9257"/>
                  <a:pt x="14405" y="9257"/>
                </a:cubicBezTo>
                <a:cubicBezTo>
                  <a:pt x="14343" y="9257"/>
                  <a:pt x="14280" y="9273"/>
                  <a:pt x="14218" y="9304"/>
                </a:cubicBezTo>
                <a:lnTo>
                  <a:pt x="12857" y="9758"/>
                </a:lnTo>
                <a:lnTo>
                  <a:pt x="13311" y="8335"/>
                </a:lnTo>
                <a:cubicBezTo>
                  <a:pt x="13358" y="8225"/>
                  <a:pt x="13342" y="8116"/>
                  <a:pt x="13279" y="8022"/>
                </a:cubicBezTo>
                <a:cubicBezTo>
                  <a:pt x="12748" y="7256"/>
                  <a:pt x="12466" y="6349"/>
                  <a:pt x="12466" y="5395"/>
                </a:cubicBezTo>
                <a:close/>
                <a:moveTo>
                  <a:pt x="20770" y="5770"/>
                </a:moveTo>
                <a:cubicBezTo>
                  <a:pt x="20957" y="5770"/>
                  <a:pt x="21129" y="5614"/>
                  <a:pt x="21129" y="5411"/>
                </a:cubicBezTo>
                <a:cubicBezTo>
                  <a:pt x="21129" y="5223"/>
                  <a:pt x="20957" y="5066"/>
                  <a:pt x="20770" y="5066"/>
                </a:cubicBezTo>
                <a:lnTo>
                  <a:pt x="13389" y="5066"/>
                </a:lnTo>
                <a:cubicBezTo>
                  <a:pt x="13201" y="5066"/>
                  <a:pt x="13029" y="5223"/>
                  <a:pt x="13029" y="5411"/>
                </a:cubicBezTo>
                <a:cubicBezTo>
                  <a:pt x="13029" y="5614"/>
                  <a:pt x="13201" y="5770"/>
                  <a:pt x="13389" y="5770"/>
                </a:cubicBezTo>
                <a:close/>
                <a:moveTo>
                  <a:pt x="20457" y="6630"/>
                </a:moveTo>
                <a:lnTo>
                  <a:pt x="13702" y="6630"/>
                </a:lnTo>
                <a:cubicBezTo>
                  <a:pt x="13514" y="6630"/>
                  <a:pt x="13342" y="6787"/>
                  <a:pt x="13342" y="6990"/>
                </a:cubicBezTo>
                <a:cubicBezTo>
                  <a:pt x="13342" y="7178"/>
                  <a:pt x="13514" y="7350"/>
                  <a:pt x="13702" y="7350"/>
                </a:cubicBezTo>
                <a:lnTo>
                  <a:pt x="20457" y="7350"/>
                </a:lnTo>
                <a:cubicBezTo>
                  <a:pt x="20645" y="7350"/>
                  <a:pt x="20801" y="7178"/>
                  <a:pt x="20801" y="6990"/>
                </a:cubicBezTo>
                <a:cubicBezTo>
                  <a:pt x="20801" y="6787"/>
                  <a:pt x="20645" y="6630"/>
                  <a:pt x="20457" y="6630"/>
                </a:cubicBezTo>
                <a:close/>
                <a:moveTo>
                  <a:pt x="13702" y="4207"/>
                </a:moveTo>
                <a:lnTo>
                  <a:pt x="20457" y="4207"/>
                </a:lnTo>
                <a:cubicBezTo>
                  <a:pt x="20645" y="4207"/>
                  <a:pt x="20801" y="4050"/>
                  <a:pt x="20801" y="3847"/>
                </a:cubicBezTo>
                <a:cubicBezTo>
                  <a:pt x="20801" y="3644"/>
                  <a:pt x="20645" y="3487"/>
                  <a:pt x="20457" y="3487"/>
                </a:cubicBezTo>
                <a:lnTo>
                  <a:pt x="13702" y="3487"/>
                </a:lnTo>
                <a:cubicBezTo>
                  <a:pt x="13514" y="3487"/>
                  <a:pt x="13342" y="3644"/>
                  <a:pt x="13342" y="3847"/>
                </a:cubicBezTo>
                <a:cubicBezTo>
                  <a:pt x="13342" y="4050"/>
                  <a:pt x="13514" y="4207"/>
                  <a:pt x="13702" y="4207"/>
                </a:cubicBezTo>
                <a:close/>
                <a:moveTo>
                  <a:pt x="13436" y="17764"/>
                </a:moveTo>
                <a:lnTo>
                  <a:pt x="14218" y="17764"/>
                </a:lnTo>
                <a:lnTo>
                  <a:pt x="14499" y="16935"/>
                </a:lnTo>
                <a:lnTo>
                  <a:pt x="15750" y="16935"/>
                </a:lnTo>
                <a:lnTo>
                  <a:pt x="16032" y="17764"/>
                </a:lnTo>
                <a:lnTo>
                  <a:pt x="16829" y="17764"/>
                </a:lnTo>
                <a:lnTo>
                  <a:pt x="15500" y="14199"/>
                </a:lnTo>
                <a:lnTo>
                  <a:pt x="14781" y="14199"/>
                </a:lnTo>
                <a:close/>
                <a:moveTo>
                  <a:pt x="15547" y="16325"/>
                </a:moveTo>
                <a:lnTo>
                  <a:pt x="14687" y="16325"/>
                </a:lnTo>
                <a:lnTo>
                  <a:pt x="15124" y="15043"/>
                </a:lnTo>
                <a:close/>
                <a:moveTo>
                  <a:pt x="19409" y="17764"/>
                </a:moveTo>
                <a:lnTo>
                  <a:pt x="19409" y="16107"/>
                </a:lnTo>
                <a:cubicBezTo>
                  <a:pt x="19409" y="15950"/>
                  <a:pt x="19394" y="15809"/>
                  <a:pt x="19347" y="15684"/>
                </a:cubicBezTo>
                <a:cubicBezTo>
                  <a:pt x="19315" y="15559"/>
                  <a:pt x="19253" y="15450"/>
                  <a:pt x="19159" y="15356"/>
                </a:cubicBezTo>
                <a:cubicBezTo>
                  <a:pt x="19081" y="15262"/>
                  <a:pt x="18971" y="15199"/>
                  <a:pt x="18831" y="15153"/>
                </a:cubicBezTo>
                <a:cubicBezTo>
                  <a:pt x="18690" y="15090"/>
                  <a:pt x="18518" y="15074"/>
                  <a:pt x="18314" y="15074"/>
                </a:cubicBezTo>
                <a:cubicBezTo>
                  <a:pt x="17986" y="15074"/>
                  <a:pt x="17720" y="15137"/>
                  <a:pt x="17533" y="15262"/>
                </a:cubicBezTo>
                <a:cubicBezTo>
                  <a:pt x="17345" y="15371"/>
                  <a:pt x="17220" y="15575"/>
                  <a:pt x="17173" y="15841"/>
                </a:cubicBezTo>
                <a:lnTo>
                  <a:pt x="17814" y="15903"/>
                </a:lnTo>
                <a:cubicBezTo>
                  <a:pt x="17861" y="15700"/>
                  <a:pt x="18018" y="15591"/>
                  <a:pt x="18283" y="15591"/>
                </a:cubicBezTo>
                <a:cubicBezTo>
                  <a:pt x="18408" y="15591"/>
                  <a:pt x="18518" y="15622"/>
                  <a:pt x="18596" y="15684"/>
                </a:cubicBezTo>
                <a:cubicBezTo>
                  <a:pt x="18690" y="15747"/>
                  <a:pt x="18737" y="15856"/>
                  <a:pt x="18737" y="16012"/>
                </a:cubicBezTo>
                <a:lnTo>
                  <a:pt x="18737" y="16138"/>
                </a:lnTo>
                <a:cubicBezTo>
                  <a:pt x="18393" y="16154"/>
                  <a:pt x="18507" y="16149"/>
                  <a:pt x="18393" y="16154"/>
                </a:cubicBezTo>
                <a:cubicBezTo>
                  <a:pt x="18236" y="16169"/>
                  <a:pt x="18064" y="16185"/>
                  <a:pt x="17908" y="16216"/>
                </a:cubicBezTo>
                <a:cubicBezTo>
                  <a:pt x="17751" y="16232"/>
                  <a:pt x="17595" y="16279"/>
                  <a:pt x="17470" y="16341"/>
                </a:cubicBezTo>
                <a:cubicBezTo>
                  <a:pt x="17345" y="16404"/>
                  <a:pt x="17236" y="16497"/>
                  <a:pt x="17158" y="16607"/>
                </a:cubicBezTo>
                <a:cubicBezTo>
                  <a:pt x="17079" y="16716"/>
                  <a:pt x="17032" y="16873"/>
                  <a:pt x="17032" y="17045"/>
                </a:cubicBezTo>
                <a:cubicBezTo>
                  <a:pt x="17032" y="17185"/>
                  <a:pt x="17063" y="17310"/>
                  <a:pt x="17110" y="17405"/>
                </a:cubicBezTo>
                <a:cubicBezTo>
                  <a:pt x="17158" y="17498"/>
                  <a:pt x="17220" y="17576"/>
                  <a:pt x="17298" y="17639"/>
                </a:cubicBezTo>
                <a:cubicBezTo>
                  <a:pt x="17376" y="17701"/>
                  <a:pt x="17455" y="17748"/>
                  <a:pt x="17564" y="17780"/>
                </a:cubicBezTo>
                <a:cubicBezTo>
                  <a:pt x="17673" y="17811"/>
                  <a:pt x="17783" y="17826"/>
                  <a:pt x="17893" y="17826"/>
                </a:cubicBezTo>
                <a:cubicBezTo>
                  <a:pt x="18096" y="17826"/>
                  <a:pt x="18268" y="17795"/>
                  <a:pt x="18393" y="17717"/>
                </a:cubicBezTo>
                <a:cubicBezTo>
                  <a:pt x="18518" y="17639"/>
                  <a:pt x="18643" y="17545"/>
                  <a:pt x="18752" y="17436"/>
                </a:cubicBezTo>
                <a:lnTo>
                  <a:pt x="18752" y="17764"/>
                </a:lnTo>
                <a:close/>
                <a:moveTo>
                  <a:pt x="18737" y="16732"/>
                </a:moveTo>
                <a:cubicBezTo>
                  <a:pt x="18737" y="16842"/>
                  <a:pt x="18706" y="16935"/>
                  <a:pt x="18674" y="16998"/>
                </a:cubicBezTo>
                <a:cubicBezTo>
                  <a:pt x="18627" y="17076"/>
                  <a:pt x="18581" y="17138"/>
                  <a:pt x="18518" y="17185"/>
                </a:cubicBezTo>
                <a:cubicBezTo>
                  <a:pt x="18408" y="17263"/>
                  <a:pt x="18252" y="17310"/>
                  <a:pt x="18080" y="17310"/>
                </a:cubicBezTo>
                <a:cubicBezTo>
                  <a:pt x="17971" y="17310"/>
                  <a:pt x="17877" y="17279"/>
                  <a:pt x="17830" y="17232"/>
                </a:cubicBezTo>
                <a:cubicBezTo>
                  <a:pt x="17767" y="17185"/>
                  <a:pt x="17736" y="17107"/>
                  <a:pt x="17736" y="17029"/>
                </a:cubicBezTo>
                <a:cubicBezTo>
                  <a:pt x="17736" y="16967"/>
                  <a:pt x="17736" y="16920"/>
                  <a:pt x="17751" y="16873"/>
                </a:cubicBezTo>
                <a:cubicBezTo>
                  <a:pt x="17783" y="16826"/>
                  <a:pt x="17814" y="16779"/>
                  <a:pt x="17861" y="16748"/>
                </a:cubicBezTo>
                <a:cubicBezTo>
                  <a:pt x="17908" y="16716"/>
                  <a:pt x="17971" y="16685"/>
                  <a:pt x="18064" y="16654"/>
                </a:cubicBezTo>
                <a:cubicBezTo>
                  <a:pt x="18158" y="16638"/>
                  <a:pt x="18268" y="16622"/>
                  <a:pt x="18424" y="16607"/>
                </a:cubicBezTo>
                <a:lnTo>
                  <a:pt x="18737" y="16591"/>
                </a:lnTo>
                <a:close/>
                <a:moveTo>
                  <a:pt x="21176" y="14199"/>
                </a:moveTo>
                <a:lnTo>
                  <a:pt x="21176" y="17764"/>
                </a:lnTo>
                <a:lnTo>
                  <a:pt x="22537" y="17764"/>
                </a:lnTo>
                <a:cubicBezTo>
                  <a:pt x="22787" y="17764"/>
                  <a:pt x="23006" y="17733"/>
                  <a:pt x="23178" y="17686"/>
                </a:cubicBezTo>
                <a:cubicBezTo>
                  <a:pt x="23334" y="17623"/>
                  <a:pt x="23475" y="17545"/>
                  <a:pt x="23585" y="17451"/>
                </a:cubicBezTo>
                <a:cubicBezTo>
                  <a:pt x="23694" y="17357"/>
                  <a:pt x="23772" y="17232"/>
                  <a:pt x="23803" y="17107"/>
                </a:cubicBezTo>
                <a:cubicBezTo>
                  <a:pt x="23850" y="16967"/>
                  <a:pt x="23881" y="16826"/>
                  <a:pt x="23881" y="16685"/>
                </a:cubicBezTo>
                <a:cubicBezTo>
                  <a:pt x="23881" y="16607"/>
                  <a:pt x="23866" y="16529"/>
                  <a:pt x="23850" y="16450"/>
                </a:cubicBezTo>
                <a:cubicBezTo>
                  <a:pt x="23835" y="16388"/>
                  <a:pt x="23819" y="16310"/>
                  <a:pt x="23772" y="16247"/>
                </a:cubicBezTo>
                <a:cubicBezTo>
                  <a:pt x="23741" y="16169"/>
                  <a:pt x="23678" y="16107"/>
                  <a:pt x="23616" y="16044"/>
                </a:cubicBezTo>
                <a:cubicBezTo>
                  <a:pt x="23553" y="15981"/>
                  <a:pt x="23459" y="15919"/>
                  <a:pt x="23350" y="15872"/>
                </a:cubicBezTo>
                <a:cubicBezTo>
                  <a:pt x="23522" y="15778"/>
                  <a:pt x="23631" y="15669"/>
                  <a:pt x="23694" y="15559"/>
                </a:cubicBezTo>
                <a:cubicBezTo>
                  <a:pt x="23756" y="15434"/>
                  <a:pt x="23788" y="15293"/>
                  <a:pt x="23788" y="15153"/>
                </a:cubicBezTo>
                <a:cubicBezTo>
                  <a:pt x="23788" y="15028"/>
                  <a:pt x="23756" y="14887"/>
                  <a:pt x="23725" y="14777"/>
                </a:cubicBezTo>
                <a:cubicBezTo>
                  <a:pt x="23694" y="14668"/>
                  <a:pt x="23616" y="14558"/>
                  <a:pt x="23522" y="14465"/>
                </a:cubicBezTo>
                <a:cubicBezTo>
                  <a:pt x="23412" y="14386"/>
                  <a:pt x="23287" y="14324"/>
                  <a:pt x="23115" y="14261"/>
                </a:cubicBezTo>
                <a:cubicBezTo>
                  <a:pt x="22943" y="14215"/>
                  <a:pt x="22724" y="14199"/>
                  <a:pt x="22459" y="14199"/>
                </a:cubicBezTo>
                <a:close/>
                <a:moveTo>
                  <a:pt x="23162" y="16685"/>
                </a:moveTo>
                <a:cubicBezTo>
                  <a:pt x="23162" y="16748"/>
                  <a:pt x="23147" y="16826"/>
                  <a:pt x="23131" y="16888"/>
                </a:cubicBezTo>
                <a:cubicBezTo>
                  <a:pt x="23100" y="16951"/>
                  <a:pt x="23068" y="16998"/>
                  <a:pt x="23022" y="17045"/>
                </a:cubicBezTo>
                <a:cubicBezTo>
                  <a:pt x="22975" y="17092"/>
                  <a:pt x="22912" y="17123"/>
                  <a:pt x="22818" y="17138"/>
                </a:cubicBezTo>
                <a:cubicBezTo>
                  <a:pt x="22740" y="17170"/>
                  <a:pt x="22646" y="17185"/>
                  <a:pt x="22521" y="17185"/>
                </a:cubicBezTo>
                <a:lnTo>
                  <a:pt x="21896" y="17185"/>
                </a:lnTo>
                <a:lnTo>
                  <a:pt x="21896" y="16216"/>
                </a:lnTo>
                <a:lnTo>
                  <a:pt x="22599" y="16216"/>
                </a:lnTo>
                <a:cubicBezTo>
                  <a:pt x="22802" y="16216"/>
                  <a:pt x="22943" y="16247"/>
                  <a:pt x="23037" y="16325"/>
                </a:cubicBezTo>
                <a:cubicBezTo>
                  <a:pt x="23115" y="16404"/>
                  <a:pt x="23162" y="16529"/>
                  <a:pt x="23162" y="16685"/>
                </a:cubicBezTo>
                <a:close/>
                <a:moveTo>
                  <a:pt x="23053" y="15184"/>
                </a:moveTo>
                <a:cubicBezTo>
                  <a:pt x="23053" y="15324"/>
                  <a:pt x="23022" y="15418"/>
                  <a:pt x="22943" y="15497"/>
                </a:cubicBezTo>
                <a:cubicBezTo>
                  <a:pt x="22880" y="15575"/>
                  <a:pt x="22740" y="15606"/>
                  <a:pt x="22537" y="15606"/>
                </a:cubicBezTo>
                <a:lnTo>
                  <a:pt x="21896" y="15606"/>
                </a:lnTo>
                <a:cubicBezTo>
                  <a:pt x="21896" y="14777"/>
                  <a:pt x="21896" y="15053"/>
                  <a:pt x="21896" y="14777"/>
                </a:cubicBezTo>
                <a:cubicBezTo>
                  <a:pt x="22427" y="14777"/>
                  <a:pt x="22250" y="14777"/>
                  <a:pt x="22427" y="14777"/>
                </a:cubicBezTo>
                <a:cubicBezTo>
                  <a:pt x="22662" y="14777"/>
                  <a:pt x="22818" y="14809"/>
                  <a:pt x="22912" y="14871"/>
                </a:cubicBezTo>
                <a:cubicBezTo>
                  <a:pt x="23006" y="14934"/>
                  <a:pt x="23053" y="15043"/>
                  <a:pt x="23053" y="15184"/>
                </a:cubicBezTo>
                <a:close/>
                <a:moveTo>
                  <a:pt x="25039" y="17467"/>
                </a:moveTo>
                <a:cubicBezTo>
                  <a:pt x="25148" y="17608"/>
                  <a:pt x="25273" y="17717"/>
                  <a:pt x="25398" y="17764"/>
                </a:cubicBezTo>
                <a:cubicBezTo>
                  <a:pt x="25524" y="17811"/>
                  <a:pt x="25664" y="17842"/>
                  <a:pt x="25805" y="17842"/>
                </a:cubicBezTo>
                <a:cubicBezTo>
                  <a:pt x="25977" y="17842"/>
                  <a:pt x="26133" y="17811"/>
                  <a:pt x="26274" y="17748"/>
                </a:cubicBezTo>
                <a:cubicBezTo>
                  <a:pt x="26415" y="17670"/>
                  <a:pt x="26540" y="17576"/>
                  <a:pt x="26633" y="17467"/>
                </a:cubicBezTo>
                <a:cubicBezTo>
                  <a:pt x="26727" y="17342"/>
                  <a:pt x="26806" y="17201"/>
                  <a:pt x="26868" y="17029"/>
                </a:cubicBezTo>
                <a:cubicBezTo>
                  <a:pt x="26915" y="16857"/>
                  <a:pt x="26946" y="16669"/>
                  <a:pt x="26946" y="16450"/>
                </a:cubicBezTo>
                <a:cubicBezTo>
                  <a:pt x="26946" y="16028"/>
                  <a:pt x="26853" y="15684"/>
                  <a:pt x="26665" y="15450"/>
                </a:cubicBezTo>
                <a:cubicBezTo>
                  <a:pt x="26493" y="15199"/>
                  <a:pt x="26212" y="15074"/>
                  <a:pt x="25852" y="15074"/>
                </a:cubicBezTo>
                <a:cubicBezTo>
                  <a:pt x="25524" y="15074"/>
                  <a:pt x="25242" y="15199"/>
                  <a:pt x="25054" y="15466"/>
                </a:cubicBezTo>
                <a:lnTo>
                  <a:pt x="25054" y="14199"/>
                </a:lnTo>
                <a:lnTo>
                  <a:pt x="24351" y="14199"/>
                </a:lnTo>
                <a:lnTo>
                  <a:pt x="24351" y="17764"/>
                </a:lnTo>
                <a:lnTo>
                  <a:pt x="25039" y="17764"/>
                </a:lnTo>
                <a:close/>
                <a:moveTo>
                  <a:pt x="25054" y="16404"/>
                </a:moveTo>
                <a:cubicBezTo>
                  <a:pt x="25054" y="16247"/>
                  <a:pt x="25070" y="16122"/>
                  <a:pt x="25101" y="16028"/>
                </a:cubicBezTo>
                <a:cubicBezTo>
                  <a:pt x="25132" y="15934"/>
                  <a:pt x="25179" y="15856"/>
                  <a:pt x="25242" y="15794"/>
                </a:cubicBezTo>
                <a:cubicBezTo>
                  <a:pt x="25304" y="15731"/>
                  <a:pt x="25367" y="15700"/>
                  <a:pt x="25429" y="15684"/>
                </a:cubicBezTo>
                <a:cubicBezTo>
                  <a:pt x="25492" y="15653"/>
                  <a:pt x="25570" y="15637"/>
                  <a:pt x="25649" y="15637"/>
                </a:cubicBezTo>
                <a:cubicBezTo>
                  <a:pt x="25727" y="15637"/>
                  <a:pt x="25805" y="15653"/>
                  <a:pt x="25867" y="15684"/>
                </a:cubicBezTo>
                <a:cubicBezTo>
                  <a:pt x="25945" y="15716"/>
                  <a:pt x="25992" y="15762"/>
                  <a:pt x="26055" y="15825"/>
                </a:cubicBezTo>
                <a:cubicBezTo>
                  <a:pt x="26102" y="15887"/>
                  <a:pt x="26133" y="15981"/>
                  <a:pt x="26165" y="16075"/>
                </a:cubicBezTo>
                <a:cubicBezTo>
                  <a:pt x="26196" y="16185"/>
                  <a:pt x="26212" y="16310"/>
                  <a:pt x="26212" y="16466"/>
                </a:cubicBezTo>
                <a:cubicBezTo>
                  <a:pt x="26212" y="16607"/>
                  <a:pt x="26196" y="16732"/>
                  <a:pt x="26165" y="16842"/>
                </a:cubicBezTo>
                <a:cubicBezTo>
                  <a:pt x="26133" y="16935"/>
                  <a:pt x="26086" y="17029"/>
                  <a:pt x="26039" y="17092"/>
                </a:cubicBezTo>
                <a:cubicBezTo>
                  <a:pt x="25992" y="17154"/>
                  <a:pt x="25930" y="17201"/>
                  <a:pt x="25852" y="17232"/>
                </a:cubicBezTo>
                <a:cubicBezTo>
                  <a:pt x="25789" y="17263"/>
                  <a:pt x="25711" y="17279"/>
                  <a:pt x="25633" y="17279"/>
                </a:cubicBezTo>
                <a:cubicBezTo>
                  <a:pt x="25570" y="17279"/>
                  <a:pt x="25492" y="17263"/>
                  <a:pt x="25429" y="17248"/>
                </a:cubicBezTo>
                <a:cubicBezTo>
                  <a:pt x="25367" y="17232"/>
                  <a:pt x="25289" y="17201"/>
                  <a:pt x="25226" y="17138"/>
                </a:cubicBezTo>
                <a:cubicBezTo>
                  <a:pt x="25164" y="17076"/>
                  <a:pt x="25117" y="16982"/>
                  <a:pt x="25086" y="16888"/>
                </a:cubicBezTo>
                <a:cubicBezTo>
                  <a:pt x="25054" y="16779"/>
                  <a:pt x="25054" y="16654"/>
                  <a:pt x="25054" y="16482"/>
                </a:cubicBezTo>
                <a:close/>
                <a:moveTo>
                  <a:pt x="30183" y="14746"/>
                </a:moveTo>
                <a:cubicBezTo>
                  <a:pt x="30402" y="14746"/>
                  <a:pt x="30574" y="14809"/>
                  <a:pt x="30684" y="14918"/>
                </a:cubicBezTo>
                <a:cubicBezTo>
                  <a:pt x="30778" y="15043"/>
                  <a:pt x="30856" y="15215"/>
                  <a:pt x="30887" y="15418"/>
                </a:cubicBezTo>
                <a:cubicBezTo>
                  <a:pt x="31637" y="15324"/>
                  <a:pt x="31387" y="15355"/>
                  <a:pt x="31637" y="15324"/>
                </a:cubicBezTo>
                <a:cubicBezTo>
                  <a:pt x="31591" y="15137"/>
                  <a:pt x="31544" y="14965"/>
                  <a:pt x="31481" y="14824"/>
                </a:cubicBezTo>
                <a:cubicBezTo>
                  <a:pt x="31403" y="14668"/>
                  <a:pt x="31309" y="14543"/>
                  <a:pt x="31199" y="14433"/>
                </a:cubicBezTo>
                <a:cubicBezTo>
                  <a:pt x="31090" y="14324"/>
                  <a:pt x="30934" y="14246"/>
                  <a:pt x="30778" y="14183"/>
                </a:cubicBezTo>
                <a:cubicBezTo>
                  <a:pt x="30605" y="14136"/>
                  <a:pt x="30402" y="14105"/>
                  <a:pt x="30183" y="14105"/>
                </a:cubicBezTo>
                <a:cubicBezTo>
                  <a:pt x="29917" y="14105"/>
                  <a:pt x="29698" y="14152"/>
                  <a:pt x="29495" y="14230"/>
                </a:cubicBezTo>
                <a:cubicBezTo>
                  <a:pt x="29292" y="14324"/>
                  <a:pt x="29120" y="14449"/>
                  <a:pt x="28964" y="14605"/>
                </a:cubicBezTo>
                <a:cubicBezTo>
                  <a:pt x="28823" y="14777"/>
                  <a:pt x="28714" y="14965"/>
                  <a:pt x="28635" y="15199"/>
                </a:cubicBezTo>
                <a:cubicBezTo>
                  <a:pt x="28557" y="15434"/>
                  <a:pt x="28526" y="15684"/>
                  <a:pt x="28526" y="15981"/>
                </a:cubicBezTo>
                <a:cubicBezTo>
                  <a:pt x="28526" y="16263"/>
                  <a:pt x="28557" y="16513"/>
                  <a:pt x="28635" y="16748"/>
                </a:cubicBezTo>
                <a:cubicBezTo>
                  <a:pt x="28697" y="16982"/>
                  <a:pt x="28807" y="17170"/>
                  <a:pt x="28948" y="17342"/>
                </a:cubicBezTo>
                <a:cubicBezTo>
                  <a:pt x="29073" y="17498"/>
                  <a:pt x="29245" y="17623"/>
                  <a:pt x="29464" y="17717"/>
                </a:cubicBezTo>
                <a:cubicBezTo>
                  <a:pt x="29667" y="17811"/>
                  <a:pt x="29902" y="17858"/>
                  <a:pt x="30168" y="17858"/>
                </a:cubicBezTo>
                <a:cubicBezTo>
                  <a:pt x="30418" y="17858"/>
                  <a:pt x="30621" y="17826"/>
                  <a:pt x="30809" y="17748"/>
                </a:cubicBezTo>
                <a:cubicBezTo>
                  <a:pt x="30981" y="17686"/>
                  <a:pt x="31137" y="17592"/>
                  <a:pt x="31262" y="17483"/>
                </a:cubicBezTo>
                <a:cubicBezTo>
                  <a:pt x="31387" y="17357"/>
                  <a:pt x="31481" y="17217"/>
                  <a:pt x="31559" y="17060"/>
                </a:cubicBezTo>
                <a:cubicBezTo>
                  <a:pt x="31637" y="16888"/>
                  <a:pt x="31669" y="16716"/>
                  <a:pt x="31684" y="16529"/>
                </a:cubicBezTo>
                <a:cubicBezTo>
                  <a:pt x="30887" y="16529"/>
                  <a:pt x="31152" y="16529"/>
                  <a:pt x="30887" y="16529"/>
                </a:cubicBezTo>
                <a:cubicBezTo>
                  <a:pt x="30871" y="16748"/>
                  <a:pt x="30793" y="16920"/>
                  <a:pt x="30684" y="17029"/>
                </a:cubicBezTo>
                <a:cubicBezTo>
                  <a:pt x="30574" y="17154"/>
                  <a:pt x="30418" y="17217"/>
                  <a:pt x="30183" y="17217"/>
                </a:cubicBezTo>
                <a:cubicBezTo>
                  <a:pt x="29917" y="17217"/>
                  <a:pt x="29698" y="17107"/>
                  <a:pt x="29542" y="16888"/>
                </a:cubicBezTo>
                <a:cubicBezTo>
                  <a:pt x="29386" y="16685"/>
                  <a:pt x="29307" y="16372"/>
                  <a:pt x="29307" y="15981"/>
                </a:cubicBezTo>
                <a:cubicBezTo>
                  <a:pt x="29307" y="15591"/>
                  <a:pt x="29386" y="15278"/>
                  <a:pt x="29527" y="15059"/>
                </a:cubicBezTo>
                <a:cubicBezTo>
                  <a:pt x="29683" y="14856"/>
                  <a:pt x="29886" y="14746"/>
                  <a:pt x="30183" y="14746"/>
                </a:cubicBezTo>
                <a:close/>
                <a:moveTo>
                  <a:pt x="32904" y="15887"/>
                </a:moveTo>
                <a:cubicBezTo>
                  <a:pt x="32935" y="15809"/>
                  <a:pt x="32998" y="15747"/>
                  <a:pt x="33060" y="15700"/>
                </a:cubicBezTo>
                <a:cubicBezTo>
                  <a:pt x="33138" y="15653"/>
                  <a:pt x="33233" y="15637"/>
                  <a:pt x="33326" y="15637"/>
                </a:cubicBezTo>
                <a:cubicBezTo>
                  <a:pt x="33483" y="15637"/>
                  <a:pt x="33576" y="15669"/>
                  <a:pt x="33639" y="15762"/>
                </a:cubicBezTo>
                <a:cubicBezTo>
                  <a:pt x="33701" y="15841"/>
                  <a:pt x="33733" y="15950"/>
                  <a:pt x="33764" y="16075"/>
                </a:cubicBezTo>
                <a:lnTo>
                  <a:pt x="34468" y="15981"/>
                </a:lnTo>
                <a:cubicBezTo>
                  <a:pt x="34452" y="15856"/>
                  <a:pt x="34405" y="15731"/>
                  <a:pt x="34358" y="15622"/>
                </a:cubicBezTo>
                <a:cubicBezTo>
                  <a:pt x="34311" y="15497"/>
                  <a:pt x="34249" y="15403"/>
                  <a:pt x="34155" y="15324"/>
                </a:cubicBezTo>
                <a:cubicBezTo>
                  <a:pt x="34061" y="15246"/>
                  <a:pt x="33952" y="15184"/>
                  <a:pt x="33826" y="15137"/>
                </a:cubicBezTo>
                <a:cubicBezTo>
                  <a:pt x="33686" y="15090"/>
                  <a:pt x="33530" y="15074"/>
                  <a:pt x="33358" y="15074"/>
                </a:cubicBezTo>
                <a:cubicBezTo>
                  <a:pt x="33154" y="15074"/>
                  <a:pt x="32967" y="15106"/>
                  <a:pt x="32810" y="15168"/>
                </a:cubicBezTo>
                <a:cubicBezTo>
                  <a:pt x="32654" y="15246"/>
                  <a:pt x="32513" y="15340"/>
                  <a:pt x="32404" y="15450"/>
                </a:cubicBezTo>
                <a:cubicBezTo>
                  <a:pt x="32294" y="15575"/>
                  <a:pt x="32200" y="15731"/>
                  <a:pt x="32154" y="15903"/>
                </a:cubicBezTo>
                <a:cubicBezTo>
                  <a:pt x="32091" y="16075"/>
                  <a:pt x="32060" y="16263"/>
                  <a:pt x="32060" y="16466"/>
                </a:cubicBezTo>
                <a:cubicBezTo>
                  <a:pt x="32060" y="16669"/>
                  <a:pt x="32091" y="16857"/>
                  <a:pt x="32138" y="17029"/>
                </a:cubicBezTo>
                <a:cubicBezTo>
                  <a:pt x="32185" y="17201"/>
                  <a:pt x="32263" y="17342"/>
                  <a:pt x="32357" y="17467"/>
                </a:cubicBezTo>
                <a:cubicBezTo>
                  <a:pt x="32466" y="17576"/>
                  <a:pt x="32592" y="17670"/>
                  <a:pt x="32763" y="17748"/>
                </a:cubicBezTo>
                <a:cubicBezTo>
                  <a:pt x="32920" y="17811"/>
                  <a:pt x="33107" y="17842"/>
                  <a:pt x="33326" y="17842"/>
                </a:cubicBezTo>
                <a:cubicBezTo>
                  <a:pt x="33701" y="17842"/>
                  <a:pt x="33983" y="17748"/>
                  <a:pt x="34171" y="17561"/>
                </a:cubicBezTo>
                <a:cubicBezTo>
                  <a:pt x="34358" y="17389"/>
                  <a:pt x="34468" y="17138"/>
                  <a:pt x="34499" y="16826"/>
                </a:cubicBezTo>
                <a:lnTo>
                  <a:pt x="33780" y="16826"/>
                </a:lnTo>
                <a:cubicBezTo>
                  <a:pt x="33780" y="16967"/>
                  <a:pt x="33733" y="17076"/>
                  <a:pt x="33655" y="17170"/>
                </a:cubicBezTo>
                <a:cubicBezTo>
                  <a:pt x="33576" y="17248"/>
                  <a:pt x="33467" y="17279"/>
                  <a:pt x="33326" y="17279"/>
                </a:cubicBezTo>
                <a:cubicBezTo>
                  <a:pt x="33217" y="17279"/>
                  <a:pt x="33138" y="17263"/>
                  <a:pt x="33060" y="17217"/>
                </a:cubicBezTo>
                <a:cubicBezTo>
                  <a:pt x="32998" y="17170"/>
                  <a:pt x="32935" y="17107"/>
                  <a:pt x="32904" y="17029"/>
                </a:cubicBezTo>
                <a:cubicBezTo>
                  <a:pt x="32857" y="16951"/>
                  <a:pt x="32826" y="16873"/>
                  <a:pt x="32810" y="16763"/>
                </a:cubicBezTo>
                <a:cubicBezTo>
                  <a:pt x="32795" y="16669"/>
                  <a:pt x="32779" y="16560"/>
                  <a:pt x="32779" y="16450"/>
                </a:cubicBezTo>
                <a:cubicBezTo>
                  <a:pt x="32779" y="16341"/>
                  <a:pt x="32795" y="16247"/>
                  <a:pt x="32810" y="16154"/>
                </a:cubicBezTo>
                <a:cubicBezTo>
                  <a:pt x="32826" y="16044"/>
                  <a:pt x="32857" y="15966"/>
                  <a:pt x="32904" y="15887"/>
                </a:cubicBezTo>
                <a:close/>
                <a:moveTo>
                  <a:pt x="26931" y="7381"/>
                </a:moveTo>
                <a:lnTo>
                  <a:pt x="27447" y="7381"/>
                </a:lnTo>
                <a:cubicBezTo>
                  <a:pt x="27525" y="7662"/>
                  <a:pt x="27634" y="7944"/>
                  <a:pt x="27791" y="8210"/>
                </a:cubicBezTo>
                <a:lnTo>
                  <a:pt x="27415" y="8569"/>
                </a:lnTo>
                <a:cubicBezTo>
                  <a:pt x="27306" y="8694"/>
                  <a:pt x="27228" y="8851"/>
                  <a:pt x="27228" y="9023"/>
                </a:cubicBezTo>
                <a:cubicBezTo>
                  <a:pt x="27228" y="9195"/>
                  <a:pt x="27306" y="9351"/>
                  <a:pt x="27415" y="9476"/>
                </a:cubicBezTo>
                <a:lnTo>
                  <a:pt x="28025" y="10070"/>
                </a:lnTo>
                <a:cubicBezTo>
                  <a:pt x="28135" y="10195"/>
                  <a:pt x="28307" y="10258"/>
                  <a:pt x="28479" y="10258"/>
                </a:cubicBezTo>
                <a:cubicBezTo>
                  <a:pt x="28651" y="10258"/>
                  <a:pt x="28807" y="10195"/>
                  <a:pt x="28932" y="10070"/>
                </a:cubicBezTo>
                <a:lnTo>
                  <a:pt x="29292" y="9711"/>
                </a:lnTo>
                <a:cubicBezTo>
                  <a:pt x="29558" y="9852"/>
                  <a:pt x="29823" y="9977"/>
                  <a:pt x="30121" y="10055"/>
                </a:cubicBezTo>
                <a:lnTo>
                  <a:pt x="30121" y="10571"/>
                </a:lnTo>
                <a:cubicBezTo>
                  <a:pt x="30121" y="10915"/>
                  <a:pt x="30402" y="11212"/>
                  <a:pt x="30762" y="11212"/>
                </a:cubicBezTo>
                <a:lnTo>
                  <a:pt x="31606" y="11212"/>
                </a:lnTo>
                <a:cubicBezTo>
                  <a:pt x="31950" y="11212"/>
                  <a:pt x="32247" y="10915"/>
                  <a:pt x="32247" y="10571"/>
                </a:cubicBezTo>
                <a:lnTo>
                  <a:pt x="32247" y="10055"/>
                </a:lnTo>
                <a:cubicBezTo>
                  <a:pt x="32529" y="9977"/>
                  <a:pt x="32810" y="9852"/>
                  <a:pt x="33060" y="9711"/>
                </a:cubicBezTo>
                <a:lnTo>
                  <a:pt x="33436" y="10070"/>
                </a:lnTo>
                <a:cubicBezTo>
                  <a:pt x="33545" y="10195"/>
                  <a:pt x="33717" y="10258"/>
                  <a:pt x="33889" y="10258"/>
                </a:cubicBezTo>
                <a:cubicBezTo>
                  <a:pt x="34061" y="10258"/>
                  <a:pt x="34218" y="10195"/>
                  <a:pt x="34343" y="10070"/>
                </a:cubicBezTo>
                <a:lnTo>
                  <a:pt x="34937" y="9476"/>
                </a:lnTo>
                <a:cubicBezTo>
                  <a:pt x="35062" y="9351"/>
                  <a:pt x="35124" y="9195"/>
                  <a:pt x="35124" y="9023"/>
                </a:cubicBezTo>
                <a:cubicBezTo>
                  <a:pt x="35124" y="8851"/>
                  <a:pt x="35062" y="8694"/>
                  <a:pt x="34937" y="8569"/>
                </a:cubicBezTo>
                <a:lnTo>
                  <a:pt x="34577" y="8210"/>
                </a:lnTo>
                <a:cubicBezTo>
                  <a:pt x="34718" y="7944"/>
                  <a:pt x="34827" y="7662"/>
                  <a:pt x="34921" y="7381"/>
                </a:cubicBezTo>
                <a:lnTo>
                  <a:pt x="35437" y="7381"/>
                </a:lnTo>
                <a:cubicBezTo>
                  <a:pt x="35782" y="7381"/>
                  <a:pt x="36063" y="7099"/>
                  <a:pt x="36063" y="6740"/>
                </a:cubicBezTo>
                <a:cubicBezTo>
                  <a:pt x="36063" y="5896"/>
                  <a:pt x="36063" y="6177"/>
                  <a:pt x="36063" y="5896"/>
                </a:cubicBezTo>
                <a:cubicBezTo>
                  <a:pt x="36063" y="5536"/>
                  <a:pt x="35782" y="5254"/>
                  <a:pt x="35437" y="5254"/>
                </a:cubicBezTo>
                <a:lnTo>
                  <a:pt x="34921" y="5254"/>
                </a:lnTo>
                <a:cubicBezTo>
                  <a:pt x="34827" y="4973"/>
                  <a:pt x="34718" y="4691"/>
                  <a:pt x="34577" y="4425"/>
                </a:cubicBezTo>
                <a:lnTo>
                  <a:pt x="34937" y="4066"/>
                </a:lnTo>
                <a:cubicBezTo>
                  <a:pt x="35062" y="3941"/>
                  <a:pt x="35124" y="3784"/>
                  <a:pt x="35124" y="3612"/>
                </a:cubicBezTo>
                <a:cubicBezTo>
                  <a:pt x="35124" y="3440"/>
                  <a:pt x="35062" y="3284"/>
                  <a:pt x="34937" y="3159"/>
                </a:cubicBezTo>
                <a:cubicBezTo>
                  <a:pt x="34343" y="2564"/>
                  <a:pt x="34541" y="2762"/>
                  <a:pt x="34343" y="2564"/>
                </a:cubicBezTo>
                <a:cubicBezTo>
                  <a:pt x="34218" y="2439"/>
                  <a:pt x="34061" y="2377"/>
                  <a:pt x="33889" y="2377"/>
                </a:cubicBezTo>
                <a:cubicBezTo>
                  <a:pt x="33717" y="2377"/>
                  <a:pt x="33545" y="2439"/>
                  <a:pt x="33436" y="2564"/>
                </a:cubicBezTo>
                <a:lnTo>
                  <a:pt x="33060" y="2924"/>
                </a:lnTo>
                <a:cubicBezTo>
                  <a:pt x="32810" y="2784"/>
                  <a:pt x="32529" y="2659"/>
                  <a:pt x="32247" y="2580"/>
                </a:cubicBezTo>
                <a:lnTo>
                  <a:pt x="32247" y="2064"/>
                </a:lnTo>
                <a:cubicBezTo>
                  <a:pt x="32247" y="1720"/>
                  <a:pt x="31950" y="1423"/>
                  <a:pt x="31606" y="1423"/>
                </a:cubicBezTo>
                <a:lnTo>
                  <a:pt x="30762" y="1423"/>
                </a:lnTo>
                <a:cubicBezTo>
                  <a:pt x="30402" y="1423"/>
                  <a:pt x="30121" y="1720"/>
                  <a:pt x="30121" y="2064"/>
                </a:cubicBezTo>
                <a:lnTo>
                  <a:pt x="30121" y="2580"/>
                </a:lnTo>
                <a:cubicBezTo>
                  <a:pt x="29823" y="2659"/>
                  <a:pt x="29558" y="2784"/>
                  <a:pt x="29292" y="2924"/>
                </a:cubicBezTo>
                <a:cubicBezTo>
                  <a:pt x="28932" y="2564"/>
                  <a:pt x="29052" y="2684"/>
                  <a:pt x="28932" y="2564"/>
                </a:cubicBezTo>
                <a:cubicBezTo>
                  <a:pt x="28807" y="2439"/>
                  <a:pt x="28651" y="2377"/>
                  <a:pt x="28479" y="2377"/>
                </a:cubicBezTo>
                <a:cubicBezTo>
                  <a:pt x="28307" y="2377"/>
                  <a:pt x="28135" y="2439"/>
                  <a:pt x="28025" y="2564"/>
                </a:cubicBezTo>
                <a:lnTo>
                  <a:pt x="27415" y="3159"/>
                </a:lnTo>
                <a:cubicBezTo>
                  <a:pt x="27165" y="3409"/>
                  <a:pt x="27165" y="3815"/>
                  <a:pt x="27415" y="4066"/>
                </a:cubicBezTo>
                <a:lnTo>
                  <a:pt x="27791" y="4425"/>
                </a:lnTo>
                <a:cubicBezTo>
                  <a:pt x="27634" y="4691"/>
                  <a:pt x="27525" y="4973"/>
                  <a:pt x="27447" y="5254"/>
                </a:cubicBezTo>
                <a:lnTo>
                  <a:pt x="26931" y="5254"/>
                </a:lnTo>
                <a:cubicBezTo>
                  <a:pt x="26571" y="5254"/>
                  <a:pt x="26290" y="5536"/>
                  <a:pt x="26290" y="5896"/>
                </a:cubicBezTo>
                <a:cubicBezTo>
                  <a:pt x="26290" y="6740"/>
                  <a:pt x="26290" y="6459"/>
                  <a:pt x="26290" y="6740"/>
                </a:cubicBezTo>
                <a:cubicBezTo>
                  <a:pt x="26290" y="7099"/>
                  <a:pt x="26571" y="7381"/>
                  <a:pt x="26931" y="7381"/>
                </a:cubicBezTo>
                <a:close/>
                <a:moveTo>
                  <a:pt x="27009" y="5974"/>
                </a:moveTo>
                <a:cubicBezTo>
                  <a:pt x="27728" y="5974"/>
                  <a:pt x="27488" y="5974"/>
                  <a:pt x="27728" y="5974"/>
                </a:cubicBezTo>
                <a:cubicBezTo>
                  <a:pt x="27900" y="5974"/>
                  <a:pt x="28041" y="5849"/>
                  <a:pt x="28072" y="5676"/>
                </a:cubicBezTo>
                <a:cubicBezTo>
                  <a:pt x="28151" y="5286"/>
                  <a:pt x="28307" y="4910"/>
                  <a:pt x="28541" y="4566"/>
                </a:cubicBezTo>
                <a:cubicBezTo>
                  <a:pt x="28619" y="4425"/>
                  <a:pt x="28604" y="4238"/>
                  <a:pt x="28494" y="4128"/>
                </a:cubicBezTo>
                <a:lnTo>
                  <a:pt x="27978" y="3612"/>
                </a:lnTo>
                <a:lnTo>
                  <a:pt x="28479" y="3112"/>
                </a:lnTo>
                <a:lnTo>
                  <a:pt x="28979" y="3628"/>
                </a:lnTo>
                <a:cubicBezTo>
                  <a:pt x="29104" y="3753"/>
                  <a:pt x="29292" y="3769"/>
                  <a:pt x="29433" y="3675"/>
                </a:cubicBezTo>
                <a:cubicBezTo>
                  <a:pt x="29777" y="3440"/>
                  <a:pt x="30152" y="3300"/>
                  <a:pt x="30543" y="3206"/>
                </a:cubicBezTo>
                <a:cubicBezTo>
                  <a:pt x="30715" y="3174"/>
                  <a:pt x="30824" y="3034"/>
                  <a:pt x="30824" y="2862"/>
                </a:cubicBezTo>
                <a:lnTo>
                  <a:pt x="30824" y="2143"/>
                </a:lnTo>
                <a:lnTo>
                  <a:pt x="31528" y="2143"/>
                </a:lnTo>
                <a:lnTo>
                  <a:pt x="31528" y="2862"/>
                </a:lnTo>
                <a:cubicBezTo>
                  <a:pt x="31528" y="3034"/>
                  <a:pt x="31653" y="3174"/>
                  <a:pt x="31809" y="3206"/>
                </a:cubicBezTo>
                <a:cubicBezTo>
                  <a:pt x="32216" y="3300"/>
                  <a:pt x="32592" y="3440"/>
                  <a:pt x="32920" y="3675"/>
                </a:cubicBezTo>
                <a:cubicBezTo>
                  <a:pt x="33060" y="3769"/>
                  <a:pt x="33248" y="3753"/>
                  <a:pt x="33373" y="3628"/>
                </a:cubicBezTo>
                <a:lnTo>
                  <a:pt x="33889" y="3112"/>
                </a:lnTo>
                <a:cubicBezTo>
                  <a:pt x="34374" y="3612"/>
                  <a:pt x="34212" y="3445"/>
                  <a:pt x="34374" y="3612"/>
                </a:cubicBezTo>
                <a:lnTo>
                  <a:pt x="33874" y="4128"/>
                </a:lnTo>
                <a:cubicBezTo>
                  <a:pt x="33748" y="4238"/>
                  <a:pt x="33733" y="4425"/>
                  <a:pt x="33826" y="4566"/>
                </a:cubicBezTo>
                <a:cubicBezTo>
                  <a:pt x="34046" y="4910"/>
                  <a:pt x="34202" y="5286"/>
                  <a:pt x="34280" y="5676"/>
                </a:cubicBezTo>
                <a:cubicBezTo>
                  <a:pt x="34311" y="5849"/>
                  <a:pt x="34468" y="5974"/>
                  <a:pt x="34640" y="5974"/>
                </a:cubicBezTo>
                <a:lnTo>
                  <a:pt x="35359" y="5974"/>
                </a:lnTo>
                <a:cubicBezTo>
                  <a:pt x="35359" y="6662"/>
                  <a:pt x="35359" y="6433"/>
                  <a:pt x="35359" y="6662"/>
                </a:cubicBezTo>
                <a:lnTo>
                  <a:pt x="34640" y="6662"/>
                </a:lnTo>
                <a:cubicBezTo>
                  <a:pt x="34468" y="6662"/>
                  <a:pt x="34311" y="6787"/>
                  <a:pt x="34280" y="6959"/>
                </a:cubicBezTo>
                <a:cubicBezTo>
                  <a:pt x="34202" y="7350"/>
                  <a:pt x="34046" y="7725"/>
                  <a:pt x="33826" y="8069"/>
                </a:cubicBezTo>
                <a:cubicBezTo>
                  <a:pt x="33733" y="8210"/>
                  <a:pt x="33748" y="8398"/>
                  <a:pt x="33874" y="8507"/>
                </a:cubicBezTo>
                <a:lnTo>
                  <a:pt x="34374" y="9023"/>
                </a:lnTo>
                <a:cubicBezTo>
                  <a:pt x="33889" y="9523"/>
                  <a:pt x="34050" y="9356"/>
                  <a:pt x="33889" y="9523"/>
                </a:cubicBezTo>
                <a:lnTo>
                  <a:pt x="33373" y="9007"/>
                </a:lnTo>
                <a:cubicBezTo>
                  <a:pt x="33248" y="8882"/>
                  <a:pt x="33060" y="8866"/>
                  <a:pt x="32920" y="8960"/>
                </a:cubicBezTo>
                <a:cubicBezTo>
                  <a:pt x="32592" y="9195"/>
                  <a:pt x="32216" y="9336"/>
                  <a:pt x="31809" y="9429"/>
                </a:cubicBezTo>
                <a:cubicBezTo>
                  <a:pt x="31653" y="9461"/>
                  <a:pt x="31528" y="9601"/>
                  <a:pt x="31528" y="9774"/>
                </a:cubicBezTo>
                <a:lnTo>
                  <a:pt x="31528" y="10493"/>
                </a:lnTo>
                <a:lnTo>
                  <a:pt x="30824" y="10493"/>
                </a:lnTo>
                <a:lnTo>
                  <a:pt x="30824" y="9774"/>
                </a:lnTo>
                <a:cubicBezTo>
                  <a:pt x="30824" y="9601"/>
                  <a:pt x="30715" y="9461"/>
                  <a:pt x="30543" y="9429"/>
                </a:cubicBezTo>
                <a:cubicBezTo>
                  <a:pt x="30152" y="9336"/>
                  <a:pt x="29777" y="9195"/>
                  <a:pt x="29433" y="8960"/>
                </a:cubicBezTo>
                <a:cubicBezTo>
                  <a:pt x="29292" y="8866"/>
                  <a:pt x="29104" y="8882"/>
                  <a:pt x="28979" y="9007"/>
                </a:cubicBezTo>
                <a:lnTo>
                  <a:pt x="28479" y="9523"/>
                </a:lnTo>
                <a:lnTo>
                  <a:pt x="27978" y="9023"/>
                </a:lnTo>
                <a:lnTo>
                  <a:pt x="28494" y="8507"/>
                </a:lnTo>
                <a:cubicBezTo>
                  <a:pt x="28604" y="8398"/>
                  <a:pt x="28619" y="8210"/>
                  <a:pt x="28541" y="8069"/>
                </a:cubicBezTo>
                <a:cubicBezTo>
                  <a:pt x="28307" y="7725"/>
                  <a:pt x="28151" y="7350"/>
                  <a:pt x="28072" y="6959"/>
                </a:cubicBezTo>
                <a:cubicBezTo>
                  <a:pt x="28041" y="6787"/>
                  <a:pt x="27900" y="6662"/>
                  <a:pt x="27728" y="6662"/>
                </a:cubicBezTo>
                <a:cubicBezTo>
                  <a:pt x="27009" y="6662"/>
                  <a:pt x="27248" y="6662"/>
                  <a:pt x="27009" y="6662"/>
                </a:cubicBezTo>
                <a:close/>
                <a:moveTo>
                  <a:pt x="31184" y="8460"/>
                </a:moveTo>
                <a:cubicBezTo>
                  <a:pt x="32357" y="8460"/>
                  <a:pt x="33326" y="7490"/>
                  <a:pt x="33326" y="6317"/>
                </a:cubicBezTo>
                <a:cubicBezTo>
                  <a:pt x="33326" y="5145"/>
                  <a:pt x="32357" y="4175"/>
                  <a:pt x="31184" y="4175"/>
                </a:cubicBezTo>
                <a:cubicBezTo>
                  <a:pt x="29996" y="4175"/>
                  <a:pt x="29042" y="5145"/>
                  <a:pt x="29042" y="6317"/>
                </a:cubicBezTo>
                <a:cubicBezTo>
                  <a:pt x="29042" y="7490"/>
                  <a:pt x="29996" y="8460"/>
                  <a:pt x="31184" y="8460"/>
                </a:cubicBezTo>
                <a:close/>
                <a:moveTo>
                  <a:pt x="31184" y="4895"/>
                </a:moveTo>
                <a:cubicBezTo>
                  <a:pt x="31966" y="4895"/>
                  <a:pt x="32607" y="5536"/>
                  <a:pt x="32607" y="6317"/>
                </a:cubicBezTo>
                <a:cubicBezTo>
                  <a:pt x="32607" y="7099"/>
                  <a:pt x="31966" y="7740"/>
                  <a:pt x="31184" y="7740"/>
                </a:cubicBezTo>
                <a:cubicBezTo>
                  <a:pt x="30386" y="7740"/>
                  <a:pt x="29761" y="7099"/>
                  <a:pt x="29761" y="6317"/>
                </a:cubicBezTo>
                <a:cubicBezTo>
                  <a:pt x="29761" y="5536"/>
                  <a:pt x="30386" y="4895"/>
                  <a:pt x="31184" y="4895"/>
                </a:cubicBezTo>
                <a:close/>
                <a:moveTo>
                  <a:pt x="1927" y="13088"/>
                </a:moveTo>
                <a:cubicBezTo>
                  <a:pt x="2834" y="12354"/>
                  <a:pt x="3553" y="11775"/>
                  <a:pt x="4585" y="11775"/>
                </a:cubicBezTo>
                <a:cubicBezTo>
                  <a:pt x="5273" y="11775"/>
                  <a:pt x="5852" y="11978"/>
                  <a:pt x="6259" y="12369"/>
                </a:cubicBezTo>
                <a:cubicBezTo>
                  <a:pt x="6634" y="12729"/>
                  <a:pt x="6837" y="13214"/>
                  <a:pt x="6837" y="13761"/>
                </a:cubicBezTo>
                <a:cubicBezTo>
                  <a:pt x="6837" y="14355"/>
                  <a:pt x="6602" y="14887"/>
                  <a:pt x="6164" y="15231"/>
                </a:cubicBezTo>
                <a:cubicBezTo>
                  <a:pt x="5633" y="15653"/>
                  <a:pt x="4835" y="15919"/>
                  <a:pt x="4069" y="15919"/>
                </a:cubicBezTo>
                <a:lnTo>
                  <a:pt x="3991" y="15919"/>
                </a:lnTo>
                <a:cubicBezTo>
                  <a:pt x="3850" y="15919"/>
                  <a:pt x="3678" y="15903"/>
                  <a:pt x="3490" y="15997"/>
                </a:cubicBezTo>
                <a:cubicBezTo>
                  <a:pt x="3334" y="16059"/>
                  <a:pt x="3225" y="16200"/>
                  <a:pt x="3209" y="16357"/>
                </a:cubicBezTo>
                <a:cubicBezTo>
                  <a:pt x="3194" y="16419"/>
                  <a:pt x="3209" y="16466"/>
                  <a:pt x="3209" y="16482"/>
                </a:cubicBezTo>
                <a:cubicBezTo>
                  <a:pt x="3225" y="16700"/>
                  <a:pt x="3240" y="16904"/>
                  <a:pt x="3272" y="17123"/>
                </a:cubicBezTo>
                <a:cubicBezTo>
                  <a:pt x="3272" y="17201"/>
                  <a:pt x="3287" y="17295"/>
                  <a:pt x="3287" y="17373"/>
                </a:cubicBezTo>
                <a:cubicBezTo>
                  <a:pt x="3319" y="17701"/>
                  <a:pt x="3350" y="17951"/>
                  <a:pt x="3381" y="18186"/>
                </a:cubicBezTo>
                <a:cubicBezTo>
                  <a:pt x="3412" y="18421"/>
                  <a:pt x="3444" y="18639"/>
                  <a:pt x="3475" y="18952"/>
                </a:cubicBezTo>
                <a:lnTo>
                  <a:pt x="3475" y="18984"/>
                </a:lnTo>
                <a:cubicBezTo>
                  <a:pt x="3522" y="19218"/>
                  <a:pt x="3741" y="19640"/>
                  <a:pt x="4272" y="19640"/>
                </a:cubicBezTo>
                <a:cubicBezTo>
                  <a:pt x="4835" y="19640"/>
                  <a:pt x="5054" y="19202"/>
                  <a:pt x="5086" y="18984"/>
                </a:cubicBezTo>
                <a:lnTo>
                  <a:pt x="5086" y="18968"/>
                </a:lnTo>
                <a:lnTo>
                  <a:pt x="5242" y="17670"/>
                </a:lnTo>
                <a:cubicBezTo>
                  <a:pt x="6274" y="17483"/>
                  <a:pt x="7134" y="17092"/>
                  <a:pt x="7775" y="16544"/>
                </a:cubicBezTo>
                <a:cubicBezTo>
                  <a:pt x="8166" y="16200"/>
                  <a:pt x="8463" y="15794"/>
                  <a:pt x="8666" y="15340"/>
                </a:cubicBezTo>
                <a:cubicBezTo>
                  <a:pt x="8886" y="14856"/>
                  <a:pt x="8995" y="14308"/>
                  <a:pt x="8995" y="13714"/>
                </a:cubicBezTo>
                <a:cubicBezTo>
                  <a:pt x="8995" y="12604"/>
                  <a:pt x="8557" y="11603"/>
                  <a:pt x="7775" y="10899"/>
                </a:cubicBezTo>
                <a:cubicBezTo>
                  <a:pt x="6978" y="10180"/>
                  <a:pt x="5883" y="9805"/>
                  <a:pt x="4632" y="9805"/>
                </a:cubicBezTo>
                <a:cubicBezTo>
                  <a:pt x="3678" y="9805"/>
                  <a:pt x="2881" y="9992"/>
                  <a:pt x="2146" y="10399"/>
                </a:cubicBezTo>
                <a:cubicBezTo>
                  <a:pt x="1473" y="10774"/>
                  <a:pt x="879" y="11306"/>
                  <a:pt x="285" y="11869"/>
                </a:cubicBezTo>
                <a:cubicBezTo>
                  <a:pt x="19" y="12119"/>
                  <a:pt x="-200" y="12713"/>
                  <a:pt x="300" y="13245"/>
                </a:cubicBezTo>
                <a:cubicBezTo>
                  <a:pt x="723" y="13698"/>
                  <a:pt x="1239" y="13652"/>
                  <a:pt x="1567" y="13385"/>
                </a:cubicBezTo>
                <a:cubicBezTo>
                  <a:pt x="1692" y="13292"/>
                  <a:pt x="1802" y="13182"/>
                  <a:pt x="1927" y="13088"/>
                </a:cubicBezTo>
                <a:close/>
                <a:moveTo>
                  <a:pt x="1114" y="12822"/>
                </a:moveTo>
                <a:cubicBezTo>
                  <a:pt x="1020" y="12901"/>
                  <a:pt x="942" y="12885"/>
                  <a:pt x="832" y="12760"/>
                </a:cubicBezTo>
                <a:cubicBezTo>
                  <a:pt x="629" y="12541"/>
                  <a:pt x="790" y="12521"/>
                  <a:pt x="770" y="12401"/>
                </a:cubicBezTo>
                <a:cubicBezTo>
                  <a:pt x="2005" y="11228"/>
                  <a:pt x="2865" y="10508"/>
                  <a:pt x="4632" y="10508"/>
                </a:cubicBezTo>
                <a:cubicBezTo>
                  <a:pt x="5711" y="10508"/>
                  <a:pt x="6634" y="10837"/>
                  <a:pt x="7290" y="11431"/>
                </a:cubicBezTo>
                <a:cubicBezTo>
                  <a:pt x="7931" y="12009"/>
                  <a:pt x="8276" y="12791"/>
                  <a:pt x="8276" y="13714"/>
                </a:cubicBezTo>
                <a:cubicBezTo>
                  <a:pt x="8276" y="14668"/>
                  <a:pt x="7947" y="15434"/>
                  <a:pt x="7306" y="15997"/>
                </a:cubicBezTo>
                <a:cubicBezTo>
                  <a:pt x="6712" y="16513"/>
                  <a:pt x="5883" y="16857"/>
                  <a:pt x="4866" y="16998"/>
                </a:cubicBezTo>
                <a:cubicBezTo>
                  <a:pt x="4710" y="17029"/>
                  <a:pt x="4570" y="17154"/>
                  <a:pt x="4554" y="17310"/>
                </a:cubicBezTo>
                <a:cubicBezTo>
                  <a:pt x="4382" y="18874"/>
                  <a:pt x="4439" y="18353"/>
                  <a:pt x="4382" y="18874"/>
                </a:cubicBezTo>
                <a:cubicBezTo>
                  <a:pt x="4376" y="18885"/>
                  <a:pt x="4366" y="18890"/>
                  <a:pt x="4366" y="18906"/>
                </a:cubicBezTo>
                <a:cubicBezTo>
                  <a:pt x="4351" y="18906"/>
                  <a:pt x="4351" y="18937"/>
                  <a:pt x="4272" y="18937"/>
                </a:cubicBezTo>
                <a:cubicBezTo>
                  <a:pt x="4241" y="18937"/>
                  <a:pt x="4194" y="18937"/>
                  <a:pt x="4178" y="18859"/>
                </a:cubicBezTo>
                <a:cubicBezTo>
                  <a:pt x="4147" y="18546"/>
                  <a:pt x="4116" y="18311"/>
                  <a:pt x="4085" y="18093"/>
                </a:cubicBezTo>
                <a:cubicBezTo>
                  <a:pt x="4053" y="17858"/>
                  <a:pt x="4022" y="17623"/>
                  <a:pt x="4007" y="17310"/>
                </a:cubicBezTo>
                <a:cubicBezTo>
                  <a:pt x="3991" y="17217"/>
                  <a:pt x="3991" y="17138"/>
                  <a:pt x="3975" y="17045"/>
                </a:cubicBezTo>
                <a:cubicBezTo>
                  <a:pt x="3960" y="16920"/>
                  <a:pt x="3944" y="16779"/>
                  <a:pt x="3944" y="16638"/>
                </a:cubicBezTo>
                <a:lnTo>
                  <a:pt x="3975" y="16638"/>
                </a:lnTo>
                <a:lnTo>
                  <a:pt x="4069" y="16638"/>
                </a:lnTo>
                <a:cubicBezTo>
                  <a:pt x="5008" y="16638"/>
                  <a:pt x="5961" y="16310"/>
                  <a:pt x="6602" y="15794"/>
                </a:cubicBezTo>
                <a:cubicBezTo>
                  <a:pt x="7228" y="15309"/>
                  <a:pt x="7556" y="14574"/>
                  <a:pt x="7556" y="13761"/>
                </a:cubicBezTo>
                <a:cubicBezTo>
                  <a:pt x="7556" y="13026"/>
                  <a:pt x="7275" y="12338"/>
                  <a:pt x="6743" y="11853"/>
                </a:cubicBezTo>
                <a:cubicBezTo>
                  <a:pt x="6196" y="11337"/>
                  <a:pt x="5461" y="11071"/>
                  <a:pt x="4585" y="11071"/>
                </a:cubicBezTo>
                <a:cubicBezTo>
                  <a:pt x="3287" y="11071"/>
                  <a:pt x="2412" y="11775"/>
                  <a:pt x="1473" y="12541"/>
                </a:cubicBezTo>
                <a:cubicBezTo>
                  <a:pt x="1364" y="12635"/>
                  <a:pt x="1239" y="12729"/>
                  <a:pt x="1114" y="12822"/>
                </a:cubicBezTo>
                <a:close/>
                <a:moveTo>
                  <a:pt x="4272" y="20595"/>
                </a:moveTo>
                <a:cubicBezTo>
                  <a:pt x="3615" y="20595"/>
                  <a:pt x="3084" y="21126"/>
                  <a:pt x="3084" y="21783"/>
                </a:cubicBezTo>
                <a:cubicBezTo>
                  <a:pt x="3084" y="22439"/>
                  <a:pt x="3615" y="22971"/>
                  <a:pt x="4272" y="22971"/>
                </a:cubicBezTo>
                <a:cubicBezTo>
                  <a:pt x="4929" y="22971"/>
                  <a:pt x="5461" y="22439"/>
                  <a:pt x="5461" y="21783"/>
                </a:cubicBezTo>
                <a:cubicBezTo>
                  <a:pt x="5461" y="21126"/>
                  <a:pt x="4929" y="20595"/>
                  <a:pt x="4272" y="20595"/>
                </a:cubicBezTo>
                <a:close/>
                <a:moveTo>
                  <a:pt x="4272" y="22267"/>
                </a:moveTo>
                <a:cubicBezTo>
                  <a:pt x="4007" y="22267"/>
                  <a:pt x="3788" y="22049"/>
                  <a:pt x="3788" y="21783"/>
                </a:cubicBezTo>
                <a:cubicBezTo>
                  <a:pt x="3788" y="21517"/>
                  <a:pt x="4007" y="21314"/>
                  <a:pt x="4272" y="21314"/>
                </a:cubicBezTo>
                <a:cubicBezTo>
                  <a:pt x="4538" y="21314"/>
                  <a:pt x="4741" y="21517"/>
                  <a:pt x="4741" y="21783"/>
                </a:cubicBezTo>
                <a:cubicBezTo>
                  <a:pt x="4741" y="22049"/>
                  <a:pt x="4538" y="22267"/>
                  <a:pt x="4272" y="22267"/>
                </a:cubicBezTo>
                <a:close/>
                <a:moveTo>
                  <a:pt x="40191" y="12072"/>
                </a:moveTo>
                <a:cubicBezTo>
                  <a:pt x="40206" y="12651"/>
                  <a:pt x="40676" y="13120"/>
                  <a:pt x="41254" y="13120"/>
                </a:cubicBezTo>
                <a:cubicBezTo>
                  <a:pt x="41833" y="13120"/>
                  <a:pt x="42318" y="12651"/>
                  <a:pt x="42318" y="12072"/>
                </a:cubicBezTo>
                <a:lnTo>
                  <a:pt x="42677" y="4207"/>
                </a:lnTo>
                <a:lnTo>
                  <a:pt x="42677" y="4191"/>
                </a:lnTo>
                <a:cubicBezTo>
                  <a:pt x="42677" y="3565"/>
                  <a:pt x="42380" y="3237"/>
                  <a:pt x="42130" y="3081"/>
                </a:cubicBezTo>
                <a:cubicBezTo>
                  <a:pt x="41817" y="2877"/>
                  <a:pt x="41442" y="2846"/>
                  <a:pt x="41254" y="2846"/>
                </a:cubicBezTo>
                <a:cubicBezTo>
                  <a:pt x="40566" y="2846"/>
                  <a:pt x="39816" y="3269"/>
                  <a:pt x="39816" y="4191"/>
                </a:cubicBezTo>
                <a:lnTo>
                  <a:pt x="39816" y="4207"/>
                </a:lnTo>
                <a:close/>
                <a:moveTo>
                  <a:pt x="40769" y="3690"/>
                </a:moveTo>
                <a:cubicBezTo>
                  <a:pt x="40926" y="3597"/>
                  <a:pt x="41114" y="3565"/>
                  <a:pt x="41254" y="3565"/>
                </a:cubicBezTo>
                <a:cubicBezTo>
                  <a:pt x="41348" y="3565"/>
                  <a:pt x="41567" y="3565"/>
                  <a:pt x="41739" y="3675"/>
                </a:cubicBezTo>
                <a:cubicBezTo>
                  <a:pt x="41833" y="3737"/>
                  <a:pt x="41974" y="3862"/>
                  <a:pt x="41974" y="4175"/>
                </a:cubicBezTo>
                <a:lnTo>
                  <a:pt x="41599" y="12041"/>
                </a:lnTo>
                <a:lnTo>
                  <a:pt x="41599" y="12056"/>
                </a:lnTo>
                <a:cubicBezTo>
                  <a:pt x="41599" y="12244"/>
                  <a:pt x="41442" y="12401"/>
                  <a:pt x="41254" y="12401"/>
                </a:cubicBezTo>
                <a:cubicBezTo>
                  <a:pt x="41067" y="12401"/>
                  <a:pt x="40910" y="12244"/>
                  <a:pt x="40910" y="12056"/>
                </a:cubicBezTo>
                <a:lnTo>
                  <a:pt x="40910" y="12041"/>
                </a:lnTo>
                <a:lnTo>
                  <a:pt x="40535" y="4175"/>
                </a:lnTo>
                <a:cubicBezTo>
                  <a:pt x="40535" y="3957"/>
                  <a:pt x="40613" y="3800"/>
                  <a:pt x="40769" y="3690"/>
                </a:cubicBezTo>
                <a:close/>
                <a:moveTo>
                  <a:pt x="41254" y="13808"/>
                </a:moveTo>
                <a:cubicBezTo>
                  <a:pt x="40504" y="13808"/>
                  <a:pt x="39894" y="14418"/>
                  <a:pt x="39894" y="15168"/>
                </a:cubicBezTo>
                <a:cubicBezTo>
                  <a:pt x="39894" y="15919"/>
                  <a:pt x="40504" y="16529"/>
                  <a:pt x="41254" y="16529"/>
                </a:cubicBezTo>
                <a:cubicBezTo>
                  <a:pt x="42005" y="16529"/>
                  <a:pt x="42630" y="15919"/>
                  <a:pt x="42630" y="15168"/>
                </a:cubicBezTo>
                <a:cubicBezTo>
                  <a:pt x="42630" y="14418"/>
                  <a:pt x="42005" y="13808"/>
                  <a:pt x="41254" y="13808"/>
                </a:cubicBezTo>
                <a:close/>
                <a:moveTo>
                  <a:pt x="41254" y="15825"/>
                </a:moveTo>
                <a:cubicBezTo>
                  <a:pt x="40894" y="15825"/>
                  <a:pt x="40613" y="15528"/>
                  <a:pt x="40613" y="15168"/>
                </a:cubicBezTo>
                <a:cubicBezTo>
                  <a:pt x="40613" y="14809"/>
                  <a:pt x="40894" y="14511"/>
                  <a:pt x="41254" y="14511"/>
                </a:cubicBezTo>
                <a:cubicBezTo>
                  <a:pt x="41614" y="14511"/>
                  <a:pt x="41911" y="14809"/>
                  <a:pt x="41911" y="15168"/>
                </a:cubicBezTo>
                <a:cubicBezTo>
                  <a:pt x="41911" y="15528"/>
                  <a:pt x="41614" y="15825"/>
                  <a:pt x="41254" y="1582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9" name="TextBox 18">
            <a:extLst>
              <a:ext uri="{FF2B5EF4-FFF2-40B4-BE49-F238E27FC236}">
                <a16:creationId xmlns:a16="http://schemas.microsoft.com/office/drawing/2014/main" id="{5AE73E1E-15D0-1443-B949-4445E7D9710B}"/>
              </a:ext>
            </a:extLst>
          </p:cNvPr>
          <p:cNvSpPr txBox="1"/>
          <p:nvPr/>
        </p:nvSpPr>
        <p:spPr>
          <a:xfrm>
            <a:off x="12192000" y="11608034"/>
            <a:ext cx="10944225"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NLP</a:t>
            </a:r>
          </a:p>
        </p:txBody>
      </p:sp>
    </p:spTree>
    <p:extLst>
      <p:ext uri="{BB962C8B-B14F-4D97-AF65-F5344CB8AC3E}">
        <p14:creationId xmlns:p14="http://schemas.microsoft.com/office/powerpoint/2010/main" val="2368679042"/>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Magellan focused icons - 2</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90" name="TextBox 89">
            <a:extLst>
              <a:ext uri="{FF2B5EF4-FFF2-40B4-BE49-F238E27FC236}">
                <a16:creationId xmlns:a16="http://schemas.microsoft.com/office/drawing/2014/main" id="{901890C6-60A8-7547-BDD4-AC59E6328605}"/>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14" name="TextBox 13">
            <a:extLst>
              <a:ext uri="{FF2B5EF4-FFF2-40B4-BE49-F238E27FC236}">
                <a16:creationId xmlns:a16="http://schemas.microsoft.com/office/drawing/2014/main" id="{181C2456-A30D-7F43-8375-C78C65C48E4D}"/>
              </a:ext>
            </a:extLst>
          </p:cNvPr>
          <p:cNvSpPr txBox="1"/>
          <p:nvPr/>
        </p:nvSpPr>
        <p:spPr>
          <a:xfrm>
            <a:off x="1246187" y="11608034"/>
            <a:ext cx="10944225"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chine Learning</a:t>
            </a:r>
          </a:p>
        </p:txBody>
      </p:sp>
      <p:sp>
        <p:nvSpPr>
          <p:cNvPr id="15" name="TextBox 14">
            <a:extLst>
              <a:ext uri="{FF2B5EF4-FFF2-40B4-BE49-F238E27FC236}">
                <a16:creationId xmlns:a16="http://schemas.microsoft.com/office/drawing/2014/main" id="{558B389D-E40C-CD4F-A9E0-8E8F2D29FBB5}"/>
              </a:ext>
            </a:extLst>
          </p:cNvPr>
          <p:cNvSpPr txBox="1"/>
          <p:nvPr/>
        </p:nvSpPr>
        <p:spPr>
          <a:xfrm>
            <a:off x="12192000" y="11608034"/>
            <a:ext cx="10944225"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ontent Analytics</a:t>
            </a:r>
          </a:p>
        </p:txBody>
      </p:sp>
      <p:sp>
        <p:nvSpPr>
          <p:cNvPr id="20" name="Freeform 19">
            <a:extLst>
              <a:ext uri="{FF2B5EF4-FFF2-40B4-BE49-F238E27FC236}">
                <a16:creationId xmlns:a16="http://schemas.microsoft.com/office/drawing/2014/main" id="{545C0AB3-3526-E24D-B21B-85B7C6AF05CA}"/>
              </a:ext>
            </a:extLst>
          </p:cNvPr>
          <p:cNvSpPr/>
          <p:nvPr/>
        </p:nvSpPr>
        <p:spPr>
          <a:xfrm>
            <a:off x="2765942" y="3476413"/>
            <a:ext cx="7904715" cy="6363646"/>
          </a:xfrm>
          <a:custGeom>
            <a:avLst/>
            <a:gdLst/>
            <a:ahLst/>
            <a:cxnLst>
              <a:cxn ang="3cd4">
                <a:pos x="hc" y="t"/>
              </a:cxn>
              <a:cxn ang="cd2">
                <a:pos x="l" y="vc"/>
              </a:cxn>
              <a:cxn ang="cd4">
                <a:pos x="hc" y="b"/>
              </a:cxn>
              <a:cxn ang="0">
                <a:pos x="r" y="vc"/>
              </a:cxn>
            </a:cxnLst>
            <a:rect l="l" t="t" r="r" b="b"/>
            <a:pathLst>
              <a:path w="49284" h="39676">
                <a:moveTo>
                  <a:pt x="48141" y="14844"/>
                </a:moveTo>
                <a:cubicBezTo>
                  <a:pt x="47485" y="14078"/>
                  <a:pt x="46562" y="13609"/>
                  <a:pt x="45452" y="13468"/>
                </a:cubicBezTo>
                <a:cubicBezTo>
                  <a:pt x="45030" y="13421"/>
                  <a:pt x="44654" y="13421"/>
                  <a:pt x="44388" y="13437"/>
                </a:cubicBezTo>
                <a:cubicBezTo>
                  <a:pt x="44420" y="12717"/>
                  <a:pt x="44420" y="11216"/>
                  <a:pt x="44123" y="9778"/>
                </a:cubicBezTo>
                <a:cubicBezTo>
                  <a:pt x="43950" y="8902"/>
                  <a:pt x="43387" y="8151"/>
                  <a:pt x="42512" y="7620"/>
                </a:cubicBezTo>
                <a:cubicBezTo>
                  <a:pt x="42074" y="7354"/>
                  <a:pt x="41668" y="7198"/>
                  <a:pt x="41448" y="7119"/>
                </a:cubicBezTo>
                <a:cubicBezTo>
                  <a:pt x="41136" y="6259"/>
                  <a:pt x="40323" y="5712"/>
                  <a:pt x="40151" y="5602"/>
                </a:cubicBezTo>
                <a:cubicBezTo>
                  <a:pt x="40135" y="5587"/>
                  <a:pt x="40026" y="5509"/>
                  <a:pt x="39901" y="5430"/>
                </a:cubicBezTo>
                <a:cubicBezTo>
                  <a:pt x="38915" y="4727"/>
                  <a:pt x="35882" y="2600"/>
                  <a:pt x="33271" y="1553"/>
                </a:cubicBezTo>
                <a:cubicBezTo>
                  <a:pt x="32551" y="1255"/>
                  <a:pt x="31878" y="1115"/>
                  <a:pt x="31269" y="1146"/>
                </a:cubicBezTo>
                <a:cubicBezTo>
                  <a:pt x="30769" y="1161"/>
                  <a:pt x="30315" y="1302"/>
                  <a:pt x="29924" y="1537"/>
                </a:cubicBezTo>
                <a:cubicBezTo>
                  <a:pt x="29627" y="1709"/>
                  <a:pt x="29424" y="1912"/>
                  <a:pt x="29267" y="2100"/>
                </a:cubicBezTo>
                <a:cubicBezTo>
                  <a:pt x="29189" y="2006"/>
                  <a:pt x="29095" y="1912"/>
                  <a:pt x="29017" y="1834"/>
                </a:cubicBezTo>
                <a:cubicBezTo>
                  <a:pt x="28438" y="1271"/>
                  <a:pt x="27672" y="802"/>
                  <a:pt x="26828" y="489"/>
                </a:cubicBezTo>
                <a:cubicBezTo>
                  <a:pt x="25858" y="130"/>
                  <a:pt x="24779" y="-27"/>
                  <a:pt x="23638" y="4"/>
                </a:cubicBezTo>
                <a:cubicBezTo>
                  <a:pt x="22293" y="51"/>
                  <a:pt x="18665" y="1130"/>
                  <a:pt x="17164" y="1584"/>
                </a:cubicBezTo>
                <a:cubicBezTo>
                  <a:pt x="14365" y="2444"/>
                  <a:pt x="11722" y="3367"/>
                  <a:pt x="10706" y="3851"/>
                </a:cubicBezTo>
                <a:cubicBezTo>
                  <a:pt x="9643" y="4367"/>
                  <a:pt x="8532" y="4930"/>
                  <a:pt x="7657" y="5649"/>
                </a:cubicBezTo>
                <a:cubicBezTo>
                  <a:pt x="6656" y="6462"/>
                  <a:pt x="6077" y="7354"/>
                  <a:pt x="5921" y="8370"/>
                </a:cubicBezTo>
                <a:cubicBezTo>
                  <a:pt x="4889" y="8370"/>
                  <a:pt x="4091" y="8730"/>
                  <a:pt x="3623" y="9434"/>
                </a:cubicBezTo>
                <a:cubicBezTo>
                  <a:pt x="3153" y="10137"/>
                  <a:pt x="2372" y="11498"/>
                  <a:pt x="1542" y="13093"/>
                </a:cubicBezTo>
                <a:cubicBezTo>
                  <a:pt x="1230" y="13671"/>
                  <a:pt x="213" y="15626"/>
                  <a:pt x="151" y="16017"/>
                </a:cubicBezTo>
                <a:cubicBezTo>
                  <a:pt x="151" y="16032"/>
                  <a:pt x="135" y="16064"/>
                  <a:pt x="135" y="16110"/>
                </a:cubicBezTo>
                <a:cubicBezTo>
                  <a:pt x="73" y="16439"/>
                  <a:pt x="-84" y="17190"/>
                  <a:pt x="57" y="18034"/>
                </a:cubicBezTo>
                <a:cubicBezTo>
                  <a:pt x="229" y="19050"/>
                  <a:pt x="761" y="19863"/>
                  <a:pt x="1621" y="20442"/>
                </a:cubicBezTo>
                <a:cubicBezTo>
                  <a:pt x="1636" y="20677"/>
                  <a:pt x="1683" y="21052"/>
                  <a:pt x="1871" y="21490"/>
                </a:cubicBezTo>
                <a:cubicBezTo>
                  <a:pt x="2340" y="22632"/>
                  <a:pt x="3278" y="23351"/>
                  <a:pt x="3982" y="23741"/>
                </a:cubicBezTo>
                <a:cubicBezTo>
                  <a:pt x="4670" y="24133"/>
                  <a:pt x="5311" y="24508"/>
                  <a:pt x="5874" y="24852"/>
                </a:cubicBezTo>
                <a:cubicBezTo>
                  <a:pt x="7281" y="25680"/>
                  <a:pt x="8298" y="26290"/>
                  <a:pt x="8986" y="26478"/>
                </a:cubicBezTo>
                <a:cubicBezTo>
                  <a:pt x="9721" y="26681"/>
                  <a:pt x="10378" y="26697"/>
                  <a:pt x="10769" y="26681"/>
                </a:cubicBezTo>
                <a:cubicBezTo>
                  <a:pt x="10816" y="27057"/>
                  <a:pt x="10941" y="27682"/>
                  <a:pt x="11237" y="28292"/>
                </a:cubicBezTo>
                <a:cubicBezTo>
                  <a:pt x="11863" y="29606"/>
                  <a:pt x="12958" y="30309"/>
                  <a:pt x="14396" y="30309"/>
                </a:cubicBezTo>
                <a:cubicBezTo>
                  <a:pt x="14412" y="30309"/>
                  <a:pt x="14427" y="30309"/>
                  <a:pt x="14443" y="30309"/>
                </a:cubicBezTo>
                <a:cubicBezTo>
                  <a:pt x="17617" y="30263"/>
                  <a:pt x="23356" y="30309"/>
                  <a:pt x="23403" y="30309"/>
                </a:cubicBezTo>
                <a:cubicBezTo>
                  <a:pt x="23419" y="30309"/>
                  <a:pt x="23434" y="30309"/>
                  <a:pt x="23434" y="30309"/>
                </a:cubicBezTo>
                <a:cubicBezTo>
                  <a:pt x="23481" y="30294"/>
                  <a:pt x="24373" y="30215"/>
                  <a:pt x="25295" y="29793"/>
                </a:cubicBezTo>
                <a:cubicBezTo>
                  <a:pt x="26546" y="29215"/>
                  <a:pt x="27219" y="28245"/>
                  <a:pt x="27203" y="27010"/>
                </a:cubicBezTo>
                <a:cubicBezTo>
                  <a:pt x="27187" y="24398"/>
                  <a:pt x="27203" y="23695"/>
                  <a:pt x="27203" y="23695"/>
                </a:cubicBezTo>
                <a:cubicBezTo>
                  <a:pt x="27203" y="23601"/>
                  <a:pt x="27172" y="23491"/>
                  <a:pt x="27094" y="23429"/>
                </a:cubicBezTo>
                <a:cubicBezTo>
                  <a:pt x="24842" y="21193"/>
                  <a:pt x="24842" y="21193"/>
                  <a:pt x="24842" y="21193"/>
                </a:cubicBezTo>
                <a:cubicBezTo>
                  <a:pt x="25014" y="20927"/>
                  <a:pt x="25123" y="20614"/>
                  <a:pt x="25123" y="20270"/>
                </a:cubicBezTo>
                <a:cubicBezTo>
                  <a:pt x="25123" y="19316"/>
                  <a:pt x="24357" y="18550"/>
                  <a:pt x="23419" y="18550"/>
                </a:cubicBezTo>
                <a:cubicBezTo>
                  <a:pt x="22465" y="18550"/>
                  <a:pt x="21699" y="19316"/>
                  <a:pt x="21699" y="20270"/>
                </a:cubicBezTo>
                <a:cubicBezTo>
                  <a:pt x="21699" y="21208"/>
                  <a:pt x="22465" y="21975"/>
                  <a:pt x="23419" y="21975"/>
                </a:cubicBezTo>
                <a:cubicBezTo>
                  <a:pt x="23747" y="21975"/>
                  <a:pt x="24060" y="21865"/>
                  <a:pt x="24326" y="21693"/>
                </a:cubicBezTo>
                <a:cubicBezTo>
                  <a:pt x="26484" y="23836"/>
                  <a:pt x="26484" y="23836"/>
                  <a:pt x="26484" y="23836"/>
                </a:cubicBezTo>
                <a:cubicBezTo>
                  <a:pt x="26484" y="24148"/>
                  <a:pt x="26468" y="25024"/>
                  <a:pt x="26484" y="27010"/>
                </a:cubicBezTo>
                <a:cubicBezTo>
                  <a:pt x="26499" y="27964"/>
                  <a:pt x="25999" y="28667"/>
                  <a:pt x="24998" y="29137"/>
                </a:cubicBezTo>
                <a:cubicBezTo>
                  <a:pt x="24264" y="29496"/>
                  <a:pt x="23513" y="29574"/>
                  <a:pt x="23403" y="29590"/>
                </a:cubicBezTo>
                <a:cubicBezTo>
                  <a:pt x="23044" y="29590"/>
                  <a:pt x="17524" y="29543"/>
                  <a:pt x="14443" y="29590"/>
                </a:cubicBezTo>
                <a:cubicBezTo>
                  <a:pt x="13271" y="29606"/>
                  <a:pt x="12410" y="29074"/>
                  <a:pt x="11894" y="28011"/>
                </a:cubicBezTo>
                <a:cubicBezTo>
                  <a:pt x="11644" y="27510"/>
                  <a:pt x="11535" y="26994"/>
                  <a:pt x="11488" y="26666"/>
                </a:cubicBezTo>
                <a:cubicBezTo>
                  <a:pt x="18634" y="26666"/>
                  <a:pt x="18634" y="26666"/>
                  <a:pt x="18634" y="26666"/>
                </a:cubicBezTo>
                <a:cubicBezTo>
                  <a:pt x="18806" y="27432"/>
                  <a:pt x="19494" y="28011"/>
                  <a:pt x="20307" y="28011"/>
                </a:cubicBezTo>
                <a:cubicBezTo>
                  <a:pt x="21245" y="28011"/>
                  <a:pt x="22012" y="27244"/>
                  <a:pt x="22012" y="26306"/>
                </a:cubicBezTo>
                <a:cubicBezTo>
                  <a:pt x="22012" y="25368"/>
                  <a:pt x="21245" y="24602"/>
                  <a:pt x="20307" y="24602"/>
                </a:cubicBezTo>
                <a:cubicBezTo>
                  <a:pt x="19494" y="24602"/>
                  <a:pt x="18806" y="25180"/>
                  <a:pt x="18634" y="25947"/>
                </a:cubicBezTo>
                <a:cubicBezTo>
                  <a:pt x="11081" y="25947"/>
                  <a:pt x="11081" y="25947"/>
                  <a:pt x="11081" y="25947"/>
                </a:cubicBezTo>
                <a:cubicBezTo>
                  <a:pt x="11066" y="25947"/>
                  <a:pt x="11066" y="25947"/>
                  <a:pt x="11066" y="25947"/>
                </a:cubicBezTo>
                <a:cubicBezTo>
                  <a:pt x="11050" y="25947"/>
                  <a:pt x="11050" y="25947"/>
                  <a:pt x="11034" y="25947"/>
                </a:cubicBezTo>
                <a:cubicBezTo>
                  <a:pt x="11019" y="25947"/>
                  <a:pt x="10174" y="26072"/>
                  <a:pt x="9189" y="25790"/>
                </a:cubicBezTo>
                <a:cubicBezTo>
                  <a:pt x="8579" y="25618"/>
                  <a:pt x="7547" y="25008"/>
                  <a:pt x="6234" y="24242"/>
                </a:cubicBezTo>
                <a:cubicBezTo>
                  <a:pt x="5671" y="23898"/>
                  <a:pt x="5030" y="23523"/>
                  <a:pt x="4326" y="23132"/>
                </a:cubicBezTo>
                <a:cubicBezTo>
                  <a:pt x="3466" y="22632"/>
                  <a:pt x="2856" y="22006"/>
                  <a:pt x="2543" y="21256"/>
                </a:cubicBezTo>
                <a:cubicBezTo>
                  <a:pt x="2434" y="21005"/>
                  <a:pt x="2387" y="20786"/>
                  <a:pt x="2356" y="20614"/>
                </a:cubicBezTo>
                <a:cubicBezTo>
                  <a:pt x="10769" y="20614"/>
                  <a:pt x="10769" y="20614"/>
                  <a:pt x="10769" y="20614"/>
                </a:cubicBezTo>
                <a:cubicBezTo>
                  <a:pt x="10925" y="21381"/>
                  <a:pt x="11613" y="21959"/>
                  <a:pt x="12426" y="21959"/>
                </a:cubicBezTo>
                <a:cubicBezTo>
                  <a:pt x="13380" y="21959"/>
                  <a:pt x="14131" y="21193"/>
                  <a:pt x="14131" y="20255"/>
                </a:cubicBezTo>
                <a:cubicBezTo>
                  <a:pt x="14131" y="19316"/>
                  <a:pt x="13380" y="18550"/>
                  <a:pt x="12426" y="18550"/>
                </a:cubicBezTo>
                <a:cubicBezTo>
                  <a:pt x="11613" y="18550"/>
                  <a:pt x="10925" y="19129"/>
                  <a:pt x="10769" y="19895"/>
                </a:cubicBezTo>
                <a:cubicBezTo>
                  <a:pt x="2074" y="19895"/>
                  <a:pt x="2074" y="19895"/>
                  <a:pt x="2074" y="19895"/>
                </a:cubicBezTo>
                <a:cubicBezTo>
                  <a:pt x="338" y="18753"/>
                  <a:pt x="714" y="16877"/>
                  <a:pt x="839" y="16252"/>
                </a:cubicBezTo>
                <a:cubicBezTo>
                  <a:pt x="839" y="16205"/>
                  <a:pt x="854" y="16173"/>
                  <a:pt x="854" y="16142"/>
                </a:cubicBezTo>
                <a:cubicBezTo>
                  <a:pt x="948" y="15704"/>
                  <a:pt x="3169" y="11388"/>
                  <a:pt x="4216" y="9840"/>
                </a:cubicBezTo>
                <a:cubicBezTo>
                  <a:pt x="4545" y="9355"/>
                  <a:pt x="5092" y="9105"/>
                  <a:pt x="5858" y="9090"/>
                </a:cubicBezTo>
                <a:cubicBezTo>
                  <a:pt x="5718" y="10825"/>
                  <a:pt x="5671" y="13781"/>
                  <a:pt x="5671" y="14750"/>
                </a:cubicBezTo>
                <a:cubicBezTo>
                  <a:pt x="4889" y="14907"/>
                  <a:pt x="4311" y="15595"/>
                  <a:pt x="4311" y="16423"/>
                </a:cubicBezTo>
                <a:cubicBezTo>
                  <a:pt x="4311" y="17361"/>
                  <a:pt x="5077" y="18128"/>
                  <a:pt x="6015" y="18128"/>
                </a:cubicBezTo>
                <a:cubicBezTo>
                  <a:pt x="6953" y="18128"/>
                  <a:pt x="7719" y="17361"/>
                  <a:pt x="7719" y="16423"/>
                </a:cubicBezTo>
                <a:cubicBezTo>
                  <a:pt x="7719" y="15595"/>
                  <a:pt x="7141" y="14922"/>
                  <a:pt x="6375" y="14750"/>
                </a:cubicBezTo>
                <a:cubicBezTo>
                  <a:pt x="6390" y="13781"/>
                  <a:pt x="6437" y="10825"/>
                  <a:pt x="6562" y="9137"/>
                </a:cubicBezTo>
                <a:cubicBezTo>
                  <a:pt x="6969" y="9199"/>
                  <a:pt x="7391" y="9309"/>
                  <a:pt x="7829" y="9465"/>
                </a:cubicBezTo>
                <a:cubicBezTo>
                  <a:pt x="7985" y="9543"/>
                  <a:pt x="8704" y="10153"/>
                  <a:pt x="12207" y="13734"/>
                </a:cubicBezTo>
                <a:cubicBezTo>
                  <a:pt x="13802" y="15360"/>
                  <a:pt x="15350" y="16971"/>
                  <a:pt x="15882" y="17534"/>
                </a:cubicBezTo>
                <a:cubicBezTo>
                  <a:pt x="15741" y="17784"/>
                  <a:pt x="15663" y="18066"/>
                  <a:pt x="15663" y="18378"/>
                </a:cubicBezTo>
                <a:cubicBezTo>
                  <a:pt x="15663" y="19316"/>
                  <a:pt x="16429" y="20083"/>
                  <a:pt x="17367" y="20083"/>
                </a:cubicBezTo>
                <a:cubicBezTo>
                  <a:pt x="18305" y="20083"/>
                  <a:pt x="19072" y="19316"/>
                  <a:pt x="19072" y="18378"/>
                </a:cubicBezTo>
                <a:cubicBezTo>
                  <a:pt x="19072" y="17440"/>
                  <a:pt x="18305" y="16673"/>
                  <a:pt x="17367" y="16673"/>
                </a:cubicBezTo>
                <a:cubicBezTo>
                  <a:pt x="16992" y="16673"/>
                  <a:pt x="16648" y="16783"/>
                  <a:pt x="16366" y="17002"/>
                </a:cubicBezTo>
                <a:cubicBezTo>
                  <a:pt x="15772" y="16392"/>
                  <a:pt x="14209" y="14766"/>
                  <a:pt x="12613" y="13140"/>
                </a:cubicBezTo>
                <a:cubicBezTo>
                  <a:pt x="8517" y="8949"/>
                  <a:pt x="8251" y="8855"/>
                  <a:pt x="8094" y="8792"/>
                </a:cubicBezTo>
                <a:cubicBezTo>
                  <a:pt x="7594" y="8621"/>
                  <a:pt x="7109" y="8496"/>
                  <a:pt x="6640" y="8433"/>
                </a:cubicBezTo>
                <a:cubicBezTo>
                  <a:pt x="6781" y="7604"/>
                  <a:pt x="7266" y="6885"/>
                  <a:pt x="8110" y="6197"/>
                </a:cubicBezTo>
                <a:cubicBezTo>
                  <a:pt x="8861" y="5587"/>
                  <a:pt x="9846" y="5071"/>
                  <a:pt x="10784" y="4618"/>
                </a:cubicBezTo>
                <a:cubicBezTo>
                  <a:pt x="17555" y="11435"/>
                  <a:pt x="17555" y="11435"/>
                  <a:pt x="17555" y="11435"/>
                </a:cubicBezTo>
                <a:cubicBezTo>
                  <a:pt x="17414" y="11685"/>
                  <a:pt x="17336" y="11967"/>
                  <a:pt x="17336" y="12280"/>
                </a:cubicBezTo>
                <a:cubicBezTo>
                  <a:pt x="17336" y="13218"/>
                  <a:pt x="18102" y="13984"/>
                  <a:pt x="19040" y="13984"/>
                </a:cubicBezTo>
                <a:cubicBezTo>
                  <a:pt x="19979" y="13984"/>
                  <a:pt x="20745" y="13218"/>
                  <a:pt x="20745" y="12280"/>
                </a:cubicBezTo>
                <a:cubicBezTo>
                  <a:pt x="20745" y="11341"/>
                  <a:pt x="19979" y="10575"/>
                  <a:pt x="19040" y="10575"/>
                </a:cubicBezTo>
                <a:cubicBezTo>
                  <a:pt x="18665" y="10575"/>
                  <a:pt x="18321" y="10685"/>
                  <a:pt x="18040" y="10903"/>
                </a:cubicBezTo>
                <a:cubicBezTo>
                  <a:pt x="11488" y="4289"/>
                  <a:pt x="11488" y="4289"/>
                  <a:pt x="11488" y="4289"/>
                </a:cubicBezTo>
                <a:cubicBezTo>
                  <a:pt x="12598" y="3835"/>
                  <a:pt x="14631" y="3116"/>
                  <a:pt x="16820" y="2444"/>
                </a:cubicBezTo>
                <a:cubicBezTo>
                  <a:pt x="20229" y="5915"/>
                  <a:pt x="20229" y="5915"/>
                  <a:pt x="20229" y="5915"/>
                </a:cubicBezTo>
                <a:cubicBezTo>
                  <a:pt x="20026" y="6197"/>
                  <a:pt x="19901" y="6557"/>
                  <a:pt x="19901" y="6932"/>
                </a:cubicBezTo>
                <a:cubicBezTo>
                  <a:pt x="19901" y="7870"/>
                  <a:pt x="20667" y="8636"/>
                  <a:pt x="21605" y="8636"/>
                </a:cubicBezTo>
                <a:cubicBezTo>
                  <a:pt x="22543" y="8636"/>
                  <a:pt x="23309" y="7870"/>
                  <a:pt x="23309" y="6932"/>
                </a:cubicBezTo>
                <a:cubicBezTo>
                  <a:pt x="23309" y="5994"/>
                  <a:pt x="22543" y="5227"/>
                  <a:pt x="21605" y="5227"/>
                </a:cubicBezTo>
                <a:cubicBezTo>
                  <a:pt x="21292" y="5227"/>
                  <a:pt x="21011" y="5305"/>
                  <a:pt x="20761" y="5446"/>
                </a:cubicBezTo>
                <a:cubicBezTo>
                  <a:pt x="17586" y="2194"/>
                  <a:pt x="17586" y="2194"/>
                  <a:pt x="17586" y="2194"/>
                </a:cubicBezTo>
                <a:cubicBezTo>
                  <a:pt x="20166" y="1428"/>
                  <a:pt x="22199" y="896"/>
                  <a:pt x="23247" y="771"/>
                </a:cubicBezTo>
                <a:cubicBezTo>
                  <a:pt x="25139" y="3225"/>
                  <a:pt x="25139" y="3225"/>
                  <a:pt x="25139" y="3225"/>
                </a:cubicBezTo>
                <a:cubicBezTo>
                  <a:pt x="25139" y="13062"/>
                  <a:pt x="25139" y="13062"/>
                  <a:pt x="25139" y="13062"/>
                </a:cubicBezTo>
                <a:cubicBezTo>
                  <a:pt x="24373" y="13218"/>
                  <a:pt x="23794" y="13906"/>
                  <a:pt x="23794" y="14719"/>
                </a:cubicBezTo>
                <a:cubicBezTo>
                  <a:pt x="23794" y="15673"/>
                  <a:pt x="24560" y="16423"/>
                  <a:pt x="25499" y="16423"/>
                </a:cubicBezTo>
                <a:cubicBezTo>
                  <a:pt x="26437" y="16423"/>
                  <a:pt x="27203" y="15673"/>
                  <a:pt x="27203" y="14719"/>
                </a:cubicBezTo>
                <a:cubicBezTo>
                  <a:pt x="27203" y="13906"/>
                  <a:pt x="26624" y="13218"/>
                  <a:pt x="25858" y="13062"/>
                </a:cubicBezTo>
                <a:cubicBezTo>
                  <a:pt x="25858" y="3100"/>
                  <a:pt x="25858" y="3100"/>
                  <a:pt x="25858" y="3100"/>
                </a:cubicBezTo>
                <a:cubicBezTo>
                  <a:pt x="25858" y="3022"/>
                  <a:pt x="25827" y="2960"/>
                  <a:pt x="25780" y="2897"/>
                </a:cubicBezTo>
                <a:cubicBezTo>
                  <a:pt x="24122" y="723"/>
                  <a:pt x="24122" y="723"/>
                  <a:pt x="24122" y="723"/>
                </a:cubicBezTo>
                <a:cubicBezTo>
                  <a:pt x="25890" y="755"/>
                  <a:pt x="27485" y="1333"/>
                  <a:pt x="28517" y="2350"/>
                </a:cubicBezTo>
                <a:cubicBezTo>
                  <a:pt x="29095" y="2913"/>
                  <a:pt x="29439" y="3570"/>
                  <a:pt x="29439" y="4101"/>
                </a:cubicBezTo>
                <a:cubicBezTo>
                  <a:pt x="29439" y="36298"/>
                  <a:pt x="29439" y="36298"/>
                  <a:pt x="29439" y="36298"/>
                </a:cubicBezTo>
                <a:cubicBezTo>
                  <a:pt x="28673" y="36455"/>
                  <a:pt x="28095" y="37143"/>
                  <a:pt x="28095" y="37972"/>
                </a:cubicBezTo>
                <a:cubicBezTo>
                  <a:pt x="28095" y="38910"/>
                  <a:pt x="28861" y="39676"/>
                  <a:pt x="29799" y="39676"/>
                </a:cubicBezTo>
                <a:cubicBezTo>
                  <a:pt x="30737" y="39676"/>
                  <a:pt x="31503" y="38910"/>
                  <a:pt x="31503" y="37972"/>
                </a:cubicBezTo>
                <a:cubicBezTo>
                  <a:pt x="31503" y="37143"/>
                  <a:pt x="30925" y="36455"/>
                  <a:pt x="30159" y="36298"/>
                </a:cubicBezTo>
                <a:cubicBezTo>
                  <a:pt x="30159" y="4101"/>
                  <a:pt x="30159" y="4101"/>
                  <a:pt x="30159" y="4101"/>
                </a:cubicBezTo>
                <a:cubicBezTo>
                  <a:pt x="30159" y="3648"/>
                  <a:pt x="30002" y="3163"/>
                  <a:pt x="29705" y="2679"/>
                </a:cubicBezTo>
                <a:cubicBezTo>
                  <a:pt x="29814" y="2537"/>
                  <a:pt x="30002" y="2303"/>
                  <a:pt x="30315" y="2131"/>
                </a:cubicBezTo>
                <a:cubicBezTo>
                  <a:pt x="30612" y="1959"/>
                  <a:pt x="30956" y="1865"/>
                  <a:pt x="31332" y="1865"/>
                </a:cubicBezTo>
                <a:cubicBezTo>
                  <a:pt x="31832" y="1849"/>
                  <a:pt x="32395" y="1959"/>
                  <a:pt x="33004" y="2209"/>
                </a:cubicBezTo>
                <a:cubicBezTo>
                  <a:pt x="33865" y="2553"/>
                  <a:pt x="34865" y="3069"/>
                  <a:pt x="35991" y="3726"/>
                </a:cubicBezTo>
                <a:cubicBezTo>
                  <a:pt x="34037" y="7151"/>
                  <a:pt x="34037" y="7151"/>
                  <a:pt x="34037" y="7151"/>
                </a:cubicBezTo>
                <a:cubicBezTo>
                  <a:pt x="33849" y="7088"/>
                  <a:pt x="33661" y="7057"/>
                  <a:pt x="33458" y="7057"/>
                </a:cubicBezTo>
                <a:cubicBezTo>
                  <a:pt x="32520" y="7057"/>
                  <a:pt x="31753" y="7823"/>
                  <a:pt x="31753" y="8761"/>
                </a:cubicBezTo>
                <a:cubicBezTo>
                  <a:pt x="31753" y="9699"/>
                  <a:pt x="32520" y="10466"/>
                  <a:pt x="33458" y="10466"/>
                </a:cubicBezTo>
                <a:cubicBezTo>
                  <a:pt x="34396" y="10466"/>
                  <a:pt x="35163" y="9699"/>
                  <a:pt x="35163" y="8761"/>
                </a:cubicBezTo>
                <a:cubicBezTo>
                  <a:pt x="35163" y="8276"/>
                  <a:pt x="34959" y="7839"/>
                  <a:pt x="34647" y="7526"/>
                </a:cubicBezTo>
                <a:cubicBezTo>
                  <a:pt x="36601" y="4101"/>
                  <a:pt x="36601" y="4101"/>
                  <a:pt x="36601" y="4101"/>
                </a:cubicBezTo>
                <a:cubicBezTo>
                  <a:pt x="36679" y="4148"/>
                  <a:pt x="36757" y="4195"/>
                  <a:pt x="36836" y="4242"/>
                </a:cubicBezTo>
                <a:cubicBezTo>
                  <a:pt x="38040" y="4993"/>
                  <a:pt x="39009" y="5681"/>
                  <a:pt x="39494" y="6009"/>
                </a:cubicBezTo>
                <a:cubicBezTo>
                  <a:pt x="39651" y="6134"/>
                  <a:pt x="39729" y="6181"/>
                  <a:pt x="39776" y="6212"/>
                </a:cubicBezTo>
                <a:cubicBezTo>
                  <a:pt x="39869" y="6259"/>
                  <a:pt x="40620" y="6760"/>
                  <a:pt x="40807" y="7495"/>
                </a:cubicBezTo>
                <a:lnTo>
                  <a:pt x="40807" y="7510"/>
                </a:lnTo>
                <a:cubicBezTo>
                  <a:pt x="40823" y="7510"/>
                  <a:pt x="40823" y="7510"/>
                  <a:pt x="40823" y="7510"/>
                </a:cubicBezTo>
                <a:cubicBezTo>
                  <a:pt x="41183" y="8699"/>
                  <a:pt x="40933" y="9590"/>
                  <a:pt x="40807" y="10012"/>
                </a:cubicBezTo>
                <a:cubicBezTo>
                  <a:pt x="40682" y="10419"/>
                  <a:pt x="38337" y="14344"/>
                  <a:pt x="36804" y="16877"/>
                </a:cubicBezTo>
                <a:cubicBezTo>
                  <a:pt x="36695" y="16861"/>
                  <a:pt x="36586" y="16846"/>
                  <a:pt x="36476" y="16846"/>
                </a:cubicBezTo>
                <a:cubicBezTo>
                  <a:pt x="35538" y="16846"/>
                  <a:pt x="34772" y="17612"/>
                  <a:pt x="34772" y="18550"/>
                </a:cubicBezTo>
                <a:cubicBezTo>
                  <a:pt x="34772" y="19488"/>
                  <a:pt x="35538" y="20255"/>
                  <a:pt x="36476" y="20255"/>
                </a:cubicBezTo>
                <a:cubicBezTo>
                  <a:pt x="37414" y="20255"/>
                  <a:pt x="38180" y="19488"/>
                  <a:pt x="38180" y="18550"/>
                </a:cubicBezTo>
                <a:cubicBezTo>
                  <a:pt x="38180" y="17987"/>
                  <a:pt x="37899" y="17471"/>
                  <a:pt x="37461" y="17158"/>
                </a:cubicBezTo>
                <a:cubicBezTo>
                  <a:pt x="37805" y="16595"/>
                  <a:pt x="38556" y="15360"/>
                  <a:pt x="39306" y="14093"/>
                </a:cubicBezTo>
                <a:cubicBezTo>
                  <a:pt x="41386" y="10606"/>
                  <a:pt x="41464" y="10325"/>
                  <a:pt x="41495" y="10200"/>
                </a:cubicBezTo>
                <a:cubicBezTo>
                  <a:pt x="41668" y="9590"/>
                  <a:pt x="41808" y="8871"/>
                  <a:pt x="41652" y="7964"/>
                </a:cubicBezTo>
                <a:cubicBezTo>
                  <a:pt x="42278" y="8245"/>
                  <a:pt x="43200" y="8839"/>
                  <a:pt x="43434" y="9934"/>
                </a:cubicBezTo>
                <a:cubicBezTo>
                  <a:pt x="43763" y="11544"/>
                  <a:pt x="43685" y="13327"/>
                  <a:pt x="43669" y="13734"/>
                </a:cubicBezTo>
                <a:cubicBezTo>
                  <a:pt x="37868" y="22960"/>
                  <a:pt x="37868" y="22960"/>
                  <a:pt x="37868" y="22960"/>
                </a:cubicBezTo>
                <a:cubicBezTo>
                  <a:pt x="37696" y="22897"/>
                  <a:pt x="37492" y="22850"/>
                  <a:pt x="37289" y="22850"/>
                </a:cubicBezTo>
                <a:cubicBezTo>
                  <a:pt x="36351" y="22850"/>
                  <a:pt x="35585" y="23616"/>
                  <a:pt x="35585" y="24571"/>
                </a:cubicBezTo>
                <a:cubicBezTo>
                  <a:pt x="35585" y="25509"/>
                  <a:pt x="36351" y="26275"/>
                  <a:pt x="37289" y="26275"/>
                </a:cubicBezTo>
                <a:cubicBezTo>
                  <a:pt x="38227" y="26275"/>
                  <a:pt x="38994" y="25509"/>
                  <a:pt x="38994" y="24571"/>
                </a:cubicBezTo>
                <a:cubicBezTo>
                  <a:pt x="38994" y="24086"/>
                  <a:pt x="38806" y="23648"/>
                  <a:pt x="38478" y="23335"/>
                </a:cubicBezTo>
                <a:cubicBezTo>
                  <a:pt x="44232" y="14171"/>
                  <a:pt x="44232" y="14171"/>
                  <a:pt x="44232" y="14171"/>
                </a:cubicBezTo>
                <a:cubicBezTo>
                  <a:pt x="44451" y="14156"/>
                  <a:pt x="44873" y="14109"/>
                  <a:pt x="45373" y="14187"/>
                </a:cubicBezTo>
                <a:cubicBezTo>
                  <a:pt x="46312" y="14297"/>
                  <a:pt x="47062" y="14672"/>
                  <a:pt x="47594" y="15297"/>
                </a:cubicBezTo>
                <a:cubicBezTo>
                  <a:pt x="48626" y="16517"/>
                  <a:pt x="48595" y="17940"/>
                  <a:pt x="48548" y="19457"/>
                </a:cubicBezTo>
                <a:cubicBezTo>
                  <a:pt x="48548" y="19817"/>
                  <a:pt x="48532" y="20176"/>
                  <a:pt x="48548" y="20536"/>
                </a:cubicBezTo>
                <a:cubicBezTo>
                  <a:pt x="48595" y="23663"/>
                  <a:pt x="47891" y="24742"/>
                  <a:pt x="47140" y="25430"/>
                </a:cubicBezTo>
                <a:cubicBezTo>
                  <a:pt x="46124" y="26385"/>
                  <a:pt x="43872" y="25962"/>
                  <a:pt x="43857" y="25962"/>
                </a:cubicBezTo>
                <a:cubicBezTo>
                  <a:pt x="43841" y="25947"/>
                  <a:pt x="43841" y="25947"/>
                  <a:pt x="43841" y="25947"/>
                </a:cubicBezTo>
                <a:cubicBezTo>
                  <a:pt x="43825" y="25947"/>
                  <a:pt x="43825" y="25947"/>
                  <a:pt x="43825" y="25947"/>
                </a:cubicBezTo>
                <a:cubicBezTo>
                  <a:pt x="42981" y="25822"/>
                  <a:pt x="42324" y="25430"/>
                  <a:pt x="41886" y="24789"/>
                </a:cubicBezTo>
                <a:cubicBezTo>
                  <a:pt x="41636" y="24429"/>
                  <a:pt x="41527" y="24101"/>
                  <a:pt x="41480" y="23929"/>
                </a:cubicBezTo>
                <a:cubicBezTo>
                  <a:pt x="43012" y="21334"/>
                  <a:pt x="43012" y="21334"/>
                  <a:pt x="43012" y="21334"/>
                </a:cubicBezTo>
                <a:cubicBezTo>
                  <a:pt x="43247" y="21459"/>
                  <a:pt x="43497" y="21521"/>
                  <a:pt x="43779" y="21521"/>
                </a:cubicBezTo>
                <a:cubicBezTo>
                  <a:pt x="44717" y="21521"/>
                  <a:pt x="45483" y="20755"/>
                  <a:pt x="45483" y="19817"/>
                </a:cubicBezTo>
                <a:cubicBezTo>
                  <a:pt x="45483" y="18879"/>
                  <a:pt x="44717" y="18112"/>
                  <a:pt x="43779" y="18112"/>
                </a:cubicBezTo>
                <a:cubicBezTo>
                  <a:pt x="42841" y="18112"/>
                  <a:pt x="42074" y="18879"/>
                  <a:pt x="42074" y="19817"/>
                </a:cubicBezTo>
                <a:cubicBezTo>
                  <a:pt x="42074" y="20223"/>
                  <a:pt x="42215" y="20583"/>
                  <a:pt x="42449" y="20880"/>
                </a:cubicBezTo>
                <a:cubicBezTo>
                  <a:pt x="40792" y="23695"/>
                  <a:pt x="40792" y="23695"/>
                  <a:pt x="40792" y="23695"/>
                </a:cubicBezTo>
                <a:cubicBezTo>
                  <a:pt x="40745" y="23757"/>
                  <a:pt x="40729" y="23851"/>
                  <a:pt x="40745" y="23929"/>
                </a:cubicBezTo>
                <a:cubicBezTo>
                  <a:pt x="40745" y="23961"/>
                  <a:pt x="40854" y="24539"/>
                  <a:pt x="41277" y="25165"/>
                </a:cubicBezTo>
                <a:cubicBezTo>
                  <a:pt x="41636" y="25696"/>
                  <a:pt x="42309" y="26368"/>
                  <a:pt x="43466" y="26619"/>
                </a:cubicBezTo>
                <a:cubicBezTo>
                  <a:pt x="43513" y="26900"/>
                  <a:pt x="43591" y="27401"/>
                  <a:pt x="43622" y="27964"/>
                </a:cubicBezTo>
                <a:cubicBezTo>
                  <a:pt x="43654" y="28996"/>
                  <a:pt x="43497" y="29731"/>
                  <a:pt x="43169" y="30043"/>
                </a:cubicBezTo>
                <a:cubicBezTo>
                  <a:pt x="43122" y="30090"/>
                  <a:pt x="43122" y="30090"/>
                  <a:pt x="43122" y="30090"/>
                </a:cubicBezTo>
                <a:cubicBezTo>
                  <a:pt x="42184" y="30997"/>
                  <a:pt x="41621" y="31529"/>
                  <a:pt x="40119" y="31529"/>
                </a:cubicBezTo>
                <a:cubicBezTo>
                  <a:pt x="39525" y="31529"/>
                  <a:pt x="38931" y="31545"/>
                  <a:pt x="38368" y="31560"/>
                </a:cubicBezTo>
                <a:cubicBezTo>
                  <a:pt x="37430" y="31592"/>
                  <a:pt x="36539" y="31607"/>
                  <a:pt x="36132" y="31545"/>
                </a:cubicBezTo>
                <a:cubicBezTo>
                  <a:pt x="35866" y="31497"/>
                  <a:pt x="35210" y="31232"/>
                  <a:pt x="34600" y="30778"/>
                </a:cubicBezTo>
                <a:cubicBezTo>
                  <a:pt x="34115" y="30388"/>
                  <a:pt x="33536" y="29746"/>
                  <a:pt x="33489" y="28855"/>
                </a:cubicBezTo>
                <a:cubicBezTo>
                  <a:pt x="33427" y="27151"/>
                  <a:pt x="33489" y="17049"/>
                  <a:pt x="33489" y="15126"/>
                </a:cubicBezTo>
                <a:cubicBezTo>
                  <a:pt x="34271" y="14969"/>
                  <a:pt x="34850" y="14281"/>
                  <a:pt x="34850" y="13452"/>
                </a:cubicBezTo>
                <a:cubicBezTo>
                  <a:pt x="34850" y="12514"/>
                  <a:pt x="34084" y="11748"/>
                  <a:pt x="33145" y="11748"/>
                </a:cubicBezTo>
                <a:cubicBezTo>
                  <a:pt x="32207" y="11748"/>
                  <a:pt x="31441" y="12514"/>
                  <a:pt x="31441" y="13452"/>
                </a:cubicBezTo>
                <a:cubicBezTo>
                  <a:pt x="31441" y="14281"/>
                  <a:pt x="32020" y="14954"/>
                  <a:pt x="32786" y="15126"/>
                </a:cubicBezTo>
                <a:cubicBezTo>
                  <a:pt x="32770" y="17096"/>
                  <a:pt x="32708" y="27151"/>
                  <a:pt x="32786" y="28886"/>
                </a:cubicBezTo>
                <a:cubicBezTo>
                  <a:pt x="32879" y="30997"/>
                  <a:pt x="35210" y="32107"/>
                  <a:pt x="36007" y="32248"/>
                </a:cubicBezTo>
                <a:cubicBezTo>
                  <a:pt x="36257" y="32295"/>
                  <a:pt x="36617" y="32295"/>
                  <a:pt x="37055" y="32295"/>
                </a:cubicBezTo>
                <a:cubicBezTo>
                  <a:pt x="37430" y="32295"/>
                  <a:pt x="37883" y="32295"/>
                  <a:pt x="38384" y="32280"/>
                </a:cubicBezTo>
                <a:cubicBezTo>
                  <a:pt x="38946" y="32264"/>
                  <a:pt x="39541" y="32248"/>
                  <a:pt x="40119" y="32248"/>
                </a:cubicBezTo>
                <a:cubicBezTo>
                  <a:pt x="41918" y="32248"/>
                  <a:pt x="42621" y="31560"/>
                  <a:pt x="43622" y="30606"/>
                </a:cubicBezTo>
                <a:cubicBezTo>
                  <a:pt x="43669" y="30559"/>
                  <a:pt x="43669" y="30559"/>
                  <a:pt x="43669" y="30559"/>
                </a:cubicBezTo>
                <a:cubicBezTo>
                  <a:pt x="44154" y="30090"/>
                  <a:pt x="44373" y="29215"/>
                  <a:pt x="44326" y="27932"/>
                </a:cubicBezTo>
                <a:cubicBezTo>
                  <a:pt x="44310" y="27463"/>
                  <a:pt x="44263" y="27041"/>
                  <a:pt x="44217" y="26728"/>
                </a:cubicBezTo>
                <a:cubicBezTo>
                  <a:pt x="44435" y="26744"/>
                  <a:pt x="44701" y="26775"/>
                  <a:pt x="44998" y="26775"/>
                </a:cubicBezTo>
                <a:cubicBezTo>
                  <a:pt x="45858" y="26775"/>
                  <a:pt x="46922" y="26619"/>
                  <a:pt x="47641" y="25962"/>
                </a:cubicBezTo>
                <a:cubicBezTo>
                  <a:pt x="48204" y="25430"/>
                  <a:pt x="48595" y="24821"/>
                  <a:pt x="48845" y="24039"/>
                </a:cubicBezTo>
                <a:cubicBezTo>
                  <a:pt x="49142" y="23147"/>
                  <a:pt x="49283" y="22006"/>
                  <a:pt x="49252" y="20536"/>
                </a:cubicBezTo>
                <a:cubicBezTo>
                  <a:pt x="49252" y="20176"/>
                  <a:pt x="49267" y="19817"/>
                  <a:pt x="49267" y="19473"/>
                </a:cubicBezTo>
                <a:cubicBezTo>
                  <a:pt x="49314" y="17893"/>
                  <a:pt x="49346" y="16267"/>
                  <a:pt x="48141" y="14844"/>
                </a:cubicBezTo>
                <a:close/>
                <a:moveTo>
                  <a:pt x="22418" y="20270"/>
                </a:moveTo>
                <a:cubicBezTo>
                  <a:pt x="22418" y="19723"/>
                  <a:pt x="22871" y="19269"/>
                  <a:pt x="23419" y="19269"/>
                </a:cubicBezTo>
                <a:cubicBezTo>
                  <a:pt x="23966" y="19269"/>
                  <a:pt x="24404" y="19723"/>
                  <a:pt x="24404" y="20270"/>
                </a:cubicBezTo>
                <a:cubicBezTo>
                  <a:pt x="24404" y="20458"/>
                  <a:pt x="24342" y="20646"/>
                  <a:pt x="24248" y="20802"/>
                </a:cubicBezTo>
                <a:cubicBezTo>
                  <a:pt x="24169" y="20818"/>
                  <a:pt x="24091" y="20849"/>
                  <a:pt x="24044" y="20911"/>
                </a:cubicBezTo>
                <a:cubicBezTo>
                  <a:pt x="23982" y="20958"/>
                  <a:pt x="23951" y="21036"/>
                  <a:pt x="23935" y="21099"/>
                </a:cubicBezTo>
                <a:cubicBezTo>
                  <a:pt x="23794" y="21193"/>
                  <a:pt x="23607" y="21256"/>
                  <a:pt x="23419" y="21256"/>
                </a:cubicBezTo>
                <a:cubicBezTo>
                  <a:pt x="22871" y="21256"/>
                  <a:pt x="22418" y="20802"/>
                  <a:pt x="22418" y="20270"/>
                </a:cubicBezTo>
                <a:close/>
                <a:moveTo>
                  <a:pt x="20307" y="25321"/>
                </a:moveTo>
                <a:cubicBezTo>
                  <a:pt x="20854" y="25321"/>
                  <a:pt x="21292" y="25759"/>
                  <a:pt x="21292" y="26306"/>
                </a:cubicBezTo>
                <a:cubicBezTo>
                  <a:pt x="21292" y="26853"/>
                  <a:pt x="20854" y="27291"/>
                  <a:pt x="20307" y="27291"/>
                </a:cubicBezTo>
                <a:cubicBezTo>
                  <a:pt x="19760" y="27291"/>
                  <a:pt x="19322" y="26853"/>
                  <a:pt x="19322" y="26306"/>
                </a:cubicBezTo>
                <a:cubicBezTo>
                  <a:pt x="19322" y="25759"/>
                  <a:pt x="19760" y="25321"/>
                  <a:pt x="20307" y="25321"/>
                </a:cubicBezTo>
                <a:close/>
                <a:moveTo>
                  <a:pt x="12426" y="19254"/>
                </a:moveTo>
                <a:cubicBezTo>
                  <a:pt x="12973" y="19254"/>
                  <a:pt x="13427" y="19707"/>
                  <a:pt x="13427" y="20255"/>
                </a:cubicBezTo>
                <a:cubicBezTo>
                  <a:pt x="13427" y="20802"/>
                  <a:pt x="12973" y="21239"/>
                  <a:pt x="12426" y="21239"/>
                </a:cubicBezTo>
                <a:cubicBezTo>
                  <a:pt x="11879" y="21239"/>
                  <a:pt x="11441" y="20802"/>
                  <a:pt x="11441" y="20255"/>
                </a:cubicBezTo>
                <a:cubicBezTo>
                  <a:pt x="11441" y="19707"/>
                  <a:pt x="11879" y="19254"/>
                  <a:pt x="12426" y="19254"/>
                </a:cubicBezTo>
                <a:close/>
                <a:moveTo>
                  <a:pt x="18352" y="18378"/>
                </a:moveTo>
                <a:cubicBezTo>
                  <a:pt x="18352" y="18925"/>
                  <a:pt x="17915" y="19363"/>
                  <a:pt x="17367" y="19363"/>
                </a:cubicBezTo>
                <a:cubicBezTo>
                  <a:pt x="16820" y="19363"/>
                  <a:pt x="16382" y="18925"/>
                  <a:pt x="16382" y="18378"/>
                </a:cubicBezTo>
                <a:cubicBezTo>
                  <a:pt x="16382" y="18128"/>
                  <a:pt x="16460" y="17909"/>
                  <a:pt x="16617" y="17737"/>
                </a:cubicBezTo>
                <a:cubicBezTo>
                  <a:pt x="16617" y="17721"/>
                  <a:pt x="16617" y="17721"/>
                  <a:pt x="16617" y="17721"/>
                </a:cubicBezTo>
                <a:cubicBezTo>
                  <a:pt x="16804" y="17518"/>
                  <a:pt x="17070" y="17377"/>
                  <a:pt x="17367" y="17377"/>
                </a:cubicBezTo>
                <a:cubicBezTo>
                  <a:pt x="17915" y="17377"/>
                  <a:pt x="18352" y="17831"/>
                  <a:pt x="18352" y="18378"/>
                </a:cubicBezTo>
                <a:close/>
                <a:moveTo>
                  <a:pt x="7016" y="16423"/>
                </a:moveTo>
                <a:cubicBezTo>
                  <a:pt x="7016" y="16971"/>
                  <a:pt x="6562" y="17409"/>
                  <a:pt x="6015" y="17409"/>
                </a:cubicBezTo>
                <a:cubicBezTo>
                  <a:pt x="5467" y="17409"/>
                  <a:pt x="5030" y="16971"/>
                  <a:pt x="5030" y="16423"/>
                </a:cubicBezTo>
                <a:cubicBezTo>
                  <a:pt x="5030" y="15876"/>
                  <a:pt x="5467" y="15422"/>
                  <a:pt x="6015" y="15422"/>
                </a:cubicBezTo>
                <a:cubicBezTo>
                  <a:pt x="6562" y="15422"/>
                  <a:pt x="7016" y="15876"/>
                  <a:pt x="7016" y="16423"/>
                </a:cubicBezTo>
                <a:close/>
                <a:moveTo>
                  <a:pt x="26484" y="14719"/>
                </a:moveTo>
                <a:cubicBezTo>
                  <a:pt x="26484" y="15266"/>
                  <a:pt x="26046" y="15720"/>
                  <a:pt x="25499" y="15720"/>
                </a:cubicBezTo>
                <a:cubicBezTo>
                  <a:pt x="24952" y="15720"/>
                  <a:pt x="24514" y="15266"/>
                  <a:pt x="24514" y="14719"/>
                </a:cubicBezTo>
                <a:cubicBezTo>
                  <a:pt x="24514" y="14171"/>
                  <a:pt x="24952" y="13734"/>
                  <a:pt x="25499" y="13734"/>
                </a:cubicBezTo>
                <a:cubicBezTo>
                  <a:pt x="26046" y="13734"/>
                  <a:pt x="26484" y="14171"/>
                  <a:pt x="26484" y="14719"/>
                </a:cubicBezTo>
                <a:close/>
                <a:moveTo>
                  <a:pt x="20026" y="12280"/>
                </a:moveTo>
                <a:cubicBezTo>
                  <a:pt x="20026" y="12827"/>
                  <a:pt x="19588" y="13265"/>
                  <a:pt x="19040" y="13265"/>
                </a:cubicBezTo>
                <a:cubicBezTo>
                  <a:pt x="18493" y="13265"/>
                  <a:pt x="18055" y="12827"/>
                  <a:pt x="18055" y="12280"/>
                </a:cubicBezTo>
                <a:cubicBezTo>
                  <a:pt x="18055" y="12029"/>
                  <a:pt x="18149" y="11795"/>
                  <a:pt x="18290" y="11623"/>
                </a:cubicBezTo>
                <a:lnTo>
                  <a:pt x="18305" y="11623"/>
                </a:lnTo>
                <a:cubicBezTo>
                  <a:pt x="18478" y="11419"/>
                  <a:pt x="18743" y="11279"/>
                  <a:pt x="19040" y="11279"/>
                </a:cubicBezTo>
                <a:cubicBezTo>
                  <a:pt x="19588" y="11279"/>
                  <a:pt x="20026" y="11732"/>
                  <a:pt x="20026" y="12280"/>
                </a:cubicBezTo>
                <a:close/>
                <a:moveTo>
                  <a:pt x="22590" y="6932"/>
                </a:moveTo>
                <a:cubicBezTo>
                  <a:pt x="22590" y="7479"/>
                  <a:pt x="22152" y="7917"/>
                  <a:pt x="21605" y="7917"/>
                </a:cubicBezTo>
                <a:cubicBezTo>
                  <a:pt x="21058" y="7917"/>
                  <a:pt x="20620" y="7479"/>
                  <a:pt x="20620" y="6932"/>
                </a:cubicBezTo>
                <a:cubicBezTo>
                  <a:pt x="20620" y="6635"/>
                  <a:pt x="20745" y="6369"/>
                  <a:pt x="20948" y="6197"/>
                </a:cubicBezTo>
                <a:cubicBezTo>
                  <a:pt x="20948" y="6181"/>
                  <a:pt x="20948" y="6181"/>
                  <a:pt x="20948" y="6181"/>
                </a:cubicBezTo>
                <a:cubicBezTo>
                  <a:pt x="21120" y="6025"/>
                  <a:pt x="21355" y="5931"/>
                  <a:pt x="21605" y="5931"/>
                </a:cubicBezTo>
                <a:cubicBezTo>
                  <a:pt x="22152" y="5931"/>
                  <a:pt x="22590" y="6384"/>
                  <a:pt x="22590" y="6932"/>
                </a:cubicBezTo>
                <a:close/>
                <a:moveTo>
                  <a:pt x="30784" y="37972"/>
                </a:moveTo>
                <a:cubicBezTo>
                  <a:pt x="30784" y="38518"/>
                  <a:pt x="30346" y="38957"/>
                  <a:pt x="29799" y="38957"/>
                </a:cubicBezTo>
                <a:cubicBezTo>
                  <a:pt x="29251" y="38957"/>
                  <a:pt x="28814" y="38518"/>
                  <a:pt x="28814" y="37972"/>
                </a:cubicBezTo>
                <a:cubicBezTo>
                  <a:pt x="28814" y="37424"/>
                  <a:pt x="29251" y="36971"/>
                  <a:pt x="29799" y="36971"/>
                </a:cubicBezTo>
                <a:cubicBezTo>
                  <a:pt x="30346" y="36971"/>
                  <a:pt x="30784" y="37424"/>
                  <a:pt x="30784" y="37972"/>
                </a:cubicBezTo>
                <a:close/>
                <a:moveTo>
                  <a:pt x="33458" y="9747"/>
                </a:moveTo>
                <a:cubicBezTo>
                  <a:pt x="32911" y="9747"/>
                  <a:pt x="32473" y="9309"/>
                  <a:pt x="32473" y="8761"/>
                </a:cubicBezTo>
                <a:cubicBezTo>
                  <a:pt x="32473" y="8214"/>
                  <a:pt x="32911" y="7760"/>
                  <a:pt x="33458" y="7760"/>
                </a:cubicBezTo>
                <a:cubicBezTo>
                  <a:pt x="33646" y="7760"/>
                  <a:pt x="33817" y="7823"/>
                  <a:pt x="33974" y="7917"/>
                </a:cubicBezTo>
                <a:cubicBezTo>
                  <a:pt x="33974" y="7917"/>
                  <a:pt x="33990" y="7917"/>
                  <a:pt x="34005" y="7933"/>
                </a:cubicBezTo>
                <a:cubicBezTo>
                  <a:pt x="34271" y="8104"/>
                  <a:pt x="34443" y="8417"/>
                  <a:pt x="34443" y="8761"/>
                </a:cubicBezTo>
                <a:cubicBezTo>
                  <a:pt x="34443" y="9309"/>
                  <a:pt x="34005" y="9747"/>
                  <a:pt x="33458" y="9747"/>
                </a:cubicBezTo>
                <a:close/>
                <a:moveTo>
                  <a:pt x="36476" y="19551"/>
                </a:moveTo>
                <a:cubicBezTo>
                  <a:pt x="35929" y="19551"/>
                  <a:pt x="35491" y="19097"/>
                  <a:pt x="35491" y="18550"/>
                </a:cubicBezTo>
                <a:cubicBezTo>
                  <a:pt x="35491" y="18003"/>
                  <a:pt x="35929" y="17565"/>
                  <a:pt x="36476" y="17565"/>
                </a:cubicBezTo>
                <a:cubicBezTo>
                  <a:pt x="36601" y="17565"/>
                  <a:pt x="36711" y="17581"/>
                  <a:pt x="36820" y="17628"/>
                </a:cubicBezTo>
                <a:cubicBezTo>
                  <a:pt x="36836" y="17628"/>
                  <a:pt x="36836" y="17628"/>
                  <a:pt x="36851" y="17643"/>
                </a:cubicBezTo>
                <a:cubicBezTo>
                  <a:pt x="37211" y="17784"/>
                  <a:pt x="37477" y="18144"/>
                  <a:pt x="37477" y="18550"/>
                </a:cubicBezTo>
                <a:cubicBezTo>
                  <a:pt x="37477" y="19097"/>
                  <a:pt x="37023" y="19551"/>
                  <a:pt x="36476" y="19551"/>
                </a:cubicBezTo>
                <a:close/>
                <a:moveTo>
                  <a:pt x="37289" y="25555"/>
                </a:moveTo>
                <a:cubicBezTo>
                  <a:pt x="36742" y="25555"/>
                  <a:pt x="36304" y="25102"/>
                  <a:pt x="36304" y="24571"/>
                </a:cubicBezTo>
                <a:cubicBezTo>
                  <a:pt x="36304" y="24023"/>
                  <a:pt x="36742" y="23570"/>
                  <a:pt x="37289" y="23570"/>
                </a:cubicBezTo>
                <a:cubicBezTo>
                  <a:pt x="37477" y="23570"/>
                  <a:pt x="37649" y="23616"/>
                  <a:pt x="37805" y="23710"/>
                </a:cubicBezTo>
                <a:cubicBezTo>
                  <a:pt x="37805" y="23710"/>
                  <a:pt x="37805" y="23726"/>
                  <a:pt x="37821" y="23726"/>
                </a:cubicBezTo>
                <a:lnTo>
                  <a:pt x="37837" y="23726"/>
                </a:lnTo>
                <a:cubicBezTo>
                  <a:pt x="38102" y="23914"/>
                  <a:pt x="38290" y="24211"/>
                  <a:pt x="38290" y="24571"/>
                </a:cubicBezTo>
                <a:cubicBezTo>
                  <a:pt x="38290" y="25102"/>
                  <a:pt x="37837" y="25555"/>
                  <a:pt x="37289" y="25555"/>
                </a:cubicBezTo>
                <a:close/>
                <a:moveTo>
                  <a:pt x="43779" y="18816"/>
                </a:moveTo>
                <a:cubicBezTo>
                  <a:pt x="44326" y="18816"/>
                  <a:pt x="44764" y="19269"/>
                  <a:pt x="44764" y="19817"/>
                </a:cubicBezTo>
                <a:cubicBezTo>
                  <a:pt x="44764" y="20364"/>
                  <a:pt x="44326" y="20802"/>
                  <a:pt x="43779" y="20802"/>
                </a:cubicBezTo>
                <a:cubicBezTo>
                  <a:pt x="43544" y="20802"/>
                  <a:pt x="43309" y="20708"/>
                  <a:pt x="43137" y="20567"/>
                </a:cubicBezTo>
                <a:lnTo>
                  <a:pt x="43122" y="20551"/>
                </a:lnTo>
                <a:cubicBezTo>
                  <a:pt x="42919" y="20380"/>
                  <a:pt x="42793" y="20114"/>
                  <a:pt x="42793" y="19817"/>
                </a:cubicBezTo>
                <a:cubicBezTo>
                  <a:pt x="42793" y="19269"/>
                  <a:pt x="43231" y="18816"/>
                  <a:pt x="43779" y="18816"/>
                </a:cubicBezTo>
                <a:close/>
                <a:moveTo>
                  <a:pt x="32145" y="13452"/>
                </a:moveTo>
                <a:cubicBezTo>
                  <a:pt x="32145" y="12905"/>
                  <a:pt x="32598" y="12467"/>
                  <a:pt x="33145" y="12467"/>
                </a:cubicBezTo>
                <a:cubicBezTo>
                  <a:pt x="33692" y="12467"/>
                  <a:pt x="34130" y="12905"/>
                  <a:pt x="34130" y="13452"/>
                </a:cubicBezTo>
                <a:cubicBezTo>
                  <a:pt x="34130" y="14000"/>
                  <a:pt x="33692" y="14453"/>
                  <a:pt x="33145" y="14453"/>
                </a:cubicBezTo>
                <a:cubicBezTo>
                  <a:pt x="32598" y="14453"/>
                  <a:pt x="32145" y="14000"/>
                  <a:pt x="32145" y="1345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1" name="Freeform 20">
            <a:extLst>
              <a:ext uri="{FF2B5EF4-FFF2-40B4-BE49-F238E27FC236}">
                <a16:creationId xmlns:a16="http://schemas.microsoft.com/office/drawing/2014/main" id="{2BE7B05F-ACCD-954B-BC3E-06E1648C3BE2}"/>
              </a:ext>
            </a:extLst>
          </p:cNvPr>
          <p:cNvSpPr/>
          <p:nvPr/>
        </p:nvSpPr>
        <p:spPr>
          <a:xfrm>
            <a:off x="13465469" y="3916936"/>
            <a:ext cx="8397285" cy="5482600"/>
          </a:xfrm>
          <a:custGeom>
            <a:avLst/>
            <a:gdLst/>
            <a:ahLst/>
            <a:cxnLst>
              <a:cxn ang="3cd4">
                <a:pos x="hc" y="t"/>
              </a:cxn>
              <a:cxn ang="cd2">
                <a:pos x="l" y="vc"/>
              </a:cxn>
              <a:cxn ang="cd4">
                <a:pos x="hc" y="b"/>
              </a:cxn>
              <a:cxn ang="0">
                <a:pos x="r" y="vc"/>
              </a:cxn>
            </a:cxnLst>
            <a:rect l="l" t="t" r="r" b="b"/>
            <a:pathLst>
              <a:path w="52355" h="34183">
                <a:moveTo>
                  <a:pt x="52103" y="18984"/>
                </a:moveTo>
                <a:cubicBezTo>
                  <a:pt x="51837" y="18484"/>
                  <a:pt x="51399" y="18108"/>
                  <a:pt x="50852" y="17952"/>
                </a:cubicBezTo>
                <a:cubicBezTo>
                  <a:pt x="45895" y="16529"/>
                  <a:pt x="45895" y="16529"/>
                  <a:pt x="45895" y="16529"/>
                </a:cubicBezTo>
                <a:cubicBezTo>
                  <a:pt x="45895" y="3081"/>
                  <a:pt x="45895" y="3081"/>
                  <a:pt x="45895" y="3081"/>
                </a:cubicBezTo>
                <a:cubicBezTo>
                  <a:pt x="45895" y="2143"/>
                  <a:pt x="45567" y="1361"/>
                  <a:pt x="44957" y="813"/>
                </a:cubicBezTo>
                <a:cubicBezTo>
                  <a:pt x="44363" y="282"/>
                  <a:pt x="43550" y="0"/>
                  <a:pt x="42595" y="0"/>
                </a:cubicBezTo>
                <a:cubicBezTo>
                  <a:pt x="6427" y="0"/>
                  <a:pt x="6427" y="0"/>
                  <a:pt x="6427" y="0"/>
                </a:cubicBezTo>
                <a:cubicBezTo>
                  <a:pt x="4503" y="0"/>
                  <a:pt x="3346" y="1158"/>
                  <a:pt x="3346" y="3081"/>
                </a:cubicBezTo>
                <a:cubicBezTo>
                  <a:pt x="3346" y="28460"/>
                  <a:pt x="3346" y="28460"/>
                  <a:pt x="3346" y="28460"/>
                </a:cubicBezTo>
                <a:cubicBezTo>
                  <a:pt x="359" y="28460"/>
                  <a:pt x="359" y="28460"/>
                  <a:pt x="359" y="28460"/>
                </a:cubicBezTo>
                <a:cubicBezTo>
                  <a:pt x="156" y="28460"/>
                  <a:pt x="0" y="28616"/>
                  <a:pt x="0" y="28820"/>
                </a:cubicBezTo>
                <a:cubicBezTo>
                  <a:pt x="0" y="30274"/>
                  <a:pt x="0" y="30274"/>
                  <a:pt x="0" y="30274"/>
                </a:cubicBezTo>
                <a:cubicBezTo>
                  <a:pt x="0" y="32166"/>
                  <a:pt x="1313" y="34183"/>
                  <a:pt x="3268" y="34183"/>
                </a:cubicBezTo>
                <a:cubicBezTo>
                  <a:pt x="45097" y="34183"/>
                  <a:pt x="45097" y="34183"/>
                  <a:pt x="45097" y="34183"/>
                </a:cubicBezTo>
                <a:cubicBezTo>
                  <a:pt x="46020" y="34183"/>
                  <a:pt x="47052" y="33730"/>
                  <a:pt x="47881" y="32963"/>
                </a:cubicBezTo>
                <a:cubicBezTo>
                  <a:pt x="48757" y="32166"/>
                  <a:pt x="49241" y="31181"/>
                  <a:pt x="49241" y="30274"/>
                </a:cubicBezTo>
                <a:cubicBezTo>
                  <a:pt x="49241" y="28820"/>
                  <a:pt x="49241" y="28820"/>
                  <a:pt x="49241" y="28820"/>
                </a:cubicBezTo>
                <a:cubicBezTo>
                  <a:pt x="49241" y="28616"/>
                  <a:pt x="49085" y="28460"/>
                  <a:pt x="48882" y="28460"/>
                </a:cubicBezTo>
                <a:cubicBezTo>
                  <a:pt x="45895" y="28460"/>
                  <a:pt x="45895" y="28460"/>
                  <a:pt x="45895" y="28460"/>
                </a:cubicBezTo>
                <a:cubicBezTo>
                  <a:pt x="45895" y="20954"/>
                  <a:pt x="45895" y="20954"/>
                  <a:pt x="45895" y="20954"/>
                </a:cubicBezTo>
                <a:cubicBezTo>
                  <a:pt x="49601" y="22017"/>
                  <a:pt x="49601" y="22017"/>
                  <a:pt x="49601" y="22017"/>
                </a:cubicBezTo>
                <a:cubicBezTo>
                  <a:pt x="49804" y="22080"/>
                  <a:pt x="50008" y="22111"/>
                  <a:pt x="50226" y="22111"/>
                </a:cubicBezTo>
                <a:cubicBezTo>
                  <a:pt x="50523" y="22111"/>
                  <a:pt x="50836" y="22049"/>
                  <a:pt x="51118" y="21924"/>
                </a:cubicBezTo>
                <a:cubicBezTo>
                  <a:pt x="51665" y="21658"/>
                  <a:pt x="52087" y="21189"/>
                  <a:pt x="52259" y="20610"/>
                </a:cubicBezTo>
                <a:cubicBezTo>
                  <a:pt x="52431" y="20063"/>
                  <a:pt x="52369" y="19484"/>
                  <a:pt x="52103" y="18984"/>
                </a:cubicBezTo>
                <a:close/>
                <a:moveTo>
                  <a:pt x="48537" y="30274"/>
                </a:moveTo>
                <a:cubicBezTo>
                  <a:pt x="48537" y="30977"/>
                  <a:pt x="48116" y="31791"/>
                  <a:pt x="47396" y="32432"/>
                </a:cubicBezTo>
                <a:cubicBezTo>
                  <a:pt x="46692" y="33088"/>
                  <a:pt x="45832" y="33480"/>
                  <a:pt x="45097" y="33480"/>
                </a:cubicBezTo>
                <a:cubicBezTo>
                  <a:pt x="3268" y="33480"/>
                  <a:pt x="3268" y="33480"/>
                  <a:pt x="3268" y="33480"/>
                </a:cubicBezTo>
                <a:cubicBezTo>
                  <a:pt x="2580" y="33480"/>
                  <a:pt x="1939" y="33120"/>
                  <a:pt x="1454" y="32479"/>
                </a:cubicBezTo>
                <a:cubicBezTo>
                  <a:pt x="985" y="31869"/>
                  <a:pt x="719" y="31071"/>
                  <a:pt x="719" y="30274"/>
                </a:cubicBezTo>
                <a:cubicBezTo>
                  <a:pt x="719" y="29164"/>
                  <a:pt x="719" y="29164"/>
                  <a:pt x="719" y="29164"/>
                </a:cubicBezTo>
                <a:cubicBezTo>
                  <a:pt x="3706" y="29164"/>
                  <a:pt x="3706" y="29164"/>
                  <a:pt x="3706" y="29164"/>
                </a:cubicBezTo>
                <a:cubicBezTo>
                  <a:pt x="45535" y="29164"/>
                  <a:pt x="45535" y="29164"/>
                  <a:pt x="45535" y="29164"/>
                </a:cubicBezTo>
                <a:cubicBezTo>
                  <a:pt x="48537" y="29164"/>
                  <a:pt x="48537" y="29164"/>
                  <a:pt x="48537" y="29164"/>
                </a:cubicBezTo>
                <a:close/>
                <a:moveTo>
                  <a:pt x="45191" y="28460"/>
                </a:moveTo>
                <a:cubicBezTo>
                  <a:pt x="4065" y="28460"/>
                  <a:pt x="4065" y="28460"/>
                  <a:pt x="4065" y="28460"/>
                </a:cubicBezTo>
                <a:cubicBezTo>
                  <a:pt x="4065" y="3081"/>
                  <a:pt x="4065" y="3081"/>
                  <a:pt x="4065" y="3081"/>
                </a:cubicBezTo>
                <a:cubicBezTo>
                  <a:pt x="4065" y="2330"/>
                  <a:pt x="4269" y="1736"/>
                  <a:pt x="4675" y="1330"/>
                </a:cubicBezTo>
                <a:cubicBezTo>
                  <a:pt x="5082" y="923"/>
                  <a:pt x="5661" y="720"/>
                  <a:pt x="6427" y="720"/>
                </a:cubicBezTo>
                <a:cubicBezTo>
                  <a:pt x="42595" y="720"/>
                  <a:pt x="42595" y="720"/>
                  <a:pt x="42595" y="720"/>
                </a:cubicBezTo>
                <a:cubicBezTo>
                  <a:pt x="43377" y="720"/>
                  <a:pt x="44018" y="938"/>
                  <a:pt x="44472" y="1345"/>
                </a:cubicBezTo>
                <a:cubicBezTo>
                  <a:pt x="44941" y="1752"/>
                  <a:pt x="45191" y="2361"/>
                  <a:pt x="45191" y="3081"/>
                </a:cubicBezTo>
                <a:cubicBezTo>
                  <a:pt x="45191" y="16310"/>
                  <a:pt x="45191" y="16310"/>
                  <a:pt x="45191" y="16310"/>
                </a:cubicBezTo>
                <a:cubicBezTo>
                  <a:pt x="43831" y="15919"/>
                  <a:pt x="43831" y="15919"/>
                  <a:pt x="43831" y="15919"/>
                </a:cubicBezTo>
                <a:cubicBezTo>
                  <a:pt x="43831" y="3394"/>
                  <a:pt x="43831" y="3394"/>
                  <a:pt x="43831" y="3394"/>
                </a:cubicBezTo>
                <a:cubicBezTo>
                  <a:pt x="43831" y="3190"/>
                  <a:pt x="43659" y="3034"/>
                  <a:pt x="43471" y="3034"/>
                </a:cubicBezTo>
                <a:cubicBezTo>
                  <a:pt x="5926" y="3034"/>
                  <a:pt x="5926" y="3034"/>
                  <a:pt x="5926" y="3034"/>
                </a:cubicBezTo>
                <a:cubicBezTo>
                  <a:pt x="5739" y="3034"/>
                  <a:pt x="5582" y="3190"/>
                  <a:pt x="5582" y="3394"/>
                </a:cubicBezTo>
                <a:cubicBezTo>
                  <a:pt x="5582" y="26505"/>
                  <a:pt x="5582" y="26505"/>
                  <a:pt x="5582" y="26505"/>
                </a:cubicBezTo>
                <a:cubicBezTo>
                  <a:pt x="5582" y="26693"/>
                  <a:pt x="5739" y="26850"/>
                  <a:pt x="5926" y="26850"/>
                </a:cubicBezTo>
                <a:cubicBezTo>
                  <a:pt x="43471" y="26850"/>
                  <a:pt x="43471" y="26850"/>
                  <a:pt x="43471" y="26850"/>
                </a:cubicBezTo>
                <a:cubicBezTo>
                  <a:pt x="43659" y="26850"/>
                  <a:pt x="43831" y="26693"/>
                  <a:pt x="43831" y="26505"/>
                </a:cubicBezTo>
                <a:cubicBezTo>
                  <a:pt x="43831" y="20360"/>
                  <a:pt x="43831" y="20360"/>
                  <a:pt x="43831" y="20360"/>
                </a:cubicBezTo>
                <a:cubicBezTo>
                  <a:pt x="45191" y="20751"/>
                  <a:pt x="45191" y="20751"/>
                  <a:pt x="45191" y="20751"/>
                </a:cubicBezTo>
                <a:close/>
                <a:moveTo>
                  <a:pt x="43112" y="7365"/>
                </a:moveTo>
                <a:cubicBezTo>
                  <a:pt x="40985" y="5817"/>
                  <a:pt x="40985" y="5817"/>
                  <a:pt x="40985" y="5817"/>
                </a:cubicBezTo>
                <a:cubicBezTo>
                  <a:pt x="40985" y="5771"/>
                  <a:pt x="40985" y="5724"/>
                  <a:pt x="40985" y="5677"/>
                </a:cubicBezTo>
                <a:cubicBezTo>
                  <a:pt x="40985" y="4895"/>
                  <a:pt x="40344" y="4269"/>
                  <a:pt x="39562" y="4269"/>
                </a:cubicBezTo>
                <a:cubicBezTo>
                  <a:pt x="38780" y="4269"/>
                  <a:pt x="38139" y="4895"/>
                  <a:pt x="38139" y="5677"/>
                </a:cubicBezTo>
                <a:cubicBezTo>
                  <a:pt x="38139" y="5833"/>
                  <a:pt x="38170" y="5974"/>
                  <a:pt x="38217" y="6114"/>
                </a:cubicBezTo>
                <a:cubicBezTo>
                  <a:pt x="35919" y="7162"/>
                  <a:pt x="35919" y="7162"/>
                  <a:pt x="35919" y="7162"/>
                </a:cubicBezTo>
                <a:lnTo>
                  <a:pt x="35903" y="7162"/>
                </a:lnTo>
                <a:cubicBezTo>
                  <a:pt x="35074" y="6412"/>
                  <a:pt x="34105" y="5817"/>
                  <a:pt x="33025" y="5442"/>
                </a:cubicBezTo>
                <a:cubicBezTo>
                  <a:pt x="31962" y="5051"/>
                  <a:pt x="30852" y="4863"/>
                  <a:pt x="29710" y="4910"/>
                </a:cubicBezTo>
                <a:cubicBezTo>
                  <a:pt x="28538" y="4958"/>
                  <a:pt x="27412" y="5223"/>
                  <a:pt x="26333" y="5724"/>
                </a:cubicBezTo>
                <a:cubicBezTo>
                  <a:pt x="25254" y="6224"/>
                  <a:pt x="24316" y="6912"/>
                  <a:pt x="23534" y="7788"/>
                </a:cubicBezTo>
                <a:cubicBezTo>
                  <a:pt x="22924" y="8460"/>
                  <a:pt x="22439" y="9211"/>
                  <a:pt x="22064" y="10024"/>
                </a:cubicBezTo>
                <a:cubicBezTo>
                  <a:pt x="20140" y="9680"/>
                  <a:pt x="20140" y="9680"/>
                  <a:pt x="20140" y="9680"/>
                </a:cubicBezTo>
                <a:cubicBezTo>
                  <a:pt x="20140" y="9649"/>
                  <a:pt x="20140" y="9617"/>
                  <a:pt x="20140" y="9586"/>
                </a:cubicBezTo>
                <a:cubicBezTo>
                  <a:pt x="20140" y="8804"/>
                  <a:pt x="19515" y="8163"/>
                  <a:pt x="18718" y="8163"/>
                </a:cubicBezTo>
                <a:cubicBezTo>
                  <a:pt x="17936" y="8163"/>
                  <a:pt x="17310" y="8804"/>
                  <a:pt x="17310" y="9586"/>
                </a:cubicBezTo>
                <a:cubicBezTo>
                  <a:pt x="17310" y="9883"/>
                  <a:pt x="17388" y="10165"/>
                  <a:pt x="17545" y="10383"/>
                </a:cubicBezTo>
                <a:cubicBezTo>
                  <a:pt x="14198" y="13949"/>
                  <a:pt x="14198" y="13949"/>
                  <a:pt x="14198" y="13949"/>
                </a:cubicBezTo>
                <a:cubicBezTo>
                  <a:pt x="13995" y="13808"/>
                  <a:pt x="13729" y="13730"/>
                  <a:pt x="13464" y="13730"/>
                </a:cubicBezTo>
                <a:cubicBezTo>
                  <a:pt x="13104" y="13730"/>
                  <a:pt x="12776" y="13870"/>
                  <a:pt x="12525" y="14090"/>
                </a:cubicBezTo>
                <a:cubicBezTo>
                  <a:pt x="6286" y="8741"/>
                  <a:pt x="6286" y="8741"/>
                  <a:pt x="6286" y="8741"/>
                </a:cubicBezTo>
                <a:cubicBezTo>
                  <a:pt x="6286" y="3753"/>
                  <a:pt x="6286" y="3753"/>
                  <a:pt x="6286" y="3753"/>
                </a:cubicBezTo>
                <a:cubicBezTo>
                  <a:pt x="43112" y="3753"/>
                  <a:pt x="43112" y="3753"/>
                  <a:pt x="43112" y="3753"/>
                </a:cubicBezTo>
                <a:close/>
                <a:moveTo>
                  <a:pt x="38858" y="5677"/>
                </a:moveTo>
                <a:cubicBezTo>
                  <a:pt x="38858" y="5301"/>
                  <a:pt x="39171" y="4973"/>
                  <a:pt x="39562" y="4973"/>
                </a:cubicBezTo>
                <a:cubicBezTo>
                  <a:pt x="39953" y="4973"/>
                  <a:pt x="40265" y="5301"/>
                  <a:pt x="40265" y="5677"/>
                </a:cubicBezTo>
                <a:cubicBezTo>
                  <a:pt x="40265" y="5739"/>
                  <a:pt x="40265" y="5802"/>
                  <a:pt x="40250" y="5864"/>
                </a:cubicBezTo>
                <a:cubicBezTo>
                  <a:pt x="40250" y="5864"/>
                  <a:pt x="40234" y="5880"/>
                  <a:pt x="40234" y="5896"/>
                </a:cubicBezTo>
                <a:cubicBezTo>
                  <a:pt x="40156" y="6177"/>
                  <a:pt x="39875" y="6396"/>
                  <a:pt x="39562" y="6396"/>
                </a:cubicBezTo>
                <a:cubicBezTo>
                  <a:pt x="39171" y="6396"/>
                  <a:pt x="38858" y="6067"/>
                  <a:pt x="38858" y="5677"/>
                </a:cubicBezTo>
                <a:close/>
                <a:moveTo>
                  <a:pt x="37591" y="16419"/>
                </a:moveTo>
                <a:cubicBezTo>
                  <a:pt x="37232" y="17404"/>
                  <a:pt x="36700" y="18296"/>
                  <a:pt x="35997" y="19062"/>
                </a:cubicBezTo>
                <a:cubicBezTo>
                  <a:pt x="35903" y="19172"/>
                  <a:pt x="35793" y="19281"/>
                  <a:pt x="35684" y="19390"/>
                </a:cubicBezTo>
                <a:cubicBezTo>
                  <a:pt x="33667" y="17451"/>
                  <a:pt x="33667" y="17451"/>
                  <a:pt x="33667" y="17451"/>
                </a:cubicBezTo>
                <a:cubicBezTo>
                  <a:pt x="33682" y="17342"/>
                  <a:pt x="33682" y="17217"/>
                  <a:pt x="33682" y="17107"/>
                </a:cubicBezTo>
                <a:cubicBezTo>
                  <a:pt x="33682" y="15825"/>
                  <a:pt x="32650" y="14793"/>
                  <a:pt x="31384" y="14793"/>
                </a:cubicBezTo>
                <a:cubicBezTo>
                  <a:pt x="30117" y="14793"/>
                  <a:pt x="29069" y="15825"/>
                  <a:pt x="29069" y="17107"/>
                </a:cubicBezTo>
                <a:cubicBezTo>
                  <a:pt x="29069" y="17217"/>
                  <a:pt x="29085" y="17326"/>
                  <a:pt x="29101" y="17420"/>
                </a:cubicBezTo>
                <a:cubicBezTo>
                  <a:pt x="24988" y="19938"/>
                  <a:pt x="24988" y="19938"/>
                  <a:pt x="24988" y="19938"/>
                </a:cubicBezTo>
                <a:cubicBezTo>
                  <a:pt x="24878" y="19844"/>
                  <a:pt x="24753" y="19735"/>
                  <a:pt x="24628" y="19640"/>
                </a:cubicBezTo>
                <a:cubicBezTo>
                  <a:pt x="23831" y="18906"/>
                  <a:pt x="23205" y="18046"/>
                  <a:pt x="22736" y="17060"/>
                </a:cubicBezTo>
                <a:cubicBezTo>
                  <a:pt x="22283" y="16075"/>
                  <a:pt x="22033" y="15028"/>
                  <a:pt x="21986" y="13965"/>
                </a:cubicBezTo>
                <a:cubicBezTo>
                  <a:pt x="21954" y="12917"/>
                  <a:pt x="22111" y="11900"/>
                  <a:pt x="22471" y="10915"/>
                </a:cubicBezTo>
                <a:cubicBezTo>
                  <a:pt x="22486" y="10884"/>
                  <a:pt x="22486" y="10868"/>
                  <a:pt x="22502" y="10837"/>
                </a:cubicBezTo>
                <a:cubicBezTo>
                  <a:pt x="24941" y="11290"/>
                  <a:pt x="24941" y="11290"/>
                  <a:pt x="24941" y="11290"/>
                </a:cubicBezTo>
                <a:cubicBezTo>
                  <a:pt x="24973" y="12526"/>
                  <a:pt x="25989" y="13542"/>
                  <a:pt x="27240" y="13542"/>
                </a:cubicBezTo>
                <a:cubicBezTo>
                  <a:pt x="28522" y="13542"/>
                  <a:pt x="29554" y="12494"/>
                  <a:pt x="29554" y="11228"/>
                </a:cubicBezTo>
                <a:cubicBezTo>
                  <a:pt x="29554" y="11118"/>
                  <a:pt x="29539" y="11009"/>
                  <a:pt x="29523" y="10899"/>
                </a:cubicBezTo>
                <a:cubicBezTo>
                  <a:pt x="35762" y="8022"/>
                  <a:pt x="35762" y="8022"/>
                  <a:pt x="35762" y="8022"/>
                </a:cubicBezTo>
                <a:cubicBezTo>
                  <a:pt x="36403" y="8679"/>
                  <a:pt x="36935" y="9429"/>
                  <a:pt x="37326" y="10274"/>
                </a:cubicBezTo>
                <a:cubicBezTo>
                  <a:pt x="37779" y="11259"/>
                  <a:pt x="38029" y="12291"/>
                  <a:pt x="38076" y="13370"/>
                </a:cubicBezTo>
                <a:cubicBezTo>
                  <a:pt x="38108" y="14418"/>
                  <a:pt x="37951" y="15434"/>
                  <a:pt x="37591" y="16419"/>
                </a:cubicBezTo>
                <a:close/>
                <a:moveTo>
                  <a:pt x="32932" y="17467"/>
                </a:moveTo>
                <a:cubicBezTo>
                  <a:pt x="32932" y="17483"/>
                  <a:pt x="32916" y="17498"/>
                  <a:pt x="32916" y="17514"/>
                </a:cubicBezTo>
                <a:cubicBezTo>
                  <a:pt x="32729" y="18202"/>
                  <a:pt x="32119" y="18702"/>
                  <a:pt x="31384" y="18702"/>
                </a:cubicBezTo>
                <a:cubicBezTo>
                  <a:pt x="30648" y="18702"/>
                  <a:pt x="30039" y="18202"/>
                  <a:pt x="29851" y="17529"/>
                </a:cubicBezTo>
                <a:cubicBezTo>
                  <a:pt x="29851" y="17514"/>
                  <a:pt x="29835" y="17498"/>
                  <a:pt x="29835" y="17483"/>
                </a:cubicBezTo>
                <a:cubicBezTo>
                  <a:pt x="29804" y="17358"/>
                  <a:pt x="29789" y="17233"/>
                  <a:pt x="29789" y="17107"/>
                </a:cubicBezTo>
                <a:cubicBezTo>
                  <a:pt x="29789" y="16232"/>
                  <a:pt x="30508" y="15512"/>
                  <a:pt x="31384" y="15512"/>
                </a:cubicBezTo>
                <a:cubicBezTo>
                  <a:pt x="32259" y="15512"/>
                  <a:pt x="32979" y="16232"/>
                  <a:pt x="32979" y="17107"/>
                </a:cubicBezTo>
                <a:cubicBezTo>
                  <a:pt x="32979" y="17233"/>
                  <a:pt x="32963" y="17342"/>
                  <a:pt x="32932" y="17467"/>
                </a:cubicBezTo>
                <a:close/>
                <a:moveTo>
                  <a:pt x="31384" y="19406"/>
                </a:moveTo>
                <a:cubicBezTo>
                  <a:pt x="32259" y="19406"/>
                  <a:pt x="33025" y="18921"/>
                  <a:pt x="33417" y="18202"/>
                </a:cubicBezTo>
                <a:cubicBezTo>
                  <a:pt x="35152" y="19875"/>
                  <a:pt x="35152" y="19875"/>
                  <a:pt x="35152" y="19875"/>
                </a:cubicBezTo>
                <a:cubicBezTo>
                  <a:pt x="34636" y="20297"/>
                  <a:pt x="34058" y="20673"/>
                  <a:pt x="33432" y="20954"/>
                </a:cubicBezTo>
                <a:cubicBezTo>
                  <a:pt x="32447" y="21423"/>
                  <a:pt x="31399" y="21674"/>
                  <a:pt x="30320" y="21705"/>
                </a:cubicBezTo>
                <a:cubicBezTo>
                  <a:pt x="29288" y="21752"/>
                  <a:pt x="28256" y="21579"/>
                  <a:pt x="27287" y="21220"/>
                </a:cubicBezTo>
                <a:cubicBezTo>
                  <a:pt x="26692" y="21017"/>
                  <a:pt x="26145" y="20735"/>
                  <a:pt x="25629" y="20391"/>
                </a:cubicBezTo>
                <a:cubicBezTo>
                  <a:pt x="29319" y="18124"/>
                  <a:pt x="29319" y="18124"/>
                  <a:pt x="29319" y="18124"/>
                </a:cubicBezTo>
                <a:cubicBezTo>
                  <a:pt x="29695" y="18890"/>
                  <a:pt x="30477" y="19406"/>
                  <a:pt x="31384" y="19406"/>
                </a:cubicBezTo>
                <a:close/>
                <a:moveTo>
                  <a:pt x="21095" y="22330"/>
                </a:moveTo>
                <a:cubicBezTo>
                  <a:pt x="20875" y="21830"/>
                  <a:pt x="20375" y="21486"/>
                  <a:pt x="19781" y="21486"/>
                </a:cubicBezTo>
                <a:cubicBezTo>
                  <a:pt x="19187" y="21486"/>
                  <a:pt x="18671" y="21861"/>
                  <a:pt x="18468" y="22393"/>
                </a:cubicBezTo>
                <a:cubicBezTo>
                  <a:pt x="10602" y="18812"/>
                  <a:pt x="10602" y="18812"/>
                  <a:pt x="10602" y="18812"/>
                </a:cubicBezTo>
                <a:cubicBezTo>
                  <a:pt x="10477" y="18139"/>
                  <a:pt x="9898" y="17623"/>
                  <a:pt x="9194" y="17623"/>
                </a:cubicBezTo>
                <a:cubicBezTo>
                  <a:pt x="8413" y="17623"/>
                  <a:pt x="7772" y="18264"/>
                  <a:pt x="7772" y="19046"/>
                </a:cubicBezTo>
                <a:cubicBezTo>
                  <a:pt x="7772" y="19062"/>
                  <a:pt x="7772" y="19062"/>
                  <a:pt x="7772" y="19078"/>
                </a:cubicBezTo>
                <a:cubicBezTo>
                  <a:pt x="6286" y="19828"/>
                  <a:pt x="6286" y="19828"/>
                  <a:pt x="6286" y="19828"/>
                </a:cubicBezTo>
                <a:cubicBezTo>
                  <a:pt x="6286" y="9680"/>
                  <a:pt x="6286" y="9680"/>
                  <a:pt x="6286" y="9680"/>
                </a:cubicBezTo>
                <a:cubicBezTo>
                  <a:pt x="12119" y="14684"/>
                  <a:pt x="12119" y="14684"/>
                  <a:pt x="12119" y="14684"/>
                </a:cubicBezTo>
                <a:cubicBezTo>
                  <a:pt x="12072" y="14824"/>
                  <a:pt x="12041" y="14981"/>
                  <a:pt x="12041" y="15153"/>
                </a:cubicBezTo>
                <a:cubicBezTo>
                  <a:pt x="12041" y="15935"/>
                  <a:pt x="12682" y="16576"/>
                  <a:pt x="13464" y="16576"/>
                </a:cubicBezTo>
                <a:cubicBezTo>
                  <a:pt x="14245" y="16576"/>
                  <a:pt x="14886" y="15935"/>
                  <a:pt x="14886" y="15153"/>
                </a:cubicBezTo>
                <a:cubicBezTo>
                  <a:pt x="14886" y="14903"/>
                  <a:pt x="14808" y="14668"/>
                  <a:pt x="14699" y="14465"/>
                </a:cubicBezTo>
                <a:cubicBezTo>
                  <a:pt x="18092" y="10853"/>
                  <a:pt x="18092" y="10853"/>
                  <a:pt x="18092" y="10853"/>
                </a:cubicBezTo>
                <a:cubicBezTo>
                  <a:pt x="18280" y="10962"/>
                  <a:pt x="18499" y="11009"/>
                  <a:pt x="18718" y="11009"/>
                </a:cubicBezTo>
                <a:cubicBezTo>
                  <a:pt x="19218" y="11009"/>
                  <a:pt x="19656" y="10743"/>
                  <a:pt x="19922" y="10368"/>
                </a:cubicBezTo>
                <a:cubicBezTo>
                  <a:pt x="21783" y="10712"/>
                  <a:pt x="21783" y="10712"/>
                  <a:pt x="21783" y="10712"/>
                </a:cubicBezTo>
                <a:cubicBezTo>
                  <a:pt x="21407" y="11759"/>
                  <a:pt x="21235" y="12870"/>
                  <a:pt x="21282" y="13980"/>
                </a:cubicBezTo>
                <a:cubicBezTo>
                  <a:pt x="21313" y="15153"/>
                  <a:pt x="21595" y="16294"/>
                  <a:pt x="22095" y="17358"/>
                </a:cubicBezTo>
                <a:cubicBezTo>
                  <a:pt x="22596" y="18437"/>
                  <a:pt x="23284" y="19375"/>
                  <a:pt x="24159" y="20172"/>
                </a:cubicBezTo>
                <a:cubicBezTo>
                  <a:pt x="24222" y="20219"/>
                  <a:pt x="24285" y="20282"/>
                  <a:pt x="24347" y="20328"/>
                </a:cubicBezTo>
                <a:close/>
                <a:moveTo>
                  <a:pt x="20500" y="22909"/>
                </a:moveTo>
                <a:cubicBezTo>
                  <a:pt x="20500" y="23284"/>
                  <a:pt x="20172" y="23613"/>
                  <a:pt x="19781" y="23613"/>
                </a:cubicBezTo>
                <a:cubicBezTo>
                  <a:pt x="19406" y="23613"/>
                  <a:pt x="19077" y="23284"/>
                  <a:pt x="19077" y="22909"/>
                </a:cubicBezTo>
                <a:cubicBezTo>
                  <a:pt x="19077" y="22518"/>
                  <a:pt x="19406" y="22189"/>
                  <a:pt x="19781" y="22189"/>
                </a:cubicBezTo>
                <a:cubicBezTo>
                  <a:pt x="20172" y="22189"/>
                  <a:pt x="20500" y="22518"/>
                  <a:pt x="20500" y="22909"/>
                </a:cubicBezTo>
                <a:close/>
                <a:moveTo>
                  <a:pt x="8506" y="19203"/>
                </a:moveTo>
                <a:lnTo>
                  <a:pt x="8506" y="19187"/>
                </a:lnTo>
                <a:cubicBezTo>
                  <a:pt x="8491" y="19140"/>
                  <a:pt x="8491" y="19094"/>
                  <a:pt x="8491" y="19046"/>
                </a:cubicBezTo>
                <a:cubicBezTo>
                  <a:pt x="8491" y="18656"/>
                  <a:pt x="8803" y="18343"/>
                  <a:pt x="9194" y="18343"/>
                </a:cubicBezTo>
                <a:cubicBezTo>
                  <a:pt x="9586" y="18343"/>
                  <a:pt x="9898" y="18656"/>
                  <a:pt x="9898" y="19046"/>
                </a:cubicBezTo>
                <a:cubicBezTo>
                  <a:pt x="9898" y="19437"/>
                  <a:pt x="9586" y="19766"/>
                  <a:pt x="9194" y="19766"/>
                </a:cubicBezTo>
                <a:cubicBezTo>
                  <a:pt x="8866" y="19766"/>
                  <a:pt x="8585" y="19515"/>
                  <a:pt x="8506" y="19203"/>
                </a:cubicBezTo>
                <a:close/>
                <a:moveTo>
                  <a:pt x="13964" y="14668"/>
                </a:moveTo>
                <a:cubicBezTo>
                  <a:pt x="13980" y="14668"/>
                  <a:pt x="13980" y="14668"/>
                  <a:pt x="13980" y="14684"/>
                </a:cubicBezTo>
                <a:cubicBezTo>
                  <a:pt x="14105" y="14809"/>
                  <a:pt x="14167" y="14965"/>
                  <a:pt x="14167" y="15153"/>
                </a:cubicBezTo>
                <a:cubicBezTo>
                  <a:pt x="14167" y="15544"/>
                  <a:pt x="13854" y="15857"/>
                  <a:pt x="13464" y="15857"/>
                </a:cubicBezTo>
                <a:cubicBezTo>
                  <a:pt x="13072" y="15857"/>
                  <a:pt x="12760" y="15544"/>
                  <a:pt x="12760" y="15153"/>
                </a:cubicBezTo>
                <a:cubicBezTo>
                  <a:pt x="12760" y="15028"/>
                  <a:pt x="12791" y="14903"/>
                  <a:pt x="12854" y="14793"/>
                </a:cubicBezTo>
                <a:cubicBezTo>
                  <a:pt x="12854" y="14778"/>
                  <a:pt x="12869" y="14778"/>
                  <a:pt x="12869" y="14762"/>
                </a:cubicBezTo>
                <a:cubicBezTo>
                  <a:pt x="12994" y="14574"/>
                  <a:pt x="13213" y="14449"/>
                  <a:pt x="13464" y="14449"/>
                </a:cubicBezTo>
                <a:cubicBezTo>
                  <a:pt x="13651" y="14449"/>
                  <a:pt x="13839" y="14527"/>
                  <a:pt x="13964" y="14668"/>
                </a:cubicBezTo>
                <a:close/>
                <a:moveTo>
                  <a:pt x="18014" y="9586"/>
                </a:moveTo>
                <a:cubicBezTo>
                  <a:pt x="18014" y="9195"/>
                  <a:pt x="18326" y="8882"/>
                  <a:pt x="18718" y="8882"/>
                </a:cubicBezTo>
                <a:cubicBezTo>
                  <a:pt x="19109" y="8882"/>
                  <a:pt x="19437" y="9195"/>
                  <a:pt x="19437" y="9586"/>
                </a:cubicBezTo>
                <a:cubicBezTo>
                  <a:pt x="19437" y="9977"/>
                  <a:pt x="19109" y="10290"/>
                  <a:pt x="18718" y="10290"/>
                </a:cubicBezTo>
                <a:cubicBezTo>
                  <a:pt x="18326" y="10290"/>
                  <a:pt x="18014" y="9977"/>
                  <a:pt x="18014" y="9586"/>
                </a:cubicBezTo>
                <a:close/>
                <a:moveTo>
                  <a:pt x="27240" y="8914"/>
                </a:moveTo>
                <a:cubicBezTo>
                  <a:pt x="26192" y="8914"/>
                  <a:pt x="25316" y="9617"/>
                  <a:pt x="25035" y="10571"/>
                </a:cubicBezTo>
                <a:cubicBezTo>
                  <a:pt x="22783" y="10165"/>
                  <a:pt x="22783" y="10165"/>
                  <a:pt x="22783" y="10165"/>
                </a:cubicBezTo>
                <a:cubicBezTo>
                  <a:pt x="23127" y="9477"/>
                  <a:pt x="23549" y="8836"/>
                  <a:pt x="24065" y="8273"/>
                </a:cubicBezTo>
                <a:cubicBezTo>
                  <a:pt x="24785" y="7475"/>
                  <a:pt x="25645" y="6834"/>
                  <a:pt x="26630" y="6380"/>
                </a:cubicBezTo>
                <a:cubicBezTo>
                  <a:pt x="27615" y="5911"/>
                  <a:pt x="28663" y="5661"/>
                  <a:pt x="29742" y="5630"/>
                </a:cubicBezTo>
                <a:cubicBezTo>
                  <a:pt x="29835" y="5614"/>
                  <a:pt x="29929" y="5614"/>
                  <a:pt x="30039" y="5614"/>
                </a:cubicBezTo>
                <a:cubicBezTo>
                  <a:pt x="30977" y="5614"/>
                  <a:pt x="31899" y="5786"/>
                  <a:pt x="32791" y="6099"/>
                </a:cubicBezTo>
                <a:cubicBezTo>
                  <a:pt x="33667" y="6427"/>
                  <a:pt x="34480" y="6897"/>
                  <a:pt x="35199" y="7490"/>
                </a:cubicBezTo>
                <a:cubicBezTo>
                  <a:pt x="29304" y="10212"/>
                  <a:pt x="29304" y="10212"/>
                  <a:pt x="29304" y="10212"/>
                </a:cubicBezTo>
                <a:cubicBezTo>
                  <a:pt x="28929" y="9445"/>
                  <a:pt x="28147" y="8914"/>
                  <a:pt x="27240" y="8914"/>
                </a:cubicBezTo>
                <a:close/>
                <a:moveTo>
                  <a:pt x="28835" y="11228"/>
                </a:moveTo>
                <a:cubicBezTo>
                  <a:pt x="28835" y="12104"/>
                  <a:pt x="28116" y="12823"/>
                  <a:pt x="27240" y="12823"/>
                </a:cubicBezTo>
                <a:cubicBezTo>
                  <a:pt x="26364" y="12823"/>
                  <a:pt x="25645" y="12104"/>
                  <a:pt x="25645" y="11228"/>
                </a:cubicBezTo>
                <a:cubicBezTo>
                  <a:pt x="25645" y="10352"/>
                  <a:pt x="26364" y="9633"/>
                  <a:pt x="27240" y="9633"/>
                </a:cubicBezTo>
                <a:cubicBezTo>
                  <a:pt x="28116" y="9633"/>
                  <a:pt x="28835" y="10352"/>
                  <a:pt x="28835" y="11228"/>
                </a:cubicBezTo>
                <a:close/>
                <a:moveTo>
                  <a:pt x="6286" y="20626"/>
                </a:moveTo>
                <a:cubicBezTo>
                  <a:pt x="7975" y="19782"/>
                  <a:pt x="7975" y="19782"/>
                  <a:pt x="7975" y="19782"/>
                </a:cubicBezTo>
                <a:cubicBezTo>
                  <a:pt x="8225" y="20188"/>
                  <a:pt x="8678" y="20470"/>
                  <a:pt x="9194" y="20470"/>
                </a:cubicBezTo>
                <a:cubicBezTo>
                  <a:pt x="9804" y="20470"/>
                  <a:pt x="10320" y="20094"/>
                  <a:pt x="10524" y="19562"/>
                </a:cubicBezTo>
                <a:cubicBezTo>
                  <a:pt x="18389" y="23143"/>
                  <a:pt x="18389" y="23143"/>
                  <a:pt x="18389" y="23143"/>
                </a:cubicBezTo>
                <a:cubicBezTo>
                  <a:pt x="18499" y="23816"/>
                  <a:pt x="19093" y="24316"/>
                  <a:pt x="19781" y="24316"/>
                </a:cubicBezTo>
                <a:cubicBezTo>
                  <a:pt x="20500" y="24316"/>
                  <a:pt x="21095" y="23800"/>
                  <a:pt x="21188" y="23112"/>
                </a:cubicBezTo>
                <a:cubicBezTo>
                  <a:pt x="24957" y="20798"/>
                  <a:pt x="24957" y="20798"/>
                  <a:pt x="24957" y="20798"/>
                </a:cubicBezTo>
                <a:cubicBezTo>
                  <a:pt x="25598" y="21267"/>
                  <a:pt x="26286" y="21627"/>
                  <a:pt x="27037" y="21892"/>
                </a:cubicBezTo>
                <a:cubicBezTo>
                  <a:pt x="28006" y="22252"/>
                  <a:pt x="29007" y="22424"/>
                  <a:pt x="30039" y="22424"/>
                </a:cubicBezTo>
                <a:cubicBezTo>
                  <a:pt x="30148" y="22424"/>
                  <a:pt x="30242" y="22424"/>
                  <a:pt x="30352" y="22424"/>
                </a:cubicBezTo>
                <a:cubicBezTo>
                  <a:pt x="31524" y="22377"/>
                  <a:pt x="32666" y="22111"/>
                  <a:pt x="33729" y="21611"/>
                </a:cubicBezTo>
                <a:cubicBezTo>
                  <a:pt x="34433" y="21283"/>
                  <a:pt x="35089" y="20860"/>
                  <a:pt x="35668" y="20376"/>
                </a:cubicBezTo>
                <a:cubicBezTo>
                  <a:pt x="38421" y="23003"/>
                  <a:pt x="38421" y="23003"/>
                  <a:pt x="38421" y="23003"/>
                </a:cubicBezTo>
                <a:cubicBezTo>
                  <a:pt x="38405" y="23112"/>
                  <a:pt x="38389" y="23222"/>
                  <a:pt x="38389" y="23331"/>
                </a:cubicBezTo>
                <a:cubicBezTo>
                  <a:pt x="38389" y="24113"/>
                  <a:pt x="39014" y="24754"/>
                  <a:pt x="39812" y="24754"/>
                </a:cubicBezTo>
                <a:cubicBezTo>
                  <a:pt x="40281" y="24754"/>
                  <a:pt x="40703" y="24519"/>
                  <a:pt x="40969" y="24159"/>
                </a:cubicBezTo>
                <a:cubicBezTo>
                  <a:pt x="43112" y="24738"/>
                  <a:pt x="43112" y="24738"/>
                  <a:pt x="43112" y="24738"/>
                </a:cubicBezTo>
                <a:cubicBezTo>
                  <a:pt x="43112" y="26146"/>
                  <a:pt x="43112" y="26146"/>
                  <a:pt x="43112" y="26146"/>
                </a:cubicBezTo>
                <a:cubicBezTo>
                  <a:pt x="6286" y="26146"/>
                  <a:pt x="6286" y="26146"/>
                  <a:pt x="6286" y="26146"/>
                </a:cubicBezTo>
                <a:close/>
                <a:moveTo>
                  <a:pt x="39155" y="23065"/>
                </a:moveTo>
                <a:cubicBezTo>
                  <a:pt x="39155" y="23050"/>
                  <a:pt x="39155" y="23050"/>
                  <a:pt x="39171" y="23050"/>
                </a:cubicBezTo>
                <a:cubicBezTo>
                  <a:pt x="39280" y="22799"/>
                  <a:pt x="39515" y="22627"/>
                  <a:pt x="39812" y="22627"/>
                </a:cubicBezTo>
                <a:cubicBezTo>
                  <a:pt x="40203" y="22627"/>
                  <a:pt x="40516" y="22940"/>
                  <a:pt x="40516" y="23331"/>
                </a:cubicBezTo>
                <a:cubicBezTo>
                  <a:pt x="40516" y="23722"/>
                  <a:pt x="40203" y="24050"/>
                  <a:pt x="39812" y="24050"/>
                </a:cubicBezTo>
                <a:cubicBezTo>
                  <a:pt x="39421" y="24050"/>
                  <a:pt x="39093" y="23722"/>
                  <a:pt x="39093" y="23331"/>
                </a:cubicBezTo>
                <a:cubicBezTo>
                  <a:pt x="39093" y="23237"/>
                  <a:pt x="39124" y="23143"/>
                  <a:pt x="39155" y="23065"/>
                </a:cubicBezTo>
                <a:close/>
                <a:moveTo>
                  <a:pt x="43112" y="24003"/>
                </a:moveTo>
                <a:cubicBezTo>
                  <a:pt x="41219" y="23487"/>
                  <a:pt x="41219" y="23487"/>
                  <a:pt x="41219" y="23487"/>
                </a:cubicBezTo>
                <a:cubicBezTo>
                  <a:pt x="41219" y="23440"/>
                  <a:pt x="41219" y="23393"/>
                  <a:pt x="41219" y="23331"/>
                </a:cubicBezTo>
                <a:cubicBezTo>
                  <a:pt x="41219" y="22549"/>
                  <a:pt x="40594" y="21908"/>
                  <a:pt x="39812" y="21908"/>
                </a:cubicBezTo>
                <a:cubicBezTo>
                  <a:pt x="39405" y="21908"/>
                  <a:pt x="39046" y="22080"/>
                  <a:pt x="38780" y="22362"/>
                </a:cubicBezTo>
                <a:cubicBezTo>
                  <a:pt x="36200" y="19891"/>
                  <a:pt x="36200" y="19891"/>
                  <a:pt x="36200" y="19891"/>
                </a:cubicBezTo>
                <a:cubicBezTo>
                  <a:pt x="36309" y="19782"/>
                  <a:pt x="36419" y="19656"/>
                  <a:pt x="36528" y="19547"/>
                </a:cubicBezTo>
                <a:cubicBezTo>
                  <a:pt x="37232" y="18765"/>
                  <a:pt x="37795" y="17874"/>
                  <a:pt x="38186" y="16888"/>
                </a:cubicBezTo>
                <a:cubicBezTo>
                  <a:pt x="40750" y="17686"/>
                  <a:pt x="40750" y="17686"/>
                  <a:pt x="40750" y="17686"/>
                </a:cubicBezTo>
                <a:cubicBezTo>
                  <a:pt x="40719" y="18093"/>
                  <a:pt x="40797" y="18499"/>
                  <a:pt x="40985" y="18874"/>
                </a:cubicBezTo>
                <a:cubicBezTo>
                  <a:pt x="41251" y="19375"/>
                  <a:pt x="41704" y="19750"/>
                  <a:pt x="42252" y="19907"/>
                </a:cubicBezTo>
                <a:cubicBezTo>
                  <a:pt x="43112" y="20157"/>
                  <a:pt x="43112" y="20157"/>
                  <a:pt x="43112" y="20157"/>
                </a:cubicBezTo>
                <a:close/>
                <a:moveTo>
                  <a:pt x="40938" y="16982"/>
                </a:moveTo>
                <a:cubicBezTo>
                  <a:pt x="38421" y="16216"/>
                  <a:pt x="38421" y="16216"/>
                  <a:pt x="38421" y="16216"/>
                </a:cubicBezTo>
                <a:cubicBezTo>
                  <a:pt x="38702" y="15278"/>
                  <a:pt x="38827" y="14324"/>
                  <a:pt x="38796" y="13355"/>
                </a:cubicBezTo>
                <a:cubicBezTo>
                  <a:pt x="38749" y="12182"/>
                  <a:pt x="38467" y="11040"/>
                  <a:pt x="37967" y="9961"/>
                </a:cubicBezTo>
                <a:cubicBezTo>
                  <a:pt x="37576" y="9132"/>
                  <a:pt x="37075" y="8366"/>
                  <a:pt x="36450" y="7710"/>
                </a:cubicBezTo>
                <a:cubicBezTo>
                  <a:pt x="38592" y="6724"/>
                  <a:pt x="38592" y="6724"/>
                  <a:pt x="38592" y="6724"/>
                </a:cubicBezTo>
                <a:cubicBezTo>
                  <a:pt x="38842" y="6959"/>
                  <a:pt x="39187" y="7100"/>
                  <a:pt x="39562" y="7100"/>
                </a:cubicBezTo>
                <a:cubicBezTo>
                  <a:pt x="40047" y="7100"/>
                  <a:pt x="40453" y="6865"/>
                  <a:pt x="40719" y="6505"/>
                </a:cubicBezTo>
                <a:cubicBezTo>
                  <a:pt x="43112" y="8257"/>
                  <a:pt x="43112" y="8257"/>
                  <a:pt x="43112" y="8257"/>
                </a:cubicBezTo>
                <a:cubicBezTo>
                  <a:pt x="43112" y="15747"/>
                  <a:pt x="43112" y="15747"/>
                  <a:pt x="43112" y="15747"/>
                </a:cubicBezTo>
                <a:cubicBezTo>
                  <a:pt x="42204" y="15653"/>
                  <a:pt x="41329" y="16154"/>
                  <a:pt x="40938" y="16982"/>
                </a:cubicBezTo>
                <a:close/>
                <a:moveTo>
                  <a:pt x="51571" y="20391"/>
                </a:moveTo>
                <a:cubicBezTo>
                  <a:pt x="51462" y="20782"/>
                  <a:pt x="51180" y="21095"/>
                  <a:pt x="50821" y="21267"/>
                </a:cubicBezTo>
                <a:cubicBezTo>
                  <a:pt x="50508" y="21423"/>
                  <a:pt x="50148" y="21439"/>
                  <a:pt x="49804" y="21345"/>
                </a:cubicBezTo>
                <a:cubicBezTo>
                  <a:pt x="43581" y="19547"/>
                  <a:pt x="43581" y="19547"/>
                  <a:pt x="43581" y="19547"/>
                </a:cubicBezTo>
                <a:cubicBezTo>
                  <a:pt x="42455" y="19219"/>
                  <a:pt x="42455" y="19219"/>
                  <a:pt x="42455" y="19219"/>
                </a:cubicBezTo>
                <a:cubicBezTo>
                  <a:pt x="42095" y="19109"/>
                  <a:pt x="41798" y="18874"/>
                  <a:pt x="41626" y="18531"/>
                </a:cubicBezTo>
                <a:cubicBezTo>
                  <a:pt x="41454" y="18202"/>
                  <a:pt x="41407" y="17827"/>
                  <a:pt x="41516" y="17451"/>
                </a:cubicBezTo>
                <a:cubicBezTo>
                  <a:pt x="41751" y="16717"/>
                  <a:pt x="42549" y="16294"/>
                  <a:pt x="43283" y="16513"/>
                </a:cubicBezTo>
                <a:cubicBezTo>
                  <a:pt x="45441" y="17139"/>
                  <a:pt x="45441" y="17139"/>
                  <a:pt x="45441" y="17139"/>
                </a:cubicBezTo>
                <a:cubicBezTo>
                  <a:pt x="50633" y="18624"/>
                  <a:pt x="50633" y="18624"/>
                  <a:pt x="50633" y="18624"/>
                </a:cubicBezTo>
                <a:cubicBezTo>
                  <a:pt x="51008" y="18734"/>
                  <a:pt x="51306" y="18984"/>
                  <a:pt x="51477" y="19328"/>
                </a:cubicBezTo>
                <a:cubicBezTo>
                  <a:pt x="51649" y="19656"/>
                  <a:pt x="51696" y="20032"/>
                  <a:pt x="51571" y="2039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46653619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Magellan focused icons - 3</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90" name="TextBox 89">
            <a:extLst>
              <a:ext uri="{FF2B5EF4-FFF2-40B4-BE49-F238E27FC236}">
                <a16:creationId xmlns:a16="http://schemas.microsoft.com/office/drawing/2014/main" id="{901890C6-60A8-7547-BDD4-AC59E6328605}"/>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9" name="TextBox 8">
            <a:extLst>
              <a:ext uri="{FF2B5EF4-FFF2-40B4-BE49-F238E27FC236}">
                <a16:creationId xmlns:a16="http://schemas.microsoft.com/office/drawing/2014/main" id="{C00A0FB6-768F-8342-A46D-2D551DCE1B97}"/>
              </a:ext>
            </a:extLst>
          </p:cNvPr>
          <p:cNvSpPr txBox="1"/>
          <p:nvPr/>
        </p:nvSpPr>
        <p:spPr>
          <a:xfrm>
            <a:off x="1246187" y="11608034"/>
            <a:ext cx="10944225"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redictive Analytics</a:t>
            </a:r>
          </a:p>
        </p:txBody>
      </p:sp>
      <p:sp>
        <p:nvSpPr>
          <p:cNvPr id="10" name="TextBox 9">
            <a:extLst>
              <a:ext uri="{FF2B5EF4-FFF2-40B4-BE49-F238E27FC236}">
                <a16:creationId xmlns:a16="http://schemas.microsoft.com/office/drawing/2014/main" id="{AF69EC19-E7FE-064C-9201-AC1610C23776}"/>
              </a:ext>
            </a:extLst>
          </p:cNvPr>
          <p:cNvSpPr txBox="1"/>
          <p:nvPr/>
        </p:nvSpPr>
        <p:spPr>
          <a:xfrm>
            <a:off x="12192000" y="11608034"/>
            <a:ext cx="10944225"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attern Matching</a:t>
            </a:r>
          </a:p>
        </p:txBody>
      </p:sp>
      <p:sp>
        <p:nvSpPr>
          <p:cNvPr id="11" name="Freeform 10">
            <a:extLst>
              <a:ext uri="{FF2B5EF4-FFF2-40B4-BE49-F238E27FC236}">
                <a16:creationId xmlns:a16="http://schemas.microsoft.com/office/drawing/2014/main" id="{3C023E46-E95D-4E4B-9D16-FCC7A881B0C8}"/>
              </a:ext>
            </a:extLst>
          </p:cNvPr>
          <p:cNvSpPr/>
          <p:nvPr/>
        </p:nvSpPr>
        <p:spPr>
          <a:xfrm>
            <a:off x="1792748" y="3293644"/>
            <a:ext cx="9851101" cy="6729185"/>
          </a:xfrm>
          <a:custGeom>
            <a:avLst/>
            <a:gdLst/>
            <a:ahLst/>
            <a:cxnLst>
              <a:cxn ang="3cd4">
                <a:pos x="hc" y="t"/>
              </a:cxn>
              <a:cxn ang="cd2">
                <a:pos x="l" y="vc"/>
              </a:cxn>
              <a:cxn ang="cd4">
                <a:pos x="hc" y="b"/>
              </a:cxn>
              <a:cxn ang="0">
                <a:pos x="r" y="vc"/>
              </a:cxn>
            </a:cxnLst>
            <a:rect l="l" t="t" r="r" b="b"/>
            <a:pathLst>
              <a:path w="61419" h="41955">
                <a:moveTo>
                  <a:pt x="52572" y="10540"/>
                </a:moveTo>
                <a:lnTo>
                  <a:pt x="52728" y="10728"/>
                </a:lnTo>
                <a:cubicBezTo>
                  <a:pt x="52791" y="10821"/>
                  <a:pt x="52901" y="10884"/>
                  <a:pt x="53010" y="10884"/>
                </a:cubicBezTo>
                <a:cubicBezTo>
                  <a:pt x="53088" y="10884"/>
                  <a:pt x="53166" y="10853"/>
                  <a:pt x="53229" y="10806"/>
                </a:cubicBezTo>
                <a:cubicBezTo>
                  <a:pt x="53385" y="10681"/>
                  <a:pt x="53416" y="10461"/>
                  <a:pt x="53291" y="10305"/>
                </a:cubicBezTo>
                <a:lnTo>
                  <a:pt x="53151" y="10118"/>
                </a:lnTo>
                <a:cubicBezTo>
                  <a:pt x="53416" y="9836"/>
                  <a:pt x="53573" y="9461"/>
                  <a:pt x="53573" y="9054"/>
                </a:cubicBezTo>
                <a:cubicBezTo>
                  <a:pt x="53573" y="8179"/>
                  <a:pt x="52854" y="7459"/>
                  <a:pt x="51978" y="7459"/>
                </a:cubicBezTo>
                <a:cubicBezTo>
                  <a:pt x="51102" y="7459"/>
                  <a:pt x="50383" y="8179"/>
                  <a:pt x="50383" y="9054"/>
                </a:cubicBezTo>
                <a:cubicBezTo>
                  <a:pt x="50383" y="9523"/>
                  <a:pt x="50586" y="9946"/>
                  <a:pt x="50899" y="10243"/>
                </a:cubicBezTo>
                <a:lnTo>
                  <a:pt x="50695" y="10603"/>
                </a:lnTo>
                <a:cubicBezTo>
                  <a:pt x="50602" y="10774"/>
                  <a:pt x="50664" y="10993"/>
                  <a:pt x="50836" y="11087"/>
                </a:cubicBezTo>
                <a:cubicBezTo>
                  <a:pt x="50883" y="11118"/>
                  <a:pt x="50946" y="11134"/>
                  <a:pt x="51008" y="11134"/>
                </a:cubicBezTo>
                <a:cubicBezTo>
                  <a:pt x="51133" y="11134"/>
                  <a:pt x="51243" y="11071"/>
                  <a:pt x="51321" y="10946"/>
                </a:cubicBezTo>
                <a:lnTo>
                  <a:pt x="51525" y="10587"/>
                </a:lnTo>
                <a:cubicBezTo>
                  <a:pt x="51665" y="10634"/>
                  <a:pt x="51821" y="10649"/>
                  <a:pt x="51978" y="10649"/>
                </a:cubicBezTo>
                <a:cubicBezTo>
                  <a:pt x="52181" y="10649"/>
                  <a:pt x="52384" y="10603"/>
                  <a:pt x="52572" y="10540"/>
                </a:cubicBezTo>
                <a:close/>
                <a:moveTo>
                  <a:pt x="51978" y="8179"/>
                </a:moveTo>
                <a:cubicBezTo>
                  <a:pt x="52463" y="8179"/>
                  <a:pt x="52854" y="8570"/>
                  <a:pt x="52854" y="9054"/>
                </a:cubicBezTo>
                <a:cubicBezTo>
                  <a:pt x="52854" y="9539"/>
                  <a:pt x="52463" y="9930"/>
                  <a:pt x="51978" y="9930"/>
                </a:cubicBezTo>
                <a:cubicBezTo>
                  <a:pt x="51493" y="9930"/>
                  <a:pt x="51087" y="9539"/>
                  <a:pt x="51087" y="9054"/>
                </a:cubicBezTo>
                <a:cubicBezTo>
                  <a:pt x="51087" y="8570"/>
                  <a:pt x="51493" y="8179"/>
                  <a:pt x="51978" y="8179"/>
                </a:cubicBezTo>
                <a:close/>
                <a:moveTo>
                  <a:pt x="35183" y="13605"/>
                </a:moveTo>
                <a:cubicBezTo>
                  <a:pt x="35418" y="13746"/>
                  <a:pt x="35684" y="13824"/>
                  <a:pt x="35965" y="13824"/>
                </a:cubicBezTo>
                <a:cubicBezTo>
                  <a:pt x="36294" y="13824"/>
                  <a:pt x="36591" y="13730"/>
                  <a:pt x="36841" y="13558"/>
                </a:cubicBezTo>
                <a:lnTo>
                  <a:pt x="36982" y="13714"/>
                </a:lnTo>
                <a:cubicBezTo>
                  <a:pt x="37060" y="13793"/>
                  <a:pt x="37154" y="13839"/>
                  <a:pt x="37247" y="13839"/>
                </a:cubicBezTo>
                <a:cubicBezTo>
                  <a:pt x="37341" y="13839"/>
                  <a:pt x="37420" y="13808"/>
                  <a:pt x="37498" y="13746"/>
                </a:cubicBezTo>
                <a:cubicBezTo>
                  <a:pt x="37639" y="13605"/>
                  <a:pt x="37654" y="13386"/>
                  <a:pt x="37514" y="13230"/>
                </a:cubicBezTo>
                <a:lnTo>
                  <a:pt x="37341" y="13042"/>
                </a:lnTo>
                <a:cubicBezTo>
                  <a:pt x="37482" y="12807"/>
                  <a:pt x="37560" y="12526"/>
                  <a:pt x="37560" y="12229"/>
                </a:cubicBezTo>
                <a:cubicBezTo>
                  <a:pt x="37560" y="11337"/>
                  <a:pt x="36857" y="10634"/>
                  <a:pt x="35965" y="10634"/>
                </a:cubicBezTo>
                <a:cubicBezTo>
                  <a:pt x="35090" y="10634"/>
                  <a:pt x="34370" y="11337"/>
                  <a:pt x="34370" y="12229"/>
                </a:cubicBezTo>
                <a:cubicBezTo>
                  <a:pt x="34370" y="12557"/>
                  <a:pt x="34480" y="12870"/>
                  <a:pt x="34652" y="13120"/>
                </a:cubicBezTo>
                <a:lnTo>
                  <a:pt x="27334" y="24269"/>
                </a:lnTo>
                <a:cubicBezTo>
                  <a:pt x="27084" y="24129"/>
                  <a:pt x="26818" y="24051"/>
                  <a:pt x="26521" y="24051"/>
                </a:cubicBezTo>
                <a:cubicBezTo>
                  <a:pt x="26176" y="24051"/>
                  <a:pt x="25864" y="24160"/>
                  <a:pt x="25613" y="24332"/>
                </a:cubicBezTo>
                <a:lnTo>
                  <a:pt x="19562" y="17608"/>
                </a:lnTo>
                <a:cubicBezTo>
                  <a:pt x="19734" y="17358"/>
                  <a:pt x="19828" y="17045"/>
                  <a:pt x="19828" y="16716"/>
                </a:cubicBezTo>
                <a:cubicBezTo>
                  <a:pt x="19828" y="15841"/>
                  <a:pt x="19124" y="15122"/>
                  <a:pt x="18233" y="15122"/>
                </a:cubicBezTo>
                <a:cubicBezTo>
                  <a:pt x="17357" y="15122"/>
                  <a:pt x="16638" y="15841"/>
                  <a:pt x="16638" y="16716"/>
                </a:cubicBezTo>
                <a:cubicBezTo>
                  <a:pt x="16638" y="17154"/>
                  <a:pt x="16826" y="17561"/>
                  <a:pt x="17107" y="17842"/>
                </a:cubicBezTo>
                <a:lnTo>
                  <a:pt x="9663" y="29289"/>
                </a:lnTo>
                <a:cubicBezTo>
                  <a:pt x="9429" y="29164"/>
                  <a:pt x="9163" y="29101"/>
                  <a:pt x="8897" y="29101"/>
                </a:cubicBezTo>
                <a:cubicBezTo>
                  <a:pt x="8006" y="29101"/>
                  <a:pt x="7287" y="29805"/>
                  <a:pt x="7287" y="30696"/>
                </a:cubicBezTo>
                <a:cubicBezTo>
                  <a:pt x="7287" y="31572"/>
                  <a:pt x="8006" y="32291"/>
                  <a:pt x="8897" y="32291"/>
                </a:cubicBezTo>
                <a:cubicBezTo>
                  <a:pt x="9773" y="32291"/>
                  <a:pt x="10493" y="31572"/>
                  <a:pt x="10493" y="30696"/>
                </a:cubicBezTo>
                <a:cubicBezTo>
                  <a:pt x="10493" y="30352"/>
                  <a:pt x="10383" y="30039"/>
                  <a:pt x="10195" y="29774"/>
                </a:cubicBezTo>
                <a:lnTo>
                  <a:pt x="17701" y="18233"/>
                </a:lnTo>
                <a:cubicBezTo>
                  <a:pt x="17873" y="18280"/>
                  <a:pt x="18045" y="18312"/>
                  <a:pt x="18233" y="18312"/>
                </a:cubicBezTo>
                <a:cubicBezTo>
                  <a:pt x="18530" y="18312"/>
                  <a:pt x="18812" y="18233"/>
                  <a:pt x="19046" y="18092"/>
                </a:cubicBezTo>
                <a:lnTo>
                  <a:pt x="25129" y="24863"/>
                </a:lnTo>
                <a:cubicBezTo>
                  <a:pt x="25004" y="25098"/>
                  <a:pt x="24925" y="25364"/>
                  <a:pt x="24925" y="25645"/>
                </a:cubicBezTo>
                <a:cubicBezTo>
                  <a:pt x="24925" y="26537"/>
                  <a:pt x="25645" y="27241"/>
                  <a:pt x="26521" y="27241"/>
                </a:cubicBezTo>
                <a:cubicBezTo>
                  <a:pt x="27396" y="27241"/>
                  <a:pt x="28115" y="26537"/>
                  <a:pt x="28115" y="25645"/>
                </a:cubicBezTo>
                <a:cubicBezTo>
                  <a:pt x="28115" y="25333"/>
                  <a:pt x="28022" y="25020"/>
                  <a:pt x="27850" y="24770"/>
                </a:cubicBezTo>
                <a:close/>
                <a:moveTo>
                  <a:pt x="35965" y="11337"/>
                </a:moveTo>
                <a:cubicBezTo>
                  <a:pt x="36450" y="11337"/>
                  <a:pt x="36857" y="11744"/>
                  <a:pt x="36857" y="12229"/>
                </a:cubicBezTo>
                <a:cubicBezTo>
                  <a:pt x="36857" y="12448"/>
                  <a:pt x="36763" y="12651"/>
                  <a:pt x="36622" y="12807"/>
                </a:cubicBezTo>
                <a:cubicBezTo>
                  <a:pt x="36622" y="12823"/>
                  <a:pt x="36606" y="12823"/>
                  <a:pt x="36606" y="12838"/>
                </a:cubicBezTo>
                <a:cubicBezTo>
                  <a:pt x="36450" y="12995"/>
                  <a:pt x="36216" y="13105"/>
                  <a:pt x="35965" y="13105"/>
                </a:cubicBezTo>
                <a:cubicBezTo>
                  <a:pt x="35481" y="13105"/>
                  <a:pt x="35090" y="12713"/>
                  <a:pt x="35090" y="12229"/>
                </a:cubicBezTo>
                <a:cubicBezTo>
                  <a:pt x="35090" y="11744"/>
                  <a:pt x="35481" y="11337"/>
                  <a:pt x="35965" y="11337"/>
                </a:cubicBezTo>
                <a:close/>
                <a:moveTo>
                  <a:pt x="8897" y="31572"/>
                </a:moveTo>
                <a:cubicBezTo>
                  <a:pt x="8397" y="31572"/>
                  <a:pt x="8006" y="31181"/>
                  <a:pt x="8006" y="30696"/>
                </a:cubicBezTo>
                <a:cubicBezTo>
                  <a:pt x="8006" y="30211"/>
                  <a:pt x="8397" y="29805"/>
                  <a:pt x="8897" y="29805"/>
                </a:cubicBezTo>
                <a:cubicBezTo>
                  <a:pt x="9132" y="29805"/>
                  <a:pt x="9335" y="29899"/>
                  <a:pt x="9507" y="30055"/>
                </a:cubicBezTo>
                <a:cubicBezTo>
                  <a:pt x="9663" y="30211"/>
                  <a:pt x="9773" y="30446"/>
                  <a:pt x="9773" y="30696"/>
                </a:cubicBezTo>
                <a:cubicBezTo>
                  <a:pt x="9773" y="31181"/>
                  <a:pt x="9382" y="31572"/>
                  <a:pt x="8897" y="31572"/>
                </a:cubicBezTo>
                <a:close/>
                <a:moveTo>
                  <a:pt x="17779" y="17483"/>
                </a:moveTo>
                <a:lnTo>
                  <a:pt x="17779" y="17467"/>
                </a:lnTo>
                <a:cubicBezTo>
                  <a:pt x="17764" y="17467"/>
                  <a:pt x="17769" y="17467"/>
                  <a:pt x="17764" y="17467"/>
                </a:cubicBezTo>
                <a:cubicBezTo>
                  <a:pt x="17514" y="17311"/>
                  <a:pt x="17357" y="17029"/>
                  <a:pt x="17357" y="16716"/>
                </a:cubicBezTo>
                <a:cubicBezTo>
                  <a:pt x="17357" y="16232"/>
                  <a:pt x="17748" y="15841"/>
                  <a:pt x="18233" y="15841"/>
                </a:cubicBezTo>
                <a:cubicBezTo>
                  <a:pt x="18717" y="15841"/>
                  <a:pt x="19124" y="16232"/>
                  <a:pt x="19124" y="16716"/>
                </a:cubicBezTo>
                <a:cubicBezTo>
                  <a:pt x="19124" y="16967"/>
                  <a:pt x="19015" y="17186"/>
                  <a:pt x="18858" y="17342"/>
                </a:cubicBezTo>
                <a:lnTo>
                  <a:pt x="18858" y="17358"/>
                </a:lnTo>
                <a:lnTo>
                  <a:pt x="18843" y="17358"/>
                </a:lnTo>
                <a:cubicBezTo>
                  <a:pt x="18686" y="17514"/>
                  <a:pt x="18467" y="17608"/>
                  <a:pt x="18233" y="17608"/>
                </a:cubicBezTo>
                <a:cubicBezTo>
                  <a:pt x="18076" y="17608"/>
                  <a:pt x="17920" y="17561"/>
                  <a:pt x="17779" y="17483"/>
                </a:cubicBezTo>
                <a:close/>
                <a:moveTo>
                  <a:pt x="26521" y="26537"/>
                </a:moveTo>
                <a:cubicBezTo>
                  <a:pt x="26036" y="26537"/>
                  <a:pt x="25645" y="26130"/>
                  <a:pt x="25645" y="25645"/>
                </a:cubicBezTo>
                <a:cubicBezTo>
                  <a:pt x="25645" y="25442"/>
                  <a:pt x="25723" y="25239"/>
                  <a:pt x="25848" y="25082"/>
                </a:cubicBezTo>
                <a:lnTo>
                  <a:pt x="25848" y="25067"/>
                </a:lnTo>
                <a:cubicBezTo>
                  <a:pt x="26020" y="24879"/>
                  <a:pt x="26255" y="24770"/>
                  <a:pt x="26521" y="24770"/>
                </a:cubicBezTo>
                <a:cubicBezTo>
                  <a:pt x="26771" y="24770"/>
                  <a:pt x="26989" y="24879"/>
                  <a:pt x="27146" y="25035"/>
                </a:cubicBezTo>
                <a:cubicBezTo>
                  <a:pt x="27162" y="25035"/>
                  <a:pt x="27157" y="25046"/>
                  <a:pt x="27162" y="25051"/>
                </a:cubicBezTo>
                <a:cubicBezTo>
                  <a:pt x="27318" y="25207"/>
                  <a:pt x="27396" y="25411"/>
                  <a:pt x="27396" y="25645"/>
                </a:cubicBezTo>
                <a:cubicBezTo>
                  <a:pt x="27396" y="26130"/>
                  <a:pt x="27005" y="26537"/>
                  <a:pt x="26521" y="26537"/>
                </a:cubicBezTo>
                <a:close/>
                <a:moveTo>
                  <a:pt x="42095" y="19234"/>
                </a:moveTo>
                <a:cubicBezTo>
                  <a:pt x="42158" y="19312"/>
                  <a:pt x="42251" y="19359"/>
                  <a:pt x="42361" y="19359"/>
                </a:cubicBezTo>
                <a:cubicBezTo>
                  <a:pt x="42439" y="19359"/>
                  <a:pt x="42533" y="19328"/>
                  <a:pt x="42596" y="19265"/>
                </a:cubicBezTo>
                <a:cubicBezTo>
                  <a:pt x="42736" y="19125"/>
                  <a:pt x="42752" y="18906"/>
                  <a:pt x="42611" y="18749"/>
                </a:cubicBezTo>
                <a:lnTo>
                  <a:pt x="41939" y="18014"/>
                </a:lnTo>
                <a:cubicBezTo>
                  <a:pt x="41798" y="17874"/>
                  <a:pt x="41579" y="17858"/>
                  <a:pt x="41438" y="17999"/>
                </a:cubicBezTo>
                <a:cubicBezTo>
                  <a:pt x="41282" y="18139"/>
                  <a:pt x="41282" y="18358"/>
                  <a:pt x="41407" y="18499"/>
                </a:cubicBezTo>
                <a:close/>
                <a:moveTo>
                  <a:pt x="40391" y="17404"/>
                </a:moveTo>
                <a:cubicBezTo>
                  <a:pt x="40453" y="17483"/>
                  <a:pt x="40562" y="17514"/>
                  <a:pt x="40657" y="17514"/>
                </a:cubicBezTo>
                <a:cubicBezTo>
                  <a:pt x="40735" y="17514"/>
                  <a:pt x="40829" y="17483"/>
                  <a:pt x="40891" y="17420"/>
                </a:cubicBezTo>
                <a:cubicBezTo>
                  <a:pt x="41047" y="17279"/>
                  <a:pt x="41047" y="17061"/>
                  <a:pt x="40922" y="16920"/>
                </a:cubicBezTo>
                <a:lnTo>
                  <a:pt x="40234" y="16185"/>
                </a:lnTo>
                <a:cubicBezTo>
                  <a:pt x="40094" y="16028"/>
                  <a:pt x="39874" y="16028"/>
                  <a:pt x="39734" y="16153"/>
                </a:cubicBezTo>
                <a:cubicBezTo>
                  <a:pt x="39578" y="16295"/>
                  <a:pt x="39578" y="16513"/>
                  <a:pt x="39703" y="16670"/>
                </a:cubicBezTo>
                <a:close/>
                <a:moveTo>
                  <a:pt x="38686" y="15559"/>
                </a:moveTo>
                <a:cubicBezTo>
                  <a:pt x="38765" y="15638"/>
                  <a:pt x="38858" y="15669"/>
                  <a:pt x="38952" y="15669"/>
                </a:cubicBezTo>
                <a:cubicBezTo>
                  <a:pt x="39046" y="15669"/>
                  <a:pt x="39124" y="15638"/>
                  <a:pt x="39186" y="15575"/>
                </a:cubicBezTo>
                <a:cubicBezTo>
                  <a:pt x="39343" y="15450"/>
                  <a:pt x="39343" y="15215"/>
                  <a:pt x="39218" y="15075"/>
                </a:cubicBezTo>
                <a:lnTo>
                  <a:pt x="38530" y="14340"/>
                </a:lnTo>
                <a:cubicBezTo>
                  <a:pt x="38405" y="14199"/>
                  <a:pt x="38170" y="14183"/>
                  <a:pt x="38030" y="14324"/>
                </a:cubicBezTo>
                <a:cubicBezTo>
                  <a:pt x="37889" y="14449"/>
                  <a:pt x="37873" y="14684"/>
                  <a:pt x="38014" y="14824"/>
                </a:cubicBezTo>
                <a:close/>
                <a:moveTo>
                  <a:pt x="46161" y="19985"/>
                </a:moveTo>
                <a:cubicBezTo>
                  <a:pt x="46254" y="19813"/>
                  <a:pt x="46192" y="19610"/>
                  <a:pt x="46020" y="19500"/>
                </a:cubicBezTo>
                <a:cubicBezTo>
                  <a:pt x="45848" y="19406"/>
                  <a:pt x="45645" y="19469"/>
                  <a:pt x="45535" y="19641"/>
                </a:cubicBezTo>
                <a:lnTo>
                  <a:pt x="45457" y="19797"/>
                </a:lnTo>
                <a:cubicBezTo>
                  <a:pt x="45238" y="19688"/>
                  <a:pt x="45003" y="19625"/>
                  <a:pt x="44753" y="19625"/>
                </a:cubicBezTo>
                <a:cubicBezTo>
                  <a:pt x="44378" y="19625"/>
                  <a:pt x="44034" y="19766"/>
                  <a:pt x="43752" y="19985"/>
                </a:cubicBezTo>
                <a:lnTo>
                  <a:pt x="43643" y="19860"/>
                </a:lnTo>
                <a:cubicBezTo>
                  <a:pt x="43502" y="19719"/>
                  <a:pt x="43284" y="19703"/>
                  <a:pt x="43127" y="19844"/>
                </a:cubicBezTo>
                <a:cubicBezTo>
                  <a:pt x="42986" y="19969"/>
                  <a:pt x="42971" y="20204"/>
                  <a:pt x="43111" y="20344"/>
                </a:cubicBezTo>
                <a:lnTo>
                  <a:pt x="43315" y="20563"/>
                </a:lnTo>
                <a:cubicBezTo>
                  <a:pt x="43221" y="20767"/>
                  <a:pt x="43159" y="20986"/>
                  <a:pt x="43159" y="21236"/>
                </a:cubicBezTo>
                <a:cubicBezTo>
                  <a:pt x="43159" y="22112"/>
                  <a:pt x="43878" y="22831"/>
                  <a:pt x="44753" y="22831"/>
                </a:cubicBezTo>
                <a:cubicBezTo>
                  <a:pt x="45645" y="22831"/>
                  <a:pt x="46348" y="22112"/>
                  <a:pt x="46348" y="21236"/>
                </a:cubicBezTo>
                <a:cubicBezTo>
                  <a:pt x="46348" y="20861"/>
                  <a:pt x="46223" y="20516"/>
                  <a:pt x="46020" y="20251"/>
                </a:cubicBezTo>
                <a:close/>
                <a:moveTo>
                  <a:pt x="44753" y="22112"/>
                </a:moveTo>
                <a:cubicBezTo>
                  <a:pt x="44269" y="22112"/>
                  <a:pt x="43878" y="21720"/>
                  <a:pt x="43878" y="21236"/>
                </a:cubicBezTo>
                <a:cubicBezTo>
                  <a:pt x="43878" y="21048"/>
                  <a:pt x="43940" y="20876"/>
                  <a:pt x="44034" y="20719"/>
                </a:cubicBezTo>
                <a:cubicBezTo>
                  <a:pt x="44039" y="20714"/>
                  <a:pt x="44050" y="20719"/>
                  <a:pt x="44050" y="20704"/>
                </a:cubicBezTo>
                <a:cubicBezTo>
                  <a:pt x="44206" y="20485"/>
                  <a:pt x="44472" y="20344"/>
                  <a:pt x="44753" y="20344"/>
                </a:cubicBezTo>
                <a:cubicBezTo>
                  <a:pt x="44972" y="20344"/>
                  <a:pt x="45176" y="20423"/>
                  <a:pt x="45332" y="20563"/>
                </a:cubicBezTo>
                <a:cubicBezTo>
                  <a:pt x="45337" y="20568"/>
                  <a:pt x="45348" y="20563"/>
                  <a:pt x="45348" y="20579"/>
                </a:cubicBezTo>
                <a:cubicBezTo>
                  <a:pt x="45535" y="20735"/>
                  <a:pt x="45645" y="20970"/>
                  <a:pt x="45645" y="21236"/>
                </a:cubicBezTo>
                <a:cubicBezTo>
                  <a:pt x="45645" y="21720"/>
                  <a:pt x="45238" y="22112"/>
                  <a:pt x="44753" y="22112"/>
                </a:cubicBezTo>
                <a:close/>
                <a:moveTo>
                  <a:pt x="50320" y="11978"/>
                </a:moveTo>
                <a:cubicBezTo>
                  <a:pt x="50148" y="11869"/>
                  <a:pt x="49929" y="11932"/>
                  <a:pt x="49836" y="12104"/>
                </a:cubicBezTo>
                <a:lnTo>
                  <a:pt x="49257" y="13105"/>
                </a:lnTo>
                <a:cubicBezTo>
                  <a:pt x="49163" y="13276"/>
                  <a:pt x="49226" y="13495"/>
                  <a:pt x="49398" y="13589"/>
                </a:cubicBezTo>
                <a:cubicBezTo>
                  <a:pt x="49460" y="13636"/>
                  <a:pt x="49507" y="13636"/>
                  <a:pt x="49569" y="13636"/>
                </a:cubicBezTo>
                <a:cubicBezTo>
                  <a:pt x="49695" y="13636"/>
                  <a:pt x="49820" y="13573"/>
                  <a:pt x="49882" y="13464"/>
                </a:cubicBezTo>
                <a:lnTo>
                  <a:pt x="50461" y="12463"/>
                </a:lnTo>
                <a:cubicBezTo>
                  <a:pt x="50555" y="12291"/>
                  <a:pt x="50492" y="12072"/>
                  <a:pt x="50320" y="11978"/>
                </a:cubicBezTo>
                <a:close/>
                <a:moveTo>
                  <a:pt x="47459" y="16998"/>
                </a:moveTo>
                <a:cubicBezTo>
                  <a:pt x="47287" y="16888"/>
                  <a:pt x="47068" y="16951"/>
                  <a:pt x="46974" y="17123"/>
                </a:cubicBezTo>
                <a:lnTo>
                  <a:pt x="46396" y="18124"/>
                </a:lnTo>
                <a:cubicBezTo>
                  <a:pt x="46301" y="18296"/>
                  <a:pt x="46364" y="18515"/>
                  <a:pt x="46536" y="18624"/>
                </a:cubicBezTo>
                <a:cubicBezTo>
                  <a:pt x="46583" y="18655"/>
                  <a:pt x="46646" y="18671"/>
                  <a:pt x="46708" y="18671"/>
                </a:cubicBezTo>
                <a:cubicBezTo>
                  <a:pt x="46833" y="18671"/>
                  <a:pt x="46958" y="18593"/>
                  <a:pt x="47021" y="18483"/>
                </a:cubicBezTo>
                <a:lnTo>
                  <a:pt x="47599" y="17483"/>
                </a:lnTo>
                <a:cubicBezTo>
                  <a:pt x="47693" y="17311"/>
                  <a:pt x="47630" y="17092"/>
                  <a:pt x="47459" y="16998"/>
                </a:cubicBezTo>
                <a:close/>
                <a:moveTo>
                  <a:pt x="48897" y="14481"/>
                </a:moveTo>
                <a:cubicBezTo>
                  <a:pt x="48725" y="14387"/>
                  <a:pt x="48506" y="14449"/>
                  <a:pt x="48397" y="14621"/>
                </a:cubicBezTo>
                <a:lnTo>
                  <a:pt x="47834" y="15622"/>
                </a:lnTo>
                <a:cubicBezTo>
                  <a:pt x="47740" y="15794"/>
                  <a:pt x="47787" y="16013"/>
                  <a:pt x="47959" y="16107"/>
                </a:cubicBezTo>
                <a:cubicBezTo>
                  <a:pt x="48022" y="16138"/>
                  <a:pt x="48084" y="16153"/>
                  <a:pt x="48147" y="16153"/>
                </a:cubicBezTo>
                <a:cubicBezTo>
                  <a:pt x="48272" y="16153"/>
                  <a:pt x="48381" y="16091"/>
                  <a:pt x="48460" y="15982"/>
                </a:cubicBezTo>
                <a:lnTo>
                  <a:pt x="49023" y="14965"/>
                </a:lnTo>
                <a:cubicBezTo>
                  <a:pt x="49116" y="14793"/>
                  <a:pt x="49069" y="14574"/>
                  <a:pt x="48897" y="14481"/>
                </a:cubicBezTo>
                <a:close/>
                <a:moveTo>
                  <a:pt x="55621" y="14543"/>
                </a:moveTo>
                <a:cubicBezTo>
                  <a:pt x="55684" y="14637"/>
                  <a:pt x="55793" y="14684"/>
                  <a:pt x="55903" y="14684"/>
                </a:cubicBezTo>
                <a:cubicBezTo>
                  <a:pt x="55981" y="14684"/>
                  <a:pt x="56059" y="14652"/>
                  <a:pt x="56122" y="14606"/>
                </a:cubicBezTo>
                <a:cubicBezTo>
                  <a:pt x="56278" y="14496"/>
                  <a:pt x="56309" y="14261"/>
                  <a:pt x="56184" y="14105"/>
                </a:cubicBezTo>
                <a:lnTo>
                  <a:pt x="55606" y="13355"/>
                </a:lnTo>
                <a:cubicBezTo>
                  <a:pt x="55481" y="13198"/>
                  <a:pt x="55261" y="13167"/>
                  <a:pt x="55105" y="13276"/>
                </a:cubicBezTo>
                <a:cubicBezTo>
                  <a:pt x="54949" y="13401"/>
                  <a:pt x="54918" y="13620"/>
                  <a:pt x="55043" y="13777"/>
                </a:cubicBezTo>
                <a:close/>
                <a:moveTo>
                  <a:pt x="53589" y="11885"/>
                </a:moveTo>
                <a:lnTo>
                  <a:pt x="54167" y="12635"/>
                </a:lnTo>
                <a:cubicBezTo>
                  <a:pt x="54245" y="12729"/>
                  <a:pt x="54355" y="12776"/>
                  <a:pt x="54448" y="12776"/>
                </a:cubicBezTo>
                <a:cubicBezTo>
                  <a:pt x="54527" y="12776"/>
                  <a:pt x="54605" y="12760"/>
                  <a:pt x="54667" y="12713"/>
                </a:cubicBezTo>
                <a:cubicBezTo>
                  <a:pt x="54824" y="12588"/>
                  <a:pt x="54855" y="12369"/>
                  <a:pt x="54746" y="12213"/>
                </a:cubicBezTo>
                <a:cubicBezTo>
                  <a:pt x="54167" y="11447"/>
                  <a:pt x="54360" y="11702"/>
                  <a:pt x="54167" y="11447"/>
                </a:cubicBezTo>
                <a:cubicBezTo>
                  <a:pt x="54042" y="11291"/>
                  <a:pt x="53823" y="11259"/>
                  <a:pt x="53667" y="11384"/>
                </a:cubicBezTo>
                <a:cubicBezTo>
                  <a:pt x="53510" y="11494"/>
                  <a:pt x="53479" y="11712"/>
                  <a:pt x="53589" y="11885"/>
                </a:cubicBezTo>
                <a:close/>
                <a:moveTo>
                  <a:pt x="56825" y="16122"/>
                </a:moveTo>
                <a:cubicBezTo>
                  <a:pt x="56888" y="16216"/>
                  <a:pt x="56997" y="16263"/>
                  <a:pt x="57107" y="16263"/>
                </a:cubicBezTo>
                <a:cubicBezTo>
                  <a:pt x="57185" y="16263"/>
                  <a:pt x="57263" y="16247"/>
                  <a:pt x="57326" y="16200"/>
                </a:cubicBezTo>
                <a:cubicBezTo>
                  <a:pt x="57482" y="16075"/>
                  <a:pt x="57513" y="15857"/>
                  <a:pt x="57388" y="15700"/>
                </a:cubicBezTo>
                <a:lnTo>
                  <a:pt x="57060" y="15247"/>
                </a:lnTo>
                <a:cubicBezTo>
                  <a:pt x="56935" y="15090"/>
                  <a:pt x="56716" y="15059"/>
                  <a:pt x="56559" y="15184"/>
                </a:cubicBezTo>
                <a:cubicBezTo>
                  <a:pt x="56387" y="15309"/>
                  <a:pt x="56372" y="15528"/>
                  <a:pt x="56481" y="15685"/>
                </a:cubicBezTo>
                <a:close/>
                <a:moveTo>
                  <a:pt x="25192" y="11337"/>
                </a:moveTo>
                <a:cubicBezTo>
                  <a:pt x="26708" y="11337"/>
                  <a:pt x="28131" y="10743"/>
                  <a:pt x="29195" y="9664"/>
                </a:cubicBezTo>
                <a:cubicBezTo>
                  <a:pt x="30273" y="8601"/>
                  <a:pt x="30852" y="7178"/>
                  <a:pt x="30852" y="5661"/>
                </a:cubicBezTo>
                <a:cubicBezTo>
                  <a:pt x="30852" y="4160"/>
                  <a:pt x="30273" y="2737"/>
                  <a:pt x="29195" y="1658"/>
                </a:cubicBezTo>
                <a:cubicBezTo>
                  <a:pt x="28131" y="595"/>
                  <a:pt x="26708" y="0"/>
                  <a:pt x="25192" y="0"/>
                </a:cubicBezTo>
                <a:cubicBezTo>
                  <a:pt x="23674" y="0"/>
                  <a:pt x="22252" y="595"/>
                  <a:pt x="21188" y="1658"/>
                </a:cubicBezTo>
                <a:cubicBezTo>
                  <a:pt x="20125" y="2737"/>
                  <a:pt x="19531" y="4160"/>
                  <a:pt x="19531" y="5661"/>
                </a:cubicBezTo>
                <a:cubicBezTo>
                  <a:pt x="19531" y="7178"/>
                  <a:pt x="20125" y="8601"/>
                  <a:pt x="21188" y="9664"/>
                </a:cubicBezTo>
                <a:cubicBezTo>
                  <a:pt x="22252" y="10743"/>
                  <a:pt x="23674" y="11337"/>
                  <a:pt x="25192" y="11337"/>
                </a:cubicBezTo>
                <a:close/>
                <a:moveTo>
                  <a:pt x="28694" y="9164"/>
                </a:moveTo>
                <a:cubicBezTo>
                  <a:pt x="27756" y="10102"/>
                  <a:pt x="26521" y="10618"/>
                  <a:pt x="25192" y="10618"/>
                </a:cubicBezTo>
                <a:cubicBezTo>
                  <a:pt x="24535" y="10618"/>
                  <a:pt x="23894" y="10493"/>
                  <a:pt x="23299" y="10243"/>
                </a:cubicBezTo>
                <a:lnTo>
                  <a:pt x="25457" y="5927"/>
                </a:lnTo>
                <a:lnTo>
                  <a:pt x="29773" y="3769"/>
                </a:lnTo>
                <a:cubicBezTo>
                  <a:pt x="30008" y="4363"/>
                  <a:pt x="30148" y="5004"/>
                  <a:pt x="30148" y="5661"/>
                </a:cubicBezTo>
                <a:cubicBezTo>
                  <a:pt x="30148" y="6990"/>
                  <a:pt x="29632" y="8226"/>
                  <a:pt x="28694" y="9164"/>
                </a:cubicBezTo>
                <a:close/>
                <a:moveTo>
                  <a:pt x="21689" y="2159"/>
                </a:moveTo>
                <a:cubicBezTo>
                  <a:pt x="22627" y="1236"/>
                  <a:pt x="23878" y="720"/>
                  <a:pt x="25192" y="720"/>
                </a:cubicBezTo>
                <a:cubicBezTo>
                  <a:pt x="26521" y="720"/>
                  <a:pt x="27756" y="1236"/>
                  <a:pt x="28694" y="2159"/>
                </a:cubicBezTo>
                <a:cubicBezTo>
                  <a:pt x="28991" y="2455"/>
                  <a:pt x="29241" y="2784"/>
                  <a:pt x="29445" y="3143"/>
                </a:cubicBezTo>
                <a:lnTo>
                  <a:pt x="25192" y="5270"/>
                </a:lnTo>
                <a:lnTo>
                  <a:pt x="20938" y="3143"/>
                </a:lnTo>
                <a:cubicBezTo>
                  <a:pt x="21141" y="2784"/>
                  <a:pt x="21392" y="2455"/>
                  <a:pt x="21689" y="2159"/>
                </a:cubicBezTo>
                <a:close/>
                <a:moveTo>
                  <a:pt x="20609" y="3769"/>
                </a:moveTo>
                <a:lnTo>
                  <a:pt x="24707" y="5817"/>
                </a:lnTo>
                <a:lnTo>
                  <a:pt x="22658" y="9930"/>
                </a:lnTo>
                <a:cubicBezTo>
                  <a:pt x="22314" y="9711"/>
                  <a:pt x="21986" y="9461"/>
                  <a:pt x="21689" y="9164"/>
                </a:cubicBezTo>
                <a:cubicBezTo>
                  <a:pt x="20766" y="8226"/>
                  <a:pt x="20250" y="6990"/>
                  <a:pt x="20250" y="5661"/>
                </a:cubicBezTo>
                <a:cubicBezTo>
                  <a:pt x="20250" y="5004"/>
                  <a:pt x="20375" y="4363"/>
                  <a:pt x="20609" y="3769"/>
                </a:cubicBezTo>
                <a:close/>
                <a:moveTo>
                  <a:pt x="34417" y="23347"/>
                </a:moveTo>
                <a:lnTo>
                  <a:pt x="34417" y="34621"/>
                </a:lnTo>
                <a:cubicBezTo>
                  <a:pt x="34417" y="34809"/>
                  <a:pt x="34589" y="34981"/>
                  <a:pt x="34777" y="34981"/>
                </a:cubicBezTo>
                <a:cubicBezTo>
                  <a:pt x="34980" y="34981"/>
                  <a:pt x="35137" y="34809"/>
                  <a:pt x="35137" y="34621"/>
                </a:cubicBezTo>
                <a:lnTo>
                  <a:pt x="35137" y="23347"/>
                </a:lnTo>
                <a:cubicBezTo>
                  <a:pt x="35137" y="23159"/>
                  <a:pt x="34980" y="23003"/>
                  <a:pt x="34777" y="23003"/>
                </a:cubicBezTo>
                <a:cubicBezTo>
                  <a:pt x="34589" y="23003"/>
                  <a:pt x="34417" y="23159"/>
                  <a:pt x="34417" y="23347"/>
                </a:cubicBezTo>
                <a:close/>
                <a:moveTo>
                  <a:pt x="43331" y="35184"/>
                </a:moveTo>
                <a:cubicBezTo>
                  <a:pt x="34011" y="35184"/>
                  <a:pt x="37118" y="35184"/>
                  <a:pt x="34011" y="35184"/>
                </a:cubicBezTo>
                <a:cubicBezTo>
                  <a:pt x="33807" y="35184"/>
                  <a:pt x="33651" y="35356"/>
                  <a:pt x="33651" y="35544"/>
                </a:cubicBezTo>
                <a:cubicBezTo>
                  <a:pt x="33651" y="35747"/>
                  <a:pt x="33807" y="35903"/>
                  <a:pt x="34011" y="35903"/>
                </a:cubicBezTo>
                <a:cubicBezTo>
                  <a:pt x="43331" y="35903"/>
                  <a:pt x="40224" y="35903"/>
                  <a:pt x="43331" y="35903"/>
                </a:cubicBezTo>
                <a:cubicBezTo>
                  <a:pt x="43518" y="35903"/>
                  <a:pt x="43674" y="35747"/>
                  <a:pt x="43674" y="35544"/>
                </a:cubicBezTo>
                <a:cubicBezTo>
                  <a:pt x="43674" y="35356"/>
                  <a:pt x="43518" y="35184"/>
                  <a:pt x="43331" y="35184"/>
                </a:cubicBezTo>
                <a:close/>
                <a:moveTo>
                  <a:pt x="35996" y="25364"/>
                </a:moveTo>
                <a:lnTo>
                  <a:pt x="35996" y="34621"/>
                </a:lnTo>
                <a:cubicBezTo>
                  <a:pt x="35996" y="34809"/>
                  <a:pt x="36153" y="34981"/>
                  <a:pt x="36356" y="34981"/>
                </a:cubicBezTo>
                <a:cubicBezTo>
                  <a:pt x="36544" y="34981"/>
                  <a:pt x="36716" y="34809"/>
                  <a:pt x="36716" y="34621"/>
                </a:cubicBezTo>
                <a:lnTo>
                  <a:pt x="36716" y="25364"/>
                </a:lnTo>
                <a:cubicBezTo>
                  <a:pt x="36716" y="25160"/>
                  <a:pt x="36544" y="25004"/>
                  <a:pt x="36356" y="25004"/>
                </a:cubicBezTo>
                <a:cubicBezTo>
                  <a:pt x="36153" y="25004"/>
                  <a:pt x="35996" y="25160"/>
                  <a:pt x="35996" y="25364"/>
                </a:cubicBezTo>
                <a:close/>
                <a:moveTo>
                  <a:pt x="38217" y="34981"/>
                </a:moveTo>
                <a:cubicBezTo>
                  <a:pt x="38405" y="34981"/>
                  <a:pt x="38561" y="34809"/>
                  <a:pt x="38561" y="34621"/>
                </a:cubicBezTo>
                <a:lnTo>
                  <a:pt x="38561" y="29383"/>
                </a:lnTo>
                <a:cubicBezTo>
                  <a:pt x="38561" y="29195"/>
                  <a:pt x="38405" y="29038"/>
                  <a:pt x="38217" y="29038"/>
                </a:cubicBezTo>
                <a:cubicBezTo>
                  <a:pt x="38014" y="29038"/>
                  <a:pt x="37857" y="29195"/>
                  <a:pt x="37857" y="29383"/>
                </a:cubicBezTo>
                <a:lnTo>
                  <a:pt x="37857" y="34621"/>
                </a:lnTo>
                <a:cubicBezTo>
                  <a:pt x="37857" y="34809"/>
                  <a:pt x="38014" y="34981"/>
                  <a:pt x="38217" y="34981"/>
                </a:cubicBezTo>
                <a:close/>
                <a:moveTo>
                  <a:pt x="40062" y="27819"/>
                </a:moveTo>
                <a:cubicBezTo>
                  <a:pt x="39874" y="27819"/>
                  <a:pt x="39718" y="27975"/>
                  <a:pt x="39718" y="28163"/>
                </a:cubicBezTo>
                <a:lnTo>
                  <a:pt x="39718" y="34621"/>
                </a:lnTo>
                <a:cubicBezTo>
                  <a:pt x="39718" y="34809"/>
                  <a:pt x="39874" y="34981"/>
                  <a:pt x="40062" y="34981"/>
                </a:cubicBezTo>
                <a:cubicBezTo>
                  <a:pt x="40266" y="34981"/>
                  <a:pt x="40422" y="34809"/>
                  <a:pt x="40422" y="34621"/>
                </a:cubicBezTo>
                <a:lnTo>
                  <a:pt x="40422" y="28163"/>
                </a:lnTo>
                <a:cubicBezTo>
                  <a:pt x="40422" y="27975"/>
                  <a:pt x="40266" y="27819"/>
                  <a:pt x="40062" y="27819"/>
                </a:cubicBezTo>
                <a:close/>
                <a:moveTo>
                  <a:pt x="41563" y="29727"/>
                </a:moveTo>
                <a:lnTo>
                  <a:pt x="41563" y="34621"/>
                </a:lnTo>
                <a:cubicBezTo>
                  <a:pt x="41563" y="34809"/>
                  <a:pt x="41735" y="34981"/>
                  <a:pt x="41923" y="34981"/>
                </a:cubicBezTo>
                <a:cubicBezTo>
                  <a:pt x="42126" y="34981"/>
                  <a:pt x="42283" y="34809"/>
                  <a:pt x="42283" y="34621"/>
                </a:cubicBezTo>
                <a:lnTo>
                  <a:pt x="42283" y="29727"/>
                </a:lnTo>
                <a:cubicBezTo>
                  <a:pt x="42283" y="29523"/>
                  <a:pt x="42126" y="29367"/>
                  <a:pt x="41923" y="29367"/>
                </a:cubicBezTo>
                <a:cubicBezTo>
                  <a:pt x="41735" y="29367"/>
                  <a:pt x="41563" y="29523"/>
                  <a:pt x="41563" y="29727"/>
                </a:cubicBezTo>
                <a:close/>
                <a:moveTo>
                  <a:pt x="9632" y="18875"/>
                </a:moveTo>
                <a:cubicBezTo>
                  <a:pt x="9836" y="18875"/>
                  <a:pt x="9992" y="18718"/>
                  <a:pt x="9992" y="18530"/>
                </a:cubicBezTo>
                <a:cubicBezTo>
                  <a:pt x="9992" y="18327"/>
                  <a:pt x="9836" y="18171"/>
                  <a:pt x="9632" y="18171"/>
                </a:cubicBezTo>
                <a:lnTo>
                  <a:pt x="2721" y="18171"/>
                </a:lnTo>
                <a:lnTo>
                  <a:pt x="3909" y="16983"/>
                </a:lnTo>
                <a:lnTo>
                  <a:pt x="4816" y="17889"/>
                </a:lnTo>
                <a:cubicBezTo>
                  <a:pt x="4894" y="17983"/>
                  <a:pt x="5035" y="18014"/>
                  <a:pt x="5160" y="17983"/>
                </a:cubicBezTo>
                <a:cubicBezTo>
                  <a:pt x="5285" y="17936"/>
                  <a:pt x="5379" y="17842"/>
                  <a:pt x="5410" y="17717"/>
                </a:cubicBezTo>
                <a:lnTo>
                  <a:pt x="6427" y="13323"/>
                </a:lnTo>
                <a:lnTo>
                  <a:pt x="7521" y="14402"/>
                </a:lnTo>
                <a:cubicBezTo>
                  <a:pt x="7599" y="14496"/>
                  <a:pt x="7724" y="14527"/>
                  <a:pt x="7850" y="14512"/>
                </a:cubicBezTo>
                <a:cubicBezTo>
                  <a:pt x="7959" y="14481"/>
                  <a:pt x="8053" y="14402"/>
                  <a:pt x="8100" y="14277"/>
                </a:cubicBezTo>
                <a:lnTo>
                  <a:pt x="9257" y="11197"/>
                </a:lnTo>
                <a:cubicBezTo>
                  <a:pt x="9335" y="11009"/>
                  <a:pt x="9242" y="10806"/>
                  <a:pt x="9054" y="10728"/>
                </a:cubicBezTo>
                <a:cubicBezTo>
                  <a:pt x="8866" y="10665"/>
                  <a:pt x="8663" y="10759"/>
                  <a:pt x="8585" y="10931"/>
                </a:cubicBezTo>
                <a:lnTo>
                  <a:pt x="7631" y="13511"/>
                </a:lnTo>
                <a:lnTo>
                  <a:pt x="6473" y="12354"/>
                </a:lnTo>
                <a:cubicBezTo>
                  <a:pt x="6380" y="12260"/>
                  <a:pt x="6239" y="12229"/>
                  <a:pt x="6130" y="12260"/>
                </a:cubicBezTo>
                <a:cubicBezTo>
                  <a:pt x="6005" y="12307"/>
                  <a:pt x="5895" y="12400"/>
                  <a:pt x="5880" y="12526"/>
                </a:cubicBezTo>
                <a:lnTo>
                  <a:pt x="4863" y="16920"/>
                </a:lnTo>
                <a:lnTo>
                  <a:pt x="4159" y="16216"/>
                </a:lnTo>
                <a:cubicBezTo>
                  <a:pt x="4019" y="16075"/>
                  <a:pt x="3784" y="16075"/>
                  <a:pt x="3643" y="16216"/>
                </a:cubicBezTo>
                <a:lnTo>
                  <a:pt x="2111" y="17764"/>
                </a:lnTo>
                <a:cubicBezTo>
                  <a:pt x="2001" y="17874"/>
                  <a:pt x="1970" y="18030"/>
                  <a:pt x="2033" y="18171"/>
                </a:cubicBezTo>
                <a:lnTo>
                  <a:pt x="1798" y="18171"/>
                </a:lnTo>
                <a:lnTo>
                  <a:pt x="1798" y="10336"/>
                </a:lnTo>
                <a:cubicBezTo>
                  <a:pt x="1798" y="10133"/>
                  <a:pt x="1642" y="9977"/>
                  <a:pt x="1439" y="9977"/>
                </a:cubicBezTo>
                <a:cubicBezTo>
                  <a:pt x="1235" y="9977"/>
                  <a:pt x="1079" y="10133"/>
                  <a:pt x="1079" y="10336"/>
                </a:cubicBezTo>
                <a:lnTo>
                  <a:pt x="1079" y="18171"/>
                </a:lnTo>
                <a:lnTo>
                  <a:pt x="360" y="18171"/>
                </a:lnTo>
                <a:cubicBezTo>
                  <a:pt x="156" y="18171"/>
                  <a:pt x="0" y="18327"/>
                  <a:pt x="0" y="18530"/>
                </a:cubicBezTo>
                <a:cubicBezTo>
                  <a:pt x="0" y="18718"/>
                  <a:pt x="156" y="18875"/>
                  <a:pt x="360" y="18875"/>
                </a:cubicBezTo>
                <a:lnTo>
                  <a:pt x="1079" y="18875"/>
                </a:lnTo>
                <a:lnTo>
                  <a:pt x="1079" y="19610"/>
                </a:lnTo>
                <a:cubicBezTo>
                  <a:pt x="1079" y="19797"/>
                  <a:pt x="1235" y="19969"/>
                  <a:pt x="1439" y="19969"/>
                </a:cubicBezTo>
                <a:cubicBezTo>
                  <a:pt x="1642" y="19969"/>
                  <a:pt x="1798" y="19797"/>
                  <a:pt x="1798" y="19610"/>
                </a:cubicBezTo>
                <a:lnTo>
                  <a:pt x="1798" y="18875"/>
                </a:lnTo>
                <a:close/>
                <a:moveTo>
                  <a:pt x="54652" y="25082"/>
                </a:moveTo>
                <a:lnTo>
                  <a:pt x="54652" y="24035"/>
                </a:lnTo>
                <a:lnTo>
                  <a:pt x="59734" y="24035"/>
                </a:lnTo>
                <a:cubicBezTo>
                  <a:pt x="59937" y="24035"/>
                  <a:pt x="60094" y="23863"/>
                  <a:pt x="60094" y="23675"/>
                </a:cubicBezTo>
                <a:lnTo>
                  <a:pt x="60094" y="20719"/>
                </a:lnTo>
                <a:cubicBezTo>
                  <a:pt x="60641" y="21329"/>
                  <a:pt x="60458" y="21126"/>
                  <a:pt x="60641" y="21329"/>
                </a:cubicBezTo>
                <a:cubicBezTo>
                  <a:pt x="60719" y="21408"/>
                  <a:pt x="60813" y="21439"/>
                  <a:pt x="60907" y="21439"/>
                </a:cubicBezTo>
                <a:cubicBezTo>
                  <a:pt x="61000" y="21439"/>
                  <a:pt x="61078" y="21408"/>
                  <a:pt x="61157" y="21345"/>
                </a:cubicBezTo>
                <a:cubicBezTo>
                  <a:pt x="61298" y="21220"/>
                  <a:pt x="61313" y="21001"/>
                  <a:pt x="61173" y="20845"/>
                </a:cubicBezTo>
                <a:lnTo>
                  <a:pt x="60000" y="19563"/>
                </a:lnTo>
                <a:lnTo>
                  <a:pt x="60000" y="19547"/>
                </a:lnTo>
                <a:cubicBezTo>
                  <a:pt x="59994" y="19542"/>
                  <a:pt x="59984" y="19547"/>
                  <a:pt x="59984" y="19531"/>
                </a:cubicBezTo>
                <a:lnTo>
                  <a:pt x="59969" y="19531"/>
                </a:lnTo>
                <a:cubicBezTo>
                  <a:pt x="59969" y="19516"/>
                  <a:pt x="59969" y="19516"/>
                  <a:pt x="59953" y="19516"/>
                </a:cubicBezTo>
                <a:cubicBezTo>
                  <a:pt x="59953" y="19500"/>
                  <a:pt x="59953" y="19500"/>
                  <a:pt x="59937" y="19500"/>
                </a:cubicBezTo>
                <a:lnTo>
                  <a:pt x="59922" y="19500"/>
                </a:lnTo>
                <a:lnTo>
                  <a:pt x="59922" y="19485"/>
                </a:lnTo>
                <a:lnTo>
                  <a:pt x="59906" y="19485"/>
                </a:lnTo>
                <a:lnTo>
                  <a:pt x="59890" y="19469"/>
                </a:lnTo>
                <a:lnTo>
                  <a:pt x="59875" y="19469"/>
                </a:lnTo>
                <a:cubicBezTo>
                  <a:pt x="59859" y="19469"/>
                  <a:pt x="59859" y="19453"/>
                  <a:pt x="59843" y="19453"/>
                </a:cubicBezTo>
                <a:lnTo>
                  <a:pt x="59827" y="19453"/>
                </a:lnTo>
                <a:lnTo>
                  <a:pt x="59812" y="19453"/>
                </a:lnTo>
                <a:lnTo>
                  <a:pt x="59796" y="19453"/>
                </a:lnTo>
                <a:cubicBezTo>
                  <a:pt x="59796" y="19437"/>
                  <a:pt x="59786" y="19442"/>
                  <a:pt x="59781" y="19437"/>
                </a:cubicBezTo>
                <a:lnTo>
                  <a:pt x="59765" y="19437"/>
                </a:lnTo>
                <a:lnTo>
                  <a:pt x="59749" y="19437"/>
                </a:lnTo>
                <a:lnTo>
                  <a:pt x="59734" y="19437"/>
                </a:lnTo>
                <a:lnTo>
                  <a:pt x="59718" y="19437"/>
                </a:lnTo>
                <a:lnTo>
                  <a:pt x="59702" y="19437"/>
                </a:lnTo>
                <a:cubicBezTo>
                  <a:pt x="59687" y="19437"/>
                  <a:pt x="59687" y="19437"/>
                  <a:pt x="59671" y="19453"/>
                </a:cubicBezTo>
                <a:lnTo>
                  <a:pt x="59656" y="19453"/>
                </a:lnTo>
                <a:lnTo>
                  <a:pt x="59640" y="19453"/>
                </a:lnTo>
                <a:lnTo>
                  <a:pt x="59624" y="19453"/>
                </a:lnTo>
                <a:lnTo>
                  <a:pt x="59609" y="19469"/>
                </a:lnTo>
                <a:lnTo>
                  <a:pt x="59593" y="19469"/>
                </a:lnTo>
                <a:cubicBezTo>
                  <a:pt x="59577" y="19469"/>
                  <a:pt x="59577" y="19469"/>
                  <a:pt x="59577" y="19485"/>
                </a:cubicBezTo>
                <a:lnTo>
                  <a:pt x="59562" y="19485"/>
                </a:lnTo>
                <a:cubicBezTo>
                  <a:pt x="59556" y="19490"/>
                  <a:pt x="59546" y="19485"/>
                  <a:pt x="59546" y="19500"/>
                </a:cubicBezTo>
                <a:lnTo>
                  <a:pt x="59531" y="19500"/>
                </a:lnTo>
                <a:lnTo>
                  <a:pt x="59531" y="19516"/>
                </a:lnTo>
                <a:lnTo>
                  <a:pt x="59515" y="19516"/>
                </a:lnTo>
                <a:lnTo>
                  <a:pt x="59499" y="19531"/>
                </a:lnTo>
                <a:lnTo>
                  <a:pt x="59484" y="19547"/>
                </a:lnTo>
                <a:lnTo>
                  <a:pt x="59468" y="19563"/>
                </a:lnTo>
                <a:lnTo>
                  <a:pt x="58295" y="20845"/>
                </a:lnTo>
                <a:cubicBezTo>
                  <a:pt x="58170" y="21001"/>
                  <a:pt x="58186" y="21220"/>
                  <a:pt x="58326" y="21345"/>
                </a:cubicBezTo>
                <a:cubicBezTo>
                  <a:pt x="58389" y="21408"/>
                  <a:pt x="58483" y="21439"/>
                  <a:pt x="58561" y="21439"/>
                </a:cubicBezTo>
                <a:cubicBezTo>
                  <a:pt x="58671" y="21439"/>
                  <a:pt x="58764" y="21408"/>
                  <a:pt x="58827" y="21329"/>
                </a:cubicBezTo>
                <a:cubicBezTo>
                  <a:pt x="59374" y="20719"/>
                  <a:pt x="59191" y="20922"/>
                  <a:pt x="59374" y="20719"/>
                </a:cubicBezTo>
                <a:lnTo>
                  <a:pt x="59374" y="23316"/>
                </a:lnTo>
                <a:cubicBezTo>
                  <a:pt x="54292" y="23316"/>
                  <a:pt x="55986" y="23316"/>
                  <a:pt x="54292" y="23316"/>
                </a:cubicBezTo>
                <a:cubicBezTo>
                  <a:pt x="54089" y="23316"/>
                  <a:pt x="53932" y="23472"/>
                  <a:pt x="53932" y="23675"/>
                </a:cubicBezTo>
                <a:lnTo>
                  <a:pt x="53932" y="25067"/>
                </a:lnTo>
                <a:cubicBezTo>
                  <a:pt x="53291" y="25207"/>
                  <a:pt x="52822" y="25786"/>
                  <a:pt x="52822" y="26474"/>
                </a:cubicBezTo>
                <a:cubicBezTo>
                  <a:pt x="52822" y="27256"/>
                  <a:pt x="53464" y="27897"/>
                  <a:pt x="54245" y="27897"/>
                </a:cubicBezTo>
                <a:cubicBezTo>
                  <a:pt x="55043" y="27897"/>
                  <a:pt x="55684" y="27256"/>
                  <a:pt x="55684" y="26474"/>
                </a:cubicBezTo>
                <a:cubicBezTo>
                  <a:pt x="55684" y="25817"/>
                  <a:pt x="55246" y="25270"/>
                  <a:pt x="54652" y="25082"/>
                </a:cubicBezTo>
                <a:close/>
                <a:moveTo>
                  <a:pt x="54245" y="27178"/>
                </a:moveTo>
                <a:cubicBezTo>
                  <a:pt x="53854" y="27178"/>
                  <a:pt x="53526" y="26865"/>
                  <a:pt x="53526" y="26474"/>
                </a:cubicBezTo>
                <a:cubicBezTo>
                  <a:pt x="53526" y="26068"/>
                  <a:pt x="53854" y="25755"/>
                  <a:pt x="54245" y="25755"/>
                </a:cubicBezTo>
                <a:cubicBezTo>
                  <a:pt x="54652" y="25755"/>
                  <a:pt x="54965" y="26068"/>
                  <a:pt x="54965" y="26474"/>
                </a:cubicBezTo>
                <a:cubicBezTo>
                  <a:pt x="54965" y="26865"/>
                  <a:pt x="54652" y="27178"/>
                  <a:pt x="54245" y="27178"/>
                </a:cubicBezTo>
                <a:close/>
                <a:moveTo>
                  <a:pt x="53088" y="22424"/>
                </a:moveTo>
                <a:lnTo>
                  <a:pt x="54073" y="21424"/>
                </a:lnTo>
                <a:cubicBezTo>
                  <a:pt x="55074" y="22424"/>
                  <a:pt x="54740" y="22091"/>
                  <a:pt x="55074" y="22424"/>
                </a:cubicBezTo>
                <a:cubicBezTo>
                  <a:pt x="55136" y="22487"/>
                  <a:pt x="55230" y="22518"/>
                  <a:pt x="55324" y="22518"/>
                </a:cubicBezTo>
                <a:cubicBezTo>
                  <a:pt x="55418" y="22518"/>
                  <a:pt x="55512" y="22487"/>
                  <a:pt x="55574" y="22424"/>
                </a:cubicBezTo>
                <a:cubicBezTo>
                  <a:pt x="55715" y="22283"/>
                  <a:pt x="55715" y="22049"/>
                  <a:pt x="55574" y="21908"/>
                </a:cubicBezTo>
                <a:lnTo>
                  <a:pt x="54589" y="20923"/>
                </a:lnTo>
                <a:lnTo>
                  <a:pt x="55574" y="19922"/>
                </a:lnTo>
                <a:cubicBezTo>
                  <a:pt x="55715" y="19781"/>
                  <a:pt x="55715" y="19547"/>
                  <a:pt x="55574" y="19422"/>
                </a:cubicBezTo>
                <a:cubicBezTo>
                  <a:pt x="55434" y="19281"/>
                  <a:pt x="55215" y="19281"/>
                  <a:pt x="55074" y="19422"/>
                </a:cubicBezTo>
                <a:cubicBezTo>
                  <a:pt x="54073" y="20407"/>
                  <a:pt x="54406" y="20079"/>
                  <a:pt x="54073" y="20407"/>
                </a:cubicBezTo>
                <a:lnTo>
                  <a:pt x="53088" y="19422"/>
                </a:lnTo>
                <a:cubicBezTo>
                  <a:pt x="52947" y="19281"/>
                  <a:pt x="52713" y="19281"/>
                  <a:pt x="52572" y="19422"/>
                </a:cubicBezTo>
                <a:cubicBezTo>
                  <a:pt x="52431" y="19547"/>
                  <a:pt x="52431" y="19781"/>
                  <a:pt x="52572" y="19922"/>
                </a:cubicBezTo>
                <a:lnTo>
                  <a:pt x="53573" y="20923"/>
                </a:lnTo>
                <a:cubicBezTo>
                  <a:pt x="52572" y="21908"/>
                  <a:pt x="52905" y="21580"/>
                  <a:pt x="52572" y="21908"/>
                </a:cubicBezTo>
                <a:cubicBezTo>
                  <a:pt x="52431" y="22049"/>
                  <a:pt x="52431" y="22283"/>
                  <a:pt x="52572" y="22424"/>
                </a:cubicBezTo>
                <a:cubicBezTo>
                  <a:pt x="52650" y="22487"/>
                  <a:pt x="52744" y="22518"/>
                  <a:pt x="52822" y="22518"/>
                </a:cubicBezTo>
                <a:cubicBezTo>
                  <a:pt x="52916" y="22518"/>
                  <a:pt x="53010" y="22487"/>
                  <a:pt x="53088" y="22424"/>
                </a:cubicBezTo>
                <a:close/>
                <a:moveTo>
                  <a:pt x="60312" y="26646"/>
                </a:moveTo>
                <a:lnTo>
                  <a:pt x="61313" y="25661"/>
                </a:lnTo>
                <a:cubicBezTo>
                  <a:pt x="61454" y="25520"/>
                  <a:pt x="61454" y="25286"/>
                  <a:pt x="61313" y="25145"/>
                </a:cubicBezTo>
                <a:cubicBezTo>
                  <a:pt x="61173" y="25020"/>
                  <a:pt x="60953" y="25020"/>
                  <a:pt x="60813" y="25145"/>
                </a:cubicBezTo>
                <a:lnTo>
                  <a:pt x="59812" y="26146"/>
                </a:lnTo>
                <a:lnTo>
                  <a:pt x="58811" y="25145"/>
                </a:lnTo>
                <a:cubicBezTo>
                  <a:pt x="58686" y="25020"/>
                  <a:pt x="58451" y="25020"/>
                  <a:pt x="58311" y="25145"/>
                </a:cubicBezTo>
                <a:cubicBezTo>
                  <a:pt x="58170" y="25286"/>
                  <a:pt x="58170" y="25520"/>
                  <a:pt x="58311" y="25661"/>
                </a:cubicBezTo>
                <a:lnTo>
                  <a:pt x="59312" y="26646"/>
                </a:lnTo>
                <a:lnTo>
                  <a:pt x="58311" y="27647"/>
                </a:lnTo>
                <a:cubicBezTo>
                  <a:pt x="58170" y="27787"/>
                  <a:pt x="58170" y="28007"/>
                  <a:pt x="58311" y="28147"/>
                </a:cubicBezTo>
                <a:cubicBezTo>
                  <a:pt x="58389" y="28225"/>
                  <a:pt x="58467" y="28257"/>
                  <a:pt x="58561" y="28257"/>
                </a:cubicBezTo>
                <a:cubicBezTo>
                  <a:pt x="58655" y="28257"/>
                  <a:pt x="58749" y="28225"/>
                  <a:pt x="58811" y="28147"/>
                </a:cubicBezTo>
                <a:lnTo>
                  <a:pt x="59812" y="27162"/>
                </a:lnTo>
                <a:cubicBezTo>
                  <a:pt x="60813" y="28147"/>
                  <a:pt x="60479" y="27819"/>
                  <a:pt x="60813" y="28147"/>
                </a:cubicBezTo>
                <a:cubicBezTo>
                  <a:pt x="60875" y="28225"/>
                  <a:pt x="60969" y="28257"/>
                  <a:pt x="61063" y="28257"/>
                </a:cubicBezTo>
                <a:cubicBezTo>
                  <a:pt x="61157" y="28257"/>
                  <a:pt x="61251" y="28225"/>
                  <a:pt x="61313" y="28147"/>
                </a:cubicBezTo>
                <a:cubicBezTo>
                  <a:pt x="61454" y="28007"/>
                  <a:pt x="61454" y="27787"/>
                  <a:pt x="61313" y="27647"/>
                </a:cubicBezTo>
                <a:close/>
                <a:moveTo>
                  <a:pt x="18233" y="33401"/>
                </a:moveTo>
                <a:cubicBezTo>
                  <a:pt x="16826" y="33401"/>
                  <a:pt x="15668" y="34559"/>
                  <a:pt x="15668" y="35966"/>
                </a:cubicBezTo>
                <a:cubicBezTo>
                  <a:pt x="15668" y="37389"/>
                  <a:pt x="16826" y="38546"/>
                  <a:pt x="18233" y="38546"/>
                </a:cubicBezTo>
                <a:cubicBezTo>
                  <a:pt x="19656" y="38546"/>
                  <a:pt x="20797" y="37389"/>
                  <a:pt x="20797" y="35966"/>
                </a:cubicBezTo>
                <a:cubicBezTo>
                  <a:pt x="20797" y="34559"/>
                  <a:pt x="19656" y="33401"/>
                  <a:pt x="18233" y="33401"/>
                </a:cubicBezTo>
                <a:close/>
                <a:moveTo>
                  <a:pt x="18233" y="37827"/>
                </a:moveTo>
                <a:cubicBezTo>
                  <a:pt x="17216" y="37827"/>
                  <a:pt x="16388" y="36998"/>
                  <a:pt x="16388" y="35966"/>
                </a:cubicBezTo>
                <a:cubicBezTo>
                  <a:pt x="16388" y="34950"/>
                  <a:pt x="17216" y="34121"/>
                  <a:pt x="18233" y="34121"/>
                </a:cubicBezTo>
                <a:cubicBezTo>
                  <a:pt x="19265" y="34121"/>
                  <a:pt x="20094" y="34950"/>
                  <a:pt x="20094" y="35966"/>
                </a:cubicBezTo>
                <a:cubicBezTo>
                  <a:pt x="20094" y="36998"/>
                  <a:pt x="19265" y="37827"/>
                  <a:pt x="18233" y="37827"/>
                </a:cubicBezTo>
                <a:close/>
                <a:moveTo>
                  <a:pt x="23503" y="34730"/>
                </a:moveTo>
                <a:lnTo>
                  <a:pt x="22799" y="34730"/>
                </a:lnTo>
                <a:cubicBezTo>
                  <a:pt x="22705" y="34340"/>
                  <a:pt x="22548" y="33964"/>
                  <a:pt x="22345" y="33621"/>
                </a:cubicBezTo>
                <a:lnTo>
                  <a:pt x="22830" y="33120"/>
                </a:lnTo>
                <a:cubicBezTo>
                  <a:pt x="22971" y="32979"/>
                  <a:pt x="23049" y="32807"/>
                  <a:pt x="23049" y="32620"/>
                </a:cubicBezTo>
                <a:cubicBezTo>
                  <a:pt x="23049" y="32432"/>
                  <a:pt x="22971" y="32244"/>
                  <a:pt x="22830" y="32119"/>
                </a:cubicBezTo>
                <a:lnTo>
                  <a:pt x="22095" y="31369"/>
                </a:lnTo>
                <a:cubicBezTo>
                  <a:pt x="21955" y="31244"/>
                  <a:pt x="21782" y="31165"/>
                  <a:pt x="21595" y="31165"/>
                </a:cubicBezTo>
                <a:cubicBezTo>
                  <a:pt x="21407" y="31165"/>
                  <a:pt x="21219" y="31244"/>
                  <a:pt x="21094" y="31369"/>
                </a:cubicBezTo>
                <a:lnTo>
                  <a:pt x="20594" y="31869"/>
                </a:lnTo>
                <a:cubicBezTo>
                  <a:pt x="20234" y="31666"/>
                  <a:pt x="19859" y="31509"/>
                  <a:pt x="19468" y="31400"/>
                </a:cubicBezTo>
                <a:lnTo>
                  <a:pt x="19468" y="30696"/>
                </a:lnTo>
                <a:cubicBezTo>
                  <a:pt x="19468" y="30321"/>
                  <a:pt x="19155" y="29993"/>
                  <a:pt x="18765" y="29993"/>
                </a:cubicBezTo>
                <a:lnTo>
                  <a:pt x="17717" y="29993"/>
                </a:lnTo>
                <a:cubicBezTo>
                  <a:pt x="17326" y="29993"/>
                  <a:pt x="16998" y="30321"/>
                  <a:pt x="16998" y="30696"/>
                </a:cubicBezTo>
                <a:lnTo>
                  <a:pt x="16998" y="31400"/>
                </a:lnTo>
                <a:cubicBezTo>
                  <a:pt x="16606" y="31509"/>
                  <a:pt x="16231" y="31666"/>
                  <a:pt x="15887" y="31869"/>
                </a:cubicBezTo>
                <a:lnTo>
                  <a:pt x="15387" y="31369"/>
                </a:lnTo>
                <a:cubicBezTo>
                  <a:pt x="15246" y="31244"/>
                  <a:pt x="15074" y="31165"/>
                  <a:pt x="14887" y="31165"/>
                </a:cubicBezTo>
                <a:cubicBezTo>
                  <a:pt x="14699" y="31165"/>
                  <a:pt x="14511" y="31244"/>
                  <a:pt x="14386" y="31369"/>
                </a:cubicBezTo>
                <a:lnTo>
                  <a:pt x="13636" y="32119"/>
                </a:lnTo>
                <a:cubicBezTo>
                  <a:pt x="13370" y="32401"/>
                  <a:pt x="13370" y="32838"/>
                  <a:pt x="13636" y="33120"/>
                </a:cubicBezTo>
                <a:lnTo>
                  <a:pt x="14136" y="33621"/>
                </a:lnTo>
                <a:cubicBezTo>
                  <a:pt x="13933" y="33964"/>
                  <a:pt x="13776" y="34340"/>
                  <a:pt x="13667" y="34730"/>
                </a:cubicBezTo>
                <a:lnTo>
                  <a:pt x="12963" y="34730"/>
                </a:lnTo>
                <a:cubicBezTo>
                  <a:pt x="12572" y="34730"/>
                  <a:pt x="12259" y="35059"/>
                  <a:pt x="12259" y="35450"/>
                </a:cubicBezTo>
                <a:lnTo>
                  <a:pt x="12259" y="36498"/>
                </a:lnTo>
                <a:cubicBezTo>
                  <a:pt x="12259" y="36889"/>
                  <a:pt x="12572" y="37201"/>
                  <a:pt x="12963" y="37201"/>
                </a:cubicBezTo>
                <a:lnTo>
                  <a:pt x="13667" y="37201"/>
                </a:lnTo>
                <a:cubicBezTo>
                  <a:pt x="13776" y="37592"/>
                  <a:pt x="13933" y="37967"/>
                  <a:pt x="14136" y="38327"/>
                </a:cubicBezTo>
                <a:lnTo>
                  <a:pt x="13636" y="38828"/>
                </a:lnTo>
                <a:cubicBezTo>
                  <a:pt x="13370" y="39093"/>
                  <a:pt x="13370" y="39547"/>
                  <a:pt x="13636" y="39828"/>
                </a:cubicBezTo>
                <a:lnTo>
                  <a:pt x="14386" y="40579"/>
                </a:lnTo>
                <a:cubicBezTo>
                  <a:pt x="14511" y="40704"/>
                  <a:pt x="14699" y="40782"/>
                  <a:pt x="14887" y="40782"/>
                </a:cubicBezTo>
                <a:cubicBezTo>
                  <a:pt x="15074" y="40782"/>
                  <a:pt x="15246" y="40704"/>
                  <a:pt x="15387" y="40579"/>
                </a:cubicBezTo>
                <a:lnTo>
                  <a:pt x="15887" y="40079"/>
                </a:lnTo>
                <a:cubicBezTo>
                  <a:pt x="16231" y="40282"/>
                  <a:pt x="16606" y="40438"/>
                  <a:pt x="16998" y="40532"/>
                </a:cubicBezTo>
                <a:lnTo>
                  <a:pt x="16998" y="41235"/>
                </a:lnTo>
                <a:cubicBezTo>
                  <a:pt x="16998" y="41627"/>
                  <a:pt x="17326" y="41955"/>
                  <a:pt x="17717" y="41955"/>
                </a:cubicBezTo>
                <a:lnTo>
                  <a:pt x="18765" y="41955"/>
                </a:lnTo>
                <a:cubicBezTo>
                  <a:pt x="19155" y="41955"/>
                  <a:pt x="19468" y="41627"/>
                  <a:pt x="19468" y="41235"/>
                </a:cubicBezTo>
                <a:lnTo>
                  <a:pt x="19468" y="40532"/>
                </a:lnTo>
                <a:cubicBezTo>
                  <a:pt x="19859" y="40438"/>
                  <a:pt x="20234" y="40282"/>
                  <a:pt x="20594" y="40079"/>
                </a:cubicBezTo>
                <a:cubicBezTo>
                  <a:pt x="21094" y="40563"/>
                  <a:pt x="20927" y="40402"/>
                  <a:pt x="21094" y="40563"/>
                </a:cubicBezTo>
                <a:cubicBezTo>
                  <a:pt x="21219" y="40704"/>
                  <a:pt x="21407" y="40782"/>
                  <a:pt x="21595" y="40782"/>
                </a:cubicBezTo>
                <a:cubicBezTo>
                  <a:pt x="21782" y="40782"/>
                  <a:pt x="21955" y="40704"/>
                  <a:pt x="22095" y="40579"/>
                </a:cubicBezTo>
                <a:lnTo>
                  <a:pt x="22830" y="39828"/>
                </a:lnTo>
                <a:cubicBezTo>
                  <a:pt x="22971" y="39688"/>
                  <a:pt x="23049" y="39516"/>
                  <a:pt x="23049" y="39328"/>
                </a:cubicBezTo>
                <a:cubicBezTo>
                  <a:pt x="23049" y="39140"/>
                  <a:pt x="22971" y="38953"/>
                  <a:pt x="22830" y="38828"/>
                </a:cubicBezTo>
                <a:lnTo>
                  <a:pt x="22345" y="38327"/>
                </a:lnTo>
                <a:cubicBezTo>
                  <a:pt x="22548" y="37967"/>
                  <a:pt x="22705" y="37592"/>
                  <a:pt x="22799" y="37201"/>
                </a:cubicBezTo>
                <a:lnTo>
                  <a:pt x="23503" y="37201"/>
                </a:lnTo>
                <a:cubicBezTo>
                  <a:pt x="23894" y="37201"/>
                  <a:pt x="24222" y="36889"/>
                  <a:pt x="24222" y="36498"/>
                </a:cubicBezTo>
                <a:lnTo>
                  <a:pt x="24222" y="35450"/>
                </a:lnTo>
                <a:cubicBezTo>
                  <a:pt x="24222" y="35059"/>
                  <a:pt x="23894" y="34730"/>
                  <a:pt x="23503" y="34730"/>
                </a:cubicBezTo>
                <a:close/>
                <a:moveTo>
                  <a:pt x="23503" y="36498"/>
                </a:moveTo>
                <a:cubicBezTo>
                  <a:pt x="22517" y="36498"/>
                  <a:pt x="22846" y="36498"/>
                  <a:pt x="22517" y="36498"/>
                </a:cubicBezTo>
                <a:cubicBezTo>
                  <a:pt x="22345" y="36498"/>
                  <a:pt x="22205" y="36607"/>
                  <a:pt x="22173" y="36779"/>
                </a:cubicBezTo>
                <a:cubicBezTo>
                  <a:pt x="22064" y="37279"/>
                  <a:pt x="21876" y="37749"/>
                  <a:pt x="21595" y="38186"/>
                </a:cubicBezTo>
                <a:cubicBezTo>
                  <a:pt x="21501" y="38327"/>
                  <a:pt x="21517" y="38515"/>
                  <a:pt x="21642" y="38640"/>
                </a:cubicBezTo>
                <a:lnTo>
                  <a:pt x="22330" y="39328"/>
                </a:lnTo>
                <a:lnTo>
                  <a:pt x="21595" y="40063"/>
                </a:lnTo>
                <a:lnTo>
                  <a:pt x="20891" y="39375"/>
                </a:lnTo>
                <a:cubicBezTo>
                  <a:pt x="20782" y="39250"/>
                  <a:pt x="20594" y="39234"/>
                  <a:pt x="20453" y="39328"/>
                </a:cubicBezTo>
                <a:cubicBezTo>
                  <a:pt x="20016" y="39609"/>
                  <a:pt x="19546" y="39797"/>
                  <a:pt x="19046" y="39906"/>
                </a:cubicBezTo>
                <a:cubicBezTo>
                  <a:pt x="18874" y="39938"/>
                  <a:pt x="18765" y="40094"/>
                  <a:pt x="18765" y="40251"/>
                </a:cubicBezTo>
                <a:lnTo>
                  <a:pt x="18765" y="41235"/>
                </a:lnTo>
                <a:lnTo>
                  <a:pt x="17717" y="41235"/>
                </a:lnTo>
                <a:lnTo>
                  <a:pt x="17717" y="40251"/>
                </a:lnTo>
                <a:cubicBezTo>
                  <a:pt x="17717" y="40094"/>
                  <a:pt x="17592" y="39938"/>
                  <a:pt x="17435" y="39906"/>
                </a:cubicBezTo>
                <a:cubicBezTo>
                  <a:pt x="16935" y="39797"/>
                  <a:pt x="16466" y="39609"/>
                  <a:pt x="16028" y="39328"/>
                </a:cubicBezTo>
                <a:cubicBezTo>
                  <a:pt x="15887" y="39234"/>
                  <a:pt x="15700" y="39250"/>
                  <a:pt x="15575" y="39375"/>
                </a:cubicBezTo>
                <a:lnTo>
                  <a:pt x="14887" y="40063"/>
                </a:lnTo>
                <a:lnTo>
                  <a:pt x="14151" y="39328"/>
                </a:lnTo>
                <a:lnTo>
                  <a:pt x="14839" y="38640"/>
                </a:lnTo>
                <a:cubicBezTo>
                  <a:pt x="14965" y="38515"/>
                  <a:pt x="14980" y="38327"/>
                  <a:pt x="14887" y="38186"/>
                </a:cubicBezTo>
                <a:cubicBezTo>
                  <a:pt x="14605" y="37749"/>
                  <a:pt x="14402" y="37279"/>
                  <a:pt x="14308" y="36779"/>
                </a:cubicBezTo>
                <a:cubicBezTo>
                  <a:pt x="14277" y="36607"/>
                  <a:pt x="14120" y="36498"/>
                  <a:pt x="13948" y="36498"/>
                </a:cubicBezTo>
                <a:lnTo>
                  <a:pt x="12979" y="36498"/>
                </a:lnTo>
                <a:lnTo>
                  <a:pt x="12979" y="35450"/>
                </a:lnTo>
                <a:lnTo>
                  <a:pt x="13948" y="35450"/>
                </a:lnTo>
                <a:cubicBezTo>
                  <a:pt x="14120" y="35450"/>
                  <a:pt x="14277" y="35325"/>
                  <a:pt x="14308" y="35168"/>
                </a:cubicBezTo>
                <a:cubicBezTo>
                  <a:pt x="14402" y="34668"/>
                  <a:pt x="14605" y="34199"/>
                  <a:pt x="14887" y="33761"/>
                </a:cubicBezTo>
                <a:cubicBezTo>
                  <a:pt x="14980" y="33621"/>
                  <a:pt x="14965" y="33433"/>
                  <a:pt x="14839" y="33308"/>
                </a:cubicBezTo>
                <a:lnTo>
                  <a:pt x="14151" y="32620"/>
                </a:lnTo>
                <a:lnTo>
                  <a:pt x="14887" y="31885"/>
                </a:lnTo>
                <a:lnTo>
                  <a:pt x="15575" y="32573"/>
                </a:lnTo>
                <a:cubicBezTo>
                  <a:pt x="15700" y="32698"/>
                  <a:pt x="15887" y="32713"/>
                  <a:pt x="16028" y="32620"/>
                </a:cubicBezTo>
                <a:cubicBezTo>
                  <a:pt x="16466" y="32338"/>
                  <a:pt x="16935" y="32135"/>
                  <a:pt x="17435" y="32041"/>
                </a:cubicBezTo>
                <a:cubicBezTo>
                  <a:pt x="17592" y="32010"/>
                  <a:pt x="17717" y="31853"/>
                  <a:pt x="17717" y="31681"/>
                </a:cubicBezTo>
                <a:lnTo>
                  <a:pt x="17717" y="30712"/>
                </a:lnTo>
                <a:lnTo>
                  <a:pt x="18765" y="30712"/>
                </a:lnTo>
                <a:lnTo>
                  <a:pt x="18765" y="31681"/>
                </a:lnTo>
                <a:cubicBezTo>
                  <a:pt x="18765" y="31853"/>
                  <a:pt x="18874" y="32010"/>
                  <a:pt x="19046" y="32041"/>
                </a:cubicBezTo>
                <a:cubicBezTo>
                  <a:pt x="19546" y="32135"/>
                  <a:pt x="20016" y="32338"/>
                  <a:pt x="20453" y="32620"/>
                </a:cubicBezTo>
                <a:cubicBezTo>
                  <a:pt x="20594" y="32713"/>
                  <a:pt x="20782" y="32698"/>
                  <a:pt x="20891" y="32573"/>
                </a:cubicBezTo>
                <a:lnTo>
                  <a:pt x="21595" y="31885"/>
                </a:lnTo>
                <a:lnTo>
                  <a:pt x="22330" y="32620"/>
                </a:lnTo>
                <a:lnTo>
                  <a:pt x="21642" y="33308"/>
                </a:lnTo>
                <a:cubicBezTo>
                  <a:pt x="21517" y="33433"/>
                  <a:pt x="21501" y="33621"/>
                  <a:pt x="21595" y="33761"/>
                </a:cubicBezTo>
                <a:cubicBezTo>
                  <a:pt x="21876" y="34199"/>
                  <a:pt x="22064" y="34668"/>
                  <a:pt x="22173" y="35168"/>
                </a:cubicBezTo>
                <a:cubicBezTo>
                  <a:pt x="22205" y="35325"/>
                  <a:pt x="22345" y="35450"/>
                  <a:pt x="22517" y="35450"/>
                </a:cubicBezTo>
                <a:cubicBezTo>
                  <a:pt x="23503" y="35450"/>
                  <a:pt x="23174" y="35450"/>
                  <a:pt x="23503" y="3545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 name="Freeform 11">
            <a:extLst>
              <a:ext uri="{FF2B5EF4-FFF2-40B4-BE49-F238E27FC236}">
                <a16:creationId xmlns:a16="http://schemas.microsoft.com/office/drawing/2014/main" id="{4D359B9A-E66F-A647-9C5C-208F365275DB}"/>
              </a:ext>
            </a:extLst>
          </p:cNvPr>
          <p:cNvSpPr/>
          <p:nvPr/>
        </p:nvSpPr>
        <p:spPr>
          <a:xfrm>
            <a:off x="14427513" y="3519399"/>
            <a:ext cx="6473195" cy="6277674"/>
          </a:xfrm>
          <a:custGeom>
            <a:avLst/>
            <a:gdLst/>
            <a:ahLst/>
            <a:cxnLst>
              <a:cxn ang="3cd4">
                <a:pos x="hc" y="t"/>
              </a:cxn>
              <a:cxn ang="cd2">
                <a:pos x="l" y="vc"/>
              </a:cxn>
              <a:cxn ang="cd4">
                <a:pos x="hc" y="b"/>
              </a:cxn>
              <a:cxn ang="0">
                <a:pos x="r" y="vc"/>
              </a:cxn>
            </a:cxnLst>
            <a:rect l="l" t="t" r="r" b="b"/>
            <a:pathLst>
              <a:path w="40359" h="39140">
                <a:moveTo>
                  <a:pt x="10038" y="6787"/>
                </a:moveTo>
                <a:cubicBezTo>
                  <a:pt x="10992" y="6787"/>
                  <a:pt x="11759" y="6020"/>
                  <a:pt x="11759" y="5082"/>
                </a:cubicBezTo>
                <a:cubicBezTo>
                  <a:pt x="11759" y="4144"/>
                  <a:pt x="10992" y="3377"/>
                  <a:pt x="10038" y="3377"/>
                </a:cubicBezTo>
                <a:cubicBezTo>
                  <a:pt x="9100" y="3377"/>
                  <a:pt x="8334" y="4144"/>
                  <a:pt x="8334" y="5082"/>
                </a:cubicBezTo>
                <a:cubicBezTo>
                  <a:pt x="8334" y="6020"/>
                  <a:pt x="9100" y="6787"/>
                  <a:pt x="10038" y="6787"/>
                </a:cubicBezTo>
                <a:close/>
                <a:moveTo>
                  <a:pt x="10038" y="4097"/>
                </a:moveTo>
                <a:cubicBezTo>
                  <a:pt x="10586" y="4097"/>
                  <a:pt x="11039" y="4535"/>
                  <a:pt x="11039" y="5082"/>
                </a:cubicBezTo>
                <a:cubicBezTo>
                  <a:pt x="11039" y="5629"/>
                  <a:pt x="10586" y="6067"/>
                  <a:pt x="10038" y="6067"/>
                </a:cubicBezTo>
                <a:cubicBezTo>
                  <a:pt x="9491" y="6067"/>
                  <a:pt x="9053" y="5629"/>
                  <a:pt x="9053" y="5082"/>
                </a:cubicBezTo>
                <a:cubicBezTo>
                  <a:pt x="9053" y="4535"/>
                  <a:pt x="9491" y="4097"/>
                  <a:pt x="10038" y="4097"/>
                </a:cubicBezTo>
                <a:close/>
                <a:moveTo>
                  <a:pt x="13854" y="6787"/>
                </a:moveTo>
                <a:cubicBezTo>
                  <a:pt x="14792" y="6787"/>
                  <a:pt x="15558" y="6020"/>
                  <a:pt x="15558" y="5082"/>
                </a:cubicBezTo>
                <a:cubicBezTo>
                  <a:pt x="15558" y="4144"/>
                  <a:pt x="14792" y="3377"/>
                  <a:pt x="13854" y="3377"/>
                </a:cubicBezTo>
                <a:cubicBezTo>
                  <a:pt x="12916" y="3377"/>
                  <a:pt x="12150" y="4144"/>
                  <a:pt x="12150" y="5082"/>
                </a:cubicBezTo>
                <a:cubicBezTo>
                  <a:pt x="12150" y="6020"/>
                  <a:pt x="12916" y="6787"/>
                  <a:pt x="13854" y="6787"/>
                </a:cubicBezTo>
                <a:close/>
                <a:moveTo>
                  <a:pt x="13854" y="4097"/>
                </a:moveTo>
                <a:cubicBezTo>
                  <a:pt x="14401" y="4097"/>
                  <a:pt x="14855" y="4535"/>
                  <a:pt x="14855" y="5082"/>
                </a:cubicBezTo>
                <a:cubicBezTo>
                  <a:pt x="14855" y="5629"/>
                  <a:pt x="14401" y="6067"/>
                  <a:pt x="13854" y="6067"/>
                </a:cubicBezTo>
                <a:cubicBezTo>
                  <a:pt x="13306" y="6067"/>
                  <a:pt x="12869" y="5629"/>
                  <a:pt x="12869" y="5082"/>
                </a:cubicBezTo>
                <a:cubicBezTo>
                  <a:pt x="12869" y="4535"/>
                  <a:pt x="13306" y="4097"/>
                  <a:pt x="13854" y="4097"/>
                </a:cubicBezTo>
                <a:close/>
                <a:moveTo>
                  <a:pt x="39999" y="5989"/>
                </a:moveTo>
                <a:lnTo>
                  <a:pt x="27146" y="5989"/>
                </a:lnTo>
                <a:cubicBezTo>
                  <a:pt x="26942" y="5989"/>
                  <a:pt x="26786" y="6146"/>
                  <a:pt x="26786" y="6349"/>
                </a:cubicBezTo>
                <a:lnTo>
                  <a:pt x="26786" y="10211"/>
                </a:lnTo>
                <a:cubicBezTo>
                  <a:pt x="26739" y="10227"/>
                  <a:pt x="26708" y="10274"/>
                  <a:pt x="26676" y="10305"/>
                </a:cubicBezTo>
                <a:cubicBezTo>
                  <a:pt x="26583" y="10477"/>
                  <a:pt x="26629" y="10680"/>
                  <a:pt x="26786" y="10790"/>
                </a:cubicBezTo>
                <a:lnTo>
                  <a:pt x="26786" y="19202"/>
                </a:lnTo>
                <a:cubicBezTo>
                  <a:pt x="26786" y="19406"/>
                  <a:pt x="26942" y="19562"/>
                  <a:pt x="27146" y="19562"/>
                </a:cubicBezTo>
                <a:lnTo>
                  <a:pt x="34214" y="19562"/>
                </a:lnTo>
                <a:lnTo>
                  <a:pt x="33791" y="20109"/>
                </a:lnTo>
                <a:cubicBezTo>
                  <a:pt x="33666" y="20266"/>
                  <a:pt x="33682" y="20485"/>
                  <a:pt x="33838" y="20610"/>
                </a:cubicBezTo>
                <a:cubicBezTo>
                  <a:pt x="33916" y="20657"/>
                  <a:pt x="33995" y="20688"/>
                  <a:pt x="34073" y="20688"/>
                </a:cubicBezTo>
                <a:cubicBezTo>
                  <a:pt x="34167" y="20688"/>
                  <a:pt x="34276" y="20641"/>
                  <a:pt x="34339" y="20547"/>
                </a:cubicBezTo>
                <a:lnTo>
                  <a:pt x="34933" y="19812"/>
                </a:lnTo>
                <a:cubicBezTo>
                  <a:pt x="34995" y="19734"/>
                  <a:pt x="35027" y="19656"/>
                  <a:pt x="35011" y="19562"/>
                </a:cubicBezTo>
                <a:lnTo>
                  <a:pt x="39999" y="19562"/>
                </a:lnTo>
                <a:cubicBezTo>
                  <a:pt x="40156" y="19562"/>
                  <a:pt x="40281" y="19468"/>
                  <a:pt x="40327" y="19343"/>
                </a:cubicBezTo>
                <a:cubicBezTo>
                  <a:pt x="40343" y="19312"/>
                  <a:pt x="40359" y="19265"/>
                  <a:pt x="40359" y="19202"/>
                </a:cubicBezTo>
                <a:lnTo>
                  <a:pt x="40359" y="13964"/>
                </a:lnTo>
                <a:lnTo>
                  <a:pt x="40359" y="6349"/>
                </a:lnTo>
                <a:cubicBezTo>
                  <a:pt x="40359" y="6146"/>
                  <a:pt x="40202" y="5989"/>
                  <a:pt x="39999" y="5989"/>
                </a:cubicBezTo>
                <a:close/>
                <a:moveTo>
                  <a:pt x="39639" y="9757"/>
                </a:moveTo>
                <a:lnTo>
                  <a:pt x="33666" y="6708"/>
                </a:lnTo>
                <a:lnTo>
                  <a:pt x="39639" y="6708"/>
                </a:lnTo>
                <a:close/>
                <a:moveTo>
                  <a:pt x="27489" y="6708"/>
                </a:moveTo>
                <a:lnTo>
                  <a:pt x="32103" y="6708"/>
                </a:lnTo>
                <a:lnTo>
                  <a:pt x="39639" y="10555"/>
                </a:lnTo>
                <a:lnTo>
                  <a:pt x="39639" y="13604"/>
                </a:lnTo>
                <a:lnTo>
                  <a:pt x="34761" y="13604"/>
                </a:lnTo>
                <a:cubicBezTo>
                  <a:pt x="34557" y="13604"/>
                  <a:pt x="34401" y="13776"/>
                  <a:pt x="34401" y="13964"/>
                </a:cubicBezTo>
                <a:lnTo>
                  <a:pt x="34401" y="18858"/>
                </a:lnTo>
                <a:lnTo>
                  <a:pt x="27489" y="18858"/>
                </a:lnTo>
                <a:close/>
                <a:moveTo>
                  <a:pt x="39639" y="18858"/>
                </a:moveTo>
                <a:lnTo>
                  <a:pt x="35120" y="18858"/>
                </a:lnTo>
                <a:lnTo>
                  <a:pt x="35120" y="14323"/>
                </a:lnTo>
                <a:lnTo>
                  <a:pt x="39639" y="14323"/>
                </a:lnTo>
                <a:close/>
                <a:moveTo>
                  <a:pt x="31868" y="13526"/>
                </a:moveTo>
                <a:cubicBezTo>
                  <a:pt x="30930" y="13526"/>
                  <a:pt x="30164" y="14292"/>
                  <a:pt x="30164" y="15231"/>
                </a:cubicBezTo>
                <a:cubicBezTo>
                  <a:pt x="30164" y="16184"/>
                  <a:pt x="30930" y="16950"/>
                  <a:pt x="31868" y="16950"/>
                </a:cubicBezTo>
                <a:cubicBezTo>
                  <a:pt x="32806" y="16950"/>
                  <a:pt x="33572" y="16184"/>
                  <a:pt x="33572" y="15231"/>
                </a:cubicBezTo>
                <a:cubicBezTo>
                  <a:pt x="33572" y="14292"/>
                  <a:pt x="32806" y="13526"/>
                  <a:pt x="31868" y="13526"/>
                </a:cubicBezTo>
                <a:close/>
                <a:moveTo>
                  <a:pt x="31868" y="16231"/>
                </a:moveTo>
                <a:cubicBezTo>
                  <a:pt x="31320" y="16231"/>
                  <a:pt x="30867" y="15778"/>
                  <a:pt x="30867" y="15231"/>
                </a:cubicBezTo>
                <a:cubicBezTo>
                  <a:pt x="30867" y="14683"/>
                  <a:pt x="31320" y="14245"/>
                  <a:pt x="31868" y="14245"/>
                </a:cubicBezTo>
                <a:cubicBezTo>
                  <a:pt x="32415" y="14245"/>
                  <a:pt x="32853" y="14683"/>
                  <a:pt x="32853" y="15231"/>
                </a:cubicBezTo>
                <a:cubicBezTo>
                  <a:pt x="32853" y="15778"/>
                  <a:pt x="32415" y="16231"/>
                  <a:pt x="31868" y="16231"/>
                </a:cubicBezTo>
                <a:close/>
                <a:moveTo>
                  <a:pt x="31868" y="13135"/>
                </a:moveTo>
                <a:cubicBezTo>
                  <a:pt x="32806" y="13135"/>
                  <a:pt x="33572" y="12369"/>
                  <a:pt x="33572" y="11431"/>
                </a:cubicBezTo>
                <a:cubicBezTo>
                  <a:pt x="33572" y="10492"/>
                  <a:pt x="32806" y="9726"/>
                  <a:pt x="31868" y="9726"/>
                </a:cubicBezTo>
                <a:cubicBezTo>
                  <a:pt x="30930" y="9726"/>
                  <a:pt x="30164" y="10492"/>
                  <a:pt x="30164" y="11431"/>
                </a:cubicBezTo>
                <a:cubicBezTo>
                  <a:pt x="30164" y="12369"/>
                  <a:pt x="30930" y="13135"/>
                  <a:pt x="31868" y="13135"/>
                </a:cubicBezTo>
                <a:close/>
                <a:moveTo>
                  <a:pt x="31868" y="10430"/>
                </a:moveTo>
                <a:cubicBezTo>
                  <a:pt x="32415" y="10430"/>
                  <a:pt x="32853" y="10883"/>
                  <a:pt x="32853" y="11431"/>
                </a:cubicBezTo>
                <a:cubicBezTo>
                  <a:pt x="32853" y="11978"/>
                  <a:pt x="32415" y="12416"/>
                  <a:pt x="31868" y="12416"/>
                </a:cubicBezTo>
                <a:cubicBezTo>
                  <a:pt x="31320" y="12416"/>
                  <a:pt x="30867" y="11978"/>
                  <a:pt x="30867" y="11431"/>
                </a:cubicBezTo>
                <a:cubicBezTo>
                  <a:pt x="30867" y="10883"/>
                  <a:pt x="31320" y="10430"/>
                  <a:pt x="31868" y="10430"/>
                </a:cubicBezTo>
                <a:close/>
                <a:moveTo>
                  <a:pt x="8490" y="27177"/>
                </a:moveTo>
                <a:cubicBezTo>
                  <a:pt x="7552" y="27177"/>
                  <a:pt x="6786" y="27944"/>
                  <a:pt x="6786" y="28882"/>
                </a:cubicBezTo>
                <a:cubicBezTo>
                  <a:pt x="6786" y="29820"/>
                  <a:pt x="7552" y="30586"/>
                  <a:pt x="8490" y="30586"/>
                </a:cubicBezTo>
                <a:cubicBezTo>
                  <a:pt x="9444" y="30586"/>
                  <a:pt x="10211" y="29820"/>
                  <a:pt x="10211" y="28882"/>
                </a:cubicBezTo>
                <a:cubicBezTo>
                  <a:pt x="10211" y="27944"/>
                  <a:pt x="9444" y="27177"/>
                  <a:pt x="8490" y="27177"/>
                </a:cubicBezTo>
                <a:close/>
                <a:moveTo>
                  <a:pt x="8490" y="29883"/>
                </a:moveTo>
                <a:cubicBezTo>
                  <a:pt x="7943" y="29883"/>
                  <a:pt x="7505" y="29429"/>
                  <a:pt x="7505" y="28882"/>
                </a:cubicBezTo>
                <a:cubicBezTo>
                  <a:pt x="7505" y="28334"/>
                  <a:pt x="7943" y="27896"/>
                  <a:pt x="8490" y="27896"/>
                </a:cubicBezTo>
                <a:cubicBezTo>
                  <a:pt x="9038" y="27896"/>
                  <a:pt x="9491" y="28334"/>
                  <a:pt x="9491" y="28882"/>
                </a:cubicBezTo>
                <a:cubicBezTo>
                  <a:pt x="9491" y="29429"/>
                  <a:pt x="9038" y="29883"/>
                  <a:pt x="8490" y="29883"/>
                </a:cubicBezTo>
                <a:close/>
                <a:moveTo>
                  <a:pt x="6786" y="25066"/>
                </a:moveTo>
                <a:cubicBezTo>
                  <a:pt x="6786" y="26020"/>
                  <a:pt x="7552" y="26787"/>
                  <a:pt x="8490" y="26787"/>
                </a:cubicBezTo>
                <a:cubicBezTo>
                  <a:pt x="9444" y="26787"/>
                  <a:pt x="10211" y="26020"/>
                  <a:pt x="10211" y="25066"/>
                </a:cubicBezTo>
                <a:cubicBezTo>
                  <a:pt x="10211" y="24128"/>
                  <a:pt x="9444" y="23362"/>
                  <a:pt x="8490" y="23362"/>
                </a:cubicBezTo>
                <a:cubicBezTo>
                  <a:pt x="7552" y="23362"/>
                  <a:pt x="6786" y="24128"/>
                  <a:pt x="6786" y="25066"/>
                </a:cubicBezTo>
                <a:close/>
                <a:moveTo>
                  <a:pt x="9491" y="25066"/>
                </a:moveTo>
                <a:cubicBezTo>
                  <a:pt x="9491" y="25614"/>
                  <a:pt x="9038" y="26067"/>
                  <a:pt x="8490" y="26067"/>
                </a:cubicBezTo>
                <a:cubicBezTo>
                  <a:pt x="7943" y="26067"/>
                  <a:pt x="7505" y="25614"/>
                  <a:pt x="7505" y="25066"/>
                </a:cubicBezTo>
                <a:cubicBezTo>
                  <a:pt x="7505" y="24519"/>
                  <a:pt x="7943" y="24081"/>
                  <a:pt x="8490" y="24081"/>
                </a:cubicBezTo>
                <a:cubicBezTo>
                  <a:pt x="9038" y="24081"/>
                  <a:pt x="9491" y="24519"/>
                  <a:pt x="9491" y="25066"/>
                </a:cubicBezTo>
                <a:close/>
                <a:moveTo>
                  <a:pt x="33932" y="25567"/>
                </a:moveTo>
                <a:lnTo>
                  <a:pt x="30367" y="25567"/>
                </a:lnTo>
                <a:lnTo>
                  <a:pt x="30492" y="25395"/>
                </a:lnTo>
                <a:cubicBezTo>
                  <a:pt x="30617" y="25254"/>
                  <a:pt x="30586" y="25019"/>
                  <a:pt x="30429" y="24894"/>
                </a:cubicBezTo>
                <a:cubicBezTo>
                  <a:pt x="30273" y="24769"/>
                  <a:pt x="30054" y="24801"/>
                  <a:pt x="29929" y="24957"/>
                </a:cubicBezTo>
                <a:lnTo>
                  <a:pt x="29444" y="25567"/>
                </a:lnTo>
                <a:lnTo>
                  <a:pt x="26301" y="25567"/>
                </a:lnTo>
                <a:lnTo>
                  <a:pt x="21062" y="25567"/>
                </a:lnTo>
                <a:cubicBezTo>
                  <a:pt x="20875" y="25567"/>
                  <a:pt x="20703" y="25723"/>
                  <a:pt x="20703" y="25926"/>
                </a:cubicBezTo>
                <a:lnTo>
                  <a:pt x="20703" y="31165"/>
                </a:lnTo>
                <a:lnTo>
                  <a:pt x="20703" y="32150"/>
                </a:lnTo>
                <a:lnTo>
                  <a:pt x="20500" y="32009"/>
                </a:lnTo>
                <a:cubicBezTo>
                  <a:pt x="20343" y="31900"/>
                  <a:pt x="20124" y="31931"/>
                  <a:pt x="19999" y="32087"/>
                </a:cubicBezTo>
                <a:cubicBezTo>
                  <a:pt x="19890" y="32244"/>
                  <a:pt x="19921" y="32479"/>
                  <a:pt x="20078" y="32588"/>
                </a:cubicBezTo>
                <a:lnTo>
                  <a:pt x="20703" y="33041"/>
                </a:lnTo>
                <a:cubicBezTo>
                  <a:pt x="20703" y="38796"/>
                  <a:pt x="20703" y="36878"/>
                  <a:pt x="20703" y="38796"/>
                </a:cubicBezTo>
                <a:cubicBezTo>
                  <a:pt x="20703" y="38984"/>
                  <a:pt x="20875" y="39140"/>
                  <a:pt x="21062" y="39140"/>
                </a:cubicBezTo>
                <a:lnTo>
                  <a:pt x="28881" y="39140"/>
                </a:lnTo>
                <a:lnTo>
                  <a:pt x="33932" y="39140"/>
                </a:lnTo>
                <a:cubicBezTo>
                  <a:pt x="34120" y="39140"/>
                  <a:pt x="34292" y="38984"/>
                  <a:pt x="34292" y="38796"/>
                </a:cubicBezTo>
                <a:lnTo>
                  <a:pt x="34292" y="25926"/>
                </a:lnTo>
                <a:cubicBezTo>
                  <a:pt x="34292" y="25723"/>
                  <a:pt x="34120" y="25567"/>
                  <a:pt x="33932" y="25567"/>
                </a:cubicBezTo>
                <a:close/>
                <a:moveTo>
                  <a:pt x="25941" y="26286"/>
                </a:moveTo>
                <a:lnTo>
                  <a:pt x="25941" y="30805"/>
                </a:lnTo>
                <a:lnTo>
                  <a:pt x="21422" y="30805"/>
                </a:lnTo>
                <a:lnTo>
                  <a:pt x="21422" y="26286"/>
                </a:lnTo>
                <a:close/>
                <a:moveTo>
                  <a:pt x="21422" y="35371"/>
                </a:moveTo>
                <a:lnTo>
                  <a:pt x="27396" y="38436"/>
                </a:lnTo>
                <a:lnTo>
                  <a:pt x="21422" y="38436"/>
                </a:lnTo>
                <a:close/>
                <a:moveTo>
                  <a:pt x="33572" y="38436"/>
                </a:moveTo>
                <a:lnTo>
                  <a:pt x="28975" y="38436"/>
                </a:lnTo>
                <a:lnTo>
                  <a:pt x="21422" y="34574"/>
                </a:lnTo>
                <a:lnTo>
                  <a:pt x="21422" y="31524"/>
                </a:lnTo>
                <a:lnTo>
                  <a:pt x="26301" y="31524"/>
                </a:lnTo>
                <a:cubicBezTo>
                  <a:pt x="26504" y="31524"/>
                  <a:pt x="26661" y="31368"/>
                  <a:pt x="26661" y="31165"/>
                </a:cubicBezTo>
                <a:lnTo>
                  <a:pt x="26661" y="26286"/>
                </a:lnTo>
                <a:lnTo>
                  <a:pt x="29616" y="26286"/>
                </a:lnTo>
                <a:lnTo>
                  <a:pt x="33572" y="26286"/>
                </a:lnTo>
                <a:close/>
                <a:moveTo>
                  <a:pt x="29210" y="28194"/>
                </a:moveTo>
                <a:cubicBezTo>
                  <a:pt x="28256" y="28194"/>
                  <a:pt x="27489" y="28960"/>
                  <a:pt x="27489" y="29898"/>
                </a:cubicBezTo>
                <a:cubicBezTo>
                  <a:pt x="27489" y="30836"/>
                  <a:pt x="28256" y="31603"/>
                  <a:pt x="29210" y="31603"/>
                </a:cubicBezTo>
                <a:cubicBezTo>
                  <a:pt x="30148" y="31603"/>
                  <a:pt x="30914" y="30836"/>
                  <a:pt x="30914" y="29898"/>
                </a:cubicBezTo>
                <a:cubicBezTo>
                  <a:pt x="30914" y="28960"/>
                  <a:pt x="30148" y="28194"/>
                  <a:pt x="29210" y="28194"/>
                </a:cubicBezTo>
                <a:close/>
                <a:moveTo>
                  <a:pt x="29210" y="30883"/>
                </a:moveTo>
                <a:cubicBezTo>
                  <a:pt x="28662" y="30883"/>
                  <a:pt x="28209" y="30445"/>
                  <a:pt x="28209" y="29898"/>
                </a:cubicBezTo>
                <a:cubicBezTo>
                  <a:pt x="28209" y="29351"/>
                  <a:pt x="28662" y="28897"/>
                  <a:pt x="29210" y="28897"/>
                </a:cubicBezTo>
                <a:cubicBezTo>
                  <a:pt x="29757" y="28897"/>
                  <a:pt x="30195" y="29351"/>
                  <a:pt x="30195" y="29898"/>
                </a:cubicBezTo>
                <a:cubicBezTo>
                  <a:pt x="30195" y="30445"/>
                  <a:pt x="29757" y="30883"/>
                  <a:pt x="29210" y="30883"/>
                </a:cubicBezTo>
                <a:close/>
                <a:moveTo>
                  <a:pt x="29210" y="31994"/>
                </a:moveTo>
                <a:cubicBezTo>
                  <a:pt x="28256" y="31994"/>
                  <a:pt x="27489" y="32760"/>
                  <a:pt x="27489" y="33714"/>
                </a:cubicBezTo>
                <a:cubicBezTo>
                  <a:pt x="27489" y="34652"/>
                  <a:pt x="28256" y="35418"/>
                  <a:pt x="29210" y="35418"/>
                </a:cubicBezTo>
                <a:cubicBezTo>
                  <a:pt x="30148" y="35418"/>
                  <a:pt x="30914" y="34652"/>
                  <a:pt x="30914" y="33714"/>
                </a:cubicBezTo>
                <a:cubicBezTo>
                  <a:pt x="30914" y="32760"/>
                  <a:pt x="30148" y="31994"/>
                  <a:pt x="29210" y="31994"/>
                </a:cubicBezTo>
                <a:close/>
                <a:moveTo>
                  <a:pt x="29210" y="34699"/>
                </a:moveTo>
                <a:cubicBezTo>
                  <a:pt x="28662" y="34699"/>
                  <a:pt x="28209" y="34261"/>
                  <a:pt x="28209" y="33714"/>
                </a:cubicBezTo>
                <a:cubicBezTo>
                  <a:pt x="28209" y="33167"/>
                  <a:pt x="28662" y="32713"/>
                  <a:pt x="29210" y="32713"/>
                </a:cubicBezTo>
                <a:cubicBezTo>
                  <a:pt x="29757" y="32713"/>
                  <a:pt x="30195" y="33167"/>
                  <a:pt x="30195" y="33714"/>
                </a:cubicBezTo>
                <a:cubicBezTo>
                  <a:pt x="30195" y="34261"/>
                  <a:pt x="29757" y="34699"/>
                  <a:pt x="29210" y="34699"/>
                </a:cubicBezTo>
                <a:close/>
                <a:moveTo>
                  <a:pt x="22767" y="8256"/>
                </a:moveTo>
                <a:lnTo>
                  <a:pt x="23580" y="8757"/>
                </a:lnTo>
                <a:cubicBezTo>
                  <a:pt x="23627" y="8804"/>
                  <a:pt x="23706" y="8819"/>
                  <a:pt x="23768" y="8819"/>
                </a:cubicBezTo>
                <a:cubicBezTo>
                  <a:pt x="23877" y="8819"/>
                  <a:pt x="24002" y="8757"/>
                  <a:pt x="24065" y="8647"/>
                </a:cubicBezTo>
                <a:cubicBezTo>
                  <a:pt x="24174" y="8491"/>
                  <a:pt x="24127" y="8272"/>
                  <a:pt x="23956" y="8163"/>
                </a:cubicBezTo>
                <a:lnTo>
                  <a:pt x="23158" y="7647"/>
                </a:lnTo>
                <a:cubicBezTo>
                  <a:pt x="22986" y="7537"/>
                  <a:pt x="22767" y="7600"/>
                  <a:pt x="22658" y="7756"/>
                </a:cubicBezTo>
                <a:cubicBezTo>
                  <a:pt x="22548" y="7928"/>
                  <a:pt x="22595" y="8147"/>
                  <a:pt x="22767" y="8256"/>
                </a:cubicBezTo>
                <a:close/>
                <a:moveTo>
                  <a:pt x="20750" y="6974"/>
                </a:moveTo>
                <a:lnTo>
                  <a:pt x="21563" y="7490"/>
                </a:lnTo>
                <a:cubicBezTo>
                  <a:pt x="21625" y="7522"/>
                  <a:pt x="21688" y="7537"/>
                  <a:pt x="21751" y="7537"/>
                </a:cubicBezTo>
                <a:cubicBezTo>
                  <a:pt x="21876" y="7537"/>
                  <a:pt x="21985" y="7490"/>
                  <a:pt x="22048" y="7380"/>
                </a:cubicBezTo>
                <a:cubicBezTo>
                  <a:pt x="22157" y="7209"/>
                  <a:pt x="22110" y="6990"/>
                  <a:pt x="21938" y="6880"/>
                </a:cubicBezTo>
                <a:lnTo>
                  <a:pt x="21141" y="6380"/>
                </a:lnTo>
                <a:cubicBezTo>
                  <a:pt x="20969" y="6271"/>
                  <a:pt x="20750" y="6317"/>
                  <a:pt x="20641" y="6489"/>
                </a:cubicBezTo>
                <a:cubicBezTo>
                  <a:pt x="20547" y="6646"/>
                  <a:pt x="20594" y="6865"/>
                  <a:pt x="20750" y="6974"/>
                </a:cubicBezTo>
                <a:close/>
                <a:moveTo>
                  <a:pt x="20046" y="6098"/>
                </a:moveTo>
                <a:cubicBezTo>
                  <a:pt x="20156" y="5926"/>
                  <a:pt x="20093" y="5708"/>
                  <a:pt x="19937" y="5614"/>
                </a:cubicBezTo>
                <a:lnTo>
                  <a:pt x="19296" y="5207"/>
                </a:lnTo>
                <a:lnTo>
                  <a:pt x="19296" y="359"/>
                </a:lnTo>
                <a:cubicBezTo>
                  <a:pt x="19296" y="156"/>
                  <a:pt x="19139" y="0"/>
                  <a:pt x="18936" y="0"/>
                </a:cubicBezTo>
                <a:lnTo>
                  <a:pt x="6067" y="0"/>
                </a:lnTo>
                <a:cubicBezTo>
                  <a:pt x="5879" y="0"/>
                  <a:pt x="5723" y="156"/>
                  <a:pt x="5723" y="359"/>
                </a:cubicBezTo>
                <a:lnTo>
                  <a:pt x="5723" y="7975"/>
                </a:lnTo>
                <a:lnTo>
                  <a:pt x="5723" y="13214"/>
                </a:lnTo>
                <a:lnTo>
                  <a:pt x="5723" y="13260"/>
                </a:lnTo>
                <a:cubicBezTo>
                  <a:pt x="5738" y="13432"/>
                  <a:pt x="5863" y="13557"/>
                  <a:pt x="6035" y="13573"/>
                </a:cubicBezTo>
                <a:lnTo>
                  <a:pt x="6067" y="13573"/>
                </a:lnTo>
                <a:lnTo>
                  <a:pt x="10742" y="13573"/>
                </a:lnTo>
                <a:cubicBezTo>
                  <a:pt x="10726" y="13729"/>
                  <a:pt x="10789" y="13886"/>
                  <a:pt x="10930" y="13964"/>
                </a:cubicBezTo>
                <a:cubicBezTo>
                  <a:pt x="10992" y="13980"/>
                  <a:pt x="11039" y="13995"/>
                  <a:pt x="11102" y="13995"/>
                </a:cubicBezTo>
                <a:cubicBezTo>
                  <a:pt x="11227" y="13995"/>
                  <a:pt x="11352" y="13933"/>
                  <a:pt x="11414" y="13807"/>
                </a:cubicBezTo>
                <a:lnTo>
                  <a:pt x="11540" y="13573"/>
                </a:lnTo>
                <a:lnTo>
                  <a:pt x="14933" y="13573"/>
                </a:lnTo>
                <a:lnTo>
                  <a:pt x="14949" y="13573"/>
                </a:lnTo>
                <a:lnTo>
                  <a:pt x="18936" y="13573"/>
                </a:lnTo>
                <a:cubicBezTo>
                  <a:pt x="19139" y="13573"/>
                  <a:pt x="19296" y="13417"/>
                  <a:pt x="19296" y="13214"/>
                </a:cubicBezTo>
                <a:lnTo>
                  <a:pt x="19296" y="6051"/>
                </a:lnTo>
                <a:lnTo>
                  <a:pt x="19546" y="6208"/>
                </a:lnTo>
                <a:cubicBezTo>
                  <a:pt x="19608" y="6255"/>
                  <a:pt x="19671" y="6271"/>
                  <a:pt x="19749" y="6271"/>
                </a:cubicBezTo>
                <a:cubicBezTo>
                  <a:pt x="19859" y="6271"/>
                  <a:pt x="19968" y="6208"/>
                  <a:pt x="20046" y="6098"/>
                </a:cubicBezTo>
                <a:close/>
                <a:moveTo>
                  <a:pt x="18577" y="719"/>
                </a:moveTo>
                <a:lnTo>
                  <a:pt x="18577" y="5316"/>
                </a:lnTo>
                <a:lnTo>
                  <a:pt x="14714" y="12869"/>
                </a:lnTo>
                <a:lnTo>
                  <a:pt x="11665" y="12869"/>
                </a:lnTo>
                <a:lnTo>
                  <a:pt x="11665" y="7975"/>
                </a:lnTo>
                <a:cubicBezTo>
                  <a:pt x="11665" y="7787"/>
                  <a:pt x="11509" y="7615"/>
                  <a:pt x="11321" y="7615"/>
                </a:cubicBezTo>
                <a:lnTo>
                  <a:pt x="6426" y="7615"/>
                </a:lnTo>
                <a:lnTo>
                  <a:pt x="6426" y="719"/>
                </a:lnTo>
                <a:close/>
                <a:moveTo>
                  <a:pt x="6426" y="8335"/>
                </a:moveTo>
                <a:lnTo>
                  <a:pt x="10961" y="8335"/>
                </a:lnTo>
                <a:lnTo>
                  <a:pt x="10961" y="12869"/>
                </a:lnTo>
                <a:lnTo>
                  <a:pt x="6426" y="12869"/>
                </a:lnTo>
                <a:close/>
                <a:moveTo>
                  <a:pt x="15527" y="12869"/>
                </a:moveTo>
                <a:lnTo>
                  <a:pt x="18577" y="6880"/>
                </a:lnTo>
                <a:lnTo>
                  <a:pt x="18577" y="12869"/>
                </a:lnTo>
                <a:close/>
                <a:moveTo>
                  <a:pt x="24784" y="9523"/>
                </a:moveTo>
                <a:lnTo>
                  <a:pt x="25582" y="10039"/>
                </a:lnTo>
                <a:cubicBezTo>
                  <a:pt x="25645" y="10070"/>
                  <a:pt x="25707" y="10086"/>
                  <a:pt x="25770" y="10086"/>
                </a:cubicBezTo>
                <a:cubicBezTo>
                  <a:pt x="25895" y="10086"/>
                  <a:pt x="26004" y="10039"/>
                  <a:pt x="26082" y="9929"/>
                </a:cubicBezTo>
                <a:cubicBezTo>
                  <a:pt x="26191" y="9757"/>
                  <a:pt x="26129" y="9539"/>
                  <a:pt x="25973" y="9429"/>
                </a:cubicBezTo>
                <a:lnTo>
                  <a:pt x="25160" y="8929"/>
                </a:lnTo>
                <a:cubicBezTo>
                  <a:pt x="25003" y="8819"/>
                  <a:pt x="24769" y="8866"/>
                  <a:pt x="24675" y="9038"/>
                </a:cubicBezTo>
                <a:cubicBezTo>
                  <a:pt x="24565" y="9194"/>
                  <a:pt x="24612" y="9429"/>
                  <a:pt x="24784" y="9523"/>
                </a:cubicBezTo>
                <a:close/>
                <a:moveTo>
                  <a:pt x="32587" y="22549"/>
                </a:moveTo>
                <a:cubicBezTo>
                  <a:pt x="32681" y="22549"/>
                  <a:pt x="32791" y="22502"/>
                  <a:pt x="32869" y="22424"/>
                </a:cubicBezTo>
                <a:lnTo>
                  <a:pt x="33463" y="21673"/>
                </a:lnTo>
                <a:cubicBezTo>
                  <a:pt x="33572" y="21516"/>
                  <a:pt x="33557" y="21298"/>
                  <a:pt x="33401" y="21173"/>
                </a:cubicBezTo>
                <a:cubicBezTo>
                  <a:pt x="33244" y="21048"/>
                  <a:pt x="33025" y="21079"/>
                  <a:pt x="32900" y="21220"/>
                </a:cubicBezTo>
                <a:lnTo>
                  <a:pt x="32306" y="21970"/>
                </a:lnTo>
                <a:cubicBezTo>
                  <a:pt x="32181" y="22126"/>
                  <a:pt x="32212" y="22346"/>
                  <a:pt x="32368" y="22471"/>
                </a:cubicBezTo>
                <a:cubicBezTo>
                  <a:pt x="32431" y="22533"/>
                  <a:pt x="32509" y="22549"/>
                  <a:pt x="32587" y="22549"/>
                </a:cubicBezTo>
                <a:close/>
                <a:moveTo>
                  <a:pt x="31102" y="24410"/>
                </a:moveTo>
                <a:cubicBezTo>
                  <a:pt x="31211" y="24410"/>
                  <a:pt x="31305" y="24378"/>
                  <a:pt x="31383" y="24285"/>
                </a:cubicBezTo>
                <a:lnTo>
                  <a:pt x="31977" y="23534"/>
                </a:lnTo>
                <a:cubicBezTo>
                  <a:pt x="32103" y="23377"/>
                  <a:pt x="32071" y="23159"/>
                  <a:pt x="31915" y="23034"/>
                </a:cubicBezTo>
                <a:cubicBezTo>
                  <a:pt x="31758" y="22909"/>
                  <a:pt x="31540" y="22940"/>
                  <a:pt x="31415" y="23096"/>
                </a:cubicBezTo>
                <a:lnTo>
                  <a:pt x="30820" y="23831"/>
                </a:lnTo>
                <a:cubicBezTo>
                  <a:pt x="30695" y="23987"/>
                  <a:pt x="30727" y="24222"/>
                  <a:pt x="30883" y="24347"/>
                </a:cubicBezTo>
                <a:cubicBezTo>
                  <a:pt x="30945" y="24394"/>
                  <a:pt x="31024" y="24410"/>
                  <a:pt x="31102" y="24410"/>
                </a:cubicBezTo>
                <a:close/>
                <a:moveTo>
                  <a:pt x="13573" y="27021"/>
                </a:moveTo>
                <a:lnTo>
                  <a:pt x="13573" y="20000"/>
                </a:lnTo>
                <a:cubicBezTo>
                  <a:pt x="13573" y="19797"/>
                  <a:pt x="13416" y="19640"/>
                  <a:pt x="13228" y="19640"/>
                </a:cubicBezTo>
                <a:lnTo>
                  <a:pt x="8412" y="19640"/>
                </a:lnTo>
                <a:lnTo>
                  <a:pt x="8584" y="19312"/>
                </a:lnTo>
                <a:cubicBezTo>
                  <a:pt x="8662" y="19140"/>
                  <a:pt x="8600" y="18921"/>
                  <a:pt x="8428" y="18827"/>
                </a:cubicBezTo>
                <a:cubicBezTo>
                  <a:pt x="8240" y="18733"/>
                  <a:pt x="8037" y="18811"/>
                  <a:pt x="7943" y="18984"/>
                </a:cubicBezTo>
                <a:lnTo>
                  <a:pt x="7599" y="19640"/>
                </a:lnTo>
                <a:lnTo>
                  <a:pt x="359" y="19640"/>
                </a:lnTo>
                <a:cubicBezTo>
                  <a:pt x="156" y="19640"/>
                  <a:pt x="0" y="19797"/>
                  <a:pt x="0" y="20000"/>
                </a:cubicBezTo>
                <a:lnTo>
                  <a:pt x="0" y="27615"/>
                </a:lnTo>
                <a:lnTo>
                  <a:pt x="0" y="32854"/>
                </a:lnTo>
                <a:cubicBezTo>
                  <a:pt x="0" y="33057"/>
                  <a:pt x="156" y="33213"/>
                  <a:pt x="359" y="33213"/>
                </a:cubicBezTo>
                <a:lnTo>
                  <a:pt x="5597" y="33213"/>
                </a:lnTo>
                <a:lnTo>
                  <a:pt x="13228" y="33213"/>
                </a:lnTo>
                <a:cubicBezTo>
                  <a:pt x="13416" y="33213"/>
                  <a:pt x="13573" y="33057"/>
                  <a:pt x="13573" y="32854"/>
                </a:cubicBezTo>
                <a:lnTo>
                  <a:pt x="13573" y="27537"/>
                </a:lnTo>
                <a:cubicBezTo>
                  <a:pt x="13604" y="27521"/>
                  <a:pt x="13619" y="27506"/>
                  <a:pt x="13635" y="27490"/>
                </a:cubicBezTo>
                <a:cubicBezTo>
                  <a:pt x="13729" y="27334"/>
                  <a:pt x="13713" y="27130"/>
                  <a:pt x="13573" y="27021"/>
                </a:cubicBezTo>
                <a:close/>
                <a:moveTo>
                  <a:pt x="6692" y="20344"/>
                </a:moveTo>
                <a:lnTo>
                  <a:pt x="719" y="23409"/>
                </a:lnTo>
                <a:lnTo>
                  <a:pt x="719" y="20344"/>
                </a:lnTo>
                <a:close/>
                <a:moveTo>
                  <a:pt x="719" y="32494"/>
                </a:moveTo>
                <a:lnTo>
                  <a:pt x="719" y="27975"/>
                </a:lnTo>
                <a:lnTo>
                  <a:pt x="5238" y="27975"/>
                </a:lnTo>
                <a:lnTo>
                  <a:pt x="5238" y="32494"/>
                </a:lnTo>
                <a:close/>
                <a:moveTo>
                  <a:pt x="12869" y="32494"/>
                </a:moveTo>
                <a:lnTo>
                  <a:pt x="5957" y="32494"/>
                </a:lnTo>
                <a:lnTo>
                  <a:pt x="5957" y="27615"/>
                </a:lnTo>
                <a:cubicBezTo>
                  <a:pt x="5957" y="27412"/>
                  <a:pt x="5801" y="27255"/>
                  <a:pt x="5597" y="27255"/>
                </a:cubicBezTo>
                <a:lnTo>
                  <a:pt x="719" y="27255"/>
                </a:lnTo>
                <a:lnTo>
                  <a:pt x="719" y="24206"/>
                </a:lnTo>
                <a:lnTo>
                  <a:pt x="8272" y="20344"/>
                </a:lnTo>
                <a:lnTo>
                  <a:pt x="12869" y="20344"/>
                </a:lnTo>
                <a:close/>
                <a:moveTo>
                  <a:pt x="19343" y="31165"/>
                </a:moveTo>
                <a:lnTo>
                  <a:pt x="18577" y="30618"/>
                </a:lnTo>
                <a:cubicBezTo>
                  <a:pt x="18404" y="30492"/>
                  <a:pt x="18185" y="30540"/>
                  <a:pt x="18076" y="30696"/>
                </a:cubicBezTo>
                <a:cubicBezTo>
                  <a:pt x="17951" y="30852"/>
                  <a:pt x="17998" y="31071"/>
                  <a:pt x="18154" y="31196"/>
                </a:cubicBezTo>
                <a:lnTo>
                  <a:pt x="18920" y="31759"/>
                </a:lnTo>
                <a:cubicBezTo>
                  <a:pt x="18983" y="31791"/>
                  <a:pt x="19061" y="31822"/>
                  <a:pt x="19139" y="31822"/>
                </a:cubicBezTo>
                <a:cubicBezTo>
                  <a:pt x="19249" y="31822"/>
                  <a:pt x="19358" y="31774"/>
                  <a:pt x="19421" y="31665"/>
                </a:cubicBezTo>
                <a:cubicBezTo>
                  <a:pt x="19546" y="31509"/>
                  <a:pt x="19499" y="31290"/>
                  <a:pt x="19343" y="31165"/>
                </a:cubicBezTo>
                <a:close/>
                <a:moveTo>
                  <a:pt x="15480" y="28381"/>
                </a:moveTo>
                <a:lnTo>
                  <a:pt x="14714" y="27818"/>
                </a:lnTo>
                <a:cubicBezTo>
                  <a:pt x="14542" y="27709"/>
                  <a:pt x="14323" y="27740"/>
                  <a:pt x="14214" y="27912"/>
                </a:cubicBezTo>
                <a:cubicBezTo>
                  <a:pt x="14089" y="28069"/>
                  <a:pt x="14136" y="28288"/>
                  <a:pt x="14292" y="28413"/>
                </a:cubicBezTo>
                <a:lnTo>
                  <a:pt x="15058" y="28960"/>
                </a:lnTo>
                <a:cubicBezTo>
                  <a:pt x="15120" y="29007"/>
                  <a:pt x="15199" y="29038"/>
                  <a:pt x="15277" y="29038"/>
                </a:cubicBezTo>
                <a:cubicBezTo>
                  <a:pt x="15387" y="29038"/>
                  <a:pt x="15496" y="28976"/>
                  <a:pt x="15558" y="28882"/>
                </a:cubicBezTo>
                <a:cubicBezTo>
                  <a:pt x="15668" y="28726"/>
                  <a:pt x="15637" y="28506"/>
                  <a:pt x="15480" y="28381"/>
                </a:cubicBezTo>
                <a:close/>
                <a:moveTo>
                  <a:pt x="17404" y="29773"/>
                </a:moveTo>
                <a:lnTo>
                  <a:pt x="16638" y="29226"/>
                </a:lnTo>
                <a:cubicBezTo>
                  <a:pt x="16481" y="29101"/>
                  <a:pt x="16262" y="29147"/>
                  <a:pt x="16137" y="29304"/>
                </a:cubicBezTo>
                <a:cubicBezTo>
                  <a:pt x="16028" y="29460"/>
                  <a:pt x="16059" y="29679"/>
                  <a:pt x="16215" y="29804"/>
                </a:cubicBezTo>
                <a:lnTo>
                  <a:pt x="16997" y="30352"/>
                </a:lnTo>
                <a:cubicBezTo>
                  <a:pt x="17059" y="30398"/>
                  <a:pt x="17122" y="30430"/>
                  <a:pt x="17200" y="30430"/>
                </a:cubicBezTo>
                <a:cubicBezTo>
                  <a:pt x="17310" y="30430"/>
                  <a:pt x="17419" y="30367"/>
                  <a:pt x="17497" y="30273"/>
                </a:cubicBezTo>
                <a:cubicBezTo>
                  <a:pt x="17607" y="30117"/>
                  <a:pt x="17576" y="29898"/>
                  <a:pt x="17404" y="29773"/>
                </a:cubicBezTo>
                <a:close/>
                <a:moveTo>
                  <a:pt x="9523" y="16716"/>
                </a:moveTo>
                <a:cubicBezTo>
                  <a:pt x="9335" y="16622"/>
                  <a:pt x="9132" y="16685"/>
                  <a:pt x="9038" y="16857"/>
                </a:cubicBezTo>
                <a:cubicBezTo>
                  <a:pt x="8600" y="17717"/>
                  <a:pt x="8746" y="17430"/>
                  <a:pt x="8600" y="17717"/>
                </a:cubicBezTo>
                <a:cubicBezTo>
                  <a:pt x="8506" y="17889"/>
                  <a:pt x="8569" y="18108"/>
                  <a:pt x="8756" y="18186"/>
                </a:cubicBezTo>
                <a:cubicBezTo>
                  <a:pt x="8803" y="18217"/>
                  <a:pt x="8866" y="18233"/>
                  <a:pt x="8913" y="18233"/>
                </a:cubicBezTo>
                <a:cubicBezTo>
                  <a:pt x="9038" y="18233"/>
                  <a:pt x="9163" y="18155"/>
                  <a:pt x="9225" y="18045"/>
                </a:cubicBezTo>
                <a:lnTo>
                  <a:pt x="9663" y="17185"/>
                </a:lnTo>
                <a:cubicBezTo>
                  <a:pt x="9757" y="17013"/>
                  <a:pt x="9695" y="16794"/>
                  <a:pt x="9523" y="16716"/>
                </a:cubicBezTo>
                <a:close/>
                <a:moveTo>
                  <a:pt x="9835" y="16075"/>
                </a:moveTo>
                <a:cubicBezTo>
                  <a:pt x="9898" y="16106"/>
                  <a:pt x="9945" y="16122"/>
                  <a:pt x="10007" y="16122"/>
                </a:cubicBezTo>
                <a:cubicBezTo>
                  <a:pt x="10132" y="16122"/>
                  <a:pt x="10258" y="16044"/>
                  <a:pt x="10320" y="15919"/>
                </a:cubicBezTo>
                <a:lnTo>
                  <a:pt x="10758" y="15074"/>
                </a:lnTo>
                <a:cubicBezTo>
                  <a:pt x="10852" y="14902"/>
                  <a:pt x="10789" y="14683"/>
                  <a:pt x="10601" y="14590"/>
                </a:cubicBezTo>
                <a:cubicBezTo>
                  <a:pt x="10429" y="14496"/>
                  <a:pt x="10211" y="14574"/>
                  <a:pt x="10132" y="14746"/>
                </a:cubicBezTo>
                <a:lnTo>
                  <a:pt x="9695" y="15590"/>
                </a:lnTo>
                <a:cubicBezTo>
                  <a:pt x="9601" y="15762"/>
                  <a:pt x="9663" y="15981"/>
                  <a:pt x="9835" y="1607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2364094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76459-9636-C747-B30F-3FB1AC8A2770}"/>
              </a:ext>
            </a:extLst>
          </p:cNvPr>
          <p:cNvSpPr>
            <a:spLocks noGrp="1"/>
          </p:cNvSpPr>
          <p:nvPr>
            <p:ph type="title"/>
          </p:nvPr>
        </p:nvSpPr>
        <p:spPr/>
        <p:txBody>
          <a:bodyPr/>
          <a:lstStyle/>
          <a:p>
            <a:r>
              <a:rPr lang="en-US" dirty="0"/>
              <a:t>Two icon callouts</a:t>
            </a:r>
          </a:p>
        </p:txBody>
      </p:sp>
      <p:grpSp>
        <p:nvGrpSpPr>
          <p:cNvPr id="4" name="Group 3">
            <a:extLst>
              <a:ext uri="{FF2B5EF4-FFF2-40B4-BE49-F238E27FC236}">
                <a16:creationId xmlns:a16="http://schemas.microsoft.com/office/drawing/2014/main" id="{614F1F2D-387C-9B41-B454-9AC38EF60E5F}"/>
              </a:ext>
            </a:extLst>
          </p:cNvPr>
          <p:cNvGrpSpPr/>
          <p:nvPr/>
        </p:nvGrpSpPr>
        <p:grpSpPr>
          <a:xfrm>
            <a:off x="12503214" y="4462273"/>
            <a:ext cx="10633011" cy="7291092"/>
            <a:chOff x="7022275" y="4462273"/>
            <a:chExt cx="6805918" cy="7291092"/>
          </a:xfrm>
        </p:grpSpPr>
        <p:sp>
          <p:nvSpPr>
            <p:cNvPr id="5" name="Rectangle 4">
              <a:extLst>
                <a:ext uri="{FF2B5EF4-FFF2-40B4-BE49-F238E27FC236}">
                  <a16:creationId xmlns:a16="http://schemas.microsoft.com/office/drawing/2014/main" id="{7D2A25D7-B308-544C-8BFA-B4ED0910E8DC}"/>
                </a:ext>
              </a:extLst>
            </p:cNvPr>
            <p:cNvSpPr/>
            <p:nvPr/>
          </p:nvSpPr>
          <p:spPr>
            <a:xfrm>
              <a:off x="7022276" y="4462273"/>
              <a:ext cx="6805917" cy="6601967"/>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dolor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sp>
          <p:nvSpPr>
            <p:cNvPr id="6" name="Rectangle 5">
              <a:extLst>
                <a:ext uri="{FF2B5EF4-FFF2-40B4-BE49-F238E27FC236}">
                  <a16:creationId xmlns:a16="http://schemas.microsoft.com/office/drawing/2014/main" id="{8BDB9CAE-68D2-3343-A9BD-BE3D008E8F87}"/>
                </a:ext>
              </a:extLst>
            </p:cNvPr>
            <p:cNvSpPr/>
            <p:nvPr/>
          </p:nvSpPr>
          <p:spPr>
            <a:xfrm>
              <a:off x="7022275" y="10939332"/>
              <a:ext cx="6805406" cy="814033"/>
            </a:xfrm>
            <a:prstGeom prst="rect">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12000" tIns="144000" rIns="90000" bIns="144000" rtlCol="0" anchor="t" anchorCtr="0">
              <a:spAutoFit/>
            </a:bodyPr>
            <a:lstStyle/>
            <a:p>
              <a:r>
                <a:rPr lang="en-US" sz="3400">
                  <a:solidFill>
                    <a:schemeClr val="bg2"/>
                  </a:solidFill>
                </a:rPr>
                <a:t>Text</a:t>
              </a:r>
              <a:endParaRPr lang="en-US" sz="3400" dirty="0">
                <a:solidFill>
                  <a:schemeClr val="bg2"/>
                </a:solidFill>
              </a:endParaRPr>
            </a:p>
          </p:txBody>
        </p:sp>
      </p:grpSp>
      <p:grpSp>
        <p:nvGrpSpPr>
          <p:cNvPr id="7" name="Group 6">
            <a:extLst>
              <a:ext uri="{FF2B5EF4-FFF2-40B4-BE49-F238E27FC236}">
                <a16:creationId xmlns:a16="http://schemas.microsoft.com/office/drawing/2014/main" id="{33EDDB2E-5D91-C54C-8088-9D8A4225A3B7}"/>
              </a:ext>
            </a:extLst>
          </p:cNvPr>
          <p:cNvGrpSpPr/>
          <p:nvPr/>
        </p:nvGrpSpPr>
        <p:grpSpPr>
          <a:xfrm>
            <a:off x="16544227" y="2862263"/>
            <a:ext cx="2550985" cy="2550985"/>
            <a:chOff x="8371587" y="2862263"/>
            <a:chExt cx="2550985" cy="2550985"/>
          </a:xfrm>
        </p:grpSpPr>
        <p:sp>
          <p:nvSpPr>
            <p:cNvPr id="8" name="Oval 7">
              <a:extLst>
                <a:ext uri="{FF2B5EF4-FFF2-40B4-BE49-F238E27FC236}">
                  <a16:creationId xmlns:a16="http://schemas.microsoft.com/office/drawing/2014/main" id="{99D3DCDE-0252-FB44-AE9F-6B2E6D668FE1}"/>
                </a:ext>
              </a:extLst>
            </p:cNvPr>
            <p:cNvSpPr/>
            <p:nvPr/>
          </p:nvSpPr>
          <p:spPr>
            <a:xfrm>
              <a:off x="8371587" y="2862263"/>
              <a:ext cx="2550985" cy="2550985"/>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2">
              <a:extLst>
                <a:ext uri="{FF2B5EF4-FFF2-40B4-BE49-F238E27FC236}">
                  <a16:creationId xmlns:a16="http://schemas.microsoft.com/office/drawing/2014/main" id="{D9A180D7-C38E-414C-ABBA-BB6B958304D3}"/>
                </a:ext>
              </a:extLst>
            </p:cNvPr>
            <p:cNvSpPr>
              <a:spLocks noChangeArrowheads="1"/>
            </p:cNvSpPr>
            <p:nvPr/>
          </p:nvSpPr>
          <p:spPr bwMode="auto">
            <a:xfrm>
              <a:off x="8884375"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2"/>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grpSp>
      <p:grpSp>
        <p:nvGrpSpPr>
          <p:cNvPr id="10" name="Group 9">
            <a:extLst>
              <a:ext uri="{FF2B5EF4-FFF2-40B4-BE49-F238E27FC236}">
                <a16:creationId xmlns:a16="http://schemas.microsoft.com/office/drawing/2014/main" id="{483C92E3-D7C4-9047-AFAC-1B5A8493F491}"/>
              </a:ext>
            </a:extLst>
          </p:cNvPr>
          <p:cNvGrpSpPr/>
          <p:nvPr/>
        </p:nvGrpSpPr>
        <p:grpSpPr>
          <a:xfrm>
            <a:off x="1264475" y="4462272"/>
            <a:ext cx="10632215" cy="7291093"/>
            <a:chOff x="1462088" y="4462272"/>
            <a:chExt cx="6805406" cy="7291093"/>
          </a:xfrm>
        </p:grpSpPr>
        <p:sp>
          <p:nvSpPr>
            <p:cNvPr id="11" name="Rectangle 10">
              <a:extLst>
                <a:ext uri="{FF2B5EF4-FFF2-40B4-BE49-F238E27FC236}">
                  <a16:creationId xmlns:a16="http://schemas.microsoft.com/office/drawing/2014/main" id="{65C36FF8-DDD7-0A40-B481-C82D7159736F}"/>
                </a:ext>
              </a:extLst>
            </p:cNvPr>
            <p:cNvSpPr/>
            <p:nvPr/>
          </p:nvSpPr>
          <p:spPr>
            <a:xfrm>
              <a:off x="1462088" y="4462272"/>
              <a:ext cx="6805406" cy="6602400"/>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dolor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sp>
          <p:nvSpPr>
            <p:cNvPr id="12" name="Rectangle 11">
              <a:extLst>
                <a:ext uri="{FF2B5EF4-FFF2-40B4-BE49-F238E27FC236}">
                  <a16:creationId xmlns:a16="http://schemas.microsoft.com/office/drawing/2014/main" id="{764AC10B-B376-4542-8107-F11AC468A480}"/>
                </a:ext>
              </a:extLst>
            </p:cNvPr>
            <p:cNvSpPr/>
            <p:nvPr/>
          </p:nvSpPr>
          <p:spPr>
            <a:xfrm>
              <a:off x="1462088" y="10939332"/>
              <a:ext cx="6805406" cy="814033"/>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612000" tIns="144000" rIns="90000" bIns="144000" rtlCol="0" anchor="t" anchorCtr="0">
              <a:spAutoFit/>
            </a:bodyPr>
            <a:lstStyle/>
            <a:p>
              <a:r>
                <a:rPr lang="en-US" sz="3400" dirty="0">
                  <a:solidFill>
                    <a:schemeClr val="bg2"/>
                  </a:solidFill>
                </a:rPr>
                <a:t>Text</a:t>
              </a:r>
            </a:p>
          </p:txBody>
        </p:sp>
      </p:grpSp>
      <p:grpSp>
        <p:nvGrpSpPr>
          <p:cNvPr id="13" name="Group 12">
            <a:extLst>
              <a:ext uri="{FF2B5EF4-FFF2-40B4-BE49-F238E27FC236}">
                <a16:creationId xmlns:a16="http://schemas.microsoft.com/office/drawing/2014/main" id="{F9AB9820-EDA8-A248-B1E2-29556CD85E0F}"/>
              </a:ext>
            </a:extLst>
          </p:cNvPr>
          <p:cNvGrpSpPr/>
          <p:nvPr/>
        </p:nvGrpSpPr>
        <p:grpSpPr>
          <a:xfrm>
            <a:off x="5286802" y="2862263"/>
            <a:ext cx="2550985" cy="2550985"/>
            <a:chOff x="2811400" y="2862263"/>
            <a:chExt cx="2550985" cy="2550985"/>
          </a:xfrm>
        </p:grpSpPr>
        <p:sp>
          <p:nvSpPr>
            <p:cNvPr id="14" name="Oval 13">
              <a:extLst>
                <a:ext uri="{FF2B5EF4-FFF2-40B4-BE49-F238E27FC236}">
                  <a16:creationId xmlns:a16="http://schemas.microsoft.com/office/drawing/2014/main" id="{FCF1ED43-D6F1-4D4C-8305-D1945EBF7936}"/>
                </a:ext>
              </a:extLst>
            </p:cNvPr>
            <p:cNvSpPr/>
            <p:nvPr/>
          </p:nvSpPr>
          <p:spPr>
            <a:xfrm>
              <a:off x="2811400" y="2862263"/>
              <a:ext cx="2550985" cy="2550985"/>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2">
              <a:extLst>
                <a:ext uri="{FF2B5EF4-FFF2-40B4-BE49-F238E27FC236}">
                  <a16:creationId xmlns:a16="http://schemas.microsoft.com/office/drawing/2014/main" id="{36F10C88-8FB5-A147-A637-FA1E31C8E527}"/>
                </a:ext>
              </a:extLst>
            </p:cNvPr>
            <p:cNvSpPr>
              <a:spLocks noChangeArrowheads="1"/>
            </p:cNvSpPr>
            <p:nvPr/>
          </p:nvSpPr>
          <p:spPr bwMode="auto">
            <a:xfrm>
              <a:off x="3324188"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3"/>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grpSp>
    </p:spTree>
    <p:extLst>
      <p:ext uri="{BB962C8B-B14F-4D97-AF65-F5344CB8AC3E}">
        <p14:creationId xmlns:p14="http://schemas.microsoft.com/office/powerpoint/2010/main" val="366807520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Magellan focused icons - 4</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90" name="TextBox 89">
            <a:extLst>
              <a:ext uri="{FF2B5EF4-FFF2-40B4-BE49-F238E27FC236}">
                <a16:creationId xmlns:a16="http://schemas.microsoft.com/office/drawing/2014/main" id="{901890C6-60A8-7547-BDD4-AC59E6328605}"/>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13" name="TextBox 12">
            <a:extLst>
              <a:ext uri="{FF2B5EF4-FFF2-40B4-BE49-F238E27FC236}">
                <a16:creationId xmlns:a16="http://schemas.microsoft.com/office/drawing/2014/main" id="{192245DD-691A-C24B-A772-434D436FCE6F}"/>
              </a:ext>
            </a:extLst>
          </p:cNvPr>
          <p:cNvSpPr txBox="1"/>
          <p:nvPr/>
        </p:nvSpPr>
        <p:spPr>
          <a:xfrm>
            <a:off x="1246187" y="11608034"/>
            <a:ext cx="10944225"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orecasting</a:t>
            </a:r>
          </a:p>
        </p:txBody>
      </p:sp>
      <p:sp>
        <p:nvSpPr>
          <p:cNvPr id="14" name="TextBox 13">
            <a:extLst>
              <a:ext uri="{FF2B5EF4-FFF2-40B4-BE49-F238E27FC236}">
                <a16:creationId xmlns:a16="http://schemas.microsoft.com/office/drawing/2014/main" id="{AB93A338-BD13-9342-AA4B-EDBC0A0A8CA4}"/>
              </a:ext>
            </a:extLst>
          </p:cNvPr>
          <p:cNvSpPr txBox="1"/>
          <p:nvPr/>
        </p:nvSpPr>
        <p:spPr>
          <a:xfrm>
            <a:off x="12192000" y="11608034"/>
            <a:ext cx="10944225"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mantic Analytics</a:t>
            </a:r>
          </a:p>
        </p:txBody>
      </p:sp>
      <p:sp>
        <p:nvSpPr>
          <p:cNvPr id="15" name="Freeform 14">
            <a:extLst>
              <a:ext uri="{FF2B5EF4-FFF2-40B4-BE49-F238E27FC236}">
                <a16:creationId xmlns:a16="http://schemas.microsoft.com/office/drawing/2014/main" id="{83D3BCE8-A979-0B46-8ECE-1373838846D0}"/>
              </a:ext>
            </a:extLst>
          </p:cNvPr>
          <p:cNvSpPr/>
          <p:nvPr/>
        </p:nvSpPr>
        <p:spPr>
          <a:xfrm>
            <a:off x="1859694" y="3635943"/>
            <a:ext cx="9717208" cy="6044585"/>
          </a:xfrm>
          <a:custGeom>
            <a:avLst/>
            <a:gdLst/>
            <a:ahLst/>
            <a:cxnLst>
              <a:cxn ang="3cd4">
                <a:pos x="hc" y="t"/>
              </a:cxn>
              <a:cxn ang="cd2">
                <a:pos x="l" y="vc"/>
              </a:cxn>
              <a:cxn ang="cd4">
                <a:pos x="hc" y="b"/>
              </a:cxn>
              <a:cxn ang="0">
                <a:pos x="r" y="vc"/>
              </a:cxn>
            </a:cxnLst>
            <a:rect l="l" t="t" r="r" b="b"/>
            <a:pathLst>
              <a:path w="61009" h="37951">
                <a:moveTo>
                  <a:pt x="60646" y="37247"/>
                </a:moveTo>
                <a:lnTo>
                  <a:pt x="57456" y="37247"/>
                </a:lnTo>
                <a:lnTo>
                  <a:pt x="57456" y="37185"/>
                </a:lnTo>
                <a:cubicBezTo>
                  <a:pt x="57456" y="36981"/>
                  <a:pt x="57299" y="36825"/>
                  <a:pt x="57112" y="36825"/>
                </a:cubicBezTo>
                <a:cubicBezTo>
                  <a:pt x="56909" y="36825"/>
                  <a:pt x="56752" y="36981"/>
                  <a:pt x="56752" y="37185"/>
                </a:cubicBezTo>
                <a:lnTo>
                  <a:pt x="56752" y="37247"/>
                </a:lnTo>
                <a:lnTo>
                  <a:pt x="56564" y="37247"/>
                </a:lnTo>
                <a:lnTo>
                  <a:pt x="55142" y="37247"/>
                </a:lnTo>
                <a:lnTo>
                  <a:pt x="54188" y="37247"/>
                </a:lnTo>
                <a:lnTo>
                  <a:pt x="53609" y="37247"/>
                </a:lnTo>
                <a:cubicBezTo>
                  <a:pt x="53641" y="37185"/>
                  <a:pt x="53656" y="37122"/>
                  <a:pt x="53656" y="37059"/>
                </a:cubicBezTo>
                <a:lnTo>
                  <a:pt x="53656" y="36106"/>
                </a:lnTo>
                <a:cubicBezTo>
                  <a:pt x="53656" y="35918"/>
                  <a:pt x="53499" y="35746"/>
                  <a:pt x="53296" y="35746"/>
                </a:cubicBezTo>
                <a:cubicBezTo>
                  <a:pt x="53093" y="35746"/>
                  <a:pt x="52937" y="35918"/>
                  <a:pt x="52937" y="36106"/>
                </a:cubicBezTo>
                <a:lnTo>
                  <a:pt x="52937" y="37059"/>
                </a:lnTo>
                <a:cubicBezTo>
                  <a:pt x="52937" y="37122"/>
                  <a:pt x="52953" y="37185"/>
                  <a:pt x="52984" y="37247"/>
                </a:cubicBezTo>
                <a:lnTo>
                  <a:pt x="51295" y="37247"/>
                </a:lnTo>
                <a:lnTo>
                  <a:pt x="51295" y="37137"/>
                </a:lnTo>
                <a:cubicBezTo>
                  <a:pt x="51295" y="36934"/>
                  <a:pt x="51123" y="36778"/>
                  <a:pt x="50935" y="36778"/>
                </a:cubicBezTo>
                <a:cubicBezTo>
                  <a:pt x="50732" y="36778"/>
                  <a:pt x="50576" y="36934"/>
                  <a:pt x="50576" y="37137"/>
                </a:cubicBezTo>
                <a:lnTo>
                  <a:pt x="50576" y="37247"/>
                </a:lnTo>
                <a:lnTo>
                  <a:pt x="50435" y="37247"/>
                </a:lnTo>
                <a:lnTo>
                  <a:pt x="49012" y="37247"/>
                </a:lnTo>
                <a:lnTo>
                  <a:pt x="48058" y="37247"/>
                </a:lnTo>
                <a:lnTo>
                  <a:pt x="47448" y="37247"/>
                </a:lnTo>
                <a:cubicBezTo>
                  <a:pt x="47464" y="37200"/>
                  <a:pt x="47479" y="37153"/>
                  <a:pt x="47479" y="37106"/>
                </a:cubicBezTo>
                <a:lnTo>
                  <a:pt x="47479" y="36153"/>
                </a:lnTo>
                <a:cubicBezTo>
                  <a:pt x="47479" y="35949"/>
                  <a:pt x="47323" y="35793"/>
                  <a:pt x="47120" y="35793"/>
                </a:cubicBezTo>
                <a:cubicBezTo>
                  <a:pt x="46916" y="35793"/>
                  <a:pt x="46760" y="35949"/>
                  <a:pt x="46760" y="36153"/>
                </a:cubicBezTo>
                <a:lnTo>
                  <a:pt x="46760" y="37106"/>
                </a:lnTo>
                <a:cubicBezTo>
                  <a:pt x="46760" y="37153"/>
                  <a:pt x="46776" y="37200"/>
                  <a:pt x="46791" y="37247"/>
                </a:cubicBezTo>
                <a:lnTo>
                  <a:pt x="45118" y="37247"/>
                </a:lnTo>
                <a:lnTo>
                  <a:pt x="45118" y="37200"/>
                </a:lnTo>
                <a:lnTo>
                  <a:pt x="45118" y="36246"/>
                </a:lnTo>
                <a:cubicBezTo>
                  <a:pt x="45118" y="36059"/>
                  <a:pt x="44962" y="35903"/>
                  <a:pt x="44759" y="35903"/>
                </a:cubicBezTo>
                <a:cubicBezTo>
                  <a:pt x="44555" y="35903"/>
                  <a:pt x="44399" y="36059"/>
                  <a:pt x="44399" y="36246"/>
                </a:cubicBezTo>
                <a:lnTo>
                  <a:pt x="44399" y="37200"/>
                </a:lnTo>
                <a:lnTo>
                  <a:pt x="44399" y="37247"/>
                </a:lnTo>
                <a:lnTo>
                  <a:pt x="43726" y="37247"/>
                </a:lnTo>
                <a:lnTo>
                  <a:pt x="42773" y="37247"/>
                </a:lnTo>
                <a:lnTo>
                  <a:pt x="41334" y="37247"/>
                </a:lnTo>
                <a:lnTo>
                  <a:pt x="41302" y="37247"/>
                </a:lnTo>
                <a:lnTo>
                  <a:pt x="41302" y="37044"/>
                </a:lnTo>
                <a:cubicBezTo>
                  <a:pt x="41302" y="36841"/>
                  <a:pt x="41146" y="36684"/>
                  <a:pt x="40943" y="36684"/>
                </a:cubicBezTo>
                <a:cubicBezTo>
                  <a:pt x="40756" y="36684"/>
                  <a:pt x="40583" y="36841"/>
                  <a:pt x="40583" y="37044"/>
                </a:cubicBezTo>
                <a:lnTo>
                  <a:pt x="40583" y="37247"/>
                </a:lnTo>
                <a:lnTo>
                  <a:pt x="38942" y="37247"/>
                </a:lnTo>
                <a:lnTo>
                  <a:pt x="38942" y="16653"/>
                </a:lnTo>
                <a:lnTo>
                  <a:pt x="40583" y="18498"/>
                </a:lnTo>
                <a:lnTo>
                  <a:pt x="40583" y="18936"/>
                </a:lnTo>
                <a:cubicBezTo>
                  <a:pt x="40583" y="19123"/>
                  <a:pt x="40756" y="19296"/>
                  <a:pt x="40943" y="19296"/>
                </a:cubicBezTo>
                <a:cubicBezTo>
                  <a:pt x="41052" y="19296"/>
                  <a:pt x="41146" y="19249"/>
                  <a:pt x="41209" y="19186"/>
                </a:cubicBezTo>
                <a:lnTo>
                  <a:pt x="41256" y="19249"/>
                </a:lnTo>
                <a:lnTo>
                  <a:pt x="40724" y="19874"/>
                </a:lnTo>
                <a:cubicBezTo>
                  <a:pt x="40661" y="19968"/>
                  <a:pt x="40630" y="20062"/>
                  <a:pt x="40646" y="20171"/>
                </a:cubicBezTo>
                <a:cubicBezTo>
                  <a:pt x="40614" y="20218"/>
                  <a:pt x="40583" y="20296"/>
                  <a:pt x="40583" y="20359"/>
                </a:cubicBezTo>
                <a:lnTo>
                  <a:pt x="40583" y="21313"/>
                </a:lnTo>
                <a:cubicBezTo>
                  <a:pt x="40583" y="21516"/>
                  <a:pt x="40756" y="21672"/>
                  <a:pt x="40943" y="21672"/>
                </a:cubicBezTo>
                <a:cubicBezTo>
                  <a:pt x="41146" y="21672"/>
                  <a:pt x="41302" y="21516"/>
                  <a:pt x="41302" y="21313"/>
                </a:cubicBezTo>
                <a:lnTo>
                  <a:pt x="41302" y="20359"/>
                </a:lnTo>
                <a:lnTo>
                  <a:pt x="41302" y="20312"/>
                </a:lnTo>
                <a:cubicBezTo>
                  <a:pt x="41740" y="19780"/>
                  <a:pt x="41594" y="19957"/>
                  <a:pt x="41740" y="19780"/>
                </a:cubicBezTo>
                <a:cubicBezTo>
                  <a:pt x="44399" y="22736"/>
                  <a:pt x="43512" y="21751"/>
                  <a:pt x="44399" y="22736"/>
                </a:cubicBezTo>
                <a:lnTo>
                  <a:pt x="44399" y="22908"/>
                </a:lnTo>
                <a:cubicBezTo>
                  <a:pt x="44399" y="23111"/>
                  <a:pt x="44555" y="23268"/>
                  <a:pt x="44759" y="23268"/>
                </a:cubicBezTo>
                <a:cubicBezTo>
                  <a:pt x="44790" y="23268"/>
                  <a:pt x="44837" y="23268"/>
                  <a:pt x="44868" y="23252"/>
                </a:cubicBezTo>
                <a:lnTo>
                  <a:pt x="48762" y="27599"/>
                </a:lnTo>
                <a:cubicBezTo>
                  <a:pt x="48840" y="27677"/>
                  <a:pt x="48949" y="27724"/>
                  <a:pt x="49075" y="27709"/>
                </a:cubicBezTo>
                <a:cubicBezTo>
                  <a:pt x="49184" y="27693"/>
                  <a:pt x="49293" y="27615"/>
                  <a:pt x="49340" y="27521"/>
                </a:cubicBezTo>
                <a:cubicBezTo>
                  <a:pt x="51060" y="24127"/>
                  <a:pt x="50486" y="25258"/>
                  <a:pt x="51060" y="24127"/>
                </a:cubicBezTo>
                <a:cubicBezTo>
                  <a:pt x="51201" y="24081"/>
                  <a:pt x="51295" y="23956"/>
                  <a:pt x="51295" y="23799"/>
                </a:cubicBezTo>
                <a:lnTo>
                  <a:pt x="51295" y="23689"/>
                </a:lnTo>
                <a:lnTo>
                  <a:pt x="52937" y="20437"/>
                </a:lnTo>
                <a:cubicBezTo>
                  <a:pt x="52968" y="20609"/>
                  <a:pt x="53109" y="20750"/>
                  <a:pt x="53296" y="20750"/>
                </a:cubicBezTo>
                <a:cubicBezTo>
                  <a:pt x="53499" y="20750"/>
                  <a:pt x="53656" y="20578"/>
                  <a:pt x="53656" y="20390"/>
                </a:cubicBezTo>
                <a:lnTo>
                  <a:pt x="53656" y="19436"/>
                </a:lnTo>
                <a:cubicBezTo>
                  <a:pt x="53656" y="19343"/>
                  <a:pt x="53625" y="19265"/>
                  <a:pt x="53562" y="19202"/>
                </a:cubicBezTo>
                <a:cubicBezTo>
                  <a:pt x="53687" y="18967"/>
                  <a:pt x="53645" y="19045"/>
                  <a:pt x="53687" y="18967"/>
                </a:cubicBezTo>
                <a:cubicBezTo>
                  <a:pt x="53906" y="19343"/>
                  <a:pt x="53833" y="19218"/>
                  <a:pt x="53906" y="19343"/>
                </a:cubicBezTo>
                <a:cubicBezTo>
                  <a:pt x="53969" y="19452"/>
                  <a:pt x="54094" y="19515"/>
                  <a:pt x="54219" y="19515"/>
                </a:cubicBezTo>
                <a:cubicBezTo>
                  <a:pt x="54282" y="19515"/>
                  <a:pt x="54344" y="19499"/>
                  <a:pt x="54391" y="19468"/>
                </a:cubicBezTo>
                <a:cubicBezTo>
                  <a:pt x="54563" y="19358"/>
                  <a:pt x="54625" y="19139"/>
                  <a:pt x="54516" y="18983"/>
                </a:cubicBezTo>
                <a:cubicBezTo>
                  <a:pt x="54062" y="18217"/>
                  <a:pt x="54213" y="18472"/>
                  <a:pt x="54062" y="18217"/>
                </a:cubicBezTo>
                <a:lnTo>
                  <a:pt x="55282" y="15808"/>
                </a:lnTo>
                <a:cubicBezTo>
                  <a:pt x="57096" y="17763"/>
                  <a:pt x="56491" y="17111"/>
                  <a:pt x="57096" y="17763"/>
                </a:cubicBezTo>
                <a:cubicBezTo>
                  <a:pt x="56924" y="17763"/>
                  <a:pt x="56784" y="17904"/>
                  <a:pt x="56752" y="18060"/>
                </a:cubicBezTo>
                <a:cubicBezTo>
                  <a:pt x="56736" y="18045"/>
                  <a:pt x="56705" y="18029"/>
                  <a:pt x="56674" y="18014"/>
                </a:cubicBezTo>
                <a:cubicBezTo>
                  <a:pt x="56502" y="17919"/>
                  <a:pt x="56283" y="17982"/>
                  <a:pt x="56189" y="18170"/>
                </a:cubicBezTo>
                <a:cubicBezTo>
                  <a:pt x="55767" y="18983"/>
                  <a:pt x="55907" y="18712"/>
                  <a:pt x="55767" y="18983"/>
                </a:cubicBezTo>
                <a:cubicBezTo>
                  <a:pt x="55673" y="19155"/>
                  <a:pt x="55736" y="19374"/>
                  <a:pt x="55908" y="19468"/>
                </a:cubicBezTo>
                <a:cubicBezTo>
                  <a:pt x="55955" y="19499"/>
                  <a:pt x="56017" y="19515"/>
                  <a:pt x="56080" y="19515"/>
                </a:cubicBezTo>
                <a:cubicBezTo>
                  <a:pt x="56205" y="19515"/>
                  <a:pt x="56330" y="19436"/>
                  <a:pt x="56393" y="19311"/>
                </a:cubicBezTo>
                <a:lnTo>
                  <a:pt x="56752" y="18639"/>
                </a:lnTo>
                <a:lnTo>
                  <a:pt x="56752" y="19077"/>
                </a:lnTo>
                <a:cubicBezTo>
                  <a:pt x="56752" y="19280"/>
                  <a:pt x="56909" y="19436"/>
                  <a:pt x="57112" y="19436"/>
                </a:cubicBezTo>
                <a:cubicBezTo>
                  <a:pt x="57299" y="19436"/>
                  <a:pt x="57456" y="19280"/>
                  <a:pt x="57456" y="19077"/>
                </a:cubicBezTo>
                <a:cubicBezTo>
                  <a:pt x="57456" y="18154"/>
                  <a:pt x="57456" y="18462"/>
                  <a:pt x="57456" y="18154"/>
                </a:cubicBezTo>
                <a:cubicBezTo>
                  <a:pt x="60396" y="21329"/>
                  <a:pt x="59416" y="20271"/>
                  <a:pt x="60396" y="21329"/>
                </a:cubicBezTo>
                <a:cubicBezTo>
                  <a:pt x="60521" y="21469"/>
                  <a:pt x="60755" y="21485"/>
                  <a:pt x="60896" y="21344"/>
                </a:cubicBezTo>
                <a:cubicBezTo>
                  <a:pt x="61037" y="21204"/>
                  <a:pt x="61052" y="20984"/>
                  <a:pt x="60912" y="20844"/>
                </a:cubicBezTo>
                <a:lnTo>
                  <a:pt x="57534" y="17184"/>
                </a:lnTo>
                <a:lnTo>
                  <a:pt x="57909" y="16450"/>
                </a:lnTo>
                <a:cubicBezTo>
                  <a:pt x="58003" y="16278"/>
                  <a:pt x="57940" y="16059"/>
                  <a:pt x="57769" y="15965"/>
                </a:cubicBezTo>
                <a:cubicBezTo>
                  <a:pt x="57675" y="15918"/>
                  <a:pt x="57565" y="15902"/>
                  <a:pt x="57456" y="15949"/>
                </a:cubicBezTo>
                <a:lnTo>
                  <a:pt x="57456" y="15746"/>
                </a:lnTo>
                <a:cubicBezTo>
                  <a:pt x="57456" y="15543"/>
                  <a:pt x="57299" y="15387"/>
                  <a:pt x="57112" y="15387"/>
                </a:cubicBezTo>
                <a:cubicBezTo>
                  <a:pt x="56909" y="15387"/>
                  <a:pt x="56752" y="15543"/>
                  <a:pt x="56752" y="15746"/>
                </a:cubicBezTo>
                <a:lnTo>
                  <a:pt x="56752" y="16340"/>
                </a:lnTo>
                <a:lnTo>
                  <a:pt x="55470" y="14949"/>
                </a:lnTo>
                <a:cubicBezTo>
                  <a:pt x="55376" y="14855"/>
                  <a:pt x="55267" y="14824"/>
                  <a:pt x="55157" y="14839"/>
                </a:cubicBezTo>
                <a:cubicBezTo>
                  <a:pt x="55032" y="14855"/>
                  <a:pt x="54938" y="14917"/>
                  <a:pt x="54876" y="15027"/>
                </a:cubicBezTo>
                <a:lnTo>
                  <a:pt x="53656" y="17451"/>
                </a:lnTo>
                <a:lnTo>
                  <a:pt x="53656" y="17059"/>
                </a:lnTo>
                <a:cubicBezTo>
                  <a:pt x="53656" y="16856"/>
                  <a:pt x="53499" y="16700"/>
                  <a:pt x="53296" y="16700"/>
                </a:cubicBezTo>
                <a:cubicBezTo>
                  <a:pt x="53249" y="16700"/>
                  <a:pt x="53203" y="16700"/>
                  <a:pt x="53171" y="16716"/>
                </a:cubicBezTo>
                <a:cubicBezTo>
                  <a:pt x="52796" y="16090"/>
                  <a:pt x="52921" y="16299"/>
                  <a:pt x="52796" y="16090"/>
                </a:cubicBezTo>
                <a:cubicBezTo>
                  <a:pt x="52686" y="15933"/>
                  <a:pt x="52468" y="15871"/>
                  <a:pt x="52296" y="15980"/>
                </a:cubicBezTo>
                <a:cubicBezTo>
                  <a:pt x="52123" y="16075"/>
                  <a:pt x="52077" y="16293"/>
                  <a:pt x="52170" y="16465"/>
                </a:cubicBezTo>
                <a:lnTo>
                  <a:pt x="52671" y="17294"/>
                </a:lnTo>
                <a:cubicBezTo>
                  <a:pt x="52733" y="17388"/>
                  <a:pt x="52827" y="17451"/>
                  <a:pt x="52937" y="17451"/>
                </a:cubicBezTo>
                <a:lnTo>
                  <a:pt x="52937" y="17998"/>
                </a:lnTo>
                <a:cubicBezTo>
                  <a:pt x="52937" y="18170"/>
                  <a:pt x="53046" y="18310"/>
                  <a:pt x="53203" y="18342"/>
                </a:cubicBezTo>
                <a:lnTo>
                  <a:pt x="51076" y="22517"/>
                </a:lnTo>
                <a:cubicBezTo>
                  <a:pt x="51029" y="22501"/>
                  <a:pt x="50982" y="22486"/>
                  <a:pt x="50935" y="22486"/>
                </a:cubicBezTo>
                <a:cubicBezTo>
                  <a:pt x="50732" y="22486"/>
                  <a:pt x="50576" y="22642"/>
                  <a:pt x="50576" y="22845"/>
                </a:cubicBezTo>
                <a:lnTo>
                  <a:pt x="50576" y="23518"/>
                </a:lnTo>
                <a:lnTo>
                  <a:pt x="48949" y="26723"/>
                </a:lnTo>
                <a:lnTo>
                  <a:pt x="47479" y="25097"/>
                </a:lnTo>
                <a:lnTo>
                  <a:pt x="47479" y="24237"/>
                </a:lnTo>
                <a:cubicBezTo>
                  <a:pt x="47479" y="24049"/>
                  <a:pt x="47323" y="23877"/>
                  <a:pt x="47120" y="23877"/>
                </a:cubicBezTo>
                <a:cubicBezTo>
                  <a:pt x="46916" y="23877"/>
                  <a:pt x="46760" y="24049"/>
                  <a:pt x="46760" y="24237"/>
                </a:cubicBezTo>
                <a:lnTo>
                  <a:pt x="46760" y="24299"/>
                </a:lnTo>
                <a:lnTo>
                  <a:pt x="45118" y="22470"/>
                </a:lnTo>
                <a:lnTo>
                  <a:pt x="45118" y="21954"/>
                </a:lnTo>
                <a:cubicBezTo>
                  <a:pt x="45118" y="21766"/>
                  <a:pt x="44962" y="21610"/>
                  <a:pt x="44759" y="21610"/>
                </a:cubicBezTo>
                <a:cubicBezTo>
                  <a:pt x="44649" y="21610"/>
                  <a:pt x="44540" y="21657"/>
                  <a:pt x="44477" y="21750"/>
                </a:cubicBezTo>
                <a:cubicBezTo>
                  <a:pt x="41302" y="18217"/>
                  <a:pt x="42360" y="19395"/>
                  <a:pt x="41302" y="18217"/>
                </a:cubicBezTo>
                <a:lnTo>
                  <a:pt x="41302" y="17982"/>
                </a:lnTo>
                <a:cubicBezTo>
                  <a:pt x="41302" y="17779"/>
                  <a:pt x="41146" y="17622"/>
                  <a:pt x="40943" y="17622"/>
                </a:cubicBezTo>
                <a:cubicBezTo>
                  <a:pt x="40896" y="17622"/>
                  <a:pt x="40849" y="17638"/>
                  <a:pt x="40802" y="17654"/>
                </a:cubicBezTo>
                <a:lnTo>
                  <a:pt x="38942" y="15590"/>
                </a:lnTo>
                <a:lnTo>
                  <a:pt x="38942" y="6614"/>
                </a:lnTo>
                <a:cubicBezTo>
                  <a:pt x="38942" y="6411"/>
                  <a:pt x="38785" y="6254"/>
                  <a:pt x="38582" y="6254"/>
                </a:cubicBezTo>
                <a:lnTo>
                  <a:pt x="34766" y="6254"/>
                </a:lnTo>
                <a:cubicBezTo>
                  <a:pt x="34579" y="6254"/>
                  <a:pt x="34422" y="6411"/>
                  <a:pt x="34422" y="6614"/>
                </a:cubicBezTo>
                <a:lnTo>
                  <a:pt x="34422" y="14526"/>
                </a:lnTo>
                <a:lnTo>
                  <a:pt x="32765" y="16669"/>
                </a:lnTo>
                <a:lnTo>
                  <a:pt x="32765" y="4003"/>
                </a:lnTo>
                <a:cubicBezTo>
                  <a:pt x="32765" y="3815"/>
                  <a:pt x="32608" y="3658"/>
                  <a:pt x="32405" y="3658"/>
                </a:cubicBezTo>
                <a:lnTo>
                  <a:pt x="28605" y="3658"/>
                </a:lnTo>
                <a:cubicBezTo>
                  <a:pt x="28402" y="3658"/>
                  <a:pt x="28246" y="3815"/>
                  <a:pt x="28246" y="4003"/>
                </a:cubicBezTo>
                <a:lnTo>
                  <a:pt x="28246" y="19108"/>
                </a:lnTo>
                <a:lnTo>
                  <a:pt x="28230" y="19092"/>
                </a:lnTo>
                <a:cubicBezTo>
                  <a:pt x="28074" y="18983"/>
                  <a:pt x="27839" y="19030"/>
                  <a:pt x="27729" y="19186"/>
                </a:cubicBezTo>
                <a:cubicBezTo>
                  <a:pt x="27620" y="19343"/>
                  <a:pt x="27667" y="19577"/>
                  <a:pt x="27823" y="19686"/>
                </a:cubicBezTo>
                <a:lnTo>
                  <a:pt x="28246" y="19968"/>
                </a:lnTo>
                <a:lnTo>
                  <a:pt x="28246" y="22548"/>
                </a:lnTo>
                <a:lnTo>
                  <a:pt x="26588" y="24690"/>
                </a:lnTo>
                <a:lnTo>
                  <a:pt x="26588" y="18842"/>
                </a:lnTo>
                <a:cubicBezTo>
                  <a:pt x="26651" y="18889"/>
                  <a:pt x="26729" y="18905"/>
                  <a:pt x="26791" y="18905"/>
                </a:cubicBezTo>
                <a:cubicBezTo>
                  <a:pt x="26901" y="18905"/>
                  <a:pt x="27010" y="18842"/>
                  <a:pt x="27088" y="18748"/>
                </a:cubicBezTo>
                <a:cubicBezTo>
                  <a:pt x="27198" y="18576"/>
                  <a:pt x="27151" y="18357"/>
                  <a:pt x="26995" y="18248"/>
                </a:cubicBezTo>
                <a:lnTo>
                  <a:pt x="26588" y="17982"/>
                </a:lnTo>
                <a:lnTo>
                  <a:pt x="26588" y="9007"/>
                </a:lnTo>
                <a:cubicBezTo>
                  <a:pt x="26588" y="8803"/>
                  <a:pt x="26432" y="8647"/>
                  <a:pt x="26244" y="8647"/>
                </a:cubicBezTo>
                <a:cubicBezTo>
                  <a:pt x="22429" y="8647"/>
                  <a:pt x="23700" y="8647"/>
                  <a:pt x="22429" y="8647"/>
                </a:cubicBezTo>
                <a:cubicBezTo>
                  <a:pt x="22225" y="8647"/>
                  <a:pt x="22069" y="8803"/>
                  <a:pt x="22069" y="9007"/>
                </a:cubicBezTo>
                <a:lnTo>
                  <a:pt x="22069" y="18639"/>
                </a:lnTo>
                <a:lnTo>
                  <a:pt x="22022" y="18686"/>
                </a:lnTo>
                <a:cubicBezTo>
                  <a:pt x="21881" y="18827"/>
                  <a:pt x="21881" y="19061"/>
                  <a:pt x="22022" y="19202"/>
                </a:cubicBezTo>
                <a:cubicBezTo>
                  <a:pt x="22037" y="19217"/>
                  <a:pt x="22054" y="19233"/>
                  <a:pt x="22069" y="19249"/>
                </a:cubicBezTo>
                <a:lnTo>
                  <a:pt x="22069" y="26801"/>
                </a:lnTo>
                <a:cubicBezTo>
                  <a:pt x="20427" y="26051"/>
                  <a:pt x="20974" y="26301"/>
                  <a:pt x="20427" y="26051"/>
                </a:cubicBezTo>
                <a:lnTo>
                  <a:pt x="20427" y="21016"/>
                </a:lnTo>
                <a:cubicBezTo>
                  <a:pt x="20458" y="21031"/>
                  <a:pt x="20505" y="21031"/>
                  <a:pt x="20536" y="21031"/>
                </a:cubicBezTo>
                <a:cubicBezTo>
                  <a:pt x="20630" y="21031"/>
                  <a:pt x="20724" y="21000"/>
                  <a:pt x="20787" y="20937"/>
                </a:cubicBezTo>
                <a:lnTo>
                  <a:pt x="21491" y="20234"/>
                </a:lnTo>
                <a:cubicBezTo>
                  <a:pt x="21616" y="20093"/>
                  <a:pt x="21616" y="19874"/>
                  <a:pt x="21491" y="19733"/>
                </a:cubicBezTo>
                <a:cubicBezTo>
                  <a:pt x="21349" y="19593"/>
                  <a:pt x="21115" y="19593"/>
                  <a:pt x="20974" y="19733"/>
                </a:cubicBezTo>
                <a:lnTo>
                  <a:pt x="20427" y="20296"/>
                </a:lnTo>
                <a:lnTo>
                  <a:pt x="20427" y="15183"/>
                </a:lnTo>
                <a:cubicBezTo>
                  <a:pt x="20427" y="14995"/>
                  <a:pt x="20255" y="14824"/>
                  <a:pt x="20067" y="14824"/>
                </a:cubicBezTo>
                <a:lnTo>
                  <a:pt x="16252" y="14824"/>
                </a:lnTo>
                <a:cubicBezTo>
                  <a:pt x="16049" y="14824"/>
                  <a:pt x="15892" y="14995"/>
                  <a:pt x="15892" y="15183"/>
                </a:cubicBezTo>
                <a:lnTo>
                  <a:pt x="15892" y="23987"/>
                </a:lnTo>
                <a:lnTo>
                  <a:pt x="14250" y="23236"/>
                </a:lnTo>
                <a:lnTo>
                  <a:pt x="14250" y="12947"/>
                </a:lnTo>
                <a:cubicBezTo>
                  <a:pt x="14250" y="12743"/>
                  <a:pt x="14094" y="12587"/>
                  <a:pt x="13891" y="12587"/>
                </a:cubicBezTo>
                <a:lnTo>
                  <a:pt x="10075" y="12587"/>
                </a:lnTo>
                <a:cubicBezTo>
                  <a:pt x="9888" y="12587"/>
                  <a:pt x="9715" y="12743"/>
                  <a:pt x="9715" y="12947"/>
                </a:cubicBezTo>
                <a:lnTo>
                  <a:pt x="9715" y="24315"/>
                </a:lnTo>
                <a:lnTo>
                  <a:pt x="8074" y="25941"/>
                </a:lnTo>
                <a:lnTo>
                  <a:pt x="8074" y="18467"/>
                </a:lnTo>
                <a:cubicBezTo>
                  <a:pt x="8074" y="18264"/>
                  <a:pt x="7918" y="18107"/>
                  <a:pt x="7714" y="18107"/>
                </a:cubicBezTo>
                <a:lnTo>
                  <a:pt x="3898" y="18107"/>
                </a:lnTo>
                <a:cubicBezTo>
                  <a:pt x="3711" y="18107"/>
                  <a:pt x="3555" y="18264"/>
                  <a:pt x="3555" y="18467"/>
                </a:cubicBezTo>
                <a:lnTo>
                  <a:pt x="3555" y="30382"/>
                </a:lnTo>
                <a:lnTo>
                  <a:pt x="3226" y="30695"/>
                </a:lnTo>
                <a:cubicBezTo>
                  <a:pt x="3210" y="30695"/>
                  <a:pt x="3179" y="30695"/>
                  <a:pt x="3148" y="30711"/>
                </a:cubicBezTo>
                <a:lnTo>
                  <a:pt x="2194" y="30899"/>
                </a:lnTo>
                <a:cubicBezTo>
                  <a:pt x="2006" y="30945"/>
                  <a:pt x="1881" y="31133"/>
                  <a:pt x="1913" y="31320"/>
                </a:cubicBezTo>
                <a:cubicBezTo>
                  <a:pt x="1959" y="31493"/>
                  <a:pt x="2100" y="31602"/>
                  <a:pt x="2272" y="31602"/>
                </a:cubicBezTo>
                <a:lnTo>
                  <a:pt x="2304" y="31602"/>
                </a:lnTo>
                <a:lnTo>
                  <a:pt x="114" y="33776"/>
                </a:lnTo>
                <a:cubicBezTo>
                  <a:pt x="-26" y="33901"/>
                  <a:pt x="-26" y="34135"/>
                  <a:pt x="114" y="34276"/>
                </a:cubicBezTo>
                <a:cubicBezTo>
                  <a:pt x="177" y="34339"/>
                  <a:pt x="271" y="34385"/>
                  <a:pt x="365" y="34385"/>
                </a:cubicBezTo>
                <a:cubicBezTo>
                  <a:pt x="458" y="34385"/>
                  <a:pt x="536" y="34354"/>
                  <a:pt x="615" y="34276"/>
                </a:cubicBezTo>
                <a:lnTo>
                  <a:pt x="3555" y="31383"/>
                </a:lnTo>
                <a:lnTo>
                  <a:pt x="3555" y="37247"/>
                </a:lnTo>
                <a:lnTo>
                  <a:pt x="365" y="37247"/>
                </a:lnTo>
                <a:cubicBezTo>
                  <a:pt x="161" y="37247"/>
                  <a:pt x="5" y="37404"/>
                  <a:pt x="5" y="37591"/>
                </a:cubicBezTo>
                <a:cubicBezTo>
                  <a:pt x="5" y="37794"/>
                  <a:pt x="161" y="37951"/>
                  <a:pt x="365" y="37951"/>
                </a:cubicBezTo>
                <a:lnTo>
                  <a:pt x="3898" y="37951"/>
                </a:lnTo>
                <a:lnTo>
                  <a:pt x="7714" y="37951"/>
                </a:lnTo>
                <a:lnTo>
                  <a:pt x="10075" y="37951"/>
                </a:lnTo>
                <a:lnTo>
                  <a:pt x="13891" y="37951"/>
                </a:lnTo>
                <a:cubicBezTo>
                  <a:pt x="16252" y="37951"/>
                  <a:pt x="15465" y="37951"/>
                  <a:pt x="16252" y="37951"/>
                </a:cubicBezTo>
                <a:lnTo>
                  <a:pt x="20067" y="37951"/>
                </a:lnTo>
                <a:lnTo>
                  <a:pt x="22429" y="37951"/>
                </a:lnTo>
                <a:cubicBezTo>
                  <a:pt x="26244" y="37951"/>
                  <a:pt x="24972" y="37951"/>
                  <a:pt x="26244" y="37951"/>
                </a:cubicBezTo>
                <a:lnTo>
                  <a:pt x="28605" y="37951"/>
                </a:lnTo>
                <a:lnTo>
                  <a:pt x="32405" y="37951"/>
                </a:lnTo>
                <a:cubicBezTo>
                  <a:pt x="34766" y="37951"/>
                  <a:pt x="33979" y="37951"/>
                  <a:pt x="34766" y="37951"/>
                </a:cubicBezTo>
                <a:lnTo>
                  <a:pt x="38582" y="37951"/>
                </a:lnTo>
                <a:lnTo>
                  <a:pt x="40943" y="37951"/>
                </a:lnTo>
                <a:cubicBezTo>
                  <a:pt x="41334" y="37951"/>
                  <a:pt x="41203" y="37951"/>
                  <a:pt x="41334" y="37951"/>
                </a:cubicBezTo>
                <a:lnTo>
                  <a:pt x="42773" y="37951"/>
                </a:lnTo>
                <a:lnTo>
                  <a:pt x="43726" y="37951"/>
                </a:lnTo>
                <a:lnTo>
                  <a:pt x="48058" y="37951"/>
                </a:lnTo>
                <a:lnTo>
                  <a:pt x="49012" y="37951"/>
                </a:lnTo>
                <a:lnTo>
                  <a:pt x="50435" y="37951"/>
                </a:lnTo>
                <a:lnTo>
                  <a:pt x="50935" y="37951"/>
                </a:lnTo>
                <a:lnTo>
                  <a:pt x="54188" y="37951"/>
                </a:lnTo>
                <a:lnTo>
                  <a:pt x="55142" y="37951"/>
                </a:lnTo>
                <a:lnTo>
                  <a:pt x="56564" y="37951"/>
                </a:lnTo>
                <a:lnTo>
                  <a:pt x="57112" y="37951"/>
                </a:lnTo>
                <a:cubicBezTo>
                  <a:pt x="60646" y="37951"/>
                  <a:pt x="59468" y="37951"/>
                  <a:pt x="60646" y="37951"/>
                </a:cubicBezTo>
                <a:cubicBezTo>
                  <a:pt x="60849" y="37951"/>
                  <a:pt x="61005" y="37794"/>
                  <a:pt x="61005" y="37591"/>
                </a:cubicBezTo>
                <a:cubicBezTo>
                  <a:pt x="61005" y="37404"/>
                  <a:pt x="60849" y="37247"/>
                  <a:pt x="60646" y="37247"/>
                </a:cubicBezTo>
                <a:close/>
                <a:moveTo>
                  <a:pt x="35126" y="6973"/>
                </a:moveTo>
                <a:lnTo>
                  <a:pt x="38222" y="6973"/>
                </a:lnTo>
                <a:lnTo>
                  <a:pt x="38222" y="14792"/>
                </a:lnTo>
                <a:lnTo>
                  <a:pt x="36346" y="12697"/>
                </a:lnTo>
                <a:cubicBezTo>
                  <a:pt x="36283" y="12618"/>
                  <a:pt x="36173" y="12587"/>
                  <a:pt x="36064" y="12587"/>
                </a:cubicBezTo>
                <a:cubicBezTo>
                  <a:pt x="35970" y="12587"/>
                  <a:pt x="35861" y="12634"/>
                  <a:pt x="35798" y="12728"/>
                </a:cubicBezTo>
                <a:lnTo>
                  <a:pt x="35126" y="13604"/>
                </a:lnTo>
                <a:close/>
                <a:moveTo>
                  <a:pt x="34422" y="15699"/>
                </a:moveTo>
                <a:lnTo>
                  <a:pt x="34422" y="23299"/>
                </a:lnTo>
                <a:cubicBezTo>
                  <a:pt x="34250" y="23189"/>
                  <a:pt x="34031" y="23236"/>
                  <a:pt x="33922" y="23393"/>
                </a:cubicBezTo>
                <a:cubicBezTo>
                  <a:pt x="33813" y="23564"/>
                  <a:pt x="33859" y="23784"/>
                  <a:pt x="34016" y="23893"/>
                </a:cubicBezTo>
                <a:lnTo>
                  <a:pt x="34422" y="24159"/>
                </a:lnTo>
                <a:lnTo>
                  <a:pt x="34422" y="37247"/>
                </a:lnTo>
                <a:cubicBezTo>
                  <a:pt x="32765" y="37247"/>
                  <a:pt x="33317" y="37247"/>
                  <a:pt x="32765" y="37247"/>
                </a:cubicBezTo>
                <a:lnTo>
                  <a:pt x="32765" y="23048"/>
                </a:lnTo>
                <a:lnTo>
                  <a:pt x="32780" y="23048"/>
                </a:lnTo>
                <a:cubicBezTo>
                  <a:pt x="32843" y="23096"/>
                  <a:pt x="32921" y="23111"/>
                  <a:pt x="32984" y="23111"/>
                </a:cubicBezTo>
                <a:cubicBezTo>
                  <a:pt x="33093" y="23111"/>
                  <a:pt x="33203" y="23064"/>
                  <a:pt x="33281" y="22955"/>
                </a:cubicBezTo>
                <a:cubicBezTo>
                  <a:pt x="33390" y="22798"/>
                  <a:pt x="33343" y="22580"/>
                  <a:pt x="33187" y="22455"/>
                </a:cubicBezTo>
                <a:lnTo>
                  <a:pt x="32765" y="22173"/>
                </a:lnTo>
                <a:lnTo>
                  <a:pt x="32765" y="17841"/>
                </a:lnTo>
                <a:close/>
                <a:moveTo>
                  <a:pt x="28965" y="20296"/>
                </a:moveTo>
                <a:cubicBezTo>
                  <a:pt x="29027" y="20265"/>
                  <a:pt x="29105" y="20218"/>
                  <a:pt x="29153" y="20156"/>
                </a:cubicBezTo>
                <a:cubicBezTo>
                  <a:pt x="29262" y="19984"/>
                  <a:pt x="29215" y="19765"/>
                  <a:pt x="29059" y="19655"/>
                </a:cubicBezTo>
                <a:lnTo>
                  <a:pt x="28965" y="19593"/>
                </a:lnTo>
                <a:lnTo>
                  <a:pt x="28965" y="4362"/>
                </a:lnTo>
                <a:lnTo>
                  <a:pt x="32061" y="4362"/>
                </a:lnTo>
                <a:lnTo>
                  <a:pt x="32061" y="17591"/>
                </a:lnTo>
                <a:lnTo>
                  <a:pt x="28965" y="21625"/>
                </a:lnTo>
                <a:close/>
                <a:moveTo>
                  <a:pt x="28246" y="23721"/>
                </a:moveTo>
                <a:lnTo>
                  <a:pt x="28246" y="37247"/>
                </a:lnTo>
                <a:lnTo>
                  <a:pt x="26588" y="37247"/>
                </a:lnTo>
                <a:lnTo>
                  <a:pt x="26588" y="25863"/>
                </a:lnTo>
                <a:close/>
                <a:moveTo>
                  <a:pt x="22788" y="18936"/>
                </a:moveTo>
                <a:lnTo>
                  <a:pt x="23210" y="18498"/>
                </a:lnTo>
                <a:cubicBezTo>
                  <a:pt x="23351" y="18357"/>
                  <a:pt x="23351" y="18139"/>
                  <a:pt x="23210" y="17998"/>
                </a:cubicBezTo>
                <a:cubicBezTo>
                  <a:pt x="23101" y="17888"/>
                  <a:pt x="22913" y="17857"/>
                  <a:pt x="22788" y="17935"/>
                </a:cubicBezTo>
                <a:lnTo>
                  <a:pt x="22788" y="9366"/>
                </a:lnTo>
                <a:lnTo>
                  <a:pt x="25884" y="9366"/>
                </a:lnTo>
                <a:lnTo>
                  <a:pt x="25884" y="17638"/>
                </a:lnTo>
                <a:cubicBezTo>
                  <a:pt x="25790" y="17654"/>
                  <a:pt x="25728" y="17701"/>
                  <a:pt x="25665" y="17779"/>
                </a:cubicBezTo>
                <a:cubicBezTo>
                  <a:pt x="25556" y="17951"/>
                  <a:pt x="25603" y="18170"/>
                  <a:pt x="25759" y="18279"/>
                </a:cubicBezTo>
                <a:cubicBezTo>
                  <a:pt x="25884" y="18357"/>
                  <a:pt x="25842" y="18331"/>
                  <a:pt x="25884" y="18357"/>
                </a:cubicBezTo>
                <a:lnTo>
                  <a:pt x="25884" y="25628"/>
                </a:lnTo>
                <a:lnTo>
                  <a:pt x="24227" y="27787"/>
                </a:lnTo>
                <a:lnTo>
                  <a:pt x="22788" y="27130"/>
                </a:lnTo>
                <a:close/>
                <a:moveTo>
                  <a:pt x="22069" y="27584"/>
                </a:moveTo>
                <a:lnTo>
                  <a:pt x="22069" y="37247"/>
                </a:lnTo>
                <a:cubicBezTo>
                  <a:pt x="20427" y="37247"/>
                  <a:pt x="20974" y="37247"/>
                  <a:pt x="20427" y="37247"/>
                </a:cubicBezTo>
                <a:lnTo>
                  <a:pt x="20427" y="26833"/>
                </a:lnTo>
                <a:close/>
                <a:moveTo>
                  <a:pt x="16612" y="15543"/>
                </a:moveTo>
                <a:lnTo>
                  <a:pt x="19708" y="15543"/>
                </a:lnTo>
                <a:lnTo>
                  <a:pt x="19708" y="21422"/>
                </a:lnTo>
                <a:cubicBezTo>
                  <a:pt x="19567" y="21329"/>
                  <a:pt x="19379" y="21344"/>
                  <a:pt x="19254" y="21469"/>
                </a:cubicBezTo>
                <a:lnTo>
                  <a:pt x="18551" y="22157"/>
                </a:lnTo>
                <a:cubicBezTo>
                  <a:pt x="18426" y="22298"/>
                  <a:pt x="18426" y="22533"/>
                  <a:pt x="18551" y="22673"/>
                </a:cubicBezTo>
                <a:cubicBezTo>
                  <a:pt x="18629" y="22736"/>
                  <a:pt x="18722" y="22767"/>
                  <a:pt x="18816" y="22767"/>
                </a:cubicBezTo>
                <a:cubicBezTo>
                  <a:pt x="18895" y="22767"/>
                  <a:pt x="18989" y="22736"/>
                  <a:pt x="19067" y="22658"/>
                </a:cubicBezTo>
                <a:lnTo>
                  <a:pt x="19708" y="22017"/>
                </a:lnTo>
                <a:lnTo>
                  <a:pt x="19708" y="25723"/>
                </a:lnTo>
                <a:lnTo>
                  <a:pt x="17034" y="24503"/>
                </a:lnTo>
                <a:lnTo>
                  <a:pt x="17081" y="24503"/>
                </a:lnTo>
                <a:cubicBezTo>
                  <a:pt x="17175" y="24503"/>
                  <a:pt x="17268" y="24472"/>
                  <a:pt x="17331" y="24394"/>
                </a:cubicBezTo>
                <a:lnTo>
                  <a:pt x="18019" y="23705"/>
                </a:lnTo>
                <a:cubicBezTo>
                  <a:pt x="18159" y="23564"/>
                  <a:pt x="18159" y="23346"/>
                  <a:pt x="18019" y="23205"/>
                </a:cubicBezTo>
                <a:cubicBezTo>
                  <a:pt x="17878" y="23064"/>
                  <a:pt x="17659" y="23064"/>
                  <a:pt x="17518" y="23205"/>
                </a:cubicBezTo>
                <a:lnTo>
                  <a:pt x="16830" y="23893"/>
                </a:lnTo>
                <a:cubicBezTo>
                  <a:pt x="16690" y="24034"/>
                  <a:pt x="16690" y="24268"/>
                  <a:pt x="16830" y="24394"/>
                </a:cubicBezTo>
                <a:cubicBezTo>
                  <a:pt x="16830" y="24409"/>
                  <a:pt x="16840" y="24404"/>
                  <a:pt x="16846" y="24409"/>
                </a:cubicBezTo>
                <a:lnTo>
                  <a:pt x="16612" y="24315"/>
                </a:lnTo>
                <a:close/>
                <a:moveTo>
                  <a:pt x="15892" y="24769"/>
                </a:moveTo>
                <a:lnTo>
                  <a:pt x="15892" y="24862"/>
                </a:lnTo>
                <a:cubicBezTo>
                  <a:pt x="15861" y="24878"/>
                  <a:pt x="15830" y="24909"/>
                  <a:pt x="15799" y="24940"/>
                </a:cubicBezTo>
                <a:lnTo>
                  <a:pt x="15095" y="25628"/>
                </a:lnTo>
                <a:cubicBezTo>
                  <a:pt x="14954" y="25770"/>
                  <a:pt x="14954" y="25988"/>
                  <a:pt x="15095" y="26129"/>
                </a:cubicBezTo>
                <a:cubicBezTo>
                  <a:pt x="15173" y="26207"/>
                  <a:pt x="15267" y="26238"/>
                  <a:pt x="15361" y="26238"/>
                </a:cubicBezTo>
                <a:cubicBezTo>
                  <a:pt x="15439" y="26238"/>
                  <a:pt x="15532" y="26207"/>
                  <a:pt x="15611" y="26129"/>
                </a:cubicBezTo>
                <a:lnTo>
                  <a:pt x="15892" y="25848"/>
                </a:lnTo>
                <a:lnTo>
                  <a:pt x="15892" y="37247"/>
                </a:lnTo>
                <a:lnTo>
                  <a:pt x="14250" y="37247"/>
                </a:lnTo>
                <a:lnTo>
                  <a:pt x="14250" y="27489"/>
                </a:lnTo>
                <a:lnTo>
                  <a:pt x="14563" y="27177"/>
                </a:lnTo>
                <a:cubicBezTo>
                  <a:pt x="14704" y="27036"/>
                  <a:pt x="14704" y="26801"/>
                  <a:pt x="14563" y="26661"/>
                </a:cubicBezTo>
                <a:cubicBezTo>
                  <a:pt x="14485" y="26583"/>
                  <a:pt x="14360" y="26551"/>
                  <a:pt x="14250" y="26567"/>
                </a:cubicBezTo>
                <a:lnTo>
                  <a:pt x="14250" y="24018"/>
                </a:lnTo>
                <a:close/>
                <a:moveTo>
                  <a:pt x="10435" y="13306"/>
                </a:moveTo>
                <a:cubicBezTo>
                  <a:pt x="13531" y="13306"/>
                  <a:pt x="12499" y="13306"/>
                  <a:pt x="13531" y="13306"/>
                </a:cubicBezTo>
                <a:lnTo>
                  <a:pt x="13531" y="22908"/>
                </a:lnTo>
                <a:lnTo>
                  <a:pt x="12139" y="22267"/>
                </a:lnTo>
                <a:cubicBezTo>
                  <a:pt x="11999" y="22204"/>
                  <a:pt x="11842" y="22235"/>
                  <a:pt x="11733" y="22329"/>
                </a:cubicBezTo>
                <a:cubicBezTo>
                  <a:pt x="10435" y="23611"/>
                  <a:pt x="10867" y="23184"/>
                  <a:pt x="10435" y="23611"/>
                </a:cubicBezTo>
                <a:close/>
                <a:moveTo>
                  <a:pt x="9715" y="25316"/>
                </a:moveTo>
                <a:lnTo>
                  <a:pt x="9715" y="29366"/>
                </a:lnTo>
                <a:lnTo>
                  <a:pt x="9387" y="29428"/>
                </a:lnTo>
                <a:cubicBezTo>
                  <a:pt x="9200" y="29460"/>
                  <a:pt x="9074" y="29663"/>
                  <a:pt x="9105" y="29851"/>
                </a:cubicBezTo>
                <a:cubicBezTo>
                  <a:pt x="9152" y="30023"/>
                  <a:pt x="9294" y="30132"/>
                  <a:pt x="9465" y="30132"/>
                </a:cubicBezTo>
                <a:lnTo>
                  <a:pt x="9528" y="30132"/>
                </a:lnTo>
                <a:lnTo>
                  <a:pt x="9715" y="30085"/>
                </a:lnTo>
                <a:lnTo>
                  <a:pt x="9715" y="37247"/>
                </a:lnTo>
                <a:lnTo>
                  <a:pt x="8074" y="37247"/>
                </a:lnTo>
                <a:lnTo>
                  <a:pt x="8074" y="30429"/>
                </a:lnTo>
                <a:lnTo>
                  <a:pt x="8089" y="30429"/>
                </a:lnTo>
                <a:cubicBezTo>
                  <a:pt x="8293" y="30382"/>
                  <a:pt x="8417" y="30195"/>
                  <a:pt x="8371" y="30007"/>
                </a:cubicBezTo>
                <a:cubicBezTo>
                  <a:pt x="8339" y="29851"/>
                  <a:pt x="8214" y="29741"/>
                  <a:pt x="8074" y="29726"/>
                </a:cubicBezTo>
                <a:cubicBezTo>
                  <a:pt x="8074" y="26942"/>
                  <a:pt x="8074" y="27870"/>
                  <a:pt x="8074" y="26942"/>
                </a:cubicBezTo>
                <a:close/>
                <a:moveTo>
                  <a:pt x="4258" y="18811"/>
                </a:moveTo>
                <a:lnTo>
                  <a:pt x="7355" y="18811"/>
                </a:lnTo>
                <a:lnTo>
                  <a:pt x="7355" y="26645"/>
                </a:lnTo>
                <a:lnTo>
                  <a:pt x="4258" y="29679"/>
                </a:lnTo>
                <a:close/>
                <a:moveTo>
                  <a:pt x="4258" y="37247"/>
                </a:moveTo>
                <a:lnTo>
                  <a:pt x="4258" y="30695"/>
                </a:lnTo>
                <a:lnTo>
                  <a:pt x="4336" y="30617"/>
                </a:lnTo>
                <a:cubicBezTo>
                  <a:pt x="4305" y="30679"/>
                  <a:pt x="4305" y="30757"/>
                  <a:pt x="4321" y="30836"/>
                </a:cubicBezTo>
                <a:cubicBezTo>
                  <a:pt x="4352" y="31008"/>
                  <a:pt x="4493" y="31117"/>
                  <a:pt x="4665" y="31117"/>
                </a:cubicBezTo>
                <a:lnTo>
                  <a:pt x="4743" y="31117"/>
                </a:lnTo>
                <a:cubicBezTo>
                  <a:pt x="5697" y="30914"/>
                  <a:pt x="5379" y="30982"/>
                  <a:pt x="5697" y="30914"/>
                </a:cubicBezTo>
                <a:cubicBezTo>
                  <a:pt x="5884" y="30867"/>
                  <a:pt x="6010" y="30679"/>
                  <a:pt x="5978" y="30492"/>
                </a:cubicBezTo>
                <a:cubicBezTo>
                  <a:pt x="5931" y="30304"/>
                  <a:pt x="5744" y="30179"/>
                  <a:pt x="5556" y="30211"/>
                </a:cubicBezTo>
                <a:lnTo>
                  <a:pt x="4602" y="30414"/>
                </a:lnTo>
                <a:cubicBezTo>
                  <a:pt x="4571" y="30414"/>
                  <a:pt x="4540" y="30429"/>
                  <a:pt x="4524" y="30429"/>
                </a:cubicBezTo>
                <a:lnTo>
                  <a:pt x="7355" y="27646"/>
                </a:lnTo>
                <a:lnTo>
                  <a:pt x="7355" y="29851"/>
                </a:lnTo>
                <a:lnTo>
                  <a:pt x="6995" y="29913"/>
                </a:lnTo>
                <a:cubicBezTo>
                  <a:pt x="6807" y="29960"/>
                  <a:pt x="6682" y="30148"/>
                  <a:pt x="6713" y="30336"/>
                </a:cubicBezTo>
                <a:cubicBezTo>
                  <a:pt x="6745" y="30507"/>
                  <a:pt x="6901" y="30632"/>
                  <a:pt x="7057" y="30632"/>
                </a:cubicBezTo>
                <a:cubicBezTo>
                  <a:pt x="7088" y="30632"/>
                  <a:pt x="7120" y="30617"/>
                  <a:pt x="7135" y="30617"/>
                </a:cubicBezTo>
                <a:lnTo>
                  <a:pt x="7355" y="30570"/>
                </a:lnTo>
                <a:lnTo>
                  <a:pt x="7355" y="37247"/>
                </a:lnTo>
                <a:close/>
                <a:moveTo>
                  <a:pt x="10435" y="37247"/>
                </a:moveTo>
                <a:lnTo>
                  <a:pt x="10435" y="29944"/>
                </a:lnTo>
                <a:cubicBezTo>
                  <a:pt x="10498" y="29929"/>
                  <a:pt x="10477" y="29934"/>
                  <a:pt x="10498" y="29929"/>
                </a:cubicBezTo>
                <a:cubicBezTo>
                  <a:pt x="10685" y="29898"/>
                  <a:pt x="10810" y="29694"/>
                  <a:pt x="10779" y="29507"/>
                </a:cubicBezTo>
                <a:cubicBezTo>
                  <a:pt x="10732" y="29350"/>
                  <a:pt x="10591" y="29225"/>
                  <a:pt x="10435" y="29225"/>
                </a:cubicBezTo>
                <a:lnTo>
                  <a:pt x="10435" y="24612"/>
                </a:lnTo>
                <a:lnTo>
                  <a:pt x="12061" y="23017"/>
                </a:lnTo>
                <a:cubicBezTo>
                  <a:pt x="13531" y="23689"/>
                  <a:pt x="13041" y="23465"/>
                  <a:pt x="13531" y="23689"/>
                </a:cubicBezTo>
                <a:lnTo>
                  <a:pt x="13531" y="27208"/>
                </a:lnTo>
                <a:lnTo>
                  <a:pt x="13375" y="27364"/>
                </a:lnTo>
                <a:cubicBezTo>
                  <a:pt x="13234" y="27505"/>
                  <a:pt x="13234" y="27724"/>
                  <a:pt x="13375" y="27865"/>
                </a:cubicBezTo>
                <a:cubicBezTo>
                  <a:pt x="13422" y="27912"/>
                  <a:pt x="13468" y="27943"/>
                  <a:pt x="13531" y="27959"/>
                </a:cubicBezTo>
                <a:lnTo>
                  <a:pt x="13531" y="37247"/>
                </a:lnTo>
                <a:close/>
                <a:moveTo>
                  <a:pt x="16612" y="37247"/>
                </a:moveTo>
                <a:lnTo>
                  <a:pt x="16612" y="25097"/>
                </a:lnTo>
                <a:lnTo>
                  <a:pt x="19708" y="26504"/>
                </a:lnTo>
                <a:lnTo>
                  <a:pt x="19708" y="37247"/>
                </a:lnTo>
                <a:close/>
                <a:moveTo>
                  <a:pt x="22788" y="37247"/>
                </a:moveTo>
                <a:lnTo>
                  <a:pt x="22788" y="27912"/>
                </a:lnTo>
                <a:lnTo>
                  <a:pt x="24180" y="28553"/>
                </a:lnTo>
                <a:cubicBezTo>
                  <a:pt x="24336" y="28615"/>
                  <a:pt x="24508" y="28568"/>
                  <a:pt x="24618" y="28443"/>
                </a:cubicBezTo>
                <a:cubicBezTo>
                  <a:pt x="25884" y="26801"/>
                  <a:pt x="25462" y="27348"/>
                  <a:pt x="25884" y="26801"/>
                </a:cubicBezTo>
                <a:lnTo>
                  <a:pt x="25884" y="37247"/>
                </a:lnTo>
                <a:close/>
                <a:moveTo>
                  <a:pt x="28965" y="37247"/>
                </a:moveTo>
                <a:lnTo>
                  <a:pt x="28965" y="22798"/>
                </a:lnTo>
                <a:lnTo>
                  <a:pt x="30138" y="21250"/>
                </a:lnTo>
                <a:lnTo>
                  <a:pt x="30716" y="21641"/>
                </a:lnTo>
                <a:cubicBezTo>
                  <a:pt x="30779" y="21688"/>
                  <a:pt x="30857" y="21704"/>
                  <a:pt x="30919" y="21704"/>
                </a:cubicBezTo>
                <a:cubicBezTo>
                  <a:pt x="31029" y="21704"/>
                  <a:pt x="31139" y="21657"/>
                  <a:pt x="31217" y="21547"/>
                </a:cubicBezTo>
                <a:cubicBezTo>
                  <a:pt x="31326" y="21391"/>
                  <a:pt x="31279" y="21172"/>
                  <a:pt x="31123" y="21062"/>
                </a:cubicBezTo>
                <a:lnTo>
                  <a:pt x="30576" y="20687"/>
                </a:lnTo>
                <a:lnTo>
                  <a:pt x="32061" y="18764"/>
                </a:lnTo>
                <a:lnTo>
                  <a:pt x="32061" y="21860"/>
                </a:lnTo>
                <a:cubicBezTo>
                  <a:pt x="31983" y="21876"/>
                  <a:pt x="31905" y="21923"/>
                  <a:pt x="31858" y="22001"/>
                </a:cubicBezTo>
                <a:cubicBezTo>
                  <a:pt x="31749" y="22157"/>
                  <a:pt x="31795" y="22376"/>
                  <a:pt x="31952" y="22486"/>
                </a:cubicBezTo>
                <a:lnTo>
                  <a:pt x="32061" y="22564"/>
                </a:lnTo>
                <a:lnTo>
                  <a:pt x="32061" y="37247"/>
                </a:lnTo>
                <a:close/>
                <a:moveTo>
                  <a:pt x="35126" y="37247"/>
                </a:moveTo>
                <a:lnTo>
                  <a:pt x="35126" y="24503"/>
                </a:lnTo>
                <a:cubicBezTo>
                  <a:pt x="35220" y="24487"/>
                  <a:pt x="35298" y="24440"/>
                  <a:pt x="35345" y="24362"/>
                </a:cubicBezTo>
                <a:cubicBezTo>
                  <a:pt x="35454" y="24190"/>
                  <a:pt x="35407" y="23971"/>
                  <a:pt x="35251" y="23862"/>
                </a:cubicBezTo>
                <a:lnTo>
                  <a:pt x="35126" y="23784"/>
                </a:lnTo>
                <a:lnTo>
                  <a:pt x="35126" y="14777"/>
                </a:lnTo>
                <a:lnTo>
                  <a:pt x="36111" y="13494"/>
                </a:lnTo>
                <a:lnTo>
                  <a:pt x="38222" y="15871"/>
                </a:lnTo>
                <a:lnTo>
                  <a:pt x="38222" y="22861"/>
                </a:lnTo>
                <a:lnTo>
                  <a:pt x="37644" y="23564"/>
                </a:lnTo>
                <a:cubicBezTo>
                  <a:pt x="37519" y="23721"/>
                  <a:pt x="37534" y="23940"/>
                  <a:pt x="37675" y="24065"/>
                </a:cubicBezTo>
                <a:cubicBezTo>
                  <a:pt x="37753" y="24127"/>
                  <a:pt x="37831" y="24159"/>
                  <a:pt x="37909" y="24159"/>
                </a:cubicBezTo>
                <a:cubicBezTo>
                  <a:pt x="38019" y="24159"/>
                  <a:pt x="38112" y="24112"/>
                  <a:pt x="38191" y="24034"/>
                </a:cubicBezTo>
                <a:lnTo>
                  <a:pt x="38222" y="23971"/>
                </a:lnTo>
                <a:lnTo>
                  <a:pt x="38222" y="37247"/>
                </a:lnTo>
                <a:close/>
                <a:moveTo>
                  <a:pt x="53296" y="13604"/>
                </a:moveTo>
                <a:cubicBezTo>
                  <a:pt x="53499" y="13604"/>
                  <a:pt x="53656" y="13431"/>
                  <a:pt x="53656" y="13244"/>
                </a:cubicBezTo>
                <a:lnTo>
                  <a:pt x="53656" y="12290"/>
                </a:lnTo>
                <a:cubicBezTo>
                  <a:pt x="53656" y="12087"/>
                  <a:pt x="53499" y="11930"/>
                  <a:pt x="53296" y="11930"/>
                </a:cubicBezTo>
                <a:cubicBezTo>
                  <a:pt x="53093" y="11930"/>
                  <a:pt x="52937" y="12087"/>
                  <a:pt x="52937" y="12290"/>
                </a:cubicBezTo>
                <a:lnTo>
                  <a:pt x="52937" y="13244"/>
                </a:lnTo>
                <a:cubicBezTo>
                  <a:pt x="52937" y="13431"/>
                  <a:pt x="53093" y="13604"/>
                  <a:pt x="53296" y="13604"/>
                </a:cubicBezTo>
                <a:close/>
                <a:moveTo>
                  <a:pt x="57456" y="22892"/>
                </a:moveTo>
                <a:cubicBezTo>
                  <a:pt x="57456" y="22689"/>
                  <a:pt x="57299" y="22533"/>
                  <a:pt x="57112" y="22533"/>
                </a:cubicBezTo>
                <a:cubicBezTo>
                  <a:pt x="56909" y="22533"/>
                  <a:pt x="56752" y="22689"/>
                  <a:pt x="56752" y="22892"/>
                </a:cubicBezTo>
                <a:lnTo>
                  <a:pt x="56752" y="23846"/>
                </a:lnTo>
                <a:cubicBezTo>
                  <a:pt x="56752" y="24034"/>
                  <a:pt x="56909" y="24190"/>
                  <a:pt x="57112" y="24190"/>
                </a:cubicBezTo>
                <a:cubicBezTo>
                  <a:pt x="57299" y="24190"/>
                  <a:pt x="57456" y="24034"/>
                  <a:pt x="57456" y="23846"/>
                </a:cubicBezTo>
                <a:close/>
                <a:moveTo>
                  <a:pt x="57456" y="27646"/>
                </a:moveTo>
                <a:cubicBezTo>
                  <a:pt x="57456" y="27458"/>
                  <a:pt x="57299" y="27302"/>
                  <a:pt x="57112" y="27302"/>
                </a:cubicBezTo>
                <a:cubicBezTo>
                  <a:pt x="56909" y="27302"/>
                  <a:pt x="56752" y="27458"/>
                  <a:pt x="56752" y="27646"/>
                </a:cubicBezTo>
                <a:lnTo>
                  <a:pt x="56752" y="28600"/>
                </a:lnTo>
                <a:cubicBezTo>
                  <a:pt x="56752" y="28803"/>
                  <a:pt x="56909" y="28960"/>
                  <a:pt x="57112" y="28960"/>
                </a:cubicBezTo>
                <a:cubicBezTo>
                  <a:pt x="57299" y="28960"/>
                  <a:pt x="57456" y="28803"/>
                  <a:pt x="57456" y="28600"/>
                </a:cubicBezTo>
                <a:close/>
                <a:moveTo>
                  <a:pt x="57456" y="20499"/>
                </a:moveTo>
                <a:cubicBezTo>
                  <a:pt x="57456" y="20312"/>
                  <a:pt x="57299" y="20156"/>
                  <a:pt x="57112" y="20156"/>
                </a:cubicBezTo>
                <a:cubicBezTo>
                  <a:pt x="56909" y="20156"/>
                  <a:pt x="56752" y="20312"/>
                  <a:pt x="56752" y="20499"/>
                </a:cubicBezTo>
                <a:lnTo>
                  <a:pt x="56752" y="21454"/>
                </a:lnTo>
                <a:cubicBezTo>
                  <a:pt x="56752" y="21657"/>
                  <a:pt x="56909" y="21813"/>
                  <a:pt x="57112" y="21813"/>
                </a:cubicBezTo>
                <a:cubicBezTo>
                  <a:pt x="57299" y="21813"/>
                  <a:pt x="57456" y="21657"/>
                  <a:pt x="57456" y="21454"/>
                </a:cubicBezTo>
                <a:close/>
                <a:moveTo>
                  <a:pt x="57456" y="25269"/>
                </a:moveTo>
                <a:cubicBezTo>
                  <a:pt x="57456" y="25066"/>
                  <a:pt x="57299" y="24909"/>
                  <a:pt x="57112" y="24909"/>
                </a:cubicBezTo>
                <a:cubicBezTo>
                  <a:pt x="56909" y="24909"/>
                  <a:pt x="56752" y="25066"/>
                  <a:pt x="56752" y="25269"/>
                </a:cubicBezTo>
                <a:lnTo>
                  <a:pt x="56752" y="26223"/>
                </a:lnTo>
                <a:cubicBezTo>
                  <a:pt x="56752" y="26426"/>
                  <a:pt x="56909" y="26583"/>
                  <a:pt x="57112" y="26583"/>
                </a:cubicBezTo>
                <a:cubicBezTo>
                  <a:pt x="57299" y="26583"/>
                  <a:pt x="57456" y="26426"/>
                  <a:pt x="57456" y="26223"/>
                </a:cubicBezTo>
                <a:close/>
                <a:moveTo>
                  <a:pt x="53296" y="15980"/>
                </a:moveTo>
                <a:cubicBezTo>
                  <a:pt x="53499" y="15980"/>
                  <a:pt x="53656" y="15824"/>
                  <a:pt x="53656" y="15621"/>
                </a:cubicBezTo>
                <a:lnTo>
                  <a:pt x="53656" y="14667"/>
                </a:lnTo>
                <a:cubicBezTo>
                  <a:pt x="53656" y="14479"/>
                  <a:pt x="53499" y="14307"/>
                  <a:pt x="53296" y="14307"/>
                </a:cubicBezTo>
                <a:cubicBezTo>
                  <a:pt x="53093" y="14307"/>
                  <a:pt x="52937" y="14479"/>
                  <a:pt x="52937" y="14667"/>
                </a:cubicBezTo>
                <a:lnTo>
                  <a:pt x="52937" y="15621"/>
                </a:lnTo>
                <a:cubicBezTo>
                  <a:pt x="52937" y="15824"/>
                  <a:pt x="53093" y="15980"/>
                  <a:pt x="53296" y="15980"/>
                </a:cubicBezTo>
                <a:close/>
                <a:moveTo>
                  <a:pt x="57456" y="32415"/>
                </a:moveTo>
                <a:cubicBezTo>
                  <a:pt x="57456" y="32212"/>
                  <a:pt x="57299" y="32056"/>
                  <a:pt x="57112" y="32056"/>
                </a:cubicBezTo>
                <a:cubicBezTo>
                  <a:pt x="56909" y="32056"/>
                  <a:pt x="56752" y="32212"/>
                  <a:pt x="56752" y="32415"/>
                </a:cubicBezTo>
                <a:lnTo>
                  <a:pt x="56752" y="33369"/>
                </a:lnTo>
                <a:cubicBezTo>
                  <a:pt x="56752" y="33572"/>
                  <a:pt x="56909" y="33729"/>
                  <a:pt x="57112" y="33729"/>
                </a:cubicBezTo>
                <a:cubicBezTo>
                  <a:pt x="57299" y="33729"/>
                  <a:pt x="57456" y="33572"/>
                  <a:pt x="57456" y="33369"/>
                </a:cubicBezTo>
                <a:close/>
                <a:moveTo>
                  <a:pt x="57112" y="34448"/>
                </a:moveTo>
                <a:cubicBezTo>
                  <a:pt x="56909" y="34448"/>
                  <a:pt x="56752" y="34604"/>
                  <a:pt x="56752" y="34792"/>
                </a:cubicBezTo>
                <a:lnTo>
                  <a:pt x="56752" y="35746"/>
                </a:lnTo>
                <a:cubicBezTo>
                  <a:pt x="56752" y="35949"/>
                  <a:pt x="56909" y="36106"/>
                  <a:pt x="57112" y="36106"/>
                </a:cubicBezTo>
                <a:cubicBezTo>
                  <a:pt x="57299" y="36106"/>
                  <a:pt x="57456" y="35949"/>
                  <a:pt x="57456" y="35746"/>
                </a:cubicBezTo>
                <a:lnTo>
                  <a:pt x="57456" y="34792"/>
                </a:lnTo>
                <a:cubicBezTo>
                  <a:pt x="57456" y="34604"/>
                  <a:pt x="57299" y="34448"/>
                  <a:pt x="57112" y="34448"/>
                </a:cubicBezTo>
                <a:close/>
                <a:moveTo>
                  <a:pt x="57456" y="30038"/>
                </a:moveTo>
                <a:cubicBezTo>
                  <a:pt x="57456" y="29835"/>
                  <a:pt x="57299" y="29679"/>
                  <a:pt x="57112" y="29679"/>
                </a:cubicBezTo>
                <a:cubicBezTo>
                  <a:pt x="56909" y="29679"/>
                  <a:pt x="56752" y="29835"/>
                  <a:pt x="56752" y="30038"/>
                </a:cubicBezTo>
                <a:lnTo>
                  <a:pt x="56752" y="30992"/>
                </a:lnTo>
                <a:cubicBezTo>
                  <a:pt x="56752" y="31180"/>
                  <a:pt x="56909" y="31336"/>
                  <a:pt x="57112" y="31336"/>
                </a:cubicBezTo>
                <a:cubicBezTo>
                  <a:pt x="57299" y="31336"/>
                  <a:pt x="57456" y="31180"/>
                  <a:pt x="57456" y="30992"/>
                </a:cubicBezTo>
                <a:close/>
                <a:moveTo>
                  <a:pt x="53766" y="11696"/>
                </a:moveTo>
                <a:lnTo>
                  <a:pt x="54719" y="11696"/>
                </a:lnTo>
                <a:cubicBezTo>
                  <a:pt x="54923" y="11696"/>
                  <a:pt x="55079" y="11540"/>
                  <a:pt x="55079" y="11336"/>
                </a:cubicBezTo>
                <a:cubicBezTo>
                  <a:pt x="55079" y="11133"/>
                  <a:pt x="54923" y="10977"/>
                  <a:pt x="54719" y="10977"/>
                </a:cubicBezTo>
                <a:lnTo>
                  <a:pt x="53766" y="10977"/>
                </a:lnTo>
                <a:cubicBezTo>
                  <a:pt x="53578" y="10977"/>
                  <a:pt x="53421" y="11133"/>
                  <a:pt x="53421" y="11336"/>
                </a:cubicBezTo>
                <a:cubicBezTo>
                  <a:pt x="53421" y="11540"/>
                  <a:pt x="53578" y="11696"/>
                  <a:pt x="53766" y="11696"/>
                </a:cubicBezTo>
                <a:close/>
                <a:moveTo>
                  <a:pt x="53656" y="21813"/>
                </a:moveTo>
                <a:cubicBezTo>
                  <a:pt x="53656" y="21625"/>
                  <a:pt x="53499" y="21454"/>
                  <a:pt x="53296" y="21454"/>
                </a:cubicBezTo>
                <a:cubicBezTo>
                  <a:pt x="53093" y="21454"/>
                  <a:pt x="52937" y="21625"/>
                  <a:pt x="52937" y="21813"/>
                </a:cubicBezTo>
                <a:lnTo>
                  <a:pt x="52937" y="22767"/>
                </a:lnTo>
                <a:cubicBezTo>
                  <a:pt x="52937" y="22970"/>
                  <a:pt x="53093" y="23127"/>
                  <a:pt x="53296" y="23127"/>
                </a:cubicBezTo>
                <a:cubicBezTo>
                  <a:pt x="53499" y="23127"/>
                  <a:pt x="53656" y="22970"/>
                  <a:pt x="53656" y="22767"/>
                </a:cubicBezTo>
                <a:close/>
                <a:moveTo>
                  <a:pt x="57112" y="12994"/>
                </a:moveTo>
                <a:cubicBezTo>
                  <a:pt x="56909" y="12994"/>
                  <a:pt x="56752" y="13166"/>
                  <a:pt x="56752" y="13353"/>
                </a:cubicBezTo>
                <a:lnTo>
                  <a:pt x="56752" y="14307"/>
                </a:lnTo>
                <a:cubicBezTo>
                  <a:pt x="56752" y="14511"/>
                  <a:pt x="56909" y="14667"/>
                  <a:pt x="57112" y="14667"/>
                </a:cubicBezTo>
                <a:cubicBezTo>
                  <a:pt x="57299" y="14667"/>
                  <a:pt x="57456" y="14511"/>
                  <a:pt x="57456" y="14307"/>
                </a:cubicBezTo>
                <a:lnTo>
                  <a:pt x="57456" y="13353"/>
                </a:lnTo>
                <a:cubicBezTo>
                  <a:pt x="57456" y="13166"/>
                  <a:pt x="57299" y="12994"/>
                  <a:pt x="57112" y="12994"/>
                </a:cubicBezTo>
                <a:close/>
                <a:moveTo>
                  <a:pt x="53656" y="31352"/>
                </a:moveTo>
                <a:cubicBezTo>
                  <a:pt x="53656" y="31149"/>
                  <a:pt x="53499" y="30992"/>
                  <a:pt x="53296" y="30992"/>
                </a:cubicBezTo>
                <a:cubicBezTo>
                  <a:pt x="53093" y="30992"/>
                  <a:pt x="52937" y="31149"/>
                  <a:pt x="52937" y="31352"/>
                </a:cubicBezTo>
                <a:lnTo>
                  <a:pt x="52937" y="32290"/>
                </a:lnTo>
                <a:cubicBezTo>
                  <a:pt x="52937" y="32493"/>
                  <a:pt x="53093" y="32650"/>
                  <a:pt x="53296" y="32650"/>
                </a:cubicBezTo>
                <a:cubicBezTo>
                  <a:pt x="53499" y="32650"/>
                  <a:pt x="53656" y="32493"/>
                  <a:pt x="53656" y="32290"/>
                </a:cubicBezTo>
                <a:close/>
                <a:moveTo>
                  <a:pt x="56158" y="11696"/>
                </a:moveTo>
                <a:lnTo>
                  <a:pt x="56752" y="11696"/>
                </a:lnTo>
                <a:lnTo>
                  <a:pt x="56752" y="11930"/>
                </a:lnTo>
                <a:cubicBezTo>
                  <a:pt x="56752" y="12134"/>
                  <a:pt x="56909" y="12290"/>
                  <a:pt x="57112" y="12290"/>
                </a:cubicBezTo>
                <a:cubicBezTo>
                  <a:pt x="57299" y="12290"/>
                  <a:pt x="57456" y="12134"/>
                  <a:pt x="57456" y="11930"/>
                </a:cubicBezTo>
                <a:lnTo>
                  <a:pt x="57456" y="11336"/>
                </a:lnTo>
                <a:cubicBezTo>
                  <a:pt x="57456" y="11133"/>
                  <a:pt x="57299" y="10977"/>
                  <a:pt x="57112" y="10977"/>
                </a:cubicBezTo>
                <a:lnTo>
                  <a:pt x="56158" y="10977"/>
                </a:lnTo>
                <a:cubicBezTo>
                  <a:pt x="55955" y="10977"/>
                  <a:pt x="55798" y="11133"/>
                  <a:pt x="55798" y="11336"/>
                </a:cubicBezTo>
                <a:cubicBezTo>
                  <a:pt x="55798" y="11540"/>
                  <a:pt x="55955" y="11696"/>
                  <a:pt x="56158" y="11696"/>
                </a:cubicBezTo>
                <a:close/>
                <a:moveTo>
                  <a:pt x="53656" y="26583"/>
                </a:moveTo>
                <a:cubicBezTo>
                  <a:pt x="53656" y="26379"/>
                  <a:pt x="53499" y="26223"/>
                  <a:pt x="53296" y="26223"/>
                </a:cubicBezTo>
                <a:cubicBezTo>
                  <a:pt x="53093" y="26223"/>
                  <a:pt x="52937" y="26379"/>
                  <a:pt x="52937" y="26583"/>
                </a:cubicBezTo>
                <a:lnTo>
                  <a:pt x="52937" y="27536"/>
                </a:lnTo>
                <a:cubicBezTo>
                  <a:pt x="52937" y="27724"/>
                  <a:pt x="53093" y="27896"/>
                  <a:pt x="53296" y="27896"/>
                </a:cubicBezTo>
                <a:cubicBezTo>
                  <a:pt x="53499" y="27896"/>
                  <a:pt x="53656" y="27724"/>
                  <a:pt x="53656" y="27536"/>
                </a:cubicBezTo>
                <a:close/>
                <a:moveTo>
                  <a:pt x="53296" y="33369"/>
                </a:moveTo>
                <a:cubicBezTo>
                  <a:pt x="53093" y="33369"/>
                  <a:pt x="52937" y="33526"/>
                  <a:pt x="52937" y="33729"/>
                </a:cubicBezTo>
                <a:lnTo>
                  <a:pt x="52937" y="34683"/>
                </a:lnTo>
                <a:cubicBezTo>
                  <a:pt x="52937" y="34870"/>
                  <a:pt x="53093" y="35042"/>
                  <a:pt x="53296" y="35042"/>
                </a:cubicBezTo>
                <a:cubicBezTo>
                  <a:pt x="53499" y="35042"/>
                  <a:pt x="53656" y="34870"/>
                  <a:pt x="53656" y="34683"/>
                </a:cubicBezTo>
                <a:lnTo>
                  <a:pt x="53656" y="33729"/>
                </a:lnTo>
                <a:cubicBezTo>
                  <a:pt x="53656" y="33526"/>
                  <a:pt x="53499" y="33369"/>
                  <a:pt x="53296" y="33369"/>
                </a:cubicBezTo>
                <a:close/>
                <a:moveTo>
                  <a:pt x="53656" y="28960"/>
                </a:moveTo>
                <a:cubicBezTo>
                  <a:pt x="53656" y="28772"/>
                  <a:pt x="53499" y="28600"/>
                  <a:pt x="53296" y="28600"/>
                </a:cubicBezTo>
                <a:cubicBezTo>
                  <a:pt x="53093" y="28600"/>
                  <a:pt x="52937" y="28772"/>
                  <a:pt x="52937" y="28960"/>
                </a:cubicBezTo>
                <a:lnTo>
                  <a:pt x="52937" y="29913"/>
                </a:lnTo>
                <a:cubicBezTo>
                  <a:pt x="52937" y="30116"/>
                  <a:pt x="53093" y="30273"/>
                  <a:pt x="53296" y="30273"/>
                </a:cubicBezTo>
                <a:cubicBezTo>
                  <a:pt x="53499" y="30273"/>
                  <a:pt x="53656" y="30116"/>
                  <a:pt x="53656" y="29913"/>
                </a:cubicBezTo>
                <a:close/>
                <a:moveTo>
                  <a:pt x="53656" y="24206"/>
                </a:moveTo>
                <a:cubicBezTo>
                  <a:pt x="53656" y="24002"/>
                  <a:pt x="53499" y="23846"/>
                  <a:pt x="53296" y="23846"/>
                </a:cubicBezTo>
                <a:cubicBezTo>
                  <a:pt x="53093" y="23846"/>
                  <a:pt x="52937" y="24002"/>
                  <a:pt x="52937" y="24206"/>
                </a:cubicBezTo>
                <a:lnTo>
                  <a:pt x="52937" y="25144"/>
                </a:lnTo>
                <a:cubicBezTo>
                  <a:pt x="52937" y="25347"/>
                  <a:pt x="53093" y="25503"/>
                  <a:pt x="53296" y="25503"/>
                </a:cubicBezTo>
                <a:cubicBezTo>
                  <a:pt x="53499" y="25503"/>
                  <a:pt x="53656" y="25347"/>
                  <a:pt x="53656" y="25144"/>
                </a:cubicBezTo>
                <a:close/>
                <a:moveTo>
                  <a:pt x="51295" y="15699"/>
                </a:moveTo>
                <a:cubicBezTo>
                  <a:pt x="51295" y="15496"/>
                  <a:pt x="51123" y="15339"/>
                  <a:pt x="50935" y="15339"/>
                </a:cubicBezTo>
                <a:cubicBezTo>
                  <a:pt x="50732" y="15339"/>
                  <a:pt x="50576" y="15496"/>
                  <a:pt x="50576" y="15699"/>
                </a:cubicBezTo>
                <a:lnTo>
                  <a:pt x="50576" y="16653"/>
                </a:lnTo>
                <a:cubicBezTo>
                  <a:pt x="50576" y="16841"/>
                  <a:pt x="50732" y="17013"/>
                  <a:pt x="50935" y="17013"/>
                </a:cubicBezTo>
                <a:cubicBezTo>
                  <a:pt x="51123" y="17013"/>
                  <a:pt x="51295" y="16841"/>
                  <a:pt x="51295" y="16653"/>
                </a:cubicBezTo>
                <a:close/>
                <a:moveTo>
                  <a:pt x="51295" y="18076"/>
                </a:moveTo>
                <a:cubicBezTo>
                  <a:pt x="51295" y="17888"/>
                  <a:pt x="51123" y="17716"/>
                  <a:pt x="50935" y="17716"/>
                </a:cubicBezTo>
                <a:cubicBezTo>
                  <a:pt x="50732" y="17716"/>
                  <a:pt x="50576" y="17888"/>
                  <a:pt x="50576" y="18076"/>
                </a:cubicBezTo>
                <a:lnTo>
                  <a:pt x="50576" y="19030"/>
                </a:lnTo>
                <a:cubicBezTo>
                  <a:pt x="50576" y="19233"/>
                  <a:pt x="50732" y="19390"/>
                  <a:pt x="50935" y="19390"/>
                </a:cubicBezTo>
                <a:cubicBezTo>
                  <a:pt x="51123" y="19390"/>
                  <a:pt x="51295" y="19233"/>
                  <a:pt x="51295" y="19030"/>
                </a:cubicBezTo>
                <a:close/>
                <a:moveTo>
                  <a:pt x="50935" y="20109"/>
                </a:moveTo>
                <a:cubicBezTo>
                  <a:pt x="50732" y="20109"/>
                  <a:pt x="50576" y="20265"/>
                  <a:pt x="50576" y="20468"/>
                </a:cubicBezTo>
                <a:lnTo>
                  <a:pt x="50576" y="21422"/>
                </a:lnTo>
                <a:cubicBezTo>
                  <a:pt x="50576" y="21610"/>
                  <a:pt x="50732" y="21766"/>
                  <a:pt x="50935" y="21766"/>
                </a:cubicBezTo>
                <a:cubicBezTo>
                  <a:pt x="51123" y="21766"/>
                  <a:pt x="51295" y="21610"/>
                  <a:pt x="51295" y="21422"/>
                </a:cubicBezTo>
                <a:lnTo>
                  <a:pt x="51295" y="20468"/>
                </a:lnTo>
                <a:cubicBezTo>
                  <a:pt x="51295" y="20265"/>
                  <a:pt x="51123" y="20109"/>
                  <a:pt x="50935" y="20109"/>
                </a:cubicBezTo>
                <a:close/>
                <a:moveTo>
                  <a:pt x="51295" y="13322"/>
                </a:moveTo>
                <a:cubicBezTo>
                  <a:pt x="51295" y="13119"/>
                  <a:pt x="51123" y="12963"/>
                  <a:pt x="50935" y="12963"/>
                </a:cubicBezTo>
                <a:lnTo>
                  <a:pt x="50857" y="12963"/>
                </a:lnTo>
                <a:cubicBezTo>
                  <a:pt x="50857" y="12916"/>
                  <a:pt x="50841" y="12853"/>
                  <a:pt x="50810" y="12806"/>
                </a:cubicBezTo>
                <a:lnTo>
                  <a:pt x="50326" y="11977"/>
                </a:lnTo>
                <a:cubicBezTo>
                  <a:pt x="50216" y="11805"/>
                  <a:pt x="49997" y="11759"/>
                  <a:pt x="49825" y="11852"/>
                </a:cubicBezTo>
                <a:cubicBezTo>
                  <a:pt x="49653" y="11962"/>
                  <a:pt x="49606" y="12181"/>
                  <a:pt x="49700" y="12353"/>
                </a:cubicBezTo>
                <a:lnTo>
                  <a:pt x="50200" y="13166"/>
                </a:lnTo>
                <a:cubicBezTo>
                  <a:pt x="50263" y="13275"/>
                  <a:pt x="50388" y="13338"/>
                  <a:pt x="50513" y="13338"/>
                </a:cubicBezTo>
                <a:lnTo>
                  <a:pt x="50576" y="13338"/>
                </a:lnTo>
                <a:lnTo>
                  <a:pt x="50576" y="14276"/>
                </a:lnTo>
                <a:cubicBezTo>
                  <a:pt x="50576" y="14464"/>
                  <a:pt x="50732" y="14620"/>
                  <a:pt x="50935" y="14620"/>
                </a:cubicBezTo>
                <a:cubicBezTo>
                  <a:pt x="50982" y="14620"/>
                  <a:pt x="51014" y="14620"/>
                  <a:pt x="51060" y="14604"/>
                </a:cubicBezTo>
                <a:lnTo>
                  <a:pt x="51435" y="15230"/>
                </a:lnTo>
                <a:cubicBezTo>
                  <a:pt x="51498" y="15339"/>
                  <a:pt x="51623" y="15402"/>
                  <a:pt x="51748" y="15402"/>
                </a:cubicBezTo>
                <a:cubicBezTo>
                  <a:pt x="51811" y="15402"/>
                  <a:pt x="51873" y="15387"/>
                  <a:pt x="51920" y="15355"/>
                </a:cubicBezTo>
                <a:cubicBezTo>
                  <a:pt x="52092" y="15245"/>
                  <a:pt x="52155" y="15027"/>
                  <a:pt x="52045" y="14855"/>
                </a:cubicBezTo>
                <a:lnTo>
                  <a:pt x="51560" y="14041"/>
                </a:lnTo>
                <a:cubicBezTo>
                  <a:pt x="51498" y="13932"/>
                  <a:pt x="51389" y="13885"/>
                  <a:pt x="51295" y="13869"/>
                </a:cubicBezTo>
                <a:close/>
                <a:moveTo>
                  <a:pt x="47604" y="6973"/>
                </a:moveTo>
                <a:lnTo>
                  <a:pt x="48558" y="6973"/>
                </a:lnTo>
                <a:cubicBezTo>
                  <a:pt x="48746" y="6973"/>
                  <a:pt x="48902" y="6817"/>
                  <a:pt x="48902" y="6614"/>
                </a:cubicBezTo>
                <a:cubicBezTo>
                  <a:pt x="48902" y="6411"/>
                  <a:pt x="48746" y="6254"/>
                  <a:pt x="48558" y="6254"/>
                </a:cubicBezTo>
                <a:lnTo>
                  <a:pt x="47604" y="6254"/>
                </a:lnTo>
                <a:cubicBezTo>
                  <a:pt x="47401" y="6254"/>
                  <a:pt x="47245" y="6411"/>
                  <a:pt x="47245" y="6614"/>
                </a:cubicBezTo>
                <a:cubicBezTo>
                  <a:pt x="47245" y="6817"/>
                  <a:pt x="47401" y="6973"/>
                  <a:pt x="47604" y="6973"/>
                </a:cubicBezTo>
                <a:close/>
                <a:moveTo>
                  <a:pt x="47120" y="20781"/>
                </a:moveTo>
                <a:cubicBezTo>
                  <a:pt x="47323" y="20781"/>
                  <a:pt x="47479" y="20625"/>
                  <a:pt x="47479" y="20437"/>
                </a:cubicBezTo>
                <a:lnTo>
                  <a:pt x="47479" y="19483"/>
                </a:lnTo>
                <a:cubicBezTo>
                  <a:pt x="47479" y="19280"/>
                  <a:pt x="47323" y="19123"/>
                  <a:pt x="47120" y="19123"/>
                </a:cubicBezTo>
                <a:cubicBezTo>
                  <a:pt x="46916" y="19123"/>
                  <a:pt x="46760" y="19280"/>
                  <a:pt x="46760" y="19483"/>
                </a:cubicBezTo>
                <a:lnTo>
                  <a:pt x="46760" y="20437"/>
                </a:lnTo>
                <a:cubicBezTo>
                  <a:pt x="46760" y="20625"/>
                  <a:pt x="46916" y="20781"/>
                  <a:pt x="47120" y="20781"/>
                </a:cubicBezTo>
                <a:close/>
                <a:moveTo>
                  <a:pt x="47120" y="23174"/>
                </a:moveTo>
                <a:cubicBezTo>
                  <a:pt x="47323" y="23174"/>
                  <a:pt x="47479" y="23017"/>
                  <a:pt x="47479" y="22814"/>
                </a:cubicBezTo>
                <a:cubicBezTo>
                  <a:pt x="47479" y="21860"/>
                  <a:pt x="47479" y="22178"/>
                  <a:pt x="47479" y="21860"/>
                </a:cubicBezTo>
                <a:cubicBezTo>
                  <a:pt x="47479" y="21657"/>
                  <a:pt x="47323" y="21500"/>
                  <a:pt x="47120" y="21500"/>
                </a:cubicBezTo>
                <a:cubicBezTo>
                  <a:pt x="46916" y="21500"/>
                  <a:pt x="46760" y="21657"/>
                  <a:pt x="46760" y="21860"/>
                </a:cubicBezTo>
                <a:cubicBezTo>
                  <a:pt x="46760" y="22814"/>
                  <a:pt x="46760" y="22496"/>
                  <a:pt x="46760" y="22814"/>
                </a:cubicBezTo>
                <a:cubicBezTo>
                  <a:pt x="46760" y="23017"/>
                  <a:pt x="46916" y="23174"/>
                  <a:pt x="47120" y="23174"/>
                </a:cubicBezTo>
                <a:close/>
                <a:moveTo>
                  <a:pt x="47120" y="18404"/>
                </a:moveTo>
                <a:cubicBezTo>
                  <a:pt x="47323" y="18404"/>
                  <a:pt x="47479" y="18248"/>
                  <a:pt x="47479" y="18045"/>
                </a:cubicBezTo>
                <a:lnTo>
                  <a:pt x="47479" y="17091"/>
                </a:lnTo>
                <a:cubicBezTo>
                  <a:pt x="47479" y="16903"/>
                  <a:pt x="47323" y="16731"/>
                  <a:pt x="47120" y="16731"/>
                </a:cubicBezTo>
                <a:cubicBezTo>
                  <a:pt x="46916" y="16731"/>
                  <a:pt x="46760" y="16903"/>
                  <a:pt x="46760" y="17091"/>
                </a:cubicBezTo>
                <a:lnTo>
                  <a:pt x="46760" y="18045"/>
                </a:lnTo>
                <a:cubicBezTo>
                  <a:pt x="46760" y="18248"/>
                  <a:pt x="46916" y="18404"/>
                  <a:pt x="47120" y="18404"/>
                </a:cubicBezTo>
                <a:close/>
                <a:moveTo>
                  <a:pt x="47120" y="13635"/>
                </a:moveTo>
                <a:cubicBezTo>
                  <a:pt x="47323" y="13635"/>
                  <a:pt x="47479" y="13479"/>
                  <a:pt x="47479" y="13291"/>
                </a:cubicBezTo>
                <a:lnTo>
                  <a:pt x="47479" y="12931"/>
                </a:lnTo>
                <a:lnTo>
                  <a:pt x="48074" y="12228"/>
                </a:lnTo>
                <a:cubicBezTo>
                  <a:pt x="48199" y="12071"/>
                  <a:pt x="48183" y="11852"/>
                  <a:pt x="48027" y="11712"/>
                </a:cubicBezTo>
                <a:cubicBezTo>
                  <a:pt x="47870" y="11587"/>
                  <a:pt x="47651" y="11618"/>
                  <a:pt x="47526" y="11759"/>
                </a:cubicBezTo>
                <a:cubicBezTo>
                  <a:pt x="47307" y="12024"/>
                  <a:pt x="47380" y="11936"/>
                  <a:pt x="47307" y="12024"/>
                </a:cubicBezTo>
                <a:cubicBezTo>
                  <a:pt x="47245" y="11993"/>
                  <a:pt x="47182" y="11977"/>
                  <a:pt x="47120" y="11977"/>
                </a:cubicBezTo>
                <a:cubicBezTo>
                  <a:pt x="46916" y="11977"/>
                  <a:pt x="46760" y="12134"/>
                  <a:pt x="46760" y="12337"/>
                </a:cubicBezTo>
                <a:lnTo>
                  <a:pt x="46760" y="13291"/>
                </a:lnTo>
                <a:cubicBezTo>
                  <a:pt x="46760" y="13479"/>
                  <a:pt x="46916" y="13635"/>
                  <a:pt x="47120" y="13635"/>
                </a:cubicBezTo>
                <a:close/>
                <a:moveTo>
                  <a:pt x="49981" y="6973"/>
                </a:moveTo>
                <a:lnTo>
                  <a:pt x="50576" y="6973"/>
                </a:lnTo>
                <a:lnTo>
                  <a:pt x="50576" y="7130"/>
                </a:lnTo>
                <a:cubicBezTo>
                  <a:pt x="50576" y="7318"/>
                  <a:pt x="50732" y="7474"/>
                  <a:pt x="50935" y="7474"/>
                </a:cubicBezTo>
                <a:cubicBezTo>
                  <a:pt x="51123" y="7474"/>
                  <a:pt x="51295" y="7318"/>
                  <a:pt x="51295" y="7130"/>
                </a:cubicBezTo>
                <a:lnTo>
                  <a:pt x="51295" y="6614"/>
                </a:lnTo>
                <a:cubicBezTo>
                  <a:pt x="51295" y="6411"/>
                  <a:pt x="51123" y="6254"/>
                  <a:pt x="50935" y="6254"/>
                </a:cubicBezTo>
                <a:lnTo>
                  <a:pt x="49981" y="6254"/>
                </a:lnTo>
                <a:cubicBezTo>
                  <a:pt x="49778" y="6254"/>
                  <a:pt x="49621" y="6411"/>
                  <a:pt x="49621" y="6614"/>
                </a:cubicBezTo>
                <a:cubicBezTo>
                  <a:pt x="49621" y="6817"/>
                  <a:pt x="49778" y="6973"/>
                  <a:pt x="49981" y="6973"/>
                </a:cubicBezTo>
                <a:close/>
                <a:moveTo>
                  <a:pt x="50935" y="9866"/>
                </a:moveTo>
                <a:cubicBezTo>
                  <a:pt x="51123" y="9866"/>
                  <a:pt x="51295" y="9695"/>
                  <a:pt x="51295" y="9507"/>
                </a:cubicBezTo>
                <a:lnTo>
                  <a:pt x="51295" y="8553"/>
                </a:lnTo>
                <a:cubicBezTo>
                  <a:pt x="51295" y="8350"/>
                  <a:pt x="51123" y="8193"/>
                  <a:pt x="50935" y="8193"/>
                </a:cubicBezTo>
                <a:cubicBezTo>
                  <a:pt x="50732" y="8193"/>
                  <a:pt x="50576" y="8350"/>
                  <a:pt x="50576" y="8553"/>
                </a:cubicBezTo>
                <a:lnTo>
                  <a:pt x="50576" y="9507"/>
                </a:lnTo>
                <a:cubicBezTo>
                  <a:pt x="50576" y="9695"/>
                  <a:pt x="50732" y="9866"/>
                  <a:pt x="50935" y="9866"/>
                </a:cubicBezTo>
                <a:close/>
                <a:moveTo>
                  <a:pt x="47120" y="11258"/>
                </a:moveTo>
                <a:cubicBezTo>
                  <a:pt x="47323" y="11258"/>
                  <a:pt x="47479" y="11102"/>
                  <a:pt x="47479" y="10899"/>
                </a:cubicBezTo>
                <a:lnTo>
                  <a:pt x="47479" y="9945"/>
                </a:lnTo>
                <a:cubicBezTo>
                  <a:pt x="47479" y="9757"/>
                  <a:pt x="47323" y="9585"/>
                  <a:pt x="47120" y="9585"/>
                </a:cubicBezTo>
                <a:cubicBezTo>
                  <a:pt x="46916" y="9585"/>
                  <a:pt x="46760" y="9757"/>
                  <a:pt x="46760" y="9945"/>
                </a:cubicBezTo>
                <a:lnTo>
                  <a:pt x="46760" y="10899"/>
                </a:lnTo>
                <a:cubicBezTo>
                  <a:pt x="46760" y="11102"/>
                  <a:pt x="46916" y="11258"/>
                  <a:pt x="47120" y="11258"/>
                </a:cubicBezTo>
                <a:close/>
                <a:moveTo>
                  <a:pt x="47120" y="16028"/>
                </a:moveTo>
                <a:cubicBezTo>
                  <a:pt x="47323" y="16028"/>
                  <a:pt x="47479" y="15855"/>
                  <a:pt x="47479" y="15668"/>
                </a:cubicBezTo>
                <a:lnTo>
                  <a:pt x="47479" y="14714"/>
                </a:lnTo>
                <a:cubicBezTo>
                  <a:pt x="47479" y="14511"/>
                  <a:pt x="47323" y="14354"/>
                  <a:pt x="47120" y="14354"/>
                </a:cubicBezTo>
                <a:cubicBezTo>
                  <a:pt x="46916" y="14354"/>
                  <a:pt x="46760" y="14511"/>
                  <a:pt x="46760" y="14714"/>
                </a:cubicBezTo>
                <a:lnTo>
                  <a:pt x="46760" y="15668"/>
                </a:lnTo>
                <a:cubicBezTo>
                  <a:pt x="46760" y="15855"/>
                  <a:pt x="46916" y="16028"/>
                  <a:pt x="47120" y="16028"/>
                </a:cubicBezTo>
                <a:close/>
                <a:moveTo>
                  <a:pt x="47120" y="8881"/>
                </a:moveTo>
                <a:cubicBezTo>
                  <a:pt x="47323" y="8881"/>
                  <a:pt x="47479" y="8709"/>
                  <a:pt x="47479" y="8522"/>
                </a:cubicBezTo>
                <a:lnTo>
                  <a:pt x="47479" y="7568"/>
                </a:lnTo>
                <a:cubicBezTo>
                  <a:pt x="47479" y="7364"/>
                  <a:pt x="47323" y="7208"/>
                  <a:pt x="47120" y="7208"/>
                </a:cubicBezTo>
                <a:cubicBezTo>
                  <a:pt x="46916" y="7208"/>
                  <a:pt x="46760" y="7364"/>
                  <a:pt x="46760" y="7568"/>
                </a:cubicBezTo>
                <a:lnTo>
                  <a:pt x="46760" y="8522"/>
                </a:lnTo>
                <a:cubicBezTo>
                  <a:pt x="46760" y="8709"/>
                  <a:pt x="46916" y="8881"/>
                  <a:pt x="47120" y="8881"/>
                </a:cubicBezTo>
                <a:close/>
                <a:moveTo>
                  <a:pt x="50576" y="11884"/>
                </a:moveTo>
                <a:cubicBezTo>
                  <a:pt x="50576" y="12087"/>
                  <a:pt x="50732" y="12243"/>
                  <a:pt x="50935" y="12243"/>
                </a:cubicBezTo>
                <a:cubicBezTo>
                  <a:pt x="51123" y="12243"/>
                  <a:pt x="51295" y="12087"/>
                  <a:pt x="51295" y="11884"/>
                </a:cubicBezTo>
                <a:lnTo>
                  <a:pt x="51295" y="10930"/>
                </a:lnTo>
                <a:cubicBezTo>
                  <a:pt x="51295" y="10742"/>
                  <a:pt x="51123" y="10570"/>
                  <a:pt x="50935" y="10570"/>
                </a:cubicBezTo>
                <a:cubicBezTo>
                  <a:pt x="50732" y="10570"/>
                  <a:pt x="50576" y="10742"/>
                  <a:pt x="50576" y="10930"/>
                </a:cubicBezTo>
                <a:close/>
                <a:moveTo>
                  <a:pt x="51295" y="25222"/>
                </a:moveTo>
                <a:cubicBezTo>
                  <a:pt x="51295" y="25035"/>
                  <a:pt x="51123" y="24862"/>
                  <a:pt x="50935" y="24862"/>
                </a:cubicBezTo>
                <a:cubicBezTo>
                  <a:pt x="50732" y="24862"/>
                  <a:pt x="50576" y="25035"/>
                  <a:pt x="50576" y="25222"/>
                </a:cubicBezTo>
                <a:lnTo>
                  <a:pt x="50576" y="26176"/>
                </a:lnTo>
                <a:cubicBezTo>
                  <a:pt x="50576" y="26379"/>
                  <a:pt x="50732" y="26536"/>
                  <a:pt x="50935" y="26536"/>
                </a:cubicBezTo>
                <a:cubicBezTo>
                  <a:pt x="51123" y="26536"/>
                  <a:pt x="51295" y="26379"/>
                  <a:pt x="51295" y="26176"/>
                </a:cubicBezTo>
                <a:close/>
                <a:moveTo>
                  <a:pt x="47479" y="31383"/>
                </a:moveTo>
                <a:cubicBezTo>
                  <a:pt x="47479" y="31195"/>
                  <a:pt x="47323" y="31024"/>
                  <a:pt x="47120" y="31024"/>
                </a:cubicBezTo>
                <a:cubicBezTo>
                  <a:pt x="46916" y="31024"/>
                  <a:pt x="46760" y="31195"/>
                  <a:pt x="46760" y="31383"/>
                </a:cubicBezTo>
                <a:lnTo>
                  <a:pt x="46760" y="32337"/>
                </a:lnTo>
                <a:cubicBezTo>
                  <a:pt x="46760" y="32540"/>
                  <a:pt x="46916" y="32697"/>
                  <a:pt x="47120" y="32697"/>
                </a:cubicBezTo>
                <a:cubicBezTo>
                  <a:pt x="47323" y="32697"/>
                  <a:pt x="47479" y="32540"/>
                  <a:pt x="47479" y="32337"/>
                </a:cubicBezTo>
                <a:close/>
                <a:moveTo>
                  <a:pt x="47120" y="33416"/>
                </a:moveTo>
                <a:cubicBezTo>
                  <a:pt x="46916" y="33416"/>
                  <a:pt x="46760" y="33572"/>
                  <a:pt x="46760" y="33776"/>
                </a:cubicBezTo>
                <a:lnTo>
                  <a:pt x="46760" y="34730"/>
                </a:lnTo>
                <a:cubicBezTo>
                  <a:pt x="46760" y="34917"/>
                  <a:pt x="46916" y="35073"/>
                  <a:pt x="47120" y="35073"/>
                </a:cubicBezTo>
                <a:cubicBezTo>
                  <a:pt x="47323" y="35073"/>
                  <a:pt x="47479" y="34917"/>
                  <a:pt x="47479" y="34730"/>
                </a:cubicBezTo>
                <a:lnTo>
                  <a:pt x="47479" y="33776"/>
                </a:lnTo>
                <a:cubicBezTo>
                  <a:pt x="47479" y="33572"/>
                  <a:pt x="47323" y="33416"/>
                  <a:pt x="47120" y="33416"/>
                </a:cubicBezTo>
                <a:close/>
                <a:moveTo>
                  <a:pt x="47479" y="29006"/>
                </a:moveTo>
                <a:cubicBezTo>
                  <a:pt x="47479" y="28803"/>
                  <a:pt x="47323" y="28647"/>
                  <a:pt x="47120" y="28647"/>
                </a:cubicBezTo>
                <a:cubicBezTo>
                  <a:pt x="46916" y="28647"/>
                  <a:pt x="46760" y="28803"/>
                  <a:pt x="46760" y="29006"/>
                </a:cubicBezTo>
                <a:lnTo>
                  <a:pt x="46760" y="29960"/>
                </a:lnTo>
                <a:cubicBezTo>
                  <a:pt x="46760" y="30164"/>
                  <a:pt x="46916" y="30320"/>
                  <a:pt x="47120" y="30320"/>
                </a:cubicBezTo>
                <a:cubicBezTo>
                  <a:pt x="47323" y="30320"/>
                  <a:pt x="47479" y="30164"/>
                  <a:pt x="47479" y="29960"/>
                </a:cubicBezTo>
                <a:close/>
                <a:moveTo>
                  <a:pt x="50935" y="34401"/>
                </a:moveTo>
                <a:cubicBezTo>
                  <a:pt x="50732" y="34401"/>
                  <a:pt x="50576" y="34557"/>
                  <a:pt x="50576" y="34761"/>
                </a:cubicBezTo>
                <a:lnTo>
                  <a:pt x="50576" y="35715"/>
                </a:lnTo>
                <a:cubicBezTo>
                  <a:pt x="50576" y="35903"/>
                  <a:pt x="50732" y="36059"/>
                  <a:pt x="50935" y="36059"/>
                </a:cubicBezTo>
                <a:cubicBezTo>
                  <a:pt x="51123" y="36059"/>
                  <a:pt x="51295" y="35903"/>
                  <a:pt x="51295" y="35715"/>
                </a:cubicBezTo>
                <a:lnTo>
                  <a:pt x="51295" y="34761"/>
                </a:lnTo>
                <a:cubicBezTo>
                  <a:pt x="51295" y="34557"/>
                  <a:pt x="51123" y="34401"/>
                  <a:pt x="50935" y="34401"/>
                </a:cubicBezTo>
                <a:close/>
                <a:moveTo>
                  <a:pt x="47479" y="26629"/>
                </a:moveTo>
                <a:cubicBezTo>
                  <a:pt x="47479" y="26426"/>
                  <a:pt x="47323" y="26270"/>
                  <a:pt x="47120" y="26270"/>
                </a:cubicBezTo>
                <a:cubicBezTo>
                  <a:pt x="46916" y="26270"/>
                  <a:pt x="46760" y="26426"/>
                  <a:pt x="46760" y="26629"/>
                </a:cubicBezTo>
                <a:cubicBezTo>
                  <a:pt x="46760" y="27584"/>
                  <a:pt x="46760" y="27266"/>
                  <a:pt x="46760" y="27584"/>
                </a:cubicBezTo>
                <a:cubicBezTo>
                  <a:pt x="46760" y="27771"/>
                  <a:pt x="46916" y="27927"/>
                  <a:pt x="47120" y="27927"/>
                </a:cubicBezTo>
                <a:cubicBezTo>
                  <a:pt x="47323" y="27927"/>
                  <a:pt x="47479" y="27771"/>
                  <a:pt x="47479" y="27584"/>
                </a:cubicBezTo>
                <a:close/>
                <a:moveTo>
                  <a:pt x="51295" y="29991"/>
                </a:moveTo>
                <a:cubicBezTo>
                  <a:pt x="51295" y="29788"/>
                  <a:pt x="51123" y="29632"/>
                  <a:pt x="50935" y="29632"/>
                </a:cubicBezTo>
                <a:cubicBezTo>
                  <a:pt x="50732" y="29632"/>
                  <a:pt x="50576" y="29788"/>
                  <a:pt x="50576" y="29991"/>
                </a:cubicBezTo>
                <a:lnTo>
                  <a:pt x="50576" y="30945"/>
                </a:lnTo>
                <a:cubicBezTo>
                  <a:pt x="50576" y="31149"/>
                  <a:pt x="50732" y="31305"/>
                  <a:pt x="50935" y="31305"/>
                </a:cubicBezTo>
                <a:cubicBezTo>
                  <a:pt x="51123" y="31305"/>
                  <a:pt x="51295" y="31149"/>
                  <a:pt x="51295" y="30945"/>
                </a:cubicBezTo>
                <a:close/>
                <a:moveTo>
                  <a:pt x="51295" y="27615"/>
                </a:moveTo>
                <a:cubicBezTo>
                  <a:pt x="51295" y="27411"/>
                  <a:pt x="51123" y="27255"/>
                  <a:pt x="50935" y="27255"/>
                </a:cubicBezTo>
                <a:cubicBezTo>
                  <a:pt x="50732" y="27255"/>
                  <a:pt x="50576" y="27411"/>
                  <a:pt x="50576" y="27615"/>
                </a:cubicBezTo>
                <a:lnTo>
                  <a:pt x="50576" y="28568"/>
                </a:lnTo>
                <a:cubicBezTo>
                  <a:pt x="50576" y="28756"/>
                  <a:pt x="50732" y="28913"/>
                  <a:pt x="50935" y="28913"/>
                </a:cubicBezTo>
                <a:cubicBezTo>
                  <a:pt x="51123" y="28913"/>
                  <a:pt x="51295" y="28756"/>
                  <a:pt x="51295" y="28568"/>
                </a:cubicBezTo>
                <a:close/>
                <a:moveTo>
                  <a:pt x="51295" y="32368"/>
                </a:moveTo>
                <a:cubicBezTo>
                  <a:pt x="51295" y="32181"/>
                  <a:pt x="51123" y="32008"/>
                  <a:pt x="50935" y="32008"/>
                </a:cubicBezTo>
                <a:cubicBezTo>
                  <a:pt x="50732" y="32008"/>
                  <a:pt x="50576" y="32181"/>
                  <a:pt x="50576" y="32368"/>
                </a:cubicBezTo>
                <a:lnTo>
                  <a:pt x="50576" y="33322"/>
                </a:lnTo>
                <a:cubicBezTo>
                  <a:pt x="50576" y="33526"/>
                  <a:pt x="50732" y="33682"/>
                  <a:pt x="50935" y="33682"/>
                </a:cubicBezTo>
                <a:cubicBezTo>
                  <a:pt x="51123" y="33682"/>
                  <a:pt x="51295" y="33526"/>
                  <a:pt x="51295" y="33322"/>
                </a:cubicBezTo>
                <a:close/>
                <a:moveTo>
                  <a:pt x="41302" y="27505"/>
                </a:moveTo>
                <a:cubicBezTo>
                  <a:pt x="41302" y="27317"/>
                  <a:pt x="41146" y="27146"/>
                  <a:pt x="40943" y="27146"/>
                </a:cubicBezTo>
                <a:cubicBezTo>
                  <a:pt x="40756" y="27146"/>
                  <a:pt x="40583" y="27317"/>
                  <a:pt x="40583" y="27505"/>
                </a:cubicBezTo>
                <a:lnTo>
                  <a:pt x="40583" y="28459"/>
                </a:lnTo>
                <a:cubicBezTo>
                  <a:pt x="40583" y="28662"/>
                  <a:pt x="40756" y="28818"/>
                  <a:pt x="40943" y="28818"/>
                </a:cubicBezTo>
                <a:cubicBezTo>
                  <a:pt x="41146" y="28818"/>
                  <a:pt x="41302" y="28662"/>
                  <a:pt x="41302" y="28459"/>
                </a:cubicBezTo>
                <a:close/>
                <a:moveTo>
                  <a:pt x="45118" y="17200"/>
                </a:moveTo>
                <a:cubicBezTo>
                  <a:pt x="45118" y="16997"/>
                  <a:pt x="44962" y="16841"/>
                  <a:pt x="44759" y="16841"/>
                </a:cubicBezTo>
                <a:cubicBezTo>
                  <a:pt x="44555" y="16841"/>
                  <a:pt x="44399" y="16997"/>
                  <a:pt x="44399" y="17200"/>
                </a:cubicBezTo>
                <a:lnTo>
                  <a:pt x="44399" y="18154"/>
                </a:lnTo>
                <a:cubicBezTo>
                  <a:pt x="44399" y="18342"/>
                  <a:pt x="44555" y="18498"/>
                  <a:pt x="44759" y="18498"/>
                </a:cubicBezTo>
                <a:cubicBezTo>
                  <a:pt x="44962" y="18498"/>
                  <a:pt x="45118" y="18342"/>
                  <a:pt x="45118" y="18154"/>
                </a:cubicBezTo>
                <a:close/>
                <a:moveTo>
                  <a:pt x="41302" y="29898"/>
                </a:moveTo>
                <a:cubicBezTo>
                  <a:pt x="41302" y="29694"/>
                  <a:pt x="41146" y="29538"/>
                  <a:pt x="40943" y="29538"/>
                </a:cubicBezTo>
                <a:cubicBezTo>
                  <a:pt x="40756" y="29538"/>
                  <a:pt x="40583" y="29694"/>
                  <a:pt x="40583" y="29898"/>
                </a:cubicBezTo>
                <a:lnTo>
                  <a:pt x="40583" y="30836"/>
                </a:lnTo>
                <a:cubicBezTo>
                  <a:pt x="40583" y="31039"/>
                  <a:pt x="40756" y="31195"/>
                  <a:pt x="40943" y="31195"/>
                </a:cubicBezTo>
                <a:cubicBezTo>
                  <a:pt x="41146" y="31195"/>
                  <a:pt x="41302" y="31039"/>
                  <a:pt x="41302" y="30836"/>
                </a:cubicBezTo>
                <a:close/>
                <a:moveTo>
                  <a:pt x="41302" y="25128"/>
                </a:moveTo>
                <a:cubicBezTo>
                  <a:pt x="41302" y="24925"/>
                  <a:pt x="41146" y="24769"/>
                  <a:pt x="40943" y="24769"/>
                </a:cubicBezTo>
                <a:cubicBezTo>
                  <a:pt x="40756" y="24769"/>
                  <a:pt x="40583" y="24925"/>
                  <a:pt x="40583" y="25128"/>
                </a:cubicBezTo>
                <a:lnTo>
                  <a:pt x="40583" y="26082"/>
                </a:lnTo>
                <a:cubicBezTo>
                  <a:pt x="40583" y="26270"/>
                  <a:pt x="40756" y="26442"/>
                  <a:pt x="40943" y="26442"/>
                </a:cubicBezTo>
                <a:cubicBezTo>
                  <a:pt x="41146" y="26442"/>
                  <a:pt x="41302" y="26270"/>
                  <a:pt x="41302" y="26082"/>
                </a:cubicBezTo>
                <a:close/>
                <a:moveTo>
                  <a:pt x="43804" y="703"/>
                </a:moveTo>
                <a:lnTo>
                  <a:pt x="44399" y="703"/>
                </a:lnTo>
                <a:lnTo>
                  <a:pt x="44399" y="1469"/>
                </a:lnTo>
                <a:cubicBezTo>
                  <a:pt x="44399" y="1672"/>
                  <a:pt x="44555" y="1829"/>
                  <a:pt x="44759" y="1829"/>
                </a:cubicBezTo>
                <a:cubicBezTo>
                  <a:pt x="44962" y="1829"/>
                  <a:pt x="45118" y="1672"/>
                  <a:pt x="45118" y="1469"/>
                </a:cubicBezTo>
                <a:lnTo>
                  <a:pt x="45118" y="515"/>
                </a:lnTo>
                <a:cubicBezTo>
                  <a:pt x="45118" y="484"/>
                  <a:pt x="45118" y="468"/>
                  <a:pt x="45102" y="437"/>
                </a:cubicBezTo>
                <a:cubicBezTo>
                  <a:pt x="45118" y="406"/>
                  <a:pt x="45118" y="375"/>
                  <a:pt x="45118" y="359"/>
                </a:cubicBezTo>
                <a:cubicBezTo>
                  <a:pt x="45118" y="156"/>
                  <a:pt x="44962" y="0"/>
                  <a:pt x="44759" y="0"/>
                </a:cubicBezTo>
                <a:lnTo>
                  <a:pt x="43804" y="0"/>
                </a:lnTo>
                <a:cubicBezTo>
                  <a:pt x="43601" y="0"/>
                  <a:pt x="43445" y="156"/>
                  <a:pt x="43445" y="359"/>
                </a:cubicBezTo>
                <a:cubicBezTo>
                  <a:pt x="43445" y="546"/>
                  <a:pt x="43601" y="703"/>
                  <a:pt x="43804" y="703"/>
                </a:cubicBezTo>
                <a:close/>
                <a:moveTo>
                  <a:pt x="41302" y="22751"/>
                </a:moveTo>
                <a:cubicBezTo>
                  <a:pt x="41302" y="22548"/>
                  <a:pt x="41146" y="22392"/>
                  <a:pt x="40943" y="22392"/>
                </a:cubicBezTo>
                <a:cubicBezTo>
                  <a:pt x="40756" y="22392"/>
                  <a:pt x="40583" y="22548"/>
                  <a:pt x="40583" y="22751"/>
                </a:cubicBezTo>
                <a:lnTo>
                  <a:pt x="40583" y="23689"/>
                </a:lnTo>
                <a:cubicBezTo>
                  <a:pt x="40583" y="23893"/>
                  <a:pt x="40756" y="24049"/>
                  <a:pt x="40943" y="24049"/>
                </a:cubicBezTo>
                <a:cubicBezTo>
                  <a:pt x="41146" y="24049"/>
                  <a:pt x="41302" y="23893"/>
                  <a:pt x="41302" y="23689"/>
                </a:cubicBezTo>
                <a:close/>
                <a:moveTo>
                  <a:pt x="45118" y="24346"/>
                </a:moveTo>
                <a:cubicBezTo>
                  <a:pt x="45118" y="24143"/>
                  <a:pt x="44962" y="23987"/>
                  <a:pt x="44759" y="23987"/>
                </a:cubicBezTo>
                <a:cubicBezTo>
                  <a:pt x="44555" y="23987"/>
                  <a:pt x="44399" y="24143"/>
                  <a:pt x="44399" y="24346"/>
                </a:cubicBezTo>
                <a:lnTo>
                  <a:pt x="44399" y="25300"/>
                </a:lnTo>
                <a:cubicBezTo>
                  <a:pt x="44399" y="25488"/>
                  <a:pt x="44555" y="25645"/>
                  <a:pt x="44759" y="25645"/>
                </a:cubicBezTo>
                <a:cubicBezTo>
                  <a:pt x="44962" y="25645"/>
                  <a:pt x="45118" y="25488"/>
                  <a:pt x="45118" y="25300"/>
                </a:cubicBezTo>
                <a:close/>
                <a:moveTo>
                  <a:pt x="44759" y="33510"/>
                </a:moveTo>
                <a:cubicBezTo>
                  <a:pt x="44555" y="33510"/>
                  <a:pt x="44399" y="33666"/>
                  <a:pt x="44399" y="33869"/>
                </a:cubicBezTo>
                <a:lnTo>
                  <a:pt x="44399" y="34823"/>
                </a:lnTo>
                <a:cubicBezTo>
                  <a:pt x="44399" y="35027"/>
                  <a:pt x="44555" y="35183"/>
                  <a:pt x="44759" y="35183"/>
                </a:cubicBezTo>
                <a:cubicBezTo>
                  <a:pt x="44962" y="35183"/>
                  <a:pt x="45118" y="35027"/>
                  <a:pt x="45118" y="34823"/>
                </a:cubicBezTo>
                <a:lnTo>
                  <a:pt x="45118" y="33869"/>
                </a:lnTo>
                <a:cubicBezTo>
                  <a:pt x="45118" y="33666"/>
                  <a:pt x="44962" y="33510"/>
                  <a:pt x="44759" y="33510"/>
                </a:cubicBezTo>
                <a:close/>
                <a:moveTo>
                  <a:pt x="45118" y="31493"/>
                </a:moveTo>
                <a:cubicBezTo>
                  <a:pt x="45118" y="31289"/>
                  <a:pt x="44962" y="31133"/>
                  <a:pt x="44759" y="31133"/>
                </a:cubicBezTo>
                <a:cubicBezTo>
                  <a:pt x="44555" y="31133"/>
                  <a:pt x="44399" y="31289"/>
                  <a:pt x="44399" y="31493"/>
                </a:cubicBezTo>
                <a:lnTo>
                  <a:pt x="44399" y="32446"/>
                </a:lnTo>
                <a:cubicBezTo>
                  <a:pt x="44399" y="32634"/>
                  <a:pt x="44555" y="32806"/>
                  <a:pt x="44759" y="32806"/>
                </a:cubicBezTo>
                <a:cubicBezTo>
                  <a:pt x="44962" y="32806"/>
                  <a:pt x="45118" y="32634"/>
                  <a:pt x="45118" y="32446"/>
                </a:cubicBezTo>
                <a:close/>
                <a:moveTo>
                  <a:pt x="45118" y="29100"/>
                </a:moveTo>
                <a:cubicBezTo>
                  <a:pt x="45118" y="28913"/>
                  <a:pt x="44962" y="28756"/>
                  <a:pt x="44759" y="28756"/>
                </a:cubicBezTo>
                <a:cubicBezTo>
                  <a:pt x="44555" y="28756"/>
                  <a:pt x="44399" y="28913"/>
                  <a:pt x="44399" y="29100"/>
                </a:cubicBezTo>
                <a:lnTo>
                  <a:pt x="44399" y="30054"/>
                </a:lnTo>
                <a:cubicBezTo>
                  <a:pt x="44399" y="30257"/>
                  <a:pt x="44555" y="30414"/>
                  <a:pt x="44759" y="30414"/>
                </a:cubicBezTo>
                <a:cubicBezTo>
                  <a:pt x="44962" y="30414"/>
                  <a:pt x="45118" y="30257"/>
                  <a:pt x="45118" y="30054"/>
                </a:cubicBezTo>
                <a:close/>
                <a:moveTo>
                  <a:pt x="45118" y="26723"/>
                </a:moveTo>
                <a:cubicBezTo>
                  <a:pt x="45118" y="26520"/>
                  <a:pt x="44962" y="26364"/>
                  <a:pt x="44759" y="26364"/>
                </a:cubicBezTo>
                <a:cubicBezTo>
                  <a:pt x="44555" y="26364"/>
                  <a:pt x="44399" y="26520"/>
                  <a:pt x="44399" y="26723"/>
                </a:cubicBezTo>
                <a:lnTo>
                  <a:pt x="44399" y="27677"/>
                </a:lnTo>
                <a:cubicBezTo>
                  <a:pt x="44399" y="27880"/>
                  <a:pt x="44555" y="28037"/>
                  <a:pt x="44759" y="28037"/>
                </a:cubicBezTo>
                <a:cubicBezTo>
                  <a:pt x="44962" y="28037"/>
                  <a:pt x="45118" y="27880"/>
                  <a:pt x="45118" y="27677"/>
                </a:cubicBezTo>
                <a:close/>
                <a:moveTo>
                  <a:pt x="41302" y="32275"/>
                </a:moveTo>
                <a:cubicBezTo>
                  <a:pt x="41302" y="32071"/>
                  <a:pt x="41146" y="31915"/>
                  <a:pt x="40943" y="31915"/>
                </a:cubicBezTo>
                <a:cubicBezTo>
                  <a:pt x="40756" y="31915"/>
                  <a:pt x="40583" y="32071"/>
                  <a:pt x="40583" y="32275"/>
                </a:cubicBezTo>
                <a:lnTo>
                  <a:pt x="40583" y="33228"/>
                </a:lnTo>
                <a:cubicBezTo>
                  <a:pt x="40583" y="33416"/>
                  <a:pt x="40756" y="33588"/>
                  <a:pt x="40943" y="33588"/>
                </a:cubicBezTo>
                <a:cubicBezTo>
                  <a:pt x="41146" y="33588"/>
                  <a:pt x="41302" y="33416"/>
                  <a:pt x="41302" y="33228"/>
                </a:cubicBezTo>
                <a:close/>
                <a:moveTo>
                  <a:pt x="40943" y="34292"/>
                </a:moveTo>
                <a:cubicBezTo>
                  <a:pt x="40756" y="34292"/>
                  <a:pt x="40583" y="34464"/>
                  <a:pt x="40583" y="34652"/>
                </a:cubicBezTo>
                <a:lnTo>
                  <a:pt x="40583" y="35605"/>
                </a:lnTo>
                <a:cubicBezTo>
                  <a:pt x="40583" y="35808"/>
                  <a:pt x="40756" y="35965"/>
                  <a:pt x="40943" y="35965"/>
                </a:cubicBezTo>
                <a:cubicBezTo>
                  <a:pt x="41146" y="35965"/>
                  <a:pt x="41302" y="35808"/>
                  <a:pt x="41302" y="35605"/>
                </a:cubicBezTo>
                <a:lnTo>
                  <a:pt x="41302" y="34652"/>
                </a:lnTo>
                <a:cubicBezTo>
                  <a:pt x="41302" y="34464"/>
                  <a:pt x="41146" y="34292"/>
                  <a:pt x="40943" y="34292"/>
                </a:cubicBezTo>
                <a:close/>
                <a:moveTo>
                  <a:pt x="40943" y="5003"/>
                </a:moveTo>
                <a:cubicBezTo>
                  <a:pt x="41146" y="5003"/>
                  <a:pt x="41302" y="4831"/>
                  <a:pt x="41302" y="4644"/>
                </a:cubicBezTo>
                <a:lnTo>
                  <a:pt x="41302" y="3690"/>
                </a:lnTo>
                <a:cubicBezTo>
                  <a:pt x="41302" y="3486"/>
                  <a:pt x="41146" y="3330"/>
                  <a:pt x="40943" y="3330"/>
                </a:cubicBezTo>
                <a:cubicBezTo>
                  <a:pt x="40756" y="3330"/>
                  <a:pt x="40583" y="3486"/>
                  <a:pt x="40583" y="3690"/>
                </a:cubicBezTo>
                <a:lnTo>
                  <a:pt x="40583" y="4644"/>
                </a:lnTo>
                <a:cubicBezTo>
                  <a:pt x="40583" y="4831"/>
                  <a:pt x="40756" y="5003"/>
                  <a:pt x="40943" y="5003"/>
                </a:cubicBezTo>
                <a:close/>
                <a:moveTo>
                  <a:pt x="40943" y="7380"/>
                </a:moveTo>
                <a:cubicBezTo>
                  <a:pt x="41146" y="7380"/>
                  <a:pt x="41302" y="7224"/>
                  <a:pt x="41302" y="7020"/>
                </a:cubicBezTo>
                <a:lnTo>
                  <a:pt x="41302" y="6067"/>
                </a:lnTo>
                <a:cubicBezTo>
                  <a:pt x="41302" y="5879"/>
                  <a:pt x="41146" y="5707"/>
                  <a:pt x="40943" y="5707"/>
                </a:cubicBezTo>
                <a:cubicBezTo>
                  <a:pt x="40756" y="5707"/>
                  <a:pt x="40583" y="5879"/>
                  <a:pt x="40583" y="6067"/>
                </a:cubicBezTo>
                <a:lnTo>
                  <a:pt x="40583" y="7020"/>
                </a:lnTo>
                <a:cubicBezTo>
                  <a:pt x="40583" y="7224"/>
                  <a:pt x="40756" y="7380"/>
                  <a:pt x="40943" y="7380"/>
                </a:cubicBezTo>
                <a:close/>
                <a:moveTo>
                  <a:pt x="40943" y="2611"/>
                </a:moveTo>
                <a:cubicBezTo>
                  <a:pt x="41146" y="2611"/>
                  <a:pt x="41302" y="2454"/>
                  <a:pt x="41302" y="2251"/>
                </a:cubicBezTo>
                <a:lnTo>
                  <a:pt x="41302" y="1297"/>
                </a:lnTo>
                <a:cubicBezTo>
                  <a:pt x="41302" y="1109"/>
                  <a:pt x="41146" y="953"/>
                  <a:pt x="40943" y="953"/>
                </a:cubicBezTo>
                <a:cubicBezTo>
                  <a:pt x="40756" y="953"/>
                  <a:pt x="40583" y="1109"/>
                  <a:pt x="40583" y="1297"/>
                </a:cubicBezTo>
                <a:lnTo>
                  <a:pt x="40583" y="2251"/>
                </a:lnTo>
                <a:cubicBezTo>
                  <a:pt x="40583" y="2454"/>
                  <a:pt x="40756" y="2611"/>
                  <a:pt x="40943" y="2611"/>
                </a:cubicBezTo>
                <a:close/>
                <a:moveTo>
                  <a:pt x="44759" y="19217"/>
                </a:moveTo>
                <a:cubicBezTo>
                  <a:pt x="44555" y="19217"/>
                  <a:pt x="44399" y="19374"/>
                  <a:pt x="44399" y="19577"/>
                </a:cubicBezTo>
                <a:lnTo>
                  <a:pt x="44399" y="20531"/>
                </a:lnTo>
                <a:cubicBezTo>
                  <a:pt x="44399" y="20734"/>
                  <a:pt x="44555" y="20891"/>
                  <a:pt x="44759" y="20891"/>
                </a:cubicBezTo>
                <a:cubicBezTo>
                  <a:pt x="44962" y="20891"/>
                  <a:pt x="45118" y="20734"/>
                  <a:pt x="45118" y="20531"/>
                </a:cubicBezTo>
                <a:lnTo>
                  <a:pt x="45118" y="19577"/>
                </a:lnTo>
                <a:cubicBezTo>
                  <a:pt x="45118" y="19374"/>
                  <a:pt x="44962" y="19217"/>
                  <a:pt x="44759" y="19217"/>
                </a:cubicBezTo>
                <a:close/>
                <a:moveTo>
                  <a:pt x="40943" y="16903"/>
                </a:moveTo>
                <a:cubicBezTo>
                  <a:pt x="41146" y="16903"/>
                  <a:pt x="41302" y="16747"/>
                  <a:pt x="41302" y="16543"/>
                </a:cubicBezTo>
                <a:lnTo>
                  <a:pt x="41302" y="15605"/>
                </a:lnTo>
                <a:cubicBezTo>
                  <a:pt x="41302" y="15402"/>
                  <a:pt x="41146" y="15245"/>
                  <a:pt x="40943" y="15245"/>
                </a:cubicBezTo>
                <a:cubicBezTo>
                  <a:pt x="40756" y="15245"/>
                  <a:pt x="40583" y="15402"/>
                  <a:pt x="40583" y="15605"/>
                </a:cubicBezTo>
                <a:lnTo>
                  <a:pt x="40583" y="16543"/>
                </a:lnTo>
                <a:cubicBezTo>
                  <a:pt x="40583" y="16747"/>
                  <a:pt x="40756" y="16903"/>
                  <a:pt x="40943" y="16903"/>
                </a:cubicBezTo>
                <a:close/>
                <a:moveTo>
                  <a:pt x="41428" y="703"/>
                </a:moveTo>
                <a:lnTo>
                  <a:pt x="42382" y="703"/>
                </a:lnTo>
                <a:cubicBezTo>
                  <a:pt x="42569" y="703"/>
                  <a:pt x="42741" y="546"/>
                  <a:pt x="42741" y="359"/>
                </a:cubicBezTo>
                <a:cubicBezTo>
                  <a:pt x="42741" y="156"/>
                  <a:pt x="42569" y="0"/>
                  <a:pt x="42382" y="0"/>
                </a:cubicBezTo>
                <a:lnTo>
                  <a:pt x="41428" y="0"/>
                </a:lnTo>
                <a:cubicBezTo>
                  <a:pt x="41224" y="0"/>
                  <a:pt x="41068" y="156"/>
                  <a:pt x="41068" y="359"/>
                </a:cubicBezTo>
                <a:cubicBezTo>
                  <a:pt x="41068" y="546"/>
                  <a:pt x="41224" y="703"/>
                  <a:pt x="41428" y="703"/>
                </a:cubicBezTo>
                <a:close/>
                <a:moveTo>
                  <a:pt x="40943" y="12149"/>
                </a:moveTo>
                <a:cubicBezTo>
                  <a:pt x="41146" y="12149"/>
                  <a:pt x="41302" y="11977"/>
                  <a:pt x="41302" y="11790"/>
                </a:cubicBezTo>
                <a:lnTo>
                  <a:pt x="41302" y="10836"/>
                </a:lnTo>
                <a:cubicBezTo>
                  <a:pt x="41302" y="10633"/>
                  <a:pt x="41146" y="10476"/>
                  <a:pt x="40943" y="10476"/>
                </a:cubicBezTo>
                <a:cubicBezTo>
                  <a:pt x="40756" y="10476"/>
                  <a:pt x="40583" y="10633"/>
                  <a:pt x="40583" y="10836"/>
                </a:cubicBezTo>
                <a:lnTo>
                  <a:pt x="40583" y="11790"/>
                </a:lnTo>
                <a:cubicBezTo>
                  <a:pt x="40583" y="11977"/>
                  <a:pt x="40756" y="12149"/>
                  <a:pt x="40943" y="12149"/>
                </a:cubicBezTo>
                <a:close/>
                <a:moveTo>
                  <a:pt x="40943" y="14526"/>
                </a:moveTo>
                <a:cubicBezTo>
                  <a:pt x="41146" y="14526"/>
                  <a:pt x="41302" y="14370"/>
                  <a:pt x="41302" y="14167"/>
                </a:cubicBezTo>
                <a:lnTo>
                  <a:pt x="41302" y="13213"/>
                </a:lnTo>
                <a:cubicBezTo>
                  <a:pt x="41302" y="13025"/>
                  <a:pt x="41146" y="12853"/>
                  <a:pt x="40943" y="12853"/>
                </a:cubicBezTo>
                <a:cubicBezTo>
                  <a:pt x="40756" y="12853"/>
                  <a:pt x="40583" y="13025"/>
                  <a:pt x="40583" y="13213"/>
                </a:cubicBezTo>
                <a:lnTo>
                  <a:pt x="40583" y="14167"/>
                </a:lnTo>
                <a:cubicBezTo>
                  <a:pt x="40583" y="14370"/>
                  <a:pt x="40756" y="14526"/>
                  <a:pt x="40943" y="14526"/>
                </a:cubicBezTo>
                <a:close/>
                <a:moveTo>
                  <a:pt x="40943" y="9757"/>
                </a:moveTo>
                <a:cubicBezTo>
                  <a:pt x="41146" y="9757"/>
                  <a:pt x="41302" y="9600"/>
                  <a:pt x="41302" y="9397"/>
                </a:cubicBezTo>
                <a:lnTo>
                  <a:pt x="41302" y="8459"/>
                </a:lnTo>
                <a:cubicBezTo>
                  <a:pt x="41302" y="8256"/>
                  <a:pt x="41146" y="8099"/>
                  <a:pt x="40943" y="8099"/>
                </a:cubicBezTo>
                <a:cubicBezTo>
                  <a:pt x="40756" y="8099"/>
                  <a:pt x="40583" y="8256"/>
                  <a:pt x="40583" y="8459"/>
                </a:cubicBezTo>
                <a:lnTo>
                  <a:pt x="40583" y="9397"/>
                </a:lnTo>
                <a:cubicBezTo>
                  <a:pt x="40583" y="9600"/>
                  <a:pt x="40756" y="9757"/>
                  <a:pt x="40943" y="9757"/>
                </a:cubicBezTo>
                <a:close/>
                <a:moveTo>
                  <a:pt x="45118" y="12431"/>
                </a:moveTo>
                <a:cubicBezTo>
                  <a:pt x="45118" y="12228"/>
                  <a:pt x="44962" y="12071"/>
                  <a:pt x="44759" y="12071"/>
                </a:cubicBezTo>
                <a:cubicBezTo>
                  <a:pt x="44555" y="12071"/>
                  <a:pt x="44399" y="12228"/>
                  <a:pt x="44399" y="12431"/>
                </a:cubicBezTo>
                <a:lnTo>
                  <a:pt x="44399" y="13385"/>
                </a:lnTo>
                <a:cubicBezTo>
                  <a:pt x="44399" y="13588"/>
                  <a:pt x="44555" y="13744"/>
                  <a:pt x="44759" y="13744"/>
                </a:cubicBezTo>
                <a:cubicBezTo>
                  <a:pt x="44962" y="13744"/>
                  <a:pt x="45118" y="13588"/>
                  <a:pt x="45118" y="13385"/>
                </a:cubicBezTo>
                <a:close/>
                <a:moveTo>
                  <a:pt x="45118" y="10054"/>
                </a:moveTo>
                <a:cubicBezTo>
                  <a:pt x="45118" y="9851"/>
                  <a:pt x="44962" y="9695"/>
                  <a:pt x="44759" y="9695"/>
                </a:cubicBezTo>
                <a:cubicBezTo>
                  <a:pt x="44555" y="9695"/>
                  <a:pt x="44399" y="9851"/>
                  <a:pt x="44399" y="10054"/>
                </a:cubicBezTo>
                <a:cubicBezTo>
                  <a:pt x="44399" y="11008"/>
                  <a:pt x="44399" y="10690"/>
                  <a:pt x="44399" y="11008"/>
                </a:cubicBezTo>
                <a:cubicBezTo>
                  <a:pt x="44399" y="11196"/>
                  <a:pt x="44555" y="11352"/>
                  <a:pt x="44759" y="11352"/>
                </a:cubicBezTo>
                <a:cubicBezTo>
                  <a:pt x="44962" y="11352"/>
                  <a:pt x="45118" y="11196"/>
                  <a:pt x="45118" y="11008"/>
                </a:cubicBezTo>
                <a:close/>
                <a:moveTo>
                  <a:pt x="45118" y="7661"/>
                </a:moveTo>
                <a:cubicBezTo>
                  <a:pt x="45118" y="7474"/>
                  <a:pt x="44962" y="7318"/>
                  <a:pt x="44759" y="7318"/>
                </a:cubicBezTo>
                <a:cubicBezTo>
                  <a:pt x="44555" y="7318"/>
                  <a:pt x="44399" y="7474"/>
                  <a:pt x="44399" y="7661"/>
                </a:cubicBezTo>
                <a:lnTo>
                  <a:pt x="44399" y="8615"/>
                </a:lnTo>
                <a:cubicBezTo>
                  <a:pt x="44399" y="8819"/>
                  <a:pt x="44555" y="8975"/>
                  <a:pt x="44759" y="8975"/>
                </a:cubicBezTo>
                <a:cubicBezTo>
                  <a:pt x="44962" y="8975"/>
                  <a:pt x="45118" y="8819"/>
                  <a:pt x="45118" y="8615"/>
                </a:cubicBezTo>
                <a:close/>
                <a:moveTo>
                  <a:pt x="45118" y="14808"/>
                </a:moveTo>
                <a:cubicBezTo>
                  <a:pt x="45118" y="14620"/>
                  <a:pt x="44962" y="14464"/>
                  <a:pt x="44759" y="14464"/>
                </a:cubicBezTo>
                <a:cubicBezTo>
                  <a:pt x="44555" y="14464"/>
                  <a:pt x="44399" y="14620"/>
                  <a:pt x="44399" y="14808"/>
                </a:cubicBezTo>
                <a:lnTo>
                  <a:pt x="44399" y="15496"/>
                </a:lnTo>
                <a:lnTo>
                  <a:pt x="43820" y="16184"/>
                </a:lnTo>
                <a:cubicBezTo>
                  <a:pt x="43695" y="16340"/>
                  <a:pt x="43711" y="16575"/>
                  <a:pt x="43851" y="16700"/>
                </a:cubicBezTo>
                <a:cubicBezTo>
                  <a:pt x="43930" y="16747"/>
                  <a:pt x="44008" y="16778"/>
                  <a:pt x="44086" y="16778"/>
                </a:cubicBezTo>
                <a:cubicBezTo>
                  <a:pt x="44196" y="16778"/>
                  <a:pt x="44289" y="16731"/>
                  <a:pt x="44367" y="16653"/>
                </a:cubicBezTo>
                <a:lnTo>
                  <a:pt x="44805" y="16121"/>
                </a:lnTo>
                <a:cubicBezTo>
                  <a:pt x="44977" y="16090"/>
                  <a:pt x="45118" y="15949"/>
                  <a:pt x="45118" y="15762"/>
                </a:cubicBezTo>
                <a:close/>
                <a:moveTo>
                  <a:pt x="45118" y="2908"/>
                </a:moveTo>
                <a:cubicBezTo>
                  <a:pt x="45118" y="2705"/>
                  <a:pt x="44962" y="2548"/>
                  <a:pt x="44759" y="2548"/>
                </a:cubicBezTo>
                <a:cubicBezTo>
                  <a:pt x="44555" y="2548"/>
                  <a:pt x="44399" y="2705"/>
                  <a:pt x="44399" y="2908"/>
                </a:cubicBezTo>
                <a:lnTo>
                  <a:pt x="44399" y="3862"/>
                </a:lnTo>
                <a:cubicBezTo>
                  <a:pt x="44399" y="4049"/>
                  <a:pt x="44555" y="4206"/>
                  <a:pt x="44759" y="4206"/>
                </a:cubicBezTo>
                <a:cubicBezTo>
                  <a:pt x="44962" y="4206"/>
                  <a:pt x="45118" y="4049"/>
                  <a:pt x="45118" y="3862"/>
                </a:cubicBezTo>
                <a:close/>
                <a:moveTo>
                  <a:pt x="45118" y="5285"/>
                </a:moveTo>
                <a:cubicBezTo>
                  <a:pt x="45118" y="5081"/>
                  <a:pt x="44962" y="4925"/>
                  <a:pt x="44759" y="4925"/>
                </a:cubicBezTo>
                <a:cubicBezTo>
                  <a:pt x="44555" y="4925"/>
                  <a:pt x="44399" y="5081"/>
                  <a:pt x="44399" y="5285"/>
                </a:cubicBezTo>
                <a:lnTo>
                  <a:pt x="44399" y="6238"/>
                </a:lnTo>
                <a:cubicBezTo>
                  <a:pt x="44399" y="6442"/>
                  <a:pt x="44555" y="6598"/>
                  <a:pt x="44759" y="6598"/>
                </a:cubicBezTo>
                <a:cubicBezTo>
                  <a:pt x="44962" y="6598"/>
                  <a:pt x="45118" y="6442"/>
                  <a:pt x="45118" y="6238"/>
                </a:cubicBezTo>
                <a:close/>
                <a:moveTo>
                  <a:pt x="365" y="31993"/>
                </a:moveTo>
                <a:lnTo>
                  <a:pt x="427" y="31993"/>
                </a:lnTo>
                <a:lnTo>
                  <a:pt x="896" y="31899"/>
                </a:lnTo>
                <a:cubicBezTo>
                  <a:pt x="1100" y="31852"/>
                  <a:pt x="1224" y="31665"/>
                  <a:pt x="1178" y="31477"/>
                </a:cubicBezTo>
                <a:cubicBezTo>
                  <a:pt x="1146" y="31274"/>
                  <a:pt x="943" y="31164"/>
                  <a:pt x="755" y="31195"/>
                </a:cubicBezTo>
                <a:lnTo>
                  <a:pt x="287" y="31289"/>
                </a:lnTo>
                <a:cubicBezTo>
                  <a:pt x="99" y="31336"/>
                  <a:pt x="-26" y="31524"/>
                  <a:pt x="5" y="31712"/>
                </a:cubicBezTo>
                <a:cubicBezTo>
                  <a:pt x="52" y="31883"/>
                  <a:pt x="192" y="31993"/>
                  <a:pt x="365" y="31993"/>
                </a:cubicBezTo>
                <a:close/>
                <a:moveTo>
                  <a:pt x="12327" y="28397"/>
                </a:moveTo>
                <a:lnTo>
                  <a:pt x="11811" y="28928"/>
                </a:lnTo>
                <a:lnTo>
                  <a:pt x="11796" y="28928"/>
                </a:lnTo>
                <a:cubicBezTo>
                  <a:pt x="11592" y="28975"/>
                  <a:pt x="11467" y="29163"/>
                  <a:pt x="11514" y="29350"/>
                </a:cubicBezTo>
                <a:cubicBezTo>
                  <a:pt x="11545" y="29523"/>
                  <a:pt x="11701" y="29648"/>
                  <a:pt x="11858" y="29648"/>
                </a:cubicBezTo>
                <a:cubicBezTo>
                  <a:pt x="11889" y="29648"/>
                  <a:pt x="11905" y="29648"/>
                  <a:pt x="11936" y="29632"/>
                </a:cubicBezTo>
                <a:lnTo>
                  <a:pt x="12061" y="29616"/>
                </a:lnTo>
                <a:cubicBezTo>
                  <a:pt x="12124" y="29601"/>
                  <a:pt x="12186" y="29569"/>
                  <a:pt x="12233" y="29507"/>
                </a:cubicBezTo>
                <a:lnTo>
                  <a:pt x="12843" y="28913"/>
                </a:lnTo>
                <a:cubicBezTo>
                  <a:pt x="12984" y="28772"/>
                  <a:pt x="12984" y="28537"/>
                  <a:pt x="12843" y="28397"/>
                </a:cubicBezTo>
                <a:cubicBezTo>
                  <a:pt x="12702" y="28256"/>
                  <a:pt x="12468" y="28256"/>
                  <a:pt x="12327" y="28397"/>
                </a:cubicBezTo>
                <a:close/>
                <a:moveTo>
                  <a:pt x="24383" y="17341"/>
                </a:moveTo>
                <a:lnTo>
                  <a:pt x="24524" y="17435"/>
                </a:lnTo>
                <a:cubicBezTo>
                  <a:pt x="24696" y="17544"/>
                  <a:pt x="24915" y="17497"/>
                  <a:pt x="25024" y="17341"/>
                </a:cubicBezTo>
                <a:cubicBezTo>
                  <a:pt x="25134" y="17184"/>
                  <a:pt x="25087" y="16950"/>
                  <a:pt x="24931" y="16841"/>
                </a:cubicBezTo>
                <a:lnTo>
                  <a:pt x="24539" y="16575"/>
                </a:lnTo>
                <a:cubicBezTo>
                  <a:pt x="24399" y="16481"/>
                  <a:pt x="24196" y="16496"/>
                  <a:pt x="24086" y="16621"/>
                </a:cubicBezTo>
                <a:lnTo>
                  <a:pt x="23742" y="16966"/>
                </a:lnTo>
                <a:cubicBezTo>
                  <a:pt x="23601" y="17091"/>
                  <a:pt x="23601" y="17326"/>
                  <a:pt x="23742" y="17466"/>
                </a:cubicBezTo>
                <a:cubicBezTo>
                  <a:pt x="23820" y="17529"/>
                  <a:pt x="23898" y="17576"/>
                  <a:pt x="23993" y="17576"/>
                </a:cubicBezTo>
                <a:cubicBezTo>
                  <a:pt x="24086" y="17576"/>
                  <a:pt x="24180" y="17529"/>
                  <a:pt x="24243" y="17466"/>
                </a:cubicBezTo>
                <a:close/>
                <a:moveTo>
                  <a:pt x="37221" y="24628"/>
                </a:moveTo>
                <a:cubicBezTo>
                  <a:pt x="37065" y="24503"/>
                  <a:pt x="36831" y="24519"/>
                  <a:pt x="36705" y="24675"/>
                </a:cubicBezTo>
                <a:lnTo>
                  <a:pt x="36611" y="24800"/>
                </a:lnTo>
                <a:lnTo>
                  <a:pt x="36486" y="24706"/>
                </a:lnTo>
                <a:cubicBezTo>
                  <a:pt x="36330" y="24597"/>
                  <a:pt x="36095" y="24644"/>
                  <a:pt x="35986" y="24800"/>
                </a:cubicBezTo>
                <a:cubicBezTo>
                  <a:pt x="35877" y="24972"/>
                  <a:pt x="35923" y="25191"/>
                  <a:pt x="36080" y="25300"/>
                </a:cubicBezTo>
                <a:lnTo>
                  <a:pt x="36486" y="25566"/>
                </a:lnTo>
                <a:cubicBezTo>
                  <a:pt x="36533" y="25613"/>
                  <a:pt x="36611" y="25628"/>
                  <a:pt x="36674" y="25628"/>
                </a:cubicBezTo>
                <a:cubicBezTo>
                  <a:pt x="36783" y="25628"/>
                  <a:pt x="36878" y="25582"/>
                  <a:pt x="36956" y="25503"/>
                </a:cubicBezTo>
                <a:lnTo>
                  <a:pt x="37253" y="25128"/>
                </a:lnTo>
                <a:cubicBezTo>
                  <a:pt x="37393" y="24987"/>
                  <a:pt x="37362" y="24753"/>
                  <a:pt x="37221" y="24628"/>
                </a:cubicBezTo>
                <a:close/>
                <a:moveTo>
                  <a:pt x="39801" y="20984"/>
                </a:moveTo>
                <a:lnTo>
                  <a:pt x="39176" y="21719"/>
                </a:lnTo>
                <a:cubicBezTo>
                  <a:pt x="39051" y="21876"/>
                  <a:pt x="39082" y="22095"/>
                  <a:pt x="39223" y="22235"/>
                </a:cubicBezTo>
                <a:cubicBezTo>
                  <a:pt x="39301" y="22282"/>
                  <a:pt x="39379" y="22313"/>
                  <a:pt x="39458" y="22313"/>
                </a:cubicBezTo>
                <a:cubicBezTo>
                  <a:pt x="39551" y="22313"/>
                  <a:pt x="39661" y="22267"/>
                  <a:pt x="39723" y="22188"/>
                </a:cubicBezTo>
                <a:lnTo>
                  <a:pt x="40349" y="21438"/>
                </a:lnTo>
                <a:cubicBezTo>
                  <a:pt x="40474" y="21297"/>
                  <a:pt x="40458" y="21062"/>
                  <a:pt x="40302" y="20937"/>
                </a:cubicBezTo>
                <a:cubicBezTo>
                  <a:pt x="40146" y="20812"/>
                  <a:pt x="39926" y="20828"/>
                  <a:pt x="39801" y="20984"/>
                </a:cubicBezTo>
                <a:close/>
                <a:moveTo>
                  <a:pt x="45400" y="14855"/>
                </a:moveTo>
                <a:cubicBezTo>
                  <a:pt x="45478" y="14902"/>
                  <a:pt x="45556" y="14933"/>
                  <a:pt x="45634" y="14933"/>
                </a:cubicBezTo>
                <a:cubicBezTo>
                  <a:pt x="45728" y="14933"/>
                  <a:pt x="45838" y="14886"/>
                  <a:pt x="45900" y="14808"/>
                </a:cubicBezTo>
                <a:lnTo>
                  <a:pt x="46526" y="14073"/>
                </a:lnTo>
                <a:cubicBezTo>
                  <a:pt x="46651" y="13916"/>
                  <a:pt x="46635" y="13698"/>
                  <a:pt x="46479" y="13557"/>
                </a:cubicBezTo>
                <a:cubicBezTo>
                  <a:pt x="46322" y="13431"/>
                  <a:pt x="46103" y="13463"/>
                  <a:pt x="45978" y="13604"/>
                </a:cubicBezTo>
                <a:lnTo>
                  <a:pt x="45353" y="14339"/>
                </a:lnTo>
                <a:cubicBezTo>
                  <a:pt x="45228" y="14495"/>
                  <a:pt x="45259" y="14729"/>
                  <a:pt x="45400" y="14855"/>
                </a:cubicBezTo>
                <a:close/>
                <a:moveTo>
                  <a:pt x="42319" y="18545"/>
                </a:moveTo>
                <a:cubicBezTo>
                  <a:pt x="42382" y="18592"/>
                  <a:pt x="42460" y="18623"/>
                  <a:pt x="42538" y="18623"/>
                </a:cubicBezTo>
                <a:cubicBezTo>
                  <a:pt x="42648" y="18623"/>
                  <a:pt x="42741" y="18576"/>
                  <a:pt x="42820" y="18498"/>
                </a:cubicBezTo>
                <a:lnTo>
                  <a:pt x="43429" y="17763"/>
                </a:lnTo>
                <a:cubicBezTo>
                  <a:pt x="43570" y="17607"/>
                  <a:pt x="43539" y="17372"/>
                  <a:pt x="43398" y="17247"/>
                </a:cubicBezTo>
                <a:cubicBezTo>
                  <a:pt x="43241" y="17122"/>
                  <a:pt x="43007" y="17153"/>
                  <a:pt x="42882" y="17294"/>
                </a:cubicBezTo>
                <a:lnTo>
                  <a:pt x="42272" y="18029"/>
                </a:lnTo>
                <a:cubicBezTo>
                  <a:pt x="42147" y="18185"/>
                  <a:pt x="42163" y="18404"/>
                  <a:pt x="42319" y="18545"/>
                </a:cubicBezTo>
                <a:close/>
                <a:moveTo>
                  <a:pt x="48746" y="10289"/>
                </a:moveTo>
                <a:lnTo>
                  <a:pt x="48449" y="10664"/>
                </a:lnTo>
                <a:cubicBezTo>
                  <a:pt x="48324" y="10804"/>
                  <a:pt x="48339" y="11039"/>
                  <a:pt x="48496" y="11164"/>
                </a:cubicBezTo>
                <a:cubicBezTo>
                  <a:pt x="48637" y="11274"/>
                  <a:pt x="48855" y="11274"/>
                  <a:pt x="48980" y="11133"/>
                </a:cubicBezTo>
                <a:cubicBezTo>
                  <a:pt x="49043" y="11227"/>
                  <a:pt x="49153" y="11289"/>
                  <a:pt x="49278" y="11289"/>
                </a:cubicBezTo>
                <a:cubicBezTo>
                  <a:pt x="49340" y="11289"/>
                  <a:pt x="49403" y="11274"/>
                  <a:pt x="49450" y="11242"/>
                </a:cubicBezTo>
                <a:cubicBezTo>
                  <a:pt x="49621" y="11133"/>
                  <a:pt x="49684" y="10914"/>
                  <a:pt x="49575" y="10742"/>
                </a:cubicBezTo>
                <a:lnTo>
                  <a:pt x="49340" y="10336"/>
                </a:lnTo>
                <a:cubicBezTo>
                  <a:pt x="49278" y="10241"/>
                  <a:pt x="49168" y="10179"/>
                  <a:pt x="49059" y="10163"/>
                </a:cubicBezTo>
                <a:cubicBezTo>
                  <a:pt x="48933" y="10148"/>
                  <a:pt x="48824" y="10210"/>
                  <a:pt x="48746" y="10289"/>
                </a:cubicBezTo>
                <a:close/>
                <a:moveTo>
                  <a:pt x="55595" y="20062"/>
                </a:moveTo>
                <a:cubicBezTo>
                  <a:pt x="55454" y="19999"/>
                  <a:pt x="55298" y="20015"/>
                  <a:pt x="55188" y="20124"/>
                </a:cubicBezTo>
                <a:cubicBezTo>
                  <a:pt x="55063" y="20031"/>
                  <a:pt x="54907" y="20015"/>
                  <a:pt x="54766" y="20093"/>
                </a:cubicBezTo>
                <a:cubicBezTo>
                  <a:pt x="54610" y="20187"/>
                  <a:pt x="54547" y="20406"/>
                  <a:pt x="54657" y="20578"/>
                </a:cubicBezTo>
                <a:lnTo>
                  <a:pt x="54892" y="20984"/>
                </a:lnTo>
                <a:cubicBezTo>
                  <a:pt x="54954" y="21094"/>
                  <a:pt x="55079" y="21157"/>
                  <a:pt x="55204" y="21157"/>
                </a:cubicBezTo>
                <a:cubicBezTo>
                  <a:pt x="55345" y="21157"/>
                  <a:pt x="55454" y="21078"/>
                  <a:pt x="55517" y="20969"/>
                </a:cubicBezTo>
                <a:lnTo>
                  <a:pt x="55736" y="20547"/>
                </a:lnTo>
                <a:cubicBezTo>
                  <a:pt x="55830" y="20374"/>
                  <a:pt x="55767" y="20156"/>
                  <a:pt x="55595" y="20062"/>
                </a:cubicBezTo>
                <a:close/>
                <a:moveTo>
                  <a:pt x="59176" y="13306"/>
                </a:moveTo>
                <a:cubicBezTo>
                  <a:pt x="59223" y="13338"/>
                  <a:pt x="59285" y="13353"/>
                  <a:pt x="59333" y="13353"/>
                </a:cubicBezTo>
                <a:cubicBezTo>
                  <a:pt x="59473" y="13353"/>
                  <a:pt x="59598" y="13275"/>
                  <a:pt x="59661" y="13166"/>
                </a:cubicBezTo>
                <a:lnTo>
                  <a:pt x="60083" y="12337"/>
                </a:lnTo>
                <a:cubicBezTo>
                  <a:pt x="60177" y="12165"/>
                  <a:pt x="60114" y="11946"/>
                  <a:pt x="59942" y="11852"/>
                </a:cubicBezTo>
                <a:cubicBezTo>
                  <a:pt x="59770" y="11759"/>
                  <a:pt x="59551" y="11837"/>
                  <a:pt x="59458" y="12009"/>
                </a:cubicBezTo>
                <a:lnTo>
                  <a:pt x="59020" y="12822"/>
                </a:lnTo>
                <a:cubicBezTo>
                  <a:pt x="58926" y="12994"/>
                  <a:pt x="59004" y="13213"/>
                  <a:pt x="59176" y="13306"/>
                </a:cubicBezTo>
                <a:close/>
                <a:moveTo>
                  <a:pt x="58082" y="15355"/>
                </a:moveTo>
                <a:cubicBezTo>
                  <a:pt x="58144" y="15387"/>
                  <a:pt x="58191" y="15402"/>
                  <a:pt x="58253" y="15402"/>
                </a:cubicBezTo>
                <a:cubicBezTo>
                  <a:pt x="58378" y="15402"/>
                  <a:pt x="58503" y="15339"/>
                  <a:pt x="58566" y="15214"/>
                </a:cubicBezTo>
                <a:lnTo>
                  <a:pt x="59004" y="14386"/>
                </a:lnTo>
                <a:cubicBezTo>
                  <a:pt x="59098" y="14214"/>
                  <a:pt x="59035" y="13994"/>
                  <a:pt x="58848" y="13916"/>
                </a:cubicBezTo>
                <a:cubicBezTo>
                  <a:pt x="58675" y="13823"/>
                  <a:pt x="58457" y="13885"/>
                  <a:pt x="58378" y="14057"/>
                </a:cubicBezTo>
                <a:lnTo>
                  <a:pt x="57940" y="14886"/>
                </a:lnTo>
                <a:cubicBezTo>
                  <a:pt x="57847" y="15058"/>
                  <a:pt x="57909" y="15277"/>
                  <a:pt x="58082" y="15355"/>
                </a:cubicBezTo>
                <a:close/>
                <a:moveTo>
                  <a:pt x="60255" y="11258"/>
                </a:moveTo>
                <a:cubicBezTo>
                  <a:pt x="60317" y="11289"/>
                  <a:pt x="60364" y="11305"/>
                  <a:pt x="60427" y="11305"/>
                </a:cubicBezTo>
                <a:cubicBezTo>
                  <a:pt x="60552" y="11305"/>
                  <a:pt x="60677" y="11227"/>
                  <a:pt x="60740" y="11102"/>
                </a:cubicBezTo>
                <a:lnTo>
                  <a:pt x="60959" y="10695"/>
                </a:lnTo>
                <a:cubicBezTo>
                  <a:pt x="61052" y="10508"/>
                  <a:pt x="60990" y="10304"/>
                  <a:pt x="60818" y="10210"/>
                </a:cubicBezTo>
                <a:cubicBezTo>
                  <a:pt x="60646" y="10116"/>
                  <a:pt x="60427" y="10179"/>
                  <a:pt x="60333" y="10351"/>
                </a:cubicBezTo>
                <a:cubicBezTo>
                  <a:pt x="60114" y="10773"/>
                  <a:pt x="60187" y="10632"/>
                  <a:pt x="60114" y="10773"/>
                </a:cubicBezTo>
                <a:cubicBezTo>
                  <a:pt x="60021" y="10946"/>
                  <a:pt x="60083" y="11164"/>
                  <a:pt x="60255" y="1125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6" name="Freeform 15">
            <a:extLst>
              <a:ext uri="{FF2B5EF4-FFF2-40B4-BE49-F238E27FC236}">
                <a16:creationId xmlns:a16="http://schemas.microsoft.com/office/drawing/2014/main" id="{C83DE38B-05A5-1646-A97C-9549FABC3E3F}"/>
              </a:ext>
            </a:extLst>
          </p:cNvPr>
          <p:cNvSpPr/>
          <p:nvPr/>
        </p:nvSpPr>
        <p:spPr>
          <a:xfrm>
            <a:off x="12435106" y="2228645"/>
            <a:ext cx="10458008" cy="8859180"/>
          </a:xfrm>
          <a:custGeom>
            <a:avLst/>
            <a:gdLst/>
            <a:ahLst/>
            <a:cxnLst>
              <a:cxn ang="3cd4">
                <a:pos x="hc" y="t"/>
              </a:cxn>
              <a:cxn ang="cd2">
                <a:pos x="l" y="vc"/>
              </a:cxn>
              <a:cxn ang="cd4">
                <a:pos x="hc" y="b"/>
              </a:cxn>
              <a:cxn ang="0">
                <a:pos x="r" y="vc"/>
              </a:cxn>
            </a:cxnLst>
            <a:rect l="l" t="t" r="r" b="b"/>
            <a:pathLst>
              <a:path w="65660" h="55622">
                <a:moveTo>
                  <a:pt x="8944" y="29914"/>
                </a:moveTo>
                <a:cubicBezTo>
                  <a:pt x="9929" y="28929"/>
                  <a:pt x="10477" y="27615"/>
                  <a:pt x="10477" y="26208"/>
                </a:cubicBezTo>
                <a:cubicBezTo>
                  <a:pt x="10477" y="24816"/>
                  <a:pt x="9929" y="23503"/>
                  <a:pt x="8944" y="22502"/>
                </a:cubicBezTo>
                <a:cubicBezTo>
                  <a:pt x="7943" y="21517"/>
                  <a:pt x="6630" y="20970"/>
                  <a:pt x="5238" y="20970"/>
                </a:cubicBezTo>
                <a:cubicBezTo>
                  <a:pt x="3831" y="20970"/>
                  <a:pt x="2518" y="21517"/>
                  <a:pt x="1532" y="22502"/>
                </a:cubicBezTo>
                <a:cubicBezTo>
                  <a:pt x="547" y="23503"/>
                  <a:pt x="0" y="24816"/>
                  <a:pt x="0" y="26208"/>
                </a:cubicBezTo>
                <a:cubicBezTo>
                  <a:pt x="0" y="27615"/>
                  <a:pt x="547" y="28929"/>
                  <a:pt x="1532" y="29914"/>
                </a:cubicBezTo>
                <a:cubicBezTo>
                  <a:pt x="2518" y="30915"/>
                  <a:pt x="3831" y="31446"/>
                  <a:pt x="5238" y="31446"/>
                </a:cubicBezTo>
                <a:cubicBezTo>
                  <a:pt x="6630" y="31446"/>
                  <a:pt x="7943" y="30915"/>
                  <a:pt x="8944" y="29914"/>
                </a:cubicBezTo>
                <a:close/>
                <a:moveTo>
                  <a:pt x="704" y="26208"/>
                </a:moveTo>
                <a:cubicBezTo>
                  <a:pt x="704" y="25004"/>
                  <a:pt x="1173" y="23863"/>
                  <a:pt x="2033" y="23018"/>
                </a:cubicBezTo>
                <a:cubicBezTo>
                  <a:pt x="2893" y="22158"/>
                  <a:pt x="4019" y="21689"/>
                  <a:pt x="5238" y="21689"/>
                </a:cubicBezTo>
                <a:cubicBezTo>
                  <a:pt x="6442" y="21689"/>
                  <a:pt x="7584" y="22158"/>
                  <a:pt x="8428" y="23018"/>
                </a:cubicBezTo>
                <a:cubicBezTo>
                  <a:pt x="9288" y="23863"/>
                  <a:pt x="9757" y="25004"/>
                  <a:pt x="9757" y="26208"/>
                </a:cubicBezTo>
                <a:cubicBezTo>
                  <a:pt x="9757" y="27428"/>
                  <a:pt x="9288" y="28554"/>
                  <a:pt x="8428" y="29414"/>
                </a:cubicBezTo>
                <a:cubicBezTo>
                  <a:pt x="7584" y="30274"/>
                  <a:pt x="6442" y="30743"/>
                  <a:pt x="5238" y="30743"/>
                </a:cubicBezTo>
                <a:cubicBezTo>
                  <a:pt x="4019" y="30743"/>
                  <a:pt x="2893" y="30274"/>
                  <a:pt x="2033" y="29414"/>
                </a:cubicBezTo>
                <a:cubicBezTo>
                  <a:pt x="1173" y="28554"/>
                  <a:pt x="704" y="27428"/>
                  <a:pt x="704" y="26208"/>
                </a:cubicBezTo>
                <a:close/>
                <a:moveTo>
                  <a:pt x="64237" y="21001"/>
                </a:moveTo>
                <a:cubicBezTo>
                  <a:pt x="63455" y="21001"/>
                  <a:pt x="62814" y="21626"/>
                  <a:pt x="62814" y="22408"/>
                </a:cubicBezTo>
                <a:cubicBezTo>
                  <a:pt x="62814" y="22752"/>
                  <a:pt x="62940" y="23065"/>
                  <a:pt x="63143" y="23315"/>
                </a:cubicBezTo>
                <a:lnTo>
                  <a:pt x="59624" y="28648"/>
                </a:lnTo>
                <a:cubicBezTo>
                  <a:pt x="59421" y="28538"/>
                  <a:pt x="59202" y="28491"/>
                  <a:pt x="58952" y="28491"/>
                </a:cubicBezTo>
                <a:cubicBezTo>
                  <a:pt x="58342" y="28491"/>
                  <a:pt x="57811" y="28866"/>
                  <a:pt x="57623" y="29414"/>
                </a:cubicBezTo>
                <a:cubicBezTo>
                  <a:pt x="56731" y="29070"/>
                  <a:pt x="57028" y="29185"/>
                  <a:pt x="56731" y="29070"/>
                </a:cubicBezTo>
                <a:lnTo>
                  <a:pt x="56731" y="24520"/>
                </a:lnTo>
                <a:cubicBezTo>
                  <a:pt x="56731" y="23581"/>
                  <a:pt x="56403" y="22799"/>
                  <a:pt x="55778" y="22252"/>
                </a:cubicBezTo>
                <a:cubicBezTo>
                  <a:pt x="55184" y="21720"/>
                  <a:pt x="54370" y="21439"/>
                  <a:pt x="53416" y="21439"/>
                </a:cubicBezTo>
                <a:lnTo>
                  <a:pt x="17248" y="21439"/>
                </a:lnTo>
                <a:cubicBezTo>
                  <a:pt x="15324" y="21439"/>
                  <a:pt x="14183" y="22596"/>
                  <a:pt x="14183" y="24520"/>
                </a:cubicBezTo>
                <a:lnTo>
                  <a:pt x="14183" y="49883"/>
                </a:lnTo>
                <a:lnTo>
                  <a:pt x="11180" y="49883"/>
                </a:lnTo>
                <a:cubicBezTo>
                  <a:pt x="10993" y="49883"/>
                  <a:pt x="10837" y="50055"/>
                  <a:pt x="10837" y="50243"/>
                </a:cubicBezTo>
                <a:lnTo>
                  <a:pt x="10837" y="51712"/>
                </a:lnTo>
                <a:cubicBezTo>
                  <a:pt x="10837" y="53605"/>
                  <a:pt x="12134" y="55622"/>
                  <a:pt x="14089" y="55622"/>
                </a:cubicBezTo>
                <a:lnTo>
                  <a:pt x="55934" y="55622"/>
                </a:lnTo>
                <a:cubicBezTo>
                  <a:pt x="56841" y="55622"/>
                  <a:pt x="57873" y="55168"/>
                  <a:pt x="58717" y="54402"/>
                </a:cubicBezTo>
                <a:cubicBezTo>
                  <a:pt x="59577" y="53605"/>
                  <a:pt x="60078" y="52619"/>
                  <a:pt x="60078" y="51712"/>
                </a:cubicBezTo>
                <a:lnTo>
                  <a:pt x="60078" y="50243"/>
                </a:lnTo>
                <a:cubicBezTo>
                  <a:pt x="60078" y="50055"/>
                  <a:pt x="59906" y="49883"/>
                  <a:pt x="59718" y="49883"/>
                </a:cubicBezTo>
                <a:lnTo>
                  <a:pt x="56731" y="49883"/>
                </a:lnTo>
                <a:lnTo>
                  <a:pt x="56731" y="29836"/>
                </a:lnTo>
                <a:lnTo>
                  <a:pt x="57560" y="30164"/>
                </a:lnTo>
                <a:cubicBezTo>
                  <a:pt x="57669" y="30821"/>
                  <a:pt x="58264" y="31321"/>
                  <a:pt x="58952" y="31321"/>
                </a:cubicBezTo>
                <a:cubicBezTo>
                  <a:pt x="59734" y="31321"/>
                  <a:pt x="60375" y="30696"/>
                  <a:pt x="60375" y="29899"/>
                </a:cubicBezTo>
                <a:cubicBezTo>
                  <a:pt x="60375" y="29633"/>
                  <a:pt x="60297" y="29367"/>
                  <a:pt x="60156" y="29148"/>
                </a:cubicBezTo>
                <a:lnTo>
                  <a:pt x="63721" y="23737"/>
                </a:lnTo>
                <a:cubicBezTo>
                  <a:pt x="63878" y="23800"/>
                  <a:pt x="64049" y="23831"/>
                  <a:pt x="64237" y="23831"/>
                </a:cubicBezTo>
                <a:cubicBezTo>
                  <a:pt x="65019" y="23831"/>
                  <a:pt x="65660" y="23206"/>
                  <a:pt x="65660" y="22408"/>
                </a:cubicBezTo>
                <a:cubicBezTo>
                  <a:pt x="65660" y="21626"/>
                  <a:pt x="65019" y="21001"/>
                  <a:pt x="64237" y="21001"/>
                </a:cubicBezTo>
                <a:close/>
                <a:moveTo>
                  <a:pt x="59358" y="51712"/>
                </a:moveTo>
                <a:cubicBezTo>
                  <a:pt x="59358" y="52416"/>
                  <a:pt x="58936" y="53229"/>
                  <a:pt x="58232" y="53870"/>
                </a:cubicBezTo>
                <a:cubicBezTo>
                  <a:pt x="57529" y="54527"/>
                  <a:pt x="56669" y="54918"/>
                  <a:pt x="55934" y="54918"/>
                </a:cubicBezTo>
                <a:lnTo>
                  <a:pt x="14089" y="54918"/>
                </a:lnTo>
                <a:cubicBezTo>
                  <a:pt x="13401" y="54918"/>
                  <a:pt x="12760" y="54558"/>
                  <a:pt x="12275" y="53917"/>
                </a:cubicBezTo>
                <a:cubicBezTo>
                  <a:pt x="11806" y="53307"/>
                  <a:pt x="11540" y="52494"/>
                  <a:pt x="11540" y="51712"/>
                </a:cubicBezTo>
                <a:lnTo>
                  <a:pt x="11540" y="50602"/>
                </a:lnTo>
                <a:lnTo>
                  <a:pt x="14527" y="50602"/>
                </a:lnTo>
                <a:lnTo>
                  <a:pt x="56372" y="50602"/>
                </a:lnTo>
                <a:lnTo>
                  <a:pt x="59358" y="50602"/>
                </a:lnTo>
                <a:close/>
                <a:moveTo>
                  <a:pt x="56012" y="49883"/>
                </a:moveTo>
                <a:lnTo>
                  <a:pt x="14886" y="49883"/>
                </a:lnTo>
                <a:lnTo>
                  <a:pt x="14886" y="24520"/>
                </a:lnTo>
                <a:cubicBezTo>
                  <a:pt x="14886" y="23753"/>
                  <a:pt x="15090" y="23174"/>
                  <a:pt x="15496" y="22768"/>
                </a:cubicBezTo>
                <a:cubicBezTo>
                  <a:pt x="15903" y="22361"/>
                  <a:pt x="16497" y="22158"/>
                  <a:pt x="17248" y="22158"/>
                </a:cubicBezTo>
                <a:lnTo>
                  <a:pt x="53416" y="22158"/>
                </a:lnTo>
                <a:cubicBezTo>
                  <a:pt x="54198" y="22158"/>
                  <a:pt x="54855" y="22377"/>
                  <a:pt x="55309" y="22784"/>
                </a:cubicBezTo>
                <a:cubicBezTo>
                  <a:pt x="55762" y="23190"/>
                  <a:pt x="56012" y="23784"/>
                  <a:pt x="56012" y="24520"/>
                </a:cubicBezTo>
                <a:lnTo>
                  <a:pt x="56012" y="28804"/>
                </a:lnTo>
                <a:lnTo>
                  <a:pt x="54652" y="28272"/>
                </a:lnTo>
                <a:lnTo>
                  <a:pt x="54652" y="24832"/>
                </a:lnTo>
                <a:cubicBezTo>
                  <a:pt x="54652" y="24629"/>
                  <a:pt x="54496" y="24472"/>
                  <a:pt x="54292" y="24472"/>
                </a:cubicBezTo>
                <a:lnTo>
                  <a:pt x="16763" y="24472"/>
                </a:lnTo>
                <a:cubicBezTo>
                  <a:pt x="16559" y="24472"/>
                  <a:pt x="16403" y="24629"/>
                  <a:pt x="16403" y="24832"/>
                </a:cubicBezTo>
                <a:lnTo>
                  <a:pt x="16403" y="47928"/>
                </a:lnTo>
                <a:cubicBezTo>
                  <a:pt x="16403" y="48131"/>
                  <a:pt x="16559" y="48288"/>
                  <a:pt x="16763" y="48288"/>
                </a:cubicBezTo>
                <a:lnTo>
                  <a:pt x="54292" y="48288"/>
                </a:lnTo>
                <a:cubicBezTo>
                  <a:pt x="54496" y="48288"/>
                  <a:pt x="54652" y="48131"/>
                  <a:pt x="54652" y="47928"/>
                </a:cubicBezTo>
                <a:lnTo>
                  <a:pt x="54652" y="29039"/>
                </a:lnTo>
                <a:lnTo>
                  <a:pt x="56012" y="29570"/>
                </a:lnTo>
                <a:close/>
                <a:moveTo>
                  <a:pt x="49804" y="27522"/>
                </a:moveTo>
                <a:lnTo>
                  <a:pt x="49804" y="27506"/>
                </a:lnTo>
                <a:cubicBezTo>
                  <a:pt x="49726" y="27397"/>
                  <a:pt x="49679" y="27272"/>
                  <a:pt x="49679" y="27115"/>
                </a:cubicBezTo>
                <a:cubicBezTo>
                  <a:pt x="49679" y="26724"/>
                  <a:pt x="50008" y="26411"/>
                  <a:pt x="50383" y="26411"/>
                </a:cubicBezTo>
                <a:cubicBezTo>
                  <a:pt x="50774" y="26411"/>
                  <a:pt x="51102" y="26724"/>
                  <a:pt x="51102" y="27115"/>
                </a:cubicBezTo>
                <a:cubicBezTo>
                  <a:pt x="51102" y="27178"/>
                  <a:pt x="51086" y="27240"/>
                  <a:pt x="51071" y="27303"/>
                </a:cubicBezTo>
                <a:lnTo>
                  <a:pt x="51071" y="27318"/>
                </a:lnTo>
                <a:cubicBezTo>
                  <a:pt x="50977" y="27615"/>
                  <a:pt x="50711" y="27819"/>
                  <a:pt x="50383" y="27819"/>
                </a:cubicBezTo>
                <a:cubicBezTo>
                  <a:pt x="50148" y="27819"/>
                  <a:pt x="49929" y="27710"/>
                  <a:pt x="49804" y="27522"/>
                </a:cubicBezTo>
                <a:close/>
                <a:moveTo>
                  <a:pt x="50383" y="25692"/>
                </a:moveTo>
                <a:cubicBezTo>
                  <a:pt x="49601" y="25692"/>
                  <a:pt x="48975" y="26333"/>
                  <a:pt x="48975" y="27115"/>
                </a:cubicBezTo>
                <a:cubicBezTo>
                  <a:pt x="48975" y="27287"/>
                  <a:pt x="49007" y="27459"/>
                  <a:pt x="49054" y="27615"/>
                </a:cubicBezTo>
                <a:lnTo>
                  <a:pt x="44613" y="30821"/>
                </a:lnTo>
                <a:cubicBezTo>
                  <a:pt x="44363" y="30618"/>
                  <a:pt x="44050" y="30493"/>
                  <a:pt x="43706" y="30493"/>
                </a:cubicBezTo>
                <a:cubicBezTo>
                  <a:pt x="43112" y="30493"/>
                  <a:pt x="42595" y="30868"/>
                  <a:pt x="42392" y="31384"/>
                </a:cubicBezTo>
                <a:lnTo>
                  <a:pt x="38499" y="29367"/>
                </a:lnTo>
                <a:cubicBezTo>
                  <a:pt x="38577" y="29195"/>
                  <a:pt x="38608" y="29023"/>
                  <a:pt x="38608" y="28835"/>
                </a:cubicBezTo>
                <a:cubicBezTo>
                  <a:pt x="38608" y="28053"/>
                  <a:pt x="37967" y="27412"/>
                  <a:pt x="37185" y="27412"/>
                </a:cubicBezTo>
                <a:cubicBezTo>
                  <a:pt x="36403" y="27412"/>
                  <a:pt x="35762" y="28053"/>
                  <a:pt x="35762" y="28835"/>
                </a:cubicBezTo>
                <a:cubicBezTo>
                  <a:pt x="35762" y="29023"/>
                  <a:pt x="35793" y="29195"/>
                  <a:pt x="35856" y="29351"/>
                </a:cubicBezTo>
                <a:lnTo>
                  <a:pt x="32713" y="30899"/>
                </a:lnTo>
                <a:lnTo>
                  <a:pt x="32713" y="30305"/>
                </a:lnTo>
                <a:cubicBezTo>
                  <a:pt x="32713" y="30117"/>
                  <a:pt x="32556" y="29961"/>
                  <a:pt x="32353" y="29961"/>
                </a:cubicBezTo>
                <a:lnTo>
                  <a:pt x="29726" y="29961"/>
                </a:lnTo>
                <a:cubicBezTo>
                  <a:pt x="29539" y="29961"/>
                  <a:pt x="29382" y="30117"/>
                  <a:pt x="29382" y="30305"/>
                </a:cubicBezTo>
                <a:lnTo>
                  <a:pt x="29382" y="45161"/>
                </a:lnTo>
                <a:lnTo>
                  <a:pt x="28225" y="45161"/>
                </a:lnTo>
                <a:lnTo>
                  <a:pt x="28225" y="28835"/>
                </a:lnTo>
                <a:cubicBezTo>
                  <a:pt x="28225" y="28648"/>
                  <a:pt x="28068" y="28491"/>
                  <a:pt x="27865" y="28491"/>
                </a:cubicBezTo>
                <a:lnTo>
                  <a:pt x="25254" y="28491"/>
                </a:lnTo>
                <a:cubicBezTo>
                  <a:pt x="25051" y="28491"/>
                  <a:pt x="24894" y="28648"/>
                  <a:pt x="24894" y="28835"/>
                </a:cubicBezTo>
                <a:lnTo>
                  <a:pt x="24894" y="45161"/>
                </a:lnTo>
                <a:lnTo>
                  <a:pt x="23737" y="45161"/>
                </a:lnTo>
                <a:lnTo>
                  <a:pt x="23737" y="32619"/>
                </a:lnTo>
                <a:cubicBezTo>
                  <a:pt x="23737" y="32416"/>
                  <a:pt x="23580" y="32260"/>
                  <a:pt x="23377" y="32260"/>
                </a:cubicBezTo>
                <a:lnTo>
                  <a:pt x="20766" y="32260"/>
                </a:lnTo>
                <a:cubicBezTo>
                  <a:pt x="20563" y="32260"/>
                  <a:pt x="20406" y="32416"/>
                  <a:pt x="20406" y="32619"/>
                </a:cubicBezTo>
                <a:lnTo>
                  <a:pt x="20406" y="45161"/>
                </a:lnTo>
                <a:lnTo>
                  <a:pt x="19265" y="45161"/>
                </a:lnTo>
                <a:cubicBezTo>
                  <a:pt x="19061" y="45161"/>
                  <a:pt x="18905" y="45317"/>
                  <a:pt x="18905" y="45520"/>
                </a:cubicBezTo>
                <a:cubicBezTo>
                  <a:pt x="18905" y="45724"/>
                  <a:pt x="19061" y="45880"/>
                  <a:pt x="19265" y="45880"/>
                </a:cubicBezTo>
                <a:lnTo>
                  <a:pt x="20766" y="45880"/>
                </a:lnTo>
                <a:lnTo>
                  <a:pt x="23377" y="45880"/>
                </a:lnTo>
                <a:lnTo>
                  <a:pt x="25254" y="45880"/>
                </a:lnTo>
                <a:lnTo>
                  <a:pt x="27865" y="45880"/>
                </a:lnTo>
                <a:lnTo>
                  <a:pt x="29726" y="45880"/>
                </a:lnTo>
                <a:lnTo>
                  <a:pt x="32353" y="45880"/>
                </a:lnTo>
                <a:lnTo>
                  <a:pt x="34214" y="45880"/>
                </a:lnTo>
                <a:lnTo>
                  <a:pt x="36841" y="45880"/>
                </a:lnTo>
                <a:lnTo>
                  <a:pt x="38702" y="45880"/>
                </a:lnTo>
                <a:lnTo>
                  <a:pt x="41329" y="45880"/>
                </a:lnTo>
                <a:lnTo>
                  <a:pt x="43190" y="45880"/>
                </a:lnTo>
                <a:lnTo>
                  <a:pt x="45801" y="45880"/>
                </a:lnTo>
                <a:lnTo>
                  <a:pt x="47678" y="45880"/>
                </a:lnTo>
                <a:lnTo>
                  <a:pt x="50289" y="45880"/>
                </a:lnTo>
                <a:lnTo>
                  <a:pt x="51774" y="45880"/>
                </a:lnTo>
                <a:cubicBezTo>
                  <a:pt x="51978" y="45880"/>
                  <a:pt x="52134" y="45724"/>
                  <a:pt x="52134" y="45520"/>
                </a:cubicBezTo>
                <a:cubicBezTo>
                  <a:pt x="52134" y="45317"/>
                  <a:pt x="51978" y="45161"/>
                  <a:pt x="51774" y="45161"/>
                </a:cubicBezTo>
                <a:lnTo>
                  <a:pt x="50649" y="45161"/>
                </a:lnTo>
                <a:lnTo>
                  <a:pt x="50649" y="32197"/>
                </a:lnTo>
                <a:cubicBezTo>
                  <a:pt x="50649" y="32009"/>
                  <a:pt x="50492" y="31838"/>
                  <a:pt x="50289" y="31838"/>
                </a:cubicBezTo>
                <a:lnTo>
                  <a:pt x="47678" y="31838"/>
                </a:lnTo>
                <a:cubicBezTo>
                  <a:pt x="47474" y="31838"/>
                  <a:pt x="47318" y="32009"/>
                  <a:pt x="47318" y="32197"/>
                </a:cubicBezTo>
                <a:lnTo>
                  <a:pt x="47318" y="45161"/>
                </a:lnTo>
                <a:lnTo>
                  <a:pt x="46161" y="45161"/>
                </a:lnTo>
                <a:lnTo>
                  <a:pt x="46161" y="34324"/>
                </a:lnTo>
                <a:cubicBezTo>
                  <a:pt x="46161" y="34121"/>
                  <a:pt x="46004" y="33964"/>
                  <a:pt x="45801" y="33964"/>
                </a:cubicBezTo>
                <a:lnTo>
                  <a:pt x="43190" y="33964"/>
                </a:lnTo>
                <a:cubicBezTo>
                  <a:pt x="42987" y="33964"/>
                  <a:pt x="42830" y="34121"/>
                  <a:pt x="42830" y="34324"/>
                </a:cubicBezTo>
                <a:lnTo>
                  <a:pt x="42830" y="45161"/>
                </a:lnTo>
                <a:lnTo>
                  <a:pt x="41673" y="45161"/>
                </a:lnTo>
                <a:lnTo>
                  <a:pt x="41673" y="33370"/>
                </a:lnTo>
                <a:cubicBezTo>
                  <a:pt x="41673" y="33182"/>
                  <a:pt x="41516" y="33010"/>
                  <a:pt x="41329" y="33010"/>
                </a:cubicBezTo>
                <a:lnTo>
                  <a:pt x="38702" y="33010"/>
                </a:lnTo>
                <a:cubicBezTo>
                  <a:pt x="38499" y="33010"/>
                  <a:pt x="38342" y="33182"/>
                  <a:pt x="38342" y="33370"/>
                </a:cubicBezTo>
                <a:lnTo>
                  <a:pt x="38342" y="45161"/>
                </a:lnTo>
                <a:lnTo>
                  <a:pt x="37201" y="45161"/>
                </a:lnTo>
                <a:lnTo>
                  <a:pt x="37201" y="31916"/>
                </a:lnTo>
                <a:cubicBezTo>
                  <a:pt x="37201" y="31713"/>
                  <a:pt x="37028" y="31556"/>
                  <a:pt x="36841" y="31556"/>
                </a:cubicBezTo>
                <a:lnTo>
                  <a:pt x="34214" y="31556"/>
                </a:lnTo>
                <a:cubicBezTo>
                  <a:pt x="34026" y="31556"/>
                  <a:pt x="33854" y="31713"/>
                  <a:pt x="33854" y="31916"/>
                </a:cubicBezTo>
                <a:lnTo>
                  <a:pt x="33854" y="45161"/>
                </a:lnTo>
                <a:lnTo>
                  <a:pt x="32713" y="45161"/>
                </a:lnTo>
                <a:lnTo>
                  <a:pt x="32713" y="31697"/>
                </a:lnTo>
                <a:cubicBezTo>
                  <a:pt x="36278" y="29945"/>
                  <a:pt x="35090" y="30529"/>
                  <a:pt x="36278" y="29945"/>
                </a:cubicBezTo>
                <a:cubicBezTo>
                  <a:pt x="36528" y="30149"/>
                  <a:pt x="36841" y="30258"/>
                  <a:pt x="37185" y="30258"/>
                </a:cubicBezTo>
                <a:cubicBezTo>
                  <a:pt x="37529" y="30258"/>
                  <a:pt x="37826" y="30149"/>
                  <a:pt x="38076" y="29945"/>
                </a:cubicBezTo>
                <a:lnTo>
                  <a:pt x="42299" y="32134"/>
                </a:lnTo>
                <a:cubicBezTo>
                  <a:pt x="42408" y="32822"/>
                  <a:pt x="43002" y="33339"/>
                  <a:pt x="43706" y="33339"/>
                </a:cubicBezTo>
                <a:cubicBezTo>
                  <a:pt x="44488" y="33339"/>
                  <a:pt x="45129" y="32697"/>
                  <a:pt x="45129" y="31916"/>
                </a:cubicBezTo>
                <a:cubicBezTo>
                  <a:pt x="45129" y="31728"/>
                  <a:pt x="45082" y="31556"/>
                  <a:pt x="45019" y="31400"/>
                </a:cubicBezTo>
                <a:lnTo>
                  <a:pt x="49460" y="28194"/>
                </a:lnTo>
                <a:cubicBezTo>
                  <a:pt x="49710" y="28413"/>
                  <a:pt x="50039" y="28538"/>
                  <a:pt x="50383" y="28538"/>
                </a:cubicBezTo>
                <a:cubicBezTo>
                  <a:pt x="50899" y="28538"/>
                  <a:pt x="51352" y="28272"/>
                  <a:pt x="51602" y="27866"/>
                </a:cubicBezTo>
                <a:lnTo>
                  <a:pt x="53933" y="28757"/>
                </a:lnTo>
                <a:lnTo>
                  <a:pt x="53933" y="47584"/>
                </a:lnTo>
                <a:lnTo>
                  <a:pt x="50476" y="47584"/>
                </a:lnTo>
                <a:cubicBezTo>
                  <a:pt x="50523" y="47521"/>
                  <a:pt x="50539" y="47459"/>
                  <a:pt x="50539" y="47396"/>
                </a:cubicBezTo>
                <a:cubicBezTo>
                  <a:pt x="50539" y="47225"/>
                  <a:pt x="50414" y="47100"/>
                  <a:pt x="50242" y="47100"/>
                </a:cubicBezTo>
                <a:cubicBezTo>
                  <a:pt x="50070" y="47100"/>
                  <a:pt x="49945" y="47225"/>
                  <a:pt x="49945" y="47396"/>
                </a:cubicBezTo>
                <a:cubicBezTo>
                  <a:pt x="49945" y="47459"/>
                  <a:pt x="49960" y="47521"/>
                  <a:pt x="50008" y="47584"/>
                </a:cubicBezTo>
                <a:lnTo>
                  <a:pt x="17122" y="47584"/>
                </a:lnTo>
                <a:lnTo>
                  <a:pt x="17122" y="25192"/>
                </a:lnTo>
                <a:lnTo>
                  <a:pt x="53933" y="25192"/>
                </a:lnTo>
                <a:lnTo>
                  <a:pt x="53933" y="28006"/>
                </a:lnTo>
                <a:lnTo>
                  <a:pt x="51806" y="27178"/>
                </a:lnTo>
                <a:lnTo>
                  <a:pt x="51806" y="27115"/>
                </a:lnTo>
                <a:cubicBezTo>
                  <a:pt x="51806" y="26333"/>
                  <a:pt x="51180" y="25692"/>
                  <a:pt x="50383" y="25692"/>
                </a:cubicBezTo>
                <a:close/>
                <a:moveTo>
                  <a:pt x="43706" y="31212"/>
                </a:moveTo>
                <a:cubicBezTo>
                  <a:pt x="43940" y="31212"/>
                  <a:pt x="44143" y="31321"/>
                  <a:pt x="44269" y="31493"/>
                </a:cubicBezTo>
                <a:lnTo>
                  <a:pt x="44284" y="31509"/>
                </a:lnTo>
                <a:cubicBezTo>
                  <a:pt x="44363" y="31634"/>
                  <a:pt x="44409" y="31759"/>
                  <a:pt x="44409" y="31916"/>
                </a:cubicBezTo>
                <a:cubicBezTo>
                  <a:pt x="44409" y="32307"/>
                  <a:pt x="44096" y="32619"/>
                  <a:pt x="43706" y="32619"/>
                </a:cubicBezTo>
                <a:cubicBezTo>
                  <a:pt x="43315" y="32619"/>
                  <a:pt x="43002" y="32307"/>
                  <a:pt x="43002" y="31916"/>
                </a:cubicBezTo>
                <a:cubicBezTo>
                  <a:pt x="43002" y="31525"/>
                  <a:pt x="43315" y="31212"/>
                  <a:pt x="43706" y="31212"/>
                </a:cubicBezTo>
                <a:close/>
                <a:moveTo>
                  <a:pt x="36638" y="29289"/>
                </a:moveTo>
                <a:cubicBezTo>
                  <a:pt x="36544" y="29164"/>
                  <a:pt x="36481" y="29007"/>
                  <a:pt x="36481" y="28835"/>
                </a:cubicBezTo>
                <a:cubicBezTo>
                  <a:pt x="36481" y="28444"/>
                  <a:pt x="36794" y="28131"/>
                  <a:pt x="37185" y="28131"/>
                </a:cubicBezTo>
                <a:cubicBezTo>
                  <a:pt x="37576" y="28131"/>
                  <a:pt x="37889" y="28444"/>
                  <a:pt x="37889" y="28835"/>
                </a:cubicBezTo>
                <a:cubicBezTo>
                  <a:pt x="37889" y="29007"/>
                  <a:pt x="37826" y="29164"/>
                  <a:pt x="37732" y="29273"/>
                </a:cubicBezTo>
                <a:lnTo>
                  <a:pt x="37732" y="29289"/>
                </a:lnTo>
                <a:cubicBezTo>
                  <a:pt x="37607" y="29445"/>
                  <a:pt x="37404" y="29554"/>
                  <a:pt x="37185" y="29554"/>
                </a:cubicBezTo>
                <a:cubicBezTo>
                  <a:pt x="36966" y="29554"/>
                  <a:pt x="36763" y="29445"/>
                  <a:pt x="36638" y="29289"/>
                </a:cubicBezTo>
                <a:close/>
                <a:moveTo>
                  <a:pt x="31993" y="45161"/>
                </a:moveTo>
                <a:lnTo>
                  <a:pt x="30086" y="45161"/>
                </a:lnTo>
                <a:lnTo>
                  <a:pt x="30086" y="30665"/>
                </a:lnTo>
                <a:lnTo>
                  <a:pt x="31993" y="30665"/>
                </a:lnTo>
                <a:close/>
                <a:moveTo>
                  <a:pt x="27506" y="45161"/>
                </a:moveTo>
                <a:lnTo>
                  <a:pt x="25598" y="45161"/>
                </a:lnTo>
                <a:lnTo>
                  <a:pt x="25598" y="29195"/>
                </a:lnTo>
                <a:lnTo>
                  <a:pt x="27506" y="29195"/>
                </a:lnTo>
                <a:close/>
                <a:moveTo>
                  <a:pt x="23018" y="45161"/>
                </a:moveTo>
                <a:lnTo>
                  <a:pt x="21126" y="45161"/>
                </a:lnTo>
                <a:lnTo>
                  <a:pt x="21126" y="32979"/>
                </a:lnTo>
                <a:lnTo>
                  <a:pt x="23018" y="32979"/>
                </a:lnTo>
                <a:close/>
                <a:moveTo>
                  <a:pt x="36481" y="45161"/>
                </a:moveTo>
                <a:lnTo>
                  <a:pt x="34574" y="45161"/>
                </a:lnTo>
                <a:lnTo>
                  <a:pt x="34574" y="32276"/>
                </a:lnTo>
                <a:lnTo>
                  <a:pt x="36481" y="32276"/>
                </a:lnTo>
                <a:close/>
                <a:moveTo>
                  <a:pt x="40969" y="45161"/>
                </a:moveTo>
                <a:lnTo>
                  <a:pt x="39061" y="45161"/>
                </a:lnTo>
                <a:lnTo>
                  <a:pt x="39061" y="33730"/>
                </a:lnTo>
                <a:lnTo>
                  <a:pt x="40969" y="33730"/>
                </a:lnTo>
                <a:close/>
                <a:moveTo>
                  <a:pt x="45457" y="45161"/>
                </a:moveTo>
                <a:lnTo>
                  <a:pt x="43549" y="45161"/>
                </a:lnTo>
                <a:lnTo>
                  <a:pt x="43549" y="34683"/>
                </a:lnTo>
                <a:lnTo>
                  <a:pt x="45457" y="34683"/>
                </a:lnTo>
                <a:close/>
                <a:moveTo>
                  <a:pt x="49929" y="45161"/>
                </a:moveTo>
                <a:lnTo>
                  <a:pt x="48037" y="45161"/>
                </a:lnTo>
                <a:lnTo>
                  <a:pt x="48037" y="32557"/>
                </a:lnTo>
                <a:lnTo>
                  <a:pt x="49929" y="32557"/>
                </a:lnTo>
                <a:close/>
                <a:moveTo>
                  <a:pt x="58952" y="30618"/>
                </a:moveTo>
                <a:cubicBezTo>
                  <a:pt x="58561" y="30618"/>
                  <a:pt x="58248" y="30290"/>
                  <a:pt x="58248" y="29899"/>
                </a:cubicBezTo>
                <a:cubicBezTo>
                  <a:pt x="58248" y="29507"/>
                  <a:pt x="58561" y="29195"/>
                  <a:pt x="58952" y="29195"/>
                </a:cubicBezTo>
                <a:cubicBezTo>
                  <a:pt x="59155" y="29195"/>
                  <a:pt x="59327" y="29289"/>
                  <a:pt x="59468" y="29414"/>
                </a:cubicBezTo>
                <a:cubicBezTo>
                  <a:pt x="59577" y="29539"/>
                  <a:pt x="59656" y="29711"/>
                  <a:pt x="59656" y="29899"/>
                </a:cubicBezTo>
                <a:cubicBezTo>
                  <a:pt x="59656" y="30290"/>
                  <a:pt x="59343" y="30618"/>
                  <a:pt x="58952" y="30618"/>
                </a:cubicBezTo>
                <a:close/>
                <a:moveTo>
                  <a:pt x="64237" y="23127"/>
                </a:moveTo>
                <a:cubicBezTo>
                  <a:pt x="64081" y="23127"/>
                  <a:pt x="63940" y="23065"/>
                  <a:pt x="63831" y="22987"/>
                </a:cubicBezTo>
                <a:cubicBezTo>
                  <a:pt x="63815" y="22987"/>
                  <a:pt x="63815" y="22971"/>
                  <a:pt x="63799" y="22971"/>
                </a:cubicBezTo>
                <a:cubicBezTo>
                  <a:pt x="63643" y="22846"/>
                  <a:pt x="63534" y="22643"/>
                  <a:pt x="63534" y="22408"/>
                </a:cubicBezTo>
                <a:cubicBezTo>
                  <a:pt x="63534" y="22033"/>
                  <a:pt x="63846" y="21705"/>
                  <a:pt x="64237" y="21705"/>
                </a:cubicBezTo>
                <a:cubicBezTo>
                  <a:pt x="64628" y="21705"/>
                  <a:pt x="64941" y="22033"/>
                  <a:pt x="64941" y="22408"/>
                </a:cubicBezTo>
                <a:cubicBezTo>
                  <a:pt x="64941" y="22799"/>
                  <a:pt x="64628" y="23127"/>
                  <a:pt x="64237" y="23127"/>
                </a:cubicBezTo>
                <a:close/>
                <a:moveTo>
                  <a:pt x="43252" y="8945"/>
                </a:moveTo>
                <a:lnTo>
                  <a:pt x="43643" y="9336"/>
                </a:lnTo>
                <a:cubicBezTo>
                  <a:pt x="43706" y="9398"/>
                  <a:pt x="43768" y="9429"/>
                  <a:pt x="43831" y="9445"/>
                </a:cubicBezTo>
                <a:lnTo>
                  <a:pt x="43909" y="9445"/>
                </a:lnTo>
                <a:cubicBezTo>
                  <a:pt x="44003" y="9445"/>
                  <a:pt x="44081" y="9414"/>
                  <a:pt x="44159" y="9336"/>
                </a:cubicBezTo>
                <a:lnTo>
                  <a:pt x="44644" y="8851"/>
                </a:lnTo>
                <a:lnTo>
                  <a:pt x="51743" y="1752"/>
                </a:lnTo>
                <a:cubicBezTo>
                  <a:pt x="52134" y="1360"/>
                  <a:pt x="52134" y="704"/>
                  <a:pt x="51743" y="297"/>
                </a:cubicBezTo>
                <a:cubicBezTo>
                  <a:pt x="51540" y="109"/>
                  <a:pt x="51290" y="0"/>
                  <a:pt x="51008" y="0"/>
                </a:cubicBezTo>
                <a:cubicBezTo>
                  <a:pt x="50743" y="0"/>
                  <a:pt x="50476" y="109"/>
                  <a:pt x="50289" y="297"/>
                </a:cubicBezTo>
                <a:lnTo>
                  <a:pt x="43893" y="6693"/>
                </a:lnTo>
                <a:lnTo>
                  <a:pt x="41329" y="4129"/>
                </a:lnTo>
                <a:cubicBezTo>
                  <a:pt x="40922" y="3722"/>
                  <a:pt x="40281" y="3722"/>
                  <a:pt x="39875" y="4129"/>
                </a:cubicBezTo>
                <a:cubicBezTo>
                  <a:pt x="39687" y="4316"/>
                  <a:pt x="39577" y="4582"/>
                  <a:pt x="39577" y="4848"/>
                </a:cubicBezTo>
                <a:cubicBezTo>
                  <a:pt x="39577" y="5129"/>
                  <a:pt x="39687" y="5380"/>
                  <a:pt x="39875" y="5583"/>
                </a:cubicBezTo>
                <a:close/>
                <a:moveTo>
                  <a:pt x="40375" y="4629"/>
                </a:moveTo>
                <a:cubicBezTo>
                  <a:pt x="40438" y="4566"/>
                  <a:pt x="40516" y="4535"/>
                  <a:pt x="40610" y="4535"/>
                </a:cubicBezTo>
                <a:cubicBezTo>
                  <a:pt x="40688" y="4535"/>
                  <a:pt x="40766" y="4566"/>
                  <a:pt x="40828" y="4629"/>
                </a:cubicBezTo>
                <a:lnTo>
                  <a:pt x="43643" y="7444"/>
                </a:lnTo>
                <a:cubicBezTo>
                  <a:pt x="43784" y="7584"/>
                  <a:pt x="44018" y="7584"/>
                  <a:pt x="44159" y="7444"/>
                </a:cubicBezTo>
                <a:lnTo>
                  <a:pt x="50789" y="814"/>
                </a:lnTo>
                <a:cubicBezTo>
                  <a:pt x="50852" y="751"/>
                  <a:pt x="50930" y="719"/>
                  <a:pt x="51008" y="719"/>
                </a:cubicBezTo>
                <a:cubicBezTo>
                  <a:pt x="51102" y="719"/>
                  <a:pt x="51180" y="751"/>
                  <a:pt x="51227" y="814"/>
                </a:cubicBezTo>
                <a:cubicBezTo>
                  <a:pt x="51352" y="923"/>
                  <a:pt x="51352" y="1126"/>
                  <a:pt x="51227" y="1251"/>
                </a:cubicBezTo>
                <a:lnTo>
                  <a:pt x="44143" y="8350"/>
                </a:lnTo>
                <a:lnTo>
                  <a:pt x="43909" y="8585"/>
                </a:lnTo>
                <a:lnTo>
                  <a:pt x="43753" y="8428"/>
                </a:lnTo>
                <a:cubicBezTo>
                  <a:pt x="40375" y="5067"/>
                  <a:pt x="41501" y="6187"/>
                  <a:pt x="40375" y="5067"/>
                </a:cubicBezTo>
                <a:cubicBezTo>
                  <a:pt x="40328" y="5020"/>
                  <a:pt x="40281" y="4942"/>
                  <a:pt x="40281" y="4848"/>
                </a:cubicBezTo>
                <a:cubicBezTo>
                  <a:pt x="40281" y="4770"/>
                  <a:pt x="40328" y="4692"/>
                  <a:pt x="40375" y="4629"/>
                </a:cubicBezTo>
                <a:close/>
                <a:moveTo>
                  <a:pt x="8335" y="25974"/>
                </a:moveTo>
                <a:cubicBezTo>
                  <a:pt x="8335" y="25770"/>
                  <a:pt x="8178" y="25614"/>
                  <a:pt x="7975" y="25614"/>
                </a:cubicBezTo>
                <a:cubicBezTo>
                  <a:pt x="7772" y="25614"/>
                  <a:pt x="7615" y="25770"/>
                  <a:pt x="7615" y="25974"/>
                </a:cubicBezTo>
                <a:cubicBezTo>
                  <a:pt x="7615" y="27256"/>
                  <a:pt x="6583" y="28303"/>
                  <a:pt x="5301" y="28303"/>
                </a:cubicBezTo>
                <a:cubicBezTo>
                  <a:pt x="4019" y="28303"/>
                  <a:pt x="2971" y="27256"/>
                  <a:pt x="2971" y="25974"/>
                </a:cubicBezTo>
                <a:cubicBezTo>
                  <a:pt x="2971" y="25770"/>
                  <a:pt x="2814" y="25614"/>
                  <a:pt x="2611" y="25614"/>
                </a:cubicBezTo>
                <a:cubicBezTo>
                  <a:pt x="2423" y="25614"/>
                  <a:pt x="2251" y="25770"/>
                  <a:pt x="2251" y="25974"/>
                </a:cubicBezTo>
                <a:cubicBezTo>
                  <a:pt x="2251" y="27647"/>
                  <a:pt x="3627" y="29007"/>
                  <a:pt x="5301" y="29007"/>
                </a:cubicBezTo>
                <a:cubicBezTo>
                  <a:pt x="6974" y="29007"/>
                  <a:pt x="8335" y="27647"/>
                  <a:pt x="8335" y="25974"/>
                </a:cubicBezTo>
                <a:close/>
                <a:moveTo>
                  <a:pt x="4394" y="24551"/>
                </a:moveTo>
                <a:cubicBezTo>
                  <a:pt x="4597" y="24551"/>
                  <a:pt x="4753" y="24378"/>
                  <a:pt x="4753" y="24191"/>
                </a:cubicBezTo>
                <a:lnTo>
                  <a:pt x="4753" y="23706"/>
                </a:lnTo>
                <a:cubicBezTo>
                  <a:pt x="4753" y="23519"/>
                  <a:pt x="4597" y="23362"/>
                  <a:pt x="4394" y="23362"/>
                </a:cubicBezTo>
                <a:cubicBezTo>
                  <a:pt x="4206" y="23362"/>
                  <a:pt x="4050" y="23519"/>
                  <a:pt x="4050" y="23706"/>
                </a:cubicBezTo>
                <a:lnTo>
                  <a:pt x="4050" y="24191"/>
                </a:lnTo>
                <a:cubicBezTo>
                  <a:pt x="4050" y="24378"/>
                  <a:pt x="4206" y="24551"/>
                  <a:pt x="4394" y="24551"/>
                </a:cubicBezTo>
                <a:close/>
                <a:moveTo>
                  <a:pt x="6067" y="24551"/>
                </a:moveTo>
                <a:cubicBezTo>
                  <a:pt x="6270" y="24551"/>
                  <a:pt x="6427" y="24378"/>
                  <a:pt x="6427" y="24191"/>
                </a:cubicBezTo>
                <a:lnTo>
                  <a:pt x="6427" y="23706"/>
                </a:lnTo>
                <a:cubicBezTo>
                  <a:pt x="6427" y="23519"/>
                  <a:pt x="6270" y="23362"/>
                  <a:pt x="6067" y="23362"/>
                </a:cubicBezTo>
                <a:cubicBezTo>
                  <a:pt x="5879" y="23362"/>
                  <a:pt x="5708" y="23519"/>
                  <a:pt x="5708" y="23706"/>
                </a:cubicBezTo>
                <a:lnTo>
                  <a:pt x="5708" y="24191"/>
                </a:lnTo>
                <a:cubicBezTo>
                  <a:pt x="5708" y="24378"/>
                  <a:pt x="5879" y="24551"/>
                  <a:pt x="6067" y="24551"/>
                </a:cubicBezTo>
                <a:close/>
                <a:moveTo>
                  <a:pt x="58764" y="17561"/>
                </a:moveTo>
                <a:cubicBezTo>
                  <a:pt x="60156" y="17561"/>
                  <a:pt x="61485" y="17014"/>
                  <a:pt x="62470" y="16028"/>
                </a:cubicBezTo>
                <a:cubicBezTo>
                  <a:pt x="63455" y="15043"/>
                  <a:pt x="64003" y="13714"/>
                  <a:pt x="64003" y="12323"/>
                </a:cubicBezTo>
                <a:cubicBezTo>
                  <a:pt x="64003" y="10915"/>
                  <a:pt x="63455" y="9601"/>
                  <a:pt x="62470" y="8616"/>
                </a:cubicBezTo>
                <a:cubicBezTo>
                  <a:pt x="61485" y="7631"/>
                  <a:pt x="60156" y="7084"/>
                  <a:pt x="58764" y="7084"/>
                </a:cubicBezTo>
                <a:cubicBezTo>
                  <a:pt x="57357" y="7084"/>
                  <a:pt x="56043" y="7631"/>
                  <a:pt x="55058" y="8616"/>
                </a:cubicBezTo>
                <a:cubicBezTo>
                  <a:pt x="54073" y="9601"/>
                  <a:pt x="53526" y="10915"/>
                  <a:pt x="53526" y="12323"/>
                </a:cubicBezTo>
                <a:cubicBezTo>
                  <a:pt x="53526" y="13714"/>
                  <a:pt x="54073" y="15043"/>
                  <a:pt x="55058" y="16028"/>
                </a:cubicBezTo>
                <a:cubicBezTo>
                  <a:pt x="56043" y="17014"/>
                  <a:pt x="57357" y="17561"/>
                  <a:pt x="58764" y="17561"/>
                </a:cubicBezTo>
                <a:close/>
                <a:moveTo>
                  <a:pt x="55559" y="9117"/>
                </a:moveTo>
                <a:cubicBezTo>
                  <a:pt x="56419" y="8257"/>
                  <a:pt x="57560" y="7787"/>
                  <a:pt x="58764" y="7787"/>
                </a:cubicBezTo>
                <a:cubicBezTo>
                  <a:pt x="59968" y="7787"/>
                  <a:pt x="61110" y="8257"/>
                  <a:pt x="61970" y="9117"/>
                </a:cubicBezTo>
                <a:cubicBezTo>
                  <a:pt x="62814" y="9977"/>
                  <a:pt x="63283" y="11118"/>
                  <a:pt x="63283" y="12323"/>
                </a:cubicBezTo>
                <a:cubicBezTo>
                  <a:pt x="63283" y="13526"/>
                  <a:pt x="62814" y="14668"/>
                  <a:pt x="61970" y="15512"/>
                </a:cubicBezTo>
                <a:cubicBezTo>
                  <a:pt x="61110" y="16372"/>
                  <a:pt x="59968" y="16842"/>
                  <a:pt x="58764" y="16842"/>
                </a:cubicBezTo>
                <a:cubicBezTo>
                  <a:pt x="57560" y="16842"/>
                  <a:pt x="56419" y="16372"/>
                  <a:pt x="55559" y="15512"/>
                </a:cubicBezTo>
                <a:cubicBezTo>
                  <a:pt x="54714" y="14668"/>
                  <a:pt x="54229" y="13526"/>
                  <a:pt x="54229" y="12323"/>
                </a:cubicBezTo>
                <a:cubicBezTo>
                  <a:pt x="54229" y="11118"/>
                  <a:pt x="54714" y="9977"/>
                  <a:pt x="55559" y="9117"/>
                </a:cubicBezTo>
                <a:close/>
                <a:moveTo>
                  <a:pt x="56137" y="15121"/>
                </a:moveTo>
                <a:cubicBezTo>
                  <a:pt x="56340" y="15121"/>
                  <a:pt x="56497" y="14965"/>
                  <a:pt x="56497" y="14762"/>
                </a:cubicBezTo>
                <a:cubicBezTo>
                  <a:pt x="56497" y="13479"/>
                  <a:pt x="57544" y="12432"/>
                  <a:pt x="58827" y="12432"/>
                </a:cubicBezTo>
                <a:cubicBezTo>
                  <a:pt x="60109" y="12432"/>
                  <a:pt x="61141" y="13479"/>
                  <a:pt x="61141" y="14762"/>
                </a:cubicBezTo>
                <a:cubicBezTo>
                  <a:pt x="61141" y="14965"/>
                  <a:pt x="61297" y="15121"/>
                  <a:pt x="61501" y="15121"/>
                </a:cubicBezTo>
                <a:cubicBezTo>
                  <a:pt x="61704" y="15121"/>
                  <a:pt x="61860" y="14965"/>
                  <a:pt x="61860" y="14762"/>
                </a:cubicBezTo>
                <a:cubicBezTo>
                  <a:pt x="61860" y="13089"/>
                  <a:pt x="60500" y="11728"/>
                  <a:pt x="58827" y="11728"/>
                </a:cubicBezTo>
                <a:cubicBezTo>
                  <a:pt x="57154" y="11728"/>
                  <a:pt x="55778" y="13089"/>
                  <a:pt x="55778" y="14762"/>
                </a:cubicBezTo>
                <a:cubicBezTo>
                  <a:pt x="55778" y="14965"/>
                  <a:pt x="55950" y="15121"/>
                  <a:pt x="56137" y="15121"/>
                </a:cubicBezTo>
                <a:close/>
                <a:moveTo>
                  <a:pt x="57936" y="10649"/>
                </a:moveTo>
                <a:cubicBezTo>
                  <a:pt x="58123" y="10649"/>
                  <a:pt x="58279" y="10493"/>
                  <a:pt x="58279" y="10289"/>
                </a:cubicBezTo>
                <a:lnTo>
                  <a:pt x="58279" y="9821"/>
                </a:lnTo>
                <a:cubicBezTo>
                  <a:pt x="58279" y="9617"/>
                  <a:pt x="58123" y="9461"/>
                  <a:pt x="57936" y="9461"/>
                </a:cubicBezTo>
                <a:cubicBezTo>
                  <a:pt x="57732" y="9461"/>
                  <a:pt x="57576" y="9617"/>
                  <a:pt x="57576" y="9821"/>
                </a:cubicBezTo>
                <a:lnTo>
                  <a:pt x="57576" y="10289"/>
                </a:lnTo>
                <a:cubicBezTo>
                  <a:pt x="57576" y="10493"/>
                  <a:pt x="57732" y="10649"/>
                  <a:pt x="57936" y="10649"/>
                </a:cubicBezTo>
                <a:close/>
                <a:moveTo>
                  <a:pt x="59593" y="10649"/>
                </a:moveTo>
                <a:cubicBezTo>
                  <a:pt x="59796" y="10649"/>
                  <a:pt x="59953" y="10493"/>
                  <a:pt x="59953" y="10289"/>
                </a:cubicBezTo>
                <a:lnTo>
                  <a:pt x="59953" y="9821"/>
                </a:lnTo>
                <a:cubicBezTo>
                  <a:pt x="59953" y="9617"/>
                  <a:pt x="59796" y="9461"/>
                  <a:pt x="59593" y="9461"/>
                </a:cubicBezTo>
                <a:cubicBezTo>
                  <a:pt x="59405" y="9461"/>
                  <a:pt x="59233" y="9617"/>
                  <a:pt x="59233" y="9821"/>
                </a:cubicBezTo>
                <a:lnTo>
                  <a:pt x="59233" y="10289"/>
                </a:lnTo>
                <a:cubicBezTo>
                  <a:pt x="59233" y="10493"/>
                  <a:pt x="59405" y="10649"/>
                  <a:pt x="59593" y="10649"/>
                </a:cubicBezTo>
                <a:close/>
                <a:moveTo>
                  <a:pt x="46427" y="13401"/>
                </a:moveTo>
                <a:cubicBezTo>
                  <a:pt x="46004" y="13011"/>
                  <a:pt x="45426" y="12776"/>
                  <a:pt x="44831" y="12776"/>
                </a:cubicBezTo>
                <a:cubicBezTo>
                  <a:pt x="43549" y="12776"/>
                  <a:pt x="42502" y="13824"/>
                  <a:pt x="42502" y="15106"/>
                </a:cubicBezTo>
                <a:cubicBezTo>
                  <a:pt x="42502" y="16638"/>
                  <a:pt x="43549" y="17561"/>
                  <a:pt x="44879" y="18718"/>
                </a:cubicBezTo>
                <a:cubicBezTo>
                  <a:pt x="45285" y="19093"/>
                  <a:pt x="45723" y="19469"/>
                  <a:pt x="46177" y="19906"/>
                </a:cubicBezTo>
                <a:cubicBezTo>
                  <a:pt x="46255" y="19969"/>
                  <a:pt x="46348" y="20016"/>
                  <a:pt x="46427" y="20016"/>
                </a:cubicBezTo>
                <a:cubicBezTo>
                  <a:pt x="46520" y="20016"/>
                  <a:pt x="46614" y="19969"/>
                  <a:pt x="46692" y="19906"/>
                </a:cubicBezTo>
                <a:cubicBezTo>
                  <a:pt x="47161" y="19406"/>
                  <a:pt x="47631" y="18968"/>
                  <a:pt x="48053" y="18593"/>
                </a:cubicBezTo>
                <a:cubicBezTo>
                  <a:pt x="49382" y="17326"/>
                  <a:pt x="50351" y="16419"/>
                  <a:pt x="50351" y="15106"/>
                </a:cubicBezTo>
                <a:cubicBezTo>
                  <a:pt x="50351" y="13824"/>
                  <a:pt x="49304" y="12776"/>
                  <a:pt x="48021" y="12776"/>
                </a:cubicBezTo>
                <a:cubicBezTo>
                  <a:pt x="47428" y="12776"/>
                  <a:pt x="46865" y="13011"/>
                  <a:pt x="46427" y="13401"/>
                </a:cubicBezTo>
                <a:close/>
                <a:moveTo>
                  <a:pt x="49648" y="15106"/>
                </a:moveTo>
                <a:cubicBezTo>
                  <a:pt x="49648" y="16106"/>
                  <a:pt x="48819" y="16889"/>
                  <a:pt x="47553" y="18061"/>
                </a:cubicBezTo>
                <a:cubicBezTo>
                  <a:pt x="47208" y="18390"/>
                  <a:pt x="46833" y="18749"/>
                  <a:pt x="46427" y="19156"/>
                </a:cubicBezTo>
                <a:cubicBezTo>
                  <a:pt x="46035" y="18796"/>
                  <a:pt x="45676" y="18468"/>
                  <a:pt x="45347" y="18186"/>
                </a:cubicBezTo>
                <a:cubicBezTo>
                  <a:pt x="44065" y="17060"/>
                  <a:pt x="43221" y="16326"/>
                  <a:pt x="43221" y="15106"/>
                </a:cubicBezTo>
                <a:cubicBezTo>
                  <a:pt x="43221" y="14214"/>
                  <a:pt x="43940" y="13495"/>
                  <a:pt x="44831" y="13495"/>
                </a:cubicBezTo>
                <a:cubicBezTo>
                  <a:pt x="45363" y="13495"/>
                  <a:pt x="45832" y="13730"/>
                  <a:pt x="46145" y="14152"/>
                </a:cubicBezTo>
                <a:cubicBezTo>
                  <a:pt x="46208" y="14246"/>
                  <a:pt x="46317" y="14293"/>
                  <a:pt x="46427" y="14293"/>
                </a:cubicBezTo>
                <a:cubicBezTo>
                  <a:pt x="46552" y="14293"/>
                  <a:pt x="46645" y="14246"/>
                  <a:pt x="46723" y="14152"/>
                </a:cubicBezTo>
                <a:cubicBezTo>
                  <a:pt x="47021" y="13730"/>
                  <a:pt x="47506" y="13495"/>
                  <a:pt x="48021" y="13495"/>
                </a:cubicBezTo>
                <a:cubicBezTo>
                  <a:pt x="48913" y="13495"/>
                  <a:pt x="49648" y="14214"/>
                  <a:pt x="49648" y="15106"/>
                </a:cubicBezTo>
                <a:close/>
                <a:moveTo>
                  <a:pt x="20406" y="6912"/>
                </a:moveTo>
                <a:lnTo>
                  <a:pt x="28756" y="6912"/>
                </a:lnTo>
                <a:cubicBezTo>
                  <a:pt x="29413" y="6912"/>
                  <a:pt x="29945" y="6380"/>
                  <a:pt x="29945" y="5723"/>
                </a:cubicBezTo>
                <a:lnTo>
                  <a:pt x="29945" y="5238"/>
                </a:lnTo>
                <a:lnTo>
                  <a:pt x="30836" y="5238"/>
                </a:lnTo>
                <a:cubicBezTo>
                  <a:pt x="31040" y="5238"/>
                  <a:pt x="31196" y="5082"/>
                  <a:pt x="31196" y="4879"/>
                </a:cubicBezTo>
                <a:lnTo>
                  <a:pt x="31196" y="2799"/>
                </a:lnTo>
                <a:cubicBezTo>
                  <a:pt x="31196" y="2596"/>
                  <a:pt x="31040" y="2440"/>
                  <a:pt x="30836" y="2440"/>
                </a:cubicBezTo>
                <a:lnTo>
                  <a:pt x="29945" y="2440"/>
                </a:lnTo>
                <a:lnTo>
                  <a:pt x="29945" y="1955"/>
                </a:lnTo>
                <a:cubicBezTo>
                  <a:pt x="29945" y="1298"/>
                  <a:pt x="29413" y="766"/>
                  <a:pt x="28756" y="766"/>
                </a:cubicBezTo>
                <a:lnTo>
                  <a:pt x="20406" y="766"/>
                </a:lnTo>
                <a:cubicBezTo>
                  <a:pt x="19749" y="766"/>
                  <a:pt x="19218" y="1298"/>
                  <a:pt x="19218" y="1955"/>
                </a:cubicBezTo>
                <a:lnTo>
                  <a:pt x="19218" y="5723"/>
                </a:lnTo>
                <a:cubicBezTo>
                  <a:pt x="19218" y="6380"/>
                  <a:pt x="19749" y="6912"/>
                  <a:pt x="20406" y="6912"/>
                </a:cubicBezTo>
                <a:close/>
                <a:moveTo>
                  <a:pt x="30477" y="3159"/>
                </a:moveTo>
                <a:lnTo>
                  <a:pt x="30477" y="4535"/>
                </a:lnTo>
                <a:lnTo>
                  <a:pt x="29945" y="4535"/>
                </a:lnTo>
                <a:lnTo>
                  <a:pt x="29945" y="3159"/>
                </a:lnTo>
                <a:close/>
                <a:moveTo>
                  <a:pt x="19922" y="1955"/>
                </a:moveTo>
                <a:cubicBezTo>
                  <a:pt x="19922" y="1705"/>
                  <a:pt x="20140" y="1486"/>
                  <a:pt x="20406" y="1486"/>
                </a:cubicBezTo>
                <a:lnTo>
                  <a:pt x="28756" y="1486"/>
                </a:lnTo>
                <a:cubicBezTo>
                  <a:pt x="29022" y="1486"/>
                  <a:pt x="29226" y="1705"/>
                  <a:pt x="29226" y="1955"/>
                </a:cubicBezTo>
                <a:lnTo>
                  <a:pt x="29226" y="2799"/>
                </a:lnTo>
                <a:lnTo>
                  <a:pt x="29226" y="4879"/>
                </a:lnTo>
                <a:lnTo>
                  <a:pt x="29226" y="5723"/>
                </a:lnTo>
                <a:cubicBezTo>
                  <a:pt x="29226" y="5989"/>
                  <a:pt x="29022" y="6193"/>
                  <a:pt x="28756" y="6193"/>
                </a:cubicBezTo>
                <a:lnTo>
                  <a:pt x="20406" y="6193"/>
                </a:lnTo>
                <a:cubicBezTo>
                  <a:pt x="20140" y="6193"/>
                  <a:pt x="19922" y="5989"/>
                  <a:pt x="19922" y="5723"/>
                </a:cubicBezTo>
                <a:close/>
                <a:moveTo>
                  <a:pt x="20828" y="5661"/>
                </a:moveTo>
                <a:lnTo>
                  <a:pt x="22079" y="5661"/>
                </a:lnTo>
                <a:cubicBezTo>
                  <a:pt x="22267" y="5661"/>
                  <a:pt x="22439" y="5505"/>
                  <a:pt x="22439" y="5301"/>
                </a:cubicBezTo>
                <a:lnTo>
                  <a:pt x="22439" y="2377"/>
                </a:lnTo>
                <a:cubicBezTo>
                  <a:pt x="22439" y="2190"/>
                  <a:pt x="22267" y="2017"/>
                  <a:pt x="22079" y="2017"/>
                </a:cubicBezTo>
                <a:lnTo>
                  <a:pt x="20828" y="2017"/>
                </a:lnTo>
                <a:cubicBezTo>
                  <a:pt x="20625" y="2017"/>
                  <a:pt x="20469" y="2190"/>
                  <a:pt x="20469" y="2377"/>
                </a:cubicBezTo>
                <a:lnTo>
                  <a:pt x="20469" y="5301"/>
                </a:lnTo>
                <a:cubicBezTo>
                  <a:pt x="20469" y="5505"/>
                  <a:pt x="20625" y="5661"/>
                  <a:pt x="20828" y="5661"/>
                </a:cubicBezTo>
                <a:close/>
                <a:moveTo>
                  <a:pt x="21188" y="2737"/>
                </a:moveTo>
                <a:lnTo>
                  <a:pt x="21720" y="2737"/>
                </a:lnTo>
                <a:lnTo>
                  <a:pt x="21720" y="4942"/>
                </a:lnTo>
                <a:lnTo>
                  <a:pt x="21188" y="4942"/>
                </a:lnTo>
                <a:close/>
                <a:moveTo>
                  <a:pt x="23080" y="5661"/>
                </a:moveTo>
                <a:lnTo>
                  <a:pt x="24347" y="5661"/>
                </a:lnTo>
                <a:cubicBezTo>
                  <a:pt x="24535" y="5661"/>
                  <a:pt x="24691" y="5505"/>
                  <a:pt x="24691" y="5301"/>
                </a:cubicBezTo>
                <a:lnTo>
                  <a:pt x="24691" y="2377"/>
                </a:lnTo>
                <a:cubicBezTo>
                  <a:pt x="24691" y="2190"/>
                  <a:pt x="24535" y="2017"/>
                  <a:pt x="24347" y="2017"/>
                </a:cubicBezTo>
                <a:lnTo>
                  <a:pt x="23080" y="2017"/>
                </a:lnTo>
                <a:cubicBezTo>
                  <a:pt x="22892" y="2017"/>
                  <a:pt x="22736" y="2190"/>
                  <a:pt x="22736" y="2377"/>
                </a:cubicBezTo>
                <a:lnTo>
                  <a:pt x="22736" y="5301"/>
                </a:lnTo>
                <a:cubicBezTo>
                  <a:pt x="22736" y="5505"/>
                  <a:pt x="22892" y="5661"/>
                  <a:pt x="23080" y="5661"/>
                </a:cubicBezTo>
                <a:close/>
                <a:moveTo>
                  <a:pt x="23440" y="2737"/>
                </a:moveTo>
                <a:lnTo>
                  <a:pt x="23987" y="2737"/>
                </a:lnTo>
                <a:lnTo>
                  <a:pt x="23987" y="4942"/>
                </a:lnTo>
                <a:lnTo>
                  <a:pt x="23440" y="4942"/>
                </a:lnTo>
                <a:close/>
                <a:moveTo>
                  <a:pt x="25348" y="5661"/>
                </a:moveTo>
                <a:lnTo>
                  <a:pt x="26599" y="5661"/>
                </a:lnTo>
                <a:cubicBezTo>
                  <a:pt x="26802" y="5661"/>
                  <a:pt x="26958" y="5505"/>
                  <a:pt x="26958" y="5301"/>
                </a:cubicBezTo>
                <a:lnTo>
                  <a:pt x="26958" y="2377"/>
                </a:lnTo>
                <a:cubicBezTo>
                  <a:pt x="26958" y="2190"/>
                  <a:pt x="26802" y="2017"/>
                  <a:pt x="26599" y="2017"/>
                </a:cubicBezTo>
                <a:lnTo>
                  <a:pt x="25348" y="2017"/>
                </a:lnTo>
                <a:cubicBezTo>
                  <a:pt x="25160" y="2017"/>
                  <a:pt x="24988" y="2190"/>
                  <a:pt x="24988" y="2377"/>
                </a:cubicBezTo>
                <a:lnTo>
                  <a:pt x="24988" y="5301"/>
                </a:lnTo>
                <a:cubicBezTo>
                  <a:pt x="24988" y="5505"/>
                  <a:pt x="25160" y="5661"/>
                  <a:pt x="25348" y="5661"/>
                </a:cubicBezTo>
                <a:close/>
                <a:moveTo>
                  <a:pt x="25707" y="2737"/>
                </a:moveTo>
                <a:lnTo>
                  <a:pt x="26239" y="2737"/>
                </a:lnTo>
                <a:lnTo>
                  <a:pt x="26239" y="4942"/>
                </a:lnTo>
                <a:lnTo>
                  <a:pt x="25707" y="4942"/>
                </a:lnTo>
                <a:close/>
                <a:moveTo>
                  <a:pt x="12134" y="15325"/>
                </a:moveTo>
                <a:cubicBezTo>
                  <a:pt x="12181" y="15450"/>
                  <a:pt x="12275" y="15544"/>
                  <a:pt x="12384" y="15559"/>
                </a:cubicBezTo>
                <a:lnTo>
                  <a:pt x="13448" y="15825"/>
                </a:lnTo>
                <a:lnTo>
                  <a:pt x="13448" y="15856"/>
                </a:lnTo>
                <a:cubicBezTo>
                  <a:pt x="13432" y="15903"/>
                  <a:pt x="13417" y="15981"/>
                  <a:pt x="13432" y="16106"/>
                </a:cubicBezTo>
                <a:cubicBezTo>
                  <a:pt x="13010" y="16810"/>
                  <a:pt x="13151" y="16575"/>
                  <a:pt x="13010" y="16810"/>
                </a:cubicBezTo>
                <a:lnTo>
                  <a:pt x="13010" y="16826"/>
                </a:lnTo>
                <a:cubicBezTo>
                  <a:pt x="12947" y="16920"/>
                  <a:pt x="12947" y="17045"/>
                  <a:pt x="12979" y="17170"/>
                </a:cubicBezTo>
                <a:cubicBezTo>
                  <a:pt x="12916" y="17217"/>
                  <a:pt x="12854" y="17248"/>
                  <a:pt x="12791" y="17279"/>
                </a:cubicBezTo>
                <a:cubicBezTo>
                  <a:pt x="12478" y="17483"/>
                  <a:pt x="12150" y="17686"/>
                  <a:pt x="11900" y="18077"/>
                </a:cubicBezTo>
                <a:cubicBezTo>
                  <a:pt x="11618" y="18499"/>
                  <a:pt x="11493" y="19046"/>
                  <a:pt x="11493" y="19812"/>
                </a:cubicBezTo>
                <a:cubicBezTo>
                  <a:pt x="11493" y="20000"/>
                  <a:pt x="11650" y="20157"/>
                  <a:pt x="11837" y="20157"/>
                </a:cubicBezTo>
                <a:cubicBezTo>
                  <a:pt x="11931" y="20172"/>
                  <a:pt x="12025" y="20172"/>
                  <a:pt x="12119" y="20172"/>
                </a:cubicBezTo>
                <a:cubicBezTo>
                  <a:pt x="12760" y="20172"/>
                  <a:pt x="13260" y="20047"/>
                  <a:pt x="13651" y="19781"/>
                </a:cubicBezTo>
                <a:cubicBezTo>
                  <a:pt x="14042" y="19500"/>
                  <a:pt x="14245" y="19140"/>
                  <a:pt x="14433" y="18828"/>
                </a:cubicBezTo>
                <a:cubicBezTo>
                  <a:pt x="14448" y="18781"/>
                  <a:pt x="14480" y="18734"/>
                  <a:pt x="14511" y="18686"/>
                </a:cubicBezTo>
                <a:cubicBezTo>
                  <a:pt x="14542" y="18702"/>
                  <a:pt x="14589" y="18702"/>
                  <a:pt x="14636" y="18702"/>
                </a:cubicBezTo>
                <a:cubicBezTo>
                  <a:pt x="14715" y="18702"/>
                  <a:pt x="14777" y="18686"/>
                  <a:pt x="14840" y="18655"/>
                </a:cubicBezTo>
                <a:lnTo>
                  <a:pt x="14855" y="18655"/>
                </a:lnTo>
                <a:lnTo>
                  <a:pt x="15559" y="18233"/>
                </a:lnTo>
                <a:lnTo>
                  <a:pt x="15668" y="18233"/>
                </a:lnTo>
                <a:cubicBezTo>
                  <a:pt x="15731" y="18233"/>
                  <a:pt x="15778" y="18233"/>
                  <a:pt x="15809" y="18218"/>
                </a:cubicBezTo>
                <a:lnTo>
                  <a:pt x="15824" y="18218"/>
                </a:lnTo>
                <a:lnTo>
                  <a:pt x="16091" y="19265"/>
                </a:lnTo>
                <a:cubicBezTo>
                  <a:pt x="16122" y="19391"/>
                  <a:pt x="16216" y="19484"/>
                  <a:pt x="16325" y="19531"/>
                </a:cubicBezTo>
                <a:cubicBezTo>
                  <a:pt x="16372" y="19531"/>
                  <a:pt x="16403" y="19547"/>
                  <a:pt x="16450" y="19547"/>
                </a:cubicBezTo>
                <a:cubicBezTo>
                  <a:pt x="16528" y="19547"/>
                  <a:pt x="16607" y="19516"/>
                  <a:pt x="16669" y="19453"/>
                </a:cubicBezTo>
                <a:lnTo>
                  <a:pt x="17920" y="18421"/>
                </a:lnTo>
                <a:cubicBezTo>
                  <a:pt x="18014" y="18343"/>
                  <a:pt x="18061" y="18249"/>
                  <a:pt x="18061" y="18140"/>
                </a:cubicBezTo>
                <a:lnTo>
                  <a:pt x="18061" y="16435"/>
                </a:lnTo>
                <a:cubicBezTo>
                  <a:pt x="18874" y="15747"/>
                  <a:pt x="19718" y="15012"/>
                  <a:pt x="20234" y="14512"/>
                </a:cubicBezTo>
                <a:cubicBezTo>
                  <a:pt x="20625" y="14105"/>
                  <a:pt x="20969" y="13636"/>
                  <a:pt x="21235" y="13089"/>
                </a:cubicBezTo>
                <a:cubicBezTo>
                  <a:pt x="21970" y="11603"/>
                  <a:pt x="22017" y="10071"/>
                  <a:pt x="22017" y="10008"/>
                </a:cubicBezTo>
                <a:cubicBezTo>
                  <a:pt x="22017" y="9914"/>
                  <a:pt x="21986" y="9821"/>
                  <a:pt x="21923" y="9742"/>
                </a:cubicBezTo>
                <a:cubicBezTo>
                  <a:pt x="21845" y="9679"/>
                  <a:pt x="21751" y="9648"/>
                  <a:pt x="21657" y="9648"/>
                </a:cubicBezTo>
                <a:cubicBezTo>
                  <a:pt x="21595" y="9648"/>
                  <a:pt x="20062" y="9679"/>
                  <a:pt x="18577" y="10415"/>
                </a:cubicBezTo>
                <a:cubicBezTo>
                  <a:pt x="18030" y="10696"/>
                  <a:pt x="17560" y="11024"/>
                  <a:pt x="17154" y="11431"/>
                </a:cubicBezTo>
                <a:cubicBezTo>
                  <a:pt x="16638" y="11947"/>
                  <a:pt x="15903" y="12807"/>
                  <a:pt x="15230" y="13605"/>
                </a:cubicBezTo>
                <a:lnTo>
                  <a:pt x="13526" y="13605"/>
                </a:lnTo>
                <a:cubicBezTo>
                  <a:pt x="13417" y="13605"/>
                  <a:pt x="13307" y="13652"/>
                  <a:pt x="13244" y="13745"/>
                </a:cubicBezTo>
                <a:lnTo>
                  <a:pt x="12197" y="14996"/>
                </a:lnTo>
                <a:cubicBezTo>
                  <a:pt x="12119" y="15090"/>
                  <a:pt x="12103" y="15215"/>
                  <a:pt x="12134" y="15325"/>
                </a:cubicBezTo>
                <a:close/>
                <a:moveTo>
                  <a:pt x="14605" y="17967"/>
                </a:moveTo>
                <a:cubicBezTo>
                  <a:pt x="14589" y="17967"/>
                  <a:pt x="14589" y="17952"/>
                  <a:pt x="14573" y="17952"/>
                </a:cubicBezTo>
                <a:cubicBezTo>
                  <a:pt x="14558" y="17936"/>
                  <a:pt x="14558" y="17936"/>
                  <a:pt x="14542" y="17936"/>
                </a:cubicBezTo>
                <a:cubicBezTo>
                  <a:pt x="14464" y="17873"/>
                  <a:pt x="14323" y="17764"/>
                  <a:pt x="14105" y="17561"/>
                </a:cubicBezTo>
                <a:cubicBezTo>
                  <a:pt x="13901" y="17342"/>
                  <a:pt x="13792" y="17201"/>
                  <a:pt x="13729" y="17123"/>
                </a:cubicBezTo>
                <a:cubicBezTo>
                  <a:pt x="13729" y="17107"/>
                  <a:pt x="13714" y="17107"/>
                  <a:pt x="13714" y="17092"/>
                </a:cubicBezTo>
                <a:cubicBezTo>
                  <a:pt x="13714" y="17076"/>
                  <a:pt x="13698" y="17076"/>
                  <a:pt x="13698" y="17060"/>
                </a:cubicBezTo>
                <a:lnTo>
                  <a:pt x="13807" y="16873"/>
                </a:lnTo>
                <a:cubicBezTo>
                  <a:pt x="13932" y="17045"/>
                  <a:pt x="14089" y="17217"/>
                  <a:pt x="14261" y="17404"/>
                </a:cubicBezTo>
                <a:cubicBezTo>
                  <a:pt x="14448" y="17577"/>
                  <a:pt x="14620" y="17733"/>
                  <a:pt x="14793" y="17858"/>
                </a:cubicBezTo>
                <a:close/>
                <a:moveTo>
                  <a:pt x="13807" y="18468"/>
                </a:moveTo>
                <a:cubicBezTo>
                  <a:pt x="13526" y="18984"/>
                  <a:pt x="13260" y="19422"/>
                  <a:pt x="12228" y="19453"/>
                </a:cubicBezTo>
                <a:cubicBezTo>
                  <a:pt x="12259" y="19031"/>
                  <a:pt x="12338" y="18702"/>
                  <a:pt x="12494" y="18468"/>
                </a:cubicBezTo>
                <a:cubicBezTo>
                  <a:pt x="12666" y="18218"/>
                  <a:pt x="12901" y="18061"/>
                  <a:pt x="13182" y="17889"/>
                </a:cubicBezTo>
                <a:cubicBezTo>
                  <a:pt x="13229" y="17858"/>
                  <a:pt x="13291" y="17827"/>
                  <a:pt x="13338" y="17780"/>
                </a:cubicBezTo>
                <a:cubicBezTo>
                  <a:pt x="13432" y="17889"/>
                  <a:pt x="13526" y="17983"/>
                  <a:pt x="13604" y="18061"/>
                </a:cubicBezTo>
                <a:cubicBezTo>
                  <a:pt x="13698" y="18155"/>
                  <a:pt x="13792" y="18249"/>
                  <a:pt x="13885" y="18327"/>
                </a:cubicBezTo>
                <a:cubicBezTo>
                  <a:pt x="13870" y="18374"/>
                  <a:pt x="13839" y="18421"/>
                  <a:pt x="13807" y="18468"/>
                </a:cubicBezTo>
                <a:close/>
                <a:moveTo>
                  <a:pt x="17342" y="17967"/>
                </a:moveTo>
                <a:lnTo>
                  <a:pt x="16654" y="18546"/>
                </a:lnTo>
                <a:lnTo>
                  <a:pt x="16450" y="17733"/>
                </a:lnTo>
                <a:cubicBezTo>
                  <a:pt x="16685" y="17545"/>
                  <a:pt x="16997" y="17295"/>
                  <a:pt x="17342" y="17014"/>
                </a:cubicBezTo>
                <a:close/>
                <a:moveTo>
                  <a:pt x="17654" y="11931"/>
                </a:moveTo>
                <a:cubicBezTo>
                  <a:pt x="17998" y="11587"/>
                  <a:pt x="18420" y="11290"/>
                  <a:pt x="18889" y="11056"/>
                </a:cubicBezTo>
                <a:cubicBezTo>
                  <a:pt x="19797" y="10602"/>
                  <a:pt x="20750" y="10446"/>
                  <a:pt x="21266" y="10383"/>
                </a:cubicBezTo>
                <a:cubicBezTo>
                  <a:pt x="21220" y="10915"/>
                  <a:pt x="21047" y="11869"/>
                  <a:pt x="20610" y="12776"/>
                </a:cubicBezTo>
                <a:cubicBezTo>
                  <a:pt x="20375" y="13245"/>
                  <a:pt x="20078" y="13652"/>
                  <a:pt x="19718" y="14011"/>
                </a:cubicBezTo>
                <a:cubicBezTo>
                  <a:pt x="18718" y="15012"/>
                  <a:pt x="16169" y="17060"/>
                  <a:pt x="15590" y="17514"/>
                </a:cubicBezTo>
                <a:cubicBezTo>
                  <a:pt x="15481" y="17467"/>
                  <a:pt x="15215" y="17342"/>
                  <a:pt x="14777" y="16889"/>
                </a:cubicBezTo>
                <a:cubicBezTo>
                  <a:pt x="14323" y="16451"/>
                  <a:pt x="14198" y="16185"/>
                  <a:pt x="14152" y="16059"/>
                </a:cubicBezTo>
                <a:cubicBezTo>
                  <a:pt x="14370" y="15794"/>
                  <a:pt x="14980" y="15043"/>
                  <a:pt x="15653" y="14214"/>
                </a:cubicBezTo>
                <a:cubicBezTo>
                  <a:pt x="15668" y="14199"/>
                  <a:pt x="15684" y="14183"/>
                  <a:pt x="15699" y="14167"/>
                </a:cubicBezTo>
                <a:cubicBezTo>
                  <a:pt x="16387" y="13339"/>
                  <a:pt x="17138" y="12463"/>
                  <a:pt x="17654" y="11931"/>
                </a:cubicBezTo>
                <a:close/>
                <a:moveTo>
                  <a:pt x="13682" y="14324"/>
                </a:moveTo>
                <a:lnTo>
                  <a:pt x="14636" y="14324"/>
                </a:lnTo>
                <a:cubicBezTo>
                  <a:pt x="14370" y="14668"/>
                  <a:pt x="14120" y="14965"/>
                  <a:pt x="13917" y="15215"/>
                </a:cubicBezTo>
                <a:lnTo>
                  <a:pt x="13119" y="15012"/>
                </a:lnTo>
                <a:close/>
                <a:moveTo>
                  <a:pt x="18733" y="14120"/>
                </a:moveTo>
                <a:cubicBezTo>
                  <a:pt x="19390" y="14120"/>
                  <a:pt x="19937" y="13573"/>
                  <a:pt x="19937" y="12916"/>
                </a:cubicBezTo>
                <a:cubicBezTo>
                  <a:pt x="19937" y="12260"/>
                  <a:pt x="19390" y="11728"/>
                  <a:pt x="18733" y="11728"/>
                </a:cubicBezTo>
                <a:cubicBezTo>
                  <a:pt x="18076" y="11728"/>
                  <a:pt x="17545" y="12260"/>
                  <a:pt x="17545" y="12916"/>
                </a:cubicBezTo>
                <a:cubicBezTo>
                  <a:pt x="17545" y="13573"/>
                  <a:pt x="18076" y="14120"/>
                  <a:pt x="18733" y="14120"/>
                </a:cubicBezTo>
                <a:close/>
                <a:moveTo>
                  <a:pt x="18733" y="12448"/>
                </a:moveTo>
                <a:cubicBezTo>
                  <a:pt x="18999" y="12448"/>
                  <a:pt x="19218" y="12666"/>
                  <a:pt x="19218" y="12916"/>
                </a:cubicBezTo>
                <a:cubicBezTo>
                  <a:pt x="19218" y="13182"/>
                  <a:pt x="18999" y="13401"/>
                  <a:pt x="18733" y="13401"/>
                </a:cubicBezTo>
                <a:cubicBezTo>
                  <a:pt x="18483" y="13401"/>
                  <a:pt x="18264" y="13182"/>
                  <a:pt x="18264" y="12916"/>
                </a:cubicBezTo>
                <a:cubicBezTo>
                  <a:pt x="18264" y="12666"/>
                  <a:pt x="18483" y="12448"/>
                  <a:pt x="18733" y="12448"/>
                </a:cubicBezTo>
                <a:close/>
                <a:moveTo>
                  <a:pt x="30774" y="11150"/>
                </a:moveTo>
                <a:lnTo>
                  <a:pt x="26912" y="11150"/>
                </a:lnTo>
                <a:cubicBezTo>
                  <a:pt x="26520" y="11150"/>
                  <a:pt x="26192" y="11478"/>
                  <a:pt x="26192" y="11869"/>
                </a:cubicBezTo>
                <a:lnTo>
                  <a:pt x="26192" y="18280"/>
                </a:lnTo>
                <a:cubicBezTo>
                  <a:pt x="26192" y="18671"/>
                  <a:pt x="26520" y="18984"/>
                  <a:pt x="26912" y="18984"/>
                </a:cubicBezTo>
                <a:lnTo>
                  <a:pt x="30774" y="18984"/>
                </a:lnTo>
                <a:cubicBezTo>
                  <a:pt x="31165" y="18984"/>
                  <a:pt x="31478" y="18671"/>
                  <a:pt x="31478" y="18280"/>
                </a:cubicBezTo>
                <a:lnTo>
                  <a:pt x="31478" y="18186"/>
                </a:lnTo>
                <a:lnTo>
                  <a:pt x="35231" y="18186"/>
                </a:lnTo>
                <a:lnTo>
                  <a:pt x="37373" y="18186"/>
                </a:lnTo>
                <a:cubicBezTo>
                  <a:pt x="38045" y="18186"/>
                  <a:pt x="38608" y="17670"/>
                  <a:pt x="38608" y="17045"/>
                </a:cubicBezTo>
                <a:lnTo>
                  <a:pt x="38608" y="16998"/>
                </a:lnTo>
                <a:lnTo>
                  <a:pt x="38608" y="16982"/>
                </a:lnTo>
                <a:lnTo>
                  <a:pt x="38608" y="16935"/>
                </a:lnTo>
                <a:lnTo>
                  <a:pt x="38608" y="16920"/>
                </a:lnTo>
                <a:cubicBezTo>
                  <a:pt x="38608" y="16904"/>
                  <a:pt x="38592" y="16889"/>
                  <a:pt x="38592" y="16873"/>
                </a:cubicBezTo>
                <a:lnTo>
                  <a:pt x="38592" y="16857"/>
                </a:lnTo>
                <a:lnTo>
                  <a:pt x="38592" y="16826"/>
                </a:lnTo>
                <a:cubicBezTo>
                  <a:pt x="38592" y="16810"/>
                  <a:pt x="38592" y="16810"/>
                  <a:pt x="38577" y="16810"/>
                </a:cubicBezTo>
                <a:lnTo>
                  <a:pt x="38577" y="16763"/>
                </a:lnTo>
                <a:lnTo>
                  <a:pt x="38577" y="16747"/>
                </a:lnTo>
                <a:cubicBezTo>
                  <a:pt x="38561" y="16732"/>
                  <a:pt x="38561" y="16732"/>
                  <a:pt x="38561" y="16716"/>
                </a:cubicBezTo>
                <a:cubicBezTo>
                  <a:pt x="38561" y="16701"/>
                  <a:pt x="38561" y="16701"/>
                  <a:pt x="38546" y="16701"/>
                </a:cubicBezTo>
                <a:cubicBezTo>
                  <a:pt x="38546" y="16685"/>
                  <a:pt x="38546" y="16669"/>
                  <a:pt x="38530" y="16654"/>
                </a:cubicBezTo>
                <a:cubicBezTo>
                  <a:pt x="38530" y="16638"/>
                  <a:pt x="38514" y="16622"/>
                  <a:pt x="38514" y="16607"/>
                </a:cubicBezTo>
                <a:lnTo>
                  <a:pt x="38514" y="16591"/>
                </a:lnTo>
                <a:cubicBezTo>
                  <a:pt x="38499" y="16576"/>
                  <a:pt x="38499" y="16560"/>
                  <a:pt x="38483" y="16560"/>
                </a:cubicBezTo>
                <a:lnTo>
                  <a:pt x="38483" y="16544"/>
                </a:lnTo>
                <a:cubicBezTo>
                  <a:pt x="38483" y="16529"/>
                  <a:pt x="38467" y="16513"/>
                  <a:pt x="38467" y="16497"/>
                </a:cubicBezTo>
                <a:lnTo>
                  <a:pt x="38452" y="16497"/>
                </a:lnTo>
                <a:cubicBezTo>
                  <a:pt x="38452" y="16482"/>
                  <a:pt x="38436" y="16466"/>
                  <a:pt x="38436" y="16451"/>
                </a:cubicBezTo>
                <a:lnTo>
                  <a:pt x="38420" y="16451"/>
                </a:lnTo>
                <a:lnTo>
                  <a:pt x="38420" y="16435"/>
                </a:lnTo>
                <a:cubicBezTo>
                  <a:pt x="38436" y="16435"/>
                  <a:pt x="38452" y="16419"/>
                  <a:pt x="38467" y="16419"/>
                </a:cubicBezTo>
                <a:cubicBezTo>
                  <a:pt x="38483" y="16404"/>
                  <a:pt x="38499" y="16404"/>
                  <a:pt x="38499" y="16388"/>
                </a:cubicBezTo>
                <a:lnTo>
                  <a:pt x="38514" y="16388"/>
                </a:lnTo>
                <a:cubicBezTo>
                  <a:pt x="38530" y="16372"/>
                  <a:pt x="38546" y="16357"/>
                  <a:pt x="38561" y="16357"/>
                </a:cubicBezTo>
                <a:lnTo>
                  <a:pt x="38561" y="16341"/>
                </a:lnTo>
                <a:cubicBezTo>
                  <a:pt x="38577" y="16341"/>
                  <a:pt x="38592" y="16326"/>
                  <a:pt x="38592" y="16310"/>
                </a:cubicBezTo>
                <a:lnTo>
                  <a:pt x="38608" y="16310"/>
                </a:lnTo>
                <a:lnTo>
                  <a:pt x="38639" y="16279"/>
                </a:lnTo>
                <a:lnTo>
                  <a:pt x="38655" y="16279"/>
                </a:lnTo>
                <a:cubicBezTo>
                  <a:pt x="38671" y="16263"/>
                  <a:pt x="38671" y="16247"/>
                  <a:pt x="38686" y="16232"/>
                </a:cubicBezTo>
                <a:cubicBezTo>
                  <a:pt x="38702" y="16216"/>
                  <a:pt x="38717" y="16216"/>
                  <a:pt x="38717" y="16201"/>
                </a:cubicBezTo>
                <a:cubicBezTo>
                  <a:pt x="38733" y="16201"/>
                  <a:pt x="38728" y="16190"/>
                  <a:pt x="38733" y="16185"/>
                </a:cubicBezTo>
                <a:cubicBezTo>
                  <a:pt x="38749" y="16169"/>
                  <a:pt x="38749" y="16169"/>
                  <a:pt x="38764" y="16153"/>
                </a:cubicBezTo>
                <a:cubicBezTo>
                  <a:pt x="38780" y="16138"/>
                  <a:pt x="38780" y="16122"/>
                  <a:pt x="38796" y="16106"/>
                </a:cubicBezTo>
                <a:cubicBezTo>
                  <a:pt x="38811" y="16091"/>
                  <a:pt x="38827" y="16075"/>
                  <a:pt x="38827" y="16059"/>
                </a:cubicBezTo>
                <a:cubicBezTo>
                  <a:pt x="38842" y="16044"/>
                  <a:pt x="38842" y="16028"/>
                  <a:pt x="38858" y="16013"/>
                </a:cubicBezTo>
                <a:cubicBezTo>
                  <a:pt x="38874" y="15997"/>
                  <a:pt x="38874" y="15981"/>
                  <a:pt x="38889" y="15966"/>
                </a:cubicBezTo>
                <a:lnTo>
                  <a:pt x="38889" y="15950"/>
                </a:lnTo>
                <a:cubicBezTo>
                  <a:pt x="38905" y="15950"/>
                  <a:pt x="38905" y="15934"/>
                  <a:pt x="38905" y="15919"/>
                </a:cubicBezTo>
                <a:lnTo>
                  <a:pt x="38921" y="15903"/>
                </a:lnTo>
                <a:cubicBezTo>
                  <a:pt x="38921" y="15888"/>
                  <a:pt x="38936" y="15872"/>
                  <a:pt x="38936" y="15856"/>
                </a:cubicBezTo>
                <a:cubicBezTo>
                  <a:pt x="38936" y="15841"/>
                  <a:pt x="38952" y="15825"/>
                  <a:pt x="38952" y="15809"/>
                </a:cubicBezTo>
                <a:cubicBezTo>
                  <a:pt x="38967" y="15794"/>
                  <a:pt x="38967" y="15778"/>
                  <a:pt x="38967" y="15763"/>
                </a:cubicBezTo>
                <a:lnTo>
                  <a:pt x="38967" y="15747"/>
                </a:lnTo>
                <a:cubicBezTo>
                  <a:pt x="38983" y="15731"/>
                  <a:pt x="38983" y="15716"/>
                  <a:pt x="38983" y="15700"/>
                </a:cubicBezTo>
                <a:cubicBezTo>
                  <a:pt x="38983" y="15684"/>
                  <a:pt x="38999" y="15653"/>
                  <a:pt x="38999" y="15638"/>
                </a:cubicBezTo>
                <a:lnTo>
                  <a:pt x="38999" y="15591"/>
                </a:lnTo>
                <a:lnTo>
                  <a:pt x="38999" y="15575"/>
                </a:lnTo>
                <a:cubicBezTo>
                  <a:pt x="39014" y="15559"/>
                  <a:pt x="39014" y="15544"/>
                  <a:pt x="39014" y="15528"/>
                </a:cubicBezTo>
                <a:lnTo>
                  <a:pt x="39014" y="15512"/>
                </a:lnTo>
                <a:lnTo>
                  <a:pt x="39014" y="15465"/>
                </a:lnTo>
                <a:lnTo>
                  <a:pt x="39014" y="15418"/>
                </a:lnTo>
                <a:lnTo>
                  <a:pt x="39014" y="15403"/>
                </a:lnTo>
                <a:cubicBezTo>
                  <a:pt x="39014" y="15387"/>
                  <a:pt x="39014" y="15371"/>
                  <a:pt x="38999" y="15356"/>
                </a:cubicBezTo>
                <a:lnTo>
                  <a:pt x="38999" y="15340"/>
                </a:lnTo>
                <a:lnTo>
                  <a:pt x="38999" y="15293"/>
                </a:lnTo>
                <a:lnTo>
                  <a:pt x="38999" y="15278"/>
                </a:lnTo>
                <a:cubicBezTo>
                  <a:pt x="38999" y="15262"/>
                  <a:pt x="38983" y="15262"/>
                  <a:pt x="38983" y="15246"/>
                </a:cubicBezTo>
                <a:lnTo>
                  <a:pt x="38983" y="15231"/>
                </a:lnTo>
                <a:cubicBezTo>
                  <a:pt x="38983" y="15215"/>
                  <a:pt x="38983" y="15200"/>
                  <a:pt x="38967" y="15184"/>
                </a:cubicBezTo>
                <a:lnTo>
                  <a:pt x="38967" y="15168"/>
                </a:lnTo>
                <a:cubicBezTo>
                  <a:pt x="38967" y="15153"/>
                  <a:pt x="38967" y="15137"/>
                  <a:pt x="38952" y="15137"/>
                </a:cubicBezTo>
                <a:lnTo>
                  <a:pt x="38952" y="15121"/>
                </a:lnTo>
                <a:cubicBezTo>
                  <a:pt x="38952" y="15106"/>
                  <a:pt x="38936" y="15090"/>
                  <a:pt x="38936" y="15075"/>
                </a:cubicBezTo>
                <a:cubicBezTo>
                  <a:pt x="38936" y="15059"/>
                  <a:pt x="38921" y="15043"/>
                  <a:pt x="38921" y="15028"/>
                </a:cubicBezTo>
                <a:cubicBezTo>
                  <a:pt x="38921" y="15012"/>
                  <a:pt x="38910" y="15017"/>
                  <a:pt x="38905" y="15012"/>
                </a:cubicBezTo>
                <a:cubicBezTo>
                  <a:pt x="38905" y="14996"/>
                  <a:pt x="38905" y="14981"/>
                  <a:pt x="38889" y="14981"/>
                </a:cubicBezTo>
                <a:lnTo>
                  <a:pt x="38889" y="14965"/>
                </a:lnTo>
                <a:cubicBezTo>
                  <a:pt x="38874" y="14950"/>
                  <a:pt x="38874" y="14934"/>
                  <a:pt x="38858" y="14918"/>
                </a:cubicBezTo>
                <a:cubicBezTo>
                  <a:pt x="38858" y="14903"/>
                  <a:pt x="38842" y="14887"/>
                  <a:pt x="38842" y="14871"/>
                </a:cubicBezTo>
                <a:lnTo>
                  <a:pt x="38827" y="14871"/>
                </a:lnTo>
                <a:lnTo>
                  <a:pt x="38827" y="14855"/>
                </a:lnTo>
                <a:cubicBezTo>
                  <a:pt x="38842" y="14855"/>
                  <a:pt x="38842" y="14840"/>
                  <a:pt x="38858" y="14840"/>
                </a:cubicBezTo>
                <a:cubicBezTo>
                  <a:pt x="38863" y="14835"/>
                  <a:pt x="38874" y="14840"/>
                  <a:pt x="38874" y="14824"/>
                </a:cubicBezTo>
                <a:cubicBezTo>
                  <a:pt x="38889" y="14824"/>
                  <a:pt x="38889" y="14808"/>
                  <a:pt x="38905" y="14808"/>
                </a:cubicBezTo>
                <a:lnTo>
                  <a:pt x="38921" y="14808"/>
                </a:lnTo>
                <a:cubicBezTo>
                  <a:pt x="38936" y="14793"/>
                  <a:pt x="38936" y="14777"/>
                  <a:pt x="38952" y="14777"/>
                </a:cubicBezTo>
                <a:cubicBezTo>
                  <a:pt x="38952" y="14762"/>
                  <a:pt x="38962" y="14767"/>
                  <a:pt x="38967" y="14762"/>
                </a:cubicBezTo>
                <a:cubicBezTo>
                  <a:pt x="38983" y="14762"/>
                  <a:pt x="38983" y="14746"/>
                  <a:pt x="38999" y="14730"/>
                </a:cubicBezTo>
                <a:lnTo>
                  <a:pt x="39014" y="14730"/>
                </a:lnTo>
                <a:cubicBezTo>
                  <a:pt x="39014" y="14715"/>
                  <a:pt x="39030" y="14715"/>
                  <a:pt x="39046" y="14699"/>
                </a:cubicBezTo>
                <a:lnTo>
                  <a:pt x="39046" y="14683"/>
                </a:lnTo>
                <a:cubicBezTo>
                  <a:pt x="39061" y="14683"/>
                  <a:pt x="39077" y="14668"/>
                  <a:pt x="39093" y="14652"/>
                </a:cubicBezTo>
                <a:cubicBezTo>
                  <a:pt x="39109" y="14637"/>
                  <a:pt x="39109" y="14637"/>
                  <a:pt x="39124" y="14621"/>
                </a:cubicBezTo>
                <a:cubicBezTo>
                  <a:pt x="39129" y="14616"/>
                  <a:pt x="39124" y="14605"/>
                  <a:pt x="39140" y="14605"/>
                </a:cubicBezTo>
                <a:cubicBezTo>
                  <a:pt x="39140" y="14590"/>
                  <a:pt x="39155" y="14590"/>
                  <a:pt x="39171" y="14574"/>
                </a:cubicBezTo>
                <a:cubicBezTo>
                  <a:pt x="39171" y="14558"/>
                  <a:pt x="39187" y="14543"/>
                  <a:pt x="39202" y="14527"/>
                </a:cubicBezTo>
                <a:cubicBezTo>
                  <a:pt x="39218" y="14512"/>
                  <a:pt x="39218" y="14496"/>
                  <a:pt x="39234" y="14480"/>
                </a:cubicBezTo>
                <a:cubicBezTo>
                  <a:pt x="39249" y="14465"/>
                  <a:pt x="39249" y="14449"/>
                  <a:pt x="39265" y="14433"/>
                </a:cubicBezTo>
                <a:cubicBezTo>
                  <a:pt x="39280" y="14418"/>
                  <a:pt x="39280" y="14402"/>
                  <a:pt x="39296" y="14387"/>
                </a:cubicBezTo>
                <a:lnTo>
                  <a:pt x="39296" y="14371"/>
                </a:lnTo>
                <a:cubicBezTo>
                  <a:pt x="39296" y="14355"/>
                  <a:pt x="39312" y="14355"/>
                  <a:pt x="39312" y="14340"/>
                </a:cubicBezTo>
                <a:lnTo>
                  <a:pt x="39312" y="14324"/>
                </a:lnTo>
                <a:cubicBezTo>
                  <a:pt x="39327" y="14308"/>
                  <a:pt x="39327" y="14293"/>
                  <a:pt x="39343" y="14277"/>
                </a:cubicBezTo>
                <a:cubicBezTo>
                  <a:pt x="39343" y="14262"/>
                  <a:pt x="39343" y="14246"/>
                  <a:pt x="39359" y="14230"/>
                </a:cubicBezTo>
                <a:lnTo>
                  <a:pt x="39359" y="14214"/>
                </a:lnTo>
                <a:cubicBezTo>
                  <a:pt x="39359" y="14199"/>
                  <a:pt x="39374" y="14183"/>
                  <a:pt x="39374" y="14167"/>
                </a:cubicBezTo>
                <a:cubicBezTo>
                  <a:pt x="39374" y="14152"/>
                  <a:pt x="39390" y="14136"/>
                  <a:pt x="39390" y="14120"/>
                </a:cubicBezTo>
                <a:lnTo>
                  <a:pt x="39390" y="14105"/>
                </a:lnTo>
                <a:cubicBezTo>
                  <a:pt x="39390" y="14089"/>
                  <a:pt x="39390" y="14074"/>
                  <a:pt x="39405" y="14058"/>
                </a:cubicBezTo>
                <a:lnTo>
                  <a:pt x="39405" y="14011"/>
                </a:lnTo>
                <a:lnTo>
                  <a:pt x="39405" y="13995"/>
                </a:lnTo>
                <a:lnTo>
                  <a:pt x="39405" y="13949"/>
                </a:lnTo>
                <a:lnTo>
                  <a:pt x="39405" y="13933"/>
                </a:lnTo>
                <a:cubicBezTo>
                  <a:pt x="39405" y="13917"/>
                  <a:pt x="39421" y="13902"/>
                  <a:pt x="39421" y="13886"/>
                </a:cubicBezTo>
                <a:cubicBezTo>
                  <a:pt x="39421" y="13855"/>
                  <a:pt x="39405" y="13839"/>
                  <a:pt x="39405" y="13824"/>
                </a:cubicBezTo>
                <a:lnTo>
                  <a:pt x="39405" y="13808"/>
                </a:lnTo>
                <a:lnTo>
                  <a:pt x="39405" y="13761"/>
                </a:lnTo>
                <a:lnTo>
                  <a:pt x="39405" y="13730"/>
                </a:lnTo>
                <a:cubicBezTo>
                  <a:pt x="39400" y="13720"/>
                  <a:pt x="39405" y="13714"/>
                  <a:pt x="39390" y="13699"/>
                </a:cubicBezTo>
                <a:lnTo>
                  <a:pt x="39390" y="13667"/>
                </a:lnTo>
                <a:lnTo>
                  <a:pt x="39390" y="13636"/>
                </a:lnTo>
                <a:cubicBezTo>
                  <a:pt x="39385" y="13626"/>
                  <a:pt x="39374" y="13620"/>
                  <a:pt x="39374" y="13605"/>
                </a:cubicBezTo>
                <a:lnTo>
                  <a:pt x="39374" y="13573"/>
                </a:lnTo>
                <a:cubicBezTo>
                  <a:pt x="39359" y="13573"/>
                  <a:pt x="39364" y="13562"/>
                  <a:pt x="39359" y="13557"/>
                </a:cubicBezTo>
                <a:cubicBezTo>
                  <a:pt x="39359" y="13542"/>
                  <a:pt x="39359" y="13526"/>
                  <a:pt x="39343" y="13511"/>
                </a:cubicBezTo>
                <a:lnTo>
                  <a:pt x="39343" y="13495"/>
                </a:lnTo>
                <a:cubicBezTo>
                  <a:pt x="39343" y="13479"/>
                  <a:pt x="39332" y="13474"/>
                  <a:pt x="39327" y="13464"/>
                </a:cubicBezTo>
                <a:cubicBezTo>
                  <a:pt x="39327" y="13448"/>
                  <a:pt x="39317" y="13453"/>
                  <a:pt x="39312" y="13448"/>
                </a:cubicBezTo>
                <a:cubicBezTo>
                  <a:pt x="39312" y="13417"/>
                  <a:pt x="39296" y="13401"/>
                  <a:pt x="39296" y="13386"/>
                </a:cubicBezTo>
                <a:lnTo>
                  <a:pt x="39280" y="13386"/>
                </a:lnTo>
                <a:cubicBezTo>
                  <a:pt x="39280" y="13370"/>
                  <a:pt x="39265" y="13354"/>
                  <a:pt x="39265" y="13339"/>
                </a:cubicBezTo>
                <a:cubicBezTo>
                  <a:pt x="39265" y="13323"/>
                  <a:pt x="39254" y="13328"/>
                  <a:pt x="39249" y="13323"/>
                </a:cubicBezTo>
                <a:cubicBezTo>
                  <a:pt x="39249" y="13307"/>
                  <a:pt x="39234" y="13292"/>
                  <a:pt x="39234" y="13276"/>
                </a:cubicBezTo>
                <a:cubicBezTo>
                  <a:pt x="39218" y="13276"/>
                  <a:pt x="39218" y="13276"/>
                  <a:pt x="39218" y="13261"/>
                </a:cubicBezTo>
                <a:cubicBezTo>
                  <a:pt x="39202" y="13245"/>
                  <a:pt x="39202" y="13245"/>
                  <a:pt x="39187" y="13229"/>
                </a:cubicBezTo>
                <a:cubicBezTo>
                  <a:pt x="39182" y="13224"/>
                  <a:pt x="39187" y="13214"/>
                  <a:pt x="39171" y="13214"/>
                </a:cubicBezTo>
                <a:cubicBezTo>
                  <a:pt x="39171" y="13198"/>
                  <a:pt x="39155" y="13198"/>
                  <a:pt x="39155" y="13182"/>
                </a:cubicBezTo>
                <a:lnTo>
                  <a:pt x="39140" y="13167"/>
                </a:lnTo>
                <a:lnTo>
                  <a:pt x="39109" y="13136"/>
                </a:lnTo>
                <a:cubicBezTo>
                  <a:pt x="39104" y="13131"/>
                  <a:pt x="39109" y="13120"/>
                  <a:pt x="39093" y="13120"/>
                </a:cubicBezTo>
                <a:cubicBezTo>
                  <a:pt x="39093" y="13104"/>
                  <a:pt x="39077" y="13104"/>
                  <a:pt x="39077" y="13089"/>
                </a:cubicBezTo>
                <a:cubicBezTo>
                  <a:pt x="39061" y="13089"/>
                  <a:pt x="39061" y="13089"/>
                  <a:pt x="39046" y="13073"/>
                </a:cubicBezTo>
                <a:cubicBezTo>
                  <a:pt x="39035" y="13063"/>
                  <a:pt x="39030" y="13057"/>
                  <a:pt x="39014" y="13042"/>
                </a:cubicBezTo>
                <a:cubicBezTo>
                  <a:pt x="38999" y="13026"/>
                  <a:pt x="38983" y="13011"/>
                  <a:pt x="38952" y="12995"/>
                </a:cubicBezTo>
                <a:lnTo>
                  <a:pt x="38967" y="12995"/>
                </a:lnTo>
                <a:lnTo>
                  <a:pt x="38967" y="12979"/>
                </a:lnTo>
                <a:cubicBezTo>
                  <a:pt x="38983" y="12964"/>
                  <a:pt x="38983" y="12964"/>
                  <a:pt x="38999" y="12948"/>
                </a:cubicBezTo>
                <a:lnTo>
                  <a:pt x="38999" y="12932"/>
                </a:lnTo>
                <a:cubicBezTo>
                  <a:pt x="39014" y="12932"/>
                  <a:pt x="39014" y="12916"/>
                  <a:pt x="39030" y="12901"/>
                </a:cubicBezTo>
                <a:lnTo>
                  <a:pt x="39030" y="12885"/>
                </a:lnTo>
                <a:cubicBezTo>
                  <a:pt x="39046" y="12885"/>
                  <a:pt x="39046" y="12869"/>
                  <a:pt x="39061" y="12854"/>
                </a:cubicBezTo>
                <a:cubicBezTo>
                  <a:pt x="39077" y="12838"/>
                  <a:pt x="39077" y="12823"/>
                  <a:pt x="39093" y="12807"/>
                </a:cubicBezTo>
                <a:lnTo>
                  <a:pt x="39093" y="12791"/>
                </a:lnTo>
                <a:cubicBezTo>
                  <a:pt x="39093" y="12776"/>
                  <a:pt x="39104" y="12770"/>
                  <a:pt x="39109" y="12760"/>
                </a:cubicBezTo>
                <a:cubicBezTo>
                  <a:pt x="39109" y="12744"/>
                  <a:pt x="39119" y="12749"/>
                  <a:pt x="39124" y="12744"/>
                </a:cubicBezTo>
                <a:cubicBezTo>
                  <a:pt x="39124" y="12729"/>
                  <a:pt x="39124" y="12713"/>
                  <a:pt x="39140" y="12713"/>
                </a:cubicBezTo>
                <a:lnTo>
                  <a:pt x="39140" y="12682"/>
                </a:lnTo>
                <a:cubicBezTo>
                  <a:pt x="39145" y="12672"/>
                  <a:pt x="39155" y="12666"/>
                  <a:pt x="39155" y="12651"/>
                </a:cubicBezTo>
                <a:lnTo>
                  <a:pt x="39155" y="12635"/>
                </a:lnTo>
                <a:cubicBezTo>
                  <a:pt x="39155" y="12619"/>
                  <a:pt x="39166" y="12614"/>
                  <a:pt x="39171" y="12604"/>
                </a:cubicBezTo>
                <a:lnTo>
                  <a:pt x="39171" y="12588"/>
                </a:lnTo>
                <a:cubicBezTo>
                  <a:pt x="39171" y="12573"/>
                  <a:pt x="39187" y="12557"/>
                  <a:pt x="39187" y="12541"/>
                </a:cubicBezTo>
                <a:lnTo>
                  <a:pt x="39187" y="12526"/>
                </a:lnTo>
                <a:cubicBezTo>
                  <a:pt x="39187" y="12510"/>
                  <a:pt x="39202" y="12494"/>
                  <a:pt x="39202" y="12479"/>
                </a:cubicBezTo>
                <a:lnTo>
                  <a:pt x="39202" y="12463"/>
                </a:lnTo>
                <a:lnTo>
                  <a:pt x="39202" y="12432"/>
                </a:lnTo>
                <a:lnTo>
                  <a:pt x="39202" y="12416"/>
                </a:lnTo>
                <a:cubicBezTo>
                  <a:pt x="39202" y="12401"/>
                  <a:pt x="39202" y="12385"/>
                  <a:pt x="39218" y="12369"/>
                </a:cubicBezTo>
                <a:lnTo>
                  <a:pt x="39218" y="12354"/>
                </a:lnTo>
                <a:lnTo>
                  <a:pt x="39218" y="12306"/>
                </a:lnTo>
                <a:cubicBezTo>
                  <a:pt x="39218" y="11665"/>
                  <a:pt x="38655" y="11150"/>
                  <a:pt x="37967" y="11150"/>
                </a:cubicBezTo>
                <a:lnTo>
                  <a:pt x="35824" y="11150"/>
                </a:lnTo>
                <a:cubicBezTo>
                  <a:pt x="35809" y="11150"/>
                  <a:pt x="35777" y="11150"/>
                  <a:pt x="35762" y="11165"/>
                </a:cubicBezTo>
                <a:lnTo>
                  <a:pt x="35746" y="11165"/>
                </a:lnTo>
                <a:lnTo>
                  <a:pt x="35684" y="11165"/>
                </a:lnTo>
                <a:lnTo>
                  <a:pt x="35668" y="11165"/>
                </a:lnTo>
                <a:cubicBezTo>
                  <a:pt x="35621" y="11165"/>
                  <a:pt x="35574" y="11181"/>
                  <a:pt x="35512" y="11197"/>
                </a:cubicBezTo>
                <a:lnTo>
                  <a:pt x="34871" y="11197"/>
                </a:lnTo>
                <a:cubicBezTo>
                  <a:pt x="35074" y="10446"/>
                  <a:pt x="35387" y="8570"/>
                  <a:pt x="34949" y="7740"/>
                </a:cubicBezTo>
                <a:cubicBezTo>
                  <a:pt x="34761" y="7381"/>
                  <a:pt x="34464" y="7115"/>
                  <a:pt x="34073" y="6943"/>
                </a:cubicBezTo>
                <a:cubicBezTo>
                  <a:pt x="33729" y="6802"/>
                  <a:pt x="33338" y="6834"/>
                  <a:pt x="33025" y="7052"/>
                </a:cubicBezTo>
                <a:cubicBezTo>
                  <a:pt x="32713" y="7272"/>
                  <a:pt x="32525" y="7647"/>
                  <a:pt x="32556" y="8038"/>
                </a:cubicBezTo>
                <a:cubicBezTo>
                  <a:pt x="32619" y="9492"/>
                  <a:pt x="31587" y="11024"/>
                  <a:pt x="31305" y="11400"/>
                </a:cubicBezTo>
                <a:cubicBezTo>
                  <a:pt x="31180" y="11243"/>
                  <a:pt x="30993" y="11150"/>
                  <a:pt x="30774" y="11150"/>
                </a:cubicBezTo>
                <a:close/>
                <a:moveTo>
                  <a:pt x="30774" y="18280"/>
                </a:moveTo>
                <a:lnTo>
                  <a:pt x="26912" y="18280"/>
                </a:lnTo>
                <a:lnTo>
                  <a:pt x="26912" y="11869"/>
                </a:lnTo>
                <a:lnTo>
                  <a:pt x="30774" y="11869"/>
                </a:lnTo>
                <a:lnTo>
                  <a:pt x="30774" y="17483"/>
                </a:lnTo>
                <a:close/>
                <a:moveTo>
                  <a:pt x="37373" y="17483"/>
                </a:moveTo>
                <a:lnTo>
                  <a:pt x="35231" y="17483"/>
                </a:lnTo>
                <a:cubicBezTo>
                  <a:pt x="34933" y="17483"/>
                  <a:pt x="34699" y="17279"/>
                  <a:pt x="34699" y="17045"/>
                </a:cubicBezTo>
                <a:cubicBezTo>
                  <a:pt x="34699" y="16810"/>
                  <a:pt x="34933" y="16607"/>
                  <a:pt x="35231" y="16607"/>
                </a:cubicBezTo>
                <a:lnTo>
                  <a:pt x="35621" y="16607"/>
                </a:lnTo>
                <a:lnTo>
                  <a:pt x="37373" y="16607"/>
                </a:lnTo>
                <a:cubicBezTo>
                  <a:pt x="37654" y="16607"/>
                  <a:pt x="37889" y="16810"/>
                  <a:pt x="37889" y="17045"/>
                </a:cubicBezTo>
                <a:cubicBezTo>
                  <a:pt x="37889" y="17279"/>
                  <a:pt x="37654" y="17483"/>
                  <a:pt x="37373" y="17483"/>
                </a:cubicBezTo>
                <a:close/>
                <a:moveTo>
                  <a:pt x="36028" y="13448"/>
                </a:moveTo>
                <a:lnTo>
                  <a:pt x="37967" y="13448"/>
                </a:lnTo>
                <a:lnTo>
                  <a:pt x="38170" y="13448"/>
                </a:lnTo>
                <a:cubicBezTo>
                  <a:pt x="38436" y="13448"/>
                  <a:pt x="38655" y="13620"/>
                  <a:pt x="38686" y="13824"/>
                </a:cubicBezTo>
                <a:cubicBezTo>
                  <a:pt x="38702" y="13839"/>
                  <a:pt x="38702" y="13855"/>
                  <a:pt x="38702" y="13886"/>
                </a:cubicBezTo>
                <a:cubicBezTo>
                  <a:pt x="38702" y="13902"/>
                  <a:pt x="38702" y="13933"/>
                  <a:pt x="38686" y="13949"/>
                </a:cubicBezTo>
                <a:cubicBezTo>
                  <a:pt x="38655" y="14152"/>
                  <a:pt x="38436" y="14324"/>
                  <a:pt x="38170" y="14324"/>
                </a:cubicBezTo>
                <a:lnTo>
                  <a:pt x="37763" y="14324"/>
                </a:lnTo>
                <a:lnTo>
                  <a:pt x="36028" y="14324"/>
                </a:lnTo>
                <a:cubicBezTo>
                  <a:pt x="35746" y="14324"/>
                  <a:pt x="35496" y="14120"/>
                  <a:pt x="35496" y="13886"/>
                </a:cubicBezTo>
                <a:cubicBezTo>
                  <a:pt x="35496" y="13652"/>
                  <a:pt x="35746" y="13448"/>
                  <a:pt x="36028" y="13448"/>
                </a:cubicBezTo>
                <a:close/>
                <a:moveTo>
                  <a:pt x="35621" y="15028"/>
                </a:moveTo>
                <a:lnTo>
                  <a:pt x="36028" y="15028"/>
                </a:lnTo>
                <a:lnTo>
                  <a:pt x="37763" y="15028"/>
                </a:lnTo>
                <a:cubicBezTo>
                  <a:pt x="38061" y="15028"/>
                  <a:pt x="38295" y="15231"/>
                  <a:pt x="38295" y="15465"/>
                </a:cubicBezTo>
                <a:cubicBezTo>
                  <a:pt x="38295" y="15700"/>
                  <a:pt x="38061" y="15903"/>
                  <a:pt x="37763" y="15903"/>
                </a:cubicBezTo>
                <a:lnTo>
                  <a:pt x="37373" y="15903"/>
                </a:lnTo>
                <a:lnTo>
                  <a:pt x="35621" y="15903"/>
                </a:lnTo>
                <a:cubicBezTo>
                  <a:pt x="35340" y="15903"/>
                  <a:pt x="35105" y="15700"/>
                  <a:pt x="35105" y="15465"/>
                </a:cubicBezTo>
                <a:cubicBezTo>
                  <a:pt x="35105" y="15231"/>
                  <a:pt x="35340" y="15028"/>
                  <a:pt x="35621" y="15028"/>
                </a:cubicBezTo>
                <a:close/>
                <a:moveTo>
                  <a:pt x="37967" y="11869"/>
                </a:moveTo>
                <a:cubicBezTo>
                  <a:pt x="38248" y="11869"/>
                  <a:pt x="38499" y="12072"/>
                  <a:pt x="38499" y="12306"/>
                </a:cubicBezTo>
                <a:cubicBezTo>
                  <a:pt x="38499" y="12541"/>
                  <a:pt x="38248" y="12729"/>
                  <a:pt x="37967" y="12729"/>
                </a:cubicBezTo>
                <a:lnTo>
                  <a:pt x="36028" y="12729"/>
                </a:lnTo>
                <a:lnTo>
                  <a:pt x="35824" y="12729"/>
                </a:lnTo>
                <a:cubicBezTo>
                  <a:pt x="35543" y="12729"/>
                  <a:pt x="35293" y="12541"/>
                  <a:pt x="35293" y="12306"/>
                </a:cubicBezTo>
                <a:cubicBezTo>
                  <a:pt x="35293" y="12119"/>
                  <a:pt x="35449" y="11947"/>
                  <a:pt x="35668" y="11900"/>
                </a:cubicBezTo>
                <a:cubicBezTo>
                  <a:pt x="35684" y="11885"/>
                  <a:pt x="35684" y="11885"/>
                  <a:pt x="35699" y="11885"/>
                </a:cubicBezTo>
                <a:cubicBezTo>
                  <a:pt x="35715" y="11885"/>
                  <a:pt x="35731" y="11885"/>
                  <a:pt x="35746" y="11869"/>
                </a:cubicBezTo>
                <a:lnTo>
                  <a:pt x="35777" y="11869"/>
                </a:lnTo>
                <a:lnTo>
                  <a:pt x="35793" y="11869"/>
                </a:lnTo>
                <a:lnTo>
                  <a:pt x="35824" y="11869"/>
                </a:lnTo>
                <a:close/>
                <a:moveTo>
                  <a:pt x="31806" y="11931"/>
                </a:moveTo>
                <a:cubicBezTo>
                  <a:pt x="31868" y="11853"/>
                  <a:pt x="33354" y="9930"/>
                  <a:pt x="33260" y="8007"/>
                </a:cubicBezTo>
                <a:cubicBezTo>
                  <a:pt x="33260" y="7850"/>
                  <a:pt x="33323" y="7725"/>
                  <a:pt x="33432" y="7631"/>
                </a:cubicBezTo>
                <a:cubicBezTo>
                  <a:pt x="33495" y="7600"/>
                  <a:pt x="33635" y="7537"/>
                  <a:pt x="33792" y="7600"/>
                </a:cubicBezTo>
                <a:cubicBezTo>
                  <a:pt x="34042" y="7709"/>
                  <a:pt x="34198" y="7850"/>
                  <a:pt x="34323" y="8069"/>
                </a:cubicBezTo>
                <a:cubicBezTo>
                  <a:pt x="34558" y="8538"/>
                  <a:pt x="34448" y="10071"/>
                  <a:pt x="34183" y="11009"/>
                </a:cubicBezTo>
                <a:cubicBezTo>
                  <a:pt x="34120" y="11228"/>
                  <a:pt x="34151" y="11447"/>
                  <a:pt x="34292" y="11618"/>
                </a:cubicBezTo>
                <a:cubicBezTo>
                  <a:pt x="34386" y="11760"/>
                  <a:pt x="34526" y="11838"/>
                  <a:pt x="34668" y="11885"/>
                </a:cubicBezTo>
                <a:cubicBezTo>
                  <a:pt x="34621" y="12010"/>
                  <a:pt x="34589" y="12150"/>
                  <a:pt x="34589" y="12306"/>
                </a:cubicBezTo>
                <a:cubicBezTo>
                  <a:pt x="34589" y="12666"/>
                  <a:pt x="34761" y="12979"/>
                  <a:pt x="35043" y="13182"/>
                </a:cubicBezTo>
                <a:cubicBezTo>
                  <a:pt x="34886" y="13386"/>
                  <a:pt x="34793" y="13620"/>
                  <a:pt x="34793" y="13886"/>
                </a:cubicBezTo>
                <a:cubicBezTo>
                  <a:pt x="34793" y="14105"/>
                  <a:pt x="34855" y="14308"/>
                  <a:pt x="34980" y="14496"/>
                </a:cubicBezTo>
                <a:cubicBezTo>
                  <a:pt x="34621" y="14699"/>
                  <a:pt x="34386" y="15059"/>
                  <a:pt x="34386" y="15465"/>
                </a:cubicBezTo>
                <a:cubicBezTo>
                  <a:pt x="34386" y="15684"/>
                  <a:pt x="34448" y="15888"/>
                  <a:pt x="34574" y="16075"/>
                </a:cubicBezTo>
                <a:cubicBezTo>
                  <a:pt x="34214" y="16279"/>
                  <a:pt x="33980" y="16638"/>
                  <a:pt x="33980" y="17045"/>
                </a:cubicBezTo>
                <a:cubicBezTo>
                  <a:pt x="33980" y="17201"/>
                  <a:pt x="34011" y="17342"/>
                  <a:pt x="34073" y="17483"/>
                </a:cubicBezTo>
                <a:lnTo>
                  <a:pt x="31478" y="17483"/>
                </a:lnTo>
                <a:lnTo>
                  <a:pt x="31478" y="12103"/>
                </a:lnTo>
                <a:lnTo>
                  <a:pt x="31649" y="12041"/>
                </a:lnTo>
                <a:cubicBezTo>
                  <a:pt x="31712" y="12025"/>
                  <a:pt x="31759" y="11978"/>
                  <a:pt x="31806" y="11931"/>
                </a:cubicBezTo>
                <a:close/>
                <a:moveTo>
                  <a:pt x="5520" y="11462"/>
                </a:moveTo>
                <a:lnTo>
                  <a:pt x="6771" y="11462"/>
                </a:lnTo>
                <a:lnTo>
                  <a:pt x="5535" y="15184"/>
                </a:lnTo>
                <a:cubicBezTo>
                  <a:pt x="5457" y="15434"/>
                  <a:pt x="5551" y="15716"/>
                  <a:pt x="5801" y="15841"/>
                </a:cubicBezTo>
                <a:cubicBezTo>
                  <a:pt x="5879" y="15903"/>
                  <a:pt x="5973" y="15919"/>
                  <a:pt x="6067" y="15919"/>
                </a:cubicBezTo>
                <a:cubicBezTo>
                  <a:pt x="6239" y="15919"/>
                  <a:pt x="6380" y="15856"/>
                  <a:pt x="6489" y="15731"/>
                </a:cubicBezTo>
                <a:lnTo>
                  <a:pt x="6505" y="15731"/>
                </a:lnTo>
                <a:lnTo>
                  <a:pt x="11665" y="9648"/>
                </a:lnTo>
                <a:cubicBezTo>
                  <a:pt x="11837" y="9445"/>
                  <a:pt x="11868" y="9179"/>
                  <a:pt x="11759" y="8945"/>
                </a:cubicBezTo>
                <a:cubicBezTo>
                  <a:pt x="11650" y="8695"/>
                  <a:pt x="11430" y="8554"/>
                  <a:pt x="11165" y="8554"/>
                </a:cubicBezTo>
                <a:lnTo>
                  <a:pt x="10336" y="8554"/>
                </a:lnTo>
                <a:lnTo>
                  <a:pt x="12259" y="5755"/>
                </a:lnTo>
                <a:cubicBezTo>
                  <a:pt x="12400" y="5536"/>
                  <a:pt x="12416" y="5270"/>
                  <a:pt x="12306" y="5035"/>
                </a:cubicBezTo>
                <a:cubicBezTo>
                  <a:pt x="12181" y="4817"/>
                  <a:pt x="11946" y="4676"/>
                  <a:pt x="11696" y="4676"/>
                </a:cubicBezTo>
                <a:lnTo>
                  <a:pt x="11681" y="4676"/>
                </a:lnTo>
                <a:lnTo>
                  <a:pt x="7725" y="4676"/>
                </a:lnTo>
                <a:cubicBezTo>
                  <a:pt x="7412" y="4676"/>
                  <a:pt x="7115" y="4863"/>
                  <a:pt x="7005" y="5160"/>
                </a:cubicBezTo>
                <a:lnTo>
                  <a:pt x="4972" y="10680"/>
                </a:lnTo>
                <a:cubicBezTo>
                  <a:pt x="4910" y="10852"/>
                  <a:pt x="4925" y="11056"/>
                  <a:pt x="5051" y="11212"/>
                </a:cubicBezTo>
                <a:cubicBezTo>
                  <a:pt x="5160" y="11368"/>
                  <a:pt x="5332" y="11462"/>
                  <a:pt x="5520" y="11462"/>
                </a:cubicBezTo>
                <a:close/>
                <a:moveTo>
                  <a:pt x="7678" y="5411"/>
                </a:moveTo>
                <a:cubicBezTo>
                  <a:pt x="7693" y="5395"/>
                  <a:pt x="7709" y="5380"/>
                  <a:pt x="7725" y="5380"/>
                </a:cubicBezTo>
                <a:cubicBezTo>
                  <a:pt x="8460" y="5395"/>
                  <a:pt x="10477" y="5380"/>
                  <a:pt x="11650" y="5380"/>
                </a:cubicBezTo>
                <a:lnTo>
                  <a:pt x="9366" y="8710"/>
                </a:lnTo>
                <a:cubicBezTo>
                  <a:pt x="9288" y="8820"/>
                  <a:pt x="9288" y="8960"/>
                  <a:pt x="9351" y="9085"/>
                </a:cubicBezTo>
                <a:cubicBezTo>
                  <a:pt x="9413" y="9195"/>
                  <a:pt x="9523" y="9273"/>
                  <a:pt x="9664" y="9273"/>
                </a:cubicBezTo>
                <a:lnTo>
                  <a:pt x="11055" y="9273"/>
                </a:lnTo>
                <a:lnTo>
                  <a:pt x="6474" y="14652"/>
                </a:lnTo>
                <a:lnTo>
                  <a:pt x="7615" y="11228"/>
                </a:lnTo>
                <a:cubicBezTo>
                  <a:pt x="7647" y="11118"/>
                  <a:pt x="7631" y="10993"/>
                  <a:pt x="7568" y="10899"/>
                </a:cubicBezTo>
                <a:cubicBezTo>
                  <a:pt x="7490" y="10805"/>
                  <a:pt x="7380" y="10759"/>
                  <a:pt x="7271" y="10759"/>
                </a:cubicBezTo>
                <a:lnTo>
                  <a:pt x="5708" y="10759"/>
                </a:lnTo>
                <a:close/>
                <a:moveTo>
                  <a:pt x="11540" y="41908"/>
                </a:moveTo>
                <a:cubicBezTo>
                  <a:pt x="11556" y="41673"/>
                  <a:pt x="11493" y="41439"/>
                  <a:pt x="11337" y="41251"/>
                </a:cubicBezTo>
                <a:lnTo>
                  <a:pt x="9132" y="38530"/>
                </a:lnTo>
                <a:lnTo>
                  <a:pt x="11337" y="35809"/>
                </a:lnTo>
                <a:cubicBezTo>
                  <a:pt x="11493" y="35622"/>
                  <a:pt x="11556" y="35387"/>
                  <a:pt x="11525" y="35153"/>
                </a:cubicBezTo>
                <a:cubicBezTo>
                  <a:pt x="11509" y="34903"/>
                  <a:pt x="11383" y="34699"/>
                  <a:pt x="11196" y="34543"/>
                </a:cubicBezTo>
                <a:cubicBezTo>
                  <a:pt x="11008" y="34386"/>
                  <a:pt x="10774" y="34324"/>
                  <a:pt x="10539" y="34340"/>
                </a:cubicBezTo>
                <a:cubicBezTo>
                  <a:pt x="10305" y="34371"/>
                  <a:pt x="10086" y="34496"/>
                  <a:pt x="9929" y="34683"/>
                </a:cubicBezTo>
                <a:lnTo>
                  <a:pt x="7975" y="37092"/>
                </a:lnTo>
                <a:lnTo>
                  <a:pt x="6004" y="34683"/>
                </a:lnTo>
                <a:cubicBezTo>
                  <a:pt x="5692" y="34293"/>
                  <a:pt x="5129" y="34230"/>
                  <a:pt x="4738" y="34543"/>
                </a:cubicBezTo>
                <a:cubicBezTo>
                  <a:pt x="4550" y="34699"/>
                  <a:pt x="4441" y="34918"/>
                  <a:pt x="4410" y="35153"/>
                </a:cubicBezTo>
                <a:cubicBezTo>
                  <a:pt x="4394" y="35403"/>
                  <a:pt x="4457" y="35637"/>
                  <a:pt x="4613" y="35825"/>
                </a:cubicBezTo>
                <a:lnTo>
                  <a:pt x="6817" y="38530"/>
                </a:lnTo>
                <a:lnTo>
                  <a:pt x="4613" y="41251"/>
                </a:lnTo>
                <a:cubicBezTo>
                  <a:pt x="4457" y="41439"/>
                  <a:pt x="4394" y="41673"/>
                  <a:pt x="4425" y="41924"/>
                </a:cubicBezTo>
                <a:cubicBezTo>
                  <a:pt x="4441" y="42158"/>
                  <a:pt x="4566" y="42377"/>
                  <a:pt x="4753" y="42518"/>
                </a:cubicBezTo>
                <a:cubicBezTo>
                  <a:pt x="4910" y="42659"/>
                  <a:pt x="5113" y="42721"/>
                  <a:pt x="5316" y="42721"/>
                </a:cubicBezTo>
                <a:cubicBezTo>
                  <a:pt x="5598" y="42721"/>
                  <a:pt x="5848" y="42612"/>
                  <a:pt x="6020" y="42392"/>
                </a:cubicBezTo>
                <a:lnTo>
                  <a:pt x="7975" y="39969"/>
                </a:lnTo>
                <a:lnTo>
                  <a:pt x="9929" y="42392"/>
                </a:lnTo>
                <a:cubicBezTo>
                  <a:pt x="10101" y="42596"/>
                  <a:pt x="10367" y="42721"/>
                  <a:pt x="10633" y="42721"/>
                </a:cubicBezTo>
                <a:cubicBezTo>
                  <a:pt x="10852" y="42721"/>
                  <a:pt x="11040" y="42643"/>
                  <a:pt x="11212" y="42518"/>
                </a:cubicBezTo>
                <a:cubicBezTo>
                  <a:pt x="11399" y="42361"/>
                  <a:pt x="11509" y="42158"/>
                  <a:pt x="11540" y="41908"/>
                </a:cubicBezTo>
                <a:close/>
                <a:moveTo>
                  <a:pt x="10821" y="41846"/>
                </a:moveTo>
                <a:cubicBezTo>
                  <a:pt x="10821" y="41892"/>
                  <a:pt x="10789" y="41939"/>
                  <a:pt x="10758" y="41971"/>
                </a:cubicBezTo>
                <a:cubicBezTo>
                  <a:pt x="10711" y="42002"/>
                  <a:pt x="10664" y="42002"/>
                  <a:pt x="10633" y="42002"/>
                </a:cubicBezTo>
                <a:cubicBezTo>
                  <a:pt x="10586" y="42002"/>
                  <a:pt x="10524" y="41986"/>
                  <a:pt x="10492" y="41939"/>
                </a:cubicBezTo>
                <a:lnTo>
                  <a:pt x="8256" y="39171"/>
                </a:lnTo>
                <a:cubicBezTo>
                  <a:pt x="8178" y="39093"/>
                  <a:pt x="8084" y="39046"/>
                  <a:pt x="7975" y="39046"/>
                </a:cubicBezTo>
                <a:cubicBezTo>
                  <a:pt x="7865" y="39046"/>
                  <a:pt x="7772" y="39093"/>
                  <a:pt x="7693" y="39171"/>
                </a:cubicBezTo>
                <a:lnTo>
                  <a:pt x="5457" y="41939"/>
                </a:lnTo>
                <a:cubicBezTo>
                  <a:pt x="5426" y="41986"/>
                  <a:pt x="5379" y="42017"/>
                  <a:pt x="5316" y="42017"/>
                </a:cubicBezTo>
                <a:cubicBezTo>
                  <a:pt x="5285" y="42017"/>
                  <a:pt x="5238" y="42002"/>
                  <a:pt x="5191" y="41971"/>
                </a:cubicBezTo>
                <a:cubicBezTo>
                  <a:pt x="5160" y="41939"/>
                  <a:pt x="5129" y="41892"/>
                  <a:pt x="5129" y="41846"/>
                </a:cubicBezTo>
                <a:cubicBezTo>
                  <a:pt x="5129" y="41798"/>
                  <a:pt x="5145" y="41751"/>
                  <a:pt x="5176" y="41704"/>
                </a:cubicBezTo>
                <a:lnTo>
                  <a:pt x="7552" y="38765"/>
                </a:lnTo>
                <a:cubicBezTo>
                  <a:pt x="7662" y="38624"/>
                  <a:pt x="7662" y="38436"/>
                  <a:pt x="7552" y="38311"/>
                </a:cubicBezTo>
                <a:lnTo>
                  <a:pt x="5160" y="35371"/>
                </a:lnTo>
                <a:cubicBezTo>
                  <a:pt x="5129" y="35324"/>
                  <a:pt x="5113" y="35278"/>
                  <a:pt x="5129" y="35231"/>
                </a:cubicBezTo>
                <a:cubicBezTo>
                  <a:pt x="5129" y="35184"/>
                  <a:pt x="5160" y="35137"/>
                  <a:pt x="5191" y="35106"/>
                </a:cubicBezTo>
                <a:cubicBezTo>
                  <a:pt x="5223" y="35074"/>
                  <a:pt x="5270" y="35059"/>
                  <a:pt x="5316" y="35059"/>
                </a:cubicBezTo>
                <a:cubicBezTo>
                  <a:pt x="5363" y="35059"/>
                  <a:pt x="5426" y="35090"/>
                  <a:pt x="5457" y="35137"/>
                </a:cubicBezTo>
                <a:lnTo>
                  <a:pt x="7693" y="37889"/>
                </a:lnTo>
                <a:cubicBezTo>
                  <a:pt x="7772" y="37983"/>
                  <a:pt x="7865" y="38030"/>
                  <a:pt x="7975" y="38030"/>
                </a:cubicBezTo>
                <a:cubicBezTo>
                  <a:pt x="8084" y="38030"/>
                  <a:pt x="8178" y="37968"/>
                  <a:pt x="8256" y="37889"/>
                </a:cubicBezTo>
                <a:lnTo>
                  <a:pt x="10492" y="35121"/>
                </a:lnTo>
                <a:cubicBezTo>
                  <a:pt x="10524" y="35090"/>
                  <a:pt x="10570" y="35059"/>
                  <a:pt x="10617" y="35059"/>
                </a:cubicBezTo>
                <a:cubicBezTo>
                  <a:pt x="10664" y="35059"/>
                  <a:pt x="10711" y="35059"/>
                  <a:pt x="10758" y="35106"/>
                </a:cubicBezTo>
                <a:cubicBezTo>
                  <a:pt x="10789" y="35137"/>
                  <a:pt x="10821" y="35168"/>
                  <a:pt x="10821" y="35231"/>
                </a:cubicBezTo>
                <a:cubicBezTo>
                  <a:pt x="10821" y="35278"/>
                  <a:pt x="10805" y="35324"/>
                  <a:pt x="10774" y="35356"/>
                </a:cubicBezTo>
                <a:lnTo>
                  <a:pt x="8397" y="38311"/>
                </a:lnTo>
                <a:cubicBezTo>
                  <a:pt x="8288" y="38436"/>
                  <a:pt x="8288" y="38624"/>
                  <a:pt x="8397" y="38765"/>
                </a:cubicBezTo>
                <a:lnTo>
                  <a:pt x="10789" y="41704"/>
                </a:lnTo>
                <a:cubicBezTo>
                  <a:pt x="10821" y="41736"/>
                  <a:pt x="10837" y="41783"/>
                  <a:pt x="10821" y="4184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8983632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Magellan focused icons - 5</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90" name="TextBox 89">
            <a:extLst>
              <a:ext uri="{FF2B5EF4-FFF2-40B4-BE49-F238E27FC236}">
                <a16:creationId xmlns:a16="http://schemas.microsoft.com/office/drawing/2014/main" id="{901890C6-60A8-7547-BDD4-AC59E6328605}"/>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9" name="TextBox 8">
            <a:extLst>
              <a:ext uri="{FF2B5EF4-FFF2-40B4-BE49-F238E27FC236}">
                <a16:creationId xmlns:a16="http://schemas.microsoft.com/office/drawing/2014/main" id="{D5CBFBC0-74A1-1546-BE67-7053D9415964}"/>
              </a:ext>
            </a:extLst>
          </p:cNvPr>
          <p:cNvSpPr txBox="1"/>
          <p:nvPr/>
        </p:nvSpPr>
        <p:spPr>
          <a:xfrm>
            <a:off x="1246187" y="11608034"/>
            <a:ext cx="10944225"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Using AI Serve Next Best Experience</a:t>
            </a:r>
          </a:p>
        </p:txBody>
      </p:sp>
      <p:sp>
        <p:nvSpPr>
          <p:cNvPr id="10" name="TextBox 9">
            <a:extLst>
              <a:ext uri="{FF2B5EF4-FFF2-40B4-BE49-F238E27FC236}">
                <a16:creationId xmlns:a16="http://schemas.microsoft.com/office/drawing/2014/main" id="{8F707DB5-B2F1-C940-A1C8-F13C90FDA06C}"/>
              </a:ext>
            </a:extLst>
          </p:cNvPr>
          <p:cNvSpPr txBox="1"/>
          <p:nvPr/>
        </p:nvSpPr>
        <p:spPr>
          <a:xfrm>
            <a:off x="12192000" y="11608034"/>
            <a:ext cx="10944225"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Using AI to Combine and Analyze all Customer Touchpoints</a:t>
            </a:r>
          </a:p>
        </p:txBody>
      </p:sp>
      <p:sp>
        <p:nvSpPr>
          <p:cNvPr id="11" name="Freeform 10">
            <a:extLst>
              <a:ext uri="{FF2B5EF4-FFF2-40B4-BE49-F238E27FC236}">
                <a16:creationId xmlns:a16="http://schemas.microsoft.com/office/drawing/2014/main" id="{18F5E787-BBB7-6E47-AE0F-CD909995170C}"/>
              </a:ext>
            </a:extLst>
          </p:cNvPr>
          <p:cNvSpPr/>
          <p:nvPr/>
        </p:nvSpPr>
        <p:spPr>
          <a:xfrm>
            <a:off x="1573950" y="3091691"/>
            <a:ext cx="10288696" cy="7133088"/>
          </a:xfrm>
          <a:custGeom>
            <a:avLst/>
            <a:gdLst/>
            <a:ahLst/>
            <a:cxnLst>
              <a:cxn ang="3cd4">
                <a:pos x="hc" y="t"/>
              </a:cxn>
              <a:cxn ang="cd2">
                <a:pos x="l" y="vc"/>
              </a:cxn>
              <a:cxn ang="cd4">
                <a:pos x="hc" y="b"/>
              </a:cxn>
              <a:cxn ang="0">
                <a:pos x="r" y="vc"/>
              </a:cxn>
            </a:cxnLst>
            <a:rect l="l" t="t" r="r" b="b"/>
            <a:pathLst>
              <a:path w="64597" h="44785">
                <a:moveTo>
                  <a:pt x="26364" y="8335"/>
                </a:moveTo>
                <a:lnTo>
                  <a:pt x="26364" y="9930"/>
                </a:lnTo>
                <a:lnTo>
                  <a:pt x="26364" y="11353"/>
                </a:lnTo>
                <a:cubicBezTo>
                  <a:pt x="26364" y="11446"/>
                  <a:pt x="26411" y="11540"/>
                  <a:pt x="26473" y="11603"/>
                </a:cubicBezTo>
                <a:cubicBezTo>
                  <a:pt x="26943" y="12072"/>
                  <a:pt x="27537" y="12338"/>
                  <a:pt x="28147" y="12384"/>
                </a:cubicBezTo>
                <a:lnTo>
                  <a:pt x="28225" y="12744"/>
                </a:lnTo>
                <a:cubicBezTo>
                  <a:pt x="28256" y="12916"/>
                  <a:pt x="28412" y="13026"/>
                  <a:pt x="28569" y="13026"/>
                </a:cubicBezTo>
                <a:cubicBezTo>
                  <a:pt x="28600" y="13026"/>
                  <a:pt x="28616" y="13026"/>
                  <a:pt x="28647" y="13010"/>
                </a:cubicBezTo>
                <a:cubicBezTo>
                  <a:pt x="28835" y="12979"/>
                  <a:pt x="28960" y="12791"/>
                  <a:pt x="28929" y="12588"/>
                </a:cubicBezTo>
                <a:lnTo>
                  <a:pt x="28866" y="12338"/>
                </a:lnTo>
                <a:cubicBezTo>
                  <a:pt x="29367" y="12228"/>
                  <a:pt x="29835" y="11994"/>
                  <a:pt x="30226" y="11603"/>
                </a:cubicBezTo>
                <a:cubicBezTo>
                  <a:pt x="30289" y="11540"/>
                  <a:pt x="30336" y="11446"/>
                  <a:pt x="30336" y="11353"/>
                </a:cubicBezTo>
                <a:lnTo>
                  <a:pt x="30336" y="8335"/>
                </a:lnTo>
                <a:cubicBezTo>
                  <a:pt x="31806" y="7584"/>
                  <a:pt x="32760" y="6067"/>
                  <a:pt x="32760" y="4410"/>
                </a:cubicBezTo>
                <a:cubicBezTo>
                  <a:pt x="32760" y="1986"/>
                  <a:pt x="30774" y="0"/>
                  <a:pt x="28350" y="0"/>
                </a:cubicBezTo>
                <a:cubicBezTo>
                  <a:pt x="27177" y="0"/>
                  <a:pt x="26067" y="454"/>
                  <a:pt x="25238" y="1298"/>
                </a:cubicBezTo>
                <a:cubicBezTo>
                  <a:pt x="24394" y="2126"/>
                  <a:pt x="23940" y="3237"/>
                  <a:pt x="23940" y="4410"/>
                </a:cubicBezTo>
                <a:cubicBezTo>
                  <a:pt x="23940" y="6067"/>
                  <a:pt x="24879" y="7600"/>
                  <a:pt x="26364" y="8335"/>
                </a:cubicBezTo>
                <a:close/>
                <a:moveTo>
                  <a:pt x="27083" y="11196"/>
                </a:moveTo>
                <a:lnTo>
                  <a:pt x="27083" y="10445"/>
                </a:lnTo>
                <a:cubicBezTo>
                  <a:pt x="27381" y="10524"/>
                  <a:pt x="27771" y="10602"/>
                  <a:pt x="28272" y="10602"/>
                </a:cubicBezTo>
                <a:cubicBezTo>
                  <a:pt x="28663" y="10602"/>
                  <a:pt x="29116" y="10540"/>
                  <a:pt x="29617" y="10414"/>
                </a:cubicBezTo>
                <a:lnTo>
                  <a:pt x="29617" y="11196"/>
                </a:lnTo>
                <a:cubicBezTo>
                  <a:pt x="28882" y="11822"/>
                  <a:pt x="27803" y="11822"/>
                  <a:pt x="27083" y="11196"/>
                </a:cubicBezTo>
                <a:close/>
                <a:moveTo>
                  <a:pt x="28350" y="719"/>
                </a:moveTo>
                <a:cubicBezTo>
                  <a:pt x="30383" y="719"/>
                  <a:pt x="32040" y="2377"/>
                  <a:pt x="32040" y="4410"/>
                </a:cubicBezTo>
                <a:cubicBezTo>
                  <a:pt x="32040" y="5864"/>
                  <a:pt x="31165" y="7193"/>
                  <a:pt x="29835" y="7787"/>
                </a:cubicBezTo>
                <a:cubicBezTo>
                  <a:pt x="29695" y="7850"/>
                  <a:pt x="29617" y="7975"/>
                  <a:pt x="29617" y="8116"/>
                </a:cubicBezTo>
                <a:lnTo>
                  <a:pt x="29617" y="9664"/>
                </a:lnTo>
                <a:cubicBezTo>
                  <a:pt x="28960" y="9867"/>
                  <a:pt x="28319" y="9930"/>
                  <a:pt x="27709" y="9836"/>
                </a:cubicBezTo>
                <a:cubicBezTo>
                  <a:pt x="27443" y="9804"/>
                  <a:pt x="27224" y="9742"/>
                  <a:pt x="27083" y="9695"/>
                </a:cubicBezTo>
                <a:lnTo>
                  <a:pt x="27083" y="8116"/>
                </a:lnTo>
                <a:cubicBezTo>
                  <a:pt x="27083" y="7975"/>
                  <a:pt x="26990" y="7850"/>
                  <a:pt x="26865" y="7787"/>
                </a:cubicBezTo>
                <a:cubicBezTo>
                  <a:pt x="25520" y="7193"/>
                  <a:pt x="24659" y="5864"/>
                  <a:pt x="24659" y="4410"/>
                </a:cubicBezTo>
                <a:cubicBezTo>
                  <a:pt x="24659" y="2377"/>
                  <a:pt x="26317" y="719"/>
                  <a:pt x="28350" y="719"/>
                </a:cubicBezTo>
                <a:close/>
                <a:moveTo>
                  <a:pt x="28287" y="1939"/>
                </a:moveTo>
                <a:cubicBezTo>
                  <a:pt x="29710" y="1939"/>
                  <a:pt x="30883" y="3096"/>
                  <a:pt x="30883" y="4519"/>
                </a:cubicBezTo>
                <a:cubicBezTo>
                  <a:pt x="30883" y="4722"/>
                  <a:pt x="31039" y="4879"/>
                  <a:pt x="31227" y="4879"/>
                </a:cubicBezTo>
                <a:cubicBezTo>
                  <a:pt x="31431" y="4879"/>
                  <a:pt x="31587" y="4722"/>
                  <a:pt x="31587" y="4519"/>
                </a:cubicBezTo>
                <a:cubicBezTo>
                  <a:pt x="31587" y="2705"/>
                  <a:pt x="30117" y="1220"/>
                  <a:pt x="28287" y="1220"/>
                </a:cubicBezTo>
                <a:cubicBezTo>
                  <a:pt x="28100" y="1220"/>
                  <a:pt x="27944" y="1376"/>
                  <a:pt x="27944" y="1580"/>
                </a:cubicBezTo>
                <a:cubicBezTo>
                  <a:pt x="27944" y="1783"/>
                  <a:pt x="28100" y="1939"/>
                  <a:pt x="28287" y="1939"/>
                </a:cubicBezTo>
                <a:close/>
                <a:moveTo>
                  <a:pt x="63424" y="23972"/>
                </a:moveTo>
                <a:lnTo>
                  <a:pt x="56075" y="23972"/>
                </a:lnTo>
                <a:cubicBezTo>
                  <a:pt x="55918" y="23972"/>
                  <a:pt x="55762" y="24019"/>
                  <a:pt x="55606" y="24081"/>
                </a:cubicBezTo>
                <a:lnTo>
                  <a:pt x="55590" y="24081"/>
                </a:lnTo>
                <a:cubicBezTo>
                  <a:pt x="55465" y="24128"/>
                  <a:pt x="55340" y="24206"/>
                  <a:pt x="55230" y="24300"/>
                </a:cubicBezTo>
                <a:cubicBezTo>
                  <a:pt x="54980" y="24535"/>
                  <a:pt x="54824" y="24832"/>
                  <a:pt x="54824" y="25144"/>
                </a:cubicBezTo>
                <a:lnTo>
                  <a:pt x="54824" y="27209"/>
                </a:lnTo>
                <a:lnTo>
                  <a:pt x="54511" y="27225"/>
                </a:lnTo>
                <a:cubicBezTo>
                  <a:pt x="54308" y="27256"/>
                  <a:pt x="54167" y="27428"/>
                  <a:pt x="54182" y="27615"/>
                </a:cubicBezTo>
                <a:cubicBezTo>
                  <a:pt x="54198" y="27803"/>
                  <a:pt x="54355" y="27944"/>
                  <a:pt x="54542" y="27944"/>
                </a:cubicBezTo>
                <a:lnTo>
                  <a:pt x="54574" y="27944"/>
                </a:lnTo>
                <a:lnTo>
                  <a:pt x="54824" y="27913"/>
                </a:lnTo>
                <a:lnTo>
                  <a:pt x="54824" y="29585"/>
                </a:lnTo>
                <a:cubicBezTo>
                  <a:pt x="54824" y="30227"/>
                  <a:pt x="55449" y="30836"/>
                  <a:pt x="56075" y="30836"/>
                </a:cubicBezTo>
                <a:lnTo>
                  <a:pt x="63424" y="30836"/>
                </a:lnTo>
                <a:cubicBezTo>
                  <a:pt x="64034" y="30836"/>
                  <a:pt x="64597" y="30242"/>
                  <a:pt x="64597" y="29585"/>
                </a:cubicBezTo>
                <a:lnTo>
                  <a:pt x="64597" y="25144"/>
                </a:lnTo>
                <a:cubicBezTo>
                  <a:pt x="64597" y="24519"/>
                  <a:pt x="64065" y="23972"/>
                  <a:pt x="63424" y="23972"/>
                </a:cubicBezTo>
                <a:close/>
                <a:moveTo>
                  <a:pt x="60375" y="27740"/>
                </a:moveTo>
                <a:cubicBezTo>
                  <a:pt x="60203" y="27928"/>
                  <a:pt x="59984" y="28038"/>
                  <a:pt x="59749" y="28038"/>
                </a:cubicBezTo>
                <a:cubicBezTo>
                  <a:pt x="59515" y="28038"/>
                  <a:pt x="59296" y="27928"/>
                  <a:pt x="59124" y="27740"/>
                </a:cubicBezTo>
                <a:lnTo>
                  <a:pt x="56466" y="24691"/>
                </a:lnTo>
                <a:cubicBezTo>
                  <a:pt x="63033" y="24691"/>
                  <a:pt x="60844" y="24691"/>
                  <a:pt x="63033" y="24691"/>
                </a:cubicBezTo>
                <a:close/>
                <a:moveTo>
                  <a:pt x="63877" y="29585"/>
                </a:moveTo>
                <a:cubicBezTo>
                  <a:pt x="63877" y="29852"/>
                  <a:pt x="63643" y="30117"/>
                  <a:pt x="63424" y="30117"/>
                </a:cubicBezTo>
                <a:lnTo>
                  <a:pt x="56075" y="30117"/>
                </a:lnTo>
                <a:cubicBezTo>
                  <a:pt x="55840" y="30117"/>
                  <a:pt x="55543" y="29836"/>
                  <a:pt x="55543" y="29585"/>
                </a:cubicBezTo>
                <a:lnTo>
                  <a:pt x="55543" y="27537"/>
                </a:lnTo>
                <a:cubicBezTo>
                  <a:pt x="55543" y="25144"/>
                  <a:pt x="55543" y="25942"/>
                  <a:pt x="55543" y="25144"/>
                </a:cubicBezTo>
                <a:cubicBezTo>
                  <a:pt x="55543" y="25051"/>
                  <a:pt x="55590" y="24957"/>
                  <a:pt x="55684" y="24863"/>
                </a:cubicBezTo>
                <a:lnTo>
                  <a:pt x="58092" y="27631"/>
                </a:lnTo>
                <a:lnTo>
                  <a:pt x="56216" y="29414"/>
                </a:lnTo>
                <a:cubicBezTo>
                  <a:pt x="56075" y="29554"/>
                  <a:pt x="56059" y="29789"/>
                  <a:pt x="56200" y="29930"/>
                </a:cubicBezTo>
                <a:cubicBezTo>
                  <a:pt x="56278" y="29992"/>
                  <a:pt x="56372" y="30039"/>
                  <a:pt x="56466" y="30039"/>
                </a:cubicBezTo>
                <a:cubicBezTo>
                  <a:pt x="56544" y="30039"/>
                  <a:pt x="56638" y="30008"/>
                  <a:pt x="56700" y="29930"/>
                </a:cubicBezTo>
                <a:lnTo>
                  <a:pt x="58561" y="28163"/>
                </a:lnTo>
                <a:cubicBezTo>
                  <a:pt x="58592" y="28209"/>
                  <a:pt x="58581" y="28194"/>
                  <a:pt x="58592" y="28209"/>
                </a:cubicBezTo>
                <a:cubicBezTo>
                  <a:pt x="58890" y="28554"/>
                  <a:pt x="59311" y="28741"/>
                  <a:pt x="59749" y="28741"/>
                </a:cubicBezTo>
                <a:cubicBezTo>
                  <a:pt x="60187" y="28741"/>
                  <a:pt x="60594" y="28554"/>
                  <a:pt x="60907" y="28209"/>
                </a:cubicBezTo>
                <a:cubicBezTo>
                  <a:pt x="60938" y="28163"/>
                  <a:pt x="60927" y="28178"/>
                  <a:pt x="60938" y="28163"/>
                </a:cubicBezTo>
                <a:lnTo>
                  <a:pt x="62799" y="29930"/>
                </a:lnTo>
                <a:cubicBezTo>
                  <a:pt x="62861" y="30008"/>
                  <a:pt x="62955" y="30039"/>
                  <a:pt x="63033" y="30039"/>
                </a:cubicBezTo>
                <a:cubicBezTo>
                  <a:pt x="63127" y="30039"/>
                  <a:pt x="63221" y="29992"/>
                  <a:pt x="63299" y="29930"/>
                </a:cubicBezTo>
                <a:cubicBezTo>
                  <a:pt x="63440" y="29789"/>
                  <a:pt x="63424" y="29554"/>
                  <a:pt x="63284" y="29414"/>
                </a:cubicBezTo>
                <a:lnTo>
                  <a:pt x="61407" y="27631"/>
                </a:lnTo>
                <a:lnTo>
                  <a:pt x="63799" y="24910"/>
                </a:lnTo>
                <a:cubicBezTo>
                  <a:pt x="63846" y="24973"/>
                  <a:pt x="63877" y="25051"/>
                  <a:pt x="63877" y="25144"/>
                </a:cubicBezTo>
                <a:close/>
                <a:moveTo>
                  <a:pt x="47224" y="11196"/>
                </a:moveTo>
                <a:cubicBezTo>
                  <a:pt x="47381" y="11321"/>
                  <a:pt x="47599" y="11290"/>
                  <a:pt x="47740" y="11149"/>
                </a:cubicBezTo>
                <a:cubicBezTo>
                  <a:pt x="48334" y="10414"/>
                  <a:pt x="49085" y="9867"/>
                  <a:pt x="49929" y="9539"/>
                </a:cubicBezTo>
                <a:cubicBezTo>
                  <a:pt x="49836" y="9664"/>
                  <a:pt x="49726" y="9804"/>
                  <a:pt x="49632" y="9945"/>
                </a:cubicBezTo>
                <a:cubicBezTo>
                  <a:pt x="49351" y="10367"/>
                  <a:pt x="49116" y="10883"/>
                  <a:pt x="48928" y="11446"/>
                </a:cubicBezTo>
                <a:lnTo>
                  <a:pt x="47975" y="11446"/>
                </a:lnTo>
                <a:cubicBezTo>
                  <a:pt x="47787" y="11446"/>
                  <a:pt x="47615" y="11603"/>
                  <a:pt x="47615" y="11790"/>
                </a:cubicBezTo>
                <a:cubicBezTo>
                  <a:pt x="47615" y="11994"/>
                  <a:pt x="47787" y="12150"/>
                  <a:pt x="47975" y="12150"/>
                </a:cubicBezTo>
                <a:lnTo>
                  <a:pt x="48725" y="12150"/>
                </a:lnTo>
                <a:cubicBezTo>
                  <a:pt x="48616" y="12572"/>
                  <a:pt x="48553" y="13010"/>
                  <a:pt x="48491" y="13464"/>
                </a:cubicBezTo>
                <a:cubicBezTo>
                  <a:pt x="48475" y="13651"/>
                  <a:pt x="48616" y="13839"/>
                  <a:pt x="48819" y="13855"/>
                </a:cubicBezTo>
                <a:lnTo>
                  <a:pt x="48850" y="13855"/>
                </a:lnTo>
                <a:cubicBezTo>
                  <a:pt x="49038" y="13855"/>
                  <a:pt x="49195" y="13714"/>
                  <a:pt x="49210" y="13542"/>
                </a:cubicBezTo>
                <a:cubicBezTo>
                  <a:pt x="49257" y="13057"/>
                  <a:pt x="49351" y="12588"/>
                  <a:pt x="49460" y="12150"/>
                </a:cubicBezTo>
                <a:lnTo>
                  <a:pt x="51602" y="12150"/>
                </a:lnTo>
                <a:lnTo>
                  <a:pt x="51602" y="14277"/>
                </a:lnTo>
                <a:lnTo>
                  <a:pt x="49883" y="14277"/>
                </a:lnTo>
                <a:cubicBezTo>
                  <a:pt x="49679" y="14277"/>
                  <a:pt x="49523" y="14433"/>
                  <a:pt x="49523" y="14621"/>
                </a:cubicBezTo>
                <a:cubicBezTo>
                  <a:pt x="49523" y="14824"/>
                  <a:pt x="49679" y="14980"/>
                  <a:pt x="49883" y="14980"/>
                </a:cubicBezTo>
                <a:lnTo>
                  <a:pt x="51602" y="14980"/>
                </a:lnTo>
                <a:cubicBezTo>
                  <a:pt x="51602" y="16357"/>
                  <a:pt x="51602" y="15898"/>
                  <a:pt x="51602" y="16357"/>
                </a:cubicBezTo>
                <a:cubicBezTo>
                  <a:pt x="51602" y="16560"/>
                  <a:pt x="51759" y="16716"/>
                  <a:pt x="51962" y="16716"/>
                </a:cubicBezTo>
                <a:cubicBezTo>
                  <a:pt x="52150" y="16716"/>
                  <a:pt x="52322" y="16560"/>
                  <a:pt x="52322" y="16357"/>
                </a:cubicBezTo>
                <a:cubicBezTo>
                  <a:pt x="52322" y="14980"/>
                  <a:pt x="52322" y="15439"/>
                  <a:pt x="52322" y="14980"/>
                </a:cubicBezTo>
                <a:lnTo>
                  <a:pt x="54761" y="14980"/>
                </a:lnTo>
                <a:cubicBezTo>
                  <a:pt x="54730" y="15731"/>
                  <a:pt x="54636" y="16450"/>
                  <a:pt x="54449" y="17107"/>
                </a:cubicBezTo>
                <a:lnTo>
                  <a:pt x="53073" y="17107"/>
                </a:lnTo>
                <a:cubicBezTo>
                  <a:pt x="52869" y="17107"/>
                  <a:pt x="52713" y="17279"/>
                  <a:pt x="52713" y="17467"/>
                </a:cubicBezTo>
                <a:cubicBezTo>
                  <a:pt x="52713" y="17670"/>
                  <a:pt x="52869" y="17826"/>
                  <a:pt x="53073" y="17826"/>
                </a:cubicBezTo>
                <a:cubicBezTo>
                  <a:pt x="54229" y="17826"/>
                  <a:pt x="53843" y="17826"/>
                  <a:pt x="54229" y="17826"/>
                </a:cubicBezTo>
                <a:cubicBezTo>
                  <a:pt x="54120" y="18092"/>
                  <a:pt x="54011" y="18343"/>
                  <a:pt x="53886" y="18577"/>
                </a:cubicBezTo>
                <a:cubicBezTo>
                  <a:pt x="53448" y="19390"/>
                  <a:pt x="52900" y="19906"/>
                  <a:pt x="52322" y="20062"/>
                </a:cubicBezTo>
                <a:lnTo>
                  <a:pt x="52322" y="18577"/>
                </a:lnTo>
                <a:cubicBezTo>
                  <a:pt x="52322" y="18389"/>
                  <a:pt x="52150" y="18218"/>
                  <a:pt x="51962" y="18218"/>
                </a:cubicBezTo>
                <a:cubicBezTo>
                  <a:pt x="51759" y="18218"/>
                  <a:pt x="51602" y="18389"/>
                  <a:pt x="51602" y="18577"/>
                </a:cubicBezTo>
                <a:lnTo>
                  <a:pt x="51602" y="20062"/>
                </a:lnTo>
                <a:cubicBezTo>
                  <a:pt x="51102" y="19922"/>
                  <a:pt x="50633" y="19531"/>
                  <a:pt x="50226" y="18906"/>
                </a:cubicBezTo>
                <a:cubicBezTo>
                  <a:pt x="50023" y="18593"/>
                  <a:pt x="49851" y="18233"/>
                  <a:pt x="49695" y="17826"/>
                </a:cubicBezTo>
                <a:lnTo>
                  <a:pt x="50852" y="17826"/>
                </a:lnTo>
                <a:cubicBezTo>
                  <a:pt x="51055" y="17826"/>
                  <a:pt x="51212" y="17670"/>
                  <a:pt x="51212" y="17467"/>
                </a:cubicBezTo>
                <a:cubicBezTo>
                  <a:pt x="51212" y="17279"/>
                  <a:pt x="51055" y="17107"/>
                  <a:pt x="50852" y="17107"/>
                </a:cubicBezTo>
                <a:lnTo>
                  <a:pt x="49460" y="17107"/>
                </a:lnTo>
                <a:cubicBezTo>
                  <a:pt x="49351" y="16669"/>
                  <a:pt x="49257" y="16184"/>
                  <a:pt x="49210" y="15684"/>
                </a:cubicBezTo>
                <a:cubicBezTo>
                  <a:pt x="49179" y="15481"/>
                  <a:pt x="49007" y="15340"/>
                  <a:pt x="48819" y="15356"/>
                </a:cubicBezTo>
                <a:cubicBezTo>
                  <a:pt x="48616" y="15371"/>
                  <a:pt x="48475" y="15559"/>
                  <a:pt x="48491" y="15747"/>
                </a:cubicBezTo>
                <a:cubicBezTo>
                  <a:pt x="48538" y="16216"/>
                  <a:pt x="48616" y="16685"/>
                  <a:pt x="48725" y="17107"/>
                </a:cubicBezTo>
                <a:lnTo>
                  <a:pt x="47083" y="17107"/>
                </a:lnTo>
                <a:cubicBezTo>
                  <a:pt x="46739" y="16450"/>
                  <a:pt x="46536" y="15731"/>
                  <a:pt x="46489" y="14980"/>
                </a:cubicBezTo>
                <a:cubicBezTo>
                  <a:pt x="47662" y="14980"/>
                  <a:pt x="47271" y="14980"/>
                  <a:pt x="47662" y="14980"/>
                </a:cubicBezTo>
                <a:cubicBezTo>
                  <a:pt x="47865" y="14980"/>
                  <a:pt x="48022" y="14824"/>
                  <a:pt x="48022" y="14621"/>
                </a:cubicBezTo>
                <a:cubicBezTo>
                  <a:pt x="48022" y="14433"/>
                  <a:pt x="47865" y="14277"/>
                  <a:pt x="47662" y="14277"/>
                </a:cubicBezTo>
                <a:cubicBezTo>
                  <a:pt x="46489" y="14277"/>
                  <a:pt x="46880" y="14277"/>
                  <a:pt x="46489" y="14277"/>
                </a:cubicBezTo>
                <a:cubicBezTo>
                  <a:pt x="46520" y="13823"/>
                  <a:pt x="46599" y="13385"/>
                  <a:pt x="46739" y="12947"/>
                </a:cubicBezTo>
                <a:cubicBezTo>
                  <a:pt x="46802" y="12760"/>
                  <a:pt x="46693" y="12557"/>
                  <a:pt x="46505" y="12510"/>
                </a:cubicBezTo>
                <a:cubicBezTo>
                  <a:pt x="46317" y="12447"/>
                  <a:pt x="46130" y="12541"/>
                  <a:pt x="46067" y="12729"/>
                </a:cubicBezTo>
                <a:cubicBezTo>
                  <a:pt x="45863" y="13339"/>
                  <a:pt x="45770" y="13980"/>
                  <a:pt x="45770" y="14621"/>
                </a:cubicBezTo>
                <a:cubicBezTo>
                  <a:pt x="45770" y="15700"/>
                  <a:pt x="46036" y="16732"/>
                  <a:pt x="46536" y="17639"/>
                </a:cubicBezTo>
                <a:cubicBezTo>
                  <a:pt x="46551" y="17639"/>
                  <a:pt x="46551" y="17639"/>
                  <a:pt x="46551" y="17655"/>
                </a:cubicBezTo>
                <a:cubicBezTo>
                  <a:pt x="46802" y="18092"/>
                  <a:pt x="47099" y="18499"/>
                  <a:pt x="47459" y="18874"/>
                </a:cubicBezTo>
                <a:lnTo>
                  <a:pt x="47256" y="19062"/>
                </a:lnTo>
                <a:cubicBezTo>
                  <a:pt x="47114" y="19187"/>
                  <a:pt x="47099" y="19421"/>
                  <a:pt x="47224" y="19562"/>
                </a:cubicBezTo>
                <a:cubicBezTo>
                  <a:pt x="47302" y="19640"/>
                  <a:pt x="47396" y="19687"/>
                  <a:pt x="47490" y="19687"/>
                </a:cubicBezTo>
                <a:cubicBezTo>
                  <a:pt x="47584" y="19687"/>
                  <a:pt x="47662" y="19656"/>
                  <a:pt x="47724" y="19594"/>
                </a:cubicBezTo>
                <a:lnTo>
                  <a:pt x="47975" y="19374"/>
                </a:lnTo>
                <a:cubicBezTo>
                  <a:pt x="49085" y="20313"/>
                  <a:pt x="50492" y="20813"/>
                  <a:pt x="51962" y="20813"/>
                </a:cubicBezTo>
                <a:cubicBezTo>
                  <a:pt x="52697" y="20813"/>
                  <a:pt x="53401" y="20688"/>
                  <a:pt x="54089" y="20438"/>
                </a:cubicBezTo>
                <a:cubicBezTo>
                  <a:pt x="54745" y="20203"/>
                  <a:pt x="55355" y="19859"/>
                  <a:pt x="55903" y="19406"/>
                </a:cubicBezTo>
                <a:cubicBezTo>
                  <a:pt x="56481" y="18921"/>
                  <a:pt x="56982" y="18327"/>
                  <a:pt x="57341" y="17670"/>
                </a:cubicBezTo>
                <a:cubicBezTo>
                  <a:pt x="57357" y="17655"/>
                  <a:pt x="57372" y="17639"/>
                  <a:pt x="57388" y="17608"/>
                </a:cubicBezTo>
                <a:cubicBezTo>
                  <a:pt x="57685" y="17076"/>
                  <a:pt x="57904" y="16482"/>
                  <a:pt x="58029" y="15872"/>
                </a:cubicBezTo>
                <a:cubicBezTo>
                  <a:pt x="58060" y="15684"/>
                  <a:pt x="57935" y="15481"/>
                  <a:pt x="57748" y="15449"/>
                </a:cubicBezTo>
                <a:cubicBezTo>
                  <a:pt x="57560" y="15403"/>
                  <a:pt x="57372" y="15528"/>
                  <a:pt x="57326" y="15731"/>
                </a:cubicBezTo>
                <a:cubicBezTo>
                  <a:pt x="57232" y="16216"/>
                  <a:pt x="57060" y="16685"/>
                  <a:pt x="56841" y="17107"/>
                </a:cubicBezTo>
                <a:lnTo>
                  <a:pt x="55199" y="17107"/>
                </a:lnTo>
                <a:cubicBezTo>
                  <a:pt x="55355" y="16450"/>
                  <a:pt x="55449" y="15731"/>
                  <a:pt x="55480" y="14980"/>
                </a:cubicBezTo>
                <a:lnTo>
                  <a:pt x="56559" y="14980"/>
                </a:lnTo>
                <a:cubicBezTo>
                  <a:pt x="56763" y="14980"/>
                  <a:pt x="56919" y="14824"/>
                  <a:pt x="56919" y="14621"/>
                </a:cubicBezTo>
                <a:cubicBezTo>
                  <a:pt x="56919" y="14433"/>
                  <a:pt x="56763" y="14277"/>
                  <a:pt x="56559" y="14277"/>
                </a:cubicBezTo>
                <a:lnTo>
                  <a:pt x="55480" y="14277"/>
                </a:lnTo>
                <a:cubicBezTo>
                  <a:pt x="55465" y="13808"/>
                  <a:pt x="55418" y="13339"/>
                  <a:pt x="55340" y="12885"/>
                </a:cubicBezTo>
                <a:cubicBezTo>
                  <a:pt x="55308" y="12697"/>
                  <a:pt x="55121" y="12557"/>
                  <a:pt x="54933" y="12588"/>
                </a:cubicBezTo>
                <a:cubicBezTo>
                  <a:pt x="54745" y="12619"/>
                  <a:pt x="54605" y="12807"/>
                  <a:pt x="54636" y="13010"/>
                </a:cubicBezTo>
                <a:cubicBezTo>
                  <a:pt x="54699" y="13417"/>
                  <a:pt x="54745" y="13839"/>
                  <a:pt x="54761" y="14277"/>
                </a:cubicBezTo>
                <a:lnTo>
                  <a:pt x="52322" y="14277"/>
                </a:lnTo>
                <a:lnTo>
                  <a:pt x="52322" y="12150"/>
                </a:lnTo>
                <a:lnTo>
                  <a:pt x="53714" y="12150"/>
                </a:lnTo>
                <a:cubicBezTo>
                  <a:pt x="53917" y="12150"/>
                  <a:pt x="54073" y="11994"/>
                  <a:pt x="54073" y="11790"/>
                </a:cubicBezTo>
                <a:cubicBezTo>
                  <a:pt x="54073" y="11603"/>
                  <a:pt x="53917" y="11446"/>
                  <a:pt x="53714" y="11446"/>
                </a:cubicBezTo>
                <a:lnTo>
                  <a:pt x="52322" y="11446"/>
                </a:lnTo>
                <a:cubicBezTo>
                  <a:pt x="52322" y="9194"/>
                  <a:pt x="52322" y="9945"/>
                  <a:pt x="52322" y="9194"/>
                </a:cubicBezTo>
                <a:cubicBezTo>
                  <a:pt x="52963" y="9367"/>
                  <a:pt x="53588" y="9992"/>
                  <a:pt x="54042" y="10977"/>
                </a:cubicBezTo>
                <a:cubicBezTo>
                  <a:pt x="54120" y="11165"/>
                  <a:pt x="54339" y="11243"/>
                  <a:pt x="54511" y="11165"/>
                </a:cubicBezTo>
                <a:cubicBezTo>
                  <a:pt x="54699" y="11071"/>
                  <a:pt x="54777" y="10868"/>
                  <a:pt x="54683" y="10680"/>
                </a:cubicBezTo>
                <a:cubicBezTo>
                  <a:pt x="54480" y="10242"/>
                  <a:pt x="54245" y="9851"/>
                  <a:pt x="53979" y="9539"/>
                </a:cubicBezTo>
                <a:cubicBezTo>
                  <a:pt x="54527" y="9757"/>
                  <a:pt x="55043" y="10055"/>
                  <a:pt x="55496" y="10445"/>
                </a:cubicBezTo>
                <a:cubicBezTo>
                  <a:pt x="55840" y="10743"/>
                  <a:pt x="56153" y="11071"/>
                  <a:pt x="56419" y="11446"/>
                </a:cubicBezTo>
                <a:lnTo>
                  <a:pt x="55934" y="11446"/>
                </a:lnTo>
                <a:cubicBezTo>
                  <a:pt x="55731" y="11446"/>
                  <a:pt x="55575" y="11603"/>
                  <a:pt x="55575" y="11790"/>
                </a:cubicBezTo>
                <a:cubicBezTo>
                  <a:pt x="55575" y="11994"/>
                  <a:pt x="55731" y="12150"/>
                  <a:pt x="55934" y="12150"/>
                </a:cubicBezTo>
                <a:lnTo>
                  <a:pt x="56841" y="12150"/>
                </a:lnTo>
                <a:cubicBezTo>
                  <a:pt x="57091" y="12619"/>
                  <a:pt x="57247" y="13120"/>
                  <a:pt x="57341" y="13651"/>
                </a:cubicBezTo>
                <a:cubicBezTo>
                  <a:pt x="57372" y="13823"/>
                  <a:pt x="57529" y="13948"/>
                  <a:pt x="57701" y="13948"/>
                </a:cubicBezTo>
                <a:cubicBezTo>
                  <a:pt x="57717" y="13948"/>
                  <a:pt x="57748" y="13933"/>
                  <a:pt x="57764" y="13933"/>
                </a:cubicBezTo>
                <a:cubicBezTo>
                  <a:pt x="57951" y="13902"/>
                  <a:pt x="58092" y="13714"/>
                  <a:pt x="58045" y="13526"/>
                </a:cubicBezTo>
                <a:cubicBezTo>
                  <a:pt x="57795" y="12103"/>
                  <a:pt x="57044" y="10821"/>
                  <a:pt x="55950" y="9899"/>
                </a:cubicBezTo>
                <a:cubicBezTo>
                  <a:pt x="54839" y="8960"/>
                  <a:pt x="53416" y="8444"/>
                  <a:pt x="51962" y="8444"/>
                </a:cubicBezTo>
                <a:cubicBezTo>
                  <a:pt x="50101" y="8444"/>
                  <a:pt x="48365" y="9257"/>
                  <a:pt x="47177" y="10696"/>
                </a:cubicBezTo>
                <a:cubicBezTo>
                  <a:pt x="47052" y="10837"/>
                  <a:pt x="47083" y="11071"/>
                  <a:pt x="47224" y="11196"/>
                </a:cubicBezTo>
                <a:close/>
                <a:moveTo>
                  <a:pt x="48928" y="17826"/>
                </a:moveTo>
                <a:cubicBezTo>
                  <a:pt x="49116" y="18374"/>
                  <a:pt x="49351" y="18874"/>
                  <a:pt x="49632" y="19296"/>
                </a:cubicBezTo>
                <a:cubicBezTo>
                  <a:pt x="49726" y="19452"/>
                  <a:pt x="49836" y="19594"/>
                  <a:pt x="49929" y="19719"/>
                </a:cubicBezTo>
                <a:cubicBezTo>
                  <a:pt x="49320" y="19468"/>
                  <a:pt x="48741" y="19109"/>
                  <a:pt x="48240" y="18639"/>
                </a:cubicBezTo>
                <a:cubicBezTo>
                  <a:pt x="48225" y="18639"/>
                  <a:pt x="48209" y="18624"/>
                  <a:pt x="48209" y="18608"/>
                </a:cubicBezTo>
                <a:cubicBezTo>
                  <a:pt x="48162" y="18577"/>
                  <a:pt x="48131" y="18546"/>
                  <a:pt x="48084" y="18499"/>
                </a:cubicBezTo>
                <a:cubicBezTo>
                  <a:pt x="47881" y="18296"/>
                  <a:pt x="47677" y="18061"/>
                  <a:pt x="47521" y="17826"/>
                </a:cubicBezTo>
                <a:close/>
                <a:moveTo>
                  <a:pt x="56403" y="17826"/>
                </a:moveTo>
                <a:cubicBezTo>
                  <a:pt x="56137" y="18201"/>
                  <a:pt x="55809" y="18546"/>
                  <a:pt x="55449" y="18859"/>
                </a:cubicBezTo>
                <a:cubicBezTo>
                  <a:pt x="55012" y="19218"/>
                  <a:pt x="54511" y="19500"/>
                  <a:pt x="53995" y="19719"/>
                </a:cubicBezTo>
                <a:cubicBezTo>
                  <a:pt x="54182" y="19484"/>
                  <a:pt x="54355" y="19218"/>
                  <a:pt x="54511" y="18921"/>
                </a:cubicBezTo>
                <a:cubicBezTo>
                  <a:pt x="54699" y="18593"/>
                  <a:pt x="54855" y="18218"/>
                  <a:pt x="54980" y="17826"/>
                </a:cubicBezTo>
                <a:close/>
                <a:moveTo>
                  <a:pt x="49695" y="11446"/>
                </a:moveTo>
                <a:cubicBezTo>
                  <a:pt x="49836" y="11024"/>
                  <a:pt x="50023" y="10665"/>
                  <a:pt x="50242" y="10336"/>
                </a:cubicBezTo>
                <a:cubicBezTo>
                  <a:pt x="50633" y="9726"/>
                  <a:pt x="51118" y="9336"/>
                  <a:pt x="51602" y="9194"/>
                </a:cubicBezTo>
                <a:cubicBezTo>
                  <a:pt x="51602" y="11446"/>
                  <a:pt x="51602" y="10695"/>
                  <a:pt x="51602" y="11446"/>
                </a:cubicBezTo>
                <a:close/>
                <a:moveTo>
                  <a:pt x="57670" y="14230"/>
                </a:moveTo>
                <a:cubicBezTo>
                  <a:pt x="57419" y="14230"/>
                  <a:pt x="57201" y="14433"/>
                  <a:pt x="57201" y="14699"/>
                </a:cubicBezTo>
                <a:cubicBezTo>
                  <a:pt x="57201" y="14949"/>
                  <a:pt x="57419" y="15153"/>
                  <a:pt x="57670" y="15153"/>
                </a:cubicBezTo>
                <a:cubicBezTo>
                  <a:pt x="57935" y="15153"/>
                  <a:pt x="58139" y="14949"/>
                  <a:pt x="58139" y="14699"/>
                </a:cubicBezTo>
                <a:cubicBezTo>
                  <a:pt x="58139" y="14433"/>
                  <a:pt x="57935" y="14230"/>
                  <a:pt x="57670" y="14230"/>
                </a:cubicBezTo>
                <a:close/>
                <a:moveTo>
                  <a:pt x="55262" y="11681"/>
                </a:moveTo>
                <a:cubicBezTo>
                  <a:pt x="55199" y="11509"/>
                  <a:pt x="55027" y="11368"/>
                  <a:pt x="54824" y="11368"/>
                </a:cubicBezTo>
                <a:cubicBezTo>
                  <a:pt x="54620" y="11368"/>
                  <a:pt x="54449" y="11509"/>
                  <a:pt x="54386" y="11681"/>
                </a:cubicBezTo>
                <a:cubicBezTo>
                  <a:pt x="54355" y="11728"/>
                  <a:pt x="54355" y="11790"/>
                  <a:pt x="54355" y="11838"/>
                </a:cubicBezTo>
                <a:cubicBezTo>
                  <a:pt x="54355" y="12103"/>
                  <a:pt x="54558" y="12306"/>
                  <a:pt x="54824" y="12306"/>
                </a:cubicBezTo>
                <a:cubicBezTo>
                  <a:pt x="55074" y="12306"/>
                  <a:pt x="55293" y="12103"/>
                  <a:pt x="55293" y="11838"/>
                </a:cubicBezTo>
                <a:cubicBezTo>
                  <a:pt x="55293" y="11790"/>
                  <a:pt x="55277" y="11728"/>
                  <a:pt x="55262" y="11681"/>
                </a:cubicBezTo>
                <a:close/>
                <a:moveTo>
                  <a:pt x="51962" y="17936"/>
                </a:moveTo>
                <a:cubicBezTo>
                  <a:pt x="52212" y="17936"/>
                  <a:pt x="52431" y="17733"/>
                  <a:pt x="52431" y="17467"/>
                </a:cubicBezTo>
                <a:cubicBezTo>
                  <a:pt x="52431" y="17217"/>
                  <a:pt x="52212" y="16998"/>
                  <a:pt x="51962" y="16998"/>
                </a:cubicBezTo>
                <a:cubicBezTo>
                  <a:pt x="51697" y="16998"/>
                  <a:pt x="51493" y="17217"/>
                  <a:pt x="51493" y="17467"/>
                </a:cubicBezTo>
                <a:cubicBezTo>
                  <a:pt x="51493" y="17733"/>
                  <a:pt x="51697" y="17936"/>
                  <a:pt x="51962" y="17936"/>
                </a:cubicBezTo>
                <a:close/>
                <a:moveTo>
                  <a:pt x="49241" y="14605"/>
                </a:moveTo>
                <a:cubicBezTo>
                  <a:pt x="49241" y="14355"/>
                  <a:pt x="49022" y="14136"/>
                  <a:pt x="48772" y="14136"/>
                </a:cubicBezTo>
                <a:cubicBezTo>
                  <a:pt x="48507" y="14136"/>
                  <a:pt x="48303" y="14355"/>
                  <a:pt x="48303" y="14605"/>
                </a:cubicBezTo>
                <a:cubicBezTo>
                  <a:pt x="48303" y="14871"/>
                  <a:pt x="48507" y="15074"/>
                  <a:pt x="48772" y="15074"/>
                </a:cubicBezTo>
                <a:cubicBezTo>
                  <a:pt x="49022" y="15074"/>
                  <a:pt x="49241" y="14871"/>
                  <a:pt x="49241" y="14605"/>
                </a:cubicBezTo>
                <a:close/>
                <a:moveTo>
                  <a:pt x="46864" y="12306"/>
                </a:moveTo>
                <a:cubicBezTo>
                  <a:pt x="47130" y="12306"/>
                  <a:pt x="47334" y="12103"/>
                  <a:pt x="47334" y="11838"/>
                </a:cubicBezTo>
                <a:cubicBezTo>
                  <a:pt x="47334" y="11587"/>
                  <a:pt x="47130" y="11368"/>
                  <a:pt x="46864" y="11368"/>
                </a:cubicBezTo>
                <a:cubicBezTo>
                  <a:pt x="46614" y="11368"/>
                  <a:pt x="46395" y="11587"/>
                  <a:pt x="46395" y="11838"/>
                </a:cubicBezTo>
                <a:cubicBezTo>
                  <a:pt x="46395" y="12103"/>
                  <a:pt x="46614" y="12306"/>
                  <a:pt x="46864" y="12306"/>
                </a:cubicBezTo>
                <a:close/>
                <a:moveTo>
                  <a:pt x="3080" y="26364"/>
                </a:moveTo>
                <a:cubicBezTo>
                  <a:pt x="3080" y="25520"/>
                  <a:pt x="2392" y="24832"/>
                  <a:pt x="1532" y="24832"/>
                </a:cubicBezTo>
                <a:cubicBezTo>
                  <a:pt x="688" y="24832"/>
                  <a:pt x="0" y="25520"/>
                  <a:pt x="0" y="26364"/>
                </a:cubicBezTo>
                <a:cubicBezTo>
                  <a:pt x="0" y="27225"/>
                  <a:pt x="688" y="27913"/>
                  <a:pt x="1532" y="27913"/>
                </a:cubicBezTo>
                <a:cubicBezTo>
                  <a:pt x="2392" y="27913"/>
                  <a:pt x="3080" y="27225"/>
                  <a:pt x="3080" y="26364"/>
                </a:cubicBezTo>
                <a:close/>
                <a:moveTo>
                  <a:pt x="703" y="26364"/>
                </a:moveTo>
                <a:cubicBezTo>
                  <a:pt x="703" y="25911"/>
                  <a:pt x="1079" y="25536"/>
                  <a:pt x="1532" y="25536"/>
                </a:cubicBezTo>
                <a:cubicBezTo>
                  <a:pt x="1986" y="25536"/>
                  <a:pt x="2361" y="25911"/>
                  <a:pt x="2361" y="26364"/>
                </a:cubicBezTo>
                <a:cubicBezTo>
                  <a:pt x="2361" y="26818"/>
                  <a:pt x="1986" y="27193"/>
                  <a:pt x="1532" y="27193"/>
                </a:cubicBezTo>
                <a:cubicBezTo>
                  <a:pt x="1079" y="27193"/>
                  <a:pt x="703" y="26818"/>
                  <a:pt x="703" y="26364"/>
                </a:cubicBezTo>
                <a:close/>
                <a:moveTo>
                  <a:pt x="2783" y="23378"/>
                </a:moveTo>
                <a:cubicBezTo>
                  <a:pt x="3628" y="23378"/>
                  <a:pt x="4316" y="22674"/>
                  <a:pt x="4316" y="21829"/>
                </a:cubicBezTo>
                <a:cubicBezTo>
                  <a:pt x="4316" y="20985"/>
                  <a:pt x="3628" y="20297"/>
                  <a:pt x="2783" y="20297"/>
                </a:cubicBezTo>
                <a:cubicBezTo>
                  <a:pt x="1923" y="20297"/>
                  <a:pt x="1235" y="20985"/>
                  <a:pt x="1235" y="21829"/>
                </a:cubicBezTo>
                <a:cubicBezTo>
                  <a:pt x="1235" y="22674"/>
                  <a:pt x="1923" y="23378"/>
                  <a:pt x="2783" y="23378"/>
                </a:cubicBezTo>
                <a:close/>
                <a:moveTo>
                  <a:pt x="2783" y="21001"/>
                </a:moveTo>
                <a:cubicBezTo>
                  <a:pt x="3237" y="21001"/>
                  <a:pt x="3597" y="21376"/>
                  <a:pt x="3597" y="21829"/>
                </a:cubicBezTo>
                <a:cubicBezTo>
                  <a:pt x="3597" y="22283"/>
                  <a:pt x="3237" y="22658"/>
                  <a:pt x="2783" y="22658"/>
                </a:cubicBezTo>
                <a:cubicBezTo>
                  <a:pt x="2314" y="22658"/>
                  <a:pt x="1954" y="22283"/>
                  <a:pt x="1954" y="21829"/>
                </a:cubicBezTo>
                <a:cubicBezTo>
                  <a:pt x="1954" y="21376"/>
                  <a:pt x="2314" y="21001"/>
                  <a:pt x="2783" y="21001"/>
                </a:cubicBezTo>
                <a:close/>
                <a:moveTo>
                  <a:pt x="2783" y="29351"/>
                </a:moveTo>
                <a:cubicBezTo>
                  <a:pt x="1923" y="29351"/>
                  <a:pt x="1235" y="30039"/>
                  <a:pt x="1235" y="30883"/>
                </a:cubicBezTo>
                <a:cubicBezTo>
                  <a:pt x="1235" y="31728"/>
                  <a:pt x="1923" y="32432"/>
                  <a:pt x="2783" y="32432"/>
                </a:cubicBezTo>
                <a:cubicBezTo>
                  <a:pt x="3628" y="32432"/>
                  <a:pt x="4316" y="31728"/>
                  <a:pt x="4316" y="30883"/>
                </a:cubicBezTo>
                <a:cubicBezTo>
                  <a:pt x="4316" y="30039"/>
                  <a:pt x="3628" y="29351"/>
                  <a:pt x="2783" y="29351"/>
                </a:cubicBezTo>
                <a:close/>
                <a:moveTo>
                  <a:pt x="2783" y="31712"/>
                </a:moveTo>
                <a:cubicBezTo>
                  <a:pt x="2314" y="31712"/>
                  <a:pt x="1954" y="31337"/>
                  <a:pt x="1954" y="30883"/>
                </a:cubicBezTo>
                <a:cubicBezTo>
                  <a:pt x="1954" y="30430"/>
                  <a:pt x="2314" y="30055"/>
                  <a:pt x="2783" y="30055"/>
                </a:cubicBezTo>
                <a:cubicBezTo>
                  <a:pt x="3237" y="30055"/>
                  <a:pt x="3597" y="30430"/>
                  <a:pt x="3597" y="30883"/>
                </a:cubicBezTo>
                <a:cubicBezTo>
                  <a:pt x="3597" y="31337"/>
                  <a:pt x="3237" y="31712"/>
                  <a:pt x="2783" y="31712"/>
                </a:cubicBezTo>
                <a:close/>
                <a:moveTo>
                  <a:pt x="7193" y="28334"/>
                </a:moveTo>
                <a:cubicBezTo>
                  <a:pt x="7099" y="28163"/>
                  <a:pt x="6880" y="28100"/>
                  <a:pt x="6708" y="28194"/>
                </a:cubicBezTo>
                <a:lnTo>
                  <a:pt x="6145" y="28522"/>
                </a:lnTo>
                <a:cubicBezTo>
                  <a:pt x="5973" y="28632"/>
                  <a:pt x="5911" y="28851"/>
                  <a:pt x="6004" y="29022"/>
                </a:cubicBezTo>
                <a:cubicBezTo>
                  <a:pt x="6083" y="29132"/>
                  <a:pt x="6192" y="29195"/>
                  <a:pt x="6317" y="29195"/>
                </a:cubicBezTo>
                <a:cubicBezTo>
                  <a:pt x="6380" y="29195"/>
                  <a:pt x="6442" y="29179"/>
                  <a:pt x="6505" y="29148"/>
                </a:cubicBezTo>
                <a:lnTo>
                  <a:pt x="7068" y="28819"/>
                </a:lnTo>
                <a:cubicBezTo>
                  <a:pt x="7240" y="28726"/>
                  <a:pt x="7287" y="28507"/>
                  <a:pt x="7193" y="28334"/>
                </a:cubicBezTo>
                <a:close/>
                <a:moveTo>
                  <a:pt x="5019" y="29179"/>
                </a:moveTo>
                <a:lnTo>
                  <a:pt x="4456" y="29507"/>
                </a:lnTo>
                <a:cubicBezTo>
                  <a:pt x="4285" y="29617"/>
                  <a:pt x="4222" y="29836"/>
                  <a:pt x="4316" y="30008"/>
                </a:cubicBezTo>
                <a:cubicBezTo>
                  <a:pt x="4394" y="30117"/>
                  <a:pt x="4503" y="30180"/>
                  <a:pt x="4628" y="30180"/>
                </a:cubicBezTo>
                <a:cubicBezTo>
                  <a:pt x="4691" y="30180"/>
                  <a:pt x="4753" y="30164"/>
                  <a:pt x="4816" y="30133"/>
                </a:cubicBezTo>
                <a:lnTo>
                  <a:pt x="5379" y="29805"/>
                </a:lnTo>
                <a:cubicBezTo>
                  <a:pt x="5551" y="29695"/>
                  <a:pt x="5598" y="29476"/>
                  <a:pt x="5504" y="29320"/>
                </a:cubicBezTo>
                <a:cubicBezTo>
                  <a:pt x="5410" y="29148"/>
                  <a:pt x="5191" y="29085"/>
                  <a:pt x="5019" y="29179"/>
                </a:cubicBezTo>
                <a:close/>
                <a:moveTo>
                  <a:pt x="8397" y="27225"/>
                </a:moveTo>
                <a:lnTo>
                  <a:pt x="7834" y="27553"/>
                </a:lnTo>
                <a:cubicBezTo>
                  <a:pt x="7662" y="27646"/>
                  <a:pt x="7600" y="27866"/>
                  <a:pt x="7693" y="28038"/>
                </a:cubicBezTo>
                <a:cubicBezTo>
                  <a:pt x="7771" y="28147"/>
                  <a:pt x="7881" y="28209"/>
                  <a:pt x="8006" y="28209"/>
                </a:cubicBezTo>
                <a:cubicBezTo>
                  <a:pt x="8069" y="28209"/>
                  <a:pt x="8131" y="28194"/>
                  <a:pt x="8194" y="28163"/>
                </a:cubicBezTo>
                <a:lnTo>
                  <a:pt x="8757" y="27834"/>
                </a:lnTo>
                <a:cubicBezTo>
                  <a:pt x="8913" y="27740"/>
                  <a:pt x="8976" y="27521"/>
                  <a:pt x="8882" y="27350"/>
                </a:cubicBezTo>
                <a:cubicBezTo>
                  <a:pt x="8772" y="27177"/>
                  <a:pt x="8553" y="27115"/>
                  <a:pt x="8397" y="27225"/>
                </a:cubicBezTo>
                <a:close/>
                <a:moveTo>
                  <a:pt x="8679" y="24801"/>
                </a:moveTo>
                <a:lnTo>
                  <a:pt x="8116" y="24488"/>
                </a:lnTo>
                <a:cubicBezTo>
                  <a:pt x="7943" y="24394"/>
                  <a:pt x="7725" y="24456"/>
                  <a:pt x="7631" y="24629"/>
                </a:cubicBezTo>
                <a:cubicBezTo>
                  <a:pt x="7537" y="24801"/>
                  <a:pt x="7600" y="25019"/>
                  <a:pt x="7771" y="25113"/>
                </a:cubicBezTo>
                <a:lnTo>
                  <a:pt x="8334" y="25426"/>
                </a:lnTo>
                <a:cubicBezTo>
                  <a:pt x="8397" y="25457"/>
                  <a:pt x="8444" y="25473"/>
                  <a:pt x="8506" y="25473"/>
                </a:cubicBezTo>
                <a:cubicBezTo>
                  <a:pt x="8631" y="25473"/>
                  <a:pt x="8757" y="25411"/>
                  <a:pt x="8819" y="25286"/>
                </a:cubicBezTo>
                <a:cubicBezTo>
                  <a:pt x="8913" y="25113"/>
                  <a:pt x="8851" y="24894"/>
                  <a:pt x="8679" y="24801"/>
                </a:cubicBezTo>
                <a:close/>
                <a:moveTo>
                  <a:pt x="4206" y="22737"/>
                </a:moveTo>
                <a:cubicBezTo>
                  <a:pt x="4112" y="22909"/>
                  <a:pt x="4175" y="23127"/>
                  <a:pt x="4347" y="23221"/>
                </a:cubicBezTo>
                <a:lnTo>
                  <a:pt x="4910" y="23534"/>
                </a:lnTo>
                <a:cubicBezTo>
                  <a:pt x="4973" y="23565"/>
                  <a:pt x="5035" y="23581"/>
                  <a:pt x="5098" y="23581"/>
                </a:cubicBezTo>
                <a:cubicBezTo>
                  <a:pt x="5223" y="23581"/>
                  <a:pt x="5332" y="23518"/>
                  <a:pt x="5410" y="23393"/>
                </a:cubicBezTo>
                <a:cubicBezTo>
                  <a:pt x="5504" y="23221"/>
                  <a:pt x="5442" y="23002"/>
                  <a:pt x="5269" y="22909"/>
                </a:cubicBezTo>
                <a:lnTo>
                  <a:pt x="4691" y="22596"/>
                </a:lnTo>
                <a:cubicBezTo>
                  <a:pt x="4519" y="22502"/>
                  <a:pt x="4300" y="22564"/>
                  <a:pt x="4206" y="22737"/>
                </a:cubicBezTo>
                <a:close/>
                <a:moveTo>
                  <a:pt x="6051" y="24160"/>
                </a:moveTo>
                <a:lnTo>
                  <a:pt x="6630" y="24488"/>
                </a:lnTo>
                <a:cubicBezTo>
                  <a:pt x="6677" y="24503"/>
                  <a:pt x="6740" y="24519"/>
                  <a:pt x="6802" y="24519"/>
                </a:cubicBezTo>
                <a:cubicBezTo>
                  <a:pt x="6927" y="24519"/>
                  <a:pt x="7052" y="24456"/>
                  <a:pt x="7115" y="24347"/>
                </a:cubicBezTo>
                <a:cubicBezTo>
                  <a:pt x="7208" y="24175"/>
                  <a:pt x="7146" y="23956"/>
                  <a:pt x="6974" y="23862"/>
                </a:cubicBezTo>
                <a:lnTo>
                  <a:pt x="6395" y="23534"/>
                </a:lnTo>
                <a:cubicBezTo>
                  <a:pt x="6224" y="23440"/>
                  <a:pt x="6020" y="23503"/>
                  <a:pt x="5911" y="23675"/>
                </a:cubicBezTo>
                <a:cubicBezTo>
                  <a:pt x="5817" y="23847"/>
                  <a:pt x="5879" y="24066"/>
                  <a:pt x="6051" y="24160"/>
                </a:cubicBezTo>
                <a:close/>
                <a:moveTo>
                  <a:pt x="7584" y="26677"/>
                </a:moveTo>
                <a:cubicBezTo>
                  <a:pt x="8225" y="26677"/>
                  <a:pt x="8011" y="26677"/>
                  <a:pt x="8225" y="26677"/>
                </a:cubicBezTo>
                <a:cubicBezTo>
                  <a:pt x="8428" y="26677"/>
                  <a:pt x="8584" y="26520"/>
                  <a:pt x="8584" y="26333"/>
                </a:cubicBezTo>
                <a:cubicBezTo>
                  <a:pt x="8584" y="26130"/>
                  <a:pt x="8428" y="25974"/>
                  <a:pt x="8225" y="25974"/>
                </a:cubicBezTo>
                <a:cubicBezTo>
                  <a:pt x="7584" y="25974"/>
                  <a:pt x="7798" y="25974"/>
                  <a:pt x="7584" y="25974"/>
                </a:cubicBezTo>
                <a:cubicBezTo>
                  <a:pt x="7381" y="25974"/>
                  <a:pt x="7224" y="26130"/>
                  <a:pt x="7224" y="26333"/>
                </a:cubicBezTo>
                <a:cubicBezTo>
                  <a:pt x="7224" y="26520"/>
                  <a:pt x="7381" y="26677"/>
                  <a:pt x="7584" y="26677"/>
                </a:cubicBezTo>
                <a:close/>
                <a:moveTo>
                  <a:pt x="3675" y="25974"/>
                </a:moveTo>
                <a:cubicBezTo>
                  <a:pt x="3471" y="25974"/>
                  <a:pt x="3315" y="26130"/>
                  <a:pt x="3315" y="26333"/>
                </a:cubicBezTo>
                <a:cubicBezTo>
                  <a:pt x="3315" y="26520"/>
                  <a:pt x="3471" y="26677"/>
                  <a:pt x="3675" y="26677"/>
                </a:cubicBezTo>
                <a:lnTo>
                  <a:pt x="4331" y="26677"/>
                </a:lnTo>
                <a:cubicBezTo>
                  <a:pt x="4519" y="26677"/>
                  <a:pt x="4691" y="26520"/>
                  <a:pt x="4691" y="26333"/>
                </a:cubicBezTo>
                <a:cubicBezTo>
                  <a:pt x="4691" y="26130"/>
                  <a:pt x="4519" y="25974"/>
                  <a:pt x="4331" y="25974"/>
                </a:cubicBezTo>
                <a:close/>
                <a:moveTo>
                  <a:pt x="6630" y="26333"/>
                </a:moveTo>
                <a:cubicBezTo>
                  <a:pt x="6630" y="26130"/>
                  <a:pt x="6474" y="25974"/>
                  <a:pt x="6286" y="25974"/>
                </a:cubicBezTo>
                <a:lnTo>
                  <a:pt x="5629" y="25974"/>
                </a:lnTo>
                <a:cubicBezTo>
                  <a:pt x="5426" y="25974"/>
                  <a:pt x="5269" y="26130"/>
                  <a:pt x="5269" y="26333"/>
                </a:cubicBezTo>
                <a:cubicBezTo>
                  <a:pt x="5269" y="26520"/>
                  <a:pt x="5426" y="26677"/>
                  <a:pt x="5629" y="26677"/>
                </a:cubicBezTo>
                <a:lnTo>
                  <a:pt x="6286" y="26677"/>
                </a:lnTo>
                <a:cubicBezTo>
                  <a:pt x="6474" y="26677"/>
                  <a:pt x="6630" y="26520"/>
                  <a:pt x="6630" y="26333"/>
                </a:cubicBezTo>
                <a:close/>
                <a:moveTo>
                  <a:pt x="36560" y="11853"/>
                </a:moveTo>
                <a:cubicBezTo>
                  <a:pt x="36606" y="11853"/>
                  <a:pt x="36669" y="11853"/>
                  <a:pt x="36716" y="11822"/>
                </a:cubicBezTo>
                <a:lnTo>
                  <a:pt x="37904" y="11243"/>
                </a:lnTo>
                <a:cubicBezTo>
                  <a:pt x="37904" y="11290"/>
                  <a:pt x="37904" y="11274"/>
                  <a:pt x="37904" y="11290"/>
                </a:cubicBezTo>
                <a:cubicBezTo>
                  <a:pt x="37889" y="11493"/>
                  <a:pt x="38045" y="11650"/>
                  <a:pt x="38249" y="11665"/>
                </a:cubicBezTo>
                <a:cubicBezTo>
                  <a:pt x="38452" y="11665"/>
                  <a:pt x="38608" y="11509"/>
                  <a:pt x="38608" y="11321"/>
                </a:cubicBezTo>
                <a:lnTo>
                  <a:pt x="38624" y="10883"/>
                </a:lnTo>
                <a:lnTo>
                  <a:pt x="39343" y="10524"/>
                </a:lnTo>
                <a:cubicBezTo>
                  <a:pt x="39374" y="10508"/>
                  <a:pt x="39405" y="10492"/>
                  <a:pt x="39437" y="10461"/>
                </a:cubicBezTo>
                <a:lnTo>
                  <a:pt x="44957" y="4926"/>
                </a:lnTo>
                <a:lnTo>
                  <a:pt x="45770" y="4113"/>
                </a:lnTo>
                <a:cubicBezTo>
                  <a:pt x="46051" y="3831"/>
                  <a:pt x="46239" y="3487"/>
                  <a:pt x="46270" y="3112"/>
                </a:cubicBezTo>
                <a:cubicBezTo>
                  <a:pt x="46317" y="2721"/>
                  <a:pt x="46208" y="2361"/>
                  <a:pt x="45958" y="2095"/>
                </a:cubicBezTo>
                <a:cubicBezTo>
                  <a:pt x="45692" y="1845"/>
                  <a:pt x="45332" y="1736"/>
                  <a:pt x="44941" y="1783"/>
                </a:cubicBezTo>
                <a:cubicBezTo>
                  <a:pt x="44581" y="1814"/>
                  <a:pt x="44222" y="2001"/>
                  <a:pt x="43940" y="2283"/>
                </a:cubicBezTo>
                <a:lnTo>
                  <a:pt x="43174" y="3049"/>
                </a:lnTo>
                <a:lnTo>
                  <a:pt x="42314" y="3909"/>
                </a:lnTo>
                <a:lnTo>
                  <a:pt x="37592" y="8616"/>
                </a:lnTo>
                <a:cubicBezTo>
                  <a:pt x="37561" y="8648"/>
                  <a:pt x="37544" y="8679"/>
                  <a:pt x="37529" y="8726"/>
                </a:cubicBezTo>
                <a:lnTo>
                  <a:pt x="36231" y="11337"/>
                </a:lnTo>
                <a:cubicBezTo>
                  <a:pt x="36168" y="11478"/>
                  <a:pt x="36200" y="11650"/>
                  <a:pt x="36294" y="11759"/>
                </a:cubicBezTo>
                <a:cubicBezTo>
                  <a:pt x="36372" y="11822"/>
                  <a:pt x="36466" y="11853"/>
                  <a:pt x="36560" y="11853"/>
                </a:cubicBezTo>
                <a:close/>
                <a:moveTo>
                  <a:pt x="42564" y="4660"/>
                </a:moveTo>
                <a:lnTo>
                  <a:pt x="43393" y="5489"/>
                </a:lnTo>
                <a:lnTo>
                  <a:pt x="39265" y="9617"/>
                </a:lnTo>
                <a:lnTo>
                  <a:pt x="38436" y="8788"/>
                </a:lnTo>
                <a:close/>
                <a:moveTo>
                  <a:pt x="43549" y="3690"/>
                </a:moveTo>
                <a:lnTo>
                  <a:pt x="44362" y="4503"/>
                </a:lnTo>
                <a:lnTo>
                  <a:pt x="43893" y="4988"/>
                </a:lnTo>
                <a:lnTo>
                  <a:pt x="43065" y="4160"/>
                </a:lnTo>
                <a:close/>
                <a:moveTo>
                  <a:pt x="45019" y="2486"/>
                </a:moveTo>
                <a:cubicBezTo>
                  <a:pt x="45129" y="2471"/>
                  <a:pt x="45317" y="2471"/>
                  <a:pt x="45442" y="2611"/>
                </a:cubicBezTo>
                <a:cubicBezTo>
                  <a:pt x="45676" y="2831"/>
                  <a:pt x="45582" y="3299"/>
                  <a:pt x="45270" y="3612"/>
                </a:cubicBezTo>
                <a:lnTo>
                  <a:pt x="44879" y="4003"/>
                </a:lnTo>
                <a:lnTo>
                  <a:pt x="44050" y="3174"/>
                </a:lnTo>
                <a:lnTo>
                  <a:pt x="44441" y="2783"/>
                </a:lnTo>
                <a:cubicBezTo>
                  <a:pt x="44612" y="2627"/>
                  <a:pt x="44816" y="2518"/>
                  <a:pt x="45019" y="2486"/>
                </a:cubicBezTo>
                <a:close/>
                <a:moveTo>
                  <a:pt x="37998" y="9367"/>
                </a:moveTo>
                <a:lnTo>
                  <a:pt x="38686" y="10055"/>
                </a:lnTo>
                <a:lnTo>
                  <a:pt x="38123" y="10336"/>
                </a:lnTo>
                <a:lnTo>
                  <a:pt x="38107" y="10336"/>
                </a:lnTo>
                <a:lnTo>
                  <a:pt x="37341" y="10712"/>
                </a:lnTo>
                <a:close/>
                <a:moveTo>
                  <a:pt x="8334" y="15716"/>
                </a:moveTo>
                <a:cubicBezTo>
                  <a:pt x="8819" y="16075"/>
                  <a:pt x="9429" y="16262"/>
                  <a:pt x="9992" y="16262"/>
                </a:cubicBezTo>
                <a:lnTo>
                  <a:pt x="17201" y="16262"/>
                </a:lnTo>
                <a:lnTo>
                  <a:pt x="17216" y="16262"/>
                </a:lnTo>
                <a:cubicBezTo>
                  <a:pt x="17998" y="16231"/>
                  <a:pt x="18639" y="15981"/>
                  <a:pt x="19124" y="15574"/>
                </a:cubicBezTo>
                <a:lnTo>
                  <a:pt x="19343" y="15778"/>
                </a:lnTo>
                <a:cubicBezTo>
                  <a:pt x="19421" y="15841"/>
                  <a:pt x="19499" y="15872"/>
                  <a:pt x="19593" y="15872"/>
                </a:cubicBezTo>
                <a:cubicBezTo>
                  <a:pt x="19687" y="15872"/>
                  <a:pt x="19781" y="15825"/>
                  <a:pt x="19859" y="15747"/>
                </a:cubicBezTo>
                <a:cubicBezTo>
                  <a:pt x="19984" y="15606"/>
                  <a:pt x="19968" y="15371"/>
                  <a:pt x="19828" y="15246"/>
                </a:cubicBezTo>
                <a:cubicBezTo>
                  <a:pt x="19578" y="15028"/>
                  <a:pt x="19661" y="15101"/>
                  <a:pt x="19578" y="15028"/>
                </a:cubicBezTo>
                <a:cubicBezTo>
                  <a:pt x="19859" y="14574"/>
                  <a:pt x="20000" y="14042"/>
                  <a:pt x="20000" y="13432"/>
                </a:cubicBezTo>
                <a:cubicBezTo>
                  <a:pt x="20000" y="12635"/>
                  <a:pt x="19687" y="11931"/>
                  <a:pt x="19093" y="11415"/>
                </a:cubicBezTo>
                <a:cubicBezTo>
                  <a:pt x="18858" y="11196"/>
                  <a:pt x="18608" y="11055"/>
                  <a:pt x="18436" y="10962"/>
                </a:cubicBezTo>
                <a:cubicBezTo>
                  <a:pt x="18421" y="10883"/>
                  <a:pt x="18421" y="10821"/>
                  <a:pt x="18421" y="10790"/>
                </a:cubicBezTo>
                <a:cubicBezTo>
                  <a:pt x="18483" y="10195"/>
                  <a:pt x="18358" y="9601"/>
                  <a:pt x="18061" y="9069"/>
                </a:cubicBezTo>
                <a:cubicBezTo>
                  <a:pt x="17764" y="8553"/>
                  <a:pt x="17341" y="8116"/>
                  <a:pt x="16810" y="7834"/>
                </a:cubicBezTo>
                <a:cubicBezTo>
                  <a:pt x="16247" y="7522"/>
                  <a:pt x="15543" y="7381"/>
                  <a:pt x="14839" y="7412"/>
                </a:cubicBezTo>
                <a:cubicBezTo>
                  <a:pt x="14120" y="7459"/>
                  <a:pt x="13448" y="7709"/>
                  <a:pt x="12916" y="8116"/>
                </a:cubicBezTo>
                <a:cubicBezTo>
                  <a:pt x="12697" y="8288"/>
                  <a:pt x="12478" y="8538"/>
                  <a:pt x="12337" y="8741"/>
                </a:cubicBezTo>
                <a:cubicBezTo>
                  <a:pt x="12259" y="8694"/>
                  <a:pt x="12181" y="8648"/>
                  <a:pt x="12072" y="8601"/>
                </a:cubicBezTo>
                <a:cubicBezTo>
                  <a:pt x="11681" y="8397"/>
                  <a:pt x="11243" y="8319"/>
                  <a:pt x="10821" y="8350"/>
                </a:cubicBezTo>
                <a:cubicBezTo>
                  <a:pt x="10414" y="8381"/>
                  <a:pt x="10023" y="8522"/>
                  <a:pt x="9679" y="8757"/>
                </a:cubicBezTo>
                <a:cubicBezTo>
                  <a:pt x="8960" y="9242"/>
                  <a:pt x="8584" y="10024"/>
                  <a:pt x="8663" y="10852"/>
                </a:cubicBezTo>
                <a:lnTo>
                  <a:pt x="8663" y="10993"/>
                </a:lnTo>
                <a:cubicBezTo>
                  <a:pt x="8397" y="11149"/>
                  <a:pt x="7912" y="11446"/>
                  <a:pt x="7521" y="12259"/>
                </a:cubicBezTo>
                <a:cubicBezTo>
                  <a:pt x="7255" y="12838"/>
                  <a:pt x="7177" y="13510"/>
                  <a:pt x="7302" y="14136"/>
                </a:cubicBezTo>
                <a:cubicBezTo>
                  <a:pt x="7443" y="14777"/>
                  <a:pt x="7803" y="15356"/>
                  <a:pt x="8334" y="15716"/>
                </a:cubicBezTo>
                <a:close/>
                <a:moveTo>
                  <a:pt x="8178" y="12557"/>
                </a:moveTo>
                <a:cubicBezTo>
                  <a:pt x="8475" y="11916"/>
                  <a:pt x="8835" y="11728"/>
                  <a:pt x="9038" y="11603"/>
                </a:cubicBezTo>
                <a:cubicBezTo>
                  <a:pt x="9179" y="11525"/>
                  <a:pt x="9304" y="11462"/>
                  <a:pt x="9367" y="11290"/>
                </a:cubicBezTo>
                <a:cubicBezTo>
                  <a:pt x="9367" y="11259"/>
                  <a:pt x="9382" y="11212"/>
                  <a:pt x="9382" y="11165"/>
                </a:cubicBezTo>
                <a:cubicBezTo>
                  <a:pt x="9382" y="11055"/>
                  <a:pt x="9382" y="10852"/>
                  <a:pt x="9367" y="10790"/>
                </a:cubicBezTo>
                <a:cubicBezTo>
                  <a:pt x="9320" y="10227"/>
                  <a:pt x="9585" y="9679"/>
                  <a:pt x="10070" y="9351"/>
                </a:cubicBezTo>
                <a:cubicBezTo>
                  <a:pt x="10367" y="9148"/>
                  <a:pt x="10696" y="9054"/>
                  <a:pt x="11008" y="9054"/>
                </a:cubicBezTo>
                <a:cubicBezTo>
                  <a:pt x="11259" y="9054"/>
                  <a:pt x="11509" y="9116"/>
                  <a:pt x="11759" y="9226"/>
                </a:cubicBezTo>
                <a:cubicBezTo>
                  <a:pt x="12009" y="9367"/>
                  <a:pt x="12119" y="9461"/>
                  <a:pt x="12134" y="9476"/>
                </a:cubicBezTo>
                <a:cubicBezTo>
                  <a:pt x="12197" y="9570"/>
                  <a:pt x="12306" y="9617"/>
                  <a:pt x="12431" y="9617"/>
                </a:cubicBezTo>
                <a:cubicBezTo>
                  <a:pt x="12541" y="9617"/>
                  <a:pt x="12650" y="9554"/>
                  <a:pt x="12713" y="9445"/>
                </a:cubicBezTo>
                <a:cubicBezTo>
                  <a:pt x="12807" y="9304"/>
                  <a:pt x="13104" y="8882"/>
                  <a:pt x="13354" y="8679"/>
                </a:cubicBezTo>
                <a:cubicBezTo>
                  <a:pt x="13760" y="8366"/>
                  <a:pt x="14308" y="8163"/>
                  <a:pt x="14886" y="8131"/>
                </a:cubicBezTo>
                <a:cubicBezTo>
                  <a:pt x="15449" y="8100"/>
                  <a:pt x="16012" y="8210"/>
                  <a:pt x="16482" y="8460"/>
                </a:cubicBezTo>
                <a:cubicBezTo>
                  <a:pt x="17295" y="8913"/>
                  <a:pt x="17795" y="9820"/>
                  <a:pt x="17717" y="10743"/>
                </a:cubicBezTo>
                <a:cubicBezTo>
                  <a:pt x="17717" y="10758"/>
                  <a:pt x="17701" y="10790"/>
                  <a:pt x="17717" y="11212"/>
                </a:cubicBezTo>
                <a:cubicBezTo>
                  <a:pt x="17733" y="11368"/>
                  <a:pt x="17826" y="11493"/>
                  <a:pt x="17967" y="11540"/>
                </a:cubicBezTo>
                <a:cubicBezTo>
                  <a:pt x="17983" y="11540"/>
                  <a:pt x="19280" y="12009"/>
                  <a:pt x="19280" y="13432"/>
                </a:cubicBezTo>
                <a:cubicBezTo>
                  <a:pt x="19280" y="13995"/>
                  <a:pt x="19140" y="14465"/>
                  <a:pt x="18858" y="14824"/>
                </a:cubicBezTo>
                <a:cubicBezTo>
                  <a:pt x="18842" y="14824"/>
                  <a:pt x="18842" y="14824"/>
                  <a:pt x="18842" y="14840"/>
                </a:cubicBezTo>
                <a:cubicBezTo>
                  <a:pt x="18827" y="14840"/>
                  <a:pt x="18811" y="14855"/>
                  <a:pt x="18811" y="14871"/>
                </a:cubicBezTo>
                <a:lnTo>
                  <a:pt x="18780" y="14902"/>
                </a:lnTo>
                <a:cubicBezTo>
                  <a:pt x="18421" y="15293"/>
                  <a:pt x="17889" y="15512"/>
                  <a:pt x="17185" y="15559"/>
                </a:cubicBezTo>
                <a:lnTo>
                  <a:pt x="9992" y="15559"/>
                </a:lnTo>
                <a:cubicBezTo>
                  <a:pt x="9585" y="15559"/>
                  <a:pt x="9116" y="15403"/>
                  <a:pt x="8741" y="15137"/>
                </a:cubicBezTo>
                <a:cubicBezTo>
                  <a:pt x="8366" y="14871"/>
                  <a:pt x="8100" y="14465"/>
                  <a:pt x="8006" y="13980"/>
                </a:cubicBezTo>
                <a:cubicBezTo>
                  <a:pt x="7896" y="13510"/>
                  <a:pt x="7959" y="13010"/>
                  <a:pt x="8178" y="12557"/>
                </a:cubicBezTo>
                <a:close/>
                <a:moveTo>
                  <a:pt x="53714" y="33995"/>
                </a:moveTo>
                <a:cubicBezTo>
                  <a:pt x="52290" y="33995"/>
                  <a:pt x="50961" y="34543"/>
                  <a:pt x="49961" y="35544"/>
                </a:cubicBezTo>
                <a:cubicBezTo>
                  <a:pt x="49445" y="36059"/>
                  <a:pt x="49053" y="36669"/>
                  <a:pt x="48788" y="37326"/>
                </a:cubicBezTo>
                <a:lnTo>
                  <a:pt x="48522" y="37216"/>
                </a:lnTo>
                <a:cubicBezTo>
                  <a:pt x="48334" y="37154"/>
                  <a:pt x="48131" y="37248"/>
                  <a:pt x="48069" y="37420"/>
                </a:cubicBezTo>
                <a:cubicBezTo>
                  <a:pt x="47990" y="37608"/>
                  <a:pt x="48084" y="37811"/>
                  <a:pt x="48272" y="37889"/>
                </a:cubicBezTo>
                <a:cubicBezTo>
                  <a:pt x="48569" y="37998"/>
                  <a:pt x="48470" y="37962"/>
                  <a:pt x="48569" y="37998"/>
                </a:cubicBezTo>
                <a:cubicBezTo>
                  <a:pt x="48459" y="38421"/>
                  <a:pt x="48412" y="38859"/>
                  <a:pt x="48412" y="39296"/>
                </a:cubicBezTo>
                <a:cubicBezTo>
                  <a:pt x="48412" y="40313"/>
                  <a:pt x="48694" y="41282"/>
                  <a:pt x="49226" y="42127"/>
                </a:cubicBezTo>
                <a:lnTo>
                  <a:pt x="48616" y="44019"/>
                </a:lnTo>
                <a:cubicBezTo>
                  <a:pt x="48569" y="44144"/>
                  <a:pt x="48616" y="44284"/>
                  <a:pt x="48710" y="44378"/>
                </a:cubicBezTo>
                <a:cubicBezTo>
                  <a:pt x="48803" y="44472"/>
                  <a:pt x="48944" y="44504"/>
                  <a:pt x="49069" y="44456"/>
                </a:cubicBezTo>
                <a:lnTo>
                  <a:pt x="50977" y="43846"/>
                </a:lnTo>
                <a:cubicBezTo>
                  <a:pt x="51806" y="44347"/>
                  <a:pt x="52744" y="44597"/>
                  <a:pt x="53714" y="44597"/>
                </a:cubicBezTo>
                <a:cubicBezTo>
                  <a:pt x="55137" y="44597"/>
                  <a:pt x="56466" y="44050"/>
                  <a:pt x="57466" y="43049"/>
                </a:cubicBezTo>
                <a:cubicBezTo>
                  <a:pt x="58467" y="42049"/>
                  <a:pt x="59015" y="40719"/>
                  <a:pt x="59015" y="39296"/>
                </a:cubicBezTo>
                <a:cubicBezTo>
                  <a:pt x="59015" y="37889"/>
                  <a:pt x="58467" y="36544"/>
                  <a:pt x="57466" y="35544"/>
                </a:cubicBezTo>
                <a:cubicBezTo>
                  <a:pt x="56466" y="34543"/>
                  <a:pt x="55137" y="33995"/>
                  <a:pt x="53714" y="33995"/>
                </a:cubicBezTo>
                <a:close/>
                <a:moveTo>
                  <a:pt x="56951" y="42549"/>
                </a:moveTo>
                <a:cubicBezTo>
                  <a:pt x="56090" y="43409"/>
                  <a:pt x="54933" y="43894"/>
                  <a:pt x="53714" y="43894"/>
                </a:cubicBezTo>
                <a:cubicBezTo>
                  <a:pt x="52822" y="43894"/>
                  <a:pt x="51962" y="43628"/>
                  <a:pt x="51212" y="43143"/>
                </a:cubicBezTo>
                <a:cubicBezTo>
                  <a:pt x="51149" y="43112"/>
                  <a:pt x="51087" y="43096"/>
                  <a:pt x="51024" y="43096"/>
                </a:cubicBezTo>
                <a:cubicBezTo>
                  <a:pt x="50961" y="43096"/>
                  <a:pt x="50899" y="43112"/>
                  <a:pt x="50836" y="43143"/>
                </a:cubicBezTo>
                <a:lnTo>
                  <a:pt x="49507" y="43565"/>
                </a:lnTo>
                <a:lnTo>
                  <a:pt x="49961" y="42189"/>
                </a:lnTo>
                <a:cubicBezTo>
                  <a:pt x="49992" y="42080"/>
                  <a:pt x="49976" y="41970"/>
                  <a:pt x="49914" y="41876"/>
                </a:cubicBezTo>
                <a:cubicBezTo>
                  <a:pt x="49398" y="41110"/>
                  <a:pt x="49116" y="40219"/>
                  <a:pt x="49116" y="39296"/>
                </a:cubicBezTo>
                <a:cubicBezTo>
                  <a:pt x="49116" y="38827"/>
                  <a:pt x="49195" y="38358"/>
                  <a:pt x="49335" y="37920"/>
                </a:cubicBezTo>
                <a:cubicBezTo>
                  <a:pt x="49335" y="37904"/>
                  <a:pt x="49351" y="37889"/>
                  <a:pt x="49351" y="37873"/>
                </a:cubicBezTo>
                <a:cubicBezTo>
                  <a:pt x="49570" y="37201"/>
                  <a:pt x="49945" y="36575"/>
                  <a:pt x="50461" y="36059"/>
                </a:cubicBezTo>
                <a:cubicBezTo>
                  <a:pt x="51337" y="35184"/>
                  <a:pt x="52494" y="34714"/>
                  <a:pt x="53714" y="34714"/>
                </a:cubicBezTo>
                <a:cubicBezTo>
                  <a:pt x="54933" y="34714"/>
                  <a:pt x="56090" y="35184"/>
                  <a:pt x="56951" y="36059"/>
                </a:cubicBezTo>
                <a:cubicBezTo>
                  <a:pt x="57826" y="36920"/>
                  <a:pt x="58295" y="38076"/>
                  <a:pt x="58295" y="39296"/>
                </a:cubicBezTo>
                <a:cubicBezTo>
                  <a:pt x="58295" y="40531"/>
                  <a:pt x="57826" y="41673"/>
                  <a:pt x="56951" y="42549"/>
                </a:cubicBezTo>
                <a:close/>
                <a:moveTo>
                  <a:pt x="50023" y="38968"/>
                </a:moveTo>
                <a:cubicBezTo>
                  <a:pt x="49836" y="38968"/>
                  <a:pt x="49663" y="39124"/>
                  <a:pt x="49663" y="39312"/>
                </a:cubicBezTo>
                <a:cubicBezTo>
                  <a:pt x="49663" y="39515"/>
                  <a:pt x="49836" y="39672"/>
                  <a:pt x="50023" y="39672"/>
                </a:cubicBezTo>
                <a:lnTo>
                  <a:pt x="57263" y="39672"/>
                </a:lnTo>
                <a:cubicBezTo>
                  <a:pt x="57466" y="39672"/>
                  <a:pt x="57623" y="39515"/>
                  <a:pt x="57623" y="39312"/>
                </a:cubicBezTo>
                <a:cubicBezTo>
                  <a:pt x="57623" y="39124"/>
                  <a:pt x="57466" y="38968"/>
                  <a:pt x="57263" y="38968"/>
                </a:cubicBezTo>
                <a:close/>
                <a:moveTo>
                  <a:pt x="56951" y="40500"/>
                </a:moveTo>
                <a:lnTo>
                  <a:pt x="50336" y="40500"/>
                </a:lnTo>
                <a:cubicBezTo>
                  <a:pt x="50133" y="40500"/>
                  <a:pt x="49976" y="40657"/>
                  <a:pt x="49976" y="40860"/>
                </a:cubicBezTo>
                <a:cubicBezTo>
                  <a:pt x="49976" y="41048"/>
                  <a:pt x="50133" y="41219"/>
                  <a:pt x="50336" y="41219"/>
                </a:cubicBezTo>
                <a:lnTo>
                  <a:pt x="56951" y="41219"/>
                </a:lnTo>
                <a:cubicBezTo>
                  <a:pt x="57154" y="41219"/>
                  <a:pt x="57310" y="41048"/>
                  <a:pt x="57310" y="40860"/>
                </a:cubicBezTo>
                <a:cubicBezTo>
                  <a:pt x="57310" y="40657"/>
                  <a:pt x="57154" y="40500"/>
                  <a:pt x="56951" y="40500"/>
                </a:cubicBezTo>
                <a:close/>
                <a:moveTo>
                  <a:pt x="50336" y="37420"/>
                </a:moveTo>
                <a:cubicBezTo>
                  <a:pt x="50133" y="37420"/>
                  <a:pt x="49976" y="37576"/>
                  <a:pt x="49976" y="37779"/>
                </a:cubicBezTo>
                <a:cubicBezTo>
                  <a:pt x="49976" y="37967"/>
                  <a:pt x="50133" y="38139"/>
                  <a:pt x="50336" y="38139"/>
                </a:cubicBezTo>
                <a:lnTo>
                  <a:pt x="56951" y="38139"/>
                </a:lnTo>
                <a:cubicBezTo>
                  <a:pt x="57154" y="38139"/>
                  <a:pt x="57310" y="37967"/>
                  <a:pt x="57310" y="37779"/>
                </a:cubicBezTo>
                <a:cubicBezTo>
                  <a:pt x="57310" y="37576"/>
                  <a:pt x="57154" y="37420"/>
                  <a:pt x="56951" y="37420"/>
                </a:cubicBezTo>
                <a:close/>
                <a:moveTo>
                  <a:pt x="16575" y="38561"/>
                </a:moveTo>
                <a:lnTo>
                  <a:pt x="16012" y="38561"/>
                </a:lnTo>
                <a:cubicBezTo>
                  <a:pt x="15934" y="38249"/>
                  <a:pt x="15809" y="37951"/>
                  <a:pt x="15652" y="37670"/>
                </a:cubicBezTo>
                <a:lnTo>
                  <a:pt x="16044" y="37279"/>
                </a:lnTo>
                <a:cubicBezTo>
                  <a:pt x="16294" y="37029"/>
                  <a:pt x="16294" y="36607"/>
                  <a:pt x="16044" y="36357"/>
                </a:cubicBezTo>
                <a:cubicBezTo>
                  <a:pt x="16028" y="36357"/>
                  <a:pt x="16033" y="36357"/>
                  <a:pt x="16028" y="36357"/>
                </a:cubicBezTo>
                <a:lnTo>
                  <a:pt x="16247" y="36153"/>
                </a:lnTo>
                <a:cubicBezTo>
                  <a:pt x="16388" y="36028"/>
                  <a:pt x="16388" y="35794"/>
                  <a:pt x="16247" y="35653"/>
                </a:cubicBezTo>
                <a:cubicBezTo>
                  <a:pt x="16122" y="35512"/>
                  <a:pt x="15887" y="35496"/>
                  <a:pt x="15747" y="35637"/>
                </a:cubicBezTo>
                <a:lnTo>
                  <a:pt x="15527" y="35856"/>
                </a:lnTo>
                <a:lnTo>
                  <a:pt x="15402" y="35731"/>
                </a:lnTo>
                <a:cubicBezTo>
                  <a:pt x="15277" y="35606"/>
                  <a:pt x="15121" y="35544"/>
                  <a:pt x="14949" y="35544"/>
                </a:cubicBezTo>
                <a:cubicBezTo>
                  <a:pt x="14761" y="35544"/>
                  <a:pt x="14605" y="35606"/>
                  <a:pt x="14480" y="35731"/>
                </a:cubicBezTo>
                <a:cubicBezTo>
                  <a:pt x="14089" y="36122"/>
                  <a:pt x="14219" y="35992"/>
                  <a:pt x="14089" y="36122"/>
                </a:cubicBezTo>
                <a:cubicBezTo>
                  <a:pt x="13808" y="35965"/>
                  <a:pt x="13510" y="35840"/>
                  <a:pt x="13213" y="35747"/>
                </a:cubicBezTo>
                <a:lnTo>
                  <a:pt x="13213" y="35199"/>
                </a:lnTo>
                <a:cubicBezTo>
                  <a:pt x="13213" y="34839"/>
                  <a:pt x="12916" y="34543"/>
                  <a:pt x="12557" y="34543"/>
                </a:cubicBezTo>
                <a:cubicBezTo>
                  <a:pt x="11665" y="34543"/>
                  <a:pt x="11962" y="34543"/>
                  <a:pt x="11665" y="34543"/>
                </a:cubicBezTo>
                <a:cubicBezTo>
                  <a:pt x="11290" y="34543"/>
                  <a:pt x="11008" y="34839"/>
                  <a:pt x="11008" y="35199"/>
                </a:cubicBezTo>
                <a:lnTo>
                  <a:pt x="11008" y="35747"/>
                </a:lnTo>
                <a:cubicBezTo>
                  <a:pt x="10696" y="35840"/>
                  <a:pt x="10398" y="35965"/>
                  <a:pt x="10117" y="36122"/>
                </a:cubicBezTo>
                <a:cubicBezTo>
                  <a:pt x="9726" y="35731"/>
                  <a:pt x="9856" y="35861"/>
                  <a:pt x="9726" y="35731"/>
                </a:cubicBezTo>
                <a:cubicBezTo>
                  <a:pt x="9601" y="35606"/>
                  <a:pt x="9445" y="35544"/>
                  <a:pt x="9257" y="35544"/>
                </a:cubicBezTo>
                <a:cubicBezTo>
                  <a:pt x="9085" y="35544"/>
                  <a:pt x="8929" y="35606"/>
                  <a:pt x="8804" y="35731"/>
                </a:cubicBezTo>
                <a:cubicBezTo>
                  <a:pt x="8163" y="36357"/>
                  <a:pt x="8377" y="36148"/>
                  <a:pt x="8163" y="36357"/>
                </a:cubicBezTo>
                <a:cubicBezTo>
                  <a:pt x="7912" y="36607"/>
                  <a:pt x="7912" y="37029"/>
                  <a:pt x="8163" y="37279"/>
                </a:cubicBezTo>
                <a:lnTo>
                  <a:pt x="8569" y="37670"/>
                </a:lnTo>
                <a:cubicBezTo>
                  <a:pt x="8397" y="37951"/>
                  <a:pt x="8288" y="38249"/>
                  <a:pt x="8194" y="38561"/>
                </a:cubicBezTo>
                <a:lnTo>
                  <a:pt x="7646" y="38561"/>
                </a:lnTo>
                <a:cubicBezTo>
                  <a:pt x="7287" y="38561"/>
                  <a:pt x="6990" y="38859"/>
                  <a:pt x="6990" y="39218"/>
                </a:cubicBezTo>
                <a:cubicBezTo>
                  <a:pt x="6990" y="40110"/>
                  <a:pt x="6990" y="39813"/>
                  <a:pt x="6990" y="40110"/>
                </a:cubicBezTo>
                <a:cubicBezTo>
                  <a:pt x="6990" y="40469"/>
                  <a:pt x="7287" y="40766"/>
                  <a:pt x="7646" y="40766"/>
                </a:cubicBezTo>
                <a:lnTo>
                  <a:pt x="8194" y="40766"/>
                </a:lnTo>
                <a:cubicBezTo>
                  <a:pt x="8288" y="41079"/>
                  <a:pt x="8397" y="41361"/>
                  <a:pt x="8569" y="41642"/>
                </a:cubicBezTo>
                <a:lnTo>
                  <a:pt x="8163" y="42033"/>
                </a:lnTo>
                <a:cubicBezTo>
                  <a:pt x="8053" y="42158"/>
                  <a:pt x="7975" y="42330"/>
                  <a:pt x="7975" y="42502"/>
                </a:cubicBezTo>
                <a:cubicBezTo>
                  <a:pt x="7975" y="42674"/>
                  <a:pt x="8053" y="42846"/>
                  <a:pt x="8163" y="42971"/>
                </a:cubicBezTo>
                <a:cubicBezTo>
                  <a:pt x="8804" y="43596"/>
                  <a:pt x="8590" y="43388"/>
                  <a:pt x="8804" y="43596"/>
                </a:cubicBezTo>
                <a:cubicBezTo>
                  <a:pt x="8929" y="43721"/>
                  <a:pt x="9085" y="43784"/>
                  <a:pt x="9257" y="43784"/>
                </a:cubicBezTo>
                <a:cubicBezTo>
                  <a:pt x="9445" y="43784"/>
                  <a:pt x="9601" y="43721"/>
                  <a:pt x="9726" y="43596"/>
                </a:cubicBezTo>
                <a:cubicBezTo>
                  <a:pt x="10117" y="43205"/>
                  <a:pt x="9987" y="43335"/>
                  <a:pt x="10117" y="43205"/>
                </a:cubicBezTo>
                <a:cubicBezTo>
                  <a:pt x="10398" y="43362"/>
                  <a:pt x="10696" y="43487"/>
                  <a:pt x="11008" y="43565"/>
                </a:cubicBezTo>
                <a:lnTo>
                  <a:pt x="11008" y="44128"/>
                </a:lnTo>
                <a:cubicBezTo>
                  <a:pt x="11008" y="44488"/>
                  <a:pt x="11290" y="44785"/>
                  <a:pt x="11665" y="44785"/>
                </a:cubicBezTo>
                <a:cubicBezTo>
                  <a:pt x="12557" y="44785"/>
                  <a:pt x="12260" y="44785"/>
                  <a:pt x="12557" y="44785"/>
                </a:cubicBezTo>
                <a:cubicBezTo>
                  <a:pt x="12916" y="44785"/>
                  <a:pt x="13213" y="44488"/>
                  <a:pt x="13213" y="44128"/>
                </a:cubicBezTo>
                <a:lnTo>
                  <a:pt x="13213" y="43565"/>
                </a:lnTo>
                <a:cubicBezTo>
                  <a:pt x="13510" y="43487"/>
                  <a:pt x="13808" y="43362"/>
                  <a:pt x="14089" y="43205"/>
                </a:cubicBezTo>
                <a:cubicBezTo>
                  <a:pt x="14480" y="43596"/>
                  <a:pt x="14350" y="43466"/>
                  <a:pt x="14480" y="43596"/>
                </a:cubicBezTo>
                <a:cubicBezTo>
                  <a:pt x="14605" y="43721"/>
                  <a:pt x="14761" y="43784"/>
                  <a:pt x="14949" y="43784"/>
                </a:cubicBezTo>
                <a:cubicBezTo>
                  <a:pt x="15121" y="43784"/>
                  <a:pt x="15277" y="43721"/>
                  <a:pt x="15402" y="43596"/>
                </a:cubicBezTo>
                <a:cubicBezTo>
                  <a:pt x="16044" y="42971"/>
                  <a:pt x="15830" y="43179"/>
                  <a:pt x="16044" y="42971"/>
                </a:cubicBezTo>
                <a:cubicBezTo>
                  <a:pt x="16169" y="42846"/>
                  <a:pt x="16231" y="42674"/>
                  <a:pt x="16231" y="42502"/>
                </a:cubicBezTo>
                <a:cubicBezTo>
                  <a:pt x="16231" y="42330"/>
                  <a:pt x="16169" y="42158"/>
                  <a:pt x="16044" y="42033"/>
                </a:cubicBezTo>
                <a:lnTo>
                  <a:pt x="15652" y="41642"/>
                </a:lnTo>
                <a:cubicBezTo>
                  <a:pt x="15809" y="41361"/>
                  <a:pt x="15934" y="41079"/>
                  <a:pt x="16012" y="40766"/>
                </a:cubicBezTo>
                <a:lnTo>
                  <a:pt x="16575" y="40766"/>
                </a:lnTo>
                <a:cubicBezTo>
                  <a:pt x="16935" y="40766"/>
                  <a:pt x="17216" y="40469"/>
                  <a:pt x="17216" y="40110"/>
                </a:cubicBezTo>
                <a:cubicBezTo>
                  <a:pt x="17216" y="39218"/>
                  <a:pt x="17216" y="39515"/>
                  <a:pt x="17216" y="39218"/>
                </a:cubicBezTo>
                <a:cubicBezTo>
                  <a:pt x="17216" y="38859"/>
                  <a:pt x="16935" y="38561"/>
                  <a:pt x="16575" y="38561"/>
                </a:cubicBezTo>
                <a:close/>
                <a:moveTo>
                  <a:pt x="16513" y="40047"/>
                </a:moveTo>
                <a:lnTo>
                  <a:pt x="15731" y="40047"/>
                </a:lnTo>
                <a:cubicBezTo>
                  <a:pt x="15559" y="40047"/>
                  <a:pt x="15418" y="40172"/>
                  <a:pt x="15387" y="40328"/>
                </a:cubicBezTo>
                <a:cubicBezTo>
                  <a:pt x="15293" y="40751"/>
                  <a:pt x="15137" y="41141"/>
                  <a:pt x="14902" y="41501"/>
                </a:cubicBezTo>
                <a:cubicBezTo>
                  <a:pt x="14808" y="41642"/>
                  <a:pt x="14824" y="41829"/>
                  <a:pt x="14949" y="41955"/>
                </a:cubicBezTo>
                <a:lnTo>
                  <a:pt x="15496" y="42502"/>
                </a:lnTo>
                <a:lnTo>
                  <a:pt x="14949" y="43049"/>
                </a:lnTo>
                <a:lnTo>
                  <a:pt x="14401" y="42502"/>
                </a:lnTo>
                <a:cubicBezTo>
                  <a:pt x="14276" y="42377"/>
                  <a:pt x="14089" y="42361"/>
                  <a:pt x="13948" y="42455"/>
                </a:cubicBezTo>
                <a:cubicBezTo>
                  <a:pt x="13588" y="42690"/>
                  <a:pt x="13198" y="42862"/>
                  <a:pt x="12775" y="42940"/>
                </a:cubicBezTo>
                <a:cubicBezTo>
                  <a:pt x="12604" y="42971"/>
                  <a:pt x="12494" y="43127"/>
                  <a:pt x="12494" y="43300"/>
                </a:cubicBezTo>
                <a:cubicBezTo>
                  <a:pt x="12494" y="44066"/>
                  <a:pt x="12494" y="43811"/>
                  <a:pt x="12494" y="44066"/>
                </a:cubicBezTo>
                <a:cubicBezTo>
                  <a:pt x="11712" y="44066"/>
                  <a:pt x="11973" y="44066"/>
                  <a:pt x="11712" y="44066"/>
                </a:cubicBezTo>
                <a:cubicBezTo>
                  <a:pt x="11712" y="43300"/>
                  <a:pt x="11712" y="43555"/>
                  <a:pt x="11712" y="43300"/>
                </a:cubicBezTo>
                <a:cubicBezTo>
                  <a:pt x="11712" y="43127"/>
                  <a:pt x="11603" y="42971"/>
                  <a:pt x="11431" y="42940"/>
                </a:cubicBezTo>
                <a:cubicBezTo>
                  <a:pt x="11008" y="42862"/>
                  <a:pt x="10618" y="42690"/>
                  <a:pt x="10258" y="42455"/>
                </a:cubicBezTo>
                <a:cubicBezTo>
                  <a:pt x="10117" y="42361"/>
                  <a:pt x="9930" y="42377"/>
                  <a:pt x="9804" y="42502"/>
                </a:cubicBezTo>
                <a:lnTo>
                  <a:pt x="9257" y="43049"/>
                </a:lnTo>
                <a:lnTo>
                  <a:pt x="8710" y="42502"/>
                </a:lnTo>
                <a:lnTo>
                  <a:pt x="9272" y="41955"/>
                </a:lnTo>
                <a:cubicBezTo>
                  <a:pt x="9382" y="41829"/>
                  <a:pt x="9398" y="41642"/>
                  <a:pt x="9304" y="41501"/>
                </a:cubicBezTo>
                <a:cubicBezTo>
                  <a:pt x="9069" y="41141"/>
                  <a:pt x="8913" y="40751"/>
                  <a:pt x="8819" y="40328"/>
                </a:cubicBezTo>
                <a:cubicBezTo>
                  <a:pt x="8788" y="40172"/>
                  <a:pt x="8647" y="40047"/>
                  <a:pt x="8475" y="40047"/>
                </a:cubicBezTo>
                <a:lnTo>
                  <a:pt x="7693" y="40047"/>
                </a:lnTo>
                <a:lnTo>
                  <a:pt x="7693" y="39280"/>
                </a:lnTo>
                <a:lnTo>
                  <a:pt x="8475" y="39280"/>
                </a:lnTo>
                <a:cubicBezTo>
                  <a:pt x="8647" y="39280"/>
                  <a:pt x="8788" y="39155"/>
                  <a:pt x="8819" y="38984"/>
                </a:cubicBezTo>
                <a:cubicBezTo>
                  <a:pt x="8913" y="38577"/>
                  <a:pt x="9069" y="38186"/>
                  <a:pt x="9304" y="37826"/>
                </a:cubicBezTo>
                <a:cubicBezTo>
                  <a:pt x="9398" y="37686"/>
                  <a:pt x="9382" y="37498"/>
                  <a:pt x="9272" y="37373"/>
                </a:cubicBezTo>
                <a:lnTo>
                  <a:pt x="8710" y="36826"/>
                </a:lnTo>
                <a:lnTo>
                  <a:pt x="9257" y="36278"/>
                </a:lnTo>
                <a:lnTo>
                  <a:pt x="9804" y="36826"/>
                </a:lnTo>
                <a:cubicBezTo>
                  <a:pt x="9930" y="36951"/>
                  <a:pt x="10117" y="36966"/>
                  <a:pt x="10258" y="36873"/>
                </a:cubicBezTo>
                <a:cubicBezTo>
                  <a:pt x="10618" y="36638"/>
                  <a:pt x="11008" y="36466"/>
                  <a:pt x="11431" y="36388"/>
                </a:cubicBezTo>
                <a:cubicBezTo>
                  <a:pt x="11603" y="36357"/>
                  <a:pt x="11712" y="36200"/>
                  <a:pt x="11712" y="36028"/>
                </a:cubicBezTo>
                <a:lnTo>
                  <a:pt x="11712" y="35262"/>
                </a:lnTo>
                <a:cubicBezTo>
                  <a:pt x="12494" y="35262"/>
                  <a:pt x="12233" y="35262"/>
                  <a:pt x="12494" y="35262"/>
                </a:cubicBezTo>
                <a:lnTo>
                  <a:pt x="12494" y="36028"/>
                </a:lnTo>
                <a:cubicBezTo>
                  <a:pt x="12494" y="36200"/>
                  <a:pt x="12604" y="36357"/>
                  <a:pt x="12775" y="36388"/>
                </a:cubicBezTo>
                <a:cubicBezTo>
                  <a:pt x="13198" y="36466"/>
                  <a:pt x="13588" y="36638"/>
                  <a:pt x="13948" y="36873"/>
                </a:cubicBezTo>
                <a:cubicBezTo>
                  <a:pt x="14089" y="36966"/>
                  <a:pt x="14276" y="36951"/>
                  <a:pt x="14401" y="36826"/>
                </a:cubicBezTo>
                <a:lnTo>
                  <a:pt x="14949" y="36278"/>
                </a:lnTo>
                <a:lnTo>
                  <a:pt x="15496" y="36826"/>
                </a:lnTo>
                <a:cubicBezTo>
                  <a:pt x="14949" y="37373"/>
                  <a:pt x="15131" y="37191"/>
                  <a:pt x="14949" y="37373"/>
                </a:cubicBezTo>
                <a:cubicBezTo>
                  <a:pt x="14824" y="37498"/>
                  <a:pt x="14808" y="37686"/>
                  <a:pt x="14902" y="37826"/>
                </a:cubicBezTo>
                <a:cubicBezTo>
                  <a:pt x="15137" y="38186"/>
                  <a:pt x="15293" y="38577"/>
                  <a:pt x="15387" y="38984"/>
                </a:cubicBezTo>
                <a:cubicBezTo>
                  <a:pt x="15418" y="39155"/>
                  <a:pt x="15559" y="39280"/>
                  <a:pt x="15731" y="39280"/>
                </a:cubicBezTo>
                <a:lnTo>
                  <a:pt x="16513" y="39280"/>
                </a:lnTo>
                <a:close/>
                <a:moveTo>
                  <a:pt x="12103" y="37435"/>
                </a:moveTo>
                <a:cubicBezTo>
                  <a:pt x="10868" y="37435"/>
                  <a:pt x="9882" y="38436"/>
                  <a:pt x="9882" y="39656"/>
                </a:cubicBezTo>
                <a:cubicBezTo>
                  <a:pt x="9882" y="40891"/>
                  <a:pt x="10868" y="41892"/>
                  <a:pt x="12103" y="41892"/>
                </a:cubicBezTo>
                <a:cubicBezTo>
                  <a:pt x="13338" y="41892"/>
                  <a:pt x="14339" y="40891"/>
                  <a:pt x="14339" y="39656"/>
                </a:cubicBezTo>
                <a:cubicBezTo>
                  <a:pt x="14339" y="38436"/>
                  <a:pt x="13338" y="37435"/>
                  <a:pt x="12103" y="37435"/>
                </a:cubicBezTo>
                <a:close/>
                <a:moveTo>
                  <a:pt x="12103" y="41173"/>
                </a:moveTo>
                <a:cubicBezTo>
                  <a:pt x="11274" y="41173"/>
                  <a:pt x="10586" y="40500"/>
                  <a:pt x="10586" y="39656"/>
                </a:cubicBezTo>
                <a:cubicBezTo>
                  <a:pt x="10586" y="38827"/>
                  <a:pt x="11274" y="38155"/>
                  <a:pt x="12103" y="38155"/>
                </a:cubicBezTo>
                <a:cubicBezTo>
                  <a:pt x="12932" y="38155"/>
                  <a:pt x="13620" y="38827"/>
                  <a:pt x="13620" y="39656"/>
                </a:cubicBezTo>
                <a:cubicBezTo>
                  <a:pt x="13620" y="40500"/>
                  <a:pt x="12932" y="41173"/>
                  <a:pt x="12103" y="41173"/>
                </a:cubicBezTo>
                <a:close/>
                <a:moveTo>
                  <a:pt x="48835" y="32025"/>
                </a:moveTo>
                <a:cubicBezTo>
                  <a:pt x="49038" y="31415"/>
                  <a:pt x="49132" y="30618"/>
                  <a:pt x="49116" y="29617"/>
                </a:cubicBezTo>
                <a:lnTo>
                  <a:pt x="49116" y="28897"/>
                </a:lnTo>
                <a:cubicBezTo>
                  <a:pt x="49132" y="28741"/>
                  <a:pt x="49132" y="28585"/>
                  <a:pt x="49132" y="28428"/>
                </a:cubicBezTo>
                <a:cubicBezTo>
                  <a:pt x="49382" y="28413"/>
                  <a:pt x="49298" y="28418"/>
                  <a:pt x="49382" y="28413"/>
                </a:cubicBezTo>
                <a:cubicBezTo>
                  <a:pt x="49585" y="28397"/>
                  <a:pt x="49726" y="28225"/>
                  <a:pt x="49710" y="28022"/>
                </a:cubicBezTo>
                <a:cubicBezTo>
                  <a:pt x="49695" y="27834"/>
                  <a:pt x="49507" y="27678"/>
                  <a:pt x="49320" y="27709"/>
                </a:cubicBezTo>
                <a:lnTo>
                  <a:pt x="49116" y="27725"/>
                </a:lnTo>
                <a:cubicBezTo>
                  <a:pt x="49053" y="27021"/>
                  <a:pt x="48866" y="26317"/>
                  <a:pt x="48334" y="25676"/>
                </a:cubicBezTo>
                <a:cubicBezTo>
                  <a:pt x="47552" y="24754"/>
                  <a:pt x="46426" y="24660"/>
                  <a:pt x="45817" y="24676"/>
                </a:cubicBezTo>
                <a:cubicBezTo>
                  <a:pt x="45832" y="24144"/>
                  <a:pt x="45817" y="23205"/>
                  <a:pt x="45629" y="22299"/>
                </a:cubicBezTo>
                <a:cubicBezTo>
                  <a:pt x="45582" y="22064"/>
                  <a:pt x="45504" y="21845"/>
                  <a:pt x="45395" y="21658"/>
                </a:cubicBezTo>
                <a:cubicBezTo>
                  <a:pt x="45457" y="21533"/>
                  <a:pt x="45442" y="21376"/>
                  <a:pt x="45332" y="21266"/>
                </a:cubicBezTo>
                <a:cubicBezTo>
                  <a:pt x="45254" y="21157"/>
                  <a:pt x="45113" y="21126"/>
                  <a:pt x="45004" y="21157"/>
                </a:cubicBezTo>
                <a:cubicBezTo>
                  <a:pt x="44581" y="20735"/>
                  <a:pt x="44066" y="20516"/>
                  <a:pt x="43784" y="20422"/>
                </a:cubicBezTo>
                <a:cubicBezTo>
                  <a:pt x="43549" y="19844"/>
                  <a:pt x="43049" y="19500"/>
                  <a:pt x="42877" y="19390"/>
                </a:cubicBezTo>
                <a:cubicBezTo>
                  <a:pt x="42861" y="19374"/>
                  <a:pt x="42799" y="19327"/>
                  <a:pt x="42721" y="19265"/>
                </a:cubicBezTo>
                <a:cubicBezTo>
                  <a:pt x="42064" y="18811"/>
                  <a:pt x="40156" y="17467"/>
                  <a:pt x="38420" y="16716"/>
                </a:cubicBezTo>
                <a:lnTo>
                  <a:pt x="38436" y="16513"/>
                </a:lnTo>
                <a:cubicBezTo>
                  <a:pt x="38436" y="16325"/>
                  <a:pt x="38280" y="16153"/>
                  <a:pt x="38092" y="16153"/>
                </a:cubicBezTo>
                <a:cubicBezTo>
                  <a:pt x="37904" y="16137"/>
                  <a:pt x="37748" y="16278"/>
                  <a:pt x="37717" y="16466"/>
                </a:cubicBezTo>
                <a:cubicBezTo>
                  <a:pt x="37138" y="16310"/>
                  <a:pt x="36435" y="16262"/>
                  <a:pt x="35825" y="16622"/>
                </a:cubicBezTo>
                <a:cubicBezTo>
                  <a:pt x="35653" y="16716"/>
                  <a:pt x="35527" y="16825"/>
                  <a:pt x="35434" y="16935"/>
                </a:cubicBezTo>
                <a:cubicBezTo>
                  <a:pt x="35402" y="16904"/>
                  <a:pt x="35371" y="16872"/>
                  <a:pt x="35340" y="16841"/>
                </a:cubicBezTo>
                <a:cubicBezTo>
                  <a:pt x="34464" y="15981"/>
                  <a:pt x="33104" y="15528"/>
                  <a:pt x="31602" y="15574"/>
                </a:cubicBezTo>
                <a:cubicBezTo>
                  <a:pt x="31181" y="15590"/>
                  <a:pt x="30414" y="15747"/>
                  <a:pt x="29632" y="15950"/>
                </a:cubicBezTo>
                <a:lnTo>
                  <a:pt x="29585" y="15778"/>
                </a:lnTo>
                <a:cubicBezTo>
                  <a:pt x="29554" y="15590"/>
                  <a:pt x="29367" y="15465"/>
                  <a:pt x="29163" y="15496"/>
                </a:cubicBezTo>
                <a:cubicBezTo>
                  <a:pt x="28975" y="15543"/>
                  <a:pt x="28850" y="15731"/>
                  <a:pt x="28897" y="15919"/>
                </a:cubicBezTo>
                <a:lnTo>
                  <a:pt x="28929" y="16137"/>
                </a:lnTo>
                <a:cubicBezTo>
                  <a:pt x="28241" y="16325"/>
                  <a:pt x="27599" y="16513"/>
                  <a:pt x="27177" y="16654"/>
                </a:cubicBezTo>
                <a:cubicBezTo>
                  <a:pt x="25332" y="17217"/>
                  <a:pt x="23581" y="17826"/>
                  <a:pt x="22846" y="18170"/>
                </a:cubicBezTo>
                <a:cubicBezTo>
                  <a:pt x="22862" y="18045"/>
                  <a:pt x="22830" y="17936"/>
                  <a:pt x="22736" y="17842"/>
                </a:cubicBezTo>
                <a:lnTo>
                  <a:pt x="22252" y="17420"/>
                </a:lnTo>
                <a:cubicBezTo>
                  <a:pt x="22095" y="17279"/>
                  <a:pt x="21876" y="17295"/>
                  <a:pt x="21751" y="17435"/>
                </a:cubicBezTo>
                <a:cubicBezTo>
                  <a:pt x="21611" y="17592"/>
                  <a:pt x="21626" y="17811"/>
                  <a:pt x="21767" y="17951"/>
                </a:cubicBezTo>
                <a:lnTo>
                  <a:pt x="22252" y="18374"/>
                </a:lnTo>
                <a:cubicBezTo>
                  <a:pt x="22283" y="18405"/>
                  <a:pt x="22299" y="18405"/>
                  <a:pt x="22314" y="18421"/>
                </a:cubicBezTo>
                <a:cubicBezTo>
                  <a:pt x="21751" y="18718"/>
                  <a:pt x="21173" y="19031"/>
                  <a:pt x="20688" y="19421"/>
                </a:cubicBezTo>
                <a:cubicBezTo>
                  <a:pt x="20015" y="19969"/>
                  <a:pt x="19625" y="20563"/>
                  <a:pt x="19499" y="21251"/>
                </a:cubicBezTo>
                <a:cubicBezTo>
                  <a:pt x="18796" y="21266"/>
                  <a:pt x="18264" y="21533"/>
                  <a:pt x="17936" y="22017"/>
                </a:cubicBezTo>
                <a:cubicBezTo>
                  <a:pt x="17623" y="22486"/>
                  <a:pt x="17091" y="23425"/>
                  <a:pt x="16513" y="24519"/>
                </a:cubicBezTo>
                <a:cubicBezTo>
                  <a:pt x="16247" y="25019"/>
                  <a:pt x="15606" y="26255"/>
                  <a:pt x="15559" y="26520"/>
                </a:cubicBezTo>
                <a:cubicBezTo>
                  <a:pt x="15559" y="26536"/>
                  <a:pt x="15559" y="26568"/>
                  <a:pt x="15543" y="26583"/>
                </a:cubicBezTo>
                <a:cubicBezTo>
                  <a:pt x="15543" y="26646"/>
                  <a:pt x="15527" y="26740"/>
                  <a:pt x="15512" y="26849"/>
                </a:cubicBezTo>
                <a:cubicBezTo>
                  <a:pt x="15481" y="26693"/>
                  <a:pt x="15371" y="26568"/>
                  <a:pt x="15215" y="26536"/>
                </a:cubicBezTo>
                <a:lnTo>
                  <a:pt x="14589" y="26411"/>
                </a:lnTo>
                <a:cubicBezTo>
                  <a:pt x="14386" y="26364"/>
                  <a:pt x="14198" y="26489"/>
                  <a:pt x="14167" y="26693"/>
                </a:cubicBezTo>
                <a:cubicBezTo>
                  <a:pt x="14120" y="26880"/>
                  <a:pt x="14245" y="27068"/>
                  <a:pt x="14449" y="27115"/>
                </a:cubicBezTo>
                <a:cubicBezTo>
                  <a:pt x="15074" y="27240"/>
                  <a:pt x="14866" y="27198"/>
                  <a:pt x="15074" y="27240"/>
                </a:cubicBezTo>
                <a:cubicBezTo>
                  <a:pt x="15106" y="27240"/>
                  <a:pt x="15121" y="27256"/>
                  <a:pt x="15152" y="27256"/>
                </a:cubicBezTo>
                <a:cubicBezTo>
                  <a:pt x="15293" y="27256"/>
                  <a:pt x="15418" y="27162"/>
                  <a:pt x="15481" y="27021"/>
                </a:cubicBezTo>
                <a:cubicBezTo>
                  <a:pt x="15449" y="27287"/>
                  <a:pt x="15449" y="27600"/>
                  <a:pt x="15496" y="27944"/>
                </a:cubicBezTo>
                <a:cubicBezTo>
                  <a:pt x="15621" y="28647"/>
                  <a:pt x="15981" y="29210"/>
                  <a:pt x="16560" y="29617"/>
                </a:cubicBezTo>
                <a:cubicBezTo>
                  <a:pt x="16607" y="30070"/>
                  <a:pt x="16857" y="31118"/>
                  <a:pt x="18217" y="31900"/>
                </a:cubicBezTo>
                <a:cubicBezTo>
                  <a:pt x="18686" y="32150"/>
                  <a:pt x="19109" y="32416"/>
                  <a:pt x="19499" y="32635"/>
                </a:cubicBezTo>
                <a:cubicBezTo>
                  <a:pt x="20469" y="33213"/>
                  <a:pt x="21157" y="33620"/>
                  <a:pt x="21642" y="33761"/>
                </a:cubicBezTo>
                <a:cubicBezTo>
                  <a:pt x="22095" y="33886"/>
                  <a:pt x="22502" y="33901"/>
                  <a:pt x="22783" y="33901"/>
                </a:cubicBezTo>
                <a:cubicBezTo>
                  <a:pt x="22830" y="34167"/>
                  <a:pt x="22908" y="34558"/>
                  <a:pt x="23096" y="34934"/>
                </a:cubicBezTo>
                <a:cubicBezTo>
                  <a:pt x="23550" y="35872"/>
                  <a:pt x="24316" y="36357"/>
                  <a:pt x="25332" y="36357"/>
                </a:cubicBezTo>
                <a:lnTo>
                  <a:pt x="25379" y="36357"/>
                </a:lnTo>
                <a:cubicBezTo>
                  <a:pt x="27537" y="36325"/>
                  <a:pt x="31415" y="36357"/>
                  <a:pt x="31462" y="36357"/>
                </a:cubicBezTo>
                <a:lnTo>
                  <a:pt x="31493" y="36357"/>
                </a:lnTo>
                <a:cubicBezTo>
                  <a:pt x="31509" y="36357"/>
                  <a:pt x="32150" y="36294"/>
                  <a:pt x="32775" y="36012"/>
                </a:cubicBezTo>
                <a:cubicBezTo>
                  <a:pt x="33682" y="35590"/>
                  <a:pt x="34151" y="34887"/>
                  <a:pt x="34151" y="34011"/>
                </a:cubicBezTo>
                <a:cubicBezTo>
                  <a:pt x="34136" y="32244"/>
                  <a:pt x="34151" y="31775"/>
                  <a:pt x="34151" y="31759"/>
                </a:cubicBezTo>
                <a:cubicBezTo>
                  <a:pt x="34151" y="31665"/>
                  <a:pt x="34120" y="31571"/>
                  <a:pt x="34042" y="31493"/>
                </a:cubicBezTo>
                <a:lnTo>
                  <a:pt x="32572" y="30039"/>
                </a:lnTo>
                <a:cubicBezTo>
                  <a:pt x="32682" y="29867"/>
                  <a:pt x="32728" y="29648"/>
                  <a:pt x="32728" y="29429"/>
                </a:cubicBezTo>
                <a:cubicBezTo>
                  <a:pt x="32728" y="28726"/>
                  <a:pt x="32165" y="28163"/>
                  <a:pt x="31462" y="28163"/>
                </a:cubicBezTo>
                <a:cubicBezTo>
                  <a:pt x="30758" y="28163"/>
                  <a:pt x="30195" y="28726"/>
                  <a:pt x="30195" y="29429"/>
                </a:cubicBezTo>
                <a:cubicBezTo>
                  <a:pt x="30195" y="30133"/>
                  <a:pt x="30758" y="30696"/>
                  <a:pt x="31462" y="30696"/>
                </a:cubicBezTo>
                <a:cubicBezTo>
                  <a:pt x="31681" y="30696"/>
                  <a:pt x="31884" y="30649"/>
                  <a:pt x="32072" y="30555"/>
                </a:cubicBezTo>
                <a:lnTo>
                  <a:pt x="33432" y="31900"/>
                </a:lnTo>
                <a:cubicBezTo>
                  <a:pt x="33432" y="32150"/>
                  <a:pt x="33416" y="32760"/>
                  <a:pt x="33432" y="34011"/>
                </a:cubicBezTo>
                <a:cubicBezTo>
                  <a:pt x="33432" y="34605"/>
                  <a:pt x="33135" y="35043"/>
                  <a:pt x="32494" y="35356"/>
                </a:cubicBezTo>
                <a:cubicBezTo>
                  <a:pt x="32025" y="35575"/>
                  <a:pt x="31524" y="35637"/>
                  <a:pt x="31446" y="35637"/>
                </a:cubicBezTo>
                <a:cubicBezTo>
                  <a:pt x="31149" y="35637"/>
                  <a:pt x="27459" y="35622"/>
                  <a:pt x="25364" y="35637"/>
                </a:cubicBezTo>
                <a:cubicBezTo>
                  <a:pt x="24957" y="35653"/>
                  <a:pt x="24597" y="35544"/>
                  <a:pt x="24316" y="35340"/>
                </a:cubicBezTo>
                <a:cubicBezTo>
                  <a:pt x="24081" y="35184"/>
                  <a:pt x="23893" y="34934"/>
                  <a:pt x="23753" y="34636"/>
                </a:cubicBezTo>
                <a:cubicBezTo>
                  <a:pt x="23612" y="34371"/>
                  <a:pt x="23550" y="34105"/>
                  <a:pt x="23503" y="33886"/>
                </a:cubicBezTo>
                <a:lnTo>
                  <a:pt x="28131" y="33886"/>
                </a:lnTo>
                <a:cubicBezTo>
                  <a:pt x="28287" y="34418"/>
                  <a:pt x="28772" y="34808"/>
                  <a:pt x="29351" y="34808"/>
                </a:cubicBezTo>
                <a:cubicBezTo>
                  <a:pt x="30055" y="34808"/>
                  <a:pt x="30633" y="34230"/>
                  <a:pt x="30633" y="33526"/>
                </a:cubicBezTo>
                <a:cubicBezTo>
                  <a:pt x="30633" y="32822"/>
                  <a:pt x="30055" y="32259"/>
                  <a:pt x="29351" y="32259"/>
                </a:cubicBezTo>
                <a:cubicBezTo>
                  <a:pt x="28772" y="32259"/>
                  <a:pt x="28287" y="32650"/>
                  <a:pt x="28131" y="33167"/>
                </a:cubicBezTo>
                <a:lnTo>
                  <a:pt x="23096" y="33167"/>
                </a:lnTo>
                <a:cubicBezTo>
                  <a:pt x="23091" y="33167"/>
                  <a:pt x="23096" y="33167"/>
                  <a:pt x="23080" y="33167"/>
                </a:cubicBezTo>
                <a:lnTo>
                  <a:pt x="23080" y="33182"/>
                </a:lnTo>
                <a:lnTo>
                  <a:pt x="23049" y="33182"/>
                </a:lnTo>
                <a:cubicBezTo>
                  <a:pt x="23033" y="33182"/>
                  <a:pt x="22470" y="33245"/>
                  <a:pt x="21829" y="33073"/>
                </a:cubicBezTo>
                <a:cubicBezTo>
                  <a:pt x="21438" y="32963"/>
                  <a:pt x="20750" y="32541"/>
                  <a:pt x="19859" y="32025"/>
                </a:cubicBezTo>
                <a:cubicBezTo>
                  <a:pt x="19484" y="31806"/>
                  <a:pt x="19046" y="31540"/>
                  <a:pt x="18577" y="31274"/>
                </a:cubicBezTo>
                <a:cubicBezTo>
                  <a:pt x="17686" y="30774"/>
                  <a:pt x="17404" y="30148"/>
                  <a:pt x="17310" y="29773"/>
                </a:cubicBezTo>
                <a:lnTo>
                  <a:pt x="22783" y="29773"/>
                </a:lnTo>
                <a:cubicBezTo>
                  <a:pt x="22940" y="30305"/>
                  <a:pt x="23425" y="30696"/>
                  <a:pt x="24003" y="30696"/>
                </a:cubicBezTo>
                <a:cubicBezTo>
                  <a:pt x="24707" y="30696"/>
                  <a:pt x="25285" y="30117"/>
                  <a:pt x="25285" y="29429"/>
                </a:cubicBezTo>
                <a:cubicBezTo>
                  <a:pt x="25285" y="28726"/>
                  <a:pt x="24707" y="28147"/>
                  <a:pt x="24003" y="28147"/>
                </a:cubicBezTo>
                <a:cubicBezTo>
                  <a:pt x="23425" y="28147"/>
                  <a:pt x="22940" y="28538"/>
                  <a:pt x="22783" y="29069"/>
                </a:cubicBezTo>
                <a:lnTo>
                  <a:pt x="17013" y="29069"/>
                </a:lnTo>
                <a:cubicBezTo>
                  <a:pt x="16560" y="28757"/>
                  <a:pt x="16294" y="28334"/>
                  <a:pt x="16200" y="27818"/>
                </a:cubicBezTo>
                <a:cubicBezTo>
                  <a:pt x="16122" y="27350"/>
                  <a:pt x="16215" y="26927"/>
                  <a:pt x="16247" y="26724"/>
                </a:cubicBezTo>
                <a:cubicBezTo>
                  <a:pt x="16262" y="26708"/>
                  <a:pt x="16262" y="26677"/>
                  <a:pt x="16262" y="26662"/>
                </a:cubicBezTo>
                <a:cubicBezTo>
                  <a:pt x="16357" y="26333"/>
                  <a:pt x="17826" y="23456"/>
                  <a:pt x="18530" y="22424"/>
                </a:cubicBezTo>
                <a:cubicBezTo>
                  <a:pt x="18717" y="22158"/>
                  <a:pt x="19015" y="22001"/>
                  <a:pt x="19421" y="21970"/>
                </a:cubicBezTo>
                <a:cubicBezTo>
                  <a:pt x="19343" y="23112"/>
                  <a:pt x="19312" y="24894"/>
                  <a:pt x="19312" y="25598"/>
                </a:cubicBezTo>
                <a:cubicBezTo>
                  <a:pt x="18780" y="25754"/>
                  <a:pt x="18389" y="26239"/>
                  <a:pt x="18389" y="26818"/>
                </a:cubicBezTo>
                <a:cubicBezTo>
                  <a:pt x="18389" y="27521"/>
                  <a:pt x="18952" y="28100"/>
                  <a:pt x="19656" y="28100"/>
                </a:cubicBezTo>
                <a:cubicBezTo>
                  <a:pt x="20360" y="28100"/>
                  <a:pt x="20923" y="27521"/>
                  <a:pt x="20923" y="26818"/>
                </a:cubicBezTo>
                <a:cubicBezTo>
                  <a:pt x="20923" y="26239"/>
                  <a:pt x="20547" y="25754"/>
                  <a:pt x="20015" y="25598"/>
                </a:cubicBezTo>
                <a:cubicBezTo>
                  <a:pt x="20031" y="24894"/>
                  <a:pt x="20062" y="23127"/>
                  <a:pt x="20140" y="22017"/>
                </a:cubicBezTo>
                <a:cubicBezTo>
                  <a:pt x="20360" y="22048"/>
                  <a:pt x="20594" y="22127"/>
                  <a:pt x="20828" y="22205"/>
                </a:cubicBezTo>
                <a:cubicBezTo>
                  <a:pt x="21251" y="22486"/>
                  <a:pt x="24269" y="25567"/>
                  <a:pt x="26208" y="27600"/>
                </a:cubicBezTo>
                <a:cubicBezTo>
                  <a:pt x="26130" y="27756"/>
                  <a:pt x="26083" y="27944"/>
                  <a:pt x="26083" y="28147"/>
                </a:cubicBezTo>
                <a:cubicBezTo>
                  <a:pt x="26083" y="28851"/>
                  <a:pt x="26661" y="29414"/>
                  <a:pt x="27365" y="29414"/>
                </a:cubicBezTo>
                <a:cubicBezTo>
                  <a:pt x="28053" y="29414"/>
                  <a:pt x="28632" y="28851"/>
                  <a:pt x="28632" y="28147"/>
                </a:cubicBezTo>
                <a:cubicBezTo>
                  <a:pt x="28632" y="27443"/>
                  <a:pt x="28053" y="26880"/>
                  <a:pt x="27365" y="26880"/>
                </a:cubicBezTo>
                <a:cubicBezTo>
                  <a:pt x="27115" y="26880"/>
                  <a:pt x="26880" y="26943"/>
                  <a:pt x="26693" y="27068"/>
                </a:cubicBezTo>
                <a:cubicBezTo>
                  <a:pt x="26255" y="26599"/>
                  <a:pt x="25238" y="25567"/>
                  <a:pt x="24222" y="24519"/>
                </a:cubicBezTo>
                <a:cubicBezTo>
                  <a:pt x="21407" y="21658"/>
                  <a:pt x="21235" y="21579"/>
                  <a:pt x="21094" y="21533"/>
                </a:cubicBezTo>
                <a:cubicBezTo>
                  <a:pt x="20797" y="21439"/>
                  <a:pt x="20500" y="21360"/>
                  <a:pt x="20219" y="21298"/>
                </a:cubicBezTo>
                <a:cubicBezTo>
                  <a:pt x="20469" y="20250"/>
                  <a:pt x="21595" y="19578"/>
                  <a:pt x="22877" y="18952"/>
                </a:cubicBezTo>
                <a:lnTo>
                  <a:pt x="27349" y="23456"/>
                </a:lnTo>
                <a:cubicBezTo>
                  <a:pt x="27271" y="23628"/>
                  <a:pt x="27224" y="23815"/>
                  <a:pt x="27224" y="24003"/>
                </a:cubicBezTo>
                <a:cubicBezTo>
                  <a:pt x="27224" y="24707"/>
                  <a:pt x="27787" y="25286"/>
                  <a:pt x="28491" y="25286"/>
                </a:cubicBezTo>
                <a:cubicBezTo>
                  <a:pt x="29194" y="25286"/>
                  <a:pt x="29773" y="24707"/>
                  <a:pt x="29773" y="24003"/>
                </a:cubicBezTo>
                <a:cubicBezTo>
                  <a:pt x="29773" y="23315"/>
                  <a:pt x="29194" y="22737"/>
                  <a:pt x="28491" y="22737"/>
                </a:cubicBezTo>
                <a:cubicBezTo>
                  <a:pt x="28256" y="22737"/>
                  <a:pt x="28022" y="22815"/>
                  <a:pt x="27818" y="22924"/>
                </a:cubicBezTo>
                <a:lnTo>
                  <a:pt x="23565" y="18639"/>
                </a:lnTo>
                <a:cubicBezTo>
                  <a:pt x="24347" y="18327"/>
                  <a:pt x="25629" y="17889"/>
                  <a:pt x="26958" y="17467"/>
                </a:cubicBezTo>
                <a:lnTo>
                  <a:pt x="29147" y="19703"/>
                </a:lnTo>
                <a:cubicBezTo>
                  <a:pt x="29038" y="19906"/>
                  <a:pt x="28960" y="20141"/>
                  <a:pt x="28960" y="20391"/>
                </a:cubicBezTo>
                <a:cubicBezTo>
                  <a:pt x="28960" y="21079"/>
                  <a:pt x="29538" y="21658"/>
                  <a:pt x="30226" y="21658"/>
                </a:cubicBezTo>
                <a:cubicBezTo>
                  <a:pt x="30930" y="21658"/>
                  <a:pt x="31509" y="21079"/>
                  <a:pt x="31509" y="20391"/>
                </a:cubicBezTo>
                <a:cubicBezTo>
                  <a:pt x="31509" y="19687"/>
                  <a:pt x="30930" y="19109"/>
                  <a:pt x="30226" y="19109"/>
                </a:cubicBezTo>
                <a:cubicBezTo>
                  <a:pt x="30039" y="19109"/>
                  <a:pt x="29851" y="19156"/>
                  <a:pt x="29695" y="19234"/>
                </a:cubicBezTo>
                <a:lnTo>
                  <a:pt x="27724" y="17232"/>
                </a:lnTo>
                <a:cubicBezTo>
                  <a:pt x="29163" y="16794"/>
                  <a:pt x="30539" y="16435"/>
                  <a:pt x="31306" y="16325"/>
                </a:cubicBezTo>
                <a:cubicBezTo>
                  <a:pt x="32525" y="17905"/>
                  <a:pt x="32119" y="17378"/>
                  <a:pt x="32525" y="17905"/>
                </a:cubicBezTo>
                <a:lnTo>
                  <a:pt x="32525" y="24456"/>
                </a:lnTo>
                <a:cubicBezTo>
                  <a:pt x="31994" y="24613"/>
                  <a:pt x="31602" y="25098"/>
                  <a:pt x="31602" y="25676"/>
                </a:cubicBezTo>
                <a:cubicBezTo>
                  <a:pt x="31602" y="26380"/>
                  <a:pt x="32181" y="26943"/>
                  <a:pt x="32869" y="26943"/>
                </a:cubicBezTo>
                <a:cubicBezTo>
                  <a:pt x="33573" y="26943"/>
                  <a:pt x="34151" y="26380"/>
                  <a:pt x="34151" y="25676"/>
                </a:cubicBezTo>
                <a:cubicBezTo>
                  <a:pt x="34151" y="25098"/>
                  <a:pt x="33761" y="24613"/>
                  <a:pt x="33229" y="24456"/>
                </a:cubicBezTo>
                <a:lnTo>
                  <a:pt x="33229" y="17795"/>
                </a:lnTo>
                <a:cubicBezTo>
                  <a:pt x="33229" y="17717"/>
                  <a:pt x="33213" y="17639"/>
                  <a:pt x="33166" y="17576"/>
                </a:cubicBezTo>
                <a:lnTo>
                  <a:pt x="32181" y="16294"/>
                </a:lnTo>
                <a:cubicBezTo>
                  <a:pt x="33260" y="16372"/>
                  <a:pt x="34214" y="16732"/>
                  <a:pt x="34839" y="17357"/>
                </a:cubicBezTo>
                <a:cubicBezTo>
                  <a:pt x="35215" y="17717"/>
                  <a:pt x="35434" y="18123"/>
                  <a:pt x="35434" y="18468"/>
                </a:cubicBezTo>
                <a:lnTo>
                  <a:pt x="35434" y="40219"/>
                </a:lnTo>
                <a:cubicBezTo>
                  <a:pt x="34902" y="40375"/>
                  <a:pt x="34527" y="40860"/>
                  <a:pt x="34527" y="41439"/>
                </a:cubicBezTo>
                <a:cubicBezTo>
                  <a:pt x="34527" y="42142"/>
                  <a:pt x="35090" y="42721"/>
                  <a:pt x="35793" y="42721"/>
                </a:cubicBezTo>
                <a:cubicBezTo>
                  <a:pt x="36497" y="42721"/>
                  <a:pt x="37060" y="42142"/>
                  <a:pt x="37060" y="41439"/>
                </a:cubicBezTo>
                <a:cubicBezTo>
                  <a:pt x="37060" y="40860"/>
                  <a:pt x="36685" y="40375"/>
                  <a:pt x="36153" y="40219"/>
                </a:cubicBezTo>
                <a:lnTo>
                  <a:pt x="36153" y="18468"/>
                </a:lnTo>
                <a:cubicBezTo>
                  <a:pt x="36153" y="18155"/>
                  <a:pt x="36059" y="17826"/>
                  <a:pt x="35872" y="17513"/>
                </a:cubicBezTo>
                <a:cubicBezTo>
                  <a:pt x="35934" y="17420"/>
                  <a:pt x="36059" y="17310"/>
                  <a:pt x="36215" y="17217"/>
                </a:cubicBezTo>
                <a:cubicBezTo>
                  <a:pt x="36638" y="16982"/>
                  <a:pt x="37232" y="17013"/>
                  <a:pt x="37936" y="17279"/>
                </a:cubicBezTo>
                <a:cubicBezTo>
                  <a:pt x="38483" y="17513"/>
                  <a:pt x="39124" y="17826"/>
                  <a:pt x="39843" y="18249"/>
                </a:cubicBezTo>
                <a:lnTo>
                  <a:pt x="38608" y="20391"/>
                </a:lnTo>
                <a:cubicBezTo>
                  <a:pt x="38514" y="20375"/>
                  <a:pt x="38389" y="20344"/>
                  <a:pt x="38280" y="20344"/>
                </a:cubicBezTo>
                <a:cubicBezTo>
                  <a:pt x="37576" y="20344"/>
                  <a:pt x="36998" y="20923"/>
                  <a:pt x="36998" y="21626"/>
                </a:cubicBezTo>
                <a:cubicBezTo>
                  <a:pt x="36998" y="22330"/>
                  <a:pt x="37576" y="22893"/>
                  <a:pt x="38280" y="22893"/>
                </a:cubicBezTo>
                <a:cubicBezTo>
                  <a:pt x="38983" y="22893"/>
                  <a:pt x="39546" y="22330"/>
                  <a:pt x="39546" y="21626"/>
                </a:cubicBezTo>
                <a:cubicBezTo>
                  <a:pt x="39546" y="21298"/>
                  <a:pt x="39421" y="21001"/>
                  <a:pt x="39218" y="20766"/>
                </a:cubicBezTo>
                <a:lnTo>
                  <a:pt x="40453" y="18624"/>
                </a:lnTo>
                <a:cubicBezTo>
                  <a:pt x="41032" y="18984"/>
                  <a:pt x="41642" y="19390"/>
                  <a:pt x="42298" y="19859"/>
                </a:cubicBezTo>
                <a:cubicBezTo>
                  <a:pt x="42423" y="19937"/>
                  <a:pt x="42470" y="19969"/>
                  <a:pt x="42502" y="20000"/>
                </a:cubicBezTo>
                <a:cubicBezTo>
                  <a:pt x="42564" y="20031"/>
                  <a:pt x="43033" y="20344"/>
                  <a:pt x="43158" y="20798"/>
                </a:cubicBezTo>
                <a:lnTo>
                  <a:pt x="43158" y="20813"/>
                </a:lnTo>
                <a:cubicBezTo>
                  <a:pt x="43362" y="21486"/>
                  <a:pt x="43283" y="21986"/>
                  <a:pt x="43158" y="22439"/>
                </a:cubicBezTo>
                <a:cubicBezTo>
                  <a:pt x="43049" y="22752"/>
                  <a:pt x="41517" y="25317"/>
                  <a:pt x="40484" y="27005"/>
                </a:cubicBezTo>
                <a:lnTo>
                  <a:pt x="40328" y="27005"/>
                </a:lnTo>
                <a:cubicBezTo>
                  <a:pt x="39625" y="27005"/>
                  <a:pt x="39062" y="27568"/>
                  <a:pt x="39062" y="28272"/>
                </a:cubicBezTo>
                <a:cubicBezTo>
                  <a:pt x="39062" y="28976"/>
                  <a:pt x="39625" y="29539"/>
                  <a:pt x="40328" y="29539"/>
                </a:cubicBezTo>
                <a:cubicBezTo>
                  <a:pt x="41032" y="29539"/>
                  <a:pt x="41595" y="28976"/>
                  <a:pt x="41595" y="28272"/>
                </a:cubicBezTo>
                <a:cubicBezTo>
                  <a:pt x="41595" y="27881"/>
                  <a:pt x="41423" y="27537"/>
                  <a:pt x="41141" y="27303"/>
                </a:cubicBezTo>
                <a:cubicBezTo>
                  <a:pt x="41391" y="26880"/>
                  <a:pt x="41876" y="26099"/>
                  <a:pt x="42345" y="25301"/>
                </a:cubicBezTo>
                <a:cubicBezTo>
                  <a:pt x="43768" y="22924"/>
                  <a:pt x="43815" y="22721"/>
                  <a:pt x="43846" y="22642"/>
                </a:cubicBezTo>
                <a:cubicBezTo>
                  <a:pt x="43909" y="22392"/>
                  <a:pt x="44050" y="21923"/>
                  <a:pt x="43987" y="21282"/>
                </a:cubicBezTo>
                <a:cubicBezTo>
                  <a:pt x="44019" y="21313"/>
                  <a:pt x="44066" y="21329"/>
                  <a:pt x="44097" y="21360"/>
                </a:cubicBezTo>
                <a:cubicBezTo>
                  <a:pt x="44331" y="21501"/>
                  <a:pt x="44503" y="21658"/>
                  <a:pt x="44644" y="21829"/>
                </a:cubicBezTo>
                <a:lnTo>
                  <a:pt x="44660" y="21845"/>
                </a:lnTo>
                <a:cubicBezTo>
                  <a:pt x="44800" y="22033"/>
                  <a:pt x="44894" y="22221"/>
                  <a:pt x="44925" y="22439"/>
                </a:cubicBezTo>
                <a:cubicBezTo>
                  <a:pt x="45144" y="23487"/>
                  <a:pt x="45113" y="24644"/>
                  <a:pt x="45097" y="24957"/>
                </a:cubicBezTo>
                <a:lnTo>
                  <a:pt x="41219" y="31118"/>
                </a:lnTo>
                <a:cubicBezTo>
                  <a:pt x="41110" y="31087"/>
                  <a:pt x="41001" y="31071"/>
                  <a:pt x="40876" y="31071"/>
                </a:cubicBezTo>
                <a:cubicBezTo>
                  <a:pt x="40172" y="31071"/>
                  <a:pt x="39609" y="31649"/>
                  <a:pt x="39609" y="32354"/>
                </a:cubicBezTo>
                <a:cubicBezTo>
                  <a:pt x="39609" y="33057"/>
                  <a:pt x="40172" y="33620"/>
                  <a:pt x="40876" y="33620"/>
                </a:cubicBezTo>
                <a:cubicBezTo>
                  <a:pt x="41579" y="33620"/>
                  <a:pt x="42158" y="33057"/>
                  <a:pt x="42158" y="32354"/>
                </a:cubicBezTo>
                <a:cubicBezTo>
                  <a:pt x="42158" y="32025"/>
                  <a:pt x="42032" y="31728"/>
                  <a:pt x="41829" y="31509"/>
                </a:cubicBezTo>
                <a:lnTo>
                  <a:pt x="45660" y="25411"/>
                </a:lnTo>
                <a:cubicBezTo>
                  <a:pt x="46036" y="25364"/>
                  <a:pt x="47114" y="25348"/>
                  <a:pt x="47787" y="26145"/>
                </a:cubicBezTo>
                <a:cubicBezTo>
                  <a:pt x="48272" y="26724"/>
                  <a:pt x="48397" y="27396"/>
                  <a:pt x="48412" y="28100"/>
                </a:cubicBezTo>
                <a:lnTo>
                  <a:pt x="48412" y="28116"/>
                </a:lnTo>
                <a:lnTo>
                  <a:pt x="48412" y="28882"/>
                </a:lnTo>
                <a:cubicBezTo>
                  <a:pt x="48397" y="29117"/>
                  <a:pt x="48397" y="29367"/>
                  <a:pt x="48397" y="29617"/>
                </a:cubicBezTo>
                <a:cubicBezTo>
                  <a:pt x="48428" y="31697"/>
                  <a:pt x="47975" y="32400"/>
                  <a:pt x="47490" y="32854"/>
                </a:cubicBezTo>
                <a:cubicBezTo>
                  <a:pt x="46943" y="33354"/>
                  <a:pt x="45754" y="33260"/>
                  <a:pt x="45348" y="33182"/>
                </a:cubicBezTo>
                <a:lnTo>
                  <a:pt x="45332" y="33182"/>
                </a:lnTo>
                <a:cubicBezTo>
                  <a:pt x="44284" y="33026"/>
                  <a:pt x="43940" y="32244"/>
                  <a:pt x="43846" y="31931"/>
                </a:cubicBezTo>
                <a:cubicBezTo>
                  <a:pt x="44816" y="30305"/>
                  <a:pt x="44493" y="30847"/>
                  <a:pt x="44816" y="30305"/>
                </a:cubicBezTo>
                <a:cubicBezTo>
                  <a:pt x="44957" y="30367"/>
                  <a:pt x="45113" y="30399"/>
                  <a:pt x="45285" y="30399"/>
                </a:cubicBezTo>
                <a:cubicBezTo>
                  <a:pt x="45989" y="30399"/>
                  <a:pt x="46551" y="29820"/>
                  <a:pt x="46551" y="29117"/>
                </a:cubicBezTo>
                <a:cubicBezTo>
                  <a:pt x="46551" y="28428"/>
                  <a:pt x="45989" y="27850"/>
                  <a:pt x="45285" y="27850"/>
                </a:cubicBezTo>
                <a:cubicBezTo>
                  <a:pt x="44581" y="27850"/>
                  <a:pt x="44003" y="28428"/>
                  <a:pt x="44003" y="29117"/>
                </a:cubicBezTo>
                <a:cubicBezTo>
                  <a:pt x="44003" y="29398"/>
                  <a:pt x="44097" y="29648"/>
                  <a:pt x="44237" y="29852"/>
                </a:cubicBezTo>
                <a:cubicBezTo>
                  <a:pt x="43158" y="31697"/>
                  <a:pt x="43518" y="31082"/>
                  <a:pt x="43158" y="31697"/>
                </a:cubicBezTo>
                <a:cubicBezTo>
                  <a:pt x="43111" y="31775"/>
                  <a:pt x="43096" y="31853"/>
                  <a:pt x="43111" y="31947"/>
                </a:cubicBezTo>
                <a:cubicBezTo>
                  <a:pt x="43111" y="31978"/>
                  <a:pt x="43190" y="32385"/>
                  <a:pt x="43487" y="32822"/>
                </a:cubicBezTo>
                <a:cubicBezTo>
                  <a:pt x="43737" y="33198"/>
                  <a:pt x="44191" y="33651"/>
                  <a:pt x="44972" y="33839"/>
                </a:cubicBezTo>
                <a:cubicBezTo>
                  <a:pt x="45004" y="34026"/>
                  <a:pt x="45035" y="34339"/>
                  <a:pt x="45050" y="34652"/>
                </a:cubicBezTo>
                <a:cubicBezTo>
                  <a:pt x="45082" y="35309"/>
                  <a:pt x="44988" y="35794"/>
                  <a:pt x="44785" y="35981"/>
                </a:cubicBezTo>
                <a:cubicBezTo>
                  <a:pt x="44754" y="36012"/>
                  <a:pt x="44764" y="36002"/>
                  <a:pt x="44754" y="36012"/>
                </a:cubicBezTo>
                <a:cubicBezTo>
                  <a:pt x="44128" y="36622"/>
                  <a:pt x="43768" y="36966"/>
                  <a:pt x="42799" y="36966"/>
                </a:cubicBezTo>
                <a:cubicBezTo>
                  <a:pt x="42392" y="36966"/>
                  <a:pt x="41970" y="36982"/>
                  <a:pt x="41595" y="36982"/>
                </a:cubicBezTo>
                <a:cubicBezTo>
                  <a:pt x="40969" y="36998"/>
                  <a:pt x="40375" y="37013"/>
                  <a:pt x="40109" y="36966"/>
                </a:cubicBezTo>
                <a:cubicBezTo>
                  <a:pt x="39765" y="36904"/>
                  <a:pt x="38467" y="36325"/>
                  <a:pt x="38420" y="35262"/>
                </a:cubicBezTo>
                <a:cubicBezTo>
                  <a:pt x="38374" y="34136"/>
                  <a:pt x="38405" y="27537"/>
                  <a:pt x="38420" y="26036"/>
                </a:cubicBezTo>
                <a:cubicBezTo>
                  <a:pt x="38952" y="25879"/>
                  <a:pt x="39327" y="25395"/>
                  <a:pt x="39327" y="24816"/>
                </a:cubicBezTo>
                <a:cubicBezTo>
                  <a:pt x="39327" y="24113"/>
                  <a:pt x="38764" y="23534"/>
                  <a:pt x="38061" y="23534"/>
                </a:cubicBezTo>
                <a:cubicBezTo>
                  <a:pt x="37357" y="23534"/>
                  <a:pt x="36794" y="24113"/>
                  <a:pt x="36794" y="24816"/>
                </a:cubicBezTo>
                <a:cubicBezTo>
                  <a:pt x="36794" y="25395"/>
                  <a:pt x="37169" y="25879"/>
                  <a:pt x="37701" y="26036"/>
                </a:cubicBezTo>
                <a:cubicBezTo>
                  <a:pt x="37686" y="27568"/>
                  <a:pt x="37654" y="34136"/>
                  <a:pt x="37701" y="35293"/>
                </a:cubicBezTo>
                <a:cubicBezTo>
                  <a:pt x="37732" y="35950"/>
                  <a:pt x="38076" y="36560"/>
                  <a:pt x="38686" y="37029"/>
                </a:cubicBezTo>
                <a:cubicBezTo>
                  <a:pt x="39155" y="37404"/>
                  <a:pt x="39687" y="37623"/>
                  <a:pt x="39984" y="37670"/>
                </a:cubicBezTo>
                <a:cubicBezTo>
                  <a:pt x="40172" y="37701"/>
                  <a:pt x="40422" y="37717"/>
                  <a:pt x="40719" y="37717"/>
                </a:cubicBezTo>
                <a:cubicBezTo>
                  <a:pt x="40985" y="37717"/>
                  <a:pt x="41282" y="37701"/>
                  <a:pt x="41626" y="37701"/>
                </a:cubicBezTo>
                <a:cubicBezTo>
                  <a:pt x="42001" y="37686"/>
                  <a:pt x="42408" y="37686"/>
                  <a:pt x="42799" y="37686"/>
                </a:cubicBezTo>
                <a:cubicBezTo>
                  <a:pt x="43971" y="37686"/>
                  <a:pt x="44519" y="37232"/>
                  <a:pt x="45113" y="36653"/>
                </a:cubicBezTo>
                <a:lnTo>
                  <a:pt x="45238" y="36700"/>
                </a:lnTo>
                <a:cubicBezTo>
                  <a:pt x="45270" y="36716"/>
                  <a:pt x="45317" y="36732"/>
                  <a:pt x="45363" y="36732"/>
                </a:cubicBezTo>
                <a:cubicBezTo>
                  <a:pt x="45504" y="36732"/>
                  <a:pt x="45645" y="36638"/>
                  <a:pt x="45692" y="36497"/>
                </a:cubicBezTo>
                <a:cubicBezTo>
                  <a:pt x="45754" y="36341"/>
                  <a:pt x="45707" y="36169"/>
                  <a:pt x="45567" y="36075"/>
                </a:cubicBezTo>
                <a:cubicBezTo>
                  <a:pt x="45723" y="35731"/>
                  <a:pt x="45785" y="35246"/>
                  <a:pt x="45770" y="34636"/>
                </a:cubicBezTo>
                <a:cubicBezTo>
                  <a:pt x="45754" y="34371"/>
                  <a:pt x="45738" y="34136"/>
                  <a:pt x="45707" y="33948"/>
                </a:cubicBezTo>
                <a:cubicBezTo>
                  <a:pt x="46317" y="33995"/>
                  <a:pt x="47349" y="33964"/>
                  <a:pt x="47975" y="33385"/>
                </a:cubicBezTo>
                <a:cubicBezTo>
                  <a:pt x="48381" y="33010"/>
                  <a:pt x="48647" y="32572"/>
                  <a:pt x="48835" y="32025"/>
                </a:cubicBezTo>
                <a:close/>
                <a:moveTo>
                  <a:pt x="30899" y="29429"/>
                </a:moveTo>
                <a:cubicBezTo>
                  <a:pt x="30899" y="29117"/>
                  <a:pt x="31149" y="28866"/>
                  <a:pt x="31462" y="28866"/>
                </a:cubicBezTo>
                <a:cubicBezTo>
                  <a:pt x="31775" y="28866"/>
                  <a:pt x="32025" y="29117"/>
                  <a:pt x="32025" y="29429"/>
                </a:cubicBezTo>
                <a:cubicBezTo>
                  <a:pt x="32025" y="29523"/>
                  <a:pt x="31994" y="29617"/>
                  <a:pt x="31947" y="29695"/>
                </a:cubicBezTo>
                <a:cubicBezTo>
                  <a:pt x="31900" y="29710"/>
                  <a:pt x="31853" y="29742"/>
                  <a:pt x="31806" y="29789"/>
                </a:cubicBezTo>
                <a:cubicBezTo>
                  <a:pt x="31759" y="29820"/>
                  <a:pt x="31743" y="29867"/>
                  <a:pt x="31712" y="29930"/>
                </a:cubicBezTo>
                <a:cubicBezTo>
                  <a:pt x="31649" y="29961"/>
                  <a:pt x="31556" y="29992"/>
                  <a:pt x="31462" y="29992"/>
                </a:cubicBezTo>
                <a:cubicBezTo>
                  <a:pt x="31149" y="29992"/>
                  <a:pt x="30899" y="29742"/>
                  <a:pt x="30899" y="29429"/>
                </a:cubicBezTo>
                <a:close/>
                <a:moveTo>
                  <a:pt x="29351" y="32979"/>
                </a:moveTo>
                <a:cubicBezTo>
                  <a:pt x="29663" y="32979"/>
                  <a:pt x="29914" y="33229"/>
                  <a:pt x="29914" y="33526"/>
                </a:cubicBezTo>
                <a:cubicBezTo>
                  <a:pt x="29914" y="33839"/>
                  <a:pt x="29663" y="34089"/>
                  <a:pt x="29351" y="34089"/>
                </a:cubicBezTo>
                <a:cubicBezTo>
                  <a:pt x="29054" y="34089"/>
                  <a:pt x="28804" y="33839"/>
                  <a:pt x="28804" y="33526"/>
                </a:cubicBezTo>
                <a:cubicBezTo>
                  <a:pt x="28804" y="33229"/>
                  <a:pt x="29054" y="32979"/>
                  <a:pt x="29351" y="32979"/>
                </a:cubicBezTo>
                <a:close/>
                <a:moveTo>
                  <a:pt x="24003" y="28866"/>
                </a:moveTo>
                <a:cubicBezTo>
                  <a:pt x="24316" y="28866"/>
                  <a:pt x="24566" y="29117"/>
                  <a:pt x="24566" y="29429"/>
                </a:cubicBezTo>
                <a:cubicBezTo>
                  <a:pt x="24566" y="29726"/>
                  <a:pt x="24316" y="29977"/>
                  <a:pt x="24003" y="29977"/>
                </a:cubicBezTo>
                <a:cubicBezTo>
                  <a:pt x="23706" y="29977"/>
                  <a:pt x="23456" y="29726"/>
                  <a:pt x="23456" y="29429"/>
                </a:cubicBezTo>
                <a:cubicBezTo>
                  <a:pt x="23456" y="29117"/>
                  <a:pt x="23706" y="28866"/>
                  <a:pt x="24003" y="28866"/>
                </a:cubicBezTo>
                <a:close/>
                <a:moveTo>
                  <a:pt x="27912" y="28147"/>
                </a:moveTo>
                <a:cubicBezTo>
                  <a:pt x="27912" y="28459"/>
                  <a:pt x="27662" y="28710"/>
                  <a:pt x="27365" y="28710"/>
                </a:cubicBezTo>
                <a:cubicBezTo>
                  <a:pt x="27052" y="28710"/>
                  <a:pt x="26802" y="28459"/>
                  <a:pt x="26802" y="28147"/>
                </a:cubicBezTo>
                <a:cubicBezTo>
                  <a:pt x="26802" y="28006"/>
                  <a:pt x="26849" y="27881"/>
                  <a:pt x="26927" y="27787"/>
                </a:cubicBezTo>
                <a:cubicBezTo>
                  <a:pt x="26943" y="27787"/>
                  <a:pt x="26943" y="27787"/>
                  <a:pt x="26943" y="27771"/>
                </a:cubicBezTo>
                <a:cubicBezTo>
                  <a:pt x="27036" y="27662"/>
                  <a:pt x="27193" y="27584"/>
                  <a:pt x="27365" y="27584"/>
                </a:cubicBezTo>
                <a:cubicBezTo>
                  <a:pt x="27662" y="27584"/>
                  <a:pt x="27912" y="27834"/>
                  <a:pt x="27912" y="28147"/>
                </a:cubicBezTo>
                <a:close/>
                <a:moveTo>
                  <a:pt x="20219" y="26818"/>
                </a:moveTo>
                <a:cubicBezTo>
                  <a:pt x="20219" y="27130"/>
                  <a:pt x="19968" y="27381"/>
                  <a:pt x="19656" y="27381"/>
                </a:cubicBezTo>
                <a:cubicBezTo>
                  <a:pt x="19343" y="27381"/>
                  <a:pt x="19093" y="27130"/>
                  <a:pt x="19093" y="26818"/>
                </a:cubicBezTo>
                <a:cubicBezTo>
                  <a:pt x="19093" y="26520"/>
                  <a:pt x="19343" y="26270"/>
                  <a:pt x="19656" y="26270"/>
                </a:cubicBezTo>
                <a:cubicBezTo>
                  <a:pt x="19968" y="26270"/>
                  <a:pt x="20219" y="26520"/>
                  <a:pt x="20219" y="26818"/>
                </a:cubicBezTo>
                <a:close/>
                <a:moveTo>
                  <a:pt x="30789" y="20391"/>
                </a:moveTo>
                <a:cubicBezTo>
                  <a:pt x="30789" y="20688"/>
                  <a:pt x="30539" y="20938"/>
                  <a:pt x="30226" y="20938"/>
                </a:cubicBezTo>
                <a:cubicBezTo>
                  <a:pt x="29930" y="20938"/>
                  <a:pt x="29679" y="20688"/>
                  <a:pt x="29679" y="20391"/>
                </a:cubicBezTo>
                <a:cubicBezTo>
                  <a:pt x="29679" y="20219"/>
                  <a:pt x="29742" y="20078"/>
                  <a:pt x="29851" y="19969"/>
                </a:cubicBezTo>
                <a:lnTo>
                  <a:pt x="29867" y="19969"/>
                </a:lnTo>
                <a:cubicBezTo>
                  <a:pt x="29961" y="19875"/>
                  <a:pt x="30086" y="19828"/>
                  <a:pt x="30226" y="19828"/>
                </a:cubicBezTo>
                <a:cubicBezTo>
                  <a:pt x="30539" y="19828"/>
                  <a:pt x="30789" y="20078"/>
                  <a:pt x="30789" y="20391"/>
                </a:cubicBezTo>
                <a:close/>
                <a:moveTo>
                  <a:pt x="33432" y="25676"/>
                </a:moveTo>
                <a:cubicBezTo>
                  <a:pt x="33432" y="25974"/>
                  <a:pt x="33182" y="26224"/>
                  <a:pt x="32869" y="26224"/>
                </a:cubicBezTo>
                <a:cubicBezTo>
                  <a:pt x="32572" y="26224"/>
                  <a:pt x="32322" y="25974"/>
                  <a:pt x="32322" y="25676"/>
                </a:cubicBezTo>
                <a:cubicBezTo>
                  <a:pt x="32322" y="25364"/>
                  <a:pt x="32572" y="25113"/>
                  <a:pt x="32869" y="25113"/>
                </a:cubicBezTo>
                <a:cubicBezTo>
                  <a:pt x="33182" y="25113"/>
                  <a:pt x="33432" y="25364"/>
                  <a:pt x="33432" y="25676"/>
                </a:cubicBezTo>
                <a:close/>
                <a:moveTo>
                  <a:pt x="29054" y="24003"/>
                </a:moveTo>
                <a:cubicBezTo>
                  <a:pt x="29054" y="24316"/>
                  <a:pt x="28804" y="24566"/>
                  <a:pt x="28491" y="24566"/>
                </a:cubicBezTo>
                <a:cubicBezTo>
                  <a:pt x="28194" y="24566"/>
                  <a:pt x="27944" y="24316"/>
                  <a:pt x="27944" y="24003"/>
                </a:cubicBezTo>
                <a:cubicBezTo>
                  <a:pt x="27944" y="23878"/>
                  <a:pt x="27991" y="23737"/>
                  <a:pt x="28069" y="23643"/>
                </a:cubicBezTo>
                <a:lnTo>
                  <a:pt x="28084" y="23643"/>
                </a:lnTo>
                <a:cubicBezTo>
                  <a:pt x="28178" y="23518"/>
                  <a:pt x="28334" y="23456"/>
                  <a:pt x="28491" y="23456"/>
                </a:cubicBezTo>
                <a:cubicBezTo>
                  <a:pt x="28804" y="23456"/>
                  <a:pt x="29054" y="23706"/>
                  <a:pt x="29054" y="24003"/>
                </a:cubicBezTo>
                <a:close/>
                <a:moveTo>
                  <a:pt x="36356" y="41439"/>
                </a:moveTo>
                <a:cubicBezTo>
                  <a:pt x="36356" y="41751"/>
                  <a:pt x="36106" y="42002"/>
                  <a:pt x="35793" y="42002"/>
                </a:cubicBezTo>
                <a:cubicBezTo>
                  <a:pt x="35480" y="42002"/>
                  <a:pt x="35230" y="41751"/>
                  <a:pt x="35230" y="41439"/>
                </a:cubicBezTo>
                <a:cubicBezTo>
                  <a:pt x="35230" y="41141"/>
                  <a:pt x="35480" y="40891"/>
                  <a:pt x="35793" y="40891"/>
                </a:cubicBezTo>
                <a:cubicBezTo>
                  <a:pt x="36106" y="40891"/>
                  <a:pt x="36356" y="41141"/>
                  <a:pt x="36356" y="41439"/>
                </a:cubicBezTo>
                <a:close/>
                <a:moveTo>
                  <a:pt x="38280" y="22174"/>
                </a:moveTo>
                <a:cubicBezTo>
                  <a:pt x="37967" y="22174"/>
                  <a:pt x="37717" y="21923"/>
                  <a:pt x="37717" y="21626"/>
                </a:cubicBezTo>
                <a:cubicBezTo>
                  <a:pt x="37717" y="21313"/>
                  <a:pt x="37967" y="21063"/>
                  <a:pt x="38280" y="21063"/>
                </a:cubicBezTo>
                <a:cubicBezTo>
                  <a:pt x="38389" y="21063"/>
                  <a:pt x="38483" y="21095"/>
                  <a:pt x="38561" y="21141"/>
                </a:cubicBezTo>
                <a:cubicBezTo>
                  <a:pt x="38577" y="21157"/>
                  <a:pt x="38577" y="21157"/>
                  <a:pt x="38592" y="21157"/>
                </a:cubicBezTo>
                <a:cubicBezTo>
                  <a:pt x="38733" y="21266"/>
                  <a:pt x="38827" y="21439"/>
                  <a:pt x="38827" y="21626"/>
                </a:cubicBezTo>
                <a:cubicBezTo>
                  <a:pt x="38827" y="21923"/>
                  <a:pt x="38577" y="22174"/>
                  <a:pt x="38280" y="22174"/>
                </a:cubicBezTo>
                <a:close/>
                <a:moveTo>
                  <a:pt x="40328" y="28835"/>
                </a:moveTo>
                <a:cubicBezTo>
                  <a:pt x="40015" y="28835"/>
                  <a:pt x="39765" y="28585"/>
                  <a:pt x="39765" y="28272"/>
                </a:cubicBezTo>
                <a:cubicBezTo>
                  <a:pt x="39765" y="27959"/>
                  <a:pt x="40015" y="27709"/>
                  <a:pt x="40328" y="27709"/>
                </a:cubicBezTo>
                <a:cubicBezTo>
                  <a:pt x="40391" y="27709"/>
                  <a:pt x="40453" y="27725"/>
                  <a:pt x="40516" y="27740"/>
                </a:cubicBezTo>
                <a:cubicBezTo>
                  <a:pt x="40531" y="27756"/>
                  <a:pt x="40531" y="27756"/>
                  <a:pt x="40547" y="27756"/>
                </a:cubicBezTo>
                <a:cubicBezTo>
                  <a:pt x="40750" y="27850"/>
                  <a:pt x="40891" y="28038"/>
                  <a:pt x="40891" y="28272"/>
                </a:cubicBezTo>
                <a:cubicBezTo>
                  <a:pt x="40891" y="28585"/>
                  <a:pt x="40641" y="28835"/>
                  <a:pt x="40328" y="28835"/>
                </a:cubicBezTo>
                <a:close/>
                <a:moveTo>
                  <a:pt x="40876" y="32900"/>
                </a:moveTo>
                <a:cubicBezTo>
                  <a:pt x="40578" y="32900"/>
                  <a:pt x="40328" y="32650"/>
                  <a:pt x="40328" y="32354"/>
                </a:cubicBezTo>
                <a:cubicBezTo>
                  <a:pt x="40328" y="32041"/>
                  <a:pt x="40578" y="31791"/>
                  <a:pt x="40876" y="31791"/>
                </a:cubicBezTo>
                <a:cubicBezTo>
                  <a:pt x="40985" y="31791"/>
                  <a:pt x="41079" y="31822"/>
                  <a:pt x="41172" y="31869"/>
                </a:cubicBezTo>
                <a:cubicBezTo>
                  <a:pt x="41172" y="31884"/>
                  <a:pt x="41183" y="31879"/>
                  <a:pt x="41188" y="31884"/>
                </a:cubicBezTo>
                <a:cubicBezTo>
                  <a:pt x="41344" y="31978"/>
                  <a:pt x="41439" y="32150"/>
                  <a:pt x="41439" y="32354"/>
                </a:cubicBezTo>
                <a:cubicBezTo>
                  <a:pt x="41439" y="32650"/>
                  <a:pt x="41188" y="32900"/>
                  <a:pt x="40876" y="32900"/>
                </a:cubicBezTo>
                <a:close/>
                <a:moveTo>
                  <a:pt x="45285" y="28569"/>
                </a:moveTo>
                <a:cubicBezTo>
                  <a:pt x="45582" y="28569"/>
                  <a:pt x="45832" y="28819"/>
                  <a:pt x="45832" y="29117"/>
                </a:cubicBezTo>
                <a:cubicBezTo>
                  <a:pt x="45832" y="29429"/>
                  <a:pt x="45582" y="29679"/>
                  <a:pt x="45285" y="29679"/>
                </a:cubicBezTo>
                <a:cubicBezTo>
                  <a:pt x="45144" y="29679"/>
                  <a:pt x="45019" y="29632"/>
                  <a:pt x="44925" y="29554"/>
                </a:cubicBezTo>
                <a:lnTo>
                  <a:pt x="44910" y="29539"/>
                </a:lnTo>
                <a:cubicBezTo>
                  <a:pt x="44800" y="29445"/>
                  <a:pt x="44722" y="29289"/>
                  <a:pt x="44722" y="29117"/>
                </a:cubicBezTo>
                <a:cubicBezTo>
                  <a:pt x="44722" y="28819"/>
                  <a:pt x="44972" y="28569"/>
                  <a:pt x="45285" y="28569"/>
                </a:cubicBezTo>
                <a:close/>
                <a:moveTo>
                  <a:pt x="37498" y="24816"/>
                </a:moveTo>
                <a:cubicBezTo>
                  <a:pt x="37498" y="24503"/>
                  <a:pt x="37748" y="24253"/>
                  <a:pt x="38061" y="24253"/>
                </a:cubicBezTo>
                <a:cubicBezTo>
                  <a:pt x="38374" y="24253"/>
                  <a:pt x="38624" y="24503"/>
                  <a:pt x="38624" y="24816"/>
                </a:cubicBezTo>
                <a:cubicBezTo>
                  <a:pt x="38624" y="25129"/>
                  <a:pt x="38374" y="25379"/>
                  <a:pt x="38061" y="25379"/>
                </a:cubicBezTo>
                <a:cubicBezTo>
                  <a:pt x="37748" y="25379"/>
                  <a:pt x="37498" y="25129"/>
                  <a:pt x="37498" y="24816"/>
                </a:cubicBezTo>
                <a:close/>
                <a:moveTo>
                  <a:pt x="20313" y="16638"/>
                </a:moveTo>
                <a:lnTo>
                  <a:pt x="20797" y="17076"/>
                </a:lnTo>
                <a:cubicBezTo>
                  <a:pt x="20876" y="17138"/>
                  <a:pt x="20954" y="17170"/>
                  <a:pt x="21048" y="17170"/>
                </a:cubicBezTo>
                <a:cubicBezTo>
                  <a:pt x="21141" y="17170"/>
                  <a:pt x="21235" y="17123"/>
                  <a:pt x="21313" y="17045"/>
                </a:cubicBezTo>
                <a:cubicBezTo>
                  <a:pt x="21438" y="16904"/>
                  <a:pt x="21423" y="16669"/>
                  <a:pt x="21282" y="16544"/>
                </a:cubicBezTo>
                <a:lnTo>
                  <a:pt x="20797" y="16106"/>
                </a:lnTo>
                <a:cubicBezTo>
                  <a:pt x="20641" y="15981"/>
                  <a:pt x="20422" y="15997"/>
                  <a:pt x="20297" y="16137"/>
                </a:cubicBezTo>
                <a:cubicBezTo>
                  <a:pt x="20156" y="16278"/>
                  <a:pt x="20172" y="16513"/>
                  <a:pt x="20313" y="16638"/>
                </a:cubicBezTo>
                <a:close/>
                <a:moveTo>
                  <a:pt x="28772" y="13589"/>
                </a:moveTo>
                <a:cubicBezTo>
                  <a:pt x="28569" y="13635"/>
                  <a:pt x="28444" y="13823"/>
                  <a:pt x="28491" y="14011"/>
                </a:cubicBezTo>
                <a:lnTo>
                  <a:pt x="28616" y="14652"/>
                </a:lnTo>
                <a:cubicBezTo>
                  <a:pt x="28663" y="14824"/>
                  <a:pt x="28804" y="14933"/>
                  <a:pt x="28975" y="14933"/>
                </a:cubicBezTo>
                <a:lnTo>
                  <a:pt x="29054" y="14933"/>
                </a:lnTo>
                <a:cubicBezTo>
                  <a:pt x="29242" y="14886"/>
                  <a:pt x="29367" y="14699"/>
                  <a:pt x="29320" y="14511"/>
                </a:cubicBezTo>
                <a:lnTo>
                  <a:pt x="29194" y="13870"/>
                </a:lnTo>
                <a:cubicBezTo>
                  <a:pt x="29147" y="13667"/>
                  <a:pt x="28960" y="13557"/>
                  <a:pt x="28772" y="13589"/>
                </a:cubicBezTo>
                <a:close/>
                <a:moveTo>
                  <a:pt x="38561" y="12619"/>
                </a:moveTo>
                <a:cubicBezTo>
                  <a:pt x="38577" y="12416"/>
                  <a:pt x="38420" y="12259"/>
                  <a:pt x="38217" y="12244"/>
                </a:cubicBezTo>
                <a:cubicBezTo>
                  <a:pt x="38029" y="12244"/>
                  <a:pt x="37857" y="12400"/>
                  <a:pt x="37857" y="12588"/>
                </a:cubicBezTo>
                <a:lnTo>
                  <a:pt x="37826" y="13245"/>
                </a:lnTo>
                <a:cubicBezTo>
                  <a:pt x="37826" y="13432"/>
                  <a:pt x="37982" y="13604"/>
                  <a:pt x="38170" y="13604"/>
                </a:cubicBezTo>
                <a:lnTo>
                  <a:pt x="38186" y="13604"/>
                </a:lnTo>
                <a:cubicBezTo>
                  <a:pt x="38374" y="13604"/>
                  <a:pt x="38545" y="13464"/>
                  <a:pt x="38545" y="13260"/>
                </a:cubicBezTo>
                <a:close/>
                <a:moveTo>
                  <a:pt x="38154" y="14198"/>
                </a:moveTo>
                <a:cubicBezTo>
                  <a:pt x="37951" y="14183"/>
                  <a:pt x="37795" y="14339"/>
                  <a:pt x="37779" y="14543"/>
                </a:cubicBezTo>
                <a:cubicBezTo>
                  <a:pt x="37764" y="15199"/>
                  <a:pt x="37769" y="14980"/>
                  <a:pt x="37764" y="15199"/>
                </a:cubicBezTo>
                <a:cubicBezTo>
                  <a:pt x="37764" y="15387"/>
                  <a:pt x="37904" y="15559"/>
                  <a:pt x="38107" y="15559"/>
                </a:cubicBezTo>
                <a:lnTo>
                  <a:pt x="38123" y="15559"/>
                </a:lnTo>
                <a:cubicBezTo>
                  <a:pt x="38311" y="15559"/>
                  <a:pt x="38467" y="15403"/>
                  <a:pt x="38483" y="15215"/>
                </a:cubicBezTo>
                <a:lnTo>
                  <a:pt x="38499" y="14574"/>
                </a:lnTo>
                <a:cubicBezTo>
                  <a:pt x="38514" y="14371"/>
                  <a:pt x="38358" y="14198"/>
                  <a:pt x="38154" y="14198"/>
                </a:cubicBezTo>
                <a:close/>
                <a:moveTo>
                  <a:pt x="46286" y="19922"/>
                </a:moveTo>
                <a:lnTo>
                  <a:pt x="45801" y="20360"/>
                </a:lnTo>
                <a:cubicBezTo>
                  <a:pt x="45660" y="20500"/>
                  <a:pt x="45645" y="20719"/>
                  <a:pt x="45770" y="20876"/>
                </a:cubicBezTo>
                <a:cubicBezTo>
                  <a:pt x="45848" y="20954"/>
                  <a:pt x="45942" y="20985"/>
                  <a:pt x="46036" y="20985"/>
                </a:cubicBezTo>
                <a:cubicBezTo>
                  <a:pt x="46130" y="20985"/>
                  <a:pt x="46208" y="20954"/>
                  <a:pt x="46286" y="20891"/>
                </a:cubicBezTo>
                <a:lnTo>
                  <a:pt x="46771" y="20453"/>
                </a:lnTo>
                <a:cubicBezTo>
                  <a:pt x="46911" y="20328"/>
                  <a:pt x="46927" y="20109"/>
                  <a:pt x="46786" y="19953"/>
                </a:cubicBezTo>
                <a:cubicBezTo>
                  <a:pt x="46661" y="19812"/>
                  <a:pt x="46426" y="19797"/>
                  <a:pt x="46286" y="19922"/>
                </a:cubicBezTo>
                <a:close/>
                <a:moveTo>
                  <a:pt x="51259" y="27521"/>
                </a:moveTo>
                <a:cubicBezTo>
                  <a:pt x="50617" y="27584"/>
                  <a:pt x="50831" y="27563"/>
                  <a:pt x="50617" y="27584"/>
                </a:cubicBezTo>
                <a:cubicBezTo>
                  <a:pt x="50414" y="27600"/>
                  <a:pt x="50273" y="27771"/>
                  <a:pt x="50289" y="27975"/>
                </a:cubicBezTo>
                <a:cubicBezTo>
                  <a:pt x="50304" y="28163"/>
                  <a:pt x="50461" y="28303"/>
                  <a:pt x="50649" y="28303"/>
                </a:cubicBezTo>
                <a:lnTo>
                  <a:pt x="50680" y="28303"/>
                </a:lnTo>
                <a:lnTo>
                  <a:pt x="51321" y="28241"/>
                </a:lnTo>
                <a:cubicBezTo>
                  <a:pt x="51524" y="28225"/>
                  <a:pt x="51665" y="28038"/>
                  <a:pt x="51649" y="27850"/>
                </a:cubicBezTo>
                <a:cubicBezTo>
                  <a:pt x="51634" y="27646"/>
                  <a:pt x="51462" y="27506"/>
                  <a:pt x="51259" y="27521"/>
                </a:cubicBezTo>
                <a:close/>
                <a:moveTo>
                  <a:pt x="53213" y="27350"/>
                </a:moveTo>
                <a:lnTo>
                  <a:pt x="52556" y="27412"/>
                </a:lnTo>
                <a:cubicBezTo>
                  <a:pt x="52369" y="27428"/>
                  <a:pt x="52212" y="27600"/>
                  <a:pt x="52228" y="27803"/>
                </a:cubicBezTo>
                <a:cubicBezTo>
                  <a:pt x="52259" y="27975"/>
                  <a:pt x="52400" y="28116"/>
                  <a:pt x="52588" y="28116"/>
                </a:cubicBezTo>
                <a:lnTo>
                  <a:pt x="52619" y="28116"/>
                </a:lnTo>
                <a:lnTo>
                  <a:pt x="53276" y="28053"/>
                </a:lnTo>
                <a:cubicBezTo>
                  <a:pt x="53463" y="28038"/>
                  <a:pt x="53619" y="27866"/>
                  <a:pt x="53588" y="27678"/>
                </a:cubicBezTo>
                <a:cubicBezTo>
                  <a:pt x="53573" y="27475"/>
                  <a:pt x="53401" y="27334"/>
                  <a:pt x="53213" y="27350"/>
                </a:cubicBezTo>
                <a:close/>
                <a:moveTo>
                  <a:pt x="47318" y="36747"/>
                </a:moveTo>
                <a:lnTo>
                  <a:pt x="46708" y="36513"/>
                </a:lnTo>
                <a:cubicBezTo>
                  <a:pt x="46520" y="36435"/>
                  <a:pt x="46317" y="36528"/>
                  <a:pt x="46239" y="36716"/>
                </a:cubicBezTo>
                <a:cubicBezTo>
                  <a:pt x="46176" y="36904"/>
                  <a:pt x="46255" y="37107"/>
                  <a:pt x="46442" y="37170"/>
                </a:cubicBezTo>
                <a:lnTo>
                  <a:pt x="47052" y="37420"/>
                </a:lnTo>
                <a:cubicBezTo>
                  <a:pt x="47099" y="37435"/>
                  <a:pt x="47146" y="37435"/>
                  <a:pt x="47177" y="37435"/>
                </a:cubicBezTo>
                <a:cubicBezTo>
                  <a:pt x="47318" y="37435"/>
                  <a:pt x="47459" y="37357"/>
                  <a:pt x="47521" y="37216"/>
                </a:cubicBezTo>
                <a:cubicBezTo>
                  <a:pt x="47584" y="37029"/>
                  <a:pt x="47490" y="36826"/>
                  <a:pt x="47318" y="36747"/>
                </a:cubicBezTo>
                <a:close/>
                <a:moveTo>
                  <a:pt x="12932" y="26067"/>
                </a:moveTo>
                <a:cubicBezTo>
                  <a:pt x="12791" y="25129"/>
                  <a:pt x="11978" y="24410"/>
                  <a:pt x="10993" y="24410"/>
                </a:cubicBezTo>
                <a:cubicBezTo>
                  <a:pt x="9914" y="24410"/>
                  <a:pt x="9038" y="25286"/>
                  <a:pt x="9038" y="26364"/>
                </a:cubicBezTo>
                <a:cubicBezTo>
                  <a:pt x="9038" y="27443"/>
                  <a:pt x="9914" y="28334"/>
                  <a:pt x="10993" y="28334"/>
                </a:cubicBezTo>
                <a:cubicBezTo>
                  <a:pt x="11931" y="28334"/>
                  <a:pt x="12713" y="27678"/>
                  <a:pt x="12916" y="26802"/>
                </a:cubicBezTo>
                <a:lnTo>
                  <a:pt x="13167" y="26849"/>
                </a:lnTo>
                <a:lnTo>
                  <a:pt x="13245" y="26849"/>
                </a:lnTo>
                <a:cubicBezTo>
                  <a:pt x="13401" y="26849"/>
                  <a:pt x="13557" y="26740"/>
                  <a:pt x="13588" y="26568"/>
                </a:cubicBezTo>
                <a:cubicBezTo>
                  <a:pt x="13620" y="26380"/>
                  <a:pt x="13510" y="26192"/>
                  <a:pt x="13307" y="26145"/>
                </a:cubicBezTo>
                <a:close/>
                <a:moveTo>
                  <a:pt x="10993" y="27615"/>
                </a:moveTo>
                <a:cubicBezTo>
                  <a:pt x="10305" y="27615"/>
                  <a:pt x="9757" y="27052"/>
                  <a:pt x="9757" y="26364"/>
                </a:cubicBezTo>
                <a:cubicBezTo>
                  <a:pt x="9757" y="25676"/>
                  <a:pt x="10305" y="25129"/>
                  <a:pt x="10993" y="25129"/>
                </a:cubicBezTo>
                <a:cubicBezTo>
                  <a:pt x="11681" y="25129"/>
                  <a:pt x="12244" y="25676"/>
                  <a:pt x="12244" y="26364"/>
                </a:cubicBezTo>
                <a:cubicBezTo>
                  <a:pt x="12244" y="27052"/>
                  <a:pt x="11681" y="27615"/>
                  <a:pt x="10993" y="27615"/>
                </a:cubicBezTo>
                <a:close/>
                <a:moveTo>
                  <a:pt x="18577" y="32947"/>
                </a:moveTo>
                <a:lnTo>
                  <a:pt x="18092" y="33385"/>
                </a:lnTo>
                <a:cubicBezTo>
                  <a:pt x="17951" y="33526"/>
                  <a:pt x="17951" y="33761"/>
                  <a:pt x="18092" y="33901"/>
                </a:cubicBezTo>
                <a:cubicBezTo>
                  <a:pt x="18154" y="33964"/>
                  <a:pt x="18248" y="34011"/>
                  <a:pt x="18342" y="34011"/>
                </a:cubicBezTo>
                <a:cubicBezTo>
                  <a:pt x="18436" y="34011"/>
                  <a:pt x="18530" y="33980"/>
                  <a:pt x="18592" y="33901"/>
                </a:cubicBezTo>
                <a:lnTo>
                  <a:pt x="19062" y="33463"/>
                </a:lnTo>
                <a:cubicBezTo>
                  <a:pt x="19202" y="33323"/>
                  <a:pt x="19218" y="33088"/>
                  <a:pt x="19077" y="32947"/>
                </a:cubicBezTo>
                <a:cubicBezTo>
                  <a:pt x="18937" y="32807"/>
                  <a:pt x="18717" y="32807"/>
                  <a:pt x="18577" y="32947"/>
                </a:cubicBezTo>
                <a:close/>
                <a:moveTo>
                  <a:pt x="17154" y="34293"/>
                </a:moveTo>
                <a:lnTo>
                  <a:pt x="16685" y="34746"/>
                </a:lnTo>
                <a:cubicBezTo>
                  <a:pt x="16544" y="34871"/>
                  <a:pt x="16544" y="35106"/>
                  <a:pt x="16669" y="35246"/>
                </a:cubicBezTo>
                <a:cubicBezTo>
                  <a:pt x="16747" y="35324"/>
                  <a:pt x="16841" y="35356"/>
                  <a:pt x="16935" y="35356"/>
                </a:cubicBezTo>
                <a:cubicBezTo>
                  <a:pt x="17029" y="35356"/>
                  <a:pt x="17107" y="35324"/>
                  <a:pt x="17185" y="35262"/>
                </a:cubicBezTo>
                <a:lnTo>
                  <a:pt x="17654" y="34808"/>
                </a:lnTo>
                <a:cubicBezTo>
                  <a:pt x="17795" y="34668"/>
                  <a:pt x="17795" y="34449"/>
                  <a:pt x="17670" y="34308"/>
                </a:cubicBezTo>
                <a:cubicBezTo>
                  <a:pt x="17529" y="34151"/>
                  <a:pt x="17295" y="34151"/>
                  <a:pt x="17154" y="3429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 name="Freeform 11">
            <a:extLst>
              <a:ext uri="{FF2B5EF4-FFF2-40B4-BE49-F238E27FC236}">
                <a16:creationId xmlns:a16="http://schemas.microsoft.com/office/drawing/2014/main" id="{358CBDF9-01A9-C24E-8EAE-691AE8D11FB3}"/>
              </a:ext>
            </a:extLst>
          </p:cNvPr>
          <p:cNvSpPr/>
          <p:nvPr/>
        </p:nvSpPr>
        <p:spPr>
          <a:xfrm>
            <a:off x="12911983" y="3222856"/>
            <a:ext cx="9504254" cy="6870758"/>
          </a:xfrm>
          <a:custGeom>
            <a:avLst/>
            <a:gdLst/>
            <a:ahLst/>
            <a:cxnLst>
              <a:cxn ang="3cd4">
                <a:pos x="hc" y="t"/>
              </a:cxn>
              <a:cxn ang="cd2">
                <a:pos x="l" y="vc"/>
              </a:cxn>
              <a:cxn ang="cd4">
                <a:pos x="hc" y="b"/>
              </a:cxn>
              <a:cxn ang="0">
                <a:pos x="r" y="vc"/>
              </a:cxn>
            </a:cxnLst>
            <a:rect l="l" t="t" r="r" b="b"/>
            <a:pathLst>
              <a:path w="59672" h="43138">
                <a:moveTo>
                  <a:pt x="3143" y="21591"/>
                </a:moveTo>
                <a:cubicBezTo>
                  <a:pt x="3143" y="17540"/>
                  <a:pt x="3143" y="18890"/>
                  <a:pt x="3143" y="17540"/>
                </a:cubicBezTo>
                <a:cubicBezTo>
                  <a:pt x="3143" y="17181"/>
                  <a:pt x="2925" y="16868"/>
                  <a:pt x="2627" y="16727"/>
                </a:cubicBezTo>
                <a:cubicBezTo>
                  <a:pt x="2830" y="14601"/>
                  <a:pt x="4629" y="12927"/>
                  <a:pt x="6818" y="12927"/>
                </a:cubicBezTo>
                <a:cubicBezTo>
                  <a:pt x="9007" y="12927"/>
                  <a:pt x="10821" y="14601"/>
                  <a:pt x="11024" y="16727"/>
                </a:cubicBezTo>
                <a:cubicBezTo>
                  <a:pt x="10712" y="16868"/>
                  <a:pt x="10508" y="17181"/>
                  <a:pt x="10508" y="17540"/>
                </a:cubicBezTo>
                <a:cubicBezTo>
                  <a:pt x="10508" y="21591"/>
                  <a:pt x="10508" y="20241"/>
                  <a:pt x="10508" y="21591"/>
                </a:cubicBezTo>
                <a:cubicBezTo>
                  <a:pt x="10508" y="21934"/>
                  <a:pt x="10712" y="22247"/>
                  <a:pt x="11009" y="22388"/>
                </a:cubicBezTo>
                <a:cubicBezTo>
                  <a:pt x="10962" y="22779"/>
                  <a:pt x="10806" y="23092"/>
                  <a:pt x="10571" y="23326"/>
                </a:cubicBezTo>
                <a:cubicBezTo>
                  <a:pt x="10274" y="23639"/>
                  <a:pt x="9805" y="23795"/>
                  <a:pt x="9242" y="23795"/>
                </a:cubicBezTo>
                <a:lnTo>
                  <a:pt x="8460" y="23795"/>
                </a:lnTo>
                <a:cubicBezTo>
                  <a:pt x="8319" y="23482"/>
                  <a:pt x="7991" y="23248"/>
                  <a:pt x="7631" y="23248"/>
                </a:cubicBezTo>
                <a:lnTo>
                  <a:pt x="6287" y="23248"/>
                </a:lnTo>
                <a:cubicBezTo>
                  <a:pt x="5786" y="23248"/>
                  <a:pt x="5395" y="23655"/>
                  <a:pt x="5395" y="24155"/>
                </a:cubicBezTo>
                <a:cubicBezTo>
                  <a:pt x="5395" y="24640"/>
                  <a:pt x="5786" y="25046"/>
                  <a:pt x="6287" y="25046"/>
                </a:cubicBezTo>
                <a:lnTo>
                  <a:pt x="7631" y="25046"/>
                </a:lnTo>
                <a:cubicBezTo>
                  <a:pt x="7991" y="25046"/>
                  <a:pt x="8319" y="24828"/>
                  <a:pt x="8460" y="24515"/>
                </a:cubicBezTo>
                <a:lnTo>
                  <a:pt x="9242" y="24515"/>
                </a:lnTo>
                <a:cubicBezTo>
                  <a:pt x="9898" y="24515"/>
                  <a:pt x="10461" y="24327"/>
                  <a:pt x="10899" y="23998"/>
                </a:cubicBezTo>
                <a:lnTo>
                  <a:pt x="10978" y="24030"/>
                </a:lnTo>
                <a:cubicBezTo>
                  <a:pt x="11009" y="24045"/>
                  <a:pt x="11056" y="24045"/>
                  <a:pt x="11087" y="24045"/>
                </a:cubicBezTo>
                <a:cubicBezTo>
                  <a:pt x="11243" y="24045"/>
                  <a:pt x="11384" y="23952"/>
                  <a:pt x="11431" y="23811"/>
                </a:cubicBezTo>
                <a:cubicBezTo>
                  <a:pt x="11462" y="23686"/>
                  <a:pt x="11447" y="23561"/>
                  <a:pt x="11369" y="23467"/>
                </a:cubicBezTo>
                <a:cubicBezTo>
                  <a:pt x="11556" y="23170"/>
                  <a:pt x="11681" y="22810"/>
                  <a:pt x="11728" y="22419"/>
                </a:cubicBezTo>
                <a:cubicBezTo>
                  <a:pt x="11963" y="22326"/>
                  <a:pt x="12150" y="22138"/>
                  <a:pt x="12244" y="21903"/>
                </a:cubicBezTo>
                <a:cubicBezTo>
                  <a:pt x="12604" y="21825"/>
                  <a:pt x="12932" y="21575"/>
                  <a:pt x="13198" y="21200"/>
                </a:cubicBezTo>
                <a:cubicBezTo>
                  <a:pt x="13480" y="20746"/>
                  <a:pt x="13651" y="20167"/>
                  <a:pt x="13651" y="19573"/>
                </a:cubicBezTo>
                <a:cubicBezTo>
                  <a:pt x="13651" y="18963"/>
                  <a:pt x="13480" y="18385"/>
                  <a:pt x="13198" y="17931"/>
                </a:cubicBezTo>
                <a:cubicBezTo>
                  <a:pt x="12932" y="17556"/>
                  <a:pt x="12604" y="17306"/>
                  <a:pt x="12244" y="17228"/>
                </a:cubicBezTo>
                <a:cubicBezTo>
                  <a:pt x="12150" y="16993"/>
                  <a:pt x="11963" y="16805"/>
                  <a:pt x="11744" y="16712"/>
                </a:cubicBezTo>
                <a:cubicBezTo>
                  <a:pt x="11650" y="15554"/>
                  <a:pt x="11149" y="14491"/>
                  <a:pt x="10321" y="13647"/>
                </a:cubicBezTo>
                <a:cubicBezTo>
                  <a:pt x="9383" y="12724"/>
                  <a:pt x="8147" y="12208"/>
                  <a:pt x="6818" y="12208"/>
                </a:cubicBezTo>
                <a:cubicBezTo>
                  <a:pt x="5505" y="12208"/>
                  <a:pt x="4269" y="12724"/>
                  <a:pt x="3331" y="13647"/>
                </a:cubicBezTo>
                <a:cubicBezTo>
                  <a:pt x="2502" y="14491"/>
                  <a:pt x="2002" y="15554"/>
                  <a:pt x="1908" y="16712"/>
                </a:cubicBezTo>
                <a:cubicBezTo>
                  <a:pt x="1674" y="16805"/>
                  <a:pt x="1501" y="16993"/>
                  <a:pt x="1408" y="17228"/>
                </a:cubicBezTo>
                <a:cubicBezTo>
                  <a:pt x="1048" y="17306"/>
                  <a:pt x="704" y="17556"/>
                  <a:pt x="454" y="17931"/>
                </a:cubicBezTo>
                <a:cubicBezTo>
                  <a:pt x="157" y="18385"/>
                  <a:pt x="0" y="18963"/>
                  <a:pt x="0" y="19573"/>
                </a:cubicBezTo>
                <a:cubicBezTo>
                  <a:pt x="0" y="20167"/>
                  <a:pt x="157" y="20746"/>
                  <a:pt x="454" y="21200"/>
                </a:cubicBezTo>
                <a:cubicBezTo>
                  <a:pt x="704" y="21575"/>
                  <a:pt x="1048" y="21825"/>
                  <a:pt x="1408" y="21903"/>
                </a:cubicBezTo>
                <a:cubicBezTo>
                  <a:pt x="1533" y="22247"/>
                  <a:pt x="1861" y="22482"/>
                  <a:pt x="2236" y="22482"/>
                </a:cubicBezTo>
                <a:cubicBezTo>
                  <a:pt x="2737" y="22482"/>
                  <a:pt x="3143" y="22075"/>
                  <a:pt x="3143" y="21591"/>
                </a:cubicBezTo>
                <a:close/>
                <a:moveTo>
                  <a:pt x="7631" y="24327"/>
                </a:moveTo>
                <a:lnTo>
                  <a:pt x="6287" y="24327"/>
                </a:lnTo>
                <a:cubicBezTo>
                  <a:pt x="6177" y="24327"/>
                  <a:pt x="6099" y="24249"/>
                  <a:pt x="6099" y="24155"/>
                </a:cubicBezTo>
                <a:cubicBezTo>
                  <a:pt x="6099" y="24045"/>
                  <a:pt x="6177" y="23967"/>
                  <a:pt x="6287" y="23967"/>
                </a:cubicBezTo>
                <a:lnTo>
                  <a:pt x="7631" y="23967"/>
                </a:lnTo>
                <a:cubicBezTo>
                  <a:pt x="7725" y="23967"/>
                  <a:pt x="7819" y="24045"/>
                  <a:pt x="7819" y="24155"/>
                </a:cubicBezTo>
                <a:cubicBezTo>
                  <a:pt x="7819" y="24249"/>
                  <a:pt x="7725" y="24327"/>
                  <a:pt x="7631" y="24327"/>
                </a:cubicBezTo>
                <a:close/>
                <a:moveTo>
                  <a:pt x="11587" y="21591"/>
                </a:moveTo>
                <a:cubicBezTo>
                  <a:pt x="11587" y="21684"/>
                  <a:pt x="11509" y="21763"/>
                  <a:pt x="11400" y="21763"/>
                </a:cubicBezTo>
                <a:cubicBezTo>
                  <a:pt x="11306" y="21763"/>
                  <a:pt x="11228" y="21684"/>
                  <a:pt x="11228" y="21591"/>
                </a:cubicBezTo>
                <a:cubicBezTo>
                  <a:pt x="11228" y="17540"/>
                  <a:pt x="11228" y="18890"/>
                  <a:pt x="11228" y="17540"/>
                </a:cubicBezTo>
                <a:cubicBezTo>
                  <a:pt x="11228" y="17447"/>
                  <a:pt x="11306" y="17368"/>
                  <a:pt x="11400" y="17368"/>
                </a:cubicBezTo>
                <a:cubicBezTo>
                  <a:pt x="11509" y="17368"/>
                  <a:pt x="11587" y="17447"/>
                  <a:pt x="11587" y="17540"/>
                </a:cubicBezTo>
                <a:close/>
                <a:moveTo>
                  <a:pt x="12604" y="18338"/>
                </a:moveTo>
                <a:cubicBezTo>
                  <a:pt x="12807" y="18651"/>
                  <a:pt x="12932" y="19104"/>
                  <a:pt x="12932" y="19573"/>
                </a:cubicBezTo>
                <a:cubicBezTo>
                  <a:pt x="12932" y="20027"/>
                  <a:pt x="12807" y="20480"/>
                  <a:pt x="12604" y="20793"/>
                </a:cubicBezTo>
                <a:cubicBezTo>
                  <a:pt x="12541" y="20887"/>
                  <a:pt x="12432" y="21012"/>
                  <a:pt x="12307" y="21106"/>
                </a:cubicBezTo>
                <a:lnTo>
                  <a:pt x="12307" y="18025"/>
                </a:lnTo>
                <a:cubicBezTo>
                  <a:pt x="12432" y="18119"/>
                  <a:pt x="12541" y="18244"/>
                  <a:pt x="12604" y="18338"/>
                </a:cubicBezTo>
                <a:close/>
                <a:moveTo>
                  <a:pt x="1048" y="20793"/>
                </a:moveTo>
                <a:cubicBezTo>
                  <a:pt x="829" y="20480"/>
                  <a:pt x="720" y="20027"/>
                  <a:pt x="720" y="19573"/>
                </a:cubicBezTo>
                <a:cubicBezTo>
                  <a:pt x="720" y="19104"/>
                  <a:pt x="829" y="18651"/>
                  <a:pt x="1048" y="18338"/>
                </a:cubicBezTo>
                <a:cubicBezTo>
                  <a:pt x="1111" y="18244"/>
                  <a:pt x="1204" y="18119"/>
                  <a:pt x="1345" y="18025"/>
                </a:cubicBezTo>
                <a:lnTo>
                  <a:pt x="1345" y="21106"/>
                </a:lnTo>
                <a:cubicBezTo>
                  <a:pt x="1204" y="21012"/>
                  <a:pt x="1111" y="20887"/>
                  <a:pt x="1048" y="20793"/>
                </a:cubicBezTo>
                <a:close/>
                <a:moveTo>
                  <a:pt x="2424" y="21591"/>
                </a:moveTo>
                <a:cubicBezTo>
                  <a:pt x="2424" y="21684"/>
                  <a:pt x="2346" y="21763"/>
                  <a:pt x="2236" y="21763"/>
                </a:cubicBezTo>
                <a:cubicBezTo>
                  <a:pt x="2142" y="21763"/>
                  <a:pt x="2064" y="21684"/>
                  <a:pt x="2064" y="21591"/>
                </a:cubicBezTo>
                <a:cubicBezTo>
                  <a:pt x="2064" y="17540"/>
                  <a:pt x="2064" y="18890"/>
                  <a:pt x="2064" y="17540"/>
                </a:cubicBezTo>
                <a:cubicBezTo>
                  <a:pt x="2064" y="17447"/>
                  <a:pt x="2142" y="17368"/>
                  <a:pt x="2236" y="17368"/>
                </a:cubicBezTo>
                <a:cubicBezTo>
                  <a:pt x="2346" y="17368"/>
                  <a:pt x="2424" y="17447"/>
                  <a:pt x="2424" y="17540"/>
                </a:cubicBezTo>
                <a:close/>
                <a:moveTo>
                  <a:pt x="51822" y="25500"/>
                </a:moveTo>
                <a:lnTo>
                  <a:pt x="58311" y="25500"/>
                </a:lnTo>
                <a:cubicBezTo>
                  <a:pt x="58546" y="25500"/>
                  <a:pt x="58718" y="25312"/>
                  <a:pt x="58718" y="25093"/>
                </a:cubicBezTo>
                <a:lnTo>
                  <a:pt x="58718" y="18901"/>
                </a:lnTo>
                <a:cubicBezTo>
                  <a:pt x="58718" y="18682"/>
                  <a:pt x="58546" y="18494"/>
                  <a:pt x="58311" y="18494"/>
                </a:cubicBezTo>
                <a:lnTo>
                  <a:pt x="51822" y="18494"/>
                </a:lnTo>
                <a:cubicBezTo>
                  <a:pt x="51603" y="18494"/>
                  <a:pt x="51415" y="18682"/>
                  <a:pt x="51415" y="18901"/>
                </a:cubicBezTo>
                <a:lnTo>
                  <a:pt x="51415" y="25093"/>
                </a:lnTo>
                <a:cubicBezTo>
                  <a:pt x="51415" y="25312"/>
                  <a:pt x="51603" y="25500"/>
                  <a:pt x="51822" y="25500"/>
                </a:cubicBezTo>
                <a:close/>
                <a:moveTo>
                  <a:pt x="52135" y="19214"/>
                </a:moveTo>
                <a:lnTo>
                  <a:pt x="58014" y="19214"/>
                </a:lnTo>
                <a:lnTo>
                  <a:pt x="58014" y="24781"/>
                </a:lnTo>
                <a:lnTo>
                  <a:pt x="52135" y="24781"/>
                </a:lnTo>
                <a:close/>
                <a:moveTo>
                  <a:pt x="59265" y="17603"/>
                </a:moveTo>
                <a:cubicBezTo>
                  <a:pt x="57561" y="17603"/>
                  <a:pt x="58129" y="17603"/>
                  <a:pt x="57561" y="17603"/>
                </a:cubicBezTo>
                <a:lnTo>
                  <a:pt x="57435" y="15992"/>
                </a:lnTo>
                <a:cubicBezTo>
                  <a:pt x="57420" y="15742"/>
                  <a:pt x="57295" y="15523"/>
                  <a:pt x="57107" y="15367"/>
                </a:cubicBezTo>
                <a:cubicBezTo>
                  <a:pt x="56935" y="15211"/>
                  <a:pt x="56701" y="15132"/>
                  <a:pt x="56450" y="15164"/>
                </a:cubicBezTo>
                <a:lnTo>
                  <a:pt x="49101" y="15758"/>
                </a:lnTo>
                <a:cubicBezTo>
                  <a:pt x="48866" y="15789"/>
                  <a:pt x="48648" y="15899"/>
                  <a:pt x="48491" y="16086"/>
                </a:cubicBezTo>
                <a:cubicBezTo>
                  <a:pt x="48335" y="16274"/>
                  <a:pt x="48257" y="16509"/>
                  <a:pt x="48272" y="16743"/>
                </a:cubicBezTo>
                <a:lnTo>
                  <a:pt x="48648" y="21137"/>
                </a:lnTo>
                <a:cubicBezTo>
                  <a:pt x="48522" y="21200"/>
                  <a:pt x="48428" y="21325"/>
                  <a:pt x="48428" y="21465"/>
                </a:cubicBezTo>
                <a:cubicBezTo>
                  <a:pt x="48428" y="21622"/>
                  <a:pt x="48538" y="21763"/>
                  <a:pt x="48695" y="21809"/>
                </a:cubicBezTo>
                <a:lnTo>
                  <a:pt x="48991" y="25312"/>
                </a:lnTo>
                <a:cubicBezTo>
                  <a:pt x="49007" y="25562"/>
                  <a:pt x="49116" y="25781"/>
                  <a:pt x="49304" y="25937"/>
                </a:cubicBezTo>
                <a:cubicBezTo>
                  <a:pt x="49476" y="26079"/>
                  <a:pt x="49679" y="26157"/>
                  <a:pt x="49883" y="26157"/>
                </a:cubicBezTo>
                <a:lnTo>
                  <a:pt x="49961" y="26157"/>
                </a:lnTo>
                <a:cubicBezTo>
                  <a:pt x="50477" y="26110"/>
                  <a:pt x="50305" y="26126"/>
                  <a:pt x="50477" y="26110"/>
                </a:cubicBezTo>
                <a:lnTo>
                  <a:pt x="50477" y="27611"/>
                </a:lnTo>
                <a:cubicBezTo>
                  <a:pt x="50477" y="27845"/>
                  <a:pt x="50665" y="28018"/>
                  <a:pt x="50884" y="28018"/>
                </a:cubicBezTo>
                <a:lnTo>
                  <a:pt x="59265" y="28018"/>
                </a:lnTo>
                <a:cubicBezTo>
                  <a:pt x="59484" y="28018"/>
                  <a:pt x="59672" y="27845"/>
                  <a:pt x="59672" y="27611"/>
                </a:cubicBezTo>
                <a:lnTo>
                  <a:pt x="59672" y="18010"/>
                </a:lnTo>
                <a:cubicBezTo>
                  <a:pt x="59672" y="17775"/>
                  <a:pt x="59484" y="17603"/>
                  <a:pt x="59265" y="17603"/>
                </a:cubicBezTo>
                <a:close/>
                <a:moveTo>
                  <a:pt x="49914" y="25437"/>
                </a:moveTo>
                <a:cubicBezTo>
                  <a:pt x="49852" y="25437"/>
                  <a:pt x="49804" y="25422"/>
                  <a:pt x="49773" y="25390"/>
                </a:cubicBezTo>
                <a:cubicBezTo>
                  <a:pt x="49726" y="25359"/>
                  <a:pt x="49711" y="25312"/>
                  <a:pt x="49695" y="25265"/>
                </a:cubicBezTo>
                <a:lnTo>
                  <a:pt x="49383" y="21434"/>
                </a:lnTo>
                <a:lnTo>
                  <a:pt x="48991" y="16680"/>
                </a:lnTo>
                <a:cubicBezTo>
                  <a:pt x="48991" y="16634"/>
                  <a:pt x="49007" y="16587"/>
                  <a:pt x="49038" y="16540"/>
                </a:cubicBezTo>
                <a:cubicBezTo>
                  <a:pt x="49070" y="16509"/>
                  <a:pt x="49116" y="16477"/>
                  <a:pt x="49163" y="16477"/>
                </a:cubicBezTo>
                <a:lnTo>
                  <a:pt x="56513" y="15867"/>
                </a:lnTo>
                <a:cubicBezTo>
                  <a:pt x="56560" y="15867"/>
                  <a:pt x="56607" y="15883"/>
                  <a:pt x="56654" y="15914"/>
                </a:cubicBezTo>
                <a:cubicBezTo>
                  <a:pt x="56685" y="15946"/>
                  <a:pt x="56716" y="15992"/>
                  <a:pt x="56716" y="16039"/>
                </a:cubicBezTo>
                <a:lnTo>
                  <a:pt x="56841" y="17603"/>
                </a:lnTo>
                <a:lnTo>
                  <a:pt x="56622" y="17603"/>
                </a:lnTo>
                <a:lnTo>
                  <a:pt x="56576" y="16962"/>
                </a:lnTo>
                <a:cubicBezTo>
                  <a:pt x="56529" y="16462"/>
                  <a:pt x="56091" y="16086"/>
                  <a:pt x="55590" y="16133"/>
                </a:cubicBezTo>
                <a:lnTo>
                  <a:pt x="50117" y="16587"/>
                </a:lnTo>
                <a:cubicBezTo>
                  <a:pt x="49883" y="16602"/>
                  <a:pt x="49664" y="16712"/>
                  <a:pt x="49507" y="16899"/>
                </a:cubicBezTo>
                <a:cubicBezTo>
                  <a:pt x="49351" y="17087"/>
                  <a:pt x="49273" y="17322"/>
                  <a:pt x="49289" y="17556"/>
                </a:cubicBezTo>
                <a:lnTo>
                  <a:pt x="49711" y="22732"/>
                </a:lnTo>
                <a:cubicBezTo>
                  <a:pt x="49742" y="22967"/>
                  <a:pt x="49852" y="23185"/>
                  <a:pt x="50039" y="23342"/>
                </a:cubicBezTo>
                <a:cubicBezTo>
                  <a:pt x="50164" y="23451"/>
                  <a:pt x="50321" y="23530"/>
                  <a:pt x="50477" y="23545"/>
                </a:cubicBezTo>
                <a:lnTo>
                  <a:pt x="50477" y="25390"/>
                </a:lnTo>
                <a:close/>
                <a:moveTo>
                  <a:pt x="50884" y="17603"/>
                </a:moveTo>
                <a:cubicBezTo>
                  <a:pt x="50665" y="17603"/>
                  <a:pt x="50477" y="17775"/>
                  <a:pt x="50477" y="18010"/>
                </a:cubicBezTo>
                <a:lnTo>
                  <a:pt x="50477" y="22779"/>
                </a:lnTo>
                <a:cubicBezTo>
                  <a:pt x="50446" y="22747"/>
                  <a:pt x="50430" y="22716"/>
                  <a:pt x="50430" y="22669"/>
                </a:cubicBezTo>
                <a:lnTo>
                  <a:pt x="50008" y="17509"/>
                </a:lnTo>
                <a:cubicBezTo>
                  <a:pt x="49992" y="17447"/>
                  <a:pt x="50008" y="17400"/>
                  <a:pt x="50039" y="17368"/>
                </a:cubicBezTo>
                <a:cubicBezTo>
                  <a:pt x="50086" y="17322"/>
                  <a:pt x="50133" y="17290"/>
                  <a:pt x="50180" y="17290"/>
                </a:cubicBezTo>
                <a:lnTo>
                  <a:pt x="55653" y="16837"/>
                </a:lnTo>
                <a:cubicBezTo>
                  <a:pt x="55747" y="16837"/>
                  <a:pt x="55841" y="16915"/>
                  <a:pt x="55856" y="17024"/>
                </a:cubicBezTo>
                <a:lnTo>
                  <a:pt x="55903" y="17603"/>
                </a:lnTo>
                <a:close/>
                <a:moveTo>
                  <a:pt x="58953" y="27298"/>
                </a:moveTo>
                <a:lnTo>
                  <a:pt x="51197" y="27298"/>
                </a:lnTo>
                <a:cubicBezTo>
                  <a:pt x="51197" y="25734"/>
                  <a:pt x="51197" y="26255"/>
                  <a:pt x="51197" y="25734"/>
                </a:cubicBezTo>
                <a:lnTo>
                  <a:pt x="51197" y="25719"/>
                </a:lnTo>
                <a:cubicBezTo>
                  <a:pt x="51197" y="18306"/>
                  <a:pt x="51197" y="20777"/>
                  <a:pt x="51197" y="18306"/>
                </a:cubicBezTo>
                <a:lnTo>
                  <a:pt x="58953" y="18306"/>
                </a:lnTo>
                <a:close/>
                <a:moveTo>
                  <a:pt x="55684" y="22310"/>
                </a:moveTo>
                <a:cubicBezTo>
                  <a:pt x="56138" y="22075"/>
                  <a:pt x="56450" y="21622"/>
                  <a:pt x="56450" y="21090"/>
                </a:cubicBezTo>
                <a:cubicBezTo>
                  <a:pt x="56450" y="20324"/>
                  <a:pt x="55825" y="19714"/>
                  <a:pt x="55075" y="19714"/>
                </a:cubicBezTo>
                <a:cubicBezTo>
                  <a:pt x="54324" y="19714"/>
                  <a:pt x="53699" y="20324"/>
                  <a:pt x="53699" y="21090"/>
                </a:cubicBezTo>
                <a:cubicBezTo>
                  <a:pt x="53699" y="21622"/>
                  <a:pt x="54011" y="22075"/>
                  <a:pt x="54449" y="22310"/>
                </a:cubicBezTo>
                <a:cubicBezTo>
                  <a:pt x="53542" y="22497"/>
                  <a:pt x="52854" y="23310"/>
                  <a:pt x="52854" y="24280"/>
                </a:cubicBezTo>
                <a:cubicBezTo>
                  <a:pt x="52854" y="24483"/>
                  <a:pt x="53010" y="24640"/>
                  <a:pt x="53214" y="24640"/>
                </a:cubicBezTo>
                <a:cubicBezTo>
                  <a:pt x="56935" y="24640"/>
                  <a:pt x="55694" y="24640"/>
                  <a:pt x="56935" y="24640"/>
                </a:cubicBezTo>
                <a:cubicBezTo>
                  <a:pt x="57139" y="24640"/>
                  <a:pt x="57295" y="24483"/>
                  <a:pt x="57295" y="24280"/>
                </a:cubicBezTo>
                <a:cubicBezTo>
                  <a:pt x="57295" y="23310"/>
                  <a:pt x="56607" y="22497"/>
                  <a:pt x="55684" y="22310"/>
                </a:cubicBezTo>
                <a:close/>
                <a:moveTo>
                  <a:pt x="55075" y="20433"/>
                </a:moveTo>
                <a:cubicBezTo>
                  <a:pt x="55434" y="20433"/>
                  <a:pt x="55731" y="20715"/>
                  <a:pt x="55731" y="21090"/>
                </a:cubicBezTo>
                <a:cubicBezTo>
                  <a:pt x="55731" y="21450"/>
                  <a:pt x="55434" y="21731"/>
                  <a:pt x="55075" y="21731"/>
                </a:cubicBezTo>
                <a:cubicBezTo>
                  <a:pt x="54715" y="21731"/>
                  <a:pt x="54418" y="21450"/>
                  <a:pt x="54418" y="21090"/>
                </a:cubicBezTo>
                <a:cubicBezTo>
                  <a:pt x="54418" y="20715"/>
                  <a:pt x="54715" y="20433"/>
                  <a:pt x="55075" y="20433"/>
                </a:cubicBezTo>
                <a:close/>
                <a:moveTo>
                  <a:pt x="53620" y="23936"/>
                </a:moveTo>
                <a:cubicBezTo>
                  <a:pt x="53777" y="23373"/>
                  <a:pt x="54277" y="22982"/>
                  <a:pt x="54871" y="22982"/>
                </a:cubicBezTo>
                <a:lnTo>
                  <a:pt x="55262" y="22982"/>
                </a:lnTo>
                <a:cubicBezTo>
                  <a:pt x="55872" y="22982"/>
                  <a:pt x="56372" y="23373"/>
                  <a:pt x="56529" y="23936"/>
                </a:cubicBezTo>
                <a:close/>
                <a:moveTo>
                  <a:pt x="36529" y="10832"/>
                </a:moveTo>
                <a:cubicBezTo>
                  <a:pt x="36732" y="10832"/>
                  <a:pt x="36888" y="10676"/>
                  <a:pt x="36888" y="10472"/>
                </a:cubicBezTo>
                <a:lnTo>
                  <a:pt x="36888" y="9800"/>
                </a:lnTo>
                <a:cubicBezTo>
                  <a:pt x="36888" y="9018"/>
                  <a:pt x="37373" y="8518"/>
                  <a:pt x="38124" y="8518"/>
                </a:cubicBezTo>
                <a:lnTo>
                  <a:pt x="38452" y="8518"/>
                </a:lnTo>
                <a:cubicBezTo>
                  <a:pt x="38843" y="8862"/>
                  <a:pt x="39328" y="9049"/>
                  <a:pt x="39813" y="9049"/>
                </a:cubicBezTo>
                <a:cubicBezTo>
                  <a:pt x="40282" y="9049"/>
                  <a:pt x="40766" y="8862"/>
                  <a:pt x="41173" y="8518"/>
                </a:cubicBezTo>
                <a:cubicBezTo>
                  <a:pt x="41861" y="8565"/>
                  <a:pt x="42299" y="9065"/>
                  <a:pt x="42299" y="9800"/>
                </a:cubicBezTo>
                <a:lnTo>
                  <a:pt x="42299" y="10472"/>
                </a:lnTo>
                <a:cubicBezTo>
                  <a:pt x="42299" y="10676"/>
                  <a:pt x="42455" y="10832"/>
                  <a:pt x="42658" y="10832"/>
                </a:cubicBezTo>
                <a:cubicBezTo>
                  <a:pt x="42846" y="10832"/>
                  <a:pt x="43002" y="10676"/>
                  <a:pt x="43002" y="10472"/>
                </a:cubicBezTo>
                <a:lnTo>
                  <a:pt x="43002" y="9800"/>
                </a:lnTo>
                <a:cubicBezTo>
                  <a:pt x="43002" y="9315"/>
                  <a:pt x="42878" y="8893"/>
                  <a:pt x="42643" y="8565"/>
                </a:cubicBezTo>
                <a:lnTo>
                  <a:pt x="42705" y="8565"/>
                </a:lnTo>
                <a:cubicBezTo>
                  <a:pt x="42736" y="8565"/>
                  <a:pt x="42753" y="8580"/>
                  <a:pt x="42784" y="8580"/>
                </a:cubicBezTo>
                <a:lnTo>
                  <a:pt x="44269" y="8580"/>
                </a:lnTo>
                <a:cubicBezTo>
                  <a:pt x="44660" y="8580"/>
                  <a:pt x="45020" y="8705"/>
                  <a:pt x="45285" y="8924"/>
                </a:cubicBezTo>
                <a:cubicBezTo>
                  <a:pt x="45458" y="9081"/>
                  <a:pt x="45676" y="9362"/>
                  <a:pt x="45676" y="9816"/>
                </a:cubicBezTo>
                <a:lnTo>
                  <a:pt x="45676" y="10472"/>
                </a:lnTo>
                <a:cubicBezTo>
                  <a:pt x="45676" y="10676"/>
                  <a:pt x="45833" y="10832"/>
                  <a:pt x="46036" y="10832"/>
                </a:cubicBezTo>
                <a:cubicBezTo>
                  <a:pt x="46239" y="10832"/>
                  <a:pt x="46396" y="10676"/>
                  <a:pt x="46396" y="10472"/>
                </a:cubicBezTo>
                <a:lnTo>
                  <a:pt x="46396" y="9816"/>
                </a:lnTo>
                <a:cubicBezTo>
                  <a:pt x="46396" y="9253"/>
                  <a:pt x="46161" y="8753"/>
                  <a:pt x="45755" y="8393"/>
                </a:cubicBezTo>
                <a:cubicBezTo>
                  <a:pt x="45489" y="8158"/>
                  <a:pt x="45176" y="8002"/>
                  <a:pt x="44848" y="7923"/>
                </a:cubicBezTo>
                <a:cubicBezTo>
                  <a:pt x="45301" y="7595"/>
                  <a:pt x="45708" y="7157"/>
                  <a:pt x="45926" y="6704"/>
                </a:cubicBezTo>
                <a:cubicBezTo>
                  <a:pt x="45974" y="6594"/>
                  <a:pt x="45974" y="6469"/>
                  <a:pt x="45911" y="6360"/>
                </a:cubicBezTo>
                <a:cubicBezTo>
                  <a:pt x="45676" y="5969"/>
                  <a:pt x="45317" y="5312"/>
                  <a:pt x="45270" y="5093"/>
                </a:cubicBezTo>
                <a:cubicBezTo>
                  <a:pt x="45113" y="4452"/>
                  <a:pt x="44848" y="3889"/>
                  <a:pt x="44488" y="3498"/>
                </a:cubicBezTo>
                <a:cubicBezTo>
                  <a:pt x="44050" y="3014"/>
                  <a:pt x="43487" y="2763"/>
                  <a:pt x="42862" y="2763"/>
                </a:cubicBezTo>
                <a:cubicBezTo>
                  <a:pt x="42831" y="2763"/>
                  <a:pt x="42799" y="2763"/>
                  <a:pt x="42768" y="2779"/>
                </a:cubicBezTo>
                <a:cubicBezTo>
                  <a:pt x="42221" y="2779"/>
                  <a:pt x="41736" y="2982"/>
                  <a:pt x="41329" y="3342"/>
                </a:cubicBezTo>
                <a:cubicBezTo>
                  <a:pt x="40939" y="3076"/>
                  <a:pt x="40376" y="2998"/>
                  <a:pt x="39656" y="3107"/>
                </a:cubicBezTo>
                <a:cubicBezTo>
                  <a:pt x="39265" y="3170"/>
                  <a:pt x="38953" y="3279"/>
                  <a:pt x="38812" y="3326"/>
                </a:cubicBezTo>
                <a:cubicBezTo>
                  <a:pt x="38139" y="3357"/>
                  <a:pt x="37702" y="3889"/>
                  <a:pt x="37702" y="4718"/>
                </a:cubicBezTo>
                <a:lnTo>
                  <a:pt x="37702" y="5171"/>
                </a:lnTo>
                <a:cubicBezTo>
                  <a:pt x="37451" y="5281"/>
                  <a:pt x="37186" y="5468"/>
                  <a:pt x="37186" y="5766"/>
                </a:cubicBezTo>
                <a:lnTo>
                  <a:pt x="37186" y="6454"/>
                </a:lnTo>
                <a:cubicBezTo>
                  <a:pt x="37186" y="6751"/>
                  <a:pt x="37420" y="6970"/>
                  <a:pt x="37670" y="7079"/>
                </a:cubicBezTo>
                <a:cubicBezTo>
                  <a:pt x="37702" y="7329"/>
                  <a:pt x="37795" y="7580"/>
                  <a:pt x="37905" y="7814"/>
                </a:cubicBezTo>
                <a:cubicBezTo>
                  <a:pt x="36873" y="7908"/>
                  <a:pt x="36169" y="8690"/>
                  <a:pt x="36169" y="9800"/>
                </a:cubicBezTo>
                <a:lnTo>
                  <a:pt x="36169" y="10472"/>
                </a:lnTo>
                <a:cubicBezTo>
                  <a:pt x="36169" y="10676"/>
                  <a:pt x="36341" y="10832"/>
                  <a:pt x="36529" y="10832"/>
                </a:cubicBezTo>
                <a:close/>
                <a:moveTo>
                  <a:pt x="43956" y="3967"/>
                </a:moveTo>
                <a:cubicBezTo>
                  <a:pt x="44238" y="4280"/>
                  <a:pt x="44441" y="4733"/>
                  <a:pt x="44566" y="5265"/>
                </a:cubicBezTo>
                <a:cubicBezTo>
                  <a:pt x="44644" y="5594"/>
                  <a:pt x="45004" y="6219"/>
                  <a:pt x="45192" y="6547"/>
                </a:cubicBezTo>
                <a:cubicBezTo>
                  <a:pt x="44863" y="7095"/>
                  <a:pt x="44066" y="7830"/>
                  <a:pt x="42846" y="7861"/>
                </a:cubicBezTo>
                <a:cubicBezTo>
                  <a:pt x="42486" y="7845"/>
                  <a:pt x="42143" y="7783"/>
                  <a:pt x="41830" y="7642"/>
                </a:cubicBezTo>
                <a:cubicBezTo>
                  <a:pt x="41908" y="7470"/>
                  <a:pt x="41970" y="7282"/>
                  <a:pt x="41986" y="7079"/>
                </a:cubicBezTo>
                <a:cubicBezTo>
                  <a:pt x="42252" y="6970"/>
                  <a:pt x="42471" y="6735"/>
                  <a:pt x="42471" y="6454"/>
                </a:cubicBezTo>
                <a:lnTo>
                  <a:pt x="42471" y="5766"/>
                </a:lnTo>
                <a:lnTo>
                  <a:pt x="42471" y="5734"/>
                </a:lnTo>
                <a:cubicBezTo>
                  <a:pt x="42471" y="5625"/>
                  <a:pt x="42471" y="5421"/>
                  <a:pt x="42314" y="5265"/>
                </a:cubicBezTo>
                <a:cubicBezTo>
                  <a:pt x="42221" y="5171"/>
                  <a:pt x="42095" y="5109"/>
                  <a:pt x="41970" y="5093"/>
                </a:cubicBezTo>
                <a:lnTo>
                  <a:pt x="41970" y="4718"/>
                </a:lnTo>
                <a:cubicBezTo>
                  <a:pt x="41970" y="4374"/>
                  <a:pt x="41892" y="4108"/>
                  <a:pt x="41798" y="3889"/>
                </a:cubicBezTo>
                <a:cubicBezTo>
                  <a:pt x="42080" y="3624"/>
                  <a:pt x="42408" y="3482"/>
                  <a:pt x="42799" y="3482"/>
                </a:cubicBezTo>
                <a:lnTo>
                  <a:pt x="42878" y="3482"/>
                </a:lnTo>
                <a:cubicBezTo>
                  <a:pt x="43299" y="3482"/>
                  <a:pt x="43659" y="3655"/>
                  <a:pt x="43956" y="3967"/>
                </a:cubicBezTo>
                <a:close/>
                <a:moveTo>
                  <a:pt x="37905" y="5859"/>
                </a:moveTo>
                <a:cubicBezTo>
                  <a:pt x="37967" y="5828"/>
                  <a:pt x="38077" y="5781"/>
                  <a:pt x="38155" y="5750"/>
                </a:cubicBezTo>
                <a:cubicBezTo>
                  <a:pt x="38312" y="5703"/>
                  <a:pt x="38405" y="5563"/>
                  <a:pt x="38405" y="5406"/>
                </a:cubicBezTo>
                <a:cubicBezTo>
                  <a:pt x="38405" y="4718"/>
                  <a:pt x="38405" y="4947"/>
                  <a:pt x="38405" y="4718"/>
                </a:cubicBezTo>
                <a:cubicBezTo>
                  <a:pt x="38405" y="4499"/>
                  <a:pt x="38452" y="4312"/>
                  <a:pt x="38546" y="4186"/>
                </a:cubicBezTo>
                <a:cubicBezTo>
                  <a:pt x="38593" y="4124"/>
                  <a:pt x="38671" y="4030"/>
                  <a:pt x="38890" y="4030"/>
                </a:cubicBezTo>
                <a:cubicBezTo>
                  <a:pt x="38921" y="4030"/>
                  <a:pt x="38968" y="4030"/>
                  <a:pt x="39015" y="4014"/>
                </a:cubicBezTo>
                <a:cubicBezTo>
                  <a:pt x="39375" y="3874"/>
                  <a:pt x="40422" y="3592"/>
                  <a:pt x="40939" y="3936"/>
                </a:cubicBezTo>
                <a:cubicBezTo>
                  <a:pt x="40970" y="3967"/>
                  <a:pt x="41001" y="3983"/>
                  <a:pt x="41032" y="4014"/>
                </a:cubicBezTo>
                <a:cubicBezTo>
                  <a:pt x="41048" y="4061"/>
                  <a:pt x="41079" y="4092"/>
                  <a:pt x="41110" y="4124"/>
                </a:cubicBezTo>
                <a:cubicBezTo>
                  <a:pt x="41204" y="4265"/>
                  <a:pt x="41251" y="4468"/>
                  <a:pt x="41251" y="4718"/>
                </a:cubicBezTo>
                <a:cubicBezTo>
                  <a:pt x="41251" y="5406"/>
                  <a:pt x="41251" y="5177"/>
                  <a:pt x="41251" y="5406"/>
                </a:cubicBezTo>
                <a:cubicBezTo>
                  <a:pt x="41251" y="5609"/>
                  <a:pt x="41407" y="5766"/>
                  <a:pt x="41611" y="5766"/>
                </a:cubicBezTo>
                <a:cubicBezTo>
                  <a:pt x="41673" y="5766"/>
                  <a:pt x="41720" y="5766"/>
                  <a:pt x="41752" y="5781"/>
                </a:cubicBezTo>
                <a:lnTo>
                  <a:pt x="41752" y="6407"/>
                </a:lnTo>
                <a:cubicBezTo>
                  <a:pt x="41720" y="6422"/>
                  <a:pt x="41673" y="6438"/>
                  <a:pt x="41658" y="6438"/>
                </a:cubicBezTo>
                <a:cubicBezTo>
                  <a:pt x="41454" y="6438"/>
                  <a:pt x="41298" y="6610"/>
                  <a:pt x="41298" y="6797"/>
                </a:cubicBezTo>
                <a:cubicBezTo>
                  <a:pt x="41298" y="7048"/>
                  <a:pt x="41220" y="7298"/>
                  <a:pt x="41095" y="7533"/>
                </a:cubicBezTo>
                <a:cubicBezTo>
                  <a:pt x="41064" y="7548"/>
                  <a:pt x="41032" y="7580"/>
                  <a:pt x="41017" y="7627"/>
                </a:cubicBezTo>
                <a:cubicBezTo>
                  <a:pt x="41001" y="7642"/>
                  <a:pt x="40985" y="7658"/>
                  <a:pt x="40985" y="7689"/>
                </a:cubicBezTo>
                <a:cubicBezTo>
                  <a:pt x="40704" y="8064"/>
                  <a:pt x="40251" y="8346"/>
                  <a:pt x="39813" y="8346"/>
                </a:cubicBezTo>
                <a:cubicBezTo>
                  <a:pt x="39062" y="8346"/>
                  <a:pt x="38374" y="7595"/>
                  <a:pt x="38374" y="6797"/>
                </a:cubicBezTo>
                <a:cubicBezTo>
                  <a:pt x="38374" y="6610"/>
                  <a:pt x="38202" y="6438"/>
                  <a:pt x="38014" y="6438"/>
                </a:cubicBezTo>
                <a:cubicBezTo>
                  <a:pt x="37983" y="6438"/>
                  <a:pt x="37936" y="6422"/>
                  <a:pt x="37905" y="6407"/>
                </a:cubicBezTo>
                <a:close/>
                <a:moveTo>
                  <a:pt x="33839" y="11520"/>
                </a:moveTo>
                <a:cubicBezTo>
                  <a:pt x="34496" y="11989"/>
                  <a:pt x="35356" y="12271"/>
                  <a:pt x="36122" y="12271"/>
                </a:cubicBezTo>
                <a:lnTo>
                  <a:pt x="39750" y="12271"/>
                </a:lnTo>
                <a:cubicBezTo>
                  <a:pt x="39781" y="12318"/>
                  <a:pt x="39813" y="12364"/>
                  <a:pt x="39875" y="12411"/>
                </a:cubicBezTo>
                <a:cubicBezTo>
                  <a:pt x="39938" y="12443"/>
                  <a:pt x="40000" y="12474"/>
                  <a:pt x="40063" y="12474"/>
                </a:cubicBezTo>
                <a:cubicBezTo>
                  <a:pt x="40188" y="12474"/>
                  <a:pt x="40297" y="12411"/>
                  <a:pt x="40360" y="12302"/>
                </a:cubicBezTo>
                <a:lnTo>
                  <a:pt x="40391" y="12271"/>
                </a:lnTo>
                <a:lnTo>
                  <a:pt x="46333" y="12271"/>
                </a:lnTo>
                <a:lnTo>
                  <a:pt x="46364" y="12271"/>
                </a:lnTo>
                <a:cubicBezTo>
                  <a:pt x="46974" y="12239"/>
                  <a:pt x="47537" y="12114"/>
                  <a:pt x="48022" y="11895"/>
                </a:cubicBezTo>
                <a:cubicBezTo>
                  <a:pt x="48491" y="11708"/>
                  <a:pt x="48898" y="11411"/>
                  <a:pt x="49226" y="11067"/>
                </a:cubicBezTo>
                <a:cubicBezTo>
                  <a:pt x="49836" y="10394"/>
                  <a:pt x="50149" y="9472"/>
                  <a:pt x="50149" y="8393"/>
                </a:cubicBezTo>
                <a:cubicBezTo>
                  <a:pt x="50149" y="7017"/>
                  <a:pt x="49492" y="6141"/>
                  <a:pt x="48929" y="5641"/>
                </a:cubicBezTo>
                <a:cubicBezTo>
                  <a:pt x="48554" y="5312"/>
                  <a:pt x="48178" y="5093"/>
                  <a:pt x="47928" y="4984"/>
                </a:cubicBezTo>
                <a:lnTo>
                  <a:pt x="47928" y="4640"/>
                </a:lnTo>
                <a:cubicBezTo>
                  <a:pt x="48007" y="3827"/>
                  <a:pt x="47834" y="3014"/>
                  <a:pt x="47428" y="2294"/>
                </a:cubicBezTo>
                <a:cubicBezTo>
                  <a:pt x="47037" y="1559"/>
                  <a:pt x="46443" y="980"/>
                  <a:pt x="45723" y="590"/>
                </a:cubicBezTo>
                <a:cubicBezTo>
                  <a:pt x="44926" y="152"/>
                  <a:pt x="43956" y="-51"/>
                  <a:pt x="43002" y="11"/>
                </a:cubicBezTo>
                <a:cubicBezTo>
                  <a:pt x="42017" y="74"/>
                  <a:pt x="41079" y="418"/>
                  <a:pt x="40360" y="965"/>
                </a:cubicBezTo>
                <a:cubicBezTo>
                  <a:pt x="40016" y="1231"/>
                  <a:pt x="39688" y="1653"/>
                  <a:pt x="39468" y="1935"/>
                </a:cubicBezTo>
                <a:cubicBezTo>
                  <a:pt x="39359" y="1856"/>
                  <a:pt x="39203" y="1763"/>
                  <a:pt x="39000" y="1668"/>
                </a:cubicBezTo>
                <a:cubicBezTo>
                  <a:pt x="38468" y="1403"/>
                  <a:pt x="37874" y="1278"/>
                  <a:pt x="37295" y="1340"/>
                </a:cubicBezTo>
                <a:cubicBezTo>
                  <a:pt x="36747" y="1387"/>
                  <a:pt x="36216" y="1575"/>
                  <a:pt x="35747" y="1888"/>
                </a:cubicBezTo>
                <a:cubicBezTo>
                  <a:pt x="34793" y="2544"/>
                  <a:pt x="34277" y="3592"/>
                  <a:pt x="34371" y="4718"/>
                </a:cubicBezTo>
                <a:lnTo>
                  <a:pt x="34371" y="5031"/>
                </a:lnTo>
                <a:cubicBezTo>
                  <a:pt x="34360" y="5036"/>
                  <a:pt x="34355" y="5031"/>
                  <a:pt x="34339" y="5046"/>
                </a:cubicBezTo>
                <a:cubicBezTo>
                  <a:pt x="34011" y="5234"/>
                  <a:pt x="33292" y="5641"/>
                  <a:pt x="32745" y="6782"/>
                </a:cubicBezTo>
                <a:cubicBezTo>
                  <a:pt x="32369" y="7595"/>
                  <a:pt x="32260" y="8502"/>
                  <a:pt x="32447" y="9362"/>
                </a:cubicBezTo>
                <a:cubicBezTo>
                  <a:pt x="32635" y="10254"/>
                  <a:pt x="33120" y="11020"/>
                  <a:pt x="33839" y="11520"/>
                </a:cubicBezTo>
                <a:close/>
                <a:moveTo>
                  <a:pt x="33401" y="7095"/>
                </a:moveTo>
                <a:cubicBezTo>
                  <a:pt x="33839" y="6141"/>
                  <a:pt x="34402" y="5828"/>
                  <a:pt x="34699" y="5672"/>
                </a:cubicBezTo>
                <a:cubicBezTo>
                  <a:pt x="34871" y="5563"/>
                  <a:pt x="35012" y="5484"/>
                  <a:pt x="35075" y="5312"/>
                </a:cubicBezTo>
                <a:cubicBezTo>
                  <a:pt x="35090" y="5281"/>
                  <a:pt x="35090" y="5234"/>
                  <a:pt x="35090" y="5187"/>
                </a:cubicBezTo>
                <a:cubicBezTo>
                  <a:pt x="35090" y="5093"/>
                  <a:pt x="35090" y="4749"/>
                  <a:pt x="35075" y="4655"/>
                </a:cubicBezTo>
                <a:cubicBezTo>
                  <a:pt x="35012" y="3795"/>
                  <a:pt x="35403" y="2982"/>
                  <a:pt x="36153" y="2482"/>
                </a:cubicBezTo>
                <a:cubicBezTo>
                  <a:pt x="36576" y="2185"/>
                  <a:pt x="37076" y="2044"/>
                  <a:pt x="37561" y="2044"/>
                </a:cubicBezTo>
                <a:cubicBezTo>
                  <a:pt x="37936" y="2044"/>
                  <a:pt x="38327" y="2122"/>
                  <a:pt x="38671" y="2310"/>
                </a:cubicBezTo>
                <a:cubicBezTo>
                  <a:pt x="39078" y="2513"/>
                  <a:pt x="39250" y="2669"/>
                  <a:pt x="39265" y="2685"/>
                </a:cubicBezTo>
                <a:cubicBezTo>
                  <a:pt x="39328" y="2794"/>
                  <a:pt x="39437" y="2841"/>
                  <a:pt x="39563" y="2826"/>
                </a:cubicBezTo>
                <a:cubicBezTo>
                  <a:pt x="39672" y="2826"/>
                  <a:pt x="39781" y="2763"/>
                  <a:pt x="39844" y="2654"/>
                </a:cubicBezTo>
                <a:cubicBezTo>
                  <a:pt x="40162" y="2284"/>
                  <a:pt x="40329" y="1888"/>
                  <a:pt x="40797" y="1543"/>
                </a:cubicBezTo>
                <a:cubicBezTo>
                  <a:pt x="41392" y="1075"/>
                  <a:pt x="42205" y="777"/>
                  <a:pt x="43049" y="730"/>
                </a:cubicBezTo>
                <a:cubicBezTo>
                  <a:pt x="43878" y="668"/>
                  <a:pt x="44707" y="840"/>
                  <a:pt x="45380" y="1215"/>
                </a:cubicBezTo>
                <a:cubicBezTo>
                  <a:pt x="45974" y="1543"/>
                  <a:pt x="46474" y="2028"/>
                  <a:pt x="46802" y="2638"/>
                </a:cubicBezTo>
                <a:cubicBezTo>
                  <a:pt x="47131" y="3232"/>
                  <a:pt x="47272" y="3920"/>
                  <a:pt x="47209" y="4593"/>
                </a:cubicBezTo>
                <a:cubicBezTo>
                  <a:pt x="47209" y="4608"/>
                  <a:pt x="47209" y="4655"/>
                  <a:pt x="47224" y="5250"/>
                </a:cubicBezTo>
                <a:cubicBezTo>
                  <a:pt x="47240" y="5390"/>
                  <a:pt x="47334" y="5515"/>
                  <a:pt x="47475" y="5563"/>
                </a:cubicBezTo>
                <a:cubicBezTo>
                  <a:pt x="47803" y="5766"/>
                  <a:pt x="47975" y="5750"/>
                  <a:pt x="48460" y="6172"/>
                </a:cubicBezTo>
                <a:cubicBezTo>
                  <a:pt x="49116" y="6751"/>
                  <a:pt x="49445" y="7502"/>
                  <a:pt x="49445" y="8393"/>
                </a:cubicBezTo>
                <a:cubicBezTo>
                  <a:pt x="49445" y="9284"/>
                  <a:pt x="49179" y="10035"/>
                  <a:pt x="48695" y="10582"/>
                </a:cubicBezTo>
                <a:cubicBezTo>
                  <a:pt x="48163" y="11160"/>
                  <a:pt x="47365" y="11489"/>
                  <a:pt x="46333" y="11551"/>
                </a:cubicBezTo>
                <a:lnTo>
                  <a:pt x="40204" y="11551"/>
                </a:lnTo>
                <a:lnTo>
                  <a:pt x="40188" y="11551"/>
                </a:lnTo>
                <a:lnTo>
                  <a:pt x="36122" y="11551"/>
                </a:lnTo>
                <a:cubicBezTo>
                  <a:pt x="35497" y="11551"/>
                  <a:pt x="34793" y="11317"/>
                  <a:pt x="34246" y="10942"/>
                </a:cubicBezTo>
                <a:cubicBezTo>
                  <a:pt x="33683" y="10535"/>
                  <a:pt x="33292" y="9925"/>
                  <a:pt x="33136" y="9206"/>
                </a:cubicBezTo>
                <a:cubicBezTo>
                  <a:pt x="32995" y="8502"/>
                  <a:pt x="33088" y="7752"/>
                  <a:pt x="33401" y="7095"/>
                </a:cubicBezTo>
                <a:close/>
                <a:moveTo>
                  <a:pt x="56560" y="36883"/>
                </a:moveTo>
                <a:cubicBezTo>
                  <a:pt x="55700" y="36477"/>
                  <a:pt x="54496" y="36149"/>
                  <a:pt x="53167" y="35977"/>
                </a:cubicBezTo>
                <a:cubicBezTo>
                  <a:pt x="52963" y="35945"/>
                  <a:pt x="52776" y="36086"/>
                  <a:pt x="52760" y="36274"/>
                </a:cubicBezTo>
                <a:cubicBezTo>
                  <a:pt x="52729" y="36477"/>
                  <a:pt x="52869" y="36649"/>
                  <a:pt x="53057" y="36680"/>
                </a:cubicBezTo>
                <a:cubicBezTo>
                  <a:pt x="54324" y="36852"/>
                  <a:pt x="55450" y="37150"/>
                  <a:pt x="56247" y="37540"/>
                </a:cubicBezTo>
                <a:cubicBezTo>
                  <a:pt x="56967" y="37884"/>
                  <a:pt x="57373" y="38260"/>
                  <a:pt x="57373" y="38604"/>
                </a:cubicBezTo>
                <a:cubicBezTo>
                  <a:pt x="57373" y="38870"/>
                  <a:pt x="57139" y="39104"/>
                  <a:pt x="56951" y="39260"/>
                </a:cubicBezTo>
                <a:cubicBezTo>
                  <a:pt x="56638" y="39527"/>
                  <a:pt x="56153" y="39761"/>
                  <a:pt x="55543" y="39964"/>
                </a:cubicBezTo>
                <a:cubicBezTo>
                  <a:pt x="54245" y="40418"/>
                  <a:pt x="52526" y="40668"/>
                  <a:pt x="50680" y="40668"/>
                </a:cubicBezTo>
                <a:cubicBezTo>
                  <a:pt x="48835" y="40668"/>
                  <a:pt x="47115" y="40418"/>
                  <a:pt x="45817" y="39964"/>
                </a:cubicBezTo>
                <a:cubicBezTo>
                  <a:pt x="45207" y="39761"/>
                  <a:pt x="44723" y="39527"/>
                  <a:pt x="44410" y="39260"/>
                </a:cubicBezTo>
                <a:cubicBezTo>
                  <a:pt x="44050" y="38979"/>
                  <a:pt x="43987" y="38744"/>
                  <a:pt x="43987" y="38604"/>
                </a:cubicBezTo>
                <a:cubicBezTo>
                  <a:pt x="43987" y="38244"/>
                  <a:pt x="44379" y="37853"/>
                  <a:pt x="45082" y="37525"/>
                </a:cubicBezTo>
                <a:cubicBezTo>
                  <a:pt x="45864" y="37134"/>
                  <a:pt x="47006" y="36837"/>
                  <a:pt x="48303" y="36680"/>
                </a:cubicBezTo>
                <a:cubicBezTo>
                  <a:pt x="48491" y="36649"/>
                  <a:pt x="48632" y="36477"/>
                  <a:pt x="48601" y="36274"/>
                </a:cubicBezTo>
                <a:cubicBezTo>
                  <a:pt x="48585" y="36086"/>
                  <a:pt x="48397" y="35945"/>
                  <a:pt x="48210" y="35977"/>
                </a:cubicBezTo>
                <a:cubicBezTo>
                  <a:pt x="46834" y="36149"/>
                  <a:pt x="45645" y="36462"/>
                  <a:pt x="44770" y="36883"/>
                </a:cubicBezTo>
                <a:cubicBezTo>
                  <a:pt x="44597" y="36962"/>
                  <a:pt x="44410" y="37056"/>
                  <a:pt x="44238" y="37181"/>
                </a:cubicBezTo>
                <a:cubicBezTo>
                  <a:pt x="44097" y="37087"/>
                  <a:pt x="43909" y="37103"/>
                  <a:pt x="43784" y="37212"/>
                </a:cubicBezTo>
                <a:cubicBezTo>
                  <a:pt x="43675" y="37321"/>
                  <a:pt x="43644" y="37478"/>
                  <a:pt x="43706" y="37619"/>
                </a:cubicBezTo>
                <a:cubicBezTo>
                  <a:pt x="43441" y="37884"/>
                  <a:pt x="43268" y="38213"/>
                  <a:pt x="43268" y="38604"/>
                </a:cubicBezTo>
                <a:cubicBezTo>
                  <a:pt x="43268" y="39042"/>
                  <a:pt x="43503" y="39448"/>
                  <a:pt x="43956" y="39823"/>
                </a:cubicBezTo>
                <a:cubicBezTo>
                  <a:pt x="44347" y="40136"/>
                  <a:pt x="44895" y="40418"/>
                  <a:pt x="45583" y="40652"/>
                </a:cubicBezTo>
                <a:cubicBezTo>
                  <a:pt x="46943" y="41121"/>
                  <a:pt x="48757" y="41371"/>
                  <a:pt x="50680" y="41371"/>
                </a:cubicBezTo>
                <a:cubicBezTo>
                  <a:pt x="52604" y="41371"/>
                  <a:pt x="54418" y="41121"/>
                  <a:pt x="55778" y="40652"/>
                </a:cubicBezTo>
                <a:cubicBezTo>
                  <a:pt x="56466" y="40418"/>
                  <a:pt x="57014" y="40136"/>
                  <a:pt x="57404" y="39823"/>
                </a:cubicBezTo>
                <a:cubicBezTo>
                  <a:pt x="57858" y="39448"/>
                  <a:pt x="58092" y="39042"/>
                  <a:pt x="58092" y="38604"/>
                </a:cubicBezTo>
                <a:cubicBezTo>
                  <a:pt x="58092" y="37791"/>
                  <a:pt x="57248" y="37228"/>
                  <a:pt x="56560" y="36883"/>
                </a:cubicBezTo>
                <a:close/>
                <a:moveTo>
                  <a:pt x="49523" y="37838"/>
                </a:moveTo>
                <a:cubicBezTo>
                  <a:pt x="49507" y="37634"/>
                  <a:pt x="49336" y="37493"/>
                  <a:pt x="49132" y="37509"/>
                </a:cubicBezTo>
                <a:cubicBezTo>
                  <a:pt x="48569" y="37540"/>
                  <a:pt x="48038" y="37650"/>
                  <a:pt x="47647" y="37791"/>
                </a:cubicBezTo>
                <a:cubicBezTo>
                  <a:pt x="47131" y="37978"/>
                  <a:pt x="46865" y="38244"/>
                  <a:pt x="46865" y="38557"/>
                </a:cubicBezTo>
                <a:cubicBezTo>
                  <a:pt x="46865" y="39104"/>
                  <a:pt x="47600" y="39339"/>
                  <a:pt x="48163" y="39464"/>
                </a:cubicBezTo>
                <a:cubicBezTo>
                  <a:pt x="48835" y="39620"/>
                  <a:pt x="49726" y="39698"/>
                  <a:pt x="50680" y="39698"/>
                </a:cubicBezTo>
                <a:cubicBezTo>
                  <a:pt x="51634" y="39698"/>
                  <a:pt x="52526" y="39620"/>
                  <a:pt x="53198" y="39464"/>
                </a:cubicBezTo>
                <a:cubicBezTo>
                  <a:pt x="53761" y="39339"/>
                  <a:pt x="54496" y="39104"/>
                  <a:pt x="54496" y="38557"/>
                </a:cubicBezTo>
                <a:cubicBezTo>
                  <a:pt x="54496" y="38072"/>
                  <a:pt x="53933" y="37869"/>
                  <a:pt x="53745" y="37806"/>
                </a:cubicBezTo>
                <a:cubicBezTo>
                  <a:pt x="53386" y="37666"/>
                  <a:pt x="52885" y="37571"/>
                  <a:pt x="52306" y="37493"/>
                </a:cubicBezTo>
                <a:cubicBezTo>
                  <a:pt x="52103" y="37478"/>
                  <a:pt x="51931" y="37619"/>
                  <a:pt x="51900" y="37806"/>
                </a:cubicBezTo>
                <a:cubicBezTo>
                  <a:pt x="51885" y="38009"/>
                  <a:pt x="52025" y="38181"/>
                  <a:pt x="52213" y="38213"/>
                </a:cubicBezTo>
                <a:cubicBezTo>
                  <a:pt x="53042" y="38307"/>
                  <a:pt x="53495" y="38463"/>
                  <a:pt x="53683" y="38557"/>
                </a:cubicBezTo>
                <a:cubicBezTo>
                  <a:pt x="53542" y="38619"/>
                  <a:pt x="53292" y="38729"/>
                  <a:pt x="52838" y="38807"/>
                </a:cubicBezTo>
                <a:cubicBezTo>
                  <a:pt x="52244" y="38917"/>
                  <a:pt x="51478" y="38995"/>
                  <a:pt x="50680" y="38995"/>
                </a:cubicBezTo>
                <a:cubicBezTo>
                  <a:pt x="49883" y="38995"/>
                  <a:pt x="49116" y="38917"/>
                  <a:pt x="48522" y="38807"/>
                </a:cubicBezTo>
                <a:cubicBezTo>
                  <a:pt x="48069" y="38729"/>
                  <a:pt x="47819" y="38619"/>
                  <a:pt x="47678" y="38557"/>
                </a:cubicBezTo>
                <a:cubicBezTo>
                  <a:pt x="47897" y="38432"/>
                  <a:pt x="48382" y="38276"/>
                  <a:pt x="49179" y="38213"/>
                </a:cubicBezTo>
                <a:cubicBezTo>
                  <a:pt x="49383" y="38197"/>
                  <a:pt x="49523" y="38041"/>
                  <a:pt x="49523" y="37838"/>
                </a:cubicBezTo>
                <a:close/>
                <a:moveTo>
                  <a:pt x="50680" y="31208"/>
                </a:moveTo>
                <a:cubicBezTo>
                  <a:pt x="49179" y="31208"/>
                  <a:pt x="47960" y="32411"/>
                  <a:pt x="47960" y="33897"/>
                </a:cubicBezTo>
                <a:cubicBezTo>
                  <a:pt x="47960" y="34523"/>
                  <a:pt x="48366" y="35476"/>
                  <a:pt x="49195" y="36805"/>
                </a:cubicBezTo>
                <a:cubicBezTo>
                  <a:pt x="49789" y="37744"/>
                  <a:pt x="50367" y="38526"/>
                  <a:pt x="50399" y="38557"/>
                </a:cubicBezTo>
                <a:cubicBezTo>
                  <a:pt x="50462" y="38635"/>
                  <a:pt x="50571" y="38697"/>
                  <a:pt x="50680" y="38697"/>
                </a:cubicBezTo>
                <a:cubicBezTo>
                  <a:pt x="50790" y="38697"/>
                  <a:pt x="50899" y="38635"/>
                  <a:pt x="50962" y="38557"/>
                </a:cubicBezTo>
                <a:cubicBezTo>
                  <a:pt x="50993" y="38526"/>
                  <a:pt x="51572" y="37759"/>
                  <a:pt x="52166" y="36805"/>
                </a:cubicBezTo>
                <a:cubicBezTo>
                  <a:pt x="52994" y="35476"/>
                  <a:pt x="53401" y="34523"/>
                  <a:pt x="53401" y="33897"/>
                </a:cubicBezTo>
                <a:cubicBezTo>
                  <a:pt x="53401" y="32411"/>
                  <a:pt x="52181" y="31208"/>
                  <a:pt x="50680" y="31208"/>
                </a:cubicBezTo>
                <a:close/>
                <a:moveTo>
                  <a:pt x="51556" y="36430"/>
                </a:moveTo>
                <a:cubicBezTo>
                  <a:pt x="51228" y="36946"/>
                  <a:pt x="50899" y="37415"/>
                  <a:pt x="50680" y="37728"/>
                </a:cubicBezTo>
                <a:cubicBezTo>
                  <a:pt x="50462" y="37415"/>
                  <a:pt x="50133" y="36946"/>
                  <a:pt x="49804" y="36415"/>
                </a:cubicBezTo>
                <a:cubicBezTo>
                  <a:pt x="48820" y="34851"/>
                  <a:pt x="48679" y="34163"/>
                  <a:pt x="48679" y="33897"/>
                </a:cubicBezTo>
                <a:cubicBezTo>
                  <a:pt x="48679" y="32802"/>
                  <a:pt x="49570" y="31911"/>
                  <a:pt x="50680" y="31911"/>
                </a:cubicBezTo>
                <a:cubicBezTo>
                  <a:pt x="51775" y="31911"/>
                  <a:pt x="52682" y="32802"/>
                  <a:pt x="52682" y="33897"/>
                </a:cubicBezTo>
                <a:cubicBezTo>
                  <a:pt x="52682" y="34178"/>
                  <a:pt x="52541" y="34866"/>
                  <a:pt x="51556" y="36430"/>
                </a:cubicBezTo>
                <a:close/>
                <a:moveTo>
                  <a:pt x="50727" y="32724"/>
                </a:moveTo>
                <a:cubicBezTo>
                  <a:pt x="50008" y="32724"/>
                  <a:pt x="49414" y="33318"/>
                  <a:pt x="49414" y="34053"/>
                </a:cubicBezTo>
                <a:cubicBezTo>
                  <a:pt x="49414" y="34773"/>
                  <a:pt x="50008" y="35367"/>
                  <a:pt x="50727" y="35367"/>
                </a:cubicBezTo>
                <a:cubicBezTo>
                  <a:pt x="51462" y="35367"/>
                  <a:pt x="52056" y="34773"/>
                  <a:pt x="52056" y="34053"/>
                </a:cubicBezTo>
                <a:cubicBezTo>
                  <a:pt x="52056" y="33318"/>
                  <a:pt x="51462" y="32724"/>
                  <a:pt x="50727" y="32724"/>
                </a:cubicBezTo>
                <a:close/>
                <a:moveTo>
                  <a:pt x="50727" y="34648"/>
                </a:moveTo>
                <a:cubicBezTo>
                  <a:pt x="50399" y="34648"/>
                  <a:pt x="50133" y="34382"/>
                  <a:pt x="50133" y="34053"/>
                </a:cubicBezTo>
                <a:cubicBezTo>
                  <a:pt x="50133" y="33709"/>
                  <a:pt x="50399" y="33443"/>
                  <a:pt x="50727" y="33443"/>
                </a:cubicBezTo>
                <a:cubicBezTo>
                  <a:pt x="51071" y="33443"/>
                  <a:pt x="51337" y="33709"/>
                  <a:pt x="51337" y="34053"/>
                </a:cubicBezTo>
                <a:cubicBezTo>
                  <a:pt x="51337" y="34382"/>
                  <a:pt x="51071" y="34648"/>
                  <a:pt x="50727" y="34648"/>
                </a:cubicBezTo>
                <a:close/>
                <a:moveTo>
                  <a:pt x="14918" y="10238"/>
                </a:moveTo>
                <a:lnTo>
                  <a:pt x="20548" y="10238"/>
                </a:lnTo>
                <a:lnTo>
                  <a:pt x="20579" y="10285"/>
                </a:lnTo>
                <a:cubicBezTo>
                  <a:pt x="20641" y="10379"/>
                  <a:pt x="20751" y="10425"/>
                  <a:pt x="20860" y="10425"/>
                </a:cubicBezTo>
                <a:cubicBezTo>
                  <a:pt x="20939" y="10425"/>
                  <a:pt x="21001" y="10410"/>
                  <a:pt x="21064" y="10363"/>
                </a:cubicBezTo>
                <a:cubicBezTo>
                  <a:pt x="21126" y="10332"/>
                  <a:pt x="21157" y="10285"/>
                  <a:pt x="21173" y="10238"/>
                </a:cubicBezTo>
                <a:lnTo>
                  <a:pt x="24973" y="10238"/>
                </a:lnTo>
                <a:cubicBezTo>
                  <a:pt x="25348" y="10238"/>
                  <a:pt x="25739" y="10050"/>
                  <a:pt x="26020" y="9737"/>
                </a:cubicBezTo>
                <a:cubicBezTo>
                  <a:pt x="26302" y="9425"/>
                  <a:pt x="26458" y="9034"/>
                  <a:pt x="26458" y="8658"/>
                </a:cubicBezTo>
                <a:lnTo>
                  <a:pt x="26458" y="2560"/>
                </a:lnTo>
                <a:cubicBezTo>
                  <a:pt x="26458" y="2185"/>
                  <a:pt x="26302" y="1810"/>
                  <a:pt x="26005" y="1528"/>
                </a:cubicBezTo>
                <a:cubicBezTo>
                  <a:pt x="25895" y="1418"/>
                  <a:pt x="25755" y="1325"/>
                  <a:pt x="25614" y="1262"/>
                </a:cubicBezTo>
                <a:cubicBezTo>
                  <a:pt x="25598" y="1247"/>
                  <a:pt x="25598" y="1247"/>
                  <a:pt x="25583" y="1231"/>
                </a:cubicBezTo>
                <a:cubicBezTo>
                  <a:pt x="25379" y="1153"/>
                  <a:pt x="25176" y="1106"/>
                  <a:pt x="24973" y="1106"/>
                </a:cubicBezTo>
                <a:lnTo>
                  <a:pt x="14918" y="1106"/>
                </a:lnTo>
                <a:cubicBezTo>
                  <a:pt x="14731" y="1106"/>
                  <a:pt x="14543" y="1137"/>
                  <a:pt x="14355" y="1215"/>
                </a:cubicBezTo>
                <a:cubicBezTo>
                  <a:pt x="14339" y="1215"/>
                  <a:pt x="14324" y="1231"/>
                  <a:pt x="14293" y="1231"/>
                </a:cubicBezTo>
                <a:cubicBezTo>
                  <a:pt x="13776" y="1465"/>
                  <a:pt x="13339" y="1966"/>
                  <a:pt x="13339" y="2560"/>
                </a:cubicBezTo>
                <a:lnTo>
                  <a:pt x="13339" y="8658"/>
                </a:lnTo>
                <a:cubicBezTo>
                  <a:pt x="13339" y="9456"/>
                  <a:pt x="14121" y="10238"/>
                  <a:pt x="14918" y="10238"/>
                </a:cubicBezTo>
                <a:close/>
                <a:moveTo>
                  <a:pt x="20891" y="6204"/>
                </a:moveTo>
                <a:cubicBezTo>
                  <a:pt x="20641" y="6501"/>
                  <a:pt x="20298" y="6657"/>
                  <a:pt x="19953" y="6657"/>
                </a:cubicBezTo>
                <a:cubicBezTo>
                  <a:pt x="19593" y="6657"/>
                  <a:pt x="19250" y="6501"/>
                  <a:pt x="19000" y="6204"/>
                </a:cubicBezTo>
                <a:lnTo>
                  <a:pt x="15169" y="1825"/>
                </a:lnTo>
                <a:lnTo>
                  <a:pt x="24754" y="1825"/>
                </a:lnTo>
                <a:close/>
                <a:moveTo>
                  <a:pt x="14058" y="2560"/>
                </a:moveTo>
                <a:cubicBezTo>
                  <a:pt x="14058" y="2341"/>
                  <a:pt x="14199" y="2138"/>
                  <a:pt x="14386" y="2013"/>
                </a:cubicBezTo>
                <a:lnTo>
                  <a:pt x="17858" y="5984"/>
                </a:lnTo>
                <a:lnTo>
                  <a:pt x="15200" y="8518"/>
                </a:lnTo>
                <a:cubicBezTo>
                  <a:pt x="15043" y="8658"/>
                  <a:pt x="15043" y="8878"/>
                  <a:pt x="15184" y="9018"/>
                </a:cubicBezTo>
                <a:cubicBezTo>
                  <a:pt x="15247" y="9096"/>
                  <a:pt x="15340" y="9143"/>
                  <a:pt x="15434" y="9143"/>
                </a:cubicBezTo>
                <a:cubicBezTo>
                  <a:pt x="15528" y="9143"/>
                  <a:pt x="15622" y="9096"/>
                  <a:pt x="15684" y="9034"/>
                </a:cubicBezTo>
                <a:lnTo>
                  <a:pt x="18327" y="6516"/>
                </a:lnTo>
                <a:lnTo>
                  <a:pt x="18452" y="6672"/>
                </a:lnTo>
                <a:cubicBezTo>
                  <a:pt x="18859" y="7126"/>
                  <a:pt x="19375" y="7376"/>
                  <a:pt x="19953" y="7376"/>
                </a:cubicBezTo>
                <a:cubicBezTo>
                  <a:pt x="20516" y="7376"/>
                  <a:pt x="21048" y="7126"/>
                  <a:pt x="21439" y="6672"/>
                </a:cubicBezTo>
                <a:lnTo>
                  <a:pt x="21580" y="6516"/>
                </a:lnTo>
                <a:lnTo>
                  <a:pt x="24207" y="9034"/>
                </a:lnTo>
                <a:cubicBezTo>
                  <a:pt x="24285" y="9096"/>
                  <a:pt x="24363" y="9143"/>
                  <a:pt x="24457" y="9143"/>
                </a:cubicBezTo>
                <a:cubicBezTo>
                  <a:pt x="24551" y="9143"/>
                  <a:pt x="24644" y="9096"/>
                  <a:pt x="24707" y="9018"/>
                </a:cubicBezTo>
                <a:cubicBezTo>
                  <a:pt x="24848" y="8878"/>
                  <a:pt x="24848" y="8658"/>
                  <a:pt x="24707" y="8518"/>
                </a:cubicBezTo>
                <a:lnTo>
                  <a:pt x="22049" y="5984"/>
                </a:lnTo>
                <a:lnTo>
                  <a:pt x="25505" y="2044"/>
                </a:lnTo>
                <a:cubicBezTo>
                  <a:pt x="25645" y="2185"/>
                  <a:pt x="25739" y="2373"/>
                  <a:pt x="25739" y="2560"/>
                </a:cubicBezTo>
                <a:lnTo>
                  <a:pt x="25739" y="8658"/>
                </a:lnTo>
                <a:cubicBezTo>
                  <a:pt x="25739" y="9081"/>
                  <a:pt x="25348" y="9519"/>
                  <a:pt x="24973" y="9519"/>
                </a:cubicBezTo>
                <a:lnTo>
                  <a:pt x="14918" y="9519"/>
                </a:lnTo>
                <a:cubicBezTo>
                  <a:pt x="14512" y="9519"/>
                  <a:pt x="14058" y="9049"/>
                  <a:pt x="14058" y="8658"/>
                </a:cubicBezTo>
                <a:close/>
                <a:moveTo>
                  <a:pt x="22330" y="12756"/>
                </a:moveTo>
                <a:cubicBezTo>
                  <a:pt x="22408" y="12849"/>
                  <a:pt x="22518" y="12912"/>
                  <a:pt x="22627" y="12912"/>
                </a:cubicBezTo>
                <a:cubicBezTo>
                  <a:pt x="22705" y="12912"/>
                  <a:pt x="22768" y="12881"/>
                  <a:pt x="22831" y="12834"/>
                </a:cubicBezTo>
                <a:cubicBezTo>
                  <a:pt x="22987" y="12724"/>
                  <a:pt x="23034" y="12505"/>
                  <a:pt x="22925" y="12333"/>
                </a:cubicBezTo>
                <a:lnTo>
                  <a:pt x="22627" y="11926"/>
                </a:lnTo>
                <a:cubicBezTo>
                  <a:pt x="22502" y="11770"/>
                  <a:pt x="22283" y="11723"/>
                  <a:pt x="22127" y="11848"/>
                </a:cubicBezTo>
                <a:cubicBezTo>
                  <a:pt x="21970" y="11958"/>
                  <a:pt x="21924" y="12177"/>
                  <a:pt x="22049" y="12349"/>
                </a:cubicBezTo>
                <a:close/>
                <a:moveTo>
                  <a:pt x="24097" y="15226"/>
                </a:moveTo>
                <a:cubicBezTo>
                  <a:pt x="24176" y="15336"/>
                  <a:pt x="24285" y="15383"/>
                  <a:pt x="24394" y="15383"/>
                </a:cubicBezTo>
                <a:cubicBezTo>
                  <a:pt x="24457" y="15383"/>
                  <a:pt x="24535" y="15351"/>
                  <a:pt x="24597" y="15320"/>
                </a:cubicBezTo>
                <a:cubicBezTo>
                  <a:pt x="24754" y="15195"/>
                  <a:pt x="24801" y="14976"/>
                  <a:pt x="24676" y="14820"/>
                </a:cubicBezTo>
                <a:cubicBezTo>
                  <a:pt x="24394" y="14397"/>
                  <a:pt x="24488" y="14538"/>
                  <a:pt x="24394" y="14397"/>
                </a:cubicBezTo>
                <a:cubicBezTo>
                  <a:pt x="24269" y="14241"/>
                  <a:pt x="24050" y="14210"/>
                  <a:pt x="23894" y="14319"/>
                </a:cubicBezTo>
                <a:cubicBezTo>
                  <a:pt x="23722" y="14428"/>
                  <a:pt x="23691" y="14663"/>
                  <a:pt x="23800" y="14820"/>
                </a:cubicBezTo>
                <a:close/>
                <a:moveTo>
                  <a:pt x="22033" y="11098"/>
                </a:moveTo>
                <a:lnTo>
                  <a:pt x="21736" y="10692"/>
                </a:lnTo>
                <a:cubicBezTo>
                  <a:pt x="21627" y="10535"/>
                  <a:pt x="21407" y="10488"/>
                  <a:pt x="21251" y="10613"/>
                </a:cubicBezTo>
                <a:cubicBezTo>
                  <a:pt x="21079" y="10723"/>
                  <a:pt x="21048" y="10942"/>
                  <a:pt x="21157" y="11098"/>
                </a:cubicBezTo>
                <a:lnTo>
                  <a:pt x="21454" y="11520"/>
                </a:lnTo>
                <a:cubicBezTo>
                  <a:pt x="21517" y="11614"/>
                  <a:pt x="21627" y="11661"/>
                  <a:pt x="21752" y="11661"/>
                </a:cubicBezTo>
                <a:cubicBezTo>
                  <a:pt x="21814" y="11661"/>
                  <a:pt x="21892" y="11645"/>
                  <a:pt x="21955" y="11598"/>
                </a:cubicBezTo>
                <a:cubicBezTo>
                  <a:pt x="22111" y="11489"/>
                  <a:pt x="22142" y="11270"/>
                  <a:pt x="22033" y="11098"/>
                </a:cubicBezTo>
                <a:close/>
                <a:moveTo>
                  <a:pt x="23221" y="13991"/>
                </a:moveTo>
                <a:cubicBezTo>
                  <a:pt x="23284" y="14085"/>
                  <a:pt x="23393" y="14147"/>
                  <a:pt x="23503" y="14147"/>
                </a:cubicBezTo>
                <a:cubicBezTo>
                  <a:pt x="23581" y="14147"/>
                  <a:pt x="23659" y="14116"/>
                  <a:pt x="23722" y="14069"/>
                </a:cubicBezTo>
                <a:cubicBezTo>
                  <a:pt x="23878" y="13960"/>
                  <a:pt x="23909" y="13740"/>
                  <a:pt x="23800" y="13584"/>
                </a:cubicBezTo>
                <a:lnTo>
                  <a:pt x="23503" y="13162"/>
                </a:lnTo>
                <a:cubicBezTo>
                  <a:pt x="23393" y="13006"/>
                  <a:pt x="23175" y="12974"/>
                  <a:pt x="23003" y="13084"/>
                </a:cubicBezTo>
                <a:cubicBezTo>
                  <a:pt x="22846" y="13193"/>
                  <a:pt x="22815" y="13412"/>
                  <a:pt x="22925" y="13584"/>
                </a:cubicBezTo>
                <a:close/>
                <a:moveTo>
                  <a:pt x="45708" y="21075"/>
                </a:moveTo>
                <a:cubicBezTo>
                  <a:pt x="45505" y="21075"/>
                  <a:pt x="45348" y="21231"/>
                  <a:pt x="45348" y="21418"/>
                </a:cubicBezTo>
                <a:cubicBezTo>
                  <a:pt x="45348" y="21622"/>
                  <a:pt x="45505" y="21778"/>
                  <a:pt x="45708" y="21778"/>
                </a:cubicBezTo>
                <a:lnTo>
                  <a:pt x="46208" y="21794"/>
                </a:lnTo>
                <a:lnTo>
                  <a:pt x="46224" y="21794"/>
                </a:lnTo>
                <a:cubicBezTo>
                  <a:pt x="46411" y="21794"/>
                  <a:pt x="46568" y="21638"/>
                  <a:pt x="46583" y="21434"/>
                </a:cubicBezTo>
                <a:cubicBezTo>
                  <a:pt x="46583" y="21246"/>
                  <a:pt x="46427" y="21075"/>
                  <a:pt x="46224" y="21075"/>
                </a:cubicBezTo>
                <a:close/>
                <a:moveTo>
                  <a:pt x="44160" y="21059"/>
                </a:moveTo>
                <a:cubicBezTo>
                  <a:pt x="43972" y="21043"/>
                  <a:pt x="43816" y="21200"/>
                  <a:pt x="43800" y="21403"/>
                </a:cubicBezTo>
                <a:cubicBezTo>
                  <a:pt x="43800" y="21606"/>
                  <a:pt x="43956" y="21763"/>
                  <a:pt x="44160" y="21763"/>
                </a:cubicBezTo>
                <a:lnTo>
                  <a:pt x="44676" y="21778"/>
                </a:lnTo>
                <a:cubicBezTo>
                  <a:pt x="44879" y="21778"/>
                  <a:pt x="45035" y="21622"/>
                  <a:pt x="45035" y="21418"/>
                </a:cubicBezTo>
                <a:cubicBezTo>
                  <a:pt x="45035" y="21215"/>
                  <a:pt x="44879" y="21059"/>
                  <a:pt x="44676" y="21059"/>
                </a:cubicBezTo>
                <a:close/>
                <a:moveTo>
                  <a:pt x="42627" y="21028"/>
                </a:moveTo>
                <a:cubicBezTo>
                  <a:pt x="42424" y="21028"/>
                  <a:pt x="42268" y="21184"/>
                  <a:pt x="42268" y="21387"/>
                </a:cubicBezTo>
                <a:cubicBezTo>
                  <a:pt x="42268" y="21591"/>
                  <a:pt x="42424" y="21747"/>
                  <a:pt x="42611" y="21747"/>
                </a:cubicBezTo>
                <a:lnTo>
                  <a:pt x="43128" y="21747"/>
                </a:lnTo>
                <a:cubicBezTo>
                  <a:pt x="43331" y="21747"/>
                  <a:pt x="43487" y="21591"/>
                  <a:pt x="43487" y="21403"/>
                </a:cubicBezTo>
                <a:cubicBezTo>
                  <a:pt x="43487" y="21200"/>
                  <a:pt x="43331" y="21043"/>
                  <a:pt x="43143" y="21043"/>
                </a:cubicBezTo>
                <a:close/>
                <a:moveTo>
                  <a:pt x="47772" y="21090"/>
                </a:moveTo>
                <a:lnTo>
                  <a:pt x="47256" y="21090"/>
                </a:lnTo>
                <a:lnTo>
                  <a:pt x="47240" y="21090"/>
                </a:lnTo>
                <a:cubicBezTo>
                  <a:pt x="47052" y="21090"/>
                  <a:pt x="46896" y="21246"/>
                  <a:pt x="46896" y="21450"/>
                </a:cubicBezTo>
                <a:cubicBezTo>
                  <a:pt x="46881" y="21638"/>
                  <a:pt x="47052" y="21809"/>
                  <a:pt x="47240" y="21809"/>
                </a:cubicBezTo>
                <a:lnTo>
                  <a:pt x="47756" y="21809"/>
                </a:lnTo>
                <a:cubicBezTo>
                  <a:pt x="47960" y="21809"/>
                  <a:pt x="48116" y="21653"/>
                  <a:pt x="48116" y="21465"/>
                </a:cubicBezTo>
                <a:cubicBezTo>
                  <a:pt x="48116" y="21262"/>
                  <a:pt x="47960" y="21106"/>
                  <a:pt x="47772" y="21090"/>
                </a:cubicBezTo>
                <a:close/>
                <a:moveTo>
                  <a:pt x="12166" y="23686"/>
                </a:moveTo>
                <a:cubicBezTo>
                  <a:pt x="11979" y="23608"/>
                  <a:pt x="11775" y="23717"/>
                  <a:pt x="11712" y="23905"/>
                </a:cubicBezTo>
                <a:cubicBezTo>
                  <a:pt x="11650" y="24092"/>
                  <a:pt x="11759" y="24296"/>
                  <a:pt x="11947" y="24358"/>
                </a:cubicBezTo>
                <a:lnTo>
                  <a:pt x="12432" y="24515"/>
                </a:lnTo>
                <a:cubicBezTo>
                  <a:pt x="12463" y="24530"/>
                  <a:pt x="12510" y="24546"/>
                  <a:pt x="12541" y="24546"/>
                </a:cubicBezTo>
                <a:cubicBezTo>
                  <a:pt x="12682" y="24546"/>
                  <a:pt x="12823" y="24452"/>
                  <a:pt x="12885" y="24296"/>
                </a:cubicBezTo>
                <a:cubicBezTo>
                  <a:pt x="12948" y="24108"/>
                  <a:pt x="12838" y="23905"/>
                  <a:pt x="12651" y="23842"/>
                </a:cubicBezTo>
                <a:close/>
                <a:moveTo>
                  <a:pt x="13620" y="24171"/>
                </a:moveTo>
                <a:cubicBezTo>
                  <a:pt x="13433" y="24108"/>
                  <a:pt x="13230" y="24202"/>
                  <a:pt x="13167" y="24390"/>
                </a:cubicBezTo>
                <a:cubicBezTo>
                  <a:pt x="13104" y="24577"/>
                  <a:pt x="13198" y="24781"/>
                  <a:pt x="13386" y="24843"/>
                </a:cubicBezTo>
                <a:lnTo>
                  <a:pt x="13871" y="25015"/>
                </a:lnTo>
                <a:cubicBezTo>
                  <a:pt x="13918" y="25031"/>
                  <a:pt x="13949" y="25031"/>
                  <a:pt x="13996" y="25031"/>
                </a:cubicBezTo>
                <a:cubicBezTo>
                  <a:pt x="14136" y="25031"/>
                  <a:pt x="14277" y="24937"/>
                  <a:pt x="14324" y="24796"/>
                </a:cubicBezTo>
                <a:cubicBezTo>
                  <a:pt x="14386" y="24608"/>
                  <a:pt x="14293" y="24405"/>
                  <a:pt x="14105" y="24343"/>
                </a:cubicBezTo>
                <a:close/>
                <a:moveTo>
                  <a:pt x="38374" y="15023"/>
                </a:moveTo>
                <a:cubicBezTo>
                  <a:pt x="38499" y="15023"/>
                  <a:pt x="38608" y="14960"/>
                  <a:pt x="38671" y="14851"/>
                </a:cubicBezTo>
                <a:lnTo>
                  <a:pt x="38953" y="14428"/>
                </a:lnTo>
                <a:cubicBezTo>
                  <a:pt x="39062" y="14272"/>
                  <a:pt x="39015" y="14053"/>
                  <a:pt x="38858" y="13944"/>
                </a:cubicBezTo>
                <a:cubicBezTo>
                  <a:pt x="38687" y="13834"/>
                  <a:pt x="38468" y="13865"/>
                  <a:pt x="38358" y="14038"/>
                </a:cubicBezTo>
                <a:lnTo>
                  <a:pt x="38077" y="14460"/>
                </a:lnTo>
                <a:cubicBezTo>
                  <a:pt x="37967" y="14632"/>
                  <a:pt x="38014" y="14851"/>
                  <a:pt x="38186" y="14960"/>
                </a:cubicBezTo>
                <a:cubicBezTo>
                  <a:pt x="38233" y="14991"/>
                  <a:pt x="38312" y="15023"/>
                  <a:pt x="38374" y="15023"/>
                </a:cubicBezTo>
                <a:close/>
                <a:moveTo>
                  <a:pt x="39218" y="13740"/>
                </a:moveTo>
                <a:cubicBezTo>
                  <a:pt x="39343" y="13740"/>
                  <a:pt x="39453" y="13694"/>
                  <a:pt x="39515" y="13584"/>
                </a:cubicBezTo>
                <a:lnTo>
                  <a:pt x="39797" y="13162"/>
                </a:lnTo>
                <a:cubicBezTo>
                  <a:pt x="39906" y="12990"/>
                  <a:pt x="39859" y="12771"/>
                  <a:pt x="39703" y="12662"/>
                </a:cubicBezTo>
                <a:cubicBezTo>
                  <a:pt x="39531" y="12552"/>
                  <a:pt x="39312" y="12599"/>
                  <a:pt x="39203" y="12756"/>
                </a:cubicBezTo>
                <a:lnTo>
                  <a:pt x="38921" y="13193"/>
                </a:lnTo>
                <a:cubicBezTo>
                  <a:pt x="38812" y="13350"/>
                  <a:pt x="38858" y="13569"/>
                  <a:pt x="39031" y="13678"/>
                </a:cubicBezTo>
                <a:cubicBezTo>
                  <a:pt x="39078" y="13725"/>
                  <a:pt x="39156" y="13740"/>
                  <a:pt x="39218" y="13740"/>
                </a:cubicBezTo>
                <a:close/>
                <a:moveTo>
                  <a:pt x="38014" y="15211"/>
                </a:moveTo>
                <a:cubicBezTo>
                  <a:pt x="37842" y="15101"/>
                  <a:pt x="37624" y="15148"/>
                  <a:pt x="37514" y="15320"/>
                </a:cubicBezTo>
                <a:lnTo>
                  <a:pt x="37232" y="15742"/>
                </a:lnTo>
                <a:cubicBezTo>
                  <a:pt x="37123" y="15899"/>
                  <a:pt x="37170" y="16117"/>
                  <a:pt x="37342" y="16227"/>
                </a:cubicBezTo>
                <a:cubicBezTo>
                  <a:pt x="37389" y="16274"/>
                  <a:pt x="37467" y="16289"/>
                  <a:pt x="37529" y="16289"/>
                </a:cubicBezTo>
                <a:cubicBezTo>
                  <a:pt x="37655" y="16289"/>
                  <a:pt x="37764" y="16242"/>
                  <a:pt x="37827" y="16133"/>
                </a:cubicBezTo>
                <a:lnTo>
                  <a:pt x="38108" y="15711"/>
                </a:lnTo>
                <a:cubicBezTo>
                  <a:pt x="38217" y="15539"/>
                  <a:pt x="38170" y="15320"/>
                  <a:pt x="38014" y="15211"/>
                </a:cubicBezTo>
                <a:close/>
                <a:moveTo>
                  <a:pt x="42721" y="35507"/>
                </a:moveTo>
                <a:lnTo>
                  <a:pt x="42408" y="35164"/>
                </a:lnTo>
                <a:cubicBezTo>
                  <a:pt x="42268" y="35023"/>
                  <a:pt x="42048" y="35007"/>
                  <a:pt x="41908" y="35148"/>
                </a:cubicBezTo>
                <a:cubicBezTo>
                  <a:pt x="41752" y="35273"/>
                  <a:pt x="41752" y="35507"/>
                  <a:pt x="41877" y="35648"/>
                </a:cubicBezTo>
                <a:lnTo>
                  <a:pt x="42190" y="35992"/>
                </a:lnTo>
                <a:cubicBezTo>
                  <a:pt x="42268" y="36070"/>
                  <a:pt x="42361" y="36117"/>
                  <a:pt x="42455" y="36117"/>
                </a:cubicBezTo>
                <a:cubicBezTo>
                  <a:pt x="42549" y="36117"/>
                  <a:pt x="42627" y="36086"/>
                  <a:pt x="42705" y="36024"/>
                </a:cubicBezTo>
                <a:cubicBezTo>
                  <a:pt x="42846" y="35883"/>
                  <a:pt x="42862" y="35664"/>
                  <a:pt x="42721" y="35507"/>
                </a:cubicBezTo>
                <a:close/>
                <a:moveTo>
                  <a:pt x="41783" y="34476"/>
                </a:moveTo>
                <a:lnTo>
                  <a:pt x="41470" y="34131"/>
                </a:lnTo>
                <a:cubicBezTo>
                  <a:pt x="41329" y="33991"/>
                  <a:pt x="41110" y="33991"/>
                  <a:pt x="40954" y="34116"/>
                </a:cubicBezTo>
                <a:cubicBezTo>
                  <a:pt x="40813" y="34256"/>
                  <a:pt x="40797" y="34476"/>
                  <a:pt x="40939" y="34616"/>
                </a:cubicBezTo>
                <a:lnTo>
                  <a:pt x="41251" y="34960"/>
                </a:lnTo>
                <a:cubicBezTo>
                  <a:pt x="41314" y="35039"/>
                  <a:pt x="41423" y="35086"/>
                  <a:pt x="41517" y="35086"/>
                </a:cubicBezTo>
                <a:cubicBezTo>
                  <a:pt x="41595" y="35086"/>
                  <a:pt x="41689" y="35054"/>
                  <a:pt x="41752" y="34991"/>
                </a:cubicBezTo>
                <a:cubicBezTo>
                  <a:pt x="41908" y="34851"/>
                  <a:pt x="41908" y="34632"/>
                  <a:pt x="41783" y="34476"/>
                </a:cubicBezTo>
                <a:close/>
                <a:moveTo>
                  <a:pt x="43644" y="37056"/>
                </a:moveTo>
                <a:cubicBezTo>
                  <a:pt x="43784" y="36915"/>
                  <a:pt x="43800" y="36696"/>
                  <a:pt x="43659" y="36540"/>
                </a:cubicBezTo>
                <a:lnTo>
                  <a:pt x="43346" y="36195"/>
                </a:lnTo>
                <a:cubicBezTo>
                  <a:pt x="43221" y="36055"/>
                  <a:pt x="42987" y="36039"/>
                  <a:pt x="42846" y="36180"/>
                </a:cubicBezTo>
                <a:cubicBezTo>
                  <a:pt x="42705" y="36305"/>
                  <a:pt x="42690" y="36540"/>
                  <a:pt x="42831" y="36680"/>
                </a:cubicBezTo>
                <a:lnTo>
                  <a:pt x="43143" y="37025"/>
                </a:lnTo>
                <a:cubicBezTo>
                  <a:pt x="43206" y="37103"/>
                  <a:pt x="43299" y="37150"/>
                  <a:pt x="43409" y="37150"/>
                </a:cubicBezTo>
                <a:cubicBezTo>
                  <a:pt x="43487" y="37150"/>
                  <a:pt x="43581" y="37118"/>
                  <a:pt x="43644" y="37056"/>
                </a:cubicBezTo>
                <a:close/>
                <a:moveTo>
                  <a:pt x="40907" y="33568"/>
                </a:moveTo>
                <a:cubicBezTo>
                  <a:pt x="41001" y="33475"/>
                  <a:pt x="41110" y="33381"/>
                  <a:pt x="41220" y="33272"/>
                </a:cubicBezTo>
                <a:lnTo>
                  <a:pt x="41251" y="33240"/>
                </a:lnTo>
                <a:cubicBezTo>
                  <a:pt x="41564" y="32943"/>
                  <a:pt x="41720" y="32364"/>
                  <a:pt x="41689" y="31567"/>
                </a:cubicBezTo>
                <a:cubicBezTo>
                  <a:pt x="41673" y="31364"/>
                  <a:pt x="41658" y="31160"/>
                  <a:pt x="41642" y="31004"/>
                </a:cubicBezTo>
                <a:cubicBezTo>
                  <a:pt x="41767" y="31020"/>
                  <a:pt x="41892" y="31020"/>
                  <a:pt x="42033" y="31020"/>
                </a:cubicBezTo>
                <a:cubicBezTo>
                  <a:pt x="42736" y="31004"/>
                  <a:pt x="43268" y="30816"/>
                  <a:pt x="43628" y="30488"/>
                </a:cubicBezTo>
                <a:cubicBezTo>
                  <a:pt x="43987" y="30160"/>
                  <a:pt x="44222" y="29769"/>
                  <a:pt x="44394" y="29284"/>
                </a:cubicBezTo>
                <a:cubicBezTo>
                  <a:pt x="44566" y="28737"/>
                  <a:pt x="44660" y="28033"/>
                  <a:pt x="44644" y="27126"/>
                </a:cubicBezTo>
                <a:lnTo>
                  <a:pt x="44644" y="26500"/>
                </a:lnTo>
                <a:cubicBezTo>
                  <a:pt x="44676" y="25531"/>
                  <a:pt x="44692" y="24530"/>
                  <a:pt x="43940" y="23623"/>
                </a:cubicBezTo>
                <a:cubicBezTo>
                  <a:pt x="43253" y="22826"/>
                  <a:pt x="42283" y="22716"/>
                  <a:pt x="41736" y="22732"/>
                </a:cubicBezTo>
                <a:cubicBezTo>
                  <a:pt x="41736" y="22466"/>
                  <a:pt x="41736" y="22122"/>
                  <a:pt x="41705" y="21716"/>
                </a:cubicBezTo>
                <a:cubicBezTo>
                  <a:pt x="41845" y="21669"/>
                  <a:pt x="41955" y="21543"/>
                  <a:pt x="41955" y="21387"/>
                </a:cubicBezTo>
                <a:cubicBezTo>
                  <a:pt x="41955" y="21200"/>
                  <a:pt x="41814" y="21043"/>
                  <a:pt x="41627" y="21028"/>
                </a:cubicBezTo>
                <a:cubicBezTo>
                  <a:pt x="41611" y="20902"/>
                  <a:pt x="41595" y="20777"/>
                  <a:pt x="41564" y="20668"/>
                </a:cubicBezTo>
                <a:cubicBezTo>
                  <a:pt x="41345" y="19589"/>
                  <a:pt x="40344" y="19136"/>
                  <a:pt x="39922" y="18979"/>
                </a:cubicBezTo>
                <a:cubicBezTo>
                  <a:pt x="39719" y="18479"/>
                  <a:pt x="39265" y="18150"/>
                  <a:pt x="39125" y="18072"/>
                </a:cubicBezTo>
                <a:cubicBezTo>
                  <a:pt x="39109" y="18056"/>
                  <a:pt x="39031" y="18010"/>
                  <a:pt x="38968" y="17963"/>
                </a:cubicBezTo>
                <a:cubicBezTo>
                  <a:pt x="38671" y="17744"/>
                  <a:pt x="38061" y="17322"/>
                  <a:pt x="37326" y="16852"/>
                </a:cubicBezTo>
                <a:cubicBezTo>
                  <a:pt x="37342" y="16712"/>
                  <a:pt x="37295" y="16571"/>
                  <a:pt x="37170" y="16493"/>
                </a:cubicBezTo>
                <a:cubicBezTo>
                  <a:pt x="37029" y="16399"/>
                  <a:pt x="36857" y="16414"/>
                  <a:pt x="36747" y="16509"/>
                </a:cubicBezTo>
                <a:cubicBezTo>
                  <a:pt x="36169" y="16180"/>
                  <a:pt x="35543" y="15852"/>
                  <a:pt x="34965" y="15617"/>
                </a:cubicBezTo>
                <a:cubicBezTo>
                  <a:pt x="34386" y="15383"/>
                  <a:pt x="33542" y="15195"/>
                  <a:pt x="32838" y="15617"/>
                </a:cubicBezTo>
                <a:cubicBezTo>
                  <a:pt x="32698" y="15695"/>
                  <a:pt x="32604" y="15789"/>
                  <a:pt x="32510" y="15867"/>
                </a:cubicBezTo>
                <a:cubicBezTo>
                  <a:pt x="32495" y="15852"/>
                  <a:pt x="32479" y="15836"/>
                  <a:pt x="32463" y="15821"/>
                </a:cubicBezTo>
                <a:cubicBezTo>
                  <a:pt x="31681" y="15054"/>
                  <a:pt x="30461" y="14648"/>
                  <a:pt x="29132" y="14695"/>
                </a:cubicBezTo>
                <a:cubicBezTo>
                  <a:pt x="28319" y="14710"/>
                  <a:pt x="26177" y="15336"/>
                  <a:pt x="25254" y="15617"/>
                </a:cubicBezTo>
                <a:cubicBezTo>
                  <a:pt x="25145" y="15476"/>
                  <a:pt x="24926" y="15445"/>
                  <a:pt x="24770" y="15554"/>
                </a:cubicBezTo>
                <a:cubicBezTo>
                  <a:pt x="24676" y="15617"/>
                  <a:pt x="24629" y="15726"/>
                  <a:pt x="24629" y="15821"/>
                </a:cubicBezTo>
                <a:cubicBezTo>
                  <a:pt x="23159" y="16289"/>
                  <a:pt x="21877" y="16743"/>
                  <a:pt x="21329" y="17009"/>
                </a:cubicBezTo>
                <a:cubicBezTo>
                  <a:pt x="20688" y="17322"/>
                  <a:pt x="20016" y="17650"/>
                  <a:pt x="19468" y="18103"/>
                </a:cubicBezTo>
                <a:cubicBezTo>
                  <a:pt x="18874" y="18573"/>
                  <a:pt x="18530" y="19104"/>
                  <a:pt x="18405" y="19699"/>
                </a:cubicBezTo>
                <a:cubicBezTo>
                  <a:pt x="17936" y="19730"/>
                  <a:pt x="17373" y="19870"/>
                  <a:pt x="17029" y="20402"/>
                </a:cubicBezTo>
                <a:cubicBezTo>
                  <a:pt x="16732" y="20824"/>
                  <a:pt x="16263" y="21638"/>
                  <a:pt x="15763" y="22607"/>
                </a:cubicBezTo>
                <a:cubicBezTo>
                  <a:pt x="15465" y="23170"/>
                  <a:pt x="14965" y="24155"/>
                  <a:pt x="14918" y="24405"/>
                </a:cubicBezTo>
                <a:cubicBezTo>
                  <a:pt x="14918" y="24421"/>
                  <a:pt x="14918" y="24436"/>
                  <a:pt x="14902" y="24452"/>
                </a:cubicBezTo>
                <a:cubicBezTo>
                  <a:pt x="14902" y="24499"/>
                  <a:pt x="14887" y="24577"/>
                  <a:pt x="14871" y="24655"/>
                </a:cubicBezTo>
                <a:cubicBezTo>
                  <a:pt x="14762" y="24686"/>
                  <a:pt x="14668" y="24765"/>
                  <a:pt x="14621" y="24890"/>
                </a:cubicBezTo>
                <a:cubicBezTo>
                  <a:pt x="14559" y="25078"/>
                  <a:pt x="14652" y="25265"/>
                  <a:pt x="14824" y="25343"/>
                </a:cubicBezTo>
                <a:cubicBezTo>
                  <a:pt x="14840" y="25437"/>
                  <a:pt x="14840" y="25547"/>
                  <a:pt x="14871" y="25656"/>
                </a:cubicBezTo>
                <a:cubicBezTo>
                  <a:pt x="14965" y="26282"/>
                  <a:pt x="15294" y="26798"/>
                  <a:pt x="15810" y="27157"/>
                </a:cubicBezTo>
                <a:cubicBezTo>
                  <a:pt x="15857" y="27580"/>
                  <a:pt x="16091" y="28502"/>
                  <a:pt x="17279" y="29190"/>
                </a:cubicBezTo>
                <a:cubicBezTo>
                  <a:pt x="17702" y="29409"/>
                  <a:pt x="18077" y="29644"/>
                  <a:pt x="18421" y="29847"/>
                </a:cubicBezTo>
                <a:cubicBezTo>
                  <a:pt x="19265" y="30347"/>
                  <a:pt x="19891" y="30707"/>
                  <a:pt x="20329" y="30832"/>
                </a:cubicBezTo>
                <a:cubicBezTo>
                  <a:pt x="20704" y="30941"/>
                  <a:pt x="21048" y="30973"/>
                  <a:pt x="21298" y="30973"/>
                </a:cubicBezTo>
                <a:cubicBezTo>
                  <a:pt x="21345" y="31208"/>
                  <a:pt x="21423" y="31520"/>
                  <a:pt x="21580" y="31849"/>
                </a:cubicBezTo>
                <a:cubicBezTo>
                  <a:pt x="21752" y="32208"/>
                  <a:pt x="21970" y="32490"/>
                  <a:pt x="22237" y="32693"/>
                </a:cubicBezTo>
                <a:cubicBezTo>
                  <a:pt x="22111" y="32818"/>
                  <a:pt x="22111" y="33021"/>
                  <a:pt x="22237" y="33162"/>
                </a:cubicBezTo>
                <a:cubicBezTo>
                  <a:pt x="22299" y="33240"/>
                  <a:pt x="22408" y="33287"/>
                  <a:pt x="22502" y="33287"/>
                </a:cubicBezTo>
                <a:cubicBezTo>
                  <a:pt x="22580" y="33287"/>
                  <a:pt x="22674" y="33256"/>
                  <a:pt x="22737" y="33209"/>
                </a:cubicBezTo>
                <a:lnTo>
                  <a:pt x="22909" y="33052"/>
                </a:lnTo>
                <a:cubicBezTo>
                  <a:pt x="22925" y="33052"/>
                  <a:pt x="22920" y="33042"/>
                  <a:pt x="22925" y="33037"/>
                </a:cubicBezTo>
                <a:cubicBezTo>
                  <a:pt x="23128" y="33100"/>
                  <a:pt x="23362" y="33131"/>
                  <a:pt x="23597" y="33131"/>
                </a:cubicBezTo>
                <a:lnTo>
                  <a:pt x="23628" y="33131"/>
                </a:lnTo>
                <a:cubicBezTo>
                  <a:pt x="25536" y="33115"/>
                  <a:pt x="28960" y="33131"/>
                  <a:pt x="29007" y="33131"/>
                </a:cubicBezTo>
                <a:lnTo>
                  <a:pt x="29038" y="33131"/>
                </a:lnTo>
                <a:cubicBezTo>
                  <a:pt x="29054" y="33131"/>
                  <a:pt x="29617" y="33084"/>
                  <a:pt x="30196" y="32818"/>
                </a:cubicBezTo>
                <a:cubicBezTo>
                  <a:pt x="30540" y="32646"/>
                  <a:pt x="30821" y="32442"/>
                  <a:pt x="31024" y="32192"/>
                </a:cubicBezTo>
                <a:cubicBezTo>
                  <a:pt x="31290" y="31849"/>
                  <a:pt x="31431" y="31458"/>
                  <a:pt x="31415" y="31004"/>
                </a:cubicBezTo>
                <a:lnTo>
                  <a:pt x="31415" y="29034"/>
                </a:lnTo>
                <a:cubicBezTo>
                  <a:pt x="31431" y="28940"/>
                  <a:pt x="31384" y="28831"/>
                  <a:pt x="31322" y="28768"/>
                </a:cubicBezTo>
                <a:lnTo>
                  <a:pt x="30039" y="27501"/>
                </a:lnTo>
                <a:cubicBezTo>
                  <a:pt x="30118" y="27345"/>
                  <a:pt x="30164" y="27157"/>
                  <a:pt x="30164" y="26970"/>
                </a:cubicBezTo>
                <a:cubicBezTo>
                  <a:pt x="30164" y="26329"/>
                  <a:pt x="29648" y="25812"/>
                  <a:pt x="29007" y="25812"/>
                </a:cubicBezTo>
                <a:cubicBezTo>
                  <a:pt x="28366" y="25812"/>
                  <a:pt x="27834" y="26329"/>
                  <a:pt x="27834" y="26970"/>
                </a:cubicBezTo>
                <a:cubicBezTo>
                  <a:pt x="27834" y="27611"/>
                  <a:pt x="28366" y="28143"/>
                  <a:pt x="29007" y="28143"/>
                </a:cubicBezTo>
                <a:cubicBezTo>
                  <a:pt x="29195" y="28143"/>
                  <a:pt x="29367" y="28096"/>
                  <a:pt x="29539" y="28018"/>
                </a:cubicBezTo>
                <a:lnTo>
                  <a:pt x="30696" y="29174"/>
                </a:lnTo>
                <a:cubicBezTo>
                  <a:pt x="30696" y="29409"/>
                  <a:pt x="30696" y="29941"/>
                  <a:pt x="30712" y="31020"/>
                </a:cubicBezTo>
                <a:cubicBezTo>
                  <a:pt x="30712" y="31536"/>
                  <a:pt x="30446" y="31911"/>
                  <a:pt x="29899" y="32161"/>
                </a:cubicBezTo>
                <a:cubicBezTo>
                  <a:pt x="29492" y="32364"/>
                  <a:pt x="29070" y="32411"/>
                  <a:pt x="28992" y="32411"/>
                </a:cubicBezTo>
                <a:cubicBezTo>
                  <a:pt x="28710" y="32411"/>
                  <a:pt x="25458" y="32396"/>
                  <a:pt x="23628" y="32411"/>
                </a:cubicBezTo>
                <a:cubicBezTo>
                  <a:pt x="22971" y="32427"/>
                  <a:pt x="22518" y="32146"/>
                  <a:pt x="22237" y="31551"/>
                </a:cubicBezTo>
                <a:cubicBezTo>
                  <a:pt x="22127" y="31348"/>
                  <a:pt x="22064" y="31129"/>
                  <a:pt x="22033" y="30957"/>
                </a:cubicBezTo>
                <a:lnTo>
                  <a:pt x="26036" y="30957"/>
                </a:lnTo>
                <a:cubicBezTo>
                  <a:pt x="26193" y="31426"/>
                  <a:pt x="26630" y="31754"/>
                  <a:pt x="27146" y="31754"/>
                </a:cubicBezTo>
                <a:cubicBezTo>
                  <a:pt x="27787" y="31754"/>
                  <a:pt x="28304" y="31239"/>
                  <a:pt x="28304" y="30598"/>
                </a:cubicBezTo>
                <a:cubicBezTo>
                  <a:pt x="28304" y="29957"/>
                  <a:pt x="27787" y="29425"/>
                  <a:pt x="27146" y="29425"/>
                </a:cubicBezTo>
                <a:cubicBezTo>
                  <a:pt x="26630" y="29425"/>
                  <a:pt x="26193" y="29769"/>
                  <a:pt x="26036" y="30238"/>
                </a:cubicBezTo>
                <a:lnTo>
                  <a:pt x="21611" y="30238"/>
                </a:lnTo>
                <a:lnTo>
                  <a:pt x="21595" y="30238"/>
                </a:lnTo>
                <a:lnTo>
                  <a:pt x="21564" y="30238"/>
                </a:lnTo>
                <a:cubicBezTo>
                  <a:pt x="21215" y="30206"/>
                  <a:pt x="21064" y="30300"/>
                  <a:pt x="20516" y="30144"/>
                </a:cubicBezTo>
                <a:cubicBezTo>
                  <a:pt x="20172" y="30050"/>
                  <a:pt x="19562" y="29690"/>
                  <a:pt x="18780" y="29237"/>
                </a:cubicBezTo>
                <a:cubicBezTo>
                  <a:pt x="18437" y="29034"/>
                  <a:pt x="18046" y="28799"/>
                  <a:pt x="17639" y="28564"/>
                </a:cubicBezTo>
                <a:cubicBezTo>
                  <a:pt x="16920" y="28158"/>
                  <a:pt x="16654" y="27642"/>
                  <a:pt x="16560" y="27329"/>
                </a:cubicBezTo>
                <a:lnTo>
                  <a:pt x="21314" y="27329"/>
                </a:lnTo>
                <a:cubicBezTo>
                  <a:pt x="21470" y="27783"/>
                  <a:pt x="21908" y="28127"/>
                  <a:pt x="22424" y="28127"/>
                </a:cubicBezTo>
                <a:cubicBezTo>
                  <a:pt x="23065" y="28127"/>
                  <a:pt x="23581" y="27611"/>
                  <a:pt x="23581" y="26970"/>
                </a:cubicBezTo>
                <a:cubicBezTo>
                  <a:pt x="23581" y="26329"/>
                  <a:pt x="23065" y="25797"/>
                  <a:pt x="22424" y="25797"/>
                </a:cubicBezTo>
                <a:cubicBezTo>
                  <a:pt x="21908" y="25797"/>
                  <a:pt x="21470" y="26141"/>
                  <a:pt x="21314" y="26610"/>
                </a:cubicBezTo>
                <a:lnTo>
                  <a:pt x="16263" y="26610"/>
                </a:lnTo>
                <a:cubicBezTo>
                  <a:pt x="15872" y="26344"/>
                  <a:pt x="15653" y="25984"/>
                  <a:pt x="15575" y="25547"/>
                </a:cubicBezTo>
                <a:cubicBezTo>
                  <a:pt x="15497" y="25140"/>
                  <a:pt x="15575" y="24765"/>
                  <a:pt x="15606" y="24593"/>
                </a:cubicBezTo>
                <a:cubicBezTo>
                  <a:pt x="15622" y="24561"/>
                  <a:pt x="15622" y="24546"/>
                  <a:pt x="15622" y="24530"/>
                </a:cubicBezTo>
                <a:cubicBezTo>
                  <a:pt x="15715" y="24218"/>
                  <a:pt x="16998" y="21716"/>
                  <a:pt x="17608" y="20808"/>
                </a:cubicBezTo>
                <a:cubicBezTo>
                  <a:pt x="17780" y="20558"/>
                  <a:pt x="18046" y="20449"/>
                  <a:pt x="18327" y="20433"/>
                </a:cubicBezTo>
                <a:cubicBezTo>
                  <a:pt x="18264" y="21418"/>
                  <a:pt x="18233" y="22920"/>
                  <a:pt x="18217" y="23561"/>
                </a:cubicBezTo>
                <a:cubicBezTo>
                  <a:pt x="17749" y="23702"/>
                  <a:pt x="17404" y="24155"/>
                  <a:pt x="17404" y="24671"/>
                </a:cubicBezTo>
                <a:cubicBezTo>
                  <a:pt x="17404" y="25312"/>
                  <a:pt x="17936" y="25828"/>
                  <a:pt x="18577" y="25828"/>
                </a:cubicBezTo>
                <a:cubicBezTo>
                  <a:pt x="19218" y="25828"/>
                  <a:pt x="19750" y="25312"/>
                  <a:pt x="19750" y="24671"/>
                </a:cubicBezTo>
                <a:cubicBezTo>
                  <a:pt x="19750" y="24155"/>
                  <a:pt x="19406" y="23717"/>
                  <a:pt x="18937" y="23561"/>
                </a:cubicBezTo>
                <a:cubicBezTo>
                  <a:pt x="18952" y="22920"/>
                  <a:pt x="18968" y="21434"/>
                  <a:pt x="19047" y="20465"/>
                </a:cubicBezTo>
                <a:cubicBezTo>
                  <a:pt x="19265" y="20512"/>
                  <a:pt x="19468" y="20574"/>
                  <a:pt x="19593" y="20621"/>
                </a:cubicBezTo>
                <a:cubicBezTo>
                  <a:pt x="19985" y="20887"/>
                  <a:pt x="22612" y="23577"/>
                  <a:pt x="24316" y="25359"/>
                </a:cubicBezTo>
                <a:cubicBezTo>
                  <a:pt x="24254" y="25500"/>
                  <a:pt x="24222" y="25672"/>
                  <a:pt x="24222" y="25844"/>
                </a:cubicBezTo>
                <a:cubicBezTo>
                  <a:pt x="24222" y="26485"/>
                  <a:pt x="24738" y="27001"/>
                  <a:pt x="25379" y="27001"/>
                </a:cubicBezTo>
                <a:cubicBezTo>
                  <a:pt x="26020" y="27001"/>
                  <a:pt x="26552" y="26485"/>
                  <a:pt x="26552" y="25844"/>
                </a:cubicBezTo>
                <a:cubicBezTo>
                  <a:pt x="26552" y="25203"/>
                  <a:pt x="26020" y="24671"/>
                  <a:pt x="25379" y="24671"/>
                </a:cubicBezTo>
                <a:cubicBezTo>
                  <a:pt x="25176" y="24671"/>
                  <a:pt x="24973" y="24733"/>
                  <a:pt x="24801" y="24828"/>
                </a:cubicBezTo>
                <a:cubicBezTo>
                  <a:pt x="24394" y="24405"/>
                  <a:pt x="23519" y="23498"/>
                  <a:pt x="22643" y="22591"/>
                </a:cubicBezTo>
                <a:cubicBezTo>
                  <a:pt x="20156" y="20058"/>
                  <a:pt x="20000" y="20011"/>
                  <a:pt x="19860" y="19964"/>
                </a:cubicBezTo>
                <a:cubicBezTo>
                  <a:pt x="19609" y="19870"/>
                  <a:pt x="19359" y="19808"/>
                  <a:pt x="19125" y="19761"/>
                </a:cubicBezTo>
                <a:cubicBezTo>
                  <a:pt x="19359" y="18869"/>
                  <a:pt x="20313" y="18291"/>
                  <a:pt x="21407" y="17760"/>
                </a:cubicBezTo>
                <a:lnTo>
                  <a:pt x="25317" y="21700"/>
                </a:lnTo>
                <a:cubicBezTo>
                  <a:pt x="25254" y="21856"/>
                  <a:pt x="25223" y="22013"/>
                  <a:pt x="25223" y="22184"/>
                </a:cubicBezTo>
                <a:cubicBezTo>
                  <a:pt x="25223" y="22826"/>
                  <a:pt x="25739" y="23342"/>
                  <a:pt x="26380" y="23342"/>
                </a:cubicBezTo>
                <a:cubicBezTo>
                  <a:pt x="27021" y="23342"/>
                  <a:pt x="27553" y="22826"/>
                  <a:pt x="27553" y="22184"/>
                </a:cubicBezTo>
                <a:cubicBezTo>
                  <a:pt x="27553" y="21543"/>
                  <a:pt x="27021" y="21012"/>
                  <a:pt x="26380" y="21012"/>
                </a:cubicBezTo>
                <a:cubicBezTo>
                  <a:pt x="26177" y="21012"/>
                  <a:pt x="25973" y="21075"/>
                  <a:pt x="25802" y="21168"/>
                </a:cubicBezTo>
                <a:lnTo>
                  <a:pt x="22111" y="17447"/>
                </a:lnTo>
                <a:cubicBezTo>
                  <a:pt x="22783" y="17181"/>
                  <a:pt x="23878" y="16805"/>
                  <a:pt x="25020" y="16446"/>
                </a:cubicBezTo>
                <a:lnTo>
                  <a:pt x="26912" y="18385"/>
                </a:lnTo>
                <a:cubicBezTo>
                  <a:pt x="26818" y="18557"/>
                  <a:pt x="26756" y="18760"/>
                  <a:pt x="26756" y="18979"/>
                </a:cubicBezTo>
                <a:cubicBezTo>
                  <a:pt x="26756" y="19620"/>
                  <a:pt x="27271" y="20152"/>
                  <a:pt x="27912" y="20152"/>
                </a:cubicBezTo>
                <a:cubicBezTo>
                  <a:pt x="28569" y="20152"/>
                  <a:pt x="29085" y="19620"/>
                  <a:pt x="29085" y="18979"/>
                </a:cubicBezTo>
                <a:cubicBezTo>
                  <a:pt x="29085" y="18338"/>
                  <a:pt x="28569" y="17806"/>
                  <a:pt x="27912" y="17806"/>
                </a:cubicBezTo>
                <a:cubicBezTo>
                  <a:pt x="27756" y="17806"/>
                  <a:pt x="27600" y="17853"/>
                  <a:pt x="27444" y="17916"/>
                </a:cubicBezTo>
                <a:cubicBezTo>
                  <a:pt x="25786" y="16211"/>
                  <a:pt x="26339" y="16779"/>
                  <a:pt x="25786" y="16211"/>
                </a:cubicBezTo>
                <a:cubicBezTo>
                  <a:pt x="27006" y="15852"/>
                  <a:pt x="28179" y="15539"/>
                  <a:pt x="28851" y="15429"/>
                </a:cubicBezTo>
                <a:lnTo>
                  <a:pt x="29899" y="16805"/>
                </a:lnTo>
                <a:lnTo>
                  <a:pt x="29899" y="22544"/>
                </a:lnTo>
                <a:cubicBezTo>
                  <a:pt x="29430" y="22701"/>
                  <a:pt x="29085" y="23139"/>
                  <a:pt x="29085" y="23655"/>
                </a:cubicBezTo>
                <a:cubicBezTo>
                  <a:pt x="29085" y="24296"/>
                  <a:pt x="29617" y="24812"/>
                  <a:pt x="30258" y="24812"/>
                </a:cubicBezTo>
                <a:cubicBezTo>
                  <a:pt x="30899" y="24812"/>
                  <a:pt x="31415" y="24296"/>
                  <a:pt x="31415" y="23655"/>
                </a:cubicBezTo>
                <a:cubicBezTo>
                  <a:pt x="31415" y="23139"/>
                  <a:pt x="31087" y="22701"/>
                  <a:pt x="30618" y="22544"/>
                </a:cubicBezTo>
                <a:lnTo>
                  <a:pt x="30618" y="16680"/>
                </a:lnTo>
                <a:cubicBezTo>
                  <a:pt x="30618" y="16602"/>
                  <a:pt x="30587" y="16540"/>
                  <a:pt x="30540" y="16477"/>
                </a:cubicBezTo>
                <a:lnTo>
                  <a:pt x="29726" y="15414"/>
                </a:lnTo>
                <a:cubicBezTo>
                  <a:pt x="30634" y="15492"/>
                  <a:pt x="31431" y="15821"/>
                  <a:pt x="31963" y="16336"/>
                </a:cubicBezTo>
                <a:cubicBezTo>
                  <a:pt x="32291" y="16649"/>
                  <a:pt x="32479" y="16993"/>
                  <a:pt x="32479" y="17290"/>
                </a:cubicBezTo>
                <a:lnTo>
                  <a:pt x="32479" y="36477"/>
                </a:lnTo>
                <a:cubicBezTo>
                  <a:pt x="32010" y="36618"/>
                  <a:pt x="31665" y="37071"/>
                  <a:pt x="31665" y="37588"/>
                </a:cubicBezTo>
                <a:cubicBezTo>
                  <a:pt x="31665" y="38229"/>
                  <a:pt x="32197" y="38744"/>
                  <a:pt x="32838" y="38744"/>
                </a:cubicBezTo>
                <a:cubicBezTo>
                  <a:pt x="33479" y="38744"/>
                  <a:pt x="33996" y="38229"/>
                  <a:pt x="33996" y="37588"/>
                </a:cubicBezTo>
                <a:cubicBezTo>
                  <a:pt x="33996" y="37071"/>
                  <a:pt x="33651" y="36618"/>
                  <a:pt x="33198" y="36477"/>
                </a:cubicBezTo>
                <a:lnTo>
                  <a:pt x="33198" y="17290"/>
                </a:lnTo>
                <a:cubicBezTo>
                  <a:pt x="33198" y="17009"/>
                  <a:pt x="33104" y="16727"/>
                  <a:pt x="32948" y="16446"/>
                </a:cubicBezTo>
                <a:cubicBezTo>
                  <a:pt x="33010" y="16367"/>
                  <a:pt x="33104" y="16289"/>
                  <a:pt x="33229" y="16211"/>
                </a:cubicBezTo>
                <a:cubicBezTo>
                  <a:pt x="33589" y="16024"/>
                  <a:pt x="34105" y="16039"/>
                  <a:pt x="34699" y="16274"/>
                </a:cubicBezTo>
                <a:cubicBezTo>
                  <a:pt x="35184" y="16477"/>
                  <a:pt x="35731" y="16759"/>
                  <a:pt x="36357" y="17118"/>
                </a:cubicBezTo>
                <a:cubicBezTo>
                  <a:pt x="35309" y="18948"/>
                  <a:pt x="35658" y="18338"/>
                  <a:pt x="35309" y="18948"/>
                </a:cubicBezTo>
                <a:cubicBezTo>
                  <a:pt x="35215" y="18916"/>
                  <a:pt x="35121" y="18916"/>
                  <a:pt x="35027" y="18916"/>
                </a:cubicBezTo>
                <a:cubicBezTo>
                  <a:pt x="34386" y="18916"/>
                  <a:pt x="33855" y="19432"/>
                  <a:pt x="33855" y="20074"/>
                </a:cubicBezTo>
                <a:cubicBezTo>
                  <a:pt x="33855" y="20715"/>
                  <a:pt x="34386" y="21246"/>
                  <a:pt x="35027" y="21246"/>
                </a:cubicBezTo>
                <a:cubicBezTo>
                  <a:pt x="35668" y="21246"/>
                  <a:pt x="36185" y="20715"/>
                  <a:pt x="36185" y="20074"/>
                </a:cubicBezTo>
                <a:cubicBezTo>
                  <a:pt x="36185" y="19792"/>
                  <a:pt x="36091" y="19526"/>
                  <a:pt x="35919" y="19323"/>
                </a:cubicBezTo>
                <a:lnTo>
                  <a:pt x="36967" y="17478"/>
                </a:lnTo>
                <a:cubicBezTo>
                  <a:pt x="37467" y="17791"/>
                  <a:pt x="37999" y="18150"/>
                  <a:pt x="38562" y="18541"/>
                </a:cubicBezTo>
                <a:cubicBezTo>
                  <a:pt x="38671" y="18619"/>
                  <a:pt x="38702" y="18651"/>
                  <a:pt x="38733" y="18666"/>
                </a:cubicBezTo>
                <a:cubicBezTo>
                  <a:pt x="38780" y="18698"/>
                  <a:pt x="39203" y="18963"/>
                  <a:pt x="39296" y="19354"/>
                </a:cubicBezTo>
                <a:lnTo>
                  <a:pt x="39296" y="19370"/>
                </a:lnTo>
                <a:cubicBezTo>
                  <a:pt x="39484" y="19964"/>
                  <a:pt x="39406" y="20402"/>
                  <a:pt x="39296" y="20777"/>
                </a:cubicBezTo>
                <a:cubicBezTo>
                  <a:pt x="39203" y="21043"/>
                  <a:pt x="38045" y="22998"/>
                  <a:pt x="36951" y="24781"/>
                </a:cubicBezTo>
                <a:lnTo>
                  <a:pt x="36841" y="24781"/>
                </a:lnTo>
                <a:cubicBezTo>
                  <a:pt x="36200" y="24781"/>
                  <a:pt x="35668" y="25312"/>
                  <a:pt x="35668" y="25953"/>
                </a:cubicBezTo>
                <a:cubicBezTo>
                  <a:pt x="35668" y="26594"/>
                  <a:pt x="36200" y="27110"/>
                  <a:pt x="36841" y="27110"/>
                </a:cubicBezTo>
                <a:cubicBezTo>
                  <a:pt x="37482" y="27110"/>
                  <a:pt x="37999" y="26594"/>
                  <a:pt x="37999" y="25953"/>
                </a:cubicBezTo>
                <a:cubicBezTo>
                  <a:pt x="37999" y="25609"/>
                  <a:pt x="37858" y="25296"/>
                  <a:pt x="37624" y="25078"/>
                </a:cubicBezTo>
                <a:cubicBezTo>
                  <a:pt x="37842" y="24702"/>
                  <a:pt x="38249" y="24030"/>
                  <a:pt x="38655" y="23342"/>
                </a:cubicBezTo>
                <a:cubicBezTo>
                  <a:pt x="39906" y="21231"/>
                  <a:pt x="39953" y="21075"/>
                  <a:pt x="39984" y="20981"/>
                </a:cubicBezTo>
                <a:cubicBezTo>
                  <a:pt x="40047" y="20777"/>
                  <a:pt x="40156" y="20387"/>
                  <a:pt x="40109" y="19855"/>
                </a:cubicBezTo>
                <a:cubicBezTo>
                  <a:pt x="40422" y="20042"/>
                  <a:pt x="40766" y="20340"/>
                  <a:pt x="40860" y="20808"/>
                </a:cubicBezTo>
                <a:cubicBezTo>
                  <a:pt x="41048" y="21716"/>
                  <a:pt x="41017" y="22716"/>
                  <a:pt x="41001" y="23014"/>
                </a:cubicBezTo>
                <a:lnTo>
                  <a:pt x="37608" y="28424"/>
                </a:lnTo>
                <a:cubicBezTo>
                  <a:pt x="37514" y="28393"/>
                  <a:pt x="37420" y="28377"/>
                  <a:pt x="37326" y="28377"/>
                </a:cubicBezTo>
                <a:cubicBezTo>
                  <a:pt x="36685" y="28377"/>
                  <a:pt x="36153" y="28909"/>
                  <a:pt x="36153" y="29550"/>
                </a:cubicBezTo>
                <a:cubicBezTo>
                  <a:pt x="36153" y="30191"/>
                  <a:pt x="36685" y="30707"/>
                  <a:pt x="37326" y="30707"/>
                </a:cubicBezTo>
                <a:cubicBezTo>
                  <a:pt x="37967" y="30707"/>
                  <a:pt x="38483" y="30191"/>
                  <a:pt x="38483" y="29550"/>
                </a:cubicBezTo>
                <a:cubicBezTo>
                  <a:pt x="38483" y="29269"/>
                  <a:pt x="38390" y="29002"/>
                  <a:pt x="38217" y="28799"/>
                </a:cubicBezTo>
                <a:lnTo>
                  <a:pt x="41564" y="23451"/>
                </a:lnTo>
                <a:cubicBezTo>
                  <a:pt x="41923" y="23420"/>
                  <a:pt x="42831" y="23420"/>
                  <a:pt x="43394" y="24092"/>
                </a:cubicBezTo>
                <a:cubicBezTo>
                  <a:pt x="43972" y="24781"/>
                  <a:pt x="43956" y="25562"/>
                  <a:pt x="43925" y="26485"/>
                </a:cubicBezTo>
                <a:lnTo>
                  <a:pt x="43925" y="27142"/>
                </a:lnTo>
                <a:cubicBezTo>
                  <a:pt x="43956" y="28956"/>
                  <a:pt x="43566" y="29565"/>
                  <a:pt x="43128" y="29972"/>
                </a:cubicBezTo>
                <a:cubicBezTo>
                  <a:pt x="42674" y="30394"/>
                  <a:pt x="41642" y="30316"/>
                  <a:pt x="41282" y="30238"/>
                </a:cubicBezTo>
                <a:lnTo>
                  <a:pt x="41267" y="30238"/>
                </a:lnTo>
                <a:cubicBezTo>
                  <a:pt x="40376" y="30113"/>
                  <a:pt x="40078" y="29456"/>
                  <a:pt x="39984" y="29190"/>
                </a:cubicBezTo>
                <a:lnTo>
                  <a:pt x="40813" y="27798"/>
                </a:lnTo>
                <a:cubicBezTo>
                  <a:pt x="40939" y="27845"/>
                  <a:pt x="41079" y="27861"/>
                  <a:pt x="41220" y="27861"/>
                </a:cubicBezTo>
                <a:cubicBezTo>
                  <a:pt x="41861" y="27861"/>
                  <a:pt x="42377" y="27345"/>
                  <a:pt x="42377" y="26704"/>
                </a:cubicBezTo>
                <a:cubicBezTo>
                  <a:pt x="42377" y="26063"/>
                  <a:pt x="41861" y="25531"/>
                  <a:pt x="41220" y="25531"/>
                </a:cubicBezTo>
                <a:cubicBezTo>
                  <a:pt x="40563" y="25531"/>
                  <a:pt x="40047" y="26063"/>
                  <a:pt x="40047" y="26704"/>
                </a:cubicBezTo>
                <a:cubicBezTo>
                  <a:pt x="40047" y="26938"/>
                  <a:pt x="40125" y="27157"/>
                  <a:pt x="40251" y="27345"/>
                </a:cubicBezTo>
                <a:lnTo>
                  <a:pt x="39296" y="28956"/>
                </a:lnTo>
                <a:cubicBezTo>
                  <a:pt x="39250" y="29018"/>
                  <a:pt x="39234" y="29112"/>
                  <a:pt x="39250" y="29190"/>
                </a:cubicBezTo>
                <a:cubicBezTo>
                  <a:pt x="39265" y="29237"/>
                  <a:pt x="39328" y="29597"/>
                  <a:pt x="39594" y="29988"/>
                </a:cubicBezTo>
                <a:cubicBezTo>
                  <a:pt x="39813" y="30316"/>
                  <a:pt x="40219" y="30723"/>
                  <a:pt x="40907" y="30895"/>
                </a:cubicBezTo>
                <a:cubicBezTo>
                  <a:pt x="41017" y="31551"/>
                  <a:pt x="41032" y="32474"/>
                  <a:pt x="40751" y="32740"/>
                </a:cubicBezTo>
                <a:lnTo>
                  <a:pt x="40719" y="32755"/>
                </a:lnTo>
                <a:cubicBezTo>
                  <a:pt x="40532" y="32943"/>
                  <a:pt x="40360" y="33100"/>
                  <a:pt x="40204" y="33225"/>
                </a:cubicBezTo>
                <a:lnTo>
                  <a:pt x="40188" y="33225"/>
                </a:lnTo>
                <a:cubicBezTo>
                  <a:pt x="39891" y="33459"/>
                  <a:pt x="39563" y="33584"/>
                  <a:pt x="39015" y="33584"/>
                </a:cubicBezTo>
                <a:cubicBezTo>
                  <a:pt x="38655" y="33584"/>
                  <a:pt x="38296" y="33600"/>
                  <a:pt x="37967" y="33600"/>
                </a:cubicBezTo>
                <a:cubicBezTo>
                  <a:pt x="37404" y="33615"/>
                  <a:pt x="36888" y="33631"/>
                  <a:pt x="36654" y="33584"/>
                </a:cubicBezTo>
                <a:cubicBezTo>
                  <a:pt x="36357" y="33537"/>
                  <a:pt x="35231" y="33037"/>
                  <a:pt x="35200" y="32114"/>
                </a:cubicBezTo>
                <a:cubicBezTo>
                  <a:pt x="35153" y="31129"/>
                  <a:pt x="35184" y="25390"/>
                  <a:pt x="35184" y="23998"/>
                </a:cubicBezTo>
                <a:cubicBezTo>
                  <a:pt x="35653" y="23858"/>
                  <a:pt x="35997" y="23404"/>
                  <a:pt x="35997" y="22889"/>
                </a:cubicBezTo>
                <a:cubicBezTo>
                  <a:pt x="35997" y="22247"/>
                  <a:pt x="35481" y="21731"/>
                  <a:pt x="34840" y="21731"/>
                </a:cubicBezTo>
                <a:cubicBezTo>
                  <a:pt x="34199" y="21731"/>
                  <a:pt x="33667" y="22247"/>
                  <a:pt x="33667" y="22889"/>
                </a:cubicBezTo>
                <a:cubicBezTo>
                  <a:pt x="33667" y="23404"/>
                  <a:pt x="34011" y="23842"/>
                  <a:pt x="34480" y="23998"/>
                </a:cubicBezTo>
                <a:cubicBezTo>
                  <a:pt x="34465" y="25406"/>
                  <a:pt x="34433" y="31129"/>
                  <a:pt x="34480" y="32146"/>
                </a:cubicBezTo>
                <a:cubicBezTo>
                  <a:pt x="34512" y="32740"/>
                  <a:pt x="34809" y="33287"/>
                  <a:pt x="35356" y="33725"/>
                </a:cubicBezTo>
                <a:cubicBezTo>
                  <a:pt x="35778" y="34053"/>
                  <a:pt x="36263" y="34241"/>
                  <a:pt x="36529" y="34288"/>
                </a:cubicBezTo>
                <a:cubicBezTo>
                  <a:pt x="36685" y="34319"/>
                  <a:pt x="36919" y="34335"/>
                  <a:pt x="37186" y="34335"/>
                </a:cubicBezTo>
                <a:cubicBezTo>
                  <a:pt x="37420" y="34335"/>
                  <a:pt x="37686" y="34319"/>
                  <a:pt x="37983" y="34319"/>
                </a:cubicBezTo>
                <a:cubicBezTo>
                  <a:pt x="38312" y="34303"/>
                  <a:pt x="38671" y="34303"/>
                  <a:pt x="39015" y="34303"/>
                </a:cubicBezTo>
                <a:cubicBezTo>
                  <a:pt x="39609" y="34303"/>
                  <a:pt x="40016" y="34178"/>
                  <a:pt x="40360" y="33975"/>
                </a:cubicBezTo>
                <a:cubicBezTo>
                  <a:pt x="40422" y="34022"/>
                  <a:pt x="40501" y="34053"/>
                  <a:pt x="40563" y="34053"/>
                </a:cubicBezTo>
                <a:cubicBezTo>
                  <a:pt x="40657" y="34053"/>
                  <a:pt x="40735" y="34022"/>
                  <a:pt x="40813" y="33960"/>
                </a:cubicBezTo>
                <a:cubicBezTo>
                  <a:pt x="40923" y="33850"/>
                  <a:pt x="40954" y="33693"/>
                  <a:pt x="40907" y="33568"/>
                </a:cubicBezTo>
                <a:close/>
                <a:moveTo>
                  <a:pt x="28554" y="26970"/>
                </a:moveTo>
                <a:cubicBezTo>
                  <a:pt x="28554" y="26720"/>
                  <a:pt x="28757" y="26516"/>
                  <a:pt x="29007" y="26516"/>
                </a:cubicBezTo>
                <a:cubicBezTo>
                  <a:pt x="29258" y="26516"/>
                  <a:pt x="29461" y="26720"/>
                  <a:pt x="29461" y="26970"/>
                </a:cubicBezTo>
                <a:cubicBezTo>
                  <a:pt x="29461" y="27048"/>
                  <a:pt x="29445" y="27110"/>
                  <a:pt x="29414" y="27173"/>
                </a:cubicBezTo>
                <a:cubicBezTo>
                  <a:pt x="29367" y="27188"/>
                  <a:pt x="29320" y="27220"/>
                  <a:pt x="29273" y="27251"/>
                </a:cubicBezTo>
                <a:cubicBezTo>
                  <a:pt x="29242" y="27298"/>
                  <a:pt x="29210" y="27329"/>
                  <a:pt x="29195" y="27376"/>
                </a:cubicBezTo>
                <a:cubicBezTo>
                  <a:pt x="29148" y="27408"/>
                  <a:pt x="29070" y="27423"/>
                  <a:pt x="29007" y="27423"/>
                </a:cubicBezTo>
                <a:cubicBezTo>
                  <a:pt x="28757" y="27423"/>
                  <a:pt x="28554" y="27220"/>
                  <a:pt x="28554" y="26970"/>
                </a:cubicBezTo>
                <a:close/>
                <a:moveTo>
                  <a:pt x="27146" y="30144"/>
                </a:moveTo>
                <a:cubicBezTo>
                  <a:pt x="27397" y="30144"/>
                  <a:pt x="27600" y="30347"/>
                  <a:pt x="27600" y="30598"/>
                </a:cubicBezTo>
                <a:cubicBezTo>
                  <a:pt x="27600" y="30848"/>
                  <a:pt x="27397" y="31051"/>
                  <a:pt x="27146" y="31051"/>
                </a:cubicBezTo>
                <a:cubicBezTo>
                  <a:pt x="26896" y="31051"/>
                  <a:pt x="26693" y="30848"/>
                  <a:pt x="26693" y="30598"/>
                </a:cubicBezTo>
                <a:cubicBezTo>
                  <a:pt x="26693" y="30347"/>
                  <a:pt x="26896" y="30144"/>
                  <a:pt x="27146" y="30144"/>
                </a:cubicBezTo>
                <a:close/>
                <a:moveTo>
                  <a:pt x="22424" y="26516"/>
                </a:moveTo>
                <a:cubicBezTo>
                  <a:pt x="22674" y="26516"/>
                  <a:pt x="22878" y="26720"/>
                  <a:pt x="22878" y="26970"/>
                </a:cubicBezTo>
                <a:cubicBezTo>
                  <a:pt x="22878" y="27220"/>
                  <a:pt x="22674" y="27423"/>
                  <a:pt x="22424" y="27423"/>
                </a:cubicBezTo>
                <a:cubicBezTo>
                  <a:pt x="22174" y="27423"/>
                  <a:pt x="21970" y="27220"/>
                  <a:pt x="21970" y="26970"/>
                </a:cubicBezTo>
                <a:cubicBezTo>
                  <a:pt x="21970" y="26720"/>
                  <a:pt x="22174" y="26516"/>
                  <a:pt x="22424" y="26516"/>
                </a:cubicBezTo>
                <a:close/>
                <a:moveTo>
                  <a:pt x="25833" y="25844"/>
                </a:moveTo>
                <a:cubicBezTo>
                  <a:pt x="25833" y="26094"/>
                  <a:pt x="25630" y="26297"/>
                  <a:pt x="25379" y="26297"/>
                </a:cubicBezTo>
                <a:cubicBezTo>
                  <a:pt x="25129" y="26297"/>
                  <a:pt x="24926" y="26094"/>
                  <a:pt x="24926" y="25844"/>
                </a:cubicBezTo>
                <a:cubicBezTo>
                  <a:pt x="24926" y="25734"/>
                  <a:pt x="24973" y="25625"/>
                  <a:pt x="25035" y="25547"/>
                </a:cubicBezTo>
                <a:lnTo>
                  <a:pt x="25051" y="25531"/>
                </a:lnTo>
                <a:cubicBezTo>
                  <a:pt x="25129" y="25453"/>
                  <a:pt x="25254" y="25390"/>
                  <a:pt x="25379" y="25390"/>
                </a:cubicBezTo>
                <a:cubicBezTo>
                  <a:pt x="25630" y="25390"/>
                  <a:pt x="25833" y="25594"/>
                  <a:pt x="25833" y="25844"/>
                </a:cubicBezTo>
                <a:close/>
                <a:moveTo>
                  <a:pt x="18577" y="25124"/>
                </a:moveTo>
                <a:cubicBezTo>
                  <a:pt x="18327" y="25124"/>
                  <a:pt x="18124" y="24921"/>
                  <a:pt x="18124" y="24671"/>
                </a:cubicBezTo>
                <a:cubicBezTo>
                  <a:pt x="18124" y="24421"/>
                  <a:pt x="18327" y="24218"/>
                  <a:pt x="18577" y="24218"/>
                </a:cubicBezTo>
                <a:cubicBezTo>
                  <a:pt x="18827" y="24218"/>
                  <a:pt x="19031" y="24421"/>
                  <a:pt x="19031" y="24671"/>
                </a:cubicBezTo>
                <a:cubicBezTo>
                  <a:pt x="19031" y="24921"/>
                  <a:pt x="18827" y="25124"/>
                  <a:pt x="18577" y="25124"/>
                </a:cubicBezTo>
                <a:close/>
                <a:moveTo>
                  <a:pt x="28366" y="18979"/>
                </a:moveTo>
                <a:cubicBezTo>
                  <a:pt x="28366" y="19229"/>
                  <a:pt x="28163" y="19432"/>
                  <a:pt x="27912" y="19432"/>
                </a:cubicBezTo>
                <a:cubicBezTo>
                  <a:pt x="27678" y="19432"/>
                  <a:pt x="27475" y="19229"/>
                  <a:pt x="27475" y="18979"/>
                </a:cubicBezTo>
                <a:cubicBezTo>
                  <a:pt x="27475" y="18854"/>
                  <a:pt x="27522" y="18729"/>
                  <a:pt x="27616" y="18651"/>
                </a:cubicBezTo>
                <a:cubicBezTo>
                  <a:pt x="27694" y="18573"/>
                  <a:pt x="27803" y="18526"/>
                  <a:pt x="27912" y="18526"/>
                </a:cubicBezTo>
                <a:cubicBezTo>
                  <a:pt x="28163" y="18526"/>
                  <a:pt x="28366" y="18729"/>
                  <a:pt x="28366" y="18979"/>
                </a:cubicBezTo>
                <a:close/>
                <a:moveTo>
                  <a:pt x="30258" y="24108"/>
                </a:moveTo>
                <a:cubicBezTo>
                  <a:pt x="30008" y="24108"/>
                  <a:pt x="29805" y="23905"/>
                  <a:pt x="29805" y="23655"/>
                </a:cubicBezTo>
                <a:cubicBezTo>
                  <a:pt x="29805" y="23404"/>
                  <a:pt x="30008" y="23201"/>
                  <a:pt x="30258" y="23201"/>
                </a:cubicBezTo>
                <a:cubicBezTo>
                  <a:pt x="30508" y="23201"/>
                  <a:pt x="30712" y="23404"/>
                  <a:pt x="30712" y="23655"/>
                </a:cubicBezTo>
                <a:cubicBezTo>
                  <a:pt x="30712" y="23905"/>
                  <a:pt x="30508" y="24108"/>
                  <a:pt x="30258" y="24108"/>
                </a:cubicBezTo>
                <a:close/>
                <a:moveTo>
                  <a:pt x="26834" y="22184"/>
                </a:moveTo>
                <a:cubicBezTo>
                  <a:pt x="26834" y="22435"/>
                  <a:pt x="26630" y="22638"/>
                  <a:pt x="26380" y="22638"/>
                </a:cubicBezTo>
                <a:cubicBezTo>
                  <a:pt x="26130" y="22638"/>
                  <a:pt x="25927" y="22435"/>
                  <a:pt x="25927" y="22184"/>
                </a:cubicBezTo>
                <a:cubicBezTo>
                  <a:pt x="25927" y="22075"/>
                  <a:pt x="25973" y="21966"/>
                  <a:pt x="26036" y="21888"/>
                </a:cubicBezTo>
                <a:cubicBezTo>
                  <a:pt x="26052" y="21888"/>
                  <a:pt x="26052" y="21888"/>
                  <a:pt x="26052" y="21872"/>
                </a:cubicBezTo>
                <a:cubicBezTo>
                  <a:pt x="26130" y="21794"/>
                  <a:pt x="26255" y="21731"/>
                  <a:pt x="26380" y="21731"/>
                </a:cubicBezTo>
                <a:cubicBezTo>
                  <a:pt x="26630" y="21731"/>
                  <a:pt x="26834" y="21934"/>
                  <a:pt x="26834" y="22184"/>
                </a:cubicBezTo>
                <a:close/>
                <a:moveTo>
                  <a:pt x="32838" y="38041"/>
                </a:moveTo>
                <a:cubicBezTo>
                  <a:pt x="32588" y="38041"/>
                  <a:pt x="32385" y="37838"/>
                  <a:pt x="32385" y="37588"/>
                </a:cubicBezTo>
                <a:cubicBezTo>
                  <a:pt x="32385" y="37337"/>
                  <a:pt x="32588" y="37134"/>
                  <a:pt x="32838" y="37134"/>
                </a:cubicBezTo>
                <a:cubicBezTo>
                  <a:pt x="33088" y="37134"/>
                  <a:pt x="33292" y="37337"/>
                  <a:pt x="33292" y="37588"/>
                </a:cubicBezTo>
                <a:cubicBezTo>
                  <a:pt x="33292" y="37838"/>
                  <a:pt x="33088" y="38041"/>
                  <a:pt x="32838" y="38041"/>
                </a:cubicBezTo>
                <a:close/>
                <a:moveTo>
                  <a:pt x="35027" y="20527"/>
                </a:moveTo>
                <a:cubicBezTo>
                  <a:pt x="34777" y="20527"/>
                  <a:pt x="34574" y="20324"/>
                  <a:pt x="34574" y="20074"/>
                </a:cubicBezTo>
                <a:cubicBezTo>
                  <a:pt x="34574" y="19824"/>
                  <a:pt x="34777" y="19620"/>
                  <a:pt x="35027" y="19620"/>
                </a:cubicBezTo>
                <a:cubicBezTo>
                  <a:pt x="35278" y="19620"/>
                  <a:pt x="35481" y="19824"/>
                  <a:pt x="35481" y="20074"/>
                </a:cubicBezTo>
                <a:cubicBezTo>
                  <a:pt x="35481" y="20324"/>
                  <a:pt x="35278" y="20527"/>
                  <a:pt x="35027" y="20527"/>
                </a:cubicBezTo>
                <a:close/>
                <a:moveTo>
                  <a:pt x="36841" y="26391"/>
                </a:moveTo>
                <a:cubicBezTo>
                  <a:pt x="36591" y="26391"/>
                  <a:pt x="36388" y="26204"/>
                  <a:pt x="36388" y="25953"/>
                </a:cubicBezTo>
                <a:cubicBezTo>
                  <a:pt x="36388" y="25703"/>
                  <a:pt x="36591" y="25500"/>
                  <a:pt x="36841" y="25500"/>
                </a:cubicBezTo>
                <a:cubicBezTo>
                  <a:pt x="36888" y="25500"/>
                  <a:pt x="36935" y="25500"/>
                  <a:pt x="36982" y="25516"/>
                </a:cubicBezTo>
                <a:cubicBezTo>
                  <a:pt x="36998" y="25531"/>
                  <a:pt x="36998" y="25531"/>
                  <a:pt x="37014" y="25531"/>
                </a:cubicBezTo>
                <a:cubicBezTo>
                  <a:pt x="37170" y="25609"/>
                  <a:pt x="37295" y="25766"/>
                  <a:pt x="37295" y="25953"/>
                </a:cubicBezTo>
                <a:cubicBezTo>
                  <a:pt x="37295" y="26204"/>
                  <a:pt x="37092" y="26391"/>
                  <a:pt x="36841" y="26391"/>
                </a:cubicBezTo>
                <a:close/>
                <a:moveTo>
                  <a:pt x="37326" y="30003"/>
                </a:moveTo>
                <a:cubicBezTo>
                  <a:pt x="37076" y="30003"/>
                  <a:pt x="36873" y="29800"/>
                  <a:pt x="36873" y="29550"/>
                </a:cubicBezTo>
                <a:cubicBezTo>
                  <a:pt x="36873" y="29300"/>
                  <a:pt x="37076" y="29096"/>
                  <a:pt x="37326" y="29096"/>
                </a:cubicBezTo>
                <a:cubicBezTo>
                  <a:pt x="37404" y="29096"/>
                  <a:pt x="37482" y="29127"/>
                  <a:pt x="37561" y="29159"/>
                </a:cubicBezTo>
                <a:cubicBezTo>
                  <a:pt x="37561" y="29174"/>
                  <a:pt x="37571" y="29169"/>
                  <a:pt x="37576" y="29174"/>
                </a:cubicBezTo>
                <a:cubicBezTo>
                  <a:pt x="37702" y="29252"/>
                  <a:pt x="37780" y="29394"/>
                  <a:pt x="37780" y="29550"/>
                </a:cubicBezTo>
                <a:cubicBezTo>
                  <a:pt x="37780" y="29800"/>
                  <a:pt x="37576" y="30003"/>
                  <a:pt x="37326" y="30003"/>
                </a:cubicBezTo>
                <a:close/>
                <a:moveTo>
                  <a:pt x="41220" y="26250"/>
                </a:moveTo>
                <a:cubicBezTo>
                  <a:pt x="41454" y="26250"/>
                  <a:pt x="41658" y="26454"/>
                  <a:pt x="41658" y="26704"/>
                </a:cubicBezTo>
                <a:cubicBezTo>
                  <a:pt x="41658" y="26954"/>
                  <a:pt x="41454" y="27157"/>
                  <a:pt x="41220" y="27157"/>
                </a:cubicBezTo>
                <a:cubicBezTo>
                  <a:pt x="41110" y="27157"/>
                  <a:pt x="41001" y="27110"/>
                  <a:pt x="40923" y="27048"/>
                </a:cubicBezTo>
                <a:lnTo>
                  <a:pt x="40923" y="27032"/>
                </a:lnTo>
                <a:cubicBezTo>
                  <a:pt x="40829" y="26954"/>
                  <a:pt x="40766" y="26829"/>
                  <a:pt x="40766" y="26704"/>
                </a:cubicBezTo>
                <a:cubicBezTo>
                  <a:pt x="40766" y="26454"/>
                  <a:pt x="40970" y="26250"/>
                  <a:pt x="41220" y="26250"/>
                </a:cubicBezTo>
                <a:close/>
                <a:moveTo>
                  <a:pt x="34840" y="22435"/>
                </a:moveTo>
                <a:cubicBezTo>
                  <a:pt x="35090" y="22435"/>
                  <a:pt x="35293" y="22638"/>
                  <a:pt x="35293" y="22889"/>
                </a:cubicBezTo>
                <a:cubicBezTo>
                  <a:pt x="35293" y="23139"/>
                  <a:pt x="35090" y="23342"/>
                  <a:pt x="34840" y="23342"/>
                </a:cubicBezTo>
                <a:cubicBezTo>
                  <a:pt x="34590" y="23342"/>
                  <a:pt x="34386" y="23139"/>
                  <a:pt x="34386" y="22889"/>
                </a:cubicBezTo>
                <a:cubicBezTo>
                  <a:pt x="34386" y="22638"/>
                  <a:pt x="34590" y="22435"/>
                  <a:pt x="34840" y="22435"/>
                </a:cubicBezTo>
                <a:close/>
                <a:moveTo>
                  <a:pt x="20579" y="34100"/>
                </a:moveTo>
                <a:lnTo>
                  <a:pt x="20250" y="34398"/>
                </a:lnTo>
                <a:cubicBezTo>
                  <a:pt x="20094" y="34523"/>
                  <a:pt x="20078" y="34741"/>
                  <a:pt x="20203" y="34898"/>
                </a:cubicBezTo>
                <a:cubicBezTo>
                  <a:pt x="20282" y="34976"/>
                  <a:pt x="20376" y="35023"/>
                  <a:pt x="20485" y="35023"/>
                </a:cubicBezTo>
                <a:cubicBezTo>
                  <a:pt x="20563" y="35023"/>
                  <a:pt x="20641" y="34991"/>
                  <a:pt x="20719" y="34929"/>
                </a:cubicBezTo>
                <a:lnTo>
                  <a:pt x="21048" y="34648"/>
                </a:lnTo>
                <a:cubicBezTo>
                  <a:pt x="21204" y="34523"/>
                  <a:pt x="21220" y="34288"/>
                  <a:pt x="21095" y="34147"/>
                </a:cubicBezTo>
                <a:cubicBezTo>
                  <a:pt x="20954" y="33991"/>
                  <a:pt x="20735" y="33975"/>
                  <a:pt x="20579" y="34100"/>
                </a:cubicBezTo>
                <a:close/>
                <a:moveTo>
                  <a:pt x="21595" y="33240"/>
                </a:moveTo>
                <a:cubicBezTo>
                  <a:pt x="21251" y="33522"/>
                  <a:pt x="21366" y="33428"/>
                  <a:pt x="21251" y="33522"/>
                </a:cubicBezTo>
                <a:cubicBezTo>
                  <a:pt x="21111" y="33662"/>
                  <a:pt x="21095" y="33881"/>
                  <a:pt x="21220" y="34038"/>
                </a:cubicBezTo>
                <a:cubicBezTo>
                  <a:pt x="21298" y="34116"/>
                  <a:pt x="21392" y="34163"/>
                  <a:pt x="21486" y="34163"/>
                </a:cubicBezTo>
                <a:cubicBezTo>
                  <a:pt x="21580" y="34163"/>
                  <a:pt x="21658" y="34131"/>
                  <a:pt x="21720" y="34069"/>
                </a:cubicBezTo>
                <a:lnTo>
                  <a:pt x="22064" y="33788"/>
                </a:lnTo>
                <a:cubicBezTo>
                  <a:pt x="22205" y="33647"/>
                  <a:pt x="22221" y="33428"/>
                  <a:pt x="22095" y="33272"/>
                </a:cubicBezTo>
                <a:cubicBezTo>
                  <a:pt x="21970" y="33131"/>
                  <a:pt x="21752" y="33115"/>
                  <a:pt x="21595" y="33240"/>
                </a:cubicBezTo>
                <a:close/>
                <a:moveTo>
                  <a:pt x="18562" y="35836"/>
                </a:moveTo>
                <a:lnTo>
                  <a:pt x="18233" y="36133"/>
                </a:lnTo>
                <a:cubicBezTo>
                  <a:pt x="18077" y="36258"/>
                  <a:pt x="18061" y="36477"/>
                  <a:pt x="18186" y="36633"/>
                </a:cubicBezTo>
                <a:cubicBezTo>
                  <a:pt x="18264" y="36712"/>
                  <a:pt x="18359" y="36758"/>
                  <a:pt x="18468" y="36758"/>
                </a:cubicBezTo>
                <a:cubicBezTo>
                  <a:pt x="18546" y="36758"/>
                  <a:pt x="18624" y="36727"/>
                  <a:pt x="18687" y="36665"/>
                </a:cubicBezTo>
                <a:cubicBezTo>
                  <a:pt x="19031" y="36383"/>
                  <a:pt x="18916" y="36477"/>
                  <a:pt x="19031" y="36383"/>
                </a:cubicBezTo>
                <a:cubicBezTo>
                  <a:pt x="19187" y="36258"/>
                  <a:pt x="19203" y="36024"/>
                  <a:pt x="19062" y="35883"/>
                </a:cubicBezTo>
                <a:cubicBezTo>
                  <a:pt x="18937" y="35727"/>
                  <a:pt x="18718" y="35711"/>
                  <a:pt x="18562" y="35836"/>
                </a:cubicBezTo>
                <a:close/>
                <a:moveTo>
                  <a:pt x="17561" y="36712"/>
                </a:moveTo>
                <a:cubicBezTo>
                  <a:pt x="17217" y="36993"/>
                  <a:pt x="17332" y="36899"/>
                  <a:pt x="17217" y="36993"/>
                </a:cubicBezTo>
                <a:cubicBezTo>
                  <a:pt x="17061" y="37118"/>
                  <a:pt x="17045" y="37353"/>
                  <a:pt x="17186" y="37493"/>
                </a:cubicBezTo>
                <a:cubicBezTo>
                  <a:pt x="17248" y="37588"/>
                  <a:pt x="17358" y="37619"/>
                  <a:pt x="17451" y="37619"/>
                </a:cubicBezTo>
                <a:cubicBezTo>
                  <a:pt x="17529" y="37619"/>
                  <a:pt x="17623" y="37603"/>
                  <a:pt x="17686" y="37540"/>
                </a:cubicBezTo>
                <a:lnTo>
                  <a:pt x="18014" y="37243"/>
                </a:lnTo>
                <a:cubicBezTo>
                  <a:pt x="18171" y="37118"/>
                  <a:pt x="18186" y="36899"/>
                  <a:pt x="18061" y="36743"/>
                </a:cubicBezTo>
                <a:cubicBezTo>
                  <a:pt x="17936" y="36602"/>
                  <a:pt x="17702" y="36571"/>
                  <a:pt x="17561" y="36712"/>
                </a:cubicBezTo>
                <a:close/>
                <a:moveTo>
                  <a:pt x="19578" y="34976"/>
                </a:moveTo>
                <a:lnTo>
                  <a:pt x="19234" y="35257"/>
                </a:lnTo>
                <a:cubicBezTo>
                  <a:pt x="19093" y="35382"/>
                  <a:pt x="19078" y="35617"/>
                  <a:pt x="19203" y="35758"/>
                </a:cubicBezTo>
                <a:cubicBezTo>
                  <a:pt x="19265" y="35852"/>
                  <a:pt x="19375" y="35883"/>
                  <a:pt x="19468" y="35883"/>
                </a:cubicBezTo>
                <a:cubicBezTo>
                  <a:pt x="19547" y="35883"/>
                  <a:pt x="19641" y="35867"/>
                  <a:pt x="19703" y="35805"/>
                </a:cubicBezTo>
                <a:cubicBezTo>
                  <a:pt x="20047" y="35507"/>
                  <a:pt x="19932" y="35606"/>
                  <a:pt x="20047" y="35507"/>
                </a:cubicBezTo>
                <a:cubicBezTo>
                  <a:pt x="20188" y="35382"/>
                  <a:pt x="20203" y="35164"/>
                  <a:pt x="20078" y="35007"/>
                </a:cubicBezTo>
                <a:cubicBezTo>
                  <a:pt x="19953" y="34866"/>
                  <a:pt x="19719" y="34851"/>
                  <a:pt x="19578" y="34976"/>
                </a:cubicBezTo>
                <a:close/>
                <a:moveTo>
                  <a:pt x="16935" y="37525"/>
                </a:moveTo>
                <a:cubicBezTo>
                  <a:pt x="16826" y="36337"/>
                  <a:pt x="16310" y="35226"/>
                  <a:pt x="15450" y="34366"/>
                </a:cubicBezTo>
                <a:cubicBezTo>
                  <a:pt x="14590" y="33506"/>
                  <a:pt x="13464" y="32990"/>
                  <a:pt x="12260" y="32880"/>
                </a:cubicBezTo>
                <a:cubicBezTo>
                  <a:pt x="11837" y="32114"/>
                  <a:pt x="11228" y="31473"/>
                  <a:pt x="10493" y="31004"/>
                </a:cubicBezTo>
                <a:cubicBezTo>
                  <a:pt x="9680" y="30488"/>
                  <a:pt x="8726" y="30207"/>
                  <a:pt x="7756" y="30207"/>
                </a:cubicBezTo>
                <a:cubicBezTo>
                  <a:pt x="6380" y="30207"/>
                  <a:pt x="5098" y="30754"/>
                  <a:pt x="4128" y="31723"/>
                </a:cubicBezTo>
                <a:cubicBezTo>
                  <a:pt x="3159" y="32693"/>
                  <a:pt x="2627" y="33975"/>
                  <a:pt x="2627" y="35351"/>
                </a:cubicBezTo>
                <a:cubicBezTo>
                  <a:pt x="2627" y="36321"/>
                  <a:pt x="2893" y="37259"/>
                  <a:pt x="3409" y="38088"/>
                </a:cubicBezTo>
                <a:lnTo>
                  <a:pt x="2815" y="39902"/>
                </a:lnTo>
                <a:cubicBezTo>
                  <a:pt x="2784" y="40027"/>
                  <a:pt x="2815" y="40168"/>
                  <a:pt x="2909" y="40261"/>
                </a:cubicBezTo>
                <a:cubicBezTo>
                  <a:pt x="3003" y="40355"/>
                  <a:pt x="3143" y="40386"/>
                  <a:pt x="3268" y="40340"/>
                </a:cubicBezTo>
                <a:lnTo>
                  <a:pt x="5114" y="39745"/>
                </a:lnTo>
                <a:cubicBezTo>
                  <a:pt x="5786" y="40152"/>
                  <a:pt x="6537" y="40402"/>
                  <a:pt x="7318" y="40465"/>
                </a:cubicBezTo>
                <a:cubicBezTo>
                  <a:pt x="7538" y="40887"/>
                  <a:pt x="7834" y="41278"/>
                  <a:pt x="8194" y="41637"/>
                </a:cubicBezTo>
                <a:cubicBezTo>
                  <a:pt x="9164" y="42607"/>
                  <a:pt x="10446" y="43138"/>
                  <a:pt x="11822" y="43138"/>
                </a:cubicBezTo>
                <a:cubicBezTo>
                  <a:pt x="12760" y="43138"/>
                  <a:pt x="13667" y="42888"/>
                  <a:pt x="14464" y="42404"/>
                </a:cubicBezTo>
                <a:lnTo>
                  <a:pt x="16310" y="42998"/>
                </a:lnTo>
                <a:cubicBezTo>
                  <a:pt x="16435" y="43045"/>
                  <a:pt x="16576" y="42998"/>
                  <a:pt x="16670" y="42904"/>
                </a:cubicBezTo>
                <a:cubicBezTo>
                  <a:pt x="16763" y="42810"/>
                  <a:pt x="16795" y="42669"/>
                  <a:pt x="16748" y="42544"/>
                </a:cubicBezTo>
                <a:lnTo>
                  <a:pt x="16169" y="40730"/>
                </a:lnTo>
                <a:cubicBezTo>
                  <a:pt x="16654" y="39964"/>
                  <a:pt x="16920" y="39089"/>
                  <a:pt x="16951" y="38166"/>
                </a:cubicBezTo>
                <a:lnTo>
                  <a:pt x="17013" y="38119"/>
                </a:lnTo>
                <a:cubicBezTo>
                  <a:pt x="17154" y="37994"/>
                  <a:pt x="17170" y="37759"/>
                  <a:pt x="17045" y="37619"/>
                </a:cubicBezTo>
                <a:cubicBezTo>
                  <a:pt x="17013" y="37571"/>
                  <a:pt x="16982" y="37540"/>
                  <a:pt x="16935" y="37525"/>
                </a:cubicBezTo>
                <a:close/>
                <a:moveTo>
                  <a:pt x="5348" y="39057"/>
                </a:moveTo>
                <a:cubicBezTo>
                  <a:pt x="5223" y="38979"/>
                  <a:pt x="5082" y="38979"/>
                  <a:pt x="4973" y="39042"/>
                </a:cubicBezTo>
                <a:lnTo>
                  <a:pt x="3722" y="39448"/>
                </a:lnTo>
                <a:lnTo>
                  <a:pt x="4144" y="38134"/>
                </a:lnTo>
                <a:cubicBezTo>
                  <a:pt x="4175" y="38041"/>
                  <a:pt x="4160" y="37916"/>
                  <a:pt x="4097" y="37822"/>
                </a:cubicBezTo>
                <a:cubicBezTo>
                  <a:pt x="3597" y="37103"/>
                  <a:pt x="3331" y="36242"/>
                  <a:pt x="3331" y="35351"/>
                </a:cubicBezTo>
                <a:cubicBezTo>
                  <a:pt x="3331" y="32912"/>
                  <a:pt x="5317" y="30926"/>
                  <a:pt x="7756" y="30926"/>
                </a:cubicBezTo>
                <a:cubicBezTo>
                  <a:pt x="8585" y="30926"/>
                  <a:pt x="9414" y="31160"/>
                  <a:pt x="10118" y="31614"/>
                </a:cubicBezTo>
                <a:cubicBezTo>
                  <a:pt x="10634" y="31942"/>
                  <a:pt x="11087" y="32380"/>
                  <a:pt x="11416" y="32880"/>
                </a:cubicBezTo>
                <a:cubicBezTo>
                  <a:pt x="10196" y="32974"/>
                  <a:pt x="9070" y="33490"/>
                  <a:pt x="8194" y="34366"/>
                </a:cubicBezTo>
                <a:cubicBezTo>
                  <a:pt x="7225" y="35336"/>
                  <a:pt x="6677" y="36633"/>
                  <a:pt x="6677" y="37994"/>
                </a:cubicBezTo>
                <a:cubicBezTo>
                  <a:pt x="6677" y="38588"/>
                  <a:pt x="6787" y="39167"/>
                  <a:pt x="6975" y="39698"/>
                </a:cubicBezTo>
                <a:cubicBezTo>
                  <a:pt x="6396" y="39589"/>
                  <a:pt x="5833" y="39370"/>
                  <a:pt x="5348" y="39057"/>
                </a:cubicBezTo>
                <a:close/>
                <a:moveTo>
                  <a:pt x="15481" y="40480"/>
                </a:moveTo>
                <a:cubicBezTo>
                  <a:pt x="15419" y="40574"/>
                  <a:pt x="15403" y="40683"/>
                  <a:pt x="15434" y="40793"/>
                </a:cubicBezTo>
                <a:lnTo>
                  <a:pt x="15857" y="42107"/>
                </a:lnTo>
                <a:lnTo>
                  <a:pt x="14606" y="41700"/>
                </a:lnTo>
                <a:cubicBezTo>
                  <a:pt x="14481" y="41637"/>
                  <a:pt x="14339" y="41637"/>
                  <a:pt x="14230" y="41700"/>
                </a:cubicBezTo>
                <a:cubicBezTo>
                  <a:pt x="13511" y="42169"/>
                  <a:pt x="12682" y="42419"/>
                  <a:pt x="11822" y="42419"/>
                </a:cubicBezTo>
                <a:cubicBezTo>
                  <a:pt x="10102" y="42419"/>
                  <a:pt x="8601" y="41434"/>
                  <a:pt x="7866" y="39980"/>
                </a:cubicBezTo>
                <a:cubicBezTo>
                  <a:pt x="7866" y="39964"/>
                  <a:pt x="7850" y="39948"/>
                  <a:pt x="7850" y="39933"/>
                </a:cubicBezTo>
                <a:cubicBezTo>
                  <a:pt x="7553" y="39354"/>
                  <a:pt x="7396" y="38697"/>
                  <a:pt x="7396" y="37994"/>
                </a:cubicBezTo>
                <a:cubicBezTo>
                  <a:pt x="7396" y="35570"/>
                  <a:pt x="9383" y="33584"/>
                  <a:pt x="11822" y="33584"/>
                </a:cubicBezTo>
                <a:cubicBezTo>
                  <a:pt x="14261" y="33584"/>
                  <a:pt x="16232" y="35570"/>
                  <a:pt x="16232" y="37994"/>
                </a:cubicBezTo>
                <a:cubicBezTo>
                  <a:pt x="16232" y="38885"/>
                  <a:pt x="15982" y="39745"/>
                  <a:pt x="15481" y="4048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650486132"/>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Magellan focused icons - 6</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90" name="TextBox 89">
            <a:extLst>
              <a:ext uri="{FF2B5EF4-FFF2-40B4-BE49-F238E27FC236}">
                <a16:creationId xmlns:a16="http://schemas.microsoft.com/office/drawing/2014/main" id="{901890C6-60A8-7547-BDD4-AC59E6328605}"/>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13" name="TextBox 12">
            <a:extLst>
              <a:ext uri="{FF2B5EF4-FFF2-40B4-BE49-F238E27FC236}">
                <a16:creationId xmlns:a16="http://schemas.microsoft.com/office/drawing/2014/main" id="{54E5E402-0073-164C-99AA-E28EF7A1F0C7}"/>
              </a:ext>
            </a:extLst>
          </p:cNvPr>
          <p:cNvSpPr txBox="1"/>
          <p:nvPr/>
        </p:nvSpPr>
        <p:spPr>
          <a:xfrm>
            <a:off x="1246187" y="11608034"/>
            <a:ext cx="10944225"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Using </a:t>
            </a:r>
            <a:r>
              <a:rPr lang="en-US" sz="2800" dirty="0" err="1"/>
              <a:t>AI+IoT</a:t>
            </a:r>
            <a:r>
              <a:rPr lang="en-US" sz="2800" dirty="0"/>
              <a:t> to Better Control Supply Chain</a:t>
            </a:r>
          </a:p>
        </p:txBody>
      </p:sp>
      <p:sp>
        <p:nvSpPr>
          <p:cNvPr id="14" name="TextBox 13">
            <a:extLst>
              <a:ext uri="{FF2B5EF4-FFF2-40B4-BE49-F238E27FC236}">
                <a16:creationId xmlns:a16="http://schemas.microsoft.com/office/drawing/2014/main" id="{E602B7EA-FD1B-1443-ACFE-78EB149FD564}"/>
              </a:ext>
            </a:extLst>
          </p:cNvPr>
          <p:cNvSpPr txBox="1"/>
          <p:nvPr/>
        </p:nvSpPr>
        <p:spPr>
          <a:xfrm>
            <a:off x="12192000" y="11608034"/>
            <a:ext cx="10944225"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Using </a:t>
            </a:r>
            <a:r>
              <a:rPr lang="en-US" sz="2800" dirty="0" err="1"/>
              <a:t>AI+IoT</a:t>
            </a:r>
            <a:r>
              <a:rPr lang="en-US" sz="2800" dirty="0"/>
              <a:t> Optimize Delivery Routes</a:t>
            </a:r>
          </a:p>
        </p:txBody>
      </p:sp>
      <p:sp>
        <p:nvSpPr>
          <p:cNvPr id="15" name="Freeform 14">
            <a:extLst>
              <a:ext uri="{FF2B5EF4-FFF2-40B4-BE49-F238E27FC236}">
                <a16:creationId xmlns:a16="http://schemas.microsoft.com/office/drawing/2014/main" id="{339A1F9F-6D47-4843-8068-FE6AC06B8894}"/>
              </a:ext>
            </a:extLst>
          </p:cNvPr>
          <p:cNvSpPr/>
          <p:nvPr/>
        </p:nvSpPr>
        <p:spPr>
          <a:xfrm>
            <a:off x="12404126" y="1984632"/>
            <a:ext cx="10519967" cy="9347206"/>
          </a:xfrm>
          <a:custGeom>
            <a:avLst/>
            <a:gdLst/>
            <a:ahLst/>
            <a:cxnLst>
              <a:cxn ang="3cd4">
                <a:pos x="hc" y="t"/>
              </a:cxn>
              <a:cxn ang="cd2">
                <a:pos x="l" y="vc"/>
              </a:cxn>
              <a:cxn ang="cd4">
                <a:pos x="hc" y="b"/>
              </a:cxn>
              <a:cxn ang="0">
                <a:pos x="r" y="vc"/>
              </a:cxn>
            </a:cxnLst>
            <a:rect l="l" t="t" r="r" b="b"/>
            <a:pathLst>
              <a:path w="66049" h="58686">
                <a:moveTo>
                  <a:pt x="20391" y="50462"/>
                </a:moveTo>
                <a:cubicBezTo>
                  <a:pt x="20329" y="50274"/>
                  <a:pt x="20126" y="50180"/>
                  <a:pt x="19938" y="50242"/>
                </a:cubicBezTo>
                <a:cubicBezTo>
                  <a:pt x="19797" y="50305"/>
                  <a:pt x="19641" y="50321"/>
                  <a:pt x="19469" y="50321"/>
                </a:cubicBezTo>
                <a:cubicBezTo>
                  <a:pt x="19062" y="50321"/>
                  <a:pt x="18437" y="50211"/>
                  <a:pt x="17999" y="49914"/>
                </a:cubicBezTo>
                <a:cubicBezTo>
                  <a:pt x="18312" y="49586"/>
                  <a:pt x="18624" y="49211"/>
                  <a:pt x="18922" y="48788"/>
                </a:cubicBezTo>
                <a:cubicBezTo>
                  <a:pt x="19844" y="47459"/>
                  <a:pt x="20407" y="45926"/>
                  <a:pt x="20407" y="44801"/>
                </a:cubicBezTo>
                <a:cubicBezTo>
                  <a:pt x="20407" y="44066"/>
                  <a:pt x="19922" y="43956"/>
                  <a:pt x="19625" y="43956"/>
                </a:cubicBezTo>
                <a:lnTo>
                  <a:pt x="16545" y="43956"/>
                </a:lnTo>
                <a:cubicBezTo>
                  <a:pt x="16122" y="43956"/>
                  <a:pt x="15794" y="44066"/>
                  <a:pt x="15544" y="44269"/>
                </a:cubicBezTo>
                <a:cubicBezTo>
                  <a:pt x="15419" y="44379"/>
                  <a:pt x="15309" y="44566"/>
                  <a:pt x="15169" y="44832"/>
                </a:cubicBezTo>
                <a:cubicBezTo>
                  <a:pt x="14778" y="45551"/>
                  <a:pt x="14371" y="46193"/>
                  <a:pt x="13683" y="46193"/>
                </a:cubicBezTo>
                <a:lnTo>
                  <a:pt x="12870" y="46193"/>
                </a:lnTo>
                <a:cubicBezTo>
                  <a:pt x="12807" y="46114"/>
                  <a:pt x="12729" y="46036"/>
                  <a:pt x="12667" y="45958"/>
                </a:cubicBezTo>
                <a:cubicBezTo>
                  <a:pt x="12542" y="45817"/>
                  <a:pt x="12323" y="45786"/>
                  <a:pt x="12166" y="45926"/>
                </a:cubicBezTo>
                <a:cubicBezTo>
                  <a:pt x="12088" y="45989"/>
                  <a:pt x="12041" y="46099"/>
                  <a:pt x="12041" y="46193"/>
                </a:cubicBezTo>
                <a:lnTo>
                  <a:pt x="8929" y="46193"/>
                </a:lnTo>
                <a:lnTo>
                  <a:pt x="8929" y="44144"/>
                </a:lnTo>
                <a:cubicBezTo>
                  <a:pt x="9461" y="43612"/>
                  <a:pt x="9284" y="43789"/>
                  <a:pt x="9461" y="43612"/>
                </a:cubicBezTo>
                <a:cubicBezTo>
                  <a:pt x="9539" y="43550"/>
                  <a:pt x="9570" y="43456"/>
                  <a:pt x="9570" y="43362"/>
                </a:cubicBezTo>
                <a:lnTo>
                  <a:pt x="9570" y="42784"/>
                </a:lnTo>
                <a:cubicBezTo>
                  <a:pt x="9586" y="42815"/>
                  <a:pt x="9586" y="42846"/>
                  <a:pt x="9617" y="42878"/>
                </a:cubicBezTo>
                <a:cubicBezTo>
                  <a:pt x="9695" y="43018"/>
                  <a:pt x="9774" y="43159"/>
                  <a:pt x="9868" y="43299"/>
                </a:cubicBezTo>
                <a:cubicBezTo>
                  <a:pt x="9930" y="43409"/>
                  <a:pt x="10040" y="43472"/>
                  <a:pt x="10165" y="43472"/>
                </a:cubicBezTo>
                <a:cubicBezTo>
                  <a:pt x="10227" y="43472"/>
                  <a:pt x="10290" y="43456"/>
                  <a:pt x="10352" y="43409"/>
                </a:cubicBezTo>
                <a:cubicBezTo>
                  <a:pt x="10525" y="43315"/>
                  <a:pt x="10571" y="43096"/>
                  <a:pt x="10462" y="42924"/>
                </a:cubicBezTo>
                <a:cubicBezTo>
                  <a:pt x="10384" y="42784"/>
                  <a:pt x="10305" y="42658"/>
                  <a:pt x="10227" y="42518"/>
                </a:cubicBezTo>
                <a:cubicBezTo>
                  <a:pt x="10133" y="42346"/>
                  <a:pt x="9915" y="42299"/>
                  <a:pt x="9743" y="42393"/>
                </a:cubicBezTo>
                <a:cubicBezTo>
                  <a:pt x="9633" y="42455"/>
                  <a:pt x="9586" y="42549"/>
                  <a:pt x="9570" y="42658"/>
                </a:cubicBezTo>
                <a:cubicBezTo>
                  <a:pt x="9524" y="42486"/>
                  <a:pt x="9383" y="42377"/>
                  <a:pt x="9211" y="42377"/>
                </a:cubicBezTo>
                <a:lnTo>
                  <a:pt x="7976" y="42377"/>
                </a:lnTo>
                <a:lnTo>
                  <a:pt x="7976" y="41126"/>
                </a:lnTo>
                <a:cubicBezTo>
                  <a:pt x="7976" y="40939"/>
                  <a:pt x="7819" y="40782"/>
                  <a:pt x="7616" y="40782"/>
                </a:cubicBezTo>
                <a:cubicBezTo>
                  <a:pt x="7428" y="40782"/>
                  <a:pt x="7256" y="40939"/>
                  <a:pt x="7256" y="41126"/>
                </a:cubicBezTo>
                <a:lnTo>
                  <a:pt x="7256" y="42377"/>
                </a:lnTo>
                <a:lnTo>
                  <a:pt x="6021" y="42377"/>
                </a:lnTo>
                <a:cubicBezTo>
                  <a:pt x="5833" y="42377"/>
                  <a:pt x="5677" y="42533"/>
                  <a:pt x="5677" y="42721"/>
                </a:cubicBezTo>
                <a:cubicBezTo>
                  <a:pt x="5677" y="46193"/>
                  <a:pt x="5677" y="45036"/>
                  <a:pt x="5677" y="46193"/>
                </a:cubicBezTo>
                <a:lnTo>
                  <a:pt x="5396" y="46193"/>
                </a:lnTo>
                <a:cubicBezTo>
                  <a:pt x="4879" y="46193"/>
                  <a:pt x="4395" y="46662"/>
                  <a:pt x="4395" y="47162"/>
                </a:cubicBezTo>
                <a:lnTo>
                  <a:pt x="4395" y="48116"/>
                </a:lnTo>
                <a:cubicBezTo>
                  <a:pt x="4395" y="48460"/>
                  <a:pt x="4582" y="48913"/>
                  <a:pt x="4911" y="49367"/>
                </a:cubicBezTo>
                <a:cubicBezTo>
                  <a:pt x="5161" y="49711"/>
                  <a:pt x="5474" y="50024"/>
                  <a:pt x="5817" y="50274"/>
                </a:cubicBezTo>
                <a:cubicBezTo>
                  <a:pt x="5646" y="50305"/>
                  <a:pt x="5474" y="50321"/>
                  <a:pt x="5333" y="50321"/>
                </a:cubicBezTo>
                <a:cubicBezTo>
                  <a:pt x="5161" y="50321"/>
                  <a:pt x="4989" y="50305"/>
                  <a:pt x="4801" y="50274"/>
                </a:cubicBezTo>
                <a:cubicBezTo>
                  <a:pt x="4614" y="50242"/>
                  <a:pt x="4426" y="50383"/>
                  <a:pt x="4395" y="50571"/>
                </a:cubicBezTo>
                <a:cubicBezTo>
                  <a:pt x="4363" y="50774"/>
                  <a:pt x="4504" y="50962"/>
                  <a:pt x="4692" y="50993"/>
                </a:cubicBezTo>
                <a:cubicBezTo>
                  <a:pt x="4926" y="51024"/>
                  <a:pt x="5129" y="51040"/>
                  <a:pt x="5333" y="51040"/>
                </a:cubicBezTo>
                <a:cubicBezTo>
                  <a:pt x="5849" y="51040"/>
                  <a:pt x="6553" y="50915"/>
                  <a:pt x="7100" y="50571"/>
                </a:cubicBezTo>
                <a:cubicBezTo>
                  <a:pt x="7663" y="50915"/>
                  <a:pt x="8366" y="51040"/>
                  <a:pt x="8867" y="51040"/>
                </a:cubicBezTo>
                <a:cubicBezTo>
                  <a:pt x="9383" y="51040"/>
                  <a:pt x="10087" y="50915"/>
                  <a:pt x="10634" y="50571"/>
                </a:cubicBezTo>
                <a:cubicBezTo>
                  <a:pt x="11197" y="50915"/>
                  <a:pt x="11901" y="51040"/>
                  <a:pt x="12401" y="51040"/>
                </a:cubicBezTo>
                <a:cubicBezTo>
                  <a:pt x="12917" y="51040"/>
                  <a:pt x="13605" y="50915"/>
                  <a:pt x="14168" y="50571"/>
                </a:cubicBezTo>
                <a:cubicBezTo>
                  <a:pt x="14668" y="50884"/>
                  <a:pt x="15294" y="51009"/>
                  <a:pt x="15794" y="51040"/>
                </a:cubicBezTo>
                <a:cubicBezTo>
                  <a:pt x="15825" y="51040"/>
                  <a:pt x="15872" y="51055"/>
                  <a:pt x="15904" y="51055"/>
                </a:cubicBezTo>
                <a:cubicBezTo>
                  <a:pt x="16013" y="51055"/>
                  <a:pt x="16122" y="51040"/>
                  <a:pt x="16232" y="51024"/>
                </a:cubicBezTo>
                <a:cubicBezTo>
                  <a:pt x="16482" y="51009"/>
                  <a:pt x="16732" y="50962"/>
                  <a:pt x="16998" y="50884"/>
                </a:cubicBezTo>
                <a:cubicBezTo>
                  <a:pt x="17030" y="50899"/>
                  <a:pt x="17061" y="50915"/>
                  <a:pt x="17092" y="50930"/>
                </a:cubicBezTo>
                <a:cubicBezTo>
                  <a:pt x="17155" y="50977"/>
                  <a:pt x="17217" y="50993"/>
                  <a:pt x="17295" y="50993"/>
                </a:cubicBezTo>
                <a:cubicBezTo>
                  <a:pt x="17405" y="50993"/>
                  <a:pt x="17514" y="50946"/>
                  <a:pt x="17593" y="50852"/>
                </a:cubicBezTo>
                <a:cubicBezTo>
                  <a:pt x="17639" y="50774"/>
                  <a:pt x="17655" y="50680"/>
                  <a:pt x="17639" y="50602"/>
                </a:cubicBezTo>
                <a:cubicBezTo>
                  <a:pt x="17671" y="50587"/>
                  <a:pt x="17686" y="50587"/>
                  <a:pt x="17702" y="50571"/>
                </a:cubicBezTo>
                <a:cubicBezTo>
                  <a:pt x="18265" y="50915"/>
                  <a:pt x="18953" y="51040"/>
                  <a:pt x="19469" y="51040"/>
                </a:cubicBezTo>
                <a:cubicBezTo>
                  <a:pt x="19719" y="51040"/>
                  <a:pt x="19953" y="50993"/>
                  <a:pt x="20173" y="50915"/>
                </a:cubicBezTo>
                <a:cubicBezTo>
                  <a:pt x="20360" y="50852"/>
                  <a:pt x="20454" y="50649"/>
                  <a:pt x="20391" y="50462"/>
                </a:cubicBezTo>
                <a:close/>
                <a:moveTo>
                  <a:pt x="6380" y="43081"/>
                </a:moveTo>
                <a:lnTo>
                  <a:pt x="8851" y="43081"/>
                </a:lnTo>
                <a:lnTo>
                  <a:pt x="8851" y="43221"/>
                </a:lnTo>
                <a:lnTo>
                  <a:pt x="8319" y="43753"/>
                </a:lnTo>
                <a:cubicBezTo>
                  <a:pt x="8257" y="43816"/>
                  <a:pt x="8226" y="43909"/>
                  <a:pt x="8226" y="44003"/>
                </a:cubicBezTo>
                <a:lnTo>
                  <a:pt x="8226" y="46193"/>
                </a:lnTo>
                <a:lnTo>
                  <a:pt x="6380" y="46193"/>
                </a:lnTo>
                <a:close/>
                <a:moveTo>
                  <a:pt x="16122" y="50321"/>
                </a:moveTo>
                <a:lnTo>
                  <a:pt x="15935" y="50321"/>
                </a:lnTo>
                <a:cubicBezTo>
                  <a:pt x="15497" y="50321"/>
                  <a:pt x="14824" y="50196"/>
                  <a:pt x="14387" y="49852"/>
                </a:cubicBezTo>
                <a:cubicBezTo>
                  <a:pt x="14262" y="49758"/>
                  <a:pt x="14074" y="49758"/>
                  <a:pt x="13949" y="49852"/>
                </a:cubicBezTo>
                <a:cubicBezTo>
                  <a:pt x="13511" y="50196"/>
                  <a:pt x="12839" y="50321"/>
                  <a:pt x="12401" y="50321"/>
                </a:cubicBezTo>
                <a:cubicBezTo>
                  <a:pt x="11963" y="50321"/>
                  <a:pt x="11291" y="50196"/>
                  <a:pt x="10853" y="49852"/>
                </a:cubicBezTo>
                <a:cubicBezTo>
                  <a:pt x="10728" y="49758"/>
                  <a:pt x="10540" y="49758"/>
                  <a:pt x="10415" y="49852"/>
                </a:cubicBezTo>
                <a:cubicBezTo>
                  <a:pt x="9977" y="50196"/>
                  <a:pt x="9305" y="50321"/>
                  <a:pt x="8867" y="50321"/>
                </a:cubicBezTo>
                <a:cubicBezTo>
                  <a:pt x="8429" y="50321"/>
                  <a:pt x="7772" y="50196"/>
                  <a:pt x="7335" y="49852"/>
                </a:cubicBezTo>
                <a:cubicBezTo>
                  <a:pt x="7194" y="49758"/>
                  <a:pt x="7022" y="49758"/>
                  <a:pt x="6881" y="49852"/>
                </a:cubicBezTo>
                <a:cubicBezTo>
                  <a:pt x="6818" y="49899"/>
                  <a:pt x="6756" y="49946"/>
                  <a:pt x="6678" y="49992"/>
                </a:cubicBezTo>
                <a:cubicBezTo>
                  <a:pt x="6662" y="49977"/>
                  <a:pt x="6631" y="49961"/>
                  <a:pt x="6615" y="49946"/>
                </a:cubicBezTo>
                <a:cubicBezTo>
                  <a:pt x="5646" y="49414"/>
                  <a:pt x="5114" y="48460"/>
                  <a:pt x="5114" y="48116"/>
                </a:cubicBezTo>
                <a:lnTo>
                  <a:pt x="5114" y="47162"/>
                </a:lnTo>
                <a:cubicBezTo>
                  <a:pt x="5114" y="47084"/>
                  <a:pt x="5255" y="46912"/>
                  <a:pt x="5396" y="46912"/>
                </a:cubicBezTo>
                <a:lnTo>
                  <a:pt x="6021" y="46912"/>
                </a:lnTo>
                <a:lnTo>
                  <a:pt x="8570" y="46912"/>
                </a:lnTo>
                <a:cubicBezTo>
                  <a:pt x="12698" y="46912"/>
                  <a:pt x="11322" y="46912"/>
                  <a:pt x="12698" y="46912"/>
                </a:cubicBezTo>
                <a:lnTo>
                  <a:pt x="12714" y="46912"/>
                </a:lnTo>
                <a:lnTo>
                  <a:pt x="13683" y="46912"/>
                </a:lnTo>
                <a:cubicBezTo>
                  <a:pt x="14199" y="46912"/>
                  <a:pt x="14684" y="46693"/>
                  <a:pt x="15091" y="46255"/>
                </a:cubicBezTo>
                <a:cubicBezTo>
                  <a:pt x="15403" y="45895"/>
                  <a:pt x="15638" y="45473"/>
                  <a:pt x="15794" y="45176"/>
                </a:cubicBezTo>
                <a:cubicBezTo>
                  <a:pt x="15872" y="45035"/>
                  <a:pt x="15966" y="44863"/>
                  <a:pt x="16013" y="44817"/>
                </a:cubicBezTo>
                <a:cubicBezTo>
                  <a:pt x="16091" y="44754"/>
                  <a:pt x="16217" y="44676"/>
                  <a:pt x="16545" y="44676"/>
                </a:cubicBezTo>
                <a:lnTo>
                  <a:pt x="19625" y="44676"/>
                </a:lnTo>
                <a:lnTo>
                  <a:pt x="19688" y="44676"/>
                </a:lnTo>
                <a:cubicBezTo>
                  <a:pt x="19688" y="44707"/>
                  <a:pt x="19703" y="44738"/>
                  <a:pt x="19703" y="44801"/>
                </a:cubicBezTo>
                <a:cubicBezTo>
                  <a:pt x="19703" y="45770"/>
                  <a:pt x="19156" y="47177"/>
                  <a:pt x="18327" y="48382"/>
                </a:cubicBezTo>
                <a:cubicBezTo>
                  <a:pt x="17593" y="49445"/>
                  <a:pt x="16763" y="50180"/>
                  <a:pt x="16122" y="50321"/>
                </a:cubicBezTo>
                <a:close/>
                <a:moveTo>
                  <a:pt x="17936" y="45708"/>
                </a:moveTo>
                <a:cubicBezTo>
                  <a:pt x="17733" y="45708"/>
                  <a:pt x="17791" y="45781"/>
                  <a:pt x="17718" y="45817"/>
                </a:cubicBezTo>
                <a:lnTo>
                  <a:pt x="17718" y="46083"/>
                </a:lnTo>
                <a:cubicBezTo>
                  <a:pt x="17645" y="46125"/>
                  <a:pt x="17686" y="46208"/>
                  <a:pt x="17499" y="46208"/>
                </a:cubicBezTo>
                <a:cubicBezTo>
                  <a:pt x="17311" y="46208"/>
                  <a:pt x="17363" y="46125"/>
                  <a:pt x="17295" y="46083"/>
                </a:cubicBezTo>
                <a:lnTo>
                  <a:pt x="17295" y="45817"/>
                </a:lnTo>
                <a:cubicBezTo>
                  <a:pt x="17222" y="45781"/>
                  <a:pt x="17280" y="45708"/>
                  <a:pt x="17076" y="45708"/>
                </a:cubicBezTo>
                <a:cubicBezTo>
                  <a:pt x="16873" y="45708"/>
                  <a:pt x="16941" y="45781"/>
                  <a:pt x="16873" y="45817"/>
                </a:cubicBezTo>
                <a:lnTo>
                  <a:pt x="16873" y="46239"/>
                </a:lnTo>
                <a:cubicBezTo>
                  <a:pt x="16873" y="46536"/>
                  <a:pt x="17092" y="46448"/>
                  <a:pt x="17201" y="46552"/>
                </a:cubicBezTo>
                <a:lnTo>
                  <a:pt x="17843" y="46552"/>
                </a:lnTo>
                <a:cubicBezTo>
                  <a:pt x="17942" y="46453"/>
                  <a:pt x="18140" y="46536"/>
                  <a:pt x="18140" y="46255"/>
                </a:cubicBezTo>
                <a:lnTo>
                  <a:pt x="18140" y="45817"/>
                </a:lnTo>
                <a:cubicBezTo>
                  <a:pt x="18072" y="45781"/>
                  <a:pt x="18140" y="45708"/>
                  <a:pt x="17936" y="45708"/>
                </a:cubicBezTo>
                <a:close/>
                <a:moveTo>
                  <a:pt x="5255" y="15982"/>
                </a:moveTo>
                <a:cubicBezTo>
                  <a:pt x="6099" y="15982"/>
                  <a:pt x="6803" y="15278"/>
                  <a:pt x="6803" y="14418"/>
                </a:cubicBezTo>
                <a:cubicBezTo>
                  <a:pt x="6803" y="13558"/>
                  <a:pt x="6099" y="12854"/>
                  <a:pt x="5255" y="12854"/>
                </a:cubicBezTo>
                <a:cubicBezTo>
                  <a:pt x="4395" y="12854"/>
                  <a:pt x="3707" y="13558"/>
                  <a:pt x="3707" y="14418"/>
                </a:cubicBezTo>
                <a:cubicBezTo>
                  <a:pt x="3707" y="15278"/>
                  <a:pt x="4395" y="15982"/>
                  <a:pt x="5255" y="15982"/>
                </a:cubicBezTo>
                <a:close/>
                <a:moveTo>
                  <a:pt x="5255" y="13573"/>
                </a:moveTo>
                <a:cubicBezTo>
                  <a:pt x="5708" y="13573"/>
                  <a:pt x="6084" y="13949"/>
                  <a:pt x="6084" y="14418"/>
                </a:cubicBezTo>
                <a:cubicBezTo>
                  <a:pt x="6084" y="14887"/>
                  <a:pt x="5708" y="15262"/>
                  <a:pt x="5255" y="15262"/>
                </a:cubicBezTo>
                <a:cubicBezTo>
                  <a:pt x="4786" y="15262"/>
                  <a:pt x="4410" y="14887"/>
                  <a:pt x="4410" y="14418"/>
                </a:cubicBezTo>
                <a:cubicBezTo>
                  <a:pt x="4410" y="13949"/>
                  <a:pt x="4786" y="13573"/>
                  <a:pt x="5255" y="13573"/>
                </a:cubicBezTo>
                <a:close/>
                <a:moveTo>
                  <a:pt x="15091" y="12917"/>
                </a:moveTo>
                <a:cubicBezTo>
                  <a:pt x="14966" y="12917"/>
                  <a:pt x="14824" y="12963"/>
                  <a:pt x="14746" y="13057"/>
                </a:cubicBezTo>
                <a:cubicBezTo>
                  <a:pt x="14684" y="13104"/>
                  <a:pt x="14653" y="13167"/>
                  <a:pt x="14637" y="13229"/>
                </a:cubicBezTo>
                <a:cubicBezTo>
                  <a:pt x="14356" y="12995"/>
                  <a:pt x="14011" y="12854"/>
                  <a:pt x="13621" y="12854"/>
                </a:cubicBezTo>
                <a:cubicBezTo>
                  <a:pt x="13073" y="12854"/>
                  <a:pt x="12604" y="13135"/>
                  <a:pt x="12323" y="13558"/>
                </a:cubicBezTo>
                <a:cubicBezTo>
                  <a:pt x="12041" y="13135"/>
                  <a:pt x="11572" y="12854"/>
                  <a:pt x="11025" y="12854"/>
                </a:cubicBezTo>
                <a:cubicBezTo>
                  <a:pt x="10180" y="12854"/>
                  <a:pt x="9477" y="13558"/>
                  <a:pt x="9477" y="14418"/>
                </a:cubicBezTo>
                <a:cubicBezTo>
                  <a:pt x="9477" y="15059"/>
                  <a:pt x="9868" y="15622"/>
                  <a:pt x="10431" y="15857"/>
                </a:cubicBezTo>
                <a:cubicBezTo>
                  <a:pt x="10321" y="15872"/>
                  <a:pt x="10243" y="15919"/>
                  <a:pt x="10180" y="16013"/>
                </a:cubicBezTo>
                <a:cubicBezTo>
                  <a:pt x="10087" y="16153"/>
                  <a:pt x="10008" y="16294"/>
                  <a:pt x="9915" y="16419"/>
                </a:cubicBezTo>
                <a:cubicBezTo>
                  <a:pt x="9821" y="16591"/>
                  <a:pt x="9868" y="16810"/>
                  <a:pt x="10040" y="16920"/>
                </a:cubicBezTo>
                <a:cubicBezTo>
                  <a:pt x="10087" y="16951"/>
                  <a:pt x="10165" y="16966"/>
                  <a:pt x="10227" y="16966"/>
                </a:cubicBezTo>
                <a:cubicBezTo>
                  <a:pt x="10337" y="16966"/>
                  <a:pt x="10462" y="16904"/>
                  <a:pt x="10525" y="16795"/>
                </a:cubicBezTo>
                <a:cubicBezTo>
                  <a:pt x="10603" y="16670"/>
                  <a:pt x="10696" y="16529"/>
                  <a:pt x="10775" y="16403"/>
                </a:cubicBezTo>
                <a:cubicBezTo>
                  <a:pt x="10868" y="16263"/>
                  <a:pt x="10853" y="16060"/>
                  <a:pt x="10728" y="15950"/>
                </a:cubicBezTo>
                <a:cubicBezTo>
                  <a:pt x="10821" y="15966"/>
                  <a:pt x="10931" y="15982"/>
                  <a:pt x="11025" y="15982"/>
                </a:cubicBezTo>
                <a:cubicBezTo>
                  <a:pt x="11572" y="15982"/>
                  <a:pt x="12041" y="15700"/>
                  <a:pt x="12323" y="15262"/>
                </a:cubicBezTo>
                <a:cubicBezTo>
                  <a:pt x="12604" y="15700"/>
                  <a:pt x="13073" y="15982"/>
                  <a:pt x="13621" y="15982"/>
                </a:cubicBezTo>
                <a:cubicBezTo>
                  <a:pt x="14387" y="15982"/>
                  <a:pt x="15044" y="15403"/>
                  <a:pt x="15153" y="14652"/>
                </a:cubicBezTo>
                <a:lnTo>
                  <a:pt x="21611" y="14652"/>
                </a:lnTo>
                <a:lnTo>
                  <a:pt x="21721" y="14934"/>
                </a:lnTo>
                <a:lnTo>
                  <a:pt x="21721" y="14949"/>
                </a:lnTo>
                <a:cubicBezTo>
                  <a:pt x="21783" y="15106"/>
                  <a:pt x="21939" y="15200"/>
                  <a:pt x="22096" y="15200"/>
                </a:cubicBezTo>
                <a:lnTo>
                  <a:pt x="22112" y="15200"/>
                </a:lnTo>
                <a:cubicBezTo>
                  <a:pt x="22377" y="15669"/>
                  <a:pt x="22878" y="15982"/>
                  <a:pt x="23456" y="15982"/>
                </a:cubicBezTo>
                <a:cubicBezTo>
                  <a:pt x="24191" y="15982"/>
                  <a:pt x="24801" y="15465"/>
                  <a:pt x="24957" y="14777"/>
                </a:cubicBezTo>
                <a:lnTo>
                  <a:pt x="25630" y="14777"/>
                </a:lnTo>
                <a:cubicBezTo>
                  <a:pt x="25990" y="14777"/>
                  <a:pt x="26208" y="14652"/>
                  <a:pt x="26318" y="14402"/>
                </a:cubicBezTo>
                <a:cubicBezTo>
                  <a:pt x="26380" y="14261"/>
                  <a:pt x="26459" y="13792"/>
                  <a:pt x="26302" y="13526"/>
                </a:cubicBezTo>
                <a:cubicBezTo>
                  <a:pt x="26271" y="13448"/>
                  <a:pt x="26208" y="13386"/>
                  <a:pt x="26177" y="13355"/>
                </a:cubicBezTo>
                <a:lnTo>
                  <a:pt x="26177" y="13292"/>
                </a:lnTo>
                <a:cubicBezTo>
                  <a:pt x="26177" y="13198"/>
                  <a:pt x="26130" y="13120"/>
                  <a:pt x="26068" y="13042"/>
                </a:cubicBezTo>
                <a:lnTo>
                  <a:pt x="26068" y="12776"/>
                </a:lnTo>
                <a:cubicBezTo>
                  <a:pt x="26130" y="12713"/>
                  <a:pt x="26177" y="12619"/>
                  <a:pt x="26177" y="12525"/>
                </a:cubicBezTo>
                <a:lnTo>
                  <a:pt x="26177" y="11478"/>
                </a:lnTo>
                <a:cubicBezTo>
                  <a:pt x="26177" y="11056"/>
                  <a:pt x="25849" y="10665"/>
                  <a:pt x="25442" y="10586"/>
                </a:cubicBezTo>
                <a:lnTo>
                  <a:pt x="22612" y="10039"/>
                </a:lnTo>
                <a:cubicBezTo>
                  <a:pt x="22565" y="10023"/>
                  <a:pt x="22409" y="9883"/>
                  <a:pt x="22237" y="9570"/>
                </a:cubicBezTo>
                <a:lnTo>
                  <a:pt x="21721" y="8601"/>
                </a:lnTo>
                <a:cubicBezTo>
                  <a:pt x="21752" y="8507"/>
                  <a:pt x="21736" y="8413"/>
                  <a:pt x="21674" y="8335"/>
                </a:cubicBezTo>
                <a:lnTo>
                  <a:pt x="21314" y="7772"/>
                </a:lnTo>
                <a:cubicBezTo>
                  <a:pt x="21298" y="7756"/>
                  <a:pt x="21298" y="7741"/>
                  <a:pt x="21283" y="7725"/>
                </a:cubicBezTo>
                <a:lnTo>
                  <a:pt x="21126" y="7553"/>
                </a:lnTo>
                <a:cubicBezTo>
                  <a:pt x="21111" y="7522"/>
                  <a:pt x="21064" y="7475"/>
                  <a:pt x="21001" y="7428"/>
                </a:cubicBezTo>
                <a:cubicBezTo>
                  <a:pt x="21033" y="7428"/>
                  <a:pt x="21048" y="7412"/>
                  <a:pt x="21079" y="7396"/>
                </a:cubicBezTo>
                <a:cubicBezTo>
                  <a:pt x="21251" y="7318"/>
                  <a:pt x="21330" y="7100"/>
                  <a:pt x="21251" y="6928"/>
                </a:cubicBezTo>
                <a:cubicBezTo>
                  <a:pt x="21158" y="6740"/>
                  <a:pt x="20954" y="6662"/>
                  <a:pt x="20767" y="6755"/>
                </a:cubicBezTo>
                <a:cubicBezTo>
                  <a:pt x="20641" y="6802"/>
                  <a:pt x="20516" y="6865"/>
                  <a:pt x="20407" y="6928"/>
                </a:cubicBezTo>
                <a:lnTo>
                  <a:pt x="19453" y="6114"/>
                </a:lnTo>
                <a:cubicBezTo>
                  <a:pt x="19422" y="6099"/>
                  <a:pt x="19407" y="6083"/>
                  <a:pt x="19359" y="6067"/>
                </a:cubicBezTo>
                <a:lnTo>
                  <a:pt x="19344" y="6052"/>
                </a:lnTo>
                <a:cubicBezTo>
                  <a:pt x="19203" y="5989"/>
                  <a:pt x="19078" y="5942"/>
                  <a:pt x="18844" y="5942"/>
                </a:cubicBezTo>
                <a:lnTo>
                  <a:pt x="18030" y="5942"/>
                </a:lnTo>
                <a:cubicBezTo>
                  <a:pt x="17764" y="5942"/>
                  <a:pt x="17546" y="6145"/>
                  <a:pt x="17546" y="6412"/>
                </a:cubicBezTo>
                <a:lnTo>
                  <a:pt x="17546" y="7709"/>
                </a:lnTo>
                <a:lnTo>
                  <a:pt x="17546" y="7991"/>
                </a:lnTo>
                <a:lnTo>
                  <a:pt x="17546" y="12917"/>
                </a:lnTo>
                <a:close/>
                <a:moveTo>
                  <a:pt x="11025" y="15262"/>
                </a:moveTo>
                <a:cubicBezTo>
                  <a:pt x="10571" y="15262"/>
                  <a:pt x="10196" y="14887"/>
                  <a:pt x="10196" y="14418"/>
                </a:cubicBezTo>
                <a:cubicBezTo>
                  <a:pt x="10196" y="13949"/>
                  <a:pt x="10571" y="13573"/>
                  <a:pt x="11025" y="13573"/>
                </a:cubicBezTo>
                <a:cubicBezTo>
                  <a:pt x="11494" y="13573"/>
                  <a:pt x="11869" y="13949"/>
                  <a:pt x="11869" y="14418"/>
                </a:cubicBezTo>
                <a:cubicBezTo>
                  <a:pt x="11869" y="14887"/>
                  <a:pt x="11494" y="15262"/>
                  <a:pt x="11025" y="15262"/>
                </a:cubicBezTo>
                <a:close/>
                <a:moveTo>
                  <a:pt x="13621" y="15262"/>
                </a:moveTo>
                <a:cubicBezTo>
                  <a:pt x="13167" y="15262"/>
                  <a:pt x="12792" y="14887"/>
                  <a:pt x="12792" y="14418"/>
                </a:cubicBezTo>
                <a:cubicBezTo>
                  <a:pt x="12792" y="13949"/>
                  <a:pt x="13167" y="13573"/>
                  <a:pt x="13621" y="13573"/>
                </a:cubicBezTo>
                <a:cubicBezTo>
                  <a:pt x="14074" y="13573"/>
                  <a:pt x="14449" y="13949"/>
                  <a:pt x="14449" y="14418"/>
                </a:cubicBezTo>
                <a:cubicBezTo>
                  <a:pt x="14449" y="14887"/>
                  <a:pt x="14074" y="15262"/>
                  <a:pt x="13621" y="15262"/>
                </a:cubicBezTo>
                <a:close/>
                <a:moveTo>
                  <a:pt x="23456" y="15262"/>
                </a:moveTo>
                <a:cubicBezTo>
                  <a:pt x="23003" y="15262"/>
                  <a:pt x="22628" y="14887"/>
                  <a:pt x="22628" y="14418"/>
                </a:cubicBezTo>
                <a:cubicBezTo>
                  <a:pt x="22628" y="13949"/>
                  <a:pt x="23003" y="13573"/>
                  <a:pt x="23456" y="13573"/>
                </a:cubicBezTo>
                <a:cubicBezTo>
                  <a:pt x="23910" y="13573"/>
                  <a:pt x="24285" y="13949"/>
                  <a:pt x="24285" y="14418"/>
                </a:cubicBezTo>
                <a:cubicBezTo>
                  <a:pt x="24285" y="14887"/>
                  <a:pt x="23910" y="15262"/>
                  <a:pt x="23456" y="15262"/>
                </a:cubicBezTo>
                <a:close/>
                <a:moveTo>
                  <a:pt x="17764" y="13620"/>
                </a:moveTo>
                <a:cubicBezTo>
                  <a:pt x="17889" y="13620"/>
                  <a:pt x="17999" y="13573"/>
                  <a:pt x="18093" y="13480"/>
                </a:cubicBezTo>
                <a:cubicBezTo>
                  <a:pt x="18202" y="13386"/>
                  <a:pt x="18265" y="13229"/>
                  <a:pt x="18265" y="13073"/>
                </a:cubicBezTo>
                <a:lnTo>
                  <a:pt x="18265" y="7991"/>
                </a:lnTo>
                <a:lnTo>
                  <a:pt x="18265" y="7709"/>
                </a:lnTo>
                <a:lnTo>
                  <a:pt x="18265" y="6646"/>
                </a:lnTo>
                <a:lnTo>
                  <a:pt x="18844" y="6646"/>
                </a:lnTo>
                <a:cubicBezTo>
                  <a:pt x="18922" y="6646"/>
                  <a:pt x="18953" y="6662"/>
                  <a:pt x="19031" y="6693"/>
                </a:cubicBezTo>
                <a:lnTo>
                  <a:pt x="20485" y="7944"/>
                </a:lnTo>
                <a:cubicBezTo>
                  <a:pt x="20501" y="7959"/>
                  <a:pt x="20532" y="7975"/>
                  <a:pt x="20548" y="7991"/>
                </a:cubicBezTo>
                <a:cubicBezTo>
                  <a:pt x="20563" y="7991"/>
                  <a:pt x="20595" y="8022"/>
                  <a:pt x="20610" y="8038"/>
                </a:cubicBezTo>
                <a:lnTo>
                  <a:pt x="20720" y="8179"/>
                </a:lnTo>
                <a:lnTo>
                  <a:pt x="20986" y="8569"/>
                </a:lnTo>
                <a:cubicBezTo>
                  <a:pt x="20986" y="8663"/>
                  <a:pt x="20986" y="8741"/>
                  <a:pt x="21033" y="8820"/>
                </a:cubicBezTo>
                <a:cubicBezTo>
                  <a:pt x="21611" y="9898"/>
                  <a:pt x="21418" y="9539"/>
                  <a:pt x="21611" y="9898"/>
                </a:cubicBezTo>
                <a:cubicBezTo>
                  <a:pt x="21783" y="10243"/>
                  <a:pt x="22080" y="10665"/>
                  <a:pt x="22455" y="10743"/>
                </a:cubicBezTo>
                <a:lnTo>
                  <a:pt x="22471" y="10743"/>
                </a:lnTo>
                <a:lnTo>
                  <a:pt x="25302" y="11290"/>
                </a:lnTo>
                <a:cubicBezTo>
                  <a:pt x="25380" y="11306"/>
                  <a:pt x="25458" y="11400"/>
                  <a:pt x="25458" y="11478"/>
                </a:cubicBezTo>
                <a:lnTo>
                  <a:pt x="25458" y="12338"/>
                </a:lnTo>
                <a:cubicBezTo>
                  <a:pt x="25395" y="12416"/>
                  <a:pt x="25364" y="12510"/>
                  <a:pt x="25364" y="12619"/>
                </a:cubicBezTo>
                <a:lnTo>
                  <a:pt x="25364" y="13198"/>
                </a:lnTo>
                <a:cubicBezTo>
                  <a:pt x="25364" y="13308"/>
                  <a:pt x="25395" y="13401"/>
                  <a:pt x="25458" y="13480"/>
                </a:cubicBezTo>
                <a:cubicBezTo>
                  <a:pt x="25489" y="13667"/>
                  <a:pt x="25599" y="13792"/>
                  <a:pt x="25661" y="13855"/>
                </a:cubicBezTo>
                <a:cubicBezTo>
                  <a:pt x="25666" y="13860"/>
                  <a:pt x="25677" y="13855"/>
                  <a:pt x="25677" y="13870"/>
                </a:cubicBezTo>
                <a:lnTo>
                  <a:pt x="25677" y="14058"/>
                </a:lnTo>
                <a:lnTo>
                  <a:pt x="25630" y="14058"/>
                </a:lnTo>
                <a:lnTo>
                  <a:pt x="24957" y="14058"/>
                </a:lnTo>
                <a:cubicBezTo>
                  <a:pt x="24801" y="13370"/>
                  <a:pt x="24191" y="12854"/>
                  <a:pt x="23456" y="12854"/>
                </a:cubicBezTo>
                <a:cubicBezTo>
                  <a:pt x="22753" y="12854"/>
                  <a:pt x="22159" y="13323"/>
                  <a:pt x="21971" y="13980"/>
                </a:cubicBezTo>
                <a:cubicBezTo>
                  <a:pt x="21908" y="13949"/>
                  <a:pt x="21846" y="13933"/>
                  <a:pt x="21767" y="13933"/>
                </a:cubicBezTo>
                <a:lnTo>
                  <a:pt x="15309" y="13933"/>
                </a:lnTo>
                <a:lnTo>
                  <a:pt x="15309" y="13620"/>
                </a:lnTo>
                <a:close/>
                <a:moveTo>
                  <a:pt x="4066" y="12588"/>
                </a:moveTo>
                <a:lnTo>
                  <a:pt x="16826" y="12588"/>
                </a:lnTo>
                <a:cubicBezTo>
                  <a:pt x="17030" y="12588"/>
                  <a:pt x="17186" y="12416"/>
                  <a:pt x="17186" y="12229"/>
                </a:cubicBezTo>
                <a:lnTo>
                  <a:pt x="17186" y="6287"/>
                </a:lnTo>
                <a:cubicBezTo>
                  <a:pt x="17186" y="6099"/>
                  <a:pt x="17030" y="5942"/>
                  <a:pt x="16826" y="5942"/>
                </a:cubicBezTo>
                <a:lnTo>
                  <a:pt x="4066" y="5942"/>
                </a:lnTo>
                <a:cubicBezTo>
                  <a:pt x="3863" y="5942"/>
                  <a:pt x="3707" y="6099"/>
                  <a:pt x="3707" y="6287"/>
                </a:cubicBezTo>
                <a:lnTo>
                  <a:pt x="3707" y="12229"/>
                </a:lnTo>
                <a:cubicBezTo>
                  <a:pt x="3707" y="12416"/>
                  <a:pt x="3863" y="12588"/>
                  <a:pt x="4066" y="12588"/>
                </a:cubicBezTo>
                <a:close/>
                <a:moveTo>
                  <a:pt x="4410" y="6646"/>
                </a:moveTo>
                <a:lnTo>
                  <a:pt x="16482" y="6646"/>
                </a:lnTo>
                <a:lnTo>
                  <a:pt x="16482" y="11869"/>
                </a:lnTo>
                <a:lnTo>
                  <a:pt x="4410" y="11869"/>
                </a:lnTo>
                <a:close/>
                <a:moveTo>
                  <a:pt x="32760" y="7240"/>
                </a:moveTo>
                <a:lnTo>
                  <a:pt x="33261" y="7240"/>
                </a:lnTo>
                <a:cubicBezTo>
                  <a:pt x="33355" y="8710"/>
                  <a:pt x="33964" y="10086"/>
                  <a:pt x="35028" y="11134"/>
                </a:cubicBezTo>
                <a:cubicBezTo>
                  <a:pt x="36075" y="12197"/>
                  <a:pt x="37452" y="12807"/>
                  <a:pt x="38922" y="12901"/>
                </a:cubicBezTo>
                <a:lnTo>
                  <a:pt x="38922" y="13401"/>
                </a:lnTo>
                <a:cubicBezTo>
                  <a:pt x="38922" y="13605"/>
                  <a:pt x="39078" y="13761"/>
                  <a:pt x="39281" y="13761"/>
                </a:cubicBezTo>
                <a:cubicBezTo>
                  <a:pt x="39485" y="13761"/>
                  <a:pt x="39641" y="13605"/>
                  <a:pt x="39641" y="13401"/>
                </a:cubicBezTo>
                <a:lnTo>
                  <a:pt x="39641" y="12901"/>
                </a:lnTo>
                <a:cubicBezTo>
                  <a:pt x="41111" y="12807"/>
                  <a:pt x="42487" y="12197"/>
                  <a:pt x="43550" y="11134"/>
                </a:cubicBezTo>
                <a:cubicBezTo>
                  <a:pt x="44191" y="10493"/>
                  <a:pt x="44676" y="9727"/>
                  <a:pt x="44973" y="8882"/>
                </a:cubicBezTo>
                <a:cubicBezTo>
                  <a:pt x="45004" y="8898"/>
                  <a:pt x="45035" y="8929"/>
                  <a:pt x="45067" y="8945"/>
                </a:cubicBezTo>
                <a:cubicBezTo>
                  <a:pt x="45130" y="8976"/>
                  <a:pt x="45192" y="9007"/>
                  <a:pt x="45255" y="9007"/>
                </a:cubicBezTo>
                <a:cubicBezTo>
                  <a:pt x="45380" y="9007"/>
                  <a:pt x="45489" y="8945"/>
                  <a:pt x="45552" y="8835"/>
                </a:cubicBezTo>
                <a:cubicBezTo>
                  <a:pt x="45661" y="8663"/>
                  <a:pt x="45614" y="8444"/>
                  <a:pt x="45442" y="8351"/>
                </a:cubicBezTo>
                <a:cubicBezTo>
                  <a:pt x="45364" y="8288"/>
                  <a:pt x="45270" y="8226"/>
                  <a:pt x="45177" y="8163"/>
                </a:cubicBezTo>
                <a:cubicBezTo>
                  <a:pt x="45239" y="7866"/>
                  <a:pt x="45286" y="7553"/>
                  <a:pt x="45302" y="7240"/>
                </a:cubicBezTo>
                <a:cubicBezTo>
                  <a:pt x="45802" y="7240"/>
                  <a:pt x="45635" y="7240"/>
                  <a:pt x="45802" y="7240"/>
                </a:cubicBezTo>
                <a:cubicBezTo>
                  <a:pt x="46005" y="7240"/>
                  <a:pt x="46161" y="7084"/>
                  <a:pt x="46161" y="6881"/>
                </a:cubicBezTo>
                <a:cubicBezTo>
                  <a:pt x="46161" y="6677"/>
                  <a:pt x="46005" y="6521"/>
                  <a:pt x="45802" y="6521"/>
                </a:cubicBezTo>
                <a:cubicBezTo>
                  <a:pt x="45302" y="6521"/>
                  <a:pt x="45469" y="6521"/>
                  <a:pt x="45302" y="6521"/>
                </a:cubicBezTo>
                <a:cubicBezTo>
                  <a:pt x="45208" y="5051"/>
                  <a:pt x="44598" y="3675"/>
                  <a:pt x="43550" y="2627"/>
                </a:cubicBezTo>
                <a:cubicBezTo>
                  <a:pt x="42487" y="1564"/>
                  <a:pt x="41111" y="954"/>
                  <a:pt x="39641" y="860"/>
                </a:cubicBezTo>
                <a:lnTo>
                  <a:pt x="39641" y="360"/>
                </a:lnTo>
                <a:cubicBezTo>
                  <a:pt x="39641" y="157"/>
                  <a:pt x="39485" y="0"/>
                  <a:pt x="39281" y="0"/>
                </a:cubicBezTo>
                <a:cubicBezTo>
                  <a:pt x="39078" y="0"/>
                  <a:pt x="38922" y="157"/>
                  <a:pt x="38922" y="360"/>
                </a:cubicBezTo>
                <a:lnTo>
                  <a:pt x="38922" y="860"/>
                </a:lnTo>
                <a:cubicBezTo>
                  <a:pt x="37452" y="954"/>
                  <a:pt x="36075" y="1564"/>
                  <a:pt x="35028" y="2627"/>
                </a:cubicBezTo>
                <a:cubicBezTo>
                  <a:pt x="34465" y="3175"/>
                  <a:pt x="34027" y="3831"/>
                  <a:pt x="33730" y="4535"/>
                </a:cubicBezTo>
                <a:cubicBezTo>
                  <a:pt x="33668" y="4457"/>
                  <a:pt x="33574" y="4394"/>
                  <a:pt x="33448" y="4379"/>
                </a:cubicBezTo>
                <a:cubicBezTo>
                  <a:pt x="33292" y="4363"/>
                  <a:pt x="33136" y="4363"/>
                  <a:pt x="32964" y="4348"/>
                </a:cubicBezTo>
                <a:cubicBezTo>
                  <a:pt x="32776" y="4348"/>
                  <a:pt x="32604" y="4488"/>
                  <a:pt x="32588" y="4691"/>
                </a:cubicBezTo>
                <a:cubicBezTo>
                  <a:pt x="32588" y="4894"/>
                  <a:pt x="32729" y="5051"/>
                  <a:pt x="32933" y="5067"/>
                </a:cubicBezTo>
                <a:cubicBezTo>
                  <a:pt x="33089" y="5067"/>
                  <a:pt x="33245" y="5082"/>
                  <a:pt x="33401" y="5098"/>
                </a:cubicBezTo>
                <a:lnTo>
                  <a:pt x="33433" y="5098"/>
                </a:lnTo>
                <a:cubicBezTo>
                  <a:pt x="33464" y="5098"/>
                  <a:pt x="33495" y="5082"/>
                  <a:pt x="33527" y="5082"/>
                </a:cubicBezTo>
                <a:cubicBezTo>
                  <a:pt x="33386" y="5551"/>
                  <a:pt x="33292" y="6036"/>
                  <a:pt x="33261" y="6521"/>
                </a:cubicBezTo>
                <a:lnTo>
                  <a:pt x="32760" y="6521"/>
                </a:lnTo>
                <a:cubicBezTo>
                  <a:pt x="32557" y="6521"/>
                  <a:pt x="32401" y="6677"/>
                  <a:pt x="32401" y="6881"/>
                </a:cubicBezTo>
                <a:cubicBezTo>
                  <a:pt x="32401" y="7084"/>
                  <a:pt x="32557" y="7240"/>
                  <a:pt x="32760" y="7240"/>
                </a:cubicBezTo>
                <a:close/>
                <a:moveTo>
                  <a:pt x="39641" y="1579"/>
                </a:moveTo>
                <a:cubicBezTo>
                  <a:pt x="40923" y="1673"/>
                  <a:pt x="42127" y="2205"/>
                  <a:pt x="43034" y="3128"/>
                </a:cubicBezTo>
                <a:cubicBezTo>
                  <a:pt x="43957" y="4050"/>
                  <a:pt x="44504" y="5239"/>
                  <a:pt x="44582" y="6521"/>
                </a:cubicBezTo>
                <a:lnTo>
                  <a:pt x="39641" y="6521"/>
                </a:lnTo>
                <a:close/>
                <a:moveTo>
                  <a:pt x="39641" y="7240"/>
                </a:moveTo>
                <a:lnTo>
                  <a:pt x="44582" y="7240"/>
                </a:lnTo>
                <a:cubicBezTo>
                  <a:pt x="44504" y="8522"/>
                  <a:pt x="43957" y="9711"/>
                  <a:pt x="43034" y="10633"/>
                </a:cubicBezTo>
                <a:cubicBezTo>
                  <a:pt x="42127" y="11556"/>
                  <a:pt x="40923" y="12088"/>
                  <a:pt x="39641" y="12182"/>
                </a:cubicBezTo>
                <a:close/>
                <a:moveTo>
                  <a:pt x="38922" y="12182"/>
                </a:moveTo>
                <a:cubicBezTo>
                  <a:pt x="37639" y="12088"/>
                  <a:pt x="36451" y="11556"/>
                  <a:pt x="35528" y="10633"/>
                </a:cubicBezTo>
                <a:cubicBezTo>
                  <a:pt x="34606" y="9711"/>
                  <a:pt x="34074" y="8522"/>
                  <a:pt x="33980" y="7240"/>
                </a:cubicBezTo>
                <a:lnTo>
                  <a:pt x="38922" y="7240"/>
                </a:lnTo>
                <a:close/>
                <a:moveTo>
                  <a:pt x="35528" y="3128"/>
                </a:moveTo>
                <a:cubicBezTo>
                  <a:pt x="36451" y="2205"/>
                  <a:pt x="37639" y="1673"/>
                  <a:pt x="38922" y="1579"/>
                </a:cubicBezTo>
                <a:lnTo>
                  <a:pt x="38922" y="6521"/>
                </a:lnTo>
                <a:lnTo>
                  <a:pt x="33980" y="6521"/>
                </a:lnTo>
                <a:cubicBezTo>
                  <a:pt x="34074" y="5239"/>
                  <a:pt x="34606" y="4050"/>
                  <a:pt x="35528" y="3128"/>
                </a:cubicBezTo>
                <a:close/>
                <a:moveTo>
                  <a:pt x="43081" y="53089"/>
                </a:moveTo>
                <a:cubicBezTo>
                  <a:pt x="42987" y="53042"/>
                  <a:pt x="42893" y="52994"/>
                  <a:pt x="42800" y="52948"/>
                </a:cubicBezTo>
                <a:cubicBezTo>
                  <a:pt x="42831" y="52932"/>
                  <a:pt x="42862" y="52932"/>
                  <a:pt x="42893" y="52916"/>
                </a:cubicBezTo>
                <a:cubicBezTo>
                  <a:pt x="43065" y="52823"/>
                  <a:pt x="43143" y="52604"/>
                  <a:pt x="43050" y="52432"/>
                </a:cubicBezTo>
                <a:cubicBezTo>
                  <a:pt x="42971" y="52260"/>
                  <a:pt x="42753" y="52181"/>
                  <a:pt x="42581" y="52260"/>
                </a:cubicBezTo>
                <a:cubicBezTo>
                  <a:pt x="42440" y="52338"/>
                  <a:pt x="42299" y="52401"/>
                  <a:pt x="42158" y="52463"/>
                </a:cubicBezTo>
                <a:cubicBezTo>
                  <a:pt x="42065" y="52510"/>
                  <a:pt x="42018" y="52573"/>
                  <a:pt x="41971" y="52635"/>
                </a:cubicBezTo>
                <a:cubicBezTo>
                  <a:pt x="41032" y="52322"/>
                  <a:pt x="39922" y="52072"/>
                  <a:pt x="38718" y="51900"/>
                </a:cubicBezTo>
                <a:cubicBezTo>
                  <a:pt x="38530" y="51885"/>
                  <a:pt x="38343" y="52010"/>
                  <a:pt x="38312" y="52213"/>
                </a:cubicBezTo>
                <a:cubicBezTo>
                  <a:pt x="38296" y="52401"/>
                  <a:pt x="38437" y="52588"/>
                  <a:pt x="38624" y="52619"/>
                </a:cubicBezTo>
                <a:cubicBezTo>
                  <a:pt x="40266" y="52838"/>
                  <a:pt x="41736" y="53229"/>
                  <a:pt x="42768" y="53730"/>
                </a:cubicBezTo>
                <a:cubicBezTo>
                  <a:pt x="43738" y="54183"/>
                  <a:pt x="44285" y="54730"/>
                  <a:pt x="44285" y="55200"/>
                </a:cubicBezTo>
                <a:cubicBezTo>
                  <a:pt x="44285" y="56513"/>
                  <a:pt x="40689" y="57967"/>
                  <a:pt x="35528" y="57967"/>
                </a:cubicBezTo>
                <a:cubicBezTo>
                  <a:pt x="30368" y="57967"/>
                  <a:pt x="26771" y="56513"/>
                  <a:pt x="26771" y="55200"/>
                </a:cubicBezTo>
                <a:cubicBezTo>
                  <a:pt x="26771" y="54699"/>
                  <a:pt x="27303" y="54167"/>
                  <a:pt x="28257" y="53714"/>
                </a:cubicBezTo>
                <a:cubicBezTo>
                  <a:pt x="29273" y="53214"/>
                  <a:pt x="30774" y="52823"/>
                  <a:pt x="32432" y="52619"/>
                </a:cubicBezTo>
                <a:cubicBezTo>
                  <a:pt x="32635" y="52588"/>
                  <a:pt x="32776" y="52416"/>
                  <a:pt x="32745" y="52213"/>
                </a:cubicBezTo>
                <a:cubicBezTo>
                  <a:pt x="32729" y="52025"/>
                  <a:pt x="32542" y="51885"/>
                  <a:pt x="32354" y="51900"/>
                </a:cubicBezTo>
                <a:cubicBezTo>
                  <a:pt x="30571" y="52135"/>
                  <a:pt x="29055" y="52526"/>
                  <a:pt x="27944" y="53073"/>
                </a:cubicBezTo>
                <a:cubicBezTo>
                  <a:pt x="27397" y="53339"/>
                  <a:pt x="26771" y="53714"/>
                  <a:pt x="26396" y="54214"/>
                </a:cubicBezTo>
                <a:cubicBezTo>
                  <a:pt x="26287" y="54199"/>
                  <a:pt x="26162" y="54167"/>
                  <a:pt x="26037" y="54136"/>
                </a:cubicBezTo>
                <a:cubicBezTo>
                  <a:pt x="25833" y="54089"/>
                  <a:pt x="25645" y="54214"/>
                  <a:pt x="25599" y="54402"/>
                </a:cubicBezTo>
                <a:cubicBezTo>
                  <a:pt x="25552" y="54605"/>
                  <a:pt x="25677" y="54793"/>
                  <a:pt x="25865" y="54840"/>
                </a:cubicBezTo>
                <a:cubicBezTo>
                  <a:pt x="25943" y="54855"/>
                  <a:pt x="26021" y="54871"/>
                  <a:pt x="26099" y="54887"/>
                </a:cubicBezTo>
                <a:cubicBezTo>
                  <a:pt x="26068" y="54981"/>
                  <a:pt x="26052" y="55090"/>
                  <a:pt x="26052" y="55200"/>
                </a:cubicBezTo>
                <a:cubicBezTo>
                  <a:pt x="26052" y="55731"/>
                  <a:pt x="26349" y="56232"/>
                  <a:pt x="26912" y="56685"/>
                </a:cubicBezTo>
                <a:cubicBezTo>
                  <a:pt x="27397" y="57092"/>
                  <a:pt x="28101" y="57451"/>
                  <a:pt x="28976" y="57748"/>
                </a:cubicBezTo>
                <a:cubicBezTo>
                  <a:pt x="30728" y="58343"/>
                  <a:pt x="33058" y="58686"/>
                  <a:pt x="35528" y="58686"/>
                </a:cubicBezTo>
                <a:cubicBezTo>
                  <a:pt x="37999" y="58686"/>
                  <a:pt x="40329" y="58343"/>
                  <a:pt x="42096" y="57748"/>
                </a:cubicBezTo>
                <a:cubicBezTo>
                  <a:pt x="42971" y="57451"/>
                  <a:pt x="43659" y="57092"/>
                  <a:pt x="44160" y="56685"/>
                </a:cubicBezTo>
                <a:cubicBezTo>
                  <a:pt x="44723" y="56232"/>
                  <a:pt x="45004" y="55731"/>
                  <a:pt x="45004" y="55200"/>
                </a:cubicBezTo>
                <a:cubicBezTo>
                  <a:pt x="45004" y="54418"/>
                  <a:pt x="44332" y="53683"/>
                  <a:pt x="43081" y="53089"/>
                </a:cubicBezTo>
                <a:close/>
                <a:moveTo>
                  <a:pt x="33918" y="54214"/>
                </a:moveTo>
                <a:cubicBezTo>
                  <a:pt x="33902" y="54027"/>
                  <a:pt x="33746" y="53870"/>
                  <a:pt x="33543" y="53886"/>
                </a:cubicBezTo>
                <a:cubicBezTo>
                  <a:pt x="32823" y="53933"/>
                  <a:pt x="32150" y="54058"/>
                  <a:pt x="31650" y="54245"/>
                </a:cubicBezTo>
                <a:cubicBezTo>
                  <a:pt x="31025" y="54480"/>
                  <a:pt x="30696" y="54777"/>
                  <a:pt x="30696" y="55137"/>
                </a:cubicBezTo>
                <a:cubicBezTo>
                  <a:pt x="30696" y="55622"/>
                  <a:pt x="31228" y="55966"/>
                  <a:pt x="32292" y="56216"/>
                </a:cubicBezTo>
                <a:cubicBezTo>
                  <a:pt x="33167" y="56404"/>
                  <a:pt x="34309" y="56513"/>
                  <a:pt x="35528" y="56513"/>
                </a:cubicBezTo>
                <a:cubicBezTo>
                  <a:pt x="36748" y="56513"/>
                  <a:pt x="37905" y="56404"/>
                  <a:pt x="38765" y="56216"/>
                </a:cubicBezTo>
                <a:cubicBezTo>
                  <a:pt x="39844" y="55966"/>
                  <a:pt x="40360" y="55622"/>
                  <a:pt x="40360" y="55137"/>
                </a:cubicBezTo>
                <a:cubicBezTo>
                  <a:pt x="40360" y="54605"/>
                  <a:pt x="39672" y="54355"/>
                  <a:pt x="39453" y="54261"/>
                </a:cubicBezTo>
                <a:cubicBezTo>
                  <a:pt x="39000" y="54105"/>
                  <a:pt x="38359" y="53964"/>
                  <a:pt x="37624" y="53886"/>
                </a:cubicBezTo>
                <a:cubicBezTo>
                  <a:pt x="37421" y="53855"/>
                  <a:pt x="37248" y="53995"/>
                  <a:pt x="37217" y="54199"/>
                </a:cubicBezTo>
                <a:cubicBezTo>
                  <a:pt x="37201" y="54387"/>
                  <a:pt x="37342" y="54558"/>
                  <a:pt x="37530" y="54590"/>
                </a:cubicBezTo>
                <a:cubicBezTo>
                  <a:pt x="38890" y="54746"/>
                  <a:pt x="39453" y="55012"/>
                  <a:pt x="39610" y="55137"/>
                </a:cubicBezTo>
                <a:cubicBezTo>
                  <a:pt x="39500" y="55231"/>
                  <a:pt x="39156" y="55403"/>
                  <a:pt x="38405" y="55559"/>
                </a:cubicBezTo>
                <a:cubicBezTo>
                  <a:pt x="37608" y="55716"/>
                  <a:pt x="36591" y="55809"/>
                  <a:pt x="35528" y="55809"/>
                </a:cubicBezTo>
                <a:cubicBezTo>
                  <a:pt x="34465" y="55809"/>
                  <a:pt x="33448" y="55716"/>
                  <a:pt x="32651" y="55559"/>
                </a:cubicBezTo>
                <a:cubicBezTo>
                  <a:pt x="31900" y="55403"/>
                  <a:pt x="31572" y="55231"/>
                  <a:pt x="31447" y="55137"/>
                </a:cubicBezTo>
                <a:cubicBezTo>
                  <a:pt x="31635" y="54996"/>
                  <a:pt x="32307" y="54683"/>
                  <a:pt x="33589" y="54605"/>
                </a:cubicBezTo>
                <a:cubicBezTo>
                  <a:pt x="33793" y="54590"/>
                  <a:pt x="33933" y="54418"/>
                  <a:pt x="33918" y="54214"/>
                </a:cubicBezTo>
                <a:close/>
                <a:moveTo>
                  <a:pt x="35528" y="45739"/>
                </a:moveTo>
                <a:cubicBezTo>
                  <a:pt x="33652" y="45739"/>
                  <a:pt x="32119" y="47256"/>
                  <a:pt x="32119" y="49116"/>
                </a:cubicBezTo>
                <a:cubicBezTo>
                  <a:pt x="32119" y="49899"/>
                  <a:pt x="32651" y="51134"/>
                  <a:pt x="33699" y="52823"/>
                </a:cubicBezTo>
                <a:cubicBezTo>
                  <a:pt x="34465" y="54042"/>
                  <a:pt x="35231" y="55059"/>
                  <a:pt x="35247" y="55075"/>
                </a:cubicBezTo>
                <a:cubicBezTo>
                  <a:pt x="35309" y="55168"/>
                  <a:pt x="35419" y="55215"/>
                  <a:pt x="35528" y="55215"/>
                </a:cubicBezTo>
                <a:cubicBezTo>
                  <a:pt x="35638" y="55215"/>
                  <a:pt x="35747" y="55168"/>
                  <a:pt x="35810" y="55075"/>
                </a:cubicBezTo>
                <a:cubicBezTo>
                  <a:pt x="35841" y="55028"/>
                  <a:pt x="36591" y="54042"/>
                  <a:pt x="37358" y="52823"/>
                </a:cubicBezTo>
                <a:cubicBezTo>
                  <a:pt x="38405" y="51150"/>
                  <a:pt x="38937" y="49914"/>
                  <a:pt x="38937" y="49116"/>
                </a:cubicBezTo>
                <a:cubicBezTo>
                  <a:pt x="38937" y="47256"/>
                  <a:pt x="37405" y="45739"/>
                  <a:pt x="35528" y="45739"/>
                </a:cubicBezTo>
                <a:close/>
                <a:moveTo>
                  <a:pt x="35528" y="54261"/>
                </a:moveTo>
                <a:cubicBezTo>
                  <a:pt x="34574" y="52948"/>
                  <a:pt x="32838" y="50289"/>
                  <a:pt x="32838" y="49116"/>
                </a:cubicBezTo>
                <a:cubicBezTo>
                  <a:pt x="32838" y="47647"/>
                  <a:pt x="34043" y="46458"/>
                  <a:pt x="35528" y="46458"/>
                </a:cubicBezTo>
                <a:cubicBezTo>
                  <a:pt x="37014" y="46458"/>
                  <a:pt x="38218" y="47647"/>
                  <a:pt x="38218" y="49116"/>
                </a:cubicBezTo>
                <a:cubicBezTo>
                  <a:pt x="38218" y="50305"/>
                  <a:pt x="36482" y="52948"/>
                  <a:pt x="35528" y="54261"/>
                </a:cubicBezTo>
                <a:close/>
                <a:moveTo>
                  <a:pt x="35607" y="47725"/>
                </a:moveTo>
                <a:cubicBezTo>
                  <a:pt x="34715" y="47725"/>
                  <a:pt x="33996" y="48444"/>
                  <a:pt x="33996" y="49320"/>
                </a:cubicBezTo>
                <a:cubicBezTo>
                  <a:pt x="33996" y="50196"/>
                  <a:pt x="34715" y="50915"/>
                  <a:pt x="35607" y="50915"/>
                </a:cubicBezTo>
                <a:cubicBezTo>
                  <a:pt x="36482" y="50915"/>
                  <a:pt x="37201" y="50196"/>
                  <a:pt x="37201" y="49320"/>
                </a:cubicBezTo>
                <a:cubicBezTo>
                  <a:pt x="37201" y="48444"/>
                  <a:pt x="36482" y="47725"/>
                  <a:pt x="35607" y="47725"/>
                </a:cubicBezTo>
                <a:close/>
                <a:moveTo>
                  <a:pt x="35607" y="50211"/>
                </a:moveTo>
                <a:cubicBezTo>
                  <a:pt x="35106" y="50211"/>
                  <a:pt x="34715" y="49805"/>
                  <a:pt x="34715" y="49320"/>
                </a:cubicBezTo>
                <a:cubicBezTo>
                  <a:pt x="34715" y="48835"/>
                  <a:pt x="35106" y="48428"/>
                  <a:pt x="35607" y="48428"/>
                </a:cubicBezTo>
                <a:cubicBezTo>
                  <a:pt x="36091" y="48428"/>
                  <a:pt x="36482" y="48835"/>
                  <a:pt x="36482" y="49320"/>
                </a:cubicBezTo>
                <a:cubicBezTo>
                  <a:pt x="36482" y="49805"/>
                  <a:pt x="36091" y="50211"/>
                  <a:pt x="35607" y="50211"/>
                </a:cubicBezTo>
                <a:close/>
                <a:moveTo>
                  <a:pt x="65864" y="36654"/>
                </a:moveTo>
                <a:cubicBezTo>
                  <a:pt x="65818" y="36623"/>
                  <a:pt x="65771" y="36607"/>
                  <a:pt x="65724" y="36607"/>
                </a:cubicBezTo>
                <a:lnTo>
                  <a:pt x="65677" y="36607"/>
                </a:lnTo>
                <a:lnTo>
                  <a:pt x="64395" y="36607"/>
                </a:lnTo>
                <a:lnTo>
                  <a:pt x="64395" y="32353"/>
                </a:lnTo>
                <a:cubicBezTo>
                  <a:pt x="64395" y="32150"/>
                  <a:pt x="64238" y="31994"/>
                  <a:pt x="64050" y="31994"/>
                </a:cubicBezTo>
                <a:lnTo>
                  <a:pt x="63988" y="31994"/>
                </a:lnTo>
                <a:cubicBezTo>
                  <a:pt x="63034" y="31994"/>
                  <a:pt x="63352" y="31994"/>
                  <a:pt x="63034" y="31994"/>
                </a:cubicBezTo>
                <a:lnTo>
                  <a:pt x="57170" y="31994"/>
                </a:lnTo>
                <a:cubicBezTo>
                  <a:pt x="57170" y="31963"/>
                  <a:pt x="57186" y="31916"/>
                  <a:pt x="57186" y="31885"/>
                </a:cubicBezTo>
                <a:cubicBezTo>
                  <a:pt x="57201" y="31681"/>
                  <a:pt x="57045" y="31509"/>
                  <a:pt x="56857" y="31494"/>
                </a:cubicBezTo>
                <a:cubicBezTo>
                  <a:pt x="56654" y="31478"/>
                  <a:pt x="56482" y="31634"/>
                  <a:pt x="56466" y="31822"/>
                </a:cubicBezTo>
                <a:cubicBezTo>
                  <a:pt x="56466" y="31885"/>
                  <a:pt x="56466" y="31947"/>
                  <a:pt x="56451" y="31994"/>
                </a:cubicBezTo>
                <a:cubicBezTo>
                  <a:pt x="56341" y="32010"/>
                  <a:pt x="56248" y="32057"/>
                  <a:pt x="56185" y="32150"/>
                </a:cubicBezTo>
                <a:lnTo>
                  <a:pt x="54137" y="34949"/>
                </a:lnTo>
                <a:cubicBezTo>
                  <a:pt x="54137" y="34965"/>
                  <a:pt x="54126" y="34960"/>
                  <a:pt x="54121" y="34965"/>
                </a:cubicBezTo>
                <a:lnTo>
                  <a:pt x="54121" y="34980"/>
                </a:lnTo>
                <a:cubicBezTo>
                  <a:pt x="54121" y="34996"/>
                  <a:pt x="54110" y="34991"/>
                  <a:pt x="54105" y="34996"/>
                </a:cubicBezTo>
                <a:cubicBezTo>
                  <a:pt x="54105" y="35012"/>
                  <a:pt x="54105" y="35007"/>
                  <a:pt x="54105" y="35012"/>
                </a:cubicBezTo>
                <a:cubicBezTo>
                  <a:pt x="54105" y="35027"/>
                  <a:pt x="54095" y="35022"/>
                  <a:pt x="54090" y="35027"/>
                </a:cubicBezTo>
                <a:lnTo>
                  <a:pt x="54090" y="35043"/>
                </a:lnTo>
                <a:lnTo>
                  <a:pt x="54090" y="35059"/>
                </a:lnTo>
                <a:cubicBezTo>
                  <a:pt x="54090" y="35075"/>
                  <a:pt x="54074" y="35075"/>
                  <a:pt x="54074" y="35090"/>
                </a:cubicBezTo>
                <a:lnTo>
                  <a:pt x="54074" y="35106"/>
                </a:lnTo>
                <a:cubicBezTo>
                  <a:pt x="54074" y="35111"/>
                  <a:pt x="54074" y="35106"/>
                  <a:pt x="54074" y="35122"/>
                </a:cubicBezTo>
                <a:lnTo>
                  <a:pt x="54074" y="35137"/>
                </a:lnTo>
                <a:lnTo>
                  <a:pt x="54074" y="35153"/>
                </a:lnTo>
                <a:lnTo>
                  <a:pt x="54074" y="35966"/>
                </a:lnTo>
                <a:cubicBezTo>
                  <a:pt x="48460" y="35966"/>
                  <a:pt x="50331" y="35966"/>
                  <a:pt x="48460" y="35966"/>
                </a:cubicBezTo>
                <a:cubicBezTo>
                  <a:pt x="48351" y="35966"/>
                  <a:pt x="48241" y="36013"/>
                  <a:pt x="48179" y="36106"/>
                </a:cubicBezTo>
                <a:cubicBezTo>
                  <a:pt x="46130" y="38921"/>
                  <a:pt x="46813" y="37983"/>
                  <a:pt x="46130" y="38921"/>
                </a:cubicBezTo>
                <a:cubicBezTo>
                  <a:pt x="46115" y="38921"/>
                  <a:pt x="46120" y="38932"/>
                  <a:pt x="46115" y="38937"/>
                </a:cubicBezTo>
                <a:cubicBezTo>
                  <a:pt x="46110" y="38942"/>
                  <a:pt x="46115" y="38953"/>
                  <a:pt x="46099" y="38953"/>
                </a:cubicBezTo>
                <a:lnTo>
                  <a:pt x="46099" y="38968"/>
                </a:lnTo>
                <a:cubicBezTo>
                  <a:pt x="46094" y="38973"/>
                  <a:pt x="46099" y="38984"/>
                  <a:pt x="46083" y="38984"/>
                </a:cubicBezTo>
                <a:lnTo>
                  <a:pt x="46083" y="39000"/>
                </a:lnTo>
                <a:lnTo>
                  <a:pt x="46083" y="39015"/>
                </a:lnTo>
                <a:cubicBezTo>
                  <a:pt x="46068" y="39015"/>
                  <a:pt x="46073" y="39026"/>
                  <a:pt x="46068" y="39031"/>
                </a:cubicBezTo>
                <a:lnTo>
                  <a:pt x="46068" y="39046"/>
                </a:lnTo>
                <a:cubicBezTo>
                  <a:pt x="46068" y="39062"/>
                  <a:pt x="46068" y="39057"/>
                  <a:pt x="46068" y="39062"/>
                </a:cubicBezTo>
                <a:lnTo>
                  <a:pt x="46068" y="39078"/>
                </a:lnTo>
                <a:lnTo>
                  <a:pt x="46068" y="39093"/>
                </a:lnTo>
                <a:cubicBezTo>
                  <a:pt x="46068" y="39109"/>
                  <a:pt x="46052" y="39109"/>
                  <a:pt x="46052" y="39125"/>
                </a:cubicBezTo>
                <a:lnTo>
                  <a:pt x="46052" y="45536"/>
                </a:lnTo>
                <a:cubicBezTo>
                  <a:pt x="46052" y="45692"/>
                  <a:pt x="46146" y="45817"/>
                  <a:pt x="46286" y="45864"/>
                </a:cubicBezTo>
                <a:lnTo>
                  <a:pt x="45943" y="46489"/>
                </a:lnTo>
                <a:cubicBezTo>
                  <a:pt x="45927" y="46505"/>
                  <a:pt x="45927" y="46505"/>
                  <a:pt x="45927" y="46521"/>
                </a:cubicBezTo>
                <a:cubicBezTo>
                  <a:pt x="45911" y="46536"/>
                  <a:pt x="45911" y="46536"/>
                  <a:pt x="45911" y="46552"/>
                </a:cubicBezTo>
                <a:cubicBezTo>
                  <a:pt x="45911" y="46568"/>
                  <a:pt x="45911" y="46563"/>
                  <a:pt x="45911" y="46568"/>
                </a:cubicBezTo>
                <a:lnTo>
                  <a:pt x="45896" y="46583"/>
                </a:lnTo>
                <a:lnTo>
                  <a:pt x="45896" y="46599"/>
                </a:lnTo>
                <a:lnTo>
                  <a:pt x="45896" y="46631"/>
                </a:lnTo>
                <a:lnTo>
                  <a:pt x="45896" y="46662"/>
                </a:lnTo>
                <a:lnTo>
                  <a:pt x="45896" y="46677"/>
                </a:lnTo>
                <a:lnTo>
                  <a:pt x="45896" y="46693"/>
                </a:lnTo>
                <a:cubicBezTo>
                  <a:pt x="45896" y="46709"/>
                  <a:pt x="45896" y="46704"/>
                  <a:pt x="45896" y="46709"/>
                </a:cubicBezTo>
                <a:lnTo>
                  <a:pt x="45896" y="46724"/>
                </a:lnTo>
                <a:lnTo>
                  <a:pt x="45896" y="46756"/>
                </a:lnTo>
                <a:cubicBezTo>
                  <a:pt x="45911" y="46756"/>
                  <a:pt x="45911" y="46756"/>
                  <a:pt x="45911" y="46771"/>
                </a:cubicBezTo>
                <a:cubicBezTo>
                  <a:pt x="45911" y="46776"/>
                  <a:pt x="45911" y="46771"/>
                  <a:pt x="45911" y="46787"/>
                </a:cubicBezTo>
                <a:lnTo>
                  <a:pt x="45911" y="46802"/>
                </a:lnTo>
                <a:cubicBezTo>
                  <a:pt x="45927" y="46802"/>
                  <a:pt x="45927" y="46802"/>
                  <a:pt x="45927" y="46818"/>
                </a:cubicBezTo>
                <a:lnTo>
                  <a:pt x="45927" y="46834"/>
                </a:lnTo>
                <a:cubicBezTo>
                  <a:pt x="45943" y="46834"/>
                  <a:pt x="45943" y="46834"/>
                  <a:pt x="45943" y="46849"/>
                </a:cubicBezTo>
                <a:cubicBezTo>
                  <a:pt x="45948" y="46854"/>
                  <a:pt x="45943" y="46849"/>
                  <a:pt x="45958" y="46865"/>
                </a:cubicBezTo>
                <a:cubicBezTo>
                  <a:pt x="45958" y="46881"/>
                  <a:pt x="45969" y="46876"/>
                  <a:pt x="45974" y="46881"/>
                </a:cubicBezTo>
                <a:lnTo>
                  <a:pt x="45974" y="46896"/>
                </a:lnTo>
                <a:cubicBezTo>
                  <a:pt x="45990" y="46896"/>
                  <a:pt x="45985" y="46907"/>
                  <a:pt x="45990" y="46912"/>
                </a:cubicBezTo>
                <a:cubicBezTo>
                  <a:pt x="46005" y="46912"/>
                  <a:pt x="46005" y="46912"/>
                  <a:pt x="46005" y="46927"/>
                </a:cubicBezTo>
                <a:cubicBezTo>
                  <a:pt x="46010" y="46932"/>
                  <a:pt x="46021" y="46927"/>
                  <a:pt x="46021" y="46943"/>
                </a:cubicBezTo>
                <a:lnTo>
                  <a:pt x="46036" y="46943"/>
                </a:lnTo>
                <a:cubicBezTo>
                  <a:pt x="46041" y="46948"/>
                  <a:pt x="46036" y="46959"/>
                  <a:pt x="46052" y="46959"/>
                </a:cubicBezTo>
                <a:cubicBezTo>
                  <a:pt x="46057" y="46964"/>
                  <a:pt x="46068" y="46959"/>
                  <a:pt x="46068" y="46974"/>
                </a:cubicBezTo>
                <a:cubicBezTo>
                  <a:pt x="46073" y="46974"/>
                  <a:pt x="46068" y="46974"/>
                  <a:pt x="46083" y="46974"/>
                </a:cubicBezTo>
                <a:lnTo>
                  <a:pt x="46099" y="46990"/>
                </a:lnTo>
                <a:lnTo>
                  <a:pt x="46115" y="46990"/>
                </a:lnTo>
                <a:cubicBezTo>
                  <a:pt x="46130" y="46990"/>
                  <a:pt x="46130" y="47006"/>
                  <a:pt x="46146" y="47006"/>
                </a:cubicBezTo>
                <a:lnTo>
                  <a:pt x="46177" y="47006"/>
                </a:lnTo>
                <a:cubicBezTo>
                  <a:pt x="46193" y="47021"/>
                  <a:pt x="46193" y="47021"/>
                  <a:pt x="46208" y="47021"/>
                </a:cubicBezTo>
                <a:lnTo>
                  <a:pt x="46255" y="47021"/>
                </a:lnTo>
                <a:lnTo>
                  <a:pt x="48804" y="47021"/>
                </a:lnTo>
                <a:cubicBezTo>
                  <a:pt x="49977" y="47021"/>
                  <a:pt x="49586" y="47021"/>
                  <a:pt x="49977" y="47021"/>
                </a:cubicBezTo>
                <a:cubicBezTo>
                  <a:pt x="49993" y="47084"/>
                  <a:pt x="50024" y="47131"/>
                  <a:pt x="50071" y="47177"/>
                </a:cubicBezTo>
                <a:cubicBezTo>
                  <a:pt x="50133" y="47240"/>
                  <a:pt x="50227" y="47272"/>
                  <a:pt x="50306" y="47272"/>
                </a:cubicBezTo>
                <a:cubicBezTo>
                  <a:pt x="50415" y="47272"/>
                  <a:pt x="50509" y="47224"/>
                  <a:pt x="50571" y="47146"/>
                </a:cubicBezTo>
                <a:lnTo>
                  <a:pt x="50696" y="47021"/>
                </a:lnTo>
                <a:lnTo>
                  <a:pt x="52964" y="47021"/>
                </a:lnTo>
                <a:lnTo>
                  <a:pt x="54027" y="47021"/>
                </a:lnTo>
                <a:lnTo>
                  <a:pt x="56576" y="47021"/>
                </a:lnTo>
                <a:lnTo>
                  <a:pt x="57717" y="47021"/>
                </a:lnTo>
                <a:lnTo>
                  <a:pt x="60266" y="47021"/>
                </a:lnTo>
                <a:cubicBezTo>
                  <a:pt x="60407" y="47021"/>
                  <a:pt x="60517" y="46943"/>
                  <a:pt x="60579" y="46834"/>
                </a:cubicBezTo>
                <a:lnTo>
                  <a:pt x="66005" y="37139"/>
                </a:lnTo>
                <a:cubicBezTo>
                  <a:pt x="66099" y="36966"/>
                  <a:pt x="66036" y="36748"/>
                  <a:pt x="65864" y="36654"/>
                </a:cubicBezTo>
                <a:close/>
                <a:moveTo>
                  <a:pt x="63034" y="32713"/>
                </a:moveTo>
                <a:cubicBezTo>
                  <a:pt x="63300" y="32713"/>
                  <a:pt x="63211" y="32713"/>
                  <a:pt x="63300" y="32713"/>
                </a:cubicBezTo>
                <a:lnTo>
                  <a:pt x="61846" y="34809"/>
                </a:lnTo>
                <a:lnTo>
                  <a:pt x="58671" y="34809"/>
                </a:lnTo>
                <a:lnTo>
                  <a:pt x="60235" y="32713"/>
                </a:lnTo>
                <a:close/>
                <a:moveTo>
                  <a:pt x="63691" y="33417"/>
                </a:moveTo>
                <a:lnTo>
                  <a:pt x="63691" y="37874"/>
                </a:lnTo>
                <a:lnTo>
                  <a:pt x="62393" y="40188"/>
                </a:lnTo>
                <a:lnTo>
                  <a:pt x="62393" y="35278"/>
                </a:lnTo>
                <a:close/>
                <a:moveTo>
                  <a:pt x="56654" y="32713"/>
                </a:moveTo>
                <a:lnTo>
                  <a:pt x="59344" y="32713"/>
                </a:lnTo>
                <a:lnTo>
                  <a:pt x="57780" y="34809"/>
                </a:lnTo>
                <a:lnTo>
                  <a:pt x="55137" y="34809"/>
                </a:lnTo>
                <a:close/>
                <a:moveTo>
                  <a:pt x="54778" y="35512"/>
                </a:moveTo>
                <a:lnTo>
                  <a:pt x="61689" y="35512"/>
                </a:lnTo>
                <a:lnTo>
                  <a:pt x="61689" y="41220"/>
                </a:lnTo>
                <a:lnTo>
                  <a:pt x="56388" y="41220"/>
                </a:lnTo>
                <a:lnTo>
                  <a:pt x="56388" y="36325"/>
                </a:lnTo>
                <a:cubicBezTo>
                  <a:pt x="56388" y="36122"/>
                  <a:pt x="56232" y="35966"/>
                  <a:pt x="56029" y="35966"/>
                </a:cubicBezTo>
                <a:lnTo>
                  <a:pt x="55981" y="35966"/>
                </a:lnTo>
                <a:lnTo>
                  <a:pt x="55028" y="35966"/>
                </a:lnTo>
                <a:lnTo>
                  <a:pt x="54778" y="35966"/>
                </a:lnTo>
                <a:close/>
                <a:moveTo>
                  <a:pt x="55028" y="36685"/>
                </a:moveTo>
                <a:lnTo>
                  <a:pt x="55293" y="36685"/>
                </a:lnTo>
                <a:cubicBezTo>
                  <a:pt x="53839" y="38765"/>
                  <a:pt x="54323" y="38072"/>
                  <a:pt x="53839" y="38765"/>
                </a:cubicBezTo>
                <a:cubicBezTo>
                  <a:pt x="50665" y="38765"/>
                  <a:pt x="51723" y="38765"/>
                  <a:pt x="50665" y="38765"/>
                </a:cubicBezTo>
                <a:cubicBezTo>
                  <a:pt x="52229" y="36685"/>
                  <a:pt x="51707" y="37378"/>
                  <a:pt x="52229" y="36685"/>
                </a:cubicBezTo>
                <a:close/>
                <a:moveTo>
                  <a:pt x="55669" y="37389"/>
                </a:moveTo>
                <a:lnTo>
                  <a:pt x="55669" y="41845"/>
                </a:lnTo>
                <a:lnTo>
                  <a:pt x="54387" y="44160"/>
                </a:lnTo>
                <a:lnTo>
                  <a:pt x="54387" y="39234"/>
                </a:lnTo>
                <a:close/>
                <a:moveTo>
                  <a:pt x="48648" y="36685"/>
                </a:moveTo>
                <a:lnTo>
                  <a:pt x="51337" y="36685"/>
                </a:lnTo>
                <a:cubicBezTo>
                  <a:pt x="49758" y="38765"/>
                  <a:pt x="50284" y="38072"/>
                  <a:pt x="49758" y="38765"/>
                </a:cubicBezTo>
                <a:lnTo>
                  <a:pt x="47116" y="38765"/>
                </a:lnTo>
                <a:close/>
                <a:moveTo>
                  <a:pt x="46771" y="39484"/>
                </a:moveTo>
                <a:lnTo>
                  <a:pt x="53667" y="39484"/>
                </a:lnTo>
                <a:cubicBezTo>
                  <a:pt x="53667" y="45176"/>
                  <a:pt x="53667" y="43279"/>
                  <a:pt x="53667" y="45176"/>
                </a:cubicBezTo>
                <a:lnTo>
                  <a:pt x="46881" y="45176"/>
                </a:lnTo>
                <a:lnTo>
                  <a:pt x="46771" y="45176"/>
                </a:lnTo>
                <a:close/>
                <a:moveTo>
                  <a:pt x="60063" y="46302"/>
                </a:moveTo>
                <a:lnTo>
                  <a:pt x="57717" y="46302"/>
                </a:lnTo>
                <a:lnTo>
                  <a:pt x="56576" y="46302"/>
                </a:lnTo>
                <a:lnTo>
                  <a:pt x="54027" y="46302"/>
                </a:lnTo>
                <a:cubicBezTo>
                  <a:pt x="52964" y="46302"/>
                  <a:pt x="53318" y="46302"/>
                  <a:pt x="52964" y="46302"/>
                </a:cubicBezTo>
                <a:lnTo>
                  <a:pt x="50884" y="46302"/>
                </a:lnTo>
                <a:lnTo>
                  <a:pt x="50869" y="46286"/>
                </a:lnTo>
                <a:cubicBezTo>
                  <a:pt x="50727" y="46161"/>
                  <a:pt x="50509" y="46161"/>
                  <a:pt x="50368" y="46302"/>
                </a:cubicBezTo>
                <a:lnTo>
                  <a:pt x="48804" y="46302"/>
                </a:lnTo>
                <a:lnTo>
                  <a:pt x="46849" y="46302"/>
                </a:lnTo>
                <a:lnTo>
                  <a:pt x="47084" y="45895"/>
                </a:lnTo>
                <a:cubicBezTo>
                  <a:pt x="54027" y="45895"/>
                  <a:pt x="51712" y="45895"/>
                  <a:pt x="54027" y="45895"/>
                </a:cubicBezTo>
                <a:lnTo>
                  <a:pt x="54058" y="45895"/>
                </a:lnTo>
                <a:lnTo>
                  <a:pt x="54074" y="45895"/>
                </a:lnTo>
                <a:cubicBezTo>
                  <a:pt x="54084" y="45890"/>
                  <a:pt x="54090" y="45895"/>
                  <a:pt x="54105" y="45880"/>
                </a:cubicBezTo>
                <a:lnTo>
                  <a:pt x="54121" y="45880"/>
                </a:lnTo>
                <a:lnTo>
                  <a:pt x="54137" y="45880"/>
                </a:lnTo>
                <a:cubicBezTo>
                  <a:pt x="54152" y="45880"/>
                  <a:pt x="54152" y="45864"/>
                  <a:pt x="54168" y="45864"/>
                </a:cubicBezTo>
                <a:cubicBezTo>
                  <a:pt x="54184" y="45864"/>
                  <a:pt x="54184" y="45848"/>
                  <a:pt x="54199" y="45848"/>
                </a:cubicBezTo>
                <a:cubicBezTo>
                  <a:pt x="54215" y="45848"/>
                  <a:pt x="54215" y="45833"/>
                  <a:pt x="54230" y="45833"/>
                </a:cubicBezTo>
                <a:lnTo>
                  <a:pt x="54246" y="45817"/>
                </a:lnTo>
                <a:lnTo>
                  <a:pt x="54262" y="45817"/>
                </a:lnTo>
                <a:cubicBezTo>
                  <a:pt x="54277" y="45801"/>
                  <a:pt x="54293" y="45786"/>
                  <a:pt x="54309" y="45770"/>
                </a:cubicBezTo>
                <a:lnTo>
                  <a:pt x="54309" y="45755"/>
                </a:lnTo>
                <a:lnTo>
                  <a:pt x="54324" y="45739"/>
                </a:lnTo>
                <a:cubicBezTo>
                  <a:pt x="54324" y="45723"/>
                  <a:pt x="54340" y="45723"/>
                  <a:pt x="54340" y="45708"/>
                </a:cubicBezTo>
                <a:lnTo>
                  <a:pt x="56341" y="42111"/>
                </a:lnTo>
                <a:cubicBezTo>
                  <a:pt x="56373" y="42048"/>
                  <a:pt x="56388" y="41986"/>
                  <a:pt x="56388" y="41923"/>
                </a:cubicBezTo>
                <a:lnTo>
                  <a:pt x="62033" y="41923"/>
                </a:lnTo>
                <a:lnTo>
                  <a:pt x="62065" y="41923"/>
                </a:lnTo>
                <a:lnTo>
                  <a:pt x="62080" y="41923"/>
                </a:lnTo>
                <a:lnTo>
                  <a:pt x="62111" y="41923"/>
                </a:lnTo>
                <a:cubicBezTo>
                  <a:pt x="62127" y="41923"/>
                  <a:pt x="62127" y="41908"/>
                  <a:pt x="62143" y="41908"/>
                </a:cubicBezTo>
                <a:cubicBezTo>
                  <a:pt x="62158" y="41908"/>
                  <a:pt x="62174" y="41908"/>
                  <a:pt x="62174" y="41892"/>
                </a:cubicBezTo>
                <a:lnTo>
                  <a:pt x="62190" y="41892"/>
                </a:lnTo>
                <a:lnTo>
                  <a:pt x="62205" y="41892"/>
                </a:lnTo>
                <a:lnTo>
                  <a:pt x="62205" y="41877"/>
                </a:lnTo>
                <a:cubicBezTo>
                  <a:pt x="62221" y="41877"/>
                  <a:pt x="62236" y="41877"/>
                  <a:pt x="62236" y="41861"/>
                </a:cubicBezTo>
                <a:cubicBezTo>
                  <a:pt x="62252" y="41861"/>
                  <a:pt x="62252" y="41861"/>
                  <a:pt x="62268" y="41845"/>
                </a:cubicBezTo>
                <a:lnTo>
                  <a:pt x="62315" y="41798"/>
                </a:lnTo>
                <a:cubicBezTo>
                  <a:pt x="62330" y="41783"/>
                  <a:pt x="62330" y="41783"/>
                  <a:pt x="62330" y="41767"/>
                </a:cubicBezTo>
                <a:cubicBezTo>
                  <a:pt x="62346" y="41767"/>
                  <a:pt x="62346" y="41752"/>
                  <a:pt x="62346" y="41736"/>
                </a:cubicBezTo>
                <a:lnTo>
                  <a:pt x="62361" y="41736"/>
                </a:lnTo>
                <a:lnTo>
                  <a:pt x="64347" y="38139"/>
                </a:lnTo>
                <a:cubicBezTo>
                  <a:pt x="64379" y="38077"/>
                  <a:pt x="64395" y="38030"/>
                  <a:pt x="64395" y="37967"/>
                </a:cubicBezTo>
                <a:lnTo>
                  <a:pt x="64395" y="37326"/>
                </a:lnTo>
                <a:lnTo>
                  <a:pt x="65083" y="37326"/>
                </a:lnTo>
                <a:close/>
                <a:moveTo>
                  <a:pt x="6334" y="33464"/>
                </a:moveTo>
                <a:cubicBezTo>
                  <a:pt x="6349" y="33589"/>
                  <a:pt x="6365" y="33714"/>
                  <a:pt x="6380" y="33839"/>
                </a:cubicBezTo>
                <a:cubicBezTo>
                  <a:pt x="6412" y="34011"/>
                  <a:pt x="6568" y="34136"/>
                  <a:pt x="6740" y="34136"/>
                </a:cubicBezTo>
                <a:lnTo>
                  <a:pt x="6787" y="34136"/>
                </a:lnTo>
                <a:cubicBezTo>
                  <a:pt x="6990" y="34105"/>
                  <a:pt x="7115" y="33933"/>
                  <a:pt x="7084" y="33729"/>
                </a:cubicBezTo>
                <a:cubicBezTo>
                  <a:pt x="7068" y="33620"/>
                  <a:pt x="7053" y="33511"/>
                  <a:pt x="7037" y="33386"/>
                </a:cubicBezTo>
                <a:cubicBezTo>
                  <a:pt x="8257" y="33183"/>
                  <a:pt x="9399" y="32604"/>
                  <a:pt x="10290" y="31712"/>
                </a:cubicBezTo>
                <a:cubicBezTo>
                  <a:pt x="11431" y="30571"/>
                  <a:pt x="12057" y="29054"/>
                  <a:pt x="12057" y="27444"/>
                </a:cubicBezTo>
                <a:cubicBezTo>
                  <a:pt x="12057" y="25833"/>
                  <a:pt x="11431" y="24316"/>
                  <a:pt x="10290" y="23175"/>
                </a:cubicBezTo>
                <a:cubicBezTo>
                  <a:pt x="9680" y="22565"/>
                  <a:pt x="8945" y="22095"/>
                  <a:pt x="8148" y="21799"/>
                </a:cubicBezTo>
                <a:cubicBezTo>
                  <a:pt x="8194" y="21674"/>
                  <a:pt x="8226" y="21564"/>
                  <a:pt x="8273" y="21439"/>
                </a:cubicBezTo>
                <a:cubicBezTo>
                  <a:pt x="8335" y="21251"/>
                  <a:pt x="8241" y="21048"/>
                  <a:pt x="8054" y="20986"/>
                </a:cubicBezTo>
                <a:cubicBezTo>
                  <a:pt x="7882" y="20907"/>
                  <a:pt x="7663" y="21017"/>
                  <a:pt x="7600" y="21189"/>
                </a:cubicBezTo>
                <a:cubicBezTo>
                  <a:pt x="7553" y="21329"/>
                  <a:pt x="7506" y="21454"/>
                  <a:pt x="7460" y="21579"/>
                </a:cubicBezTo>
                <a:cubicBezTo>
                  <a:pt x="7006" y="21470"/>
                  <a:pt x="6521" y="21407"/>
                  <a:pt x="6021" y="21407"/>
                </a:cubicBezTo>
                <a:cubicBezTo>
                  <a:pt x="4410" y="21407"/>
                  <a:pt x="2894" y="22033"/>
                  <a:pt x="1768" y="23175"/>
                </a:cubicBezTo>
                <a:cubicBezTo>
                  <a:pt x="626" y="24316"/>
                  <a:pt x="0" y="25833"/>
                  <a:pt x="0" y="27444"/>
                </a:cubicBezTo>
                <a:cubicBezTo>
                  <a:pt x="0" y="29054"/>
                  <a:pt x="626" y="30571"/>
                  <a:pt x="1768" y="31712"/>
                </a:cubicBezTo>
                <a:cubicBezTo>
                  <a:pt x="2894" y="32854"/>
                  <a:pt x="4410" y="33479"/>
                  <a:pt x="6021" y="33479"/>
                </a:cubicBezTo>
                <a:cubicBezTo>
                  <a:pt x="6130" y="33479"/>
                  <a:pt x="6224" y="33464"/>
                  <a:pt x="6334" y="33464"/>
                </a:cubicBezTo>
                <a:close/>
                <a:moveTo>
                  <a:pt x="704" y="27444"/>
                </a:moveTo>
                <a:cubicBezTo>
                  <a:pt x="704" y="26020"/>
                  <a:pt x="1267" y="24691"/>
                  <a:pt x="2268" y="23675"/>
                </a:cubicBezTo>
                <a:cubicBezTo>
                  <a:pt x="3269" y="22674"/>
                  <a:pt x="4614" y="22127"/>
                  <a:pt x="6021" y="22127"/>
                </a:cubicBezTo>
                <a:cubicBezTo>
                  <a:pt x="8961" y="22127"/>
                  <a:pt x="11338" y="24504"/>
                  <a:pt x="11338" y="27444"/>
                </a:cubicBezTo>
                <a:cubicBezTo>
                  <a:pt x="11338" y="30368"/>
                  <a:pt x="8961" y="32760"/>
                  <a:pt x="6021" y="32760"/>
                </a:cubicBezTo>
                <a:cubicBezTo>
                  <a:pt x="4614" y="32760"/>
                  <a:pt x="3269" y="32213"/>
                  <a:pt x="2268" y="31196"/>
                </a:cubicBezTo>
                <a:cubicBezTo>
                  <a:pt x="1267" y="30196"/>
                  <a:pt x="704" y="28867"/>
                  <a:pt x="704" y="27444"/>
                </a:cubicBezTo>
                <a:close/>
                <a:moveTo>
                  <a:pt x="6068" y="27803"/>
                </a:moveTo>
                <a:cubicBezTo>
                  <a:pt x="6073" y="27803"/>
                  <a:pt x="6068" y="27803"/>
                  <a:pt x="6084" y="27803"/>
                </a:cubicBezTo>
                <a:cubicBezTo>
                  <a:pt x="6099" y="27803"/>
                  <a:pt x="6115" y="27803"/>
                  <a:pt x="6130" y="27787"/>
                </a:cubicBezTo>
                <a:lnTo>
                  <a:pt x="6146" y="27787"/>
                </a:lnTo>
                <a:cubicBezTo>
                  <a:pt x="6162" y="27787"/>
                  <a:pt x="6162" y="27787"/>
                  <a:pt x="6177" y="27772"/>
                </a:cubicBezTo>
                <a:lnTo>
                  <a:pt x="6193" y="27772"/>
                </a:lnTo>
                <a:cubicBezTo>
                  <a:pt x="6209" y="27756"/>
                  <a:pt x="6204" y="27761"/>
                  <a:pt x="6209" y="27756"/>
                </a:cubicBezTo>
                <a:lnTo>
                  <a:pt x="10274" y="25458"/>
                </a:lnTo>
                <a:cubicBezTo>
                  <a:pt x="10446" y="25364"/>
                  <a:pt x="10509" y="25145"/>
                  <a:pt x="10415" y="24973"/>
                </a:cubicBezTo>
                <a:cubicBezTo>
                  <a:pt x="10321" y="24801"/>
                  <a:pt x="10102" y="24738"/>
                  <a:pt x="9930" y="24832"/>
                </a:cubicBezTo>
                <a:lnTo>
                  <a:pt x="6099" y="27006"/>
                </a:lnTo>
                <a:lnTo>
                  <a:pt x="4098" y="25004"/>
                </a:lnTo>
                <a:cubicBezTo>
                  <a:pt x="3957" y="24864"/>
                  <a:pt x="3738" y="24864"/>
                  <a:pt x="3597" y="25004"/>
                </a:cubicBezTo>
                <a:cubicBezTo>
                  <a:pt x="3457" y="25145"/>
                  <a:pt x="3457" y="25364"/>
                  <a:pt x="3597" y="25505"/>
                </a:cubicBezTo>
                <a:lnTo>
                  <a:pt x="5786" y="27694"/>
                </a:lnTo>
                <a:cubicBezTo>
                  <a:pt x="5802" y="27709"/>
                  <a:pt x="5802" y="27709"/>
                  <a:pt x="5817" y="27725"/>
                </a:cubicBezTo>
                <a:cubicBezTo>
                  <a:pt x="5828" y="27730"/>
                  <a:pt x="5833" y="27741"/>
                  <a:pt x="5849" y="27741"/>
                </a:cubicBezTo>
                <a:cubicBezTo>
                  <a:pt x="5849" y="27756"/>
                  <a:pt x="5859" y="27751"/>
                  <a:pt x="5864" y="27756"/>
                </a:cubicBezTo>
                <a:cubicBezTo>
                  <a:pt x="5869" y="27761"/>
                  <a:pt x="5880" y="27756"/>
                  <a:pt x="5880" y="27772"/>
                </a:cubicBezTo>
                <a:lnTo>
                  <a:pt x="5896" y="27772"/>
                </a:lnTo>
                <a:lnTo>
                  <a:pt x="5912" y="27772"/>
                </a:lnTo>
                <a:cubicBezTo>
                  <a:pt x="5912" y="27787"/>
                  <a:pt x="5922" y="27782"/>
                  <a:pt x="5927" y="27787"/>
                </a:cubicBezTo>
                <a:cubicBezTo>
                  <a:pt x="5943" y="27787"/>
                  <a:pt x="5938" y="27787"/>
                  <a:pt x="5943" y="27787"/>
                </a:cubicBezTo>
                <a:cubicBezTo>
                  <a:pt x="5959" y="27787"/>
                  <a:pt x="5959" y="27787"/>
                  <a:pt x="5974" y="27803"/>
                </a:cubicBezTo>
                <a:lnTo>
                  <a:pt x="6005" y="27803"/>
                </a:lnTo>
                <a:lnTo>
                  <a:pt x="6037" y="27803"/>
                </a:lnTo>
                <a:close/>
                <a:moveTo>
                  <a:pt x="27256" y="5411"/>
                </a:moveTo>
                <a:lnTo>
                  <a:pt x="27319" y="5411"/>
                </a:lnTo>
                <a:cubicBezTo>
                  <a:pt x="27475" y="5379"/>
                  <a:pt x="27631" y="5364"/>
                  <a:pt x="27788" y="5332"/>
                </a:cubicBezTo>
                <a:cubicBezTo>
                  <a:pt x="27976" y="5301"/>
                  <a:pt x="28116" y="5129"/>
                  <a:pt x="28085" y="4926"/>
                </a:cubicBezTo>
                <a:cubicBezTo>
                  <a:pt x="28054" y="4738"/>
                  <a:pt x="27866" y="4598"/>
                  <a:pt x="27678" y="4629"/>
                </a:cubicBezTo>
                <a:cubicBezTo>
                  <a:pt x="27522" y="4660"/>
                  <a:pt x="27350" y="4676"/>
                  <a:pt x="27194" y="4707"/>
                </a:cubicBezTo>
                <a:cubicBezTo>
                  <a:pt x="27006" y="4738"/>
                  <a:pt x="26881" y="4926"/>
                  <a:pt x="26912" y="5129"/>
                </a:cubicBezTo>
                <a:cubicBezTo>
                  <a:pt x="26943" y="5301"/>
                  <a:pt x="27084" y="5411"/>
                  <a:pt x="27256" y="5411"/>
                </a:cubicBezTo>
                <a:close/>
                <a:moveTo>
                  <a:pt x="21799" y="7037"/>
                </a:moveTo>
                <a:cubicBezTo>
                  <a:pt x="21846" y="7037"/>
                  <a:pt x="21892" y="7037"/>
                  <a:pt x="21939" y="7006"/>
                </a:cubicBezTo>
                <a:cubicBezTo>
                  <a:pt x="22080" y="6943"/>
                  <a:pt x="22221" y="6896"/>
                  <a:pt x="22362" y="6833"/>
                </a:cubicBezTo>
                <a:cubicBezTo>
                  <a:pt x="22549" y="6755"/>
                  <a:pt x="22643" y="6552"/>
                  <a:pt x="22565" y="6365"/>
                </a:cubicBezTo>
                <a:cubicBezTo>
                  <a:pt x="22487" y="6177"/>
                  <a:pt x="22284" y="6099"/>
                  <a:pt x="22096" y="6177"/>
                </a:cubicBezTo>
                <a:cubicBezTo>
                  <a:pt x="21955" y="6224"/>
                  <a:pt x="21799" y="6287"/>
                  <a:pt x="21658" y="6349"/>
                </a:cubicBezTo>
                <a:cubicBezTo>
                  <a:pt x="21471" y="6427"/>
                  <a:pt x="21392" y="6646"/>
                  <a:pt x="21471" y="6818"/>
                </a:cubicBezTo>
                <a:cubicBezTo>
                  <a:pt x="21517" y="6959"/>
                  <a:pt x="21658" y="7037"/>
                  <a:pt x="21799" y="7037"/>
                </a:cubicBezTo>
                <a:close/>
                <a:moveTo>
                  <a:pt x="30102" y="5082"/>
                </a:moveTo>
                <a:cubicBezTo>
                  <a:pt x="30107" y="5082"/>
                  <a:pt x="30102" y="5082"/>
                  <a:pt x="30118" y="5082"/>
                </a:cubicBezTo>
                <a:cubicBezTo>
                  <a:pt x="30274" y="5067"/>
                  <a:pt x="30431" y="5067"/>
                  <a:pt x="30587" y="5051"/>
                </a:cubicBezTo>
                <a:cubicBezTo>
                  <a:pt x="30790" y="5051"/>
                  <a:pt x="30931" y="4879"/>
                  <a:pt x="30931" y="4691"/>
                </a:cubicBezTo>
                <a:cubicBezTo>
                  <a:pt x="30915" y="4488"/>
                  <a:pt x="30759" y="4332"/>
                  <a:pt x="30556" y="4348"/>
                </a:cubicBezTo>
                <a:cubicBezTo>
                  <a:pt x="30399" y="4348"/>
                  <a:pt x="30227" y="4363"/>
                  <a:pt x="30071" y="4363"/>
                </a:cubicBezTo>
                <a:cubicBezTo>
                  <a:pt x="29883" y="4379"/>
                  <a:pt x="29727" y="4551"/>
                  <a:pt x="29743" y="4754"/>
                </a:cubicBezTo>
                <a:cubicBezTo>
                  <a:pt x="29758" y="4942"/>
                  <a:pt x="29915" y="5082"/>
                  <a:pt x="30102" y="5082"/>
                </a:cubicBezTo>
                <a:close/>
                <a:moveTo>
                  <a:pt x="31525" y="5036"/>
                </a:moveTo>
                <a:lnTo>
                  <a:pt x="31994" y="5036"/>
                </a:lnTo>
                <a:cubicBezTo>
                  <a:pt x="32197" y="5036"/>
                  <a:pt x="32354" y="4879"/>
                  <a:pt x="32354" y="4691"/>
                </a:cubicBezTo>
                <a:cubicBezTo>
                  <a:pt x="32354" y="4488"/>
                  <a:pt x="32197" y="4332"/>
                  <a:pt x="32010" y="4316"/>
                </a:cubicBezTo>
                <a:lnTo>
                  <a:pt x="31525" y="4316"/>
                </a:lnTo>
                <a:cubicBezTo>
                  <a:pt x="31322" y="4316"/>
                  <a:pt x="31166" y="4488"/>
                  <a:pt x="31166" y="4676"/>
                </a:cubicBezTo>
                <a:cubicBezTo>
                  <a:pt x="31166" y="4879"/>
                  <a:pt x="31322" y="5036"/>
                  <a:pt x="31525" y="5036"/>
                </a:cubicBezTo>
                <a:close/>
                <a:moveTo>
                  <a:pt x="28679" y="5207"/>
                </a:moveTo>
                <a:lnTo>
                  <a:pt x="28710" y="5207"/>
                </a:lnTo>
                <a:cubicBezTo>
                  <a:pt x="28867" y="5192"/>
                  <a:pt x="29023" y="5176"/>
                  <a:pt x="29180" y="5161"/>
                </a:cubicBezTo>
                <a:cubicBezTo>
                  <a:pt x="29383" y="5145"/>
                  <a:pt x="29523" y="4957"/>
                  <a:pt x="29508" y="4769"/>
                </a:cubicBezTo>
                <a:cubicBezTo>
                  <a:pt x="29477" y="4566"/>
                  <a:pt x="29305" y="4426"/>
                  <a:pt x="29117" y="4441"/>
                </a:cubicBezTo>
                <a:cubicBezTo>
                  <a:pt x="28945" y="4457"/>
                  <a:pt x="28789" y="4473"/>
                  <a:pt x="28632" y="4504"/>
                </a:cubicBezTo>
                <a:cubicBezTo>
                  <a:pt x="28429" y="4519"/>
                  <a:pt x="28288" y="4691"/>
                  <a:pt x="28319" y="4894"/>
                </a:cubicBezTo>
                <a:cubicBezTo>
                  <a:pt x="28335" y="5082"/>
                  <a:pt x="28492" y="5207"/>
                  <a:pt x="28679" y="5207"/>
                </a:cubicBezTo>
                <a:close/>
                <a:moveTo>
                  <a:pt x="23128" y="6521"/>
                </a:moveTo>
                <a:cubicBezTo>
                  <a:pt x="23159" y="6521"/>
                  <a:pt x="23206" y="6505"/>
                  <a:pt x="23238" y="6490"/>
                </a:cubicBezTo>
                <a:cubicBezTo>
                  <a:pt x="23394" y="6443"/>
                  <a:pt x="23535" y="6396"/>
                  <a:pt x="23691" y="6349"/>
                </a:cubicBezTo>
                <a:cubicBezTo>
                  <a:pt x="23879" y="6287"/>
                  <a:pt x="23973" y="6083"/>
                  <a:pt x="23910" y="5895"/>
                </a:cubicBezTo>
                <a:cubicBezTo>
                  <a:pt x="23847" y="5708"/>
                  <a:pt x="23644" y="5599"/>
                  <a:pt x="23456" y="5661"/>
                </a:cubicBezTo>
                <a:cubicBezTo>
                  <a:pt x="23300" y="5724"/>
                  <a:pt x="23159" y="5770"/>
                  <a:pt x="23003" y="5817"/>
                </a:cubicBezTo>
                <a:cubicBezTo>
                  <a:pt x="22815" y="5895"/>
                  <a:pt x="22722" y="6099"/>
                  <a:pt x="22784" y="6287"/>
                </a:cubicBezTo>
                <a:cubicBezTo>
                  <a:pt x="22847" y="6427"/>
                  <a:pt x="22972" y="6521"/>
                  <a:pt x="23128" y="6521"/>
                </a:cubicBezTo>
                <a:close/>
                <a:moveTo>
                  <a:pt x="24473" y="6067"/>
                </a:moveTo>
                <a:cubicBezTo>
                  <a:pt x="24520" y="6067"/>
                  <a:pt x="24551" y="6067"/>
                  <a:pt x="24582" y="6052"/>
                </a:cubicBezTo>
                <a:cubicBezTo>
                  <a:pt x="24739" y="6020"/>
                  <a:pt x="24879" y="5974"/>
                  <a:pt x="25036" y="5927"/>
                </a:cubicBezTo>
                <a:cubicBezTo>
                  <a:pt x="25224" y="5880"/>
                  <a:pt x="25333" y="5677"/>
                  <a:pt x="25286" y="5489"/>
                </a:cubicBezTo>
                <a:cubicBezTo>
                  <a:pt x="25224" y="5301"/>
                  <a:pt x="25036" y="5192"/>
                  <a:pt x="24848" y="5239"/>
                </a:cubicBezTo>
                <a:cubicBezTo>
                  <a:pt x="24692" y="5286"/>
                  <a:pt x="24536" y="5332"/>
                  <a:pt x="24379" y="5379"/>
                </a:cubicBezTo>
                <a:cubicBezTo>
                  <a:pt x="24191" y="5426"/>
                  <a:pt x="24082" y="5630"/>
                  <a:pt x="24144" y="5817"/>
                </a:cubicBezTo>
                <a:cubicBezTo>
                  <a:pt x="24191" y="5974"/>
                  <a:pt x="24332" y="6067"/>
                  <a:pt x="24473" y="6067"/>
                </a:cubicBezTo>
                <a:close/>
                <a:moveTo>
                  <a:pt x="25865" y="5708"/>
                </a:moveTo>
                <a:cubicBezTo>
                  <a:pt x="25880" y="5708"/>
                  <a:pt x="25912" y="5708"/>
                  <a:pt x="25943" y="5692"/>
                </a:cubicBezTo>
                <a:cubicBezTo>
                  <a:pt x="26099" y="5661"/>
                  <a:pt x="26255" y="5630"/>
                  <a:pt x="26396" y="5599"/>
                </a:cubicBezTo>
                <a:cubicBezTo>
                  <a:pt x="26600" y="5551"/>
                  <a:pt x="26709" y="5364"/>
                  <a:pt x="26678" y="5176"/>
                </a:cubicBezTo>
                <a:cubicBezTo>
                  <a:pt x="26631" y="4973"/>
                  <a:pt x="26443" y="4848"/>
                  <a:pt x="26255" y="4894"/>
                </a:cubicBezTo>
                <a:cubicBezTo>
                  <a:pt x="26099" y="4926"/>
                  <a:pt x="25943" y="4957"/>
                  <a:pt x="25786" y="5004"/>
                </a:cubicBezTo>
                <a:cubicBezTo>
                  <a:pt x="25583" y="5051"/>
                  <a:pt x="25474" y="5239"/>
                  <a:pt x="25520" y="5426"/>
                </a:cubicBezTo>
                <a:cubicBezTo>
                  <a:pt x="25552" y="5599"/>
                  <a:pt x="25692" y="5708"/>
                  <a:pt x="25865" y="5708"/>
                </a:cubicBezTo>
                <a:close/>
                <a:moveTo>
                  <a:pt x="9821" y="18014"/>
                </a:moveTo>
                <a:cubicBezTo>
                  <a:pt x="9883" y="17874"/>
                  <a:pt x="9962" y="17748"/>
                  <a:pt x="10040" y="17608"/>
                </a:cubicBezTo>
                <a:cubicBezTo>
                  <a:pt x="10149" y="17436"/>
                  <a:pt x="10087" y="17217"/>
                  <a:pt x="9915" y="17123"/>
                </a:cubicBezTo>
                <a:cubicBezTo>
                  <a:pt x="9743" y="17029"/>
                  <a:pt x="9524" y="17076"/>
                  <a:pt x="9430" y="17248"/>
                </a:cubicBezTo>
                <a:cubicBezTo>
                  <a:pt x="9352" y="17389"/>
                  <a:pt x="9274" y="17529"/>
                  <a:pt x="9195" y="17670"/>
                </a:cubicBezTo>
                <a:cubicBezTo>
                  <a:pt x="9102" y="17842"/>
                  <a:pt x="9164" y="18061"/>
                  <a:pt x="9336" y="18155"/>
                </a:cubicBezTo>
                <a:cubicBezTo>
                  <a:pt x="9383" y="18186"/>
                  <a:pt x="9445" y="18202"/>
                  <a:pt x="9508" y="18202"/>
                </a:cubicBezTo>
                <a:cubicBezTo>
                  <a:pt x="9633" y="18202"/>
                  <a:pt x="9758" y="18139"/>
                  <a:pt x="9821" y="18014"/>
                </a:cubicBezTo>
                <a:close/>
                <a:moveTo>
                  <a:pt x="9180" y="19265"/>
                </a:moveTo>
                <a:cubicBezTo>
                  <a:pt x="9242" y="19125"/>
                  <a:pt x="9320" y="18984"/>
                  <a:pt x="9383" y="18843"/>
                </a:cubicBezTo>
                <a:cubicBezTo>
                  <a:pt x="9477" y="18671"/>
                  <a:pt x="9399" y="18452"/>
                  <a:pt x="9227" y="18374"/>
                </a:cubicBezTo>
                <a:cubicBezTo>
                  <a:pt x="9039" y="18280"/>
                  <a:pt x="8836" y="18358"/>
                  <a:pt x="8742" y="18530"/>
                </a:cubicBezTo>
                <a:cubicBezTo>
                  <a:pt x="8664" y="18671"/>
                  <a:pt x="8601" y="18827"/>
                  <a:pt x="8539" y="18968"/>
                </a:cubicBezTo>
                <a:cubicBezTo>
                  <a:pt x="8444" y="19140"/>
                  <a:pt x="8523" y="19359"/>
                  <a:pt x="8695" y="19437"/>
                </a:cubicBezTo>
                <a:cubicBezTo>
                  <a:pt x="8757" y="19468"/>
                  <a:pt x="8804" y="19484"/>
                  <a:pt x="8851" y="19484"/>
                </a:cubicBezTo>
                <a:cubicBezTo>
                  <a:pt x="8992" y="19484"/>
                  <a:pt x="9117" y="19406"/>
                  <a:pt x="9180" y="19265"/>
                </a:cubicBezTo>
                <a:close/>
                <a:moveTo>
                  <a:pt x="8132" y="19844"/>
                </a:moveTo>
                <a:cubicBezTo>
                  <a:pt x="8069" y="20000"/>
                  <a:pt x="8007" y="20141"/>
                  <a:pt x="7944" y="20297"/>
                </a:cubicBezTo>
                <a:cubicBezTo>
                  <a:pt x="7882" y="20469"/>
                  <a:pt x="7960" y="20688"/>
                  <a:pt x="8148" y="20766"/>
                </a:cubicBezTo>
                <a:cubicBezTo>
                  <a:pt x="8194" y="20782"/>
                  <a:pt x="8241" y="20782"/>
                  <a:pt x="8273" y="20782"/>
                </a:cubicBezTo>
                <a:cubicBezTo>
                  <a:pt x="8413" y="20782"/>
                  <a:pt x="8554" y="20704"/>
                  <a:pt x="8617" y="20563"/>
                </a:cubicBezTo>
                <a:cubicBezTo>
                  <a:pt x="8664" y="20423"/>
                  <a:pt x="8726" y="20266"/>
                  <a:pt x="8789" y="20125"/>
                </a:cubicBezTo>
                <a:cubicBezTo>
                  <a:pt x="8867" y="19953"/>
                  <a:pt x="8789" y="19735"/>
                  <a:pt x="8601" y="19656"/>
                </a:cubicBezTo>
                <a:cubicBezTo>
                  <a:pt x="8429" y="19578"/>
                  <a:pt x="8210" y="19672"/>
                  <a:pt x="8132" y="19844"/>
                </a:cubicBezTo>
                <a:close/>
                <a:moveTo>
                  <a:pt x="9133" y="42048"/>
                </a:moveTo>
                <a:cubicBezTo>
                  <a:pt x="9195" y="42158"/>
                  <a:pt x="9320" y="42236"/>
                  <a:pt x="9445" y="42236"/>
                </a:cubicBezTo>
                <a:cubicBezTo>
                  <a:pt x="9508" y="42236"/>
                  <a:pt x="9570" y="42221"/>
                  <a:pt x="9617" y="42190"/>
                </a:cubicBezTo>
                <a:cubicBezTo>
                  <a:pt x="9790" y="42095"/>
                  <a:pt x="9852" y="41877"/>
                  <a:pt x="9758" y="41705"/>
                </a:cubicBezTo>
                <a:cubicBezTo>
                  <a:pt x="9695" y="41564"/>
                  <a:pt x="9617" y="41423"/>
                  <a:pt x="9539" y="41282"/>
                </a:cubicBezTo>
                <a:cubicBezTo>
                  <a:pt x="9461" y="41110"/>
                  <a:pt x="9242" y="41048"/>
                  <a:pt x="9070" y="41126"/>
                </a:cubicBezTo>
                <a:cubicBezTo>
                  <a:pt x="8882" y="41220"/>
                  <a:pt x="8820" y="41439"/>
                  <a:pt x="8914" y="41611"/>
                </a:cubicBezTo>
                <a:cubicBezTo>
                  <a:pt x="8976" y="41752"/>
                  <a:pt x="9054" y="41908"/>
                  <a:pt x="9133" y="42048"/>
                </a:cubicBezTo>
                <a:close/>
                <a:moveTo>
                  <a:pt x="8492" y="40751"/>
                </a:moveTo>
                <a:cubicBezTo>
                  <a:pt x="8539" y="40876"/>
                  <a:pt x="8679" y="40954"/>
                  <a:pt x="8804" y="40954"/>
                </a:cubicBezTo>
                <a:cubicBezTo>
                  <a:pt x="8851" y="40954"/>
                  <a:pt x="8914" y="40939"/>
                  <a:pt x="8961" y="40923"/>
                </a:cubicBezTo>
                <a:cubicBezTo>
                  <a:pt x="9133" y="40829"/>
                  <a:pt x="9211" y="40626"/>
                  <a:pt x="9133" y="40438"/>
                </a:cubicBezTo>
                <a:cubicBezTo>
                  <a:pt x="9070" y="40297"/>
                  <a:pt x="8992" y="40156"/>
                  <a:pt x="8929" y="40016"/>
                </a:cubicBezTo>
                <a:cubicBezTo>
                  <a:pt x="8851" y="39844"/>
                  <a:pt x="8648" y="39750"/>
                  <a:pt x="8461" y="39844"/>
                </a:cubicBezTo>
                <a:cubicBezTo>
                  <a:pt x="8288" y="39922"/>
                  <a:pt x="8210" y="40125"/>
                  <a:pt x="8288" y="40313"/>
                </a:cubicBezTo>
                <a:cubicBezTo>
                  <a:pt x="8351" y="40454"/>
                  <a:pt x="8413" y="40594"/>
                  <a:pt x="8492" y="40751"/>
                </a:cubicBezTo>
                <a:close/>
                <a:moveTo>
                  <a:pt x="7913" y="39421"/>
                </a:moveTo>
                <a:cubicBezTo>
                  <a:pt x="7960" y="39563"/>
                  <a:pt x="8101" y="39641"/>
                  <a:pt x="8241" y="39641"/>
                </a:cubicBezTo>
                <a:cubicBezTo>
                  <a:pt x="8288" y="39641"/>
                  <a:pt x="8335" y="39641"/>
                  <a:pt x="8366" y="39609"/>
                </a:cubicBezTo>
                <a:cubicBezTo>
                  <a:pt x="8554" y="39546"/>
                  <a:pt x="8648" y="39328"/>
                  <a:pt x="8570" y="39156"/>
                </a:cubicBezTo>
                <a:cubicBezTo>
                  <a:pt x="8507" y="39015"/>
                  <a:pt x="8461" y="38858"/>
                  <a:pt x="8398" y="38718"/>
                </a:cubicBezTo>
                <a:cubicBezTo>
                  <a:pt x="8335" y="38530"/>
                  <a:pt x="8132" y="38437"/>
                  <a:pt x="7944" y="38515"/>
                </a:cubicBezTo>
                <a:cubicBezTo>
                  <a:pt x="7756" y="38577"/>
                  <a:pt x="7663" y="38780"/>
                  <a:pt x="7725" y="38968"/>
                </a:cubicBezTo>
                <a:cubicBezTo>
                  <a:pt x="7788" y="39125"/>
                  <a:pt x="7851" y="39265"/>
                  <a:pt x="7913" y="39421"/>
                </a:cubicBezTo>
                <a:close/>
                <a:moveTo>
                  <a:pt x="7413" y="38061"/>
                </a:moveTo>
                <a:cubicBezTo>
                  <a:pt x="7460" y="38202"/>
                  <a:pt x="7600" y="38296"/>
                  <a:pt x="7741" y="38296"/>
                </a:cubicBezTo>
                <a:cubicBezTo>
                  <a:pt x="7788" y="38296"/>
                  <a:pt x="7819" y="38296"/>
                  <a:pt x="7866" y="38280"/>
                </a:cubicBezTo>
                <a:cubicBezTo>
                  <a:pt x="8054" y="38217"/>
                  <a:pt x="8148" y="38014"/>
                  <a:pt x="8085" y="37827"/>
                </a:cubicBezTo>
                <a:cubicBezTo>
                  <a:pt x="8038" y="37686"/>
                  <a:pt x="7991" y="37529"/>
                  <a:pt x="7944" y="37389"/>
                </a:cubicBezTo>
                <a:cubicBezTo>
                  <a:pt x="7882" y="37201"/>
                  <a:pt x="7678" y="37092"/>
                  <a:pt x="7491" y="37154"/>
                </a:cubicBezTo>
                <a:cubicBezTo>
                  <a:pt x="7303" y="37217"/>
                  <a:pt x="7194" y="37404"/>
                  <a:pt x="7256" y="37592"/>
                </a:cubicBezTo>
                <a:cubicBezTo>
                  <a:pt x="7303" y="37749"/>
                  <a:pt x="7350" y="37905"/>
                  <a:pt x="7413" y="38061"/>
                </a:cubicBezTo>
                <a:close/>
                <a:moveTo>
                  <a:pt x="11509" y="45676"/>
                </a:moveTo>
                <a:cubicBezTo>
                  <a:pt x="11588" y="45770"/>
                  <a:pt x="11697" y="45817"/>
                  <a:pt x="11791" y="45817"/>
                </a:cubicBezTo>
                <a:cubicBezTo>
                  <a:pt x="11869" y="45817"/>
                  <a:pt x="11947" y="45786"/>
                  <a:pt x="12010" y="45739"/>
                </a:cubicBezTo>
                <a:cubicBezTo>
                  <a:pt x="12166" y="45614"/>
                  <a:pt x="12197" y="45395"/>
                  <a:pt x="12072" y="45238"/>
                </a:cubicBezTo>
                <a:cubicBezTo>
                  <a:pt x="11979" y="45113"/>
                  <a:pt x="11885" y="44988"/>
                  <a:pt x="11791" y="44863"/>
                </a:cubicBezTo>
                <a:cubicBezTo>
                  <a:pt x="11666" y="44707"/>
                  <a:pt x="11447" y="44676"/>
                  <a:pt x="11291" y="44785"/>
                </a:cubicBezTo>
                <a:cubicBezTo>
                  <a:pt x="11134" y="44910"/>
                  <a:pt x="11103" y="45129"/>
                  <a:pt x="11228" y="45285"/>
                </a:cubicBezTo>
                <a:cubicBezTo>
                  <a:pt x="11322" y="45426"/>
                  <a:pt x="11416" y="45551"/>
                  <a:pt x="11509" y="45676"/>
                </a:cubicBezTo>
                <a:close/>
                <a:moveTo>
                  <a:pt x="6990" y="36669"/>
                </a:moveTo>
                <a:cubicBezTo>
                  <a:pt x="7022" y="36826"/>
                  <a:pt x="7178" y="36935"/>
                  <a:pt x="7335" y="36935"/>
                </a:cubicBezTo>
                <a:cubicBezTo>
                  <a:pt x="7366" y="36935"/>
                  <a:pt x="7397" y="36935"/>
                  <a:pt x="7428" y="36919"/>
                </a:cubicBezTo>
                <a:cubicBezTo>
                  <a:pt x="7616" y="36873"/>
                  <a:pt x="7725" y="36669"/>
                  <a:pt x="7678" y="36482"/>
                </a:cubicBezTo>
                <a:cubicBezTo>
                  <a:pt x="7631" y="36341"/>
                  <a:pt x="7600" y="36185"/>
                  <a:pt x="7553" y="36028"/>
                </a:cubicBezTo>
                <a:cubicBezTo>
                  <a:pt x="7506" y="35841"/>
                  <a:pt x="7319" y="35716"/>
                  <a:pt x="7115" y="35778"/>
                </a:cubicBezTo>
                <a:cubicBezTo>
                  <a:pt x="6928" y="35825"/>
                  <a:pt x="6818" y="36013"/>
                  <a:pt x="6865" y="36200"/>
                </a:cubicBezTo>
                <a:cubicBezTo>
                  <a:pt x="6897" y="36357"/>
                  <a:pt x="6943" y="36513"/>
                  <a:pt x="6990" y="36669"/>
                </a:cubicBezTo>
                <a:close/>
                <a:moveTo>
                  <a:pt x="7068" y="35543"/>
                </a:moveTo>
                <a:cubicBezTo>
                  <a:pt x="7256" y="35497"/>
                  <a:pt x="7381" y="35309"/>
                  <a:pt x="7335" y="35122"/>
                </a:cubicBezTo>
                <a:cubicBezTo>
                  <a:pt x="7303" y="34965"/>
                  <a:pt x="7272" y="34809"/>
                  <a:pt x="7256" y="34652"/>
                </a:cubicBezTo>
                <a:cubicBezTo>
                  <a:pt x="7210" y="34465"/>
                  <a:pt x="7022" y="34339"/>
                  <a:pt x="6834" y="34371"/>
                </a:cubicBezTo>
                <a:cubicBezTo>
                  <a:pt x="6631" y="34417"/>
                  <a:pt x="6505" y="34605"/>
                  <a:pt x="6553" y="34793"/>
                </a:cubicBezTo>
                <a:cubicBezTo>
                  <a:pt x="6584" y="34949"/>
                  <a:pt x="6615" y="35106"/>
                  <a:pt x="6647" y="35262"/>
                </a:cubicBezTo>
                <a:cubicBezTo>
                  <a:pt x="6678" y="35434"/>
                  <a:pt x="6834" y="35543"/>
                  <a:pt x="6990" y="35543"/>
                </a:cubicBezTo>
                <a:close/>
                <a:moveTo>
                  <a:pt x="11244" y="44097"/>
                </a:moveTo>
                <a:cubicBezTo>
                  <a:pt x="11150" y="43972"/>
                  <a:pt x="11056" y="43847"/>
                  <a:pt x="10978" y="43706"/>
                </a:cubicBezTo>
                <a:cubicBezTo>
                  <a:pt x="10868" y="43550"/>
                  <a:pt x="10650" y="43503"/>
                  <a:pt x="10478" y="43612"/>
                </a:cubicBezTo>
                <a:cubicBezTo>
                  <a:pt x="10321" y="43722"/>
                  <a:pt x="10274" y="43941"/>
                  <a:pt x="10384" y="44113"/>
                </a:cubicBezTo>
                <a:cubicBezTo>
                  <a:pt x="10478" y="44238"/>
                  <a:pt x="10556" y="44379"/>
                  <a:pt x="10650" y="44504"/>
                </a:cubicBezTo>
                <a:cubicBezTo>
                  <a:pt x="10728" y="44613"/>
                  <a:pt x="10837" y="44660"/>
                  <a:pt x="10946" y="44660"/>
                </a:cubicBezTo>
                <a:cubicBezTo>
                  <a:pt x="11025" y="44660"/>
                  <a:pt x="11088" y="44644"/>
                  <a:pt x="11150" y="44597"/>
                </a:cubicBezTo>
                <a:cubicBezTo>
                  <a:pt x="11306" y="44488"/>
                  <a:pt x="11353" y="44269"/>
                  <a:pt x="11244" y="44097"/>
                </a:cubicBezTo>
                <a:close/>
                <a:moveTo>
                  <a:pt x="25114" y="53902"/>
                </a:moveTo>
                <a:cubicBezTo>
                  <a:pt x="24973" y="53870"/>
                  <a:pt x="24817" y="53824"/>
                  <a:pt x="24661" y="53777"/>
                </a:cubicBezTo>
                <a:cubicBezTo>
                  <a:pt x="24473" y="53730"/>
                  <a:pt x="24285" y="53839"/>
                  <a:pt x="24223" y="54027"/>
                </a:cubicBezTo>
                <a:cubicBezTo>
                  <a:pt x="24176" y="54214"/>
                  <a:pt x="24269" y="54418"/>
                  <a:pt x="24473" y="54465"/>
                </a:cubicBezTo>
                <a:cubicBezTo>
                  <a:pt x="24614" y="54512"/>
                  <a:pt x="24770" y="54558"/>
                  <a:pt x="24926" y="54605"/>
                </a:cubicBezTo>
                <a:lnTo>
                  <a:pt x="25020" y="54605"/>
                </a:lnTo>
                <a:cubicBezTo>
                  <a:pt x="25177" y="54605"/>
                  <a:pt x="25333" y="54512"/>
                  <a:pt x="25364" y="54340"/>
                </a:cubicBezTo>
                <a:cubicBezTo>
                  <a:pt x="25427" y="54152"/>
                  <a:pt x="25317" y="53964"/>
                  <a:pt x="25114" y="53902"/>
                </a:cubicBezTo>
                <a:close/>
                <a:moveTo>
                  <a:pt x="22455" y="53011"/>
                </a:moveTo>
                <a:cubicBezTo>
                  <a:pt x="22299" y="52963"/>
                  <a:pt x="22159" y="52901"/>
                  <a:pt x="22018" y="52838"/>
                </a:cubicBezTo>
                <a:cubicBezTo>
                  <a:pt x="21830" y="52760"/>
                  <a:pt x="21627" y="52838"/>
                  <a:pt x="21549" y="53026"/>
                </a:cubicBezTo>
                <a:cubicBezTo>
                  <a:pt x="21471" y="53214"/>
                  <a:pt x="21549" y="53417"/>
                  <a:pt x="21736" y="53495"/>
                </a:cubicBezTo>
                <a:cubicBezTo>
                  <a:pt x="21877" y="53557"/>
                  <a:pt x="22034" y="53620"/>
                  <a:pt x="22190" y="53683"/>
                </a:cubicBezTo>
                <a:cubicBezTo>
                  <a:pt x="22221" y="53699"/>
                  <a:pt x="22268" y="53699"/>
                  <a:pt x="22315" y="53699"/>
                </a:cubicBezTo>
                <a:cubicBezTo>
                  <a:pt x="22455" y="53699"/>
                  <a:pt x="22597" y="53620"/>
                  <a:pt x="22643" y="53479"/>
                </a:cubicBezTo>
                <a:cubicBezTo>
                  <a:pt x="22722" y="53292"/>
                  <a:pt x="22628" y="53089"/>
                  <a:pt x="22455" y="53011"/>
                </a:cubicBezTo>
                <a:close/>
                <a:moveTo>
                  <a:pt x="23769" y="53495"/>
                </a:moveTo>
                <a:cubicBezTo>
                  <a:pt x="23628" y="53448"/>
                  <a:pt x="23472" y="53401"/>
                  <a:pt x="23331" y="53354"/>
                </a:cubicBezTo>
                <a:cubicBezTo>
                  <a:pt x="23143" y="53276"/>
                  <a:pt x="22940" y="53370"/>
                  <a:pt x="22878" y="53557"/>
                </a:cubicBezTo>
                <a:cubicBezTo>
                  <a:pt x="22800" y="53745"/>
                  <a:pt x="22909" y="53949"/>
                  <a:pt x="23081" y="54027"/>
                </a:cubicBezTo>
                <a:cubicBezTo>
                  <a:pt x="23238" y="54074"/>
                  <a:pt x="23394" y="54120"/>
                  <a:pt x="23550" y="54183"/>
                </a:cubicBezTo>
                <a:cubicBezTo>
                  <a:pt x="23581" y="54183"/>
                  <a:pt x="23613" y="54199"/>
                  <a:pt x="23660" y="54199"/>
                </a:cubicBezTo>
                <a:cubicBezTo>
                  <a:pt x="23800" y="54199"/>
                  <a:pt x="23941" y="54105"/>
                  <a:pt x="24004" y="53949"/>
                </a:cubicBezTo>
                <a:cubicBezTo>
                  <a:pt x="24066" y="53761"/>
                  <a:pt x="23957" y="53557"/>
                  <a:pt x="23769" y="53495"/>
                </a:cubicBezTo>
                <a:close/>
                <a:moveTo>
                  <a:pt x="18671" y="51118"/>
                </a:moveTo>
                <a:cubicBezTo>
                  <a:pt x="18546" y="51040"/>
                  <a:pt x="18406" y="50962"/>
                  <a:pt x="18281" y="50868"/>
                </a:cubicBezTo>
                <a:cubicBezTo>
                  <a:pt x="18109" y="50759"/>
                  <a:pt x="17889" y="50805"/>
                  <a:pt x="17780" y="50977"/>
                </a:cubicBezTo>
                <a:cubicBezTo>
                  <a:pt x="17671" y="51150"/>
                  <a:pt x="17718" y="51368"/>
                  <a:pt x="17889" y="51478"/>
                </a:cubicBezTo>
                <a:cubicBezTo>
                  <a:pt x="18030" y="51556"/>
                  <a:pt x="18171" y="51650"/>
                  <a:pt x="18296" y="51728"/>
                </a:cubicBezTo>
                <a:cubicBezTo>
                  <a:pt x="18359" y="51760"/>
                  <a:pt x="18421" y="51775"/>
                  <a:pt x="18484" y="51775"/>
                </a:cubicBezTo>
                <a:cubicBezTo>
                  <a:pt x="18609" y="51775"/>
                  <a:pt x="18718" y="51728"/>
                  <a:pt x="18797" y="51618"/>
                </a:cubicBezTo>
                <a:cubicBezTo>
                  <a:pt x="18890" y="51447"/>
                  <a:pt x="18844" y="51228"/>
                  <a:pt x="18671" y="51118"/>
                </a:cubicBezTo>
                <a:close/>
                <a:moveTo>
                  <a:pt x="19891" y="51822"/>
                </a:moveTo>
                <a:cubicBezTo>
                  <a:pt x="19766" y="51744"/>
                  <a:pt x="19625" y="51665"/>
                  <a:pt x="19485" y="51603"/>
                </a:cubicBezTo>
                <a:cubicBezTo>
                  <a:pt x="19312" y="51493"/>
                  <a:pt x="19094" y="51556"/>
                  <a:pt x="19000" y="51728"/>
                </a:cubicBezTo>
                <a:cubicBezTo>
                  <a:pt x="18906" y="51900"/>
                  <a:pt x="18969" y="52119"/>
                  <a:pt x="19140" y="52213"/>
                </a:cubicBezTo>
                <a:cubicBezTo>
                  <a:pt x="19281" y="52291"/>
                  <a:pt x="19422" y="52369"/>
                  <a:pt x="19563" y="52448"/>
                </a:cubicBezTo>
                <a:cubicBezTo>
                  <a:pt x="19610" y="52479"/>
                  <a:pt x="19672" y="52494"/>
                  <a:pt x="19719" y="52494"/>
                </a:cubicBezTo>
                <a:cubicBezTo>
                  <a:pt x="19860" y="52494"/>
                  <a:pt x="19969" y="52432"/>
                  <a:pt x="20048" y="52306"/>
                </a:cubicBezTo>
                <a:cubicBezTo>
                  <a:pt x="20141" y="52135"/>
                  <a:pt x="20063" y="51916"/>
                  <a:pt x="19891" y="51822"/>
                </a:cubicBezTo>
                <a:close/>
                <a:moveTo>
                  <a:pt x="21158" y="52448"/>
                </a:moveTo>
                <a:cubicBezTo>
                  <a:pt x="21017" y="52385"/>
                  <a:pt x="20876" y="52322"/>
                  <a:pt x="20736" y="52260"/>
                </a:cubicBezTo>
                <a:cubicBezTo>
                  <a:pt x="20548" y="52166"/>
                  <a:pt x="20345" y="52244"/>
                  <a:pt x="20251" y="52416"/>
                </a:cubicBezTo>
                <a:cubicBezTo>
                  <a:pt x="20173" y="52588"/>
                  <a:pt x="20235" y="52807"/>
                  <a:pt x="20423" y="52901"/>
                </a:cubicBezTo>
                <a:cubicBezTo>
                  <a:pt x="20563" y="52963"/>
                  <a:pt x="20704" y="53042"/>
                  <a:pt x="20845" y="53104"/>
                </a:cubicBezTo>
                <a:cubicBezTo>
                  <a:pt x="20908" y="53120"/>
                  <a:pt x="20954" y="53136"/>
                  <a:pt x="21001" y="53136"/>
                </a:cubicBezTo>
                <a:cubicBezTo>
                  <a:pt x="21142" y="53136"/>
                  <a:pt x="21267" y="53057"/>
                  <a:pt x="21330" y="52932"/>
                </a:cubicBezTo>
                <a:cubicBezTo>
                  <a:pt x="21408" y="52744"/>
                  <a:pt x="21330" y="52541"/>
                  <a:pt x="21158" y="52448"/>
                </a:cubicBezTo>
                <a:close/>
                <a:moveTo>
                  <a:pt x="46193" y="50102"/>
                </a:moveTo>
                <a:cubicBezTo>
                  <a:pt x="46068" y="50196"/>
                  <a:pt x="45943" y="50274"/>
                  <a:pt x="45818" y="50367"/>
                </a:cubicBezTo>
                <a:cubicBezTo>
                  <a:pt x="45645" y="50477"/>
                  <a:pt x="45614" y="50712"/>
                  <a:pt x="45723" y="50868"/>
                </a:cubicBezTo>
                <a:cubicBezTo>
                  <a:pt x="45786" y="50962"/>
                  <a:pt x="45896" y="51024"/>
                  <a:pt x="46021" y="51024"/>
                </a:cubicBezTo>
                <a:cubicBezTo>
                  <a:pt x="46083" y="51024"/>
                  <a:pt x="46161" y="50993"/>
                  <a:pt x="46224" y="50962"/>
                </a:cubicBezTo>
                <a:cubicBezTo>
                  <a:pt x="46349" y="50868"/>
                  <a:pt x="46490" y="50774"/>
                  <a:pt x="46615" y="50680"/>
                </a:cubicBezTo>
                <a:cubicBezTo>
                  <a:pt x="46771" y="50555"/>
                  <a:pt x="46818" y="50336"/>
                  <a:pt x="46693" y="50180"/>
                </a:cubicBezTo>
                <a:cubicBezTo>
                  <a:pt x="46584" y="50024"/>
                  <a:pt x="46349" y="49977"/>
                  <a:pt x="46193" y="50102"/>
                </a:cubicBezTo>
                <a:close/>
                <a:moveTo>
                  <a:pt x="43816" y="51618"/>
                </a:moveTo>
                <a:cubicBezTo>
                  <a:pt x="43691" y="51697"/>
                  <a:pt x="43550" y="51760"/>
                  <a:pt x="43409" y="51838"/>
                </a:cubicBezTo>
                <a:cubicBezTo>
                  <a:pt x="43238" y="51931"/>
                  <a:pt x="43175" y="52150"/>
                  <a:pt x="43269" y="52322"/>
                </a:cubicBezTo>
                <a:cubicBezTo>
                  <a:pt x="43331" y="52448"/>
                  <a:pt x="43456" y="52510"/>
                  <a:pt x="43581" y="52510"/>
                </a:cubicBezTo>
                <a:cubicBezTo>
                  <a:pt x="43644" y="52510"/>
                  <a:pt x="43691" y="52494"/>
                  <a:pt x="43753" y="52463"/>
                </a:cubicBezTo>
                <a:cubicBezTo>
                  <a:pt x="43894" y="52401"/>
                  <a:pt x="44035" y="52322"/>
                  <a:pt x="44176" y="52244"/>
                </a:cubicBezTo>
                <a:cubicBezTo>
                  <a:pt x="44347" y="52135"/>
                  <a:pt x="44410" y="51916"/>
                  <a:pt x="44316" y="51744"/>
                </a:cubicBezTo>
                <a:cubicBezTo>
                  <a:pt x="44207" y="51572"/>
                  <a:pt x="43988" y="51509"/>
                  <a:pt x="43816" y="51618"/>
                </a:cubicBezTo>
                <a:close/>
                <a:moveTo>
                  <a:pt x="45035" y="50884"/>
                </a:moveTo>
                <a:cubicBezTo>
                  <a:pt x="44895" y="50977"/>
                  <a:pt x="44770" y="51055"/>
                  <a:pt x="44629" y="51134"/>
                </a:cubicBezTo>
                <a:cubicBezTo>
                  <a:pt x="44457" y="51243"/>
                  <a:pt x="44410" y="51462"/>
                  <a:pt x="44520" y="51634"/>
                </a:cubicBezTo>
                <a:cubicBezTo>
                  <a:pt x="44582" y="51744"/>
                  <a:pt x="44692" y="51806"/>
                  <a:pt x="44817" y="51806"/>
                </a:cubicBezTo>
                <a:cubicBezTo>
                  <a:pt x="44879" y="51806"/>
                  <a:pt x="44942" y="51791"/>
                  <a:pt x="45004" y="51744"/>
                </a:cubicBezTo>
                <a:cubicBezTo>
                  <a:pt x="45145" y="51665"/>
                  <a:pt x="45286" y="51572"/>
                  <a:pt x="45411" y="51493"/>
                </a:cubicBezTo>
                <a:cubicBezTo>
                  <a:pt x="45583" y="51384"/>
                  <a:pt x="45630" y="51165"/>
                  <a:pt x="45520" y="50993"/>
                </a:cubicBezTo>
                <a:cubicBezTo>
                  <a:pt x="45411" y="50837"/>
                  <a:pt x="45192" y="50790"/>
                  <a:pt x="45035" y="50884"/>
                </a:cubicBezTo>
                <a:close/>
                <a:moveTo>
                  <a:pt x="48382" y="48319"/>
                </a:moveTo>
                <a:cubicBezTo>
                  <a:pt x="48272" y="48428"/>
                  <a:pt x="48147" y="48538"/>
                  <a:pt x="48038" y="48632"/>
                </a:cubicBezTo>
                <a:cubicBezTo>
                  <a:pt x="47882" y="48773"/>
                  <a:pt x="47866" y="48991"/>
                  <a:pt x="48007" y="49148"/>
                </a:cubicBezTo>
                <a:cubicBezTo>
                  <a:pt x="48069" y="49226"/>
                  <a:pt x="48163" y="49258"/>
                  <a:pt x="48272" y="49258"/>
                </a:cubicBezTo>
                <a:cubicBezTo>
                  <a:pt x="48351" y="49258"/>
                  <a:pt x="48445" y="49242"/>
                  <a:pt x="48507" y="49179"/>
                </a:cubicBezTo>
                <a:cubicBezTo>
                  <a:pt x="48632" y="49070"/>
                  <a:pt x="48742" y="48960"/>
                  <a:pt x="48867" y="48851"/>
                </a:cubicBezTo>
                <a:cubicBezTo>
                  <a:pt x="49008" y="48726"/>
                  <a:pt x="49023" y="48491"/>
                  <a:pt x="48882" y="48350"/>
                </a:cubicBezTo>
                <a:cubicBezTo>
                  <a:pt x="48757" y="48210"/>
                  <a:pt x="48538" y="48194"/>
                  <a:pt x="48382" y="48319"/>
                </a:cubicBezTo>
                <a:close/>
                <a:moveTo>
                  <a:pt x="49398" y="47350"/>
                </a:moveTo>
                <a:cubicBezTo>
                  <a:pt x="49289" y="47459"/>
                  <a:pt x="49180" y="47569"/>
                  <a:pt x="49070" y="47678"/>
                </a:cubicBezTo>
                <a:cubicBezTo>
                  <a:pt x="48929" y="47819"/>
                  <a:pt x="48929" y="48038"/>
                  <a:pt x="49070" y="48178"/>
                </a:cubicBezTo>
                <a:cubicBezTo>
                  <a:pt x="49133" y="48257"/>
                  <a:pt x="49226" y="48288"/>
                  <a:pt x="49320" y="48288"/>
                </a:cubicBezTo>
                <a:cubicBezTo>
                  <a:pt x="49414" y="48288"/>
                  <a:pt x="49492" y="48257"/>
                  <a:pt x="49570" y="48194"/>
                </a:cubicBezTo>
                <a:cubicBezTo>
                  <a:pt x="49680" y="48085"/>
                  <a:pt x="49805" y="47960"/>
                  <a:pt x="49914" y="47850"/>
                </a:cubicBezTo>
                <a:cubicBezTo>
                  <a:pt x="50055" y="47709"/>
                  <a:pt x="50039" y="47490"/>
                  <a:pt x="49899" y="47350"/>
                </a:cubicBezTo>
                <a:cubicBezTo>
                  <a:pt x="49758" y="47209"/>
                  <a:pt x="49539" y="47209"/>
                  <a:pt x="49398" y="47350"/>
                </a:cubicBezTo>
                <a:close/>
                <a:moveTo>
                  <a:pt x="47319" y="49242"/>
                </a:moveTo>
                <a:cubicBezTo>
                  <a:pt x="47194" y="49336"/>
                  <a:pt x="47069" y="49445"/>
                  <a:pt x="46943" y="49539"/>
                </a:cubicBezTo>
                <a:cubicBezTo>
                  <a:pt x="46787" y="49664"/>
                  <a:pt x="46771" y="49883"/>
                  <a:pt x="46881" y="50039"/>
                </a:cubicBezTo>
                <a:cubicBezTo>
                  <a:pt x="46959" y="50133"/>
                  <a:pt x="47069" y="50180"/>
                  <a:pt x="47162" y="50180"/>
                </a:cubicBezTo>
                <a:cubicBezTo>
                  <a:pt x="47241" y="50180"/>
                  <a:pt x="47319" y="50149"/>
                  <a:pt x="47381" y="50102"/>
                </a:cubicBezTo>
                <a:cubicBezTo>
                  <a:pt x="47506" y="49992"/>
                  <a:pt x="47647" y="49899"/>
                  <a:pt x="47772" y="49805"/>
                </a:cubicBezTo>
                <a:cubicBezTo>
                  <a:pt x="47913" y="49679"/>
                  <a:pt x="47944" y="49445"/>
                  <a:pt x="47819" y="49289"/>
                </a:cubicBezTo>
                <a:cubicBezTo>
                  <a:pt x="47694" y="49148"/>
                  <a:pt x="47475" y="49116"/>
                  <a:pt x="47319" y="49242"/>
                </a:cubicBezTo>
                <a:close/>
                <a:moveTo>
                  <a:pt x="57232" y="28976"/>
                </a:moveTo>
                <a:cubicBezTo>
                  <a:pt x="57232" y="28788"/>
                  <a:pt x="57061" y="28632"/>
                  <a:pt x="56873" y="28632"/>
                </a:cubicBezTo>
                <a:cubicBezTo>
                  <a:pt x="56670" y="28647"/>
                  <a:pt x="56513" y="28804"/>
                  <a:pt x="56529" y="29007"/>
                </a:cubicBezTo>
                <a:cubicBezTo>
                  <a:pt x="56529" y="29163"/>
                  <a:pt x="56529" y="29320"/>
                  <a:pt x="56544" y="29476"/>
                </a:cubicBezTo>
                <a:cubicBezTo>
                  <a:pt x="56544" y="29664"/>
                  <a:pt x="56701" y="29820"/>
                  <a:pt x="56889" y="29820"/>
                </a:cubicBezTo>
                <a:lnTo>
                  <a:pt x="56904" y="29820"/>
                </a:lnTo>
                <a:cubicBezTo>
                  <a:pt x="57092" y="29820"/>
                  <a:pt x="57248" y="29664"/>
                  <a:pt x="57248" y="29461"/>
                </a:cubicBezTo>
                <a:cubicBezTo>
                  <a:pt x="57248" y="29305"/>
                  <a:pt x="57248" y="29132"/>
                  <a:pt x="57232" y="28976"/>
                </a:cubicBezTo>
                <a:close/>
                <a:moveTo>
                  <a:pt x="56717" y="26974"/>
                </a:moveTo>
                <a:cubicBezTo>
                  <a:pt x="56920" y="26943"/>
                  <a:pt x="57045" y="26771"/>
                  <a:pt x="57029" y="26568"/>
                </a:cubicBezTo>
                <a:cubicBezTo>
                  <a:pt x="56998" y="26411"/>
                  <a:pt x="56982" y="26255"/>
                  <a:pt x="56951" y="26099"/>
                </a:cubicBezTo>
                <a:cubicBezTo>
                  <a:pt x="56920" y="25895"/>
                  <a:pt x="56732" y="25770"/>
                  <a:pt x="56544" y="25802"/>
                </a:cubicBezTo>
                <a:cubicBezTo>
                  <a:pt x="56341" y="25833"/>
                  <a:pt x="56216" y="26020"/>
                  <a:pt x="56248" y="26208"/>
                </a:cubicBezTo>
                <a:cubicBezTo>
                  <a:pt x="56279" y="26365"/>
                  <a:pt x="56294" y="26521"/>
                  <a:pt x="56310" y="26677"/>
                </a:cubicBezTo>
                <a:cubicBezTo>
                  <a:pt x="56341" y="26849"/>
                  <a:pt x="56498" y="26974"/>
                  <a:pt x="56670" y="26974"/>
                </a:cubicBezTo>
                <a:close/>
                <a:moveTo>
                  <a:pt x="56466" y="28069"/>
                </a:moveTo>
                <a:cubicBezTo>
                  <a:pt x="56482" y="28257"/>
                  <a:pt x="56638" y="28397"/>
                  <a:pt x="56826" y="28397"/>
                </a:cubicBezTo>
                <a:lnTo>
                  <a:pt x="56857" y="28397"/>
                </a:lnTo>
                <a:cubicBezTo>
                  <a:pt x="57045" y="28382"/>
                  <a:pt x="57201" y="28210"/>
                  <a:pt x="57186" y="28022"/>
                </a:cubicBezTo>
                <a:cubicBezTo>
                  <a:pt x="57170" y="27850"/>
                  <a:pt x="57154" y="27694"/>
                  <a:pt x="57139" y="27537"/>
                </a:cubicBezTo>
                <a:cubicBezTo>
                  <a:pt x="57123" y="27334"/>
                  <a:pt x="56951" y="27193"/>
                  <a:pt x="56748" y="27209"/>
                </a:cubicBezTo>
                <a:cubicBezTo>
                  <a:pt x="56560" y="27240"/>
                  <a:pt x="56404" y="27412"/>
                  <a:pt x="56435" y="27600"/>
                </a:cubicBezTo>
                <a:cubicBezTo>
                  <a:pt x="56451" y="27756"/>
                  <a:pt x="56466" y="27912"/>
                  <a:pt x="56466" y="28069"/>
                </a:cubicBezTo>
                <a:close/>
                <a:moveTo>
                  <a:pt x="56904" y="30071"/>
                </a:moveTo>
                <a:lnTo>
                  <a:pt x="56889" y="30071"/>
                </a:lnTo>
                <a:cubicBezTo>
                  <a:pt x="56701" y="30071"/>
                  <a:pt x="56544" y="30227"/>
                  <a:pt x="56529" y="30414"/>
                </a:cubicBezTo>
                <a:lnTo>
                  <a:pt x="56529" y="30884"/>
                </a:lnTo>
                <a:cubicBezTo>
                  <a:pt x="56513" y="31087"/>
                  <a:pt x="56670" y="31244"/>
                  <a:pt x="56873" y="31259"/>
                </a:cubicBezTo>
                <a:cubicBezTo>
                  <a:pt x="57076" y="31259"/>
                  <a:pt x="57232" y="31102"/>
                  <a:pt x="57232" y="30915"/>
                </a:cubicBezTo>
                <a:cubicBezTo>
                  <a:pt x="57248" y="30759"/>
                  <a:pt x="57248" y="30587"/>
                  <a:pt x="57248" y="30430"/>
                </a:cubicBezTo>
                <a:cubicBezTo>
                  <a:pt x="57248" y="30227"/>
                  <a:pt x="57092" y="30071"/>
                  <a:pt x="56904" y="30071"/>
                </a:cubicBezTo>
                <a:close/>
                <a:moveTo>
                  <a:pt x="52588" y="16294"/>
                </a:moveTo>
                <a:lnTo>
                  <a:pt x="51807" y="16060"/>
                </a:lnTo>
                <a:cubicBezTo>
                  <a:pt x="51322" y="15919"/>
                  <a:pt x="50587" y="15857"/>
                  <a:pt x="50149" y="16060"/>
                </a:cubicBezTo>
                <a:lnTo>
                  <a:pt x="49570" y="16310"/>
                </a:lnTo>
                <a:cubicBezTo>
                  <a:pt x="49383" y="16403"/>
                  <a:pt x="49273" y="16560"/>
                  <a:pt x="49273" y="16748"/>
                </a:cubicBezTo>
                <a:cubicBezTo>
                  <a:pt x="49258" y="17091"/>
                  <a:pt x="49602" y="17326"/>
                  <a:pt x="49868" y="17467"/>
                </a:cubicBezTo>
                <a:lnTo>
                  <a:pt x="52370" y="18984"/>
                </a:lnTo>
                <a:cubicBezTo>
                  <a:pt x="50727" y="19703"/>
                  <a:pt x="49430" y="20281"/>
                  <a:pt x="49320" y="20329"/>
                </a:cubicBezTo>
                <a:cubicBezTo>
                  <a:pt x="49211" y="20376"/>
                  <a:pt x="49164" y="20360"/>
                  <a:pt x="48851" y="20141"/>
                </a:cubicBezTo>
                <a:cubicBezTo>
                  <a:pt x="48272" y="19719"/>
                  <a:pt x="47600" y="19218"/>
                  <a:pt x="47397" y="19062"/>
                </a:cubicBezTo>
                <a:cubicBezTo>
                  <a:pt x="47022" y="18780"/>
                  <a:pt x="46381" y="18780"/>
                  <a:pt x="46021" y="19078"/>
                </a:cubicBezTo>
                <a:cubicBezTo>
                  <a:pt x="45755" y="19281"/>
                  <a:pt x="45677" y="19609"/>
                  <a:pt x="45818" y="19938"/>
                </a:cubicBezTo>
                <a:cubicBezTo>
                  <a:pt x="45974" y="20297"/>
                  <a:pt x="46333" y="21095"/>
                  <a:pt x="46662" y="21814"/>
                </a:cubicBezTo>
                <a:cubicBezTo>
                  <a:pt x="46849" y="22252"/>
                  <a:pt x="47022" y="22643"/>
                  <a:pt x="47131" y="22893"/>
                </a:cubicBezTo>
                <a:cubicBezTo>
                  <a:pt x="47241" y="23128"/>
                  <a:pt x="47491" y="23440"/>
                  <a:pt x="48038" y="23581"/>
                </a:cubicBezTo>
                <a:cubicBezTo>
                  <a:pt x="48413" y="23691"/>
                  <a:pt x="48913" y="23691"/>
                  <a:pt x="49508" y="23613"/>
                </a:cubicBezTo>
                <a:cubicBezTo>
                  <a:pt x="50696" y="23440"/>
                  <a:pt x="52276" y="22925"/>
                  <a:pt x="54199" y="22064"/>
                </a:cubicBezTo>
                <a:lnTo>
                  <a:pt x="54590" y="21892"/>
                </a:lnTo>
                <a:cubicBezTo>
                  <a:pt x="54637" y="21877"/>
                  <a:pt x="54668" y="21861"/>
                  <a:pt x="54715" y="21830"/>
                </a:cubicBezTo>
                <a:lnTo>
                  <a:pt x="53855" y="26411"/>
                </a:lnTo>
                <a:cubicBezTo>
                  <a:pt x="53777" y="26708"/>
                  <a:pt x="53730" y="27115"/>
                  <a:pt x="53996" y="27334"/>
                </a:cubicBezTo>
                <a:cubicBezTo>
                  <a:pt x="54074" y="27412"/>
                  <a:pt x="54184" y="27444"/>
                  <a:pt x="54293" y="27444"/>
                </a:cubicBezTo>
                <a:cubicBezTo>
                  <a:pt x="54371" y="27444"/>
                  <a:pt x="54434" y="27428"/>
                  <a:pt x="54512" y="27397"/>
                </a:cubicBezTo>
                <a:lnTo>
                  <a:pt x="55090" y="27131"/>
                </a:lnTo>
                <a:cubicBezTo>
                  <a:pt x="55528" y="26943"/>
                  <a:pt x="55981" y="26349"/>
                  <a:pt x="56201" y="25895"/>
                </a:cubicBezTo>
                <a:lnTo>
                  <a:pt x="56357" y="25567"/>
                </a:lnTo>
                <a:lnTo>
                  <a:pt x="56435" y="25567"/>
                </a:lnTo>
                <a:lnTo>
                  <a:pt x="56498" y="25567"/>
                </a:lnTo>
                <a:cubicBezTo>
                  <a:pt x="56686" y="25520"/>
                  <a:pt x="56826" y="25332"/>
                  <a:pt x="56779" y="25145"/>
                </a:cubicBezTo>
                <a:cubicBezTo>
                  <a:pt x="56764" y="25035"/>
                  <a:pt x="56732" y="24910"/>
                  <a:pt x="56701" y="24785"/>
                </a:cubicBezTo>
                <a:lnTo>
                  <a:pt x="58968" y="19906"/>
                </a:lnTo>
                <a:cubicBezTo>
                  <a:pt x="60579" y="19156"/>
                  <a:pt x="61783" y="18546"/>
                  <a:pt x="62628" y="18061"/>
                </a:cubicBezTo>
                <a:cubicBezTo>
                  <a:pt x="63175" y="17764"/>
                  <a:pt x="63566" y="17514"/>
                  <a:pt x="63832" y="17311"/>
                </a:cubicBezTo>
                <a:cubicBezTo>
                  <a:pt x="63988" y="17170"/>
                  <a:pt x="64457" y="16810"/>
                  <a:pt x="64269" y="16403"/>
                </a:cubicBezTo>
                <a:cubicBezTo>
                  <a:pt x="64050" y="15919"/>
                  <a:pt x="63441" y="15512"/>
                  <a:pt x="62690" y="15325"/>
                </a:cubicBezTo>
                <a:cubicBezTo>
                  <a:pt x="62065" y="15168"/>
                  <a:pt x="61048" y="15106"/>
                  <a:pt x="59828" y="15653"/>
                </a:cubicBezTo>
                <a:cubicBezTo>
                  <a:pt x="59781" y="15669"/>
                  <a:pt x="58062" y="16435"/>
                  <a:pt x="56013" y="17342"/>
                </a:cubicBezTo>
                <a:cubicBezTo>
                  <a:pt x="53464" y="16576"/>
                  <a:pt x="54313" y="16831"/>
                  <a:pt x="53464" y="16576"/>
                </a:cubicBezTo>
                <a:cubicBezTo>
                  <a:pt x="53464" y="16513"/>
                  <a:pt x="53449" y="16466"/>
                  <a:pt x="53417" y="16419"/>
                </a:cubicBezTo>
                <a:cubicBezTo>
                  <a:pt x="53354" y="16325"/>
                  <a:pt x="53292" y="16232"/>
                  <a:pt x="53245" y="16138"/>
                </a:cubicBezTo>
                <a:cubicBezTo>
                  <a:pt x="53136" y="15982"/>
                  <a:pt x="52917" y="15935"/>
                  <a:pt x="52745" y="16028"/>
                </a:cubicBezTo>
                <a:cubicBezTo>
                  <a:pt x="52651" y="16091"/>
                  <a:pt x="52588" y="16200"/>
                  <a:pt x="52588" y="16294"/>
                </a:cubicBezTo>
                <a:close/>
                <a:moveTo>
                  <a:pt x="60110" y="16310"/>
                </a:moveTo>
                <a:cubicBezTo>
                  <a:pt x="61158" y="15841"/>
                  <a:pt x="62002" y="15888"/>
                  <a:pt x="62518" y="16013"/>
                </a:cubicBezTo>
                <a:cubicBezTo>
                  <a:pt x="63049" y="16153"/>
                  <a:pt x="63394" y="16388"/>
                  <a:pt x="63550" y="16591"/>
                </a:cubicBezTo>
                <a:cubicBezTo>
                  <a:pt x="63441" y="16716"/>
                  <a:pt x="63081" y="17013"/>
                  <a:pt x="62002" y="17608"/>
                </a:cubicBezTo>
                <a:cubicBezTo>
                  <a:pt x="61158" y="18061"/>
                  <a:pt x="60032" y="18624"/>
                  <a:pt x="58546" y="19312"/>
                </a:cubicBezTo>
                <a:cubicBezTo>
                  <a:pt x="58468" y="19359"/>
                  <a:pt x="58405" y="19422"/>
                  <a:pt x="58374" y="19484"/>
                </a:cubicBezTo>
                <a:lnTo>
                  <a:pt x="55544" y="25598"/>
                </a:lnTo>
                <a:cubicBezTo>
                  <a:pt x="55356" y="25989"/>
                  <a:pt x="54997" y="26396"/>
                  <a:pt x="54809" y="26490"/>
                </a:cubicBezTo>
                <a:cubicBezTo>
                  <a:pt x="54543" y="26599"/>
                  <a:pt x="54631" y="26563"/>
                  <a:pt x="54543" y="26599"/>
                </a:cubicBezTo>
                <a:cubicBezTo>
                  <a:pt x="54548" y="26594"/>
                  <a:pt x="54543" y="26583"/>
                  <a:pt x="54559" y="26583"/>
                </a:cubicBezTo>
                <a:lnTo>
                  <a:pt x="54559" y="26552"/>
                </a:lnTo>
                <a:lnTo>
                  <a:pt x="55544" y="21298"/>
                </a:lnTo>
                <a:cubicBezTo>
                  <a:pt x="55575" y="21173"/>
                  <a:pt x="55513" y="21032"/>
                  <a:pt x="55419" y="20954"/>
                </a:cubicBezTo>
                <a:cubicBezTo>
                  <a:pt x="55356" y="20907"/>
                  <a:pt x="55278" y="20876"/>
                  <a:pt x="55200" y="20876"/>
                </a:cubicBezTo>
                <a:cubicBezTo>
                  <a:pt x="55137" y="20876"/>
                  <a:pt x="55090" y="20891"/>
                  <a:pt x="55043" y="20907"/>
                </a:cubicBezTo>
                <a:cubicBezTo>
                  <a:pt x="54793" y="21017"/>
                  <a:pt x="54543" y="21126"/>
                  <a:pt x="54293" y="21236"/>
                </a:cubicBezTo>
                <a:lnTo>
                  <a:pt x="53902" y="21407"/>
                </a:lnTo>
                <a:cubicBezTo>
                  <a:pt x="52072" y="22236"/>
                  <a:pt x="50509" y="22752"/>
                  <a:pt x="49398" y="22909"/>
                </a:cubicBezTo>
                <a:cubicBezTo>
                  <a:pt x="48523" y="23018"/>
                  <a:pt x="47929" y="22909"/>
                  <a:pt x="47788" y="22596"/>
                </a:cubicBezTo>
                <a:cubicBezTo>
                  <a:pt x="47679" y="22346"/>
                  <a:pt x="47506" y="21955"/>
                  <a:pt x="47319" y="21532"/>
                </a:cubicBezTo>
                <a:cubicBezTo>
                  <a:pt x="46990" y="20813"/>
                  <a:pt x="46631" y="20000"/>
                  <a:pt x="46474" y="19656"/>
                </a:cubicBezTo>
                <a:lnTo>
                  <a:pt x="46474" y="19625"/>
                </a:lnTo>
                <a:cubicBezTo>
                  <a:pt x="46490" y="19609"/>
                  <a:pt x="46568" y="19578"/>
                  <a:pt x="46678" y="19562"/>
                </a:cubicBezTo>
                <a:cubicBezTo>
                  <a:pt x="46803" y="19562"/>
                  <a:pt x="46912" y="19593"/>
                  <a:pt x="46959" y="19625"/>
                </a:cubicBezTo>
                <a:cubicBezTo>
                  <a:pt x="47194" y="19797"/>
                  <a:pt x="47897" y="20329"/>
                  <a:pt x="48429" y="20719"/>
                </a:cubicBezTo>
                <a:cubicBezTo>
                  <a:pt x="48710" y="20923"/>
                  <a:pt x="49101" y="21220"/>
                  <a:pt x="49618" y="20986"/>
                </a:cubicBezTo>
                <a:cubicBezTo>
                  <a:pt x="49727" y="20938"/>
                  <a:pt x="51322" y="20219"/>
                  <a:pt x="53245" y="19375"/>
                </a:cubicBezTo>
                <a:cubicBezTo>
                  <a:pt x="53261" y="19359"/>
                  <a:pt x="53292" y="19343"/>
                  <a:pt x="53323" y="19328"/>
                </a:cubicBezTo>
                <a:cubicBezTo>
                  <a:pt x="56326" y="17999"/>
                  <a:pt x="60047" y="16325"/>
                  <a:pt x="60110" y="16310"/>
                </a:cubicBezTo>
                <a:close/>
                <a:moveTo>
                  <a:pt x="55012" y="17796"/>
                </a:moveTo>
                <a:cubicBezTo>
                  <a:pt x="54402" y="18077"/>
                  <a:pt x="53761" y="18358"/>
                  <a:pt x="53151" y="18624"/>
                </a:cubicBezTo>
                <a:lnTo>
                  <a:pt x="50227" y="16841"/>
                </a:lnTo>
                <a:lnTo>
                  <a:pt x="50211" y="16841"/>
                </a:lnTo>
                <a:cubicBezTo>
                  <a:pt x="50196" y="16826"/>
                  <a:pt x="50196" y="16826"/>
                  <a:pt x="50180" y="16826"/>
                </a:cubicBezTo>
                <a:lnTo>
                  <a:pt x="50446" y="16716"/>
                </a:lnTo>
                <a:cubicBezTo>
                  <a:pt x="50649" y="16623"/>
                  <a:pt x="51181" y="16623"/>
                  <a:pt x="51603" y="16748"/>
                </a:cubicBezTo>
                <a:close/>
                <a:moveTo>
                  <a:pt x="48069" y="11196"/>
                </a:moveTo>
                <a:cubicBezTo>
                  <a:pt x="48179" y="11306"/>
                  <a:pt x="48304" y="11416"/>
                  <a:pt x="48413" y="11509"/>
                </a:cubicBezTo>
                <a:cubicBezTo>
                  <a:pt x="48476" y="11572"/>
                  <a:pt x="48570" y="11603"/>
                  <a:pt x="48648" y="11603"/>
                </a:cubicBezTo>
                <a:cubicBezTo>
                  <a:pt x="48757" y="11603"/>
                  <a:pt x="48851" y="11572"/>
                  <a:pt x="48913" y="11494"/>
                </a:cubicBezTo>
                <a:cubicBezTo>
                  <a:pt x="49055" y="11337"/>
                  <a:pt x="49039" y="11118"/>
                  <a:pt x="48898" y="10993"/>
                </a:cubicBezTo>
                <a:cubicBezTo>
                  <a:pt x="48773" y="10884"/>
                  <a:pt x="48648" y="10774"/>
                  <a:pt x="48538" y="10665"/>
                </a:cubicBezTo>
                <a:cubicBezTo>
                  <a:pt x="48382" y="10540"/>
                  <a:pt x="48163" y="10555"/>
                  <a:pt x="48022" y="10696"/>
                </a:cubicBezTo>
                <a:cubicBezTo>
                  <a:pt x="47897" y="10853"/>
                  <a:pt x="47913" y="11071"/>
                  <a:pt x="48069" y="11196"/>
                </a:cubicBezTo>
                <a:close/>
                <a:moveTo>
                  <a:pt x="46974" y="10305"/>
                </a:moveTo>
                <a:cubicBezTo>
                  <a:pt x="47100" y="10399"/>
                  <a:pt x="47225" y="10493"/>
                  <a:pt x="47350" y="10602"/>
                </a:cubicBezTo>
                <a:cubicBezTo>
                  <a:pt x="47412" y="10649"/>
                  <a:pt x="47491" y="10680"/>
                  <a:pt x="47569" y="10680"/>
                </a:cubicBezTo>
                <a:cubicBezTo>
                  <a:pt x="47679" y="10680"/>
                  <a:pt x="47772" y="10633"/>
                  <a:pt x="47850" y="10540"/>
                </a:cubicBezTo>
                <a:cubicBezTo>
                  <a:pt x="47975" y="10383"/>
                  <a:pt x="47944" y="10165"/>
                  <a:pt x="47804" y="10039"/>
                </a:cubicBezTo>
                <a:cubicBezTo>
                  <a:pt x="47679" y="9945"/>
                  <a:pt x="47537" y="9836"/>
                  <a:pt x="47412" y="9742"/>
                </a:cubicBezTo>
                <a:cubicBezTo>
                  <a:pt x="47256" y="9617"/>
                  <a:pt x="47037" y="9648"/>
                  <a:pt x="46912" y="9805"/>
                </a:cubicBezTo>
                <a:cubicBezTo>
                  <a:pt x="46787" y="9961"/>
                  <a:pt x="46818" y="10180"/>
                  <a:pt x="46974" y="10305"/>
                </a:cubicBezTo>
                <a:close/>
                <a:moveTo>
                  <a:pt x="49101" y="12166"/>
                </a:moveTo>
                <a:cubicBezTo>
                  <a:pt x="49211" y="12275"/>
                  <a:pt x="49320" y="12385"/>
                  <a:pt x="49430" y="12494"/>
                </a:cubicBezTo>
                <a:cubicBezTo>
                  <a:pt x="49492" y="12557"/>
                  <a:pt x="49586" y="12604"/>
                  <a:pt x="49680" y="12604"/>
                </a:cubicBezTo>
                <a:cubicBezTo>
                  <a:pt x="49774" y="12604"/>
                  <a:pt x="49868" y="12572"/>
                  <a:pt x="49930" y="12494"/>
                </a:cubicBezTo>
                <a:cubicBezTo>
                  <a:pt x="50071" y="12354"/>
                  <a:pt x="50071" y="12135"/>
                  <a:pt x="49930" y="11994"/>
                </a:cubicBezTo>
                <a:cubicBezTo>
                  <a:pt x="49821" y="11884"/>
                  <a:pt x="49711" y="11759"/>
                  <a:pt x="49602" y="11650"/>
                </a:cubicBezTo>
                <a:cubicBezTo>
                  <a:pt x="49461" y="11509"/>
                  <a:pt x="49226" y="11509"/>
                  <a:pt x="49086" y="11650"/>
                </a:cubicBezTo>
                <a:cubicBezTo>
                  <a:pt x="48945" y="11791"/>
                  <a:pt x="48961" y="12025"/>
                  <a:pt x="49101" y="12166"/>
                </a:cubicBezTo>
                <a:close/>
                <a:moveTo>
                  <a:pt x="45755" y="8976"/>
                </a:moveTo>
                <a:cubicBezTo>
                  <a:pt x="45645" y="9132"/>
                  <a:pt x="45677" y="9351"/>
                  <a:pt x="45849" y="9461"/>
                </a:cubicBezTo>
                <a:cubicBezTo>
                  <a:pt x="45974" y="9555"/>
                  <a:pt x="46099" y="9648"/>
                  <a:pt x="46224" y="9742"/>
                </a:cubicBezTo>
                <a:cubicBezTo>
                  <a:pt x="46286" y="9789"/>
                  <a:pt x="46365" y="9805"/>
                  <a:pt x="46443" y="9805"/>
                </a:cubicBezTo>
                <a:cubicBezTo>
                  <a:pt x="46553" y="9805"/>
                  <a:pt x="46662" y="9758"/>
                  <a:pt x="46724" y="9664"/>
                </a:cubicBezTo>
                <a:cubicBezTo>
                  <a:pt x="46834" y="9492"/>
                  <a:pt x="46803" y="9273"/>
                  <a:pt x="46646" y="9164"/>
                </a:cubicBezTo>
                <a:cubicBezTo>
                  <a:pt x="46521" y="9070"/>
                  <a:pt x="46381" y="8976"/>
                  <a:pt x="46255" y="8882"/>
                </a:cubicBezTo>
                <a:cubicBezTo>
                  <a:pt x="46083" y="8772"/>
                  <a:pt x="45865" y="8804"/>
                  <a:pt x="45755" y="8976"/>
                </a:cubicBezTo>
                <a:close/>
                <a:moveTo>
                  <a:pt x="50071" y="13182"/>
                </a:moveTo>
                <a:cubicBezTo>
                  <a:pt x="50180" y="13292"/>
                  <a:pt x="50290" y="13401"/>
                  <a:pt x="50384" y="13526"/>
                </a:cubicBezTo>
                <a:cubicBezTo>
                  <a:pt x="50462" y="13605"/>
                  <a:pt x="50556" y="13651"/>
                  <a:pt x="50649" y="13651"/>
                </a:cubicBezTo>
                <a:cubicBezTo>
                  <a:pt x="50743" y="13651"/>
                  <a:pt x="50821" y="13620"/>
                  <a:pt x="50884" y="13558"/>
                </a:cubicBezTo>
                <a:cubicBezTo>
                  <a:pt x="51040" y="13433"/>
                  <a:pt x="51056" y="13198"/>
                  <a:pt x="50915" y="13057"/>
                </a:cubicBezTo>
                <a:cubicBezTo>
                  <a:pt x="50821" y="12932"/>
                  <a:pt x="50712" y="12807"/>
                  <a:pt x="50602" y="12698"/>
                </a:cubicBezTo>
                <a:cubicBezTo>
                  <a:pt x="50462" y="12541"/>
                  <a:pt x="50243" y="12541"/>
                  <a:pt x="50102" y="12667"/>
                </a:cubicBezTo>
                <a:cubicBezTo>
                  <a:pt x="49946" y="12807"/>
                  <a:pt x="49946" y="13026"/>
                  <a:pt x="50071" y="13182"/>
                </a:cubicBezTo>
                <a:close/>
                <a:moveTo>
                  <a:pt x="51853" y="15356"/>
                </a:moveTo>
                <a:cubicBezTo>
                  <a:pt x="51932" y="15481"/>
                  <a:pt x="52025" y="15622"/>
                  <a:pt x="52119" y="15747"/>
                </a:cubicBezTo>
                <a:cubicBezTo>
                  <a:pt x="52182" y="15841"/>
                  <a:pt x="52307" y="15903"/>
                  <a:pt x="52416" y="15903"/>
                </a:cubicBezTo>
                <a:cubicBezTo>
                  <a:pt x="52479" y="15903"/>
                  <a:pt x="52557" y="15872"/>
                  <a:pt x="52620" y="15841"/>
                </a:cubicBezTo>
                <a:cubicBezTo>
                  <a:pt x="52776" y="15715"/>
                  <a:pt x="52823" y="15497"/>
                  <a:pt x="52713" y="15340"/>
                </a:cubicBezTo>
                <a:cubicBezTo>
                  <a:pt x="52620" y="15200"/>
                  <a:pt x="52526" y="15074"/>
                  <a:pt x="52432" y="14949"/>
                </a:cubicBezTo>
                <a:cubicBezTo>
                  <a:pt x="52307" y="14777"/>
                  <a:pt x="52088" y="14746"/>
                  <a:pt x="51932" y="14856"/>
                </a:cubicBezTo>
                <a:cubicBezTo>
                  <a:pt x="51775" y="14981"/>
                  <a:pt x="51728" y="15200"/>
                  <a:pt x="51853" y="15356"/>
                </a:cubicBezTo>
                <a:close/>
                <a:moveTo>
                  <a:pt x="50994" y="14246"/>
                </a:moveTo>
                <a:cubicBezTo>
                  <a:pt x="51087" y="14371"/>
                  <a:pt x="51181" y="14496"/>
                  <a:pt x="51290" y="14606"/>
                </a:cubicBezTo>
                <a:cubicBezTo>
                  <a:pt x="51353" y="14699"/>
                  <a:pt x="51462" y="14746"/>
                  <a:pt x="51572" y="14746"/>
                </a:cubicBezTo>
                <a:cubicBezTo>
                  <a:pt x="51635" y="14746"/>
                  <a:pt x="51713" y="14731"/>
                  <a:pt x="51791" y="14668"/>
                </a:cubicBezTo>
                <a:cubicBezTo>
                  <a:pt x="51947" y="14559"/>
                  <a:pt x="51963" y="14324"/>
                  <a:pt x="51853" y="14168"/>
                </a:cubicBezTo>
                <a:cubicBezTo>
                  <a:pt x="51744" y="14043"/>
                  <a:pt x="51650" y="13918"/>
                  <a:pt x="51541" y="13792"/>
                </a:cubicBezTo>
                <a:cubicBezTo>
                  <a:pt x="51415" y="13636"/>
                  <a:pt x="51197" y="13620"/>
                  <a:pt x="51040" y="13745"/>
                </a:cubicBezTo>
                <a:cubicBezTo>
                  <a:pt x="50884" y="13870"/>
                  <a:pt x="50869" y="14089"/>
                  <a:pt x="50994" y="14246"/>
                </a:cubicBezTo>
                <a:close/>
                <a:moveTo>
                  <a:pt x="24973" y="37279"/>
                </a:moveTo>
                <a:lnTo>
                  <a:pt x="25020" y="37279"/>
                </a:lnTo>
                <a:cubicBezTo>
                  <a:pt x="26912" y="37248"/>
                  <a:pt x="30353" y="37279"/>
                  <a:pt x="30384" y="37279"/>
                </a:cubicBezTo>
                <a:lnTo>
                  <a:pt x="30415" y="37279"/>
                </a:lnTo>
                <a:cubicBezTo>
                  <a:pt x="30431" y="37279"/>
                  <a:pt x="31009" y="37232"/>
                  <a:pt x="31572" y="36966"/>
                </a:cubicBezTo>
                <a:cubicBezTo>
                  <a:pt x="31916" y="36794"/>
                  <a:pt x="32197" y="36591"/>
                  <a:pt x="32401" y="36325"/>
                </a:cubicBezTo>
                <a:cubicBezTo>
                  <a:pt x="32667" y="35997"/>
                  <a:pt x="32807" y="35606"/>
                  <a:pt x="32807" y="35153"/>
                </a:cubicBezTo>
                <a:cubicBezTo>
                  <a:pt x="32792" y="33589"/>
                  <a:pt x="32807" y="33840"/>
                  <a:pt x="32807" y="33183"/>
                </a:cubicBezTo>
                <a:cubicBezTo>
                  <a:pt x="32807" y="33073"/>
                  <a:pt x="32760" y="32979"/>
                  <a:pt x="32698" y="32916"/>
                </a:cubicBezTo>
                <a:lnTo>
                  <a:pt x="31416" y="31650"/>
                </a:lnTo>
                <a:cubicBezTo>
                  <a:pt x="31509" y="31494"/>
                  <a:pt x="31556" y="31306"/>
                  <a:pt x="31556" y="31118"/>
                </a:cubicBezTo>
                <a:cubicBezTo>
                  <a:pt x="31556" y="30477"/>
                  <a:pt x="31025" y="29946"/>
                  <a:pt x="30384" y="29946"/>
                </a:cubicBezTo>
                <a:cubicBezTo>
                  <a:pt x="29743" y="29946"/>
                  <a:pt x="29227" y="30477"/>
                  <a:pt x="29227" y="31118"/>
                </a:cubicBezTo>
                <a:cubicBezTo>
                  <a:pt x="29227" y="31759"/>
                  <a:pt x="29743" y="32275"/>
                  <a:pt x="30384" y="32275"/>
                </a:cubicBezTo>
                <a:cubicBezTo>
                  <a:pt x="30571" y="32275"/>
                  <a:pt x="30759" y="32228"/>
                  <a:pt x="30915" y="32150"/>
                </a:cubicBezTo>
                <a:cubicBezTo>
                  <a:pt x="32088" y="33308"/>
                  <a:pt x="31697" y="32922"/>
                  <a:pt x="32088" y="33308"/>
                </a:cubicBezTo>
                <a:cubicBezTo>
                  <a:pt x="32088" y="33542"/>
                  <a:pt x="32072" y="34074"/>
                  <a:pt x="32088" y="35168"/>
                </a:cubicBezTo>
                <a:cubicBezTo>
                  <a:pt x="32088" y="35668"/>
                  <a:pt x="31822" y="36044"/>
                  <a:pt x="31291" y="36310"/>
                </a:cubicBezTo>
                <a:cubicBezTo>
                  <a:pt x="30868" y="36498"/>
                  <a:pt x="30446" y="36560"/>
                  <a:pt x="30368" y="36560"/>
                </a:cubicBezTo>
                <a:cubicBezTo>
                  <a:pt x="30086" y="36560"/>
                  <a:pt x="26834" y="36544"/>
                  <a:pt x="25004" y="36560"/>
                </a:cubicBezTo>
                <a:cubicBezTo>
                  <a:pt x="24348" y="36576"/>
                  <a:pt x="23894" y="36294"/>
                  <a:pt x="23613" y="35700"/>
                </a:cubicBezTo>
                <a:cubicBezTo>
                  <a:pt x="23503" y="35481"/>
                  <a:pt x="23441" y="35262"/>
                  <a:pt x="23410" y="35090"/>
                </a:cubicBezTo>
                <a:lnTo>
                  <a:pt x="27413" y="35090"/>
                </a:lnTo>
                <a:cubicBezTo>
                  <a:pt x="27569" y="35559"/>
                  <a:pt x="28007" y="35903"/>
                  <a:pt x="28523" y="35903"/>
                </a:cubicBezTo>
                <a:cubicBezTo>
                  <a:pt x="29164" y="35903"/>
                  <a:pt x="29696" y="35387"/>
                  <a:pt x="29696" y="34730"/>
                </a:cubicBezTo>
                <a:cubicBezTo>
                  <a:pt x="29696" y="34089"/>
                  <a:pt x="29164" y="33573"/>
                  <a:pt x="28523" y="33573"/>
                </a:cubicBezTo>
                <a:cubicBezTo>
                  <a:pt x="28007" y="33573"/>
                  <a:pt x="27569" y="33917"/>
                  <a:pt x="27413" y="34386"/>
                </a:cubicBezTo>
                <a:lnTo>
                  <a:pt x="22987" y="34386"/>
                </a:lnTo>
                <a:lnTo>
                  <a:pt x="22972" y="34386"/>
                </a:lnTo>
                <a:cubicBezTo>
                  <a:pt x="22956" y="34386"/>
                  <a:pt x="22961" y="34386"/>
                  <a:pt x="22956" y="34386"/>
                </a:cubicBezTo>
                <a:lnTo>
                  <a:pt x="22940" y="34386"/>
                </a:lnTo>
                <a:cubicBezTo>
                  <a:pt x="22591" y="34355"/>
                  <a:pt x="22455" y="34449"/>
                  <a:pt x="21892" y="34292"/>
                </a:cubicBezTo>
                <a:cubicBezTo>
                  <a:pt x="21549" y="34199"/>
                  <a:pt x="20939" y="33839"/>
                  <a:pt x="20157" y="33370"/>
                </a:cubicBezTo>
                <a:cubicBezTo>
                  <a:pt x="19813" y="33167"/>
                  <a:pt x="19438" y="32948"/>
                  <a:pt x="19015" y="32713"/>
                </a:cubicBezTo>
                <a:cubicBezTo>
                  <a:pt x="18296" y="32291"/>
                  <a:pt x="18030" y="31790"/>
                  <a:pt x="17936" y="31462"/>
                </a:cubicBezTo>
                <a:lnTo>
                  <a:pt x="22690" y="31462"/>
                </a:lnTo>
                <a:cubicBezTo>
                  <a:pt x="22847" y="31932"/>
                  <a:pt x="23285" y="32275"/>
                  <a:pt x="23800" y="32275"/>
                </a:cubicBezTo>
                <a:cubicBezTo>
                  <a:pt x="24441" y="32275"/>
                  <a:pt x="24973" y="31744"/>
                  <a:pt x="24973" y="31102"/>
                </a:cubicBezTo>
                <a:cubicBezTo>
                  <a:pt x="24973" y="30461"/>
                  <a:pt x="24441" y="29946"/>
                  <a:pt x="23800" y="29946"/>
                </a:cubicBezTo>
                <a:cubicBezTo>
                  <a:pt x="23285" y="29946"/>
                  <a:pt x="22847" y="30289"/>
                  <a:pt x="22690" y="30759"/>
                </a:cubicBezTo>
                <a:lnTo>
                  <a:pt x="17639" y="30759"/>
                </a:lnTo>
                <a:cubicBezTo>
                  <a:pt x="17248" y="30493"/>
                  <a:pt x="17030" y="30133"/>
                  <a:pt x="16951" y="29680"/>
                </a:cubicBezTo>
                <a:cubicBezTo>
                  <a:pt x="16889" y="29288"/>
                  <a:pt x="16951" y="28913"/>
                  <a:pt x="16983" y="28742"/>
                </a:cubicBezTo>
                <a:cubicBezTo>
                  <a:pt x="16998" y="28710"/>
                  <a:pt x="16998" y="28695"/>
                  <a:pt x="16998" y="28679"/>
                </a:cubicBezTo>
                <a:cubicBezTo>
                  <a:pt x="17092" y="28350"/>
                  <a:pt x="18374" y="25864"/>
                  <a:pt x="19000" y="24942"/>
                </a:cubicBezTo>
                <a:cubicBezTo>
                  <a:pt x="19156" y="24707"/>
                  <a:pt x="19422" y="24597"/>
                  <a:pt x="19703" y="24566"/>
                </a:cubicBezTo>
                <a:cubicBezTo>
                  <a:pt x="19641" y="25567"/>
                  <a:pt x="19610" y="27068"/>
                  <a:pt x="19610" y="27694"/>
                </a:cubicBezTo>
                <a:cubicBezTo>
                  <a:pt x="19140" y="27850"/>
                  <a:pt x="18797" y="28288"/>
                  <a:pt x="18797" y="28804"/>
                </a:cubicBezTo>
                <a:cubicBezTo>
                  <a:pt x="18797" y="29461"/>
                  <a:pt x="19312" y="29977"/>
                  <a:pt x="19953" y="29977"/>
                </a:cubicBezTo>
                <a:cubicBezTo>
                  <a:pt x="20595" y="29977"/>
                  <a:pt x="21126" y="29461"/>
                  <a:pt x="21126" y="28804"/>
                </a:cubicBezTo>
                <a:cubicBezTo>
                  <a:pt x="21126" y="28288"/>
                  <a:pt x="20783" y="27850"/>
                  <a:pt x="20313" y="27709"/>
                </a:cubicBezTo>
                <a:cubicBezTo>
                  <a:pt x="20329" y="27068"/>
                  <a:pt x="20360" y="25583"/>
                  <a:pt x="20423" y="24613"/>
                </a:cubicBezTo>
                <a:cubicBezTo>
                  <a:pt x="20657" y="24660"/>
                  <a:pt x="20861" y="24722"/>
                  <a:pt x="20986" y="24769"/>
                </a:cubicBezTo>
                <a:cubicBezTo>
                  <a:pt x="21361" y="25035"/>
                  <a:pt x="23988" y="27725"/>
                  <a:pt x="25692" y="29508"/>
                </a:cubicBezTo>
                <a:cubicBezTo>
                  <a:pt x="25630" y="29648"/>
                  <a:pt x="25599" y="29805"/>
                  <a:pt x="25599" y="29977"/>
                </a:cubicBezTo>
                <a:cubicBezTo>
                  <a:pt x="25599" y="30618"/>
                  <a:pt x="26115" y="31149"/>
                  <a:pt x="26756" y="31149"/>
                </a:cubicBezTo>
                <a:cubicBezTo>
                  <a:pt x="27397" y="31149"/>
                  <a:pt x="27929" y="30618"/>
                  <a:pt x="27929" y="29977"/>
                </a:cubicBezTo>
                <a:cubicBezTo>
                  <a:pt x="27929" y="29336"/>
                  <a:pt x="27397" y="28820"/>
                  <a:pt x="26756" y="28820"/>
                </a:cubicBezTo>
                <a:cubicBezTo>
                  <a:pt x="26553" y="28820"/>
                  <a:pt x="26349" y="28867"/>
                  <a:pt x="26177" y="28976"/>
                </a:cubicBezTo>
                <a:cubicBezTo>
                  <a:pt x="25786" y="28554"/>
                  <a:pt x="24911" y="27647"/>
                  <a:pt x="24019" y="26740"/>
                </a:cubicBezTo>
                <a:cubicBezTo>
                  <a:pt x="21533" y="24207"/>
                  <a:pt x="21377" y="24144"/>
                  <a:pt x="21251" y="24097"/>
                </a:cubicBezTo>
                <a:cubicBezTo>
                  <a:pt x="21001" y="24019"/>
                  <a:pt x="20751" y="23941"/>
                  <a:pt x="20501" y="23909"/>
                </a:cubicBezTo>
                <a:cubicBezTo>
                  <a:pt x="20736" y="23018"/>
                  <a:pt x="21705" y="22440"/>
                  <a:pt x="22784" y="21908"/>
                </a:cubicBezTo>
                <a:lnTo>
                  <a:pt x="26709" y="25848"/>
                </a:lnTo>
                <a:cubicBezTo>
                  <a:pt x="26631" y="25989"/>
                  <a:pt x="26600" y="26161"/>
                  <a:pt x="26600" y="26333"/>
                </a:cubicBezTo>
                <a:cubicBezTo>
                  <a:pt x="26600" y="26974"/>
                  <a:pt x="27116" y="27491"/>
                  <a:pt x="27772" y="27491"/>
                </a:cubicBezTo>
                <a:cubicBezTo>
                  <a:pt x="28414" y="27491"/>
                  <a:pt x="28929" y="26974"/>
                  <a:pt x="28929" y="26333"/>
                </a:cubicBezTo>
                <a:cubicBezTo>
                  <a:pt x="28929" y="25677"/>
                  <a:pt x="28414" y="25160"/>
                  <a:pt x="27772" y="25160"/>
                </a:cubicBezTo>
                <a:cubicBezTo>
                  <a:pt x="27553" y="25160"/>
                  <a:pt x="27350" y="25223"/>
                  <a:pt x="27178" y="25317"/>
                </a:cubicBezTo>
                <a:lnTo>
                  <a:pt x="23488" y="21595"/>
                </a:lnTo>
                <a:cubicBezTo>
                  <a:pt x="24176" y="21314"/>
                  <a:pt x="25270" y="20954"/>
                  <a:pt x="26396" y="20594"/>
                </a:cubicBezTo>
                <a:lnTo>
                  <a:pt x="28288" y="22533"/>
                </a:lnTo>
                <a:cubicBezTo>
                  <a:pt x="28194" y="22705"/>
                  <a:pt x="28132" y="22909"/>
                  <a:pt x="28132" y="23128"/>
                </a:cubicBezTo>
                <a:cubicBezTo>
                  <a:pt x="28132" y="23769"/>
                  <a:pt x="28664" y="24285"/>
                  <a:pt x="29305" y="24285"/>
                </a:cubicBezTo>
                <a:cubicBezTo>
                  <a:pt x="29946" y="24285"/>
                  <a:pt x="30462" y="23769"/>
                  <a:pt x="30462" y="23128"/>
                </a:cubicBezTo>
                <a:cubicBezTo>
                  <a:pt x="30462" y="22487"/>
                  <a:pt x="29946" y="21955"/>
                  <a:pt x="29305" y="21955"/>
                </a:cubicBezTo>
                <a:cubicBezTo>
                  <a:pt x="29133" y="21955"/>
                  <a:pt x="28976" y="21986"/>
                  <a:pt x="28835" y="22064"/>
                </a:cubicBezTo>
                <a:lnTo>
                  <a:pt x="27163" y="20360"/>
                </a:lnTo>
                <a:cubicBezTo>
                  <a:pt x="28382" y="19985"/>
                  <a:pt x="29570" y="19672"/>
                  <a:pt x="30227" y="19578"/>
                </a:cubicBezTo>
                <a:lnTo>
                  <a:pt x="31275" y="20954"/>
                </a:lnTo>
                <a:lnTo>
                  <a:pt x="31275" y="26693"/>
                </a:lnTo>
                <a:cubicBezTo>
                  <a:pt x="30806" y="26834"/>
                  <a:pt x="30462" y="27271"/>
                  <a:pt x="30462" y="27787"/>
                </a:cubicBezTo>
                <a:cubicBezTo>
                  <a:pt x="30462" y="28444"/>
                  <a:pt x="30994" y="28960"/>
                  <a:pt x="31635" y="28960"/>
                </a:cubicBezTo>
                <a:cubicBezTo>
                  <a:pt x="32276" y="28960"/>
                  <a:pt x="32807" y="28444"/>
                  <a:pt x="32807" y="27787"/>
                </a:cubicBezTo>
                <a:cubicBezTo>
                  <a:pt x="32807" y="27271"/>
                  <a:pt x="32463" y="26834"/>
                  <a:pt x="31994" y="26693"/>
                </a:cubicBezTo>
                <a:lnTo>
                  <a:pt x="31994" y="20829"/>
                </a:lnTo>
                <a:cubicBezTo>
                  <a:pt x="31994" y="20751"/>
                  <a:pt x="31963" y="20673"/>
                  <a:pt x="31916" y="20610"/>
                </a:cubicBezTo>
                <a:lnTo>
                  <a:pt x="31119" y="19562"/>
                </a:lnTo>
                <a:cubicBezTo>
                  <a:pt x="32010" y="19640"/>
                  <a:pt x="32807" y="19953"/>
                  <a:pt x="33339" y="20469"/>
                </a:cubicBezTo>
                <a:cubicBezTo>
                  <a:pt x="33668" y="20782"/>
                  <a:pt x="33855" y="21142"/>
                  <a:pt x="33855" y="21423"/>
                </a:cubicBezTo>
                <a:lnTo>
                  <a:pt x="33855" y="40610"/>
                </a:lnTo>
                <a:cubicBezTo>
                  <a:pt x="33386" y="40766"/>
                  <a:pt x="33042" y="41204"/>
                  <a:pt x="33042" y="41720"/>
                </a:cubicBezTo>
                <a:cubicBezTo>
                  <a:pt x="33042" y="42377"/>
                  <a:pt x="33574" y="42893"/>
                  <a:pt x="34215" y="42893"/>
                </a:cubicBezTo>
                <a:cubicBezTo>
                  <a:pt x="34856" y="42893"/>
                  <a:pt x="35372" y="42377"/>
                  <a:pt x="35372" y="41720"/>
                </a:cubicBezTo>
                <a:cubicBezTo>
                  <a:pt x="35372" y="41204"/>
                  <a:pt x="35044" y="40766"/>
                  <a:pt x="34574" y="40610"/>
                </a:cubicBezTo>
                <a:lnTo>
                  <a:pt x="34574" y="21423"/>
                </a:lnTo>
                <a:cubicBezTo>
                  <a:pt x="34574" y="21157"/>
                  <a:pt x="34481" y="20876"/>
                  <a:pt x="34324" y="20594"/>
                </a:cubicBezTo>
                <a:cubicBezTo>
                  <a:pt x="34387" y="20516"/>
                  <a:pt x="34465" y="20438"/>
                  <a:pt x="34574" y="20376"/>
                </a:cubicBezTo>
                <a:cubicBezTo>
                  <a:pt x="34950" y="20156"/>
                  <a:pt x="35466" y="20172"/>
                  <a:pt x="36075" y="20423"/>
                </a:cubicBezTo>
                <a:cubicBezTo>
                  <a:pt x="36560" y="20626"/>
                  <a:pt x="37108" y="20891"/>
                  <a:pt x="37733" y="21251"/>
                </a:cubicBezTo>
                <a:lnTo>
                  <a:pt x="36685" y="23081"/>
                </a:lnTo>
                <a:cubicBezTo>
                  <a:pt x="36591" y="23065"/>
                  <a:pt x="36498" y="23050"/>
                  <a:pt x="36404" y="23050"/>
                </a:cubicBezTo>
                <a:cubicBezTo>
                  <a:pt x="35763" y="23050"/>
                  <a:pt x="35247" y="23581"/>
                  <a:pt x="35247" y="24222"/>
                </a:cubicBezTo>
                <a:cubicBezTo>
                  <a:pt x="35247" y="24864"/>
                  <a:pt x="35763" y="25379"/>
                  <a:pt x="36404" y="25379"/>
                </a:cubicBezTo>
                <a:cubicBezTo>
                  <a:pt x="37045" y="25379"/>
                  <a:pt x="37577" y="24864"/>
                  <a:pt x="37577" y="24222"/>
                </a:cubicBezTo>
                <a:cubicBezTo>
                  <a:pt x="37577" y="23925"/>
                  <a:pt x="37467" y="23659"/>
                  <a:pt x="37295" y="23456"/>
                </a:cubicBezTo>
                <a:lnTo>
                  <a:pt x="38343" y="21627"/>
                </a:lnTo>
                <a:cubicBezTo>
                  <a:pt x="38843" y="21939"/>
                  <a:pt x="39375" y="22283"/>
                  <a:pt x="39938" y="22690"/>
                </a:cubicBezTo>
                <a:cubicBezTo>
                  <a:pt x="40048" y="22768"/>
                  <a:pt x="40094" y="22799"/>
                  <a:pt x="40110" y="22815"/>
                </a:cubicBezTo>
                <a:cubicBezTo>
                  <a:pt x="40157" y="22846"/>
                  <a:pt x="40579" y="23112"/>
                  <a:pt x="40673" y="23503"/>
                </a:cubicBezTo>
                <a:lnTo>
                  <a:pt x="40673" y="23518"/>
                </a:lnTo>
                <a:cubicBezTo>
                  <a:pt x="40861" y="24097"/>
                  <a:pt x="40782" y="24535"/>
                  <a:pt x="40673" y="24926"/>
                </a:cubicBezTo>
                <a:cubicBezTo>
                  <a:pt x="40579" y="25192"/>
                  <a:pt x="39422" y="27146"/>
                  <a:pt x="38343" y="28929"/>
                </a:cubicBezTo>
                <a:lnTo>
                  <a:pt x="38218" y="28929"/>
                </a:lnTo>
                <a:cubicBezTo>
                  <a:pt x="37577" y="28929"/>
                  <a:pt x="37045" y="29445"/>
                  <a:pt x="37045" y="30086"/>
                </a:cubicBezTo>
                <a:cubicBezTo>
                  <a:pt x="37045" y="30727"/>
                  <a:pt x="37577" y="31259"/>
                  <a:pt x="38218" y="31259"/>
                </a:cubicBezTo>
                <a:cubicBezTo>
                  <a:pt x="38859" y="31259"/>
                  <a:pt x="39391" y="30727"/>
                  <a:pt x="39391" y="30086"/>
                </a:cubicBezTo>
                <a:cubicBezTo>
                  <a:pt x="39391" y="29742"/>
                  <a:pt x="39234" y="29445"/>
                  <a:pt x="39000" y="29226"/>
                </a:cubicBezTo>
                <a:cubicBezTo>
                  <a:pt x="39218" y="28851"/>
                  <a:pt x="39625" y="28179"/>
                  <a:pt x="40032" y="27491"/>
                </a:cubicBezTo>
                <a:cubicBezTo>
                  <a:pt x="41299" y="25379"/>
                  <a:pt x="41345" y="25207"/>
                  <a:pt x="41361" y="25129"/>
                </a:cubicBezTo>
                <a:cubicBezTo>
                  <a:pt x="41424" y="24926"/>
                  <a:pt x="41533" y="24519"/>
                  <a:pt x="41502" y="24003"/>
                </a:cubicBezTo>
                <a:cubicBezTo>
                  <a:pt x="41799" y="24176"/>
                  <a:pt x="42143" y="24488"/>
                  <a:pt x="42237" y="24957"/>
                </a:cubicBezTo>
                <a:cubicBezTo>
                  <a:pt x="42440" y="25864"/>
                  <a:pt x="42393" y="26865"/>
                  <a:pt x="42377" y="27162"/>
                </a:cubicBezTo>
                <a:cubicBezTo>
                  <a:pt x="38984" y="32557"/>
                  <a:pt x="40115" y="30759"/>
                  <a:pt x="38984" y="32557"/>
                </a:cubicBezTo>
                <a:cubicBezTo>
                  <a:pt x="38906" y="32541"/>
                  <a:pt x="38797" y="32526"/>
                  <a:pt x="38703" y="32526"/>
                </a:cubicBezTo>
                <a:cubicBezTo>
                  <a:pt x="38062" y="32526"/>
                  <a:pt x="37546" y="33057"/>
                  <a:pt x="37546" y="33698"/>
                </a:cubicBezTo>
                <a:cubicBezTo>
                  <a:pt x="37546" y="34339"/>
                  <a:pt x="38062" y="34855"/>
                  <a:pt x="38703" y="34855"/>
                </a:cubicBezTo>
                <a:cubicBezTo>
                  <a:pt x="39344" y="34855"/>
                  <a:pt x="39875" y="34339"/>
                  <a:pt x="39875" y="33698"/>
                </a:cubicBezTo>
                <a:cubicBezTo>
                  <a:pt x="39875" y="33401"/>
                  <a:pt x="39766" y="33151"/>
                  <a:pt x="39594" y="32948"/>
                </a:cubicBezTo>
                <a:lnTo>
                  <a:pt x="42956" y="27600"/>
                </a:lnTo>
                <a:cubicBezTo>
                  <a:pt x="43300" y="27569"/>
                  <a:pt x="44207" y="27569"/>
                  <a:pt x="44770" y="28241"/>
                </a:cubicBezTo>
                <a:cubicBezTo>
                  <a:pt x="45348" y="28929"/>
                  <a:pt x="45333" y="29711"/>
                  <a:pt x="45317" y="30634"/>
                </a:cubicBezTo>
                <a:cubicBezTo>
                  <a:pt x="45302" y="30837"/>
                  <a:pt x="45302" y="31071"/>
                  <a:pt x="45302" y="31290"/>
                </a:cubicBezTo>
                <a:cubicBezTo>
                  <a:pt x="45333" y="33104"/>
                  <a:pt x="44942" y="33714"/>
                  <a:pt x="44520" y="34105"/>
                </a:cubicBezTo>
                <a:cubicBezTo>
                  <a:pt x="44051" y="34543"/>
                  <a:pt x="43018" y="34449"/>
                  <a:pt x="42659" y="34386"/>
                </a:cubicBezTo>
                <a:lnTo>
                  <a:pt x="42643" y="34386"/>
                </a:lnTo>
                <a:cubicBezTo>
                  <a:pt x="41752" y="34261"/>
                  <a:pt x="41455" y="33604"/>
                  <a:pt x="41361" y="33339"/>
                </a:cubicBezTo>
                <a:lnTo>
                  <a:pt x="42190" y="31947"/>
                </a:lnTo>
                <a:cubicBezTo>
                  <a:pt x="42315" y="31978"/>
                  <a:pt x="42455" y="32010"/>
                  <a:pt x="42596" y="32010"/>
                </a:cubicBezTo>
                <a:cubicBezTo>
                  <a:pt x="43238" y="32010"/>
                  <a:pt x="43753" y="31494"/>
                  <a:pt x="43753" y="30837"/>
                </a:cubicBezTo>
                <a:cubicBezTo>
                  <a:pt x="43753" y="30196"/>
                  <a:pt x="43238" y="29680"/>
                  <a:pt x="42596" y="29680"/>
                </a:cubicBezTo>
                <a:cubicBezTo>
                  <a:pt x="41955" y="29680"/>
                  <a:pt x="41424" y="30196"/>
                  <a:pt x="41424" y="30837"/>
                </a:cubicBezTo>
                <a:cubicBezTo>
                  <a:pt x="41424" y="31087"/>
                  <a:pt x="41502" y="31306"/>
                  <a:pt x="41627" y="31494"/>
                </a:cubicBezTo>
                <a:lnTo>
                  <a:pt x="40673" y="33088"/>
                </a:lnTo>
                <a:cubicBezTo>
                  <a:pt x="40626" y="33167"/>
                  <a:pt x="40611" y="33261"/>
                  <a:pt x="40626" y="33339"/>
                </a:cubicBezTo>
                <a:cubicBezTo>
                  <a:pt x="40642" y="33386"/>
                  <a:pt x="40704" y="33745"/>
                  <a:pt x="40970" y="34136"/>
                </a:cubicBezTo>
                <a:cubicBezTo>
                  <a:pt x="41189" y="34465"/>
                  <a:pt x="41595" y="34871"/>
                  <a:pt x="42283" y="35043"/>
                </a:cubicBezTo>
                <a:cubicBezTo>
                  <a:pt x="42315" y="35215"/>
                  <a:pt x="42346" y="35465"/>
                  <a:pt x="42346" y="35747"/>
                </a:cubicBezTo>
                <a:cubicBezTo>
                  <a:pt x="42377" y="36544"/>
                  <a:pt x="42205" y="36810"/>
                  <a:pt x="42127" y="36873"/>
                </a:cubicBezTo>
                <a:lnTo>
                  <a:pt x="42096" y="36904"/>
                </a:lnTo>
                <a:cubicBezTo>
                  <a:pt x="41549" y="37436"/>
                  <a:pt x="41236" y="37733"/>
                  <a:pt x="40407" y="37733"/>
                </a:cubicBezTo>
                <a:cubicBezTo>
                  <a:pt x="40048" y="37733"/>
                  <a:pt x="39672" y="37733"/>
                  <a:pt x="39344" y="37749"/>
                </a:cubicBezTo>
                <a:cubicBezTo>
                  <a:pt x="38781" y="37764"/>
                  <a:pt x="38265" y="37780"/>
                  <a:pt x="38030" y="37733"/>
                </a:cubicBezTo>
                <a:cubicBezTo>
                  <a:pt x="37733" y="37686"/>
                  <a:pt x="36607" y="37186"/>
                  <a:pt x="36576" y="36263"/>
                </a:cubicBezTo>
                <a:cubicBezTo>
                  <a:pt x="36529" y="35278"/>
                  <a:pt x="36560" y="29523"/>
                  <a:pt x="36576" y="28147"/>
                </a:cubicBezTo>
                <a:cubicBezTo>
                  <a:pt x="37045" y="27991"/>
                  <a:pt x="37374" y="27553"/>
                  <a:pt x="37374" y="27037"/>
                </a:cubicBezTo>
                <a:cubicBezTo>
                  <a:pt x="37374" y="26396"/>
                  <a:pt x="36858" y="25864"/>
                  <a:pt x="36216" y="25864"/>
                </a:cubicBezTo>
                <a:cubicBezTo>
                  <a:pt x="35575" y="25864"/>
                  <a:pt x="35044" y="26396"/>
                  <a:pt x="35044" y="27037"/>
                </a:cubicBezTo>
                <a:cubicBezTo>
                  <a:pt x="35044" y="27553"/>
                  <a:pt x="35387" y="27991"/>
                  <a:pt x="35857" y="28147"/>
                </a:cubicBezTo>
                <a:cubicBezTo>
                  <a:pt x="35841" y="29555"/>
                  <a:pt x="35810" y="35278"/>
                  <a:pt x="35857" y="36294"/>
                </a:cubicBezTo>
                <a:cubicBezTo>
                  <a:pt x="35888" y="36888"/>
                  <a:pt x="36185" y="37436"/>
                  <a:pt x="36748" y="37858"/>
                </a:cubicBezTo>
                <a:cubicBezTo>
                  <a:pt x="37154" y="38186"/>
                  <a:pt x="37639" y="38390"/>
                  <a:pt x="37921" y="38437"/>
                </a:cubicBezTo>
                <a:cubicBezTo>
                  <a:pt x="38077" y="38468"/>
                  <a:pt x="38296" y="38468"/>
                  <a:pt x="38562" y="38468"/>
                </a:cubicBezTo>
                <a:lnTo>
                  <a:pt x="39360" y="38468"/>
                </a:lnTo>
                <a:cubicBezTo>
                  <a:pt x="39703" y="38452"/>
                  <a:pt x="40048" y="38437"/>
                  <a:pt x="40407" y="38437"/>
                </a:cubicBezTo>
                <a:cubicBezTo>
                  <a:pt x="41533" y="38437"/>
                  <a:pt x="42002" y="37983"/>
                  <a:pt x="42596" y="37420"/>
                </a:cubicBezTo>
                <a:lnTo>
                  <a:pt x="42628" y="37389"/>
                </a:lnTo>
                <a:cubicBezTo>
                  <a:pt x="42956" y="37076"/>
                  <a:pt x="43096" y="36513"/>
                  <a:pt x="43065" y="35700"/>
                </a:cubicBezTo>
                <a:cubicBezTo>
                  <a:pt x="43065" y="35497"/>
                  <a:pt x="43034" y="35309"/>
                  <a:pt x="43018" y="35153"/>
                </a:cubicBezTo>
                <a:cubicBezTo>
                  <a:pt x="43143" y="35153"/>
                  <a:pt x="43269" y="35168"/>
                  <a:pt x="43425" y="35153"/>
                </a:cubicBezTo>
                <a:cubicBezTo>
                  <a:pt x="44113" y="35137"/>
                  <a:pt x="44645" y="34965"/>
                  <a:pt x="45004" y="34637"/>
                </a:cubicBezTo>
                <a:cubicBezTo>
                  <a:pt x="45364" y="34292"/>
                  <a:pt x="45598" y="33917"/>
                  <a:pt x="45771" y="33433"/>
                </a:cubicBezTo>
                <a:cubicBezTo>
                  <a:pt x="45943" y="32870"/>
                  <a:pt x="46036" y="32166"/>
                  <a:pt x="46021" y="31275"/>
                </a:cubicBezTo>
                <a:lnTo>
                  <a:pt x="46021" y="30649"/>
                </a:lnTo>
                <a:cubicBezTo>
                  <a:pt x="46052" y="29680"/>
                  <a:pt x="46083" y="28663"/>
                  <a:pt x="45317" y="27772"/>
                </a:cubicBezTo>
                <a:cubicBezTo>
                  <a:pt x="44629" y="26974"/>
                  <a:pt x="43675" y="26865"/>
                  <a:pt x="43112" y="26881"/>
                </a:cubicBezTo>
                <a:cubicBezTo>
                  <a:pt x="43112" y="26396"/>
                  <a:pt x="43112" y="25583"/>
                  <a:pt x="42940" y="24801"/>
                </a:cubicBezTo>
                <a:cubicBezTo>
                  <a:pt x="42721" y="23738"/>
                  <a:pt x="41736" y="23268"/>
                  <a:pt x="41299" y="23128"/>
                </a:cubicBezTo>
                <a:cubicBezTo>
                  <a:pt x="41095" y="22612"/>
                  <a:pt x="40642" y="22299"/>
                  <a:pt x="40501" y="22205"/>
                </a:cubicBezTo>
                <a:cubicBezTo>
                  <a:pt x="40485" y="22205"/>
                  <a:pt x="40423" y="22158"/>
                  <a:pt x="40344" y="22111"/>
                </a:cubicBezTo>
                <a:cubicBezTo>
                  <a:pt x="39750" y="21689"/>
                  <a:pt x="37936" y="20391"/>
                  <a:pt x="36341" y="19766"/>
                </a:cubicBezTo>
                <a:cubicBezTo>
                  <a:pt x="35763" y="19531"/>
                  <a:pt x="34919" y="19343"/>
                  <a:pt x="34215" y="19766"/>
                </a:cubicBezTo>
                <a:cubicBezTo>
                  <a:pt x="34089" y="19844"/>
                  <a:pt x="33980" y="19922"/>
                  <a:pt x="33886" y="20016"/>
                </a:cubicBezTo>
                <a:cubicBezTo>
                  <a:pt x="33871" y="20000"/>
                  <a:pt x="33855" y="19985"/>
                  <a:pt x="33839" y="19969"/>
                </a:cubicBezTo>
                <a:cubicBezTo>
                  <a:pt x="33058" y="19203"/>
                  <a:pt x="31838" y="18796"/>
                  <a:pt x="30509" y="18827"/>
                </a:cubicBezTo>
                <a:cubicBezTo>
                  <a:pt x="29696" y="18859"/>
                  <a:pt x="27506" y="19500"/>
                  <a:pt x="26600" y="19781"/>
                </a:cubicBezTo>
                <a:cubicBezTo>
                  <a:pt x="24895" y="20297"/>
                  <a:pt x="23331" y="20860"/>
                  <a:pt x="22706" y="21157"/>
                </a:cubicBezTo>
                <a:cubicBezTo>
                  <a:pt x="22065" y="21454"/>
                  <a:pt x="21392" y="21799"/>
                  <a:pt x="20845" y="22236"/>
                </a:cubicBezTo>
                <a:cubicBezTo>
                  <a:pt x="20251" y="22721"/>
                  <a:pt x="19907" y="23253"/>
                  <a:pt x="19782" y="23847"/>
                </a:cubicBezTo>
                <a:cubicBezTo>
                  <a:pt x="19312" y="23863"/>
                  <a:pt x="18750" y="24019"/>
                  <a:pt x="18406" y="24551"/>
                </a:cubicBezTo>
                <a:cubicBezTo>
                  <a:pt x="18124" y="24957"/>
                  <a:pt x="17655" y="25786"/>
                  <a:pt x="17139" y="26756"/>
                </a:cubicBezTo>
                <a:cubicBezTo>
                  <a:pt x="16842" y="27318"/>
                  <a:pt x="16342" y="28304"/>
                  <a:pt x="16295" y="28538"/>
                </a:cubicBezTo>
                <a:lnTo>
                  <a:pt x="16295" y="28600"/>
                </a:lnTo>
                <a:cubicBezTo>
                  <a:pt x="16248" y="28804"/>
                  <a:pt x="16154" y="29273"/>
                  <a:pt x="16248" y="29805"/>
                </a:cubicBezTo>
                <a:cubicBezTo>
                  <a:pt x="16342" y="30414"/>
                  <a:pt x="16670" y="30931"/>
                  <a:pt x="17186" y="31306"/>
                </a:cubicBezTo>
                <a:cubicBezTo>
                  <a:pt x="17233" y="31728"/>
                  <a:pt x="17468" y="32651"/>
                  <a:pt x="18671" y="33323"/>
                </a:cubicBezTo>
                <a:cubicBezTo>
                  <a:pt x="19078" y="33558"/>
                  <a:pt x="19453" y="33792"/>
                  <a:pt x="19797" y="33996"/>
                </a:cubicBezTo>
                <a:cubicBezTo>
                  <a:pt x="20657" y="34496"/>
                  <a:pt x="21267" y="34855"/>
                  <a:pt x="21705" y="34980"/>
                </a:cubicBezTo>
                <a:cubicBezTo>
                  <a:pt x="22080" y="35090"/>
                  <a:pt x="22440" y="35106"/>
                  <a:pt x="22675" y="35106"/>
                </a:cubicBezTo>
                <a:cubicBezTo>
                  <a:pt x="22722" y="35340"/>
                  <a:pt x="22800" y="35668"/>
                  <a:pt x="22956" y="35997"/>
                </a:cubicBezTo>
                <a:cubicBezTo>
                  <a:pt x="23363" y="36826"/>
                  <a:pt x="24066" y="37279"/>
                  <a:pt x="24973" y="37279"/>
                </a:cubicBezTo>
                <a:close/>
                <a:moveTo>
                  <a:pt x="30790" y="31322"/>
                </a:moveTo>
                <a:cubicBezTo>
                  <a:pt x="30743" y="31337"/>
                  <a:pt x="30696" y="31369"/>
                  <a:pt x="30665" y="31400"/>
                </a:cubicBezTo>
                <a:cubicBezTo>
                  <a:pt x="30618" y="31431"/>
                  <a:pt x="30603" y="31478"/>
                  <a:pt x="30587" y="31525"/>
                </a:cubicBezTo>
                <a:cubicBezTo>
                  <a:pt x="30524" y="31556"/>
                  <a:pt x="30462" y="31572"/>
                  <a:pt x="30384" y="31572"/>
                </a:cubicBezTo>
                <a:cubicBezTo>
                  <a:pt x="30133" y="31572"/>
                  <a:pt x="29930" y="31369"/>
                  <a:pt x="29930" y="31118"/>
                </a:cubicBezTo>
                <a:cubicBezTo>
                  <a:pt x="29930" y="30868"/>
                  <a:pt x="30133" y="30665"/>
                  <a:pt x="30384" y="30665"/>
                </a:cubicBezTo>
                <a:cubicBezTo>
                  <a:pt x="30634" y="30665"/>
                  <a:pt x="30837" y="30868"/>
                  <a:pt x="30837" y="31118"/>
                </a:cubicBezTo>
                <a:cubicBezTo>
                  <a:pt x="30837" y="31181"/>
                  <a:pt x="30821" y="31259"/>
                  <a:pt x="30790" y="31322"/>
                </a:cubicBezTo>
                <a:close/>
                <a:moveTo>
                  <a:pt x="28523" y="34292"/>
                </a:moveTo>
                <a:cubicBezTo>
                  <a:pt x="28773" y="34292"/>
                  <a:pt x="28976" y="34496"/>
                  <a:pt x="28976" y="34730"/>
                </a:cubicBezTo>
                <a:cubicBezTo>
                  <a:pt x="28976" y="34980"/>
                  <a:pt x="28773" y="35184"/>
                  <a:pt x="28523" y="35184"/>
                </a:cubicBezTo>
                <a:cubicBezTo>
                  <a:pt x="28272" y="35184"/>
                  <a:pt x="28069" y="34980"/>
                  <a:pt x="28069" y="34730"/>
                </a:cubicBezTo>
                <a:cubicBezTo>
                  <a:pt x="28069" y="34496"/>
                  <a:pt x="28272" y="34292"/>
                  <a:pt x="28523" y="34292"/>
                </a:cubicBezTo>
                <a:close/>
                <a:moveTo>
                  <a:pt x="23800" y="30665"/>
                </a:moveTo>
                <a:cubicBezTo>
                  <a:pt x="24051" y="30665"/>
                  <a:pt x="24254" y="30852"/>
                  <a:pt x="24254" y="31102"/>
                </a:cubicBezTo>
                <a:cubicBezTo>
                  <a:pt x="24254" y="31353"/>
                  <a:pt x="24051" y="31556"/>
                  <a:pt x="23800" y="31556"/>
                </a:cubicBezTo>
                <a:cubicBezTo>
                  <a:pt x="23550" y="31556"/>
                  <a:pt x="23347" y="31353"/>
                  <a:pt x="23347" y="31102"/>
                </a:cubicBezTo>
                <a:cubicBezTo>
                  <a:pt x="23347" y="30852"/>
                  <a:pt x="23550" y="30665"/>
                  <a:pt x="23800" y="30665"/>
                </a:cubicBezTo>
                <a:close/>
                <a:moveTo>
                  <a:pt x="26412" y="29695"/>
                </a:moveTo>
                <a:lnTo>
                  <a:pt x="26427" y="29680"/>
                </a:lnTo>
                <a:cubicBezTo>
                  <a:pt x="26506" y="29586"/>
                  <a:pt x="26631" y="29539"/>
                  <a:pt x="26756" y="29539"/>
                </a:cubicBezTo>
                <a:cubicBezTo>
                  <a:pt x="27006" y="29539"/>
                  <a:pt x="27209" y="29726"/>
                  <a:pt x="27209" y="29977"/>
                </a:cubicBezTo>
                <a:cubicBezTo>
                  <a:pt x="27209" y="30227"/>
                  <a:pt x="27006" y="30430"/>
                  <a:pt x="26756" y="30430"/>
                </a:cubicBezTo>
                <a:cubicBezTo>
                  <a:pt x="26506" y="30430"/>
                  <a:pt x="26302" y="30227"/>
                  <a:pt x="26302" y="29977"/>
                </a:cubicBezTo>
                <a:cubicBezTo>
                  <a:pt x="26302" y="29867"/>
                  <a:pt x="26349" y="29773"/>
                  <a:pt x="26412" y="29695"/>
                </a:cubicBezTo>
                <a:close/>
                <a:moveTo>
                  <a:pt x="27428" y="26036"/>
                </a:moveTo>
                <a:lnTo>
                  <a:pt x="27428" y="26020"/>
                </a:lnTo>
                <a:cubicBezTo>
                  <a:pt x="27506" y="25927"/>
                  <a:pt x="27631" y="25880"/>
                  <a:pt x="27772" y="25880"/>
                </a:cubicBezTo>
                <a:cubicBezTo>
                  <a:pt x="28007" y="25880"/>
                  <a:pt x="28210" y="26083"/>
                  <a:pt x="28210" y="26333"/>
                </a:cubicBezTo>
                <a:cubicBezTo>
                  <a:pt x="28210" y="26568"/>
                  <a:pt x="28007" y="26771"/>
                  <a:pt x="27772" y="26771"/>
                </a:cubicBezTo>
                <a:cubicBezTo>
                  <a:pt x="27522" y="26771"/>
                  <a:pt x="27319" y="26568"/>
                  <a:pt x="27319" y="26333"/>
                </a:cubicBezTo>
                <a:cubicBezTo>
                  <a:pt x="27319" y="26208"/>
                  <a:pt x="27350" y="26115"/>
                  <a:pt x="27428" y="26036"/>
                </a:cubicBezTo>
                <a:close/>
                <a:moveTo>
                  <a:pt x="28992" y="22783"/>
                </a:moveTo>
                <a:cubicBezTo>
                  <a:pt x="28997" y="22783"/>
                  <a:pt x="28992" y="22783"/>
                  <a:pt x="29007" y="22783"/>
                </a:cubicBezTo>
                <a:cubicBezTo>
                  <a:pt x="29086" y="22721"/>
                  <a:pt x="29180" y="22674"/>
                  <a:pt x="29305" y="22674"/>
                </a:cubicBezTo>
                <a:cubicBezTo>
                  <a:pt x="29555" y="22674"/>
                  <a:pt x="29758" y="22877"/>
                  <a:pt x="29758" y="23128"/>
                </a:cubicBezTo>
                <a:cubicBezTo>
                  <a:pt x="29758" y="23378"/>
                  <a:pt x="29555" y="23581"/>
                  <a:pt x="29305" y="23581"/>
                </a:cubicBezTo>
                <a:cubicBezTo>
                  <a:pt x="29055" y="23581"/>
                  <a:pt x="28851" y="23378"/>
                  <a:pt x="28851" y="23128"/>
                </a:cubicBezTo>
                <a:cubicBezTo>
                  <a:pt x="28851" y="22987"/>
                  <a:pt x="28914" y="22877"/>
                  <a:pt x="28992" y="22783"/>
                </a:cubicBezTo>
                <a:close/>
                <a:moveTo>
                  <a:pt x="31635" y="27349"/>
                </a:moveTo>
                <a:cubicBezTo>
                  <a:pt x="31885" y="27349"/>
                  <a:pt x="32088" y="27553"/>
                  <a:pt x="32088" y="27787"/>
                </a:cubicBezTo>
                <a:cubicBezTo>
                  <a:pt x="32088" y="28038"/>
                  <a:pt x="31885" y="28241"/>
                  <a:pt x="31635" y="28241"/>
                </a:cubicBezTo>
                <a:cubicBezTo>
                  <a:pt x="31384" y="28241"/>
                  <a:pt x="31181" y="28038"/>
                  <a:pt x="31181" y="27787"/>
                </a:cubicBezTo>
                <a:cubicBezTo>
                  <a:pt x="31181" y="27553"/>
                  <a:pt x="31384" y="27349"/>
                  <a:pt x="31635" y="27349"/>
                </a:cubicBezTo>
                <a:close/>
                <a:moveTo>
                  <a:pt x="36404" y="24676"/>
                </a:moveTo>
                <a:cubicBezTo>
                  <a:pt x="36154" y="24676"/>
                  <a:pt x="35950" y="24472"/>
                  <a:pt x="35950" y="24222"/>
                </a:cubicBezTo>
                <a:cubicBezTo>
                  <a:pt x="35950" y="23972"/>
                  <a:pt x="36154" y="23769"/>
                  <a:pt x="36404" y="23769"/>
                </a:cubicBezTo>
                <a:cubicBezTo>
                  <a:pt x="36654" y="23769"/>
                  <a:pt x="36858" y="23972"/>
                  <a:pt x="36858" y="24222"/>
                </a:cubicBezTo>
                <a:cubicBezTo>
                  <a:pt x="36858" y="24472"/>
                  <a:pt x="36654" y="24676"/>
                  <a:pt x="36404" y="24676"/>
                </a:cubicBezTo>
                <a:close/>
                <a:moveTo>
                  <a:pt x="38218" y="30539"/>
                </a:moveTo>
                <a:cubicBezTo>
                  <a:pt x="37967" y="30539"/>
                  <a:pt x="37764" y="30336"/>
                  <a:pt x="37764" y="30086"/>
                </a:cubicBezTo>
                <a:cubicBezTo>
                  <a:pt x="37764" y="29836"/>
                  <a:pt x="37967" y="29633"/>
                  <a:pt x="38218" y="29633"/>
                </a:cubicBezTo>
                <a:cubicBezTo>
                  <a:pt x="38265" y="29633"/>
                  <a:pt x="38327" y="29648"/>
                  <a:pt x="38374" y="29664"/>
                </a:cubicBezTo>
                <a:lnTo>
                  <a:pt x="38390" y="29680"/>
                </a:lnTo>
                <a:cubicBezTo>
                  <a:pt x="38562" y="29742"/>
                  <a:pt x="38672" y="29898"/>
                  <a:pt x="38672" y="30086"/>
                </a:cubicBezTo>
                <a:cubicBezTo>
                  <a:pt x="38672" y="30336"/>
                  <a:pt x="38468" y="30539"/>
                  <a:pt x="38218" y="30539"/>
                </a:cubicBezTo>
                <a:close/>
                <a:moveTo>
                  <a:pt x="38703" y="34136"/>
                </a:moveTo>
                <a:cubicBezTo>
                  <a:pt x="38452" y="34136"/>
                  <a:pt x="38249" y="33949"/>
                  <a:pt x="38249" y="33698"/>
                </a:cubicBezTo>
                <a:cubicBezTo>
                  <a:pt x="38249" y="33448"/>
                  <a:pt x="38452" y="33245"/>
                  <a:pt x="38703" y="33245"/>
                </a:cubicBezTo>
                <a:cubicBezTo>
                  <a:pt x="38797" y="33245"/>
                  <a:pt x="38875" y="33261"/>
                  <a:pt x="38937" y="33308"/>
                </a:cubicBezTo>
                <a:cubicBezTo>
                  <a:pt x="38953" y="33308"/>
                  <a:pt x="38953" y="33308"/>
                  <a:pt x="38953" y="33323"/>
                </a:cubicBezTo>
                <a:cubicBezTo>
                  <a:pt x="39078" y="33401"/>
                  <a:pt x="39156" y="33542"/>
                  <a:pt x="39156" y="33698"/>
                </a:cubicBezTo>
                <a:cubicBezTo>
                  <a:pt x="39156" y="33949"/>
                  <a:pt x="38953" y="34136"/>
                  <a:pt x="38703" y="34136"/>
                </a:cubicBezTo>
                <a:close/>
                <a:moveTo>
                  <a:pt x="42596" y="30399"/>
                </a:moveTo>
                <a:cubicBezTo>
                  <a:pt x="42846" y="30399"/>
                  <a:pt x="43050" y="30602"/>
                  <a:pt x="43050" y="30837"/>
                </a:cubicBezTo>
                <a:cubicBezTo>
                  <a:pt x="43050" y="31087"/>
                  <a:pt x="42846" y="31290"/>
                  <a:pt x="42596" y="31290"/>
                </a:cubicBezTo>
                <a:cubicBezTo>
                  <a:pt x="42487" y="31290"/>
                  <a:pt x="42393" y="31259"/>
                  <a:pt x="42315" y="31196"/>
                </a:cubicBezTo>
                <a:cubicBezTo>
                  <a:pt x="42299" y="31196"/>
                  <a:pt x="42304" y="31186"/>
                  <a:pt x="42299" y="31181"/>
                </a:cubicBezTo>
                <a:cubicBezTo>
                  <a:pt x="42205" y="31102"/>
                  <a:pt x="42143" y="30977"/>
                  <a:pt x="42143" y="30837"/>
                </a:cubicBezTo>
                <a:cubicBezTo>
                  <a:pt x="42143" y="30602"/>
                  <a:pt x="42346" y="30399"/>
                  <a:pt x="42596" y="30399"/>
                </a:cubicBezTo>
                <a:close/>
                <a:moveTo>
                  <a:pt x="36216" y="27491"/>
                </a:moveTo>
                <a:cubicBezTo>
                  <a:pt x="35966" y="27491"/>
                  <a:pt x="35763" y="27287"/>
                  <a:pt x="35763" y="27037"/>
                </a:cubicBezTo>
                <a:cubicBezTo>
                  <a:pt x="35763" y="26787"/>
                  <a:pt x="35966" y="26583"/>
                  <a:pt x="36216" y="26583"/>
                </a:cubicBezTo>
                <a:cubicBezTo>
                  <a:pt x="36466" y="26583"/>
                  <a:pt x="36670" y="26787"/>
                  <a:pt x="36670" y="27037"/>
                </a:cubicBezTo>
                <a:cubicBezTo>
                  <a:pt x="36670" y="27287"/>
                  <a:pt x="36466" y="27491"/>
                  <a:pt x="36216" y="27491"/>
                </a:cubicBezTo>
                <a:close/>
                <a:moveTo>
                  <a:pt x="34215" y="41282"/>
                </a:moveTo>
                <a:cubicBezTo>
                  <a:pt x="34465" y="41282"/>
                  <a:pt x="34668" y="41486"/>
                  <a:pt x="34668" y="41720"/>
                </a:cubicBezTo>
                <a:cubicBezTo>
                  <a:pt x="34668" y="41970"/>
                  <a:pt x="34465" y="42174"/>
                  <a:pt x="34215" y="42174"/>
                </a:cubicBezTo>
                <a:cubicBezTo>
                  <a:pt x="33964" y="42174"/>
                  <a:pt x="33761" y="41970"/>
                  <a:pt x="33761" y="41720"/>
                </a:cubicBezTo>
                <a:cubicBezTo>
                  <a:pt x="33761" y="41486"/>
                  <a:pt x="33964" y="41282"/>
                  <a:pt x="34215" y="41282"/>
                </a:cubicBezTo>
                <a:close/>
                <a:moveTo>
                  <a:pt x="19953" y="28366"/>
                </a:moveTo>
                <a:cubicBezTo>
                  <a:pt x="20204" y="28366"/>
                  <a:pt x="20407" y="28569"/>
                  <a:pt x="20407" y="28804"/>
                </a:cubicBezTo>
                <a:cubicBezTo>
                  <a:pt x="20407" y="29054"/>
                  <a:pt x="20204" y="29257"/>
                  <a:pt x="19953" y="29257"/>
                </a:cubicBezTo>
                <a:cubicBezTo>
                  <a:pt x="19703" y="29257"/>
                  <a:pt x="19500" y="29054"/>
                  <a:pt x="19500" y="28804"/>
                </a:cubicBezTo>
                <a:cubicBezTo>
                  <a:pt x="19500" y="28569"/>
                  <a:pt x="19703" y="28366"/>
                  <a:pt x="19953" y="2836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6" name="Freeform 15">
            <a:extLst>
              <a:ext uri="{FF2B5EF4-FFF2-40B4-BE49-F238E27FC236}">
                <a16:creationId xmlns:a16="http://schemas.microsoft.com/office/drawing/2014/main" id="{386D67E5-1EB7-C247-8B55-926979156803}"/>
              </a:ext>
            </a:extLst>
          </p:cNvPr>
          <p:cNvSpPr/>
          <p:nvPr/>
        </p:nvSpPr>
        <p:spPr>
          <a:xfrm>
            <a:off x="1536520" y="2992966"/>
            <a:ext cx="10326126" cy="7915141"/>
          </a:xfrm>
          <a:custGeom>
            <a:avLst/>
            <a:gdLst/>
            <a:ahLst/>
            <a:cxnLst>
              <a:cxn ang="3cd4">
                <a:pos x="hc" y="t"/>
              </a:cxn>
              <a:cxn ang="cd2">
                <a:pos x="l" y="vc"/>
              </a:cxn>
              <a:cxn ang="cd4">
                <a:pos x="hc" y="b"/>
              </a:cxn>
              <a:cxn ang="0">
                <a:pos x="r" y="vc"/>
              </a:cxn>
            </a:cxnLst>
            <a:rect l="l" t="t" r="r" b="b"/>
            <a:pathLst>
              <a:path w="64832" h="49695">
                <a:moveTo>
                  <a:pt x="20766" y="720"/>
                </a:moveTo>
                <a:lnTo>
                  <a:pt x="20782" y="720"/>
                </a:lnTo>
                <a:cubicBezTo>
                  <a:pt x="20923" y="720"/>
                  <a:pt x="21063" y="704"/>
                  <a:pt x="21204" y="704"/>
                </a:cubicBezTo>
                <a:lnTo>
                  <a:pt x="21251" y="704"/>
                </a:lnTo>
                <a:cubicBezTo>
                  <a:pt x="21439" y="704"/>
                  <a:pt x="21611" y="548"/>
                  <a:pt x="21611" y="360"/>
                </a:cubicBezTo>
                <a:cubicBezTo>
                  <a:pt x="21611" y="157"/>
                  <a:pt x="21454" y="0"/>
                  <a:pt x="21251" y="0"/>
                </a:cubicBezTo>
                <a:lnTo>
                  <a:pt x="21204" y="0"/>
                </a:lnTo>
                <a:lnTo>
                  <a:pt x="20766" y="0"/>
                </a:lnTo>
                <a:cubicBezTo>
                  <a:pt x="20563" y="0"/>
                  <a:pt x="20407" y="172"/>
                  <a:pt x="20422" y="360"/>
                </a:cubicBezTo>
                <a:cubicBezTo>
                  <a:pt x="20422" y="563"/>
                  <a:pt x="20579" y="720"/>
                  <a:pt x="20766" y="720"/>
                </a:cubicBezTo>
                <a:close/>
                <a:moveTo>
                  <a:pt x="19343" y="813"/>
                </a:moveTo>
                <a:cubicBezTo>
                  <a:pt x="19358" y="813"/>
                  <a:pt x="19374" y="813"/>
                  <a:pt x="19389" y="798"/>
                </a:cubicBezTo>
                <a:cubicBezTo>
                  <a:pt x="19530" y="782"/>
                  <a:pt x="19686" y="782"/>
                  <a:pt x="19843" y="766"/>
                </a:cubicBezTo>
                <a:cubicBezTo>
                  <a:pt x="20046" y="751"/>
                  <a:pt x="20187" y="579"/>
                  <a:pt x="20171" y="375"/>
                </a:cubicBezTo>
                <a:cubicBezTo>
                  <a:pt x="20156" y="188"/>
                  <a:pt x="19984" y="32"/>
                  <a:pt x="19796" y="47"/>
                </a:cubicBezTo>
                <a:cubicBezTo>
                  <a:pt x="19639" y="63"/>
                  <a:pt x="19468" y="78"/>
                  <a:pt x="19311" y="94"/>
                </a:cubicBezTo>
                <a:cubicBezTo>
                  <a:pt x="19108" y="110"/>
                  <a:pt x="18967" y="297"/>
                  <a:pt x="18983" y="485"/>
                </a:cubicBezTo>
                <a:cubicBezTo>
                  <a:pt x="19014" y="673"/>
                  <a:pt x="19170" y="813"/>
                  <a:pt x="19343" y="813"/>
                </a:cubicBezTo>
                <a:close/>
                <a:moveTo>
                  <a:pt x="22173" y="735"/>
                </a:moveTo>
                <a:cubicBezTo>
                  <a:pt x="22329" y="751"/>
                  <a:pt x="22486" y="766"/>
                  <a:pt x="22642" y="766"/>
                </a:cubicBezTo>
                <a:lnTo>
                  <a:pt x="22673" y="766"/>
                </a:lnTo>
                <a:cubicBezTo>
                  <a:pt x="22861" y="766"/>
                  <a:pt x="23017" y="626"/>
                  <a:pt x="23033" y="453"/>
                </a:cubicBezTo>
                <a:cubicBezTo>
                  <a:pt x="23048" y="250"/>
                  <a:pt x="22908" y="78"/>
                  <a:pt x="22704" y="63"/>
                </a:cubicBezTo>
                <a:cubicBezTo>
                  <a:pt x="22548" y="47"/>
                  <a:pt x="22376" y="32"/>
                  <a:pt x="22220" y="32"/>
                </a:cubicBezTo>
                <a:cubicBezTo>
                  <a:pt x="22016" y="16"/>
                  <a:pt x="21860" y="157"/>
                  <a:pt x="21845" y="360"/>
                </a:cubicBezTo>
                <a:cubicBezTo>
                  <a:pt x="21828" y="563"/>
                  <a:pt x="21985" y="720"/>
                  <a:pt x="22173" y="735"/>
                </a:cubicBezTo>
                <a:close/>
                <a:moveTo>
                  <a:pt x="31916" y="42565"/>
                </a:moveTo>
                <a:cubicBezTo>
                  <a:pt x="30805" y="42033"/>
                  <a:pt x="29242" y="41611"/>
                  <a:pt x="27521" y="41376"/>
                </a:cubicBezTo>
                <a:cubicBezTo>
                  <a:pt x="27334" y="41360"/>
                  <a:pt x="27146" y="41485"/>
                  <a:pt x="27131" y="41689"/>
                </a:cubicBezTo>
                <a:cubicBezTo>
                  <a:pt x="27100" y="41877"/>
                  <a:pt x="27240" y="42064"/>
                  <a:pt x="27428" y="42095"/>
                </a:cubicBezTo>
                <a:cubicBezTo>
                  <a:pt x="29085" y="42315"/>
                  <a:pt x="30555" y="42705"/>
                  <a:pt x="31603" y="43206"/>
                </a:cubicBezTo>
                <a:cubicBezTo>
                  <a:pt x="32572" y="43675"/>
                  <a:pt x="33135" y="44222"/>
                  <a:pt x="33135" y="44691"/>
                </a:cubicBezTo>
                <a:cubicBezTo>
                  <a:pt x="33135" y="46005"/>
                  <a:pt x="29507" y="47490"/>
                  <a:pt x="24316" y="47490"/>
                </a:cubicBezTo>
                <a:cubicBezTo>
                  <a:pt x="19124" y="47490"/>
                  <a:pt x="15497" y="46005"/>
                  <a:pt x="15497" y="44691"/>
                </a:cubicBezTo>
                <a:cubicBezTo>
                  <a:pt x="15497" y="44191"/>
                  <a:pt x="16028" y="43659"/>
                  <a:pt x="16998" y="43190"/>
                </a:cubicBezTo>
                <a:cubicBezTo>
                  <a:pt x="18030" y="42690"/>
                  <a:pt x="19531" y="42299"/>
                  <a:pt x="21204" y="42095"/>
                </a:cubicBezTo>
                <a:cubicBezTo>
                  <a:pt x="21408" y="42064"/>
                  <a:pt x="21548" y="41892"/>
                  <a:pt x="21517" y="41689"/>
                </a:cubicBezTo>
                <a:cubicBezTo>
                  <a:pt x="21486" y="41501"/>
                  <a:pt x="21314" y="41360"/>
                  <a:pt x="21126" y="41376"/>
                </a:cubicBezTo>
                <a:cubicBezTo>
                  <a:pt x="19328" y="41611"/>
                  <a:pt x="17795" y="42017"/>
                  <a:pt x="16685" y="42549"/>
                </a:cubicBezTo>
                <a:cubicBezTo>
                  <a:pt x="15903" y="42924"/>
                  <a:pt x="14981" y="43550"/>
                  <a:pt x="14809" y="44410"/>
                </a:cubicBezTo>
                <a:cubicBezTo>
                  <a:pt x="14761" y="44425"/>
                  <a:pt x="14683" y="44441"/>
                  <a:pt x="14605" y="44457"/>
                </a:cubicBezTo>
                <a:cubicBezTo>
                  <a:pt x="14418" y="44488"/>
                  <a:pt x="14293" y="44675"/>
                  <a:pt x="14324" y="44879"/>
                </a:cubicBezTo>
                <a:cubicBezTo>
                  <a:pt x="14371" y="45051"/>
                  <a:pt x="14511" y="45160"/>
                  <a:pt x="14683" y="45160"/>
                </a:cubicBezTo>
                <a:lnTo>
                  <a:pt x="14746" y="45160"/>
                </a:lnTo>
                <a:cubicBezTo>
                  <a:pt x="14793" y="45145"/>
                  <a:pt x="14824" y="45145"/>
                  <a:pt x="14856" y="45129"/>
                </a:cubicBezTo>
                <a:cubicBezTo>
                  <a:pt x="14965" y="45505"/>
                  <a:pt x="15231" y="45864"/>
                  <a:pt x="15637" y="46193"/>
                </a:cubicBezTo>
                <a:cubicBezTo>
                  <a:pt x="16138" y="46599"/>
                  <a:pt x="16842" y="46959"/>
                  <a:pt x="17717" y="47256"/>
                </a:cubicBezTo>
                <a:cubicBezTo>
                  <a:pt x="19484" y="47865"/>
                  <a:pt x="21829" y="48194"/>
                  <a:pt x="24316" y="48194"/>
                </a:cubicBezTo>
                <a:cubicBezTo>
                  <a:pt x="26802" y="48194"/>
                  <a:pt x="29148" y="47865"/>
                  <a:pt x="30915" y="47256"/>
                </a:cubicBezTo>
                <a:cubicBezTo>
                  <a:pt x="31806" y="46959"/>
                  <a:pt x="32494" y="46599"/>
                  <a:pt x="32995" y="46193"/>
                </a:cubicBezTo>
                <a:cubicBezTo>
                  <a:pt x="33558" y="45739"/>
                  <a:pt x="33855" y="45223"/>
                  <a:pt x="33855" y="44691"/>
                </a:cubicBezTo>
                <a:cubicBezTo>
                  <a:pt x="33855" y="43909"/>
                  <a:pt x="33182" y="43174"/>
                  <a:pt x="31916" y="42565"/>
                </a:cubicBezTo>
                <a:close/>
                <a:moveTo>
                  <a:pt x="22690" y="43706"/>
                </a:moveTo>
                <a:cubicBezTo>
                  <a:pt x="22690" y="43519"/>
                  <a:pt x="22518" y="43362"/>
                  <a:pt x="22314" y="43378"/>
                </a:cubicBezTo>
                <a:cubicBezTo>
                  <a:pt x="21595" y="43424"/>
                  <a:pt x="20923" y="43550"/>
                  <a:pt x="20407" y="43737"/>
                </a:cubicBezTo>
                <a:cubicBezTo>
                  <a:pt x="19781" y="43972"/>
                  <a:pt x="19469" y="44269"/>
                  <a:pt x="19469" y="44629"/>
                </a:cubicBezTo>
                <a:cubicBezTo>
                  <a:pt x="19469" y="45113"/>
                  <a:pt x="19985" y="45458"/>
                  <a:pt x="21063" y="45708"/>
                </a:cubicBezTo>
                <a:cubicBezTo>
                  <a:pt x="21939" y="45911"/>
                  <a:pt x="23096" y="46021"/>
                  <a:pt x="24316" y="46021"/>
                </a:cubicBezTo>
                <a:cubicBezTo>
                  <a:pt x="25536" y="46021"/>
                  <a:pt x="26693" y="45911"/>
                  <a:pt x="27568" y="45708"/>
                </a:cubicBezTo>
                <a:cubicBezTo>
                  <a:pt x="28647" y="45458"/>
                  <a:pt x="29179" y="45113"/>
                  <a:pt x="29179" y="44629"/>
                </a:cubicBezTo>
                <a:cubicBezTo>
                  <a:pt x="29179" y="44097"/>
                  <a:pt x="28491" y="43847"/>
                  <a:pt x="28256" y="43753"/>
                </a:cubicBezTo>
                <a:cubicBezTo>
                  <a:pt x="27803" y="43597"/>
                  <a:pt x="27162" y="43456"/>
                  <a:pt x="26412" y="43362"/>
                </a:cubicBezTo>
                <a:cubicBezTo>
                  <a:pt x="26224" y="43346"/>
                  <a:pt x="26036" y="43487"/>
                  <a:pt x="26020" y="43675"/>
                </a:cubicBezTo>
                <a:cubicBezTo>
                  <a:pt x="25989" y="43878"/>
                  <a:pt x="26130" y="44050"/>
                  <a:pt x="26333" y="44081"/>
                </a:cubicBezTo>
                <a:cubicBezTo>
                  <a:pt x="27709" y="44238"/>
                  <a:pt x="28272" y="44504"/>
                  <a:pt x="28429" y="44629"/>
                </a:cubicBezTo>
                <a:cubicBezTo>
                  <a:pt x="28319" y="44722"/>
                  <a:pt x="27975" y="44910"/>
                  <a:pt x="27225" y="45051"/>
                </a:cubicBezTo>
                <a:cubicBezTo>
                  <a:pt x="26412" y="45223"/>
                  <a:pt x="25395" y="45301"/>
                  <a:pt x="24316" y="45301"/>
                </a:cubicBezTo>
                <a:cubicBezTo>
                  <a:pt x="23253" y="45301"/>
                  <a:pt x="22221" y="45223"/>
                  <a:pt x="21423" y="45051"/>
                </a:cubicBezTo>
                <a:cubicBezTo>
                  <a:pt x="20657" y="44910"/>
                  <a:pt x="20328" y="44738"/>
                  <a:pt x="20219" y="44644"/>
                </a:cubicBezTo>
                <a:cubicBezTo>
                  <a:pt x="20391" y="44488"/>
                  <a:pt x="21079" y="44175"/>
                  <a:pt x="22361" y="44097"/>
                </a:cubicBezTo>
                <a:cubicBezTo>
                  <a:pt x="22565" y="44081"/>
                  <a:pt x="22705" y="43909"/>
                  <a:pt x="22690" y="43706"/>
                </a:cubicBezTo>
                <a:close/>
                <a:moveTo>
                  <a:pt x="24316" y="35184"/>
                </a:moveTo>
                <a:cubicBezTo>
                  <a:pt x="22424" y="35184"/>
                  <a:pt x="20891" y="36701"/>
                  <a:pt x="20891" y="38577"/>
                </a:cubicBezTo>
                <a:cubicBezTo>
                  <a:pt x="20891" y="39359"/>
                  <a:pt x="21423" y="40610"/>
                  <a:pt x="22487" y="42299"/>
                </a:cubicBezTo>
                <a:cubicBezTo>
                  <a:pt x="23253" y="43519"/>
                  <a:pt x="24019" y="44550"/>
                  <a:pt x="24035" y="44566"/>
                </a:cubicBezTo>
                <a:cubicBezTo>
                  <a:pt x="24097" y="44660"/>
                  <a:pt x="24206" y="44707"/>
                  <a:pt x="24316" y="44707"/>
                </a:cubicBezTo>
                <a:cubicBezTo>
                  <a:pt x="24426" y="44707"/>
                  <a:pt x="24535" y="44660"/>
                  <a:pt x="24598" y="44566"/>
                </a:cubicBezTo>
                <a:cubicBezTo>
                  <a:pt x="24629" y="44519"/>
                  <a:pt x="25395" y="43534"/>
                  <a:pt x="26161" y="42315"/>
                </a:cubicBezTo>
                <a:cubicBezTo>
                  <a:pt x="27209" y="40626"/>
                  <a:pt x="27741" y="39375"/>
                  <a:pt x="27741" y="38577"/>
                </a:cubicBezTo>
                <a:cubicBezTo>
                  <a:pt x="27741" y="36701"/>
                  <a:pt x="26208" y="35184"/>
                  <a:pt x="24316" y="35184"/>
                </a:cubicBezTo>
                <a:close/>
                <a:moveTo>
                  <a:pt x="24316" y="43753"/>
                </a:moveTo>
                <a:cubicBezTo>
                  <a:pt x="23362" y="42424"/>
                  <a:pt x="21611" y="39750"/>
                  <a:pt x="21611" y="38577"/>
                </a:cubicBezTo>
                <a:cubicBezTo>
                  <a:pt x="21611" y="37107"/>
                  <a:pt x="22830" y="35888"/>
                  <a:pt x="24316" y="35888"/>
                </a:cubicBezTo>
                <a:cubicBezTo>
                  <a:pt x="25817" y="35888"/>
                  <a:pt x="27021" y="37107"/>
                  <a:pt x="27021" y="38577"/>
                </a:cubicBezTo>
                <a:cubicBezTo>
                  <a:pt x="27021" y="39781"/>
                  <a:pt x="25270" y="42440"/>
                  <a:pt x="24316" y="43753"/>
                </a:cubicBezTo>
                <a:close/>
                <a:moveTo>
                  <a:pt x="24394" y="37170"/>
                </a:moveTo>
                <a:cubicBezTo>
                  <a:pt x="23503" y="37170"/>
                  <a:pt x="22784" y="37889"/>
                  <a:pt x="22784" y="38780"/>
                </a:cubicBezTo>
                <a:cubicBezTo>
                  <a:pt x="22784" y="39672"/>
                  <a:pt x="23503" y="40391"/>
                  <a:pt x="24394" y="40391"/>
                </a:cubicBezTo>
                <a:cubicBezTo>
                  <a:pt x="25270" y="40391"/>
                  <a:pt x="25989" y="39672"/>
                  <a:pt x="25989" y="38780"/>
                </a:cubicBezTo>
                <a:cubicBezTo>
                  <a:pt x="25989" y="37889"/>
                  <a:pt x="25270" y="37170"/>
                  <a:pt x="24394" y="37170"/>
                </a:cubicBezTo>
                <a:close/>
                <a:moveTo>
                  <a:pt x="24394" y="39672"/>
                </a:moveTo>
                <a:cubicBezTo>
                  <a:pt x="23894" y="39672"/>
                  <a:pt x="23487" y="39265"/>
                  <a:pt x="23487" y="38780"/>
                </a:cubicBezTo>
                <a:cubicBezTo>
                  <a:pt x="23487" y="38280"/>
                  <a:pt x="23894" y="37889"/>
                  <a:pt x="24394" y="37889"/>
                </a:cubicBezTo>
                <a:cubicBezTo>
                  <a:pt x="24879" y="37889"/>
                  <a:pt x="25286" y="38280"/>
                  <a:pt x="25286" y="38780"/>
                </a:cubicBezTo>
                <a:cubicBezTo>
                  <a:pt x="25286" y="39265"/>
                  <a:pt x="24879" y="39672"/>
                  <a:pt x="24394" y="39672"/>
                </a:cubicBezTo>
                <a:close/>
                <a:moveTo>
                  <a:pt x="45317" y="8444"/>
                </a:moveTo>
                <a:lnTo>
                  <a:pt x="45395" y="8444"/>
                </a:lnTo>
                <a:lnTo>
                  <a:pt x="45395" y="16091"/>
                </a:lnTo>
                <a:cubicBezTo>
                  <a:pt x="45395" y="16294"/>
                  <a:pt x="45551" y="16450"/>
                  <a:pt x="45755" y="16450"/>
                </a:cubicBezTo>
                <a:lnTo>
                  <a:pt x="56982" y="16450"/>
                </a:lnTo>
                <a:cubicBezTo>
                  <a:pt x="57186" y="16450"/>
                  <a:pt x="57342" y="16294"/>
                  <a:pt x="57342" y="16091"/>
                </a:cubicBezTo>
                <a:lnTo>
                  <a:pt x="57342" y="8382"/>
                </a:lnTo>
                <a:cubicBezTo>
                  <a:pt x="57905" y="8194"/>
                  <a:pt x="58280" y="7647"/>
                  <a:pt x="58280" y="6912"/>
                </a:cubicBezTo>
                <a:lnTo>
                  <a:pt x="58280" y="6615"/>
                </a:lnTo>
                <a:cubicBezTo>
                  <a:pt x="58280" y="6583"/>
                  <a:pt x="58280" y="6537"/>
                  <a:pt x="58264" y="6505"/>
                </a:cubicBezTo>
                <a:lnTo>
                  <a:pt x="56857" y="2408"/>
                </a:lnTo>
                <a:cubicBezTo>
                  <a:pt x="56794" y="2267"/>
                  <a:pt x="56669" y="2174"/>
                  <a:pt x="56513" y="2174"/>
                </a:cubicBezTo>
                <a:lnTo>
                  <a:pt x="45973" y="2174"/>
                </a:lnTo>
                <a:cubicBezTo>
                  <a:pt x="45817" y="2174"/>
                  <a:pt x="45692" y="2252"/>
                  <a:pt x="45630" y="2392"/>
                </a:cubicBezTo>
                <a:lnTo>
                  <a:pt x="44019" y="6490"/>
                </a:lnTo>
                <a:cubicBezTo>
                  <a:pt x="44003" y="6537"/>
                  <a:pt x="43988" y="6583"/>
                  <a:pt x="43988" y="6615"/>
                </a:cubicBezTo>
                <a:lnTo>
                  <a:pt x="43988" y="6912"/>
                </a:lnTo>
                <a:cubicBezTo>
                  <a:pt x="43988" y="7303"/>
                  <a:pt x="44128" y="7678"/>
                  <a:pt x="44379" y="7975"/>
                </a:cubicBezTo>
                <a:cubicBezTo>
                  <a:pt x="44629" y="8272"/>
                  <a:pt x="44972" y="8444"/>
                  <a:pt x="45317" y="8444"/>
                </a:cubicBezTo>
                <a:close/>
                <a:moveTo>
                  <a:pt x="49617" y="15747"/>
                </a:moveTo>
                <a:lnTo>
                  <a:pt x="47991" y="15747"/>
                </a:lnTo>
                <a:lnTo>
                  <a:pt x="47991" y="12713"/>
                </a:lnTo>
                <a:lnTo>
                  <a:pt x="49617" y="12713"/>
                </a:lnTo>
                <a:close/>
                <a:moveTo>
                  <a:pt x="54762" y="15747"/>
                </a:moveTo>
                <a:lnTo>
                  <a:pt x="53135" y="15747"/>
                </a:lnTo>
                <a:lnTo>
                  <a:pt x="53135" y="12713"/>
                </a:lnTo>
                <a:lnTo>
                  <a:pt x="54762" y="12713"/>
                </a:lnTo>
                <a:close/>
                <a:moveTo>
                  <a:pt x="55465" y="15747"/>
                </a:moveTo>
                <a:lnTo>
                  <a:pt x="55465" y="12354"/>
                </a:lnTo>
                <a:cubicBezTo>
                  <a:pt x="55465" y="12150"/>
                  <a:pt x="55309" y="11994"/>
                  <a:pt x="55121" y="11994"/>
                </a:cubicBezTo>
                <a:lnTo>
                  <a:pt x="52776" y="11994"/>
                </a:lnTo>
                <a:cubicBezTo>
                  <a:pt x="52572" y="11994"/>
                  <a:pt x="52416" y="12150"/>
                  <a:pt x="52416" y="12354"/>
                </a:cubicBezTo>
                <a:lnTo>
                  <a:pt x="52416" y="15747"/>
                </a:lnTo>
                <a:lnTo>
                  <a:pt x="50321" y="15747"/>
                </a:lnTo>
                <a:lnTo>
                  <a:pt x="50321" y="12354"/>
                </a:lnTo>
                <a:cubicBezTo>
                  <a:pt x="50321" y="12150"/>
                  <a:pt x="50164" y="11994"/>
                  <a:pt x="49961" y="11994"/>
                </a:cubicBezTo>
                <a:lnTo>
                  <a:pt x="47631" y="11994"/>
                </a:lnTo>
                <a:cubicBezTo>
                  <a:pt x="47428" y="11994"/>
                  <a:pt x="47271" y="12150"/>
                  <a:pt x="47271" y="12354"/>
                </a:cubicBezTo>
                <a:lnTo>
                  <a:pt x="47271" y="15747"/>
                </a:lnTo>
                <a:lnTo>
                  <a:pt x="46114" y="15747"/>
                </a:lnTo>
                <a:lnTo>
                  <a:pt x="46114" y="8226"/>
                </a:lnTo>
                <a:cubicBezTo>
                  <a:pt x="46223" y="8163"/>
                  <a:pt x="46318" y="8084"/>
                  <a:pt x="46411" y="8006"/>
                </a:cubicBezTo>
                <a:cubicBezTo>
                  <a:pt x="46443" y="7959"/>
                  <a:pt x="46490" y="7928"/>
                  <a:pt x="46521" y="7881"/>
                </a:cubicBezTo>
                <a:cubicBezTo>
                  <a:pt x="46552" y="7928"/>
                  <a:pt x="46599" y="7959"/>
                  <a:pt x="46630" y="7991"/>
                </a:cubicBezTo>
                <a:cubicBezTo>
                  <a:pt x="46928" y="8288"/>
                  <a:pt x="47318" y="8444"/>
                  <a:pt x="47725" y="8444"/>
                </a:cubicBezTo>
                <a:cubicBezTo>
                  <a:pt x="48194" y="8444"/>
                  <a:pt x="48616" y="8226"/>
                  <a:pt x="48898" y="7897"/>
                </a:cubicBezTo>
                <a:cubicBezTo>
                  <a:pt x="49179" y="8226"/>
                  <a:pt x="49601" y="8444"/>
                  <a:pt x="50070" y="8444"/>
                </a:cubicBezTo>
                <a:cubicBezTo>
                  <a:pt x="50539" y="8444"/>
                  <a:pt x="50962" y="8226"/>
                  <a:pt x="51243" y="7897"/>
                </a:cubicBezTo>
                <a:cubicBezTo>
                  <a:pt x="51525" y="8226"/>
                  <a:pt x="51947" y="8444"/>
                  <a:pt x="52416" y="8444"/>
                </a:cubicBezTo>
                <a:cubicBezTo>
                  <a:pt x="52885" y="8444"/>
                  <a:pt x="53307" y="8226"/>
                  <a:pt x="53589" y="7897"/>
                </a:cubicBezTo>
                <a:cubicBezTo>
                  <a:pt x="53870" y="8226"/>
                  <a:pt x="54292" y="8444"/>
                  <a:pt x="54762" y="8444"/>
                </a:cubicBezTo>
                <a:cubicBezTo>
                  <a:pt x="55199" y="8444"/>
                  <a:pt x="55606" y="8241"/>
                  <a:pt x="55887" y="7944"/>
                </a:cubicBezTo>
                <a:cubicBezTo>
                  <a:pt x="56075" y="8178"/>
                  <a:pt x="56325" y="8351"/>
                  <a:pt x="56623" y="8413"/>
                </a:cubicBezTo>
                <a:lnTo>
                  <a:pt x="56623" y="15747"/>
                </a:lnTo>
                <a:close/>
                <a:moveTo>
                  <a:pt x="44707" y="6693"/>
                </a:moveTo>
                <a:lnTo>
                  <a:pt x="46208" y="2877"/>
                </a:lnTo>
                <a:lnTo>
                  <a:pt x="56263" y="2877"/>
                </a:lnTo>
                <a:lnTo>
                  <a:pt x="57561" y="6677"/>
                </a:lnTo>
                <a:lnTo>
                  <a:pt x="57561" y="6912"/>
                </a:lnTo>
                <a:cubicBezTo>
                  <a:pt x="57561" y="7209"/>
                  <a:pt x="57467" y="7506"/>
                  <a:pt x="57232" y="7647"/>
                </a:cubicBezTo>
                <a:cubicBezTo>
                  <a:pt x="57169" y="7584"/>
                  <a:pt x="57076" y="7553"/>
                  <a:pt x="56982" y="7553"/>
                </a:cubicBezTo>
                <a:cubicBezTo>
                  <a:pt x="56873" y="7553"/>
                  <a:pt x="56763" y="7600"/>
                  <a:pt x="56701" y="7694"/>
                </a:cubicBezTo>
                <a:cubicBezTo>
                  <a:pt x="56403" y="7584"/>
                  <a:pt x="56278" y="7240"/>
                  <a:pt x="56278" y="6912"/>
                </a:cubicBezTo>
                <a:cubicBezTo>
                  <a:pt x="56278" y="6724"/>
                  <a:pt x="56122" y="6552"/>
                  <a:pt x="55935" y="6552"/>
                </a:cubicBezTo>
                <a:cubicBezTo>
                  <a:pt x="55731" y="6552"/>
                  <a:pt x="55575" y="6724"/>
                  <a:pt x="55575" y="6912"/>
                </a:cubicBezTo>
                <a:cubicBezTo>
                  <a:pt x="55575" y="7365"/>
                  <a:pt x="55199" y="7725"/>
                  <a:pt x="54762" y="7725"/>
                </a:cubicBezTo>
                <a:cubicBezTo>
                  <a:pt x="54308" y="7725"/>
                  <a:pt x="53948" y="7365"/>
                  <a:pt x="53948" y="6912"/>
                </a:cubicBezTo>
                <a:cubicBezTo>
                  <a:pt x="53948" y="6724"/>
                  <a:pt x="53792" y="6552"/>
                  <a:pt x="53589" y="6552"/>
                </a:cubicBezTo>
                <a:cubicBezTo>
                  <a:pt x="53386" y="6552"/>
                  <a:pt x="53229" y="6724"/>
                  <a:pt x="53229" y="6912"/>
                </a:cubicBezTo>
                <a:cubicBezTo>
                  <a:pt x="53229" y="7365"/>
                  <a:pt x="52870" y="7725"/>
                  <a:pt x="52416" y="7725"/>
                </a:cubicBezTo>
                <a:cubicBezTo>
                  <a:pt x="51962" y="7725"/>
                  <a:pt x="51603" y="7365"/>
                  <a:pt x="51603" y="6912"/>
                </a:cubicBezTo>
                <a:cubicBezTo>
                  <a:pt x="51603" y="6724"/>
                  <a:pt x="51447" y="6552"/>
                  <a:pt x="51243" y="6552"/>
                </a:cubicBezTo>
                <a:cubicBezTo>
                  <a:pt x="51056" y="6552"/>
                  <a:pt x="50884" y="6724"/>
                  <a:pt x="50884" y="6912"/>
                </a:cubicBezTo>
                <a:cubicBezTo>
                  <a:pt x="50884" y="7365"/>
                  <a:pt x="50524" y="7725"/>
                  <a:pt x="50070" y="7725"/>
                </a:cubicBezTo>
                <a:cubicBezTo>
                  <a:pt x="49617" y="7725"/>
                  <a:pt x="49257" y="7365"/>
                  <a:pt x="49257" y="6912"/>
                </a:cubicBezTo>
                <a:cubicBezTo>
                  <a:pt x="49257" y="6724"/>
                  <a:pt x="49101" y="6552"/>
                  <a:pt x="48898" y="6552"/>
                </a:cubicBezTo>
                <a:cubicBezTo>
                  <a:pt x="48694" y="6552"/>
                  <a:pt x="48538" y="6724"/>
                  <a:pt x="48538" y="6912"/>
                </a:cubicBezTo>
                <a:cubicBezTo>
                  <a:pt x="48538" y="7365"/>
                  <a:pt x="48178" y="7725"/>
                  <a:pt x="47725" y="7725"/>
                </a:cubicBezTo>
                <a:cubicBezTo>
                  <a:pt x="47271" y="7725"/>
                  <a:pt x="46880" y="7350"/>
                  <a:pt x="46880" y="6912"/>
                </a:cubicBezTo>
                <a:cubicBezTo>
                  <a:pt x="46880" y="6724"/>
                  <a:pt x="46724" y="6552"/>
                  <a:pt x="46521" y="6552"/>
                </a:cubicBezTo>
                <a:cubicBezTo>
                  <a:pt x="46333" y="6552"/>
                  <a:pt x="46177" y="6724"/>
                  <a:pt x="46177" y="6912"/>
                </a:cubicBezTo>
                <a:cubicBezTo>
                  <a:pt x="46177" y="7178"/>
                  <a:pt x="46036" y="7412"/>
                  <a:pt x="45833" y="7553"/>
                </a:cubicBezTo>
                <a:lnTo>
                  <a:pt x="45755" y="7553"/>
                </a:lnTo>
                <a:cubicBezTo>
                  <a:pt x="45630" y="7553"/>
                  <a:pt x="45520" y="7616"/>
                  <a:pt x="45457" y="7709"/>
                </a:cubicBezTo>
                <a:cubicBezTo>
                  <a:pt x="45410" y="7725"/>
                  <a:pt x="45364" y="7725"/>
                  <a:pt x="45317" y="7725"/>
                </a:cubicBezTo>
                <a:cubicBezTo>
                  <a:pt x="45035" y="7725"/>
                  <a:pt x="44707" y="7365"/>
                  <a:pt x="44707" y="6912"/>
                </a:cubicBezTo>
                <a:close/>
                <a:moveTo>
                  <a:pt x="54652" y="9195"/>
                </a:moveTo>
                <a:lnTo>
                  <a:pt x="48100" y="9195"/>
                </a:lnTo>
                <a:cubicBezTo>
                  <a:pt x="47897" y="9195"/>
                  <a:pt x="47741" y="9351"/>
                  <a:pt x="47741" y="9555"/>
                </a:cubicBezTo>
                <a:lnTo>
                  <a:pt x="47741" y="10946"/>
                </a:lnTo>
                <a:cubicBezTo>
                  <a:pt x="47741" y="11149"/>
                  <a:pt x="47897" y="11306"/>
                  <a:pt x="48100" y="11306"/>
                </a:cubicBezTo>
                <a:lnTo>
                  <a:pt x="54652" y="11306"/>
                </a:lnTo>
                <a:cubicBezTo>
                  <a:pt x="54840" y="11306"/>
                  <a:pt x="55012" y="11149"/>
                  <a:pt x="55012" y="10946"/>
                </a:cubicBezTo>
                <a:lnTo>
                  <a:pt x="55012" y="9555"/>
                </a:lnTo>
                <a:cubicBezTo>
                  <a:pt x="55012" y="9351"/>
                  <a:pt x="54840" y="9195"/>
                  <a:pt x="54652" y="9195"/>
                </a:cubicBezTo>
                <a:close/>
                <a:moveTo>
                  <a:pt x="54292" y="10586"/>
                </a:moveTo>
                <a:lnTo>
                  <a:pt x="48460" y="10586"/>
                </a:lnTo>
                <a:lnTo>
                  <a:pt x="48460" y="9898"/>
                </a:lnTo>
                <a:lnTo>
                  <a:pt x="54292" y="9898"/>
                </a:lnTo>
                <a:close/>
                <a:moveTo>
                  <a:pt x="22830" y="6568"/>
                </a:moveTo>
                <a:lnTo>
                  <a:pt x="11603" y="8210"/>
                </a:lnTo>
                <a:cubicBezTo>
                  <a:pt x="11493" y="8226"/>
                  <a:pt x="11400" y="8288"/>
                  <a:pt x="11353" y="8382"/>
                </a:cubicBezTo>
                <a:cubicBezTo>
                  <a:pt x="11290" y="8476"/>
                  <a:pt x="11290" y="8585"/>
                  <a:pt x="11321" y="8679"/>
                </a:cubicBezTo>
                <a:lnTo>
                  <a:pt x="13370" y="14199"/>
                </a:lnTo>
                <a:cubicBezTo>
                  <a:pt x="13417" y="14339"/>
                  <a:pt x="13558" y="14433"/>
                  <a:pt x="13698" y="14433"/>
                </a:cubicBezTo>
                <a:lnTo>
                  <a:pt x="22142" y="14433"/>
                </a:lnTo>
                <a:cubicBezTo>
                  <a:pt x="22283" y="14433"/>
                  <a:pt x="22424" y="14355"/>
                  <a:pt x="22471" y="14214"/>
                </a:cubicBezTo>
                <a:lnTo>
                  <a:pt x="25661" y="5849"/>
                </a:lnTo>
                <a:lnTo>
                  <a:pt x="27631" y="5849"/>
                </a:lnTo>
                <a:lnTo>
                  <a:pt x="27631" y="6412"/>
                </a:lnTo>
                <a:cubicBezTo>
                  <a:pt x="27631" y="6615"/>
                  <a:pt x="27788" y="6771"/>
                  <a:pt x="27975" y="6771"/>
                </a:cubicBezTo>
                <a:cubicBezTo>
                  <a:pt x="28178" y="6771"/>
                  <a:pt x="28335" y="6615"/>
                  <a:pt x="28335" y="6412"/>
                </a:cubicBezTo>
                <a:lnTo>
                  <a:pt x="28335" y="5489"/>
                </a:lnTo>
                <a:cubicBezTo>
                  <a:pt x="28335" y="5301"/>
                  <a:pt x="28178" y="5145"/>
                  <a:pt x="27975" y="5145"/>
                </a:cubicBezTo>
                <a:lnTo>
                  <a:pt x="25411" y="5145"/>
                </a:lnTo>
                <a:cubicBezTo>
                  <a:pt x="25270" y="5145"/>
                  <a:pt x="25129" y="5223"/>
                  <a:pt x="25082" y="5364"/>
                </a:cubicBezTo>
                <a:lnTo>
                  <a:pt x="21892" y="13730"/>
                </a:lnTo>
                <a:lnTo>
                  <a:pt x="13948" y="13730"/>
                </a:lnTo>
                <a:cubicBezTo>
                  <a:pt x="12150" y="8851"/>
                  <a:pt x="12749" y="10478"/>
                  <a:pt x="12150" y="8851"/>
                </a:cubicBezTo>
                <a:lnTo>
                  <a:pt x="22940" y="7271"/>
                </a:lnTo>
                <a:cubicBezTo>
                  <a:pt x="23127" y="7240"/>
                  <a:pt x="23268" y="7053"/>
                  <a:pt x="23237" y="6865"/>
                </a:cubicBezTo>
                <a:cubicBezTo>
                  <a:pt x="23206" y="6662"/>
                  <a:pt x="23034" y="6537"/>
                  <a:pt x="22830" y="6568"/>
                </a:cubicBezTo>
                <a:close/>
                <a:moveTo>
                  <a:pt x="18843" y="16294"/>
                </a:moveTo>
                <a:cubicBezTo>
                  <a:pt x="18843" y="16998"/>
                  <a:pt x="19422" y="17576"/>
                  <a:pt x="20141" y="17576"/>
                </a:cubicBezTo>
                <a:cubicBezTo>
                  <a:pt x="20845" y="17576"/>
                  <a:pt x="21423" y="16998"/>
                  <a:pt x="21423" y="16294"/>
                </a:cubicBezTo>
                <a:cubicBezTo>
                  <a:pt x="21423" y="15575"/>
                  <a:pt x="20845" y="14996"/>
                  <a:pt x="20141" y="14996"/>
                </a:cubicBezTo>
                <a:cubicBezTo>
                  <a:pt x="19422" y="14996"/>
                  <a:pt x="18843" y="15575"/>
                  <a:pt x="18843" y="16294"/>
                </a:cubicBezTo>
                <a:close/>
                <a:moveTo>
                  <a:pt x="20720" y="16294"/>
                </a:moveTo>
                <a:cubicBezTo>
                  <a:pt x="20720" y="16607"/>
                  <a:pt x="20453" y="16873"/>
                  <a:pt x="20141" y="16873"/>
                </a:cubicBezTo>
                <a:cubicBezTo>
                  <a:pt x="19812" y="16873"/>
                  <a:pt x="19547" y="16607"/>
                  <a:pt x="19547" y="16294"/>
                </a:cubicBezTo>
                <a:cubicBezTo>
                  <a:pt x="19547" y="15966"/>
                  <a:pt x="19812" y="15715"/>
                  <a:pt x="20141" y="15715"/>
                </a:cubicBezTo>
                <a:cubicBezTo>
                  <a:pt x="20453" y="15715"/>
                  <a:pt x="20720" y="15966"/>
                  <a:pt x="20720" y="16294"/>
                </a:cubicBezTo>
                <a:close/>
                <a:moveTo>
                  <a:pt x="14402" y="16294"/>
                </a:moveTo>
                <a:cubicBezTo>
                  <a:pt x="14402" y="16998"/>
                  <a:pt x="14996" y="17576"/>
                  <a:pt x="15700" y="17576"/>
                </a:cubicBezTo>
                <a:cubicBezTo>
                  <a:pt x="16419" y="17576"/>
                  <a:pt x="16998" y="16998"/>
                  <a:pt x="16998" y="16294"/>
                </a:cubicBezTo>
                <a:cubicBezTo>
                  <a:pt x="16998" y="15575"/>
                  <a:pt x="16419" y="14996"/>
                  <a:pt x="15700" y="14996"/>
                </a:cubicBezTo>
                <a:cubicBezTo>
                  <a:pt x="14996" y="14996"/>
                  <a:pt x="14402" y="15575"/>
                  <a:pt x="14402" y="16294"/>
                </a:cubicBezTo>
                <a:close/>
                <a:moveTo>
                  <a:pt x="16279" y="16294"/>
                </a:moveTo>
                <a:cubicBezTo>
                  <a:pt x="16279" y="16607"/>
                  <a:pt x="16028" y="16873"/>
                  <a:pt x="15700" y="16873"/>
                </a:cubicBezTo>
                <a:cubicBezTo>
                  <a:pt x="15387" y="16873"/>
                  <a:pt x="15121" y="16607"/>
                  <a:pt x="15121" y="16294"/>
                </a:cubicBezTo>
                <a:cubicBezTo>
                  <a:pt x="15121" y="15966"/>
                  <a:pt x="15387" y="15715"/>
                  <a:pt x="15700" y="15715"/>
                </a:cubicBezTo>
                <a:cubicBezTo>
                  <a:pt x="16028" y="15715"/>
                  <a:pt x="16279" y="15966"/>
                  <a:pt x="16279" y="16294"/>
                </a:cubicBezTo>
                <a:close/>
                <a:moveTo>
                  <a:pt x="56231" y="44879"/>
                </a:moveTo>
                <a:lnTo>
                  <a:pt x="56263" y="44879"/>
                </a:lnTo>
                <a:lnTo>
                  <a:pt x="56278" y="44879"/>
                </a:lnTo>
                <a:lnTo>
                  <a:pt x="56294" y="44879"/>
                </a:lnTo>
                <a:cubicBezTo>
                  <a:pt x="56299" y="44874"/>
                  <a:pt x="56294" y="44863"/>
                  <a:pt x="56310" y="44863"/>
                </a:cubicBezTo>
                <a:lnTo>
                  <a:pt x="56325" y="44863"/>
                </a:lnTo>
                <a:lnTo>
                  <a:pt x="56341" y="44863"/>
                </a:lnTo>
                <a:cubicBezTo>
                  <a:pt x="56341" y="44848"/>
                  <a:pt x="56351" y="44853"/>
                  <a:pt x="56356" y="44848"/>
                </a:cubicBezTo>
                <a:lnTo>
                  <a:pt x="56372" y="44848"/>
                </a:lnTo>
                <a:lnTo>
                  <a:pt x="56419" y="44801"/>
                </a:lnTo>
                <a:lnTo>
                  <a:pt x="56466" y="44754"/>
                </a:lnTo>
                <a:cubicBezTo>
                  <a:pt x="56481" y="44754"/>
                  <a:pt x="56476" y="44743"/>
                  <a:pt x="56481" y="44738"/>
                </a:cubicBezTo>
                <a:lnTo>
                  <a:pt x="56497" y="44722"/>
                </a:lnTo>
                <a:cubicBezTo>
                  <a:pt x="56502" y="44717"/>
                  <a:pt x="56497" y="44707"/>
                  <a:pt x="56513" y="44707"/>
                </a:cubicBezTo>
                <a:lnTo>
                  <a:pt x="59218" y="39828"/>
                </a:lnTo>
                <a:cubicBezTo>
                  <a:pt x="59250" y="39766"/>
                  <a:pt x="59265" y="39703"/>
                  <a:pt x="59265" y="39641"/>
                </a:cubicBezTo>
                <a:lnTo>
                  <a:pt x="59265" y="32057"/>
                </a:lnTo>
                <a:cubicBezTo>
                  <a:pt x="59265" y="31853"/>
                  <a:pt x="59108" y="31697"/>
                  <a:pt x="58905" y="31697"/>
                </a:cubicBezTo>
                <a:lnTo>
                  <a:pt x="58827" y="31697"/>
                </a:lnTo>
                <a:lnTo>
                  <a:pt x="57545" y="31697"/>
                </a:lnTo>
                <a:lnTo>
                  <a:pt x="48663" y="31697"/>
                </a:lnTo>
                <a:cubicBezTo>
                  <a:pt x="48554" y="31697"/>
                  <a:pt x="48444" y="31744"/>
                  <a:pt x="48366" y="31837"/>
                </a:cubicBezTo>
                <a:lnTo>
                  <a:pt x="45598" y="35637"/>
                </a:lnTo>
                <a:cubicBezTo>
                  <a:pt x="45598" y="35653"/>
                  <a:pt x="45582" y="35653"/>
                  <a:pt x="45582" y="35668"/>
                </a:cubicBezTo>
                <a:cubicBezTo>
                  <a:pt x="45567" y="35684"/>
                  <a:pt x="45567" y="35684"/>
                  <a:pt x="45567" y="35700"/>
                </a:cubicBezTo>
                <a:cubicBezTo>
                  <a:pt x="45551" y="35715"/>
                  <a:pt x="45551" y="35715"/>
                  <a:pt x="45551" y="35731"/>
                </a:cubicBezTo>
                <a:lnTo>
                  <a:pt x="45551" y="35747"/>
                </a:lnTo>
                <a:cubicBezTo>
                  <a:pt x="45546" y="35753"/>
                  <a:pt x="45551" y="35747"/>
                  <a:pt x="45535" y="35763"/>
                </a:cubicBezTo>
                <a:lnTo>
                  <a:pt x="45535" y="35778"/>
                </a:lnTo>
                <a:lnTo>
                  <a:pt x="45535" y="35794"/>
                </a:lnTo>
                <a:lnTo>
                  <a:pt x="45535" y="35810"/>
                </a:lnTo>
                <a:lnTo>
                  <a:pt x="45535" y="35825"/>
                </a:lnTo>
                <a:lnTo>
                  <a:pt x="45535" y="35841"/>
                </a:lnTo>
                <a:lnTo>
                  <a:pt x="45535" y="35856"/>
                </a:lnTo>
                <a:lnTo>
                  <a:pt x="45535" y="44535"/>
                </a:lnTo>
                <a:cubicBezTo>
                  <a:pt x="45535" y="44722"/>
                  <a:pt x="45692" y="44895"/>
                  <a:pt x="45880" y="44895"/>
                </a:cubicBezTo>
                <a:lnTo>
                  <a:pt x="56185" y="44895"/>
                </a:lnTo>
                <a:lnTo>
                  <a:pt x="56200" y="44895"/>
                </a:lnTo>
                <a:cubicBezTo>
                  <a:pt x="56210" y="44890"/>
                  <a:pt x="56216" y="44879"/>
                  <a:pt x="56231" y="44879"/>
                </a:cubicBezTo>
                <a:close/>
                <a:moveTo>
                  <a:pt x="56544" y="43159"/>
                </a:moveTo>
                <a:lnTo>
                  <a:pt x="56544" y="35966"/>
                </a:lnTo>
                <a:lnTo>
                  <a:pt x="58546" y="33088"/>
                </a:lnTo>
                <a:lnTo>
                  <a:pt x="58546" y="39562"/>
                </a:lnTo>
                <a:close/>
                <a:moveTo>
                  <a:pt x="58155" y="32416"/>
                </a:moveTo>
                <a:lnTo>
                  <a:pt x="56013" y="35497"/>
                </a:lnTo>
                <a:lnTo>
                  <a:pt x="51384" y="35497"/>
                </a:lnTo>
                <a:lnTo>
                  <a:pt x="53683" y="32416"/>
                </a:lnTo>
                <a:lnTo>
                  <a:pt x="57545" y="32416"/>
                </a:lnTo>
                <a:close/>
                <a:moveTo>
                  <a:pt x="48835" y="32416"/>
                </a:moveTo>
                <a:lnTo>
                  <a:pt x="52791" y="32416"/>
                </a:lnTo>
                <a:lnTo>
                  <a:pt x="50477" y="35497"/>
                </a:lnTo>
                <a:lnTo>
                  <a:pt x="46583" y="35497"/>
                </a:lnTo>
                <a:close/>
                <a:moveTo>
                  <a:pt x="46239" y="36200"/>
                </a:moveTo>
                <a:lnTo>
                  <a:pt x="55840" y="36200"/>
                </a:lnTo>
                <a:lnTo>
                  <a:pt x="55840" y="44175"/>
                </a:lnTo>
                <a:lnTo>
                  <a:pt x="46239" y="44175"/>
                </a:lnTo>
                <a:close/>
                <a:moveTo>
                  <a:pt x="52119" y="38202"/>
                </a:moveTo>
                <a:lnTo>
                  <a:pt x="49413" y="38202"/>
                </a:lnTo>
                <a:cubicBezTo>
                  <a:pt x="49210" y="38202"/>
                  <a:pt x="49054" y="38358"/>
                  <a:pt x="49054" y="38562"/>
                </a:cubicBezTo>
                <a:cubicBezTo>
                  <a:pt x="49054" y="38765"/>
                  <a:pt x="49210" y="38921"/>
                  <a:pt x="49413" y="38921"/>
                </a:cubicBezTo>
                <a:lnTo>
                  <a:pt x="52119" y="38921"/>
                </a:lnTo>
                <a:cubicBezTo>
                  <a:pt x="52322" y="38921"/>
                  <a:pt x="52478" y="38765"/>
                  <a:pt x="52478" y="38562"/>
                </a:cubicBezTo>
                <a:cubicBezTo>
                  <a:pt x="52478" y="38358"/>
                  <a:pt x="52322" y="38202"/>
                  <a:pt x="52119" y="38202"/>
                </a:cubicBezTo>
                <a:close/>
                <a:moveTo>
                  <a:pt x="62768" y="20454"/>
                </a:moveTo>
                <a:lnTo>
                  <a:pt x="54902" y="20454"/>
                </a:lnTo>
                <a:cubicBezTo>
                  <a:pt x="53761" y="20454"/>
                  <a:pt x="52838" y="21376"/>
                  <a:pt x="52838" y="22502"/>
                </a:cubicBezTo>
                <a:lnTo>
                  <a:pt x="52838" y="26881"/>
                </a:lnTo>
                <a:cubicBezTo>
                  <a:pt x="52838" y="28022"/>
                  <a:pt x="53761" y="28945"/>
                  <a:pt x="54902" y="28945"/>
                </a:cubicBezTo>
                <a:lnTo>
                  <a:pt x="62533" y="28945"/>
                </a:lnTo>
                <a:cubicBezTo>
                  <a:pt x="62549" y="29007"/>
                  <a:pt x="62580" y="29070"/>
                  <a:pt x="62611" y="29148"/>
                </a:cubicBezTo>
                <a:cubicBezTo>
                  <a:pt x="62658" y="29304"/>
                  <a:pt x="62799" y="29383"/>
                  <a:pt x="62940" y="29383"/>
                </a:cubicBezTo>
                <a:cubicBezTo>
                  <a:pt x="62987" y="29383"/>
                  <a:pt x="63018" y="29383"/>
                  <a:pt x="63065" y="29367"/>
                </a:cubicBezTo>
                <a:cubicBezTo>
                  <a:pt x="63253" y="29304"/>
                  <a:pt x="63346" y="29101"/>
                  <a:pt x="63284" y="28913"/>
                </a:cubicBezTo>
                <a:cubicBezTo>
                  <a:pt x="63268" y="28898"/>
                  <a:pt x="63273" y="28893"/>
                  <a:pt x="63268" y="28882"/>
                </a:cubicBezTo>
                <a:cubicBezTo>
                  <a:pt x="64159" y="28663"/>
                  <a:pt x="64832" y="27850"/>
                  <a:pt x="64832" y="26881"/>
                </a:cubicBezTo>
                <a:lnTo>
                  <a:pt x="64832" y="22502"/>
                </a:lnTo>
                <a:cubicBezTo>
                  <a:pt x="64832" y="21376"/>
                  <a:pt x="63909" y="20454"/>
                  <a:pt x="62768" y="20454"/>
                </a:cubicBezTo>
                <a:close/>
                <a:moveTo>
                  <a:pt x="54902" y="21157"/>
                </a:moveTo>
                <a:lnTo>
                  <a:pt x="62768" y="21157"/>
                </a:lnTo>
                <a:cubicBezTo>
                  <a:pt x="63471" y="21157"/>
                  <a:pt x="64050" y="21705"/>
                  <a:pt x="64112" y="22393"/>
                </a:cubicBezTo>
                <a:lnTo>
                  <a:pt x="53558" y="22393"/>
                </a:lnTo>
                <a:cubicBezTo>
                  <a:pt x="53620" y="21705"/>
                  <a:pt x="54199" y="21157"/>
                  <a:pt x="54902" y="21157"/>
                </a:cubicBezTo>
                <a:close/>
                <a:moveTo>
                  <a:pt x="62768" y="28225"/>
                </a:moveTo>
                <a:lnTo>
                  <a:pt x="54902" y="28225"/>
                </a:lnTo>
                <a:cubicBezTo>
                  <a:pt x="54152" y="28225"/>
                  <a:pt x="53558" y="27631"/>
                  <a:pt x="53558" y="26881"/>
                </a:cubicBezTo>
                <a:lnTo>
                  <a:pt x="53558" y="23112"/>
                </a:lnTo>
                <a:lnTo>
                  <a:pt x="64112" y="23112"/>
                </a:lnTo>
                <a:lnTo>
                  <a:pt x="64112" y="26881"/>
                </a:lnTo>
                <a:cubicBezTo>
                  <a:pt x="64112" y="27631"/>
                  <a:pt x="63503" y="28225"/>
                  <a:pt x="62768" y="28225"/>
                </a:cubicBezTo>
                <a:close/>
                <a:moveTo>
                  <a:pt x="58280" y="25504"/>
                </a:moveTo>
                <a:lnTo>
                  <a:pt x="54715" y="25504"/>
                </a:lnTo>
                <a:cubicBezTo>
                  <a:pt x="54511" y="25504"/>
                  <a:pt x="54355" y="25661"/>
                  <a:pt x="54355" y="25864"/>
                </a:cubicBezTo>
                <a:cubicBezTo>
                  <a:pt x="54355" y="26052"/>
                  <a:pt x="54511" y="26224"/>
                  <a:pt x="54715" y="26224"/>
                </a:cubicBezTo>
                <a:lnTo>
                  <a:pt x="58280" y="26224"/>
                </a:lnTo>
                <a:cubicBezTo>
                  <a:pt x="58483" y="26224"/>
                  <a:pt x="58640" y="26052"/>
                  <a:pt x="58640" y="25864"/>
                </a:cubicBezTo>
                <a:cubicBezTo>
                  <a:pt x="58640" y="25661"/>
                  <a:pt x="58483" y="25504"/>
                  <a:pt x="58280" y="25504"/>
                </a:cubicBezTo>
                <a:close/>
                <a:moveTo>
                  <a:pt x="54715" y="25442"/>
                </a:moveTo>
                <a:lnTo>
                  <a:pt x="56310" y="25442"/>
                </a:lnTo>
                <a:cubicBezTo>
                  <a:pt x="56497" y="25442"/>
                  <a:pt x="56669" y="25285"/>
                  <a:pt x="56669" y="25082"/>
                </a:cubicBezTo>
                <a:cubicBezTo>
                  <a:pt x="56669" y="24895"/>
                  <a:pt x="56497" y="24722"/>
                  <a:pt x="56310" y="24722"/>
                </a:cubicBezTo>
                <a:lnTo>
                  <a:pt x="54715" y="24722"/>
                </a:lnTo>
                <a:cubicBezTo>
                  <a:pt x="54511" y="24722"/>
                  <a:pt x="54355" y="24895"/>
                  <a:pt x="54355" y="25082"/>
                </a:cubicBezTo>
                <a:cubicBezTo>
                  <a:pt x="54355" y="25285"/>
                  <a:pt x="54511" y="25442"/>
                  <a:pt x="54715" y="25442"/>
                </a:cubicBezTo>
                <a:close/>
                <a:moveTo>
                  <a:pt x="1423" y="30477"/>
                </a:moveTo>
                <a:cubicBezTo>
                  <a:pt x="642" y="30477"/>
                  <a:pt x="0" y="31118"/>
                  <a:pt x="0" y="31915"/>
                </a:cubicBezTo>
                <a:cubicBezTo>
                  <a:pt x="0" y="32713"/>
                  <a:pt x="642" y="33370"/>
                  <a:pt x="1423" y="33370"/>
                </a:cubicBezTo>
                <a:cubicBezTo>
                  <a:pt x="2221" y="33370"/>
                  <a:pt x="2862" y="32713"/>
                  <a:pt x="2862" y="31915"/>
                </a:cubicBezTo>
                <a:cubicBezTo>
                  <a:pt x="2862" y="31118"/>
                  <a:pt x="2221" y="30477"/>
                  <a:pt x="1423" y="30477"/>
                </a:cubicBezTo>
                <a:close/>
                <a:moveTo>
                  <a:pt x="1423" y="32651"/>
                </a:moveTo>
                <a:cubicBezTo>
                  <a:pt x="1032" y="32651"/>
                  <a:pt x="704" y="32322"/>
                  <a:pt x="704" y="31915"/>
                </a:cubicBezTo>
                <a:cubicBezTo>
                  <a:pt x="704" y="31509"/>
                  <a:pt x="1032" y="31181"/>
                  <a:pt x="1423" y="31181"/>
                </a:cubicBezTo>
                <a:cubicBezTo>
                  <a:pt x="1830" y="31181"/>
                  <a:pt x="2143" y="31509"/>
                  <a:pt x="2143" y="31915"/>
                </a:cubicBezTo>
                <a:cubicBezTo>
                  <a:pt x="2143" y="32322"/>
                  <a:pt x="1830" y="32651"/>
                  <a:pt x="1423" y="32651"/>
                </a:cubicBezTo>
                <a:close/>
                <a:moveTo>
                  <a:pt x="16216" y="32166"/>
                </a:moveTo>
                <a:lnTo>
                  <a:pt x="16310" y="32400"/>
                </a:lnTo>
                <a:lnTo>
                  <a:pt x="16310" y="32416"/>
                </a:lnTo>
                <a:cubicBezTo>
                  <a:pt x="16372" y="32557"/>
                  <a:pt x="16513" y="32666"/>
                  <a:pt x="16669" y="32666"/>
                </a:cubicBezTo>
                <a:cubicBezTo>
                  <a:pt x="16920" y="33088"/>
                  <a:pt x="17389" y="33370"/>
                  <a:pt x="17905" y="33370"/>
                </a:cubicBezTo>
                <a:cubicBezTo>
                  <a:pt x="18577" y="33370"/>
                  <a:pt x="19140" y="32901"/>
                  <a:pt x="19297" y="32275"/>
                </a:cubicBezTo>
                <a:lnTo>
                  <a:pt x="19875" y="32275"/>
                </a:lnTo>
                <a:cubicBezTo>
                  <a:pt x="20219" y="32275"/>
                  <a:pt x="20422" y="32166"/>
                  <a:pt x="20532" y="31932"/>
                </a:cubicBezTo>
                <a:lnTo>
                  <a:pt x="20532" y="31915"/>
                </a:lnTo>
                <a:cubicBezTo>
                  <a:pt x="20579" y="31806"/>
                  <a:pt x="20657" y="31369"/>
                  <a:pt x="20516" y="31102"/>
                </a:cubicBezTo>
                <a:cubicBezTo>
                  <a:pt x="20485" y="31024"/>
                  <a:pt x="20438" y="30977"/>
                  <a:pt x="20407" y="30946"/>
                </a:cubicBezTo>
                <a:lnTo>
                  <a:pt x="20407" y="30915"/>
                </a:lnTo>
                <a:cubicBezTo>
                  <a:pt x="20407" y="30821"/>
                  <a:pt x="20360" y="30727"/>
                  <a:pt x="20313" y="30665"/>
                </a:cubicBezTo>
                <a:lnTo>
                  <a:pt x="20313" y="30446"/>
                </a:lnTo>
                <a:cubicBezTo>
                  <a:pt x="20360" y="30383"/>
                  <a:pt x="20407" y="30305"/>
                  <a:pt x="20407" y="30211"/>
                </a:cubicBezTo>
                <a:lnTo>
                  <a:pt x="20407" y="29273"/>
                </a:lnTo>
                <a:cubicBezTo>
                  <a:pt x="20407" y="28867"/>
                  <a:pt x="20094" y="28491"/>
                  <a:pt x="19719" y="28413"/>
                </a:cubicBezTo>
                <a:lnTo>
                  <a:pt x="19703" y="28413"/>
                </a:lnTo>
                <a:lnTo>
                  <a:pt x="17154" y="27928"/>
                </a:lnTo>
                <a:cubicBezTo>
                  <a:pt x="17107" y="27897"/>
                  <a:pt x="16982" y="27772"/>
                  <a:pt x="16842" y="27522"/>
                </a:cubicBezTo>
                <a:lnTo>
                  <a:pt x="16372" y="26646"/>
                </a:lnTo>
                <a:cubicBezTo>
                  <a:pt x="16388" y="26568"/>
                  <a:pt x="16372" y="26474"/>
                  <a:pt x="16325" y="26396"/>
                </a:cubicBezTo>
                <a:lnTo>
                  <a:pt x="15997" y="25880"/>
                </a:lnTo>
                <a:cubicBezTo>
                  <a:pt x="15981" y="25864"/>
                  <a:pt x="15981" y="25864"/>
                  <a:pt x="15966" y="25848"/>
                </a:cubicBezTo>
                <a:lnTo>
                  <a:pt x="15825" y="25692"/>
                </a:lnTo>
                <a:lnTo>
                  <a:pt x="15825" y="25677"/>
                </a:lnTo>
                <a:cubicBezTo>
                  <a:pt x="15794" y="25645"/>
                  <a:pt x="15716" y="25583"/>
                  <a:pt x="15637" y="25536"/>
                </a:cubicBezTo>
                <a:cubicBezTo>
                  <a:pt x="14308" y="24394"/>
                  <a:pt x="14751" y="24775"/>
                  <a:pt x="14308" y="24394"/>
                </a:cubicBezTo>
                <a:cubicBezTo>
                  <a:pt x="14277" y="24363"/>
                  <a:pt x="14246" y="24347"/>
                  <a:pt x="14215" y="24332"/>
                </a:cubicBezTo>
                <a:cubicBezTo>
                  <a:pt x="14199" y="24316"/>
                  <a:pt x="14204" y="24322"/>
                  <a:pt x="14199" y="24316"/>
                </a:cubicBezTo>
                <a:cubicBezTo>
                  <a:pt x="14073" y="24269"/>
                  <a:pt x="13948" y="24206"/>
                  <a:pt x="13730" y="24206"/>
                </a:cubicBezTo>
                <a:lnTo>
                  <a:pt x="12995" y="24206"/>
                </a:lnTo>
                <a:cubicBezTo>
                  <a:pt x="12744" y="24206"/>
                  <a:pt x="12526" y="24426"/>
                  <a:pt x="12526" y="24676"/>
                </a:cubicBezTo>
                <a:lnTo>
                  <a:pt x="12526" y="25848"/>
                </a:lnTo>
                <a:lnTo>
                  <a:pt x="12526" y="26098"/>
                </a:lnTo>
                <a:lnTo>
                  <a:pt x="12526" y="30524"/>
                </a:lnTo>
                <a:lnTo>
                  <a:pt x="10337" y="30524"/>
                </a:lnTo>
                <a:cubicBezTo>
                  <a:pt x="10211" y="30524"/>
                  <a:pt x="10086" y="30571"/>
                  <a:pt x="9992" y="30665"/>
                </a:cubicBezTo>
                <a:cubicBezTo>
                  <a:pt x="9961" y="30712"/>
                  <a:pt x="9930" y="30743"/>
                  <a:pt x="9899" y="30790"/>
                </a:cubicBezTo>
                <a:cubicBezTo>
                  <a:pt x="9664" y="30586"/>
                  <a:pt x="9351" y="30477"/>
                  <a:pt x="9007" y="30477"/>
                </a:cubicBezTo>
                <a:cubicBezTo>
                  <a:pt x="8523" y="30477"/>
                  <a:pt x="8085" y="30712"/>
                  <a:pt x="7835" y="31087"/>
                </a:cubicBezTo>
                <a:cubicBezTo>
                  <a:pt x="7568" y="30712"/>
                  <a:pt x="7147" y="30477"/>
                  <a:pt x="6662" y="30477"/>
                </a:cubicBezTo>
                <a:cubicBezTo>
                  <a:pt x="5864" y="30477"/>
                  <a:pt x="5223" y="31118"/>
                  <a:pt x="5223" y="31915"/>
                </a:cubicBezTo>
                <a:cubicBezTo>
                  <a:pt x="5223" y="32713"/>
                  <a:pt x="5864" y="33370"/>
                  <a:pt x="6662" y="33370"/>
                </a:cubicBezTo>
                <a:cubicBezTo>
                  <a:pt x="7147" y="33370"/>
                  <a:pt x="7568" y="33120"/>
                  <a:pt x="7835" y="32760"/>
                </a:cubicBezTo>
                <a:cubicBezTo>
                  <a:pt x="8085" y="33120"/>
                  <a:pt x="8523" y="33370"/>
                  <a:pt x="9007" y="33370"/>
                </a:cubicBezTo>
                <a:cubicBezTo>
                  <a:pt x="9711" y="33370"/>
                  <a:pt x="10305" y="32854"/>
                  <a:pt x="10415" y="32166"/>
                </a:cubicBezTo>
                <a:close/>
                <a:moveTo>
                  <a:pt x="17905" y="32651"/>
                </a:moveTo>
                <a:cubicBezTo>
                  <a:pt x="17514" y="32651"/>
                  <a:pt x="17185" y="32322"/>
                  <a:pt x="17185" y="31915"/>
                </a:cubicBezTo>
                <a:cubicBezTo>
                  <a:pt x="17185" y="31509"/>
                  <a:pt x="17514" y="31181"/>
                  <a:pt x="17905" y="31181"/>
                </a:cubicBezTo>
                <a:cubicBezTo>
                  <a:pt x="18296" y="31181"/>
                  <a:pt x="18624" y="31509"/>
                  <a:pt x="18624" y="31915"/>
                </a:cubicBezTo>
                <a:cubicBezTo>
                  <a:pt x="18624" y="32322"/>
                  <a:pt x="18296" y="32651"/>
                  <a:pt x="17905" y="32651"/>
                </a:cubicBezTo>
                <a:close/>
                <a:moveTo>
                  <a:pt x="10571" y="31243"/>
                </a:moveTo>
                <a:lnTo>
                  <a:pt x="12744" y="31243"/>
                </a:lnTo>
                <a:cubicBezTo>
                  <a:pt x="12870" y="31243"/>
                  <a:pt x="12995" y="31196"/>
                  <a:pt x="13089" y="31102"/>
                </a:cubicBezTo>
                <a:cubicBezTo>
                  <a:pt x="13182" y="30993"/>
                  <a:pt x="13245" y="30852"/>
                  <a:pt x="13245" y="30712"/>
                </a:cubicBezTo>
                <a:lnTo>
                  <a:pt x="13245" y="26098"/>
                </a:lnTo>
                <a:lnTo>
                  <a:pt x="13245" y="25848"/>
                </a:lnTo>
                <a:lnTo>
                  <a:pt x="13245" y="24926"/>
                </a:lnTo>
                <a:lnTo>
                  <a:pt x="13730" y="24926"/>
                </a:lnTo>
                <a:cubicBezTo>
                  <a:pt x="13792" y="24926"/>
                  <a:pt x="13808" y="24926"/>
                  <a:pt x="13886" y="24957"/>
                </a:cubicBezTo>
                <a:lnTo>
                  <a:pt x="15199" y="26083"/>
                </a:lnTo>
                <a:cubicBezTo>
                  <a:pt x="15215" y="26098"/>
                  <a:pt x="15231" y="26114"/>
                  <a:pt x="15262" y="26130"/>
                </a:cubicBezTo>
                <a:cubicBezTo>
                  <a:pt x="15262" y="26145"/>
                  <a:pt x="15283" y="26151"/>
                  <a:pt x="15293" y="26161"/>
                </a:cubicBezTo>
                <a:lnTo>
                  <a:pt x="15403" y="26286"/>
                </a:lnTo>
                <a:lnTo>
                  <a:pt x="15637" y="26646"/>
                </a:lnTo>
                <a:cubicBezTo>
                  <a:pt x="15637" y="26724"/>
                  <a:pt x="15653" y="26803"/>
                  <a:pt x="15684" y="26865"/>
                </a:cubicBezTo>
                <a:lnTo>
                  <a:pt x="16200" y="27850"/>
                </a:lnTo>
                <a:cubicBezTo>
                  <a:pt x="16372" y="28163"/>
                  <a:pt x="16638" y="28554"/>
                  <a:pt x="16998" y="28632"/>
                </a:cubicBezTo>
                <a:lnTo>
                  <a:pt x="19562" y="29117"/>
                </a:lnTo>
                <a:cubicBezTo>
                  <a:pt x="19625" y="29132"/>
                  <a:pt x="19687" y="29210"/>
                  <a:pt x="19687" y="29273"/>
                </a:cubicBezTo>
                <a:lnTo>
                  <a:pt x="19687" y="30039"/>
                </a:lnTo>
                <a:cubicBezTo>
                  <a:pt x="19625" y="30102"/>
                  <a:pt x="19594" y="30196"/>
                  <a:pt x="19594" y="30289"/>
                </a:cubicBezTo>
                <a:lnTo>
                  <a:pt x="19594" y="30821"/>
                </a:lnTo>
                <a:cubicBezTo>
                  <a:pt x="19594" y="30915"/>
                  <a:pt x="19625" y="31009"/>
                  <a:pt x="19687" y="31087"/>
                </a:cubicBezTo>
                <a:cubicBezTo>
                  <a:pt x="19719" y="31274"/>
                  <a:pt x="19828" y="31369"/>
                  <a:pt x="19875" y="31431"/>
                </a:cubicBezTo>
                <a:lnTo>
                  <a:pt x="19890" y="31431"/>
                </a:lnTo>
                <a:cubicBezTo>
                  <a:pt x="19890" y="31462"/>
                  <a:pt x="19890" y="31509"/>
                  <a:pt x="19875" y="31556"/>
                </a:cubicBezTo>
                <a:lnTo>
                  <a:pt x="19297" y="31556"/>
                </a:lnTo>
                <a:cubicBezTo>
                  <a:pt x="19140" y="30931"/>
                  <a:pt x="18577" y="30477"/>
                  <a:pt x="17905" y="30477"/>
                </a:cubicBezTo>
                <a:cubicBezTo>
                  <a:pt x="17263" y="30477"/>
                  <a:pt x="16717" y="30899"/>
                  <a:pt x="16544" y="31478"/>
                </a:cubicBezTo>
                <a:cubicBezTo>
                  <a:pt x="16482" y="31462"/>
                  <a:pt x="16435" y="31447"/>
                  <a:pt x="16388" y="31447"/>
                </a:cubicBezTo>
                <a:lnTo>
                  <a:pt x="10571" y="31447"/>
                </a:lnTo>
                <a:close/>
                <a:moveTo>
                  <a:pt x="6662" y="32651"/>
                </a:moveTo>
                <a:cubicBezTo>
                  <a:pt x="6271" y="32651"/>
                  <a:pt x="5942" y="32322"/>
                  <a:pt x="5942" y="31915"/>
                </a:cubicBezTo>
                <a:cubicBezTo>
                  <a:pt x="5942" y="31509"/>
                  <a:pt x="6271" y="31181"/>
                  <a:pt x="6662" y="31181"/>
                </a:cubicBezTo>
                <a:cubicBezTo>
                  <a:pt x="7052" y="31181"/>
                  <a:pt x="7381" y="31509"/>
                  <a:pt x="7381" y="31915"/>
                </a:cubicBezTo>
                <a:cubicBezTo>
                  <a:pt x="7381" y="32322"/>
                  <a:pt x="7052" y="32651"/>
                  <a:pt x="6662" y="32651"/>
                </a:cubicBezTo>
                <a:close/>
                <a:moveTo>
                  <a:pt x="9007" y="32651"/>
                </a:moveTo>
                <a:cubicBezTo>
                  <a:pt x="8601" y="32651"/>
                  <a:pt x="8288" y="32322"/>
                  <a:pt x="8288" y="31915"/>
                </a:cubicBezTo>
                <a:cubicBezTo>
                  <a:pt x="8288" y="31509"/>
                  <a:pt x="8601" y="31181"/>
                  <a:pt x="9007" y="31181"/>
                </a:cubicBezTo>
                <a:cubicBezTo>
                  <a:pt x="9398" y="31181"/>
                  <a:pt x="9727" y="31509"/>
                  <a:pt x="9727" y="31915"/>
                </a:cubicBezTo>
                <a:cubicBezTo>
                  <a:pt x="9727" y="32322"/>
                  <a:pt x="9398" y="32651"/>
                  <a:pt x="9007" y="32651"/>
                </a:cubicBezTo>
                <a:close/>
                <a:moveTo>
                  <a:pt x="360" y="30289"/>
                </a:moveTo>
                <a:lnTo>
                  <a:pt x="3472" y="30289"/>
                </a:lnTo>
                <a:cubicBezTo>
                  <a:pt x="3472" y="30383"/>
                  <a:pt x="3456" y="30493"/>
                  <a:pt x="3440" y="30618"/>
                </a:cubicBezTo>
                <a:cubicBezTo>
                  <a:pt x="3425" y="30821"/>
                  <a:pt x="3565" y="30993"/>
                  <a:pt x="3769" y="31009"/>
                </a:cubicBezTo>
                <a:lnTo>
                  <a:pt x="3800" y="31009"/>
                </a:lnTo>
                <a:cubicBezTo>
                  <a:pt x="3972" y="31009"/>
                  <a:pt x="4128" y="30868"/>
                  <a:pt x="4160" y="30696"/>
                </a:cubicBezTo>
                <a:cubicBezTo>
                  <a:pt x="4175" y="30524"/>
                  <a:pt x="4191" y="30383"/>
                  <a:pt x="4191" y="30289"/>
                </a:cubicBezTo>
                <a:lnTo>
                  <a:pt x="11916" y="30289"/>
                </a:lnTo>
                <a:cubicBezTo>
                  <a:pt x="12103" y="30289"/>
                  <a:pt x="12276" y="30133"/>
                  <a:pt x="12276" y="29930"/>
                </a:cubicBezTo>
                <a:lnTo>
                  <a:pt x="12276" y="24566"/>
                </a:lnTo>
                <a:cubicBezTo>
                  <a:pt x="12276" y="24379"/>
                  <a:pt x="12103" y="24206"/>
                  <a:pt x="11916" y="24206"/>
                </a:cubicBezTo>
                <a:lnTo>
                  <a:pt x="6849" y="24206"/>
                </a:lnTo>
                <a:cubicBezTo>
                  <a:pt x="6834" y="24175"/>
                  <a:pt x="6834" y="24128"/>
                  <a:pt x="6818" y="24097"/>
                </a:cubicBezTo>
                <a:cubicBezTo>
                  <a:pt x="6787" y="23894"/>
                  <a:pt x="6599" y="23769"/>
                  <a:pt x="6396" y="23800"/>
                </a:cubicBezTo>
                <a:cubicBezTo>
                  <a:pt x="6208" y="23847"/>
                  <a:pt x="6083" y="24019"/>
                  <a:pt x="6114" y="24206"/>
                </a:cubicBezTo>
                <a:lnTo>
                  <a:pt x="360" y="24206"/>
                </a:lnTo>
                <a:cubicBezTo>
                  <a:pt x="157" y="24206"/>
                  <a:pt x="0" y="24379"/>
                  <a:pt x="0" y="24566"/>
                </a:cubicBezTo>
                <a:lnTo>
                  <a:pt x="0" y="29930"/>
                </a:lnTo>
                <a:cubicBezTo>
                  <a:pt x="0" y="30133"/>
                  <a:pt x="157" y="30289"/>
                  <a:pt x="360" y="30289"/>
                </a:cubicBezTo>
                <a:close/>
                <a:moveTo>
                  <a:pt x="704" y="24926"/>
                </a:moveTo>
                <a:lnTo>
                  <a:pt x="6380" y="24926"/>
                </a:lnTo>
                <a:cubicBezTo>
                  <a:pt x="6427" y="24957"/>
                  <a:pt x="6505" y="24989"/>
                  <a:pt x="6568" y="24989"/>
                </a:cubicBezTo>
                <a:cubicBezTo>
                  <a:pt x="6599" y="24989"/>
                  <a:pt x="6615" y="24973"/>
                  <a:pt x="6646" y="24973"/>
                </a:cubicBezTo>
                <a:cubicBezTo>
                  <a:pt x="6693" y="24957"/>
                  <a:pt x="6724" y="24942"/>
                  <a:pt x="6755" y="24926"/>
                </a:cubicBezTo>
                <a:lnTo>
                  <a:pt x="11556" y="24926"/>
                </a:lnTo>
                <a:lnTo>
                  <a:pt x="11556" y="29586"/>
                </a:lnTo>
                <a:lnTo>
                  <a:pt x="704" y="29586"/>
                </a:lnTo>
                <a:close/>
                <a:moveTo>
                  <a:pt x="7162" y="9445"/>
                </a:moveTo>
                <a:cubicBezTo>
                  <a:pt x="7209" y="9460"/>
                  <a:pt x="7240" y="9476"/>
                  <a:pt x="7287" y="9476"/>
                </a:cubicBezTo>
                <a:cubicBezTo>
                  <a:pt x="7428" y="9476"/>
                  <a:pt x="7568" y="9382"/>
                  <a:pt x="7631" y="9242"/>
                </a:cubicBezTo>
                <a:cubicBezTo>
                  <a:pt x="7678" y="9101"/>
                  <a:pt x="7741" y="8960"/>
                  <a:pt x="7803" y="8819"/>
                </a:cubicBezTo>
                <a:cubicBezTo>
                  <a:pt x="7881" y="8632"/>
                  <a:pt x="7788" y="8413"/>
                  <a:pt x="7615" y="8351"/>
                </a:cubicBezTo>
                <a:cubicBezTo>
                  <a:pt x="7428" y="8272"/>
                  <a:pt x="7225" y="8351"/>
                  <a:pt x="7147" y="8538"/>
                </a:cubicBezTo>
                <a:cubicBezTo>
                  <a:pt x="7084" y="8679"/>
                  <a:pt x="7021" y="8835"/>
                  <a:pt x="6959" y="8976"/>
                </a:cubicBezTo>
                <a:cubicBezTo>
                  <a:pt x="6880" y="9164"/>
                  <a:pt x="6974" y="9382"/>
                  <a:pt x="7162" y="9445"/>
                </a:cubicBezTo>
                <a:close/>
                <a:moveTo>
                  <a:pt x="16529" y="1314"/>
                </a:moveTo>
                <a:lnTo>
                  <a:pt x="16622" y="1314"/>
                </a:lnTo>
                <a:cubicBezTo>
                  <a:pt x="16779" y="1267"/>
                  <a:pt x="16935" y="1236"/>
                  <a:pt x="17076" y="1189"/>
                </a:cubicBezTo>
                <a:cubicBezTo>
                  <a:pt x="17263" y="1158"/>
                  <a:pt x="17389" y="954"/>
                  <a:pt x="17342" y="766"/>
                </a:cubicBezTo>
                <a:cubicBezTo>
                  <a:pt x="17295" y="579"/>
                  <a:pt x="17107" y="453"/>
                  <a:pt x="16920" y="500"/>
                </a:cubicBezTo>
                <a:cubicBezTo>
                  <a:pt x="16763" y="532"/>
                  <a:pt x="16607" y="579"/>
                  <a:pt x="16450" y="610"/>
                </a:cubicBezTo>
                <a:cubicBezTo>
                  <a:pt x="16247" y="657"/>
                  <a:pt x="16138" y="860"/>
                  <a:pt x="16185" y="1048"/>
                </a:cubicBezTo>
                <a:cubicBezTo>
                  <a:pt x="16232" y="1204"/>
                  <a:pt x="16372" y="1314"/>
                  <a:pt x="16529" y="1314"/>
                </a:cubicBezTo>
                <a:close/>
                <a:moveTo>
                  <a:pt x="34809" y="9727"/>
                </a:moveTo>
                <a:cubicBezTo>
                  <a:pt x="34621" y="9773"/>
                  <a:pt x="34496" y="9961"/>
                  <a:pt x="34543" y="10149"/>
                </a:cubicBezTo>
                <a:cubicBezTo>
                  <a:pt x="34574" y="10305"/>
                  <a:pt x="34605" y="10446"/>
                  <a:pt x="34621" y="10602"/>
                </a:cubicBezTo>
                <a:cubicBezTo>
                  <a:pt x="34652" y="10774"/>
                  <a:pt x="34809" y="10899"/>
                  <a:pt x="34981" y="10899"/>
                </a:cubicBezTo>
                <a:lnTo>
                  <a:pt x="35043" y="10899"/>
                </a:lnTo>
                <a:cubicBezTo>
                  <a:pt x="35231" y="10868"/>
                  <a:pt x="35356" y="10680"/>
                  <a:pt x="35324" y="10493"/>
                </a:cubicBezTo>
                <a:cubicBezTo>
                  <a:pt x="35309" y="10321"/>
                  <a:pt x="35277" y="10165"/>
                  <a:pt x="35231" y="10008"/>
                </a:cubicBezTo>
                <a:cubicBezTo>
                  <a:pt x="35199" y="9805"/>
                  <a:pt x="35012" y="9680"/>
                  <a:pt x="34809" y="9727"/>
                </a:cubicBezTo>
                <a:close/>
                <a:moveTo>
                  <a:pt x="5864" y="17874"/>
                </a:moveTo>
                <a:cubicBezTo>
                  <a:pt x="6067" y="17874"/>
                  <a:pt x="6224" y="17717"/>
                  <a:pt x="6224" y="17529"/>
                </a:cubicBezTo>
                <a:lnTo>
                  <a:pt x="6224" y="17060"/>
                </a:lnTo>
                <a:cubicBezTo>
                  <a:pt x="6239" y="16857"/>
                  <a:pt x="6083" y="16685"/>
                  <a:pt x="5880" y="16685"/>
                </a:cubicBezTo>
                <a:cubicBezTo>
                  <a:pt x="5676" y="16685"/>
                  <a:pt x="5520" y="16841"/>
                  <a:pt x="5520" y="17045"/>
                </a:cubicBezTo>
                <a:cubicBezTo>
                  <a:pt x="5520" y="17201"/>
                  <a:pt x="5504" y="17358"/>
                  <a:pt x="5504" y="17514"/>
                </a:cubicBezTo>
                <a:cubicBezTo>
                  <a:pt x="5504" y="17717"/>
                  <a:pt x="5661" y="17874"/>
                  <a:pt x="5864" y="17874"/>
                </a:cubicBezTo>
                <a:close/>
                <a:moveTo>
                  <a:pt x="35059" y="11134"/>
                </a:moveTo>
                <a:cubicBezTo>
                  <a:pt x="34871" y="11149"/>
                  <a:pt x="34715" y="11321"/>
                  <a:pt x="34731" y="11509"/>
                </a:cubicBezTo>
                <a:cubicBezTo>
                  <a:pt x="34746" y="11666"/>
                  <a:pt x="34762" y="11822"/>
                  <a:pt x="34762" y="11978"/>
                </a:cubicBezTo>
                <a:cubicBezTo>
                  <a:pt x="34762" y="12166"/>
                  <a:pt x="34918" y="12322"/>
                  <a:pt x="35121" y="12322"/>
                </a:cubicBezTo>
                <a:cubicBezTo>
                  <a:pt x="35324" y="12322"/>
                  <a:pt x="35481" y="12150"/>
                  <a:pt x="35481" y="11947"/>
                </a:cubicBezTo>
                <a:cubicBezTo>
                  <a:pt x="35465" y="11791"/>
                  <a:pt x="35465" y="11619"/>
                  <a:pt x="35450" y="11462"/>
                </a:cubicBezTo>
                <a:cubicBezTo>
                  <a:pt x="35434" y="11259"/>
                  <a:pt x="35262" y="11118"/>
                  <a:pt x="35059" y="11134"/>
                </a:cubicBezTo>
                <a:close/>
                <a:moveTo>
                  <a:pt x="8382" y="6865"/>
                </a:moveTo>
                <a:cubicBezTo>
                  <a:pt x="8429" y="6896"/>
                  <a:pt x="8507" y="6928"/>
                  <a:pt x="8569" y="6928"/>
                </a:cubicBezTo>
                <a:cubicBezTo>
                  <a:pt x="8679" y="6928"/>
                  <a:pt x="8804" y="6865"/>
                  <a:pt x="8866" y="6755"/>
                </a:cubicBezTo>
                <a:cubicBezTo>
                  <a:pt x="8944" y="6630"/>
                  <a:pt x="9039" y="6490"/>
                  <a:pt x="9117" y="6365"/>
                </a:cubicBezTo>
                <a:cubicBezTo>
                  <a:pt x="9226" y="6208"/>
                  <a:pt x="9195" y="5989"/>
                  <a:pt x="9023" y="5864"/>
                </a:cubicBezTo>
                <a:cubicBezTo>
                  <a:pt x="8866" y="5755"/>
                  <a:pt x="8648" y="5802"/>
                  <a:pt x="8538" y="5958"/>
                </a:cubicBezTo>
                <a:cubicBezTo>
                  <a:pt x="8444" y="6099"/>
                  <a:pt x="8351" y="6239"/>
                  <a:pt x="8256" y="6380"/>
                </a:cubicBezTo>
                <a:cubicBezTo>
                  <a:pt x="8163" y="6537"/>
                  <a:pt x="8210" y="6755"/>
                  <a:pt x="8382" y="6865"/>
                </a:cubicBezTo>
                <a:close/>
                <a:moveTo>
                  <a:pt x="6146" y="13605"/>
                </a:moveTo>
                <a:lnTo>
                  <a:pt x="6192" y="13605"/>
                </a:lnTo>
                <a:cubicBezTo>
                  <a:pt x="6364" y="13605"/>
                  <a:pt x="6521" y="13480"/>
                  <a:pt x="6552" y="13307"/>
                </a:cubicBezTo>
                <a:cubicBezTo>
                  <a:pt x="6584" y="13151"/>
                  <a:pt x="6599" y="12995"/>
                  <a:pt x="6630" y="12838"/>
                </a:cubicBezTo>
                <a:cubicBezTo>
                  <a:pt x="6662" y="12650"/>
                  <a:pt x="6537" y="12463"/>
                  <a:pt x="6349" y="12432"/>
                </a:cubicBezTo>
                <a:cubicBezTo>
                  <a:pt x="6146" y="12385"/>
                  <a:pt x="5958" y="12525"/>
                  <a:pt x="5927" y="12713"/>
                </a:cubicBezTo>
                <a:cubicBezTo>
                  <a:pt x="5896" y="12870"/>
                  <a:pt x="5864" y="13026"/>
                  <a:pt x="5849" y="13198"/>
                </a:cubicBezTo>
                <a:cubicBezTo>
                  <a:pt x="5817" y="13386"/>
                  <a:pt x="5942" y="13573"/>
                  <a:pt x="6146" y="13605"/>
                </a:cubicBezTo>
                <a:close/>
                <a:moveTo>
                  <a:pt x="5974" y="15027"/>
                </a:moveTo>
                <a:lnTo>
                  <a:pt x="6021" y="15027"/>
                </a:lnTo>
                <a:cubicBezTo>
                  <a:pt x="6192" y="15027"/>
                  <a:pt x="6349" y="14887"/>
                  <a:pt x="6364" y="14699"/>
                </a:cubicBezTo>
                <a:cubicBezTo>
                  <a:pt x="6380" y="14543"/>
                  <a:pt x="6396" y="14386"/>
                  <a:pt x="6427" y="14230"/>
                </a:cubicBezTo>
                <a:cubicBezTo>
                  <a:pt x="6443" y="14043"/>
                  <a:pt x="6302" y="13855"/>
                  <a:pt x="6114" y="13839"/>
                </a:cubicBezTo>
                <a:cubicBezTo>
                  <a:pt x="5911" y="13808"/>
                  <a:pt x="5739" y="13948"/>
                  <a:pt x="5708" y="14152"/>
                </a:cubicBezTo>
                <a:cubicBezTo>
                  <a:pt x="5692" y="14308"/>
                  <a:pt x="5676" y="14464"/>
                  <a:pt x="5661" y="14637"/>
                </a:cubicBezTo>
                <a:cubicBezTo>
                  <a:pt x="5645" y="14824"/>
                  <a:pt x="5786" y="14996"/>
                  <a:pt x="5974" y="15027"/>
                </a:cubicBezTo>
                <a:close/>
                <a:moveTo>
                  <a:pt x="5958" y="23268"/>
                </a:moveTo>
                <a:cubicBezTo>
                  <a:pt x="5989" y="23456"/>
                  <a:pt x="6130" y="23581"/>
                  <a:pt x="6302" y="23581"/>
                </a:cubicBezTo>
                <a:cubicBezTo>
                  <a:pt x="6317" y="23581"/>
                  <a:pt x="6349" y="23581"/>
                  <a:pt x="6364" y="23565"/>
                </a:cubicBezTo>
                <a:cubicBezTo>
                  <a:pt x="6552" y="23534"/>
                  <a:pt x="6693" y="23362"/>
                  <a:pt x="6662" y="23159"/>
                </a:cubicBezTo>
                <a:cubicBezTo>
                  <a:pt x="6630" y="23003"/>
                  <a:pt x="6615" y="22846"/>
                  <a:pt x="6584" y="22690"/>
                </a:cubicBezTo>
                <a:cubicBezTo>
                  <a:pt x="6568" y="22502"/>
                  <a:pt x="6380" y="22362"/>
                  <a:pt x="6177" y="22393"/>
                </a:cubicBezTo>
                <a:cubicBezTo>
                  <a:pt x="5989" y="22424"/>
                  <a:pt x="5849" y="22596"/>
                  <a:pt x="5880" y="22799"/>
                </a:cubicBezTo>
                <a:cubicBezTo>
                  <a:pt x="5911" y="22956"/>
                  <a:pt x="5927" y="23112"/>
                  <a:pt x="5958" y="23268"/>
                </a:cubicBezTo>
                <a:close/>
                <a:moveTo>
                  <a:pt x="5896" y="16450"/>
                </a:moveTo>
                <a:lnTo>
                  <a:pt x="5911" y="16450"/>
                </a:lnTo>
                <a:cubicBezTo>
                  <a:pt x="6099" y="16450"/>
                  <a:pt x="6255" y="16294"/>
                  <a:pt x="6271" y="16107"/>
                </a:cubicBezTo>
                <a:cubicBezTo>
                  <a:pt x="6271" y="15950"/>
                  <a:pt x="6286" y="15794"/>
                  <a:pt x="6286" y="15637"/>
                </a:cubicBezTo>
                <a:cubicBezTo>
                  <a:pt x="6302" y="15450"/>
                  <a:pt x="6161" y="15278"/>
                  <a:pt x="5958" y="15262"/>
                </a:cubicBezTo>
                <a:cubicBezTo>
                  <a:pt x="5754" y="15246"/>
                  <a:pt x="5598" y="15403"/>
                  <a:pt x="5583" y="15590"/>
                </a:cubicBezTo>
                <a:cubicBezTo>
                  <a:pt x="5567" y="15747"/>
                  <a:pt x="5551" y="15919"/>
                  <a:pt x="5551" y="16075"/>
                </a:cubicBezTo>
                <a:cubicBezTo>
                  <a:pt x="5536" y="16278"/>
                  <a:pt x="5692" y="16435"/>
                  <a:pt x="5896" y="16450"/>
                </a:cubicBezTo>
                <a:close/>
                <a:moveTo>
                  <a:pt x="6724" y="10806"/>
                </a:moveTo>
                <a:cubicBezTo>
                  <a:pt x="6755" y="10821"/>
                  <a:pt x="6787" y="10821"/>
                  <a:pt x="6834" y="10821"/>
                </a:cubicBezTo>
                <a:cubicBezTo>
                  <a:pt x="6974" y="10821"/>
                  <a:pt x="7115" y="10727"/>
                  <a:pt x="7162" y="10571"/>
                </a:cubicBezTo>
                <a:cubicBezTo>
                  <a:pt x="7209" y="10415"/>
                  <a:pt x="7256" y="10274"/>
                  <a:pt x="7303" y="10117"/>
                </a:cubicBezTo>
                <a:cubicBezTo>
                  <a:pt x="7365" y="9930"/>
                  <a:pt x="7272" y="9727"/>
                  <a:pt x="7084" y="9664"/>
                </a:cubicBezTo>
                <a:cubicBezTo>
                  <a:pt x="6896" y="9602"/>
                  <a:pt x="6693" y="9711"/>
                  <a:pt x="6630" y="9898"/>
                </a:cubicBezTo>
                <a:cubicBezTo>
                  <a:pt x="6584" y="10055"/>
                  <a:pt x="6537" y="10211"/>
                  <a:pt x="6490" y="10368"/>
                </a:cubicBezTo>
                <a:cubicBezTo>
                  <a:pt x="6427" y="10555"/>
                  <a:pt x="6537" y="10743"/>
                  <a:pt x="6724" y="10806"/>
                </a:cubicBezTo>
                <a:close/>
                <a:moveTo>
                  <a:pt x="5614" y="20407"/>
                </a:moveTo>
                <a:cubicBezTo>
                  <a:pt x="5629" y="20594"/>
                  <a:pt x="5786" y="20735"/>
                  <a:pt x="5974" y="20735"/>
                </a:cubicBezTo>
                <a:lnTo>
                  <a:pt x="6005" y="20735"/>
                </a:lnTo>
                <a:cubicBezTo>
                  <a:pt x="6192" y="20719"/>
                  <a:pt x="6349" y="20548"/>
                  <a:pt x="6333" y="20344"/>
                </a:cubicBezTo>
                <a:cubicBezTo>
                  <a:pt x="6317" y="20188"/>
                  <a:pt x="6302" y="20031"/>
                  <a:pt x="6302" y="19875"/>
                </a:cubicBezTo>
                <a:cubicBezTo>
                  <a:pt x="6286" y="19687"/>
                  <a:pt x="6114" y="19531"/>
                  <a:pt x="5911" y="19547"/>
                </a:cubicBezTo>
                <a:cubicBezTo>
                  <a:pt x="5723" y="19562"/>
                  <a:pt x="5567" y="19734"/>
                  <a:pt x="5583" y="19922"/>
                </a:cubicBezTo>
                <a:cubicBezTo>
                  <a:pt x="5598" y="20078"/>
                  <a:pt x="5598" y="20250"/>
                  <a:pt x="5614" y="20407"/>
                </a:cubicBezTo>
                <a:close/>
                <a:moveTo>
                  <a:pt x="5754" y="21845"/>
                </a:moveTo>
                <a:cubicBezTo>
                  <a:pt x="5770" y="22033"/>
                  <a:pt x="5927" y="22158"/>
                  <a:pt x="6114" y="22158"/>
                </a:cubicBezTo>
                <a:lnTo>
                  <a:pt x="6146" y="22158"/>
                </a:lnTo>
                <a:cubicBezTo>
                  <a:pt x="6349" y="22127"/>
                  <a:pt x="6490" y="21955"/>
                  <a:pt x="6474" y="21767"/>
                </a:cubicBezTo>
                <a:cubicBezTo>
                  <a:pt x="6443" y="21611"/>
                  <a:pt x="6427" y="21454"/>
                  <a:pt x="6411" y="21298"/>
                </a:cubicBezTo>
                <a:cubicBezTo>
                  <a:pt x="6396" y="21095"/>
                  <a:pt x="6224" y="20954"/>
                  <a:pt x="6021" y="20969"/>
                </a:cubicBezTo>
                <a:cubicBezTo>
                  <a:pt x="5833" y="21001"/>
                  <a:pt x="5676" y="21173"/>
                  <a:pt x="5708" y="21361"/>
                </a:cubicBezTo>
                <a:cubicBezTo>
                  <a:pt x="5723" y="21517"/>
                  <a:pt x="5739" y="21689"/>
                  <a:pt x="5754" y="21845"/>
                </a:cubicBezTo>
                <a:close/>
                <a:moveTo>
                  <a:pt x="6396" y="12197"/>
                </a:moveTo>
                <a:lnTo>
                  <a:pt x="6474" y="12197"/>
                </a:lnTo>
                <a:cubicBezTo>
                  <a:pt x="6630" y="12197"/>
                  <a:pt x="6771" y="12088"/>
                  <a:pt x="6818" y="11931"/>
                </a:cubicBezTo>
                <a:cubicBezTo>
                  <a:pt x="6849" y="11775"/>
                  <a:pt x="6880" y="11619"/>
                  <a:pt x="6927" y="11462"/>
                </a:cubicBezTo>
                <a:cubicBezTo>
                  <a:pt x="6974" y="11274"/>
                  <a:pt x="6849" y="11087"/>
                  <a:pt x="6662" y="11040"/>
                </a:cubicBezTo>
                <a:cubicBezTo>
                  <a:pt x="6474" y="10993"/>
                  <a:pt x="6271" y="11103"/>
                  <a:pt x="6224" y="11290"/>
                </a:cubicBezTo>
                <a:cubicBezTo>
                  <a:pt x="6192" y="11447"/>
                  <a:pt x="6146" y="11603"/>
                  <a:pt x="6114" y="11775"/>
                </a:cubicBezTo>
                <a:cubicBezTo>
                  <a:pt x="6067" y="11962"/>
                  <a:pt x="6192" y="12150"/>
                  <a:pt x="6396" y="12197"/>
                </a:cubicBezTo>
                <a:close/>
                <a:moveTo>
                  <a:pt x="5911" y="19312"/>
                </a:moveTo>
                <a:cubicBezTo>
                  <a:pt x="6099" y="19297"/>
                  <a:pt x="6255" y="19140"/>
                  <a:pt x="6255" y="18937"/>
                </a:cubicBezTo>
                <a:cubicBezTo>
                  <a:pt x="6239" y="18780"/>
                  <a:pt x="6239" y="18624"/>
                  <a:pt x="6239" y="18468"/>
                </a:cubicBezTo>
                <a:cubicBezTo>
                  <a:pt x="6224" y="18264"/>
                  <a:pt x="6067" y="18108"/>
                  <a:pt x="5864" y="18124"/>
                </a:cubicBezTo>
                <a:cubicBezTo>
                  <a:pt x="5676" y="18124"/>
                  <a:pt x="5520" y="18280"/>
                  <a:pt x="5520" y="18484"/>
                </a:cubicBezTo>
                <a:cubicBezTo>
                  <a:pt x="5520" y="18640"/>
                  <a:pt x="5520" y="18812"/>
                  <a:pt x="5536" y="18968"/>
                </a:cubicBezTo>
                <a:cubicBezTo>
                  <a:pt x="5536" y="19156"/>
                  <a:pt x="5692" y="19312"/>
                  <a:pt x="5896" y="19312"/>
                </a:cubicBezTo>
                <a:close/>
                <a:moveTo>
                  <a:pt x="7710" y="8131"/>
                </a:moveTo>
                <a:cubicBezTo>
                  <a:pt x="7756" y="8147"/>
                  <a:pt x="7819" y="8163"/>
                  <a:pt x="7866" y="8163"/>
                </a:cubicBezTo>
                <a:cubicBezTo>
                  <a:pt x="8006" y="8163"/>
                  <a:pt x="8131" y="8084"/>
                  <a:pt x="8194" y="7959"/>
                </a:cubicBezTo>
                <a:cubicBezTo>
                  <a:pt x="8256" y="7834"/>
                  <a:pt x="8335" y="7694"/>
                  <a:pt x="8398" y="7553"/>
                </a:cubicBezTo>
                <a:cubicBezTo>
                  <a:pt x="8491" y="7381"/>
                  <a:pt x="8429" y="7162"/>
                  <a:pt x="8256" y="7068"/>
                </a:cubicBezTo>
                <a:cubicBezTo>
                  <a:pt x="8085" y="6975"/>
                  <a:pt x="7866" y="7037"/>
                  <a:pt x="7772" y="7209"/>
                </a:cubicBezTo>
                <a:cubicBezTo>
                  <a:pt x="7693" y="7350"/>
                  <a:pt x="7615" y="7506"/>
                  <a:pt x="7553" y="7647"/>
                </a:cubicBezTo>
                <a:cubicBezTo>
                  <a:pt x="7459" y="7819"/>
                  <a:pt x="7537" y="8038"/>
                  <a:pt x="7710" y="8131"/>
                </a:cubicBezTo>
                <a:close/>
                <a:moveTo>
                  <a:pt x="17936" y="1016"/>
                </a:moveTo>
                <a:cubicBezTo>
                  <a:pt x="17951" y="1016"/>
                  <a:pt x="17967" y="1001"/>
                  <a:pt x="17999" y="1001"/>
                </a:cubicBezTo>
                <a:cubicBezTo>
                  <a:pt x="18155" y="970"/>
                  <a:pt x="18296" y="954"/>
                  <a:pt x="18452" y="923"/>
                </a:cubicBezTo>
                <a:cubicBezTo>
                  <a:pt x="18656" y="891"/>
                  <a:pt x="18781" y="720"/>
                  <a:pt x="18749" y="516"/>
                </a:cubicBezTo>
                <a:cubicBezTo>
                  <a:pt x="18718" y="328"/>
                  <a:pt x="18546" y="188"/>
                  <a:pt x="18343" y="219"/>
                </a:cubicBezTo>
                <a:cubicBezTo>
                  <a:pt x="18186" y="250"/>
                  <a:pt x="18030" y="266"/>
                  <a:pt x="17873" y="297"/>
                </a:cubicBezTo>
                <a:cubicBezTo>
                  <a:pt x="17670" y="344"/>
                  <a:pt x="17545" y="516"/>
                  <a:pt x="17576" y="720"/>
                </a:cubicBezTo>
                <a:cubicBezTo>
                  <a:pt x="17608" y="891"/>
                  <a:pt x="17764" y="1016"/>
                  <a:pt x="17936" y="1016"/>
                </a:cubicBezTo>
                <a:close/>
                <a:moveTo>
                  <a:pt x="23565" y="876"/>
                </a:moveTo>
                <a:cubicBezTo>
                  <a:pt x="23722" y="907"/>
                  <a:pt x="23878" y="923"/>
                  <a:pt x="24035" y="954"/>
                </a:cubicBezTo>
                <a:lnTo>
                  <a:pt x="24097" y="954"/>
                </a:lnTo>
                <a:cubicBezTo>
                  <a:pt x="24269" y="954"/>
                  <a:pt x="24410" y="829"/>
                  <a:pt x="24441" y="657"/>
                </a:cubicBezTo>
                <a:cubicBezTo>
                  <a:pt x="24473" y="469"/>
                  <a:pt x="24347" y="282"/>
                  <a:pt x="24160" y="250"/>
                </a:cubicBezTo>
                <a:cubicBezTo>
                  <a:pt x="23988" y="219"/>
                  <a:pt x="23831" y="188"/>
                  <a:pt x="23675" y="172"/>
                </a:cubicBezTo>
                <a:cubicBezTo>
                  <a:pt x="23472" y="141"/>
                  <a:pt x="23300" y="282"/>
                  <a:pt x="23268" y="469"/>
                </a:cubicBezTo>
                <a:cubicBezTo>
                  <a:pt x="23237" y="673"/>
                  <a:pt x="23378" y="845"/>
                  <a:pt x="23565" y="876"/>
                </a:cubicBezTo>
                <a:close/>
                <a:moveTo>
                  <a:pt x="13839" y="2267"/>
                </a:moveTo>
                <a:cubicBezTo>
                  <a:pt x="13886" y="2267"/>
                  <a:pt x="13948" y="2252"/>
                  <a:pt x="13995" y="2236"/>
                </a:cubicBezTo>
                <a:cubicBezTo>
                  <a:pt x="14136" y="2158"/>
                  <a:pt x="14277" y="2096"/>
                  <a:pt x="14418" y="2049"/>
                </a:cubicBezTo>
                <a:cubicBezTo>
                  <a:pt x="14605" y="1971"/>
                  <a:pt x="14683" y="1751"/>
                  <a:pt x="14605" y="1579"/>
                </a:cubicBezTo>
                <a:cubicBezTo>
                  <a:pt x="14527" y="1392"/>
                  <a:pt x="14324" y="1314"/>
                  <a:pt x="14136" y="1376"/>
                </a:cubicBezTo>
                <a:cubicBezTo>
                  <a:pt x="13995" y="1439"/>
                  <a:pt x="13839" y="1517"/>
                  <a:pt x="13698" y="1579"/>
                </a:cubicBezTo>
                <a:cubicBezTo>
                  <a:pt x="13511" y="1658"/>
                  <a:pt x="13432" y="1877"/>
                  <a:pt x="13527" y="2049"/>
                </a:cubicBezTo>
                <a:cubicBezTo>
                  <a:pt x="13573" y="2189"/>
                  <a:pt x="13714" y="2267"/>
                  <a:pt x="13839" y="2267"/>
                </a:cubicBezTo>
                <a:close/>
                <a:moveTo>
                  <a:pt x="24941" y="1141"/>
                </a:moveTo>
                <a:cubicBezTo>
                  <a:pt x="25098" y="1173"/>
                  <a:pt x="25239" y="1220"/>
                  <a:pt x="25395" y="1251"/>
                </a:cubicBezTo>
                <a:cubicBezTo>
                  <a:pt x="25426" y="1267"/>
                  <a:pt x="25457" y="1267"/>
                  <a:pt x="25489" y="1267"/>
                </a:cubicBezTo>
                <a:cubicBezTo>
                  <a:pt x="25645" y="1267"/>
                  <a:pt x="25786" y="1158"/>
                  <a:pt x="25833" y="1001"/>
                </a:cubicBezTo>
                <a:cubicBezTo>
                  <a:pt x="25880" y="813"/>
                  <a:pt x="25770" y="610"/>
                  <a:pt x="25582" y="563"/>
                </a:cubicBezTo>
                <a:cubicBezTo>
                  <a:pt x="25426" y="516"/>
                  <a:pt x="25270" y="485"/>
                  <a:pt x="25114" y="438"/>
                </a:cubicBezTo>
                <a:cubicBezTo>
                  <a:pt x="24910" y="407"/>
                  <a:pt x="24723" y="516"/>
                  <a:pt x="24676" y="704"/>
                </a:cubicBezTo>
                <a:cubicBezTo>
                  <a:pt x="24629" y="907"/>
                  <a:pt x="24754" y="1095"/>
                  <a:pt x="24941" y="1141"/>
                </a:cubicBezTo>
                <a:close/>
                <a:moveTo>
                  <a:pt x="15168" y="1720"/>
                </a:moveTo>
                <a:cubicBezTo>
                  <a:pt x="15199" y="1720"/>
                  <a:pt x="15246" y="1720"/>
                  <a:pt x="15278" y="1704"/>
                </a:cubicBezTo>
                <a:cubicBezTo>
                  <a:pt x="15434" y="1658"/>
                  <a:pt x="15575" y="1611"/>
                  <a:pt x="15731" y="1564"/>
                </a:cubicBezTo>
                <a:cubicBezTo>
                  <a:pt x="15919" y="1501"/>
                  <a:pt x="16012" y="1298"/>
                  <a:pt x="15966" y="1110"/>
                </a:cubicBezTo>
                <a:cubicBezTo>
                  <a:pt x="15903" y="923"/>
                  <a:pt x="15700" y="829"/>
                  <a:pt x="15512" y="876"/>
                </a:cubicBezTo>
                <a:cubicBezTo>
                  <a:pt x="15356" y="923"/>
                  <a:pt x="15199" y="985"/>
                  <a:pt x="15043" y="1032"/>
                </a:cubicBezTo>
                <a:cubicBezTo>
                  <a:pt x="14856" y="1095"/>
                  <a:pt x="14761" y="1298"/>
                  <a:pt x="14824" y="1486"/>
                </a:cubicBezTo>
                <a:cubicBezTo>
                  <a:pt x="14887" y="1642"/>
                  <a:pt x="15012" y="1720"/>
                  <a:pt x="15168" y="1720"/>
                </a:cubicBezTo>
                <a:close/>
                <a:moveTo>
                  <a:pt x="12588" y="2940"/>
                </a:moveTo>
                <a:cubicBezTo>
                  <a:pt x="12651" y="2940"/>
                  <a:pt x="12713" y="2924"/>
                  <a:pt x="12776" y="2877"/>
                </a:cubicBezTo>
                <a:cubicBezTo>
                  <a:pt x="12901" y="2799"/>
                  <a:pt x="13042" y="2721"/>
                  <a:pt x="13167" y="2643"/>
                </a:cubicBezTo>
                <a:cubicBezTo>
                  <a:pt x="13339" y="2549"/>
                  <a:pt x="13401" y="2330"/>
                  <a:pt x="13307" y="2158"/>
                </a:cubicBezTo>
                <a:cubicBezTo>
                  <a:pt x="13214" y="1986"/>
                  <a:pt x="12995" y="1924"/>
                  <a:pt x="12822" y="2033"/>
                </a:cubicBezTo>
                <a:cubicBezTo>
                  <a:pt x="12682" y="2111"/>
                  <a:pt x="12541" y="2189"/>
                  <a:pt x="12401" y="2267"/>
                </a:cubicBezTo>
                <a:cubicBezTo>
                  <a:pt x="12229" y="2377"/>
                  <a:pt x="12181" y="2596"/>
                  <a:pt x="12276" y="2768"/>
                </a:cubicBezTo>
                <a:cubicBezTo>
                  <a:pt x="12354" y="2877"/>
                  <a:pt x="12463" y="2940"/>
                  <a:pt x="12588" y="2940"/>
                </a:cubicBezTo>
                <a:close/>
                <a:moveTo>
                  <a:pt x="11415" y="3753"/>
                </a:moveTo>
                <a:cubicBezTo>
                  <a:pt x="11493" y="3753"/>
                  <a:pt x="11572" y="3722"/>
                  <a:pt x="11634" y="3675"/>
                </a:cubicBezTo>
                <a:cubicBezTo>
                  <a:pt x="11759" y="3581"/>
                  <a:pt x="11869" y="3487"/>
                  <a:pt x="11994" y="3393"/>
                </a:cubicBezTo>
                <a:cubicBezTo>
                  <a:pt x="12166" y="3284"/>
                  <a:pt x="12197" y="3049"/>
                  <a:pt x="12088" y="2893"/>
                </a:cubicBezTo>
                <a:cubicBezTo>
                  <a:pt x="11963" y="2737"/>
                  <a:pt x="11744" y="2705"/>
                  <a:pt x="11588" y="2815"/>
                </a:cubicBezTo>
                <a:cubicBezTo>
                  <a:pt x="11446" y="2909"/>
                  <a:pt x="11321" y="3002"/>
                  <a:pt x="11196" y="3112"/>
                </a:cubicBezTo>
                <a:cubicBezTo>
                  <a:pt x="11040" y="3237"/>
                  <a:pt x="11009" y="3456"/>
                  <a:pt x="11134" y="3612"/>
                </a:cubicBezTo>
                <a:cubicBezTo>
                  <a:pt x="11196" y="3706"/>
                  <a:pt x="11306" y="3753"/>
                  <a:pt x="11415" y="3753"/>
                </a:cubicBezTo>
                <a:close/>
                <a:moveTo>
                  <a:pt x="28819" y="2659"/>
                </a:moveTo>
                <a:cubicBezTo>
                  <a:pt x="28960" y="2737"/>
                  <a:pt x="29085" y="2815"/>
                  <a:pt x="29226" y="2909"/>
                </a:cubicBezTo>
                <a:cubicBezTo>
                  <a:pt x="29289" y="2940"/>
                  <a:pt x="29351" y="2955"/>
                  <a:pt x="29414" y="2955"/>
                </a:cubicBezTo>
                <a:cubicBezTo>
                  <a:pt x="29523" y="2955"/>
                  <a:pt x="29648" y="2893"/>
                  <a:pt x="29711" y="2784"/>
                </a:cubicBezTo>
                <a:cubicBezTo>
                  <a:pt x="29820" y="2627"/>
                  <a:pt x="29773" y="2392"/>
                  <a:pt x="29602" y="2299"/>
                </a:cubicBezTo>
                <a:cubicBezTo>
                  <a:pt x="29460" y="2205"/>
                  <a:pt x="29320" y="2127"/>
                  <a:pt x="29179" y="2049"/>
                </a:cubicBezTo>
                <a:cubicBezTo>
                  <a:pt x="29007" y="1955"/>
                  <a:pt x="28788" y="2002"/>
                  <a:pt x="28694" y="2174"/>
                </a:cubicBezTo>
                <a:cubicBezTo>
                  <a:pt x="28601" y="2346"/>
                  <a:pt x="28647" y="2565"/>
                  <a:pt x="28819" y="2659"/>
                </a:cubicBezTo>
                <a:close/>
                <a:moveTo>
                  <a:pt x="32056" y="5286"/>
                </a:moveTo>
                <a:cubicBezTo>
                  <a:pt x="32150" y="5395"/>
                  <a:pt x="32244" y="5504"/>
                  <a:pt x="32354" y="5629"/>
                </a:cubicBezTo>
                <a:cubicBezTo>
                  <a:pt x="32416" y="5724"/>
                  <a:pt x="32525" y="5770"/>
                  <a:pt x="32619" y="5770"/>
                </a:cubicBezTo>
                <a:cubicBezTo>
                  <a:pt x="32697" y="5770"/>
                  <a:pt x="32792" y="5739"/>
                  <a:pt x="32854" y="5677"/>
                </a:cubicBezTo>
                <a:cubicBezTo>
                  <a:pt x="33010" y="5551"/>
                  <a:pt x="33026" y="5332"/>
                  <a:pt x="32901" y="5176"/>
                </a:cubicBezTo>
                <a:cubicBezTo>
                  <a:pt x="32807" y="5051"/>
                  <a:pt x="32697" y="4926"/>
                  <a:pt x="32588" y="4801"/>
                </a:cubicBezTo>
                <a:cubicBezTo>
                  <a:pt x="32463" y="4660"/>
                  <a:pt x="32229" y="4644"/>
                  <a:pt x="32087" y="4769"/>
                </a:cubicBezTo>
                <a:cubicBezTo>
                  <a:pt x="31931" y="4910"/>
                  <a:pt x="31916" y="5129"/>
                  <a:pt x="32056" y="5286"/>
                </a:cubicBezTo>
                <a:close/>
                <a:moveTo>
                  <a:pt x="32901" y="6365"/>
                </a:moveTo>
                <a:cubicBezTo>
                  <a:pt x="32995" y="6505"/>
                  <a:pt x="33073" y="6630"/>
                  <a:pt x="33151" y="6755"/>
                </a:cubicBezTo>
                <a:cubicBezTo>
                  <a:pt x="33229" y="6865"/>
                  <a:pt x="33338" y="6928"/>
                  <a:pt x="33464" y="6928"/>
                </a:cubicBezTo>
                <a:cubicBezTo>
                  <a:pt x="33526" y="6928"/>
                  <a:pt x="33589" y="6912"/>
                  <a:pt x="33651" y="6865"/>
                </a:cubicBezTo>
                <a:cubicBezTo>
                  <a:pt x="33808" y="6771"/>
                  <a:pt x="33870" y="6552"/>
                  <a:pt x="33761" y="6380"/>
                </a:cubicBezTo>
                <a:cubicBezTo>
                  <a:pt x="33667" y="6239"/>
                  <a:pt x="33589" y="6099"/>
                  <a:pt x="33495" y="5974"/>
                </a:cubicBezTo>
                <a:cubicBezTo>
                  <a:pt x="33385" y="5802"/>
                  <a:pt x="33151" y="5770"/>
                  <a:pt x="32995" y="5880"/>
                </a:cubicBezTo>
                <a:cubicBezTo>
                  <a:pt x="32838" y="5989"/>
                  <a:pt x="32792" y="6208"/>
                  <a:pt x="32901" y="6365"/>
                </a:cubicBezTo>
                <a:close/>
                <a:moveTo>
                  <a:pt x="33605" y="7553"/>
                </a:moveTo>
                <a:cubicBezTo>
                  <a:pt x="33683" y="7694"/>
                  <a:pt x="33745" y="7834"/>
                  <a:pt x="33808" y="7975"/>
                </a:cubicBezTo>
                <a:cubicBezTo>
                  <a:pt x="33870" y="8100"/>
                  <a:pt x="33995" y="8178"/>
                  <a:pt x="34136" y="8178"/>
                </a:cubicBezTo>
                <a:cubicBezTo>
                  <a:pt x="34183" y="8178"/>
                  <a:pt x="34246" y="8178"/>
                  <a:pt x="34293" y="8147"/>
                </a:cubicBezTo>
                <a:cubicBezTo>
                  <a:pt x="34464" y="8069"/>
                  <a:pt x="34543" y="7850"/>
                  <a:pt x="34464" y="7678"/>
                </a:cubicBezTo>
                <a:cubicBezTo>
                  <a:pt x="34386" y="7521"/>
                  <a:pt x="34324" y="7381"/>
                  <a:pt x="34246" y="7240"/>
                </a:cubicBezTo>
                <a:cubicBezTo>
                  <a:pt x="34152" y="7053"/>
                  <a:pt x="33948" y="6990"/>
                  <a:pt x="33761" y="7084"/>
                </a:cubicBezTo>
                <a:cubicBezTo>
                  <a:pt x="33589" y="7162"/>
                  <a:pt x="33526" y="7381"/>
                  <a:pt x="33605" y="7553"/>
                </a:cubicBezTo>
                <a:close/>
                <a:moveTo>
                  <a:pt x="34371" y="8366"/>
                </a:moveTo>
                <a:cubicBezTo>
                  <a:pt x="34199" y="8429"/>
                  <a:pt x="34089" y="8647"/>
                  <a:pt x="34168" y="8819"/>
                </a:cubicBezTo>
                <a:cubicBezTo>
                  <a:pt x="34214" y="8976"/>
                  <a:pt x="34261" y="9117"/>
                  <a:pt x="34308" y="9257"/>
                </a:cubicBezTo>
                <a:cubicBezTo>
                  <a:pt x="34355" y="9414"/>
                  <a:pt x="34496" y="9508"/>
                  <a:pt x="34652" y="9508"/>
                </a:cubicBezTo>
                <a:cubicBezTo>
                  <a:pt x="34683" y="9508"/>
                  <a:pt x="34715" y="9508"/>
                  <a:pt x="34746" y="9492"/>
                </a:cubicBezTo>
                <a:cubicBezTo>
                  <a:pt x="34949" y="9445"/>
                  <a:pt x="35043" y="9242"/>
                  <a:pt x="34996" y="9054"/>
                </a:cubicBezTo>
                <a:cubicBezTo>
                  <a:pt x="34949" y="8898"/>
                  <a:pt x="34887" y="8741"/>
                  <a:pt x="34840" y="8585"/>
                </a:cubicBezTo>
                <a:cubicBezTo>
                  <a:pt x="34762" y="8397"/>
                  <a:pt x="34558" y="8304"/>
                  <a:pt x="34371" y="8366"/>
                </a:cubicBezTo>
                <a:close/>
                <a:moveTo>
                  <a:pt x="10337" y="4691"/>
                </a:moveTo>
                <a:cubicBezTo>
                  <a:pt x="10430" y="4691"/>
                  <a:pt x="10524" y="4660"/>
                  <a:pt x="10587" y="4582"/>
                </a:cubicBezTo>
                <a:cubicBezTo>
                  <a:pt x="10696" y="4473"/>
                  <a:pt x="10821" y="4379"/>
                  <a:pt x="10931" y="4269"/>
                </a:cubicBezTo>
                <a:cubicBezTo>
                  <a:pt x="11071" y="4128"/>
                  <a:pt x="11087" y="3910"/>
                  <a:pt x="10946" y="3769"/>
                </a:cubicBezTo>
                <a:cubicBezTo>
                  <a:pt x="10821" y="3612"/>
                  <a:pt x="10587" y="3612"/>
                  <a:pt x="10446" y="3738"/>
                </a:cubicBezTo>
                <a:cubicBezTo>
                  <a:pt x="10321" y="3847"/>
                  <a:pt x="10211" y="3972"/>
                  <a:pt x="10086" y="4081"/>
                </a:cubicBezTo>
                <a:cubicBezTo>
                  <a:pt x="9945" y="4222"/>
                  <a:pt x="9945" y="4441"/>
                  <a:pt x="10086" y="4582"/>
                </a:cubicBezTo>
                <a:cubicBezTo>
                  <a:pt x="10164" y="4660"/>
                  <a:pt x="10242" y="4691"/>
                  <a:pt x="10337" y="4691"/>
                </a:cubicBezTo>
                <a:close/>
                <a:moveTo>
                  <a:pt x="9164" y="5677"/>
                </a:moveTo>
                <a:cubicBezTo>
                  <a:pt x="9242" y="5739"/>
                  <a:pt x="9320" y="5755"/>
                  <a:pt x="9398" y="5755"/>
                </a:cubicBezTo>
                <a:cubicBezTo>
                  <a:pt x="9492" y="5755"/>
                  <a:pt x="9601" y="5708"/>
                  <a:pt x="9664" y="5614"/>
                </a:cubicBezTo>
                <a:cubicBezTo>
                  <a:pt x="9774" y="5504"/>
                  <a:pt x="9867" y="5379"/>
                  <a:pt x="9961" y="5270"/>
                </a:cubicBezTo>
                <a:cubicBezTo>
                  <a:pt x="10086" y="5114"/>
                  <a:pt x="10070" y="4894"/>
                  <a:pt x="9930" y="4754"/>
                </a:cubicBezTo>
                <a:cubicBezTo>
                  <a:pt x="9774" y="4629"/>
                  <a:pt x="9554" y="4644"/>
                  <a:pt x="9429" y="4801"/>
                </a:cubicBezTo>
                <a:cubicBezTo>
                  <a:pt x="9320" y="4926"/>
                  <a:pt x="9211" y="5051"/>
                  <a:pt x="9117" y="5176"/>
                </a:cubicBezTo>
                <a:cubicBezTo>
                  <a:pt x="8992" y="5332"/>
                  <a:pt x="9007" y="5551"/>
                  <a:pt x="9164" y="5677"/>
                </a:cubicBezTo>
                <a:close/>
                <a:moveTo>
                  <a:pt x="31071" y="4285"/>
                </a:moveTo>
                <a:cubicBezTo>
                  <a:pt x="31181" y="4394"/>
                  <a:pt x="31306" y="4504"/>
                  <a:pt x="31415" y="4613"/>
                </a:cubicBezTo>
                <a:cubicBezTo>
                  <a:pt x="31478" y="4676"/>
                  <a:pt x="31572" y="4707"/>
                  <a:pt x="31666" y="4707"/>
                </a:cubicBezTo>
                <a:cubicBezTo>
                  <a:pt x="31759" y="4707"/>
                  <a:pt x="31853" y="4676"/>
                  <a:pt x="31916" y="4598"/>
                </a:cubicBezTo>
                <a:cubicBezTo>
                  <a:pt x="32056" y="4457"/>
                  <a:pt x="32056" y="4238"/>
                  <a:pt x="31916" y="4097"/>
                </a:cubicBezTo>
                <a:cubicBezTo>
                  <a:pt x="31791" y="3988"/>
                  <a:pt x="31681" y="3863"/>
                  <a:pt x="31556" y="3769"/>
                </a:cubicBezTo>
                <a:cubicBezTo>
                  <a:pt x="31399" y="3628"/>
                  <a:pt x="31181" y="3643"/>
                  <a:pt x="31056" y="3785"/>
                </a:cubicBezTo>
                <a:cubicBezTo>
                  <a:pt x="30915" y="3941"/>
                  <a:pt x="30931" y="4160"/>
                  <a:pt x="31071" y="4285"/>
                </a:cubicBezTo>
                <a:close/>
                <a:moveTo>
                  <a:pt x="27584" y="2033"/>
                </a:moveTo>
                <a:cubicBezTo>
                  <a:pt x="27725" y="2096"/>
                  <a:pt x="27866" y="2158"/>
                  <a:pt x="28006" y="2236"/>
                </a:cubicBezTo>
                <a:cubicBezTo>
                  <a:pt x="28053" y="2252"/>
                  <a:pt x="28100" y="2267"/>
                  <a:pt x="28163" y="2267"/>
                </a:cubicBezTo>
                <a:cubicBezTo>
                  <a:pt x="28288" y="2267"/>
                  <a:pt x="28413" y="2189"/>
                  <a:pt x="28476" y="2064"/>
                </a:cubicBezTo>
                <a:cubicBezTo>
                  <a:pt x="28569" y="1892"/>
                  <a:pt x="28491" y="1673"/>
                  <a:pt x="28319" y="1595"/>
                </a:cubicBezTo>
                <a:cubicBezTo>
                  <a:pt x="28178" y="1517"/>
                  <a:pt x="28022" y="1454"/>
                  <a:pt x="27881" y="1376"/>
                </a:cubicBezTo>
                <a:cubicBezTo>
                  <a:pt x="27694" y="1298"/>
                  <a:pt x="27490" y="1376"/>
                  <a:pt x="27396" y="1564"/>
                </a:cubicBezTo>
                <a:cubicBezTo>
                  <a:pt x="27318" y="1736"/>
                  <a:pt x="27396" y="1955"/>
                  <a:pt x="27584" y="2033"/>
                </a:cubicBezTo>
                <a:close/>
                <a:moveTo>
                  <a:pt x="26286" y="1533"/>
                </a:moveTo>
                <a:cubicBezTo>
                  <a:pt x="26427" y="1579"/>
                  <a:pt x="26583" y="1626"/>
                  <a:pt x="26724" y="1673"/>
                </a:cubicBezTo>
                <a:cubicBezTo>
                  <a:pt x="26771" y="1689"/>
                  <a:pt x="26802" y="1704"/>
                  <a:pt x="26849" y="1704"/>
                </a:cubicBezTo>
                <a:cubicBezTo>
                  <a:pt x="26990" y="1704"/>
                  <a:pt x="27131" y="1611"/>
                  <a:pt x="27178" y="1470"/>
                </a:cubicBezTo>
                <a:cubicBezTo>
                  <a:pt x="27256" y="1283"/>
                  <a:pt x="27162" y="1079"/>
                  <a:pt x="26974" y="1016"/>
                </a:cubicBezTo>
                <a:cubicBezTo>
                  <a:pt x="26818" y="954"/>
                  <a:pt x="26662" y="907"/>
                  <a:pt x="26505" y="845"/>
                </a:cubicBezTo>
                <a:cubicBezTo>
                  <a:pt x="26333" y="782"/>
                  <a:pt x="26130" y="891"/>
                  <a:pt x="26067" y="1079"/>
                </a:cubicBezTo>
                <a:cubicBezTo>
                  <a:pt x="25989" y="1267"/>
                  <a:pt x="26099" y="1470"/>
                  <a:pt x="26286" y="1533"/>
                </a:cubicBezTo>
                <a:close/>
                <a:moveTo>
                  <a:pt x="29992" y="3425"/>
                </a:moveTo>
                <a:cubicBezTo>
                  <a:pt x="30117" y="3503"/>
                  <a:pt x="30243" y="3597"/>
                  <a:pt x="30368" y="3690"/>
                </a:cubicBezTo>
                <a:cubicBezTo>
                  <a:pt x="30430" y="3753"/>
                  <a:pt x="30508" y="3769"/>
                  <a:pt x="30586" y="3769"/>
                </a:cubicBezTo>
                <a:cubicBezTo>
                  <a:pt x="30696" y="3769"/>
                  <a:pt x="30790" y="3722"/>
                  <a:pt x="30868" y="3628"/>
                </a:cubicBezTo>
                <a:cubicBezTo>
                  <a:pt x="30993" y="3472"/>
                  <a:pt x="30962" y="3253"/>
                  <a:pt x="30805" y="3128"/>
                </a:cubicBezTo>
                <a:cubicBezTo>
                  <a:pt x="30680" y="3034"/>
                  <a:pt x="30540" y="2940"/>
                  <a:pt x="30415" y="2846"/>
                </a:cubicBezTo>
                <a:cubicBezTo>
                  <a:pt x="30258" y="2721"/>
                  <a:pt x="30023" y="2752"/>
                  <a:pt x="29914" y="2924"/>
                </a:cubicBezTo>
                <a:cubicBezTo>
                  <a:pt x="29805" y="3081"/>
                  <a:pt x="29836" y="3300"/>
                  <a:pt x="29992" y="3425"/>
                </a:cubicBezTo>
                <a:close/>
                <a:moveTo>
                  <a:pt x="63987" y="31227"/>
                </a:moveTo>
                <a:cubicBezTo>
                  <a:pt x="63941" y="31024"/>
                  <a:pt x="63737" y="30915"/>
                  <a:pt x="63549" y="30962"/>
                </a:cubicBezTo>
                <a:cubicBezTo>
                  <a:pt x="63362" y="31009"/>
                  <a:pt x="63237" y="31212"/>
                  <a:pt x="63299" y="31400"/>
                </a:cubicBezTo>
                <a:cubicBezTo>
                  <a:pt x="63331" y="31556"/>
                  <a:pt x="63362" y="31697"/>
                  <a:pt x="63409" y="31853"/>
                </a:cubicBezTo>
                <a:cubicBezTo>
                  <a:pt x="63440" y="32025"/>
                  <a:pt x="63596" y="32135"/>
                  <a:pt x="63753" y="32135"/>
                </a:cubicBezTo>
                <a:cubicBezTo>
                  <a:pt x="63784" y="32135"/>
                  <a:pt x="63816" y="32119"/>
                  <a:pt x="63831" y="32119"/>
                </a:cubicBezTo>
                <a:cubicBezTo>
                  <a:pt x="64034" y="32072"/>
                  <a:pt x="64144" y="31884"/>
                  <a:pt x="64097" y="31697"/>
                </a:cubicBezTo>
                <a:cubicBezTo>
                  <a:pt x="64066" y="31540"/>
                  <a:pt x="64019" y="31369"/>
                  <a:pt x="63987" y="31227"/>
                </a:cubicBezTo>
                <a:close/>
                <a:moveTo>
                  <a:pt x="55700" y="48319"/>
                </a:moveTo>
                <a:cubicBezTo>
                  <a:pt x="55543" y="48366"/>
                  <a:pt x="55387" y="48397"/>
                  <a:pt x="55246" y="48444"/>
                </a:cubicBezTo>
                <a:cubicBezTo>
                  <a:pt x="55059" y="48491"/>
                  <a:pt x="54949" y="48695"/>
                  <a:pt x="54996" y="48882"/>
                </a:cubicBezTo>
                <a:cubicBezTo>
                  <a:pt x="55043" y="49038"/>
                  <a:pt x="55184" y="49148"/>
                  <a:pt x="55340" y="49148"/>
                </a:cubicBezTo>
                <a:cubicBezTo>
                  <a:pt x="55372" y="49148"/>
                  <a:pt x="55403" y="49148"/>
                  <a:pt x="55434" y="49132"/>
                </a:cubicBezTo>
                <a:cubicBezTo>
                  <a:pt x="55590" y="49085"/>
                  <a:pt x="55747" y="49038"/>
                  <a:pt x="55903" y="48991"/>
                </a:cubicBezTo>
                <a:cubicBezTo>
                  <a:pt x="56091" y="48945"/>
                  <a:pt x="56200" y="48741"/>
                  <a:pt x="56138" y="48553"/>
                </a:cubicBezTo>
                <a:cubicBezTo>
                  <a:pt x="56075" y="48366"/>
                  <a:pt x="55887" y="48257"/>
                  <a:pt x="55700" y="48319"/>
                </a:cubicBezTo>
                <a:close/>
                <a:moveTo>
                  <a:pt x="54339" y="48663"/>
                </a:moveTo>
                <a:cubicBezTo>
                  <a:pt x="54183" y="48695"/>
                  <a:pt x="54027" y="48726"/>
                  <a:pt x="53886" y="48757"/>
                </a:cubicBezTo>
                <a:cubicBezTo>
                  <a:pt x="53683" y="48788"/>
                  <a:pt x="53558" y="48976"/>
                  <a:pt x="53589" y="49163"/>
                </a:cubicBezTo>
                <a:cubicBezTo>
                  <a:pt x="53620" y="49336"/>
                  <a:pt x="53776" y="49461"/>
                  <a:pt x="53948" y="49461"/>
                </a:cubicBezTo>
                <a:lnTo>
                  <a:pt x="54011" y="49461"/>
                </a:lnTo>
                <a:cubicBezTo>
                  <a:pt x="54167" y="49429"/>
                  <a:pt x="54324" y="49398"/>
                  <a:pt x="54480" y="49367"/>
                </a:cubicBezTo>
                <a:cubicBezTo>
                  <a:pt x="54684" y="49320"/>
                  <a:pt x="54809" y="49132"/>
                  <a:pt x="54762" y="48945"/>
                </a:cubicBezTo>
                <a:cubicBezTo>
                  <a:pt x="54715" y="48741"/>
                  <a:pt x="54527" y="48616"/>
                  <a:pt x="54339" y="48663"/>
                </a:cubicBezTo>
                <a:close/>
                <a:moveTo>
                  <a:pt x="52963" y="48882"/>
                </a:moveTo>
                <a:cubicBezTo>
                  <a:pt x="52807" y="48913"/>
                  <a:pt x="52650" y="48929"/>
                  <a:pt x="52494" y="48929"/>
                </a:cubicBezTo>
                <a:cubicBezTo>
                  <a:pt x="52307" y="48960"/>
                  <a:pt x="52150" y="49132"/>
                  <a:pt x="52166" y="49320"/>
                </a:cubicBezTo>
                <a:cubicBezTo>
                  <a:pt x="52182" y="49508"/>
                  <a:pt x="52338" y="49648"/>
                  <a:pt x="52525" y="49648"/>
                </a:cubicBezTo>
                <a:lnTo>
                  <a:pt x="52557" y="49648"/>
                </a:lnTo>
                <a:cubicBezTo>
                  <a:pt x="52713" y="49633"/>
                  <a:pt x="52885" y="49617"/>
                  <a:pt x="53041" y="49601"/>
                </a:cubicBezTo>
                <a:cubicBezTo>
                  <a:pt x="53245" y="49570"/>
                  <a:pt x="53386" y="49398"/>
                  <a:pt x="53354" y="49210"/>
                </a:cubicBezTo>
                <a:cubicBezTo>
                  <a:pt x="53339" y="49007"/>
                  <a:pt x="53151" y="48866"/>
                  <a:pt x="52963" y="48882"/>
                </a:cubicBezTo>
                <a:close/>
                <a:moveTo>
                  <a:pt x="58280" y="47271"/>
                </a:moveTo>
                <a:cubicBezTo>
                  <a:pt x="58139" y="47334"/>
                  <a:pt x="57999" y="47412"/>
                  <a:pt x="57858" y="47475"/>
                </a:cubicBezTo>
                <a:cubicBezTo>
                  <a:pt x="57686" y="47569"/>
                  <a:pt x="57607" y="47772"/>
                  <a:pt x="57686" y="47960"/>
                </a:cubicBezTo>
                <a:cubicBezTo>
                  <a:pt x="57748" y="48085"/>
                  <a:pt x="57889" y="48163"/>
                  <a:pt x="58014" y="48163"/>
                </a:cubicBezTo>
                <a:cubicBezTo>
                  <a:pt x="58061" y="48163"/>
                  <a:pt x="58124" y="48147"/>
                  <a:pt x="58170" y="48116"/>
                </a:cubicBezTo>
                <a:cubicBezTo>
                  <a:pt x="58311" y="48053"/>
                  <a:pt x="58467" y="47975"/>
                  <a:pt x="58608" y="47897"/>
                </a:cubicBezTo>
                <a:cubicBezTo>
                  <a:pt x="58780" y="47803"/>
                  <a:pt x="58843" y="47584"/>
                  <a:pt x="58749" y="47412"/>
                </a:cubicBezTo>
                <a:cubicBezTo>
                  <a:pt x="58671" y="47240"/>
                  <a:pt x="58452" y="47177"/>
                  <a:pt x="58280" y="47271"/>
                </a:cubicBezTo>
                <a:close/>
                <a:moveTo>
                  <a:pt x="57013" y="47850"/>
                </a:moveTo>
                <a:cubicBezTo>
                  <a:pt x="56873" y="47912"/>
                  <a:pt x="56716" y="47960"/>
                  <a:pt x="56576" y="48022"/>
                </a:cubicBezTo>
                <a:cubicBezTo>
                  <a:pt x="56388" y="48085"/>
                  <a:pt x="56294" y="48288"/>
                  <a:pt x="56372" y="48475"/>
                </a:cubicBezTo>
                <a:cubicBezTo>
                  <a:pt x="56419" y="48616"/>
                  <a:pt x="56560" y="48710"/>
                  <a:pt x="56701" y="48710"/>
                </a:cubicBezTo>
                <a:cubicBezTo>
                  <a:pt x="56748" y="48710"/>
                  <a:pt x="56779" y="48710"/>
                  <a:pt x="56826" y="48695"/>
                </a:cubicBezTo>
                <a:cubicBezTo>
                  <a:pt x="56982" y="48632"/>
                  <a:pt x="57123" y="48569"/>
                  <a:pt x="57279" y="48507"/>
                </a:cubicBezTo>
                <a:cubicBezTo>
                  <a:pt x="57467" y="48444"/>
                  <a:pt x="57545" y="48225"/>
                  <a:pt x="57482" y="48053"/>
                </a:cubicBezTo>
                <a:cubicBezTo>
                  <a:pt x="57404" y="47865"/>
                  <a:pt x="57201" y="47772"/>
                  <a:pt x="57013" y="47850"/>
                </a:cubicBezTo>
                <a:close/>
                <a:moveTo>
                  <a:pt x="47459" y="48413"/>
                </a:moveTo>
                <a:cubicBezTo>
                  <a:pt x="47303" y="48366"/>
                  <a:pt x="47162" y="48319"/>
                  <a:pt x="47006" y="48272"/>
                </a:cubicBezTo>
                <a:cubicBezTo>
                  <a:pt x="46818" y="48210"/>
                  <a:pt x="46615" y="48303"/>
                  <a:pt x="46552" y="48491"/>
                </a:cubicBezTo>
                <a:cubicBezTo>
                  <a:pt x="46490" y="48679"/>
                  <a:pt x="46599" y="48882"/>
                  <a:pt x="46786" y="48945"/>
                </a:cubicBezTo>
                <a:cubicBezTo>
                  <a:pt x="46928" y="49007"/>
                  <a:pt x="47084" y="49054"/>
                  <a:pt x="47240" y="49101"/>
                </a:cubicBezTo>
                <a:cubicBezTo>
                  <a:pt x="47287" y="49116"/>
                  <a:pt x="47318" y="49116"/>
                  <a:pt x="47349" y="49116"/>
                </a:cubicBezTo>
                <a:cubicBezTo>
                  <a:pt x="47506" y="49116"/>
                  <a:pt x="47647" y="49023"/>
                  <a:pt x="47694" y="48866"/>
                </a:cubicBezTo>
                <a:cubicBezTo>
                  <a:pt x="47741" y="48679"/>
                  <a:pt x="47647" y="48475"/>
                  <a:pt x="47459" y="48413"/>
                </a:cubicBezTo>
                <a:close/>
                <a:moveTo>
                  <a:pt x="51572" y="48976"/>
                </a:moveTo>
                <a:cubicBezTo>
                  <a:pt x="51415" y="48991"/>
                  <a:pt x="51259" y="48991"/>
                  <a:pt x="51102" y="48991"/>
                </a:cubicBezTo>
                <a:cubicBezTo>
                  <a:pt x="50899" y="48991"/>
                  <a:pt x="50743" y="49148"/>
                  <a:pt x="50743" y="49336"/>
                </a:cubicBezTo>
                <a:cubicBezTo>
                  <a:pt x="50743" y="49539"/>
                  <a:pt x="50899" y="49695"/>
                  <a:pt x="51087" y="49695"/>
                </a:cubicBezTo>
                <a:lnTo>
                  <a:pt x="51321" y="49695"/>
                </a:lnTo>
                <a:lnTo>
                  <a:pt x="51587" y="49695"/>
                </a:lnTo>
                <a:cubicBezTo>
                  <a:pt x="51775" y="49695"/>
                  <a:pt x="51931" y="49539"/>
                  <a:pt x="51931" y="49336"/>
                </a:cubicBezTo>
                <a:cubicBezTo>
                  <a:pt x="51931" y="49132"/>
                  <a:pt x="51775" y="48976"/>
                  <a:pt x="51572" y="48976"/>
                </a:cubicBezTo>
                <a:close/>
                <a:moveTo>
                  <a:pt x="46145" y="47944"/>
                </a:moveTo>
                <a:cubicBezTo>
                  <a:pt x="46005" y="47881"/>
                  <a:pt x="45864" y="47819"/>
                  <a:pt x="45723" y="47756"/>
                </a:cubicBezTo>
                <a:cubicBezTo>
                  <a:pt x="45535" y="47678"/>
                  <a:pt x="45332" y="47756"/>
                  <a:pt x="45239" y="47928"/>
                </a:cubicBezTo>
                <a:cubicBezTo>
                  <a:pt x="45160" y="48116"/>
                  <a:pt x="45239" y="48319"/>
                  <a:pt x="45426" y="48413"/>
                </a:cubicBezTo>
                <a:cubicBezTo>
                  <a:pt x="45567" y="48475"/>
                  <a:pt x="45723" y="48538"/>
                  <a:pt x="45864" y="48601"/>
                </a:cubicBezTo>
                <a:cubicBezTo>
                  <a:pt x="45911" y="48616"/>
                  <a:pt x="45958" y="48632"/>
                  <a:pt x="46005" y="48632"/>
                </a:cubicBezTo>
                <a:cubicBezTo>
                  <a:pt x="46145" y="48632"/>
                  <a:pt x="46271" y="48553"/>
                  <a:pt x="46333" y="48413"/>
                </a:cubicBezTo>
                <a:cubicBezTo>
                  <a:pt x="46411" y="48225"/>
                  <a:pt x="46318" y="48022"/>
                  <a:pt x="46145" y="47944"/>
                </a:cubicBezTo>
                <a:close/>
                <a:moveTo>
                  <a:pt x="59468" y="46552"/>
                </a:moveTo>
                <a:cubicBezTo>
                  <a:pt x="59343" y="46646"/>
                  <a:pt x="59203" y="46724"/>
                  <a:pt x="59077" y="46802"/>
                </a:cubicBezTo>
                <a:cubicBezTo>
                  <a:pt x="58905" y="46912"/>
                  <a:pt x="58858" y="47131"/>
                  <a:pt x="58968" y="47303"/>
                </a:cubicBezTo>
                <a:cubicBezTo>
                  <a:pt x="59030" y="47412"/>
                  <a:pt x="59140" y="47459"/>
                  <a:pt x="59265" y="47459"/>
                </a:cubicBezTo>
                <a:cubicBezTo>
                  <a:pt x="59328" y="47459"/>
                  <a:pt x="59390" y="47444"/>
                  <a:pt x="59453" y="47412"/>
                </a:cubicBezTo>
                <a:cubicBezTo>
                  <a:pt x="59593" y="47319"/>
                  <a:pt x="59734" y="47240"/>
                  <a:pt x="59859" y="47146"/>
                </a:cubicBezTo>
                <a:cubicBezTo>
                  <a:pt x="60031" y="47037"/>
                  <a:pt x="60063" y="46802"/>
                  <a:pt x="59953" y="46646"/>
                </a:cubicBezTo>
                <a:cubicBezTo>
                  <a:pt x="59844" y="46489"/>
                  <a:pt x="59625" y="46443"/>
                  <a:pt x="59468" y="46552"/>
                </a:cubicBezTo>
                <a:close/>
                <a:moveTo>
                  <a:pt x="48804" y="48741"/>
                </a:moveTo>
                <a:cubicBezTo>
                  <a:pt x="48647" y="48726"/>
                  <a:pt x="48491" y="48695"/>
                  <a:pt x="48350" y="48648"/>
                </a:cubicBezTo>
                <a:cubicBezTo>
                  <a:pt x="48162" y="48616"/>
                  <a:pt x="47959" y="48726"/>
                  <a:pt x="47928" y="48929"/>
                </a:cubicBezTo>
                <a:cubicBezTo>
                  <a:pt x="47881" y="49116"/>
                  <a:pt x="47991" y="49304"/>
                  <a:pt x="48194" y="49351"/>
                </a:cubicBezTo>
                <a:cubicBezTo>
                  <a:pt x="48350" y="49383"/>
                  <a:pt x="48507" y="49414"/>
                  <a:pt x="48663" y="49445"/>
                </a:cubicBezTo>
                <a:cubicBezTo>
                  <a:pt x="48694" y="49461"/>
                  <a:pt x="48710" y="49461"/>
                  <a:pt x="48741" y="49461"/>
                </a:cubicBezTo>
                <a:cubicBezTo>
                  <a:pt x="48898" y="49461"/>
                  <a:pt x="49054" y="49336"/>
                  <a:pt x="49085" y="49163"/>
                </a:cubicBezTo>
                <a:cubicBezTo>
                  <a:pt x="49117" y="48976"/>
                  <a:pt x="48992" y="48788"/>
                  <a:pt x="48804" y="48741"/>
                </a:cubicBezTo>
                <a:close/>
                <a:moveTo>
                  <a:pt x="50180" y="48945"/>
                </a:moveTo>
                <a:cubicBezTo>
                  <a:pt x="50023" y="48929"/>
                  <a:pt x="49867" y="48913"/>
                  <a:pt x="49711" y="48898"/>
                </a:cubicBezTo>
                <a:cubicBezTo>
                  <a:pt x="49523" y="48866"/>
                  <a:pt x="49351" y="49007"/>
                  <a:pt x="49320" y="49210"/>
                </a:cubicBezTo>
                <a:cubicBezTo>
                  <a:pt x="49304" y="49398"/>
                  <a:pt x="49445" y="49570"/>
                  <a:pt x="49633" y="49601"/>
                </a:cubicBezTo>
                <a:cubicBezTo>
                  <a:pt x="49789" y="49617"/>
                  <a:pt x="49961" y="49633"/>
                  <a:pt x="50118" y="49648"/>
                </a:cubicBezTo>
                <a:lnTo>
                  <a:pt x="50149" y="49648"/>
                </a:lnTo>
                <a:cubicBezTo>
                  <a:pt x="50336" y="49648"/>
                  <a:pt x="50493" y="49508"/>
                  <a:pt x="50508" y="49320"/>
                </a:cubicBezTo>
                <a:cubicBezTo>
                  <a:pt x="50524" y="49132"/>
                  <a:pt x="50383" y="48960"/>
                  <a:pt x="50180" y="48945"/>
                </a:cubicBezTo>
                <a:close/>
                <a:moveTo>
                  <a:pt x="63440" y="42205"/>
                </a:moveTo>
                <a:cubicBezTo>
                  <a:pt x="63253" y="42127"/>
                  <a:pt x="63049" y="42205"/>
                  <a:pt x="62971" y="42377"/>
                </a:cubicBezTo>
                <a:cubicBezTo>
                  <a:pt x="62908" y="42518"/>
                  <a:pt x="62830" y="42658"/>
                  <a:pt x="62768" y="42799"/>
                </a:cubicBezTo>
                <a:cubicBezTo>
                  <a:pt x="62674" y="42971"/>
                  <a:pt x="62752" y="43190"/>
                  <a:pt x="62924" y="43284"/>
                </a:cubicBezTo>
                <a:cubicBezTo>
                  <a:pt x="62971" y="43299"/>
                  <a:pt x="63034" y="43315"/>
                  <a:pt x="63081" y="43315"/>
                </a:cubicBezTo>
                <a:cubicBezTo>
                  <a:pt x="63221" y="43315"/>
                  <a:pt x="63346" y="43237"/>
                  <a:pt x="63409" y="43128"/>
                </a:cubicBezTo>
                <a:cubicBezTo>
                  <a:pt x="63471" y="42971"/>
                  <a:pt x="63549" y="42831"/>
                  <a:pt x="63612" y="42674"/>
                </a:cubicBezTo>
                <a:cubicBezTo>
                  <a:pt x="63691" y="42502"/>
                  <a:pt x="63612" y="42283"/>
                  <a:pt x="63440" y="42205"/>
                </a:cubicBezTo>
                <a:close/>
                <a:moveTo>
                  <a:pt x="63581" y="29820"/>
                </a:moveTo>
                <a:cubicBezTo>
                  <a:pt x="63534" y="29633"/>
                  <a:pt x="63331" y="29539"/>
                  <a:pt x="63143" y="29586"/>
                </a:cubicBezTo>
                <a:cubicBezTo>
                  <a:pt x="62955" y="29648"/>
                  <a:pt x="62846" y="29851"/>
                  <a:pt x="62908" y="30039"/>
                </a:cubicBezTo>
                <a:cubicBezTo>
                  <a:pt x="62955" y="30196"/>
                  <a:pt x="63003" y="30336"/>
                  <a:pt x="63049" y="30493"/>
                </a:cubicBezTo>
                <a:cubicBezTo>
                  <a:pt x="63096" y="30649"/>
                  <a:pt x="63237" y="30743"/>
                  <a:pt x="63393" y="30743"/>
                </a:cubicBezTo>
                <a:cubicBezTo>
                  <a:pt x="63424" y="30743"/>
                  <a:pt x="63456" y="30743"/>
                  <a:pt x="63487" y="30727"/>
                </a:cubicBezTo>
                <a:cubicBezTo>
                  <a:pt x="63675" y="30681"/>
                  <a:pt x="63784" y="30477"/>
                  <a:pt x="63722" y="30289"/>
                </a:cubicBezTo>
                <a:cubicBezTo>
                  <a:pt x="63691" y="30133"/>
                  <a:pt x="63628" y="29976"/>
                  <a:pt x="63581" y="29820"/>
                </a:cubicBezTo>
                <a:close/>
                <a:moveTo>
                  <a:pt x="63894" y="40844"/>
                </a:moveTo>
                <a:cubicBezTo>
                  <a:pt x="63706" y="40797"/>
                  <a:pt x="63503" y="40907"/>
                  <a:pt x="63456" y="41095"/>
                </a:cubicBezTo>
                <a:cubicBezTo>
                  <a:pt x="63409" y="41235"/>
                  <a:pt x="63362" y="41376"/>
                  <a:pt x="63299" y="41533"/>
                </a:cubicBezTo>
                <a:cubicBezTo>
                  <a:pt x="63237" y="41720"/>
                  <a:pt x="63346" y="41923"/>
                  <a:pt x="63518" y="41986"/>
                </a:cubicBezTo>
                <a:cubicBezTo>
                  <a:pt x="63565" y="42002"/>
                  <a:pt x="63612" y="42002"/>
                  <a:pt x="63644" y="42002"/>
                </a:cubicBezTo>
                <a:cubicBezTo>
                  <a:pt x="63784" y="42002"/>
                  <a:pt x="63925" y="41908"/>
                  <a:pt x="63987" y="41767"/>
                </a:cubicBezTo>
                <a:cubicBezTo>
                  <a:pt x="64034" y="41611"/>
                  <a:pt x="64081" y="41454"/>
                  <a:pt x="64128" y="41298"/>
                </a:cubicBezTo>
                <a:cubicBezTo>
                  <a:pt x="64191" y="41110"/>
                  <a:pt x="64081" y="40907"/>
                  <a:pt x="63894" y="40844"/>
                </a:cubicBezTo>
                <a:close/>
                <a:moveTo>
                  <a:pt x="64191" y="39453"/>
                </a:moveTo>
                <a:cubicBezTo>
                  <a:pt x="64003" y="39421"/>
                  <a:pt x="63816" y="39546"/>
                  <a:pt x="63784" y="39734"/>
                </a:cubicBezTo>
                <a:cubicBezTo>
                  <a:pt x="63753" y="39891"/>
                  <a:pt x="63722" y="40047"/>
                  <a:pt x="63691" y="40188"/>
                </a:cubicBezTo>
                <a:cubicBezTo>
                  <a:pt x="63644" y="40391"/>
                  <a:pt x="63769" y="40579"/>
                  <a:pt x="63956" y="40626"/>
                </a:cubicBezTo>
                <a:lnTo>
                  <a:pt x="64034" y="40626"/>
                </a:lnTo>
                <a:cubicBezTo>
                  <a:pt x="64206" y="40626"/>
                  <a:pt x="64347" y="40516"/>
                  <a:pt x="64379" y="40344"/>
                </a:cubicBezTo>
                <a:cubicBezTo>
                  <a:pt x="64425" y="40188"/>
                  <a:pt x="64457" y="40031"/>
                  <a:pt x="64488" y="39875"/>
                </a:cubicBezTo>
                <a:cubicBezTo>
                  <a:pt x="64519" y="39672"/>
                  <a:pt x="64394" y="39484"/>
                  <a:pt x="64191" y="39453"/>
                </a:cubicBezTo>
                <a:close/>
                <a:moveTo>
                  <a:pt x="64363" y="38030"/>
                </a:moveTo>
                <a:cubicBezTo>
                  <a:pt x="64159" y="38014"/>
                  <a:pt x="63987" y="38170"/>
                  <a:pt x="63972" y="38358"/>
                </a:cubicBezTo>
                <a:cubicBezTo>
                  <a:pt x="63956" y="38515"/>
                  <a:pt x="63941" y="38671"/>
                  <a:pt x="63925" y="38827"/>
                </a:cubicBezTo>
                <a:cubicBezTo>
                  <a:pt x="63894" y="39015"/>
                  <a:pt x="64034" y="39203"/>
                  <a:pt x="64237" y="39218"/>
                </a:cubicBezTo>
                <a:lnTo>
                  <a:pt x="64269" y="39218"/>
                </a:lnTo>
                <a:cubicBezTo>
                  <a:pt x="64457" y="39218"/>
                  <a:pt x="64613" y="39093"/>
                  <a:pt x="64629" y="38905"/>
                </a:cubicBezTo>
                <a:cubicBezTo>
                  <a:pt x="64644" y="38749"/>
                  <a:pt x="64660" y="38593"/>
                  <a:pt x="64675" y="38421"/>
                </a:cubicBezTo>
                <a:cubicBezTo>
                  <a:pt x="64691" y="38233"/>
                  <a:pt x="64550" y="38061"/>
                  <a:pt x="64363" y="38030"/>
                </a:cubicBezTo>
                <a:close/>
                <a:moveTo>
                  <a:pt x="64394" y="36607"/>
                </a:moveTo>
                <a:cubicBezTo>
                  <a:pt x="64191" y="36607"/>
                  <a:pt x="64034" y="36763"/>
                  <a:pt x="64034" y="36966"/>
                </a:cubicBezTo>
                <a:cubicBezTo>
                  <a:pt x="64034" y="37123"/>
                  <a:pt x="64034" y="37279"/>
                  <a:pt x="64019" y="37436"/>
                </a:cubicBezTo>
                <a:cubicBezTo>
                  <a:pt x="64019" y="37623"/>
                  <a:pt x="64175" y="37795"/>
                  <a:pt x="64379" y="37795"/>
                </a:cubicBezTo>
                <a:cubicBezTo>
                  <a:pt x="64582" y="37795"/>
                  <a:pt x="64738" y="37639"/>
                  <a:pt x="64738" y="37451"/>
                </a:cubicBezTo>
                <a:cubicBezTo>
                  <a:pt x="64738" y="37295"/>
                  <a:pt x="64754" y="37123"/>
                  <a:pt x="64754" y="36966"/>
                </a:cubicBezTo>
                <a:cubicBezTo>
                  <a:pt x="64754" y="36763"/>
                  <a:pt x="64582" y="36607"/>
                  <a:pt x="64394" y="36607"/>
                </a:cubicBezTo>
                <a:close/>
                <a:moveTo>
                  <a:pt x="64300" y="32635"/>
                </a:moveTo>
                <a:cubicBezTo>
                  <a:pt x="64269" y="32447"/>
                  <a:pt x="64081" y="32322"/>
                  <a:pt x="63894" y="32353"/>
                </a:cubicBezTo>
                <a:cubicBezTo>
                  <a:pt x="63691" y="32385"/>
                  <a:pt x="63565" y="32573"/>
                  <a:pt x="63612" y="32776"/>
                </a:cubicBezTo>
                <a:cubicBezTo>
                  <a:pt x="63628" y="32932"/>
                  <a:pt x="63659" y="33088"/>
                  <a:pt x="63691" y="33229"/>
                </a:cubicBezTo>
                <a:cubicBezTo>
                  <a:pt x="63722" y="33401"/>
                  <a:pt x="63878" y="33526"/>
                  <a:pt x="64050" y="33526"/>
                </a:cubicBezTo>
                <a:lnTo>
                  <a:pt x="64112" y="33526"/>
                </a:lnTo>
                <a:cubicBezTo>
                  <a:pt x="64300" y="33495"/>
                  <a:pt x="64425" y="33308"/>
                  <a:pt x="64394" y="33104"/>
                </a:cubicBezTo>
                <a:cubicBezTo>
                  <a:pt x="64363" y="32948"/>
                  <a:pt x="64332" y="32791"/>
                  <a:pt x="64300" y="32635"/>
                </a:cubicBezTo>
                <a:close/>
                <a:moveTo>
                  <a:pt x="44894" y="47334"/>
                </a:moveTo>
                <a:cubicBezTo>
                  <a:pt x="44754" y="47271"/>
                  <a:pt x="44613" y="47193"/>
                  <a:pt x="44488" y="47115"/>
                </a:cubicBezTo>
                <a:cubicBezTo>
                  <a:pt x="44316" y="47006"/>
                  <a:pt x="44097" y="47068"/>
                  <a:pt x="44003" y="47240"/>
                </a:cubicBezTo>
                <a:cubicBezTo>
                  <a:pt x="43894" y="47412"/>
                  <a:pt x="43956" y="47631"/>
                  <a:pt x="44128" y="47725"/>
                </a:cubicBezTo>
                <a:cubicBezTo>
                  <a:pt x="44269" y="47803"/>
                  <a:pt x="44410" y="47897"/>
                  <a:pt x="44551" y="47975"/>
                </a:cubicBezTo>
                <a:cubicBezTo>
                  <a:pt x="44597" y="47991"/>
                  <a:pt x="44660" y="48007"/>
                  <a:pt x="44722" y="48007"/>
                </a:cubicBezTo>
                <a:cubicBezTo>
                  <a:pt x="44847" y="48007"/>
                  <a:pt x="44972" y="47944"/>
                  <a:pt x="45035" y="47819"/>
                </a:cubicBezTo>
                <a:cubicBezTo>
                  <a:pt x="45129" y="47647"/>
                  <a:pt x="45067" y="47428"/>
                  <a:pt x="44894" y="47334"/>
                </a:cubicBezTo>
                <a:close/>
                <a:moveTo>
                  <a:pt x="62815" y="43487"/>
                </a:moveTo>
                <a:cubicBezTo>
                  <a:pt x="62643" y="43378"/>
                  <a:pt x="62424" y="43424"/>
                  <a:pt x="62314" y="43597"/>
                </a:cubicBezTo>
                <a:cubicBezTo>
                  <a:pt x="62236" y="43722"/>
                  <a:pt x="62158" y="43862"/>
                  <a:pt x="62064" y="43987"/>
                </a:cubicBezTo>
                <a:cubicBezTo>
                  <a:pt x="61955" y="44144"/>
                  <a:pt x="61986" y="44363"/>
                  <a:pt x="62158" y="44472"/>
                </a:cubicBezTo>
                <a:cubicBezTo>
                  <a:pt x="62220" y="44519"/>
                  <a:pt x="62283" y="44550"/>
                  <a:pt x="62361" y="44550"/>
                </a:cubicBezTo>
                <a:cubicBezTo>
                  <a:pt x="62471" y="44550"/>
                  <a:pt x="62580" y="44488"/>
                  <a:pt x="62658" y="44394"/>
                </a:cubicBezTo>
                <a:cubicBezTo>
                  <a:pt x="62752" y="44254"/>
                  <a:pt x="62830" y="44113"/>
                  <a:pt x="62924" y="43972"/>
                </a:cubicBezTo>
                <a:cubicBezTo>
                  <a:pt x="63034" y="43816"/>
                  <a:pt x="62971" y="43597"/>
                  <a:pt x="62815" y="43487"/>
                </a:cubicBezTo>
                <a:close/>
                <a:moveTo>
                  <a:pt x="64316" y="35184"/>
                </a:moveTo>
                <a:cubicBezTo>
                  <a:pt x="64112" y="35200"/>
                  <a:pt x="63972" y="35372"/>
                  <a:pt x="63987" y="35559"/>
                </a:cubicBezTo>
                <a:cubicBezTo>
                  <a:pt x="63987" y="35715"/>
                  <a:pt x="64003" y="35872"/>
                  <a:pt x="64019" y="36028"/>
                </a:cubicBezTo>
                <a:cubicBezTo>
                  <a:pt x="64019" y="36216"/>
                  <a:pt x="64175" y="36372"/>
                  <a:pt x="64363" y="36372"/>
                </a:cubicBezTo>
                <a:lnTo>
                  <a:pt x="64379" y="36372"/>
                </a:lnTo>
                <a:cubicBezTo>
                  <a:pt x="64582" y="36356"/>
                  <a:pt x="64738" y="36185"/>
                  <a:pt x="64722" y="35997"/>
                </a:cubicBezTo>
                <a:cubicBezTo>
                  <a:pt x="64722" y="35841"/>
                  <a:pt x="64707" y="35668"/>
                  <a:pt x="64691" y="35512"/>
                </a:cubicBezTo>
                <a:cubicBezTo>
                  <a:pt x="64675" y="35309"/>
                  <a:pt x="64519" y="35168"/>
                  <a:pt x="64316" y="35184"/>
                </a:cubicBezTo>
                <a:close/>
                <a:moveTo>
                  <a:pt x="62017" y="44675"/>
                </a:moveTo>
                <a:cubicBezTo>
                  <a:pt x="61861" y="44535"/>
                  <a:pt x="61626" y="44566"/>
                  <a:pt x="61501" y="44707"/>
                </a:cubicBezTo>
                <a:cubicBezTo>
                  <a:pt x="61407" y="44832"/>
                  <a:pt x="61298" y="44942"/>
                  <a:pt x="61204" y="45051"/>
                </a:cubicBezTo>
                <a:cubicBezTo>
                  <a:pt x="61064" y="45207"/>
                  <a:pt x="61079" y="45426"/>
                  <a:pt x="61220" y="45567"/>
                </a:cubicBezTo>
                <a:cubicBezTo>
                  <a:pt x="61298" y="45630"/>
                  <a:pt x="61376" y="45661"/>
                  <a:pt x="61470" y="45661"/>
                </a:cubicBezTo>
                <a:cubicBezTo>
                  <a:pt x="61564" y="45661"/>
                  <a:pt x="61657" y="45614"/>
                  <a:pt x="61720" y="45536"/>
                </a:cubicBezTo>
                <a:cubicBezTo>
                  <a:pt x="61845" y="45426"/>
                  <a:pt x="61955" y="45301"/>
                  <a:pt x="62048" y="45176"/>
                </a:cubicBezTo>
                <a:cubicBezTo>
                  <a:pt x="62173" y="45020"/>
                  <a:pt x="62158" y="44801"/>
                  <a:pt x="62017" y="44675"/>
                </a:cubicBezTo>
                <a:close/>
                <a:moveTo>
                  <a:pt x="64550" y="34058"/>
                </a:moveTo>
                <a:cubicBezTo>
                  <a:pt x="64519" y="33871"/>
                  <a:pt x="64332" y="33729"/>
                  <a:pt x="64144" y="33761"/>
                </a:cubicBezTo>
                <a:cubicBezTo>
                  <a:pt x="63941" y="33792"/>
                  <a:pt x="63816" y="33964"/>
                  <a:pt x="63831" y="34167"/>
                </a:cubicBezTo>
                <a:cubicBezTo>
                  <a:pt x="63862" y="34324"/>
                  <a:pt x="63878" y="34480"/>
                  <a:pt x="63894" y="34621"/>
                </a:cubicBezTo>
                <a:cubicBezTo>
                  <a:pt x="63925" y="34809"/>
                  <a:pt x="64066" y="34949"/>
                  <a:pt x="64253" y="34949"/>
                </a:cubicBezTo>
                <a:lnTo>
                  <a:pt x="64300" y="34949"/>
                </a:lnTo>
                <a:cubicBezTo>
                  <a:pt x="64488" y="34918"/>
                  <a:pt x="64629" y="34746"/>
                  <a:pt x="64613" y="34543"/>
                </a:cubicBezTo>
                <a:cubicBezTo>
                  <a:pt x="64582" y="34386"/>
                  <a:pt x="64566" y="34230"/>
                  <a:pt x="64550" y="34058"/>
                </a:cubicBezTo>
                <a:close/>
                <a:moveTo>
                  <a:pt x="60547" y="45708"/>
                </a:moveTo>
                <a:cubicBezTo>
                  <a:pt x="60438" y="45801"/>
                  <a:pt x="60313" y="45895"/>
                  <a:pt x="60203" y="46005"/>
                </a:cubicBezTo>
                <a:cubicBezTo>
                  <a:pt x="60047" y="46130"/>
                  <a:pt x="60016" y="46349"/>
                  <a:pt x="60141" y="46505"/>
                </a:cubicBezTo>
                <a:cubicBezTo>
                  <a:pt x="60219" y="46583"/>
                  <a:pt x="60328" y="46630"/>
                  <a:pt x="60422" y="46630"/>
                </a:cubicBezTo>
                <a:cubicBezTo>
                  <a:pt x="60501" y="46630"/>
                  <a:pt x="60579" y="46614"/>
                  <a:pt x="60657" y="46552"/>
                </a:cubicBezTo>
                <a:cubicBezTo>
                  <a:pt x="60782" y="46443"/>
                  <a:pt x="60907" y="46349"/>
                  <a:pt x="61032" y="46239"/>
                </a:cubicBezTo>
                <a:cubicBezTo>
                  <a:pt x="61173" y="46099"/>
                  <a:pt x="61189" y="45880"/>
                  <a:pt x="61048" y="45723"/>
                </a:cubicBezTo>
                <a:cubicBezTo>
                  <a:pt x="60922" y="45583"/>
                  <a:pt x="60688" y="45567"/>
                  <a:pt x="60547" y="45708"/>
                </a:cubicBezTo>
                <a:close/>
                <a:moveTo>
                  <a:pt x="38514" y="40203"/>
                </a:moveTo>
                <a:cubicBezTo>
                  <a:pt x="38467" y="40063"/>
                  <a:pt x="38405" y="39906"/>
                  <a:pt x="38358" y="39766"/>
                </a:cubicBezTo>
                <a:cubicBezTo>
                  <a:pt x="38296" y="39578"/>
                  <a:pt x="38092" y="39484"/>
                  <a:pt x="37904" y="39546"/>
                </a:cubicBezTo>
                <a:cubicBezTo>
                  <a:pt x="37717" y="39609"/>
                  <a:pt x="37623" y="39813"/>
                  <a:pt x="37686" y="40000"/>
                </a:cubicBezTo>
                <a:cubicBezTo>
                  <a:pt x="37733" y="40156"/>
                  <a:pt x="37795" y="40313"/>
                  <a:pt x="37858" y="40469"/>
                </a:cubicBezTo>
                <a:cubicBezTo>
                  <a:pt x="37904" y="40610"/>
                  <a:pt x="38046" y="40688"/>
                  <a:pt x="38186" y="40688"/>
                </a:cubicBezTo>
                <a:cubicBezTo>
                  <a:pt x="38233" y="40688"/>
                  <a:pt x="38280" y="40688"/>
                  <a:pt x="38311" y="40657"/>
                </a:cubicBezTo>
                <a:cubicBezTo>
                  <a:pt x="38499" y="40594"/>
                  <a:pt x="38593" y="40391"/>
                  <a:pt x="38514" y="40203"/>
                </a:cubicBezTo>
                <a:close/>
                <a:moveTo>
                  <a:pt x="37842" y="39312"/>
                </a:moveTo>
                <a:cubicBezTo>
                  <a:pt x="38030" y="39265"/>
                  <a:pt x="38139" y="39078"/>
                  <a:pt x="38092" y="38890"/>
                </a:cubicBezTo>
                <a:cubicBezTo>
                  <a:pt x="38046" y="38733"/>
                  <a:pt x="38014" y="38577"/>
                  <a:pt x="37983" y="38437"/>
                </a:cubicBezTo>
                <a:cubicBezTo>
                  <a:pt x="37952" y="38249"/>
                  <a:pt x="37748" y="38124"/>
                  <a:pt x="37561" y="38155"/>
                </a:cubicBezTo>
                <a:cubicBezTo>
                  <a:pt x="37373" y="38202"/>
                  <a:pt x="37248" y="38390"/>
                  <a:pt x="37279" y="38577"/>
                </a:cubicBezTo>
                <a:cubicBezTo>
                  <a:pt x="37326" y="38749"/>
                  <a:pt x="37358" y="38905"/>
                  <a:pt x="37404" y="39062"/>
                </a:cubicBezTo>
                <a:cubicBezTo>
                  <a:pt x="37436" y="39218"/>
                  <a:pt x="37592" y="39328"/>
                  <a:pt x="37748" y="39328"/>
                </a:cubicBezTo>
                <a:cubicBezTo>
                  <a:pt x="37779" y="39328"/>
                  <a:pt x="37811" y="39328"/>
                  <a:pt x="37842" y="39312"/>
                </a:cubicBezTo>
                <a:close/>
                <a:moveTo>
                  <a:pt x="43706" y="46614"/>
                </a:moveTo>
                <a:cubicBezTo>
                  <a:pt x="43581" y="46521"/>
                  <a:pt x="43440" y="46443"/>
                  <a:pt x="43315" y="46349"/>
                </a:cubicBezTo>
                <a:cubicBezTo>
                  <a:pt x="43159" y="46224"/>
                  <a:pt x="42940" y="46255"/>
                  <a:pt x="42830" y="46427"/>
                </a:cubicBezTo>
                <a:cubicBezTo>
                  <a:pt x="42705" y="46583"/>
                  <a:pt x="42737" y="46802"/>
                  <a:pt x="42893" y="46927"/>
                </a:cubicBezTo>
                <a:cubicBezTo>
                  <a:pt x="43033" y="47021"/>
                  <a:pt x="43159" y="47115"/>
                  <a:pt x="43300" y="47209"/>
                </a:cubicBezTo>
                <a:cubicBezTo>
                  <a:pt x="43362" y="47240"/>
                  <a:pt x="43425" y="47271"/>
                  <a:pt x="43503" y="47271"/>
                </a:cubicBezTo>
                <a:cubicBezTo>
                  <a:pt x="43612" y="47271"/>
                  <a:pt x="43722" y="47209"/>
                  <a:pt x="43800" y="47115"/>
                </a:cubicBezTo>
                <a:cubicBezTo>
                  <a:pt x="43909" y="46943"/>
                  <a:pt x="43863" y="46724"/>
                  <a:pt x="43706" y="46614"/>
                </a:cubicBezTo>
                <a:close/>
                <a:moveTo>
                  <a:pt x="37529" y="37920"/>
                </a:moveTo>
                <a:cubicBezTo>
                  <a:pt x="37717" y="37905"/>
                  <a:pt x="37858" y="37733"/>
                  <a:pt x="37842" y="37529"/>
                </a:cubicBezTo>
                <a:cubicBezTo>
                  <a:pt x="37826" y="37373"/>
                  <a:pt x="37811" y="37217"/>
                  <a:pt x="37795" y="37076"/>
                </a:cubicBezTo>
                <a:cubicBezTo>
                  <a:pt x="37779" y="36873"/>
                  <a:pt x="37623" y="36732"/>
                  <a:pt x="37420" y="36732"/>
                </a:cubicBezTo>
                <a:cubicBezTo>
                  <a:pt x="37216" y="36748"/>
                  <a:pt x="37076" y="36919"/>
                  <a:pt x="37091" y="37123"/>
                </a:cubicBezTo>
                <a:cubicBezTo>
                  <a:pt x="37091" y="37279"/>
                  <a:pt x="37107" y="37451"/>
                  <a:pt x="37123" y="37607"/>
                </a:cubicBezTo>
                <a:cubicBezTo>
                  <a:pt x="37154" y="37795"/>
                  <a:pt x="37295" y="37920"/>
                  <a:pt x="37483" y="37920"/>
                </a:cubicBezTo>
                <a:close/>
                <a:moveTo>
                  <a:pt x="39093" y="41470"/>
                </a:moveTo>
                <a:cubicBezTo>
                  <a:pt x="39030" y="41329"/>
                  <a:pt x="38952" y="41189"/>
                  <a:pt x="38890" y="41048"/>
                </a:cubicBezTo>
                <a:cubicBezTo>
                  <a:pt x="38812" y="40876"/>
                  <a:pt x="38593" y="40797"/>
                  <a:pt x="38421" y="40876"/>
                </a:cubicBezTo>
                <a:cubicBezTo>
                  <a:pt x="38233" y="40970"/>
                  <a:pt x="38155" y="41189"/>
                  <a:pt x="38249" y="41360"/>
                </a:cubicBezTo>
                <a:cubicBezTo>
                  <a:pt x="38311" y="41501"/>
                  <a:pt x="38389" y="41658"/>
                  <a:pt x="38467" y="41798"/>
                </a:cubicBezTo>
                <a:cubicBezTo>
                  <a:pt x="38530" y="41923"/>
                  <a:pt x="38655" y="41986"/>
                  <a:pt x="38780" y="41986"/>
                </a:cubicBezTo>
                <a:cubicBezTo>
                  <a:pt x="38843" y="41986"/>
                  <a:pt x="38890" y="41970"/>
                  <a:pt x="38952" y="41955"/>
                </a:cubicBezTo>
                <a:cubicBezTo>
                  <a:pt x="39124" y="41861"/>
                  <a:pt x="39187" y="41642"/>
                  <a:pt x="39093" y="41470"/>
                </a:cubicBezTo>
                <a:close/>
                <a:moveTo>
                  <a:pt x="40641" y="43784"/>
                </a:moveTo>
                <a:cubicBezTo>
                  <a:pt x="40532" y="43659"/>
                  <a:pt x="40438" y="43550"/>
                  <a:pt x="40344" y="43424"/>
                </a:cubicBezTo>
                <a:cubicBezTo>
                  <a:pt x="40235" y="43268"/>
                  <a:pt x="40000" y="43237"/>
                  <a:pt x="39844" y="43346"/>
                </a:cubicBezTo>
                <a:cubicBezTo>
                  <a:pt x="39687" y="43472"/>
                  <a:pt x="39656" y="43691"/>
                  <a:pt x="39781" y="43847"/>
                </a:cubicBezTo>
                <a:cubicBezTo>
                  <a:pt x="39875" y="43987"/>
                  <a:pt x="39985" y="44113"/>
                  <a:pt x="40078" y="44238"/>
                </a:cubicBezTo>
                <a:cubicBezTo>
                  <a:pt x="40156" y="44332"/>
                  <a:pt x="40250" y="44363"/>
                  <a:pt x="40360" y="44363"/>
                </a:cubicBezTo>
                <a:cubicBezTo>
                  <a:pt x="40438" y="44363"/>
                  <a:pt x="40516" y="44347"/>
                  <a:pt x="40579" y="44285"/>
                </a:cubicBezTo>
                <a:cubicBezTo>
                  <a:pt x="40735" y="44160"/>
                  <a:pt x="40766" y="43941"/>
                  <a:pt x="40641" y="43784"/>
                </a:cubicBezTo>
                <a:close/>
                <a:moveTo>
                  <a:pt x="42596" y="45770"/>
                </a:moveTo>
                <a:cubicBezTo>
                  <a:pt x="42471" y="45676"/>
                  <a:pt x="42361" y="45567"/>
                  <a:pt x="42236" y="45473"/>
                </a:cubicBezTo>
                <a:cubicBezTo>
                  <a:pt x="42095" y="45332"/>
                  <a:pt x="41861" y="45348"/>
                  <a:pt x="41736" y="45489"/>
                </a:cubicBezTo>
                <a:cubicBezTo>
                  <a:pt x="41595" y="45645"/>
                  <a:pt x="41611" y="45864"/>
                  <a:pt x="41767" y="46005"/>
                </a:cubicBezTo>
                <a:cubicBezTo>
                  <a:pt x="41877" y="46114"/>
                  <a:pt x="42002" y="46208"/>
                  <a:pt x="42127" y="46318"/>
                </a:cubicBezTo>
                <a:cubicBezTo>
                  <a:pt x="42205" y="46380"/>
                  <a:pt x="42283" y="46396"/>
                  <a:pt x="42361" y="46396"/>
                </a:cubicBezTo>
                <a:cubicBezTo>
                  <a:pt x="42471" y="46396"/>
                  <a:pt x="42565" y="46364"/>
                  <a:pt x="42643" y="46271"/>
                </a:cubicBezTo>
                <a:cubicBezTo>
                  <a:pt x="42768" y="46130"/>
                  <a:pt x="42737" y="45895"/>
                  <a:pt x="42596" y="45770"/>
                </a:cubicBezTo>
                <a:close/>
                <a:moveTo>
                  <a:pt x="41564" y="44832"/>
                </a:moveTo>
                <a:cubicBezTo>
                  <a:pt x="41454" y="44722"/>
                  <a:pt x="41345" y="44597"/>
                  <a:pt x="41251" y="44488"/>
                </a:cubicBezTo>
                <a:cubicBezTo>
                  <a:pt x="41110" y="44347"/>
                  <a:pt x="40891" y="44332"/>
                  <a:pt x="40735" y="44472"/>
                </a:cubicBezTo>
                <a:cubicBezTo>
                  <a:pt x="40594" y="44597"/>
                  <a:pt x="40579" y="44832"/>
                  <a:pt x="40719" y="44973"/>
                </a:cubicBezTo>
                <a:cubicBezTo>
                  <a:pt x="40829" y="45098"/>
                  <a:pt x="40938" y="45207"/>
                  <a:pt x="41063" y="45332"/>
                </a:cubicBezTo>
                <a:cubicBezTo>
                  <a:pt x="41126" y="45395"/>
                  <a:pt x="41220" y="45426"/>
                  <a:pt x="41314" y="45426"/>
                </a:cubicBezTo>
                <a:cubicBezTo>
                  <a:pt x="41407" y="45426"/>
                  <a:pt x="41486" y="45395"/>
                  <a:pt x="41564" y="45332"/>
                </a:cubicBezTo>
                <a:cubicBezTo>
                  <a:pt x="41704" y="45192"/>
                  <a:pt x="41704" y="44973"/>
                  <a:pt x="41564" y="44832"/>
                </a:cubicBezTo>
                <a:close/>
                <a:moveTo>
                  <a:pt x="39812" y="42658"/>
                </a:moveTo>
                <a:cubicBezTo>
                  <a:pt x="39718" y="42533"/>
                  <a:pt x="39640" y="42408"/>
                  <a:pt x="39562" y="42268"/>
                </a:cubicBezTo>
                <a:cubicBezTo>
                  <a:pt x="39453" y="42095"/>
                  <a:pt x="39234" y="42048"/>
                  <a:pt x="39062" y="42158"/>
                </a:cubicBezTo>
                <a:cubicBezTo>
                  <a:pt x="38905" y="42252"/>
                  <a:pt x="38843" y="42471"/>
                  <a:pt x="38952" y="42643"/>
                </a:cubicBezTo>
                <a:cubicBezTo>
                  <a:pt x="39030" y="42783"/>
                  <a:pt x="39124" y="42924"/>
                  <a:pt x="39218" y="43065"/>
                </a:cubicBezTo>
                <a:cubicBezTo>
                  <a:pt x="39281" y="43159"/>
                  <a:pt x="39390" y="43221"/>
                  <a:pt x="39515" y="43221"/>
                </a:cubicBezTo>
                <a:cubicBezTo>
                  <a:pt x="39578" y="43221"/>
                  <a:pt x="39640" y="43206"/>
                  <a:pt x="39703" y="43159"/>
                </a:cubicBezTo>
                <a:cubicBezTo>
                  <a:pt x="39875" y="43049"/>
                  <a:pt x="39922" y="42831"/>
                  <a:pt x="39812" y="42658"/>
                </a:cubicBezTo>
                <a:close/>
                <a:moveTo>
                  <a:pt x="5223" y="38952"/>
                </a:moveTo>
                <a:cubicBezTo>
                  <a:pt x="5176" y="38812"/>
                  <a:pt x="5113" y="38655"/>
                  <a:pt x="5051" y="38515"/>
                </a:cubicBezTo>
                <a:cubicBezTo>
                  <a:pt x="4988" y="38327"/>
                  <a:pt x="4785" y="38233"/>
                  <a:pt x="4598" y="38311"/>
                </a:cubicBezTo>
                <a:cubicBezTo>
                  <a:pt x="4410" y="38374"/>
                  <a:pt x="4316" y="38577"/>
                  <a:pt x="4394" y="38765"/>
                </a:cubicBezTo>
                <a:cubicBezTo>
                  <a:pt x="4441" y="38921"/>
                  <a:pt x="4504" y="39062"/>
                  <a:pt x="4566" y="39218"/>
                </a:cubicBezTo>
                <a:cubicBezTo>
                  <a:pt x="4629" y="39359"/>
                  <a:pt x="4754" y="39437"/>
                  <a:pt x="4895" y="39437"/>
                </a:cubicBezTo>
                <a:cubicBezTo>
                  <a:pt x="4941" y="39437"/>
                  <a:pt x="4988" y="39437"/>
                  <a:pt x="5035" y="39406"/>
                </a:cubicBezTo>
                <a:cubicBezTo>
                  <a:pt x="5208" y="39343"/>
                  <a:pt x="5301" y="39125"/>
                  <a:pt x="5223" y="38952"/>
                </a:cubicBezTo>
                <a:close/>
                <a:moveTo>
                  <a:pt x="5833" y="40203"/>
                </a:moveTo>
                <a:cubicBezTo>
                  <a:pt x="5754" y="40063"/>
                  <a:pt x="5676" y="39922"/>
                  <a:pt x="5614" y="39797"/>
                </a:cubicBezTo>
                <a:cubicBezTo>
                  <a:pt x="5520" y="39609"/>
                  <a:pt x="5301" y="39546"/>
                  <a:pt x="5129" y="39625"/>
                </a:cubicBezTo>
                <a:cubicBezTo>
                  <a:pt x="4957" y="39719"/>
                  <a:pt x="4879" y="39938"/>
                  <a:pt x="4973" y="40109"/>
                </a:cubicBezTo>
                <a:cubicBezTo>
                  <a:pt x="5051" y="40251"/>
                  <a:pt x="5129" y="40407"/>
                  <a:pt x="5192" y="40547"/>
                </a:cubicBezTo>
                <a:cubicBezTo>
                  <a:pt x="5270" y="40657"/>
                  <a:pt x="5379" y="40735"/>
                  <a:pt x="5520" y="40735"/>
                </a:cubicBezTo>
                <a:cubicBezTo>
                  <a:pt x="5567" y="40735"/>
                  <a:pt x="5629" y="40719"/>
                  <a:pt x="5692" y="40688"/>
                </a:cubicBezTo>
                <a:cubicBezTo>
                  <a:pt x="5864" y="40594"/>
                  <a:pt x="5927" y="40376"/>
                  <a:pt x="5833" y="40203"/>
                </a:cubicBezTo>
                <a:close/>
                <a:moveTo>
                  <a:pt x="7459" y="42408"/>
                </a:moveTo>
                <a:cubicBezTo>
                  <a:pt x="7350" y="42299"/>
                  <a:pt x="7256" y="42190"/>
                  <a:pt x="7147" y="42080"/>
                </a:cubicBezTo>
                <a:cubicBezTo>
                  <a:pt x="7021" y="41923"/>
                  <a:pt x="6787" y="41923"/>
                  <a:pt x="6646" y="42048"/>
                </a:cubicBezTo>
                <a:cubicBezTo>
                  <a:pt x="6490" y="42174"/>
                  <a:pt x="6490" y="42408"/>
                  <a:pt x="6615" y="42549"/>
                </a:cubicBezTo>
                <a:cubicBezTo>
                  <a:pt x="6724" y="42674"/>
                  <a:pt x="6849" y="42799"/>
                  <a:pt x="6959" y="42909"/>
                </a:cubicBezTo>
                <a:cubicBezTo>
                  <a:pt x="7021" y="42987"/>
                  <a:pt x="7115" y="43018"/>
                  <a:pt x="7209" y="43018"/>
                </a:cubicBezTo>
                <a:cubicBezTo>
                  <a:pt x="7303" y="43018"/>
                  <a:pt x="7397" y="42987"/>
                  <a:pt x="7459" y="42909"/>
                </a:cubicBezTo>
                <a:cubicBezTo>
                  <a:pt x="7600" y="42768"/>
                  <a:pt x="7600" y="42549"/>
                  <a:pt x="7459" y="42408"/>
                </a:cubicBezTo>
                <a:close/>
                <a:moveTo>
                  <a:pt x="3737" y="33871"/>
                </a:moveTo>
                <a:lnTo>
                  <a:pt x="3753" y="33871"/>
                </a:lnTo>
                <a:cubicBezTo>
                  <a:pt x="3941" y="33855"/>
                  <a:pt x="4097" y="33698"/>
                  <a:pt x="4097" y="33495"/>
                </a:cubicBezTo>
                <a:cubicBezTo>
                  <a:pt x="4082" y="33339"/>
                  <a:pt x="4082" y="33182"/>
                  <a:pt x="4066" y="33026"/>
                </a:cubicBezTo>
                <a:cubicBezTo>
                  <a:pt x="4066" y="32823"/>
                  <a:pt x="3910" y="32666"/>
                  <a:pt x="3706" y="32682"/>
                </a:cubicBezTo>
                <a:cubicBezTo>
                  <a:pt x="3503" y="32682"/>
                  <a:pt x="3347" y="32854"/>
                  <a:pt x="3362" y="33041"/>
                </a:cubicBezTo>
                <a:cubicBezTo>
                  <a:pt x="3362" y="33214"/>
                  <a:pt x="3362" y="33370"/>
                  <a:pt x="3378" y="33526"/>
                </a:cubicBezTo>
                <a:cubicBezTo>
                  <a:pt x="3378" y="33714"/>
                  <a:pt x="3550" y="33871"/>
                  <a:pt x="3737" y="33871"/>
                </a:cubicBezTo>
                <a:close/>
                <a:moveTo>
                  <a:pt x="4520" y="38077"/>
                </a:moveTo>
                <a:cubicBezTo>
                  <a:pt x="4707" y="38014"/>
                  <a:pt x="4816" y="37827"/>
                  <a:pt x="4770" y="37639"/>
                </a:cubicBezTo>
                <a:cubicBezTo>
                  <a:pt x="4723" y="37482"/>
                  <a:pt x="4676" y="37342"/>
                  <a:pt x="4645" y="37186"/>
                </a:cubicBezTo>
                <a:cubicBezTo>
                  <a:pt x="4582" y="36998"/>
                  <a:pt x="4394" y="36873"/>
                  <a:pt x="4207" y="36935"/>
                </a:cubicBezTo>
                <a:cubicBezTo>
                  <a:pt x="4019" y="36982"/>
                  <a:pt x="3894" y="37170"/>
                  <a:pt x="3941" y="37373"/>
                </a:cubicBezTo>
                <a:cubicBezTo>
                  <a:pt x="3988" y="37529"/>
                  <a:pt x="4035" y="37686"/>
                  <a:pt x="4082" y="37842"/>
                </a:cubicBezTo>
                <a:cubicBezTo>
                  <a:pt x="4128" y="37999"/>
                  <a:pt x="4269" y="38092"/>
                  <a:pt x="4425" y="38092"/>
                </a:cubicBezTo>
                <a:cubicBezTo>
                  <a:pt x="4457" y="38092"/>
                  <a:pt x="4488" y="38092"/>
                  <a:pt x="4520" y="38077"/>
                </a:cubicBezTo>
                <a:close/>
                <a:moveTo>
                  <a:pt x="3894" y="35293"/>
                </a:moveTo>
                <a:cubicBezTo>
                  <a:pt x="4097" y="35262"/>
                  <a:pt x="4222" y="35090"/>
                  <a:pt x="4207" y="34887"/>
                </a:cubicBezTo>
                <a:cubicBezTo>
                  <a:pt x="4191" y="34746"/>
                  <a:pt x="4175" y="34590"/>
                  <a:pt x="4160" y="34433"/>
                </a:cubicBezTo>
                <a:cubicBezTo>
                  <a:pt x="4144" y="34230"/>
                  <a:pt x="3957" y="34089"/>
                  <a:pt x="3769" y="34105"/>
                </a:cubicBezTo>
                <a:cubicBezTo>
                  <a:pt x="3565" y="34121"/>
                  <a:pt x="3425" y="34308"/>
                  <a:pt x="3440" y="34496"/>
                </a:cubicBezTo>
                <a:cubicBezTo>
                  <a:pt x="3456" y="34652"/>
                  <a:pt x="3472" y="34824"/>
                  <a:pt x="3503" y="34980"/>
                </a:cubicBezTo>
                <a:cubicBezTo>
                  <a:pt x="3519" y="35168"/>
                  <a:pt x="3675" y="35293"/>
                  <a:pt x="3847" y="35293"/>
                </a:cubicBezTo>
                <a:close/>
                <a:moveTo>
                  <a:pt x="4144" y="36701"/>
                </a:moveTo>
                <a:cubicBezTo>
                  <a:pt x="4347" y="36654"/>
                  <a:pt x="4472" y="36466"/>
                  <a:pt x="4425" y="36278"/>
                </a:cubicBezTo>
                <a:cubicBezTo>
                  <a:pt x="4394" y="36122"/>
                  <a:pt x="4363" y="35966"/>
                  <a:pt x="4347" y="35825"/>
                </a:cubicBezTo>
                <a:cubicBezTo>
                  <a:pt x="4300" y="35622"/>
                  <a:pt x="4128" y="35497"/>
                  <a:pt x="3925" y="35528"/>
                </a:cubicBezTo>
                <a:cubicBezTo>
                  <a:pt x="3737" y="35559"/>
                  <a:pt x="3597" y="35747"/>
                  <a:pt x="3644" y="35935"/>
                </a:cubicBezTo>
                <a:cubicBezTo>
                  <a:pt x="3659" y="36106"/>
                  <a:pt x="3690" y="36263"/>
                  <a:pt x="3722" y="36419"/>
                </a:cubicBezTo>
                <a:cubicBezTo>
                  <a:pt x="3769" y="36591"/>
                  <a:pt x="3910" y="36701"/>
                  <a:pt x="4082" y="36701"/>
                </a:cubicBezTo>
                <a:close/>
                <a:moveTo>
                  <a:pt x="6568" y="41360"/>
                </a:moveTo>
                <a:cubicBezTo>
                  <a:pt x="6474" y="41235"/>
                  <a:pt x="6396" y="41110"/>
                  <a:pt x="6302" y="40985"/>
                </a:cubicBezTo>
                <a:cubicBezTo>
                  <a:pt x="6192" y="40829"/>
                  <a:pt x="5974" y="40782"/>
                  <a:pt x="5802" y="40892"/>
                </a:cubicBezTo>
                <a:cubicBezTo>
                  <a:pt x="5645" y="41001"/>
                  <a:pt x="5598" y="41220"/>
                  <a:pt x="5708" y="41392"/>
                </a:cubicBezTo>
                <a:cubicBezTo>
                  <a:pt x="5802" y="41517"/>
                  <a:pt x="5896" y="41658"/>
                  <a:pt x="5989" y="41783"/>
                </a:cubicBezTo>
                <a:cubicBezTo>
                  <a:pt x="6067" y="41877"/>
                  <a:pt x="6177" y="41939"/>
                  <a:pt x="6286" y="41939"/>
                </a:cubicBezTo>
                <a:cubicBezTo>
                  <a:pt x="6349" y="41939"/>
                  <a:pt x="6427" y="41908"/>
                  <a:pt x="6490" y="41861"/>
                </a:cubicBezTo>
                <a:cubicBezTo>
                  <a:pt x="6646" y="41752"/>
                  <a:pt x="6677" y="41517"/>
                  <a:pt x="6568" y="41360"/>
                </a:cubicBezTo>
                <a:close/>
                <a:moveTo>
                  <a:pt x="3706" y="32447"/>
                </a:moveTo>
                <a:lnTo>
                  <a:pt x="3722" y="32447"/>
                </a:lnTo>
                <a:cubicBezTo>
                  <a:pt x="3910" y="32447"/>
                  <a:pt x="4066" y="32291"/>
                  <a:pt x="4066" y="32088"/>
                </a:cubicBezTo>
                <a:cubicBezTo>
                  <a:pt x="4082" y="31932"/>
                  <a:pt x="4082" y="31775"/>
                  <a:pt x="4082" y="31619"/>
                </a:cubicBezTo>
                <a:cubicBezTo>
                  <a:pt x="4097" y="31431"/>
                  <a:pt x="3941" y="31259"/>
                  <a:pt x="3753" y="31243"/>
                </a:cubicBezTo>
                <a:cubicBezTo>
                  <a:pt x="3550" y="31243"/>
                  <a:pt x="3378" y="31400"/>
                  <a:pt x="3378" y="31587"/>
                </a:cubicBezTo>
                <a:cubicBezTo>
                  <a:pt x="3362" y="31744"/>
                  <a:pt x="3362" y="31915"/>
                  <a:pt x="3362" y="32072"/>
                </a:cubicBezTo>
                <a:cubicBezTo>
                  <a:pt x="3347" y="32275"/>
                  <a:pt x="3503" y="32432"/>
                  <a:pt x="3706" y="32447"/>
                </a:cubicBezTo>
                <a:close/>
                <a:moveTo>
                  <a:pt x="8507" y="43284"/>
                </a:moveTo>
                <a:cubicBezTo>
                  <a:pt x="8382" y="43190"/>
                  <a:pt x="8256" y="43096"/>
                  <a:pt x="8147" y="43003"/>
                </a:cubicBezTo>
                <a:cubicBezTo>
                  <a:pt x="7991" y="42893"/>
                  <a:pt x="7756" y="42909"/>
                  <a:pt x="7647" y="43065"/>
                </a:cubicBezTo>
                <a:cubicBezTo>
                  <a:pt x="7522" y="43221"/>
                  <a:pt x="7553" y="43440"/>
                  <a:pt x="7710" y="43566"/>
                </a:cubicBezTo>
                <a:cubicBezTo>
                  <a:pt x="7835" y="43675"/>
                  <a:pt x="7960" y="43769"/>
                  <a:pt x="8100" y="43862"/>
                </a:cubicBezTo>
                <a:cubicBezTo>
                  <a:pt x="8163" y="43909"/>
                  <a:pt x="8241" y="43925"/>
                  <a:pt x="8303" y="43925"/>
                </a:cubicBezTo>
                <a:cubicBezTo>
                  <a:pt x="8413" y="43925"/>
                  <a:pt x="8523" y="43878"/>
                  <a:pt x="8601" y="43769"/>
                </a:cubicBezTo>
                <a:cubicBezTo>
                  <a:pt x="8710" y="43612"/>
                  <a:pt x="8679" y="43393"/>
                  <a:pt x="8507" y="43284"/>
                </a:cubicBezTo>
                <a:close/>
                <a:moveTo>
                  <a:pt x="13714" y="44582"/>
                </a:moveTo>
                <a:cubicBezTo>
                  <a:pt x="13558" y="44597"/>
                  <a:pt x="13401" y="44597"/>
                  <a:pt x="13245" y="44613"/>
                </a:cubicBezTo>
                <a:cubicBezTo>
                  <a:pt x="13057" y="44613"/>
                  <a:pt x="12901" y="44785"/>
                  <a:pt x="12901" y="44973"/>
                </a:cubicBezTo>
                <a:cubicBezTo>
                  <a:pt x="12917" y="45176"/>
                  <a:pt x="13073" y="45317"/>
                  <a:pt x="13260" y="45317"/>
                </a:cubicBezTo>
                <a:lnTo>
                  <a:pt x="13276" y="45317"/>
                </a:lnTo>
                <a:cubicBezTo>
                  <a:pt x="13432" y="45317"/>
                  <a:pt x="13605" y="45301"/>
                  <a:pt x="13777" y="45301"/>
                </a:cubicBezTo>
                <a:cubicBezTo>
                  <a:pt x="13964" y="45270"/>
                  <a:pt x="14105" y="45098"/>
                  <a:pt x="14089" y="44910"/>
                </a:cubicBezTo>
                <a:cubicBezTo>
                  <a:pt x="14073" y="44707"/>
                  <a:pt x="13902" y="44566"/>
                  <a:pt x="13714" y="44582"/>
                </a:cubicBezTo>
                <a:close/>
                <a:moveTo>
                  <a:pt x="12338" y="44597"/>
                </a:moveTo>
                <a:cubicBezTo>
                  <a:pt x="12181" y="44582"/>
                  <a:pt x="12025" y="44566"/>
                  <a:pt x="11884" y="44550"/>
                </a:cubicBezTo>
                <a:cubicBezTo>
                  <a:pt x="11681" y="44519"/>
                  <a:pt x="11509" y="44660"/>
                  <a:pt x="11478" y="44863"/>
                </a:cubicBezTo>
                <a:cubicBezTo>
                  <a:pt x="11462" y="45051"/>
                  <a:pt x="11603" y="45238"/>
                  <a:pt x="11791" y="45254"/>
                </a:cubicBezTo>
                <a:cubicBezTo>
                  <a:pt x="11947" y="45285"/>
                  <a:pt x="12119" y="45301"/>
                  <a:pt x="12291" y="45301"/>
                </a:cubicBezTo>
                <a:lnTo>
                  <a:pt x="12307" y="45301"/>
                </a:lnTo>
                <a:cubicBezTo>
                  <a:pt x="12494" y="45301"/>
                  <a:pt x="12651" y="45160"/>
                  <a:pt x="12666" y="44973"/>
                </a:cubicBezTo>
                <a:cubicBezTo>
                  <a:pt x="12682" y="44785"/>
                  <a:pt x="12526" y="44613"/>
                  <a:pt x="12338" y="44597"/>
                </a:cubicBezTo>
                <a:close/>
                <a:moveTo>
                  <a:pt x="9695" y="43941"/>
                </a:moveTo>
                <a:cubicBezTo>
                  <a:pt x="9554" y="43878"/>
                  <a:pt x="9414" y="43816"/>
                  <a:pt x="9289" y="43753"/>
                </a:cubicBezTo>
                <a:cubicBezTo>
                  <a:pt x="9117" y="43659"/>
                  <a:pt x="8898" y="43722"/>
                  <a:pt x="8804" y="43894"/>
                </a:cubicBezTo>
                <a:cubicBezTo>
                  <a:pt x="8710" y="44066"/>
                  <a:pt x="8773" y="44285"/>
                  <a:pt x="8960" y="44379"/>
                </a:cubicBezTo>
                <a:cubicBezTo>
                  <a:pt x="9101" y="44457"/>
                  <a:pt x="9257" y="44535"/>
                  <a:pt x="9398" y="44597"/>
                </a:cubicBezTo>
                <a:cubicBezTo>
                  <a:pt x="9445" y="44613"/>
                  <a:pt x="9492" y="44629"/>
                  <a:pt x="9554" y="44629"/>
                </a:cubicBezTo>
                <a:cubicBezTo>
                  <a:pt x="9680" y="44629"/>
                  <a:pt x="9820" y="44550"/>
                  <a:pt x="9867" y="44410"/>
                </a:cubicBezTo>
                <a:cubicBezTo>
                  <a:pt x="9961" y="44238"/>
                  <a:pt x="9867" y="44019"/>
                  <a:pt x="9695" y="43941"/>
                </a:cubicBezTo>
                <a:close/>
                <a:moveTo>
                  <a:pt x="10978" y="44379"/>
                </a:moveTo>
                <a:cubicBezTo>
                  <a:pt x="10837" y="44347"/>
                  <a:pt x="10696" y="44316"/>
                  <a:pt x="10540" y="44269"/>
                </a:cubicBezTo>
                <a:cubicBezTo>
                  <a:pt x="10352" y="44207"/>
                  <a:pt x="10164" y="44316"/>
                  <a:pt x="10102" y="44504"/>
                </a:cubicBezTo>
                <a:cubicBezTo>
                  <a:pt x="10039" y="44691"/>
                  <a:pt x="10149" y="44895"/>
                  <a:pt x="10337" y="44942"/>
                </a:cubicBezTo>
                <a:cubicBezTo>
                  <a:pt x="10493" y="44988"/>
                  <a:pt x="10649" y="45035"/>
                  <a:pt x="10821" y="45082"/>
                </a:cubicBezTo>
                <a:lnTo>
                  <a:pt x="10899" y="45082"/>
                </a:lnTo>
                <a:cubicBezTo>
                  <a:pt x="11056" y="45082"/>
                  <a:pt x="11212" y="44973"/>
                  <a:pt x="11243" y="44817"/>
                </a:cubicBezTo>
                <a:cubicBezTo>
                  <a:pt x="11290" y="44629"/>
                  <a:pt x="11181" y="44425"/>
                  <a:pt x="10978" y="44379"/>
                </a:cubicBezTo>
                <a:close/>
                <a:moveTo>
                  <a:pt x="38593" y="35559"/>
                </a:moveTo>
                <a:cubicBezTo>
                  <a:pt x="38593" y="35043"/>
                  <a:pt x="38249" y="34605"/>
                  <a:pt x="37779" y="34449"/>
                </a:cubicBezTo>
                <a:lnTo>
                  <a:pt x="37779" y="15262"/>
                </a:lnTo>
                <a:cubicBezTo>
                  <a:pt x="37779" y="14996"/>
                  <a:pt x="37701" y="14699"/>
                  <a:pt x="37545" y="14418"/>
                </a:cubicBezTo>
                <a:cubicBezTo>
                  <a:pt x="37608" y="14355"/>
                  <a:pt x="37701" y="14261"/>
                  <a:pt x="37826" y="14199"/>
                </a:cubicBezTo>
                <a:cubicBezTo>
                  <a:pt x="38186" y="13996"/>
                  <a:pt x="38702" y="14011"/>
                  <a:pt x="39297" y="14261"/>
                </a:cubicBezTo>
                <a:cubicBezTo>
                  <a:pt x="39781" y="14449"/>
                  <a:pt x="40328" y="14731"/>
                  <a:pt x="40938" y="15090"/>
                </a:cubicBezTo>
                <a:lnTo>
                  <a:pt x="39891" y="16920"/>
                </a:lnTo>
                <a:cubicBezTo>
                  <a:pt x="39812" y="16904"/>
                  <a:pt x="39718" y="16888"/>
                  <a:pt x="39625" y="16888"/>
                </a:cubicBezTo>
                <a:cubicBezTo>
                  <a:pt x="38984" y="16888"/>
                  <a:pt x="38452" y="17404"/>
                  <a:pt x="38452" y="18046"/>
                </a:cubicBezTo>
                <a:cubicBezTo>
                  <a:pt x="38452" y="18702"/>
                  <a:pt x="38984" y="19218"/>
                  <a:pt x="39625" y="19218"/>
                </a:cubicBezTo>
                <a:cubicBezTo>
                  <a:pt x="40266" y="19218"/>
                  <a:pt x="40782" y="18702"/>
                  <a:pt x="40782" y="18046"/>
                </a:cubicBezTo>
                <a:cubicBezTo>
                  <a:pt x="40782" y="17764"/>
                  <a:pt x="40673" y="17498"/>
                  <a:pt x="40501" y="17295"/>
                </a:cubicBezTo>
                <a:lnTo>
                  <a:pt x="41564" y="15465"/>
                </a:lnTo>
                <a:cubicBezTo>
                  <a:pt x="42049" y="15762"/>
                  <a:pt x="42580" y="16122"/>
                  <a:pt x="43159" y="16528"/>
                </a:cubicBezTo>
                <a:cubicBezTo>
                  <a:pt x="43253" y="16591"/>
                  <a:pt x="43300" y="16623"/>
                  <a:pt x="43331" y="16654"/>
                </a:cubicBezTo>
                <a:cubicBezTo>
                  <a:pt x="43378" y="16685"/>
                  <a:pt x="43784" y="16951"/>
                  <a:pt x="43894" y="17326"/>
                </a:cubicBezTo>
                <a:lnTo>
                  <a:pt x="43894" y="17342"/>
                </a:lnTo>
                <a:lnTo>
                  <a:pt x="43894" y="17358"/>
                </a:lnTo>
                <a:cubicBezTo>
                  <a:pt x="44081" y="17936"/>
                  <a:pt x="44003" y="18374"/>
                  <a:pt x="43894" y="18765"/>
                </a:cubicBezTo>
                <a:cubicBezTo>
                  <a:pt x="43800" y="19015"/>
                  <a:pt x="42643" y="20969"/>
                  <a:pt x="41548" y="22768"/>
                </a:cubicBezTo>
                <a:lnTo>
                  <a:pt x="41439" y="22768"/>
                </a:lnTo>
                <a:cubicBezTo>
                  <a:pt x="40782" y="22768"/>
                  <a:pt x="40266" y="23284"/>
                  <a:pt x="40266" y="23925"/>
                </a:cubicBezTo>
                <a:cubicBezTo>
                  <a:pt x="40266" y="24566"/>
                  <a:pt x="40782" y="25098"/>
                  <a:pt x="41439" y="25098"/>
                </a:cubicBezTo>
                <a:cubicBezTo>
                  <a:pt x="42080" y="25098"/>
                  <a:pt x="42596" y="24566"/>
                  <a:pt x="42596" y="23925"/>
                </a:cubicBezTo>
                <a:cubicBezTo>
                  <a:pt x="42596" y="23581"/>
                  <a:pt x="42440" y="23268"/>
                  <a:pt x="42205" y="23065"/>
                </a:cubicBezTo>
                <a:cubicBezTo>
                  <a:pt x="42440" y="22690"/>
                  <a:pt x="42846" y="22017"/>
                  <a:pt x="43253" y="21329"/>
                </a:cubicBezTo>
                <a:cubicBezTo>
                  <a:pt x="44504" y="19218"/>
                  <a:pt x="44551" y="19046"/>
                  <a:pt x="44582" y="18952"/>
                </a:cubicBezTo>
                <a:cubicBezTo>
                  <a:pt x="44629" y="18749"/>
                  <a:pt x="44754" y="18358"/>
                  <a:pt x="44707" y="17827"/>
                </a:cubicBezTo>
                <a:cubicBezTo>
                  <a:pt x="45020" y="18014"/>
                  <a:pt x="45364" y="18311"/>
                  <a:pt x="45457" y="18780"/>
                </a:cubicBezTo>
                <a:cubicBezTo>
                  <a:pt x="45645" y="19703"/>
                  <a:pt x="45614" y="20688"/>
                  <a:pt x="45598" y="20985"/>
                </a:cubicBezTo>
                <a:lnTo>
                  <a:pt x="42205" y="26396"/>
                </a:lnTo>
                <a:cubicBezTo>
                  <a:pt x="42111" y="26380"/>
                  <a:pt x="42017" y="26365"/>
                  <a:pt x="41924" y="26365"/>
                </a:cubicBezTo>
                <a:cubicBezTo>
                  <a:pt x="41282" y="26365"/>
                  <a:pt x="40751" y="26881"/>
                  <a:pt x="40751" y="27522"/>
                </a:cubicBezTo>
                <a:cubicBezTo>
                  <a:pt x="40751" y="28163"/>
                  <a:pt x="41282" y="28694"/>
                  <a:pt x="41924" y="28694"/>
                </a:cubicBezTo>
                <a:cubicBezTo>
                  <a:pt x="42565" y="28694"/>
                  <a:pt x="43081" y="28163"/>
                  <a:pt x="43081" y="27522"/>
                </a:cubicBezTo>
                <a:cubicBezTo>
                  <a:pt x="43081" y="27240"/>
                  <a:pt x="42987" y="26974"/>
                  <a:pt x="42815" y="26771"/>
                </a:cubicBezTo>
                <a:lnTo>
                  <a:pt x="46161" y="21439"/>
                </a:lnTo>
                <a:cubicBezTo>
                  <a:pt x="46505" y="21407"/>
                  <a:pt x="47412" y="21407"/>
                  <a:pt x="47991" y="22064"/>
                </a:cubicBezTo>
                <a:cubicBezTo>
                  <a:pt x="48569" y="22752"/>
                  <a:pt x="48554" y="23550"/>
                  <a:pt x="48522" y="24457"/>
                </a:cubicBezTo>
                <a:lnTo>
                  <a:pt x="48522" y="25114"/>
                </a:lnTo>
                <a:cubicBezTo>
                  <a:pt x="48538" y="26928"/>
                  <a:pt x="48147" y="27553"/>
                  <a:pt x="47725" y="27944"/>
                </a:cubicBezTo>
                <a:cubicBezTo>
                  <a:pt x="47271" y="28382"/>
                  <a:pt x="46239" y="28288"/>
                  <a:pt x="45880" y="28225"/>
                </a:cubicBezTo>
                <a:lnTo>
                  <a:pt x="45864" y="28225"/>
                </a:lnTo>
                <a:cubicBezTo>
                  <a:pt x="44972" y="28085"/>
                  <a:pt x="44676" y="27444"/>
                  <a:pt x="44582" y="27162"/>
                </a:cubicBezTo>
                <a:lnTo>
                  <a:pt x="45410" y="25770"/>
                </a:lnTo>
                <a:cubicBezTo>
                  <a:pt x="45535" y="25817"/>
                  <a:pt x="45661" y="25848"/>
                  <a:pt x="45802" y="25848"/>
                </a:cubicBezTo>
                <a:cubicBezTo>
                  <a:pt x="46443" y="25848"/>
                  <a:pt x="46974" y="25317"/>
                  <a:pt x="46974" y="24676"/>
                </a:cubicBezTo>
                <a:cubicBezTo>
                  <a:pt x="46974" y="24034"/>
                  <a:pt x="46443" y="23518"/>
                  <a:pt x="45802" y="23518"/>
                </a:cubicBezTo>
                <a:cubicBezTo>
                  <a:pt x="45160" y="23518"/>
                  <a:pt x="44644" y="24034"/>
                  <a:pt x="44644" y="24676"/>
                </a:cubicBezTo>
                <a:cubicBezTo>
                  <a:pt x="44644" y="24926"/>
                  <a:pt x="44722" y="25145"/>
                  <a:pt x="44847" y="25332"/>
                </a:cubicBezTo>
                <a:lnTo>
                  <a:pt x="43894" y="26928"/>
                </a:lnTo>
                <a:cubicBezTo>
                  <a:pt x="43847" y="27006"/>
                  <a:pt x="43831" y="27084"/>
                  <a:pt x="43847" y="27178"/>
                </a:cubicBezTo>
                <a:cubicBezTo>
                  <a:pt x="43847" y="27209"/>
                  <a:pt x="43925" y="27569"/>
                  <a:pt x="44191" y="27959"/>
                </a:cubicBezTo>
                <a:cubicBezTo>
                  <a:pt x="44410" y="28304"/>
                  <a:pt x="44816" y="28710"/>
                  <a:pt x="45504" y="28882"/>
                </a:cubicBezTo>
                <a:cubicBezTo>
                  <a:pt x="45520" y="29054"/>
                  <a:pt x="45551" y="29304"/>
                  <a:pt x="45567" y="29586"/>
                </a:cubicBezTo>
                <a:cubicBezTo>
                  <a:pt x="45598" y="30383"/>
                  <a:pt x="45426" y="30633"/>
                  <a:pt x="45348" y="30712"/>
                </a:cubicBezTo>
                <a:lnTo>
                  <a:pt x="45317" y="30743"/>
                </a:lnTo>
                <a:cubicBezTo>
                  <a:pt x="44769" y="31274"/>
                  <a:pt x="44457" y="31556"/>
                  <a:pt x="43612" y="31556"/>
                </a:cubicBezTo>
                <a:cubicBezTo>
                  <a:pt x="43253" y="31556"/>
                  <a:pt x="42877" y="31572"/>
                  <a:pt x="42549" y="31587"/>
                </a:cubicBezTo>
                <a:cubicBezTo>
                  <a:pt x="42002" y="31587"/>
                  <a:pt x="41470" y="31603"/>
                  <a:pt x="41251" y="31572"/>
                </a:cubicBezTo>
                <a:cubicBezTo>
                  <a:pt x="40954" y="31509"/>
                  <a:pt x="39828" y="31009"/>
                  <a:pt x="39781" y="30102"/>
                </a:cubicBezTo>
                <a:cubicBezTo>
                  <a:pt x="39750" y="29101"/>
                  <a:pt x="39781" y="23362"/>
                  <a:pt x="39781" y="21986"/>
                </a:cubicBezTo>
                <a:cubicBezTo>
                  <a:pt x="40250" y="21830"/>
                  <a:pt x="40594" y="21392"/>
                  <a:pt x="40594" y="20876"/>
                </a:cubicBezTo>
                <a:cubicBezTo>
                  <a:pt x="40594" y="20235"/>
                  <a:pt x="40078" y="19703"/>
                  <a:pt x="39422" y="19703"/>
                </a:cubicBezTo>
                <a:cubicBezTo>
                  <a:pt x="38780" y="19703"/>
                  <a:pt x="38264" y="20235"/>
                  <a:pt x="38264" y="20876"/>
                </a:cubicBezTo>
                <a:cubicBezTo>
                  <a:pt x="38264" y="21392"/>
                  <a:pt x="38609" y="21830"/>
                  <a:pt x="39077" y="21986"/>
                </a:cubicBezTo>
                <a:cubicBezTo>
                  <a:pt x="39062" y="23393"/>
                  <a:pt x="39030" y="29101"/>
                  <a:pt x="39077" y="30133"/>
                </a:cubicBezTo>
                <a:cubicBezTo>
                  <a:pt x="39093" y="30727"/>
                  <a:pt x="39406" y="31259"/>
                  <a:pt x="39953" y="31697"/>
                </a:cubicBezTo>
                <a:cubicBezTo>
                  <a:pt x="40375" y="32025"/>
                  <a:pt x="40860" y="32228"/>
                  <a:pt x="41126" y="32275"/>
                </a:cubicBezTo>
                <a:cubicBezTo>
                  <a:pt x="41282" y="32307"/>
                  <a:pt x="41501" y="32307"/>
                  <a:pt x="41783" y="32307"/>
                </a:cubicBezTo>
                <a:cubicBezTo>
                  <a:pt x="42002" y="32307"/>
                  <a:pt x="42283" y="32307"/>
                  <a:pt x="42580" y="32291"/>
                </a:cubicBezTo>
                <a:cubicBezTo>
                  <a:pt x="42908" y="32291"/>
                  <a:pt x="43268" y="32275"/>
                  <a:pt x="43612" y="32275"/>
                </a:cubicBezTo>
                <a:cubicBezTo>
                  <a:pt x="44738" y="32275"/>
                  <a:pt x="45223" y="31822"/>
                  <a:pt x="45817" y="31259"/>
                </a:cubicBezTo>
                <a:lnTo>
                  <a:pt x="45833" y="31227"/>
                </a:lnTo>
                <a:cubicBezTo>
                  <a:pt x="46161" y="30915"/>
                  <a:pt x="46318" y="30352"/>
                  <a:pt x="46286" y="29539"/>
                </a:cubicBezTo>
                <a:cubicBezTo>
                  <a:pt x="46271" y="29335"/>
                  <a:pt x="46255" y="29148"/>
                  <a:pt x="46239" y="28976"/>
                </a:cubicBezTo>
                <a:cubicBezTo>
                  <a:pt x="46349" y="28992"/>
                  <a:pt x="46490" y="28992"/>
                  <a:pt x="46630" y="28992"/>
                </a:cubicBezTo>
                <a:cubicBezTo>
                  <a:pt x="47318" y="28976"/>
                  <a:pt x="47866" y="28804"/>
                  <a:pt x="48210" y="28475"/>
                </a:cubicBezTo>
                <a:cubicBezTo>
                  <a:pt x="48569" y="28132"/>
                  <a:pt x="48819" y="27756"/>
                  <a:pt x="48976" y="27256"/>
                </a:cubicBezTo>
                <a:cubicBezTo>
                  <a:pt x="49163" y="26708"/>
                  <a:pt x="49242" y="26005"/>
                  <a:pt x="49226" y="25114"/>
                </a:cubicBezTo>
                <a:cubicBezTo>
                  <a:pt x="49226" y="24895"/>
                  <a:pt x="49242" y="24691"/>
                  <a:pt x="49242" y="24488"/>
                </a:cubicBezTo>
                <a:cubicBezTo>
                  <a:pt x="49273" y="23503"/>
                  <a:pt x="49288" y="22502"/>
                  <a:pt x="48522" y="21611"/>
                </a:cubicBezTo>
                <a:cubicBezTo>
                  <a:pt x="47850" y="20813"/>
                  <a:pt x="46880" y="20704"/>
                  <a:pt x="46318" y="20704"/>
                </a:cubicBezTo>
                <a:cubicBezTo>
                  <a:pt x="46333" y="20235"/>
                  <a:pt x="46318" y="19422"/>
                  <a:pt x="46161" y="18640"/>
                </a:cubicBezTo>
                <a:cubicBezTo>
                  <a:pt x="45942" y="17561"/>
                  <a:pt x="44941" y="17107"/>
                  <a:pt x="44519" y="16951"/>
                </a:cubicBezTo>
                <a:cubicBezTo>
                  <a:pt x="44300" y="16450"/>
                  <a:pt x="43863" y="16138"/>
                  <a:pt x="43706" y="16044"/>
                </a:cubicBezTo>
                <a:cubicBezTo>
                  <a:pt x="43690" y="16028"/>
                  <a:pt x="43628" y="15982"/>
                  <a:pt x="43565" y="15935"/>
                </a:cubicBezTo>
                <a:cubicBezTo>
                  <a:pt x="42971" y="15512"/>
                  <a:pt x="41142" y="14230"/>
                  <a:pt x="39562" y="13605"/>
                </a:cubicBezTo>
                <a:cubicBezTo>
                  <a:pt x="38984" y="13370"/>
                  <a:pt x="38139" y="13167"/>
                  <a:pt x="37420" y="13605"/>
                </a:cubicBezTo>
                <a:cubicBezTo>
                  <a:pt x="37295" y="13683"/>
                  <a:pt x="37185" y="13761"/>
                  <a:pt x="37107" y="13855"/>
                </a:cubicBezTo>
                <a:cubicBezTo>
                  <a:pt x="37091" y="13823"/>
                  <a:pt x="37076" y="13808"/>
                  <a:pt x="37060" y="13792"/>
                </a:cubicBezTo>
                <a:cubicBezTo>
                  <a:pt x="36638" y="13386"/>
                  <a:pt x="36091" y="13073"/>
                  <a:pt x="35465" y="12885"/>
                </a:cubicBezTo>
                <a:cubicBezTo>
                  <a:pt x="35450" y="12713"/>
                  <a:pt x="35309" y="12572"/>
                  <a:pt x="35121" y="12557"/>
                </a:cubicBezTo>
                <a:cubicBezTo>
                  <a:pt x="34981" y="12557"/>
                  <a:pt x="34871" y="12619"/>
                  <a:pt x="34793" y="12729"/>
                </a:cubicBezTo>
                <a:cubicBezTo>
                  <a:pt x="34449" y="12682"/>
                  <a:pt x="34089" y="12650"/>
                  <a:pt x="33730" y="12666"/>
                </a:cubicBezTo>
                <a:cubicBezTo>
                  <a:pt x="32901" y="12698"/>
                  <a:pt x="30711" y="13339"/>
                  <a:pt x="29805" y="13620"/>
                </a:cubicBezTo>
                <a:cubicBezTo>
                  <a:pt x="28100" y="14136"/>
                  <a:pt x="26537" y="14684"/>
                  <a:pt x="25927" y="14981"/>
                </a:cubicBezTo>
                <a:cubicBezTo>
                  <a:pt x="25286" y="15294"/>
                  <a:pt x="24598" y="15637"/>
                  <a:pt x="24066" y="16075"/>
                </a:cubicBezTo>
                <a:cubicBezTo>
                  <a:pt x="23472" y="16560"/>
                  <a:pt x="23127" y="17076"/>
                  <a:pt x="23002" y="17686"/>
                </a:cubicBezTo>
                <a:cubicBezTo>
                  <a:pt x="22518" y="17701"/>
                  <a:pt x="21971" y="17858"/>
                  <a:pt x="21611" y="18374"/>
                </a:cubicBezTo>
                <a:cubicBezTo>
                  <a:pt x="21329" y="18796"/>
                  <a:pt x="20860" y="19625"/>
                  <a:pt x="20360" y="20579"/>
                </a:cubicBezTo>
                <a:cubicBezTo>
                  <a:pt x="20063" y="21157"/>
                  <a:pt x="19562" y="22142"/>
                  <a:pt x="19515" y="22377"/>
                </a:cubicBezTo>
                <a:cubicBezTo>
                  <a:pt x="19515" y="22393"/>
                  <a:pt x="19500" y="22408"/>
                  <a:pt x="19500" y="22440"/>
                </a:cubicBezTo>
                <a:cubicBezTo>
                  <a:pt x="19469" y="22627"/>
                  <a:pt x="19375" y="23112"/>
                  <a:pt x="19453" y="23644"/>
                </a:cubicBezTo>
                <a:cubicBezTo>
                  <a:pt x="19562" y="24254"/>
                  <a:pt x="19890" y="24769"/>
                  <a:pt x="20391" y="25145"/>
                </a:cubicBezTo>
                <a:cubicBezTo>
                  <a:pt x="20438" y="25552"/>
                  <a:pt x="20688" y="26490"/>
                  <a:pt x="21877" y="27162"/>
                </a:cubicBezTo>
                <a:cubicBezTo>
                  <a:pt x="22283" y="27396"/>
                  <a:pt x="22674" y="27616"/>
                  <a:pt x="23018" y="27819"/>
                </a:cubicBezTo>
                <a:cubicBezTo>
                  <a:pt x="23863" y="28335"/>
                  <a:pt x="24473" y="28694"/>
                  <a:pt x="24910" y="28820"/>
                </a:cubicBezTo>
                <a:cubicBezTo>
                  <a:pt x="25301" y="28913"/>
                  <a:pt x="25645" y="28945"/>
                  <a:pt x="25895" y="28945"/>
                </a:cubicBezTo>
                <a:cubicBezTo>
                  <a:pt x="25942" y="29179"/>
                  <a:pt x="26020" y="29508"/>
                  <a:pt x="26177" y="29820"/>
                </a:cubicBezTo>
                <a:cubicBezTo>
                  <a:pt x="26568" y="30665"/>
                  <a:pt x="27271" y="31118"/>
                  <a:pt x="28194" y="31118"/>
                </a:cubicBezTo>
                <a:lnTo>
                  <a:pt x="28225" y="31118"/>
                </a:lnTo>
                <a:cubicBezTo>
                  <a:pt x="30133" y="31087"/>
                  <a:pt x="33558" y="31118"/>
                  <a:pt x="33589" y="31118"/>
                </a:cubicBezTo>
                <a:lnTo>
                  <a:pt x="33620" y="31118"/>
                </a:lnTo>
                <a:cubicBezTo>
                  <a:pt x="33651" y="31102"/>
                  <a:pt x="34214" y="31056"/>
                  <a:pt x="34777" y="30790"/>
                </a:cubicBezTo>
                <a:cubicBezTo>
                  <a:pt x="35137" y="30633"/>
                  <a:pt x="35419" y="30414"/>
                  <a:pt x="35622" y="30164"/>
                </a:cubicBezTo>
                <a:cubicBezTo>
                  <a:pt x="35887" y="29836"/>
                  <a:pt x="36013" y="29445"/>
                  <a:pt x="36013" y="28992"/>
                </a:cubicBezTo>
                <a:cubicBezTo>
                  <a:pt x="35997" y="27428"/>
                  <a:pt x="36013" y="27021"/>
                  <a:pt x="36013" y="27006"/>
                </a:cubicBezTo>
                <a:cubicBezTo>
                  <a:pt x="36013" y="26912"/>
                  <a:pt x="35982" y="26818"/>
                  <a:pt x="35903" y="26740"/>
                </a:cubicBezTo>
                <a:lnTo>
                  <a:pt x="34636" y="25489"/>
                </a:lnTo>
                <a:cubicBezTo>
                  <a:pt x="34715" y="25332"/>
                  <a:pt x="34762" y="25145"/>
                  <a:pt x="34762" y="24957"/>
                </a:cubicBezTo>
                <a:cubicBezTo>
                  <a:pt x="34762" y="24301"/>
                  <a:pt x="34246" y="23784"/>
                  <a:pt x="33605" y="23784"/>
                </a:cubicBezTo>
                <a:cubicBezTo>
                  <a:pt x="32948" y="23784"/>
                  <a:pt x="32432" y="24301"/>
                  <a:pt x="32432" y="24957"/>
                </a:cubicBezTo>
                <a:cubicBezTo>
                  <a:pt x="32432" y="25598"/>
                  <a:pt x="32948" y="26114"/>
                  <a:pt x="33605" y="26114"/>
                </a:cubicBezTo>
                <a:cubicBezTo>
                  <a:pt x="33792" y="26114"/>
                  <a:pt x="33964" y="26067"/>
                  <a:pt x="34121" y="25989"/>
                </a:cubicBezTo>
                <a:lnTo>
                  <a:pt x="35293" y="27146"/>
                </a:lnTo>
                <a:lnTo>
                  <a:pt x="35293" y="28992"/>
                </a:lnTo>
                <a:cubicBezTo>
                  <a:pt x="35309" y="29508"/>
                  <a:pt x="35043" y="29883"/>
                  <a:pt x="34496" y="30133"/>
                </a:cubicBezTo>
                <a:cubicBezTo>
                  <a:pt x="34089" y="30336"/>
                  <a:pt x="33667" y="30383"/>
                  <a:pt x="33589" y="30399"/>
                </a:cubicBezTo>
                <a:cubicBezTo>
                  <a:pt x="33307" y="30399"/>
                  <a:pt x="30055" y="30368"/>
                  <a:pt x="28225" y="30399"/>
                </a:cubicBezTo>
                <a:lnTo>
                  <a:pt x="28194" y="30399"/>
                </a:lnTo>
                <a:cubicBezTo>
                  <a:pt x="27553" y="30399"/>
                  <a:pt x="27115" y="30118"/>
                  <a:pt x="26818" y="29539"/>
                </a:cubicBezTo>
                <a:cubicBezTo>
                  <a:pt x="26724" y="29320"/>
                  <a:pt x="26662" y="29101"/>
                  <a:pt x="26615" y="28929"/>
                </a:cubicBezTo>
                <a:lnTo>
                  <a:pt x="30633" y="28929"/>
                </a:lnTo>
                <a:cubicBezTo>
                  <a:pt x="30774" y="29398"/>
                  <a:pt x="31212" y="29742"/>
                  <a:pt x="31744" y="29742"/>
                </a:cubicBezTo>
                <a:cubicBezTo>
                  <a:pt x="32385" y="29742"/>
                  <a:pt x="32901" y="29210"/>
                  <a:pt x="32901" y="28569"/>
                </a:cubicBezTo>
                <a:cubicBezTo>
                  <a:pt x="32901" y="27928"/>
                  <a:pt x="32385" y="27412"/>
                  <a:pt x="31744" y="27412"/>
                </a:cubicBezTo>
                <a:cubicBezTo>
                  <a:pt x="31212" y="27412"/>
                  <a:pt x="30774" y="27741"/>
                  <a:pt x="30633" y="28210"/>
                </a:cubicBezTo>
                <a:lnTo>
                  <a:pt x="26208" y="28210"/>
                </a:lnTo>
                <a:lnTo>
                  <a:pt x="26177" y="28210"/>
                </a:lnTo>
                <a:lnTo>
                  <a:pt x="26161" y="28210"/>
                </a:lnTo>
                <a:lnTo>
                  <a:pt x="26161" y="28225"/>
                </a:lnTo>
                <a:cubicBezTo>
                  <a:pt x="25812" y="28194"/>
                  <a:pt x="25661" y="28288"/>
                  <a:pt x="25114" y="28132"/>
                </a:cubicBezTo>
                <a:cubicBezTo>
                  <a:pt x="24769" y="28022"/>
                  <a:pt x="24144" y="27662"/>
                  <a:pt x="23378" y="27209"/>
                </a:cubicBezTo>
                <a:cubicBezTo>
                  <a:pt x="23034" y="27006"/>
                  <a:pt x="22643" y="26771"/>
                  <a:pt x="22236" y="26536"/>
                </a:cubicBezTo>
                <a:cubicBezTo>
                  <a:pt x="21501" y="26130"/>
                  <a:pt x="21251" y="25630"/>
                  <a:pt x="21157" y="25301"/>
                </a:cubicBezTo>
                <a:lnTo>
                  <a:pt x="25911" y="25301"/>
                </a:lnTo>
                <a:cubicBezTo>
                  <a:pt x="26052" y="25770"/>
                  <a:pt x="26505" y="26114"/>
                  <a:pt x="27021" y="26114"/>
                </a:cubicBezTo>
                <a:cubicBezTo>
                  <a:pt x="27663" y="26114"/>
                  <a:pt x="28178" y="25583"/>
                  <a:pt x="28178" y="24942"/>
                </a:cubicBezTo>
                <a:cubicBezTo>
                  <a:pt x="28178" y="24301"/>
                  <a:pt x="27663" y="23784"/>
                  <a:pt x="27021" y="23784"/>
                </a:cubicBezTo>
                <a:cubicBezTo>
                  <a:pt x="26505" y="23784"/>
                  <a:pt x="26052" y="24113"/>
                  <a:pt x="25911" y="24582"/>
                </a:cubicBezTo>
                <a:lnTo>
                  <a:pt x="20845" y="24582"/>
                </a:lnTo>
                <a:cubicBezTo>
                  <a:pt x="20469" y="24316"/>
                  <a:pt x="20235" y="23972"/>
                  <a:pt x="20157" y="23518"/>
                </a:cubicBezTo>
                <a:cubicBezTo>
                  <a:pt x="20094" y="23112"/>
                  <a:pt x="20172" y="22752"/>
                  <a:pt x="20203" y="22565"/>
                </a:cubicBezTo>
                <a:cubicBezTo>
                  <a:pt x="20203" y="22549"/>
                  <a:pt x="20219" y="22533"/>
                  <a:pt x="20219" y="22502"/>
                </a:cubicBezTo>
                <a:cubicBezTo>
                  <a:pt x="20313" y="22189"/>
                  <a:pt x="21595" y="19687"/>
                  <a:pt x="22205" y="18780"/>
                </a:cubicBezTo>
                <a:cubicBezTo>
                  <a:pt x="22377" y="18546"/>
                  <a:pt x="22627" y="18436"/>
                  <a:pt x="22924" y="18405"/>
                </a:cubicBezTo>
                <a:cubicBezTo>
                  <a:pt x="22846" y="19406"/>
                  <a:pt x="22830" y="20891"/>
                  <a:pt x="22815" y="21532"/>
                </a:cubicBezTo>
                <a:cubicBezTo>
                  <a:pt x="22346" y="21689"/>
                  <a:pt x="22002" y="22127"/>
                  <a:pt x="22002" y="22643"/>
                </a:cubicBezTo>
                <a:cubicBezTo>
                  <a:pt x="22002" y="23284"/>
                  <a:pt x="22534" y="23816"/>
                  <a:pt x="23175" y="23816"/>
                </a:cubicBezTo>
                <a:cubicBezTo>
                  <a:pt x="23816" y="23816"/>
                  <a:pt x="24331" y="23284"/>
                  <a:pt x="24331" y="22643"/>
                </a:cubicBezTo>
                <a:cubicBezTo>
                  <a:pt x="24331" y="22127"/>
                  <a:pt x="24003" y="21689"/>
                  <a:pt x="23534" y="21532"/>
                </a:cubicBezTo>
                <a:cubicBezTo>
                  <a:pt x="23534" y="20907"/>
                  <a:pt x="23565" y="19406"/>
                  <a:pt x="23628" y="18452"/>
                </a:cubicBezTo>
                <a:cubicBezTo>
                  <a:pt x="23863" y="18499"/>
                  <a:pt x="24066" y="18562"/>
                  <a:pt x="24191" y="18609"/>
                </a:cubicBezTo>
                <a:cubicBezTo>
                  <a:pt x="24582" y="18874"/>
                  <a:pt x="27209" y="21548"/>
                  <a:pt x="28914" y="23331"/>
                </a:cubicBezTo>
                <a:cubicBezTo>
                  <a:pt x="28851" y="23487"/>
                  <a:pt x="28804" y="23644"/>
                  <a:pt x="28804" y="23816"/>
                </a:cubicBezTo>
                <a:cubicBezTo>
                  <a:pt x="28804" y="24457"/>
                  <a:pt x="29335" y="24989"/>
                  <a:pt x="29977" y="24989"/>
                </a:cubicBezTo>
                <a:cubicBezTo>
                  <a:pt x="30618" y="24989"/>
                  <a:pt x="31134" y="24457"/>
                  <a:pt x="31134" y="23816"/>
                </a:cubicBezTo>
                <a:cubicBezTo>
                  <a:pt x="31134" y="23175"/>
                  <a:pt x="30618" y="22658"/>
                  <a:pt x="29977" y="22658"/>
                </a:cubicBezTo>
                <a:cubicBezTo>
                  <a:pt x="29758" y="22658"/>
                  <a:pt x="29570" y="22705"/>
                  <a:pt x="29398" y="22799"/>
                </a:cubicBezTo>
                <a:cubicBezTo>
                  <a:pt x="28992" y="22393"/>
                  <a:pt x="28116" y="21486"/>
                  <a:pt x="27225" y="20579"/>
                </a:cubicBezTo>
                <a:cubicBezTo>
                  <a:pt x="24738" y="18046"/>
                  <a:pt x="24582" y="17983"/>
                  <a:pt x="24457" y="17936"/>
                </a:cubicBezTo>
                <a:cubicBezTo>
                  <a:pt x="24206" y="17842"/>
                  <a:pt x="23956" y="17779"/>
                  <a:pt x="23722" y="17733"/>
                </a:cubicBezTo>
                <a:cubicBezTo>
                  <a:pt x="23956" y="16857"/>
                  <a:pt x="24910" y="16278"/>
                  <a:pt x="26005" y="15747"/>
                </a:cubicBezTo>
                <a:lnTo>
                  <a:pt x="29914" y="19687"/>
                </a:lnTo>
                <a:cubicBezTo>
                  <a:pt x="29852" y="19828"/>
                  <a:pt x="29820" y="19985"/>
                  <a:pt x="29820" y="20156"/>
                </a:cubicBezTo>
                <a:cubicBezTo>
                  <a:pt x="29820" y="20798"/>
                  <a:pt x="30336" y="21329"/>
                  <a:pt x="30978" y="21329"/>
                </a:cubicBezTo>
                <a:cubicBezTo>
                  <a:pt x="31619" y="21329"/>
                  <a:pt x="32150" y="20798"/>
                  <a:pt x="32150" y="20156"/>
                </a:cubicBezTo>
                <a:cubicBezTo>
                  <a:pt x="32150" y="19515"/>
                  <a:pt x="31619" y="18999"/>
                  <a:pt x="30978" y="18999"/>
                </a:cubicBezTo>
                <a:cubicBezTo>
                  <a:pt x="30758" y="18999"/>
                  <a:pt x="30571" y="19046"/>
                  <a:pt x="30399" y="19156"/>
                </a:cubicBezTo>
                <a:lnTo>
                  <a:pt x="26693" y="15434"/>
                </a:lnTo>
                <a:cubicBezTo>
                  <a:pt x="27381" y="15152"/>
                  <a:pt x="28476" y="14777"/>
                  <a:pt x="29602" y="14433"/>
                </a:cubicBezTo>
                <a:lnTo>
                  <a:pt x="31509" y="16372"/>
                </a:lnTo>
                <a:cubicBezTo>
                  <a:pt x="31399" y="16545"/>
                  <a:pt x="31353" y="16748"/>
                  <a:pt x="31353" y="16951"/>
                </a:cubicBezTo>
                <a:cubicBezTo>
                  <a:pt x="31353" y="17592"/>
                  <a:pt x="31869" y="18124"/>
                  <a:pt x="32510" y="18124"/>
                </a:cubicBezTo>
                <a:cubicBezTo>
                  <a:pt x="33151" y="18124"/>
                  <a:pt x="33683" y="17592"/>
                  <a:pt x="33683" y="16951"/>
                </a:cubicBezTo>
                <a:cubicBezTo>
                  <a:pt x="33683" y="16310"/>
                  <a:pt x="33151" y="15794"/>
                  <a:pt x="32510" y="15794"/>
                </a:cubicBezTo>
                <a:cubicBezTo>
                  <a:pt x="32354" y="15794"/>
                  <a:pt x="32182" y="15825"/>
                  <a:pt x="32041" y="15887"/>
                </a:cubicBezTo>
                <a:lnTo>
                  <a:pt x="30383" y="14199"/>
                </a:lnTo>
                <a:cubicBezTo>
                  <a:pt x="31603" y="13823"/>
                  <a:pt x="32776" y="13511"/>
                  <a:pt x="33433" y="13417"/>
                </a:cubicBezTo>
                <a:lnTo>
                  <a:pt x="34496" y="14793"/>
                </a:lnTo>
                <a:lnTo>
                  <a:pt x="34496" y="20516"/>
                </a:lnTo>
                <a:cubicBezTo>
                  <a:pt x="34026" y="20673"/>
                  <a:pt x="33683" y="21111"/>
                  <a:pt x="33683" y="21626"/>
                </a:cubicBezTo>
                <a:cubicBezTo>
                  <a:pt x="33683" y="22267"/>
                  <a:pt x="34199" y="22799"/>
                  <a:pt x="34856" y="22799"/>
                </a:cubicBezTo>
                <a:cubicBezTo>
                  <a:pt x="35497" y="22799"/>
                  <a:pt x="36013" y="22267"/>
                  <a:pt x="36013" y="21626"/>
                </a:cubicBezTo>
                <a:cubicBezTo>
                  <a:pt x="36013" y="21111"/>
                  <a:pt x="35669" y="20673"/>
                  <a:pt x="35199" y="20516"/>
                </a:cubicBezTo>
                <a:lnTo>
                  <a:pt x="35199" y="14668"/>
                </a:lnTo>
                <a:cubicBezTo>
                  <a:pt x="35199" y="14589"/>
                  <a:pt x="35184" y="14511"/>
                  <a:pt x="35137" y="14449"/>
                </a:cubicBezTo>
                <a:lnTo>
                  <a:pt x="34324" y="13401"/>
                </a:lnTo>
                <a:cubicBezTo>
                  <a:pt x="35231" y="13464"/>
                  <a:pt x="36028" y="13792"/>
                  <a:pt x="36560" y="14308"/>
                </a:cubicBezTo>
                <a:cubicBezTo>
                  <a:pt x="36873" y="14621"/>
                  <a:pt x="37076" y="14981"/>
                  <a:pt x="37076" y="15262"/>
                </a:cubicBezTo>
                <a:lnTo>
                  <a:pt x="37076" y="34449"/>
                </a:lnTo>
                <a:cubicBezTo>
                  <a:pt x="36607" y="34605"/>
                  <a:pt x="36263" y="35043"/>
                  <a:pt x="36263" y="35559"/>
                </a:cubicBezTo>
                <a:cubicBezTo>
                  <a:pt x="36263" y="36200"/>
                  <a:pt x="36779" y="36732"/>
                  <a:pt x="37420" y="36732"/>
                </a:cubicBezTo>
                <a:cubicBezTo>
                  <a:pt x="38077" y="36732"/>
                  <a:pt x="38593" y="36200"/>
                  <a:pt x="38593" y="35559"/>
                </a:cubicBezTo>
                <a:close/>
                <a:moveTo>
                  <a:pt x="39625" y="18499"/>
                </a:moveTo>
                <a:cubicBezTo>
                  <a:pt x="39375" y="18499"/>
                  <a:pt x="39171" y="18296"/>
                  <a:pt x="39171" y="18046"/>
                </a:cubicBezTo>
                <a:cubicBezTo>
                  <a:pt x="39171" y="17811"/>
                  <a:pt x="39375" y="17608"/>
                  <a:pt x="39625" y="17608"/>
                </a:cubicBezTo>
                <a:cubicBezTo>
                  <a:pt x="39875" y="17608"/>
                  <a:pt x="40078" y="17811"/>
                  <a:pt x="40078" y="18046"/>
                </a:cubicBezTo>
                <a:cubicBezTo>
                  <a:pt x="40078" y="18296"/>
                  <a:pt x="39875" y="18499"/>
                  <a:pt x="39625" y="18499"/>
                </a:cubicBezTo>
                <a:close/>
                <a:moveTo>
                  <a:pt x="41439" y="24379"/>
                </a:moveTo>
                <a:cubicBezTo>
                  <a:pt x="41189" y="24379"/>
                  <a:pt x="40985" y="24175"/>
                  <a:pt x="40985" y="23925"/>
                </a:cubicBezTo>
                <a:cubicBezTo>
                  <a:pt x="40985" y="23675"/>
                  <a:pt x="41189" y="23471"/>
                  <a:pt x="41439" y="23471"/>
                </a:cubicBezTo>
                <a:cubicBezTo>
                  <a:pt x="41486" y="23471"/>
                  <a:pt x="41532" y="23487"/>
                  <a:pt x="41579" y="23503"/>
                </a:cubicBezTo>
                <a:cubicBezTo>
                  <a:pt x="41595" y="23503"/>
                  <a:pt x="41595" y="23503"/>
                  <a:pt x="41611" y="23518"/>
                </a:cubicBezTo>
                <a:cubicBezTo>
                  <a:pt x="41767" y="23581"/>
                  <a:pt x="41877" y="23738"/>
                  <a:pt x="41877" y="23925"/>
                </a:cubicBezTo>
                <a:cubicBezTo>
                  <a:pt x="41877" y="24175"/>
                  <a:pt x="41673" y="24379"/>
                  <a:pt x="41439" y="24379"/>
                </a:cubicBezTo>
                <a:close/>
                <a:moveTo>
                  <a:pt x="45802" y="24222"/>
                </a:moveTo>
                <a:cubicBezTo>
                  <a:pt x="46052" y="24222"/>
                  <a:pt x="46255" y="24426"/>
                  <a:pt x="46255" y="24676"/>
                </a:cubicBezTo>
                <a:cubicBezTo>
                  <a:pt x="46255" y="24926"/>
                  <a:pt x="46052" y="25129"/>
                  <a:pt x="45802" y="25129"/>
                </a:cubicBezTo>
                <a:cubicBezTo>
                  <a:pt x="45692" y="25129"/>
                  <a:pt x="45598" y="25098"/>
                  <a:pt x="45520" y="25035"/>
                </a:cubicBezTo>
                <a:cubicBezTo>
                  <a:pt x="45520" y="25020"/>
                  <a:pt x="45520" y="25020"/>
                  <a:pt x="45504" y="25020"/>
                </a:cubicBezTo>
                <a:cubicBezTo>
                  <a:pt x="45410" y="24942"/>
                  <a:pt x="45364" y="24816"/>
                  <a:pt x="45364" y="24676"/>
                </a:cubicBezTo>
                <a:cubicBezTo>
                  <a:pt x="45364" y="24426"/>
                  <a:pt x="45551" y="24222"/>
                  <a:pt x="45802" y="24222"/>
                </a:cubicBezTo>
                <a:close/>
                <a:moveTo>
                  <a:pt x="39422" y="20423"/>
                </a:moveTo>
                <a:cubicBezTo>
                  <a:pt x="39672" y="20423"/>
                  <a:pt x="39875" y="20626"/>
                  <a:pt x="39875" y="20876"/>
                </a:cubicBezTo>
                <a:cubicBezTo>
                  <a:pt x="39875" y="21126"/>
                  <a:pt x="39672" y="21329"/>
                  <a:pt x="39422" y="21329"/>
                </a:cubicBezTo>
                <a:cubicBezTo>
                  <a:pt x="39187" y="21329"/>
                  <a:pt x="38984" y="21126"/>
                  <a:pt x="38984" y="20876"/>
                </a:cubicBezTo>
                <a:cubicBezTo>
                  <a:pt x="38984" y="20626"/>
                  <a:pt x="39187" y="20423"/>
                  <a:pt x="39422" y="20423"/>
                </a:cubicBezTo>
                <a:close/>
                <a:moveTo>
                  <a:pt x="41924" y="27975"/>
                </a:moveTo>
                <a:cubicBezTo>
                  <a:pt x="41673" y="27975"/>
                  <a:pt x="41470" y="27772"/>
                  <a:pt x="41470" y="27522"/>
                </a:cubicBezTo>
                <a:cubicBezTo>
                  <a:pt x="41470" y="27271"/>
                  <a:pt x="41673" y="27084"/>
                  <a:pt x="41924" y="27084"/>
                </a:cubicBezTo>
                <a:cubicBezTo>
                  <a:pt x="42002" y="27084"/>
                  <a:pt x="42080" y="27099"/>
                  <a:pt x="42142" y="27146"/>
                </a:cubicBezTo>
                <a:lnTo>
                  <a:pt x="42158" y="27146"/>
                </a:lnTo>
                <a:lnTo>
                  <a:pt x="42174" y="27146"/>
                </a:lnTo>
                <a:cubicBezTo>
                  <a:pt x="42283" y="27224"/>
                  <a:pt x="42377" y="27365"/>
                  <a:pt x="42377" y="27522"/>
                </a:cubicBezTo>
                <a:cubicBezTo>
                  <a:pt x="42377" y="27772"/>
                  <a:pt x="42174" y="27975"/>
                  <a:pt x="41924" y="27975"/>
                </a:cubicBezTo>
                <a:close/>
                <a:moveTo>
                  <a:pt x="33151" y="24957"/>
                </a:moveTo>
                <a:cubicBezTo>
                  <a:pt x="33151" y="24707"/>
                  <a:pt x="33354" y="24504"/>
                  <a:pt x="33605" y="24504"/>
                </a:cubicBezTo>
                <a:cubicBezTo>
                  <a:pt x="33839" y="24504"/>
                  <a:pt x="34042" y="24707"/>
                  <a:pt x="34042" y="24957"/>
                </a:cubicBezTo>
                <a:cubicBezTo>
                  <a:pt x="34042" y="25020"/>
                  <a:pt x="34026" y="25098"/>
                  <a:pt x="33995" y="25160"/>
                </a:cubicBezTo>
                <a:cubicBezTo>
                  <a:pt x="33948" y="25176"/>
                  <a:pt x="33901" y="25192"/>
                  <a:pt x="33870" y="25239"/>
                </a:cubicBezTo>
                <a:cubicBezTo>
                  <a:pt x="33839" y="25270"/>
                  <a:pt x="33808" y="25317"/>
                  <a:pt x="33792" y="25364"/>
                </a:cubicBezTo>
                <a:cubicBezTo>
                  <a:pt x="33730" y="25379"/>
                  <a:pt x="33667" y="25395"/>
                  <a:pt x="33605" y="25395"/>
                </a:cubicBezTo>
                <a:cubicBezTo>
                  <a:pt x="33354" y="25395"/>
                  <a:pt x="33151" y="25192"/>
                  <a:pt x="33151" y="24957"/>
                </a:cubicBezTo>
                <a:close/>
                <a:moveTo>
                  <a:pt x="31744" y="28116"/>
                </a:moveTo>
                <a:cubicBezTo>
                  <a:pt x="31994" y="28116"/>
                  <a:pt x="32182" y="28319"/>
                  <a:pt x="32182" y="28569"/>
                </a:cubicBezTo>
                <a:cubicBezTo>
                  <a:pt x="32182" y="28820"/>
                  <a:pt x="31994" y="29023"/>
                  <a:pt x="31744" y="29023"/>
                </a:cubicBezTo>
                <a:cubicBezTo>
                  <a:pt x="31494" y="29023"/>
                  <a:pt x="31290" y="28820"/>
                  <a:pt x="31290" y="28569"/>
                </a:cubicBezTo>
                <a:cubicBezTo>
                  <a:pt x="31290" y="28319"/>
                  <a:pt x="31494" y="28116"/>
                  <a:pt x="31744" y="28116"/>
                </a:cubicBezTo>
                <a:close/>
                <a:moveTo>
                  <a:pt x="27021" y="24488"/>
                </a:moveTo>
                <a:cubicBezTo>
                  <a:pt x="27271" y="24488"/>
                  <a:pt x="27475" y="24691"/>
                  <a:pt x="27475" y="24942"/>
                </a:cubicBezTo>
                <a:cubicBezTo>
                  <a:pt x="27475" y="25192"/>
                  <a:pt x="27271" y="25395"/>
                  <a:pt x="27021" y="25395"/>
                </a:cubicBezTo>
                <a:cubicBezTo>
                  <a:pt x="26771" y="25395"/>
                  <a:pt x="26568" y="25192"/>
                  <a:pt x="26568" y="24942"/>
                </a:cubicBezTo>
                <a:cubicBezTo>
                  <a:pt x="26568" y="24691"/>
                  <a:pt x="26771" y="24488"/>
                  <a:pt x="27021" y="24488"/>
                </a:cubicBezTo>
                <a:close/>
                <a:moveTo>
                  <a:pt x="30430" y="23816"/>
                </a:moveTo>
                <a:cubicBezTo>
                  <a:pt x="30430" y="24066"/>
                  <a:pt x="30227" y="24269"/>
                  <a:pt x="29977" y="24269"/>
                </a:cubicBezTo>
                <a:cubicBezTo>
                  <a:pt x="29727" y="24269"/>
                  <a:pt x="29523" y="24066"/>
                  <a:pt x="29523" y="23816"/>
                </a:cubicBezTo>
                <a:cubicBezTo>
                  <a:pt x="29523" y="23706"/>
                  <a:pt x="29570" y="23613"/>
                  <a:pt x="29633" y="23534"/>
                </a:cubicBezTo>
                <a:lnTo>
                  <a:pt x="29633" y="23518"/>
                </a:lnTo>
                <a:cubicBezTo>
                  <a:pt x="29727" y="23425"/>
                  <a:pt x="29836" y="23362"/>
                  <a:pt x="29977" y="23362"/>
                </a:cubicBezTo>
                <a:cubicBezTo>
                  <a:pt x="30227" y="23362"/>
                  <a:pt x="30430" y="23565"/>
                  <a:pt x="30430" y="23816"/>
                </a:cubicBezTo>
                <a:close/>
                <a:moveTo>
                  <a:pt x="23175" y="23096"/>
                </a:moveTo>
                <a:cubicBezTo>
                  <a:pt x="22924" y="23096"/>
                  <a:pt x="22721" y="22893"/>
                  <a:pt x="22721" y="22643"/>
                </a:cubicBezTo>
                <a:cubicBezTo>
                  <a:pt x="22721" y="22393"/>
                  <a:pt x="22924" y="22189"/>
                  <a:pt x="23175" y="22189"/>
                </a:cubicBezTo>
                <a:cubicBezTo>
                  <a:pt x="23425" y="22189"/>
                  <a:pt x="23628" y="22393"/>
                  <a:pt x="23628" y="22643"/>
                </a:cubicBezTo>
                <a:cubicBezTo>
                  <a:pt x="23628" y="22893"/>
                  <a:pt x="23425" y="23096"/>
                  <a:pt x="23175" y="23096"/>
                </a:cubicBezTo>
                <a:close/>
                <a:moveTo>
                  <a:pt x="32963" y="16951"/>
                </a:moveTo>
                <a:cubicBezTo>
                  <a:pt x="32963" y="17201"/>
                  <a:pt x="32760" y="17404"/>
                  <a:pt x="32510" y="17404"/>
                </a:cubicBezTo>
                <a:cubicBezTo>
                  <a:pt x="32260" y="17404"/>
                  <a:pt x="32056" y="17201"/>
                  <a:pt x="32056" y="16951"/>
                </a:cubicBezTo>
                <a:cubicBezTo>
                  <a:pt x="32056" y="16826"/>
                  <a:pt x="32119" y="16701"/>
                  <a:pt x="32213" y="16623"/>
                </a:cubicBezTo>
                <a:cubicBezTo>
                  <a:pt x="32291" y="16545"/>
                  <a:pt x="32400" y="16513"/>
                  <a:pt x="32510" y="16513"/>
                </a:cubicBezTo>
                <a:cubicBezTo>
                  <a:pt x="32760" y="16513"/>
                  <a:pt x="32963" y="16701"/>
                  <a:pt x="32963" y="16951"/>
                </a:cubicBezTo>
                <a:close/>
                <a:moveTo>
                  <a:pt x="34856" y="22080"/>
                </a:moveTo>
                <a:cubicBezTo>
                  <a:pt x="34605" y="22080"/>
                  <a:pt x="34402" y="21877"/>
                  <a:pt x="34402" y="21626"/>
                </a:cubicBezTo>
                <a:cubicBezTo>
                  <a:pt x="34402" y="21376"/>
                  <a:pt x="34605" y="21173"/>
                  <a:pt x="34856" y="21173"/>
                </a:cubicBezTo>
                <a:cubicBezTo>
                  <a:pt x="35090" y="21173"/>
                  <a:pt x="35293" y="21376"/>
                  <a:pt x="35293" y="21626"/>
                </a:cubicBezTo>
                <a:cubicBezTo>
                  <a:pt x="35293" y="21877"/>
                  <a:pt x="35090" y="22080"/>
                  <a:pt x="34856" y="22080"/>
                </a:cubicBezTo>
                <a:close/>
                <a:moveTo>
                  <a:pt x="31431" y="20156"/>
                </a:moveTo>
                <a:cubicBezTo>
                  <a:pt x="31431" y="20407"/>
                  <a:pt x="31228" y="20610"/>
                  <a:pt x="30978" y="20610"/>
                </a:cubicBezTo>
                <a:cubicBezTo>
                  <a:pt x="30727" y="20610"/>
                  <a:pt x="30524" y="20407"/>
                  <a:pt x="30524" y="20156"/>
                </a:cubicBezTo>
                <a:cubicBezTo>
                  <a:pt x="30524" y="20047"/>
                  <a:pt x="30571" y="19953"/>
                  <a:pt x="30633" y="19860"/>
                </a:cubicBezTo>
                <a:lnTo>
                  <a:pt x="30649" y="19860"/>
                </a:lnTo>
                <a:cubicBezTo>
                  <a:pt x="30727" y="19766"/>
                  <a:pt x="30853" y="19703"/>
                  <a:pt x="30978" y="19703"/>
                </a:cubicBezTo>
                <a:cubicBezTo>
                  <a:pt x="31228" y="19703"/>
                  <a:pt x="31431" y="19906"/>
                  <a:pt x="31431" y="20156"/>
                </a:cubicBezTo>
                <a:close/>
                <a:moveTo>
                  <a:pt x="36982" y="35559"/>
                </a:moveTo>
                <a:cubicBezTo>
                  <a:pt x="36982" y="35309"/>
                  <a:pt x="37185" y="35105"/>
                  <a:pt x="37420" y="35105"/>
                </a:cubicBezTo>
                <a:cubicBezTo>
                  <a:pt x="37670" y="35105"/>
                  <a:pt x="37873" y="35309"/>
                  <a:pt x="37873" y="35559"/>
                </a:cubicBezTo>
                <a:cubicBezTo>
                  <a:pt x="37873" y="35810"/>
                  <a:pt x="37670" y="36013"/>
                  <a:pt x="37420" y="36013"/>
                </a:cubicBezTo>
                <a:cubicBezTo>
                  <a:pt x="37185" y="36013"/>
                  <a:pt x="36982" y="35810"/>
                  <a:pt x="36982" y="355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264698925"/>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Magellan focused icons - 7</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90" name="TextBox 89">
            <a:extLst>
              <a:ext uri="{FF2B5EF4-FFF2-40B4-BE49-F238E27FC236}">
                <a16:creationId xmlns:a16="http://schemas.microsoft.com/office/drawing/2014/main" id="{901890C6-60A8-7547-BDD4-AC59E6328605}"/>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9" name="TextBox 8">
            <a:extLst>
              <a:ext uri="{FF2B5EF4-FFF2-40B4-BE49-F238E27FC236}">
                <a16:creationId xmlns:a16="http://schemas.microsoft.com/office/drawing/2014/main" id="{C58385FD-CBA5-F64D-88A4-86B98439FF86}"/>
              </a:ext>
            </a:extLst>
          </p:cNvPr>
          <p:cNvSpPr txBox="1"/>
          <p:nvPr/>
        </p:nvSpPr>
        <p:spPr>
          <a:xfrm>
            <a:off x="1246187" y="11608034"/>
            <a:ext cx="10944225"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arge Scale Data Processing</a:t>
            </a:r>
          </a:p>
        </p:txBody>
      </p:sp>
      <p:sp>
        <p:nvSpPr>
          <p:cNvPr id="10" name="TextBox 9">
            <a:extLst>
              <a:ext uri="{FF2B5EF4-FFF2-40B4-BE49-F238E27FC236}">
                <a16:creationId xmlns:a16="http://schemas.microsoft.com/office/drawing/2014/main" id="{03ED220E-4F19-7142-A22A-1642F7F931C3}"/>
              </a:ext>
            </a:extLst>
          </p:cNvPr>
          <p:cNvSpPr txBox="1"/>
          <p:nvPr/>
        </p:nvSpPr>
        <p:spPr>
          <a:xfrm>
            <a:off x="12192000" y="11608034"/>
            <a:ext cx="10944225"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Using AI to Automatically Detect and Kickoff Processes</a:t>
            </a:r>
          </a:p>
        </p:txBody>
      </p:sp>
      <p:sp>
        <p:nvSpPr>
          <p:cNvPr id="11" name="Freeform 10">
            <a:extLst>
              <a:ext uri="{FF2B5EF4-FFF2-40B4-BE49-F238E27FC236}">
                <a16:creationId xmlns:a16="http://schemas.microsoft.com/office/drawing/2014/main" id="{CDBBA885-A38C-5C48-A47D-2D237C39BE99}"/>
              </a:ext>
            </a:extLst>
          </p:cNvPr>
          <p:cNvSpPr/>
          <p:nvPr/>
        </p:nvSpPr>
        <p:spPr>
          <a:xfrm>
            <a:off x="2347323" y="2839740"/>
            <a:ext cx="8741951" cy="8221591"/>
          </a:xfrm>
          <a:custGeom>
            <a:avLst/>
            <a:gdLst/>
            <a:ahLst/>
            <a:cxnLst>
              <a:cxn ang="3cd4">
                <a:pos x="hc" y="t"/>
              </a:cxn>
              <a:cxn ang="cd2">
                <a:pos x="l" y="vc"/>
              </a:cxn>
              <a:cxn ang="cd4">
                <a:pos x="hc" y="b"/>
              </a:cxn>
              <a:cxn ang="0">
                <a:pos x="r" y="vc"/>
              </a:cxn>
            </a:cxnLst>
            <a:rect l="l" t="t" r="r" b="b"/>
            <a:pathLst>
              <a:path w="54886" h="51619">
                <a:moveTo>
                  <a:pt x="14824" y="27866"/>
                </a:moveTo>
                <a:lnTo>
                  <a:pt x="985" y="27866"/>
                </a:lnTo>
                <a:cubicBezTo>
                  <a:pt x="438" y="27866"/>
                  <a:pt x="0" y="28304"/>
                  <a:pt x="0" y="28851"/>
                </a:cubicBezTo>
                <a:lnTo>
                  <a:pt x="0" y="32979"/>
                </a:lnTo>
                <a:lnTo>
                  <a:pt x="0" y="38546"/>
                </a:lnTo>
                <a:lnTo>
                  <a:pt x="0" y="43316"/>
                </a:lnTo>
                <a:lnTo>
                  <a:pt x="0" y="48085"/>
                </a:lnTo>
                <a:lnTo>
                  <a:pt x="0" y="50634"/>
                </a:lnTo>
                <a:cubicBezTo>
                  <a:pt x="0" y="51181"/>
                  <a:pt x="438" y="51619"/>
                  <a:pt x="985" y="51619"/>
                </a:cubicBezTo>
                <a:lnTo>
                  <a:pt x="14824" y="51619"/>
                </a:lnTo>
                <a:cubicBezTo>
                  <a:pt x="15371" y="51619"/>
                  <a:pt x="15809" y="51181"/>
                  <a:pt x="15809" y="50634"/>
                </a:cubicBezTo>
                <a:lnTo>
                  <a:pt x="15809" y="48085"/>
                </a:lnTo>
                <a:lnTo>
                  <a:pt x="15809" y="43316"/>
                </a:lnTo>
                <a:lnTo>
                  <a:pt x="15809" y="38546"/>
                </a:lnTo>
                <a:lnTo>
                  <a:pt x="15809" y="32979"/>
                </a:lnTo>
                <a:lnTo>
                  <a:pt x="15809" y="28851"/>
                </a:lnTo>
                <a:cubicBezTo>
                  <a:pt x="15809" y="28304"/>
                  <a:pt x="15371" y="27866"/>
                  <a:pt x="14824" y="27866"/>
                </a:cubicBezTo>
                <a:close/>
                <a:moveTo>
                  <a:pt x="15105" y="38187"/>
                </a:moveTo>
                <a:lnTo>
                  <a:pt x="719" y="38187"/>
                </a:lnTo>
                <a:lnTo>
                  <a:pt x="719" y="33339"/>
                </a:lnTo>
                <a:lnTo>
                  <a:pt x="15105" y="33339"/>
                </a:lnTo>
                <a:close/>
                <a:moveTo>
                  <a:pt x="15105" y="42956"/>
                </a:moveTo>
                <a:lnTo>
                  <a:pt x="719" y="42956"/>
                </a:lnTo>
                <a:lnTo>
                  <a:pt x="719" y="38906"/>
                </a:lnTo>
                <a:lnTo>
                  <a:pt x="15105" y="38906"/>
                </a:lnTo>
                <a:close/>
                <a:moveTo>
                  <a:pt x="719" y="43675"/>
                </a:moveTo>
                <a:lnTo>
                  <a:pt x="15105" y="43675"/>
                </a:lnTo>
                <a:lnTo>
                  <a:pt x="15105" y="47725"/>
                </a:lnTo>
                <a:lnTo>
                  <a:pt x="719" y="47725"/>
                </a:lnTo>
                <a:close/>
                <a:moveTo>
                  <a:pt x="719" y="28851"/>
                </a:moveTo>
                <a:cubicBezTo>
                  <a:pt x="719" y="28695"/>
                  <a:pt x="844" y="28570"/>
                  <a:pt x="985" y="28570"/>
                </a:cubicBezTo>
                <a:lnTo>
                  <a:pt x="14824" y="28570"/>
                </a:lnTo>
                <a:cubicBezTo>
                  <a:pt x="14980" y="28570"/>
                  <a:pt x="15105" y="28695"/>
                  <a:pt x="15105" y="28851"/>
                </a:cubicBezTo>
                <a:lnTo>
                  <a:pt x="15105" y="32635"/>
                </a:lnTo>
                <a:lnTo>
                  <a:pt x="719" y="32635"/>
                </a:lnTo>
                <a:close/>
                <a:moveTo>
                  <a:pt x="15105" y="50634"/>
                </a:moveTo>
                <a:cubicBezTo>
                  <a:pt x="15105" y="50775"/>
                  <a:pt x="14980" y="50900"/>
                  <a:pt x="14824" y="50900"/>
                </a:cubicBezTo>
                <a:lnTo>
                  <a:pt x="985" y="50900"/>
                </a:lnTo>
                <a:cubicBezTo>
                  <a:pt x="844" y="50900"/>
                  <a:pt x="719" y="50775"/>
                  <a:pt x="719" y="50634"/>
                </a:cubicBezTo>
                <a:lnTo>
                  <a:pt x="719" y="48445"/>
                </a:lnTo>
                <a:lnTo>
                  <a:pt x="15105" y="48445"/>
                </a:lnTo>
                <a:close/>
                <a:moveTo>
                  <a:pt x="12072" y="29351"/>
                </a:moveTo>
                <a:cubicBezTo>
                  <a:pt x="11321" y="29351"/>
                  <a:pt x="10711" y="29961"/>
                  <a:pt x="10711" y="30696"/>
                </a:cubicBezTo>
                <a:cubicBezTo>
                  <a:pt x="10711" y="31447"/>
                  <a:pt x="11321" y="32057"/>
                  <a:pt x="12072" y="32057"/>
                </a:cubicBezTo>
                <a:cubicBezTo>
                  <a:pt x="12806" y="32057"/>
                  <a:pt x="13416" y="31447"/>
                  <a:pt x="13416" y="30696"/>
                </a:cubicBezTo>
                <a:cubicBezTo>
                  <a:pt x="13416" y="29961"/>
                  <a:pt x="12806" y="29351"/>
                  <a:pt x="12072" y="29351"/>
                </a:cubicBezTo>
                <a:close/>
                <a:moveTo>
                  <a:pt x="12072" y="31337"/>
                </a:moveTo>
                <a:cubicBezTo>
                  <a:pt x="11712" y="31337"/>
                  <a:pt x="11430" y="31056"/>
                  <a:pt x="11430" y="30696"/>
                </a:cubicBezTo>
                <a:cubicBezTo>
                  <a:pt x="11430" y="30352"/>
                  <a:pt x="11712" y="30071"/>
                  <a:pt x="12072" y="30071"/>
                </a:cubicBezTo>
                <a:cubicBezTo>
                  <a:pt x="12415" y="30071"/>
                  <a:pt x="12697" y="30352"/>
                  <a:pt x="12697" y="30696"/>
                </a:cubicBezTo>
                <a:cubicBezTo>
                  <a:pt x="12697" y="31056"/>
                  <a:pt x="12415" y="31337"/>
                  <a:pt x="12072" y="31337"/>
                </a:cubicBezTo>
                <a:close/>
                <a:moveTo>
                  <a:pt x="8694" y="31040"/>
                </a:moveTo>
                <a:lnTo>
                  <a:pt x="3143" y="31040"/>
                </a:lnTo>
                <a:cubicBezTo>
                  <a:pt x="2940" y="31040"/>
                  <a:pt x="2783" y="31197"/>
                  <a:pt x="2783" y="31400"/>
                </a:cubicBezTo>
                <a:cubicBezTo>
                  <a:pt x="2783" y="31588"/>
                  <a:pt x="2940" y="31760"/>
                  <a:pt x="3143" y="31760"/>
                </a:cubicBezTo>
                <a:lnTo>
                  <a:pt x="8694" y="31760"/>
                </a:lnTo>
                <a:cubicBezTo>
                  <a:pt x="8897" y="31760"/>
                  <a:pt x="9053" y="31588"/>
                  <a:pt x="9053" y="31400"/>
                </a:cubicBezTo>
                <a:cubicBezTo>
                  <a:pt x="9053" y="31197"/>
                  <a:pt x="8897" y="31040"/>
                  <a:pt x="8694" y="31040"/>
                </a:cubicBezTo>
                <a:close/>
                <a:moveTo>
                  <a:pt x="12072" y="37014"/>
                </a:moveTo>
                <a:cubicBezTo>
                  <a:pt x="12806" y="37014"/>
                  <a:pt x="13416" y="36419"/>
                  <a:pt x="13416" y="35669"/>
                </a:cubicBezTo>
                <a:cubicBezTo>
                  <a:pt x="13416" y="34918"/>
                  <a:pt x="12806" y="34324"/>
                  <a:pt x="12072" y="34324"/>
                </a:cubicBezTo>
                <a:cubicBezTo>
                  <a:pt x="11321" y="34324"/>
                  <a:pt x="10711" y="34918"/>
                  <a:pt x="10711" y="35669"/>
                </a:cubicBezTo>
                <a:cubicBezTo>
                  <a:pt x="10711" y="36419"/>
                  <a:pt x="11321" y="37014"/>
                  <a:pt x="12072" y="37014"/>
                </a:cubicBezTo>
                <a:close/>
                <a:moveTo>
                  <a:pt x="12072" y="35028"/>
                </a:moveTo>
                <a:cubicBezTo>
                  <a:pt x="12415" y="35028"/>
                  <a:pt x="12697" y="35309"/>
                  <a:pt x="12697" y="35669"/>
                </a:cubicBezTo>
                <a:cubicBezTo>
                  <a:pt x="12697" y="36013"/>
                  <a:pt x="12415" y="36310"/>
                  <a:pt x="12072" y="36310"/>
                </a:cubicBezTo>
                <a:cubicBezTo>
                  <a:pt x="11712" y="36310"/>
                  <a:pt x="11430" y="36013"/>
                  <a:pt x="11430" y="35669"/>
                </a:cubicBezTo>
                <a:cubicBezTo>
                  <a:pt x="11430" y="35309"/>
                  <a:pt x="11712" y="35028"/>
                  <a:pt x="12072" y="35028"/>
                </a:cubicBezTo>
                <a:close/>
                <a:moveTo>
                  <a:pt x="3143" y="36529"/>
                </a:moveTo>
                <a:lnTo>
                  <a:pt x="8694" y="36529"/>
                </a:lnTo>
                <a:cubicBezTo>
                  <a:pt x="8897" y="36529"/>
                  <a:pt x="9053" y="36357"/>
                  <a:pt x="9053" y="36169"/>
                </a:cubicBezTo>
                <a:cubicBezTo>
                  <a:pt x="9053" y="35966"/>
                  <a:pt x="8897" y="35810"/>
                  <a:pt x="8694" y="35810"/>
                </a:cubicBezTo>
                <a:lnTo>
                  <a:pt x="3143" y="35810"/>
                </a:lnTo>
                <a:cubicBezTo>
                  <a:pt x="2940" y="35810"/>
                  <a:pt x="2783" y="35966"/>
                  <a:pt x="2783" y="36169"/>
                </a:cubicBezTo>
                <a:cubicBezTo>
                  <a:pt x="2783" y="36357"/>
                  <a:pt x="2940" y="36529"/>
                  <a:pt x="3143" y="36529"/>
                </a:cubicBezTo>
                <a:close/>
                <a:moveTo>
                  <a:pt x="12072" y="41986"/>
                </a:moveTo>
                <a:cubicBezTo>
                  <a:pt x="12806" y="41986"/>
                  <a:pt x="13416" y="41377"/>
                  <a:pt x="13416" y="40626"/>
                </a:cubicBezTo>
                <a:cubicBezTo>
                  <a:pt x="13416" y="39891"/>
                  <a:pt x="12806" y="39281"/>
                  <a:pt x="12072" y="39281"/>
                </a:cubicBezTo>
                <a:cubicBezTo>
                  <a:pt x="11321" y="39281"/>
                  <a:pt x="10711" y="39891"/>
                  <a:pt x="10711" y="40626"/>
                </a:cubicBezTo>
                <a:cubicBezTo>
                  <a:pt x="10711" y="41377"/>
                  <a:pt x="11321" y="41986"/>
                  <a:pt x="12072" y="41986"/>
                </a:cubicBezTo>
                <a:close/>
                <a:moveTo>
                  <a:pt x="12072" y="40001"/>
                </a:moveTo>
                <a:cubicBezTo>
                  <a:pt x="12415" y="40001"/>
                  <a:pt x="12697" y="40282"/>
                  <a:pt x="12697" y="40626"/>
                </a:cubicBezTo>
                <a:cubicBezTo>
                  <a:pt x="12697" y="40985"/>
                  <a:pt x="12415" y="41267"/>
                  <a:pt x="12072" y="41267"/>
                </a:cubicBezTo>
                <a:cubicBezTo>
                  <a:pt x="11712" y="41267"/>
                  <a:pt x="11430" y="40985"/>
                  <a:pt x="11430" y="40626"/>
                </a:cubicBezTo>
                <a:cubicBezTo>
                  <a:pt x="11430" y="40282"/>
                  <a:pt x="11712" y="40001"/>
                  <a:pt x="12072" y="40001"/>
                </a:cubicBezTo>
                <a:close/>
                <a:moveTo>
                  <a:pt x="3143" y="41283"/>
                </a:moveTo>
                <a:lnTo>
                  <a:pt x="8694" y="41283"/>
                </a:lnTo>
                <a:cubicBezTo>
                  <a:pt x="8897" y="41283"/>
                  <a:pt x="9053" y="41126"/>
                  <a:pt x="9053" y="40939"/>
                </a:cubicBezTo>
                <a:cubicBezTo>
                  <a:pt x="9053" y="40735"/>
                  <a:pt x="8897" y="40579"/>
                  <a:pt x="8694" y="40579"/>
                </a:cubicBezTo>
                <a:lnTo>
                  <a:pt x="3143" y="40579"/>
                </a:lnTo>
                <a:cubicBezTo>
                  <a:pt x="2940" y="40579"/>
                  <a:pt x="2783" y="40735"/>
                  <a:pt x="2783" y="40939"/>
                </a:cubicBezTo>
                <a:cubicBezTo>
                  <a:pt x="2783" y="41126"/>
                  <a:pt x="2940" y="41283"/>
                  <a:pt x="3143" y="41283"/>
                </a:cubicBezTo>
                <a:close/>
                <a:moveTo>
                  <a:pt x="12072" y="44254"/>
                </a:moveTo>
                <a:cubicBezTo>
                  <a:pt x="11321" y="44254"/>
                  <a:pt x="10711" y="44848"/>
                  <a:pt x="10711" y="45598"/>
                </a:cubicBezTo>
                <a:cubicBezTo>
                  <a:pt x="10711" y="46349"/>
                  <a:pt x="11321" y="46944"/>
                  <a:pt x="12072" y="46944"/>
                </a:cubicBezTo>
                <a:cubicBezTo>
                  <a:pt x="12806" y="46944"/>
                  <a:pt x="13416" y="46349"/>
                  <a:pt x="13416" y="45598"/>
                </a:cubicBezTo>
                <a:cubicBezTo>
                  <a:pt x="13416" y="44848"/>
                  <a:pt x="12806" y="44254"/>
                  <a:pt x="12072" y="44254"/>
                </a:cubicBezTo>
                <a:close/>
                <a:moveTo>
                  <a:pt x="12072" y="46239"/>
                </a:moveTo>
                <a:cubicBezTo>
                  <a:pt x="11712" y="46239"/>
                  <a:pt x="11430" y="45958"/>
                  <a:pt x="11430" y="45598"/>
                </a:cubicBezTo>
                <a:cubicBezTo>
                  <a:pt x="11430" y="45255"/>
                  <a:pt x="11712" y="44957"/>
                  <a:pt x="12072" y="44957"/>
                </a:cubicBezTo>
                <a:cubicBezTo>
                  <a:pt x="12415" y="44957"/>
                  <a:pt x="12697" y="45255"/>
                  <a:pt x="12697" y="45598"/>
                </a:cubicBezTo>
                <a:cubicBezTo>
                  <a:pt x="12697" y="45958"/>
                  <a:pt x="12415" y="46239"/>
                  <a:pt x="12072" y="46239"/>
                </a:cubicBezTo>
                <a:close/>
                <a:moveTo>
                  <a:pt x="8694" y="46130"/>
                </a:moveTo>
                <a:lnTo>
                  <a:pt x="3143" y="46130"/>
                </a:lnTo>
                <a:cubicBezTo>
                  <a:pt x="2940" y="46130"/>
                  <a:pt x="2783" y="46302"/>
                  <a:pt x="2783" y="46490"/>
                </a:cubicBezTo>
                <a:cubicBezTo>
                  <a:pt x="2783" y="46693"/>
                  <a:pt x="2940" y="46849"/>
                  <a:pt x="3143" y="46849"/>
                </a:cubicBezTo>
                <a:lnTo>
                  <a:pt x="8694" y="46849"/>
                </a:lnTo>
                <a:cubicBezTo>
                  <a:pt x="8897" y="46849"/>
                  <a:pt x="9053" y="46693"/>
                  <a:pt x="9053" y="46490"/>
                </a:cubicBezTo>
                <a:cubicBezTo>
                  <a:pt x="9053" y="46302"/>
                  <a:pt x="8897" y="46130"/>
                  <a:pt x="8694" y="46130"/>
                </a:cubicBezTo>
                <a:close/>
                <a:moveTo>
                  <a:pt x="34370" y="27866"/>
                </a:moveTo>
                <a:lnTo>
                  <a:pt x="20531" y="27866"/>
                </a:lnTo>
                <a:cubicBezTo>
                  <a:pt x="19984" y="27866"/>
                  <a:pt x="19546" y="28304"/>
                  <a:pt x="19546" y="28851"/>
                </a:cubicBezTo>
                <a:lnTo>
                  <a:pt x="19546" y="32979"/>
                </a:lnTo>
                <a:lnTo>
                  <a:pt x="19546" y="38546"/>
                </a:lnTo>
                <a:lnTo>
                  <a:pt x="19546" y="43316"/>
                </a:lnTo>
                <a:lnTo>
                  <a:pt x="19546" y="48085"/>
                </a:lnTo>
                <a:lnTo>
                  <a:pt x="19546" y="50634"/>
                </a:lnTo>
                <a:cubicBezTo>
                  <a:pt x="19546" y="51181"/>
                  <a:pt x="19984" y="51619"/>
                  <a:pt x="20531" y="51619"/>
                </a:cubicBezTo>
                <a:lnTo>
                  <a:pt x="34370" y="51619"/>
                </a:lnTo>
                <a:cubicBezTo>
                  <a:pt x="34902" y="51619"/>
                  <a:pt x="35355" y="51181"/>
                  <a:pt x="35355" y="50634"/>
                </a:cubicBezTo>
                <a:lnTo>
                  <a:pt x="35355" y="48085"/>
                </a:lnTo>
                <a:lnTo>
                  <a:pt x="35355" y="43316"/>
                </a:lnTo>
                <a:lnTo>
                  <a:pt x="35355" y="38546"/>
                </a:lnTo>
                <a:lnTo>
                  <a:pt x="35355" y="32979"/>
                </a:lnTo>
                <a:lnTo>
                  <a:pt x="35355" y="28851"/>
                </a:lnTo>
                <a:cubicBezTo>
                  <a:pt x="35355" y="28304"/>
                  <a:pt x="34902" y="27866"/>
                  <a:pt x="34370" y="27866"/>
                </a:cubicBezTo>
                <a:close/>
                <a:moveTo>
                  <a:pt x="34636" y="38187"/>
                </a:moveTo>
                <a:lnTo>
                  <a:pt x="20249" y="38187"/>
                </a:lnTo>
                <a:lnTo>
                  <a:pt x="20249" y="33339"/>
                </a:lnTo>
                <a:lnTo>
                  <a:pt x="34636" y="33339"/>
                </a:lnTo>
                <a:close/>
                <a:moveTo>
                  <a:pt x="34636" y="42956"/>
                </a:moveTo>
                <a:lnTo>
                  <a:pt x="20249" y="42956"/>
                </a:lnTo>
                <a:lnTo>
                  <a:pt x="20249" y="38906"/>
                </a:lnTo>
                <a:lnTo>
                  <a:pt x="34636" y="38906"/>
                </a:lnTo>
                <a:close/>
                <a:moveTo>
                  <a:pt x="20249" y="43675"/>
                </a:moveTo>
                <a:lnTo>
                  <a:pt x="34636" y="43675"/>
                </a:lnTo>
                <a:lnTo>
                  <a:pt x="34636" y="47725"/>
                </a:lnTo>
                <a:lnTo>
                  <a:pt x="20249" y="47725"/>
                </a:lnTo>
                <a:close/>
                <a:moveTo>
                  <a:pt x="20249" y="28851"/>
                </a:moveTo>
                <a:cubicBezTo>
                  <a:pt x="20249" y="28695"/>
                  <a:pt x="20375" y="28570"/>
                  <a:pt x="20531" y="28570"/>
                </a:cubicBezTo>
                <a:lnTo>
                  <a:pt x="34370" y="28570"/>
                </a:lnTo>
                <a:cubicBezTo>
                  <a:pt x="34511" y="28570"/>
                  <a:pt x="34636" y="28695"/>
                  <a:pt x="34636" y="28851"/>
                </a:cubicBezTo>
                <a:lnTo>
                  <a:pt x="34636" y="32635"/>
                </a:lnTo>
                <a:lnTo>
                  <a:pt x="20249" y="32635"/>
                </a:lnTo>
                <a:close/>
                <a:moveTo>
                  <a:pt x="34636" y="50634"/>
                </a:moveTo>
                <a:cubicBezTo>
                  <a:pt x="34636" y="50775"/>
                  <a:pt x="34511" y="50900"/>
                  <a:pt x="34370" y="50900"/>
                </a:cubicBezTo>
                <a:lnTo>
                  <a:pt x="20531" y="50900"/>
                </a:lnTo>
                <a:cubicBezTo>
                  <a:pt x="20375" y="50900"/>
                  <a:pt x="20249" y="50775"/>
                  <a:pt x="20249" y="50634"/>
                </a:cubicBezTo>
                <a:lnTo>
                  <a:pt x="20249" y="48445"/>
                </a:lnTo>
                <a:lnTo>
                  <a:pt x="34636" y="48445"/>
                </a:lnTo>
                <a:close/>
                <a:moveTo>
                  <a:pt x="31602" y="29351"/>
                </a:moveTo>
                <a:cubicBezTo>
                  <a:pt x="30867" y="29351"/>
                  <a:pt x="30257" y="29961"/>
                  <a:pt x="30257" y="30696"/>
                </a:cubicBezTo>
                <a:cubicBezTo>
                  <a:pt x="30257" y="31447"/>
                  <a:pt x="30867" y="32057"/>
                  <a:pt x="31602" y="32057"/>
                </a:cubicBezTo>
                <a:cubicBezTo>
                  <a:pt x="32353" y="32057"/>
                  <a:pt x="32963" y="31447"/>
                  <a:pt x="32963" y="30696"/>
                </a:cubicBezTo>
                <a:cubicBezTo>
                  <a:pt x="32963" y="29961"/>
                  <a:pt x="32353" y="29351"/>
                  <a:pt x="31602" y="29351"/>
                </a:cubicBezTo>
                <a:close/>
                <a:moveTo>
                  <a:pt x="31602" y="31337"/>
                </a:moveTo>
                <a:cubicBezTo>
                  <a:pt x="31258" y="31337"/>
                  <a:pt x="30977" y="31056"/>
                  <a:pt x="30977" y="30696"/>
                </a:cubicBezTo>
                <a:cubicBezTo>
                  <a:pt x="30977" y="30352"/>
                  <a:pt x="31258" y="30071"/>
                  <a:pt x="31602" y="30071"/>
                </a:cubicBezTo>
                <a:cubicBezTo>
                  <a:pt x="31962" y="30071"/>
                  <a:pt x="32243" y="30352"/>
                  <a:pt x="32243" y="30696"/>
                </a:cubicBezTo>
                <a:cubicBezTo>
                  <a:pt x="32243" y="31056"/>
                  <a:pt x="31962" y="31337"/>
                  <a:pt x="31602" y="31337"/>
                </a:cubicBezTo>
                <a:close/>
                <a:moveTo>
                  <a:pt x="28240" y="31040"/>
                </a:moveTo>
                <a:lnTo>
                  <a:pt x="22673" y="31040"/>
                </a:lnTo>
                <a:cubicBezTo>
                  <a:pt x="22486" y="31040"/>
                  <a:pt x="22314" y="31197"/>
                  <a:pt x="22314" y="31400"/>
                </a:cubicBezTo>
                <a:cubicBezTo>
                  <a:pt x="22314" y="31588"/>
                  <a:pt x="22486" y="31760"/>
                  <a:pt x="22673" y="31760"/>
                </a:cubicBezTo>
                <a:lnTo>
                  <a:pt x="28240" y="31760"/>
                </a:lnTo>
                <a:cubicBezTo>
                  <a:pt x="28443" y="31760"/>
                  <a:pt x="28600" y="31588"/>
                  <a:pt x="28600" y="31400"/>
                </a:cubicBezTo>
                <a:cubicBezTo>
                  <a:pt x="28600" y="31197"/>
                  <a:pt x="28443" y="31040"/>
                  <a:pt x="28240" y="31040"/>
                </a:cubicBezTo>
                <a:close/>
                <a:moveTo>
                  <a:pt x="31602" y="37014"/>
                </a:moveTo>
                <a:cubicBezTo>
                  <a:pt x="32353" y="37014"/>
                  <a:pt x="32963" y="36419"/>
                  <a:pt x="32963" y="35669"/>
                </a:cubicBezTo>
                <a:cubicBezTo>
                  <a:pt x="32963" y="34918"/>
                  <a:pt x="32353" y="34324"/>
                  <a:pt x="31602" y="34324"/>
                </a:cubicBezTo>
                <a:cubicBezTo>
                  <a:pt x="30867" y="34324"/>
                  <a:pt x="30257" y="34918"/>
                  <a:pt x="30257" y="35669"/>
                </a:cubicBezTo>
                <a:cubicBezTo>
                  <a:pt x="30257" y="36419"/>
                  <a:pt x="30867" y="37014"/>
                  <a:pt x="31602" y="37014"/>
                </a:cubicBezTo>
                <a:close/>
                <a:moveTo>
                  <a:pt x="31602" y="35028"/>
                </a:moveTo>
                <a:cubicBezTo>
                  <a:pt x="31962" y="35028"/>
                  <a:pt x="32243" y="35309"/>
                  <a:pt x="32243" y="35669"/>
                </a:cubicBezTo>
                <a:cubicBezTo>
                  <a:pt x="32243" y="36013"/>
                  <a:pt x="31962" y="36310"/>
                  <a:pt x="31602" y="36310"/>
                </a:cubicBezTo>
                <a:cubicBezTo>
                  <a:pt x="31258" y="36310"/>
                  <a:pt x="30977" y="36013"/>
                  <a:pt x="30977" y="35669"/>
                </a:cubicBezTo>
                <a:cubicBezTo>
                  <a:pt x="30977" y="35309"/>
                  <a:pt x="31258" y="35028"/>
                  <a:pt x="31602" y="35028"/>
                </a:cubicBezTo>
                <a:close/>
                <a:moveTo>
                  <a:pt x="22673" y="36529"/>
                </a:moveTo>
                <a:lnTo>
                  <a:pt x="28240" y="36529"/>
                </a:lnTo>
                <a:cubicBezTo>
                  <a:pt x="28443" y="36529"/>
                  <a:pt x="28600" y="36357"/>
                  <a:pt x="28600" y="36169"/>
                </a:cubicBezTo>
                <a:cubicBezTo>
                  <a:pt x="28600" y="35966"/>
                  <a:pt x="28443" y="35810"/>
                  <a:pt x="28240" y="35810"/>
                </a:cubicBezTo>
                <a:lnTo>
                  <a:pt x="22673" y="35810"/>
                </a:lnTo>
                <a:cubicBezTo>
                  <a:pt x="22486" y="35810"/>
                  <a:pt x="22314" y="35966"/>
                  <a:pt x="22314" y="36169"/>
                </a:cubicBezTo>
                <a:cubicBezTo>
                  <a:pt x="22314" y="36357"/>
                  <a:pt x="22486" y="36529"/>
                  <a:pt x="22673" y="36529"/>
                </a:cubicBezTo>
                <a:close/>
                <a:moveTo>
                  <a:pt x="31602" y="41986"/>
                </a:moveTo>
                <a:cubicBezTo>
                  <a:pt x="32353" y="41986"/>
                  <a:pt x="32963" y="41377"/>
                  <a:pt x="32963" y="40626"/>
                </a:cubicBezTo>
                <a:cubicBezTo>
                  <a:pt x="32963" y="39891"/>
                  <a:pt x="32353" y="39281"/>
                  <a:pt x="31602" y="39281"/>
                </a:cubicBezTo>
                <a:cubicBezTo>
                  <a:pt x="30867" y="39281"/>
                  <a:pt x="30257" y="39891"/>
                  <a:pt x="30257" y="40626"/>
                </a:cubicBezTo>
                <a:cubicBezTo>
                  <a:pt x="30257" y="41377"/>
                  <a:pt x="30867" y="41986"/>
                  <a:pt x="31602" y="41986"/>
                </a:cubicBezTo>
                <a:close/>
                <a:moveTo>
                  <a:pt x="31602" y="40001"/>
                </a:moveTo>
                <a:cubicBezTo>
                  <a:pt x="31962" y="40001"/>
                  <a:pt x="32243" y="40282"/>
                  <a:pt x="32243" y="40626"/>
                </a:cubicBezTo>
                <a:cubicBezTo>
                  <a:pt x="32243" y="40985"/>
                  <a:pt x="31962" y="41267"/>
                  <a:pt x="31602" y="41267"/>
                </a:cubicBezTo>
                <a:cubicBezTo>
                  <a:pt x="31258" y="41267"/>
                  <a:pt x="30977" y="40985"/>
                  <a:pt x="30977" y="40626"/>
                </a:cubicBezTo>
                <a:cubicBezTo>
                  <a:pt x="30977" y="40282"/>
                  <a:pt x="31258" y="40001"/>
                  <a:pt x="31602" y="40001"/>
                </a:cubicBezTo>
                <a:close/>
                <a:moveTo>
                  <a:pt x="22673" y="41283"/>
                </a:moveTo>
                <a:lnTo>
                  <a:pt x="28240" y="41283"/>
                </a:lnTo>
                <a:cubicBezTo>
                  <a:pt x="28443" y="41283"/>
                  <a:pt x="28600" y="41126"/>
                  <a:pt x="28600" y="40939"/>
                </a:cubicBezTo>
                <a:cubicBezTo>
                  <a:pt x="28600" y="40735"/>
                  <a:pt x="28443" y="40579"/>
                  <a:pt x="28240" y="40579"/>
                </a:cubicBezTo>
                <a:lnTo>
                  <a:pt x="22673" y="40579"/>
                </a:lnTo>
                <a:cubicBezTo>
                  <a:pt x="22486" y="40579"/>
                  <a:pt x="22314" y="40735"/>
                  <a:pt x="22314" y="40939"/>
                </a:cubicBezTo>
                <a:cubicBezTo>
                  <a:pt x="22314" y="41126"/>
                  <a:pt x="22486" y="41283"/>
                  <a:pt x="22673" y="41283"/>
                </a:cubicBezTo>
                <a:close/>
                <a:moveTo>
                  <a:pt x="31602" y="44254"/>
                </a:moveTo>
                <a:cubicBezTo>
                  <a:pt x="30867" y="44254"/>
                  <a:pt x="30257" y="44848"/>
                  <a:pt x="30257" y="45598"/>
                </a:cubicBezTo>
                <a:cubicBezTo>
                  <a:pt x="30257" y="46349"/>
                  <a:pt x="30867" y="46944"/>
                  <a:pt x="31602" y="46944"/>
                </a:cubicBezTo>
                <a:cubicBezTo>
                  <a:pt x="32353" y="46944"/>
                  <a:pt x="32963" y="46349"/>
                  <a:pt x="32963" y="45598"/>
                </a:cubicBezTo>
                <a:cubicBezTo>
                  <a:pt x="32963" y="44848"/>
                  <a:pt x="32353" y="44254"/>
                  <a:pt x="31602" y="44254"/>
                </a:cubicBezTo>
                <a:close/>
                <a:moveTo>
                  <a:pt x="31602" y="46239"/>
                </a:moveTo>
                <a:cubicBezTo>
                  <a:pt x="31258" y="46239"/>
                  <a:pt x="30977" y="45958"/>
                  <a:pt x="30977" y="45598"/>
                </a:cubicBezTo>
                <a:cubicBezTo>
                  <a:pt x="30977" y="45255"/>
                  <a:pt x="31258" y="44957"/>
                  <a:pt x="31602" y="44957"/>
                </a:cubicBezTo>
                <a:cubicBezTo>
                  <a:pt x="31962" y="44957"/>
                  <a:pt x="32243" y="45255"/>
                  <a:pt x="32243" y="45598"/>
                </a:cubicBezTo>
                <a:cubicBezTo>
                  <a:pt x="32243" y="45958"/>
                  <a:pt x="31962" y="46239"/>
                  <a:pt x="31602" y="46239"/>
                </a:cubicBezTo>
                <a:close/>
                <a:moveTo>
                  <a:pt x="28240" y="46130"/>
                </a:moveTo>
                <a:lnTo>
                  <a:pt x="22673" y="46130"/>
                </a:lnTo>
                <a:cubicBezTo>
                  <a:pt x="22486" y="46130"/>
                  <a:pt x="22314" y="46302"/>
                  <a:pt x="22314" y="46490"/>
                </a:cubicBezTo>
                <a:cubicBezTo>
                  <a:pt x="22314" y="46693"/>
                  <a:pt x="22486" y="46849"/>
                  <a:pt x="22673" y="46849"/>
                </a:cubicBezTo>
                <a:lnTo>
                  <a:pt x="28240" y="46849"/>
                </a:lnTo>
                <a:cubicBezTo>
                  <a:pt x="28443" y="46849"/>
                  <a:pt x="28600" y="46693"/>
                  <a:pt x="28600" y="46490"/>
                </a:cubicBezTo>
                <a:cubicBezTo>
                  <a:pt x="28600" y="46302"/>
                  <a:pt x="28443" y="46130"/>
                  <a:pt x="28240" y="46130"/>
                </a:cubicBezTo>
                <a:close/>
                <a:moveTo>
                  <a:pt x="53901" y="27866"/>
                </a:moveTo>
                <a:lnTo>
                  <a:pt x="40062" y="27866"/>
                </a:lnTo>
                <a:cubicBezTo>
                  <a:pt x="39514" y="27866"/>
                  <a:pt x="39077" y="28304"/>
                  <a:pt x="39077" y="28851"/>
                </a:cubicBezTo>
                <a:lnTo>
                  <a:pt x="39077" y="32979"/>
                </a:lnTo>
                <a:lnTo>
                  <a:pt x="39077" y="38546"/>
                </a:lnTo>
                <a:lnTo>
                  <a:pt x="39077" y="43316"/>
                </a:lnTo>
                <a:lnTo>
                  <a:pt x="39077" y="48085"/>
                </a:lnTo>
                <a:lnTo>
                  <a:pt x="39077" y="50634"/>
                </a:lnTo>
                <a:cubicBezTo>
                  <a:pt x="39077" y="51181"/>
                  <a:pt x="39514" y="51619"/>
                  <a:pt x="40062" y="51619"/>
                </a:cubicBezTo>
                <a:lnTo>
                  <a:pt x="53901" y="51619"/>
                </a:lnTo>
                <a:cubicBezTo>
                  <a:pt x="54448" y="51619"/>
                  <a:pt x="54886" y="51181"/>
                  <a:pt x="54886" y="50634"/>
                </a:cubicBezTo>
                <a:lnTo>
                  <a:pt x="54886" y="48085"/>
                </a:lnTo>
                <a:lnTo>
                  <a:pt x="54886" y="43316"/>
                </a:lnTo>
                <a:lnTo>
                  <a:pt x="54886" y="38546"/>
                </a:lnTo>
                <a:lnTo>
                  <a:pt x="54886" y="32979"/>
                </a:lnTo>
                <a:lnTo>
                  <a:pt x="54886" y="28851"/>
                </a:lnTo>
                <a:cubicBezTo>
                  <a:pt x="54886" y="28304"/>
                  <a:pt x="54448" y="27866"/>
                  <a:pt x="53901" y="27866"/>
                </a:cubicBezTo>
                <a:close/>
                <a:moveTo>
                  <a:pt x="54182" y="38187"/>
                </a:moveTo>
                <a:lnTo>
                  <a:pt x="39796" y="38187"/>
                </a:lnTo>
                <a:lnTo>
                  <a:pt x="39796" y="33339"/>
                </a:lnTo>
                <a:lnTo>
                  <a:pt x="54182" y="33339"/>
                </a:lnTo>
                <a:close/>
                <a:moveTo>
                  <a:pt x="54182" y="42956"/>
                </a:moveTo>
                <a:lnTo>
                  <a:pt x="39796" y="42956"/>
                </a:lnTo>
                <a:lnTo>
                  <a:pt x="39796" y="38906"/>
                </a:lnTo>
                <a:lnTo>
                  <a:pt x="54182" y="38906"/>
                </a:lnTo>
                <a:close/>
                <a:moveTo>
                  <a:pt x="39796" y="43675"/>
                </a:moveTo>
                <a:lnTo>
                  <a:pt x="54182" y="43675"/>
                </a:lnTo>
                <a:lnTo>
                  <a:pt x="54182" y="47725"/>
                </a:lnTo>
                <a:lnTo>
                  <a:pt x="39796" y="47725"/>
                </a:lnTo>
                <a:close/>
                <a:moveTo>
                  <a:pt x="39796" y="28851"/>
                </a:moveTo>
                <a:cubicBezTo>
                  <a:pt x="39796" y="28695"/>
                  <a:pt x="39921" y="28570"/>
                  <a:pt x="40062" y="28570"/>
                </a:cubicBezTo>
                <a:lnTo>
                  <a:pt x="53901" y="28570"/>
                </a:lnTo>
                <a:cubicBezTo>
                  <a:pt x="54057" y="28570"/>
                  <a:pt x="54182" y="28695"/>
                  <a:pt x="54182" y="28851"/>
                </a:cubicBezTo>
                <a:lnTo>
                  <a:pt x="54182" y="32635"/>
                </a:lnTo>
                <a:lnTo>
                  <a:pt x="39796" y="32635"/>
                </a:lnTo>
                <a:close/>
                <a:moveTo>
                  <a:pt x="54182" y="50634"/>
                </a:moveTo>
                <a:cubicBezTo>
                  <a:pt x="54182" y="50775"/>
                  <a:pt x="54057" y="50900"/>
                  <a:pt x="53901" y="50900"/>
                </a:cubicBezTo>
                <a:lnTo>
                  <a:pt x="40062" y="50900"/>
                </a:lnTo>
                <a:cubicBezTo>
                  <a:pt x="39921" y="50900"/>
                  <a:pt x="39796" y="50775"/>
                  <a:pt x="39796" y="50634"/>
                </a:cubicBezTo>
                <a:lnTo>
                  <a:pt x="39796" y="48445"/>
                </a:lnTo>
                <a:lnTo>
                  <a:pt x="54182" y="48445"/>
                </a:lnTo>
                <a:close/>
                <a:moveTo>
                  <a:pt x="51149" y="29351"/>
                </a:moveTo>
                <a:cubicBezTo>
                  <a:pt x="50398" y="29351"/>
                  <a:pt x="49804" y="29961"/>
                  <a:pt x="49804" y="30696"/>
                </a:cubicBezTo>
                <a:cubicBezTo>
                  <a:pt x="49804" y="31447"/>
                  <a:pt x="50398" y="32057"/>
                  <a:pt x="51149" y="32057"/>
                </a:cubicBezTo>
                <a:cubicBezTo>
                  <a:pt x="51899" y="32057"/>
                  <a:pt x="52494" y="31447"/>
                  <a:pt x="52494" y="30696"/>
                </a:cubicBezTo>
                <a:cubicBezTo>
                  <a:pt x="52494" y="29961"/>
                  <a:pt x="51899" y="29351"/>
                  <a:pt x="51149" y="29351"/>
                </a:cubicBezTo>
                <a:close/>
                <a:moveTo>
                  <a:pt x="51149" y="31337"/>
                </a:moveTo>
                <a:cubicBezTo>
                  <a:pt x="50789" y="31337"/>
                  <a:pt x="50508" y="31056"/>
                  <a:pt x="50508" y="30696"/>
                </a:cubicBezTo>
                <a:cubicBezTo>
                  <a:pt x="50508" y="30352"/>
                  <a:pt x="50789" y="30071"/>
                  <a:pt x="51149" y="30071"/>
                </a:cubicBezTo>
                <a:cubicBezTo>
                  <a:pt x="51493" y="30071"/>
                  <a:pt x="51790" y="30352"/>
                  <a:pt x="51790" y="30696"/>
                </a:cubicBezTo>
                <a:cubicBezTo>
                  <a:pt x="51790" y="31056"/>
                  <a:pt x="51493" y="31337"/>
                  <a:pt x="51149" y="31337"/>
                </a:cubicBezTo>
                <a:close/>
                <a:moveTo>
                  <a:pt x="47787" y="31040"/>
                </a:moveTo>
                <a:lnTo>
                  <a:pt x="42220" y="31040"/>
                </a:lnTo>
                <a:cubicBezTo>
                  <a:pt x="42016" y="31040"/>
                  <a:pt x="41860" y="31197"/>
                  <a:pt x="41860" y="31400"/>
                </a:cubicBezTo>
                <a:cubicBezTo>
                  <a:pt x="41860" y="31588"/>
                  <a:pt x="42016" y="31760"/>
                  <a:pt x="42220" y="31760"/>
                </a:cubicBezTo>
                <a:lnTo>
                  <a:pt x="47787" y="31760"/>
                </a:lnTo>
                <a:cubicBezTo>
                  <a:pt x="47975" y="31760"/>
                  <a:pt x="48131" y="31588"/>
                  <a:pt x="48131" y="31400"/>
                </a:cubicBezTo>
                <a:cubicBezTo>
                  <a:pt x="48131" y="31197"/>
                  <a:pt x="47975" y="31040"/>
                  <a:pt x="47787" y="31040"/>
                </a:cubicBezTo>
                <a:close/>
                <a:moveTo>
                  <a:pt x="51149" y="37014"/>
                </a:moveTo>
                <a:cubicBezTo>
                  <a:pt x="51899" y="37014"/>
                  <a:pt x="52494" y="36419"/>
                  <a:pt x="52494" y="35669"/>
                </a:cubicBezTo>
                <a:cubicBezTo>
                  <a:pt x="52494" y="34918"/>
                  <a:pt x="51899" y="34324"/>
                  <a:pt x="51149" y="34324"/>
                </a:cubicBezTo>
                <a:cubicBezTo>
                  <a:pt x="50398" y="34324"/>
                  <a:pt x="49804" y="34918"/>
                  <a:pt x="49804" y="35669"/>
                </a:cubicBezTo>
                <a:cubicBezTo>
                  <a:pt x="49804" y="36419"/>
                  <a:pt x="50398" y="37014"/>
                  <a:pt x="51149" y="37014"/>
                </a:cubicBezTo>
                <a:close/>
                <a:moveTo>
                  <a:pt x="51149" y="35028"/>
                </a:moveTo>
                <a:cubicBezTo>
                  <a:pt x="51493" y="35028"/>
                  <a:pt x="51790" y="35309"/>
                  <a:pt x="51790" y="35669"/>
                </a:cubicBezTo>
                <a:cubicBezTo>
                  <a:pt x="51790" y="36013"/>
                  <a:pt x="51493" y="36310"/>
                  <a:pt x="51149" y="36310"/>
                </a:cubicBezTo>
                <a:cubicBezTo>
                  <a:pt x="50789" y="36310"/>
                  <a:pt x="50508" y="36013"/>
                  <a:pt x="50508" y="35669"/>
                </a:cubicBezTo>
                <a:cubicBezTo>
                  <a:pt x="50508" y="35309"/>
                  <a:pt x="50789" y="35028"/>
                  <a:pt x="51149" y="35028"/>
                </a:cubicBezTo>
                <a:close/>
                <a:moveTo>
                  <a:pt x="42220" y="36529"/>
                </a:moveTo>
                <a:lnTo>
                  <a:pt x="47787" y="36529"/>
                </a:lnTo>
                <a:cubicBezTo>
                  <a:pt x="47975" y="36529"/>
                  <a:pt x="48131" y="36357"/>
                  <a:pt x="48131" y="36169"/>
                </a:cubicBezTo>
                <a:cubicBezTo>
                  <a:pt x="48131" y="35966"/>
                  <a:pt x="47975" y="35810"/>
                  <a:pt x="47787" y="35810"/>
                </a:cubicBezTo>
                <a:lnTo>
                  <a:pt x="42220" y="35810"/>
                </a:lnTo>
                <a:cubicBezTo>
                  <a:pt x="42016" y="35810"/>
                  <a:pt x="41860" y="35966"/>
                  <a:pt x="41860" y="36169"/>
                </a:cubicBezTo>
                <a:cubicBezTo>
                  <a:pt x="41860" y="36357"/>
                  <a:pt x="42016" y="36529"/>
                  <a:pt x="42220" y="36529"/>
                </a:cubicBezTo>
                <a:close/>
                <a:moveTo>
                  <a:pt x="51149" y="41986"/>
                </a:moveTo>
                <a:cubicBezTo>
                  <a:pt x="51899" y="41986"/>
                  <a:pt x="52494" y="41377"/>
                  <a:pt x="52494" y="40626"/>
                </a:cubicBezTo>
                <a:cubicBezTo>
                  <a:pt x="52494" y="39891"/>
                  <a:pt x="51899" y="39281"/>
                  <a:pt x="51149" y="39281"/>
                </a:cubicBezTo>
                <a:cubicBezTo>
                  <a:pt x="50398" y="39281"/>
                  <a:pt x="49804" y="39891"/>
                  <a:pt x="49804" y="40626"/>
                </a:cubicBezTo>
                <a:cubicBezTo>
                  <a:pt x="49804" y="41377"/>
                  <a:pt x="50398" y="41986"/>
                  <a:pt x="51149" y="41986"/>
                </a:cubicBezTo>
                <a:close/>
                <a:moveTo>
                  <a:pt x="51149" y="40001"/>
                </a:moveTo>
                <a:cubicBezTo>
                  <a:pt x="51493" y="40001"/>
                  <a:pt x="51790" y="40282"/>
                  <a:pt x="51790" y="40626"/>
                </a:cubicBezTo>
                <a:cubicBezTo>
                  <a:pt x="51790" y="40985"/>
                  <a:pt x="51493" y="41267"/>
                  <a:pt x="51149" y="41267"/>
                </a:cubicBezTo>
                <a:cubicBezTo>
                  <a:pt x="50789" y="41267"/>
                  <a:pt x="50508" y="40985"/>
                  <a:pt x="50508" y="40626"/>
                </a:cubicBezTo>
                <a:cubicBezTo>
                  <a:pt x="50508" y="40282"/>
                  <a:pt x="50789" y="40001"/>
                  <a:pt x="51149" y="40001"/>
                </a:cubicBezTo>
                <a:close/>
                <a:moveTo>
                  <a:pt x="42220" y="41283"/>
                </a:moveTo>
                <a:lnTo>
                  <a:pt x="47787" y="41283"/>
                </a:lnTo>
                <a:cubicBezTo>
                  <a:pt x="47975" y="41283"/>
                  <a:pt x="48131" y="41126"/>
                  <a:pt x="48131" y="40939"/>
                </a:cubicBezTo>
                <a:cubicBezTo>
                  <a:pt x="48131" y="40735"/>
                  <a:pt x="47975" y="40579"/>
                  <a:pt x="47787" y="40579"/>
                </a:cubicBezTo>
                <a:lnTo>
                  <a:pt x="42220" y="40579"/>
                </a:lnTo>
                <a:cubicBezTo>
                  <a:pt x="42016" y="40579"/>
                  <a:pt x="41860" y="40735"/>
                  <a:pt x="41860" y="40939"/>
                </a:cubicBezTo>
                <a:cubicBezTo>
                  <a:pt x="41860" y="41126"/>
                  <a:pt x="42016" y="41283"/>
                  <a:pt x="42220" y="41283"/>
                </a:cubicBezTo>
                <a:close/>
                <a:moveTo>
                  <a:pt x="51149" y="44254"/>
                </a:moveTo>
                <a:cubicBezTo>
                  <a:pt x="50398" y="44254"/>
                  <a:pt x="49804" y="44848"/>
                  <a:pt x="49804" y="45598"/>
                </a:cubicBezTo>
                <a:cubicBezTo>
                  <a:pt x="49804" y="46349"/>
                  <a:pt x="50398" y="46944"/>
                  <a:pt x="51149" y="46944"/>
                </a:cubicBezTo>
                <a:cubicBezTo>
                  <a:pt x="51899" y="46944"/>
                  <a:pt x="52494" y="46349"/>
                  <a:pt x="52494" y="45598"/>
                </a:cubicBezTo>
                <a:cubicBezTo>
                  <a:pt x="52494" y="44848"/>
                  <a:pt x="51899" y="44254"/>
                  <a:pt x="51149" y="44254"/>
                </a:cubicBezTo>
                <a:close/>
                <a:moveTo>
                  <a:pt x="51149" y="46239"/>
                </a:moveTo>
                <a:cubicBezTo>
                  <a:pt x="50789" y="46239"/>
                  <a:pt x="50508" y="45958"/>
                  <a:pt x="50508" y="45598"/>
                </a:cubicBezTo>
                <a:cubicBezTo>
                  <a:pt x="50508" y="45255"/>
                  <a:pt x="50789" y="44957"/>
                  <a:pt x="51149" y="44957"/>
                </a:cubicBezTo>
                <a:cubicBezTo>
                  <a:pt x="51493" y="44957"/>
                  <a:pt x="51790" y="45255"/>
                  <a:pt x="51790" y="45598"/>
                </a:cubicBezTo>
                <a:cubicBezTo>
                  <a:pt x="51790" y="45958"/>
                  <a:pt x="51493" y="46239"/>
                  <a:pt x="51149" y="46239"/>
                </a:cubicBezTo>
                <a:close/>
                <a:moveTo>
                  <a:pt x="47787" y="46130"/>
                </a:moveTo>
                <a:lnTo>
                  <a:pt x="42220" y="46130"/>
                </a:lnTo>
                <a:cubicBezTo>
                  <a:pt x="42016" y="46130"/>
                  <a:pt x="41860" y="46302"/>
                  <a:pt x="41860" y="46490"/>
                </a:cubicBezTo>
                <a:cubicBezTo>
                  <a:pt x="41860" y="46693"/>
                  <a:pt x="42016" y="46849"/>
                  <a:pt x="42220" y="46849"/>
                </a:cubicBezTo>
                <a:lnTo>
                  <a:pt x="47787" y="46849"/>
                </a:lnTo>
                <a:cubicBezTo>
                  <a:pt x="47975" y="46849"/>
                  <a:pt x="48131" y="46693"/>
                  <a:pt x="48131" y="46490"/>
                </a:cubicBezTo>
                <a:cubicBezTo>
                  <a:pt x="48131" y="46302"/>
                  <a:pt x="47975" y="46130"/>
                  <a:pt x="47787" y="46130"/>
                </a:cubicBezTo>
                <a:close/>
                <a:moveTo>
                  <a:pt x="15480" y="767"/>
                </a:moveTo>
                <a:lnTo>
                  <a:pt x="15480" y="3034"/>
                </a:lnTo>
                <a:lnTo>
                  <a:pt x="16090" y="3034"/>
                </a:lnTo>
                <a:lnTo>
                  <a:pt x="16090" y="78"/>
                </a:lnTo>
                <a:lnTo>
                  <a:pt x="15590" y="78"/>
                </a:lnTo>
                <a:lnTo>
                  <a:pt x="14636" y="673"/>
                </a:lnTo>
                <a:lnTo>
                  <a:pt x="14902" y="1111"/>
                </a:lnTo>
                <a:close/>
                <a:moveTo>
                  <a:pt x="17951" y="3112"/>
                </a:moveTo>
                <a:cubicBezTo>
                  <a:pt x="18310" y="3112"/>
                  <a:pt x="18577" y="2987"/>
                  <a:pt x="18780" y="2737"/>
                </a:cubicBezTo>
                <a:cubicBezTo>
                  <a:pt x="18983" y="2487"/>
                  <a:pt x="19077" y="2096"/>
                  <a:pt x="19077" y="1549"/>
                </a:cubicBezTo>
                <a:cubicBezTo>
                  <a:pt x="19077" y="1017"/>
                  <a:pt x="18983" y="626"/>
                  <a:pt x="18780" y="376"/>
                </a:cubicBezTo>
                <a:cubicBezTo>
                  <a:pt x="18592" y="126"/>
                  <a:pt x="18310" y="0"/>
                  <a:pt x="17967" y="0"/>
                </a:cubicBezTo>
                <a:cubicBezTo>
                  <a:pt x="17795" y="0"/>
                  <a:pt x="17622" y="16"/>
                  <a:pt x="17497" y="78"/>
                </a:cubicBezTo>
                <a:cubicBezTo>
                  <a:pt x="17357" y="141"/>
                  <a:pt x="17232" y="235"/>
                  <a:pt x="17138" y="376"/>
                </a:cubicBezTo>
                <a:cubicBezTo>
                  <a:pt x="17028" y="501"/>
                  <a:pt x="16950" y="657"/>
                  <a:pt x="16903" y="861"/>
                </a:cubicBezTo>
                <a:cubicBezTo>
                  <a:pt x="16856" y="1048"/>
                  <a:pt x="16825" y="1283"/>
                  <a:pt x="16825" y="1549"/>
                </a:cubicBezTo>
                <a:cubicBezTo>
                  <a:pt x="16825" y="2096"/>
                  <a:pt x="16919" y="2487"/>
                  <a:pt x="17122" y="2737"/>
                </a:cubicBezTo>
                <a:cubicBezTo>
                  <a:pt x="17310" y="2987"/>
                  <a:pt x="17591" y="3112"/>
                  <a:pt x="17951" y="3112"/>
                </a:cubicBezTo>
                <a:close/>
                <a:moveTo>
                  <a:pt x="17482" y="1111"/>
                </a:moveTo>
                <a:cubicBezTo>
                  <a:pt x="17497" y="986"/>
                  <a:pt x="17529" y="876"/>
                  <a:pt x="17560" y="798"/>
                </a:cubicBezTo>
                <a:cubicBezTo>
                  <a:pt x="17607" y="704"/>
                  <a:pt x="17654" y="641"/>
                  <a:pt x="17717" y="579"/>
                </a:cubicBezTo>
                <a:cubicBezTo>
                  <a:pt x="17779" y="532"/>
                  <a:pt x="17857" y="516"/>
                  <a:pt x="17951" y="516"/>
                </a:cubicBezTo>
                <a:cubicBezTo>
                  <a:pt x="18045" y="516"/>
                  <a:pt x="18123" y="532"/>
                  <a:pt x="18185" y="579"/>
                </a:cubicBezTo>
                <a:cubicBezTo>
                  <a:pt x="18248" y="641"/>
                  <a:pt x="18310" y="704"/>
                  <a:pt x="18342" y="798"/>
                </a:cubicBezTo>
                <a:cubicBezTo>
                  <a:pt x="18389" y="876"/>
                  <a:pt x="18405" y="986"/>
                  <a:pt x="18436" y="1111"/>
                </a:cubicBezTo>
                <a:cubicBezTo>
                  <a:pt x="18452" y="1251"/>
                  <a:pt x="18452" y="1392"/>
                  <a:pt x="18452" y="1549"/>
                </a:cubicBezTo>
                <a:cubicBezTo>
                  <a:pt x="18452" y="1721"/>
                  <a:pt x="18452" y="1861"/>
                  <a:pt x="18436" y="1986"/>
                </a:cubicBezTo>
                <a:cubicBezTo>
                  <a:pt x="18405" y="2112"/>
                  <a:pt x="18389" y="2221"/>
                  <a:pt x="18342" y="2315"/>
                </a:cubicBezTo>
                <a:cubicBezTo>
                  <a:pt x="18310" y="2409"/>
                  <a:pt x="18248" y="2471"/>
                  <a:pt x="18185" y="2518"/>
                </a:cubicBezTo>
                <a:cubicBezTo>
                  <a:pt x="18123" y="2565"/>
                  <a:pt x="18045" y="2596"/>
                  <a:pt x="17951" y="2596"/>
                </a:cubicBezTo>
                <a:cubicBezTo>
                  <a:pt x="17857" y="2596"/>
                  <a:pt x="17779" y="2565"/>
                  <a:pt x="17717" y="2518"/>
                </a:cubicBezTo>
                <a:cubicBezTo>
                  <a:pt x="17654" y="2471"/>
                  <a:pt x="17607" y="2409"/>
                  <a:pt x="17560" y="2315"/>
                </a:cubicBezTo>
                <a:cubicBezTo>
                  <a:pt x="17529" y="2221"/>
                  <a:pt x="17497" y="2112"/>
                  <a:pt x="17482" y="1986"/>
                </a:cubicBezTo>
                <a:cubicBezTo>
                  <a:pt x="17466" y="1861"/>
                  <a:pt x="17451" y="1721"/>
                  <a:pt x="17451" y="1549"/>
                </a:cubicBezTo>
                <a:cubicBezTo>
                  <a:pt x="17451" y="1392"/>
                  <a:pt x="17466" y="1251"/>
                  <a:pt x="17482" y="1111"/>
                </a:cubicBezTo>
                <a:close/>
                <a:moveTo>
                  <a:pt x="20578" y="3112"/>
                </a:moveTo>
                <a:cubicBezTo>
                  <a:pt x="20938" y="3112"/>
                  <a:pt x="21219" y="2987"/>
                  <a:pt x="21422" y="2737"/>
                </a:cubicBezTo>
                <a:cubicBezTo>
                  <a:pt x="21610" y="2487"/>
                  <a:pt x="21720" y="2096"/>
                  <a:pt x="21720" y="1549"/>
                </a:cubicBezTo>
                <a:cubicBezTo>
                  <a:pt x="21720" y="1017"/>
                  <a:pt x="21610" y="626"/>
                  <a:pt x="21422" y="376"/>
                </a:cubicBezTo>
                <a:cubicBezTo>
                  <a:pt x="21219" y="126"/>
                  <a:pt x="20954" y="0"/>
                  <a:pt x="20594" y="0"/>
                </a:cubicBezTo>
                <a:cubicBezTo>
                  <a:pt x="20422" y="0"/>
                  <a:pt x="20266" y="16"/>
                  <a:pt x="20124" y="78"/>
                </a:cubicBezTo>
                <a:cubicBezTo>
                  <a:pt x="19984" y="141"/>
                  <a:pt x="19859" y="235"/>
                  <a:pt x="19765" y="376"/>
                </a:cubicBezTo>
                <a:cubicBezTo>
                  <a:pt x="19671" y="501"/>
                  <a:pt x="19593" y="657"/>
                  <a:pt x="19530" y="861"/>
                </a:cubicBezTo>
                <a:cubicBezTo>
                  <a:pt x="19483" y="1048"/>
                  <a:pt x="19452" y="1283"/>
                  <a:pt x="19452" y="1549"/>
                </a:cubicBezTo>
                <a:cubicBezTo>
                  <a:pt x="19452" y="2096"/>
                  <a:pt x="19561" y="2487"/>
                  <a:pt x="19749" y="2737"/>
                </a:cubicBezTo>
                <a:cubicBezTo>
                  <a:pt x="19953" y="2987"/>
                  <a:pt x="20218" y="3112"/>
                  <a:pt x="20578" y="3112"/>
                </a:cubicBezTo>
                <a:close/>
                <a:moveTo>
                  <a:pt x="20109" y="1111"/>
                </a:moveTo>
                <a:cubicBezTo>
                  <a:pt x="20124" y="986"/>
                  <a:pt x="20156" y="876"/>
                  <a:pt x="20187" y="798"/>
                </a:cubicBezTo>
                <a:cubicBezTo>
                  <a:pt x="20234" y="704"/>
                  <a:pt x="20281" y="641"/>
                  <a:pt x="20344" y="579"/>
                </a:cubicBezTo>
                <a:cubicBezTo>
                  <a:pt x="20406" y="532"/>
                  <a:pt x="20484" y="516"/>
                  <a:pt x="20578" y="516"/>
                </a:cubicBezTo>
                <a:cubicBezTo>
                  <a:pt x="20672" y="516"/>
                  <a:pt x="20750" y="532"/>
                  <a:pt x="20812" y="579"/>
                </a:cubicBezTo>
                <a:cubicBezTo>
                  <a:pt x="20891" y="641"/>
                  <a:pt x="20938" y="704"/>
                  <a:pt x="20969" y="798"/>
                </a:cubicBezTo>
                <a:cubicBezTo>
                  <a:pt x="21016" y="876"/>
                  <a:pt x="21047" y="986"/>
                  <a:pt x="21063" y="1111"/>
                </a:cubicBezTo>
                <a:cubicBezTo>
                  <a:pt x="21079" y="1251"/>
                  <a:pt x="21094" y="1392"/>
                  <a:pt x="21094" y="1549"/>
                </a:cubicBezTo>
                <a:cubicBezTo>
                  <a:pt x="21094" y="1721"/>
                  <a:pt x="21079" y="1861"/>
                  <a:pt x="21063" y="1986"/>
                </a:cubicBezTo>
                <a:cubicBezTo>
                  <a:pt x="21047" y="2112"/>
                  <a:pt x="21016" y="2221"/>
                  <a:pt x="20969" y="2315"/>
                </a:cubicBezTo>
                <a:cubicBezTo>
                  <a:pt x="20938" y="2409"/>
                  <a:pt x="20891" y="2471"/>
                  <a:pt x="20812" y="2518"/>
                </a:cubicBezTo>
                <a:cubicBezTo>
                  <a:pt x="20750" y="2565"/>
                  <a:pt x="20672" y="2596"/>
                  <a:pt x="20578" y="2596"/>
                </a:cubicBezTo>
                <a:cubicBezTo>
                  <a:pt x="20484" y="2596"/>
                  <a:pt x="20406" y="2565"/>
                  <a:pt x="20344" y="2518"/>
                </a:cubicBezTo>
                <a:cubicBezTo>
                  <a:pt x="20281" y="2471"/>
                  <a:pt x="20234" y="2409"/>
                  <a:pt x="20187" y="2315"/>
                </a:cubicBezTo>
                <a:cubicBezTo>
                  <a:pt x="20156" y="2221"/>
                  <a:pt x="20124" y="2112"/>
                  <a:pt x="20109" y="1986"/>
                </a:cubicBezTo>
                <a:cubicBezTo>
                  <a:pt x="20093" y="1861"/>
                  <a:pt x="20078" y="1721"/>
                  <a:pt x="20078" y="1549"/>
                </a:cubicBezTo>
                <a:cubicBezTo>
                  <a:pt x="20078" y="1392"/>
                  <a:pt x="20093" y="1251"/>
                  <a:pt x="20109" y="1111"/>
                </a:cubicBezTo>
                <a:close/>
                <a:moveTo>
                  <a:pt x="22955" y="767"/>
                </a:moveTo>
                <a:lnTo>
                  <a:pt x="22955" y="3034"/>
                </a:lnTo>
                <a:lnTo>
                  <a:pt x="23565" y="3034"/>
                </a:lnTo>
                <a:lnTo>
                  <a:pt x="23565" y="78"/>
                </a:lnTo>
                <a:lnTo>
                  <a:pt x="23049" y="78"/>
                </a:lnTo>
                <a:lnTo>
                  <a:pt x="22110" y="673"/>
                </a:lnTo>
                <a:lnTo>
                  <a:pt x="22376" y="1111"/>
                </a:lnTo>
                <a:close/>
                <a:moveTo>
                  <a:pt x="25160" y="767"/>
                </a:moveTo>
                <a:lnTo>
                  <a:pt x="25160" y="3034"/>
                </a:lnTo>
                <a:lnTo>
                  <a:pt x="25770" y="3034"/>
                </a:lnTo>
                <a:lnTo>
                  <a:pt x="25770" y="78"/>
                </a:lnTo>
                <a:lnTo>
                  <a:pt x="25253" y="78"/>
                </a:lnTo>
                <a:lnTo>
                  <a:pt x="24300" y="673"/>
                </a:lnTo>
                <a:lnTo>
                  <a:pt x="24565" y="1111"/>
                </a:lnTo>
                <a:close/>
                <a:moveTo>
                  <a:pt x="27615" y="3112"/>
                </a:moveTo>
                <a:cubicBezTo>
                  <a:pt x="27975" y="3112"/>
                  <a:pt x="28256" y="2987"/>
                  <a:pt x="28459" y="2737"/>
                </a:cubicBezTo>
                <a:cubicBezTo>
                  <a:pt x="28647" y="2487"/>
                  <a:pt x="28756" y="2096"/>
                  <a:pt x="28756" y="1549"/>
                </a:cubicBezTo>
                <a:cubicBezTo>
                  <a:pt x="28756" y="1017"/>
                  <a:pt x="28663" y="626"/>
                  <a:pt x="28459" y="376"/>
                </a:cubicBezTo>
                <a:cubicBezTo>
                  <a:pt x="28271" y="126"/>
                  <a:pt x="27990" y="0"/>
                  <a:pt x="27630" y="0"/>
                </a:cubicBezTo>
                <a:cubicBezTo>
                  <a:pt x="27459" y="0"/>
                  <a:pt x="27302" y="16"/>
                  <a:pt x="27161" y="78"/>
                </a:cubicBezTo>
                <a:cubicBezTo>
                  <a:pt x="27021" y="141"/>
                  <a:pt x="26911" y="235"/>
                  <a:pt x="26802" y="376"/>
                </a:cubicBezTo>
                <a:cubicBezTo>
                  <a:pt x="26708" y="501"/>
                  <a:pt x="26629" y="657"/>
                  <a:pt x="26583" y="861"/>
                </a:cubicBezTo>
                <a:cubicBezTo>
                  <a:pt x="26520" y="1048"/>
                  <a:pt x="26504" y="1283"/>
                  <a:pt x="26504" y="1549"/>
                </a:cubicBezTo>
                <a:cubicBezTo>
                  <a:pt x="26504" y="2096"/>
                  <a:pt x="26598" y="2487"/>
                  <a:pt x="26786" y="2737"/>
                </a:cubicBezTo>
                <a:cubicBezTo>
                  <a:pt x="26989" y="2987"/>
                  <a:pt x="27271" y="3112"/>
                  <a:pt x="27615" y="3112"/>
                </a:cubicBezTo>
                <a:close/>
                <a:moveTo>
                  <a:pt x="27146" y="1111"/>
                </a:moveTo>
                <a:cubicBezTo>
                  <a:pt x="27161" y="986"/>
                  <a:pt x="27192" y="876"/>
                  <a:pt x="27239" y="798"/>
                </a:cubicBezTo>
                <a:cubicBezTo>
                  <a:pt x="27271" y="704"/>
                  <a:pt x="27317" y="641"/>
                  <a:pt x="27380" y="579"/>
                </a:cubicBezTo>
                <a:cubicBezTo>
                  <a:pt x="27443" y="532"/>
                  <a:pt x="27521" y="516"/>
                  <a:pt x="27615" y="516"/>
                </a:cubicBezTo>
                <a:cubicBezTo>
                  <a:pt x="27709" y="516"/>
                  <a:pt x="27802" y="532"/>
                  <a:pt x="27865" y="579"/>
                </a:cubicBezTo>
                <a:cubicBezTo>
                  <a:pt x="27927" y="641"/>
                  <a:pt x="27975" y="704"/>
                  <a:pt x="28022" y="798"/>
                </a:cubicBezTo>
                <a:cubicBezTo>
                  <a:pt x="28053" y="876"/>
                  <a:pt x="28084" y="986"/>
                  <a:pt x="28100" y="1111"/>
                </a:cubicBezTo>
                <a:cubicBezTo>
                  <a:pt x="28115" y="1251"/>
                  <a:pt x="28131" y="1392"/>
                  <a:pt x="28131" y="1549"/>
                </a:cubicBezTo>
                <a:cubicBezTo>
                  <a:pt x="28131" y="1721"/>
                  <a:pt x="28115" y="1861"/>
                  <a:pt x="28100" y="1986"/>
                </a:cubicBezTo>
                <a:cubicBezTo>
                  <a:pt x="28084" y="2112"/>
                  <a:pt x="28053" y="2221"/>
                  <a:pt x="28022" y="2315"/>
                </a:cubicBezTo>
                <a:cubicBezTo>
                  <a:pt x="27975" y="2409"/>
                  <a:pt x="27927" y="2471"/>
                  <a:pt x="27865" y="2518"/>
                </a:cubicBezTo>
                <a:cubicBezTo>
                  <a:pt x="27802" y="2565"/>
                  <a:pt x="27709" y="2596"/>
                  <a:pt x="27615" y="2596"/>
                </a:cubicBezTo>
                <a:cubicBezTo>
                  <a:pt x="27521" y="2596"/>
                  <a:pt x="27443" y="2565"/>
                  <a:pt x="27380" y="2518"/>
                </a:cubicBezTo>
                <a:cubicBezTo>
                  <a:pt x="27317" y="2471"/>
                  <a:pt x="27271" y="2409"/>
                  <a:pt x="27239" y="2315"/>
                </a:cubicBezTo>
                <a:cubicBezTo>
                  <a:pt x="27192" y="2221"/>
                  <a:pt x="27161" y="2112"/>
                  <a:pt x="27146" y="1986"/>
                </a:cubicBezTo>
                <a:cubicBezTo>
                  <a:pt x="27130" y="1861"/>
                  <a:pt x="27130" y="1721"/>
                  <a:pt x="27130" y="1549"/>
                </a:cubicBezTo>
                <a:cubicBezTo>
                  <a:pt x="27130" y="1392"/>
                  <a:pt x="27130" y="1251"/>
                  <a:pt x="27146" y="1111"/>
                </a:cubicBezTo>
                <a:close/>
                <a:moveTo>
                  <a:pt x="29992" y="767"/>
                </a:moveTo>
                <a:lnTo>
                  <a:pt x="29992" y="3034"/>
                </a:lnTo>
                <a:lnTo>
                  <a:pt x="30602" y="3034"/>
                </a:lnTo>
                <a:lnTo>
                  <a:pt x="30602" y="78"/>
                </a:lnTo>
                <a:lnTo>
                  <a:pt x="30101" y="78"/>
                </a:lnTo>
                <a:lnTo>
                  <a:pt x="29147" y="673"/>
                </a:lnTo>
                <a:lnTo>
                  <a:pt x="29413" y="1111"/>
                </a:lnTo>
                <a:close/>
                <a:moveTo>
                  <a:pt x="32462" y="3112"/>
                </a:moveTo>
                <a:cubicBezTo>
                  <a:pt x="32822" y="3112"/>
                  <a:pt x="33103" y="2987"/>
                  <a:pt x="33291" y="2737"/>
                </a:cubicBezTo>
                <a:cubicBezTo>
                  <a:pt x="33494" y="2487"/>
                  <a:pt x="33588" y="2096"/>
                  <a:pt x="33588" y="1549"/>
                </a:cubicBezTo>
                <a:cubicBezTo>
                  <a:pt x="33588" y="1017"/>
                  <a:pt x="33494" y="626"/>
                  <a:pt x="33307" y="376"/>
                </a:cubicBezTo>
                <a:cubicBezTo>
                  <a:pt x="33103" y="126"/>
                  <a:pt x="32822" y="0"/>
                  <a:pt x="32478" y="0"/>
                </a:cubicBezTo>
                <a:cubicBezTo>
                  <a:pt x="32306" y="0"/>
                  <a:pt x="32150" y="16"/>
                  <a:pt x="32009" y="78"/>
                </a:cubicBezTo>
                <a:cubicBezTo>
                  <a:pt x="31868" y="141"/>
                  <a:pt x="31743" y="235"/>
                  <a:pt x="31649" y="376"/>
                </a:cubicBezTo>
                <a:cubicBezTo>
                  <a:pt x="31540" y="501"/>
                  <a:pt x="31477" y="657"/>
                  <a:pt x="31415" y="861"/>
                </a:cubicBezTo>
                <a:cubicBezTo>
                  <a:pt x="31368" y="1048"/>
                  <a:pt x="31337" y="1283"/>
                  <a:pt x="31337" y="1549"/>
                </a:cubicBezTo>
                <a:cubicBezTo>
                  <a:pt x="31337" y="2096"/>
                  <a:pt x="31430" y="2487"/>
                  <a:pt x="31633" y="2737"/>
                </a:cubicBezTo>
                <a:cubicBezTo>
                  <a:pt x="31821" y="2987"/>
                  <a:pt x="32103" y="3112"/>
                  <a:pt x="32462" y="3112"/>
                </a:cubicBezTo>
                <a:close/>
                <a:moveTo>
                  <a:pt x="31993" y="1111"/>
                </a:moveTo>
                <a:cubicBezTo>
                  <a:pt x="32009" y="986"/>
                  <a:pt x="32040" y="876"/>
                  <a:pt x="32071" y="798"/>
                </a:cubicBezTo>
                <a:cubicBezTo>
                  <a:pt x="32118" y="704"/>
                  <a:pt x="32165" y="641"/>
                  <a:pt x="32228" y="579"/>
                </a:cubicBezTo>
                <a:cubicBezTo>
                  <a:pt x="32290" y="532"/>
                  <a:pt x="32368" y="516"/>
                  <a:pt x="32462" y="516"/>
                </a:cubicBezTo>
                <a:cubicBezTo>
                  <a:pt x="32556" y="516"/>
                  <a:pt x="32634" y="532"/>
                  <a:pt x="32697" y="579"/>
                </a:cubicBezTo>
                <a:cubicBezTo>
                  <a:pt x="32759" y="641"/>
                  <a:pt x="32822" y="704"/>
                  <a:pt x="32853" y="798"/>
                </a:cubicBezTo>
                <a:cubicBezTo>
                  <a:pt x="32900" y="876"/>
                  <a:pt x="32931" y="986"/>
                  <a:pt x="32947" y="1111"/>
                </a:cubicBezTo>
                <a:cubicBezTo>
                  <a:pt x="32963" y="1251"/>
                  <a:pt x="32963" y="1392"/>
                  <a:pt x="32963" y="1549"/>
                </a:cubicBezTo>
                <a:cubicBezTo>
                  <a:pt x="32963" y="1721"/>
                  <a:pt x="32963" y="1861"/>
                  <a:pt x="32947" y="1986"/>
                </a:cubicBezTo>
                <a:cubicBezTo>
                  <a:pt x="32931" y="2112"/>
                  <a:pt x="32900" y="2221"/>
                  <a:pt x="32853" y="2315"/>
                </a:cubicBezTo>
                <a:cubicBezTo>
                  <a:pt x="32822" y="2409"/>
                  <a:pt x="32759" y="2471"/>
                  <a:pt x="32697" y="2518"/>
                </a:cubicBezTo>
                <a:cubicBezTo>
                  <a:pt x="32634" y="2565"/>
                  <a:pt x="32556" y="2596"/>
                  <a:pt x="32462" y="2596"/>
                </a:cubicBezTo>
                <a:cubicBezTo>
                  <a:pt x="32368" y="2596"/>
                  <a:pt x="32290" y="2565"/>
                  <a:pt x="32228" y="2518"/>
                </a:cubicBezTo>
                <a:cubicBezTo>
                  <a:pt x="32165" y="2471"/>
                  <a:pt x="32118" y="2409"/>
                  <a:pt x="32071" y="2315"/>
                </a:cubicBezTo>
                <a:cubicBezTo>
                  <a:pt x="32040" y="2221"/>
                  <a:pt x="32009" y="2112"/>
                  <a:pt x="31993" y="1986"/>
                </a:cubicBezTo>
                <a:cubicBezTo>
                  <a:pt x="31978" y="1861"/>
                  <a:pt x="31962" y="1721"/>
                  <a:pt x="31962" y="1549"/>
                </a:cubicBezTo>
                <a:cubicBezTo>
                  <a:pt x="31962" y="1392"/>
                  <a:pt x="31978" y="1251"/>
                  <a:pt x="31993" y="1111"/>
                </a:cubicBezTo>
                <a:close/>
                <a:moveTo>
                  <a:pt x="34823" y="767"/>
                </a:moveTo>
                <a:lnTo>
                  <a:pt x="34823" y="3034"/>
                </a:lnTo>
                <a:lnTo>
                  <a:pt x="35449" y="3034"/>
                </a:lnTo>
                <a:lnTo>
                  <a:pt x="35449" y="78"/>
                </a:lnTo>
                <a:lnTo>
                  <a:pt x="34933" y="78"/>
                </a:lnTo>
                <a:lnTo>
                  <a:pt x="33979" y="673"/>
                </a:lnTo>
                <a:lnTo>
                  <a:pt x="34245" y="1111"/>
                </a:lnTo>
                <a:close/>
                <a:moveTo>
                  <a:pt x="37029" y="767"/>
                </a:moveTo>
                <a:lnTo>
                  <a:pt x="37029" y="3034"/>
                </a:lnTo>
                <a:lnTo>
                  <a:pt x="37638" y="3034"/>
                </a:lnTo>
                <a:lnTo>
                  <a:pt x="37638" y="78"/>
                </a:lnTo>
                <a:lnTo>
                  <a:pt x="37138" y="78"/>
                </a:lnTo>
                <a:lnTo>
                  <a:pt x="36184" y="673"/>
                </a:lnTo>
                <a:lnTo>
                  <a:pt x="36450" y="1111"/>
                </a:lnTo>
                <a:close/>
                <a:moveTo>
                  <a:pt x="39233" y="767"/>
                </a:moveTo>
                <a:lnTo>
                  <a:pt x="39233" y="3034"/>
                </a:lnTo>
                <a:lnTo>
                  <a:pt x="39843" y="3034"/>
                </a:lnTo>
                <a:lnTo>
                  <a:pt x="39843" y="78"/>
                </a:lnTo>
                <a:lnTo>
                  <a:pt x="39327" y="78"/>
                </a:lnTo>
                <a:lnTo>
                  <a:pt x="38389" y="673"/>
                </a:lnTo>
                <a:lnTo>
                  <a:pt x="38655" y="1111"/>
                </a:lnTo>
                <a:close/>
                <a:moveTo>
                  <a:pt x="15433" y="8257"/>
                </a:moveTo>
                <a:cubicBezTo>
                  <a:pt x="15793" y="8257"/>
                  <a:pt x="16075" y="8132"/>
                  <a:pt x="16262" y="7882"/>
                </a:cubicBezTo>
                <a:cubicBezTo>
                  <a:pt x="16466" y="7631"/>
                  <a:pt x="16559" y="7241"/>
                  <a:pt x="16559" y="6693"/>
                </a:cubicBezTo>
                <a:cubicBezTo>
                  <a:pt x="16559" y="6162"/>
                  <a:pt x="16466" y="5770"/>
                  <a:pt x="16278" y="5520"/>
                </a:cubicBezTo>
                <a:cubicBezTo>
                  <a:pt x="16075" y="5270"/>
                  <a:pt x="15809" y="5145"/>
                  <a:pt x="15449" y="5145"/>
                </a:cubicBezTo>
                <a:cubicBezTo>
                  <a:pt x="15277" y="5145"/>
                  <a:pt x="15121" y="5176"/>
                  <a:pt x="14980" y="5223"/>
                </a:cubicBezTo>
                <a:cubicBezTo>
                  <a:pt x="14839" y="5286"/>
                  <a:pt x="14714" y="5380"/>
                  <a:pt x="14620" y="5520"/>
                </a:cubicBezTo>
                <a:cubicBezTo>
                  <a:pt x="14511" y="5645"/>
                  <a:pt x="14448" y="5802"/>
                  <a:pt x="14386" y="6005"/>
                </a:cubicBezTo>
                <a:cubicBezTo>
                  <a:pt x="14339" y="6193"/>
                  <a:pt x="14307" y="6427"/>
                  <a:pt x="14307" y="6693"/>
                </a:cubicBezTo>
                <a:cubicBezTo>
                  <a:pt x="14307" y="7241"/>
                  <a:pt x="14401" y="7631"/>
                  <a:pt x="14605" y="7882"/>
                </a:cubicBezTo>
                <a:cubicBezTo>
                  <a:pt x="14792" y="8132"/>
                  <a:pt x="15074" y="8257"/>
                  <a:pt x="15433" y="8257"/>
                </a:cubicBezTo>
                <a:close/>
                <a:moveTo>
                  <a:pt x="14964" y="6271"/>
                </a:moveTo>
                <a:cubicBezTo>
                  <a:pt x="14980" y="6130"/>
                  <a:pt x="15011" y="6021"/>
                  <a:pt x="15042" y="5943"/>
                </a:cubicBezTo>
                <a:cubicBezTo>
                  <a:pt x="15089" y="5849"/>
                  <a:pt x="15137" y="5786"/>
                  <a:pt x="15199" y="5739"/>
                </a:cubicBezTo>
                <a:cubicBezTo>
                  <a:pt x="15262" y="5692"/>
                  <a:pt x="15340" y="5661"/>
                  <a:pt x="15433" y="5661"/>
                </a:cubicBezTo>
                <a:cubicBezTo>
                  <a:pt x="15527" y="5661"/>
                  <a:pt x="15605" y="5692"/>
                  <a:pt x="15668" y="5739"/>
                </a:cubicBezTo>
                <a:cubicBezTo>
                  <a:pt x="15730" y="5786"/>
                  <a:pt x="15793" y="5849"/>
                  <a:pt x="15825" y="5943"/>
                </a:cubicBezTo>
                <a:cubicBezTo>
                  <a:pt x="15871" y="6021"/>
                  <a:pt x="15903" y="6130"/>
                  <a:pt x="15918" y="6271"/>
                </a:cubicBezTo>
                <a:cubicBezTo>
                  <a:pt x="15934" y="6396"/>
                  <a:pt x="15934" y="6537"/>
                  <a:pt x="15934" y="6693"/>
                </a:cubicBezTo>
                <a:cubicBezTo>
                  <a:pt x="15934" y="6865"/>
                  <a:pt x="15934" y="7006"/>
                  <a:pt x="15918" y="7131"/>
                </a:cubicBezTo>
                <a:cubicBezTo>
                  <a:pt x="15903" y="7256"/>
                  <a:pt x="15871" y="7366"/>
                  <a:pt x="15825" y="7459"/>
                </a:cubicBezTo>
                <a:cubicBezTo>
                  <a:pt x="15793" y="7553"/>
                  <a:pt x="15730" y="7616"/>
                  <a:pt x="15668" y="7663"/>
                </a:cubicBezTo>
                <a:cubicBezTo>
                  <a:pt x="15605" y="7709"/>
                  <a:pt x="15527" y="7741"/>
                  <a:pt x="15433" y="7741"/>
                </a:cubicBezTo>
                <a:cubicBezTo>
                  <a:pt x="15340" y="7741"/>
                  <a:pt x="15262" y="7709"/>
                  <a:pt x="15199" y="7663"/>
                </a:cubicBezTo>
                <a:cubicBezTo>
                  <a:pt x="15137" y="7616"/>
                  <a:pt x="15089" y="7553"/>
                  <a:pt x="15042" y="7459"/>
                </a:cubicBezTo>
                <a:cubicBezTo>
                  <a:pt x="15011" y="7366"/>
                  <a:pt x="14980" y="7256"/>
                  <a:pt x="14964" y="7131"/>
                </a:cubicBezTo>
                <a:cubicBezTo>
                  <a:pt x="14949" y="7006"/>
                  <a:pt x="14933" y="6865"/>
                  <a:pt x="14933" y="6693"/>
                </a:cubicBezTo>
                <a:cubicBezTo>
                  <a:pt x="14933" y="6537"/>
                  <a:pt x="14949" y="6396"/>
                  <a:pt x="14964" y="6271"/>
                </a:cubicBezTo>
                <a:close/>
                <a:moveTo>
                  <a:pt x="18420" y="5223"/>
                </a:moveTo>
                <a:lnTo>
                  <a:pt x="17904" y="5223"/>
                </a:lnTo>
                <a:lnTo>
                  <a:pt x="16966" y="5817"/>
                </a:lnTo>
                <a:lnTo>
                  <a:pt x="17232" y="6255"/>
                </a:lnTo>
                <a:lnTo>
                  <a:pt x="17810" y="5912"/>
                </a:lnTo>
                <a:lnTo>
                  <a:pt x="17810" y="8179"/>
                </a:lnTo>
                <a:lnTo>
                  <a:pt x="18420" y="8179"/>
                </a:lnTo>
                <a:close/>
                <a:moveTo>
                  <a:pt x="19999" y="5912"/>
                </a:moveTo>
                <a:lnTo>
                  <a:pt x="19999" y="8179"/>
                </a:lnTo>
                <a:lnTo>
                  <a:pt x="20609" y="8179"/>
                </a:lnTo>
                <a:lnTo>
                  <a:pt x="20609" y="5223"/>
                </a:lnTo>
                <a:lnTo>
                  <a:pt x="20109" y="5223"/>
                </a:lnTo>
                <a:lnTo>
                  <a:pt x="19155" y="5817"/>
                </a:lnTo>
                <a:lnTo>
                  <a:pt x="19421" y="6255"/>
                </a:lnTo>
                <a:close/>
                <a:moveTo>
                  <a:pt x="21422" y="6005"/>
                </a:moveTo>
                <a:cubicBezTo>
                  <a:pt x="21375" y="6193"/>
                  <a:pt x="21344" y="6427"/>
                  <a:pt x="21344" y="6693"/>
                </a:cubicBezTo>
                <a:cubicBezTo>
                  <a:pt x="21344" y="7241"/>
                  <a:pt x="21454" y="7631"/>
                  <a:pt x="21642" y="7882"/>
                </a:cubicBezTo>
                <a:cubicBezTo>
                  <a:pt x="21845" y="8132"/>
                  <a:pt x="22110" y="8257"/>
                  <a:pt x="22470" y="8257"/>
                </a:cubicBezTo>
                <a:cubicBezTo>
                  <a:pt x="22830" y="8257"/>
                  <a:pt x="23111" y="8132"/>
                  <a:pt x="23314" y="7882"/>
                </a:cubicBezTo>
                <a:cubicBezTo>
                  <a:pt x="23502" y="7631"/>
                  <a:pt x="23612" y="7241"/>
                  <a:pt x="23612" y="6693"/>
                </a:cubicBezTo>
                <a:cubicBezTo>
                  <a:pt x="23612" y="6162"/>
                  <a:pt x="23502" y="5770"/>
                  <a:pt x="23314" y="5520"/>
                </a:cubicBezTo>
                <a:cubicBezTo>
                  <a:pt x="23111" y="5270"/>
                  <a:pt x="22846" y="5145"/>
                  <a:pt x="22486" y="5145"/>
                </a:cubicBezTo>
                <a:cubicBezTo>
                  <a:pt x="22314" y="5145"/>
                  <a:pt x="22157" y="5176"/>
                  <a:pt x="22016" y="5223"/>
                </a:cubicBezTo>
                <a:cubicBezTo>
                  <a:pt x="21876" y="5286"/>
                  <a:pt x="21751" y="5380"/>
                  <a:pt x="21657" y="5520"/>
                </a:cubicBezTo>
                <a:cubicBezTo>
                  <a:pt x="21563" y="5645"/>
                  <a:pt x="21485" y="5802"/>
                  <a:pt x="21422" y="6005"/>
                </a:cubicBezTo>
                <a:close/>
                <a:moveTo>
                  <a:pt x="22001" y="6271"/>
                </a:moveTo>
                <a:cubicBezTo>
                  <a:pt x="22016" y="6130"/>
                  <a:pt x="22048" y="6021"/>
                  <a:pt x="22079" y="5943"/>
                </a:cubicBezTo>
                <a:cubicBezTo>
                  <a:pt x="22126" y="5849"/>
                  <a:pt x="22173" y="5786"/>
                  <a:pt x="22236" y="5739"/>
                </a:cubicBezTo>
                <a:cubicBezTo>
                  <a:pt x="22298" y="5692"/>
                  <a:pt x="22376" y="5661"/>
                  <a:pt x="22470" y="5661"/>
                </a:cubicBezTo>
                <a:cubicBezTo>
                  <a:pt x="22564" y="5661"/>
                  <a:pt x="22642" y="5692"/>
                  <a:pt x="22704" y="5739"/>
                </a:cubicBezTo>
                <a:cubicBezTo>
                  <a:pt x="22783" y="5786"/>
                  <a:pt x="22830" y="5849"/>
                  <a:pt x="22861" y="5943"/>
                </a:cubicBezTo>
                <a:cubicBezTo>
                  <a:pt x="22908" y="6021"/>
                  <a:pt x="22939" y="6130"/>
                  <a:pt x="22955" y="6271"/>
                </a:cubicBezTo>
                <a:cubicBezTo>
                  <a:pt x="22971" y="6396"/>
                  <a:pt x="22986" y="6537"/>
                  <a:pt x="22986" y="6693"/>
                </a:cubicBezTo>
                <a:cubicBezTo>
                  <a:pt x="22986" y="6865"/>
                  <a:pt x="22971" y="7006"/>
                  <a:pt x="22955" y="7131"/>
                </a:cubicBezTo>
                <a:cubicBezTo>
                  <a:pt x="22939" y="7256"/>
                  <a:pt x="22908" y="7366"/>
                  <a:pt x="22861" y="7459"/>
                </a:cubicBezTo>
                <a:cubicBezTo>
                  <a:pt x="22830" y="7553"/>
                  <a:pt x="22783" y="7616"/>
                  <a:pt x="22704" y="7663"/>
                </a:cubicBezTo>
                <a:cubicBezTo>
                  <a:pt x="22642" y="7709"/>
                  <a:pt x="22564" y="7741"/>
                  <a:pt x="22470" y="7741"/>
                </a:cubicBezTo>
                <a:cubicBezTo>
                  <a:pt x="22376" y="7741"/>
                  <a:pt x="22298" y="7709"/>
                  <a:pt x="22236" y="7663"/>
                </a:cubicBezTo>
                <a:cubicBezTo>
                  <a:pt x="22173" y="7616"/>
                  <a:pt x="22126" y="7553"/>
                  <a:pt x="22079" y="7459"/>
                </a:cubicBezTo>
                <a:cubicBezTo>
                  <a:pt x="22048" y="7366"/>
                  <a:pt x="22016" y="7256"/>
                  <a:pt x="22001" y="7131"/>
                </a:cubicBezTo>
                <a:cubicBezTo>
                  <a:pt x="21985" y="7006"/>
                  <a:pt x="21970" y="6865"/>
                  <a:pt x="21970" y="6693"/>
                </a:cubicBezTo>
                <a:cubicBezTo>
                  <a:pt x="21970" y="6537"/>
                  <a:pt x="21985" y="6396"/>
                  <a:pt x="22001" y="6271"/>
                </a:cubicBezTo>
                <a:close/>
                <a:moveTo>
                  <a:pt x="24847" y="5912"/>
                </a:moveTo>
                <a:lnTo>
                  <a:pt x="24847" y="8179"/>
                </a:lnTo>
                <a:lnTo>
                  <a:pt x="25457" y="8179"/>
                </a:lnTo>
                <a:lnTo>
                  <a:pt x="25457" y="5223"/>
                </a:lnTo>
                <a:lnTo>
                  <a:pt x="24941" y="5223"/>
                </a:lnTo>
                <a:lnTo>
                  <a:pt x="24002" y="5817"/>
                </a:lnTo>
                <a:lnTo>
                  <a:pt x="24269" y="6255"/>
                </a:lnTo>
                <a:close/>
                <a:moveTo>
                  <a:pt x="27302" y="8257"/>
                </a:moveTo>
                <a:cubicBezTo>
                  <a:pt x="27662" y="8257"/>
                  <a:pt x="27943" y="8132"/>
                  <a:pt x="28147" y="7882"/>
                </a:cubicBezTo>
                <a:cubicBezTo>
                  <a:pt x="28350" y="7631"/>
                  <a:pt x="28443" y="7241"/>
                  <a:pt x="28443" y="6693"/>
                </a:cubicBezTo>
                <a:cubicBezTo>
                  <a:pt x="28443" y="6162"/>
                  <a:pt x="28350" y="5770"/>
                  <a:pt x="28147" y="5520"/>
                </a:cubicBezTo>
                <a:cubicBezTo>
                  <a:pt x="27959" y="5270"/>
                  <a:pt x="27677" y="5145"/>
                  <a:pt x="27334" y="5145"/>
                </a:cubicBezTo>
                <a:cubicBezTo>
                  <a:pt x="27146" y="5145"/>
                  <a:pt x="26989" y="5176"/>
                  <a:pt x="26849" y="5223"/>
                </a:cubicBezTo>
                <a:cubicBezTo>
                  <a:pt x="26708" y="5286"/>
                  <a:pt x="26598" y="5380"/>
                  <a:pt x="26489" y="5520"/>
                </a:cubicBezTo>
                <a:cubicBezTo>
                  <a:pt x="26395" y="5645"/>
                  <a:pt x="26317" y="5802"/>
                  <a:pt x="26270" y="6005"/>
                </a:cubicBezTo>
                <a:cubicBezTo>
                  <a:pt x="26223" y="6193"/>
                  <a:pt x="26192" y="6427"/>
                  <a:pt x="26192" y="6693"/>
                </a:cubicBezTo>
                <a:cubicBezTo>
                  <a:pt x="26192" y="7241"/>
                  <a:pt x="26286" y="7631"/>
                  <a:pt x="26489" y="7882"/>
                </a:cubicBezTo>
                <a:cubicBezTo>
                  <a:pt x="26676" y="8132"/>
                  <a:pt x="26958" y="8257"/>
                  <a:pt x="27302" y="8257"/>
                </a:cubicBezTo>
                <a:close/>
                <a:moveTo>
                  <a:pt x="26849" y="6271"/>
                </a:moveTo>
                <a:cubicBezTo>
                  <a:pt x="26864" y="6130"/>
                  <a:pt x="26880" y="6021"/>
                  <a:pt x="26927" y="5943"/>
                </a:cubicBezTo>
                <a:cubicBezTo>
                  <a:pt x="26958" y="5849"/>
                  <a:pt x="27021" y="5786"/>
                  <a:pt x="27083" y="5739"/>
                </a:cubicBezTo>
                <a:cubicBezTo>
                  <a:pt x="27146" y="5692"/>
                  <a:pt x="27224" y="5661"/>
                  <a:pt x="27317" y="5661"/>
                </a:cubicBezTo>
                <a:cubicBezTo>
                  <a:pt x="27412" y="5661"/>
                  <a:pt x="27490" y="5692"/>
                  <a:pt x="27552" y="5739"/>
                </a:cubicBezTo>
                <a:cubicBezTo>
                  <a:pt x="27615" y="5786"/>
                  <a:pt x="27662" y="5849"/>
                  <a:pt x="27709" y="5943"/>
                </a:cubicBezTo>
                <a:cubicBezTo>
                  <a:pt x="27740" y="6021"/>
                  <a:pt x="27771" y="6130"/>
                  <a:pt x="27787" y="6271"/>
                </a:cubicBezTo>
                <a:cubicBezTo>
                  <a:pt x="27818" y="6396"/>
                  <a:pt x="27818" y="6537"/>
                  <a:pt x="27818" y="6693"/>
                </a:cubicBezTo>
                <a:cubicBezTo>
                  <a:pt x="27818" y="6865"/>
                  <a:pt x="27818" y="7006"/>
                  <a:pt x="27787" y="7131"/>
                </a:cubicBezTo>
                <a:cubicBezTo>
                  <a:pt x="27771" y="7256"/>
                  <a:pt x="27740" y="7366"/>
                  <a:pt x="27709" y="7459"/>
                </a:cubicBezTo>
                <a:cubicBezTo>
                  <a:pt x="27662" y="7553"/>
                  <a:pt x="27615" y="7616"/>
                  <a:pt x="27552" y="7663"/>
                </a:cubicBezTo>
                <a:cubicBezTo>
                  <a:pt x="27490" y="7709"/>
                  <a:pt x="27412" y="7741"/>
                  <a:pt x="27317" y="7741"/>
                </a:cubicBezTo>
                <a:cubicBezTo>
                  <a:pt x="27224" y="7741"/>
                  <a:pt x="27146" y="7709"/>
                  <a:pt x="27083" y="7663"/>
                </a:cubicBezTo>
                <a:cubicBezTo>
                  <a:pt x="27021" y="7616"/>
                  <a:pt x="26958" y="7553"/>
                  <a:pt x="26927" y="7459"/>
                </a:cubicBezTo>
                <a:cubicBezTo>
                  <a:pt x="26880" y="7366"/>
                  <a:pt x="26864" y="7256"/>
                  <a:pt x="26849" y="7131"/>
                </a:cubicBezTo>
                <a:cubicBezTo>
                  <a:pt x="26817" y="7006"/>
                  <a:pt x="26817" y="6865"/>
                  <a:pt x="26817" y="6693"/>
                </a:cubicBezTo>
                <a:cubicBezTo>
                  <a:pt x="26817" y="6537"/>
                  <a:pt x="26817" y="6396"/>
                  <a:pt x="26849" y="6271"/>
                </a:cubicBezTo>
                <a:close/>
                <a:moveTo>
                  <a:pt x="29679" y="5912"/>
                </a:moveTo>
                <a:lnTo>
                  <a:pt x="29679" y="8179"/>
                </a:lnTo>
                <a:lnTo>
                  <a:pt x="30289" y="8179"/>
                </a:lnTo>
                <a:lnTo>
                  <a:pt x="30289" y="5223"/>
                </a:lnTo>
                <a:lnTo>
                  <a:pt x="29788" y="5223"/>
                </a:lnTo>
                <a:lnTo>
                  <a:pt x="28835" y="5817"/>
                </a:lnTo>
                <a:lnTo>
                  <a:pt x="29100" y="6255"/>
                </a:lnTo>
                <a:close/>
                <a:moveTo>
                  <a:pt x="32150" y="8257"/>
                </a:moveTo>
                <a:cubicBezTo>
                  <a:pt x="32509" y="8257"/>
                  <a:pt x="32791" y="8132"/>
                  <a:pt x="32994" y="7882"/>
                </a:cubicBezTo>
                <a:cubicBezTo>
                  <a:pt x="33182" y="7631"/>
                  <a:pt x="33291" y="7241"/>
                  <a:pt x="33291" y="6693"/>
                </a:cubicBezTo>
                <a:cubicBezTo>
                  <a:pt x="33291" y="6162"/>
                  <a:pt x="33182" y="5770"/>
                  <a:pt x="32994" y="5520"/>
                </a:cubicBezTo>
                <a:cubicBezTo>
                  <a:pt x="32791" y="5270"/>
                  <a:pt x="32525" y="5145"/>
                  <a:pt x="32165" y="5145"/>
                </a:cubicBezTo>
                <a:cubicBezTo>
                  <a:pt x="31993" y="5145"/>
                  <a:pt x="31837" y="5176"/>
                  <a:pt x="31696" y="5223"/>
                </a:cubicBezTo>
                <a:cubicBezTo>
                  <a:pt x="31555" y="5286"/>
                  <a:pt x="31430" y="5380"/>
                  <a:pt x="31337" y="5520"/>
                </a:cubicBezTo>
                <a:cubicBezTo>
                  <a:pt x="31243" y="5645"/>
                  <a:pt x="31164" y="5802"/>
                  <a:pt x="31102" y="6005"/>
                </a:cubicBezTo>
                <a:cubicBezTo>
                  <a:pt x="31055" y="6193"/>
                  <a:pt x="31024" y="6427"/>
                  <a:pt x="31024" y="6693"/>
                </a:cubicBezTo>
                <a:cubicBezTo>
                  <a:pt x="31024" y="7241"/>
                  <a:pt x="31133" y="7631"/>
                  <a:pt x="31321" y="7882"/>
                </a:cubicBezTo>
                <a:cubicBezTo>
                  <a:pt x="31524" y="8132"/>
                  <a:pt x="31790" y="8257"/>
                  <a:pt x="32150" y="8257"/>
                </a:cubicBezTo>
                <a:close/>
                <a:moveTo>
                  <a:pt x="31680" y="6271"/>
                </a:moveTo>
                <a:cubicBezTo>
                  <a:pt x="31696" y="6130"/>
                  <a:pt x="31727" y="6021"/>
                  <a:pt x="31758" y="5943"/>
                </a:cubicBezTo>
                <a:cubicBezTo>
                  <a:pt x="31805" y="5849"/>
                  <a:pt x="31853" y="5786"/>
                  <a:pt x="31915" y="5739"/>
                </a:cubicBezTo>
                <a:cubicBezTo>
                  <a:pt x="31978" y="5692"/>
                  <a:pt x="32056" y="5661"/>
                  <a:pt x="32150" y="5661"/>
                </a:cubicBezTo>
                <a:cubicBezTo>
                  <a:pt x="32243" y="5661"/>
                  <a:pt x="32321" y="5692"/>
                  <a:pt x="32384" y="5739"/>
                </a:cubicBezTo>
                <a:cubicBezTo>
                  <a:pt x="32462" y="5786"/>
                  <a:pt x="32509" y="5849"/>
                  <a:pt x="32541" y="5943"/>
                </a:cubicBezTo>
                <a:cubicBezTo>
                  <a:pt x="32588" y="6021"/>
                  <a:pt x="32619" y="6130"/>
                  <a:pt x="32634" y="6271"/>
                </a:cubicBezTo>
                <a:cubicBezTo>
                  <a:pt x="32650" y="6396"/>
                  <a:pt x="32666" y="6537"/>
                  <a:pt x="32666" y="6693"/>
                </a:cubicBezTo>
                <a:cubicBezTo>
                  <a:pt x="32666" y="6865"/>
                  <a:pt x="32650" y="7006"/>
                  <a:pt x="32634" y="7131"/>
                </a:cubicBezTo>
                <a:cubicBezTo>
                  <a:pt x="32619" y="7256"/>
                  <a:pt x="32588" y="7366"/>
                  <a:pt x="32541" y="7459"/>
                </a:cubicBezTo>
                <a:cubicBezTo>
                  <a:pt x="32509" y="7553"/>
                  <a:pt x="32462" y="7616"/>
                  <a:pt x="32384" y="7663"/>
                </a:cubicBezTo>
                <a:cubicBezTo>
                  <a:pt x="32321" y="7709"/>
                  <a:pt x="32243" y="7741"/>
                  <a:pt x="32150" y="7741"/>
                </a:cubicBezTo>
                <a:cubicBezTo>
                  <a:pt x="32056" y="7741"/>
                  <a:pt x="31978" y="7709"/>
                  <a:pt x="31915" y="7663"/>
                </a:cubicBezTo>
                <a:cubicBezTo>
                  <a:pt x="31853" y="7616"/>
                  <a:pt x="31805" y="7553"/>
                  <a:pt x="31758" y="7459"/>
                </a:cubicBezTo>
                <a:cubicBezTo>
                  <a:pt x="31727" y="7366"/>
                  <a:pt x="31696" y="7256"/>
                  <a:pt x="31680" y="7131"/>
                </a:cubicBezTo>
                <a:cubicBezTo>
                  <a:pt x="31665" y="7006"/>
                  <a:pt x="31649" y="6865"/>
                  <a:pt x="31649" y="6693"/>
                </a:cubicBezTo>
                <a:cubicBezTo>
                  <a:pt x="31649" y="6537"/>
                  <a:pt x="31665" y="6396"/>
                  <a:pt x="31680" y="6271"/>
                </a:cubicBezTo>
                <a:close/>
                <a:moveTo>
                  <a:pt x="34527" y="5912"/>
                </a:moveTo>
                <a:lnTo>
                  <a:pt x="34527" y="8179"/>
                </a:lnTo>
                <a:lnTo>
                  <a:pt x="35136" y="8179"/>
                </a:lnTo>
                <a:lnTo>
                  <a:pt x="35136" y="5223"/>
                </a:lnTo>
                <a:lnTo>
                  <a:pt x="34620" y="5223"/>
                </a:lnTo>
                <a:lnTo>
                  <a:pt x="33682" y="5817"/>
                </a:lnTo>
                <a:lnTo>
                  <a:pt x="33948" y="6255"/>
                </a:lnTo>
                <a:close/>
                <a:moveTo>
                  <a:pt x="36982" y="8257"/>
                </a:moveTo>
                <a:cubicBezTo>
                  <a:pt x="37341" y="8257"/>
                  <a:pt x="37623" y="8132"/>
                  <a:pt x="37826" y="7882"/>
                </a:cubicBezTo>
                <a:cubicBezTo>
                  <a:pt x="38029" y="7631"/>
                  <a:pt x="38123" y="7241"/>
                  <a:pt x="38123" y="6693"/>
                </a:cubicBezTo>
                <a:cubicBezTo>
                  <a:pt x="38123" y="6162"/>
                  <a:pt x="38029" y="5770"/>
                  <a:pt x="37826" y="5520"/>
                </a:cubicBezTo>
                <a:cubicBezTo>
                  <a:pt x="37638" y="5270"/>
                  <a:pt x="37357" y="5145"/>
                  <a:pt x="37013" y="5145"/>
                </a:cubicBezTo>
                <a:cubicBezTo>
                  <a:pt x="36825" y="5145"/>
                  <a:pt x="36669" y="5176"/>
                  <a:pt x="36528" y="5223"/>
                </a:cubicBezTo>
                <a:cubicBezTo>
                  <a:pt x="36387" y="5286"/>
                  <a:pt x="36278" y="5380"/>
                  <a:pt x="36168" y="5520"/>
                </a:cubicBezTo>
                <a:cubicBezTo>
                  <a:pt x="36074" y="5645"/>
                  <a:pt x="35996" y="5802"/>
                  <a:pt x="35949" y="6005"/>
                </a:cubicBezTo>
                <a:cubicBezTo>
                  <a:pt x="35903" y="6193"/>
                  <a:pt x="35871" y="6427"/>
                  <a:pt x="35871" y="6693"/>
                </a:cubicBezTo>
                <a:cubicBezTo>
                  <a:pt x="35871" y="7241"/>
                  <a:pt x="35965" y="7631"/>
                  <a:pt x="36168" y="7882"/>
                </a:cubicBezTo>
                <a:cubicBezTo>
                  <a:pt x="36356" y="8132"/>
                  <a:pt x="36637" y="8257"/>
                  <a:pt x="36982" y="8257"/>
                </a:cubicBezTo>
                <a:close/>
                <a:moveTo>
                  <a:pt x="36528" y="6271"/>
                </a:moveTo>
                <a:cubicBezTo>
                  <a:pt x="36544" y="6130"/>
                  <a:pt x="36559" y="6021"/>
                  <a:pt x="36606" y="5943"/>
                </a:cubicBezTo>
                <a:cubicBezTo>
                  <a:pt x="36637" y="5849"/>
                  <a:pt x="36700" y="5786"/>
                  <a:pt x="36762" y="5739"/>
                </a:cubicBezTo>
                <a:cubicBezTo>
                  <a:pt x="36825" y="5692"/>
                  <a:pt x="36903" y="5661"/>
                  <a:pt x="36997" y="5661"/>
                </a:cubicBezTo>
                <a:cubicBezTo>
                  <a:pt x="37091" y="5661"/>
                  <a:pt x="37169" y="5692"/>
                  <a:pt x="37232" y="5739"/>
                </a:cubicBezTo>
                <a:cubicBezTo>
                  <a:pt x="37294" y="5786"/>
                  <a:pt x="37341" y="5849"/>
                  <a:pt x="37388" y="5943"/>
                </a:cubicBezTo>
                <a:cubicBezTo>
                  <a:pt x="37419" y="6021"/>
                  <a:pt x="37450" y="6130"/>
                  <a:pt x="37466" y="6271"/>
                </a:cubicBezTo>
                <a:cubicBezTo>
                  <a:pt x="37497" y="6396"/>
                  <a:pt x="37497" y="6537"/>
                  <a:pt x="37497" y="6693"/>
                </a:cubicBezTo>
                <a:cubicBezTo>
                  <a:pt x="37497" y="6865"/>
                  <a:pt x="37497" y="7006"/>
                  <a:pt x="37466" y="7131"/>
                </a:cubicBezTo>
                <a:cubicBezTo>
                  <a:pt x="37450" y="7256"/>
                  <a:pt x="37419" y="7366"/>
                  <a:pt x="37388" y="7459"/>
                </a:cubicBezTo>
                <a:cubicBezTo>
                  <a:pt x="37341" y="7553"/>
                  <a:pt x="37294" y="7616"/>
                  <a:pt x="37232" y="7663"/>
                </a:cubicBezTo>
                <a:cubicBezTo>
                  <a:pt x="37169" y="7709"/>
                  <a:pt x="37091" y="7741"/>
                  <a:pt x="36997" y="7741"/>
                </a:cubicBezTo>
                <a:cubicBezTo>
                  <a:pt x="36903" y="7741"/>
                  <a:pt x="36825" y="7709"/>
                  <a:pt x="36762" y="7663"/>
                </a:cubicBezTo>
                <a:cubicBezTo>
                  <a:pt x="36700" y="7616"/>
                  <a:pt x="36637" y="7553"/>
                  <a:pt x="36606" y="7459"/>
                </a:cubicBezTo>
                <a:cubicBezTo>
                  <a:pt x="36559" y="7366"/>
                  <a:pt x="36544" y="7256"/>
                  <a:pt x="36528" y="7131"/>
                </a:cubicBezTo>
                <a:cubicBezTo>
                  <a:pt x="36497" y="7006"/>
                  <a:pt x="36497" y="6865"/>
                  <a:pt x="36497" y="6693"/>
                </a:cubicBezTo>
                <a:cubicBezTo>
                  <a:pt x="36497" y="6537"/>
                  <a:pt x="36497" y="6396"/>
                  <a:pt x="36528" y="6271"/>
                </a:cubicBezTo>
                <a:close/>
                <a:moveTo>
                  <a:pt x="38514" y="5817"/>
                </a:moveTo>
                <a:lnTo>
                  <a:pt x="38780" y="6255"/>
                </a:lnTo>
                <a:lnTo>
                  <a:pt x="39358" y="5912"/>
                </a:lnTo>
                <a:lnTo>
                  <a:pt x="39358" y="8179"/>
                </a:lnTo>
                <a:lnTo>
                  <a:pt x="39968" y="8179"/>
                </a:lnTo>
                <a:lnTo>
                  <a:pt x="39968" y="5223"/>
                </a:lnTo>
                <a:lnTo>
                  <a:pt x="39468" y="5223"/>
                </a:lnTo>
                <a:close/>
                <a:moveTo>
                  <a:pt x="15778" y="13323"/>
                </a:moveTo>
                <a:lnTo>
                  <a:pt x="15778" y="10368"/>
                </a:lnTo>
                <a:lnTo>
                  <a:pt x="15277" y="10368"/>
                </a:lnTo>
                <a:lnTo>
                  <a:pt x="14323" y="10962"/>
                </a:lnTo>
                <a:lnTo>
                  <a:pt x="14589" y="11400"/>
                </a:lnTo>
                <a:lnTo>
                  <a:pt x="15168" y="11056"/>
                </a:lnTo>
                <a:lnTo>
                  <a:pt x="15168" y="13323"/>
                </a:lnTo>
                <a:close/>
                <a:moveTo>
                  <a:pt x="17982" y="13323"/>
                </a:moveTo>
                <a:lnTo>
                  <a:pt x="17982" y="10368"/>
                </a:lnTo>
                <a:lnTo>
                  <a:pt x="17466" y="10368"/>
                </a:lnTo>
                <a:lnTo>
                  <a:pt x="16528" y="10962"/>
                </a:lnTo>
                <a:lnTo>
                  <a:pt x="16794" y="11400"/>
                </a:lnTo>
                <a:lnTo>
                  <a:pt x="17372" y="11056"/>
                </a:lnTo>
                <a:lnTo>
                  <a:pt x="17372" y="13323"/>
                </a:lnTo>
                <a:close/>
                <a:moveTo>
                  <a:pt x="18795" y="11150"/>
                </a:moveTo>
                <a:cubicBezTo>
                  <a:pt x="18748" y="11337"/>
                  <a:pt x="18717" y="11572"/>
                  <a:pt x="18717" y="11838"/>
                </a:cubicBezTo>
                <a:cubicBezTo>
                  <a:pt x="18717" y="12385"/>
                  <a:pt x="18811" y="12776"/>
                  <a:pt x="19015" y="13026"/>
                </a:cubicBezTo>
                <a:cubicBezTo>
                  <a:pt x="19202" y="13276"/>
                  <a:pt x="19483" y="13401"/>
                  <a:pt x="19843" y="13401"/>
                </a:cubicBezTo>
                <a:cubicBezTo>
                  <a:pt x="20203" y="13401"/>
                  <a:pt x="20469" y="13276"/>
                  <a:pt x="20672" y="13026"/>
                </a:cubicBezTo>
                <a:cubicBezTo>
                  <a:pt x="20875" y="12776"/>
                  <a:pt x="20969" y="12385"/>
                  <a:pt x="20969" y="11838"/>
                </a:cubicBezTo>
                <a:cubicBezTo>
                  <a:pt x="20969" y="11306"/>
                  <a:pt x="20875" y="10915"/>
                  <a:pt x="20672" y="10665"/>
                </a:cubicBezTo>
                <a:cubicBezTo>
                  <a:pt x="20484" y="10415"/>
                  <a:pt x="20203" y="10290"/>
                  <a:pt x="19859" y="10290"/>
                </a:cubicBezTo>
                <a:cubicBezTo>
                  <a:pt x="19671" y="10290"/>
                  <a:pt x="19515" y="10321"/>
                  <a:pt x="19374" y="10384"/>
                </a:cubicBezTo>
                <a:cubicBezTo>
                  <a:pt x="19249" y="10431"/>
                  <a:pt x="19124" y="10540"/>
                  <a:pt x="19030" y="10665"/>
                </a:cubicBezTo>
                <a:cubicBezTo>
                  <a:pt x="18920" y="10790"/>
                  <a:pt x="18842" y="10946"/>
                  <a:pt x="18795" y="11150"/>
                </a:cubicBezTo>
                <a:close/>
                <a:moveTo>
                  <a:pt x="19374" y="11416"/>
                </a:moveTo>
                <a:cubicBezTo>
                  <a:pt x="19390" y="11275"/>
                  <a:pt x="19421" y="11181"/>
                  <a:pt x="19452" y="11087"/>
                </a:cubicBezTo>
                <a:cubicBezTo>
                  <a:pt x="19483" y="10993"/>
                  <a:pt x="19546" y="10931"/>
                  <a:pt x="19608" y="10884"/>
                </a:cubicBezTo>
                <a:cubicBezTo>
                  <a:pt x="19671" y="10837"/>
                  <a:pt x="19749" y="10806"/>
                  <a:pt x="19843" y="10806"/>
                </a:cubicBezTo>
                <a:cubicBezTo>
                  <a:pt x="19937" y="10806"/>
                  <a:pt x="20015" y="10837"/>
                  <a:pt x="20078" y="10884"/>
                </a:cubicBezTo>
                <a:cubicBezTo>
                  <a:pt x="20140" y="10931"/>
                  <a:pt x="20187" y="10993"/>
                  <a:pt x="20234" y="11087"/>
                </a:cubicBezTo>
                <a:cubicBezTo>
                  <a:pt x="20281" y="11181"/>
                  <a:pt x="20297" y="11275"/>
                  <a:pt x="20328" y="11416"/>
                </a:cubicBezTo>
                <a:cubicBezTo>
                  <a:pt x="20344" y="11541"/>
                  <a:pt x="20344" y="11682"/>
                  <a:pt x="20344" y="11838"/>
                </a:cubicBezTo>
                <a:cubicBezTo>
                  <a:pt x="20344" y="12010"/>
                  <a:pt x="20344" y="12150"/>
                  <a:pt x="20328" y="12275"/>
                </a:cubicBezTo>
                <a:cubicBezTo>
                  <a:pt x="20297" y="12401"/>
                  <a:pt x="20281" y="12510"/>
                  <a:pt x="20234" y="12604"/>
                </a:cubicBezTo>
                <a:cubicBezTo>
                  <a:pt x="20187" y="12698"/>
                  <a:pt x="20140" y="12760"/>
                  <a:pt x="20078" y="12807"/>
                </a:cubicBezTo>
                <a:cubicBezTo>
                  <a:pt x="20015" y="12854"/>
                  <a:pt x="19937" y="12885"/>
                  <a:pt x="19843" y="12885"/>
                </a:cubicBezTo>
                <a:cubicBezTo>
                  <a:pt x="19749" y="12885"/>
                  <a:pt x="19671" y="12854"/>
                  <a:pt x="19608" y="12807"/>
                </a:cubicBezTo>
                <a:cubicBezTo>
                  <a:pt x="19546" y="12760"/>
                  <a:pt x="19483" y="12698"/>
                  <a:pt x="19452" y="12604"/>
                </a:cubicBezTo>
                <a:cubicBezTo>
                  <a:pt x="19421" y="12510"/>
                  <a:pt x="19390" y="12401"/>
                  <a:pt x="19374" y="12275"/>
                </a:cubicBezTo>
                <a:cubicBezTo>
                  <a:pt x="19358" y="12150"/>
                  <a:pt x="19343" y="12010"/>
                  <a:pt x="19343" y="11838"/>
                </a:cubicBezTo>
                <a:cubicBezTo>
                  <a:pt x="19343" y="11682"/>
                  <a:pt x="19358" y="11541"/>
                  <a:pt x="19374" y="11416"/>
                </a:cubicBezTo>
                <a:close/>
                <a:moveTo>
                  <a:pt x="22486" y="10290"/>
                </a:moveTo>
                <a:cubicBezTo>
                  <a:pt x="22314" y="10290"/>
                  <a:pt x="22157" y="10321"/>
                  <a:pt x="22016" y="10384"/>
                </a:cubicBezTo>
                <a:cubicBezTo>
                  <a:pt x="21876" y="10431"/>
                  <a:pt x="21751" y="10540"/>
                  <a:pt x="21657" y="10665"/>
                </a:cubicBezTo>
                <a:cubicBezTo>
                  <a:pt x="21563" y="10790"/>
                  <a:pt x="21485" y="10946"/>
                  <a:pt x="21422" y="11150"/>
                </a:cubicBezTo>
                <a:cubicBezTo>
                  <a:pt x="21375" y="11337"/>
                  <a:pt x="21344" y="11572"/>
                  <a:pt x="21344" y="11838"/>
                </a:cubicBezTo>
                <a:cubicBezTo>
                  <a:pt x="21344" y="12385"/>
                  <a:pt x="21454" y="12776"/>
                  <a:pt x="21642" y="13026"/>
                </a:cubicBezTo>
                <a:cubicBezTo>
                  <a:pt x="21845" y="13276"/>
                  <a:pt x="22110" y="13401"/>
                  <a:pt x="22470" y="13401"/>
                </a:cubicBezTo>
                <a:cubicBezTo>
                  <a:pt x="22830" y="13401"/>
                  <a:pt x="23111" y="13276"/>
                  <a:pt x="23314" y="13026"/>
                </a:cubicBezTo>
                <a:cubicBezTo>
                  <a:pt x="23502" y="12776"/>
                  <a:pt x="23612" y="12385"/>
                  <a:pt x="23612" y="11838"/>
                </a:cubicBezTo>
                <a:cubicBezTo>
                  <a:pt x="23612" y="11306"/>
                  <a:pt x="23502" y="10915"/>
                  <a:pt x="23314" y="10665"/>
                </a:cubicBezTo>
                <a:cubicBezTo>
                  <a:pt x="23111" y="10415"/>
                  <a:pt x="22846" y="10290"/>
                  <a:pt x="22486" y="10290"/>
                </a:cubicBezTo>
                <a:close/>
                <a:moveTo>
                  <a:pt x="22955" y="12275"/>
                </a:moveTo>
                <a:cubicBezTo>
                  <a:pt x="22939" y="12401"/>
                  <a:pt x="22908" y="12510"/>
                  <a:pt x="22861" y="12604"/>
                </a:cubicBezTo>
                <a:cubicBezTo>
                  <a:pt x="22830" y="12698"/>
                  <a:pt x="22783" y="12760"/>
                  <a:pt x="22704" y="12807"/>
                </a:cubicBezTo>
                <a:cubicBezTo>
                  <a:pt x="22642" y="12854"/>
                  <a:pt x="22564" y="12885"/>
                  <a:pt x="22470" y="12885"/>
                </a:cubicBezTo>
                <a:cubicBezTo>
                  <a:pt x="22376" y="12885"/>
                  <a:pt x="22298" y="12854"/>
                  <a:pt x="22236" y="12807"/>
                </a:cubicBezTo>
                <a:cubicBezTo>
                  <a:pt x="22173" y="12760"/>
                  <a:pt x="22126" y="12698"/>
                  <a:pt x="22079" y="12604"/>
                </a:cubicBezTo>
                <a:cubicBezTo>
                  <a:pt x="22048" y="12510"/>
                  <a:pt x="22016" y="12401"/>
                  <a:pt x="22001" y="12275"/>
                </a:cubicBezTo>
                <a:cubicBezTo>
                  <a:pt x="21985" y="12150"/>
                  <a:pt x="21970" y="12010"/>
                  <a:pt x="21970" y="11838"/>
                </a:cubicBezTo>
                <a:cubicBezTo>
                  <a:pt x="21970" y="11682"/>
                  <a:pt x="21985" y="11541"/>
                  <a:pt x="22001" y="11416"/>
                </a:cubicBezTo>
                <a:cubicBezTo>
                  <a:pt x="22016" y="11275"/>
                  <a:pt x="22048" y="11181"/>
                  <a:pt x="22079" y="11087"/>
                </a:cubicBezTo>
                <a:cubicBezTo>
                  <a:pt x="22126" y="10993"/>
                  <a:pt x="22173" y="10931"/>
                  <a:pt x="22236" y="10884"/>
                </a:cubicBezTo>
                <a:cubicBezTo>
                  <a:pt x="22298" y="10837"/>
                  <a:pt x="22376" y="10806"/>
                  <a:pt x="22470" y="10806"/>
                </a:cubicBezTo>
                <a:cubicBezTo>
                  <a:pt x="22564" y="10806"/>
                  <a:pt x="22642" y="10837"/>
                  <a:pt x="22704" y="10884"/>
                </a:cubicBezTo>
                <a:cubicBezTo>
                  <a:pt x="22783" y="10931"/>
                  <a:pt x="22830" y="10993"/>
                  <a:pt x="22861" y="11087"/>
                </a:cubicBezTo>
                <a:cubicBezTo>
                  <a:pt x="22908" y="11181"/>
                  <a:pt x="22939" y="11275"/>
                  <a:pt x="22955" y="11416"/>
                </a:cubicBezTo>
                <a:cubicBezTo>
                  <a:pt x="22971" y="11541"/>
                  <a:pt x="22986" y="11682"/>
                  <a:pt x="22986" y="11838"/>
                </a:cubicBezTo>
                <a:cubicBezTo>
                  <a:pt x="22986" y="12010"/>
                  <a:pt x="22971" y="12150"/>
                  <a:pt x="22955" y="12275"/>
                </a:cubicBezTo>
                <a:close/>
                <a:moveTo>
                  <a:pt x="24847" y="11056"/>
                </a:moveTo>
                <a:lnTo>
                  <a:pt x="24847" y="13323"/>
                </a:lnTo>
                <a:lnTo>
                  <a:pt x="25457" y="13323"/>
                </a:lnTo>
                <a:lnTo>
                  <a:pt x="25457" y="10368"/>
                </a:lnTo>
                <a:lnTo>
                  <a:pt x="24941" y="10368"/>
                </a:lnTo>
                <a:lnTo>
                  <a:pt x="24002" y="10962"/>
                </a:lnTo>
                <a:lnTo>
                  <a:pt x="24269" y="11400"/>
                </a:lnTo>
                <a:close/>
                <a:moveTo>
                  <a:pt x="27334" y="10290"/>
                </a:moveTo>
                <a:cubicBezTo>
                  <a:pt x="27146" y="10290"/>
                  <a:pt x="26989" y="10321"/>
                  <a:pt x="26849" y="10384"/>
                </a:cubicBezTo>
                <a:cubicBezTo>
                  <a:pt x="26708" y="10431"/>
                  <a:pt x="26598" y="10540"/>
                  <a:pt x="26489" y="10665"/>
                </a:cubicBezTo>
                <a:cubicBezTo>
                  <a:pt x="26395" y="10790"/>
                  <a:pt x="26317" y="10946"/>
                  <a:pt x="26270" y="11150"/>
                </a:cubicBezTo>
                <a:cubicBezTo>
                  <a:pt x="26223" y="11337"/>
                  <a:pt x="26192" y="11572"/>
                  <a:pt x="26192" y="11838"/>
                </a:cubicBezTo>
                <a:cubicBezTo>
                  <a:pt x="26192" y="12385"/>
                  <a:pt x="26286" y="12776"/>
                  <a:pt x="26489" y="13026"/>
                </a:cubicBezTo>
                <a:cubicBezTo>
                  <a:pt x="26676" y="13276"/>
                  <a:pt x="26958" y="13401"/>
                  <a:pt x="27302" y="13401"/>
                </a:cubicBezTo>
                <a:cubicBezTo>
                  <a:pt x="27662" y="13401"/>
                  <a:pt x="27943" y="13276"/>
                  <a:pt x="28147" y="13026"/>
                </a:cubicBezTo>
                <a:cubicBezTo>
                  <a:pt x="28350" y="12776"/>
                  <a:pt x="28443" y="12385"/>
                  <a:pt x="28443" y="11838"/>
                </a:cubicBezTo>
                <a:cubicBezTo>
                  <a:pt x="28443" y="11306"/>
                  <a:pt x="28350" y="10915"/>
                  <a:pt x="28147" y="10665"/>
                </a:cubicBezTo>
                <a:cubicBezTo>
                  <a:pt x="27959" y="10415"/>
                  <a:pt x="27677" y="10290"/>
                  <a:pt x="27334" y="10290"/>
                </a:cubicBezTo>
                <a:close/>
                <a:moveTo>
                  <a:pt x="27787" y="12275"/>
                </a:moveTo>
                <a:cubicBezTo>
                  <a:pt x="27771" y="12401"/>
                  <a:pt x="27740" y="12510"/>
                  <a:pt x="27709" y="12604"/>
                </a:cubicBezTo>
                <a:cubicBezTo>
                  <a:pt x="27662" y="12698"/>
                  <a:pt x="27615" y="12760"/>
                  <a:pt x="27552" y="12807"/>
                </a:cubicBezTo>
                <a:cubicBezTo>
                  <a:pt x="27490" y="12854"/>
                  <a:pt x="27412" y="12885"/>
                  <a:pt x="27317" y="12885"/>
                </a:cubicBezTo>
                <a:cubicBezTo>
                  <a:pt x="27224" y="12885"/>
                  <a:pt x="27146" y="12854"/>
                  <a:pt x="27083" y="12807"/>
                </a:cubicBezTo>
                <a:cubicBezTo>
                  <a:pt x="27021" y="12760"/>
                  <a:pt x="26958" y="12698"/>
                  <a:pt x="26927" y="12604"/>
                </a:cubicBezTo>
                <a:cubicBezTo>
                  <a:pt x="26880" y="12510"/>
                  <a:pt x="26864" y="12401"/>
                  <a:pt x="26849" y="12275"/>
                </a:cubicBezTo>
                <a:cubicBezTo>
                  <a:pt x="26817" y="12150"/>
                  <a:pt x="26817" y="12010"/>
                  <a:pt x="26817" y="11838"/>
                </a:cubicBezTo>
                <a:cubicBezTo>
                  <a:pt x="26817" y="11682"/>
                  <a:pt x="26817" y="11541"/>
                  <a:pt x="26849" y="11416"/>
                </a:cubicBezTo>
                <a:cubicBezTo>
                  <a:pt x="26864" y="11275"/>
                  <a:pt x="26880" y="11181"/>
                  <a:pt x="26927" y="11087"/>
                </a:cubicBezTo>
                <a:cubicBezTo>
                  <a:pt x="26958" y="10993"/>
                  <a:pt x="27021" y="10931"/>
                  <a:pt x="27083" y="10884"/>
                </a:cubicBezTo>
                <a:cubicBezTo>
                  <a:pt x="27146" y="10837"/>
                  <a:pt x="27224" y="10806"/>
                  <a:pt x="27317" y="10806"/>
                </a:cubicBezTo>
                <a:cubicBezTo>
                  <a:pt x="27412" y="10806"/>
                  <a:pt x="27490" y="10837"/>
                  <a:pt x="27552" y="10884"/>
                </a:cubicBezTo>
                <a:cubicBezTo>
                  <a:pt x="27615" y="10931"/>
                  <a:pt x="27662" y="10993"/>
                  <a:pt x="27709" y="11087"/>
                </a:cubicBezTo>
                <a:cubicBezTo>
                  <a:pt x="27740" y="11181"/>
                  <a:pt x="27771" y="11275"/>
                  <a:pt x="27787" y="11416"/>
                </a:cubicBezTo>
                <a:cubicBezTo>
                  <a:pt x="27818" y="11541"/>
                  <a:pt x="27818" y="11682"/>
                  <a:pt x="27818" y="11838"/>
                </a:cubicBezTo>
                <a:cubicBezTo>
                  <a:pt x="27818" y="12010"/>
                  <a:pt x="27818" y="12150"/>
                  <a:pt x="27787" y="12275"/>
                </a:cubicBezTo>
                <a:close/>
                <a:moveTo>
                  <a:pt x="29679" y="11056"/>
                </a:moveTo>
                <a:lnTo>
                  <a:pt x="29679" y="13323"/>
                </a:lnTo>
                <a:lnTo>
                  <a:pt x="30289" y="13323"/>
                </a:lnTo>
                <a:lnTo>
                  <a:pt x="30289" y="10368"/>
                </a:lnTo>
                <a:lnTo>
                  <a:pt x="29788" y="10368"/>
                </a:lnTo>
                <a:lnTo>
                  <a:pt x="28835" y="10962"/>
                </a:lnTo>
                <a:lnTo>
                  <a:pt x="29100" y="11400"/>
                </a:lnTo>
                <a:close/>
                <a:moveTo>
                  <a:pt x="32165" y="10290"/>
                </a:moveTo>
                <a:cubicBezTo>
                  <a:pt x="31993" y="10290"/>
                  <a:pt x="31837" y="10321"/>
                  <a:pt x="31696" y="10384"/>
                </a:cubicBezTo>
                <a:cubicBezTo>
                  <a:pt x="31555" y="10431"/>
                  <a:pt x="31430" y="10540"/>
                  <a:pt x="31337" y="10665"/>
                </a:cubicBezTo>
                <a:cubicBezTo>
                  <a:pt x="31243" y="10790"/>
                  <a:pt x="31164" y="10946"/>
                  <a:pt x="31102" y="11150"/>
                </a:cubicBezTo>
                <a:cubicBezTo>
                  <a:pt x="31055" y="11337"/>
                  <a:pt x="31024" y="11572"/>
                  <a:pt x="31024" y="11838"/>
                </a:cubicBezTo>
                <a:cubicBezTo>
                  <a:pt x="31024" y="12385"/>
                  <a:pt x="31133" y="12776"/>
                  <a:pt x="31321" y="13026"/>
                </a:cubicBezTo>
                <a:cubicBezTo>
                  <a:pt x="31524" y="13276"/>
                  <a:pt x="31790" y="13401"/>
                  <a:pt x="32150" y="13401"/>
                </a:cubicBezTo>
                <a:cubicBezTo>
                  <a:pt x="32509" y="13401"/>
                  <a:pt x="32791" y="13276"/>
                  <a:pt x="32994" y="13026"/>
                </a:cubicBezTo>
                <a:cubicBezTo>
                  <a:pt x="33182" y="12776"/>
                  <a:pt x="33291" y="12385"/>
                  <a:pt x="33291" y="11838"/>
                </a:cubicBezTo>
                <a:cubicBezTo>
                  <a:pt x="33291" y="11306"/>
                  <a:pt x="33182" y="10915"/>
                  <a:pt x="32994" y="10665"/>
                </a:cubicBezTo>
                <a:cubicBezTo>
                  <a:pt x="32791" y="10415"/>
                  <a:pt x="32525" y="10290"/>
                  <a:pt x="32165" y="10290"/>
                </a:cubicBezTo>
                <a:close/>
                <a:moveTo>
                  <a:pt x="32634" y="12275"/>
                </a:moveTo>
                <a:cubicBezTo>
                  <a:pt x="32619" y="12401"/>
                  <a:pt x="32588" y="12510"/>
                  <a:pt x="32541" y="12604"/>
                </a:cubicBezTo>
                <a:cubicBezTo>
                  <a:pt x="32509" y="12698"/>
                  <a:pt x="32462" y="12760"/>
                  <a:pt x="32384" y="12807"/>
                </a:cubicBezTo>
                <a:cubicBezTo>
                  <a:pt x="32321" y="12854"/>
                  <a:pt x="32243" y="12885"/>
                  <a:pt x="32150" y="12885"/>
                </a:cubicBezTo>
                <a:cubicBezTo>
                  <a:pt x="32056" y="12885"/>
                  <a:pt x="31978" y="12854"/>
                  <a:pt x="31915" y="12807"/>
                </a:cubicBezTo>
                <a:cubicBezTo>
                  <a:pt x="31853" y="12760"/>
                  <a:pt x="31805" y="12698"/>
                  <a:pt x="31758" y="12604"/>
                </a:cubicBezTo>
                <a:cubicBezTo>
                  <a:pt x="31727" y="12510"/>
                  <a:pt x="31696" y="12401"/>
                  <a:pt x="31680" y="12275"/>
                </a:cubicBezTo>
                <a:cubicBezTo>
                  <a:pt x="31665" y="12150"/>
                  <a:pt x="31649" y="12010"/>
                  <a:pt x="31649" y="11838"/>
                </a:cubicBezTo>
                <a:cubicBezTo>
                  <a:pt x="31649" y="11682"/>
                  <a:pt x="31665" y="11541"/>
                  <a:pt x="31680" y="11416"/>
                </a:cubicBezTo>
                <a:cubicBezTo>
                  <a:pt x="31696" y="11275"/>
                  <a:pt x="31727" y="11181"/>
                  <a:pt x="31758" y="11087"/>
                </a:cubicBezTo>
                <a:cubicBezTo>
                  <a:pt x="31805" y="10993"/>
                  <a:pt x="31853" y="10931"/>
                  <a:pt x="31915" y="10884"/>
                </a:cubicBezTo>
                <a:cubicBezTo>
                  <a:pt x="31978" y="10837"/>
                  <a:pt x="32056" y="10806"/>
                  <a:pt x="32150" y="10806"/>
                </a:cubicBezTo>
                <a:cubicBezTo>
                  <a:pt x="32243" y="10806"/>
                  <a:pt x="32321" y="10837"/>
                  <a:pt x="32384" y="10884"/>
                </a:cubicBezTo>
                <a:cubicBezTo>
                  <a:pt x="32462" y="10931"/>
                  <a:pt x="32509" y="10993"/>
                  <a:pt x="32541" y="11087"/>
                </a:cubicBezTo>
                <a:cubicBezTo>
                  <a:pt x="32588" y="11181"/>
                  <a:pt x="32619" y="11275"/>
                  <a:pt x="32634" y="11416"/>
                </a:cubicBezTo>
                <a:cubicBezTo>
                  <a:pt x="32650" y="11541"/>
                  <a:pt x="32666" y="11682"/>
                  <a:pt x="32666" y="11838"/>
                </a:cubicBezTo>
                <a:cubicBezTo>
                  <a:pt x="32666" y="12010"/>
                  <a:pt x="32650" y="12150"/>
                  <a:pt x="32634" y="12275"/>
                </a:cubicBezTo>
                <a:close/>
                <a:moveTo>
                  <a:pt x="34527" y="11056"/>
                </a:moveTo>
                <a:lnTo>
                  <a:pt x="34527" y="13323"/>
                </a:lnTo>
                <a:lnTo>
                  <a:pt x="35136" y="13323"/>
                </a:lnTo>
                <a:lnTo>
                  <a:pt x="35136" y="10368"/>
                </a:lnTo>
                <a:lnTo>
                  <a:pt x="34620" y="10368"/>
                </a:lnTo>
                <a:lnTo>
                  <a:pt x="33682" y="10962"/>
                </a:lnTo>
                <a:lnTo>
                  <a:pt x="33948" y="11400"/>
                </a:lnTo>
                <a:close/>
                <a:moveTo>
                  <a:pt x="37013" y="10290"/>
                </a:moveTo>
                <a:cubicBezTo>
                  <a:pt x="36825" y="10290"/>
                  <a:pt x="36669" y="10321"/>
                  <a:pt x="36528" y="10384"/>
                </a:cubicBezTo>
                <a:cubicBezTo>
                  <a:pt x="36387" y="10431"/>
                  <a:pt x="36278" y="10540"/>
                  <a:pt x="36168" y="10665"/>
                </a:cubicBezTo>
                <a:cubicBezTo>
                  <a:pt x="36074" y="10790"/>
                  <a:pt x="35996" y="10946"/>
                  <a:pt x="35949" y="11150"/>
                </a:cubicBezTo>
                <a:cubicBezTo>
                  <a:pt x="35903" y="11337"/>
                  <a:pt x="35871" y="11572"/>
                  <a:pt x="35871" y="11838"/>
                </a:cubicBezTo>
                <a:cubicBezTo>
                  <a:pt x="35871" y="12385"/>
                  <a:pt x="35965" y="12776"/>
                  <a:pt x="36168" y="13026"/>
                </a:cubicBezTo>
                <a:cubicBezTo>
                  <a:pt x="36356" y="13276"/>
                  <a:pt x="36637" y="13401"/>
                  <a:pt x="36982" y="13401"/>
                </a:cubicBezTo>
                <a:cubicBezTo>
                  <a:pt x="37341" y="13401"/>
                  <a:pt x="37623" y="13276"/>
                  <a:pt x="37826" y="13026"/>
                </a:cubicBezTo>
                <a:cubicBezTo>
                  <a:pt x="38029" y="12776"/>
                  <a:pt x="38123" y="12385"/>
                  <a:pt x="38123" y="11838"/>
                </a:cubicBezTo>
                <a:cubicBezTo>
                  <a:pt x="38123" y="11306"/>
                  <a:pt x="38029" y="10915"/>
                  <a:pt x="37826" y="10665"/>
                </a:cubicBezTo>
                <a:cubicBezTo>
                  <a:pt x="37638" y="10415"/>
                  <a:pt x="37357" y="10290"/>
                  <a:pt x="37013" y="10290"/>
                </a:cubicBezTo>
                <a:close/>
                <a:moveTo>
                  <a:pt x="37466" y="12275"/>
                </a:moveTo>
                <a:cubicBezTo>
                  <a:pt x="37450" y="12401"/>
                  <a:pt x="37419" y="12510"/>
                  <a:pt x="37388" y="12604"/>
                </a:cubicBezTo>
                <a:cubicBezTo>
                  <a:pt x="37341" y="12698"/>
                  <a:pt x="37294" y="12760"/>
                  <a:pt x="37232" y="12807"/>
                </a:cubicBezTo>
                <a:cubicBezTo>
                  <a:pt x="37169" y="12854"/>
                  <a:pt x="37091" y="12885"/>
                  <a:pt x="36997" y="12885"/>
                </a:cubicBezTo>
                <a:cubicBezTo>
                  <a:pt x="36903" y="12885"/>
                  <a:pt x="36825" y="12854"/>
                  <a:pt x="36762" y="12807"/>
                </a:cubicBezTo>
                <a:cubicBezTo>
                  <a:pt x="36700" y="12760"/>
                  <a:pt x="36637" y="12698"/>
                  <a:pt x="36606" y="12604"/>
                </a:cubicBezTo>
                <a:cubicBezTo>
                  <a:pt x="36559" y="12510"/>
                  <a:pt x="36544" y="12401"/>
                  <a:pt x="36528" y="12275"/>
                </a:cubicBezTo>
                <a:cubicBezTo>
                  <a:pt x="36497" y="12150"/>
                  <a:pt x="36497" y="12010"/>
                  <a:pt x="36497" y="11838"/>
                </a:cubicBezTo>
                <a:cubicBezTo>
                  <a:pt x="36497" y="11682"/>
                  <a:pt x="36497" y="11541"/>
                  <a:pt x="36528" y="11416"/>
                </a:cubicBezTo>
                <a:cubicBezTo>
                  <a:pt x="36544" y="11275"/>
                  <a:pt x="36559" y="11181"/>
                  <a:pt x="36606" y="11087"/>
                </a:cubicBezTo>
                <a:cubicBezTo>
                  <a:pt x="36637" y="10993"/>
                  <a:pt x="36700" y="10931"/>
                  <a:pt x="36762" y="10884"/>
                </a:cubicBezTo>
                <a:cubicBezTo>
                  <a:pt x="36825" y="10837"/>
                  <a:pt x="36903" y="10806"/>
                  <a:pt x="36997" y="10806"/>
                </a:cubicBezTo>
                <a:cubicBezTo>
                  <a:pt x="37091" y="10806"/>
                  <a:pt x="37169" y="10837"/>
                  <a:pt x="37232" y="10884"/>
                </a:cubicBezTo>
                <a:cubicBezTo>
                  <a:pt x="37294" y="10931"/>
                  <a:pt x="37341" y="10993"/>
                  <a:pt x="37388" y="11087"/>
                </a:cubicBezTo>
                <a:cubicBezTo>
                  <a:pt x="37419" y="11181"/>
                  <a:pt x="37450" y="11275"/>
                  <a:pt x="37466" y="11416"/>
                </a:cubicBezTo>
                <a:cubicBezTo>
                  <a:pt x="37497" y="11541"/>
                  <a:pt x="37497" y="11682"/>
                  <a:pt x="37497" y="11838"/>
                </a:cubicBezTo>
                <a:cubicBezTo>
                  <a:pt x="37497" y="12010"/>
                  <a:pt x="37497" y="12150"/>
                  <a:pt x="37466" y="12275"/>
                </a:cubicBezTo>
                <a:close/>
                <a:moveTo>
                  <a:pt x="39171" y="10384"/>
                </a:moveTo>
                <a:cubicBezTo>
                  <a:pt x="39030" y="10431"/>
                  <a:pt x="38905" y="10540"/>
                  <a:pt x="38811" y="10665"/>
                </a:cubicBezTo>
                <a:cubicBezTo>
                  <a:pt x="38717" y="10790"/>
                  <a:pt x="38639" y="10946"/>
                  <a:pt x="38576" y="11150"/>
                </a:cubicBezTo>
                <a:cubicBezTo>
                  <a:pt x="38530" y="11337"/>
                  <a:pt x="38498" y="11572"/>
                  <a:pt x="38498" y="11838"/>
                </a:cubicBezTo>
                <a:cubicBezTo>
                  <a:pt x="38498" y="12385"/>
                  <a:pt x="38608" y="12776"/>
                  <a:pt x="38795" y="13026"/>
                </a:cubicBezTo>
                <a:cubicBezTo>
                  <a:pt x="38999" y="13276"/>
                  <a:pt x="39264" y="13401"/>
                  <a:pt x="39624" y="13401"/>
                </a:cubicBezTo>
                <a:cubicBezTo>
                  <a:pt x="39984" y="13401"/>
                  <a:pt x="40265" y="13276"/>
                  <a:pt x="40453" y="13026"/>
                </a:cubicBezTo>
                <a:cubicBezTo>
                  <a:pt x="40656" y="12776"/>
                  <a:pt x="40750" y="12385"/>
                  <a:pt x="40750" y="11838"/>
                </a:cubicBezTo>
                <a:cubicBezTo>
                  <a:pt x="40750" y="11306"/>
                  <a:pt x="40656" y="10915"/>
                  <a:pt x="40469" y="10665"/>
                </a:cubicBezTo>
                <a:cubicBezTo>
                  <a:pt x="40265" y="10415"/>
                  <a:pt x="39999" y="10290"/>
                  <a:pt x="39640" y="10290"/>
                </a:cubicBezTo>
                <a:cubicBezTo>
                  <a:pt x="39468" y="10290"/>
                  <a:pt x="39311" y="10321"/>
                  <a:pt x="39171" y="10384"/>
                </a:cubicBezTo>
                <a:close/>
                <a:moveTo>
                  <a:pt x="40015" y="11087"/>
                </a:moveTo>
                <a:cubicBezTo>
                  <a:pt x="40062" y="11181"/>
                  <a:pt x="40093" y="11275"/>
                  <a:pt x="40109" y="11416"/>
                </a:cubicBezTo>
                <a:cubicBezTo>
                  <a:pt x="40124" y="11541"/>
                  <a:pt x="40124" y="11682"/>
                  <a:pt x="40124" y="11838"/>
                </a:cubicBezTo>
                <a:cubicBezTo>
                  <a:pt x="40124" y="12010"/>
                  <a:pt x="40124" y="12150"/>
                  <a:pt x="40109" y="12275"/>
                </a:cubicBezTo>
                <a:cubicBezTo>
                  <a:pt x="40093" y="12401"/>
                  <a:pt x="40062" y="12510"/>
                  <a:pt x="40015" y="12604"/>
                </a:cubicBezTo>
                <a:cubicBezTo>
                  <a:pt x="39984" y="12698"/>
                  <a:pt x="39921" y="12760"/>
                  <a:pt x="39859" y="12807"/>
                </a:cubicBezTo>
                <a:cubicBezTo>
                  <a:pt x="39796" y="12854"/>
                  <a:pt x="39718" y="12885"/>
                  <a:pt x="39624" y="12885"/>
                </a:cubicBezTo>
                <a:cubicBezTo>
                  <a:pt x="39530" y="12885"/>
                  <a:pt x="39452" y="12854"/>
                  <a:pt x="39389" y="12807"/>
                </a:cubicBezTo>
                <a:cubicBezTo>
                  <a:pt x="39327" y="12760"/>
                  <a:pt x="39280" y="12698"/>
                  <a:pt x="39233" y="12604"/>
                </a:cubicBezTo>
                <a:cubicBezTo>
                  <a:pt x="39202" y="12510"/>
                  <a:pt x="39171" y="12401"/>
                  <a:pt x="39155" y="12275"/>
                </a:cubicBezTo>
                <a:cubicBezTo>
                  <a:pt x="39139" y="12150"/>
                  <a:pt x="39124" y="12010"/>
                  <a:pt x="39124" y="11838"/>
                </a:cubicBezTo>
                <a:cubicBezTo>
                  <a:pt x="39124" y="11682"/>
                  <a:pt x="39139" y="11541"/>
                  <a:pt x="39155" y="11416"/>
                </a:cubicBezTo>
                <a:cubicBezTo>
                  <a:pt x="39171" y="11275"/>
                  <a:pt x="39202" y="11181"/>
                  <a:pt x="39233" y="11087"/>
                </a:cubicBezTo>
                <a:cubicBezTo>
                  <a:pt x="39280" y="10993"/>
                  <a:pt x="39327" y="10931"/>
                  <a:pt x="39389" y="10884"/>
                </a:cubicBezTo>
                <a:cubicBezTo>
                  <a:pt x="39452" y="10837"/>
                  <a:pt x="39530" y="10806"/>
                  <a:pt x="39624" y="10806"/>
                </a:cubicBezTo>
                <a:cubicBezTo>
                  <a:pt x="39718" y="10806"/>
                  <a:pt x="39796" y="10837"/>
                  <a:pt x="39859" y="10884"/>
                </a:cubicBezTo>
                <a:cubicBezTo>
                  <a:pt x="39921" y="10931"/>
                  <a:pt x="39984" y="10993"/>
                  <a:pt x="40015" y="11087"/>
                </a:cubicBezTo>
                <a:close/>
                <a:moveTo>
                  <a:pt x="7912" y="26818"/>
                </a:moveTo>
                <a:cubicBezTo>
                  <a:pt x="8100" y="26818"/>
                  <a:pt x="8256" y="26662"/>
                  <a:pt x="8256" y="26459"/>
                </a:cubicBezTo>
                <a:lnTo>
                  <a:pt x="8256" y="24082"/>
                </a:lnTo>
                <a:lnTo>
                  <a:pt x="27083" y="20126"/>
                </a:lnTo>
                <a:lnTo>
                  <a:pt x="27083" y="26459"/>
                </a:lnTo>
                <a:cubicBezTo>
                  <a:pt x="27083" y="26662"/>
                  <a:pt x="27255" y="26818"/>
                  <a:pt x="27443" y="26818"/>
                </a:cubicBezTo>
                <a:cubicBezTo>
                  <a:pt x="27646" y="26818"/>
                  <a:pt x="27802" y="26662"/>
                  <a:pt x="27802" y="26459"/>
                </a:cubicBezTo>
                <a:lnTo>
                  <a:pt x="27802" y="20157"/>
                </a:lnTo>
                <a:lnTo>
                  <a:pt x="46457" y="24082"/>
                </a:lnTo>
                <a:lnTo>
                  <a:pt x="46457" y="26459"/>
                </a:lnTo>
                <a:cubicBezTo>
                  <a:pt x="46457" y="26662"/>
                  <a:pt x="46614" y="26818"/>
                  <a:pt x="46817" y="26818"/>
                </a:cubicBezTo>
                <a:cubicBezTo>
                  <a:pt x="47005" y="26818"/>
                  <a:pt x="47177" y="26662"/>
                  <a:pt x="47177" y="26459"/>
                </a:cubicBezTo>
                <a:lnTo>
                  <a:pt x="47177" y="23800"/>
                </a:lnTo>
                <a:cubicBezTo>
                  <a:pt x="47177" y="23628"/>
                  <a:pt x="47052" y="23488"/>
                  <a:pt x="46880" y="23456"/>
                </a:cubicBezTo>
                <a:lnTo>
                  <a:pt x="29085" y="19703"/>
                </a:lnTo>
                <a:lnTo>
                  <a:pt x="36403" y="18155"/>
                </a:lnTo>
                <a:cubicBezTo>
                  <a:pt x="36575" y="18124"/>
                  <a:pt x="36684" y="17967"/>
                  <a:pt x="36684" y="17811"/>
                </a:cubicBezTo>
                <a:lnTo>
                  <a:pt x="36684" y="15028"/>
                </a:lnTo>
                <a:cubicBezTo>
                  <a:pt x="36684" y="14824"/>
                  <a:pt x="36528" y="14668"/>
                  <a:pt x="36325" y="14668"/>
                </a:cubicBezTo>
                <a:cubicBezTo>
                  <a:pt x="36137" y="14668"/>
                  <a:pt x="35965" y="14824"/>
                  <a:pt x="35965" y="15028"/>
                </a:cubicBezTo>
                <a:lnTo>
                  <a:pt x="35965" y="17514"/>
                </a:lnTo>
                <a:lnTo>
                  <a:pt x="27802" y="19234"/>
                </a:lnTo>
                <a:lnTo>
                  <a:pt x="27802" y="15028"/>
                </a:lnTo>
                <a:cubicBezTo>
                  <a:pt x="27802" y="14824"/>
                  <a:pt x="27646" y="14668"/>
                  <a:pt x="27443" y="14668"/>
                </a:cubicBezTo>
                <a:cubicBezTo>
                  <a:pt x="27255" y="14668"/>
                  <a:pt x="27083" y="14824"/>
                  <a:pt x="27083" y="15028"/>
                </a:cubicBezTo>
                <a:lnTo>
                  <a:pt x="27083" y="19281"/>
                </a:lnTo>
                <a:lnTo>
                  <a:pt x="18748" y="17514"/>
                </a:lnTo>
                <a:lnTo>
                  <a:pt x="18748" y="15028"/>
                </a:lnTo>
                <a:cubicBezTo>
                  <a:pt x="18748" y="14824"/>
                  <a:pt x="18592" y="14668"/>
                  <a:pt x="18389" y="14668"/>
                </a:cubicBezTo>
                <a:cubicBezTo>
                  <a:pt x="18185" y="14668"/>
                  <a:pt x="18029" y="14824"/>
                  <a:pt x="18029" y="15028"/>
                </a:cubicBezTo>
                <a:lnTo>
                  <a:pt x="18029" y="17811"/>
                </a:lnTo>
                <a:cubicBezTo>
                  <a:pt x="18029" y="17967"/>
                  <a:pt x="18154" y="18124"/>
                  <a:pt x="18310" y="18155"/>
                </a:cubicBezTo>
                <a:lnTo>
                  <a:pt x="25629" y="19703"/>
                </a:lnTo>
                <a:lnTo>
                  <a:pt x="7834" y="23456"/>
                </a:lnTo>
                <a:cubicBezTo>
                  <a:pt x="7662" y="23488"/>
                  <a:pt x="7552" y="23628"/>
                  <a:pt x="7552" y="23800"/>
                </a:cubicBezTo>
                <a:lnTo>
                  <a:pt x="7552" y="26459"/>
                </a:lnTo>
                <a:cubicBezTo>
                  <a:pt x="7552" y="26662"/>
                  <a:pt x="7709" y="26818"/>
                  <a:pt x="7912" y="2681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2" name="Freeform 11">
            <a:extLst>
              <a:ext uri="{FF2B5EF4-FFF2-40B4-BE49-F238E27FC236}">
                <a16:creationId xmlns:a16="http://schemas.microsoft.com/office/drawing/2014/main" id="{E982BE16-90A1-B04B-A68C-28A5154430E6}"/>
              </a:ext>
            </a:extLst>
          </p:cNvPr>
          <p:cNvSpPr/>
          <p:nvPr/>
        </p:nvSpPr>
        <p:spPr>
          <a:xfrm>
            <a:off x="12035478" y="2379800"/>
            <a:ext cx="11257262" cy="8556870"/>
          </a:xfrm>
          <a:custGeom>
            <a:avLst/>
            <a:gdLst/>
            <a:ahLst/>
            <a:cxnLst>
              <a:cxn ang="3cd4">
                <a:pos x="hc" y="t"/>
              </a:cxn>
              <a:cxn ang="cd2">
                <a:pos x="l" y="vc"/>
              </a:cxn>
              <a:cxn ang="cd4">
                <a:pos x="hc" y="b"/>
              </a:cxn>
              <a:cxn ang="0">
                <a:pos x="r" y="vc"/>
              </a:cxn>
            </a:cxnLst>
            <a:rect l="l" t="t" r="r" b="b"/>
            <a:pathLst>
              <a:path w="70678" h="53724">
                <a:moveTo>
                  <a:pt x="70318" y="47547"/>
                </a:moveTo>
                <a:cubicBezTo>
                  <a:pt x="67034" y="47547"/>
                  <a:pt x="68129" y="47547"/>
                  <a:pt x="67034" y="47547"/>
                </a:cubicBezTo>
                <a:lnTo>
                  <a:pt x="67034" y="19901"/>
                </a:lnTo>
                <a:cubicBezTo>
                  <a:pt x="67034" y="18885"/>
                  <a:pt x="66675" y="18040"/>
                  <a:pt x="66018" y="17446"/>
                </a:cubicBezTo>
                <a:cubicBezTo>
                  <a:pt x="65377" y="16883"/>
                  <a:pt x="64501" y="16586"/>
                  <a:pt x="63469" y="16586"/>
                </a:cubicBezTo>
                <a:lnTo>
                  <a:pt x="62109" y="16586"/>
                </a:lnTo>
                <a:cubicBezTo>
                  <a:pt x="61874" y="15632"/>
                  <a:pt x="61640" y="14678"/>
                  <a:pt x="61405" y="13787"/>
                </a:cubicBezTo>
                <a:cubicBezTo>
                  <a:pt x="61468" y="13693"/>
                  <a:pt x="61499" y="13568"/>
                  <a:pt x="61499" y="13443"/>
                </a:cubicBezTo>
                <a:cubicBezTo>
                  <a:pt x="61499" y="13271"/>
                  <a:pt x="61437" y="13115"/>
                  <a:pt x="61311" y="12989"/>
                </a:cubicBezTo>
                <a:lnTo>
                  <a:pt x="61170" y="12849"/>
                </a:lnTo>
                <a:cubicBezTo>
                  <a:pt x="61124" y="12677"/>
                  <a:pt x="61092" y="12520"/>
                  <a:pt x="61045" y="12364"/>
                </a:cubicBezTo>
                <a:cubicBezTo>
                  <a:pt x="61139" y="12145"/>
                  <a:pt x="61233" y="11942"/>
                  <a:pt x="61295" y="11707"/>
                </a:cubicBezTo>
                <a:lnTo>
                  <a:pt x="61843" y="11707"/>
                </a:lnTo>
                <a:cubicBezTo>
                  <a:pt x="62203" y="11707"/>
                  <a:pt x="62500" y="11426"/>
                  <a:pt x="62500" y="11050"/>
                </a:cubicBezTo>
                <a:lnTo>
                  <a:pt x="62500" y="10159"/>
                </a:lnTo>
                <a:cubicBezTo>
                  <a:pt x="62500" y="9987"/>
                  <a:pt x="62421" y="9815"/>
                  <a:pt x="62312" y="9705"/>
                </a:cubicBezTo>
                <a:lnTo>
                  <a:pt x="62390" y="9705"/>
                </a:lnTo>
                <a:cubicBezTo>
                  <a:pt x="62781" y="9705"/>
                  <a:pt x="62651" y="9705"/>
                  <a:pt x="62781" y="9705"/>
                </a:cubicBezTo>
                <a:cubicBezTo>
                  <a:pt x="62859" y="9940"/>
                  <a:pt x="62938" y="10159"/>
                  <a:pt x="63063" y="10362"/>
                </a:cubicBezTo>
                <a:lnTo>
                  <a:pt x="62766" y="10644"/>
                </a:lnTo>
                <a:cubicBezTo>
                  <a:pt x="62531" y="10878"/>
                  <a:pt x="62531" y="11254"/>
                  <a:pt x="62766" y="11488"/>
                </a:cubicBezTo>
                <a:cubicBezTo>
                  <a:pt x="63282" y="12020"/>
                  <a:pt x="63110" y="11842"/>
                  <a:pt x="63282" y="12020"/>
                </a:cubicBezTo>
                <a:cubicBezTo>
                  <a:pt x="63407" y="12129"/>
                  <a:pt x="63547" y="12192"/>
                  <a:pt x="63719" y="12192"/>
                </a:cubicBezTo>
                <a:cubicBezTo>
                  <a:pt x="63876" y="12192"/>
                  <a:pt x="64032" y="12129"/>
                  <a:pt x="64142" y="12020"/>
                </a:cubicBezTo>
                <a:lnTo>
                  <a:pt x="64423" y="11723"/>
                </a:lnTo>
                <a:cubicBezTo>
                  <a:pt x="64627" y="11832"/>
                  <a:pt x="64845" y="11926"/>
                  <a:pt x="65080" y="11989"/>
                </a:cubicBezTo>
                <a:lnTo>
                  <a:pt x="65080" y="12395"/>
                </a:lnTo>
                <a:cubicBezTo>
                  <a:pt x="65080" y="12739"/>
                  <a:pt x="65346" y="13005"/>
                  <a:pt x="65674" y="13005"/>
                </a:cubicBezTo>
                <a:lnTo>
                  <a:pt x="66409" y="13005"/>
                </a:lnTo>
                <a:cubicBezTo>
                  <a:pt x="66737" y="13005"/>
                  <a:pt x="67003" y="12739"/>
                  <a:pt x="67003" y="12395"/>
                </a:cubicBezTo>
                <a:lnTo>
                  <a:pt x="67003" y="11989"/>
                </a:lnTo>
                <a:cubicBezTo>
                  <a:pt x="67238" y="11926"/>
                  <a:pt x="67457" y="11832"/>
                  <a:pt x="67660" y="11723"/>
                </a:cubicBezTo>
                <a:lnTo>
                  <a:pt x="67942" y="12020"/>
                </a:lnTo>
                <a:cubicBezTo>
                  <a:pt x="68051" y="12129"/>
                  <a:pt x="68207" y="12192"/>
                  <a:pt x="68363" y="12192"/>
                </a:cubicBezTo>
                <a:cubicBezTo>
                  <a:pt x="68536" y="12192"/>
                  <a:pt x="68676" y="12129"/>
                  <a:pt x="68801" y="12020"/>
                </a:cubicBezTo>
                <a:cubicBezTo>
                  <a:pt x="69318" y="11488"/>
                  <a:pt x="69146" y="11665"/>
                  <a:pt x="69318" y="11488"/>
                </a:cubicBezTo>
                <a:cubicBezTo>
                  <a:pt x="69552" y="11254"/>
                  <a:pt x="69552" y="10878"/>
                  <a:pt x="69318" y="10644"/>
                </a:cubicBezTo>
                <a:lnTo>
                  <a:pt x="69020" y="10362"/>
                </a:lnTo>
                <a:cubicBezTo>
                  <a:pt x="69146" y="10159"/>
                  <a:pt x="69224" y="9940"/>
                  <a:pt x="69302" y="9705"/>
                </a:cubicBezTo>
                <a:cubicBezTo>
                  <a:pt x="69693" y="9705"/>
                  <a:pt x="69563" y="9705"/>
                  <a:pt x="69693" y="9705"/>
                </a:cubicBezTo>
                <a:cubicBezTo>
                  <a:pt x="70037" y="9705"/>
                  <a:pt x="70302" y="9440"/>
                  <a:pt x="70302" y="9111"/>
                </a:cubicBezTo>
                <a:lnTo>
                  <a:pt x="70302" y="8376"/>
                </a:lnTo>
                <a:cubicBezTo>
                  <a:pt x="70302" y="8048"/>
                  <a:pt x="70037" y="7782"/>
                  <a:pt x="69693" y="7782"/>
                </a:cubicBezTo>
                <a:cubicBezTo>
                  <a:pt x="69302" y="7782"/>
                  <a:pt x="69432" y="7782"/>
                  <a:pt x="69302" y="7782"/>
                </a:cubicBezTo>
                <a:cubicBezTo>
                  <a:pt x="69224" y="7548"/>
                  <a:pt x="69146" y="7328"/>
                  <a:pt x="69020" y="7125"/>
                </a:cubicBezTo>
                <a:lnTo>
                  <a:pt x="69318" y="6844"/>
                </a:lnTo>
                <a:cubicBezTo>
                  <a:pt x="69427" y="6719"/>
                  <a:pt x="69489" y="6578"/>
                  <a:pt x="69489" y="6422"/>
                </a:cubicBezTo>
                <a:cubicBezTo>
                  <a:pt x="69489" y="6250"/>
                  <a:pt x="69427" y="6109"/>
                  <a:pt x="69318" y="5984"/>
                </a:cubicBezTo>
                <a:lnTo>
                  <a:pt x="68801" y="5468"/>
                </a:lnTo>
                <a:cubicBezTo>
                  <a:pt x="68676" y="5358"/>
                  <a:pt x="68536" y="5296"/>
                  <a:pt x="68363" y="5296"/>
                </a:cubicBezTo>
                <a:cubicBezTo>
                  <a:pt x="68207" y="5296"/>
                  <a:pt x="68051" y="5358"/>
                  <a:pt x="67942" y="5468"/>
                </a:cubicBezTo>
                <a:lnTo>
                  <a:pt x="67660" y="5765"/>
                </a:lnTo>
                <a:cubicBezTo>
                  <a:pt x="67457" y="5640"/>
                  <a:pt x="67238" y="5562"/>
                  <a:pt x="67003" y="5484"/>
                </a:cubicBezTo>
                <a:lnTo>
                  <a:pt x="67003" y="5077"/>
                </a:lnTo>
                <a:cubicBezTo>
                  <a:pt x="67003" y="4748"/>
                  <a:pt x="66737" y="4483"/>
                  <a:pt x="66409" y="4483"/>
                </a:cubicBezTo>
                <a:lnTo>
                  <a:pt x="65674" y="4483"/>
                </a:lnTo>
                <a:cubicBezTo>
                  <a:pt x="65346" y="4483"/>
                  <a:pt x="65080" y="4748"/>
                  <a:pt x="65080" y="5077"/>
                </a:cubicBezTo>
                <a:lnTo>
                  <a:pt x="65080" y="5484"/>
                </a:lnTo>
                <a:cubicBezTo>
                  <a:pt x="64845" y="5562"/>
                  <a:pt x="64627" y="5640"/>
                  <a:pt x="64423" y="5765"/>
                </a:cubicBezTo>
                <a:lnTo>
                  <a:pt x="64142" y="5468"/>
                </a:lnTo>
                <a:cubicBezTo>
                  <a:pt x="64032" y="5358"/>
                  <a:pt x="63876" y="5296"/>
                  <a:pt x="63719" y="5296"/>
                </a:cubicBezTo>
                <a:cubicBezTo>
                  <a:pt x="63547" y="5296"/>
                  <a:pt x="63407" y="5358"/>
                  <a:pt x="63282" y="5468"/>
                </a:cubicBezTo>
                <a:lnTo>
                  <a:pt x="62766" y="5984"/>
                </a:lnTo>
                <a:cubicBezTo>
                  <a:pt x="62656" y="6109"/>
                  <a:pt x="62593" y="6250"/>
                  <a:pt x="62593" y="6422"/>
                </a:cubicBezTo>
                <a:cubicBezTo>
                  <a:pt x="62593" y="6578"/>
                  <a:pt x="62656" y="6719"/>
                  <a:pt x="62766" y="6844"/>
                </a:cubicBezTo>
                <a:lnTo>
                  <a:pt x="63063" y="7125"/>
                </a:lnTo>
                <a:cubicBezTo>
                  <a:pt x="62938" y="7328"/>
                  <a:pt x="62859" y="7548"/>
                  <a:pt x="62781" y="7782"/>
                </a:cubicBezTo>
                <a:cubicBezTo>
                  <a:pt x="62390" y="7782"/>
                  <a:pt x="62520" y="7782"/>
                  <a:pt x="62390" y="7782"/>
                </a:cubicBezTo>
                <a:cubicBezTo>
                  <a:pt x="62046" y="7782"/>
                  <a:pt x="61780" y="8048"/>
                  <a:pt x="61780" y="8376"/>
                </a:cubicBezTo>
                <a:lnTo>
                  <a:pt x="61780" y="9111"/>
                </a:lnTo>
                <a:cubicBezTo>
                  <a:pt x="61780" y="9268"/>
                  <a:pt x="61843" y="9409"/>
                  <a:pt x="61952" y="9518"/>
                </a:cubicBezTo>
                <a:lnTo>
                  <a:pt x="61843" y="9518"/>
                </a:lnTo>
                <a:lnTo>
                  <a:pt x="61295" y="9518"/>
                </a:lnTo>
                <a:cubicBezTo>
                  <a:pt x="61202" y="9205"/>
                  <a:pt x="61077" y="8908"/>
                  <a:pt x="60920" y="8627"/>
                </a:cubicBezTo>
                <a:lnTo>
                  <a:pt x="61311" y="8236"/>
                </a:lnTo>
                <a:cubicBezTo>
                  <a:pt x="61437" y="8111"/>
                  <a:pt x="61499" y="7954"/>
                  <a:pt x="61499" y="7782"/>
                </a:cubicBezTo>
                <a:cubicBezTo>
                  <a:pt x="61499" y="7595"/>
                  <a:pt x="61437" y="7438"/>
                  <a:pt x="61311" y="7313"/>
                </a:cubicBezTo>
                <a:lnTo>
                  <a:pt x="60686" y="6687"/>
                </a:lnTo>
                <a:cubicBezTo>
                  <a:pt x="60561" y="6562"/>
                  <a:pt x="60389" y="6484"/>
                  <a:pt x="60217" y="6484"/>
                </a:cubicBezTo>
                <a:cubicBezTo>
                  <a:pt x="60044" y="6484"/>
                  <a:pt x="59888" y="6562"/>
                  <a:pt x="59763" y="6687"/>
                </a:cubicBezTo>
                <a:lnTo>
                  <a:pt x="59372" y="7078"/>
                </a:lnTo>
                <a:cubicBezTo>
                  <a:pt x="59091" y="6922"/>
                  <a:pt x="58794" y="6797"/>
                  <a:pt x="58481" y="6703"/>
                </a:cubicBezTo>
                <a:cubicBezTo>
                  <a:pt x="58481" y="6156"/>
                  <a:pt x="58481" y="6338"/>
                  <a:pt x="58481" y="6156"/>
                </a:cubicBezTo>
                <a:cubicBezTo>
                  <a:pt x="58481" y="5796"/>
                  <a:pt x="58184" y="5499"/>
                  <a:pt x="57824" y="5499"/>
                </a:cubicBezTo>
                <a:lnTo>
                  <a:pt x="56933" y="5499"/>
                </a:lnTo>
                <a:cubicBezTo>
                  <a:pt x="56573" y="5499"/>
                  <a:pt x="56276" y="5796"/>
                  <a:pt x="56276" y="6156"/>
                </a:cubicBezTo>
                <a:cubicBezTo>
                  <a:pt x="56276" y="6703"/>
                  <a:pt x="56276" y="6520"/>
                  <a:pt x="56276" y="6703"/>
                </a:cubicBezTo>
                <a:cubicBezTo>
                  <a:pt x="55979" y="6797"/>
                  <a:pt x="55682" y="6922"/>
                  <a:pt x="55400" y="7078"/>
                </a:cubicBezTo>
                <a:lnTo>
                  <a:pt x="55010" y="6687"/>
                </a:lnTo>
                <a:cubicBezTo>
                  <a:pt x="54884" y="6562"/>
                  <a:pt x="54728" y="6484"/>
                  <a:pt x="54540" y="6484"/>
                </a:cubicBezTo>
                <a:cubicBezTo>
                  <a:pt x="54369" y="6484"/>
                  <a:pt x="54212" y="6562"/>
                  <a:pt x="54087" y="6687"/>
                </a:cubicBezTo>
                <a:lnTo>
                  <a:pt x="53446" y="7313"/>
                </a:lnTo>
                <a:cubicBezTo>
                  <a:pt x="53336" y="7438"/>
                  <a:pt x="53258" y="7595"/>
                  <a:pt x="53258" y="7782"/>
                </a:cubicBezTo>
                <a:cubicBezTo>
                  <a:pt x="53258" y="7954"/>
                  <a:pt x="53336" y="8111"/>
                  <a:pt x="53446" y="8236"/>
                </a:cubicBezTo>
                <a:lnTo>
                  <a:pt x="53837" y="8627"/>
                </a:lnTo>
                <a:cubicBezTo>
                  <a:pt x="53681" y="8908"/>
                  <a:pt x="53571" y="9205"/>
                  <a:pt x="53477" y="9518"/>
                </a:cubicBezTo>
                <a:cubicBezTo>
                  <a:pt x="52930" y="9518"/>
                  <a:pt x="53112" y="9518"/>
                  <a:pt x="52930" y="9518"/>
                </a:cubicBezTo>
                <a:cubicBezTo>
                  <a:pt x="52570" y="9518"/>
                  <a:pt x="52273" y="9799"/>
                  <a:pt x="52273" y="10159"/>
                </a:cubicBezTo>
                <a:lnTo>
                  <a:pt x="52273" y="11050"/>
                </a:lnTo>
                <a:cubicBezTo>
                  <a:pt x="52273" y="11426"/>
                  <a:pt x="52570" y="11707"/>
                  <a:pt x="52930" y="11707"/>
                </a:cubicBezTo>
                <a:cubicBezTo>
                  <a:pt x="53477" y="11707"/>
                  <a:pt x="53295" y="11707"/>
                  <a:pt x="53477" y="11707"/>
                </a:cubicBezTo>
                <a:cubicBezTo>
                  <a:pt x="53571" y="12020"/>
                  <a:pt x="53681" y="12317"/>
                  <a:pt x="53837" y="12599"/>
                </a:cubicBezTo>
                <a:lnTo>
                  <a:pt x="53446" y="12989"/>
                </a:lnTo>
                <a:cubicBezTo>
                  <a:pt x="53336" y="13115"/>
                  <a:pt x="53258" y="13271"/>
                  <a:pt x="53258" y="13443"/>
                </a:cubicBezTo>
                <a:cubicBezTo>
                  <a:pt x="53258" y="13630"/>
                  <a:pt x="53336" y="13787"/>
                  <a:pt x="53446" y="13912"/>
                </a:cubicBezTo>
                <a:lnTo>
                  <a:pt x="54087" y="14538"/>
                </a:lnTo>
                <a:cubicBezTo>
                  <a:pt x="54212" y="14663"/>
                  <a:pt x="54369" y="14741"/>
                  <a:pt x="54540" y="14741"/>
                </a:cubicBezTo>
                <a:cubicBezTo>
                  <a:pt x="54728" y="14741"/>
                  <a:pt x="54884" y="14663"/>
                  <a:pt x="55010" y="14538"/>
                </a:cubicBezTo>
                <a:lnTo>
                  <a:pt x="55057" y="14506"/>
                </a:lnTo>
                <a:cubicBezTo>
                  <a:pt x="55213" y="15163"/>
                  <a:pt x="55385" y="15867"/>
                  <a:pt x="55557" y="16586"/>
                </a:cubicBezTo>
                <a:lnTo>
                  <a:pt x="24095" y="16586"/>
                </a:lnTo>
                <a:cubicBezTo>
                  <a:pt x="22031" y="16586"/>
                  <a:pt x="20780" y="17821"/>
                  <a:pt x="20780" y="19901"/>
                </a:cubicBezTo>
                <a:lnTo>
                  <a:pt x="20780" y="35397"/>
                </a:lnTo>
                <a:cubicBezTo>
                  <a:pt x="19920" y="35210"/>
                  <a:pt x="19060" y="35038"/>
                  <a:pt x="18246" y="34897"/>
                </a:cubicBezTo>
                <a:cubicBezTo>
                  <a:pt x="18372" y="34756"/>
                  <a:pt x="18450" y="34569"/>
                  <a:pt x="18450" y="34381"/>
                </a:cubicBezTo>
                <a:cubicBezTo>
                  <a:pt x="18450" y="34178"/>
                  <a:pt x="18372" y="33990"/>
                  <a:pt x="18231" y="33849"/>
                </a:cubicBezTo>
                <a:lnTo>
                  <a:pt x="17418" y="33036"/>
                </a:lnTo>
                <a:cubicBezTo>
                  <a:pt x="17277" y="32895"/>
                  <a:pt x="17105" y="32817"/>
                  <a:pt x="16902" y="32817"/>
                </a:cubicBezTo>
                <a:cubicBezTo>
                  <a:pt x="16698" y="32817"/>
                  <a:pt x="16511" y="32895"/>
                  <a:pt x="16370" y="33036"/>
                </a:cubicBezTo>
                <a:lnTo>
                  <a:pt x="15823" y="33599"/>
                </a:lnTo>
                <a:cubicBezTo>
                  <a:pt x="15416" y="33365"/>
                  <a:pt x="14994" y="33193"/>
                  <a:pt x="14556" y="33083"/>
                </a:cubicBezTo>
                <a:lnTo>
                  <a:pt x="14556" y="32285"/>
                </a:lnTo>
                <a:cubicBezTo>
                  <a:pt x="14556" y="31879"/>
                  <a:pt x="14228" y="31551"/>
                  <a:pt x="13821" y="31551"/>
                </a:cubicBezTo>
                <a:lnTo>
                  <a:pt x="13790" y="31551"/>
                </a:lnTo>
                <a:cubicBezTo>
                  <a:pt x="13915" y="31519"/>
                  <a:pt x="14040" y="31457"/>
                  <a:pt x="14134" y="31363"/>
                </a:cubicBezTo>
                <a:lnTo>
                  <a:pt x="14759" y="30738"/>
                </a:lnTo>
                <a:cubicBezTo>
                  <a:pt x="15025" y="30488"/>
                  <a:pt x="15025" y="30065"/>
                  <a:pt x="14759" y="29815"/>
                </a:cubicBezTo>
                <a:lnTo>
                  <a:pt x="14368" y="29424"/>
                </a:lnTo>
                <a:cubicBezTo>
                  <a:pt x="14541" y="29143"/>
                  <a:pt x="14650" y="28845"/>
                  <a:pt x="14744" y="28533"/>
                </a:cubicBezTo>
                <a:lnTo>
                  <a:pt x="15291" y="28533"/>
                </a:lnTo>
                <a:cubicBezTo>
                  <a:pt x="15651" y="28533"/>
                  <a:pt x="15948" y="28236"/>
                  <a:pt x="15948" y="27876"/>
                </a:cubicBezTo>
                <a:lnTo>
                  <a:pt x="15948" y="26985"/>
                </a:lnTo>
                <a:cubicBezTo>
                  <a:pt x="15948" y="26625"/>
                  <a:pt x="15651" y="26328"/>
                  <a:pt x="15291" y="26328"/>
                </a:cubicBezTo>
                <a:lnTo>
                  <a:pt x="14744" y="26328"/>
                </a:lnTo>
                <a:cubicBezTo>
                  <a:pt x="14650" y="26031"/>
                  <a:pt x="14541" y="25734"/>
                  <a:pt x="14368" y="25452"/>
                </a:cubicBezTo>
                <a:lnTo>
                  <a:pt x="14759" y="25061"/>
                </a:lnTo>
                <a:cubicBezTo>
                  <a:pt x="15025" y="24811"/>
                  <a:pt x="15025" y="24389"/>
                  <a:pt x="14759" y="24139"/>
                </a:cubicBezTo>
                <a:lnTo>
                  <a:pt x="14134" y="23498"/>
                </a:lnTo>
                <a:cubicBezTo>
                  <a:pt x="14009" y="23388"/>
                  <a:pt x="13853" y="23310"/>
                  <a:pt x="13680" y="23310"/>
                </a:cubicBezTo>
                <a:cubicBezTo>
                  <a:pt x="13493" y="23310"/>
                  <a:pt x="13337" y="23388"/>
                  <a:pt x="13212" y="23498"/>
                </a:cubicBezTo>
                <a:lnTo>
                  <a:pt x="12820" y="23888"/>
                </a:lnTo>
                <a:cubicBezTo>
                  <a:pt x="12539" y="23732"/>
                  <a:pt x="12242" y="23623"/>
                  <a:pt x="11929" y="23529"/>
                </a:cubicBezTo>
                <a:lnTo>
                  <a:pt x="11929" y="22982"/>
                </a:lnTo>
                <a:cubicBezTo>
                  <a:pt x="11929" y="22622"/>
                  <a:pt x="11648" y="22325"/>
                  <a:pt x="11288" y="22325"/>
                </a:cubicBezTo>
                <a:lnTo>
                  <a:pt x="10397" y="22325"/>
                </a:lnTo>
                <a:cubicBezTo>
                  <a:pt x="10022" y="22325"/>
                  <a:pt x="9740" y="22622"/>
                  <a:pt x="9740" y="22982"/>
                </a:cubicBezTo>
                <a:lnTo>
                  <a:pt x="9740" y="23529"/>
                </a:lnTo>
                <a:cubicBezTo>
                  <a:pt x="9427" y="23623"/>
                  <a:pt x="9130" y="23732"/>
                  <a:pt x="8849" y="23888"/>
                </a:cubicBezTo>
                <a:cubicBezTo>
                  <a:pt x="8458" y="23498"/>
                  <a:pt x="8588" y="23628"/>
                  <a:pt x="8458" y="23498"/>
                </a:cubicBezTo>
                <a:cubicBezTo>
                  <a:pt x="8333" y="23388"/>
                  <a:pt x="8176" y="23310"/>
                  <a:pt x="8004" y="23310"/>
                </a:cubicBezTo>
                <a:cubicBezTo>
                  <a:pt x="7816" y="23310"/>
                  <a:pt x="7660" y="23388"/>
                  <a:pt x="7535" y="23498"/>
                </a:cubicBezTo>
                <a:lnTo>
                  <a:pt x="6910" y="24139"/>
                </a:lnTo>
                <a:cubicBezTo>
                  <a:pt x="6644" y="24389"/>
                  <a:pt x="6644" y="24811"/>
                  <a:pt x="6910" y="25061"/>
                </a:cubicBezTo>
                <a:lnTo>
                  <a:pt x="7300" y="25452"/>
                </a:lnTo>
                <a:cubicBezTo>
                  <a:pt x="7144" y="25734"/>
                  <a:pt x="7019" y="26031"/>
                  <a:pt x="6925" y="26328"/>
                </a:cubicBezTo>
                <a:lnTo>
                  <a:pt x="6378" y="26328"/>
                </a:lnTo>
                <a:cubicBezTo>
                  <a:pt x="6018" y="26328"/>
                  <a:pt x="5721" y="26625"/>
                  <a:pt x="5721" y="26985"/>
                </a:cubicBezTo>
                <a:lnTo>
                  <a:pt x="5721" y="27876"/>
                </a:lnTo>
                <a:cubicBezTo>
                  <a:pt x="5721" y="28236"/>
                  <a:pt x="6018" y="28533"/>
                  <a:pt x="6378" y="28533"/>
                </a:cubicBezTo>
                <a:lnTo>
                  <a:pt x="6925" y="28533"/>
                </a:lnTo>
                <a:cubicBezTo>
                  <a:pt x="7019" y="28845"/>
                  <a:pt x="7144" y="29143"/>
                  <a:pt x="7300" y="29424"/>
                </a:cubicBezTo>
                <a:lnTo>
                  <a:pt x="6910" y="29815"/>
                </a:lnTo>
                <a:cubicBezTo>
                  <a:pt x="6644" y="30065"/>
                  <a:pt x="6644" y="30488"/>
                  <a:pt x="6910" y="30738"/>
                </a:cubicBezTo>
                <a:lnTo>
                  <a:pt x="7535" y="31363"/>
                </a:lnTo>
                <a:cubicBezTo>
                  <a:pt x="7660" y="31488"/>
                  <a:pt x="7816" y="31551"/>
                  <a:pt x="8004" y="31551"/>
                </a:cubicBezTo>
                <a:cubicBezTo>
                  <a:pt x="8176" y="31551"/>
                  <a:pt x="8333" y="31488"/>
                  <a:pt x="8458" y="31363"/>
                </a:cubicBezTo>
                <a:lnTo>
                  <a:pt x="8849" y="30972"/>
                </a:lnTo>
                <a:cubicBezTo>
                  <a:pt x="9130" y="31129"/>
                  <a:pt x="9427" y="31254"/>
                  <a:pt x="9740" y="31347"/>
                </a:cubicBezTo>
                <a:lnTo>
                  <a:pt x="9740" y="31895"/>
                </a:lnTo>
                <a:cubicBezTo>
                  <a:pt x="9740" y="32254"/>
                  <a:pt x="10022" y="32552"/>
                  <a:pt x="10397" y="32552"/>
                </a:cubicBezTo>
                <a:lnTo>
                  <a:pt x="11288" y="32552"/>
                </a:lnTo>
                <a:cubicBezTo>
                  <a:pt x="11648" y="32552"/>
                  <a:pt x="11929" y="32254"/>
                  <a:pt x="11929" y="31895"/>
                </a:cubicBezTo>
                <a:lnTo>
                  <a:pt x="11929" y="31347"/>
                </a:lnTo>
                <a:cubicBezTo>
                  <a:pt x="12242" y="31254"/>
                  <a:pt x="12539" y="31129"/>
                  <a:pt x="12820" y="30972"/>
                </a:cubicBezTo>
                <a:lnTo>
                  <a:pt x="13212" y="31363"/>
                </a:lnTo>
                <a:cubicBezTo>
                  <a:pt x="13305" y="31457"/>
                  <a:pt x="13430" y="31519"/>
                  <a:pt x="13555" y="31551"/>
                </a:cubicBezTo>
                <a:lnTo>
                  <a:pt x="12664" y="31551"/>
                </a:lnTo>
                <a:cubicBezTo>
                  <a:pt x="12257" y="31551"/>
                  <a:pt x="11929" y="31879"/>
                  <a:pt x="11929" y="32285"/>
                </a:cubicBezTo>
                <a:lnTo>
                  <a:pt x="11929" y="33083"/>
                </a:lnTo>
                <a:cubicBezTo>
                  <a:pt x="11491" y="33193"/>
                  <a:pt x="11069" y="33365"/>
                  <a:pt x="10678" y="33599"/>
                </a:cubicBezTo>
                <a:lnTo>
                  <a:pt x="10115" y="33036"/>
                </a:lnTo>
                <a:cubicBezTo>
                  <a:pt x="9975" y="32895"/>
                  <a:pt x="9787" y="32817"/>
                  <a:pt x="9584" y="32817"/>
                </a:cubicBezTo>
                <a:cubicBezTo>
                  <a:pt x="9396" y="32817"/>
                  <a:pt x="9208" y="32895"/>
                  <a:pt x="9067" y="33036"/>
                </a:cubicBezTo>
                <a:lnTo>
                  <a:pt x="8254" y="33849"/>
                </a:lnTo>
                <a:cubicBezTo>
                  <a:pt x="8114" y="33990"/>
                  <a:pt x="8036" y="34178"/>
                  <a:pt x="8036" y="34381"/>
                </a:cubicBezTo>
                <a:cubicBezTo>
                  <a:pt x="8036" y="34569"/>
                  <a:pt x="8114" y="34756"/>
                  <a:pt x="8254" y="34897"/>
                </a:cubicBezTo>
                <a:lnTo>
                  <a:pt x="8817" y="35460"/>
                </a:lnTo>
                <a:cubicBezTo>
                  <a:pt x="8583" y="35851"/>
                  <a:pt x="8411" y="36273"/>
                  <a:pt x="8286" y="36711"/>
                </a:cubicBezTo>
                <a:lnTo>
                  <a:pt x="7504" y="36711"/>
                </a:lnTo>
                <a:cubicBezTo>
                  <a:pt x="7097" y="36711"/>
                  <a:pt x="6753" y="37055"/>
                  <a:pt x="6753" y="37461"/>
                </a:cubicBezTo>
                <a:lnTo>
                  <a:pt x="6753" y="38603"/>
                </a:lnTo>
                <a:cubicBezTo>
                  <a:pt x="6753" y="39010"/>
                  <a:pt x="7097" y="39353"/>
                  <a:pt x="7504" y="39353"/>
                </a:cubicBezTo>
                <a:lnTo>
                  <a:pt x="8286" y="39353"/>
                </a:lnTo>
                <a:cubicBezTo>
                  <a:pt x="8411" y="39791"/>
                  <a:pt x="8583" y="40214"/>
                  <a:pt x="8817" y="40604"/>
                </a:cubicBezTo>
                <a:lnTo>
                  <a:pt x="8254" y="41167"/>
                </a:lnTo>
                <a:cubicBezTo>
                  <a:pt x="8114" y="41308"/>
                  <a:pt x="8036" y="41496"/>
                  <a:pt x="8036" y="41684"/>
                </a:cubicBezTo>
                <a:cubicBezTo>
                  <a:pt x="8036" y="41887"/>
                  <a:pt x="8114" y="42075"/>
                  <a:pt x="8254" y="42215"/>
                </a:cubicBezTo>
                <a:cubicBezTo>
                  <a:pt x="9067" y="43028"/>
                  <a:pt x="8796" y="42757"/>
                  <a:pt x="9067" y="43028"/>
                </a:cubicBezTo>
                <a:cubicBezTo>
                  <a:pt x="9208" y="43169"/>
                  <a:pt x="9396" y="43248"/>
                  <a:pt x="9584" y="43248"/>
                </a:cubicBezTo>
                <a:cubicBezTo>
                  <a:pt x="9787" y="43248"/>
                  <a:pt x="9975" y="43169"/>
                  <a:pt x="10115" y="43028"/>
                </a:cubicBezTo>
                <a:lnTo>
                  <a:pt x="10678" y="42465"/>
                </a:lnTo>
                <a:cubicBezTo>
                  <a:pt x="11069" y="42700"/>
                  <a:pt x="11491" y="42872"/>
                  <a:pt x="11929" y="42981"/>
                </a:cubicBezTo>
                <a:lnTo>
                  <a:pt x="11929" y="43779"/>
                </a:lnTo>
                <a:cubicBezTo>
                  <a:pt x="11929" y="44186"/>
                  <a:pt x="12257" y="44514"/>
                  <a:pt x="12664" y="44514"/>
                </a:cubicBezTo>
                <a:lnTo>
                  <a:pt x="13821" y="44514"/>
                </a:lnTo>
                <a:cubicBezTo>
                  <a:pt x="14228" y="44514"/>
                  <a:pt x="14556" y="44186"/>
                  <a:pt x="14556" y="43779"/>
                </a:cubicBezTo>
                <a:lnTo>
                  <a:pt x="14556" y="42981"/>
                </a:lnTo>
                <a:cubicBezTo>
                  <a:pt x="14994" y="42872"/>
                  <a:pt x="15416" y="42700"/>
                  <a:pt x="15823" y="42465"/>
                </a:cubicBezTo>
                <a:lnTo>
                  <a:pt x="16370" y="43028"/>
                </a:lnTo>
                <a:cubicBezTo>
                  <a:pt x="16511" y="43169"/>
                  <a:pt x="16698" y="43248"/>
                  <a:pt x="16902" y="43248"/>
                </a:cubicBezTo>
                <a:cubicBezTo>
                  <a:pt x="17105" y="43248"/>
                  <a:pt x="17277" y="43169"/>
                  <a:pt x="17418" y="43028"/>
                </a:cubicBezTo>
                <a:cubicBezTo>
                  <a:pt x="17793" y="42653"/>
                  <a:pt x="17668" y="42778"/>
                  <a:pt x="17793" y="42653"/>
                </a:cubicBezTo>
                <a:cubicBezTo>
                  <a:pt x="18716" y="42794"/>
                  <a:pt x="19732" y="42935"/>
                  <a:pt x="20780" y="43060"/>
                </a:cubicBezTo>
                <a:lnTo>
                  <a:pt x="20780" y="47547"/>
                </a:lnTo>
                <a:lnTo>
                  <a:pt x="17496" y="47547"/>
                </a:lnTo>
                <a:cubicBezTo>
                  <a:pt x="17308" y="47547"/>
                  <a:pt x="17136" y="47704"/>
                  <a:pt x="17136" y="47907"/>
                </a:cubicBezTo>
                <a:lnTo>
                  <a:pt x="17136" y="49502"/>
                </a:lnTo>
                <a:cubicBezTo>
                  <a:pt x="17136" y="51535"/>
                  <a:pt x="18559" y="53724"/>
                  <a:pt x="20670" y="53724"/>
                </a:cubicBezTo>
                <a:lnTo>
                  <a:pt x="66206" y="53724"/>
                </a:lnTo>
                <a:cubicBezTo>
                  <a:pt x="67175" y="53724"/>
                  <a:pt x="68301" y="53224"/>
                  <a:pt x="69208" y="52395"/>
                </a:cubicBezTo>
                <a:cubicBezTo>
                  <a:pt x="70146" y="51535"/>
                  <a:pt x="70678" y="50487"/>
                  <a:pt x="70678" y="49502"/>
                </a:cubicBezTo>
                <a:lnTo>
                  <a:pt x="70678" y="47907"/>
                </a:lnTo>
                <a:cubicBezTo>
                  <a:pt x="70678" y="47704"/>
                  <a:pt x="70522" y="47547"/>
                  <a:pt x="70318" y="47547"/>
                </a:cubicBezTo>
                <a:close/>
                <a:moveTo>
                  <a:pt x="62500" y="8486"/>
                </a:moveTo>
                <a:lnTo>
                  <a:pt x="63063" y="8486"/>
                </a:lnTo>
                <a:cubicBezTo>
                  <a:pt x="63234" y="8486"/>
                  <a:pt x="63391" y="8376"/>
                  <a:pt x="63422" y="8204"/>
                </a:cubicBezTo>
                <a:cubicBezTo>
                  <a:pt x="63485" y="7876"/>
                  <a:pt x="63610" y="7548"/>
                  <a:pt x="63813" y="7266"/>
                </a:cubicBezTo>
                <a:cubicBezTo>
                  <a:pt x="63907" y="7125"/>
                  <a:pt x="63876" y="6938"/>
                  <a:pt x="63766" y="6813"/>
                </a:cubicBezTo>
                <a:lnTo>
                  <a:pt x="63360" y="6422"/>
                </a:lnTo>
                <a:lnTo>
                  <a:pt x="63719" y="6062"/>
                </a:lnTo>
                <a:lnTo>
                  <a:pt x="64110" y="6469"/>
                </a:lnTo>
                <a:cubicBezTo>
                  <a:pt x="64235" y="6578"/>
                  <a:pt x="64423" y="6594"/>
                  <a:pt x="64564" y="6500"/>
                </a:cubicBezTo>
                <a:cubicBezTo>
                  <a:pt x="64861" y="6312"/>
                  <a:pt x="65173" y="6187"/>
                  <a:pt x="65502" y="6125"/>
                </a:cubicBezTo>
                <a:cubicBezTo>
                  <a:pt x="65674" y="6078"/>
                  <a:pt x="65783" y="5937"/>
                  <a:pt x="65783" y="5765"/>
                </a:cubicBezTo>
                <a:lnTo>
                  <a:pt x="65783" y="5202"/>
                </a:lnTo>
                <a:lnTo>
                  <a:pt x="66299" y="5202"/>
                </a:lnTo>
                <a:lnTo>
                  <a:pt x="66299" y="5765"/>
                </a:lnTo>
                <a:cubicBezTo>
                  <a:pt x="66299" y="5937"/>
                  <a:pt x="66409" y="6078"/>
                  <a:pt x="66581" y="6125"/>
                </a:cubicBezTo>
                <a:cubicBezTo>
                  <a:pt x="66909" y="6187"/>
                  <a:pt x="67222" y="6312"/>
                  <a:pt x="67519" y="6500"/>
                </a:cubicBezTo>
                <a:cubicBezTo>
                  <a:pt x="67660" y="6594"/>
                  <a:pt x="67848" y="6578"/>
                  <a:pt x="67973" y="6469"/>
                </a:cubicBezTo>
                <a:lnTo>
                  <a:pt x="68363" y="6062"/>
                </a:lnTo>
                <a:lnTo>
                  <a:pt x="68723" y="6422"/>
                </a:lnTo>
                <a:lnTo>
                  <a:pt x="68317" y="6813"/>
                </a:lnTo>
                <a:cubicBezTo>
                  <a:pt x="68207" y="6938"/>
                  <a:pt x="68176" y="7125"/>
                  <a:pt x="68270" y="7266"/>
                </a:cubicBezTo>
                <a:cubicBezTo>
                  <a:pt x="68473" y="7548"/>
                  <a:pt x="68598" y="7876"/>
                  <a:pt x="68661" y="8204"/>
                </a:cubicBezTo>
                <a:cubicBezTo>
                  <a:pt x="68708" y="8376"/>
                  <a:pt x="68848" y="8486"/>
                  <a:pt x="69020" y="8486"/>
                </a:cubicBezTo>
                <a:lnTo>
                  <a:pt x="69583" y="8486"/>
                </a:lnTo>
                <a:lnTo>
                  <a:pt x="69583" y="9002"/>
                </a:lnTo>
                <a:lnTo>
                  <a:pt x="69020" y="9002"/>
                </a:lnTo>
                <a:cubicBezTo>
                  <a:pt x="68848" y="9002"/>
                  <a:pt x="68692" y="9111"/>
                  <a:pt x="68661" y="9284"/>
                </a:cubicBezTo>
                <a:cubicBezTo>
                  <a:pt x="68598" y="9612"/>
                  <a:pt x="68473" y="9925"/>
                  <a:pt x="68270" y="10222"/>
                </a:cubicBezTo>
                <a:cubicBezTo>
                  <a:pt x="68176" y="10362"/>
                  <a:pt x="68207" y="10550"/>
                  <a:pt x="68317" y="10660"/>
                </a:cubicBezTo>
                <a:lnTo>
                  <a:pt x="68723" y="11066"/>
                </a:lnTo>
                <a:lnTo>
                  <a:pt x="68363" y="11426"/>
                </a:lnTo>
                <a:lnTo>
                  <a:pt x="67973" y="11019"/>
                </a:lnTo>
                <a:cubicBezTo>
                  <a:pt x="67848" y="10910"/>
                  <a:pt x="67660" y="10878"/>
                  <a:pt x="67519" y="10972"/>
                </a:cubicBezTo>
                <a:cubicBezTo>
                  <a:pt x="67222" y="11175"/>
                  <a:pt x="66909" y="11301"/>
                  <a:pt x="66581" y="11363"/>
                </a:cubicBezTo>
                <a:cubicBezTo>
                  <a:pt x="66409" y="11394"/>
                  <a:pt x="66299" y="11551"/>
                  <a:pt x="66299" y="11723"/>
                </a:cubicBezTo>
                <a:lnTo>
                  <a:pt x="66299" y="12286"/>
                </a:lnTo>
                <a:lnTo>
                  <a:pt x="65783" y="12286"/>
                </a:lnTo>
                <a:lnTo>
                  <a:pt x="65783" y="11723"/>
                </a:lnTo>
                <a:cubicBezTo>
                  <a:pt x="65783" y="11551"/>
                  <a:pt x="65674" y="11394"/>
                  <a:pt x="65502" y="11363"/>
                </a:cubicBezTo>
                <a:cubicBezTo>
                  <a:pt x="65173" y="11301"/>
                  <a:pt x="64861" y="11175"/>
                  <a:pt x="64564" y="10972"/>
                </a:cubicBezTo>
                <a:cubicBezTo>
                  <a:pt x="64423" y="10878"/>
                  <a:pt x="64235" y="10910"/>
                  <a:pt x="64110" y="11019"/>
                </a:cubicBezTo>
                <a:lnTo>
                  <a:pt x="63719" y="11426"/>
                </a:lnTo>
                <a:lnTo>
                  <a:pt x="63360" y="11066"/>
                </a:lnTo>
                <a:lnTo>
                  <a:pt x="63766" y="10660"/>
                </a:lnTo>
                <a:cubicBezTo>
                  <a:pt x="63876" y="10550"/>
                  <a:pt x="63907" y="10362"/>
                  <a:pt x="63813" y="10222"/>
                </a:cubicBezTo>
                <a:cubicBezTo>
                  <a:pt x="63610" y="9925"/>
                  <a:pt x="63485" y="9612"/>
                  <a:pt x="63422" y="9284"/>
                </a:cubicBezTo>
                <a:cubicBezTo>
                  <a:pt x="63391" y="9111"/>
                  <a:pt x="63234" y="9002"/>
                  <a:pt x="63063" y="9002"/>
                </a:cubicBezTo>
                <a:lnTo>
                  <a:pt x="62500" y="9002"/>
                </a:lnTo>
                <a:close/>
                <a:moveTo>
                  <a:pt x="13133" y="30268"/>
                </a:moveTo>
                <a:cubicBezTo>
                  <a:pt x="13008" y="30143"/>
                  <a:pt x="12820" y="30128"/>
                  <a:pt x="12680" y="30221"/>
                </a:cubicBezTo>
                <a:cubicBezTo>
                  <a:pt x="12320" y="30456"/>
                  <a:pt x="11929" y="30628"/>
                  <a:pt x="11507" y="30706"/>
                </a:cubicBezTo>
                <a:cubicBezTo>
                  <a:pt x="11335" y="30738"/>
                  <a:pt x="11226" y="30894"/>
                  <a:pt x="11226" y="31066"/>
                </a:cubicBezTo>
                <a:lnTo>
                  <a:pt x="11226" y="31832"/>
                </a:lnTo>
                <a:cubicBezTo>
                  <a:pt x="10443" y="31832"/>
                  <a:pt x="10704" y="31832"/>
                  <a:pt x="10443" y="31832"/>
                </a:cubicBezTo>
                <a:lnTo>
                  <a:pt x="10443" y="31066"/>
                </a:lnTo>
                <a:cubicBezTo>
                  <a:pt x="10443" y="30894"/>
                  <a:pt x="10334" y="30738"/>
                  <a:pt x="10162" y="30706"/>
                </a:cubicBezTo>
                <a:cubicBezTo>
                  <a:pt x="9740" y="30628"/>
                  <a:pt x="9349" y="30456"/>
                  <a:pt x="8989" y="30221"/>
                </a:cubicBezTo>
                <a:cubicBezTo>
                  <a:pt x="8849" y="30128"/>
                  <a:pt x="8661" y="30143"/>
                  <a:pt x="8551" y="30268"/>
                </a:cubicBezTo>
                <a:cubicBezTo>
                  <a:pt x="8004" y="30816"/>
                  <a:pt x="8186" y="30633"/>
                  <a:pt x="8004" y="30816"/>
                </a:cubicBezTo>
                <a:cubicBezTo>
                  <a:pt x="7457" y="30268"/>
                  <a:pt x="7639" y="30450"/>
                  <a:pt x="7457" y="30268"/>
                </a:cubicBezTo>
                <a:lnTo>
                  <a:pt x="8004" y="29721"/>
                </a:lnTo>
                <a:cubicBezTo>
                  <a:pt x="8114" y="29612"/>
                  <a:pt x="8145" y="29424"/>
                  <a:pt x="8051" y="29268"/>
                </a:cubicBezTo>
                <a:cubicBezTo>
                  <a:pt x="7801" y="28924"/>
                  <a:pt x="7645" y="28517"/>
                  <a:pt x="7566" y="28111"/>
                </a:cubicBezTo>
                <a:cubicBezTo>
                  <a:pt x="7520" y="27939"/>
                  <a:pt x="7379" y="27813"/>
                  <a:pt x="7207" y="27813"/>
                </a:cubicBezTo>
                <a:lnTo>
                  <a:pt x="6440" y="27813"/>
                </a:lnTo>
                <a:lnTo>
                  <a:pt x="6440" y="27047"/>
                </a:lnTo>
                <a:lnTo>
                  <a:pt x="7207" y="27047"/>
                </a:lnTo>
                <a:cubicBezTo>
                  <a:pt x="7379" y="27047"/>
                  <a:pt x="7520" y="26922"/>
                  <a:pt x="7566" y="26766"/>
                </a:cubicBezTo>
                <a:cubicBezTo>
                  <a:pt x="7645" y="26343"/>
                  <a:pt x="7801" y="25953"/>
                  <a:pt x="8051" y="25593"/>
                </a:cubicBezTo>
                <a:cubicBezTo>
                  <a:pt x="8145" y="25452"/>
                  <a:pt x="8114" y="25264"/>
                  <a:pt x="8004" y="25139"/>
                </a:cubicBezTo>
                <a:cubicBezTo>
                  <a:pt x="7457" y="24592"/>
                  <a:pt x="7639" y="24774"/>
                  <a:pt x="7457" y="24592"/>
                </a:cubicBezTo>
                <a:lnTo>
                  <a:pt x="8004" y="24045"/>
                </a:lnTo>
                <a:lnTo>
                  <a:pt x="8551" y="24592"/>
                </a:lnTo>
                <a:cubicBezTo>
                  <a:pt x="8661" y="24717"/>
                  <a:pt x="8849" y="24733"/>
                  <a:pt x="8989" y="24639"/>
                </a:cubicBezTo>
                <a:cubicBezTo>
                  <a:pt x="9349" y="24404"/>
                  <a:pt x="9740" y="24248"/>
                  <a:pt x="10162" y="24154"/>
                </a:cubicBezTo>
                <a:cubicBezTo>
                  <a:pt x="10334" y="24123"/>
                  <a:pt x="10443" y="23982"/>
                  <a:pt x="10443" y="23810"/>
                </a:cubicBezTo>
                <a:lnTo>
                  <a:pt x="10443" y="23028"/>
                </a:lnTo>
                <a:cubicBezTo>
                  <a:pt x="11226" y="23028"/>
                  <a:pt x="10965" y="23028"/>
                  <a:pt x="11226" y="23028"/>
                </a:cubicBezTo>
                <a:lnTo>
                  <a:pt x="11226" y="23810"/>
                </a:lnTo>
                <a:cubicBezTo>
                  <a:pt x="11226" y="23982"/>
                  <a:pt x="11335" y="24123"/>
                  <a:pt x="11507" y="24154"/>
                </a:cubicBezTo>
                <a:cubicBezTo>
                  <a:pt x="11929" y="24248"/>
                  <a:pt x="12320" y="24404"/>
                  <a:pt x="12680" y="24639"/>
                </a:cubicBezTo>
                <a:cubicBezTo>
                  <a:pt x="12820" y="24733"/>
                  <a:pt x="13008" y="24717"/>
                  <a:pt x="13133" y="24592"/>
                </a:cubicBezTo>
                <a:lnTo>
                  <a:pt x="13680" y="24045"/>
                </a:lnTo>
                <a:lnTo>
                  <a:pt x="14212" y="24592"/>
                </a:lnTo>
                <a:cubicBezTo>
                  <a:pt x="13665" y="25139"/>
                  <a:pt x="13847" y="24956"/>
                  <a:pt x="13665" y="25139"/>
                </a:cubicBezTo>
                <a:cubicBezTo>
                  <a:pt x="13555" y="25264"/>
                  <a:pt x="13540" y="25452"/>
                  <a:pt x="13633" y="25593"/>
                </a:cubicBezTo>
                <a:cubicBezTo>
                  <a:pt x="13868" y="25953"/>
                  <a:pt x="14025" y="26343"/>
                  <a:pt x="14118" y="26766"/>
                </a:cubicBezTo>
                <a:cubicBezTo>
                  <a:pt x="14150" y="26922"/>
                  <a:pt x="14290" y="27047"/>
                  <a:pt x="14463" y="27047"/>
                </a:cubicBezTo>
                <a:lnTo>
                  <a:pt x="15229" y="27047"/>
                </a:lnTo>
                <a:lnTo>
                  <a:pt x="15229" y="27813"/>
                </a:lnTo>
                <a:lnTo>
                  <a:pt x="14463" y="27813"/>
                </a:lnTo>
                <a:cubicBezTo>
                  <a:pt x="14290" y="27813"/>
                  <a:pt x="14150" y="27939"/>
                  <a:pt x="14118" y="28111"/>
                </a:cubicBezTo>
                <a:cubicBezTo>
                  <a:pt x="14025" y="28517"/>
                  <a:pt x="13868" y="28924"/>
                  <a:pt x="13633" y="29268"/>
                </a:cubicBezTo>
                <a:cubicBezTo>
                  <a:pt x="13540" y="29424"/>
                  <a:pt x="13555" y="29612"/>
                  <a:pt x="13665" y="29721"/>
                </a:cubicBezTo>
                <a:lnTo>
                  <a:pt x="14212" y="30268"/>
                </a:lnTo>
                <a:cubicBezTo>
                  <a:pt x="13680" y="30816"/>
                  <a:pt x="13857" y="30633"/>
                  <a:pt x="13680" y="30816"/>
                </a:cubicBezTo>
                <a:close/>
                <a:moveTo>
                  <a:pt x="56714" y="13881"/>
                </a:moveTo>
                <a:cubicBezTo>
                  <a:pt x="56292" y="13803"/>
                  <a:pt x="55901" y="13646"/>
                  <a:pt x="55541" y="13396"/>
                </a:cubicBezTo>
                <a:lnTo>
                  <a:pt x="55525" y="13396"/>
                </a:lnTo>
                <a:cubicBezTo>
                  <a:pt x="55213" y="12051"/>
                  <a:pt x="54994" y="10988"/>
                  <a:pt x="54963" y="10518"/>
                </a:cubicBezTo>
                <a:cubicBezTo>
                  <a:pt x="54853" y="8799"/>
                  <a:pt x="56323" y="8345"/>
                  <a:pt x="56964" y="8236"/>
                </a:cubicBezTo>
                <a:cubicBezTo>
                  <a:pt x="57074" y="8220"/>
                  <a:pt x="57167" y="8204"/>
                  <a:pt x="57277" y="8204"/>
                </a:cubicBezTo>
                <a:cubicBezTo>
                  <a:pt x="57684" y="8204"/>
                  <a:pt x="58122" y="8329"/>
                  <a:pt x="58497" y="8533"/>
                </a:cubicBezTo>
                <a:cubicBezTo>
                  <a:pt x="58903" y="8752"/>
                  <a:pt x="59451" y="9189"/>
                  <a:pt x="59669" y="10003"/>
                </a:cubicBezTo>
                <a:cubicBezTo>
                  <a:pt x="59794" y="10409"/>
                  <a:pt x="60013" y="11223"/>
                  <a:pt x="60279" y="12270"/>
                </a:cubicBezTo>
                <a:cubicBezTo>
                  <a:pt x="60248" y="12332"/>
                  <a:pt x="60217" y="12395"/>
                  <a:pt x="60170" y="12457"/>
                </a:cubicBezTo>
                <a:cubicBezTo>
                  <a:pt x="60076" y="12599"/>
                  <a:pt x="60092" y="12786"/>
                  <a:pt x="60217" y="12895"/>
                </a:cubicBezTo>
                <a:cubicBezTo>
                  <a:pt x="60529" y="13208"/>
                  <a:pt x="60425" y="13103"/>
                  <a:pt x="60529" y="13208"/>
                </a:cubicBezTo>
                <a:cubicBezTo>
                  <a:pt x="60561" y="13333"/>
                  <a:pt x="60592" y="13458"/>
                  <a:pt x="60623" y="13599"/>
                </a:cubicBezTo>
                <a:lnTo>
                  <a:pt x="60217" y="13990"/>
                </a:lnTo>
                <a:lnTo>
                  <a:pt x="59669" y="13443"/>
                </a:lnTo>
                <a:cubicBezTo>
                  <a:pt x="59560" y="13333"/>
                  <a:pt x="59372" y="13302"/>
                  <a:pt x="59231" y="13396"/>
                </a:cubicBezTo>
                <a:cubicBezTo>
                  <a:pt x="58872" y="13646"/>
                  <a:pt x="58465" y="13803"/>
                  <a:pt x="58059" y="13881"/>
                </a:cubicBezTo>
                <a:cubicBezTo>
                  <a:pt x="57887" y="13928"/>
                  <a:pt x="57762" y="14068"/>
                  <a:pt x="57762" y="14240"/>
                </a:cubicBezTo>
                <a:lnTo>
                  <a:pt x="57762" y="15006"/>
                </a:lnTo>
                <a:lnTo>
                  <a:pt x="56996" y="15006"/>
                </a:lnTo>
                <a:lnTo>
                  <a:pt x="56996" y="14240"/>
                </a:lnTo>
                <a:cubicBezTo>
                  <a:pt x="56996" y="14068"/>
                  <a:pt x="56871" y="13928"/>
                  <a:pt x="56714" y="13881"/>
                </a:cubicBezTo>
                <a:close/>
                <a:moveTo>
                  <a:pt x="53759" y="11003"/>
                </a:moveTo>
                <a:lnTo>
                  <a:pt x="52976" y="11003"/>
                </a:lnTo>
                <a:lnTo>
                  <a:pt x="52976" y="10222"/>
                </a:lnTo>
                <a:lnTo>
                  <a:pt x="53759" y="10222"/>
                </a:lnTo>
                <a:cubicBezTo>
                  <a:pt x="53931" y="10222"/>
                  <a:pt x="54071" y="10112"/>
                  <a:pt x="54102" y="9940"/>
                </a:cubicBezTo>
                <a:cubicBezTo>
                  <a:pt x="54196" y="9518"/>
                  <a:pt x="54353" y="9127"/>
                  <a:pt x="54587" y="8767"/>
                </a:cubicBezTo>
                <a:cubicBezTo>
                  <a:pt x="54681" y="8627"/>
                  <a:pt x="54665" y="8439"/>
                  <a:pt x="54540" y="8329"/>
                </a:cubicBezTo>
                <a:lnTo>
                  <a:pt x="53993" y="7782"/>
                </a:lnTo>
                <a:lnTo>
                  <a:pt x="54540" y="7235"/>
                </a:lnTo>
                <a:lnTo>
                  <a:pt x="55088" y="7782"/>
                </a:lnTo>
                <a:cubicBezTo>
                  <a:pt x="55213" y="7891"/>
                  <a:pt x="55400" y="7923"/>
                  <a:pt x="55541" y="7829"/>
                </a:cubicBezTo>
                <a:cubicBezTo>
                  <a:pt x="55901" y="7579"/>
                  <a:pt x="56292" y="7423"/>
                  <a:pt x="56714" y="7345"/>
                </a:cubicBezTo>
                <a:cubicBezTo>
                  <a:pt x="56871" y="7297"/>
                  <a:pt x="56996" y="7157"/>
                  <a:pt x="56996" y="6985"/>
                </a:cubicBezTo>
                <a:cubicBezTo>
                  <a:pt x="56996" y="6219"/>
                  <a:pt x="56996" y="6474"/>
                  <a:pt x="56996" y="6219"/>
                </a:cubicBezTo>
                <a:lnTo>
                  <a:pt x="57762" y="6219"/>
                </a:lnTo>
                <a:cubicBezTo>
                  <a:pt x="57762" y="6985"/>
                  <a:pt x="57762" y="6729"/>
                  <a:pt x="57762" y="6985"/>
                </a:cubicBezTo>
                <a:cubicBezTo>
                  <a:pt x="57762" y="7157"/>
                  <a:pt x="57887" y="7297"/>
                  <a:pt x="58059" y="7345"/>
                </a:cubicBezTo>
                <a:cubicBezTo>
                  <a:pt x="58465" y="7423"/>
                  <a:pt x="58872" y="7579"/>
                  <a:pt x="59231" y="7829"/>
                </a:cubicBezTo>
                <a:cubicBezTo>
                  <a:pt x="59372" y="7923"/>
                  <a:pt x="59560" y="7891"/>
                  <a:pt x="59669" y="7782"/>
                </a:cubicBezTo>
                <a:lnTo>
                  <a:pt x="60217" y="7235"/>
                </a:lnTo>
                <a:lnTo>
                  <a:pt x="60764" y="7782"/>
                </a:lnTo>
                <a:lnTo>
                  <a:pt x="60217" y="8329"/>
                </a:lnTo>
                <a:cubicBezTo>
                  <a:pt x="60092" y="8439"/>
                  <a:pt x="60076" y="8627"/>
                  <a:pt x="60170" y="8767"/>
                </a:cubicBezTo>
                <a:cubicBezTo>
                  <a:pt x="60404" y="9127"/>
                  <a:pt x="60576" y="9518"/>
                  <a:pt x="60654" y="9940"/>
                </a:cubicBezTo>
                <a:cubicBezTo>
                  <a:pt x="60686" y="10112"/>
                  <a:pt x="60842" y="10222"/>
                  <a:pt x="61014" y="10222"/>
                </a:cubicBezTo>
                <a:lnTo>
                  <a:pt x="61780" y="10222"/>
                </a:lnTo>
                <a:lnTo>
                  <a:pt x="61780" y="11003"/>
                </a:lnTo>
                <a:lnTo>
                  <a:pt x="61014" y="11003"/>
                </a:lnTo>
                <a:cubicBezTo>
                  <a:pt x="60889" y="11003"/>
                  <a:pt x="60795" y="11050"/>
                  <a:pt x="60733" y="11144"/>
                </a:cubicBezTo>
                <a:cubicBezTo>
                  <a:pt x="60576" y="10550"/>
                  <a:pt x="60451" y="10081"/>
                  <a:pt x="60357" y="9799"/>
                </a:cubicBezTo>
                <a:cubicBezTo>
                  <a:pt x="60061" y="8752"/>
                  <a:pt x="59372" y="8189"/>
                  <a:pt x="58841" y="7907"/>
                </a:cubicBezTo>
                <a:cubicBezTo>
                  <a:pt x="58215" y="7563"/>
                  <a:pt x="57464" y="7423"/>
                  <a:pt x="56839" y="7532"/>
                </a:cubicBezTo>
                <a:cubicBezTo>
                  <a:pt x="55916" y="7688"/>
                  <a:pt x="55353" y="8111"/>
                  <a:pt x="55088" y="8345"/>
                </a:cubicBezTo>
                <a:cubicBezTo>
                  <a:pt x="54478" y="8892"/>
                  <a:pt x="54196" y="9659"/>
                  <a:pt x="54243" y="10566"/>
                </a:cubicBezTo>
                <a:cubicBezTo>
                  <a:pt x="54275" y="10925"/>
                  <a:pt x="54400" y="11582"/>
                  <a:pt x="54572" y="12426"/>
                </a:cubicBezTo>
                <a:cubicBezTo>
                  <a:pt x="54353" y="12067"/>
                  <a:pt x="54196" y="11691"/>
                  <a:pt x="54102" y="11285"/>
                </a:cubicBezTo>
                <a:cubicBezTo>
                  <a:pt x="54071" y="11113"/>
                  <a:pt x="53931" y="11003"/>
                  <a:pt x="53759" y="11003"/>
                </a:cubicBezTo>
                <a:close/>
                <a:moveTo>
                  <a:pt x="54540" y="13990"/>
                </a:moveTo>
                <a:lnTo>
                  <a:pt x="53993" y="13443"/>
                </a:lnTo>
                <a:lnTo>
                  <a:pt x="54540" y="12895"/>
                </a:lnTo>
                <a:cubicBezTo>
                  <a:pt x="54587" y="12849"/>
                  <a:pt x="54619" y="12802"/>
                  <a:pt x="54634" y="12739"/>
                </a:cubicBezTo>
                <a:cubicBezTo>
                  <a:pt x="54712" y="13036"/>
                  <a:pt x="54775" y="13349"/>
                  <a:pt x="54853" y="13677"/>
                </a:cubicBezTo>
                <a:close/>
                <a:moveTo>
                  <a:pt x="55745" y="14318"/>
                </a:moveTo>
                <a:cubicBezTo>
                  <a:pt x="55916" y="14397"/>
                  <a:pt x="56104" y="14459"/>
                  <a:pt x="56276" y="14522"/>
                </a:cubicBezTo>
                <a:lnTo>
                  <a:pt x="56276" y="15069"/>
                </a:lnTo>
                <a:cubicBezTo>
                  <a:pt x="56276" y="15429"/>
                  <a:pt x="56573" y="15726"/>
                  <a:pt x="56933" y="15726"/>
                </a:cubicBezTo>
                <a:lnTo>
                  <a:pt x="57824" y="15726"/>
                </a:lnTo>
                <a:cubicBezTo>
                  <a:pt x="58184" y="15726"/>
                  <a:pt x="58481" y="15429"/>
                  <a:pt x="58481" y="15069"/>
                </a:cubicBezTo>
                <a:lnTo>
                  <a:pt x="58481" y="14522"/>
                </a:lnTo>
                <a:cubicBezTo>
                  <a:pt x="58794" y="14428"/>
                  <a:pt x="59091" y="14303"/>
                  <a:pt x="59372" y="14146"/>
                </a:cubicBezTo>
                <a:lnTo>
                  <a:pt x="59763" y="14538"/>
                </a:lnTo>
                <a:cubicBezTo>
                  <a:pt x="59888" y="14663"/>
                  <a:pt x="60044" y="14741"/>
                  <a:pt x="60217" y="14741"/>
                </a:cubicBezTo>
                <a:cubicBezTo>
                  <a:pt x="60389" y="14741"/>
                  <a:pt x="60561" y="14663"/>
                  <a:pt x="60686" y="14538"/>
                </a:cubicBezTo>
                <a:lnTo>
                  <a:pt x="60827" y="14397"/>
                </a:lnTo>
                <a:cubicBezTo>
                  <a:pt x="61014" y="15101"/>
                  <a:pt x="61202" y="15835"/>
                  <a:pt x="61374" y="16586"/>
                </a:cubicBezTo>
                <a:lnTo>
                  <a:pt x="56292" y="16586"/>
                </a:lnTo>
                <a:cubicBezTo>
                  <a:pt x="56104" y="15804"/>
                  <a:pt x="55916" y="15038"/>
                  <a:pt x="55745" y="14318"/>
                </a:cubicBezTo>
                <a:close/>
                <a:moveTo>
                  <a:pt x="63876" y="21011"/>
                </a:moveTo>
                <a:lnTo>
                  <a:pt x="63329" y="21559"/>
                </a:lnTo>
                <a:lnTo>
                  <a:pt x="63329" y="21574"/>
                </a:lnTo>
                <a:cubicBezTo>
                  <a:pt x="63266" y="21293"/>
                  <a:pt x="63188" y="20996"/>
                  <a:pt x="63109" y="20683"/>
                </a:cubicBezTo>
                <a:lnTo>
                  <a:pt x="63329" y="20464"/>
                </a:lnTo>
                <a:close/>
                <a:moveTo>
                  <a:pt x="63329" y="26140"/>
                </a:moveTo>
                <a:lnTo>
                  <a:pt x="63876" y="26688"/>
                </a:lnTo>
                <a:lnTo>
                  <a:pt x="63329" y="27235"/>
                </a:lnTo>
                <a:lnTo>
                  <a:pt x="62781" y="26688"/>
                </a:lnTo>
                <a:cubicBezTo>
                  <a:pt x="62656" y="26578"/>
                  <a:pt x="62468" y="26562"/>
                  <a:pt x="62328" y="26641"/>
                </a:cubicBezTo>
                <a:cubicBezTo>
                  <a:pt x="61968" y="26891"/>
                  <a:pt x="61577" y="27047"/>
                  <a:pt x="61155" y="27141"/>
                </a:cubicBezTo>
                <a:cubicBezTo>
                  <a:pt x="60999" y="27172"/>
                  <a:pt x="60874" y="27313"/>
                  <a:pt x="60874" y="27485"/>
                </a:cubicBezTo>
                <a:lnTo>
                  <a:pt x="60874" y="28251"/>
                </a:lnTo>
                <a:lnTo>
                  <a:pt x="60107" y="28251"/>
                </a:lnTo>
                <a:lnTo>
                  <a:pt x="60107" y="27485"/>
                </a:lnTo>
                <a:cubicBezTo>
                  <a:pt x="60107" y="27313"/>
                  <a:pt x="59982" y="27172"/>
                  <a:pt x="59810" y="27141"/>
                </a:cubicBezTo>
                <a:cubicBezTo>
                  <a:pt x="59403" y="27047"/>
                  <a:pt x="59013" y="26891"/>
                  <a:pt x="58653" y="26641"/>
                </a:cubicBezTo>
                <a:cubicBezTo>
                  <a:pt x="58512" y="26562"/>
                  <a:pt x="58325" y="26578"/>
                  <a:pt x="58200" y="26688"/>
                </a:cubicBezTo>
                <a:lnTo>
                  <a:pt x="57652" y="27235"/>
                </a:lnTo>
                <a:lnTo>
                  <a:pt x="57105" y="26688"/>
                </a:lnTo>
                <a:lnTo>
                  <a:pt x="57652" y="26140"/>
                </a:lnTo>
                <a:cubicBezTo>
                  <a:pt x="57777" y="26031"/>
                  <a:pt x="57793" y="25843"/>
                  <a:pt x="57699" y="25702"/>
                </a:cubicBezTo>
                <a:cubicBezTo>
                  <a:pt x="57464" y="25343"/>
                  <a:pt x="57292" y="24952"/>
                  <a:pt x="57214" y="24529"/>
                </a:cubicBezTo>
                <a:cubicBezTo>
                  <a:pt x="57183" y="24358"/>
                  <a:pt x="57027" y="24248"/>
                  <a:pt x="56855" y="24248"/>
                </a:cubicBezTo>
                <a:lnTo>
                  <a:pt x="56088" y="24248"/>
                </a:lnTo>
                <a:lnTo>
                  <a:pt x="56088" y="23466"/>
                </a:lnTo>
                <a:lnTo>
                  <a:pt x="56855" y="23466"/>
                </a:lnTo>
                <a:cubicBezTo>
                  <a:pt x="56996" y="23466"/>
                  <a:pt x="57121" y="23388"/>
                  <a:pt x="57183" y="23263"/>
                </a:cubicBezTo>
                <a:cubicBezTo>
                  <a:pt x="57292" y="23779"/>
                  <a:pt x="57386" y="24217"/>
                  <a:pt x="57449" y="24545"/>
                </a:cubicBezTo>
                <a:cubicBezTo>
                  <a:pt x="57590" y="25390"/>
                  <a:pt x="58090" y="26093"/>
                  <a:pt x="58888" y="26547"/>
                </a:cubicBezTo>
                <a:cubicBezTo>
                  <a:pt x="59419" y="26860"/>
                  <a:pt x="60029" y="27016"/>
                  <a:pt x="60639" y="27016"/>
                </a:cubicBezTo>
                <a:cubicBezTo>
                  <a:pt x="60999" y="27016"/>
                  <a:pt x="61343" y="26969"/>
                  <a:pt x="61671" y="26844"/>
                </a:cubicBezTo>
                <a:cubicBezTo>
                  <a:pt x="62437" y="26547"/>
                  <a:pt x="63031" y="26015"/>
                  <a:pt x="63391" y="25280"/>
                </a:cubicBezTo>
                <a:cubicBezTo>
                  <a:pt x="63719" y="24592"/>
                  <a:pt x="63813" y="23779"/>
                  <a:pt x="63641" y="22997"/>
                </a:cubicBezTo>
                <a:cubicBezTo>
                  <a:pt x="63610" y="22825"/>
                  <a:pt x="63563" y="22637"/>
                  <a:pt x="63516" y="22434"/>
                </a:cubicBezTo>
                <a:cubicBezTo>
                  <a:pt x="63641" y="22684"/>
                  <a:pt x="63719" y="22919"/>
                  <a:pt x="63766" y="23185"/>
                </a:cubicBezTo>
                <a:cubicBezTo>
                  <a:pt x="63797" y="23357"/>
                  <a:pt x="63954" y="23466"/>
                  <a:pt x="64126" y="23466"/>
                </a:cubicBezTo>
                <a:lnTo>
                  <a:pt x="64892" y="23466"/>
                </a:lnTo>
                <a:lnTo>
                  <a:pt x="64892" y="24248"/>
                </a:lnTo>
                <a:lnTo>
                  <a:pt x="64126" y="24248"/>
                </a:lnTo>
                <a:cubicBezTo>
                  <a:pt x="63954" y="24248"/>
                  <a:pt x="63797" y="24358"/>
                  <a:pt x="63766" y="24529"/>
                </a:cubicBezTo>
                <a:cubicBezTo>
                  <a:pt x="63688" y="24952"/>
                  <a:pt x="63516" y="25343"/>
                  <a:pt x="63282" y="25702"/>
                </a:cubicBezTo>
                <a:cubicBezTo>
                  <a:pt x="63188" y="25843"/>
                  <a:pt x="63203" y="26031"/>
                  <a:pt x="63329" y="26140"/>
                </a:cubicBezTo>
                <a:close/>
                <a:moveTo>
                  <a:pt x="61155" y="20573"/>
                </a:moveTo>
                <a:cubicBezTo>
                  <a:pt x="61577" y="20667"/>
                  <a:pt x="61968" y="20824"/>
                  <a:pt x="62328" y="21058"/>
                </a:cubicBezTo>
                <a:cubicBezTo>
                  <a:pt x="62375" y="21089"/>
                  <a:pt x="62437" y="21105"/>
                  <a:pt x="62484" y="21121"/>
                </a:cubicBezTo>
                <a:cubicBezTo>
                  <a:pt x="62672" y="21934"/>
                  <a:pt x="62844" y="22637"/>
                  <a:pt x="62938" y="23138"/>
                </a:cubicBezTo>
                <a:cubicBezTo>
                  <a:pt x="63078" y="23779"/>
                  <a:pt x="63000" y="24420"/>
                  <a:pt x="62750" y="24967"/>
                </a:cubicBezTo>
                <a:cubicBezTo>
                  <a:pt x="62468" y="25530"/>
                  <a:pt x="62015" y="25953"/>
                  <a:pt x="61421" y="26172"/>
                </a:cubicBezTo>
                <a:cubicBezTo>
                  <a:pt x="60764" y="26422"/>
                  <a:pt x="59919" y="26328"/>
                  <a:pt x="59247" y="25937"/>
                </a:cubicBezTo>
                <a:cubicBezTo>
                  <a:pt x="58637" y="25593"/>
                  <a:pt x="58247" y="25046"/>
                  <a:pt x="58153" y="24420"/>
                </a:cubicBezTo>
                <a:cubicBezTo>
                  <a:pt x="58059" y="23888"/>
                  <a:pt x="57887" y="23075"/>
                  <a:pt x="57652" y="22090"/>
                </a:cubicBezTo>
                <a:cubicBezTo>
                  <a:pt x="57668" y="22059"/>
                  <a:pt x="57684" y="22043"/>
                  <a:pt x="57699" y="22012"/>
                </a:cubicBezTo>
                <a:cubicBezTo>
                  <a:pt x="57793" y="21871"/>
                  <a:pt x="57777" y="21684"/>
                  <a:pt x="57652" y="21559"/>
                </a:cubicBezTo>
                <a:lnTo>
                  <a:pt x="57480" y="21402"/>
                </a:lnTo>
                <a:cubicBezTo>
                  <a:pt x="57433" y="21199"/>
                  <a:pt x="57386" y="20996"/>
                  <a:pt x="57339" y="20776"/>
                </a:cubicBezTo>
                <a:cubicBezTo>
                  <a:pt x="57652" y="20464"/>
                  <a:pt x="57548" y="20568"/>
                  <a:pt x="57652" y="20464"/>
                </a:cubicBezTo>
                <a:lnTo>
                  <a:pt x="58200" y="21011"/>
                </a:lnTo>
                <a:cubicBezTo>
                  <a:pt x="58325" y="21136"/>
                  <a:pt x="58512" y="21152"/>
                  <a:pt x="58653" y="21058"/>
                </a:cubicBezTo>
                <a:cubicBezTo>
                  <a:pt x="59013" y="20824"/>
                  <a:pt x="59403" y="20667"/>
                  <a:pt x="59810" y="20573"/>
                </a:cubicBezTo>
                <a:cubicBezTo>
                  <a:pt x="59982" y="20542"/>
                  <a:pt x="60107" y="20401"/>
                  <a:pt x="60107" y="20230"/>
                </a:cubicBezTo>
                <a:cubicBezTo>
                  <a:pt x="60107" y="19447"/>
                  <a:pt x="60107" y="19708"/>
                  <a:pt x="60107" y="19447"/>
                </a:cubicBezTo>
                <a:lnTo>
                  <a:pt x="60874" y="19447"/>
                </a:lnTo>
                <a:cubicBezTo>
                  <a:pt x="60874" y="20230"/>
                  <a:pt x="60874" y="19969"/>
                  <a:pt x="60874" y="20230"/>
                </a:cubicBezTo>
                <a:cubicBezTo>
                  <a:pt x="60874" y="20401"/>
                  <a:pt x="60999" y="20542"/>
                  <a:pt x="61155" y="20573"/>
                </a:cubicBezTo>
                <a:close/>
                <a:moveTo>
                  <a:pt x="61593" y="19948"/>
                </a:moveTo>
                <a:lnTo>
                  <a:pt x="61593" y="19385"/>
                </a:lnTo>
                <a:cubicBezTo>
                  <a:pt x="61593" y="19025"/>
                  <a:pt x="61295" y="18744"/>
                  <a:pt x="60936" y="18744"/>
                </a:cubicBezTo>
                <a:lnTo>
                  <a:pt x="60044" y="18744"/>
                </a:lnTo>
                <a:cubicBezTo>
                  <a:pt x="59685" y="18744"/>
                  <a:pt x="59388" y="19025"/>
                  <a:pt x="59388" y="19385"/>
                </a:cubicBezTo>
                <a:lnTo>
                  <a:pt x="59388" y="19948"/>
                </a:lnTo>
                <a:cubicBezTo>
                  <a:pt x="59075" y="20026"/>
                  <a:pt x="58778" y="20151"/>
                  <a:pt x="58512" y="20308"/>
                </a:cubicBezTo>
                <a:cubicBezTo>
                  <a:pt x="58105" y="19917"/>
                  <a:pt x="58241" y="20047"/>
                  <a:pt x="58105" y="19917"/>
                </a:cubicBezTo>
                <a:cubicBezTo>
                  <a:pt x="57996" y="19792"/>
                  <a:pt x="57824" y="19729"/>
                  <a:pt x="57652" y="19729"/>
                </a:cubicBezTo>
                <a:cubicBezTo>
                  <a:pt x="57480" y="19729"/>
                  <a:pt x="57308" y="19792"/>
                  <a:pt x="57183" y="19917"/>
                </a:cubicBezTo>
                <a:lnTo>
                  <a:pt x="57136" y="19979"/>
                </a:lnTo>
                <a:cubicBezTo>
                  <a:pt x="56980" y="19369"/>
                  <a:pt x="56823" y="18744"/>
                  <a:pt x="56667" y="18103"/>
                </a:cubicBezTo>
                <a:cubicBezTo>
                  <a:pt x="56604" y="17837"/>
                  <a:pt x="56542" y="17571"/>
                  <a:pt x="56464" y="17305"/>
                </a:cubicBezTo>
                <a:lnTo>
                  <a:pt x="61562" y="17305"/>
                </a:lnTo>
                <a:cubicBezTo>
                  <a:pt x="61812" y="18306"/>
                  <a:pt x="62046" y="19307"/>
                  <a:pt x="62265" y="20198"/>
                </a:cubicBezTo>
                <a:cubicBezTo>
                  <a:pt x="62046" y="20104"/>
                  <a:pt x="61827" y="20010"/>
                  <a:pt x="61593" y="19948"/>
                </a:cubicBezTo>
                <a:close/>
                <a:moveTo>
                  <a:pt x="16933" y="35601"/>
                </a:moveTo>
                <a:cubicBezTo>
                  <a:pt x="17230" y="36070"/>
                  <a:pt x="17449" y="36601"/>
                  <a:pt x="17558" y="37149"/>
                </a:cubicBezTo>
                <a:cubicBezTo>
                  <a:pt x="17605" y="37321"/>
                  <a:pt x="17746" y="37430"/>
                  <a:pt x="17918" y="37430"/>
                </a:cubicBezTo>
                <a:lnTo>
                  <a:pt x="18982" y="37430"/>
                </a:lnTo>
                <a:cubicBezTo>
                  <a:pt x="18997" y="37430"/>
                  <a:pt x="19013" y="37446"/>
                  <a:pt x="19013" y="37461"/>
                </a:cubicBezTo>
                <a:lnTo>
                  <a:pt x="19013" y="38603"/>
                </a:lnTo>
                <a:cubicBezTo>
                  <a:pt x="19013" y="38619"/>
                  <a:pt x="18997" y="38634"/>
                  <a:pt x="18982" y="38634"/>
                </a:cubicBezTo>
                <a:lnTo>
                  <a:pt x="17918" y="38634"/>
                </a:lnTo>
                <a:cubicBezTo>
                  <a:pt x="17746" y="38634"/>
                  <a:pt x="17605" y="38760"/>
                  <a:pt x="17558" y="38916"/>
                </a:cubicBezTo>
                <a:cubicBezTo>
                  <a:pt x="17449" y="39463"/>
                  <a:pt x="17230" y="39995"/>
                  <a:pt x="16933" y="40464"/>
                </a:cubicBezTo>
                <a:cubicBezTo>
                  <a:pt x="16839" y="40604"/>
                  <a:pt x="16855" y="40792"/>
                  <a:pt x="16964" y="40917"/>
                </a:cubicBezTo>
                <a:lnTo>
                  <a:pt x="17731" y="41668"/>
                </a:lnTo>
                <a:lnTo>
                  <a:pt x="17731" y="41684"/>
                </a:lnTo>
                <a:lnTo>
                  <a:pt x="17731" y="41699"/>
                </a:lnTo>
                <a:lnTo>
                  <a:pt x="17527" y="41902"/>
                </a:lnTo>
                <a:cubicBezTo>
                  <a:pt x="16980" y="41824"/>
                  <a:pt x="16464" y="41746"/>
                  <a:pt x="15995" y="41684"/>
                </a:cubicBezTo>
                <a:cubicBezTo>
                  <a:pt x="15948" y="41652"/>
                  <a:pt x="15901" y="41652"/>
                  <a:pt x="15854" y="41652"/>
                </a:cubicBezTo>
                <a:cubicBezTo>
                  <a:pt x="14978" y="41527"/>
                  <a:pt x="14275" y="41402"/>
                  <a:pt x="13821" y="41308"/>
                </a:cubicBezTo>
                <a:cubicBezTo>
                  <a:pt x="10928" y="40746"/>
                  <a:pt x="10537" y="39776"/>
                  <a:pt x="10162" y="38853"/>
                </a:cubicBezTo>
                <a:cubicBezTo>
                  <a:pt x="9975" y="38369"/>
                  <a:pt x="9959" y="37305"/>
                  <a:pt x="10537" y="36414"/>
                </a:cubicBezTo>
                <a:cubicBezTo>
                  <a:pt x="10788" y="36023"/>
                  <a:pt x="11116" y="35710"/>
                  <a:pt x="11523" y="35491"/>
                </a:cubicBezTo>
                <a:cubicBezTo>
                  <a:pt x="12007" y="35225"/>
                  <a:pt x="12586" y="35069"/>
                  <a:pt x="13258" y="35038"/>
                </a:cubicBezTo>
                <a:lnTo>
                  <a:pt x="13555" y="35038"/>
                </a:lnTo>
                <a:cubicBezTo>
                  <a:pt x="14384" y="35038"/>
                  <a:pt x="15541" y="35163"/>
                  <a:pt x="16870" y="35382"/>
                </a:cubicBezTo>
                <a:cubicBezTo>
                  <a:pt x="16855" y="35460"/>
                  <a:pt x="16886" y="35538"/>
                  <a:pt x="16933" y="35601"/>
                </a:cubicBezTo>
                <a:close/>
                <a:moveTo>
                  <a:pt x="14134" y="42356"/>
                </a:moveTo>
                <a:cubicBezTo>
                  <a:pt x="13962" y="42387"/>
                  <a:pt x="13837" y="42528"/>
                  <a:pt x="13837" y="42700"/>
                </a:cubicBezTo>
                <a:lnTo>
                  <a:pt x="13837" y="43779"/>
                </a:lnTo>
                <a:cubicBezTo>
                  <a:pt x="13837" y="43794"/>
                  <a:pt x="13837" y="43810"/>
                  <a:pt x="13821" y="43810"/>
                </a:cubicBezTo>
                <a:lnTo>
                  <a:pt x="12664" y="43810"/>
                </a:lnTo>
                <a:cubicBezTo>
                  <a:pt x="12659" y="43799"/>
                  <a:pt x="12649" y="43794"/>
                  <a:pt x="12649" y="43779"/>
                </a:cubicBezTo>
                <a:lnTo>
                  <a:pt x="12649" y="42700"/>
                </a:lnTo>
                <a:cubicBezTo>
                  <a:pt x="12649" y="42528"/>
                  <a:pt x="12524" y="42387"/>
                  <a:pt x="12351" y="42356"/>
                </a:cubicBezTo>
                <a:cubicBezTo>
                  <a:pt x="11804" y="42247"/>
                  <a:pt x="11288" y="42028"/>
                  <a:pt x="10819" y="41715"/>
                </a:cubicBezTo>
                <a:cubicBezTo>
                  <a:pt x="10756" y="41668"/>
                  <a:pt x="10694" y="41652"/>
                  <a:pt x="10616" y="41652"/>
                </a:cubicBezTo>
                <a:cubicBezTo>
                  <a:pt x="10522" y="41652"/>
                  <a:pt x="10428" y="41684"/>
                  <a:pt x="10365" y="41762"/>
                </a:cubicBezTo>
                <a:lnTo>
                  <a:pt x="9599" y="42512"/>
                </a:lnTo>
                <a:cubicBezTo>
                  <a:pt x="9599" y="42528"/>
                  <a:pt x="9584" y="42528"/>
                  <a:pt x="9568" y="42512"/>
                </a:cubicBezTo>
                <a:cubicBezTo>
                  <a:pt x="8755" y="41699"/>
                  <a:pt x="9026" y="41970"/>
                  <a:pt x="8755" y="41699"/>
                </a:cubicBezTo>
                <a:lnTo>
                  <a:pt x="8755" y="41684"/>
                </a:lnTo>
                <a:lnTo>
                  <a:pt x="8755" y="41668"/>
                </a:lnTo>
                <a:lnTo>
                  <a:pt x="9521" y="40917"/>
                </a:lnTo>
                <a:cubicBezTo>
                  <a:pt x="9630" y="40792"/>
                  <a:pt x="9662" y="40604"/>
                  <a:pt x="9568" y="40464"/>
                </a:cubicBezTo>
                <a:cubicBezTo>
                  <a:pt x="9255" y="39995"/>
                  <a:pt x="9036" y="39463"/>
                  <a:pt x="8927" y="38916"/>
                </a:cubicBezTo>
                <a:cubicBezTo>
                  <a:pt x="8896" y="38760"/>
                  <a:pt x="8739" y="38634"/>
                  <a:pt x="8567" y="38634"/>
                </a:cubicBezTo>
                <a:lnTo>
                  <a:pt x="7504" y="38634"/>
                </a:lnTo>
                <a:cubicBezTo>
                  <a:pt x="7488" y="38634"/>
                  <a:pt x="7473" y="38619"/>
                  <a:pt x="7473" y="38603"/>
                </a:cubicBezTo>
                <a:lnTo>
                  <a:pt x="7473" y="37461"/>
                </a:lnTo>
                <a:cubicBezTo>
                  <a:pt x="7473" y="37446"/>
                  <a:pt x="7488" y="37430"/>
                  <a:pt x="7504" y="37430"/>
                </a:cubicBezTo>
                <a:lnTo>
                  <a:pt x="8567" y="37430"/>
                </a:lnTo>
                <a:cubicBezTo>
                  <a:pt x="8739" y="37430"/>
                  <a:pt x="8896" y="37321"/>
                  <a:pt x="8927" y="37149"/>
                </a:cubicBezTo>
                <a:cubicBezTo>
                  <a:pt x="9036" y="36601"/>
                  <a:pt x="9255" y="36070"/>
                  <a:pt x="9568" y="35601"/>
                </a:cubicBezTo>
                <a:cubicBezTo>
                  <a:pt x="9662" y="35460"/>
                  <a:pt x="9630" y="35272"/>
                  <a:pt x="9521" y="35163"/>
                </a:cubicBezTo>
                <a:lnTo>
                  <a:pt x="8755" y="34397"/>
                </a:lnTo>
                <a:lnTo>
                  <a:pt x="8755" y="34381"/>
                </a:lnTo>
                <a:cubicBezTo>
                  <a:pt x="8755" y="34366"/>
                  <a:pt x="8755" y="34371"/>
                  <a:pt x="8755" y="34366"/>
                </a:cubicBezTo>
                <a:lnTo>
                  <a:pt x="9568" y="33552"/>
                </a:lnTo>
                <a:cubicBezTo>
                  <a:pt x="9568" y="33536"/>
                  <a:pt x="9579" y="33541"/>
                  <a:pt x="9584" y="33536"/>
                </a:cubicBezTo>
                <a:cubicBezTo>
                  <a:pt x="9599" y="33536"/>
                  <a:pt x="9599" y="33536"/>
                  <a:pt x="9599" y="33552"/>
                </a:cubicBezTo>
                <a:lnTo>
                  <a:pt x="10365" y="34303"/>
                </a:lnTo>
                <a:cubicBezTo>
                  <a:pt x="10490" y="34428"/>
                  <a:pt x="10678" y="34444"/>
                  <a:pt x="10819" y="34350"/>
                </a:cubicBezTo>
                <a:cubicBezTo>
                  <a:pt x="11288" y="34037"/>
                  <a:pt x="11804" y="33818"/>
                  <a:pt x="12351" y="33709"/>
                </a:cubicBezTo>
                <a:cubicBezTo>
                  <a:pt x="12524" y="33678"/>
                  <a:pt x="12649" y="33536"/>
                  <a:pt x="12649" y="33365"/>
                </a:cubicBezTo>
                <a:lnTo>
                  <a:pt x="12649" y="32285"/>
                </a:lnTo>
                <a:cubicBezTo>
                  <a:pt x="12649" y="32270"/>
                  <a:pt x="12659" y="32275"/>
                  <a:pt x="12664" y="32270"/>
                </a:cubicBezTo>
                <a:lnTo>
                  <a:pt x="13821" y="32270"/>
                </a:lnTo>
                <a:cubicBezTo>
                  <a:pt x="13837" y="32270"/>
                  <a:pt x="13837" y="32270"/>
                  <a:pt x="13837" y="32285"/>
                </a:cubicBezTo>
                <a:lnTo>
                  <a:pt x="13837" y="33365"/>
                </a:lnTo>
                <a:cubicBezTo>
                  <a:pt x="13837" y="33536"/>
                  <a:pt x="13962" y="33678"/>
                  <a:pt x="14134" y="33709"/>
                </a:cubicBezTo>
                <a:cubicBezTo>
                  <a:pt x="14681" y="33818"/>
                  <a:pt x="15197" y="34037"/>
                  <a:pt x="15666" y="34350"/>
                </a:cubicBezTo>
                <a:cubicBezTo>
                  <a:pt x="15807" y="34444"/>
                  <a:pt x="15995" y="34428"/>
                  <a:pt x="16120" y="34303"/>
                </a:cubicBezTo>
                <a:lnTo>
                  <a:pt x="16886" y="33552"/>
                </a:lnTo>
                <a:cubicBezTo>
                  <a:pt x="16886" y="33536"/>
                  <a:pt x="16902" y="33536"/>
                  <a:pt x="16917" y="33552"/>
                </a:cubicBezTo>
                <a:lnTo>
                  <a:pt x="17731" y="34366"/>
                </a:lnTo>
                <a:cubicBezTo>
                  <a:pt x="17731" y="34371"/>
                  <a:pt x="17731" y="34366"/>
                  <a:pt x="17731" y="34381"/>
                </a:cubicBezTo>
                <a:lnTo>
                  <a:pt x="17731" y="34397"/>
                </a:lnTo>
                <a:lnTo>
                  <a:pt x="17386" y="34741"/>
                </a:lnTo>
                <a:cubicBezTo>
                  <a:pt x="15666" y="34459"/>
                  <a:pt x="14181" y="34287"/>
                  <a:pt x="13227" y="34334"/>
                </a:cubicBezTo>
                <a:cubicBezTo>
                  <a:pt x="11351" y="34412"/>
                  <a:pt x="10412" y="35304"/>
                  <a:pt x="9943" y="36023"/>
                </a:cubicBezTo>
                <a:cubicBezTo>
                  <a:pt x="9271" y="37055"/>
                  <a:pt x="9208" y="38384"/>
                  <a:pt x="9505" y="39103"/>
                </a:cubicBezTo>
                <a:cubicBezTo>
                  <a:pt x="9693" y="39604"/>
                  <a:pt x="9943" y="40214"/>
                  <a:pt x="10568" y="40761"/>
                </a:cubicBezTo>
                <a:cubicBezTo>
                  <a:pt x="11241" y="41324"/>
                  <a:pt x="12257" y="41746"/>
                  <a:pt x="13696" y="42012"/>
                </a:cubicBezTo>
                <a:cubicBezTo>
                  <a:pt x="13946" y="42075"/>
                  <a:pt x="14290" y="42122"/>
                  <a:pt x="14697" y="42200"/>
                </a:cubicBezTo>
                <a:cubicBezTo>
                  <a:pt x="14509" y="42262"/>
                  <a:pt x="14321" y="42309"/>
                  <a:pt x="14134" y="42356"/>
                </a:cubicBezTo>
                <a:close/>
                <a:moveTo>
                  <a:pt x="18372" y="42028"/>
                </a:moveTo>
                <a:cubicBezTo>
                  <a:pt x="18419" y="41918"/>
                  <a:pt x="18450" y="41809"/>
                  <a:pt x="18450" y="41684"/>
                </a:cubicBezTo>
                <a:cubicBezTo>
                  <a:pt x="18450" y="41496"/>
                  <a:pt x="18372" y="41308"/>
                  <a:pt x="18231" y="41167"/>
                </a:cubicBezTo>
                <a:lnTo>
                  <a:pt x="17684" y="40604"/>
                </a:lnTo>
                <a:cubicBezTo>
                  <a:pt x="17903" y="40214"/>
                  <a:pt x="18074" y="39791"/>
                  <a:pt x="18199" y="39353"/>
                </a:cubicBezTo>
                <a:lnTo>
                  <a:pt x="18982" y="39353"/>
                </a:lnTo>
                <a:cubicBezTo>
                  <a:pt x="19404" y="39353"/>
                  <a:pt x="19732" y="39010"/>
                  <a:pt x="19732" y="38603"/>
                </a:cubicBezTo>
                <a:lnTo>
                  <a:pt x="19732" y="37461"/>
                </a:lnTo>
                <a:cubicBezTo>
                  <a:pt x="19732" y="37055"/>
                  <a:pt x="19404" y="36711"/>
                  <a:pt x="18982" y="36711"/>
                </a:cubicBezTo>
                <a:lnTo>
                  <a:pt x="18199" y="36711"/>
                </a:lnTo>
                <a:cubicBezTo>
                  <a:pt x="18090" y="36305"/>
                  <a:pt x="17934" y="35898"/>
                  <a:pt x="17715" y="35522"/>
                </a:cubicBezTo>
                <a:cubicBezTo>
                  <a:pt x="18684" y="35695"/>
                  <a:pt x="19732" y="35898"/>
                  <a:pt x="20780" y="36117"/>
                </a:cubicBezTo>
                <a:lnTo>
                  <a:pt x="20780" y="42340"/>
                </a:lnTo>
                <a:cubicBezTo>
                  <a:pt x="19951" y="42231"/>
                  <a:pt x="19138" y="42122"/>
                  <a:pt x="18372" y="42028"/>
                </a:cubicBezTo>
                <a:close/>
                <a:moveTo>
                  <a:pt x="28411" y="37852"/>
                </a:moveTo>
                <a:lnTo>
                  <a:pt x="28567" y="38009"/>
                </a:lnTo>
                <a:cubicBezTo>
                  <a:pt x="28692" y="38134"/>
                  <a:pt x="28880" y="38150"/>
                  <a:pt x="29020" y="38056"/>
                </a:cubicBezTo>
                <a:cubicBezTo>
                  <a:pt x="29036" y="38040"/>
                  <a:pt x="29067" y="38024"/>
                  <a:pt x="29099" y="38009"/>
                </a:cubicBezTo>
                <a:cubicBezTo>
                  <a:pt x="29771" y="38165"/>
                  <a:pt x="30365" y="38290"/>
                  <a:pt x="30788" y="38384"/>
                </a:cubicBezTo>
                <a:cubicBezTo>
                  <a:pt x="31382" y="38509"/>
                  <a:pt x="32054" y="38681"/>
                  <a:pt x="32555" y="39057"/>
                </a:cubicBezTo>
                <a:cubicBezTo>
                  <a:pt x="33071" y="39448"/>
                  <a:pt x="33321" y="40042"/>
                  <a:pt x="33321" y="40855"/>
                </a:cubicBezTo>
                <a:cubicBezTo>
                  <a:pt x="33321" y="41574"/>
                  <a:pt x="33149" y="42106"/>
                  <a:pt x="32820" y="42497"/>
                </a:cubicBezTo>
                <a:cubicBezTo>
                  <a:pt x="32492" y="42856"/>
                  <a:pt x="32023" y="43091"/>
                  <a:pt x="31366" y="43185"/>
                </a:cubicBezTo>
                <a:cubicBezTo>
                  <a:pt x="30850" y="43263"/>
                  <a:pt x="29708" y="43248"/>
                  <a:pt x="28036" y="43122"/>
                </a:cubicBezTo>
                <a:cubicBezTo>
                  <a:pt x="28145" y="42997"/>
                  <a:pt x="28161" y="42825"/>
                  <a:pt x="28067" y="42685"/>
                </a:cubicBezTo>
                <a:cubicBezTo>
                  <a:pt x="27832" y="42325"/>
                  <a:pt x="27660" y="41934"/>
                  <a:pt x="27582" y="41527"/>
                </a:cubicBezTo>
                <a:cubicBezTo>
                  <a:pt x="27551" y="41355"/>
                  <a:pt x="27394" y="41230"/>
                  <a:pt x="27238" y="41230"/>
                </a:cubicBezTo>
                <a:lnTo>
                  <a:pt x="26456" y="41230"/>
                </a:lnTo>
                <a:lnTo>
                  <a:pt x="26456" y="40464"/>
                </a:lnTo>
                <a:lnTo>
                  <a:pt x="27238" y="40464"/>
                </a:lnTo>
                <a:cubicBezTo>
                  <a:pt x="27394" y="40464"/>
                  <a:pt x="27551" y="40339"/>
                  <a:pt x="27582" y="40183"/>
                </a:cubicBezTo>
                <a:cubicBezTo>
                  <a:pt x="27660" y="39760"/>
                  <a:pt x="27832" y="39369"/>
                  <a:pt x="28067" y="39010"/>
                </a:cubicBezTo>
                <a:cubicBezTo>
                  <a:pt x="28161" y="38869"/>
                  <a:pt x="28145" y="38681"/>
                  <a:pt x="28020" y="38556"/>
                </a:cubicBezTo>
                <a:lnTo>
                  <a:pt x="27473" y="38009"/>
                </a:lnTo>
                <a:lnTo>
                  <a:pt x="27785" y="37712"/>
                </a:lnTo>
                <a:cubicBezTo>
                  <a:pt x="27989" y="37759"/>
                  <a:pt x="28207" y="37806"/>
                  <a:pt x="28411" y="37852"/>
                </a:cubicBezTo>
                <a:close/>
                <a:moveTo>
                  <a:pt x="31522" y="37571"/>
                </a:moveTo>
                <a:cubicBezTo>
                  <a:pt x="31945" y="37665"/>
                  <a:pt x="32335" y="37821"/>
                  <a:pt x="32695" y="38056"/>
                </a:cubicBezTo>
                <a:cubicBezTo>
                  <a:pt x="32836" y="38150"/>
                  <a:pt x="33023" y="38134"/>
                  <a:pt x="33149" y="38009"/>
                </a:cubicBezTo>
                <a:lnTo>
                  <a:pt x="33696" y="37461"/>
                </a:lnTo>
                <a:lnTo>
                  <a:pt x="34243" y="38009"/>
                </a:lnTo>
                <a:lnTo>
                  <a:pt x="33696" y="38556"/>
                </a:lnTo>
                <a:cubicBezTo>
                  <a:pt x="33571" y="38681"/>
                  <a:pt x="33555" y="38869"/>
                  <a:pt x="33649" y="39010"/>
                </a:cubicBezTo>
                <a:cubicBezTo>
                  <a:pt x="33884" y="39369"/>
                  <a:pt x="34040" y="39760"/>
                  <a:pt x="34134" y="40183"/>
                </a:cubicBezTo>
                <a:cubicBezTo>
                  <a:pt x="34165" y="40339"/>
                  <a:pt x="34306" y="40464"/>
                  <a:pt x="34478" y="40464"/>
                </a:cubicBezTo>
                <a:lnTo>
                  <a:pt x="35260" y="40464"/>
                </a:lnTo>
                <a:lnTo>
                  <a:pt x="35260" y="41230"/>
                </a:lnTo>
                <a:lnTo>
                  <a:pt x="34478" y="41230"/>
                </a:lnTo>
                <a:cubicBezTo>
                  <a:pt x="34306" y="41230"/>
                  <a:pt x="34165" y="41355"/>
                  <a:pt x="34134" y="41527"/>
                </a:cubicBezTo>
                <a:cubicBezTo>
                  <a:pt x="34040" y="41934"/>
                  <a:pt x="33884" y="42325"/>
                  <a:pt x="33649" y="42685"/>
                </a:cubicBezTo>
                <a:cubicBezTo>
                  <a:pt x="33555" y="42825"/>
                  <a:pt x="33571" y="43013"/>
                  <a:pt x="33696" y="43138"/>
                </a:cubicBezTo>
                <a:lnTo>
                  <a:pt x="34243" y="43685"/>
                </a:lnTo>
                <a:lnTo>
                  <a:pt x="33696" y="44232"/>
                </a:lnTo>
                <a:lnTo>
                  <a:pt x="33149" y="43685"/>
                </a:lnTo>
                <a:cubicBezTo>
                  <a:pt x="33023" y="43560"/>
                  <a:pt x="32836" y="43544"/>
                  <a:pt x="32695" y="43638"/>
                </a:cubicBezTo>
                <a:cubicBezTo>
                  <a:pt x="32335" y="43873"/>
                  <a:pt x="31945" y="44045"/>
                  <a:pt x="31522" y="44123"/>
                </a:cubicBezTo>
                <a:cubicBezTo>
                  <a:pt x="31366" y="44154"/>
                  <a:pt x="31241" y="44311"/>
                  <a:pt x="31241" y="44467"/>
                </a:cubicBezTo>
                <a:lnTo>
                  <a:pt x="31241" y="45249"/>
                </a:lnTo>
                <a:lnTo>
                  <a:pt x="30475" y="45249"/>
                </a:lnTo>
                <a:lnTo>
                  <a:pt x="30475" y="44467"/>
                </a:lnTo>
                <a:cubicBezTo>
                  <a:pt x="30475" y="44311"/>
                  <a:pt x="30350" y="44154"/>
                  <a:pt x="30193" y="44123"/>
                </a:cubicBezTo>
                <a:cubicBezTo>
                  <a:pt x="29959" y="44076"/>
                  <a:pt x="29755" y="44014"/>
                  <a:pt x="29552" y="43920"/>
                </a:cubicBezTo>
                <a:cubicBezTo>
                  <a:pt x="29912" y="43936"/>
                  <a:pt x="30225" y="43951"/>
                  <a:pt x="30506" y="43951"/>
                </a:cubicBezTo>
                <a:cubicBezTo>
                  <a:pt x="30913" y="43951"/>
                  <a:pt x="31241" y="43936"/>
                  <a:pt x="31476" y="43889"/>
                </a:cubicBezTo>
                <a:cubicBezTo>
                  <a:pt x="32289" y="43763"/>
                  <a:pt x="32914" y="43451"/>
                  <a:pt x="33352" y="42966"/>
                </a:cubicBezTo>
                <a:cubicBezTo>
                  <a:pt x="33806" y="42450"/>
                  <a:pt x="34040" y="41746"/>
                  <a:pt x="34040" y="40855"/>
                </a:cubicBezTo>
                <a:cubicBezTo>
                  <a:pt x="34040" y="39823"/>
                  <a:pt x="33680" y="39025"/>
                  <a:pt x="32992" y="38494"/>
                </a:cubicBezTo>
                <a:cubicBezTo>
                  <a:pt x="32382" y="38024"/>
                  <a:pt x="31601" y="37821"/>
                  <a:pt x="30928" y="37681"/>
                </a:cubicBezTo>
                <a:cubicBezTo>
                  <a:pt x="30741" y="37649"/>
                  <a:pt x="30522" y="37602"/>
                  <a:pt x="30271" y="37540"/>
                </a:cubicBezTo>
                <a:cubicBezTo>
                  <a:pt x="30396" y="37477"/>
                  <a:pt x="30475" y="37368"/>
                  <a:pt x="30475" y="37227"/>
                </a:cubicBezTo>
                <a:lnTo>
                  <a:pt x="30475" y="36445"/>
                </a:lnTo>
                <a:lnTo>
                  <a:pt x="31241" y="36445"/>
                </a:lnTo>
                <a:lnTo>
                  <a:pt x="31241" y="37227"/>
                </a:lnTo>
                <a:cubicBezTo>
                  <a:pt x="31241" y="37399"/>
                  <a:pt x="31366" y="37540"/>
                  <a:pt x="31522" y="37571"/>
                </a:cubicBezTo>
                <a:close/>
                <a:moveTo>
                  <a:pt x="28114" y="43841"/>
                </a:moveTo>
                <a:cubicBezTo>
                  <a:pt x="28207" y="43841"/>
                  <a:pt x="28301" y="43857"/>
                  <a:pt x="28395" y="43857"/>
                </a:cubicBezTo>
                <a:lnTo>
                  <a:pt x="28020" y="44232"/>
                </a:lnTo>
                <a:lnTo>
                  <a:pt x="27582" y="43794"/>
                </a:lnTo>
                <a:cubicBezTo>
                  <a:pt x="27769" y="43810"/>
                  <a:pt x="27942" y="43826"/>
                  <a:pt x="28114" y="43841"/>
                </a:cubicBezTo>
                <a:close/>
                <a:moveTo>
                  <a:pt x="26925" y="38478"/>
                </a:moveTo>
                <a:lnTo>
                  <a:pt x="27316" y="38869"/>
                </a:lnTo>
                <a:cubicBezTo>
                  <a:pt x="27160" y="39150"/>
                  <a:pt x="27035" y="39448"/>
                  <a:pt x="26956" y="39745"/>
                </a:cubicBezTo>
                <a:cubicBezTo>
                  <a:pt x="26393" y="39745"/>
                  <a:pt x="26581" y="39745"/>
                  <a:pt x="26393" y="39745"/>
                </a:cubicBezTo>
                <a:cubicBezTo>
                  <a:pt x="26034" y="39745"/>
                  <a:pt x="25737" y="40042"/>
                  <a:pt x="25737" y="40401"/>
                </a:cubicBezTo>
                <a:lnTo>
                  <a:pt x="25737" y="41292"/>
                </a:lnTo>
                <a:cubicBezTo>
                  <a:pt x="25737" y="41652"/>
                  <a:pt x="26034" y="41949"/>
                  <a:pt x="26393" y="41949"/>
                </a:cubicBezTo>
                <a:cubicBezTo>
                  <a:pt x="26956" y="41949"/>
                  <a:pt x="26768" y="41949"/>
                  <a:pt x="26956" y="41949"/>
                </a:cubicBezTo>
                <a:cubicBezTo>
                  <a:pt x="27035" y="42262"/>
                  <a:pt x="27160" y="42559"/>
                  <a:pt x="27316" y="42825"/>
                </a:cubicBezTo>
                <a:lnTo>
                  <a:pt x="27113" y="43044"/>
                </a:lnTo>
                <a:cubicBezTo>
                  <a:pt x="25909" y="42935"/>
                  <a:pt x="24501" y="42794"/>
                  <a:pt x="22922" y="42606"/>
                </a:cubicBezTo>
                <a:cubicBezTo>
                  <a:pt x="22453" y="42543"/>
                  <a:pt x="21968" y="42497"/>
                  <a:pt x="21499" y="42434"/>
                </a:cubicBezTo>
                <a:lnTo>
                  <a:pt x="21499" y="36273"/>
                </a:lnTo>
                <a:cubicBezTo>
                  <a:pt x="23391" y="36680"/>
                  <a:pt x="25314" y="37133"/>
                  <a:pt x="26956" y="37509"/>
                </a:cubicBezTo>
                <a:lnTo>
                  <a:pt x="26925" y="37556"/>
                </a:lnTo>
                <a:cubicBezTo>
                  <a:pt x="26675" y="37806"/>
                  <a:pt x="26675" y="38212"/>
                  <a:pt x="26925" y="38478"/>
                </a:cubicBezTo>
                <a:close/>
                <a:moveTo>
                  <a:pt x="21499" y="43153"/>
                </a:moveTo>
                <a:cubicBezTo>
                  <a:pt x="21937" y="43200"/>
                  <a:pt x="22390" y="43263"/>
                  <a:pt x="22844" y="43310"/>
                </a:cubicBezTo>
                <a:cubicBezTo>
                  <a:pt x="24267" y="43482"/>
                  <a:pt x="25596" y="43623"/>
                  <a:pt x="26738" y="43716"/>
                </a:cubicBezTo>
                <a:cubicBezTo>
                  <a:pt x="26738" y="43873"/>
                  <a:pt x="26816" y="44029"/>
                  <a:pt x="26925" y="44154"/>
                </a:cubicBezTo>
                <a:cubicBezTo>
                  <a:pt x="27551" y="44780"/>
                  <a:pt x="27342" y="44571"/>
                  <a:pt x="27551" y="44780"/>
                </a:cubicBezTo>
                <a:cubicBezTo>
                  <a:pt x="27676" y="44905"/>
                  <a:pt x="27848" y="44967"/>
                  <a:pt x="28020" y="44967"/>
                </a:cubicBezTo>
                <a:cubicBezTo>
                  <a:pt x="28192" y="44967"/>
                  <a:pt x="28364" y="44905"/>
                  <a:pt x="28489" y="44780"/>
                </a:cubicBezTo>
                <a:lnTo>
                  <a:pt x="28880" y="44389"/>
                </a:lnTo>
                <a:cubicBezTo>
                  <a:pt x="29161" y="44545"/>
                  <a:pt x="29443" y="44670"/>
                  <a:pt x="29755" y="44749"/>
                </a:cubicBezTo>
                <a:lnTo>
                  <a:pt x="29755" y="45312"/>
                </a:lnTo>
                <a:cubicBezTo>
                  <a:pt x="29755" y="45671"/>
                  <a:pt x="30053" y="45968"/>
                  <a:pt x="30412" y="45968"/>
                </a:cubicBezTo>
                <a:lnTo>
                  <a:pt x="31304" y="45968"/>
                </a:lnTo>
                <a:cubicBezTo>
                  <a:pt x="31663" y="45968"/>
                  <a:pt x="31960" y="45671"/>
                  <a:pt x="31960" y="45312"/>
                </a:cubicBezTo>
                <a:lnTo>
                  <a:pt x="31960" y="44749"/>
                </a:lnTo>
                <a:cubicBezTo>
                  <a:pt x="32273" y="44670"/>
                  <a:pt x="32555" y="44545"/>
                  <a:pt x="32836" y="44389"/>
                </a:cubicBezTo>
                <a:lnTo>
                  <a:pt x="33227" y="44780"/>
                </a:lnTo>
                <a:cubicBezTo>
                  <a:pt x="33352" y="44905"/>
                  <a:pt x="33524" y="44967"/>
                  <a:pt x="33696" y="44967"/>
                </a:cubicBezTo>
                <a:cubicBezTo>
                  <a:pt x="33868" y="44967"/>
                  <a:pt x="34040" y="44905"/>
                  <a:pt x="34165" y="44780"/>
                </a:cubicBezTo>
                <a:cubicBezTo>
                  <a:pt x="34791" y="44154"/>
                  <a:pt x="34582" y="44362"/>
                  <a:pt x="34791" y="44154"/>
                </a:cubicBezTo>
                <a:cubicBezTo>
                  <a:pt x="35041" y="43889"/>
                  <a:pt x="35041" y="43482"/>
                  <a:pt x="34791" y="43216"/>
                </a:cubicBezTo>
                <a:lnTo>
                  <a:pt x="34400" y="42825"/>
                </a:lnTo>
                <a:cubicBezTo>
                  <a:pt x="34556" y="42559"/>
                  <a:pt x="34681" y="42262"/>
                  <a:pt x="34759" y="41949"/>
                </a:cubicBezTo>
                <a:cubicBezTo>
                  <a:pt x="35322" y="41949"/>
                  <a:pt x="35134" y="41949"/>
                  <a:pt x="35322" y="41949"/>
                </a:cubicBezTo>
                <a:cubicBezTo>
                  <a:pt x="35682" y="41949"/>
                  <a:pt x="35963" y="41652"/>
                  <a:pt x="35963" y="41292"/>
                </a:cubicBezTo>
                <a:lnTo>
                  <a:pt x="35963" y="40401"/>
                </a:lnTo>
                <a:cubicBezTo>
                  <a:pt x="35963" y="40042"/>
                  <a:pt x="35682" y="39745"/>
                  <a:pt x="35322" y="39745"/>
                </a:cubicBezTo>
                <a:cubicBezTo>
                  <a:pt x="34759" y="39745"/>
                  <a:pt x="34947" y="39745"/>
                  <a:pt x="34759" y="39745"/>
                </a:cubicBezTo>
                <a:cubicBezTo>
                  <a:pt x="34681" y="39448"/>
                  <a:pt x="34556" y="39150"/>
                  <a:pt x="34400" y="38869"/>
                </a:cubicBezTo>
                <a:lnTo>
                  <a:pt x="34791" y="38478"/>
                </a:lnTo>
                <a:cubicBezTo>
                  <a:pt x="35041" y="38212"/>
                  <a:pt x="35041" y="37806"/>
                  <a:pt x="34791" y="37556"/>
                </a:cubicBezTo>
                <a:lnTo>
                  <a:pt x="34165" y="36914"/>
                </a:lnTo>
                <a:cubicBezTo>
                  <a:pt x="34040" y="36789"/>
                  <a:pt x="33868" y="36726"/>
                  <a:pt x="33696" y="36726"/>
                </a:cubicBezTo>
                <a:cubicBezTo>
                  <a:pt x="33524" y="36726"/>
                  <a:pt x="33352" y="36789"/>
                  <a:pt x="33227" y="36914"/>
                </a:cubicBezTo>
                <a:lnTo>
                  <a:pt x="32836" y="37305"/>
                </a:lnTo>
                <a:cubicBezTo>
                  <a:pt x="32555" y="37149"/>
                  <a:pt x="32273" y="37024"/>
                  <a:pt x="31960" y="36946"/>
                </a:cubicBezTo>
                <a:lnTo>
                  <a:pt x="31960" y="36383"/>
                </a:lnTo>
                <a:cubicBezTo>
                  <a:pt x="31960" y="36023"/>
                  <a:pt x="31663" y="35742"/>
                  <a:pt x="31304" y="35742"/>
                </a:cubicBezTo>
                <a:lnTo>
                  <a:pt x="30412" y="35742"/>
                </a:lnTo>
                <a:cubicBezTo>
                  <a:pt x="30053" y="35742"/>
                  <a:pt x="29755" y="36023"/>
                  <a:pt x="29755" y="36383"/>
                </a:cubicBezTo>
                <a:lnTo>
                  <a:pt x="29755" y="36946"/>
                </a:lnTo>
                <a:cubicBezTo>
                  <a:pt x="29490" y="37024"/>
                  <a:pt x="29224" y="37118"/>
                  <a:pt x="28974" y="37243"/>
                </a:cubicBezTo>
                <a:cubicBezTo>
                  <a:pt x="28911" y="37227"/>
                  <a:pt x="28833" y="37211"/>
                  <a:pt x="28770" y="37196"/>
                </a:cubicBezTo>
                <a:lnTo>
                  <a:pt x="28489" y="36914"/>
                </a:lnTo>
                <a:cubicBezTo>
                  <a:pt x="28364" y="36789"/>
                  <a:pt x="28192" y="36726"/>
                  <a:pt x="28020" y="36726"/>
                </a:cubicBezTo>
                <a:cubicBezTo>
                  <a:pt x="27848" y="36726"/>
                  <a:pt x="27676" y="36789"/>
                  <a:pt x="27551" y="36914"/>
                </a:cubicBezTo>
                <a:lnTo>
                  <a:pt x="27535" y="36914"/>
                </a:lnTo>
                <a:cubicBezTo>
                  <a:pt x="25752" y="36492"/>
                  <a:pt x="23610" y="35992"/>
                  <a:pt x="21499" y="35538"/>
                </a:cubicBezTo>
                <a:lnTo>
                  <a:pt x="21499" y="19901"/>
                </a:lnTo>
                <a:cubicBezTo>
                  <a:pt x="21499" y="18228"/>
                  <a:pt x="22422" y="17305"/>
                  <a:pt x="24095" y="17305"/>
                </a:cubicBezTo>
                <a:lnTo>
                  <a:pt x="55729" y="17305"/>
                </a:lnTo>
                <a:cubicBezTo>
                  <a:pt x="55823" y="17618"/>
                  <a:pt x="55901" y="17946"/>
                  <a:pt x="55979" y="18275"/>
                </a:cubicBezTo>
                <a:cubicBezTo>
                  <a:pt x="56166" y="19057"/>
                  <a:pt x="56370" y="19838"/>
                  <a:pt x="56542" y="20558"/>
                </a:cubicBezTo>
                <a:cubicBezTo>
                  <a:pt x="56433" y="20683"/>
                  <a:pt x="56370" y="20839"/>
                  <a:pt x="56370" y="21011"/>
                </a:cubicBezTo>
                <a:cubicBezTo>
                  <a:pt x="56370" y="21183"/>
                  <a:pt x="56433" y="21355"/>
                  <a:pt x="56558" y="21481"/>
                </a:cubicBezTo>
                <a:lnTo>
                  <a:pt x="56839" y="21762"/>
                </a:lnTo>
                <a:cubicBezTo>
                  <a:pt x="56855" y="21840"/>
                  <a:pt x="56871" y="21902"/>
                  <a:pt x="56886" y="21981"/>
                </a:cubicBezTo>
                <a:cubicBezTo>
                  <a:pt x="56761" y="22231"/>
                  <a:pt x="56651" y="22481"/>
                  <a:pt x="56573" y="22747"/>
                </a:cubicBezTo>
                <a:lnTo>
                  <a:pt x="56026" y="22747"/>
                </a:lnTo>
                <a:cubicBezTo>
                  <a:pt x="55666" y="22747"/>
                  <a:pt x="55369" y="23044"/>
                  <a:pt x="55369" y="23404"/>
                </a:cubicBezTo>
                <a:lnTo>
                  <a:pt x="55369" y="24295"/>
                </a:lnTo>
                <a:cubicBezTo>
                  <a:pt x="55369" y="24671"/>
                  <a:pt x="55666" y="24952"/>
                  <a:pt x="56026" y="24952"/>
                </a:cubicBezTo>
                <a:lnTo>
                  <a:pt x="56573" y="24952"/>
                </a:lnTo>
                <a:cubicBezTo>
                  <a:pt x="56667" y="25264"/>
                  <a:pt x="56792" y="25562"/>
                  <a:pt x="56949" y="25843"/>
                </a:cubicBezTo>
                <a:cubicBezTo>
                  <a:pt x="56558" y="26234"/>
                  <a:pt x="56688" y="26103"/>
                  <a:pt x="56558" y="26234"/>
                </a:cubicBezTo>
                <a:cubicBezTo>
                  <a:pt x="56433" y="26359"/>
                  <a:pt x="56370" y="26515"/>
                  <a:pt x="56370" y="26703"/>
                </a:cubicBezTo>
                <a:cubicBezTo>
                  <a:pt x="56370" y="26875"/>
                  <a:pt x="56433" y="27031"/>
                  <a:pt x="56558" y="27156"/>
                </a:cubicBezTo>
                <a:lnTo>
                  <a:pt x="57183" y="27782"/>
                </a:lnTo>
                <a:cubicBezTo>
                  <a:pt x="57308" y="27907"/>
                  <a:pt x="57480" y="27986"/>
                  <a:pt x="57652" y="27986"/>
                </a:cubicBezTo>
                <a:cubicBezTo>
                  <a:pt x="57824" y="27986"/>
                  <a:pt x="57996" y="27907"/>
                  <a:pt x="58105" y="27782"/>
                </a:cubicBezTo>
                <a:cubicBezTo>
                  <a:pt x="58512" y="27391"/>
                  <a:pt x="58376" y="27521"/>
                  <a:pt x="58512" y="27391"/>
                </a:cubicBezTo>
                <a:cubicBezTo>
                  <a:pt x="58778" y="27563"/>
                  <a:pt x="59075" y="27673"/>
                  <a:pt x="59388" y="27766"/>
                </a:cubicBezTo>
                <a:lnTo>
                  <a:pt x="59388" y="28314"/>
                </a:lnTo>
                <a:cubicBezTo>
                  <a:pt x="59388" y="28674"/>
                  <a:pt x="59685" y="28970"/>
                  <a:pt x="60044" y="28970"/>
                </a:cubicBezTo>
                <a:lnTo>
                  <a:pt x="60936" y="28970"/>
                </a:lnTo>
                <a:cubicBezTo>
                  <a:pt x="61295" y="28970"/>
                  <a:pt x="61593" y="28674"/>
                  <a:pt x="61593" y="28314"/>
                </a:cubicBezTo>
                <a:lnTo>
                  <a:pt x="61593" y="27766"/>
                </a:lnTo>
                <a:cubicBezTo>
                  <a:pt x="61905" y="27673"/>
                  <a:pt x="62187" y="27563"/>
                  <a:pt x="62468" y="27391"/>
                </a:cubicBezTo>
                <a:cubicBezTo>
                  <a:pt x="62859" y="27782"/>
                  <a:pt x="62729" y="27651"/>
                  <a:pt x="62859" y="27782"/>
                </a:cubicBezTo>
                <a:cubicBezTo>
                  <a:pt x="62984" y="27907"/>
                  <a:pt x="63156" y="27986"/>
                  <a:pt x="63329" y="27986"/>
                </a:cubicBezTo>
                <a:cubicBezTo>
                  <a:pt x="63501" y="27986"/>
                  <a:pt x="63672" y="27907"/>
                  <a:pt x="63797" y="27782"/>
                </a:cubicBezTo>
                <a:lnTo>
                  <a:pt x="64423" y="27156"/>
                </a:lnTo>
                <a:cubicBezTo>
                  <a:pt x="64548" y="27031"/>
                  <a:pt x="64611" y="26875"/>
                  <a:pt x="64611" y="26703"/>
                </a:cubicBezTo>
                <a:cubicBezTo>
                  <a:pt x="64611" y="26515"/>
                  <a:pt x="64548" y="26359"/>
                  <a:pt x="64423" y="26234"/>
                </a:cubicBezTo>
                <a:cubicBezTo>
                  <a:pt x="64032" y="25843"/>
                  <a:pt x="64162" y="25973"/>
                  <a:pt x="64032" y="25843"/>
                </a:cubicBezTo>
                <a:cubicBezTo>
                  <a:pt x="64189" y="25562"/>
                  <a:pt x="64314" y="25264"/>
                  <a:pt x="64392" y="24952"/>
                </a:cubicBezTo>
                <a:lnTo>
                  <a:pt x="64955" y="24952"/>
                </a:lnTo>
                <a:cubicBezTo>
                  <a:pt x="65315" y="24952"/>
                  <a:pt x="65611" y="24671"/>
                  <a:pt x="65611" y="24295"/>
                </a:cubicBezTo>
                <a:lnTo>
                  <a:pt x="65611" y="23404"/>
                </a:lnTo>
                <a:cubicBezTo>
                  <a:pt x="65611" y="23044"/>
                  <a:pt x="65315" y="22747"/>
                  <a:pt x="64955" y="22747"/>
                </a:cubicBezTo>
                <a:lnTo>
                  <a:pt x="64392" y="22747"/>
                </a:lnTo>
                <a:cubicBezTo>
                  <a:pt x="64314" y="22450"/>
                  <a:pt x="64189" y="22153"/>
                  <a:pt x="64032" y="21871"/>
                </a:cubicBezTo>
                <a:lnTo>
                  <a:pt x="64423" y="21481"/>
                </a:lnTo>
                <a:cubicBezTo>
                  <a:pt x="64548" y="21355"/>
                  <a:pt x="64611" y="21183"/>
                  <a:pt x="64611" y="21011"/>
                </a:cubicBezTo>
                <a:cubicBezTo>
                  <a:pt x="64611" y="20839"/>
                  <a:pt x="64548" y="20683"/>
                  <a:pt x="64423" y="20558"/>
                </a:cubicBezTo>
                <a:lnTo>
                  <a:pt x="63797" y="19917"/>
                </a:lnTo>
                <a:cubicBezTo>
                  <a:pt x="63672" y="19792"/>
                  <a:pt x="63501" y="19729"/>
                  <a:pt x="63329" y="19729"/>
                </a:cubicBezTo>
                <a:cubicBezTo>
                  <a:pt x="63172" y="19729"/>
                  <a:pt x="63031" y="19776"/>
                  <a:pt x="62922" y="19870"/>
                </a:cubicBezTo>
                <a:cubicBezTo>
                  <a:pt x="62734" y="19057"/>
                  <a:pt x="62515" y="18181"/>
                  <a:pt x="62296" y="17305"/>
                </a:cubicBezTo>
                <a:lnTo>
                  <a:pt x="63469" y="17305"/>
                </a:lnTo>
                <a:cubicBezTo>
                  <a:pt x="64314" y="17305"/>
                  <a:pt x="65033" y="17540"/>
                  <a:pt x="65533" y="17978"/>
                </a:cubicBezTo>
                <a:cubicBezTo>
                  <a:pt x="66049" y="18431"/>
                  <a:pt x="66315" y="19104"/>
                  <a:pt x="66315" y="19901"/>
                </a:cubicBezTo>
                <a:lnTo>
                  <a:pt x="66315" y="47547"/>
                </a:lnTo>
                <a:lnTo>
                  <a:pt x="21499" y="47547"/>
                </a:lnTo>
                <a:close/>
                <a:moveTo>
                  <a:pt x="69959" y="49502"/>
                </a:moveTo>
                <a:cubicBezTo>
                  <a:pt x="69959" y="50268"/>
                  <a:pt x="69505" y="51160"/>
                  <a:pt x="68723" y="51879"/>
                </a:cubicBezTo>
                <a:cubicBezTo>
                  <a:pt x="67957" y="52583"/>
                  <a:pt x="67003" y="53005"/>
                  <a:pt x="66206" y="53005"/>
                </a:cubicBezTo>
                <a:lnTo>
                  <a:pt x="20670" y="53005"/>
                </a:lnTo>
                <a:cubicBezTo>
                  <a:pt x="19904" y="53005"/>
                  <a:pt x="19200" y="52630"/>
                  <a:pt x="18669" y="51926"/>
                </a:cubicBezTo>
                <a:cubicBezTo>
                  <a:pt x="18153" y="51254"/>
                  <a:pt x="17856" y="50362"/>
                  <a:pt x="17856" y="49502"/>
                </a:cubicBezTo>
                <a:lnTo>
                  <a:pt x="17856" y="48267"/>
                </a:lnTo>
                <a:lnTo>
                  <a:pt x="21139" y="48267"/>
                </a:lnTo>
                <a:lnTo>
                  <a:pt x="66675" y="48267"/>
                </a:lnTo>
                <a:lnTo>
                  <a:pt x="69959" y="48267"/>
                </a:lnTo>
                <a:close/>
                <a:moveTo>
                  <a:pt x="13243" y="35272"/>
                </a:moveTo>
                <a:cubicBezTo>
                  <a:pt x="11726" y="35272"/>
                  <a:pt x="10475" y="36508"/>
                  <a:pt x="10475" y="38040"/>
                </a:cubicBezTo>
                <a:cubicBezTo>
                  <a:pt x="10475" y="39557"/>
                  <a:pt x="11726" y="40792"/>
                  <a:pt x="13243" y="40792"/>
                </a:cubicBezTo>
                <a:cubicBezTo>
                  <a:pt x="14775" y="40792"/>
                  <a:pt x="16010" y="39557"/>
                  <a:pt x="16010" y="38040"/>
                </a:cubicBezTo>
                <a:cubicBezTo>
                  <a:pt x="16010" y="36508"/>
                  <a:pt x="14775" y="35272"/>
                  <a:pt x="13243" y="35272"/>
                </a:cubicBezTo>
                <a:close/>
                <a:moveTo>
                  <a:pt x="13243" y="40089"/>
                </a:moveTo>
                <a:cubicBezTo>
                  <a:pt x="12117" y="40089"/>
                  <a:pt x="11194" y="39166"/>
                  <a:pt x="11194" y="38040"/>
                </a:cubicBezTo>
                <a:cubicBezTo>
                  <a:pt x="11194" y="36899"/>
                  <a:pt x="12117" y="35976"/>
                  <a:pt x="13243" y="35976"/>
                </a:cubicBezTo>
                <a:cubicBezTo>
                  <a:pt x="14368" y="35976"/>
                  <a:pt x="15291" y="36899"/>
                  <a:pt x="15291" y="38040"/>
                </a:cubicBezTo>
                <a:cubicBezTo>
                  <a:pt x="15291" y="39166"/>
                  <a:pt x="14368" y="40089"/>
                  <a:pt x="13243" y="40089"/>
                </a:cubicBezTo>
                <a:close/>
                <a:moveTo>
                  <a:pt x="59607" y="10613"/>
                </a:moveTo>
                <a:cubicBezTo>
                  <a:pt x="59607" y="9377"/>
                  <a:pt x="58606" y="8392"/>
                  <a:pt x="57386" y="8392"/>
                </a:cubicBezTo>
                <a:cubicBezTo>
                  <a:pt x="56151" y="8392"/>
                  <a:pt x="55150" y="9377"/>
                  <a:pt x="55150" y="10613"/>
                </a:cubicBezTo>
                <a:cubicBezTo>
                  <a:pt x="55150" y="11848"/>
                  <a:pt x="56151" y="12833"/>
                  <a:pt x="57386" y="12833"/>
                </a:cubicBezTo>
                <a:cubicBezTo>
                  <a:pt x="58606" y="12833"/>
                  <a:pt x="59607" y="11848"/>
                  <a:pt x="59607" y="10613"/>
                </a:cubicBezTo>
                <a:close/>
                <a:moveTo>
                  <a:pt x="55870" y="10613"/>
                </a:moveTo>
                <a:cubicBezTo>
                  <a:pt x="55870" y="9784"/>
                  <a:pt x="56542" y="9096"/>
                  <a:pt x="57386" y="9096"/>
                </a:cubicBezTo>
                <a:cubicBezTo>
                  <a:pt x="58215" y="9096"/>
                  <a:pt x="58903" y="9784"/>
                  <a:pt x="58903" y="10613"/>
                </a:cubicBezTo>
                <a:cubicBezTo>
                  <a:pt x="58903" y="11441"/>
                  <a:pt x="58215" y="12129"/>
                  <a:pt x="57386" y="12129"/>
                </a:cubicBezTo>
                <a:cubicBezTo>
                  <a:pt x="56542" y="12129"/>
                  <a:pt x="55870" y="11441"/>
                  <a:pt x="55870" y="10613"/>
                </a:cubicBezTo>
                <a:close/>
                <a:moveTo>
                  <a:pt x="10835" y="25202"/>
                </a:moveTo>
                <a:cubicBezTo>
                  <a:pt x="9615" y="25202"/>
                  <a:pt x="8614" y="26203"/>
                  <a:pt x="8614" y="27438"/>
                </a:cubicBezTo>
                <a:cubicBezTo>
                  <a:pt x="8614" y="28658"/>
                  <a:pt x="9615" y="29658"/>
                  <a:pt x="10835" y="29658"/>
                </a:cubicBezTo>
                <a:cubicBezTo>
                  <a:pt x="12070" y="29658"/>
                  <a:pt x="13055" y="28658"/>
                  <a:pt x="13055" y="27438"/>
                </a:cubicBezTo>
                <a:cubicBezTo>
                  <a:pt x="13055" y="26203"/>
                  <a:pt x="12070" y="25202"/>
                  <a:pt x="10835" y="25202"/>
                </a:cubicBezTo>
                <a:close/>
                <a:moveTo>
                  <a:pt x="10835" y="28955"/>
                </a:moveTo>
                <a:cubicBezTo>
                  <a:pt x="10006" y="28955"/>
                  <a:pt x="9318" y="28267"/>
                  <a:pt x="9318" y="27438"/>
                </a:cubicBezTo>
                <a:cubicBezTo>
                  <a:pt x="9318" y="26594"/>
                  <a:pt x="10006" y="25921"/>
                  <a:pt x="10835" y="25921"/>
                </a:cubicBezTo>
                <a:cubicBezTo>
                  <a:pt x="11663" y="25921"/>
                  <a:pt x="12351" y="26594"/>
                  <a:pt x="12351" y="27438"/>
                </a:cubicBezTo>
                <a:cubicBezTo>
                  <a:pt x="12351" y="28267"/>
                  <a:pt x="11663" y="28955"/>
                  <a:pt x="10835" y="28955"/>
                </a:cubicBezTo>
                <a:close/>
                <a:moveTo>
                  <a:pt x="30850" y="43075"/>
                </a:moveTo>
                <a:cubicBezTo>
                  <a:pt x="32085" y="43075"/>
                  <a:pt x="33086" y="42075"/>
                  <a:pt x="33086" y="40855"/>
                </a:cubicBezTo>
                <a:cubicBezTo>
                  <a:pt x="33086" y="39620"/>
                  <a:pt x="32085" y="38619"/>
                  <a:pt x="30850" y="38619"/>
                </a:cubicBezTo>
                <a:cubicBezTo>
                  <a:pt x="29630" y="38619"/>
                  <a:pt x="28630" y="39620"/>
                  <a:pt x="28630" y="40855"/>
                </a:cubicBezTo>
                <a:cubicBezTo>
                  <a:pt x="28630" y="42075"/>
                  <a:pt x="29630" y="43075"/>
                  <a:pt x="30850" y="43075"/>
                </a:cubicBezTo>
                <a:close/>
                <a:moveTo>
                  <a:pt x="30850" y="39338"/>
                </a:moveTo>
                <a:cubicBezTo>
                  <a:pt x="31694" y="39338"/>
                  <a:pt x="32367" y="40010"/>
                  <a:pt x="32367" y="40855"/>
                </a:cubicBezTo>
                <a:cubicBezTo>
                  <a:pt x="32367" y="41684"/>
                  <a:pt x="31694" y="42356"/>
                  <a:pt x="30850" y="42356"/>
                </a:cubicBezTo>
                <a:cubicBezTo>
                  <a:pt x="30021" y="42356"/>
                  <a:pt x="29349" y="41684"/>
                  <a:pt x="29349" y="40855"/>
                </a:cubicBezTo>
                <a:cubicBezTo>
                  <a:pt x="29349" y="40010"/>
                  <a:pt x="30021" y="39338"/>
                  <a:pt x="30850" y="39338"/>
                </a:cubicBezTo>
                <a:close/>
                <a:moveTo>
                  <a:pt x="11929" y="20871"/>
                </a:moveTo>
                <a:lnTo>
                  <a:pt x="12336" y="20871"/>
                </a:lnTo>
                <a:cubicBezTo>
                  <a:pt x="12398" y="21105"/>
                  <a:pt x="12492" y="21324"/>
                  <a:pt x="12602" y="21527"/>
                </a:cubicBezTo>
                <a:lnTo>
                  <a:pt x="12320" y="21809"/>
                </a:lnTo>
                <a:cubicBezTo>
                  <a:pt x="12211" y="21918"/>
                  <a:pt x="12148" y="22074"/>
                  <a:pt x="12148" y="22231"/>
                </a:cubicBezTo>
                <a:cubicBezTo>
                  <a:pt x="12148" y="22403"/>
                  <a:pt x="12211" y="22544"/>
                  <a:pt x="12320" y="22653"/>
                </a:cubicBezTo>
                <a:lnTo>
                  <a:pt x="12836" y="23185"/>
                </a:lnTo>
                <a:cubicBezTo>
                  <a:pt x="12945" y="23294"/>
                  <a:pt x="13102" y="23357"/>
                  <a:pt x="13258" y="23357"/>
                </a:cubicBezTo>
                <a:cubicBezTo>
                  <a:pt x="13430" y="23357"/>
                  <a:pt x="13571" y="23294"/>
                  <a:pt x="13696" y="23185"/>
                </a:cubicBezTo>
                <a:lnTo>
                  <a:pt x="13978" y="22888"/>
                </a:lnTo>
                <a:cubicBezTo>
                  <a:pt x="14181" y="22997"/>
                  <a:pt x="14400" y="23091"/>
                  <a:pt x="14619" y="23153"/>
                </a:cubicBezTo>
                <a:lnTo>
                  <a:pt x="14619" y="23560"/>
                </a:lnTo>
                <a:cubicBezTo>
                  <a:pt x="14619" y="23904"/>
                  <a:pt x="14900" y="24170"/>
                  <a:pt x="15229" y="24170"/>
                </a:cubicBezTo>
                <a:lnTo>
                  <a:pt x="15964" y="24170"/>
                </a:lnTo>
                <a:cubicBezTo>
                  <a:pt x="16292" y="24170"/>
                  <a:pt x="16558" y="23904"/>
                  <a:pt x="16558" y="23560"/>
                </a:cubicBezTo>
                <a:lnTo>
                  <a:pt x="16558" y="23153"/>
                </a:lnTo>
                <a:cubicBezTo>
                  <a:pt x="16777" y="23091"/>
                  <a:pt x="16996" y="22997"/>
                  <a:pt x="17215" y="22888"/>
                </a:cubicBezTo>
                <a:lnTo>
                  <a:pt x="17496" y="23185"/>
                </a:lnTo>
                <a:cubicBezTo>
                  <a:pt x="17605" y="23294"/>
                  <a:pt x="17762" y="23357"/>
                  <a:pt x="17918" y="23357"/>
                </a:cubicBezTo>
                <a:cubicBezTo>
                  <a:pt x="18074" y="23357"/>
                  <a:pt x="18231" y="23294"/>
                  <a:pt x="18341" y="23185"/>
                </a:cubicBezTo>
                <a:lnTo>
                  <a:pt x="18856" y="22653"/>
                </a:lnTo>
                <a:cubicBezTo>
                  <a:pt x="18982" y="22544"/>
                  <a:pt x="19044" y="22403"/>
                  <a:pt x="19044" y="22231"/>
                </a:cubicBezTo>
                <a:cubicBezTo>
                  <a:pt x="19044" y="22074"/>
                  <a:pt x="18982" y="21918"/>
                  <a:pt x="18856" y="21809"/>
                </a:cubicBezTo>
                <a:lnTo>
                  <a:pt x="18575" y="21527"/>
                </a:lnTo>
                <a:cubicBezTo>
                  <a:pt x="18684" y="21324"/>
                  <a:pt x="18778" y="21105"/>
                  <a:pt x="18841" y="20871"/>
                </a:cubicBezTo>
                <a:lnTo>
                  <a:pt x="19247" y="20871"/>
                </a:lnTo>
                <a:cubicBezTo>
                  <a:pt x="19576" y="20871"/>
                  <a:pt x="19857" y="20605"/>
                  <a:pt x="19857" y="20276"/>
                </a:cubicBezTo>
                <a:lnTo>
                  <a:pt x="19857" y="19542"/>
                </a:lnTo>
                <a:cubicBezTo>
                  <a:pt x="19857" y="19213"/>
                  <a:pt x="19576" y="18947"/>
                  <a:pt x="19247" y="18947"/>
                </a:cubicBezTo>
                <a:lnTo>
                  <a:pt x="18841" y="18947"/>
                </a:lnTo>
                <a:cubicBezTo>
                  <a:pt x="18778" y="18712"/>
                  <a:pt x="18684" y="18494"/>
                  <a:pt x="18575" y="18291"/>
                </a:cubicBezTo>
                <a:lnTo>
                  <a:pt x="18856" y="18009"/>
                </a:lnTo>
                <a:cubicBezTo>
                  <a:pt x="19091" y="17774"/>
                  <a:pt x="19091" y="17383"/>
                  <a:pt x="18856" y="17149"/>
                </a:cubicBezTo>
                <a:lnTo>
                  <a:pt x="18341" y="16633"/>
                </a:lnTo>
                <a:cubicBezTo>
                  <a:pt x="18231" y="16523"/>
                  <a:pt x="18074" y="16461"/>
                  <a:pt x="17918" y="16461"/>
                </a:cubicBezTo>
                <a:cubicBezTo>
                  <a:pt x="17762" y="16461"/>
                  <a:pt x="17605" y="16523"/>
                  <a:pt x="17496" y="16633"/>
                </a:cubicBezTo>
                <a:lnTo>
                  <a:pt x="17215" y="16930"/>
                </a:lnTo>
                <a:cubicBezTo>
                  <a:pt x="16996" y="16805"/>
                  <a:pt x="16777" y="16727"/>
                  <a:pt x="16558" y="16648"/>
                </a:cubicBezTo>
                <a:lnTo>
                  <a:pt x="16558" y="16242"/>
                </a:lnTo>
                <a:cubicBezTo>
                  <a:pt x="16558" y="15914"/>
                  <a:pt x="16292" y="15647"/>
                  <a:pt x="15964" y="15647"/>
                </a:cubicBezTo>
                <a:lnTo>
                  <a:pt x="15229" y="15647"/>
                </a:lnTo>
                <a:cubicBezTo>
                  <a:pt x="14900" y="15647"/>
                  <a:pt x="14619" y="15914"/>
                  <a:pt x="14619" y="16242"/>
                </a:cubicBezTo>
                <a:lnTo>
                  <a:pt x="14619" y="16648"/>
                </a:lnTo>
                <a:cubicBezTo>
                  <a:pt x="14400" y="16727"/>
                  <a:pt x="14181" y="16805"/>
                  <a:pt x="13978" y="16930"/>
                </a:cubicBezTo>
                <a:lnTo>
                  <a:pt x="13696" y="16633"/>
                </a:lnTo>
                <a:cubicBezTo>
                  <a:pt x="13571" y="16523"/>
                  <a:pt x="13430" y="16461"/>
                  <a:pt x="13258" y="16461"/>
                </a:cubicBezTo>
                <a:cubicBezTo>
                  <a:pt x="13102" y="16461"/>
                  <a:pt x="12945" y="16523"/>
                  <a:pt x="12836" y="16633"/>
                </a:cubicBezTo>
                <a:lnTo>
                  <a:pt x="12320" y="17149"/>
                </a:lnTo>
                <a:cubicBezTo>
                  <a:pt x="12086" y="17383"/>
                  <a:pt x="12086" y="17774"/>
                  <a:pt x="12320" y="18009"/>
                </a:cubicBezTo>
                <a:lnTo>
                  <a:pt x="12602" y="18291"/>
                </a:lnTo>
                <a:cubicBezTo>
                  <a:pt x="12492" y="18494"/>
                  <a:pt x="12398" y="18712"/>
                  <a:pt x="12336" y="18947"/>
                </a:cubicBezTo>
                <a:lnTo>
                  <a:pt x="11929" y="18947"/>
                </a:lnTo>
                <a:cubicBezTo>
                  <a:pt x="11601" y="18947"/>
                  <a:pt x="11335" y="19213"/>
                  <a:pt x="11335" y="19542"/>
                </a:cubicBezTo>
                <a:lnTo>
                  <a:pt x="11335" y="20276"/>
                </a:lnTo>
                <a:cubicBezTo>
                  <a:pt x="11335" y="20605"/>
                  <a:pt x="11601" y="20871"/>
                  <a:pt x="11929" y="20871"/>
                </a:cubicBezTo>
                <a:close/>
                <a:moveTo>
                  <a:pt x="12054" y="19651"/>
                </a:moveTo>
                <a:cubicBezTo>
                  <a:pt x="12617" y="19651"/>
                  <a:pt x="12429" y="19651"/>
                  <a:pt x="12617" y="19651"/>
                </a:cubicBezTo>
                <a:cubicBezTo>
                  <a:pt x="12789" y="19651"/>
                  <a:pt x="12930" y="19542"/>
                  <a:pt x="12961" y="19369"/>
                </a:cubicBezTo>
                <a:cubicBezTo>
                  <a:pt x="13039" y="19041"/>
                  <a:pt x="13165" y="18712"/>
                  <a:pt x="13352" y="18431"/>
                </a:cubicBezTo>
                <a:cubicBezTo>
                  <a:pt x="13446" y="18291"/>
                  <a:pt x="13430" y="18103"/>
                  <a:pt x="13305" y="17978"/>
                </a:cubicBezTo>
                <a:lnTo>
                  <a:pt x="12914" y="17586"/>
                </a:lnTo>
                <a:lnTo>
                  <a:pt x="13258" y="17227"/>
                </a:lnTo>
                <a:lnTo>
                  <a:pt x="13665" y="17634"/>
                </a:lnTo>
                <a:cubicBezTo>
                  <a:pt x="13790" y="17743"/>
                  <a:pt x="13978" y="17759"/>
                  <a:pt x="14118" y="17665"/>
                </a:cubicBezTo>
                <a:cubicBezTo>
                  <a:pt x="14400" y="17477"/>
                  <a:pt x="14713" y="17352"/>
                  <a:pt x="15056" y="17290"/>
                </a:cubicBezTo>
                <a:cubicBezTo>
                  <a:pt x="15213" y="17243"/>
                  <a:pt x="15338" y="17102"/>
                  <a:pt x="15338" y="16930"/>
                </a:cubicBezTo>
                <a:lnTo>
                  <a:pt x="15338" y="16367"/>
                </a:lnTo>
                <a:lnTo>
                  <a:pt x="15839" y="16367"/>
                </a:lnTo>
                <a:lnTo>
                  <a:pt x="15839" y="16930"/>
                </a:lnTo>
                <a:cubicBezTo>
                  <a:pt x="15839" y="17102"/>
                  <a:pt x="15964" y="17243"/>
                  <a:pt x="16135" y="17290"/>
                </a:cubicBezTo>
                <a:cubicBezTo>
                  <a:pt x="16464" y="17352"/>
                  <a:pt x="16777" y="17477"/>
                  <a:pt x="17074" y="17665"/>
                </a:cubicBezTo>
                <a:cubicBezTo>
                  <a:pt x="17215" y="17759"/>
                  <a:pt x="17402" y="17743"/>
                  <a:pt x="17511" y="17634"/>
                </a:cubicBezTo>
                <a:lnTo>
                  <a:pt x="17918" y="17227"/>
                </a:lnTo>
                <a:lnTo>
                  <a:pt x="18278" y="17586"/>
                </a:lnTo>
                <a:lnTo>
                  <a:pt x="17871" y="17978"/>
                </a:lnTo>
                <a:cubicBezTo>
                  <a:pt x="17746" y="18103"/>
                  <a:pt x="17731" y="18291"/>
                  <a:pt x="17824" y="18431"/>
                </a:cubicBezTo>
                <a:cubicBezTo>
                  <a:pt x="18012" y="18712"/>
                  <a:pt x="18153" y="19041"/>
                  <a:pt x="18215" y="19369"/>
                </a:cubicBezTo>
                <a:cubicBezTo>
                  <a:pt x="18246" y="19542"/>
                  <a:pt x="18403" y="19651"/>
                  <a:pt x="18559" y="19651"/>
                </a:cubicBezTo>
                <a:lnTo>
                  <a:pt x="19138" y="19651"/>
                </a:lnTo>
                <a:lnTo>
                  <a:pt x="19138" y="20167"/>
                </a:lnTo>
                <a:lnTo>
                  <a:pt x="18559" y="20167"/>
                </a:lnTo>
                <a:cubicBezTo>
                  <a:pt x="18403" y="20167"/>
                  <a:pt x="18246" y="20276"/>
                  <a:pt x="18215" y="20448"/>
                </a:cubicBezTo>
                <a:cubicBezTo>
                  <a:pt x="18153" y="20776"/>
                  <a:pt x="18012" y="21089"/>
                  <a:pt x="17824" y="21386"/>
                </a:cubicBezTo>
                <a:cubicBezTo>
                  <a:pt x="17731" y="21527"/>
                  <a:pt x="17746" y="21715"/>
                  <a:pt x="17871" y="21824"/>
                </a:cubicBezTo>
                <a:lnTo>
                  <a:pt x="18278" y="22231"/>
                </a:lnTo>
                <a:lnTo>
                  <a:pt x="17918" y="22590"/>
                </a:lnTo>
                <a:lnTo>
                  <a:pt x="17511" y="22184"/>
                </a:lnTo>
                <a:cubicBezTo>
                  <a:pt x="17402" y="22074"/>
                  <a:pt x="17215" y="22043"/>
                  <a:pt x="17074" y="22137"/>
                </a:cubicBezTo>
                <a:cubicBezTo>
                  <a:pt x="16777" y="22340"/>
                  <a:pt x="16464" y="22465"/>
                  <a:pt x="16135" y="22528"/>
                </a:cubicBezTo>
                <a:cubicBezTo>
                  <a:pt x="15964" y="22559"/>
                  <a:pt x="15839" y="22715"/>
                  <a:pt x="15839" y="22888"/>
                </a:cubicBezTo>
                <a:lnTo>
                  <a:pt x="15839" y="23451"/>
                </a:lnTo>
                <a:lnTo>
                  <a:pt x="15338" y="23451"/>
                </a:lnTo>
                <a:lnTo>
                  <a:pt x="15338" y="22888"/>
                </a:lnTo>
                <a:cubicBezTo>
                  <a:pt x="15338" y="22715"/>
                  <a:pt x="15213" y="22559"/>
                  <a:pt x="15056" y="22528"/>
                </a:cubicBezTo>
                <a:cubicBezTo>
                  <a:pt x="14713" y="22465"/>
                  <a:pt x="14400" y="22340"/>
                  <a:pt x="14118" y="22137"/>
                </a:cubicBezTo>
                <a:cubicBezTo>
                  <a:pt x="13978" y="22043"/>
                  <a:pt x="13790" y="22074"/>
                  <a:pt x="13665" y="22184"/>
                </a:cubicBezTo>
                <a:lnTo>
                  <a:pt x="13258" y="22590"/>
                </a:lnTo>
                <a:lnTo>
                  <a:pt x="12914" y="22231"/>
                </a:lnTo>
                <a:lnTo>
                  <a:pt x="13305" y="21824"/>
                </a:lnTo>
                <a:cubicBezTo>
                  <a:pt x="13430" y="21715"/>
                  <a:pt x="13446" y="21527"/>
                  <a:pt x="13352" y="21386"/>
                </a:cubicBezTo>
                <a:cubicBezTo>
                  <a:pt x="13165" y="21089"/>
                  <a:pt x="13039" y="20776"/>
                  <a:pt x="12961" y="20448"/>
                </a:cubicBezTo>
                <a:cubicBezTo>
                  <a:pt x="12930" y="20276"/>
                  <a:pt x="12789" y="20167"/>
                  <a:pt x="12617" y="20167"/>
                </a:cubicBezTo>
                <a:cubicBezTo>
                  <a:pt x="12054" y="20167"/>
                  <a:pt x="12242" y="20167"/>
                  <a:pt x="12054" y="20167"/>
                </a:cubicBezTo>
                <a:close/>
                <a:moveTo>
                  <a:pt x="15588" y="21793"/>
                </a:moveTo>
                <a:cubicBezTo>
                  <a:pt x="16636" y="21793"/>
                  <a:pt x="17480" y="20949"/>
                  <a:pt x="17480" y="19901"/>
                </a:cubicBezTo>
                <a:cubicBezTo>
                  <a:pt x="17480" y="18869"/>
                  <a:pt x="16636" y="18009"/>
                  <a:pt x="15588" y="18009"/>
                </a:cubicBezTo>
                <a:cubicBezTo>
                  <a:pt x="14556" y="18009"/>
                  <a:pt x="13696" y="18869"/>
                  <a:pt x="13696" y="19901"/>
                </a:cubicBezTo>
                <a:cubicBezTo>
                  <a:pt x="13696" y="20949"/>
                  <a:pt x="14556" y="21793"/>
                  <a:pt x="15588" y="21793"/>
                </a:cubicBezTo>
                <a:close/>
                <a:moveTo>
                  <a:pt x="15588" y="18728"/>
                </a:moveTo>
                <a:cubicBezTo>
                  <a:pt x="16245" y="18728"/>
                  <a:pt x="16761" y="19260"/>
                  <a:pt x="16761" y="19901"/>
                </a:cubicBezTo>
                <a:cubicBezTo>
                  <a:pt x="16761" y="20558"/>
                  <a:pt x="16245" y="21089"/>
                  <a:pt x="15588" y="21089"/>
                </a:cubicBezTo>
                <a:cubicBezTo>
                  <a:pt x="14947" y="21089"/>
                  <a:pt x="14415" y="20558"/>
                  <a:pt x="14415" y="19901"/>
                </a:cubicBezTo>
                <a:cubicBezTo>
                  <a:pt x="14415" y="19260"/>
                  <a:pt x="14947" y="18728"/>
                  <a:pt x="15588" y="18728"/>
                </a:cubicBezTo>
                <a:close/>
                <a:moveTo>
                  <a:pt x="66049" y="10628"/>
                </a:moveTo>
                <a:cubicBezTo>
                  <a:pt x="67081" y="10628"/>
                  <a:pt x="67926" y="9784"/>
                  <a:pt x="67926" y="8736"/>
                </a:cubicBezTo>
                <a:cubicBezTo>
                  <a:pt x="67926" y="7704"/>
                  <a:pt x="67081" y="6844"/>
                  <a:pt x="66049" y="6844"/>
                </a:cubicBezTo>
                <a:cubicBezTo>
                  <a:pt x="65002" y="6844"/>
                  <a:pt x="64157" y="7704"/>
                  <a:pt x="64157" y="8736"/>
                </a:cubicBezTo>
                <a:cubicBezTo>
                  <a:pt x="64157" y="9784"/>
                  <a:pt x="65002" y="10628"/>
                  <a:pt x="66049" y="10628"/>
                </a:cubicBezTo>
                <a:close/>
                <a:moveTo>
                  <a:pt x="66049" y="7563"/>
                </a:moveTo>
                <a:cubicBezTo>
                  <a:pt x="66691" y="7563"/>
                  <a:pt x="67222" y="8095"/>
                  <a:pt x="67222" y="8736"/>
                </a:cubicBezTo>
                <a:cubicBezTo>
                  <a:pt x="67222" y="9393"/>
                  <a:pt x="66691" y="9925"/>
                  <a:pt x="66049" y="9925"/>
                </a:cubicBezTo>
                <a:cubicBezTo>
                  <a:pt x="65393" y="9925"/>
                  <a:pt x="64861" y="9393"/>
                  <a:pt x="64861" y="8736"/>
                </a:cubicBezTo>
                <a:cubicBezTo>
                  <a:pt x="64861" y="8095"/>
                  <a:pt x="65393" y="7563"/>
                  <a:pt x="66049" y="7563"/>
                </a:cubicBezTo>
                <a:close/>
                <a:moveTo>
                  <a:pt x="58262" y="23857"/>
                </a:moveTo>
                <a:cubicBezTo>
                  <a:pt x="58262" y="25077"/>
                  <a:pt x="59263" y="26078"/>
                  <a:pt x="60482" y="26078"/>
                </a:cubicBezTo>
                <a:cubicBezTo>
                  <a:pt x="61718" y="26078"/>
                  <a:pt x="62719" y="25077"/>
                  <a:pt x="62719" y="23857"/>
                </a:cubicBezTo>
                <a:cubicBezTo>
                  <a:pt x="62719" y="22622"/>
                  <a:pt x="61718" y="21621"/>
                  <a:pt x="60482" y="21621"/>
                </a:cubicBezTo>
                <a:cubicBezTo>
                  <a:pt x="59263" y="21621"/>
                  <a:pt x="58262" y="22622"/>
                  <a:pt x="58262" y="23857"/>
                </a:cubicBezTo>
                <a:close/>
                <a:moveTo>
                  <a:pt x="62000" y="23857"/>
                </a:moveTo>
                <a:cubicBezTo>
                  <a:pt x="62000" y="24686"/>
                  <a:pt x="61327" y="25374"/>
                  <a:pt x="60482" y="25374"/>
                </a:cubicBezTo>
                <a:cubicBezTo>
                  <a:pt x="59654" y="25374"/>
                  <a:pt x="58981" y="24686"/>
                  <a:pt x="58981" y="23857"/>
                </a:cubicBezTo>
                <a:cubicBezTo>
                  <a:pt x="58981" y="23013"/>
                  <a:pt x="59654" y="22340"/>
                  <a:pt x="60482" y="22340"/>
                </a:cubicBezTo>
                <a:cubicBezTo>
                  <a:pt x="61327" y="22340"/>
                  <a:pt x="62000" y="23013"/>
                  <a:pt x="62000" y="23857"/>
                </a:cubicBezTo>
                <a:close/>
                <a:moveTo>
                  <a:pt x="55698" y="28470"/>
                </a:moveTo>
                <a:cubicBezTo>
                  <a:pt x="55698" y="27986"/>
                  <a:pt x="55682" y="27172"/>
                  <a:pt x="55525" y="26390"/>
                </a:cubicBezTo>
                <a:cubicBezTo>
                  <a:pt x="55307" y="25327"/>
                  <a:pt x="54306" y="24858"/>
                  <a:pt x="53884" y="24717"/>
                </a:cubicBezTo>
                <a:cubicBezTo>
                  <a:pt x="53681" y="24201"/>
                  <a:pt x="53227" y="23888"/>
                  <a:pt x="53086" y="23795"/>
                </a:cubicBezTo>
                <a:cubicBezTo>
                  <a:pt x="53071" y="23795"/>
                  <a:pt x="52993" y="23748"/>
                  <a:pt x="52930" y="23701"/>
                </a:cubicBezTo>
                <a:cubicBezTo>
                  <a:pt x="52335" y="23278"/>
                  <a:pt x="50506" y="21981"/>
                  <a:pt x="48927" y="21355"/>
                </a:cubicBezTo>
                <a:cubicBezTo>
                  <a:pt x="48348" y="21121"/>
                  <a:pt x="47504" y="20933"/>
                  <a:pt x="46800" y="21355"/>
                </a:cubicBezTo>
                <a:cubicBezTo>
                  <a:pt x="46659" y="21433"/>
                  <a:pt x="46566" y="21512"/>
                  <a:pt x="46471" y="21606"/>
                </a:cubicBezTo>
                <a:cubicBezTo>
                  <a:pt x="46456" y="21590"/>
                  <a:pt x="46440" y="21574"/>
                  <a:pt x="46425" y="21559"/>
                </a:cubicBezTo>
                <a:cubicBezTo>
                  <a:pt x="45643" y="20792"/>
                  <a:pt x="44423" y="20386"/>
                  <a:pt x="43094" y="20417"/>
                </a:cubicBezTo>
                <a:cubicBezTo>
                  <a:pt x="42265" y="20448"/>
                  <a:pt x="40076" y="21089"/>
                  <a:pt x="39169" y="21371"/>
                </a:cubicBezTo>
                <a:cubicBezTo>
                  <a:pt x="37480" y="21887"/>
                  <a:pt x="35917" y="22450"/>
                  <a:pt x="35291" y="22747"/>
                </a:cubicBezTo>
                <a:cubicBezTo>
                  <a:pt x="34650" y="23060"/>
                  <a:pt x="33978" y="23388"/>
                  <a:pt x="33430" y="23826"/>
                </a:cubicBezTo>
                <a:cubicBezTo>
                  <a:pt x="32836" y="24311"/>
                  <a:pt x="32492" y="24842"/>
                  <a:pt x="32367" y="25437"/>
                </a:cubicBezTo>
                <a:cubicBezTo>
                  <a:pt x="31898" y="25452"/>
                  <a:pt x="31335" y="25609"/>
                  <a:pt x="30991" y="26140"/>
                </a:cubicBezTo>
                <a:cubicBezTo>
                  <a:pt x="30694" y="26562"/>
                  <a:pt x="30225" y="27376"/>
                  <a:pt x="29724" y="28345"/>
                </a:cubicBezTo>
                <a:cubicBezTo>
                  <a:pt x="29427" y="28908"/>
                  <a:pt x="28927" y="29893"/>
                  <a:pt x="28880" y="30128"/>
                </a:cubicBezTo>
                <a:cubicBezTo>
                  <a:pt x="28880" y="30143"/>
                  <a:pt x="28880" y="30159"/>
                  <a:pt x="28864" y="30190"/>
                </a:cubicBezTo>
                <a:cubicBezTo>
                  <a:pt x="28833" y="30393"/>
                  <a:pt x="28739" y="30863"/>
                  <a:pt x="28833" y="31394"/>
                </a:cubicBezTo>
                <a:cubicBezTo>
                  <a:pt x="28927" y="32004"/>
                  <a:pt x="29255" y="32520"/>
                  <a:pt x="29771" y="32895"/>
                </a:cubicBezTo>
                <a:cubicBezTo>
                  <a:pt x="29818" y="33318"/>
                  <a:pt x="30053" y="34240"/>
                  <a:pt x="31241" y="34913"/>
                </a:cubicBezTo>
                <a:cubicBezTo>
                  <a:pt x="31663" y="35147"/>
                  <a:pt x="32039" y="35382"/>
                  <a:pt x="32382" y="35585"/>
                </a:cubicBezTo>
                <a:cubicBezTo>
                  <a:pt x="33227" y="36085"/>
                  <a:pt x="33853" y="36445"/>
                  <a:pt x="34290" y="36570"/>
                </a:cubicBezTo>
                <a:cubicBezTo>
                  <a:pt x="34666" y="36680"/>
                  <a:pt x="35010" y="36695"/>
                  <a:pt x="35260" y="36695"/>
                </a:cubicBezTo>
                <a:cubicBezTo>
                  <a:pt x="35307" y="36930"/>
                  <a:pt x="35385" y="37258"/>
                  <a:pt x="35541" y="37587"/>
                </a:cubicBezTo>
                <a:cubicBezTo>
                  <a:pt x="35948" y="38431"/>
                  <a:pt x="36636" y="38869"/>
                  <a:pt x="37559" y="38869"/>
                </a:cubicBezTo>
                <a:lnTo>
                  <a:pt x="37590" y="38869"/>
                </a:lnTo>
                <a:cubicBezTo>
                  <a:pt x="39498" y="38838"/>
                  <a:pt x="42922" y="38869"/>
                  <a:pt x="42969" y="38869"/>
                </a:cubicBezTo>
                <a:lnTo>
                  <a:pt x="43000" y="38869"/>
                </a:lnTo>
                <a:cubicBezTo>
                  <a:pt x="43016" y="38869"/>
                  <a:pt x="43579" y="38822"/>
                  <a:pt x="44157" y="38556"/>
                </a:cubicBezTo>
                <a:cubicBezTo>
                  <a:pt x="44501" y="38384"/>
                  <a:pt x="44783" y="38181"/>
                  <a:pt x="44986" y="37915"/>
                </a:cubicBezTo>
                <a:cubicBezTo>
                  <a:pt x="45252" y="37587"/>
                  <a:pt x="45393" y="37196"/>
                  <a:pt x="45377" y="36742"/>
                </a:cubicBezTo>
                <a:lnTo>
                  <a:pt x="45377" y="34772"/>
                </a:lnTo>
                <a:cubicBezTo>
                  <a:pt x="45393" y="34662"/>
                  <a:pt x="45346" y="34569"/>
                  <a:pt x="45283" y="34506"/>
                </a:cubicBezTo>
                <a:lnTo>
                  <a:pt x="44001" y="33240"/>
                </a:lnTo>
                <a:cubicBezTo>
                  <a:pt x="44079" y="33083"/>
                  <a:pt x="44126" y="32895"/>
                  <a:pt x="44126" y="32708"/>
                </a:cubicBezTo>
                <a:cubicBezTo>
                  <a:pt x="44126" y="32067"/>
                  <a:pt x="43610" y="31535"/>
                  <a:pt x="42969" y="31535"/>
                </a:cubicBezTo>
                <a:cubicBezTo>
                  <a:pt x="42328" y="31535"/>
                  <a:pt x="41796" y="32067"/>
                  <a:pt x="41796" y="32708"/>
                </a:cubicBezTo>
                <a:cubicBezTo>
                  <a:pt x="41796" y="33349"/>
                  <a:pt x="42328" y="33865"/>
                  <a:pt x="42969" y="33865"/>
                </a:cubicBezTo>
                <a:cubicBezTo>
                  <a:pt x="43156" y="33865"/>
                  <a:pt x="43328" y="33818"/>
                  <a:pt x="43501" y="33740"/>
                </a:cubicBezTo>
                <a:lnTo>
                  <a:pt x="44658" y="34897"/>
                </a:lnTo>
                <a:cubicBezTo>
                  <a:pt x="44658" y="35132"/>
                  <a:pt x="44658" y="35663"/>
                  <a:pt x="44674" y="36758"/>
                </a:cubicBezTo>
                <a:cubicBezTo>
                  <a:pt x="44674" y="37258"/>
                  <a:pt x="44407" y="37634"/>
                  <a:pt x="43860" y="37899"/>
                </a:cubicBezTo>
                <a:cubicBezTo>
                  <a:pt x="43454" y="38087"/>
                  <a:pt x="43031" y="38150"/>
                  <a:pt x="42953" y="38150"/>
                </a:cubicBezTo>
                <a:cubicBezTo>
                  <a:pt x="42672" y="38150"/>
                  <a:pt x="39419" y="38134"/>
                  <a:pt x="37590" y="38150"/>
                </a:cubicBezTo>
                <a:lnTo>
                  <a:pt x="37559" y="38150"/>
                </a:lnTo>
                <a:cubicBezTo>
                  <a:pt x="36918" y="38150"/>
                  <a:pt x="36480" y="37868"/>
                  <a:pt x="36198" y="37289"/>
                </a:cubicBezTo>
                <a:cubicBezTo>
                  <a:pt x="36088" y="37071"/>
                  <a:pt x="36026" y="36868"/>
                  <a:pt x="35979" y="36680"/>
                </a:cubicBezTo>
                <a:lnTo>
                  <a:pt x="39998" y="36680"/>
                </a:lnTo>
                <a:cubicBezTo>
                  <a:pt x="40154" y="37149"/>
                  <a:pt x="40592" y="37493"/>
                  <a:pt x="41108" y="37493"/>
                </a:cubicBezTo>
                <a:cubicBezTo>
                  <a:pt x="41749" y="37493"/>
                  <a:pt x="42265" y="36977"/>
                  <a:pt x="42265" y="36336"/>
                </a:cubicBezTo>
                <a:cubicBezTo>
                  <a:pt x="42265" y="35679"/>
                  <a:pt x="41749" y="35163"/>
                  <a:pt x="41108" y="35163"/>
                </a:cubicBezTo>
                <a:cubicBezTo>
                  <a:pt x="40592" y="35163"/>
                  <a:pt x="40154" y="35507"/>
                  <a:pt x="39998" y="35976"/>
                </a:cubicBezTo>
                <a:lnTo>
                  <a:pt x="35572" y="35976"/>
                </a:lnTo>
                <a:lnTo>
                  <a:pt x="35557" y="35976"/>
                </a:lnTo>
                <a:lnTo>
                  <a:pt x="35525" y="35976"/>
                </a:lnTo>
                <a:cubicBezTo>
                  <a:pt x="35176" y="35944"/>
                  <a:pt x="35025" y="36038"/>
                  <a:pt x="34478" y="35882"/>
                </a:cubicBezTo>
                <a:cubicBezTo>
                  <a:pt x="34134" y="35788"/>
                  <a:pt x="33524" y="35429"/>
                  <a:pt x="32742" y="34960"/>
                </a:cubicBezTo>
                <a:cubicBezTo>
                  <a:pt x="32398" y="34756"/>
                  <a:pt x="32007" y="34537"/>
                  <a:pt x="31601" y="34303"/>
                </a:cubicBezTo>
                <a:cubicBezTo>
                  <a:pt x="30881" y="33881"/>
                  <a:pt x="30616" y="33380"/>
                  <a:pt x="30522" y="33052"/>
                </a:cubicBezTo>
                <a:lnTo>
                  <a:pt x="35275" y="33052"/>
                </a:lnTo>
                <a:cubicBezTo>
                  <a:pt x="35432" y="33521"/>
                  <a:pt x="35870" y="33865"/>
                  <a:pt x="36386" y="33865"/>
                </a:cubicBezTo>
                <a:cubicBezTo>
                  <a:pt x="37027" y="33865"/>
                  <a:pt x="37543" y="33349"/>
                  <a:pt x="37543" y="32692"/>
                </a:cubicBezTo>
                <a:cubicBezTo>
                  <a:pt x="37543" y="32051"/>
                  <a:pt x="37027" y="31535"/>
                  <a:pt x="36386" y="31535"/>
                </a:cubicBezTo>
                <a:cubicBezTo>
                  <a:pt x="35870" y="31535"/>
                  <a:pt x="35432" y="31879"/>
                  <a:pt x="35275" y="32348"/>
                </a:cubicBezTo>
                <a:lnTo>
                  <a:pt x="30225" y="32348"/>
                </a:lnTo>
                <a:cubicBezTo>
                  <a:pt x="29833" y="32082"/>
                  <a:pt x="29615" y="31723"/>
                  <a:pt x="29537" y="31269"/>
                </a:cubicBezTo>
                <a:cubicBezTo>
                  <a:pt x="29458" y="30878"/>
                  <a:pt x="29537" y="30503"/>
                  <a:pt x="29568" y="30331"/>
                </a:cubicBezTo>
                <a:cubicBezTo>
                  <a:pt x="29583" y="30300"/>
                  <a:pt x="29583" y="30284"/>
                  <a:pt x="29583" y="30268"/>
                </a:cubicBezTo>
                <a:cubicBezTo>
                  <a:pt x="29677" y="29940"/>
                  <a:pt x="30959" y="27454"/>
                  <a:pt x="31569" y="26531"/>
                </a:cubicBezTo>
                <a:cubicBezTo>
                  <a:pt x="31741" y="26297"/>
                  <a:pt x="32007" y="26187"/>
                  <a:pt x="32289" y="26156"/>
                </a:cubicBezTo>
                <a:cubicBezTo>
                  <a:pt x="32226" y="27156"/>
                  <a:pt x="32195" y="28658"/>
                  <a:pt x="32179" y="29283"/>
                </a:cubicBezTo>
                <a:cubicBezTo>
                  <a:pt x="31710" y="29440"/>
                  <a:pt x="31366" y="29878"/>
                  <a:pt x="31366" y="30409"/>
                </a:cubicBezTo>
                <a:cubicBezTo>
                  <a:pt x="31366" y="31050"/>
                  <a:pt x="31898" y="31566"/>
                  <a:pt x="32539" y="31566"/>
                </a:cubicBezTo>
                <a:cubicBezTo>
                  <a:pt x="33180" y="31566"/>
                  <a:pt x="33712" y="31050"/>
                  <a:pt x="33712" y="30409"/>
                </a:cubicBezTo>
                <a:cubicBezTo>
                  <a:pt x="33712" y="29878"/>
                  <a:pt x="33368" y="29440"/>
                  <a:pt x="32898" y="29299"/>
                </a:cubicBezTo>
                <a:cubicBezTo>
                  <a:pt x="32914" y="28658"/>
                  <a:pt x="32930" y="27172"/>
                  <a:pt x="33008" y="26203"/>
                </a:cubicBezTo>
                <a:cubicBezTo>
                  <a:pt x="33227" y="26250"/>
                  <a:pt x="33430" y="26312"/>
                  <a:pt x="33555" y="26359"/>
                </a:cubicBezTo>
                <a:cubicBezTo>
                  <a:pt x="33946" y="26625"/>
                  <a:pt x="36573" y="29315"/>
                  <a:pt x="38278" y="31097"/>
                </a:cubicBezTo>
                <a:cubicBezTo>
                  <a:pt x="38215" y="31238"/>
                  <a:pt x="38184" y="31410"/>
                  <a:pt x="38184" y="31566"/>
                </a:cubicBezTo>
                <a:cubicBezTo>
                  <a:pt x="38184" y="32223"/>
                  <a:pt x="38700" y="32739"/>
                  <a:pt x="39341" y="32739"/>
                </a:cubicBezTo>
                <a:cubicBezTo>
                  <a:pt x="39982" y="32739"/>
                  <a:pt x="40514" y="32223"/>
                  <a:pt x="40514" y="31566"/>
                </a:cubicBezTo>
                <a:cubicBezTo>
                  <a:pt x="40514" y="30925"/>
                  <a:pt x="39982" y="30409"/>
                  <a:pt x="39341" y="30409"/>
                </a:cubicBezTo>
                <a:cubicBezTo>
                  <a:pt x="39138" y="30409"/>
                  <a:pt x="38935" y="30472"/>
                  <a:pt x="38762" y="30566"/>
                </a:cubicBezTo>
                <a:cubicBezTo>
                  <a:pt x="38356" y="30143"/>
                  <a:pt x="37480" y="29237"/>
                  <a:pt x="36605" y="28329"/>
                </a:cubicBezTo>
                <a:cubicBezTo>
                  <a:pt x="34118" y="25796"/>
                  <a:pt x="33962" y="25734"/>
                  <a:pt x="33821" y="25702"/>
                </a:cubicBezTo>
                <a:cubicBezTo>
                  <a:pt x="33571" y="25609"/>
                  <a:pt x="33321" y="25530"/>
                  <a:pt x="33086" y="25499"/>
                </a:cubicBezTo>
                <a:cubicBezTo>
                  <a:pt x="33321" y="24608"/>
                  <a:pt x="34274" y="24029"/>
                  <a:pt x="35369" y="23498"/>
                </a:cubicBezTo>
                <a:lnTo>
                  <a:pt x="39278" y="27438"/>
                </a:lnTo>
                <a:cubicBezTo>
                  <a:pt x="39216" y="27579"/>
                  <a:pt x="39185" y="27751"/>
                  <a:pt x="39185" y="27923"/>
                </a:cubicBezTo>
                <a:cubicBezTo>
                  <a:pt x="39185" y="28564"/>
                  <a:pt x="39701" y="29080"/>
                  <a:pt x="40342" y="29080"/>
                </a:cubicBezTo>
                <a:cubicBezTo>
                  <a:pt x="40983" y="29080"/>
                  <a:pt x="41515" y="28564"/>
                  <a:pt x="41515" y="27923"/>
                </a:cubicBezTo>
                <a:cubicBezTo>
                  <a:pt x="41515" y="27282"/>
                  <a:pt x="40983" y="26750"/>
                  <a:pt x="40342" y="26750"/>
                </a:cubicBezTo>
                <a:cubicBezTo>
                  <a:pt x="40139" y="26750"/>
                  <a:pt x="39935" y="26813"/>
                  <a:pt x="39763" y="26906"/>
                </a:cubicBezTo>
                <a:cubicBezTo>
                  <a:pt x="36073" y="23185"/>
                  <a:pt x="37303" y="24425"/>
                  <a:pt x="36073" y="23185"/>
                </a:cubicBezTo>
                <a:cubicBezTo>
                  <a:pt x="36745" y="22919"/>
                  <a:pt x="37840" y="22544"/>
                  <a:pt x="38982" y="22184"/>
                </a:cubicBezTo>
                <a:lnTo>
                  <a:pt x="40874" y="24123"/>
                </a:lnTo>
                <a:cubicBezTo>
                  <a:pt x="40780" y="24295"/>
                  <a:pt x="40717" y="24498"/>
                  <a:pt x="40717" y="24717"/>
                </a:cubicBezTo>
                <a:cubicBezTo>
                  <a:pt x="40717" y="25359"/>
                  <a:pt x="41233" y="25874"/>
                  <a:pt x="41874" y="25874"/>
                </a:cubicBezTo>
                <a:cubicBezTo>
                  <a:pt x="42531" y="25874"/>
                  <a:pt x="43047" y="25359"/>
                  <a:pt x="43047" y="24717"/>
                </a:cubicBezTo>
                <a:cubicBezTo>
                  <a:pt x="43047" y="24076"/>
                  <a:pt x="42531" y="23545"/>
                  <a:pt x="41874" y="23545"/>
                </a:cubicBezTo>
                <a:cubicBezTo>
                  <a:pt x="41718" y="23545"/>
                  <a:pt x="41562" y="23591"/>
                  <a:pt x="41405" y="23654"/>
                </a:cubicBezTo>
                <a:cubicBezTo>
                  <a:pt x="39748" y="21949"/>
                  <a:pt x="40300" y="22517"/>
                  <a:pt x="39748" y="21949"/>
                </a:cubicBezTo>
                <a:cubicBezTo>
                  <a:pt x="40967" y="21574"/>
                  <a:pt x="42140" y="21261"/>
                  <a:pt x="42813" y="21168"/>
                </a:cubicBezTo>
                <a:lnTo>
                  <a:pt x="43860" y="22544"/>
                </a:lnTo>
                <a:lnTo>
                  <a:pt x="43860" y="28282"/>
                </a:lnTo>
                <a:cubicBezTo>
                  <a:pt x="43391" y="28423"/>
                  <a:pt x="43047" y="28861"/>
                  <a:pt x="43047" y="29393"/>
                </a:cubicBezTo>
                <a:cubicBezTo>
                  <a:pt x="43047" y="30034"/>
                  <a:pt x="43579" y="30550"/>
                  <a:pt x="44220" y="30550"/>
                </a:cubicBezTo>
                <a:cubicBezTo>
                  <a:pt x="44861" y="30550"/>
                  <a:pt x="45377" y="30034"/>
                  <a:pt x="45377" y="29393"/>
                </a:cubicBezTo>
                <a:cubicBezTo>
                  <a:pt x="45377" y="28861"/>
                  <a:pt x="45049" y="28423"/>
                  <a:pt x="44579" y="28282"/>
                </a:cubicBezTo>
                <a:lnTo>
                  <a:pt x="44579" y="22419"/>
                </a:lnTo>
                <a:cubicBezTo>
                  <a:pt x="44579" y="22340"/>
                  <a:pt x="44548" y="22262"/>
                  <a:pt x="44501" y="22200"/>
                </a:cubicBezTo>
                <a:lnTo>
                  <a:pt x="43688" y="21152"/>
                </a:lnTo>
                <a:cubicBezTo>
                  <a:pt x="44595" y="21230"/>
                  <a:pt x="45393" y="21543"/>
                  <a:pt x="45925" y="22074"/>
                </a:cubicBezTo>
                <a:cubicBezTo>
                  <a:pt x="46253" y="22372"/>
                  <a:pt x="46440" y="22732"/>
                  <a:pt x="46440" y="23013"/>
                </a:cubicBezTo>
                <a:lnTo>
                  <a:pt x="46440" y="42215"/>
                </a:lnTo>
                <a:cubicBezTo>
                  <a:pt x="45971" y="42356"/>
                  <a:pt x="45627" y="42794"/>
                  <a:pt x="45627" y="43326"/>
                </a:cubicBezTo>
                <a:cubicBezTo>
                  <a:pt x="45627" y="43967"/>
                  <a:pt x="46159" y="44482"/>
                  <a:pt x="46800" y="44482"/>
                </a:cubicBezTo>
                <a:cubicBezTo>
                  <a:pt x="47441" y="44482"/>
                  <a:pt x="47957" y="43967"/>
                  <a:pt x="47957" y="43326"/>
                </a:cubicBezTo>
                <a:cubicBezTo>
                  <a:pt x="47957" y="42794"/>
                  <a:pt x="47613" y="42356"/>
                  <a:pt x="47159" y="42215"/>
                </a:cubicBezTo>
                <a:lnTo>
                  <a:pt x="47159" y="23013"/>
                </a:lnTo>
                <a:cubicBezTo>
                  <a:pt x="47159" y="22747"/>
                  <a:pt x="47066" y="22465"/>
                  <a:pt x="46909" y="22184"/>
                </a:cubicBezTo>
                <a:cubicBezTo>
                  <a:pt x="46972" y="22122"/>
                  <a:pt x="47050" y="22043"/>
                  <a:pt x="47159" y="21965"/>
                </a:cubicBezTo>
                <a:cubicBezTo>
                  <a:pt x="47519" y="21746"/>
                  <a:pt x="48051" y="21762"/>
                  <a:pt x="48661" y="22012"/>
                </a:cubicBezTo>
                <a:cubicBezTo>
                  <a:pt x="49146" y="22215"/>
                  <a:pt x="49693" y="22481"/>
                  <a:pt x="50318" y="22841"/>
                </a:cubicBezTo>
                <a:lnTo>
                  <a:pt x="49271" y="24671"/>
                </a:lnTo>
                <a:cubicBezTo>
                  <a:pt x="49177" y="24655"/>
                  <a:pt x="49083" y="24639"/>
                  <a:pt x="48989" y="24639"/>
                </a:cubicBezTo>
                <a:cubicBezTo>
                  <a:pt x="48348" y="24639"/>
                  <a:pt x="47816" y="25171"/>
                  <a:pt x="47816" y="25812"/>
                </a:cubicBezTo>
                <a:cubicBezTo>
                  <a:pt x="47816" y="26453"/>
                  <a:pt x="48348" y="26969"/>
                  <a:pt x="48989" y="26969"/>
                </a:cubicBezTo>
                <a:cubicBezTo>
                  <a:pt x="49630" y="26969"/>
                  <a:pt x="50146" y="26453"/>
                  <a:pt x="50146" y="25812"/>
                </a:cubicBezTo>
                <a:cubicBezTo>
                  <a:pt x="50146" y="25515"/>
                  <a:pt x="50053" y="25264"/>
                  <a:pt x="49881" y="25046"/>
                </a:cubicBezTo>
                <a:lnTo>
                  <a:pt x="50928" y="23216"/>
                </a:lnTo>
                <a:cubicBezTo>
                  <a:pt x="51429" y="23529"/>
                  <a:pt x="51960" y="23888"/>
                  <a:pt x="52523" y="24279"/>
                </a:cubicBezTo>
                <a:cubicBezTo>
                  <a:pt x="52633" y="24358"/>
                  <a:pt x="52664" y="24389"/>
                  <a:pt x="52695" y="24404"/>
                </a:cubicBezTo>
                <a:cubicBezTo>
                  <a:pt x="52742" y="24436"/>
                  <a:pt x="53164" y="24702"/>
                  <a:pt x="53258" y="25092"/>
                </a:cubicBezTo>
                <a:lnTo>
                  <a:pt x="53258" y="25108"/>
                </a:lnTo>
                <a:cubicBezTo>
                  <a:pt x="53446" y="25687"/>
                  <a:pt x="53368" y="26125"/>
                  <a:pt x="53258" y="26515"/>
                </a:cubicBezTo>
                <a:cubicBezTo>
                  <a:pt x="53164" y="26781"/>
                  <a:pt x="52007" y="28736"/>
                  <a:pt x="50912" y="30519"/>
                </a:cubicBezTo>
                <a:lnTo>
                  <a:pt x="50803" y="30519"/>
                </a:lnTo>
                <a:cubicBezTo>
                  <a:pt x="50162" y="30519"/>
                  <a:pt x="49630" y="31034"/>
                  <a:pt x="49630" y="31676"/>
                </a:cubicBezTo>
                <a:cubicBezTo>
                  <a:pt x="49630" y="32332"/>
                  <a:pt x="50162" y="32848"/>
                  <a:pt x="50803" y="32848"/>
                </a:cubicBezTo>
                <a:cubicBezTo>
                  <a:pt x="51444" y="32848"/>
                  <a:pt x="51960" y="32332"/>
                  <a:pt x="51960" y="31676"/>
                </a:cubicBezTo>
                <a:cubicBezTo>
                  <a:pt x="51960" y="31332"/>
                  <a:pt x="51820" y="31034"/>
                  <a:pt x="51585" y="30816"/>
                </a:cubicBezTo>
                <a:cubicBezTo>
                  <a:pt x="51804" y="30441"/>
                  <a:pt x="52210" y="29768"/>
                  <a:pt x="52617" y="29080"/>
                </a:cubicBezTo>
                <a:cubicBezTo>
                  <a:pt x="53868" y="26969"/>
                  <a:pt x="53915" y="26797"/>
                  <a:pt x="53946" y="26719"/>
                </a:cubicBezTo>
                <a:cubicBezTo>
                  <a:pt x="54009" y="26515"/>
                  <a:pt x="54118" y="26109"/>
                  <a:pt x="54071" y="25593"/>
                </a:cubicBezTo>
                <a:cubicBezTo>
                  <a:pt x="54384" y="25780"/>
                  <a:pt x="54728" y="26078"/>
                  <a:pt x="54822" y="26547"/>
                </a:cubicBezTo>
                <a:cubicBezTo>
                  <a:pt x="55010" y="27454"/>
                  <a:pt x="54978" y="28454"/>
                  <a:pt x="54963" y="28752"/>
                </a:cubicBezTo>
                <a:lnTo>
                  <a:pt x="51569" y="34146"/>
                </a:lnTo>
                <a:cubicBezTo>
                  <a:pt x="51475" y="34131"/>
                  <a:pt x="51382" y="34115"/>
                  <a:pt x="51288" y="34115"/>
                </a:cubicBezTo>
                <a:cubicBezTo>
                  <a:pt x="50647" y="34115"/>
                  <a:pt x="50115" y="34647"/>
                  <a:pt x="50115" y="35288"/>
                </a:cubicBezTo>
                <a:cubicBezTo>
                  <a:pt x="50115" y="35929"/>
                  <a:pt x="50647" y="36445"/>
                  <a:pt x="51288" y="36445"/>
                </a:cubicBezTo>
                <a:cubicBezTo>
                  <a:pt x="51929" y="36445"/>
                  <a:pt x="52445" y="35929"/>
                  <a:pt x="52445" y="35288"/>
                </a:cubicBezTo>
                <a:cubicBezTo>
                  <a:pt x="52445" y="34991"/>
                  <a:pt x="52351" y="34741"/>
                  <a:pt x="52179" y="34537"/>
                </a:cubicBezTo>
                <a:cubicBezTo>
                  <a:pt x="55525" y="29190"/>
                  <a:pt x="54410" y="30972"/>
                  <a:pt x="55525" y="29190"/>
                </a:cubicBezTo>
                <a:cubicBezTo>
                  <a:pt x="55885" y="29158"/>
                  <a:pt x="56792" y="29158"/>
                  <a:pt x="57355" y="29831"/>
                </a:cubicBezTo>
                <a:cubicBezTo>
                  <a:pt x="57934" y="30519"/>
                  <a:pt x="57918" y="31301"/>
                  <a:pt x="57887" y="32223"/>
                </a:cubicBezTo>
                <a:lnTo>
                  <a:pt x="57887" y="32880"/>
                </a:lnTo>
                <a:cubicBezTo>
                  <a:pt x="57918" y="34694"/>
                  <a:pt x="57527" y="35304"/>
                  <a:pt x="57089" y="35710"/>
                </a:cubicBezTo>
                <a:cubicBezTo>
                  <a:pt x="56636" y="36132"/>
                  <a:pt x="55604" y="36054"/>
                  <a:pt x="55244" y="35976"/>
                </a:cubicBezTo>
                <a:lnTo>
                  <a:pt x="55228" y="35976"/>
                </a:lnTo>
                <a:cubicBezTo>
                  <a:pt x="54337" y="35851"/>
                  <a:pt x="54040" y="35194"/>
                  <a:pt x="53946" y="34929"/>
                </a:cubicBezTo>
                <a:lnTo>
                  <a:pt x="54775" y="33536"/>
                </a:lnTo>
                <a:cubicBezTo>
                  <a:pt x="54900" y="33583"/>
                  <a:pt x="55041" y="33599"/>
                  <a:pt x="55182" y="33599"/>
                </a:cubicBezTo>
                <a:cubicBezTo>
                  <a:pt x="55823" y="33599"/>
                  <a:pt x="56339" y="33083"/>
                  <a:pt x="56339" y="32442"/>
                </a:cubicBezTo>
                <a:cubicBezTo>
                  <a:pt x="56339" y="31785"/>
                  <a:pt x="55823" y="31269"/>
                  <a:pt x="55182" y="31269"/>
                </a:cubicBezTo>
                <a:cubicBezTo>
                  <a:pt x="54525" y="31269"/>
                  <a:pt x="54009" y="31785"/>
                  <a:pt x="54009" y="32442"/>
                </a:cubicBezTo>
                <a:cubicBezTo>
                  <a:pt x="54009" y="32677"/>
                  <a:pt x="54087" y="32895"/>
                  <a:pt x="54212" y="33083"/>
                </a:cubicBezTo>
                <a:lnTo>
                  <a:pt x="53258" y="34694"/>
                </a:lnTo>
                <a:cubicBezTo>
                  <a:pt x="53211" y="34756"/>
                  <a:pt x="53196" y="34850"/>
                  <a:pt x="53211" y="34929"/>
                </a:cubicBezTo>
                <a:cubicBezTo>
                  <a:pt x="53227" y="34975"/>
                  <a:pt x="53289" y="35335"/>
                  <a:pt x="53555" y="35726"/>
                </a:cubicBezTo>
                <a:cubicBezTo>
                  <a:pt x="53774" y="36054"/>
                  <a:pt x="54181" y="36461"/>
                  <a:pt x="54869" y="36633"/>
                </a:cubicBezTo>
                <a:cubicBezTo>
                  <a:pt x="54963" y="37289"/>
                  <a:pt x="54994" y="38197"/>
                  <a:pt x="54712" y="38462"/>
                </a:cubicBezTo>
                <a:lnTo>
                  <a:pt x="54681" y="38494"/>
                </a:lnTo>
                <a:cubicBezTo>
                  <a:pt x="54134" y="39025"/>
                  <a:pt x="53821" y="39322"/>
                  <a:pt x="52976" y="39322"/>
                </a:cubicBezTo>
                <a:cubicBezTo>
                  <a:pt x="52617" y="39322"/>
                  <a:pt x="52257" y="39322"/>
                  <a:pt x="51929" y="39338"/>
                </a:cubicBezTo>
                <a:cubicBezTo>
                  <a:pt x="51366" y="39353"/>
                  <a:pt x="50850" y="39369"/>
                  <a:pt x="50616" y="39322"/>
                </a:cubicBezTo>
                <a:cubicBezTo>
                  <a:pt x="50318" y="39275"/>
                  <a:pt x="49193" y="38775"/>
                  <a:pt x="49161" y="37852"/>
                </a:cubicBezTo>
                <a:cubicBezTo>
                  <a:pt x="49114" y="36868"/>
                  <a:pt x="49146" y="31129"/>
                  <a:pt x="49146" y="29737"/>
                </a:cubicBezTo>
                <a:cubicBezTo>
                  <a:pt x="49615" y="29580"/>
                  <a:pt x="49959" y="29143"/>
                  <a:pt x="49959" y="28627"/>
                </a:cubicBezTo>
                <a:cubicBezTo>
                  <a:pt x="49959" y="27986"/>
                  <a:pt x="49443" y="27469"/>
                  <a:pt x="48802" y="27469"/>
                </a:cubicBezTo>
                <a:cubicBezTo>
                  <a:pt x="48160" y="27469"/>
                  <a:pt x="47629" y="27986"/>
                  <a:pt x="47629" y="28627"/>
                </a:cubicBezTo>
                <a:cubicBezTo>
                  <a:pt x="47629" y="29143"/>
                  <a:pt x="47973" y="29580"/>
                  <a:pt x="48442" y="29737"/>
                </a:cubicBezTo>
                <a:cubicBezTo>
                  <a:pt x="48426" y="31144"/>
                  <a:pt x="48395" y="36868"/>
                  <a:pt x="48442" y="37884"/>
                </a:cubicBezTo>
                <a:cubicBezTo>
                  <a:pt x="48457" y="38478"/>
                  <a:pt x="48770" y="39025"/>
                  <a:pt x="49318" y="39448"/>
                </a:cubicBezTo>
                <a:cubicBezTo>
                  <a:pt x="49740" y="39776"/>
                  <a:pt x="50224" y="39979"/>
                  <a:pt x="50491" y="40026"/>
                </a:cubicBezTo>
                <a:cubicBezTo>
                  <a:pt x="50647" y="40058"/>
                  <a:pt x="50881" y="40073"/>
                  <a:pt x="51147" y="40073"/>
                </a:cubicBezTo>
                <a:cubicBezTo>
                  <a:pt x="51382" y="40073"/>
                  <a:pt x="51647" y="40058"/>
                  <a:pt x="51945" y="40058"/>
                </a:cubicBezTo>
                <a:cubicBezTo>
                  <a:pt x="52273" y="40042"/>
                  <a:pt x="52633" y="40042"/>
                  <a:pt x="52976" y="40042"/>
                </a:cubicBezTo>
                <a:cubicBezTo>
                  <a:pt x="54118" y="40042"/>
                  <a:pt x="54587" y="39588"/>
                  <a:pt x="55182" y="39010"/>
                </a:cubicBezTo>
                <a:lnTo>
                  <a:pt x="55213" y="38978"/>
                </a:lnTo>
                <a:cubicBezTo>
                  <a:pt x="55525" y="38665"/>
                  <a:pt x="55682" y="38102"/>
                  <a:pt x="55651" y="37305"/>
                </a:cubicBezTo>
                <a:cubicBezTo>
                  <a:pt x="55635" y="37102"/>
                  <a:pt x="55620" y="36899"/>
                  <a:pt x="55604" y="36742"/>
                </a:cubicBezTo>
                <a:cubicBezTo>
                  <a:pt x="55729" y="36742"/>
                  <a:pt x="55854" y="36758"/>
                  <a:pt x="55995" y="36742"/>
                </a:cubicBezTo>
                <a:cubicBezTo>
                  <a:pt x="56698" y="36742"/>
                  <a:pt x="57230" y="36555"/>
                  <a:pt x="57590" y="36226"/>
                </a:cubicBezTo>
                <a:cubicBezTo>
                  <a:pt x="57949" y="35898"/>
                  <a:pt x="58184" y="35507"/>
                  <a:pt x="58340" y="35022"/>
                </a:cubicBezTo>
                <a:cubicBezTo>
                  <a:pt x="58528" y="34459"/>
                  <a:pt x="58622" y="33756"/>
                  <a:pt x="58606" y="32864"/>
                </a:cubicBezTo>
                <a:cubicBezTo>
                  <a:pt x="58590" y="32661"/>
                  <a:pt x="58606" y="32442"/>
                  <a:pt x="58606" y="32239"/>
                </a:cubicBezTo>
                <a:cubicBezTo>
                  <a:pt x="58637" y="31269"/>
                  <a:pt x="58653" y="30253"/>
                  <a:pt x="57902" y="29362"/>
                </a:cubicBezTo>
                <a:cubicBezTo>
                  <a:pt x="57214" y="28564"/>
                  <a:pt x="56245" y="28454"/>
                  <a:pt x="55698" y="28470"/>
                </a:cubicBezTo>
                <a:close/>
                <a:moveTo>
                  <a:pt x="42515" y="32708"/>
                </a:moveTo>
                <a:cubicBezTo>
                  <a:pt x="42515" y="32458"/>
                  <a:pt x="42719" y="32254"/>
                  <a:pt x="42969" y="32254"/>
                </a:cubicBezTo>
                <a:cubicBezTo>
                  <a:pt x="43219" y="32254"/>
                  <a:pt x="43423" y="32458"/>
                  <a:pt x="43423" y="32708"/>
                </a:cubicBezTo>
                <a:cubicBezTo>
                  <a:pt x="43423" y="32786"/>
                  <a:pt x="43407" y="32848"/>
                  <a:pt x="43376" y="32911"/>
                </a:cubicBezTo>
                <a:cubicBezTo>
                  <a:pt x="43328" y="32927"/>
                  <a:pt x="43281" y="32958"/>
                  <a:pt x="43235" y="32990"/>
                </a:cubicBezTo>
                <a:cubicBezTo>
                  <a:pt x="43203" y="33021"/>
                  <a:pt x="43172" y="33068"/>
                  <a:pt x="43156" y="33115"/>
                </a:cubicBezTo>
                <a:cubicBezTo>
                  <a:pt x="43110" y="33146"/>
                  <a:pt x="43031" y="33161"/>
                  <a:pt x="42969" y="33161"/>
                </a:cubicBezTo>
                <a:cubicBezTo>
                  <a:pt x="42719" y="33161"/>
                  <a:pt x="42515" y="32958"/>
                  <a:pt x="42515" y="32708"/>
                </a:cubicBezTo>
                <a:close/>
                <a:moveTo>
                  <a:pt x="41108" y="35882"/>
                </a:moveTo>
                <a:cubicBezTo>
                  <a:pt x="41358" y="35882"/>
                  <a:pt x="41562" y="36085"/>
                  <a:pt x="41562" y="36336"/>
                </a:cubicBezTo>
                <a:cubicBezTo>
                  <a:pt x="41562" y="36570"/>
                  <a:pt x="41358" y="36773"/>
                  <a:pt x="41108" y="36773"/>
                </a:cubicBezTo>
                <a:cubicBezTo>
                  <a:pt x="40858" y="36773"/>
                  <a:pt x="40654" y="36570"/>
                  <a:pt x="40654" y="36336"/>
                </a:cubicBezTo>
                <a:cubicBezTo>
                  <a:pt x="40654" y="36085"/>
                  <a:pt x="40858" y="35882"/>
                  <a:pt x="41108" y="35882"/>
                </a:cubicBezTo>
                <a:close/>
                <a:moveTo>
                  <a:pt x="36386" y="32254"/>
                </a:moveTo>
                <a:cubicBezTo>
                  <a:pt x="36636" y="32254"/>
                  <a:pt x="36839" y="32458"/>
                  <a:pt x="36839" y="32692"/>
                </a:cubicBezTo>
                <a:cubicBezTo>
                  <a:pt x="36839" y="32942"/>
                  <a:pt x="36636" y="33146"/>
                  <a:pt x="36386" y="33146"/>
                </a:cubicBezTo>
                <a:cubicBezTo>
                  <a:pt x="36135" y="33146"/>
                  <a:pt x="35932" y="32942"/>
                  <a:pt x="35932" y="32692"/>
                </a:cubicBezTo>
                <a:cubicBezTo>
                  <a:pt x="35932" y="32458"/>
                  <a:pt x="36135" y="32254"/>
                  <a:pt x="36386" y="32254"/>
                </a:cubicBezTo>
                <a:close/>
                <a:moveTo>
                  <a:pt x="39795" y="31566"/>
                </a:moveTo>
                <a:cubicBezTo>
                  <a:pt x="39795" y="31817"/>
                  <a:pt x="39591" y="32020"/>
                  <a:pt x="39341" y="32020"/>
                </a:cubicBezTo>
                <a:cubicBezTo>
                  <a:pt x="39091" y="32020"/>
                  <a:pt x="38888" y="31817"/>
                  <a:pt x="38888" y="31566"/>
                </a:cubicBezTo>
                <a:cubicBezTo>
                  <a:pt x="38888" y="31457"/>
                  <a:pt x="38935" y="31363"/>
                  <a:pt x="38997" y="31285"/>
                </a:cubicBezTo>
                <a:cubicBezTo>
                  <a:pt x="39002" y="31279"/>
                  <a:pt x="38997" y="31269"/>
                  <a:pt x="39013" y="31269"/>
                </a:cubicBezTo>
                <a:cubicBezTo>
                  <a:pt x="39091" y="31176"/>
                  <a:pt x="39216" y="31129"/>
                  <a:pt x="39341" y="31129"/>
                </a:cubicBezTo>
                <a:cubicBezTo>
                  <a:pt x="39591" y="31129"/>
                  <a:pt x="39795" y="31332"/>
                  <a:pt x="39795" y="31566"/>
                </a:cubicBezTo>
                <a:close/>
                <a:moveTo>
                  <a:pt x="32539" y="30847"/>
                </a:moveTo>
                <a:cubicBezTo>
                  <a:pt x="32289" y="30847"/>
                  <a:pt x="32085" y="30644"/>
                  <a:pt x="32085" y="30409"/>
                </a:cubicBezTo>
                <a:cubicBezTo>
                  <a:pt x="32085" y="30159"/>
                  <a:pt x="32289" y="29956"/>
                  <a:pt x="32539" y="29956"/>
                </a:cubicBezTo>
                <a:cubicBezTo>
                  <a:pt x="32789" y="29956"/>
                  <a:pt x="32992" y="30159"/>
                  <a:pt x="32992" y="30409"/>
                </a:cubicBezTo>
                <a:cubicBezTo>
                  <a:pt x="32992" y="30644"/>
                  <a:pt x="32789" y="30847"/>
                  <a:pt x="32539" y="30847"/>
                </a:cubicBezTo>
                <a:close/>
                <a:moveTo>
                  <a:pt x="42328" y="24717"/>
                </a:moveTo>
                <a:cubicBezTo>
                  <a:pt x="42328" y="24967"/>
                  <a:pt x="42125" y="25171"/>
                  <a:pt x="41874" y="25171"/>
                </a:cubicBezTo>
                <a:cubicBezTo>
                  <a:pt x="41640" y="25171"/>
                  <a:pt x="41437" y="24967"/>
                  <a:pt x="41437" y="24717"/>
                </a:cubicBezTo>
                <a:cubicBezTo>
                  <a:pt x="41437" y="24576"/>
                  <a:pt x="41484" y="24467"/>
                  <a:pt x="41577" y="24373"/>
                </a:cubicBezTo>
                <a:cubicBezTo>
                  <a:pt x="41655" y="24311"/>
                  <a:pt x="41765" y="24264"/>
                  <a:pt x="41874" y="24264"/>
                </a:cubicBezTo>
                <a:cubicBezTo>
                  <a:pt x="42125" y="24264"/>
                  <a:pt x="42328" y="24467"/>
                  <a:pt x="42328" y="24717"/>
                </a:cubicBezTo>
                <a:close/>
                <a:moveTo>
                  <a:pt x="44220" y="29831"/>
                </a:moveTo>
                <a:cubicBezTo>
                  <a:pt x="43969" y="29831"/>
                  <a:pt x="43766" y="29627"/>
                  <a:pt x="43766" y="29393"/>
                </a:cubicBezTo>
                <a:cubicBezTo>
                  <a:pt x="43766" y="29143"/>
                  <a:pt x="43969" y="28939"/>
                  <a:pt x="44220" y="28939"/>
                </a:cubicBezTo>
                <a:cubicBezTo>
                  <a:pt x="44470" y="28939"/>
                  <a:pt x="44674" y="29143"/>
                  <a:pt x="44674" y="29393"/>
                </a:cubicBezTo>
                <a:cubicBezTo>
                  <a:pt x="44674" y="29627"/>
                  <a:pt x="44470" y="29831"/>
                  <a:pt x="44220" y="29831"/>
                </a:cubicBezTo>
                <a:close/>
                <a:moveTo>
                  <a:pt x="40796" y="27923"/>
                </a:moveTo>
                <a:cubicBezTo>
                  <a:pt x="40796" y="28173"/>
                  <a:pt x="40592" y="28361"/>
                  <a:pt x="40342" y="28361"/>
                </a:cubicBezTo>
                <a:cubicBezTo>
                  <a:pt x="40091" y="28361"/>
                  <a:pt x="39888" y="28173"/>
                  <a:pt x="39888" y="27923"/>
                </a:cubicBezTo>
                <a:cubicBezTo>
                  <a:pt x="39888" y="27798"/>
                  <a:pt x="39935" y="27704"/>
                  <a:pt x="39998" y="27626"/>
                </a:cubicBezTo>
                <a:cubicBezTo>
                  <a:pt x="40013" y="27626"/>
                  <a:pt x="40008" y="27615"/>
                  <a:pt x="40013" y="27610"/>
                </a:cubicBezTo>
                <a:cubicBezTo>
                  <a:pt x="40091" y="27516"/>
                  <a:pt x="40217" y="27469"/>
                  <a:pt x="40342" y="27469"/>
                </a:cubicBezTo>
                <a:cubicBezTo>
                  <a:pt x="40592" y="27469"/>
                  <a:pt x="40796" y="27673"/>
                  <a:pt x="40796" y="27923"/>
                </a:cubicBezTo>
                <a:close/>
                <a:moveTo>
                  <a:pt x="46800" y="43763"/>
                </a:moveTo>
                <a:cubicBezTo>
                  <a:pt x="46550" y="43763"/>
                  <a:pt x="46346" y="43560"/>
                  <a:pt x="46346" y="43326"/>
                </a:cubicBezTo>
                <a:cubicBezTo>
                  <a:pt x="46346" y="43075"/>
                  <a:pt x="46550" y="42872"/>
                  <a:pt x="46800" y="42872"/>
                </a:cubicBezTo>
                <a:cubicBezTo>
                  <a:pt x="47050" y="42872"/>
                  <a:pt x="47254" y="43075"/>
                  <a:pt x="47254" y="43326"/>
                </a:cubicBezTo>
                <a:cubicBezTo>
                  <a:pt x="47254" y="43560"/>
                  <a:pt x="47050" y="43763"/>
                  <a:pt x="46800" y="43763"/>
                </a:cubicBezTo>
                <a:close/>
                <a:moveTo>
                  <a:pt x="48989" y="26265"/>
                </a:moveTo>
                <a:cubicBezTo>
                  <a:pt x="48739" y="26265"/>
                  <a:pt x="48536" y="26062"/>
                  <a:pt x="48536" y="25812"/>
                </a:cubicBezTo>
                <a:cubicBezTo>
                  <a:pt x="48536" y="25562"/>
                  <a:pt x="48739" y="25359"/>
                  <a:pt x="48989" y="25359"/>
                </a:cubicBezTo>
                <a:cubicBezTo>
                  <a:pt x="49240" y="25359"/>
                  <a:pt x="49443" y="25562"/>
                  <a:pt x="49443" y="25812"/>
                </a:cubicBezTo>
                <a:cubicBezTo>
                  <a:pt x="49443" y="26062"/>
                  <a:pt x="49240" y="26265"/>
                  <a:pt x="48989" y="26265"/>
                </a:cubicBezTo>
                <a:close/>
                <a:moveTo>
                  <a:pt x="50803" y="32129"/>
                </a:moveTo>
                <a:cubicBezTo>
                  <a:pt x="50553" y="32129"/>
                  <a:pt x="50349" y="31926"/>
                  <a:pt x="50349" y="31676"/>
                </a:cubicBezTo>
                <a:cubicBezTo>
                  <a:pt x="50349" y="31441"/>
                  <a:pt x="50553" y="31238"/>
                  <a:pt x="50803" y="31238"/>
                </a:cubicBezTo>
                <a:cubicBezTo>
                  <a:pt x="50850" y="31238"/>
                  <a:pt x="50897" y="31238"/>
                  <a:pt x="50944" y="31254"/>
                </a:cubicBezTo>
                <a:cubicBezTo>
                  <a:pt x="50959" y="31254"/>
                  <a:pt x="50959" y="31269"/>
                  <a:pt x="50975" y="31269"/>
                </a:cubicBezTo>
                <a:cubicBezTo>
                  <a:pt x="51132" y="31332"/>
                  <a:pt x="51257" y="31504"/>
                  <a:pt x="51257" y="31676"/>
                </a:cubicBezTo>
                <a:cubicBezTo>
                  <a:pt x="51257" y="31926"/>
                  <a:pt x="51054" y="32129"/>
                  <a:pt x="50803" y="32129"/>
                </a:cubicBezTo>
                <a:close/>
                <a:moveTo>
                  <a:pt x="51288" y="35742"/>
                </a:moveTo>
                <a:cubicBezTo>
                  <a:pt x="51037" y="35742"/>
                  <a:pt x="50834" y="35538"/>
                  <a:pt x="50834" y="35288"/>
                </a:cubicBezTo>
                <a:cubicBezTo>
                  <a:pt x="50834" y="35038"/>
                  <a:pt x="51037" y="34834"/>
                  <a:pt x="51288" y="34834"/>
                </a:cubicBezTo>
                <a:cubicBezTo>
                  <a:pt x="51366" y="34834"/>
                  <a:pt x="51444" y="34850"/>
                  <a:pt x="51522" y="34897"/>
                </a:cubicBezTo>
                <a:lnTo>
                  <a:pt x="51538" y="34913"/>
                </a:lnTo>
                <a:cubicBezTo>
                  <a:pt x="51663" y="34991"/>
                  <a:pt x="51742" y="35132"/>
                  <a:pt x="51742" y="35288"/>
                </a:cubicBezTo>
                <a:cubicBezTo>
                  <a:pt x="51742" y="35538"/>
                  <a:pt x="51538" y="35742"/>
                  <a:pt x="51288" y="35742"/>
                </a:cubicBezTo>
                <a:close/>
                <a:moveTo>
                  <a:pt x="55182" y="31989"/>
                </a:moveTo>
                <a:cubicBezTo>
                  <a:pt x="55416" y="31989"/>
                  <a:pt x="55620" y="32192"/>
                  <a:pt x="55620" y="32442"/>
                </a:cubicBezTo>
                <a:cubicBezTo>
                  <a:pt x="55620" y="32677"/>
                  <a:pt x="55416" y="32880"/>
                  <a:pt x="55182" y="32880"/>
                </a:cubicBezTo>
                <a:cubicBezTo>
                  <a:pt x="55072" y="32880"/>
                  <a:pt x="54963" y="32848"/>
                  <a:pt x="54884" y="32786"/>
                </a:cubicBezTo>
                <a:lnTo>
                  <a:pt x="54884" y="32770"/>
                </a:lnTo>
                <a:cubicBezTo>
                  <a:pt x="54790" y="32692"/>
                  <a:pt x="54728" y="32567"/>
                  <a:pt x="54728" y="32442"/>
                </a:cubicBezTo>
                <a:cubicBezTo>
                  <a:pt x="54728" y="32192"/>
                  <a:pt x="54932" y="31989"/>
                  <a:pt x="55182" y="31989"/>
                </a:cubicBezTo>
                <a:close/>
                <a:moveTo>
                  <a:pt x="48802" y="28173"/>
                </a:moveTo>
                <a:cubicBezTo>
                  <a:pt x="49052" y="28173"/>
                  <a:pt x="49255" y="28376"/>
                  <a:pt x="49255" y="28627"/>
                </a:cubicBezTo>
                <a:cubicBezTo>
                  <a:pt x="49255" y="28877"/>
                  <a:pt x="49052" y="29080"/>
                  <a:pt x="48802" y="29080"/>
                </a:cubicBezTo>
                <a:cubicBezTo>
                  <a:pt x="48552" y="29080"/>
                  <a:pt x="48348" y="28877"/>
                  <a:pt x="48348" y="28627"/>
                </a:cubicBezTo>
                <a:cubicBezTo>
                  <a:pt x="48348" y="28376"/>
                  <a:pt x="48552" y="28173"/>
                  <a:pt x="48802" y="28173"/>
                </a:cubicBezTo>
                <a:close/>
                <a:moveTo>
                  <a:pt x="6957" y="43138"/>
                </a:moveTo>
                <a:lnTo>
                  <a:pt x="6972" y="43122"/>
                </a:lnTo>
                <a:lnTo>
                  <a:pt x="6972" y="43106"/>
                </a:lnTo>
                <a:cubicBezTo>
                  <a:pt x="6988" y="43106"/>
                  <a:pt x="6983" y="43096"/>
                  <a:pt x="6988" y="43091"/>
                </a:cubicBezTo>
                <a:lnTo>
                  <a:pt x="6988" y="43075"/>
                </a:lnTo>
                <a:lnTo>
                  <a:pt x="7003" y="43060"/>
                </a:lnTo>
                <a:lnTo>
                  <a:pt x="7003" y="43044"/>
                </a:lnTo>
                <a:lnTo>
                  <a:pt x="7003" y="43028"/>
                </a:lnTo>
                <a:lnTo>
                  <a:pt x="7019" y="43013"/>
                </a:lnTo>
                <a:lnTo>
                  <a:pt x="7019" y="42997"/>
                </a:lnTo>
                <a:lnTo>
                  <a:pt x="7019" y="42981"/>
                </a:lnTo>
                <a:lnTo>
                  <a:pt x="7019" y="42950"/>
                </a:lnTo>
                <a:lnTo>
                  <a:pt x="7019" y="42919"/>
                </a:lnTo>
                <a:lnTo>
                  <a:pt x="7019" y="42888"/>
                </a:lnTo>
                <a:cubicBezTo>
                  <a:pt x="6738" y="40949"/>
                  <a:pt x="6832" y="41595"/>
                  <a:pt x="6738" y="40949"/>
                </a:cubicBezTo>
                <a:cubicBezTo>
                  <a:pt x="6706" y="40746"/>
                  <a:pt x="6519" y="40620"/>
                  <a:pt x="6331" y="40651"/>
                </a:cubicBezTo>
                <a:cubicBezTo>
                  <a:pt x="6128" y="40667"/>
                  <a:pt x="6002" y="40855"/>
                  <a:pt x="6018" y="41058"/>
                </a:cubicBezTo>
                <a:cubicBezTo>
                  <a:pt x="6144" y="41871"/>
                  <a:pt x="6102" y="41600"/>
                  <a:pt x="6144" y="41871"/>
                </a:cubicBezTo>
                <a:cubicBezTo>
                  <a:pt x="5518" y="41136"/>
                  <a:pt x="4642" y="39854"/>
                  <a:pt x="4001" y="38071"/>
                </a:cubicBezTo>
                <a:cubicBezTo>
                  <a:pt x="3360" y="36289"/>
                  <a:pt x="3094" y="34350"/>
                  <a:pt x="3204" y="32317"/>
                </a:cubicBezTo>
                <a:cubicBezTo>
                  <a:pt x="3344" y="29752"/>
                  <a:pt x="4079" y="27031"/>
                  <a:pt x="5408" y="24233"/>
                </a:cubicBezTo>
                <a:cubicBezTo>
                  <a:pt x="5487" y="24061"/>
                  <a:pt x="5408" y="23841"/>
                  <a:pt x="5236" y="23763"/>
                </a:cubicBezTo>
                <a:cubicBezTo>
                  <a:pt x="5064" y="23670"/>
                  <a:pt x="4846" y="23748"/>
                  <a:pt x="4767" y="23935"/>
                </a:cubicBezTo>
                <a:cubicBezTo>
                  <a:pt x="3391" y="26813"/>
                  <a:pt x="2625" y="29627"/>
                  <a:pt x="2484" y="32270"/>
                </a:cubicBezTo>
                <a:cubicBezTo>
                  <a:pt x="2375" y="34397"/>
                  <a:pt x="2656" y="36430"/>
                  <a:pt x="3329" y="38306"/>
                </a:cubicBezTo>
                <a:cubicBezTo>
                  <a:pt x="3923" y="39979"/>
                  <a:pt x="4736" y="41230"/>
                  <a:pt x="5299" y="41965"/>
                </a:cubicBezTo>
                <a:cubicBezTo>
                  <a:pt x="5424" y="42122"/>
                  <a:pt x="5534" y="42262"/>
                  <a:pt x="5627" y="42387"/>
                </a:cubicBezTo>
                <a:lnTo>
                  <a:pt x="4814" y="42215"/>
                </a:lnTo>
                <a:cubicBezTo>
                  <a:pt x="4626" y="42184"/>
                  <a:pt x="4439" y="42309"/>
                  <a:pt x="4392" y="42497"/>
                </a:cubicBezTo>
                <a:cubicBezTo>
                  <a:pt x="4361" y="42700"/>
                  <a:pt x="4486" y="42888"/>
                  <a:pt x="4689" y="42919"/>
                </a:cubicBezTo>
                <a:cubicBezTo>
                  <a:pt x="6597" y="43294"/>
                  <a:pt x="5961" y="43169"/>
                  <a:pt x="6597" y="43294"/>
                </a:cubicBezTo>
                <a:lnTo>
                  <a:pt x="6628" y="43294"/>
                </a:lnTo>
                <a:cubicBezTo>
                  <a:pt x="6644" y="43294"/>
                  <a:pt x="6644" y="43310"/>
                  <a:pt x="6659" y="43310"/>
                </a:cubicBezTo>
                <a:cubicBezTo>
                  <a:pt x="6675" y="43310"/>
                  <a:pt x="6680" y="43299"/>
                  <a:pt x="6690" y="43294"/>
                </a:cubicBezTo>
                <a:lnTo>
                  <a:pt x="6706" y="43294"/>
                </a:lnTo>
                <a:lnTo>
                  <a:pt x="6738" y="43294"/>
                </a:lnTo>
                <a:lnTo>
                  <a:pt x="6753" y="43294"/>
                </a:lnTo>
                <a:cubicBezTo>
                  <a:pt x="6758" y="43289"/>
                  <a:pt x="6769" y="43294"/>
                  <a:pt x="6769" y="43279"/>
                </a:cubicBezTo>
                <a:lnTo>
                  <a:pt x="6785" y="43279"/>
                </a:lnTo>
                <a:lnTo>
                  <a:pt x="6800" y="43279"/>
                </a:lnTo>
                <a:lnTo>
                  <a:pt x="6816" y="43263"/>
                </a:lnTo>
                <a:lnTo>
                  <a:pt x="6832" y="43263"/>
                </a:lnTo>
                <a:cubicBezTo>
                  <a:pt x="6832" y="43248"/>
                  <a:pt x="6842" y="43253"/>
                  <a:pt x="6847" y="43248"/>
                </a:cubicBezTo>
                <a:cubicBezTo>
                  <a:pt x="6852" y="43242"/>
                  <a:pt x="6863" y="43248"/>
                  <a:pt x="6863" y="43231"/>
                </a:cubicBezTo>
                <a:lnTo>
                  <a:pt x="6878" y="43231"/>
                </a:lnTo>
                <a:cubicBezTo>
                  <a:pt x="6878" y="43216"/>
                  <a:pt x="6889" y="43221"/>
                  <a:pt x="6894" y="43216"/>
                </a:cubicBezTo>
                <a:lnTo>
                  <a:pt x="6910" y="43200"/>
                </a:lnTo>
                <a:lnTo>
                  <a:pt x="6925" y="43185"/>
                </a:lnTo>
                <a:lnTo>
                  <a:pt x="6941" y="43185"/>
                </a:lnTo>
                <a:lnTo>
                  <a:pt x="6941" y="43169"/>
                </a:lnTo>
                <a:cubicBezTo>
                  <a:pt x="6946" y="43163"/>
                  <a:pt x="6941" y="43153"/>
                  <a:pt x="6957" y="43153"/>
                </a:cubicBezTo>
                <a:cubicBezTo>
                  <a:pt x="6957" y="43148"/>
                  <a:pt x="6957" y="43153"/>
                  <a:pt x="6957" y="43138"/>
                </a:cubicBezTo>
                <a:close/>
                <a:moveTo>
                  <a:pt x="2437" y="26328"/>
                </a:moveTo>
                <a:cubicBezTo>
                  <a:pt x="2516" y="26156"/>
                  <a:pt x="2453" y="25937"/>
                  <a:pt x="2281" y="25843"/>
                </a:cubicBezTo>
                <a:cubicBezTo>
                  <a:pt x="2109" y="25749"/>
                  <a:pt x="1890" y="25812"/>
                  <a:pt x="1796" y="26000"/>
                </a:cubicBezTo>
                <a:cubicBezTo>
                  <a:pt x="968" y="27548"/>
                  <a:pt x="405" y="29158"/>
                  <a:pt x="154" y="30769"/>
                </a:cubicBezTo>
                <a:cubicBezTo>
                  <a:pt x="-49" y="32067"/>
                  <a:pt x="-49" y="33365"/>
                  <a:pt x="139" y="34647"/>
                </a:cubicBezTo>
                <a:cubicBezTo>
                  <a:pt x="436" y="36820"/>
                  <a:pt x="1202" y="38150"/>
                  <a:pt x="1233" y="38212"/>
                </a:cubicBezTo>
                <a:cubicBezTo>
                  <a:pt x="1296" y="38322"/>
                  <a:pt x="1421" y="38384"/>
                  <a:pt x="1546" y="38384"/>
                </a:cubicBezTo>
                <a:cubicBezTo>
                  <a:pt x="1609" y="38384"/>
                  <a:pt x="1671" y="38369"/>
                  <a:pt x="1718" y="38337"/>
                </a:cubicBezTo>
                <a:cubicBezTo>
                  <a:pt x="1890" y="38244"/>
                  <a:pt x="1953" y="38024"/>
                  <a:pt x="1859" y="37852"/>
                </a:cubicBezTo>
                <a:cubicBezTo>
                  <a:pt x="1609" y="37414"/>
                  <a:pt x="1061" y="36148"/>
                  <a:pt x="827" y="34506"/>
                </a:cubicBezTo>
                <a:cubicBezTo>
                  <a:pt x="670" y="33302"/>
                  <a:pt x="670" y="32082"/>
                  <a:pt x="873" y="30863"/>
                </a:cubicBezTo>
                <a:cubicBezTo>
                  <a:pt x="1108" y="29330"/>
                  <a:pt x="1640" y="27813"/>
                  <a:pt x="2437" y="26328"/>
                </a:cubicBezTo>
                <a:close/>
                <a:moveTo>
                  <a:pt x="50396" y="8033"/>
                </a:moveTo>
                <a:lnTo>
                  <a:pt x="50396" y="8064"/>
                </a:lnTo>
                <a:lnTo>
                  <a:pt x="50396" y="8095"/>
                </a:lnTo>
                <a:cubicBezTo>
                  <a:pt x="50396" y="8111"/>
                  <a:pt x="50407" y="8115"/>
                  <a:pt x="50412" y="8126"/>
                </a:cubicBezTo>
                <a:lnTo>
                  <a:pt x="50412" y="8142"/>
                </a:lnTo>
                <a:lnTo>
                  <a:pt x="50412" y="8158"/>
                </a:lnTo>
                <a:cubicBezTo>
                  <a:pt x="50428" y="8158"/>
                  <a:pt x="50428" y="8158"/>
                  <a:pt x="50428" y="8173"/>
                </a:cubicBezTo>
                <a:lnTo>
                  <a:pt x="50428" y="8189"/>
                </a:lnTo>
                <a:cubicBezTo>
                  <a:pt x="50444" y="8189"/>
                  <a:pt x="50439" y="8199"/>
                  <a:pt x="50444" y="8204"/>
                </a:cubicBezTo>
                <a:cubicBezTo>
                  <a:pt x="50449" y="8209"/>
                  <a:pt x="50444" y="8220"/>
                  <a:pt x="50459" y="8220"/>
                </a:cubicBezTo>
                <a:cubicBezTo>
                  <a:pt x="50459" y="8225"/>
                  <a:pt x="50459" y="8220"/>
                  <a:pt x="50459" y="8236"/>
                </a:cubicBezTo>
                <a:cubicBezTo>
                  <a:pt x="50464" y="8241"/>
                  <a:pt x="50475" y="8236"/>
                  <a:pt x="50475" y="8251"/>
                </a:cubicBezTo>
                <a:cubicBezTo>
                  <a:pt x="50491" y="8267"/>
                  <a:pt x="50491" y="8267"/>
                  <a:pt x="50491" y="8283"/>
                </a:cubicBezTo>
                <a:cubicBezTo>
                  <a:pt x="50506" y="8283"/>
                  <a:pt x="50501" y="8283"/>
                  <a:pt x="50506" y="8283"/>
                </a:cubicBezTo>
                <a:lnTo>
                  <a:pt x="50522" y="8298"/>
                </a:lnTo>
                <a:lnTo>
                  <a:pt x="50537" y="8298"/>
                </a:lnTo>
                <a:cubicBezTo>
                  <a:pt x="50537" y="8314"/>
                  <a:pt x="50548" y="8308"/>
                  <a:pt x="50553" y="8314"/>
                </a:cubicBezTo>
                <a:lnTo>
                  <a:pt x="50553" y="8329"/>
                </a:lnTo>
                <a:lnTo>
                  <a:pt x="50569" y="8329"/>
                </a:lnTo>
                <a:lnTo>
                  <a:pt x="50584" y="8329"/>
                </a:lnTo>
                <a:cubicBezTo>
                  <a:pt x="50600" y="8345"/>
                  <a:pt x="50616" y="8345"/>
                  <a:pt x="50631" y="8361"/>
                </a:cubicBezTo>
                <a:lnTo>
                  <a:pt x="50662" y="8361"/>
                </a:lnTo>
                <a:cubicBezTo>
                  <a:pt x="50678" y="8361"/>
                  <a:pt x="50678" y="8376"/>
                  <a:pt x="50694" y="8376"/>
                </a:cubicBezTo>
                <a:lnTo>
                  <a:pt x="50709" y="8376"/>
                </a:lnTo>
                <a:lnTo>
                  <a:pt x="50725" y="8376"/>
                </a:lnTo>
                <a:lnTo>
                  <a:pt x="50741" y="8376"/>
                </a:lnTo>
                <a:lnTo>
                  <a:pt x="50772" y="8376"/>
                </a:lnTo>
                <a:lnTo>
                  <a:pt x="50803" y="8376"/>
                </a:lnTo>
                <a:cubicBezTo>
                  <a:pt x="50808" y="8371"/>
                  <a:pt x="50819" y="8376"/>
                  <a:pt x="50819" y="8361"/>
                </a:cubicBezTo>
                <a:cubicBezTo>
                  <a:pt x="50824" y="8361"/>
                  <a:pt x="50819" y="8361"/>
                  <a:pt x="50834" y="8361"/>
                </a:cubicBezTo>
                <a:lnTo>
                  <a:pt x="50850" y="8361"/>
                </a:lnTo>
                <a:lnTo>
                  <a:pt x="52726" y="7798"/>
                </a:lnTo>
                <a:cubicBezTo>
                  <a:pt x="52930" y="7735"/>
                  <a:pt x="53024" y="7532"/>
                  <a:pt x="52976" y="7345"/>
                </a:cubicBezTo>
                <a:cubicBezTo>
                  <a:pt x="52914" y="7157"/>
                  <a:pt x="52711" y="7047"/>
                  <a:pt x="52523" y="7110"/>
                </a:cubicBezTo>
                <a:lnTo>
                  <a:pt x="51726" y="7345"/>
                </a:lnTo>
                <a:cubicBezTo>
                  <a:pt x="52367" y="6625"/>
                  <a:pt x="53508" y="5562"/>
                  <a:pt x="55166" y="4655"/>
                </a:cubicBezTo>
                <a:cubicBezTo>
                  <a:pt x="56839" y="3763"/>
                  <a:pt x="58715" y="3216"/>
                  <a:pt x="60749" y="3013"/>
                </a:cubicBezTo>
                <a:cubicBezTo>
                  <a:pt x="63297" y="2778"/>
                  <a:pt x="66096" y="3107"/>
                  <a:pt x="69068" y="4013"/>
                </a:cubicBezTo>
                <a:cubicBezTo>
                  <a:pt x="69255" y="4060"/>
                  <a:pt x="69458" y="3951"/>
                  <a:pt x="69505" y="3763"/>
                </a:cubicBezTo>
                <a:cubicBezTo>
                  <a:pt x="69568" y="3576"/>
                  <a:pt x="69458" y="3372"/>
                  <a:pt x="69271" y="3325"/>
                </a:cubicBezTo>
                <a:cubicBezTo>
                  <a:pt x="66206" y="2403"/>
                  <a:pt x="63329" y="2059"/>
                  <a:pt x="60686" y="2309"/>
                </a:cubicBezTo>
                <a:cubicBezTo>
                  <a:pt x="58559" y="2512"/>
                  <a:pt x="56589" y="3091"/>
                  <a:pt x="54837" y="4029"/>
                </a:cubicBezTo>
                <a:cubicBezTo>
                  <a:pt x="53274" y="4874"/>
                  <a:pt x="52163" y="5859"/>
                  <a:pt x="51507" y="6531"/>
                </a:cubicBezTo>
                <a:cubicBezTo>
                  <a:pt x="51382" y="6672"/>
                  <a:pt x="51257" y="6797"/>
                  <a:pt x="51147" y="6922"/>
                </a:cubicBezTo>
                <a:lnTo>
                  <a:pt x="51194" y="6094"/>
                </a:lnTo>
                <a:cubicBezTo>
                  <a:pt x="51194" y="5890"/>
                  <a:pt x="51037" y="5718"/>
                  <a:pt x="50850" y="5718"/>
                </a:cubicBezTo>
                <a:cubicBezTo>
                  <a:pt x="50647" y="5702"/>
                  <a:pt x="50491" y="5859"/>
                  <a:pt x="50475" y="6062"/>
                </a:cubicBezTo>
                <a:lnTo>
                  <a:pt x="50396" y="8001"/>
                </a:lnTo>
                <a:close/>
                <a:moveTo>
                  <a:pt x="54634" y="3122"/>
                </a:moveTo>
                <a:cubicBezTo>
                  <a:pt x="54728" y="3122"/>
                  <a:pt x="54806" y="3091"/>
                  <a:pt x="54869" y="3029"/>
                </a:cubicBezTo>
                <a:cubicBezTo>
                  <a:pt x="54884" y="3029"/>
                  <a:pt x="55979" y="2074"/>
                  <a:pt x="57934" y="1402"/>
                </a:cubicBezTo>
                <a:cubicBezTo>
                  <a:pt x="59075" y="1011"/>
                  <a:pt x="60295" y="777"/>
                  <a:pt x="61530" y="730"/>
                </a:cubicBezTo>
                <a:cubicBezTo>
                  <a:pt x="63078" y="667"/>
                  <a:pt x="64689" y="902"/>
                  <a:pt x="66299" y="1402"/>
                </a:cubicBezTo>
                <a:cubicBezTo>
                  <a:pt x="66487" y="1449"/>
                  <a:pt x="66691" y="1355"/>
                  <a:pt x="66737" y="1168"/>
                </a:cubicBezTo>
                <a:cubicBezTo>
                  <a:pt x="66800" y="980"/>
                  <a:pt x="66691" y="777"/>
                  <a:pt x="66503" y="714"/>
                </a:cubicBezTo>
                <a:cubicBezTo>
                  <a:pt x="64830" y="182"/>
                  <a:pt x="63141" y="-52"/>
                  <a:pt x="61499" y="10"/>
                </a:cubicBezTo>
                <a:cubicBezTo>
                  <a:pt x="60201" y="73"/>
                  <a:pt x="58919" y="308"/>
                  <a:pt x="57699" y="730"/>
                </a:cubicBezTo>
                <a:cubicBezTo>
                  <a:pt x="55620" y="1449"/>
                  <a:pt x="54462" y="2450"/>
                  <a:pt x="54400" y="2497"/>
                </a:cubicBezTo>
                <a:cubicBezTo>
                  <a:pt x="54259" y="2622"/>
                  <a:pt x="54243" y="2857"/>
                  <a:pt x="54369" y="2997"/>
                </a:cubicBezTo>
                <a:cubicBezTo>
                  <a:pt x="54447" y="3075"/>
                  <a:pt x="54540" y="3122"/>
                  <a:pt x="54634" y="312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43303682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Magellan focused icons - 8</a:t>
            </a:r>
          </a:p>
        </p:txBody>
      </p:sp>
      <p:sp>
        <p:nvSpPr>
          <p:cNvPr id="83" name="TextBox 82">
            <a:extLst>
              <a:ext uri="{FF2B5EF4-FFF2-40B4-BE49-F238E27FC236}">
                <a16:creationId xmlns:a16="http://schemas.microsoft.com/office/drawing/2014/main" id="{C6511067-55B8-8549-A14E-38E94ED3FF28}"/>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90" name="TextBox 89">
            <a:extLst>
              <a:ext uri="{FF2B5EF4-FFF2-40B4-BE49-F238E27FC236}">
                <a16:creationId xmlns:a16="http://schemas.microsoft.com/office/drawing/2014/main" id="{901890C6-60A8-7547-BDD4-AC59E6328605}"/>
              </a:ext>
            </a:extLst>
          </p:cNvPr>
          <p:cNvSpPr txBox="1"/>
          <p:nvPr/>
        </p:nvSpPr>
        <p:spPr>
          <a:xfrm>
            <a:off x="-1859280" y="6766560"/>
            <a:ext cx="184731" cy="369332"/>
          </a:xfrm>
          <a:prstGeom prst="rect">
            <a:avLst/>
          </a:prstGeom>
          <a:noFill/>
        </p:spPr>
        <p:txBody>
          <a:bodyPr wrap="none" rtlCol="0">
            <a:spAutoFit/>
          </a:bodyPr>
          <a:lstStyle/>
          <a:p>
            <a:endParaRPr lang="en-US"/>
          </a:p>
        </p:txBody>
      </p:sp>
      <p:sp>
        <p:nvSpPr>
          <p:cNvPr id="13" name="TextBox 12">
            <a:extLst>
              <a:ext uri="{FF2B5EF4-FFF2-40B4-BE49-F238E27FC236}">
                <a16:creationId xmlns:a16="http://schemas.microsoft.com/office/drawing/2014/main" id="{E5FC745C-5B04-2D4D-B3E5-7A325D069FC6}"/>
              </a:ext>
            </a:extLst>
          </p:cNvPr>
          <p:cNvSpPr txBox="1"/>
          <p:nvPr/>
        </p:nvSpPr>
        <p:spPr>
          <a:xfrm>
            <a:off x="1246188" y="11608033"/>
            <a:ext cx="21890037"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redictive Maintenance</a:t>
            </a:r>
          </a:p>
        </p:txBody>
      </p:sp>
      <p:sp>
        <p:nvSpPr>
          <p:cNvPr id="14" name="Freeform 13">
            <a:extLst>
              <a:ext uri="{FF2B5EF4-FFF2-40B4-BE49-F238E27FC236}">
                <a16:creationId xmlns:a16="http://schemas.microsoft.com/office/drawing/2014/main" id="{09C63BED-FF6C-5343-87BA-8C47BC8809CA}"/>
              </a:ext>
            </a:extLst>
          </p:cNvPr>
          <p:cNvSpPr/>
          <p:nvPr/>
        </p:nvSpPr>
        <p:spPr>
          <a:xfrm>
            <a:off x="5426652" y="3119781"/>
            <a:ext cx="13217652" cy="7708399"/>
          </a:xfrm>
          <a:custGeom>
            <a:avLst/>
            <a:gdLst/>
            <a:ahLst/>
            <a:cxnLst>
              <a:cxn ang="3cd4">
                <a:pos x="hc" y="t"/>
              </a:cxn>
              <a:cxn ang="cd2">
                <a:pos x="l" y="vc"/>
              </a:cxn>
              <a:cxn ang="cd4">
                <a:pos x="hc" y="b"/>
              </a:cxn>
              <a:cxn ang="0">
                <a:pos x="r" y="vc"/>
              </a:cxn>
            </a:cxnLst>
            <a:rect l="l" t="t" r="r" b="b"/>
            <a:pathLst>
              <a:path w="82986" h="48397">
                <a:moveTo>
                  <a:pt x="46880" y="32384"/>
                </a:moveTo>
                <a:cubicBezTo>
                  <a:pt x="46896" y="31900"/>
                  <a:pt x="46880" y="31086"/>
                  <a:pt x="46723" y="30320"/>
                </a:cubicBezTo>
                <a:cubicBezTo>
                  <a:pt x="46505" y="29241"/>
                  <a:pt x="45504" y="28788"/>
                  <a:pt x="45082" y="28631"/>
                </a:cubicBezTo>
                <a:cubicBezTo>
                  <a:pt x="44862" y="28131"/>
                  <a:pt x="44425" y="27803"/>
                  <a:pt x="44284" y="27725"/>
                </a:cubicBezTo>
                <a:cubicBezTo>
                  <a:pt x="44268" y="27709"/>
                  <a:pt x="44190" y="27662"/>
                  <a:pt x="44128" y="27615"/>
                </a:cubicBezTo>
                <a:cubicBezTo>
                  <a:pt x="43533" y="27193"/>
                  <a:pt x="41704" y="25911"/>
                  <a:pt x="40125" y="25269"/>
                </a:cubicBezTo>
                <a:cubicBezTo>
                  <a:pt x="39546" y="25035"/>
                  <a:pt x="38702" y="24848"/>
                  <a:pt x="37998" y="25269"/>
                </a:cubicBezTo>
                <a:cubicBezTo>
                  <a:pt x="37857" y="25348"/>
                  <a:pt x="37748" y="25441"/>
                  <a:pt x="37669" y="25520"/>
                </a:cubicBezTo>
                <a:cubicBezTo>
                  <a:pt x="37654" y="25504"/>
                  <a:pt x="37638" y="25489"/>
                  <a:pt x="37623" y="25473"/>
                </a:cubicBezTo>
                <a:cubicBezTo>
                  <a:pt x="36841" y="24706"/>
                  <a:pt x="35621" y="24300"/>
                  <a:pt x="34292" y="24347"/>
                </a:cubicBezTo>
                <a:cubicBezTo>
                  <a:pt x="33463" y="24363"/>
                  <a:pt x="31274" y="25019"/>
                  <a:pt x="30367" y="25285"/>
                </a:cubicBezTo>
                <a:cubicBezTo>
                  <a:pt x="28662" y="25817"/>
                  <a:pt x="27115" y="26364"/>
                  <a:pt x="26489" y="26661"/>
                </a:cubicBezTo>
                <a:cubicBezTo>
                  <a:pt x="25848" y="26974"/>
                  <a:pt x="25176" y="27302"/>
                  <a:pt x="24628" y="27756"/>
                </a:cubicBezTo>
                <a:cubicBezTo>
                  <a:pt x="24034" y="28225"/>
                  <a:pt x="23690" y="28757"/>
                  <a:pt x="23565" y="29351"/>
                </a:cubicBezTo>
                <a:cubicBezTo>
                  <a:pt x="23096" y="29382"/>
                  <a:pt x="22533" y="29539"/>
                  <a:pt x="22173" y="30055"/>
                </a:cubicBezTo>
                <a:cubicBezTo>
                  <a:pt x="21892" y="30477"/>
                  <a:pt x="21423" y="31306"/>
                  <a:pt x="20922" y="32259"/>
                </a:cubicBezTo>
                <a:cubicBezTo>
                  <a:pt x="20625" y="32822"/>
                  <a:pt x="20125" y="33808"/>
                  <a:pt x="20078" y="34058"/>
                </a:cubicBezTo>
                <a:cubicBezTo>
                  <a:pt x="20078" y="34073"/>
                  <a:pt x="20078" y="34089"/>
                  <a:pt x="20062" y="34105"/>
                </a:cubicBezTo>
                <a:cubicBezTo>
                  <a:pt x="20031" y="34308"/>
                  <a:pt x="19937" y="34777"/>
                  <a:pt x="20015" y="35309"/>
                </a:cubicBezTo>
                <a:cubicBezTo>
                  <a:pt x="20125" y="35934"/>
                  <a:pt x="20453" y="36450"/>
                  <a:pt x="20969" y="36810"/>
                </a:cubicBezTo>
                <a:cubicBezTo>
                  <a:pt x="21000" y="37232"/>
                  <a:pt x="21251" y="38154"/>
                  <a:pt x="22439" y="38842"/>
                </a:cubicBezTo>
                <a:cubicBezTo>
                  <a:pt x="22845" y="39077"/>
                  <a:pt x="23237" y="39296"/>
                  <a:pt x="23580" y="39499"/>
                </a:cubicBezTo>
                <a:cubicBezTo>
                  <a:pt x="24425" y="40000"/>
                  <a:pt x="25051" y="40360"/>
                  <a:pt x="25472" y="40485"/>
                </a:cubicBezTo>
                <a:cubicBezTo>
                  <a:pt x="25864" y="40594"/>
                  <a:pt x="26207" y="40625"/>
                  <a:pt x="26458" y="40625"/>
                </a:cubicBezTo>
                <a:cubicBezTo>
                  <a:pt x="26505" y="40860"/>
                  <a:pt x="26583" y="41173"/>
                  <a:pt x="26739" y="41501"/>
                </a:cubicBezTo>
                <a:cubicBezTo>
                  <a:pt x="27146" y="42345"/>
                  <a:pt x="27834" y="42783"/>
                  <a:pt x="28756" y="42783"/>
                </a:cubicBezTo>
                <a:lnTo>
                  <a:pt x="28787" y="42783"/>
                </a:lnTo>
                <a:cubicBezTo>
                  <a:pt x="30695" y="42768"/>
                  <a:pt x="34120" y="42783"/>
                  <a:pt x="34167" y="42783"/>
                </a:cubicBezTo>
                <a:lnTo>
                  <a:pt x="34198" y="42783"/>
                </a:lnTo>
                <a:cubicBezTo>
                  <a:pt x="34214" y="42783"/>
                  <a:pt x="34777" y="42736"/>
                  <a:pt x="35355" y="42470"/>
                </a:cubicBezTo>
                <a:cubicBezTo>
                  <a:pt x="35699" y="42314"/>
                  <a:pt x="35981" y="42095"/>
                  <a:pt x="36184" y="41845"/>
                </a:cubicBezTo>
                <a:cubicBezTo>
                  <a:pt x="36450" y="41501"/>
                  <a:pt x="36575" y="41110"/>
                  <a:pt x="36575" y="40672"/>
                </a:cubicBezTo>
                <a:cubicBezTo>
                  <a:pt x="36559" y="39109"/>
                  <a:pt x="36575" y="39348"/>
                  <a:pt x="36575" y="38686"/>
                </a:cubicBezTo>
                <a:cubicBezTo>
                  <a:pt x="36575" y="38592"/>
                  <a:pt x="36543" y="38483"/>
                  <a:pt x="36465" y="38421"/>
                </a:cubicBezTo>
                <a:lnTo>
                  <a:pt x="35199" y="37154"/>
                </a:lnTo>
                <a:cubicBezTo>
                  <a:pt x="35277" y="36998"/>
                  <a:pt x="35324" y="36810"/>
                  <a:pt x="35324" y="36622"/>
                </a:cubicBezTo>
                <a:cubicBezTo>
                  <a:pt x="35324" y="35981"/>
                  <a:pt x="34808" y="35465"/>
                  <a:pt x="34167" y="35465"/>
                </a:cubicBezTo>
                <a:cubicBezTo>
                  <a:pt x="33526" y="35465"/>
                  <a:pt x="32994" y="35981"/>
                  <a:pt x="32994" y="36622"/>
                </a:cubicBezTo>
                <a:cubicBezTo>
                  <a:pt x="32994" y="37263"/>
                  <a:pt x="33526" y="37795"/>
                  <a:pt x="34167" y="37795"/>
                </a:cubicBezTo>
                <a:cubicBezTo>
                  <a:pt x="34354" y="37795"/>
                  <a:pt x="34526" y="37748"/>
                  <a:pt x="34683" y="37670"/>
                </a:cubicBezTo>
                <a:lnTo>
                  <a:pt x="35855" y="38827"/>
                </a:lnTo>
                <a:cubicBezTo>
                  <a:pt x="35855" y="39062"/>
                  <a:pt x="35855" y="39593"/>
                  <a:pt x="35871" y="40672"/>
                </a:cubicBezTo>
                <a:cubicBezTo>
                  <a:pt x="35871" y="41188"/>
                  <a:pt x="35605" y="41564"/>
                  <a:pt x="35058" y="41814"/>
                </a:cubicBezTo>
                <a:cubicBezTo>
                  <a:pt x="34652" y="42017"/>
                  <a:pt x="34229" y="42064"/>
                  <a:pt x="34151" y="42064"/>
                </a:cubicBezTo>
                <a:cubicBezTo>
                  <a:pt x="33870" y="42064"/>
                  <a:pt x="30617" y="42048"/>
                  <a:pt x="28787" y="42064"/>
                </a:cubicBezTo>
                <a:cubicBezTo>
                  <a:pt x="28131" y="42079"/>
                  <a:pt x="27678" y="41798"/>
                  <a:pt x="27380" y="41204"/>
                </a:cubicBezTo>
                <a:cubicBezTo>
                  <a:pt x="27286" y="41001"/>
                  <a:pt x="27224" y="40781"/>
                  <a:pt x="27177" y="40610"/>
                </a:cubicBezTo>
                <a:lnTo>
                  <a:pt x="31196" y="40610"/>
                </a:lnTo>
                <a:cubicBezTo>
                  <a:pt x="31336" y="41079"/>
                  <a:pt x="31790" y="41407"/>
                  <a:pt x="32306" y="41407"/>
                </a:cubicBezTo>
                <a:cubicBezTo>
                  <a:pt x="32947" y="41407"/>
                  <a:pt x="33463" y="40891"/>
                  <a:pt x="33463" y="40250"/>
                </a:cubicBezTo>
                <a:cubicBezTo>
                  <a:pt x="33463" y="39609"/>
                  <a:pt x="32947" y="39077"/>
                  <a:pt x="32306" y="39077"/>
                </a:cubicBezTo>
                <a:cubicBezTo>
                  <a:pt x="31790" y="39077"/>
                  <a:pt x="31336" y="39421"/>
                  <a:pt x="31196" y="39890"/>
                </a:cubicBezTo>
                <a:cubicBezTo>
                  <a:pt x="26770" y="39890"/>
                  <a:pt x="28245" y="39890"/>
                  <a:pt x="26770" y="39890"/>
                </a:cubicBezTo>
                <a:lnTo>
                  <a:pt x="26755" y="39890"/>
                </a:lnTo>
                <a:lnTo>
                  <a:pt x="26723" y="39890"/>
                </a:lnTo>
                <a:cubicBezTo>
                  <a:pt x="26374" y="39859"/>
                  <a:pt x="26223" y="39953"/>
                  <a:pt x="25676" y="39797"/>
                </a:cubicBezTo>
                <a:cubicBezTo>
                  <a:pt x="25332" y="39703"/>
                  <a:pt x="24722" y="39343"/>
                  <a:pt x="23940" y="38889"/>
                </a:cubicBezTo>
                <a:cubicBezTo>
                  <a:pt x="23596" y="38686"/>
                  <a:pt x="23205" y="38452"/>
                  <a:pt x="22799" y="38217"/>
                </a:cubicBezTo>
                <a:cubicBezTo>
                  <a:pt x="22079" y="37811"/>
                  <a:pt x="21814" y="37295"/>
                  <a:pt x="21719" y="36982"/>
                </a:cubicBezTo>
                <a:lnTo>
                  <a:pt x="26473" y="36982"/>
                </a:lnTo>
                <a:cubicBezTo>
                  <a:pt x="26630" y="37435"/>
                  <a:pt x="27068" y="37779"/>
                  <a:pt x="27584" y="37779"/>
                </a:cubicBezTo>
                <a:cubicBezTo>
                  <a:pt x="28225" y="37779"/>
                  <a:pt x="28741" y="37263"/>
                  <a:pt x="28741" y="36622"/>
                </a:cubicBezTo>
                <a:cubicBezTo>
                  <a:pt x="28741" y="35981"/>
                  <a:pt x="28225" y="35449"/>
                  <a:pt x="27584" y="35449"/>
                </a:cubicBezTo>
                <a:cubicBezTo>
                  <a:pt x="27068" y="35449"/>
                  <a:pt x="26630" y="35794"/>
                  <a:pt x="26473" y="36262"/>
                </a:cubicBezTo>
                <a:lnTo>
                  <a:pt x="21423" y="36262"/>
                </a:lnTo>
                <a:cubicBezTo>
                  <a:pt x="21031" y="35997"/>
                  <a:pt x="20797" y="35652"/>
                  <a:pt x="20735" y="35199"/>
                </a:cubicBezTo>
                <a:cubicBezTo>
                  <a:pt x="20656" y="34793"/>
                  <a:pt x="20735" y="34417"/>
                  <a:pt x="20766" y="34245"/>
                </a:cubicBezTo>
                <a:cubicBezTo>
                  <a:pt x="20766" y="34230"/>
                  <a:pt x="20781" y="34198"/>
                  <a:pt x="20781" y="34183"/>
                </a:cubicBezTo>
                <a:cubicBezTo>
                  <a:pt x="20875" y="33870"/>
                  <a:pt x="22157" y="31368"/>
                  <a:pt x="22767" y="30461"/>
                </a:cubicBezTo>
                <a:cubicBezTo>
                  <a:pt x="22939" y="30211"/>
                  <a:pt x="23205" y="30102"/>
                  <a:pt x="23487" y="30086"/>
                </a:cubicBezTo>
                <a:cubicBezTo>
                  <a:pt x="23424" y="31071"/>
                  <a:pt x="23393" y="32572"/>
                  <a:pt x="23377" y="33213"/>
                </a:cubicBezTo>
                <a:cubicBezTo>
                  <a:pt x="22908" y="33354"/>
                  <a:pt x="22564" y="33808"/>
                  <a:pt x="22564" y="34323"/>
                </a:cubicBezTo>
                <a:cubicBezTo>
                  <a:pt x="22564" y="34964"/>
                  <a:pt x="23096" y="35481"/>
                  <a:pt x="23737" y="35481"/>
                </a:cubicBezTo>
                <a:cubicBezTo>
                  <a:pt x="24378" y="35481"/>
                  <a:pt x="24894" y="34964"/>
                  <a:pt x="24894" y="34323"/>
                </a:cubicBezTo>
                <a:cubicBezTo>
                  <a:pt x="24894" y="33808"/>
                  <a:pt x="24566" y="33370"/>
                  <a:pt x="24096" y="33213"/>
                </a:cubicBezTo>
                <a:cubicBezTo>
                  <a:pt x="24112" y="32572"/>
                  <a:pt x="24128" y="31086"/>
                  <a:pt x="24190" y="30117"/>
                </a:cubicBezTo>
                <a:cubicBezTo>
                  <a:pt x="24425" y="30164"/>
                  <a:pt x="24628" y="30227"/>
                  <a:pt x="24753" y="30273"/>
                </a:cubicBezTo>
                <a:cubicBezTo>
                  <a:pt x="25144" y="30555"/>
                  <a:pt x="27771" y="33229"/>
                  <a:pt x="29475" y="35011"/>
                </a:cubicBezTo>
                <a:cubicBezTo>
                  <a:pt x="29413" y="35152"/>
                  <a:pt x="29366" y="35324"/>
                  <a:pt x="29366" y="35496"/>
                </a:cubicBezTo>
                <a:cubicBezTo>
                  <a:pt x="29366" y="36137"/>
                  <a:pt x="29898" y="36653"/>
                  <a:pt x="30539" y="36653"/>
                </a:cubicBezTo>
                <a:cubicBezTo>
                  <a:pt x="31180" y="36653"/>
                  <a:pt x="31696" y="36137"/>
                  <a:pt x="31696" y="35496"/>
                </a:cubicBezTo>
                <a:cubicBezTo>
                  <a:pt x="31696" y="34855"/>
                  <a:pt x="31180" y="34323"/>
                  <a:pt x="30539" y="34323"/>
                </a:cubicBezTo>
                <a:cubicBezTo>
                  <a:pt x="30320" y="34323"/>
                  <a:pt x="30132" y="34386"/>
                  <a:pt x="29960" y="34480"/>
                </a:cubicBezTo>
                <a:cubicBezTo>
                  <a:pt x="29554" y="34058"/>
                  <a:pt x="28678" y="33151"/>
                  <a:pt x="27803" y="32259"/>
                </a:cubicBezTo>
                <a:cubicBezTo>
                  <a:pt x="25316" y="29710"/>
                  <a:pt x="25144" y="29664"/>
                  <a:pt x="25019" y="29617"/>
                </a:cubicBezTo>
                <a:cubicBezTo>
                  <a:pt x="24769" y="29523"/>
                  <a:pt x="24519" y="29460"/>
                  <a:pt x="24284" y="29414"/>
                </a:cubicBezTo>
                <a:cubicBezTo>
                  <a:pt x="24519" y="28522"/>
                  <a:pt x="25472" y="27959"/>
                  <a:pt x="26567" y="27412"/>
                </a:cubicBezTo>
                <a:lnTo>
                  <a:pt x="30476" y="31353"/>
                </a:lnTo>
                <a:cubicBezTo>
                  <a:pt x="30414" y="31509"/>
                  <a:pt x="30383" y="31665"/>
                  <a:pt x="30383" y="31837"/>
                </a:cubicBezTo>
                <a:cubicBezTo>
                  <a:pt x="30383" y="32478"/>
                  <a:pt x="30899" y="32994"/>
                  <a:pt x="31540" y="32994"/>
                </a:cubicBezTo>
                <a:cubicBezTo>
                  <a:pt x="32181" y="32994"/>
                  <a:pt x="32712" y="32478"/>
                  <a:pt x="32712" y="31837"/>
                </a:cubicBezTo>
                <a:cubicBezTo>
                  <a:pt x="32712" y="31196"/>
                  <a:pt x="32181" y="30665"/>
                  <a:pt x="31540" y="30665"/>
                </a:cubicBezTo>
                <a:cubicBezTo>
                  <a:pt x="31336" y="30665"/>
                  <a:pt x="31133" y="30727"/>
                  <a:pt x="30961" y="30821"/>
                </a:cubicBezTo>
                <a:lnTo>
                  <a:pt x="27271" y="27099"/>
                </a:lnTo>
                <a:cubicBezTo>
                  <a:pt x="27943" y="26833"/>
                  <a:pt x="29038" y="26458"/>
                  <a:pt x="30180" y="26099"/>
                </a:cubicBezTo>
                <a:lnTo>
                  <a:pt x="32071" y="28038"/>
                </a:lnTo>
                <a:cubicBezTo>
                  <a:pt x="31977" y="28209"/>
                  <a:pt x="31915" y="28413"/>
                  <a:pt x="31915" y="28631"/>
                </a:cubicBezTo>
                <a:cubicBezTo>
                  <a:pt x="31915" y="29272"/>
                  <a:pt x="32431" y="29804"/>
                  <a:pt x="33072" y="29804"/>
                </a:cubicBezTo>
                <a:cubicBezTo>
                  <a:pt x="33713" y="29804"/>
                  <a:pt x="34245" y="29272"/>
                  <a:pt x="34245" y="28631"/>
                </a:cubicBezTo>
                <a:cubicBezTo>
                  <a:pt x="34245" y="27990"/>
                  <a:pt x="33713" y="27459"/>
                  <a:pt x="33072" y="27459"/>
                </a:cubicBezTo>
                <a:cubicBezTo>
                  <a:pt x="32916" y="27459"/>
                  <a:pt x="32744" y="27506"/>
                  <a:pt x="32603" y="27568"/>
                </a:cubicBezTo>
                <a:lnTo>
                  <a:pt x="30946" y="25864"/>
                </a:lnTo>
                <a:cubicBezTo>
                  <a:pt x="32165" y="25504"/>
                  <a:pt x="33338" y="25191"/>
                  <a:pt x="34011" y="25082"/>
                </a:cubicBezTo>
                <a:lnTo>
                  <a:pt x="35058" y="26458"/>
                </a:lnTo>
                <a:lnTo>
                  <a:pt x="35058" y="32197"/>
                </a:lnTo>
                <a:cubicBezTo>
                  <a:pt x="34589" y="32353"/>
                  <a:pt x="34245" y="32791"/>
                  <a:pt x="34245" y="33307"/>
                </a:cubicBezTo>
                <a:cubicBezTo>
                  <a:pt x="34245" y="33948"/>
                  <a:pt x="34777" y="34464"/>
                  <a:pt x="35418" y="34464"/>
                </a:cubicBezTo>
                <a:cubicBezTo>
                  <a:pt x="36059" y="34464"/>
                  <a:pt x="36575" y="33948"/>
                  <a:pt x="36575" y="33307"/>
                </a:cubicBezTo>
                <a:cubicBezTo>
                  <a:pt x="36575" y="32791"/>
                  <a:pt x="36231" y="32353"/>
                  <a:pt x="35777" y="32197"/>
                </a:cubicBezTo>
                <a:lnTo>
                  <a:pt x="35777" y="26333"/>
                </a:lnTo>
                <a:cubicBezTo>
                  <a:pt x="35777" y="26255"/>
                  <a:pt x="35746" y="26192"/>
                  <a:pt x="35699" y="26130"/>
                </a:cubicBezTo>
                <a:lnTo>
                  <a:pt x="34886" y="25066"/>
                </a:lnTo>
                <a:cubicBezTo>
                  <a:pt x="35793" y="25144"/>
                  <a:pt x="36591" y="25473"/>
                  <a:pt x="37122" y="25989"/>
                </a:cubicBezTo>
                <a:cubicBezTo>
                  <a:pt x="37451" y="26302"/>
                  <a:pt x="37638" y="26645"/>
                  <a:pt x="37638" y="26943"/>
                </a:cubicBezTo>
                <a:lnTo>
                  <a:pt x="37638" y="46130"/>
                </a:lnTo>
                <a:cubicBezTo>
                  <a:pt x="37169" y="46270"/>
                  <a:pt x="36825" y="46724"/>
                  <a:pt x="36825" y="47240"/>
                </a:cubicBezTo>
                <a:cubicBezTo>
                  <a:pt x="36825" y="47881"/>
                  <a:pt x="37341" y="48397"/>
                  <a:pt x="37998" y="48397"/>
                </a:cubicBezTo>
                <a:cubicBezTo>
                  <a:pt x="38639" y="48397"/>
                  <a:pt x="39155" y="47881"/>
                  <a:pt x="39155" y="47240"/>
                </a:cubicBezTo>
                <a:cubicBezTo>
                  <a:pt x="39155" y="46724"/>
                  <a:pt x="38811" y="46270"/>
                  <a:pt x="38342" y="46130"/>
                </a:cubicBezTo>
                <a:lnTo>
                  <a:pt x="38342" y="26943"/>
                </a:lnTo>
                <a:cubicBezTo>
                  <a:pt x="38342" y="26661"/>
                  <a:pt x="38264" y="26380"/>
                  <a:pt x="38107" y="26099"/>
                </a:cubicBezTo>
                <a:cubicBezTo>
                  <a:pt x="38170" y="26036"/>
                  <a:pt x="38248" y="25957"/>
                  <a:pt x="38357" y="25895"/>
                </a:cubicBezTo>
                <a:cubicBezTo>
                  <a:pt x="38717" y="25676"/>
                  <a:pt x="39249" y="25692"/>
                  <a:pt x="39859" y="25942"/>
                </a:cubicBezTo>
                <a:cubicBezTo>
                  <a:pt x="40343" y="26130"/>
                  <a:pt x="40891" y="26411"/>
                  <a:pt x="41516" y="26771"/>
                </a:cubicBezTo>
                <a:lnTo>
                  <a:pt x="40469" y="28600"/>
                </a:lnTo>
                <a:cubicBezTo>
                  <a:pt x="40375" y="28569"/>
                  <a:pt x="40281" y="28569"/>
                  <a:pt x="40187" y="28569"/>
                </a:cubicBezTo>
                <a:cubicBezTo>
                  <a:pt x="39546" y="28569"/>
                  <a:pt x="39014" y="29085"/>
                  <a:pt x="39014" y="29726"/>
                </a:cubicBezTo>
                <a:cubicBezTo>
                  <a:pt x="39014" y="30367"/>
                  <a:pt x="39546" y="30899"/>
                  <a:pt x="40187" y="30899"/>
                </a:cubicBezTo>
                <a:cubicBezTo>
                  <a:pt x="40828" y="30899"/>
                  <a:pt x="41344" y="30367"/>
                  <a:pt x="41344" y="29726"/>
                </a:cubicBezTo>
                <a:cubicBezTo>
                  <a:pt x="41344" y="29445"/>
                  <a:pt x="41251" y="29179"/>
                  <a:pt x="41063" y="28976"/>
                </a:cubicBezTo>
                <a:cubicBezTo>
                  <a:pt x="42126" y="27130"/>
                  <a:pt x="41772" y="27745"/>
                  <a:pt x="42126" y="27130"/>
                </a:cubicBezTo>
                <a:cubicBezTo>
                  <a:pt x="42611" y="27443"/>
                  <a:pt x="43143" y="27803"/>
                  <a:pt x="43721" y="28194"/>
                </a:cubicBezTo>
                <a:cubicBezTo>
                  <a:pt x="43815" y="28272"/>
                  <a:pt x="43862" y="28303"/>
                  <a:pt x="43893" y="28319"/>
                </a:cubicBezTo>
                <a:cubicBezTo>
                  <a:pt x="43940" y="28350"/>
                  <a:pt x="44362" y="28616"/>
                  <a:pt x="44456" y="29007"/>
                </a:cubicBezTo>
                <a:lnTo>
                  <a:pt x="44456" y="29022"/>
                </a:lnTo>
                <a:cubicBezTo>
                  <a:pt x="44644" y="29617"/>
                  <a:pt x="44566" y="30055"/>
                  <a:pt x="44456" y="30430"/>
                </a:cubicBezTo>
                <a:cubicBezTo>
                  <a:pt x="44362" y="30696"/>
                  <a:pt x="43205" y="32650"/>
                  <a:pt x="42110" y="34449"/>
                </a:cubicBezTo>
                <a:cubicBezTo>
                  <a:pt x="42079" y="34433"/>
                  <a:pt x="42032" y="34433"/>
                  <a:pt x="42001" y="34433"/>
                </a:cubicBezTo>
                <a:cubicBezTo>
                  <a:pt x="41360" y="34433"/>
                  <a:pt x="40828" y="34964"/>
                  <a:pt x="40828" y="35606"/>
                </a:cubicBezTo>
                <a:cubicBezTo>
                  <a:pt x="40828" y="36247"/>
                  <a:pt x="41360" y="36763"/>
                  <a:pt x="42001" y="36763"/>
                </a:cubicBezTo>
                <a:cubicBezTo>
                  <a:pt x="42642" y="36763"/>
                  <a:pt x="43158" y="36247"/>
                  <a:pt x="43158" y="35606"/>
                </a:cubicBezTo>
                <a:cubicBezTo>
                  <a:pt x="43158" y="35262"/>
                  <a:pt x="43018" y="34949"/>
                  <a:pt x="42767" y="34730"/>
                </a:cubicBezTo>
                <a:cubicBezTo>
                  <a:pt x="43002" y="34355"/>
                  <a:pt x="43408" y="33682"/>
                  <a:pt x="43815" y="32994"/>
                </a:cubicBezTo>
                <a:cubicBezTo>
                  <a:pt x="45066" y="30883"/>
                  <a:pt x="45113" y="30727"/>
                  <a:pt x="45144" y="30633"/>
                </a:cubicBezTo>
                <a:cubicBezTo>
                  <a:pt x="45207" y="30430"/>
                  <a:pt x="45316" y="30039"/>
                  <a:pt x="45269" y="29507"/>
                </a:cubicBezTo>
                <a:cubicBezTo>
                  <a:pt x="45582" y="29695"/>
                  <a:pt x="45926" y="29992"/>
                  <a:pt x="46020" y="30461"/>
                </a:cubicBezTo>
                <a:cubicBezTo>
                  <a:pt x="46207" y="31368"/>
                  <a:pt x="46176" y="32369"/>
                  <a:pt x="46160" y="32666"/>
                </a:cubicBezTo>
                <a:lnTo>
                  <a:pt x="42767" y="38076"/>
                </a:lnTo>
                <a:cubicBezTo>
                  <a:pt x="42673" y="38045"/>
                  <a:pt x="42580" y="38029"/>
                  <a:pt x="42486" y="38029"/>
                </a:cubicBezTo>
                <a:cubicBezTo>
                  <a:pt x="41845" y="38029"/>
                  <a:pt x="41313" y="38561"/>
                  <a:pt x="41313" y="39202"/>
                </a:cubicBezTo>
                <a:cubicBezTo>
                  <a:pt x="41313" y="39843"/>
                  <a:pt x="41845" y="40375"/>
                  <a:pt x="42486" y="40375"/>
                </a:cubicBezTo>
                <a:cubicBezTo>
                  <a:pt x="43127" y="40375"/>
                  <a:pt x="43643" y="39843"/>
                  <a:pt x="43643" y="39202"/>
                </a:cubicBezTo>
                <a:cubicBezTo>
                  <a:pt x="43643" y="38921"/>
                  <a:pt x="43549" y="38655"/>
                  <a:pt x="43377" y="38452"/>
                </a:cubicBezTo>
                <a:lnTo>
                  <a:pt x="46723" y="33104"/>
                </a:lnTo>
                <a:cubicBezTo>
                  <a:pt x="47083" y="33072"/>
                  <a:pt x="47974" y="33072"/>
                  <a:pt x="48553" y="33745"/>
                </a:cubicBezTo>
                <a:cubicBezTo>
                  <a:pt x="49132" y="34433"/>
                  <a:pt x="49116" y="35215"/>
                  <a:pt x="49085" y="36137"/>
                </a:cubicBezTo>
                <a:lnTo>
                  <a:pt x="49085" y="36794"/>
                </a:lnTo>
                <a:cubicBezTo>
                  <a:pt x="49116" y="38608"/>
                  <a:pt x="48725" y="39218"/>
                  <a:pt x="48287" y="39625"/>
                </a:cubicBezTo>
                <a:cubicBezTo>
                  <a:pt x="47834" y="40047"/>
                  <a:pt x="46801" y="39968"/>
                  <a:pt x="46442" y="39890"/>
                </a:cubicBezTo>
                <a:lnTo>
                  <a:pt x="46426" y="39890"/>
                </a:lnTo>
                <a:cubicBezTo>
                  <a:pt x="45535" y="39765"/>
                  <a:pt x="45238" y="39109"/>
                  <a:pt x="45144" y="38842"/>
                </a:cubicBezTo>
                <a:lnTo>
                  <a:pt x="45973" y="37451"/>
                </a:lnTo>
                <a:cubicBezTo>
                  <a:pt x="46098" y="37498"/>
                  <a:pt x="46239" y="37513"/>
                  <a:pt x="46364" y="37513"/>
                </a:cubicBezTo>
                <a:cubicBezTo>
                  <a:pt x="47021" y="37513"/>
                  <a:pt x="47537" y="36998"/>
                  <a:pt x="47537" y="36357"/>
                </a:cubicBezTo>
                <a:cubicBezTo>
                  <a:pt x="47537" y="35715"/>
                  <a:pt x="47021" y="35184"/>
                  <a:pt x="46364" y="35184"/>
                </a:cubicBezTo>
                <a:cubicBezTo>
                  <a:pt x="45723" y="35184"/>
                  <a:pt x="45207" y="35715"/>
                  <a:pt x="45207" y="36357"/>
                </a:cubicBezTo>
                <a:cubicBezTo>
                  <a:pt x="45207" y="36591"/>
                  <a:pt x="45285" y="36825"/>
                  <a:pt x="45410" y="36998"/>
                </a:cubicBezTo>
                <a:lnTo>
                  <a:pt x="44456" y="38608"/>
                </a:lnTo>
                <a:cubicBezTo>
                  <a:pt x="44409" y="38686"/>
                  <a:pt x="44394" y="38764"/>
                  <a:pt x="44409" y="38842"/>
                </a:cubicBezTo>
                <a:cubicBezTo>
                  <a:pt x="44425" y="38889"/>
                  <a:pt x="44487" y="39249"/>
                  <a:pt x="44753" y="39640"/>
                </a:cubicBezTo>
                <a:cubicBezTo>
                  <a:pt x="44972" y="39968"/>
                  <a:pt x="45379" y="40375"/>
                  <a:pt x="46067" y="40547"/>
                </a:cubicBezTo>
                <a:cubicBezTo>
                  <a:pt x="46160" y="41204"/>
                  <a:pt x="46176" y="42127"/>
                  <a:pt x="45910" y="42392"/>
                </a:cubicBezTo>
                <a:lnTo>
                  <a:pt x="45879" y="42408"/>
                </a:lnTo>
                <a:cubicBezTo>
                  <a:pt x="45332" y="42940"/>
                  <a:pt x="45019" y="43237"/>
                  <a:pt x="44174" y="43237"/>
                </a:cubicBezTo>
                <a:cubicBezTo>
                  <a:pt x="43815" y="43237"/>
                  <a:pt x="43440" y="43252"/>
                  <a:pt x="43127" y="43252"/>
                </a:cubicBezTo>
                <a:cubicBezTo>
                  <a:pt x="42564" y="43268"/>
                  <a:pt x="42032" y="43283"/>
                  <a:pt x="41814" y="43237"/>
                </a:cubicBezTo>
                <a:cubicBezTo>
                  <a:pt x="41516" y="43190"/>
                  <a:pt x="40390" y="42689"/>
                  <a:pt x="40343" y="41767"/>
                </a:cubicBezTo>
                <a:cubicBezTo>
                  <a:pt x="40312" y="40781"/>
                  <a:pt x="40343" y="35043"/>
                  <a:pt x="40343" y="33651"/>
                </a:cubicBezTo>
                <a:cubicBezTo>
                  <a:pt x="40813" y="33510"/>
                  <a:pt x="41157" y="33057"/>
                  <a:pt x="41157" y="32541"/>
                </a:cubicBezTo>
                <a:cubicBezTo>
                  <a:pt x="41157" y="31900"/>
                  <a:pt x="40641" y="31384"/>
                  <a:pt x="40000" y="31384"/>
                </a:cubicBezTo>
                <a:cubicBezTo>
                  <a:pt x="39358" y="31384"/>
                  <a:pt x="38827" y="31900"/>
                  <a:pt x="38827" y="32541"/>
                </a:cubicBezTo>
                <a:cubicBezTo>
                  <a:pt x="38827" y="33057"/>
                  <a:pt x="39171" y="33510"/>
                  <a:pt x="39640" y="33651"/>
                </a:cubicBezTo>
                <a:cubicBezTo>
                  <a:pt x="39624" y="35058"/>
                  <a:pt x="39593" y="40781"/>
                  <a:pt x="39640" y="41798"/>
                </a:cubicBezTo>
                <a:cubicBezTo>
                  <a:pt x="39655" y="42392"/>
                  <a:pt x="39968" y="42940"/>
                  <a:pt x="40516" y="43377"/>
                </a:cubicBezTo>
                <a:cubicBezTo>
                  <a:pt x="40938" y="43706"/>
                  <a:pt x="41422" y="43893"/>
                  <a:pt x="41688" y="43940"/>
                </a:cubicBezTo>
                <a:cubicBezTo>
                  <a:pt x="41845" y="43971"/>
                  <a:pt x="42064" y="43987"/>
                  <a:pt x="42345" y="43987"/>
                </a:cubicBezTo>
                <a:cubicBezTo>
                  <a:pt x="42580" y="43987"/>
                  <a:pt x="42845" y="43971"/>
                  <a:pt x="43143" y="43971"/>
                </a:cubicBezTo>
                <a:cubicBezTo>
                  <a:pt x="43471" y="43956"/>
                  <a:pt x="43831" y="43956"/>
                  <a:pt x="44174" y="43956"/>
                </a:cubicBezTo>
                <a:cubicBezTo>
                  <a:pt x="45316" y="43956"/>
                  <a:pt x="45785" y="43503"/>
                  <a:pt x="46380" y="42924"/>
                </a:cubicBezTo>
                <a:lnTo>
                  <a:pt x="46411" y="42908"/>
                </a:lnTo>
                <a:cubicBezTo>
                  <a:pt x="46723" y="42595"/>
                  <a:pt x="46880" y="42017"/>
                  <a:pt x="46848" y="41219"/>
                </a:cubicBezTo>
                <a:cubicBezTo>
                  <a:pt x="46833" y="41016"/>
                  <a:pt x="46817" y="40813"/>
                  <a:pt x="46801" y="40656"/>
                </a:cubicBezTo>
                <a:cubicBezTo>
                  <a:pt x="46911" y="40672"/>
                  <a:pt x="47052" y="40672"/>
                  <a:pt x="47193" y="40672"/>
                </a:cubicBezTo>
                <a:cubicBezTo>
                  <a:pt x="47896" y="40656"/>
                  <a:pt x="48428" y="40485"/>
                  <a:pt x="48772" y="40140"/>
                </a:cubicBezTo>
                <a:cubicBezTo>
                  <a:pt x="49132" y="39812"/>
                  <a:pt x="49382" y="39421"/>
                  <a:pt x="49538" y="38937"/>
                </a:cubicBezTo>
                <a:cubicBezTo>
                  <a:pt x="49726" y="38389"/>
                  <a:pt x="49804" y="37686"/>
                  <a:pt x="49804" y="36778"/>
                </a:cubicBezTo>
                <a:cubicBezTo>
                  <a:pt x="49788" y="36575"/>
                  <a:pt x="49804" y="36357"/>
                  <a:pt x="49804" y="36153"/>
                </a:cubicBezTo>
                <a:cubicBezTo>
                  <a:pt x="49835" y="35184"/>
                  <a:pt x="49851" y="34183"/>
                  <a:pt x="49100" y="33276"/>
                </a:cubicBezTo>
                <a:cubicBezTo>
                  <a:pt x="48412" y="32478"/>
                  <a:pt x="47443" y="32369"/>
                  <a:pt x="46880" y="32384"/>
                </a:cubicBezTo>
                <a:close/>
                <a:moveTo>
                  <a:pt x="33713" y="36622"/>
                </a:moveTo>
                <a:cubicBezTo>
                  <a:pt x="33713" y="36372"/>
                  <a:pt x="33916" y="36169"/>
                  <a:pt x="34167" y="36169"/>
                </a:cubicBezTo>
                <a:cubicBezTo>
                  <a:pt x="34417" y="36169"/>
                  <a:pt x="34620" y="36372"/>
                  <a:pt x="34620" y="36622"/>
                </a:cubicBezTo>
                <a:cubicBezTo>
                  <a:pt x="34620" y="36700"/>
                  <a:pt x="34589" y="36763"/>
                  <a:pt x="34558" y="36825"/>
                </a:cubicBezTo>
                <a:cubicBezTo>
                  <a:pt x="34511" y="36841"/>
                  <a:pt x="34479" y="36872"/>
                  <a:pt x="34433" y="36903"/>
                </a:cubicBezTo>
                <a:cubicBezTo>
                  <a:pt x="34401" y="36950"/>
                  <a:pt x="34370" y="36982"/>
                  <a:pt x="34354" y="37029"/>
                </a:cubicBezTo>
                <a:cubicBezTo>
                  <a:pt x="34292" y="37060"/>
                  <a:pt x="34229" y="37076"/>
                  <a:pt x="34167" y="37076"/>
                </a:cubicBezTo>
                <a:cubicBezTo>
                  <a:pt x="33916" y="37076"/>
                  <a:pt x="33713" y="36872"/>
                  <a:pt x="33713" y="36622"/>
                </a:cubicBezTo>
                <a:close/>
                <a:moveTo>
                  <a:pt x="32306" y="39797"/>
                </a:moveTo>
                <a:cubicBezTo>
                  <a:pt x="32556" y="39797"/>
                  <a:pt x="32760" y="40000"/>
                  <a:pt x="32760" y="40250"/>
                </a:cubicBezTo>
                <a:cubicBezTo>
                  <a:pt x="32760" y="40500"/>
                  <a:pt x="32556" y="40703"/>
                  <a:pt x="32306" y="40703"/>
                </a:cubicBezTo>
                <a:cubicBezTo>
                  <a:pt x="32056" y="40703"/>
                  <a:pt x="31852" y="40500"/>
                  <a:pt x="31852" y="40250"/>
                </a:cubicBezTo>
                <a:cubicBezTo>
                  <a:pt x="31852" y="40000"/>
                  <a:pt x="32056" y="39797"/>
                  <a:pt x="32306" y="39797"/>
                </a:cubicBezTo>
                <a:close/>
                <a:moveTo>
                  <a:pt x="27584" y="36169"/>
                </a:moveTo>
                <a:cubicBezTo>
                  <a:pt x="27834" y="36169"/>
                  <a:pt x="28037" y="36372"/>
                  <a:pt x="28037" y="36622"/>
                </a:cubicBezTo>
                <a:cubicBezTo>
                  <a:pt x="28037" y="36872"/>
                  <a:pt x="27834" y="37076"/>
                  <a:pt x="27584" y="37076"/>
                </a:cubicBezTo>
                <a:cubicBezTo>
                  <a:pt x="27333" y="37076"/>
                  <a:pt x="27130" y="36872"/>
                  <a:pt x="27130" y="36622"/>
                </a:cubicBezTo>
                <a:cubicBezTo>
                  <a:pt x="27130" y="36372"/>
                  <a:pt x="27333" y="36169"/>
                  <a:pt x="27584" y="36169"/>
                </a:cubicBezTo>
                <a:close/>
                <a:moveTo>
                  <a:pt x="30993" y="35496"/>
                </a:moveTo>
                <a:cubicBezTo>
                  <a:pt x="30993" y="35747"/>
                  <a:pt x="30789" y="35950"/>
                  <a:pt x="30539" y="35950"/>
                </a:cubicBezTo>
                <a:cubicBezTo>
                  <a:pt x="30289" y="35950"/>
                  <a:pt x="30085" y="35747"/>
                  <a:pt x="30085" y="35496"/>
                </a:cubicBezTo>
                <a:cubicBezTo>
                  <a:pt x="30085" y="35387"/>
                  <a:pt x="30132" y="35277"/>
                  <a:pt x="30195" y="35199"/>
                </a:cubicBezTo>
                <a:lnTo>
                  <a:pt x="30211" y="35184"/>
                </a:lnTo>
                <a:cubicBezTo>
                  <a:pt x="30289" y="35106"/>
                  <a:pt x="30398" y="35043"/>
                  <a:pt x="30539" y="35043"/>
                </a:cubicBezTo>
                <a:cubicBezTo>
                  <a:pt x="30789" y="35043"/>
                  <a:pt x="30993" y="35246"/>
                  <a:pt x="30993" y="35496"/>
                </a:cubicBezTo>
                <a:close/>
                <a:moveTo>
                  <a:pt x="23737" y="34777"/>
                </a:moveTo>
                <a:cubicBezTo>
                  <a:pt x="23487" y="34777"/>
                  <a:pt x="23283" y="34574"/>
                  <a:pt x="23283" y="34323"/>
                </a:cubicBezTo>
                <a:cubicBezTo>
                  <a:pt x="23283" y="34073"/>
                  <a:pt x="23487" y="33870"/>
                  <a:pt x="23737" y="33870"/>
                </a:cubicBezTo>
                <a:cubicBezTo>
                  <a:pt x="23987" y="33870"/>
                  <a:pt x="24190" y="34073"/>
                  <a:pt x="24190" y="34323"/>
                </a:cubicBezTo>
                <a:cubicBezTo>
                  <a:pt x="24190" y="34574"/>
                  <a:pt x="23987" y="34777"/>
                  <a:pt x="23737" y="34777"/>
                </a:cubicBezTo>
                <a:close/>
                <a:moveTo>
                  <a:pt x="33526" y="28631"/>
                </a:moveTo>
                <a:cubicBezTo>
                  <a:pt x="33526" y="28882"/>
                  <a:pt x="33322" y="29085"/>
                  <a:pt x="33072" y="29085"/>
                </a:cubicBezTo>
                <a:cubicBezTo>
                  <a:pt x="32822" y="29085"/>
                  <a:pt x="32634" y="28882"/>
                  <a:pt x="32634" y="28631"/>
                </a:cubicBezTo>
                <a:cubicBezTo>
                  <a:pt x="32634" y="28506"/>
                  <a:pt x="32681" y="28381"/>
                  <a:pt x="32775" y="28303"/>
                </a:cubicBezTo>
                <a:cubicBezTo>
                  <a:pt x="32853" y="28225"/>
                  <a:pt x="32963" y="28178"/>
                  <a:pt x="33072" y="28178"/>
                </a:cubicBezTo>
                <a:cubicBezTo>
                  <a:pt x="33322" y="28178"/>
                  <a:pt x="33526" y="28381"/>
                  <a:pt x="33526" y="28631"/>
                </a:cubicBezTo>
                <a:close/>
                <a:moveTo>
                  <a:pt x="35418" y="33760"/>
                </a:moveTo>
                <a:cubicBezTo>
                  <a:pt x="35167" y="33760"/>
                  <a:pt x="34964" y="33557"/>
                  <a:pt x="34964" y="33307"/>
                </a:cubicBezTo>
                <a:cubicBezTo>
                  <a:pt x="34964" y="33057"/>
                  <a:pt x="35167" y="32854"/>
                  <a:pt x="35418" y="32854"/>
                </a:cubicBezTo>
                <a:cubicBezTo>
                  <a:pt x="35668" y="32854"/>
                  <a:pt x="35871" y="33057"/>
                  <a:pt x="35871" y="33307"/>
                </a:cubicBezTo>
                <a:cubicBezTo>
                  <a:pt x="35871" y="33557"/>
                  <a:pt x="35668" y="33760"/>
                  <a:pt x="35418" y="33760"/>
                </a:cubicBezTo>
                <a:close/>
                <a:moveTo>
                  <a:pt x="31993" y="31837"/>
                </a:moveTo>
                <a:cubicBezTo>
                  <a:pt x="31993" y="32087"/>
                  <a:pt x="31790" y="32291"/>
                  <a:pt x="31540" y="32291"/>
                </a:cubicBezTo>
                <a:cubicBezTo>
                  <a:pt x="31289" y="32291"/>
                  <a:pt x="31086" y="32087"/>
                  <a:pt x="31086" y="31837"/>
                </a:cubicBezTo>
                <a:cubicBezTo>
                  <a:pt x="31086" y="31728"/>
                  <a:pt x="31133" y="31618"/>
                  <a:pt x="31196" y="31540"/>
                </a:cubicBezTo>
                <a:cubicBezTo>
                  <a:pt x="31211" y="31540"/>
                  <a:pt x="31211" y="31540"/>
                  <a:pt x="31211" y="31524"/>
                </a:cubicBezTo>
                <a:cubicBezTo>
                  <a:pt x="31289" y="31446"/>
                  <a:pt x="31414" y="31384"/>
                  <a:pt x="31540" y="31384"/>
                </a:cubicBezTo>
                <a:cubicBezTo>
                  <a:pt x="31790" y="31384"/>
                  <a:pt x="31993" y="31587"/>
                  <a:pt x="31993" y="31837"/>
                </a:cubicBezTo>
                <a:close/>
                <a:moveTo>
                  <a:pt x="37998" y="47693"/>
                </a:moveTo>
                <a:cubicBezTo>
                  <a:pt x="37748" y="47693"/>
                  <a:pt x="37544" y="47490"/>
                  <a:pt x="37544" y="47240"/>
                </a:cubicBezTo>
                <a:cubicBezTo>
                  <a:pt x="37544" y="46990"/>
                  <a:pt x="37748" y="46786"/>
                  <a:pt x="37998" y="46786"/>
                </a:cubicBezTo>
                <a:cubicBezTo>
                  <a:pt x="38232" y="46786"/>
                  <a:pt x="38436" y="46990"/>
                  <a:pt x="38436" y="47240"/>
                </a:cubicBezTo>
                <a:cubicBezTo>
                  <a:pt x="38436" y="47490"/>
                  <a:pt x="38232" y="47693"/>
                  <a:pt x="37998" y="47693"/>
                </a:cubicBezTo>
                <a:close/>
                <a:moveTo>
                  <a:pt x="40187" y="30180"/>
                </a:moveTo>
                <a:cubicBezTo>
                  <a:pt x="39937" y="30180"/>
                  <a:pt x="39733" y="29977"/>
                  <a:pt x="39733" y="29726"/>
                </a:cubicBezTo>
                <a:cubicBezTo>
                  <a:pt x="39733" y="29476"/>
                  <a:pt x="39937" y="29272"/>
                  <a:pt x="40187" y="29272"/>
                </a:cubicBezTo>
                <a:cubicBezTo>
                  <a:pt x="40265" y="29272"/>
                  <a:pt x="40343" y="29304"/>
                  <a:pt x="40421" y="29335"/>
                </a:cubicBezTo>
                <a:cubicBezTo>
                  <a:pt x="40421" y="29351"/>
                  <a:pt x="40432" y="29346"/>
                  <a:pt x="40438" y="29351"/>
                </a:cubicBezTo>
                <a:cubicBezTo>
                  <a:pt x="40563" y="29429"/>
                  <a:pt x="40641" y="29570"/>
                  <a:pt x="40641" y="29726"/>
                </a:cubicBezTo>
                <a:cubicBezTo>
                  <a:pt x="40641" y="29977"/>
                  <a:pt x="40438" y="30180"/>
                  <a:pt x="40187" y="30180"/>
                </a:cubicBezTo>
                <a:close/>
                <a:moveTo>
                  <a:pt x="42001" y="36059"/>
                </a:moveTo>
                <a:cubicBezTo>
                  <a:pt x="41751" y="36059"/>
                  <a:pt x="41547" y="35856"/>
                  <a:pt x="41547" y="35606"/>
                </a:cubicBezTo>
                <a:cubicBezTo>
                  <a:pt x="41547" y="35356"/>
                  <a:pt x="41751" y="35152"/>
                  <a:pt x="42001" y="35152"/>
                </a:cubicBezTo>
                <a:cubicBezTo>
                  <a:pt x="42048" y="35152"/>
                  <a:pt x="42095" y="35152"/>
                  <a:pt x="42142" y="35168"/>
                </a:cubicBezTo>
                <a:cubicBezTo>
                  <a:pt x="42157" y="35184"/>
                  <a:pt x="42157" y="35184"/>
                  <a:pt x="42173" y="35184"/>
                </a:cubicBezTo>
                <a:cubicBezTo>
                  <a:pt x="42329" y="35262"/>
                  <a:pt x="42439" y="35418"/>
                  <a:pt x="42439" y="35606"/>
                </a:cubicBezTo>
                <a:cubicBezTo>
                  <a:pt x="42439" y="35856"/>
                  <a:pt x="42251" y="36059"/>
                  <a:pt x="42001" y="36059"/>
                </a:cubicBezTo>
                <a:close/>
                <a:moveTo>
                  <a:pt x="42486" y="39656"/>
                </a:moveTo>
                <a:cubicBezTo>
                  <a:pt x="42235" y="39656"/>
                  <a:pt x="42032" y="39452"/>
                  <a:pt x="42032" y="39202"/>
                </a:cubicBezTo>
                <a:cubicBezTo>
                  <a:pt x="42032" y="38952"/>
                  <a:pt x="42235" y="38749"/>
                  <a:pt x="42486" y="38749"/>
                </a:cubicBezTo>
                <a:cubicBezTo>
                  <a:pt x="42564" y="38749"/>
                  <a:pt x="42642" y="38780"/>
                  <a:pt x="42720" y="38811"/>
                </a:cubicBezTo>
                <a:lnTo>
                  <a:pt x="42720" y="38827"/>
                </a:lnTo>
                <a:lnTo>
                  <a:pt x="42736" y="38827"/>
                </a:lnTo>
                <a:cubicBezTo>
                  <a:pt x="42861" y="38905"/>
                  <a:pt x="42939" y="39046"/>
                  <a:pt x="42939" y="39202"/>
                </a:cubicBezTo>
                <a:cubicBezTo>
                  <a:pt x="42939" y="39452"/>
                  <a:pt x="42736" y="39656"/>
                  <a:pt x="42486" y="39656"/>
                </a:cubicBezTo>
                <a:close/>
                <a:moveTo>
                  <a:pt x="46364" y="35903"/>
                </a:moveTo>
                <a:cubicBezTo>
                  <a:pt x="46614" y="35903"/>
                  <a:pt x="46817" y="36106"/>
                  <a:pt x="46817" y="36357"/>
                </a:cubicBezTo>
                <a:cubicBezTo>
                  <a:pt x="46817" y="36607"/>
                  <a:pt x="46614" y="36810"/>
                  <a:pt x="46364" y="36810"/>
                </a:cubicBezTo>
                <a:cubicBezTo>
                  <a:pt x="46270" y="36810"/>
                  <a:pt x="46160" y="36763"/>
                  <a:pt x="46082" y="36700"/>
                </a:cubicBezTo>
                <a:cubicBezTo>
                  <a:pt x="45973" y="36607"/>
                  <a:pt x="45926" y="36482"/>
                  <a:pt x="45926" y="36357"/>
                </a:cubicBezTo>
                <a:cubicBezTo>
                  <a:pt x="45926" y="36106"/>
                  <a:pt x="46129" y="35903"/>
                  <a:pt x="46364" y="35903"/>
                </a:cubicBezTo>
                <a:close/>
                <a:moveTo>
                  <a:pt x="40000" y="32087"/>
                </a:moveTo>
                <a:cubicBezTo>
                  <a:pt x="40250" y="32087"/>
                  <a:pt x="40438" y="32291"/>
                  <a:pt x="40438" y="32541"/>
                </a:cubicBezTo>
                <a:cubicBezTo>
                  <a:pt x="40438" y="32791"/>
                  <a:pt x="40250" y="32994"/>
                  <a:pt x="40000" y="32994"/>
                </a:cubicBezTo>
                <a:cubicBezTo>
                  <a:pt x="39749" y="32994"/>
                  <a:pt x="39546" y="32791"/>
                  <a:pt x="39546" y="32541"/>
                </a:cubicBezTo>
                <a:cubicBezTo>
                  <a:pt x="39546" y="32291"/>
                  <a:pt x="39749" y="32087"/>
                  <a:pt x="40000" y="32087"/>
                </a:cubicBezTo>
                <a:close/>
                <a:moveTo>
                  <a:pt x="81016" y="28913"/>
                </a:moveTo>
                <a:cubicBezTo>
                  <a:pt x="80265" y="28038"/>
                  <a:pt x="79405" y="27083"/>
                  <a:pt x="78686" y="26317"/>
                </a:cubicBezTo>
                <a:cubicBezTo>
                  <a:pt x="78263" y="25848"/>
                  <a:pt x="77904" y="25457"/>
                  <a:pt x="77654" y="25160"/>
                </a:cubicBezTo>
                <a:cubicBezTo>
                  <a:pt x="76966" y="24394"/>
                  <a:pt x="76872" y="23675"/>
                  <a:pt x="76872" y="23018"/>
                </a:cubicBezTo>
                <a:cubicBezTo>
                  <a:pt x="76872" y="22283"/>
                  <a:pt x="76700" y="21751"/>
                  <a:pt x="76340" y="21391"/>
                </a:cubicBezTo>
                <a:cubicBezTo>
                  <a:pt x="75996" y="21032"/>
                  <a:pt x="75480" y="20797"/>
                  <a:pt x="74917" y="20703"/>
                </a:cubicBezTo>
                <a:cubicBezTo>
                  <a:pt x="74385" y="20625"/>
                  <a:pt x="73885" y="20688"/>
                  <a:pt x="73557" y="20891"/>
                </a:cubicBezTo>
                <a:cubicBezTo>
                  <a:pt x="73463" y="20953"/>
                  <a:pt x="73401" y="21063"/>
                  <a:pt x="73385" y="21173"/>
                </a:cubicBezTo>
                <a:cubicBezTo>
                  <a:pt x="73369" y="21282"/>
                  <a:pt x="73416" y="21391"/>
                  <a:pt x="73510" y="21470"/>
                </a:cubicBezTo>
                <a:lnTo>
                  <a:pt x="74636" y="22455"/>
                </a:lnTo>
                <a:lnTo>
                  <a:pt x="74464" y="23252"/>
                </a:lnTo>
                <a:lnTo>
                  <a:pt x="73791" y="23534"/>
                </a:lnTo>
                <a:lnTo>
                  <a:pt x="72603" y="22486"/>
                </a:lnTo>
                <a:cubicBezTo>
                  <a:pt x="72509" y="22392"/>
                  <a:pt x="72384" y="22377"/>
                  <a:pt x="72259" y="22408"/>
                </a:cubicBezTo>
                <a:cubicBezTo>
                  <a:pt x="72134" y="22439"/>
                  <a:pt x="72056" y="22549"/>
                  <a:pt x="72025" y="22674"/>
                </a:cubicBezTo>
                <a:cubicBezTo>
                  <a:pt x="72009" y="22736"/>
                  <a:pt x="71680" y="24238"/>
                  <a:pt x="72634" y="25129"/>
                </a:cubicBezTo>
                <a:cubicBezTo>
                  <a:pt x="72978" y="25457"/>
                  <a:pt x="73401" y="25661"/>
                  <a:pt x="73854" y="25692"/>
                </a:cubicBezTo>
                <a:lnTo>
                  <a:pt x="73870" y="25692"/>
                </a:lnTo>
                <a:cubicBezTo>
                  <a:pt x="74964" y="25754"/>
                  <a:pt x="75215" y="25911"/>
                  <a:pt x="75793" y="26567"/>
                </a:cubicBezTo>
                <a:cubicBezTo>
                  <a:pt x="76028" y="26833"/>
                  <a:pt x="76466" y="27396"/>
                  <a:pt x="77075" y="28163"/>
                </a:cubicBezTo>
                <a:cubicBezTo>
                  <a:pt x="77560" y="28788"/>
                  <a:pt x="78170" y="29570"/>
                  <a:pt x="78905" y="30492"/>
                </a:cubicBezTo>
                <a:cubicBezTo>
                  <a:pt x="78873" y="30649"/>
                  <a:pt x="78842" y="30805"/>
                  <a:pt x="78842" y="30977"/>
                </a:cubicBezTo>
                <a:cubicBezTo>
                  <a:pt x="78842" y="32119"/>
                  <a:pt x="79781" y="33041"/>
                  <a:pt x="80906" y="33041"/>
                </a:cubicBezTo>
                <a:cubicBezTo>
                  <a:pt x="82048" y="33041"/>
                  <a:pt x="82986" y="32119"/>
                  <a:pt x="82986" y="30977"/>
                </a:cubicBezTo>
                <a:cubicBezTo>
                  <a:pt x="82986" y="29867"/>
                  <a:pt x="82110" y="28960"/>
                  <a:pt x="81016" y="28913"/>
                </a:cubicBezTo>
                <a:close/>
                <a:moveTo>
                  <a:pt x="80906" y="32322"/>
                </a:moveTo>
                <a:cubicBezTo>
                  <a:pt x="80171" y="32322"/>
                  <a:pt x="79561" y="31728"/>
                  <a:pt x="79561" y="30977"/>
                </a:cubicBezTo>
                <a:cubicBezTo>
                  <a:pt x="79561" y="30821"/>
                  <a:pt x="79593" y="30680"/>
                  <a:pt x="79640" y="30539"/>
                </a:cubicBezTo>
                <a:cubicBezTo>
                  <a:pt x="79671" y="30414"/>
                  <a:pt x="79656" y="30289"/>
                  <a:pt x="79577" y="30195"/>
                </a:cubicBezTo>
                <a:cubicBezTo>
                  <a:pt x="78795" y="29210"/>
                  <a:pt x="78154" y="28381"/>
                  <a:pt x="77638" y="27725"/>
                </a:cubicBezTo>
                <a:cubicBezTo>
                  <a:pt x="76997" y="26912"/>
                  <a:pt x="76575" y="26364"/>
                  <a:pt x="76324" y="26082"/>
                </a:cubicBezTo>
                <a:cubicBezTo>
                  <a:pt x="75621" y="25301"/>
                  <a:pt x="75199" y="25051"/>
                  <a:pt x="73917" y="24988"/>
                </a:cubicBezTo>
                <a:cubicBezTo>
                  <a:pt x="73619" y="24957"/>
                  <a:pt x="73354" y="24832"/>
                  <a:pt x="73119" y="24613"/>
                </a:cubicBezTo>
                <a:cubicBezTo>
                  <a:pt x="72806" y="24300"/>
                  <a:pt x="72697" y="23862"/>
                  <a:pt x="72681" y="23502"/>
                </a:cubicBezTo>
                <a:lnTo>
                  <a:pt x="73494" y="24222"/>
                </a:lnTo>
                <a:cubicBezTo>
                  <a:pt x="73588" y="24316"/>
                  <a:pt x="73744" y="24347"/>
                  <a:pt x="73870" y="24285"/>
                </a:cubicBezTo>
                <a:lnTo>
                  <a:pt x="74917" y="23831"/>
                </a:lnTo>
                <a:cubicBezTo>
                  <a:pt x="75011" y="23784"/>
                  <a:pt x="75089" y="23690"/>
                  <a:pt x="75120" y="23581"/>
                </a:cubicBezTo>
                <a:lnTo>
                  <a:pt x="75386" y="22408"/>
                </a:lnTo>
                <a:cubicBezTo>
                  <a:pt x="75402" y="22283"/>
                  <a:pt x="75371" y="22142"/>
                  <a:pt x="75261" y="22064"/>
                </a:cubicBezTo>
                <a:lnTo>
                  <a:pt x="74495" y="21391"/>
                </a:lnTo>
                <a:cubicBezTo>
                  <a:pt x="74933" y="21391"/>
                  <a:pt x="75496" y="21548"/>
                  <a:pt x="75824" y="21892"/>
                </a:cubicBezTo>
                <a:cubicBezTo>
                  <a:pt x="76059" y="22111"/>
                  <a:pt x="76153" y="22486"/>
                  <a:pt x="76153" y="23018"/>
                </a:cubicBezTo>
                <a:cubicBezTo>
                  <a:pt x="76153" y="23784"/>
                  <a:pt x="76278" y="24675"/>
                  <a:pt x="77107" y="25629"/>
                </a:cubicBezTo>
                <a:cubicBezTo>
                  <a:pt x="77372" y="25942"/>
                  <a:pt x="77748" y="26333"/>
                  <a:pt x="78170" y="26802"/>
                </a:cubicBezTo>
                <a:cubicBezTo>
                  <a:pt x="78905" y="27600"/>
                  <a:pt x="79812" y="28600"/>
                  <a:pt x="80578" y="29492"/>
                </a:cubicBezTo>
                <a:cubicBezTo>
                  <a:pt x="80640" y="29585"/>
                  <a:pt x="80750" y="29632"/>
                  <a:pt x="80875" y="29632"/>
                </a:cubicBezTo>
                <a:cubicBezTo>
                  <a:pt x="80875" y="29617"/>
                  <a:pt x="80890" y="29617"/>
                  <a:pt x="80906" y="29617"/>
                </a:cubicBezTo>
                <a:lnTo>
                  <a:pt x="80922" y="29617"/>
                </a:lnTo>
                <a:cubicBezTo>
                  <a:pt x="81657" y="29617"/>
                  <a:pt x="82267" y="30227"/>
                  <a:pt x="82267" y="30977"/>
                </a:cubicBezTo>
                <a:cubicBezTo>
                  <a:pt x="82267" y="31728"/>
                  <a:pt x="81657" y="32322"/>
                  <a:pt x="80906" y="32322"/>
                </a:cubicBezTo>
                <a:close/>
                <a:moveTo>
                  <a:pt x="80609" y="30445"/>
                </a:moveTo>
                <a:lnTo>
                  <a:pt x="80281" y="31008"/>
                </a:lnTo>
                <a:lnTo>
                  <a:pt x="80609" y="31587"/>
                </a:lnTo>
                <a:lnTo>
                  <a:pt x="81266" y="31587"/>
                </a:lnTo>
                <a:lnTo>
                  <a:pt x="81595" y="31008"/>
                </a:lnTo>
                <a:lnTo>
                  <a:pt x="81266" y="30445"/>
                </a:lnTo>
                <a:close/>
                <a:moveTo>
                  <a:pt x="73401" y="30743"/>
                </a:moveTo>
                <a:lnTo>
                  <a:pt x="64409" y="30743"/>
                </a:lnTo>
                <a:cubicBezTo>
                  <a:pt x="64002" y="30743"/>
                  <a:pt x="63674" y="31040"/>
                  <a:pt x="63643" y="31446"/>
                </a:cubicBezTo>
                <a:lnTo>
                  <a:pt x="63205" y="36090"/>
                </a:lnTo>
                <a:cubicBezTo>
                  <a:pt x="63174" y="36309"/>
                  <a:pt x="63252" y="36513"/>
                  <a:pt x="63393" y="36669"/>
                </a:cubicBezTo>
                <a:cubicBezTo>
                  <a:pt x="63533" y="36825"/>
                  <a:pt x="63737" y="36919"/>
                  <a:pt x="63940" y="36919"/>
                </a:cubicBezTo>
                <a:lnTo>
                  <a:pt x="73870" y="36919"/>
                </a:lnTo>
                <a:cubicBezTo>
                  <a:pt x="74089" y="36919"/>
                  <a:pt x="74292" y="36825"/>
                  <a:pt x="74432" y="36669"/>
                </a:cubicBezTo>
                <a:cubicBezTo>
                  <a:pt x="74573" y="36513"/>
                  <a:pt x="74636" y="36309"/>
                  <a:pt x="74620" y="36106"/>
                </a:cubicBezTo>
                <a:lnTo>
                  <a:pt x="74182" y="31446"/>
                </a:lnTo>
                <a:cubicBezTo>
                  <a:pt x="74135" y="31040"/>
                  <a:pt x="73807" y="30743"/>
                  <a:pt x="73401" y="30743"/>
                </a:cubicBezTo>
                <a:close/>
                <a:moveTo>
                  <a:pt x="73901" y="36184"/>
                </a:moveTo>
                <a:cubicBezTo>
                  <a:pt x="73885" y="36200"/>
                  <a:pt x="73885" y="36200"/>
                  <a:pt x="73870" y="36200"/>
                </a:cubicBezTo>
                <a:lnTo>
                  <a:pt x="63940" y="36200"/>
                </a:lnTo>
                <a:cubicBezTo>
                  <a:pt x="63924" y="36200"/>
                  <a:pt x="63924" y="36200"/>
                  <a:pt x="63924" y="36184"/>
                </a:cubicBezTo>
                <a:cubicBezTo>
                  <a:pt x="63909" y="36184"/>
                  <a:pt x="63914" y="36174"/>
                  <a:pt x="63909" y="36169"/>
                </a:cubicBezTo>
                <a:lnTo>
                  <a:pt x="64347" y="31509"/>
                </a:lnTo>
                <a:cubicBezTo>
                  <a:pt x="64347" y="31478"/>
                  <a:pt x="64378" y="31462"/>
                  <a:pt x="64409" y="31462"/>
                </a:cubicBezTo>
                <a:lnTo>
                  <a:pt x="73401" y="31462"/>
                </a:lnTo>
                <a:cubicBezTo>
                  <a:pt x="73432" y="31462"/>
                  <a:pt x="73463" y="31478"/>
                  <a:pt x="73463" y="31509"/>
                </a:cubicBezTo>
                <a:lnTo>
                  <a:pt x="73901" y="36169"/>
                </a:lnTo>
                <a:close/>
                <a:moveTo>
                  <a:pt x="64065" y="38717"/>
                </a:moveTo>
                <a:cubicBezTo>
                  <a:pt x="63393" y="38717"/>
                  <a:pt x="62845" y="39249"/>
                  <a:pt x="62845" y="39922"/>
                </a:cubicBezTo>
                <a:cubicBezTo>
                  <a:pt x="62845" y="40594"/>
                  <a:pt x="63393" y="41141"/>
                  <a:pt x="64065" y="41141"/>
                </a:cubicBezTo>
                <a:cubicBezTo>
                  <a:pt x="64722" y="41141"/>
                  <a:pt x="65269" y="40594"/>
                  <a:pt x="65269" y="39922"/>
                </a:cubicBezTo>
                <a:cubicBezTo>
                  <a:pt x="65269" y="39249"/>
                  <a:pt x="64722" y="38717"/>
                  <a:pt x="64065" y="38717"/>
                </a:cubicBezTo>
                <a:close/>
                <a:moveTo>
                  <a:pt x="64065" y="40422"/>
                </a:moveTo>
                <a:cubicBezTo>
                  <a:pt x="63784" y="40422"/>
                  <a:pt x="63565" y="40203"/>
                  <a:pt x="63565" y="39922"/>
                </a:cubicBezTo>
                <a:cubicBezTo>
                  <a:pt x="63565" y="39656"/>
                  <a:pt x="63784" y="39421"/>
                  <a:pt x="64065" y="39421"/>
                </a:cubicBezTo>
                <a:cubicBezTo>
                  <a:pt x="64331" y="39421"/>
                  <a:pt x="64565" y="39656"/>
                  <a:pt x="64565" y="39922"/>
                </a:cubicBezTo>
                <a:cubicBezTo>
                  <a:pt x="64565" y="40203"/>
                  <a:pt x="64331" y="40422"/>
                  <a:pt x="64065" y="40422"/>
                </a:cubicBezTo>
                <a:close/>
                <a:moveTo>
                  <a:pt x="75183" y="30586"/>
                </a:moveTo>
                <a:lnTo>
                  <a:pt x="75105" y="30008"/>
                </a:lnTo>
                <a:cubicBezTo>
                  <a:pt x="75011" y="29429"/>
                  <a:pt x="74511" y="28960"/>
                  <a:pt x="73838" y="28866"/>
                </a:cubicBezTo>
                <a:cubicBezTo>
                  <a:pt x="73134" y="28757"/>
                  <a:pt x="72415" y="28679"/>
                  <a:pt x="71696" y="28616"/>
                </a:cubicBezTo>
                <a:cubicBezTo>
                  <a:pt x="71680" y="28600"/>
                  <a:pt x="71665" y="28569"/>
                  <a:pt x="71649" y="28553"/>
                </a:cubicBezTo>
                <a:cubicBezTo>
                  <a:pt x="71149" y="27803"/>
                  <a:pt x="71055" y="27709"/>
                  <a:pt x="70945" y="27646"/>
                </a:cubicBezTo>
                <a:cubicBezTo>
                  <a:pt x="70914" y="27631"/>
                  <a:pt x="70883" y="27631"/>
                  <a:pt x="70852" y="27615"/>
                </a:cubicBezTo>
                <a:cubicBezTo>
                  <a:pt x="70554" y="27553"/>
                  <a:pt x="67192" y="27553"/>
                  <a:pt x="66817" y="27631"/>
                </a:cubicBezTo>
                <a:cubicBezTo>
                  <a:pt x="66786" y="27631"/>
                  <a:pt x="66754" y="27646"/>
                  <a:pt x="66723" y="27662"/>
                </a:cubicBezTo>
                <a:cubicBezTo>
                  <a:pt x="66614" y="27725"/>
                  <a:pt x="66551" y="27818"/>
                  <a:pt x="66254" y="28350"/>
                </a:cubicBezTo>
                <a:cubicBezTo>
                  <a:pt x="66208" y="28444"/>
                  <a:pt x="66161" y="28538"/>
                  <a:pt x="66113" y="28616"/>
                </a:cubicBezTo>
                <a:cubicBezTo>
                  <a:pt x="65410" y="28679"/>
                  <a:pt x="64706" y="28757"/>
                  <a:pt x="64034" y="28851"/>
                </a:cubicBezTo>
                <a:cubicBezTo>
                  <a:pt x="63314" y="28960"/>
                  <a:pt x="62798" y="29414"/>
                  <a:pt x="62720" y="30008"/>
                </a:cubicBezTo>
                <a:lnTo>
                  <a:pt x="62626" y="30570"/>
                </a:lnTo>
                <a:cubicBezTo>
                  <a:pt x="62455" y="31774"/>
                  <a:pt x="62017" y="34605"/>
                  <a:pt x="61876" y="36544"/>
                </a:cubicBezTo>
                <a:lnTo>
                  <a:pt x="61876" y="36560"/>
                </a:lnTo>
                <a:lnTo>
                  <a:pt x="61876" y="42079"/>
                </a:lnTo>
                <a:cubicBezTo>
                  <a:pt x="61876" y="42439"/>
                  <a:pt x="62142" y="42736"/>
                  <a:pt x="62501" y="42799"/>
                </a:cubicBezTo>
                <a:cubicBezTo>
                  <a:pt x="62517" y="42815"/>
                  <a:pt x="62548" y="42815"/>
                  <a:pt x="62564" y="42815"/>
                </a:cubicBezTo>
                <a:cubicBezTo>
                  <a:pt x="62595" y="42815"/>
                  <a:pt x="62751" y="42815"/>
                  <a:pt x="62939" y="42830"/>
                </a:cubicBezTo>
                <a:cubicBezTo>
                  <a:pt x="63080" y="42830"/>
                  <a:pt x="63283" y="42846"/>
                  <a:pt x="63502" y="42862"/>
                </a:cubicBezTo>
                <a:cubicBezTo>
                  <a:pt x="63361" y="43205"/>
                  <a:pt x="63096" y="43815"/>
                  <a:pt x="62736" y="44691"/>
                </a:cubicBezTo>
                <a:cubicBezTo>
                  <a:pt x="62705" y="44738"/>
                  <a:pt x="62611" y="44972"/>
                  <a:pt x="62548" y="45254"/>
                </a:cubicBezTo>
                <a:cubicBezTo>
                  <a:pt x="62439" y="45723"/>
                  <a:pt x="62486" y="46130"/>
                  <a:pt x="62673" y="46427"/>
                </a:cubicBezTo>
                <a:cubicBezTo>
                  <a:pt x="62924" y="46833"/>
                  <a:pt x="63377" y="47036"/>
                  <a:pt x="64049" y="47036"/>
                </a:cubicBezTo>
                <a:lnTo>
                  <a:pt x="73807" y="47036"/>
                </a:lnTo>
                <a:cubicBezTo>
                  <a:pt x="73838" y="47036"/>
                  <a:pt x="73870" y="47021"/>
                  <a:pt x="73901" y="47021"/>
                </a:cubicBezTo>
                <a:cubicBezTo>
                  <a:pt x="73917" y="47005"/>
                  <a:pt x="74151" y="46943"/>
                  <a:pt x="74417" y="46802"/>
                </a:cubicBezTo>
                <a:cubicBezTo>
                  <a:pt x="74808" y="46583"/>
                  <a:pt x="75073" y="46317"/>
                  <a:pt x="75215" y="46005"/>
                </a:cubicBezTo>
                <a:cubicBezTo>
                  <a:pt x="75340" y="45739"/>
                  <a:pt x="75418" y="45316"/>
                  <a:pt x="75136" y="44769"/>
                </a:cubicBezTo>
                <a:cubicBezTo>
                  <a:pt x="74761" y="44003"/>
                  <a:pt x="74417" y="43299"/>
                  <a:pt x="74214" y="42862"/>
                </a:cubicBezTo>
                <a:cubicBezTo>
                  <a:pt x="74527" y="42846"/>
                  <a:pt x="74422" y="42851"/>
                  <a:pt x="74527" y="42846"/>
                </a:cubicBezTo>
                <a:lnTo>
                  <a:pt x="74542" y="42846"/>
                </a:lnTo>
                <a:cubicBezTo>
                  <a:pt x="75011" y="42830"/>
                  <a:pt x="75308" y="42799"/>
                  <a:pt x="75324" y="42799"/>
                </a:cubicBezTo>
                <a:lnTo>
                  <a:pt x="75355" y="42799"/>
                </a:lnTo>
                <a:cubicBezTo>
                  <a:pt x="75683" y="42736"/>
                  <a:pt x="75934" y="42424"/>
                  <a:pt x="75934" y="42079"/>
                </a:cubicBezTo>
                <a:lnTo>
                  <a:pt x="75934" y="36544"/>
                </a:lnTo>
                <a:lnTo>
                  <a:pt x="75934" y="36528"/>
                </a:lnTo>
                <a:cubicBezTo>
                  <a:pt x="75793" y="34621"/>
                  <a:pt x="75371" y="31790"/>
                  <a:pt x="75183" y="30586"/>
                </a:cubicBezTo>
                <a:close/>
                <a:moveTo>
                  <a:pt x="66958" y="28553"/>
                </a:moveTo>
                <a:cubicBezTo>
                  <a:pt x="67005" y="28459"/>
                  <a:pt x="67067" y="28381"/>
                  <a:pt x="67099" y="28319"/>
                </a:cubicBezTo>
                <a:cubicBezTo>
                  <a:pt x="67724" y="28272"/>
                  <a:pt x="70039" y="28272"/>
                  <a:pt x="70617" y="28303"/>
                </a:cubicBezTo>
                <a:cubicBezTo>
                  <a:pt x="70664" y="28366"/>
                  <a:pt x="70727" y="28459"/>
                  <a:pt x="70789" y="28553"/>
                </a:cubicBezTo>
                <a:cubicBezTo>
                  <a:pt x="70023" y="28506"/>
                  <a:pt x="69256" y="28491"/>
                  <a:pt x="68475" y="28506"/>
                </a:cubicBezTo>
                <a:cubicBezTo>
                  <a:pt x="67959" y="28506"/>
                  <a:pt x="67443" y="28522"/>
                  <a:pt x="66958" y="28553"/>
                </a:cubicBezTo>
                <a:close/>
                <a:moveTo>
                  <a:pt x="74495" y="45082"/>
                </a:moveTo>
                <a:cubicBezTo>
                  <a:pt x="74620" y="45332"/>
                  <a:pt x="74652" y="45535"/>
                  <a:pt x="74573" y="45707"/>
                </a:cubicBezTo>
                <a:cubicBezTo>
                  <a:pt x="74417" y="46036"/>
                  <a:pt x="73964" y="46239"/>
                  <a:pt x="73744" y="46317"/>
                </a:cubicBezTo>
                <a:lnTo>
                  <a:pt x="64049" y="46317"/>
                </a:lnTo>
                <a:cubicBezTo>
                  <a:pt x="63768" y="46317"/>
                  <a:pt x="63424" y="46270"/>
                  <a:pt x="63283" y="46052"/>
                </a:cubicBezTo>
                <a:cubicBezTo>
                  <a:pt x="63096" y="45754"/>
                  <a:pt x="63299" y="45176"/>
                  <a:pt x="63377" y="44988"/>
                </a:cubicBezTo>
                <a:lnTo>
                  <a:pt x="63393" y="44972"/>
                </a:lnTo>
                <a:cubicBezTo>
                  <a:pt x="63706" y="44222"/>
                  <a:pt x="64174" y="43127"/>
                  <a:pt x="64269" y="42893"/>
                </a:cubicBezTo>
                <a:lnTo>
                  <a:pt x="68584" y="43033"/>
                </a:lnTo>
                <a:cubicBezTo>
                  <a:pt x="68693" y="43049"/>
                  <a:pt x="68819" y="43049"/>
                  <a:pt x="68928" y="43049"/>
                </a:cubicBezTo>
                <a:cubicBezTo>
                  <a:pt x="69038" y="43049"/>
                  <a:pt x="69147" y="43049"/>
                  <a:pt x="69256" y="43033"/>
                </a:cubicBezTo>
                <a:lnTo>
                  <a:pt x="73432" y="42893"/>
                </a:lnTo>
                <a:cubicBezTo>
                  <a:pt x="73619" y="43283"/>
                  <a:pt x="74026" y="44144"/>
                  <a:pt x="74495" y="45082"/>
                </a:cubicBezTo>
                <a:close/>
                <a:moveTo>
                  <a:pt x="75215" y="42079"/>
                </a:moveTo>
                <a:lnTo>
                  <a:pt x="75215" y="42095"/>
                </a:lnTo>
                <a:cubicBezTo>
                  <a:pt x="75105" y="42095"/>
                  <a:pt x="74855" y="42111"/>
                  <a:pt x="74495" y="42127"/>
                </a:cubicBezTo>
                <a:lnTo>
                  <a:pt x="73666" y="42158"/>
                </a:lnTo>
                <a:lnTo>
                  <a:pt x="73635" y="42158"/>
                </a:lnTo>
                <a:lnTo>
                  <a:pt x="69225" y="42330"/>
                </a:lnTo>
                <a:lnTo>
                  <a:pt x="68615" y="42330"/>
                </a:lnTo>
                <a:cubicBezTo>
                  <a:pt x="63565" y="42142"/>
                  <a:pt x="65248" y="42205"/>
                  <a:pt x="63565" y="42142"/>
                </a:cubicBezTo>
                <a:lnTo>
                  <a:pt x="63549" y="42142"/>
                </a:lnTo>
                <a:cubicBezTo>
                  <a:pt x="63330" y="42127"/>
                  <a:pt x="63127" y="42127"/>
                  <a:pt x="62971" y="42111"/>
                </a:cubicBezTo>
                <a:cubicBezTo>
                  <a:pt x="62767" y="42111"/>
                  <a:pt x="62658" y="42095"/>
                  <a:pt x="62611" y="42095"/>
                </a:cubicBezTo>
                <a:lnTo>
                  <a:pt x="62595" y="42079"/>
                </a:lnTo>
                <a:lnTo>
                  <a:pt x="62595" y="36575"/>
                </a:lnTo>
                <a:cubicBezTo>
                  <a:pt x="62736" y="34668"/>
                  <a:pt x="63158" y="31884"/>
                  <a:pt x="63346" y="30680"/>
                </a:cubicBezTo>
                <a:lnTo>
                  <a:pt x="63424" y="30117"/>
                </a:lnTo>
                <a:cubicBezTo>
                  <a:pt x="63455" y="29835"/>
                  <a:pt x="63737" y="29617"/>
                  <a:pt x="64127" y="29570"/>
                </a:cubicBezTo>
                <a:cubicBezTo>
                  <a:pt x="65582" y="29351"/>
                  <a:pt x="67067" y="29226"/>
                  <a:pt x="68568" y="29210"/>
                </a:cubicBezTo>
                <a:cubicBezTo>
                  <a:pt x="69569" y="29210"/>
                  <a:pt x="70601" y="29241"/>
                  <a:pt x="71462" y="29320"/>
                </a:cubicBezTo>
                <a:lnTo>
                  <a:pt x="71493" y="29320"/>
                </a:lnTo>
                <a:lnTo>
                  <a:pt x="71508" y="29320"/>
                </a:lnTo>
                <a:cubicBezTo>
                  <a:pt x="72259" y="29382"/>
                  <a:pt x="72994" y="29460"/>
                  <a:pt x="73729" y="29570"/>
                </a:cubicBezTo>
                <a:cubicBezTo>
                  <a:pt x="74089" y="29632"/>
                  <a:pt x="74354" y="29835"/>
                  <a:pt x="74385" y="30117"/>
                </a:cubicBezTo>
                <a:lnTo>
                  <a:pt x="74479" y="30665"/>
                </a:lnTo>
                <a:lnTo>
                  <a:pt x="74479" y="30696"/>
                </a:lnTo>
                <a:cubicBezTo>
                  <a:pt x="74667" y="31884"/>
                  <a:pt x="75089" y="34683"/>
                  <a:pt x="75215" y="36560"/>
                </a:cubicBezTo>
                <a:close/>
                <a:moveTo>
                  <a:pt x="73744" y="38717"/>
                </a:moveTo>
                <a:cubicBezTo>
                  <a:pt x="73072" y="38717"/>
                  <a:pt x="72525" y="39249"/>
                  <a:pt x="72525" y="39922"/>
                </a:cubicBezTo>
                <a:cubicBezTo>
                  <a:pt x="72525" y="40594"/>
                  <a:pt x="73072" y="41141"/>
                  <a:pt x="73744" y="41141"/>
                </a:cubicBezTo>
                <a:cubicBezTo>
                  <a:pt x="74417" y="41141"/>
                  <a:pt x="74964" y="40594"/>
                  <a:pt x="74964" y="39922"/>
                </a:cubicBezTo>
                <a:cubicBezTo>
                  <a:pt x="74964" y="39249"/>
                  <a:pt x="74417" y="38717"/>
                  <a:pt x="73744" y="38717"/>
                </a:cubicBezTo>
                <a:close/>
                <a:moveTo>
                  <a:pt x="73744" y="40422"/>
                </a:moveTo>
                <a:cubicBezTo>
                  <a:pt x="73463" y="40422"/>
                  <a:pt x="73244" y="40203"/>
                  <a:pt x="73244" y="39922"/>
                </a:cubicBezTo>
                <a:cubicBezTo>
                  <a:pt x="73244" y="39656"/>
                  <a:pt x="73463" y="39421"/>
                  <a:pt x="73744" y="39421"/>
                </a:cubicBezTo>
                <a:cubicBezTo>
                  <a:pt x="74026" y="39421"/>
                  <a:pt x="74245" y="39656"/>
                  <a:pt x="74245" y="39922"/>
                </a:cubicBezTo>
                <a:cubicBezTo>
                  <a:pt x="74245" y="40203"/>
                  <a:pt x="74026" y="40422"/>
                  <a:pt x="73744" y="40422"/>
                </a:cubicBezTo>
                <a:close/>
                <a:moveTo>
                  <a:pt x="64174" y="45176"/>
                </a:moveTo>
                <a:cubicBezTo>
                  <a:pt x="64174" y="45364"/>
                  <a:pt x="64331" y="45535"/>
                  <a:pt x="64534" y="45535"/>
                </a:cubicBezTo>
                <a:lnTo>
                  <a:pt x="73276" y="45535"/>
                </a:lnTo>
                <a:cubicBezTo>
                  <a:pt x="73479" y="45535"/>
                  <a:pt x="73635" y="45364"/>
                  <a:pt x="73635" y="45176"/>
                </a:cubicBezTo>
                <a:cubicBezTo>
                  <a:pt x="73635" y="44972"/>
                  <a:pt x="73479" y="44816"/>
                  <a:pt x="73276" y="44816"/>
                </a:cubicBezTo>
                <a:lnTo>
                  <a:pt x="64534" y="44816"/>
                </a:lnTo>
                <a:cubicBezTo>
                  <a:pt x="64331" y="44816"/>
                  <a:pt x="64174" y="44972"/>
                  <a:pt x="64174" y="45176"/>
                </a:cubicBezTo>
                <a:close/>
                <a:moveTo>
                  <a:pt x="64644" y="44018"/>
                </a:moveTo>
                <a:cubicBezTo>
                  <a:pt x="64644" y="44206"/>
                  <a:pt x="64800" y="44378"/>
                  <a:pt x="65003" y="44378"/>
                </a:cubicBezTo>
                <a:lnTo>
                  <a:pt x="72822" y="44378"/>
                </a:lnTo>
                <a:cubicBezTo>
                  <a:pt x="73009" y="44378"/>
                  <a:pt x="73181" y="44206"/>
                  <a:pt x="73181" y="44018"/>
                </a:cubicBezTo>
                <a:cubicBezTo>
                  <a:pt x="73181" y="43815"/>
                  <a:pt x="73009" y="43659"/>
                  <a:pt x="72822" y="43659"/>
                </a:cubicBezTo>
                <a:lnTo>
                  <a:pt x="65003" y="43659"/>
                </a:lnTo>
                <a:cubicBezTo>
                  <a:pt x="64800" y="43659"/>
                  <a:pt x="64644" y="43815"/>
                  <a:pt x="64644" y="44018"/>
                </a:cubicBezTo>
                <a:close/>
                <a:moveTo>
                  <a:pt x="30476" y="9069"/>
                </a:moveTo>
                <a:cubicBezTo>
                  <a:pt x="30539" y="9132"/>
                  <a:pt x="30633" y="9163"/>
                  <a:pt x="30726" y="9163"/>
                </a:cubicBezTo>
                <a:lnTo>
                  <a:pt x="33854" y="9163"/>
                </a:lnTo>
                <a:cubicBezTo>
                  <a:pt x="33948" y="9163"/>
                  <a:pt x="34042" y="9132"/>
                  <a:pt x="34104" y="9069"/>
                </a:cubicBezTo>
                <a:lnTo>
                  <a:pt x="34620" y="8553"/>
                </a:lnTo>
                <a:cubicBezTo>
                  <a:pt x="34683" y="8491"/>
                  <a:pt x="34730" y="8397"/>
                  <a:pt x="34730" y="8303"/>
                </a:cubicBezTo>
                <a:lnTo>
                  <a:pt x="34730" y="5363"/>
                </a:lnTo>
                <a:cubicBezTo>
                  <a:pt x="34730" y="5270"/>
                  <a:pt x="34683" y="5191"/>
                  <a:pt x="34620" y="5113"/>
                </a:cubicBezTo>
                <a:lnTo>
                  <a:pt x="34104" y="4613"/>
                </a:lnTo>
                <a:cubicBezTo>
                  <a:pt x="34042" y="4535"/>
                  <a:pt x="33948" y="4503"/>
                  <a:pt x="33854" y="4503"/>
                </a:cubicBezTo>
                <a:lnTo>
                  <a:pt x="30726" y="4503"/>
                </a:lnTo>
                <a:cubicBezTo>
                  <a:pt x="30633" y="4503"/>
                  <a:pt x="30539" y="4535"/>
                  <a:pt x="30476" y="4613"/>
                </a:cubicBezTo>
                <a:lnTo>
                  <a:pt x="29960" y="5113"/>
                </a:lnTo>
                <a:cubicBezTo>
                  <a:pt x="29898" y="5191"/>
                  <a:pt x="29851" y="5270"/>
                  <a:pt x="29851" y="5363"/>
                </a:cubicBezTo>
                <a:lnTo>
                  <a:pt x="29851" y="8303"/>
                </a:lnTo>
                <a:cubicBezTo>
                  <a:pt x="29851" y="8397"/>
                  <a:pt x="29898" y="8491"/>
                  <a:pt x="29960" y="8553"/>
                </a:cubicBezTo>
                <a:close/>
                <a:moveTo>
                  <a:pt x="30570" y="5520"/>
                </a:moveTo>
                <a:lnTo>
                  <a:pt x="30868" y="5223"/>
                </a:lnTo>
                <a:lnTo>
                  <a:pt x="33713" y="5223"/>
                </a:lnTo>
                <a:lnTo>
                  <a:pt x="34011" y="5520"/>
                </a:lnTo>
                <a:lnTo>
                  <a:pt x="34011" y="8147"/>
                </a:lnTo>
                <a:cubicBezTo>
                  <a:pt x="33713" y="8460"/>
                  <a:pt x="33812" y="8356"/>
                  <a:pt x="33713" y="8460"/>
                </a:cubicBezTo>
                <a:lnTo>
                  <a:pt x="30868" y="8460"/>
                </a:lnTo>
                <a:cubicBezTo>
                  <a:pt x="30570" y="8147"/>
                  <a:pt x="30669" y="8251"/>
                  <a:pt x="30570" y="8147"/>
                </a:cubicBezTo>
                <a:close/>
                <a:moveTo>
                  <a:pt x="25864" y="8319"/>
                </a:moveTo>
                <a:cubicBezTo>
                  <a:pt x="25676" y="8319"/>
                  <a:pt x="25504" y="8475"/>
                  <a:pt x="25504" y="8678"/>
                </a:cubicBezTo>
                <a:cubicBezTo>
                  <a:pt x="25504" y="8866"/>
                  <a:pt x="25676" y="9038"/>
                  <a:pt x="25864" y="9038"/>
                </a:cubicBezTo>
                <a:lnTo>
                  <a:pt x="28021" y="9038"/>
                </a:lnTo>
                <a:lnTo>
                  <a:pt x="28021" y="9586"/>
                </a:lnTo>
                <a:cubicBezTo>
                  <a:pt x="28021" y="9679"/>
                  <a:pt x="28068" y="9773"/>
                  <a:pt x="28131" y="9851"/>
                </a:cubicBezTo>
                <a:lnTo>
                  <a:pt x="29100" y="10805"/>
                </a:lnTo>
                <a:cubicBezTo>
                  <a:pt x="29163" y="10868"/>
                  <a:pt x="29257" y="10915"/>
                  <a:pt x="29350" y="10915"/>
                </a:cubicBezTo>
                <a:lnTo>
                  <a:pt x="30148" y="10915"/>
                </a:lnTo>
                <a:lnTo>
                  <a:pt x="30148" y="13323"/>
                </a:lnTo>
                <a:cubicBezTo>
                  <a:pt x="30148" y="13510"/>
                  <a:pt x="30320" y="13682"/>
                  <a:pt x="30508" y="13682"/>
                </a:cubicBezTo>
                <a:cubicBezTo>
                  <a:pt x="30711" y="13682"/>
                  <a:pt x="30868" y="13510"/>
                  <a:pt x="30868" y="13323"/>
                </a:cubicBezTo>
                <a:lnTo>
                  <a:pt x="30868" y="10915"/>
                </a:lnTo>
                <a:lnTo>
                  <a:pt x="31993" y="10915"/>
                </a:lnTo>
                <a:lnTo>
                  <a:pt x="31993" y="13323"/>
                </a:lnTo>
                <a:cubicBezTo>
                  <a:pt x="31993" y="13510"/>
                  <a:pt x="32150" y="13682"/>
                  <a:pt x="32353" y="13682"/>
                </a:cubicBezTo>
                <a:cubicBezTo>
                  <a:pt x="32540" y="13682"/>
                  <a:pt x="32712" y="13510"/>
                  <a:pt x="32712" y="13323"/>
                </a:cubicBezTo>
                <a:lnTo>
                  <a:pt x="32712" y="10915"/>
                </a:lnTo>
                <a:cubicBezTo>
                  <a:pt x="33838" y="10915"/>
                  <a:pt x="33463" y="10915"/>
                  <a:pt x="33838" y="10915"/>
                </a:cubicBezTo>
                <a:lnTo>
                  <a:pt x="33838" y="13323"/>
                </a:lnTo>
                <a:cubicBezTo>
                  <a:pt x="33838" y="13510"/>
                  <a:pt x="33995" y="13682"/>
                  <a:pt x="34183" y="13682"/>
                </a:cubicBezTo>
                <a:cubicBezTo>
                  <a:pt x="34386" y="13682"/>
                  <a:pt x="34542" y="13510"/>
                  <a:pt x="34542" y="13323"/>
                </a:cubicBezTo>
                <a:lnTo>
                  <a:pt x="34542" y="10915"/>
                </a:lnTo>
                <a:cubicBezTo>
                  <a:pt x="35230" y="10915"/>
                  <a:pt x="35001" y="10915"/>
                  <a:pt x="35230" y="10915"/>
                </a:cubicBezTo>
                <a:cubicBezTo>
                  <a:pt x="35324" y="10915"/>
                  <a:pt x="35418" y="10868"/>
                  <a:pt x="35496" y="10805"/>
                </a:cubicBezTo>
                <a:lnTo>
                  <a:pt x="36450" y="9851"/>
                </a:lnTo>
                <a:cubicBezTo>
                  <a:pt x="36512" y="9773"/>
                  <a:pt x="36559" y="9679"/>
                  <a:pt x="36559" y="9586"/>
                </a:cubicBezTo>
                <a:lnTo>
                  <a:pt x="36559" y="9038"/>
                </a:lnTo>
                <a:cubicBezTo>
                  <a:pt x="38827" y="9038"/>
                  <a:pt x="38071" y="9038"/>
                  <a:pt x="38827" y="9038"/>
                </a:cubicBezTo>
                <a:cubicBezTo>
                  <a:pt x="39030" y="9038"/>
                  <a:pt x="39187" y="8866"/>
                  <a:pt x="39187" y="8678"/>
                </a:cubicBezTo>
                <a:cubicBezTo>
                  <a:pt x="39187" y="8475"/>
                  <a:pt x="39030" y="8319"/>
                  <a:pt x="38827" y="8319"/>
                </a:cubicBezTo>
                <a:cubicBezTo>
                  <a:pt x="36559" y="8319"/>
                  <a:pt x="37315" y="8319"/>
                  <a:pt x="36559" y="8319"/>
                </a:cubicBezTo>
                <a:cubicBezTo>
                  <a:pt x="36559" y="7193"/>
                  <a:pt x="36559" y="7568"/>
                  <a:pt x="36559" y="7193"/>
                </a:cubicBezTo>
                <a:cubicBezTo>
                  <a:pt x="38827" y="7193"/>
                  <a:pt x="38071" y="7193"/>
                  <a:pt x="38827" y="7193"/>
                </a:cubicBezTo>
                <a:cubicBezTo>
                  <a:pt x="39030" y="7193"/>
                  <a:pt x="39187" y="7037"/>
                  <a:pt x="39187" y="6833"/>
                </a:cubicBezTo>
                <a:cubicBezTo>
                  <a:pt x="39187" y="6646"/>
                  <a:pt x="39030" y="6474"/>
                  <a:pt x="38827" y="6474"/>
                </a:cubicBezTo>
                <a:cubicBezTo>
                  <a:pt x="36559" y="6474"/>
                  <a:pt x="37315" y="6474"/>
                  <a:pt x="36559" y="6474"/>
                </a:cubicBezTo>
                <a:cubicBezTo>
                  <a:pt x="36559" y="5348"/>
                  <a:pt x="36559" y="5723"/>
                  <a:pt x="36559" y="5348"/>
                </a:cubicBezTo>
                <a:cubicBezTo>
                  <a:pt x="38827" y="5348"/>
                  <a:pt x="38071" y="5348"/>
                  <a:pt x="38827" y="5348"/>
                </a:cubicBezTo>
                <a:cubicBezTo>
                  <a:pt x="39030" y="5348"/>
                  <a:pt x="39187" y="5191"/>
                  <a:pt x="39187" y="5004"/>
                </a:cubicBezTo>
                <a:cubicBezTo>
                  <a:pt x="39187" y="4800"/>
                  <a:pt x="39030" y="4644"/>
                  <a:pt x="38827" y="4644"/>
                </a:cubicBezTo>
                <a:cubicBezTo>
                  <a:pt x="36559" y="4644"/>
                  <a:pt x="37315" y="4644"/>
                  <a:pt x="36559" y="4644"/>
                </a:cubicBezTo>
                <a:lnTo>
                  <a:pt x="36559" y="4081"/>
                </a:lnTo>
                <a:cubicBezTo>
                  <a:pt x="36559" y="3987"/>
                  <a:pt x="36512" y="3894"/>
                  <a:pt x="36450" y="3831"/>
                </a:cubicBezTo>
                <a:cubicBezTo>
                  <a:pt x="35496" y="2861"/>
                  <a:pt x="35814" y="3184"/>
                  <a:pt x="35496" y="2861"/>
                </a:cubicBezTo>
                <a:cubicBezTo>
                  <a:pt x="35418" y="2799"/>
                  <a:pt x="35324" y="2768"/>
                  <a:pt x="35230" y="2768"/>
                </a:cubicBezTo>
                <a:cubicBezTo>
                  <a:pt x="34542" y="2768"/>
                  <a:pt x="34771" y="2768"/>
                  <a:pt x="34542" y="2768"/>
                </a:cubicBezTo>
                <a:lnTo>
                  <a:pt x="34542" y="359"/>
                </a:lnTo>
                <a:cubicBezTo>
                  <a:pt x="34542" y="156"/>
                  <a:pt x="34386" y="0"/>
                  <a:pt x="34183" y="0"/>
                </a:cubicBezTo>
                <a:cubicBezTo>
                  <a:pt x="33995" y="0"/>
                  <a:pt x="33838" y="156"/>
                  <a:pt x="33838" y="359"/>
                </a:cubicBezTo>
                <a:lnTo>
                  <a:pt x="33838" y="2768"/>
                </a:lnTo>
                <a:cubicBezTo>
                  <a:pt x="32712" y="2768"/>
                  <a:pt x="33087" y="2768"/>
                  <a:pt x="32712" y="2768"/>
                </a:cubicBezTo>
                <a:lnTo>
                  <a:pt x="32712" y="359"/>
                </a:lnTo>
                <a:cubicBezTo>
                  <a:pt x="32712" y="156"/>
                  <a:pt x="32540" y="0"/>
                  <a:pt x="32353" y="0"/>
                </a:cubicBezTo>
                <a:cubicBezTo>
                  <a:pt x="32150" y="0"/>
                  <a:pt x="31993" y="156"/>
                  <a:pt x="31993" y="359"/>
                </a:cubicBezTo>
                <a:lnTo>
                  <a:pt x="31993" y="2768"/>
                </a:lnTo>
                <a:lnTo>
                  <a:pt x="30868" y="2768"/>
                </a:lnTo>
                <a:lnTo>
                  <a:pt x="30868" y="359"/>
                </a:lnTo>
                <a:cubicBezTo>
                  <a:pt x="30868" y="156"/>
                  <a:pt x="30711" y="0"/>
                  <a:pt x="30508" y="0"/>
                </a:cubicBezTo>
                <a:cubicBezTo>
                  <a:pt x="30320" y="0"/>
                  <a:pt x="30148" y="156"/>
                  <a:pt x="30148" y="359"/>
                </a:cubicBezTo>
                <a:lnTo>
                  <a:pt x="30148" y="2768"/>
                </a:lnTo>
                <a:lnTo>
                  <a:pt x="29350" y="2768"/>
                </a:lnTo>
                <a:cubicBezTo>
                  <a:pt x="29257" y="2768"/>
                  <a:pt x="29163" y="2799"/>
                  <a:pt x="29100" y="2861"/>
                </a:cubicBezTo>
                <a:cubicBezTo>
                  <a:pt x="28131" y="3831"/>
                  <a:pt x="28454" y="3508"/>
                  <a:pt x="28131" y="3831"/>
                </a:cubicBezTo>
                <a:cubicBezTo>
                  <a:pt x="28068" y="3894"/>
                  <a:pt x="28021" y="3987"/>
                  <a:pt x="28021" y="4081"/>
                </a:cubicBezTo>
                <a:lnTo>
                  <a:pt x="28021" y="4644"/>
                </a:lnTo>
                <a:lnTo>
                  <a:pt x="25864" y="4644"/>
                </a:lnTo>
                <a:cubicBezTo>
                  <a:pt x="25676" y="4644"/>
                  <a:pt x="25504" y="4800"/>
                  <a:pt x="25504" y="5004"/>
                </a:cubicBezTo>
                <a:cubicBezTo>
                  <a:pt x="25504" y="5191"/>
                  <a:pt x="25676" y="5348"/>
                  <a:pt x="25864" y="5348"/>
                </a:cubicBezTo>
                <a:lnTo>
                  <a:pt x="28021" y="5348"/>
                </a:lnTo>
                <a:cubicBezTo>
                  <a:pt x="28021" y="6474"/>
                  <a:pt x="28021" y="6099"/>
                  <a:pt x="28021" y="6474"/>
                </a:cubicBezTo>
                <a:lnTo>
                  <a:pt x="25864" y="6474"/>
                </a:lnTo>
                <a:cubicBezTo>
                  <a:pt x="25676" y="6474"/>
                  <a:pt x="25504" y="6646"/>
                  <a:pt x="25504" y="6833"/>
                </a:cubicBezTo>
                <a:cubicBezTo>
                  <a:pt x="25504" y="7037"/>
                  <a:pt x="25676" y="7193"/>
                  <a:pt x="25864" y="7193"/>
                </a:cubicBezTo>
                <a:lnTo>
                  <a:pt x="28021" y="7193"/>
                </a:lnTo>
                <a:cubicBezTo>
                  <a:pt x="28021" y="8319"/>
                  <a:pt x="28021" y="7944"/>
                  <a:pt x="28021" y="8319"/>
                </a:cubicBezTo>
                <a:close/>
                <a:moveTo>
                  <a:pt x="28741" y="4237"/>
                </a:moveTo>
                <a:lnTo>
                  <a:pt x="29491" y="3471"/>
                </a:lnTo>
                <a:lnTo>
                  <a:pt x="35089" y="3471"/>
                </a:lnTo>
                <a:lnTo>
                  <a:pt x="35840" y="4237"/>
                </a:lnTo>
                <a:lnTo>
                  <a:pt x="35840" y="9445"/>
                </a:lnTo>
                <a:lnTo>
                  <a:pt x="35089" y="10195"/>
                </a:lnTo>
                <a:lnTo>
                  <a:pt x="29491" y="10195"/>
                </a:lnTo>
                <a:lnTo>
                  <a:pt x="28741" y="9445"/>
                </a:lnTo>
                <a:close/>
                <a:moveTo>
                  <a:pt x="13635" y="23471"/>
                </a:moveTo>
                <a:cubicBezTo>
                  <a:pt x="14057" y="23471"/>
                  <a:pt x="14417" y="23127"/>
                  <a:pt x="14417" y="22689"/>
                </a:cubicBezTo>
                <a:lnTo>
                  <a:pt x="14417" y="21407"/>
                </a:lnTo>
                <a:cubicBezTo>
                  <a:pt x="14417" y="20970"/>
                  <a:pt x="14057" y="20610"/>
                  <a:pt x="13635" y="20610"/>
                </a:cubicBezTo>
                <a:cubicBezTo>
                  <a:pt x="12712" y="20610"/>
                  <a:pt x="13020" y="20610"/>
                  <a:pt x="12712" y="20610"/>
                </a:cubicBezTo>
                <a:cubicBezTo>
                  <a:pt x="12587" y="20109"/>
                  <a:pt x="12384" y="19609"/>
                  <a:pt x="12103" y="19156"/>
                </a:cubicBezTo>
                <a:lnTo>
                  <a:pt x="12759" y="18514"/>
                </a:lnTo>
                <a:cubicBezTo>
                  <a:pt x="13072" y="18201"/>
                  <a:pt x="13072" y="17701"/>
                  <a:pt x="12759" y="17404"/>
                </a:cubicBezTo>
                <a:cubicBezTo>
                  <a:pt x="11853" y="16497"/>
                  <a:pt x="12155" y="16799"/>
                  <a:pt x="11853" y="16497"/>
                </a:cubicBezTo>
                <a:cubicBezTo>
                  <a:pt x="11696" y="16341"/>
                  <a:pt x="11508" y="16262"/>
                  <a:pt x="11290" y="16262"/>
                </a:cubicBezTo>
                <a:cubicBezTo>
                  <a:pt x="11086" y="16262"/>
                  <a:pt x="10883" y="16341"/>
                  <a:pt x="10742" y="16497"/>
                </a:cubicBezTo>
                <a:lnTo>
                  <a:pt x="10085" y="17138"/>
                </a:lnTo>
                <a:cubicBezTo>
                  <a:pt x="9632" y="16872"/>
                  <a:pt x="9147" y="16669"/>
                  <a:pt x="8631" y="16529"/>
                </a:cubicBezTo>
                <a:lnTo>
                  <a:pt x="8631" y="15621"/>
                </a:lnTo>
                <a:cubicBezTo>
                  <a:pt x="8631" y="15183"/>
                  <a:pt x="8287" y="14840"/>
                  <a:pt x="7850" y="14840"/>
                </a:cubicBezTo>
                <a:lnTo>
                  <a:pt x="6567" y="14840"/>
                </a:lnTo>
                <a:cubicBezTo>
                  <a:pt x="6129" y="14840"/>
                  <a:pt x="5770" y="15183"/>
                  <a:pt x="5770" y="15621"/>
                </a:cubicBezTo>
                <a:lnTo>
                  <a:pt x="5770" y="16529"/>
                </a:lnTo>
                <a:cubicBezTo>
                  <a:pt x="5269" y="16669"/>
                  <a:pt x="4785" y="16872"/>
                  <a:pt x="4315" y="17138"/>
                </a:cubicBezTo>
                <a:lnTo>
                  <a:pt x="3674" y="16497"/>
                </a:lnTo>
                <a:cubicBezTo>
                  <a:pt x="3518" y="16341"/>
                  <a:pt x="3330" y="16262"/>
                  <a:pt x="3111" y="16262"/>
                </a:cubicBezTo>
                <a:cubicBezTo>
                  <a:pt x="2908" y="16262"/>
                  <a:pt x="2705" y="16341"/>
                  <a:pt x="2564" y="16497"/>
                </a:cubicBezTo>
                <a:cubicBezTo>
                  <a:pt x="1657" y="17404"/>
                  <a:pt x="1959" y="17102"/>
                  <a:pt x="1657" y="17404"/>
                </a:cubicBezTo>
                <a:cubicBezTo>
                  <a:pt x="1501" y="17545"/>
                  <a:pt x="1423" y="17748"/>
                  <a:pt x="1423" y="17951"/>
                </a:cubicBezTo>
                <a:cubicBezTo>
                  <a:pt x="1423" y="18170"/>
                  <a:pt x="1501" y="18358"/>
                  <a:pt x="1657" y="18514"/>
                </a:cubicBezTo>
                <a:lnTo>
                  <a:pt x="2298" y="19156"/>
                </a:lnTo>
                <a:cubicBezTo>
                  <a:pt x="2033" y="19609"/>
                  <a:pt x="1829" y="20109"/>
                  <a:pt x="1704" y="20610"/>
                </a:cubicBezTo>
                <a:cubicBezTo>
                  <a:pt x="782" y="20610"/>
                  <a:pt x="1089" y="20610"/>
                  <a:pt x="782" y="20610"/>
                </a:cubicBezTo>
                <a:cubicBezTo>
                  <a:pt x="344" y="20610"/>
                  <a:pt x="0" y="20970"/>
                  <a:pt x="0" y="21407"/>
                </a:cubicBezTo>
                <a:lnTo>
                  <a:pt x="0" y="22689"/>
                </a:lnTo>
                <a:cubicBezTo>
                  <a:pt x="0" y="23127"/>
                  <a:pt x="344" y="23471"/>
                  <a:pt x="782" y="23471"/>
                </a:cubicBezTo>
                <a:cubicBezTo>
                  <a:pt x="1704" y="23471"/>
                  <a:pt x="1397" y="23471"/>
                  <a:pt x="1704" y="23471"/>
                </a:cubicBezTo>
                <a:cubicBezTo>
                  <a:pt x="1829" y="23987"/>
                  <a:pt x="2033" y="24472"/>
                  <a:pt x="2298" y="24926"/>
                </a:cubicBezTo>
                <a:lnTo>
                  <a:pt x="1657" y="25582"/>
                </a:lnTo>
                <a:cubicBezTo>
                  <a:pt x="1501" y="25723"/>
                  <a:pt x="1423" y="25926"/>
                  <a:pt x="1423" y="26130"/>
                </a:cubicBezTo>
                <a:cubicBezTo>
                  <a:pt x="1423" y="26349"/>
                  <a:pt x="1501" y="26536"/>
                  <a:pt x="1657" y="26692"/>
                </a:cubicBezTo>
                <a:lnTo>
                  <a:pt x="2564" y="27600"/>
                </a:lnTo>
                <a:cubicBezTo>
                  <a:pt x="2705" y="27740"/>
                  <a:pt x="2908" y="27834"/>
                  <a:pt x="3111" y="27834"/>
                </a:cubicBezTo>
                <a:cubicBezTo>
                  <a:pt x="3330" y="27834"/>
                  <a:pt x="3518" y="27740"/>
                  <a:pt x="3674" y="27600"/>
                </a:cubicBezTo>
                <a:lnTo>
                  <a:pt x="4315" y="26943"/>
                </a:lnTo>
                <a:cubicBezTo>
                  <a:pt x="4785" y="27224"/>
                  <a:pt x="5269" y="27428"/>
                  <a:pt x="5770" y="27553"/>
                </a:cubicBezTo>
                <a:lnTo>
                  <a:pt x="5770" y="28475"/>
                </a:lnTo>
                <a:cubicBezTo>
                  <a:pt x="5770" y="28897"/>
                  <a:pt x="6129" y="29257"/>
                  <a:pt x="6567" y="29257"/>
                </a:cubicBezTo>
                <a:lnTo>
                  <a:pt x="7850" y="29257"/>
                </a:lnTo>
                <a:cubicBezTo>
                  <a:pt x="8287" y="29257"/>
                  <a:pt x="8631" y="28897"/>
                  <a:pt x="8631" y="28475"/>
                </a:cubicBezTo>
                <a:lnTo>
                  <a:pt x="8631" y="27553"/>
                </a:lnTo>
                <a:cubicBezTo>
                  <a:pt x="9147" y="27428"/>
                  <a:pt x="9632" y="27224"/>
                  <a:pt x="10085" y="26943"/>
                </a:cubicBezTo>
                <a:lnTo>
                  <a:pt x="10742" y="27600"/>
                </a:lnTo>
                <a:cubicBezTo>
                  <a:pt x="10883" y="27740"/>
                  <a:pt x="11086" y="27834"/>
                  <a:pt x="11290" y="27834"/>
                </a:cubicBezTo>
                <a:cubicBezTo>
                  <a:pt x="11508" y="27834"/>
                  <a:pt x="11696" y="27740"/>
                  <a:pt x="11853" y="27600"/>
                </a:cubicBezTo>
                <a:lnTo>
                  <a:pt x="12759" y="26692"/>
                </a:lnTo>
                <a:cubicBezTo>
                  <a:pt x="13072" y="26380"/>
                  <a:pt x="13072" y="25879"/>
                  <a:pt x="12759" y="25582"/>
                </a:cubicBezTo>
                <a:lnTo>
                  <a:pt x="12103" y="24926"/>
                </a:lnTo>
                <a:cubicBezTo>
                  <a:pt x="12384" y="24472"/>
                  <a:pt x="12587" y="23987"/>
                  <a:pt x="12712" y="23471"/>
                </a:cubicBezTo>
                <a:close/>
                <a:moveTo>
                  <a:pt x="12087" y="23049"/>
                </a:moveTo>
                <a:cubicBezTo>
                  <a:pt x="11946" y="23659"/>
                  <a:pt x="11712" y="24253"/>
                  <a:pt x="11352" y="24785"/>
                </a:cubicBezTo>
                <a:cubicBezTo>
                  <a:pt x="11258" y="24926"/>
                  <a:pt x="11290" y="25113"/>
                  <a:pt x="11399" y="25238"/>
                </a:cubicBezTo>
                <a:lnTo>
                  <a:pt x="12259" y="26082"/>
                </a:lnTo>
                <a:cubicBezTo>
                  <a:pt x="12275" y="26114"/>
                  <a:pt x="12275" y="26161"/>
                  <a:pt x="12259" y="26177"/>
                </a:cubicBezTo>
                <a:lnTo>
                  <a:pt x="11352" y="27099"/>
                </a:lnTo>
                <a:cubicBezTo>
                  <a:pt x="11321" y="27115"/>
                  <a:pt x="11305" y="27115"/>
                  <a:pt x="11290" y="27115"/>
                </a:cubicBezTo>
                <a:cubicBezTo>
                  <a:pt x="11274" y="27115"/>
                  <a:pt x="11258" y="27115"/>
                  <a:pt x="11243" y="27099"/>
                </a:cubicBezTo>
                <a:lnTo>
                  <a:pt x="10398" y="26239"/>
                </a:lnTo>
                <a:cubicBezTo>
                  <a:pt x="10273" y="26130"/>
                  <a:pt x="10085" y="26099"/>
                  <a:pt x="9945" y="26192"/>
                </a:cubicBezTo>
                <a:cubicBezTo>
                  <a:pt x="9413" y="26552"/>
                  <a:pt x="8819" y="26787"/>
                  <a:pt x="8209" y="26927"/>
                </a:cubicBezTo>
                <a:cubicBezTo>
                  <a:pt x="8037" y="26958"/>
                  <a:pt x="7912" y="27099"/>
                  <a:pt x="7912" y="27271"/>
                </a:cubicBezTo>
                <a:lnTo>
                  <a:pt x="7912" y="28475"/>
                </a:lnTo>
                <a:cubicBezTo>
                  <a:pt x="7912" y="28506"/>
                  <a:pt x="7881" y="28538"/>
                  <a:pt x="7850" y="28538"/>
                </a:cubicBezTo>
                <a:lnTo>
                  <a:pt x="6567" y="28538"/>
                </a:lnTo>
                <a:cubicBezTo>
                  <a:pt x="6520" y="28538"/>
                  <a:pt x="6489" y="28506"/>
                  <a:pt x="6489" y="28475"/>
                </a:cubicBezTo>
                <a:lnTo>
                  <a:pt x="6489" y="27271"/>
                </a:lnTo>
                <a:cubicBezTo>
                  <a:pt x="6489" y="27099"/>
                  <a:pt x="6380" y="26958"/>
                  <a:pt x="6207" y="26927"/>
                </a:cubicBezTo>
                <a:cubicBezTo>
                  <a:pt x="5582" y="26787"/>
                  <a:pt x="5003" y="26552"/>
                  <a:pt x="4472" y="26192"/>
                </a:cubicBezTo>
                <a:cubicBezTo>
                  <a:pt x="4409" y="26161"/>
                  <a:pt x="4331" y="26145"/>
                  <a:pt x="4268" y="26145"/>
                </a:cubicBezTo>
                <a:cubicBezTo>
                  <a:pt x="4175" y="26145"/>
                  <a:pt x="4081" y="26177"/>
                  <a:pt x="4018" y="26239"/>
                </a:cubicBezTo>
                <a:lnTo>
                  <a:pt x="3158" y="27099"/>
                </a:lnTo>
                <a:cubicBezTo>
                  <a:pt x="3142" y="27115"/>
                  <a:pt x="3127" y="27115"/>
                  <a:pt x="3111" y="27115"/>
                </a:cubicBezTo>
                <a:cubicBezTo>
                  <a:pt x="3096" y="27115"/>
                  <a:pt x="3080" y="27115"/>
                  <a:pt x="3064" y="27099"/>
                </a:cubicBezTo>
                <a:lnTo>
                  <a:pt x="2158" y="26177"/>
                </a:lnTo>
                <a:cubicBezTo>
                  <a:pt x="2142" y="26161"/>
                  <a:pt x="2142" y="26145"/>
                  <a:pt x="2142" y="26130"/>
                </a:cubicBezTo>
                <a:cubicBezTo>
                  <a:pt x="2142" y="26114"/>
                  <a:pt x="2142" y="26099"/>
                  <a:pt x="2158" y="26082"/>
                </a:cubicBezTo>
                <a:lnTo>
                  <a:pt x="3002" y="25238"/>
                </a:lnTo>
                <a:cubicBezTo>
                  <a:pt x="3127" y="25113"/>
                  <a:pt x="3142" y="24926"/>
                  <a:pt x="3049" y="24785"/>
                </a:cubicBezTo>
                <a:cubicBezTo>
                  <a:pt x="2705" y="24253"/>
                  <a:pt x="2454" y="23659"/>
                  <a:pt x="2329" y="23049"/>
                </a:cubicBezTo>
                <a:cubicBezTo>
                  <a:pt x="2298" y="22877"/>
                  <a:pt x="2158" y="22752"/>
                  <a:pt x="1986" y="22752"/>
                </a:cubicBezTo>
                <a:cubicBezTo>
                  <a:pt x="782" y="22752"/>
                  <a:pt x="1183" y="22752"/>
                  <a:pt x="782" y="22752"/>
                </a:cubicBezTo>
                <a:cubicBezTo>
                  <a:pt x="735" y="22752"/>
                  <a:pt x="703" y="22721"/>
                  <a:pt x="703" y="22689"/>
                </a:cubicBezTo>
                <a:lnTo>
                  <a:pt x="703" y="21407"/>
                </a:lnTo>
                <a:cubicBezTo>
                  <a:pt x="703" y="21360"/>
                  <a:pt x="735" y="21329"/>
                  <a:pt x="782" y="21329"/>
                </a:cubicBezTo>
                <a:cubicBezTo>
                  <a:pt x="1986" y="21329"/>
                  <a:pt x="1585" y="21329"/>
                  <a:pt x="1986" y="21329"/>
                </a:cubicBezTo>
                <a:cubicBezTo>
                  <a:pt x="2158" y="21329"/>
                  <a:pt x="2298" y="21204"/>
                  <a:pt x="2329" y="21048"/>
                </a:cubicBezTo>
                <a:cubicBezTo>
                  <a:pt x="2454" y="20422"/>
                  <a:pt x="2705" y="19844"/>
                  <a:pt x="3049" y="19312"/>
                </a:cubicBezTo>
                <a:cubicBezTo>
                  <a:pt x="3142" y="19156"/>
                  <a:pt x="3127" y="18968"/>
                  <a:pt x="3002" y="18858"/>
                </a:cubicBezTo>
                <a:lnTo>
                  <a:pt x="2158" y="17998"/>
                </a:lnTo>
                <a:cubicBezTo>
                  <a:pt x="2142" y="17983"/>
                  <a:pt x="2142" y="17967"/>
                  <a:pt x="2142" y="17951"/>
                </a:cubicBezTo>
                <a:cubicBezTo>
                  <a:pt x="2142" y="17936"/>
                  <a:pt x="2142" y="17920"/>
                  <a:pt x="2158" y="17905"/>
                </a:cubicBezTo>
                <a:lnTo>
                  <a:pt x="3064" y="16997"/>
                </a:lnTo>
                <a:cubicBezTo>
                  <a:pt x="3080" y="16982"/>
                  <a:pt x="3096" y="16982"/>
                  <a:pt x="3111" y="16982"/>
                </a:cubicBezTo>
                <a:cubicBezTo>
                  <a:pt x="3127" y="16982"/>
                  <a:pt x="3142" y="16982"/>
                  <a:pt x="3174" y="16997"/>
                </a:cubicBezTo>
                <a:lnTo>
                  <a:pt x="4018" y="17842"/>
                </a:lnTo>
                <a:cubicBezTo>
                  <a:pt x="4143" y="17967"/>
                  <a:pt x="4331" y="17983"/>
                  <a:pt x="4472" y="17889"/>
                </a:cubicBezTo>
                <a:cubicBezTo>
                  <a:pt x="5003" y="17545"/>
                  <a:pt x="5582" y="17295"/>
                  <a:pt x="6207" y="17170"/>
                </a:cubicBezTo>
                <a:cubicBezTo>
                  <a:pt x="6380" y="17138"/>
                  <a:pt x="6489" y="16982"/>
                  <a:pt x="6489" y="16825"/>
                </a:cubicBezTo>
                <a:cubicBezTo>
                  <a:pt x="6489" y="15621"/>
                  <a:pt x="6489" y="16022"/>
                  <a:pt x="6489" y="15621"/>
                </a:cubicBezTo>
                <a:cubicBezTo>
                  <a:pt x="6489" y="15574"/>
                  <a:pt x="6520" y="15543"/>
                  <a:pt x="6567" y="15543"/>
                </a:cubicBezTo>
                <a:lnTo>
                  <a:pt x="7850" y="15543"/>
                </a:lnTo>
                <a:cubicBezTo>
                  <a:pt x="7881" y="15543"/>
                  <a:pt x="7912" y="15574"/>
                  <a:pt x="7912" y="15621"/>
                </a:cubicBezTo>
                <a:cubicBezTo>
                  <a:pt x="7912" y="16825"/>
                  <a:pt x="7912" y="16424"/>
                  <a:pt x="7912" y="16825"/>
                </a:cubicBezTo>
                <a:cubicBezTo>
                  <a:pt x="7912" y="16982"/>
                  <a:pt x="8037" y="17138"/>
                  <a:pt x="8209" y="17170"/>
                </a:cubicBezTo>
                <a:cubicBezTo>
                  <a:pt x="8834" y="17295"/>
                  <a:pt x="9413" y="17545"/>
                  <a:pt x="9945" y="17889"/>
                </a:cubicBezTo>
                <a:cubicBezTo>
                  <a:pt x="10085" y="17983"/>
                  <a:pt x="10273" y="17967"/>
                  <a:pt x="10398" y="17842"/>
                </a:cubicBezTo>
                <a:lnTo>
                  <a:pt x="11243" y="16997"/>
                </a:lnTo>
                <a:cubicBezTo>
                  <a:pt x="11258" y="16982"/>
                  <a:pt x="11274" y="16982"/>
                  <a:pt x="11290" y="16982"/>
                </a:cubicBezTo>
                <a:cubicBezTo>
                  <a:pt x="11305" y="16982"/>
                  <a:pt x="11321" y="16982"/>
                  <a:pt x="11352" y="16997"/>
                </a:cubicBezTo>
                <a:lnTo>
                  <a:pt x="12259" y="17905"/>
                </a:lnTo>
                <a:cubicBezTo>
                  <a:pt x="12275" y="17936"/>
                  <a:pt x="12275" y="17983"/>
                  <a:pt x="12259" y="17998"/>
                </a:cubicBezTo>
                <a:lnTo>
                  <a:pt x="11399" y="18858"/>
                </a:lnTo>
                <a:cubicBezTo>
                  <a:pt x="11290" y="18968"/>
                  <a:pt x="11258" y="19156"/>
                  <a:pt x="11352" y="19312"/>
                </a:cubicBezTo>
                <a:cubicBezTo>
                  <a:pt x="11712" y="19844"/>
                  <a:pt x="11946" y="20422"/>
                  <a:pt x="12087" y="21048"/>
                </a:cubicBezTo>
                <a:cubicBezTo>
                  <a:pt x="12118" y="21204"/>
                  <a:pt x="12259" y="21329"/>
                  <a:pt x="12431" y="21329"/>
                </a:cubicBezTo>
                <a:cubicBezTo>
                  <a:pt x="13635" y="21329"/>
                  <a:pt x="13234" y="21329"/>
                  <a:pt x="13635" y="21329"/>
                </a:cubicBezTo>
                <a:cubicBezTo>
                  <a:pt x="13667" y="21329"/>
                  <a:pt x="13698" y="21360"/>
                  <a:pt x="13698" y="21407"/>
                </a:cubicBezTo>
                <a:lnTo>
                  <a:pt x="13698" y="22689"/>
                </a:lnTo>
                <a:cubicBezTo>
                  <a:pt x="13698" y="22721"/>
                  <a:pt x="13667" y="22752"/>
                  <a:pt x="13635" y="22752"/>
                </a:cubicBezTo>
                <a:cubicBezTo>
                  <a:pt x="12431" y="22752"/>
                  <a:pt x="12832" y="22752"/>
                  <a:pt x="12431" y="22752"/>
                </a:cubicBezTo>
                <a:cubicBezTo>
                  <a:pt x="12259" y="22752"/>
                  <a:pt x="12118" y="22877"/>
                  <a:pt x="12087" y="23049"/>
                </a:cubicBezTo>
                <a:close/>
                <a:moveTo>
                  <a:pt x="7208" y="18999"/>
                </a:moveTo>
                <a:cubicBezTo>
                  <a:pt x="5519" y="18999"/>
                  <a:pt x="4159" y="20360"/>
                  <a:pt x="4159" y="22048"/>
                </a:cubicBezTo>
                <a:cubicBezTo>
                  <a:pt x="4159" y="23722"/>
                  <a:pt x="5519" y="25098"/>
                  <a:pt x="7208" y="25098"/>
                </a:cubicBezTo>
                <a:cubicBezTo>
                  <a:pt x="8881" y="25098"/>
                  <a:pt x="10258" y="23722"/>
                  <a:pt x="10258" y="22048"/>
                </a:cubicBezTo>
                <a:cubicBezTo>
                  <a:pt x="10258" y="20360"/>
                  <a:pt x="8881" y="18999"/>
                  <a:pt x="7208" y="18999"/>
                </a:cubicBezTo>
                <a:close/>
                <a:moveTo>
                  <a:pt x="7208" y="24378"/>
                </a:moveTo>
                <a:cubicBezTo>
                  <a:pt x="5911" y="24378"/>
                  <a:pt x="4863" y="23330"/>
                  <a:pt x="4863" y="22048"/>
                </a:cubicBezTo>
                <a:cubicBezTo>
                  <a:pt x="4863" y="20750"/>
                  <a:pt x="5911" y="19703"/>
                  <a:pt x="7208" y="19703"/>
                </a:cubicBezTo>
                <a:cubicBezTo>
                  <a:pt x="8491" y="19703"/>
                  <a:pt x="9538" y="20750"/>
                  <a:pt x="9538" y="22048"/>
                </a:cubicBezTo>
                <a:cubicBezTo>
                  <a:pt x="9538" y="23330"/>
                  <a:pt x="8491" y="24378"/>
                  <a:pt x="7208" y="24378"/>
                </a:cubicBezTo>
                <a:close/>
                <a:moveTo>
                  <a:pt x="18279" y="8678"/>
                </a:moveTo>
                <a:cubicBezTo>
                  <a:pt x="18436" y="8522"/>
                  <a:pt x="18529" y="8319"/>
                  <a:pt x="18529" y="8084"/>
                </a:cubicBezTo>
                <a:lnTo>
                  <a:pt x="18529" y="7725"/>
                </a:lnTo>
                <a:lnTo>
                  <a:pt x="18608" y="7725"/>
                </a:lnTo>
                <a:lnTo>
                  <a:pt x="18608" y="8710"/>
                </a:lnTo>
                <a:cubicBezTo>
                  <a:pt x="18608" y="8913"/>
                  <a:pt x="18780" y="9069"/>
                  <a:pt x="18967" y="9069"/>
                </a:cubicBezTo>
                <a:lnTo>
                  <a:pt x="20047" y="9069"/>
                </a:lnTo>
                <a:cubicBezTo>
                  <a:pt x="20234" y="9069"/>
                  <a:pt x="20390" y="8913"/>
                  <a:pt x="20390" y="8710"/>
                </a:cubicBezTo>
                <a:lnTo>
                  <a:pt x="20390" y="4425"/>
                </a:lnTo>
                <a:cubicBezTo>
                  <a:pt x="20390" y="4237"/>
                  <a:pt x="20234" y="4065"/>
                  <a:pt x="20047" y="4065"/>
                </a:cubicBezTo>
                <a:lnTo>
                  <a:pt x="18967" y="4065"/>
                </a:lnTo>
                <a:cubicBezTo>
                  <a:pt x="18780" y="4065"/>
                  <a:pt x="18608" y="4237"/>
                  <a:pt x="18608" y="4425"/>
                </a:cubicBezTo>
                <a:lnTo>
                  <a:pt x="18608" y="5410"/>
                </a:lnTo>
                <a:lnTo>
                  <a:pt x="18529" y="5410"/>
                </a:lnTo>
                <a:lnTo>
                  <a:pt x="18529" y="3581"/>
                </a:lnTo>
                <a:cubicBezTo>
                  <a:pt x="18529" y="3112"/>
                  <a:pt x="18154" y="2736"/>
                  <a:pt x="17685" y="2736"/>
                </a:cubicBezTo>
                <a:lnTo>
                  <a:pt x="15324" y="2736"/>
                </a:lnTo>
                <a:cubicBezTo>
                  <a:pt x="15324" y="2111"/>
                  <a:pt x="15324" y="2319"/>
                  <a:pt x="15324" y="2111"/>
                </a:cubicBezTo>
                <a:lnTo>
                  <a:pt x="16294" y="2111"/>
                </a:lnTo>
                <a:cubicBezTo>
                  <a:pt x="16497" y="2111"/>
                  <a:pt x="16653" y="1955"/>
                  <a:pt x="16653" y="1751"/>
                </a:cubicBezTo>
                <a:lnTo>
                  <a:pt x="16653" y="688"/>
                </a:lnTo>
                <a:cubicBezTo>
                  <a:pt x="16653" y="485"/>
                  <a:pt x="16497" y="328"/>
                  <a:pt x="16294" y="328"/>
                </a:cubicBezTo>
                <a:lnTo>
                  <a:pt x="12556" y="328"/>
                </a:lnTo>
                <a:cubicBezTo>
                  <a:pt x="12353" y="328"/>
                  <a:pt x="12197" y="485"/>
                  <a:pt x="12197" y="688"/>
                </a:cubicBezTo>
                <a:lnTo>
                  <a:pt x="12197" y="1751"/>
                </a:lnTo>
                <a:cubicBezTo>
                  <a:pt x="12197" y="1955"/>
                  <a:pt x="12353" y="2111"/>
                  <a:pt x="12556" y="2111"/>
                </a:cubicBezTo>
                <a:lnTo>
                  <a:pt x="13526" y="2111"/>
                </a:lnTo>
                <a:cubicBezTo>
                  <a:pt x="13526" y="2736"/>
                  <a:pt x="13526" y="2528"/>
                  <a:pt x="13526" y="2736"/>
                </a:cubicBezTo>
                <a:lnTo>
                  <a:pt x="12291" y="2736"/>
                </a:lnTo>
                <a:cubicBezTo>
                  <a:pt x="12056" y="2736"/>
                  <a:pt x="11837" y="2830"/>
                  <a:pt x="11681" y="2986"/>
                </a:cubicBezTo>
                <a:cubicBezTo>
                  <a:pt x="11676" y="2991"/>
                  <a:pt x="11681" y="3002"/>
                  <a:pt x="11665" y="3002"/>
                </a:cubicBezTo>
                <a:cubicBezTo>
                  <a:pt x="10523" y="4347"/>
                  <a:pt x="10904" y="3899"/>
                  <a:pt x="10523" y="4347"/>
                </a:cubicBezTo>
                <a:cubicBezTo>
                  <a:pt x="9882" y="4347"/>
                  <a:pt x="10096" y="4347"/>
                  <a:pt x="9882" y="4347"/>
                </a:cubicBezTo>
                <a:cubicBezTo>
                  <a:pt x="9413" y="4347"/>
                  <a:pt x="8991" y="4769"/>
                  <a:pt x="8991" y="5238"/>
                </a:cubicBezTo>
                <a:lnTo>
                  <a:pt x="8991" y="5942"/>
                </a:lnTo>
                <a:cubicBezTo>
                  <a:pt x="8631" y="5942"/>
                  <a:pt x="8751" y="5942"/>
                  <a:pt x="8631" y="5942"/>
                </a:cubicBezTo>
                <a:lnTo>
                  <a:pt x="8631" y="4691"/>
                </a:lnTo>
                <a:cubicBezTo>
                  <a:pt x="8631" y="4503"/>
                  <a:pt x="8475" y="4347"/>
                  <a:pt x="8271" y="4347"/>
                </a:cubicBezTo>
                <a:lnTo>
                  <a:pt x="7208" y="4347"/>
                </a:lnTo>
                <a:cubicBezTo>
                  <a:pt x="7005" y="4347"/>
                  <a:pt x="6849" y="4503"/>
                  <a:pt x="6849" y="4691"/>
                </a:cubicBezTo>
                <a:cubicBezTo>
                  <a:pt x="6849" y="8976"/>
                  <a:pt x="6849" y="7548"/>
                  <a:pt x="6849" y="8976"/>
                </a:cubicBezTo>
                <a:cubicBezTo>
                  <a:pt x="6849" y="9179"/>
                  <a:pt x="7005" y="9335"/>
                  <a:pt x="7208" y="9335"/>
                </a:cubicBezTo>
                <a:lnTo>
                  <a:pt x="8271" y="9335"/>
                </a:lnTo>
                <a:cubicBezTo>
                  <a:pt x="8475" y="9335"/>
                  <a:pt x="8631" y="9179"/>
                  <a:pt x="8631" y="8976"/>
                </a:cubicBezTo>
                <a:lnTo>
                  <a:pt x="8631" y="7725"/>
                </a:lnTo>
                <a:cubicBezTo>
                  <a:pt x="8991" y="7725"/>
                  <a:pt x="8871" y="7725"/>
                  <a:pt x="8991" y="7725"/>
                </a:cubicBezTo>
                <a:lnTo>
                  <a:pt x="8991" y="8444"/>
                </a:lnTo>
                <a:cubicBezTo>
                  <a:pt x="8991" y="8913"/>
                  <a:pt x="9413" y="9335"/>
                  <a:pt x="9882" y="9335"/>
                </a:cubicBezTo>
                <a:cubicBezTo>
                  <a:pt x="10523" y="9335"/>
                  <a:pt x="10309" y="9335"/>
                  <a:pt x="10523" y="9335"/>
                </a:cubicBezTo>
                <a:lnTo>
                  <a:pt x="11665" y="10664"/>
                </a:lnTo>
                <a:cubicBezTo>
                  <a:pt x="11681" y="10680"/>
                  <a:pt x="11676" y="10675"/>
                  <a:pt x="11681" y="10680"/>
                </a:cubicBezTo>
                <a:cubicBezTo>
                  <a:pt x="11837" y="10852"/>
                  <a:pt x="12056" y="10930"/>
                  <a:pt x="12291" y="10930"/>
                </a:cubicBezTo>
                <a:cubicBezTo>
                  <a:pt x="15715" y="10930"/>
                  <a:pt x="14574" y="10930"/>
                  <a:pt x="15715" y="10930"/>
                </a:cubicBezTo>
                <a:cubicBezTo>
                  <a:pt x="15949" y="10930"/>
                  <a:pt x="16169" y="10852"/>
                  <a:pt x="16325" y="10680"/>
                </a:cubicBezTo>
                <a:close/>
                <a:moveTo>
                  <a:pt x="13885" y="1392"/>
                </a:moveTo>
                <a:lnTo>
                  <a:pt x="12916" y="1392"/>
                </a:lnTo>
                <a:cubicBezTo>
                  <a:pt x="12916" y="1047"/>
                  <a:pt x="12916" y="1162"/>
                  <a:pt x="12916" y="1047"/>
                </a:cubicBezTo>
                <a:lnTo>
                  <a:pt x="15934" y="1047"/>
                </a:lnTo>
                <a:cubicBezTo>
                  <a:pt x="15934" y="1392"/>
                  <a:pt x="15934" y="1277"/>
                  <a:pt x="15934" y="1392"/>
                </a:cubicBezTo>
                <a:lnTo>
                  <a:pt x="14964" y="1392"/>
                </a:lnTo>
                <a:cubicBezTo>
                  <a:pt x="14761" y="1392"/>
                  <a:pt x="14605" y="1563"/>
                  <a:pt x="14605" y="1751"/>
                </a:cubicBezTo>
                <a:cubicBezTo>
                  <a:pt x="14605" y="2736"/>
                  <a:pt x="14605" y="2408"/>
                  <a:pt x="14605" y="2736"/>
                </a:cubicBezTo>
                <a:cubicBezTo>
                  <a:pt x="14245" y="2736"/>
                  <a:pt x="14365" y="2736"/>
                  <a:pt x="14245" y="2736"/>
                </a:cubicBezTo>
                <a:cubicBezTo>
                  <a:pt x="14245" y="1751"/>
                  <a:pt x="14245" y="2079"/>
                  <a:pt x="14245" y="1751"/>
                </a:cubicBezTo>
                <a:cubicBezTo>
                  <a:pt x="14245" y="1563"/>
                  <a:pt x="14089" y="1392"/>
                  <a:pt x="13885" y="1392"/>
                </a:cubicBezTo>
                <a:close/>
                <a:moveTo>
                  <a:pt x="8271" y="7021"/>
                </a:moveTo>
                <a:cubicBezTo>
                  <a:pt x="8084" y="7021"/>
                  <a:pt x="7912" y="7177"/>
                  <a:pt x="7912" y="7365"/>
                </a:cubicBezTo>
                <a:lnTo>
                  <a:pt x="7912" y="8616"/>
                </a:lnTo>
                <a:lnTo>
                  <a:pt x="7568" y="8616"/>
                </a:lnTo>
                <a:cubicBezTo>
                  <a:pt x="7568" y="5051"/>
                  <a:pt x="7568" y="6239"/>
                  <a:pt x="7568" y="5051"/>
                </a:cubicBezTo>
                <a:lnTo>
                  <a:pt x="7912" y="5051"/>
                </a:lnTo>
                <a:lnTo>
                  <a:pt x="7912" y="6302"/>
                </a:lnTo>
                <a:cubicBezTo>
                  <a:pt x="7912" y="6505"/>
                  <a:pt x="8084" y="6661"/>
                  <a:pt x="8271" y="6661"/>
                </a:cubicBezTo>
                <a:lnTo>
                  <a:pt x="8991" y="6661"/>
                </a:lnTo>
                <a:lnTo>
                  <a:pt x="8991" y="7021"/>
                </a:lnTo>
                <a:close/>
                <a:moveTo>
                  <a:pt x="15715" y="10227"/>
                </a:moveTo>
                <a:cubicBezTo>
                  <a:pt x="12291" y="10227"/>
                  <a:pt x="13432" y="10227"/>
                  <a:pt x="12291" y="10227"/>
                </a:cubicBezTo>
                <a:cubicBezTo>
                  <a:pt x="12259" y="10227"/>
                  <a:pt x="12228" y="10211"/>
                  <a:pt x="12197" y="10195"/>
                </a:cubicBezTo>
                <a:lnTo>
                  <a:pt x="10946" y="8741"/>
                </a:lnTo>
                <a:cubicBezTo>
                  <a:pt x="10883" y="8663"/>
                  <a:pt x="10789" y="8616"/>
                  <a:pt x="10680" y="8616"/>
                </a:cubicBezTo>
                <a:lnTo>
                  <a:pt x="9882" y="8616"/>
                </a:lnTo>
                <a:cubicBezTo>
                  <a:pt x="9804" y="8616"/>
                  <a:pt x="9695" y="8506"/>
                  <a:pt x="9695" y="8444"/>
                </a:cubicBezTo>
                <a:lnTo>
                  <a:pt x="9695" y="5238"/>
                </a:lnTo>
                <a:cubicBezTo>
                  <a:pt x="9695" y="5160"/>
                  <a:pt x="9804" y="5051"/>
                  <a:pt x="9882" y="5051"/>
                </a:cubicBezTo>
                <a:lnTo>
                  <a:pt x="10680" y="5051"/>
                </a:lnTo>
                <a:cubicBezTo>
                  <a:pt x="10789" y="5051"/>
                  <a:pt x="10883" y="5004"/>
                  <a:pt x="10946" y="4925"/>
                </a:cubicBezTo>
                <a:lnTo>
                  <a:pt x="12197" y="3487"/>
                </a:lnTo>
                <a:cubicBezTo>
                  <a:pt x="12228" y="3456"/>
                  <a:pt x="12259" y="3456"/>
                  <a:pt x="12291" y="3456"/>
                </a:cubicBezTo>
                <a:lnTo>
                  <a:pt x="17685" y="3456"/>
                </a:lnTo>
                <a:cubicBezTo>
                  <a:pt x="17748" y="3456"/>
                  <a:pt x="17810" y="3518"/>
                  <a:pt x="17810" y="3581"/>
                </a:cubicBezTo>
                <a:lnTo>
                  <a:pt x="17810" y="5770"/>
                </a:lnTo>
                <a:cubicBezTo>
                  <a:pt x="17810" y="5958"/>
                  <a:pt x="17967" y="6129"/>
                  <a:pt x="18170" y="6129"/>
                </a:cubicBezTo>
                <a:lnTo>
                  <a:pt x="18967" y="6129"/>
                </a:lnTo>
                <a:cubicBezTo>
                  <a:pt x="19171" y="6129"/>
                  <a:pt x="19327" y="5958"/>
                  <a:pt x="19327" y="5770"/>
                </a:cubicBezTo>
                <a:lnTo>
                  <a:pt x="19327" y="4785"/>
                </a:lnTo>
                <a:cubicBezTo>
                  <a:pt x="19687" y="4785"/>
                  <a:pt x="19567" y="4785"/>
                  <a:pt x="19687" y="4785"/>
                </a:cubicBezTo>
                <a:lnTo>
                  <a:pt x="19687" y="8350"/>
                </a:lnTo>
                <a:cubicBezTo>
                  <a:pt x="19327" y="8350"/>
                  <a:pt x="19447" y="8350"/>
                  <a:pt x="19327" y="8350"/>
                </a:cubicBezTo>
                <a:lnTo>
                  <a:pt x="19327" y="7365"/>
                </a:lnTo>
                <a:cubicBezTo>
                  <a:pt x="19327" y="7177"/>
                  <a:pt x="19171" y="7021"/>
                  <a:pt x="18967" y="7021"/>
                </a:cubicBezTo>
                <a:lnTo>
                  <a:pt x="18170" y="7021"/>
                </a:lnTo>
                <a:cubicBezTo>
                  <a:pt x="17967" y="7021"/>
                  <a:pt x="17810" y="7177"/>
                  <a:pt x="17810" y="7365"/>
                </a:cubicBezTo>
                <a:lnTo>
                  <a:pt x="17810" y="8084"/>
                </a:lnTo>
                <a:cubicBezTo>
                  <a:pt x="17810" y="8131"/>
                  <a:pt x="17795" y="8163"/>
                  <a:pt x="17779" y="8178"/>
                </a:cubicBezTo>
                <a:lnTo>
                  <a:pt x="15809" y="10180"/>
                </a:lnTo>
                <a:cubicBezTo>
                  <a:pt x="15777" y="10211"/>
                  <a:pt x="15746" y="10227"/>
                  <a:pt x="15715" y="10227"/>
                </a:cubicBezTo>
                <a:close/>
                <a:moveTo>
                  <a:pt x="36247" y="18123"/>
                </a:moveTo>
                <a:cubicBezTo>
                  <a:pt x="36247" y="18326"/>
                  <a:pt x="36403" y="18483"/>
                  <a:pt x="36606" y="18483"/>
                </a:cubicBezTo>
                <a:lnTo>
                  <a:pt x="48365" y="18483"/>
                </a:lnTo>
                <a:cubicBezTo>
                  <a:pt x="48569" y="18483"/>
                  <a:pt x="48725" y="18326"/>
                  <a:pt x="48725" y="18123"/>
                </a:cubicBezTo>
                <a:cubicBezTo>
                  <a:pt x="48725" y="16216"/>
                  <a:pt x="48084" y="14605"/>
                  <a:pt x="46880" y="13479"/>
                </a:cubicBezTo>
                <a:cubicBezTo>
                  <a:pt x="46333" y="12963"/>
                  <a:pt x="45660" y="12556"/>
                  <a:pt x="44894" y="12291"/>
                </a:cubicBezTo>
                <a:cubicBezTo>
                  <a:pt x="44143" y="12025"/>
                  <a:pt x="43346" y="11884"/>
                  <a:pt x="42486" y="11884"/>
                </a:cubicBezTo>
                <a:cubicBezTo>
                  <a:pt x="41626" y="11884"/>
                  <a:pt x="40813" y="12025"/>
                  <a:pt x="40078" y="12291"/>
                </a:cubicBezTo>
                <a:cubicBezTo>
                  <a:pt x="39312" y="12556"/>
                  <a:pt x="38639" y="12963"/>
                  <a:pt x="38076" y="13479"/>
                </a:cubicBezTo>
                <a:cubicBezTo>
                  <a:pt x="36872" y="14605"/>
                  <a:pt x="36247" y="16216"/>
                  <a:pt x="36247" y="18123"/>
                </a:cubicBezTo>
                <a:close/>
                <a:moveTo>
                  <a:pt x="42079" y="17326"/>
                </a:moveTo>
                <a:cubicBezTo>
                  <a:pt x="42095" y="17326"/>
                  <a:pt x="42100" y="17315"/>
                  <a:pt x="42110" y="17310"/>
                </a:cubicBezTo>
                <a:cubicBezTo>
                  <a:pt x="42220" y="17248"/>
                  <a:pt x="42345" y="17201"/>
                  <a:pt x="42486" y="17201"/>
                </a:cubicBezTo>
                <a:cubicBezTo>
                  <a:pt x="42830" y="17201"/>
                  <a:pt x="43111" y="17451"/>
                  <a:pt x="43174" y="17780"/>
                </a:cubicBezTo>
                <a:lnTo>
                  <a:pt x="41782" y="17780"/>
                </a:lnTo>
                <a:cubicBezTo>
                  <a:pt x="41829" y="17592"/>
                  <a:pt x="41939" y="17435"/>
                  <a:pt x="42079" y="17326"/>
                </a:cubicBezTo>
                <a:close/>
                <a:moveTo>
                  <a:pt x="38561" y="14011"/>
                </a:moveTo>
                <a:cubicBezTo>
                  <a:pt x="39061" y="13557"/>
                  <a:pt x="39640" y="13197"/>
                  <a:pt x="40312" y="12963"/>
                </a:cubicBezTo>
                <a:cubicBezTo>
                  <a:pt x="40984" y="12729"/>
                  <a:pt x="41704" y="12603"/>
                  <a:pt x="42486" y="12603"/>
                </a:cubicBezTo>
                <a:cubicBezTo>
                  <a:pt x="43252" y="12603"/>
                  <a:pt x="43987" y="12729"/>
                  <a:pt x="44659" y="12963"/>
                </a:cubicBezTo>
                <a:cubicBezTo>
                  <a:pt x="45316" y="13197"/>
                  <a:pt x="45910" y="13557"/>
                  <a:pt x="46395" y="14011"/>
                </a:cubicBezTo>
                <a:cubicBezTo>
                  <a:pt x="47380" y="14918"/>
                  <a:pt x="47927" y="16216"/>
                  <a:pt x="48006" y="17780"/>
                </a:cubicBezTo>
                <a:lnTo>
                  <a:pt x="43909" y="17780"/>
                </a:lnTo>
                <a:cubicBezTo>
                  <a:pt x="43831" y="17060"/>
                  <a:pt x="43221" y="16497"/>
                  <a:pt x="42486" y="16497"/>
                </a:cubicBezTo>
                <a:cubicBezTo>
                  <a:pt x="42314" y="16497"/>
                  <a:pt x="42157" y="16513"/>
                  <a:pt x="42017" y="16575"/>
                </a:cubicBezTo>
                <a:lnTo>
                  <a:pt x="40609" y="14761"/>
                </a:lnTo>
                <a:cubicBezTo>
                  <a:pt x="40484" y="14605"/>
                  <a:pt x="40265" y="14574"/>
                  <a:pt x="40109" y="14699"/>
                </a:cubicBezTo>
                <a:cubicBezTo>
                  <a:pt x="39953" y="14808"/>
                  <a:pt x="39921" y="15043"/>
                  <a:pt x="40046" y="15199"/>
                </a:cubicBezTo>
                <a:lnTo>
                  <a:pt x="41422" y="16966"/>
                </a:lnTo>
                <a:cubicBezTo>
                  <a:pt x="41219" y="17185"/>
                  <a:pt x="41094" y="17467"/>
                  <a:pt x="41063" y="17780"/>
                </a:cubicBezTo>
                <a:lnTo>
                  <a:pt x="36966" y="17780"/>
                </a:lnTo>
                <a:cubicBezTo>
                  <a:pt x="37044" y="16216"/>
                  <a:pt x="37591" y="14918"/>
                  <a:pt x="38561" y="14011"/>
                </a:cubicBezTo>
                <a:close/>
                <a:moveTo>
                  <a:pt x="37669" y="17232"/>
                </a:moveTo>
                <a:lnTo>
                  <a:pt x="38186" y="17342"/>
                </a:lnTo>
                <a:cubicBezTo>
                  <a:pt x="38217" y="17342"/>
                  <a:pt x="38232" y="17357"/>
                  <a:pt x="38264" y="17357"/>
                </a:cubicBezTo>
                <a:cubicBezTo>
                  <a:pt x="38420" y="17357"/>
                  <a:pt x="38577" y="17232"/>
                  <a:pt x="38608" y="17075"/>
                </a:cubicBezTo>
                <a:cubicBezTo>
                  <a:pt x="38655" y="16872"/>
                  <a:pt x="38530" y="16685"/>
                  <a:pt x="38342" y="16638"/>
                </a:cubicBezTo>
                <a:lnTo>
                  <a:pt x="37810" y="16529"/>
                </a:lnTo>
                <a:cubicBezTo>
                  <a:pt x="37623" y="16482"/>
                  <a:pt x="37435" y="16607"/>
                  <a:pt x="37388" y="16794"/>
                </a:cubicBezTo>
                <a:cubicBezTo>
                  <a:pt x="37341" y="16997"/>
                  <a:pt x="37466" y="17185"/>
                  <a:pt x="37669" y="17232"/>
                </a:cubicBezTo>
                <a:close/>
                <a:moveTo>
                  <a:pt x="38545" y="15058"/>
                </a:moveTo>
                <a:lnTo>
                  <a:pt x="38952" y="15403"/>
                </a:lnTo>
                <a:cubicBezTo>
                  <a:pt x="39014" y="15465"/>
                  <a:pt x="39108" y="15496"/>
                  <a:pt x="39187" y="15496"/>
                </a:cubicBezTo>
                <a:cubicBezTo>
                  <a:pt x="39280" y="15496"/>
                  <a:pt x="39390" y="15449"/>
                  <a:pt x="39452" y="15371"/>
                </a:cubicBezTo>
                <a:cubicBezTo>
                  <a:pt x="39577" y="15215"/>
                  <a:pt x="39562" y="14980"/>
                  <a:pt x="39421" y="14855"/>
                </a:cubicBezTo>
                <a:lnTo>
                  <a:pt x="39014" y="14511"/>
                </a:lnTo>
                <a:cubicBezTo>
                  <a:pt x="38858" y="14386"/>
                  <a:pt x="38639" y="14402"/>
                  <a:pt x="38498" y="14558"/>
                </a:cubicBezTo>
                <a:cubicBezTo>
                  <a:pt x="38373" y="14699"/>
                  <a:pt x="38389" y="14933"/>
                  <a:pt x="38545" y="15058"/>
                </a:cubicBezTo>
                <a:close/>
                <a:moveTo>
                  <a:pt x="40531" y="14058"/>
                </a:moveTo>
                <a:cubicBezTo>
                  <a:pt x="40594" y="14198"/>
                  <a:pt x="40734" y="14277"/>
                  <a:pt x="40875" y="14277"/>
                </a:cubicBezTo>
                <a:cubicBezTo>
                  <a:pt x="40906" y="14277"/>
                  <a:pt x="40953" y="14277"/>
                  <a:pt x="41000" y="14261"/>
                </a:cubicBezTo>
                <a:cubicBezTo>
                  <a:pt x="41188" y="14183"/>
                  <a:pt x="41282" y="13980"/>
                  <a:pt x="41204" y="13792"/>
                </a:cubicBezTo>
                <a:lnTo>
                  <a:pt x="41000" y="13292"/>
                </a:lnTo>
                <a:cubicBezTo>
                  <a:pt x="40938" y="13104"/>
                  <a:pt x="40719" y="13026"/>
                  <a:pt x="40547" y="13088"/>
                </a:cubicBezTo>
                <a:cubicBezTo>
                  <a:pt x="40359" y="13166"/>
                  <a:pt x="40265" y="13370"/>
                  <a:pt x="40343" y="13557"/>
                </a:cubicBezTo>
                <a:close/>
                <a:moveTo>
                  <a:pt x="42892" y="13995"/>
                </a:moveTo>
                <a:lnTo>
                  <a:pt x="42923" y="13995"/>
                </a:lnTo>
                <a:cubicBezTo>
                  <a:pt x="43111" y="13995"/>
                  <a:pt x="43268" y="13870"/>
                  <a:pt x="43283" y="13682"/>
                </a:cubicBezTo>
                <a:lnTo>
                  <a:pt x="43346" y="13151"/>
                </a:lnTo>
                <a:cubicBezTo>
                  <a:pt x="43361" y="12947"/>
                  <a:pt x="43221" y="12776"/>
                  <a:pt x="43018" y="12760"/>
                </a:cubicBezTo>
                <a:cubicBezTo>
                  <a:pt x="42830" y="12729"/>
                  <a:pt x="42642" y="12869"/>
                  <a:pt x="42627" y="13072"/>
                </a:cubicBezTo>
                <a:lnTo>
                  <a:pt x="42564" y="13604"/>
                </a:lnTo>
                <a:cubicBezTo>
                  <a:pt x="42548" y="13792"/>
                  <a:pt x="42689" y="13980"/>
                  <a:pt x="42892" y="13995"/>
                </a:cubicBezTo>
                <a:close/>
                <a:moveTo>
                  <a:pt x="44675" y="14652"/>
                </a:moveTo>
                <a:cubicBezTo>
                  <a:pt x="44737" y="14699"/>
                  <a:pt x="44800" y="14715"/>
                  <a:pt x="44878" y="14715"/>
                </a:cubicBezTo>
                <a:cubicBezTo>
                  <a:pt x="44988" y="14715"/>
                  <a:pt x="45097" y="14668"/>
                  <a:pt x="45175" y="14558"/>
                </a:cubicBezTo>
                <a:lnTo>
                  <a:pt x="45472" y="14120"/>
                </a:lnTo>
                <a:cubicBezTo>
                  <a:pt x="45582" y="13948"/>
                  <a:pt x="45535" y="13729"/>
                  <a:pt x="45379" y="13620"/>
                </a:cubicBezTo>
                <a:cubicBezTo>
                  <a:pt x="45207" y="13510"/>
                  <a:pt x="44988" y="13557"/>
                  <a:pt x="44878" y="13714"/>
                </a:cubicBezTo>
                <a:lnTo>
                  <a:pt x="44581" y="14152"/>
                </a:lnTo>
                <a:cubicBezTo>
                  <a:pt x="44472" y="14323"/>
                  <a:pt x="44519" y="14542"/>
                  <a:pt x="44675" y="14652"/>
                </a:cubicBezTo>
                <a:close/>
                <a:moveTo>
                  <a:pt x="46255" y="16262"/>
                </a:moveTo>
                <a:cubicBezTo>
                  <a:pt x="46317" y="16262"/>
                  <a:pt x="46380" y="16247"/>
                  <a:pt x="46426" y="16216"/>
                </a:cubicBezTo>
                <a:lnTo>
                  <a:pt x="46896" y="15966"/>
                </a:lnTo>
                <a:cubicBezTo>
                  <a:pt x="47068" y="15872"/>
                  <a:pt x="47146" y="15653"/>
                  <a:pt x="47052" y="15481"/>
                </a:cubicBezTo>
                <a:cubicBezTo>
                  <a:pt x="46958" y="15309"/>
                  <a:pt x="46739" y="15246"/>
                  <a:pt x="46567" y="15340"/>
                </a:cubicBezTo>
                <a:lnTo>
                  <a:pt x="46098" y="15590"/>
                </a:lnTo>
                <a:cubicBezTo>
                  <a:pt x="45926" y="15684"/>
                  <a:pt x="45848" y="15903"/>
                  <a:pt x="45942" y="16075"/>
                </a:cubicBezTo>
                <a:cubicBezTo>
                  <a:pt x="46004" y="16184"/>
                  <a:pt x="46129" y="16262"/>
                  <a:pt x="46255" y="16262"/>
                </a:cubicBezTo>
                <a:close/>
                <a:moveTo>
                  <a:pt x="19296" y="30289"/>
                </a:moveTo>
                <a:lnTo>
                  <a:pt x="18467" y="29835"/>
                </a:lnTo>
                <a:cubicBezTo>
                  <a:pt x="18295" y="29726"/>
                  <a:pt x="18076" y="29789"/>
                  <a:pt x="17967" y="29961"/>
                </a:cubicBezTo>
                <a:cubicBezTo>
                  <a:pt x="17873" y="30148"/>
                  <a:pt x="17935" y="30352"/>
                  <a:pt x="18108" y="30461"/>
                </a:cubicBezTo>
                <a:lnTo>
                  <a:pt x="18952" y="30915"/>
                </a:lnTo>
                <a:cubicBezTo>
                  <a:pt x="18999" y="30946"/>
                  <a:pt x="19061" y="30961"/>
                  <a:pt x="19124" y="30961"/>
                </a:cubicBezTo>
                <a:cubicBezTo>
                  <a:pt x="19249" y="30961"/>
                  <a:pt x="19359" y="30899"/>
                  <a:pt x="19437" y="30774"/>
                </a:cubicBezTo>
                <a:cubicBezTo>
                  <a:pt x="19530" y="30602"/>
                  <a:pt x="19468" y="30383"/>
                  <a:pt x="19296" y="30289"/>
                </a:cubicBezTo>
                <a:close/>
                <a:moveTo>
                  <a:pt x="15136" y="27975"/>
                </a:moveTo>
                <a:lnTo>
                  <a:pt x="14292" y="27506"/>
                </a:lnTo>
                <a:cubicBezTo>
                  <a:pt x="14120" y="27412"/>
                  <a:pt x="13901" y="27475"/>
                  <a:pt x="13807" y="27646"/>
                </a:cubicBezTo>
                <a:cubicBezTo>
                  <a:pt x="13713" y="27818"/>
                  <a:pt x="13776" y="28038"/>
                  <a:pt x="13948" y="28131"/>
                </a:cubicBezTo>
                <a:lnTo>
                  <a:pt x="14777" y="28600"/>
                </a:lnTo>
                <a:cubicBezTo>
                  <a:pt x="14839" y="28631"/>
                  <a:pt x="14902" y="28647"/>
                  <a:pt x="14949" y="28647"/>
                </a:cubicBezTo>
                <a:cubicBezTo>
                  <a:pt x="15089" y="28647"/>
                  <a:pt x="15199" y="28584"/>
                  <a:pt x="15261" y="28459"/>
                </a:cubicBezTo>
                <a:cubicBezTo>
                  <a:pt x="15371" y="28288"/>
                  <a:pt x="15308" y="28069"/>
                  <a:pt x="15136" y="27975"/>
                </a:cubicBezTo>
                <a:close/>
                <a:moveTo>
                  <a:pt x="17216" y="29132"/>
                </a:moveTo>
                <a:lnTo>
                  <a:pt x="16372" y="28663"/>
                </a:lnTo>
                <a:cubicBezTo>
                  <a:pt x="16200" y="28569"/>
                  <a:pt x="15996" y="28631"/>
                  <a:pt x="15887" y="28804"/>
                </a:cubicBezTo>
                <a:cubicBezTo>
                  <a:pt x="15793" y="28976"/>
                  <a:pt x="15856" y="29194"/>
                  <a:pt x="16028" y="29288"/>
                </a:cubicBezTo>
                <a:cubicBezTo>
                  <a:pt x="16857" y="29757"/>
                  <a:pt x="16581" y="29601"/>
                  <a:pt x="16857" y="29757"/>
                </a:cubicBezTo>
                <a:cubicBezTo>
                  <a:pt x="16919" y="29789"/>
                  <a:pt x="16982" y="29804"/>
                  <a:pt x="17044" y="29804"/>
                </a:cubicBezTo>
                <a:cubicBezTo>
                  <a:pt x="17169" y="29804"/>
                  <a:pt x="17278" y="29742"/>
                  <a:pt x="17357" y="29617"/>
                </a:cubicBezTo>
                <a:cubicBezTo>
                  <a:pt x="17451" y="29445"/>
                  <a:pt x="17388" y="29226"/>
                  <a:pt x="17216" y="29132"/>
                </a:cubicBezTo>
                <a:close/>
                <a:moveTo>
                  <a:pt x="26786" y="24879"/>
                </a:moveTo>
                <a:cubicBezTo>
                  <a:pt x="26848" y="25019"/>
                  <a:pt x="26974" y="25098"/>
                  <a:pt x="27115" y="25098"/>
                </a:cubicBezTo>
                <a:cubicBezTo>
                  <a:pt x="27161" y="25098"/>
                  <a:pt x="27208" y="25082"/>
                  <a:pt x="27255" y="25066"/>
                </a:cubicBezTo>
                <a:cubicBezTo>
                  <a:pt x="27443" y="24988"/>
                  <a:pt x="27521" y="24785"/>
                  <a:pt x="27443" y="24597"/>
                </a:cubicBezTo>
                <a:lnTo>
                  <a:pt x="27333" y="24316"/>
                </a:lnTo>
                <a:cubicBezTo>
                  <a:pt x="27255" y="24143"/>
                  <a:pt x="27052" y="24050"/>
                  <a:pt x="26864" y="24128"/>
                </a:cubicBezTo>
                <a:cubicBezTo>
                  <a:pt x="26677" y="24206"/>
                  <a:pt x="26598" y="24410"/>
                  <a:pt x="26677" y="24597"/>
                </a:cubicBezTo>
                <a:close/>
                <a:moveTo>
                  <a:pt x="26129" y="23268"/>
                </a:moveTo>
                <a:cubicBezTo>
                  <a:pt x="26176" y="23409"/>
                  <a:pt x="26317" y="23487"/>
                  <a:pt x="26458" y="23487"/>
                </a:cubicBezTo>
                <a:cubicBezTo>
                  <a:pt x="26505" y="23487"/>
                  <a:pt x="26552" y="23487"/>
                  <a:pt x="26598" y="23471"/>
                </a:cubicBezTo>
                <a:cubicBezTo>
                  <a:pt x="26770" y="23393"/>
                  <a:pt x="26864" y="23190"/>
                  <a:pt x="26786" y="23002"/>
                </a:cubicBezTo>
                <a:lnTo>
                  <a:pt x="26427" y="22126"/>
                </a:lnTo>
                <a:cubicBezTo>
                  <a:pt x="26348" y="21939"/>
                  <a:pt x="26145" y="21845"/>
                  <a:pt x="25957" y="21923"/>
                </a:cubicBezTo>
                <a:cubicBezTo>
                  <a:pt x="25770" y="22001"/>
                  <a:pt x="25692" y="22204"/>
                  <a:pt x="25770" y="22392"/>
                </a:cubicBezTo>
                <a:close/>
                <a:moveTo>
                  <a:pt x="25879" y="20797"/>
                </a:moveTo>
                <a:lnTo>
                  <a:pt x="25519" y="19922"/>
                </a:lnTo>
                <a:cubicBezTo>
                  <a:pt x="25441" y="19734"/>
                  <a:pt x="25238" y="19640"/>
                  <a:pt x="25051" y="19719"/>
                </a:cubicBezTo>
                <a:cubicBezTo>
                  <a:pt x="24863" y="19797"/>
                  <a:pt x="24784" y="20000"/>
                  <a:pt x="24863" y="20187"/>
                </a:cubicBezTo>
                <a:lnTo>
                  <a:pt x="25222" y="21063"/>
                </a:lnTo>
                <a:cubicBezTo>
                  <a:pt x="25285" y="21204"/>
                  <a:pt x="25410" y="21298"/>
                  <a:pt x="25551" y="21298"/>
                </a:cubicBezTo>
                <a:cubicBezTo>
                  <a:pt x="25597" y="21298"/>
                  <a:pt x="25644" y="21282"/>
                  <a:pt x="25692" y="21266"/>
                </a:cubicBezTo>
                <a:cubicBezTo>
                  <a:pt x="25864" y="21188"/>
                  <a:pt x="25957" y="20985"/>
                  <a:pt x="25879" y="20797"/>
                </a:cubicBezTo>
                <a:close/>
                <a:moveTo>
                  <a:pt x="41907" y="20797"/>
                </a:moveTo>
                <a:lnTo>
                  <a:pt x="42032" y="19859"/>
                </a:lnTo>
                <a:cubicBezTo>
                  <a:pt x="42048" y="19656"/>
                  <a:pt x="41907" y="19484"/>
                  <a:pt x="41720" y="19452"/>
                </a:cubicBezTo>
                <a:cubicBezTo>
                  <a:pt x="41516" y="19437"/>
                  <a:pt x="41344" y="19577"/>
                  <a:pt x="41313" y="19765"/>
                </a:cubicBezTo>
                <a:lnTo>
                  <a:pt x="41204" y="20719"/>
                </a:lnTo>
                <a:cubicBezTo>
                  <a:pt x="41172" y="20907"/>
                  <a:pt x="41313" y="21095"/>
                  <a:pt x="41516" y="21110"/>
                </a:cubicBezTo>
                <a:lnTo>
                  <a:pt x="41563" y="21110"/>
                </a:lnTo>
                <a:cubicBezTo>
                  <a:pt x="41735" y="21110"/>
                  <a:pt x="41892" y="20985"/>
                  <a:pt x="41907" y="20797"/>
                </a:cubicBezTo>
                <a:close/>
                <a:moveTo>
                  <a:pt x="41031" y="22142"/>
                </a:moveTo>
                <a:lnTo>
                  <a:pt x="40906" y="23080"/>
                </a:lnTo>
                <a:cubicBezTo>
                  <a:pt x="40891" y="23284"/>
                  <a:pt x="41031" y="23455"/>
                  <a:pt x="41219" y="23471"/>
                </a:cubicBezTo>
                <a:cubicBezTo>
                  <a:pt x="41235" y="23487"/>
                  <a:pt x="41251" y="23487"/>
                  <a:pt x="41266" y="23487"/>
                </a:cubicBezTo>
                <a:cubicBezTo>
                  <a:pt x="41438" y="23487"/>
                  <a:pt x="41594" y="23346"/>
                  <a:pt x="41626" y="23174"/>
                </a:cubicBezTo>
                <a:lnTo>
                  <a:pt x="41735" y="22220"/>
                </a:lnTo>
                <a:cubicBezTo>
                  <a:pt x="41767" y="22033"/>
                  <a:pt x="41626" y="21845"/>
                  <a:pt x="41422" y="21829"/>
                </a:cubicBezTo>
                <a:cubicBezTo>
                  <a:pt x="41235" y="21798"/>
                  <a:pt x="41047" y="21939"/>
                  <a:pt x="41031" y="22142"/>
                </a:cubicBezTo>
                <a:close/>
                <a:moveTo>
                  <a:pt x="32431" y="19562"/>
                </a:moveTo>
                <a:cubicBezTo>
                  <a:pt x="32462" y="19750"/>
                  <a:pt x="32619" y="19875"/>
                  <a:pt x="32791" y="19875"/>
                </a:cubicBezTo>
                <a:lnTo>
                  <a:pt x="32838" y="19875"/>
                </a:lnTo>
                <a:cubicBezTo>
                  <a:pt x="33041" y="19844"/>
                  <a:pt x="33166" y="19656"/>
                  <a:pt x="33150" y="19468"/>
                </a:cubicBezTo>
                <a:lnTo>
                  <a:pt x="33010" y="18514"/>
                </a:lnTo>
                <a:cubicBezTo>
                  <a:pt x="32978" y="18326"/>
                  <a:pt x="32791" y="18186"/>
                  <a:pt x="32603" y="18217"/>
                </a:cubicBezTo>
                <a:cubicBezTo>
                  <a:pt x="32400" y="18248"/>
                  <a:pt x="32275" y="18436"/>
                  <a:pt x="32290" y="18624"/>
                </a:cubicBezTo>
                <a:close/>
                <a:moveTo>
                  <a:pt x="32791" y="21923"/>
                </a:moveTo>
                <a:cubicBezTo>
                  <a:pt x="32807" y="22095"/>
                  <a:pt x="32963" y="22236"/>
                  <a:pt x="33135" y="22236"/>
                </a:cubicBezTo>
                <a:cubicBezTo>
                  <a:pt x="33150" y="22236"/>
                  <a:pt x="33182" y="22220"/>
                  <a:pt x="33197" y="22220"/>
                </a:cubicBezTo>
                <a:cubicBezTo>
                  <a:pt x="33385" y="22189"/>
                  <a:pt x="33526" y="22017"/>
                  <a:pt x="33495" y="21814"/>
                </a:cubicBezTo>
                <a:lnTo>
                  <a:pt x="33353" y="20875"/>
                </a:lnTo>
                <a:cubicBezTo>
                  <a:pt x="33322" y="20688"/>
                  <a:pt x="33150" y="20547"/>
                  <a:pt x="32947" y="20578"/>
                </a:cubicBezTo>
                <a:cubicBezTo>
                  <a:pt x="32760" y="20610"/>
                  <a:pt x="32619" y="20782"/>
                  <a:pt x="32650" y="20985"/>
                </a:cubicBezTo>
                <a:close/>
                <a:moveTo>
                  <a:pt x="32494" y="17513"/>
                </a:moveTo>
                <a:cubicBezTo>
                  <a:pt x="32681" y="17482"/>
                  <a:pt x="32822" y="17295"/>
                  <a:pt x="32791" y="17107"/>
                </a:cubicBezTo>
                <a:lnTo>
                  <a:pt x="32650" y="16169"/>
                </a:lnTo>
                <a:cubicBezTo>
                  <a:pt x="32619" y="15966"/>
                  <a:pt x="32447" y="15841"/>
                  <a:pt x="32244" y="15856"/>
                </a:cubicBezTo>
                <a:cubicBezTo>
                  <a:pt x="32056" y="15887"/>
                  <a:pt x="31915" y="16075"/>
                  <a:pt x="31946" y="16262"/>
                </a:cubicBezTo>
                <a:cubicBezTo>
                  <a:pt x="32087" y="17217"/>
                  <a:pt x="32040" y="16899"/>
                  <a:pt x="32087" y="17217"/>
                </a:cubicBezTo>
                <a:cubicBezTo>
                  <a:pt x="32119" y="17388"/>
                  <a:pt x="32259" y="17513"/>
                  <a:pt x="32447" y="17513"/>
                </a:cubicBezTo>
                <a:close/>
                <a:moveTo>
                  <a:pt x="32994" y="23362"/>
                </a:moveTo>
                <a:cubicBezTo>
                  <a:pt x="33025" y="23534"/>
                  <a:pt x="33182" y="23659"/>
                  <a:pt x="33353" y="23659"/>
                </a:cubicBezTo>
                <a:lnTo>
                  <a:pt x="33401" y="23659"/>
                </a:lnTo>
                <a:cubicBezTo>
                  <a:pt x="33604" y="23628"/>
                  <a:pt x="33729" y="23455"/>
                  <a:pt x="33713" y="23252"/>
                </a:cubicBezTo>
                <a:lnTo>
                  <a:pt x="33698" y="23237"/>
                </a:lnTo>
                <a:cubicBezTo>
                  <a:pt x="33682" y="23034"/>
                  <a:pt x="33495" y="22909"/>
                  <a:pt x="33291" y="22940"/>
                </a:cubicBezTo>
                <a:cubicBezTo>
                  <a:pt x="33103" y="22955"/>
                  <a:pt x="32963" y="23143"/>
                  <a:pt x="32994" y="23330"/>
                </a:cubicBezTo>
                <a:close/>
                <a:moveTo>
                  <a:pt x="22142" y="27443"/>
                </a:moveTo>
                <a:cubicBezTo>
                  <a:pt x="22220" y="27568"/>
                  <a:pt x="22329" y="27631"/>
                  <a:pt x="22455" y="27631"/>
                </a:cubicBezTo>
                <a:cubicBezTo>
                  <a:pt x="22517" y="27631"/>
                  <a:pt x="22580" y="27615"/>
                  <a:pt x="22627" y="27600"/>
                </a:cubicBezTo>
                <a:cubicBezTo>
                  <a:pt x="22799" y="27490"/>
                  <a:pt x="22877" y="27287"/>
                  <a:pt x="22783" y="27099"/>
                </a:cubicBezTo>
                <a:lnTo>
                  <a:pt x="22314" y="26270"/>
                </a:lnTo>
                <a:cubicBezTo>
                  <a:pt x="22220" y="26099"/>
                  <a:pt x="22017" y="26036"/>
                  <a:pt x="21829" y="26130"/>
                </a:cubicBezTo>
                <a:cubicBezTo>
                  <a:pt x="21657" y="26224"/>
                  <a:pt x="21594" y="26442"/>
                  <a:pt x="21688" y="26614"/>
                </a:cubicBezTo>
                <a:close/>
                <a:moveTo>
                  <a:pt x="21173" y="24191"/>
                </a:moveTo>
                <a:cubicBezTo>
                  <a:pt x="21078" y="24018"/>
                  <a:pt x="20875" y="23956"/>
                  <a:pt x="20688" y="24050"/>
                </a:cubicBezTo>
                <a:cubicBezTo>
                  <a:pt x="20516" y="24143"/>
                  <a:pt x="20453" y="24363"/>
                  <a:pt x="20547" y="24535"/>
                </a:cubicBezTo>
                <a:lnTo>
                  <a:pt x="21016" y="25363"/>
                </a:lnTo>
                <a:cubicBezTo>
                  <a:pt x="21078" y="25489"/>
                  <a:pt x="21204" y="25551"/>
                  <a:pt x="21329" y="25551"/>
                </a:cubicBezTo>
                <a:cubicBezTo>
                  <a:pt x="21376" y="25551"/>
                  <a:pt x="21438" y="25536"/>
                  <a:pt x="21501" y="25504"/>
                </a:cubicBezTo>
                <a:cubicBezTo>
                  <a:pt x="21673" y="25410"/>
                  <a:pt x="21735" y="25191"/>
                  <a:pt x="21641" y="25019"/>
                </a:cubicBezTo>
                <a:close/>
                <a:moveTo>
                  <a:pt x="20359" y="23409"/>
                </a:moveTo>
                <a:cubicBezTo>
                  <a:pt x="20531" y="23315"/>
                  <a:pt x="20594" y="23112"/>
                  <a:pt x="20500" y="22924"/>
                </a:cubicBezTo>
                <a:lnTo>
                  <a:pt x="20140" y="22283"/>
                </a:lnTo>
                <a:cubicBezTo>
                  <a:pt x="20406" y="22142"/>
                  <a:pt x="20688" y="21970"/>
                  <a:pt x="20953" y="21751"/>
                </a:cubicBezTo>
                <a:cubicBezTo>
                  <a:pt x="21704" y="21204"/>
                  <a:pt x="22282" y="20547"/>
                  <a:pt x="22705" y="19812"/>
                </a:cubicBezTo>
                <a:cubicBezTo>
                  <a:pt x="23237" y="18874"/>
                  <a:pt x="23502" y="17811"/>
                  <a:pt x="23502" y="16638"/>
                </a:cubicBezTo>
                <a:lnTo>
                  <a:pt x="23502" y="16560"/>
                </a:lnTo>
                <a:cubicBezTo>
                  <a:pt x="23831" y="16997"/>
                  <a:pt x="24237" y="17373"/>
                  <a:pt x="24722" y="17811"/>
                </a:cubicBezTo>
                <a:cubicBezTo>
                  <a:pt x="25613" y="18593"/>
                  <a:pt x="27333" y="19156"/>
                  <a:pt x="27396" y="19171"/>
                </a:cubicBezTo>
                <a:cubicBezTo>
                  <a:pt x="27443" y="19187"/>
                  <a:pt x="27474" y="19187"/>
                  <a:pt x="27505" y="19187"/>
                </a:cubicBezTo>
                <a:cubicBezTo>
                  <a:pt x="27662" y="19187"/>
                  <a:pt x="27803" y="19093"/>
                  <a:pt x="27849" y="18936"/>
                </a:cubicBezTo>
                <a:cubicBezTo>
                  <a:pt x="27912" y="18749"/>
                  <a:pt x="27803" y="18546"/>
                  <a:pt x="27615" y="18499"/>
                </a:cubicBezTo>
                <a:cubicBezTo>
                  <a:pt x="27599" y="18483"/>
                  <a:pt x="25973" y="17967"/>
                  <a:pt x="25191" y="17263"/>
                </a:cubicBezTo>
                <a:cubicBezTo>
                  <a:pt x="24409" y="16575"/>
                  <a:pt x="23878" y="16012"/>
                  <a:pt x="23502" y="15168"/>
                </a:cubicBezTo>
                <a:lnTo>
                  <a:pt x="23502" y="12213"/>
                </a:lnTo>
                <a:cubicBezTo>
                  <a:pt x="25535" y="14245"/>
                  <a:pt x="24857" y="13568"/>
                  <a:pt x="25535" y="14245"/>
                </a:cubicBezTo>
                <a:cubicBezTo>
                  <a:pt x="25613" y="14308"/>
                  <a:pt x="25707" y="14339"/>
                  <a:pt x="25801" y="14339"/>
                </a:cubicBezTo>
                <a:cubicBezTo>
                  <a:pt x="25879" y="14339"/>
                  <a:pt x="25973" y="14308"/>
                  <a:pt x="26051" y="14245"/>
                </a:cubicBezTo>
                <a:cubicBezTo>
                  <a:pt x="26192" y="14105"/>
                  <a:pt x="26192" y="13870"/>
                  <a:pt x="26051" y="13729"/>
                </a:cubicBezTo>
                <a:lnTo>
                  <a:pt x="23408" y="11087"/>
                </a:lnTo>
                <a:cubicBezTo>
                  <a:pt x="23330" y="11024"/>
                  <a:pt x="23252" y="10993"/>
                  <a:pt x="23143" y="10993"/>
                </a:cubicBezTo>
                <a:cubicBezTo>
                  <a:pt x="23049" y="10993"/>
                  <a:pt x="22970" y="11024"/>
                  <a:pt x="22892" y="11087"/>
                </a:cubicBezTo>
                <a:lnTo>
                  <a:pt x="20250" y="13729"/>
                </a:lnTo>
                <a:cubicBezTo>
                  <a:pt x="20109" y="13870"/>
                  <a:pt x="20109" y="14105"/>
                  <a:pt x="20250" y="14245"/>
                </a:cubicBezTo>
                <a:cubicBezTo>
                  <a:pt x="20390" y="14386"/>
                  <a:pt x="20625" y="14386"/>
                  <a:pt x="20766" y="14245"/>
                </a:cubicBezTo>
                <a:lnTo>
                  <a:pt x="22799" y="12213"/>
                </a:lnTo>
                <a:lnTo>
                  <a:pt x="22799" y="15246"/>
                </a:lnTo>
                <a:lnTo>
                  <a:pt x="22799" y="16638"/>
                </a:lnTo>
                <a:cubicBezTo>
                  <a:pt x="22799" y="17685"/>
                  <a:pt x="22564" y="18624"/>
                  <a:pt x="22095" y="19437"/>
                </a:cubicBezTo>
                <a:cubicBezTo>
                  <a:pt x="21719" y="20094"/>
                  <a:pt x="21204" y="20672"/>
                  <a:pt x="20547" y="21173"/>
                </a:cubicBezTo>
                <a:cubicBezTo>
                  <a:pt x="19421" y="22017"/>
                  <a:pt x="18279" y="22283"/>
                  <a:pt x="18264" y="22299"/>
                </a:cubicBezTo>
                <a:cubicBezTo>
                  <a:pt x="18076" y="22346"/>
                  <a:pt x="17951" y="22533"/>
                  <a:pt x="17998" y="22721"/>
                </a:cubicBezTo>
                <a:cubicBezTo>
                  <a:pt x="18029" y="22893"/>
                  <a:pt x="18186" y="23002"/>
                  <a:pt x="18342" y="23002"/>
                </a:cubicBezTo>
                <a:cubicBezTo>
                  <a:pt x="18373" y="23002"/>
                  <a:pt x="18389" y="23002"/>
                  <a:pt x="18420" y="22987"/>
                </a:cubicBezTo>
                <a:cubicBezTo>
                  <a:pt x="18451" y="22987"/>
                  <a:pt x="18889" y="22877"/>
                  <a:pt x="19499" y="22611"/>
                </a:cubicBezTo>
                <a:lnTo>
                  <a:pt x="19875" y="23268"/>
                </a:lnTo>
                <a:cubicBezTo>
                  <a:pt x="19937" y="23393"/>
                  <a:pt x="20047" y="23455"/>
                  <a:pt x="20187" y="23455"/>
                </a:cubicBezTo>
                <a:cubicBezTo>
                  <a:pt x="20234" y="23455"/>
                  <a:pt x="20297" y="23440"/>
                  <a:pt x="20359" y="23409"/>
                </a:cubicBezTo>
                <a:close/>
                <a:moveTo>
                  <a:pt x="18217" y="18749"/>
                </a:moveTo>
                <a:lnTo>
                  <a:pt x="17748" y="17920"/>
                </a:lnTo>
                <a:cubicBezTo>
                  <a:pt x="17654" y="17748"/>
                  <a:pt x="17435" y="17670"/>
                  <a:pt x="17263" y="17780"/>
                </a:cubicBezTo>
                <a:cubicBezTo>
                  <a:pt x="17091" y="17873"/>
                  <a:pt x="17028" y="18076"/>
                  <a:pt x="17122" y="18264"/>
                </a:cubicBezTo>
                <a:cubicBezTo>
                  <a:pt x="17576" y="19093"/>
                  <a:pt x="17425" y="18817"/>
                  <a:pt x="17576" y="19093"/>
                </a:cubicBezTo>
                <a:cubicBezTo>
                  <a:pt x="17654" y="19218"/>
                  <a:pt x="17763" y="19281"/>
                  <a:pt x="17888" y="19281"/>
                </a:cubicBezTo>
                <a:cubicBezTo>
                  <a:pt x="17951" y="19281"/>
                  <a:pt x="18014" y="19265"/>
                  <a:pt x="18061" y="19234"/>
                </a:cubicBezTo>
                <a:cubicBezTo>
                  <a:pt x="18248" y="19140"/>
                  <a:pt x="18311" y="18921"/>
                  <a:pt x="18217" y="18749"/>
                </a:cubicBezTo>
                <a:close/>
                <a:moveTo>
                  <a:pt x="18404" y="19859"/>
                </a:moveTo>
                <a:cubicBezTo>
                  <a:pt x="18233" y="19953"/>
                  <a:pt x="18170" y="20172"/>
                  <a:pt x="18264" y="20344"/>
                </a:cubicBezTo>
                <a:lnTo>
                  <a:pt x="18717" y="21188"/>
                </a:lnTo>
                <a:cubicBezTo>
                  <a:pt x="18796" y="21298"/>
                  <a:pt x="18905" y="21376"/>
                  <a:pt x="19046" y="21376"/>
                </a:cubicBezTo>
                <a:cubicBezTo>
                  <a:pt x="19092" y="21376"/>
                  <a:pt x="19155" y="21360"/>
                  <a:pt x="19202" y="21329"/>
                </a:cubicBezTo>
                <a:cubicBezTo>
                  <a:pt x="19390" y="21235"/>
                  <a:pt x="19452" y="21016"/>
                  <a:pt x="19359" y="20844"/>
                </a:cubicBezTo>
                <a:lnTo>
                  <a:pt x="18889" y="20000"/>
                </a:lnTo>
                <a:cubicBezTo>
                  <a:pt x="18796" y="19828"/>
                  <a:pt x="18576" y="19765"/>
                  <a:pt x="18404" y="19859"/>
                </a:cubicBezTo>
                <a:close/>
                <a:moveTo>
                  <a:pt x="16122" y="15684"/>
                </a:moveTo>
                <a:cubicBezTo>
                  <a:pt x="15949" y="15778"/>
                  <a:pt x="15887" y="15997"/>
                  <a:pt x="15981" y="16169"/>
                </a:cubicBezTo>
                <a:lnTo>
                  <a:pt x="16434" y="16997"/>
                </a:lnTo>
                <a:cubicBezTo>
                  <a:pt x="16512" y="17123"/>
                  <a:pt x="16622" y="17185"/>
                  <a:pt x="16747" y="17185"/>
                </a:cubicBezTo>
                <a:cubicBezTo>
                  <a:pt x="16810" y="17185"/>
                  <a:pt x="16872" y="17170"/>
                  <a:pt x="16919" y="17138"/>
                </a:cubicBezTo>
                <a:cubicBezTo>
                  <a:pt x="17091" y="17044"/>
                  <a:pt x="17169" y="16841"/>
                  <a:pt x="17060" y="16654"/>
                </a:cubicBezTo>
                <a:lnTo>
                  <a:pt x="16606" y="15824"/>
                </a:lnTo>
                <a:cubicBezTo>
                  <a:pt x="16512" y="15653"/>
                  <a:pt x="16294" y="15590"/>
                  <a:pt x="16122" y="15684"/>
                </a:cubicBezTo>
                <a:close/>
                <a:moveTo>
                  <a:pt x="54229" y="34433"/>
                </a:moveTo>
                <a:lnTo>
                  <a:pt x="53275" y="34433"/>
                </a:lnTo>
                <a:cubicBezTo>
                  <a:pt x="53072" y="34433"/>
                  <a:pt x="52916" y="34589"/>
                  <a:pt x="52916" y="34793"/>
                </a:cubicBezTo>
                <a:cubicBezTo>
                  <a:pt x="52916" y="34996"/>
                  <a:pt x="53072" y="35152"/>
                  <a:pt x="53275" y="35152"/>
                </a:cubicBezTo>
                <a:lnTo>
                  <a:pt x="54229" y="35152"/>
                </a:lnTo>
                <a:cubicBezTo>
                  <a:pt x="54417" y="35152"/>
                  <a:pt x="54574" y="34996"/>
                  <a:pt x="54574" y="34793"/>
                </a:cubicBezTo>
                <a:cubicBezTo>
                  <a:pt x="54574" y="34589"/>
                  <a:pt x="54417" y="34433"/>
                  <a:pt x="54229" y="34433"/>
                </a:cubicBezTo>
                <a:close/>
                <a:moveTo>
                  <a:pt x="58983" y="34433"/>
                </a:moveTo>
                <a:lnTo>
                  <a:pt x="58029" y="34433"/>
                </a:lnTo>
                <a:cubicBezTo>
                  <a:pt x="57842" y="34433"/>
                  <a:pt x="57669" y="34589"/>
                  <a:pt x="57669" y="34793"/>
                </a:cubicBezTo>
                <a:cubicBezTo>
                  <a:pt x="57669" y="34996"/>
                  <a:pt x="57842" y="35152"/>
                  <a:pt x="58029" y="35152"/>
                </a:cubicBezTo>
                <a:lnTo>
                  <a:pt x="58983" y="35152"/>
                </a:lnTo>
                <a:cubicBezTo>
                  <a:pt x="59186" y="35152"/>
                  <a:pt x="59343" y="34996"/>
                  <a:pt x="59343" y="34793"/>
                </a:cubicBezTo>
                <a:cubicBezTo>
                  <a:pt x="59343" y="34589"/>
                  <a:pt x="59186" y="34433"/>
                  <a:pt x="58983" y="34433"/>
                </a:cubicBezTo>
                <a:close/>
                <a:moveTo>
                  <a:pt x="51837" y="34433"/>
                </a:moveTo>
                <a:lnTo>
                  <a:pt x="50883" y="34433"/>
                </a:lnTo>
                <a:cubicBezTo>
                  <a:pt x="50695" y="34433"/>
                  <a:pt x="50523" y="34589"/>
                  <a:pt x="50523" y="34793"/>
                </a:cubicBezTo>
                <a:cubicBezTo>
                  <a:pt x="50523" y="34996"/>
                  <a:pt x="50695" y="35152"/>
                  <a:pt x="50883" y="35152"/>
                </a:cubicBezTo>
                <a:lnTo>
                  <a:pt x="51837" y="35152"/>
                </a:lnTo>
                <a:cubicBezTo>
                  <a:pt x="52040" y="35152"/>
                  <a:pt x="52197" y="34996"/>
                  <a:pt x="52197" y="34793"/>
                </a:cubicBezTo>
                <a:cubicBezTo>
                  <a:pt x="52197" y="34589"/>
                  <a:pt x="52040" y="34433"/>
                  <a:pt x="51837" y="34433"/>
                </a:cubicBezTo>
                <a:close/>
                <a:moveTo>
                  <a:pt x="56606" y="34433"/>
                </a:moveTo>
                <a:lnTo>
                  <a:pt x="55652" y="34433"/>
                </a:lnTo>
                <a:cubicBezTo>
                  <a:pt x="55449" y="34433"/>
                  <a:pt x="55293" y="34589"/>
                  <a:pt x="55293" y="34793"/>
                </a:cubicBezTo>
                <a:cubicBezTo>
                  <a:pt x="55293" y="34996"/>
                  <a:pt x="55449" y="35152"/>
                  <a:pt x="55652" y="35152"/>
                </a:cubicBezTo>
                <a:lnTo>
                  <a:pt x="56606" y="35152"/>
                </a:lnTo>
                <a:cubicBezTo>
                  <a:pt x="56809" y="35152"/>
                  <a:pt x="56966" y="34996"/>
                  <a:pt x="56966" y="34793"/>
                </a:cubicBezTo>
                <a:cubicBezTo>
                  <a:pt x="56966" y="34589"/>
                  <a:pt x="56809" y="34433"/>
                  <a:pt x="56606" y="34433"/>
                </a:cubicBezTo>
                <a:close/>
                <a:moveTo>
                  <a:pt x="60734" y="34433"/>
                </a:moveTo>
                <a:lnTo>
                  <a:pt x="60422" y="34433"/>
                </a:lnTo>
                <a:cubicBezTo>
                  <a:pt x="60218" y="34433"/>
                  <a:pt x="60062" y="34589"/>
                  <a:pt x="60062" y="34793"/>
                </a:cubicBezTo>
                <a:cubicBezTo>
                  <a:pt x="60062" y="34996"/>
                  <a:pt x="60218" y="35152"/>
                  <a:pt x="60422" y="35152"/>
                </a:cubicBezTo>
                <a:lnTo>
                  <a:pt x="60734" y="35152"/>
                </a:lnTo>
                <a:cubicBezTo>
                  <a:pt x="60937" y="35152"/>
                  <a:pt x="61094" y="34996"/>
                  <a:pt x="61094" y="34793"/>
                </a:cubicBezTo>
                <a:cubicBezTo>
                  <a:pt x="61094" y="34589"/>
                  <a:pt x="60937" y="34433"/>
                  <a:pt x="60734" y="34433"/>
                </a:cubicBezTo>
                <a:close/>
                <a:moveTo>
                  <a:pt x="60734" y="38029"/>
                </a:moveTo>
                <a:lnTo>
                  <a:pt x="60422" y="38029"/>
                </a:lnTo>
                <a:cubicBezTo>
                  <a:pt x="60218" y="38029"/>
                  <a:pt x="60062" y="38201"/>
                  <a:pt x="60062" y="38389"/>
                </a:cubicBezTo>
                <a:cubicBezTo>
                  <a:pt x="60062" y="38592"/>
                  <a:pt x="60218" y="38749"/>
                  <a:pt x="60422" y="38749"/>
                </a:cubicBezTo>
                <a:lnTo>
                  <a:pt x="60734" y="38749"/>
                </a:lnTo>
                <a:cubicBezTo>
                  <a:pt x="60937" y="38749"/>
                  <a:pt x="61094" y="38592"/>
                  <a:pt x="61094" y="38389"/>
                </a:cubicBezTo>
                <a:cubicBezTo>
                  <a:pt x="61094" y="38201"/>
                  <a:pt x="60937" y="38029"/>
                  <a:pt x="60734" y="38029"/>
                </a:cubicBezTo>
                <a:close/>
                <a:moveTo>
                  <a:pt x="54229" y="38029"/>
                </a:moveTo>
                <a:lnTo>
                  <a:pt x="53275" y="38029"/>
                </a:lnTo>
                <a:cubicBezTo>
                  <a:pt x="53072" y="38029"/>
                  <a:pt x="52916" y="38201"/>
                  <a:pt x="52916" y="38389"/>
                </a:cubicBezTo>
                <a:cubicBezTo>
                  <a:pt x="52916" y="38592"/>
                  <a:pt x="53072" y="38749"/>
                  <a:pt x="53275" y="38749"/>
                </a:cubicBezTo>
                <a:lnTo>
                  <a:pt x="54229" y="38749"/>
                </a:lnTo>
                <a:cubicBezTo>
                  <a:pt x="54417" y="38749"/>
                  <a:pt x="54574" y="38592"/>
                  <a:pt x="54574" y="38389"/>
                </a:cubicBezTo>
                <a:cubicBezTo>
                  <a:pt x="54574" y="38201"/>
                  <a:pt x="54417" y="38029"/>
                  <a:pt x="54229" y="38029"/>
                </a:cubicBezTo>
                <a:close/>
                <a:moveTo>
                  <a:pt x="58983" y="38029"/>
                </a:moveTo>
                <a:lnTo>
                  <a:pt x="58029" y="38029"/>
                </a:lnTo>
                <a:cubicBezTo>
                  <a:pt x="57842" y="38029"/>
                  <a:pt x="57669" y="38201"/>
                  <a:pt x="57669" y="38389"/>
                </a:cubicBezTo>
                <a:cubicBezTo>
                  <a:pt x="57669" y="38592"/>
                  <a:pt x="57842" y="38749"/>
                  <a:pt x="58029" y="38749"/>
                </a:cubicBezTo>
                <a:lnTo>
                  <a:pt x="58983" y="38749"/>
                </a:lnTo>
                <a:cubicBezTo>
                  <a:pt x="59186" y="38749"/>
                  <a:pt x="59343" y="38592"/>
                  <a:pt x="59343" y="38389"/>
                </a:cubicBezTo>
                <a:cubicBezTo>
                  <a:pt x="59343" y="38201"/>
                  <a:pt x="59186" y="38029"/>
                  <a:pt x="58983" y="38029"/>
                </a:cubicBezTo>
                <a:close/>
                <a:moveTo>
                  <a:pt x="51837" y="38029"/>
                </a:moveTo>
                <a:lnTo>
                  <a:pt x="50883" y="38029"/>
                </a:lnTo>
                <a:cubicBezTo>
                  <a:pt x="50695" y="38029"/>
                  <a:pt x="50523" y="38201"/>
                  <a:pt x="50523" y="38389"/>
                </a:cubicBezTo>
                <a:cubicBezTo>
                  <a:pt x="50523" y="38592"/>
                  <a:pt x="50695" y="38749"/>
                  <a:pt x="50883" y="38749"/>
                </a:cubicBezTo>
                <a:lnTo>
                  <a:pt x="51837" y="38749"/>
                </a:lnTo>
                <a:cubicBezTo>
                  <a:pt x="52040" y="38749"/>
                  <a:pt x="52197" y="38592"/>
                  <a:pt x="52197" y="38389"/>
                </a:cubicBezTo>
                <a:cubicBezTo>
                  <a:pt x="52197" y="38201"/>
                  <a:pt x="52040" y="38029"/>
                  <a:pt x="51837" y="38029"/>
                </a:cubicBezTo>
                <a:close/>
                <a:moveTo>
                  <a:pt x="56606" y="38029"/>
                </a:moveTo>
                <a:lnTo>
                  <a:pt x="55652" y="38029"/>
                </a:lnTo>
                <a:cubicBezTo>
                  <a:pt x="55449" y="38029"/>
                  <a:pt x="55293" y="38201"/>
                  <a:pt x="55293" y="38389"/>
                </a:cubicBezTo>
                <a:cubicBezTo>
                  <a:pt x="55293" y="38592"/>
                  <a:pt x="55449" y="38749"/>
                  <a:pt x="55652" y="38749"/>
                </a:cubicBezTo>
                <a:lnTo>
                  <a:pt x="56606" y="38749"/>
                </a:lnTo>
                <a:cubicBezTo>
                  <a:pt x="56809" y="38749"/>
                  <a:pt x="56966" y="38592"/>
                  <a:pt x="56966" y="38389"/>
                </a:cubicBezTo>
                <a:cubicBezTo>
                  <a:pt x="56966" y="38201"/>
                  <a:pt x="56809" y="38029"/>
                  <a:pt x="56606" y="3802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942000878"/>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2F8D7-2ABC-2449-80E5-048E1884FAD3}"/>
              </a:ext>
            </a:extLst>
          </p:cNvPr>
          <p:cNvSpPr>
            <a:spLocks noGrp="1"/>
          </p:cNvSpPr>
          <p:nvPr>
            <p:ph type="title"/>
          </p:nvPr>
        </p:nvSpPr>
        <p:spPr/>
        <p:txBody>
          <a:bodyPr/>
          <a:lstStyle/>
          <a:p>
            <a:r>
              <a:rPr lang="en-US" dirty="0"/>
              <a:t>Thank you</a:t>
            </a:r>
          </a:p>
        </p:txBody>
      </p:sp>
      <p:sp>
        <p:nvSpPr>
          <p:cNvPr id="3" name="TextBox 2">
            <a:extLst>
              <a:ext uri="{FF2B5EF4-FFF2-40B4-BE49-F238E27FC236}">
                <a16:creationId xmlns:a16="http://schemas.microsoft.com/office/drawing/2014/main" id="{F5345055-57D1-A943-9A45-4A73EDACFDFE}"/>
              </a:ext>
            </a:extLst>
          </p:cNvPr>
          <p:cNvSpPr txBox="1"/>
          <p:nvPr/>
        </p:nvSpPr>
        <p:spPr>
          <a:xfrm>
            <a:off x="2992070" y="6933952"/>
            <a:ext cx="8256380" cy="707886"/>
          </a:xfrm>
          <a:prstGeom prst="rect">
            <a:avLst/>
          </a:prstGeom>
          <a:noFill/>
        </p:spPr>
        <p:txBody>
          <a:bodyPr wrap="square" rtlCol="0">
            <a:spAutoFit/>
          </a:bodyPr>
          <a:lstStyle/>
          <a:p>
            <a:r>
              <a:rPr lang="en-US" sz="4000" dirty="0">
                <a:solidFill>
                  <a:schemeClr val="bg1">
                    <a:lumMod val="50000"/>
                  </a:schemeClr>
                </a:solidFill>
                <a:latin typeface="+mj-lt"/>
                <a:ea typeface="Lato Light" charset="0"/>
                <a:cs typeface="Lato Light" charset="0"/>
              </a:rPr>
              <a:t>twitter.com/</a:t>
            </a:r>
            <a:r>
              <a:rPr lang="en-US" sz="4000" dirty="0" err="1">
                <a:solidFill>
                  <a:schemeClr val="bg1">
                    <a:lumMod val="50000"/>
                  </a:schemeClr>
                </a:solidFill>
                <a:latin typeface="+mj-lt"/>
                <a:ea typeface="Lato Light" charset="0"/>
                <a:cs typeface="Lato Light" charset="0"/>
              </a:rPr>
              <a:t>opentext</a:t>
            </a:r>
            <a:endParaRPr lang="en-US" sz="4000" dirty="0">
              <a:solidFill>
                <a:schemeClr val="bg1">
                  <a:lumMod val="50000"/>
                </a:schemeClr>
              </a:solidFill>
              <a:latin typeface="+mj-lt"/>
              <a:ea typeface="Lato Light" charset="0"/>
              <a:cs typeface="Lato Light" charset="0"/>
            </a:endParaRPr>
          </a:p>
        </p:txBody>
      </p:sp>
      <p:sp>
        <p:nvSpPr>
          <p:cNvPr id="4" name="TextBox 3">
            <a:extLst>
              <a:ext uri="{FF2B5EF4-FFF2-40B4-BE49-F238E27FC236}">
                <a16:creationId xmlns:a16="http://schemas.microsoft.com/office/drawing/2014/main" id="{3809733C-7891-5442-BB86-EF56B025D29A}"/>
              </a:ext>
            </a:extLst>
          </p:cNvPr>
          <p:cNvSpPr txBox="1"/>
          <p:nvPr/>
        </p:nvSpPr>
        <p:spPr>
          <a:xfrm>
            <a:off x="2992070" y="8397494"/>
            <a:ext cx="12079456" cy="707886"/>
          </a:xfrm>
          <a:prstGeom prst="rect">
            <a:avLst/>
          </a:prstGeom>
          <a:noFill/>
        </p:spPr>
        <p:txBody>
          <a:bodyPr wrap="square" rtlCol="0">
            <a:spAutoFit/>
          </a:bodyPr>
          <a:lstStyle/>
          <a:p>
            <a:r>
              <a:rPr lang="en-US" sz="4000" dirty="0">
                <a:solidFill>
                  <a:schemeClr val="bg1">
                    <a:lumMod val="50000"/>
                  </a:schemeClr>
                </a:solidFill>
                <a:latin typeface="+mj-lt"/>
                <a:ea typeface="Lato Light" charset="0"/>
                <a:cs typeface="Lato Light" charset="0"/>
              </a:rPr>
              <a:t>linkedin.com/company/</a:t>
            </a:r>
            <a:r>
              <a:rPr lang="en-US" sz="4000" dirty="0" err="1">
                <a:solidFill>
                  <a:schemeClr val="bg1">
                    <a:lumMod val="50000"/>
                  </a:schemeClr>
                </a:solidFill>
                <a:latin typeface="+mj-lt"/>
                <a:ea typeface="Lato Light" charset="0"/>
                <a:cs typeface="Lato Light" charset="0"/>
              </a:rPr>
              <a:t>opentext</a:t>
            </a:r>
            <a:endParaRPr lang="en-US" sz="4000" dirty="0">
              <a:solidFill>
                <a:schemeClr val="bg1">
                  <a:lumMod val="50000"/>
                </a:schemeClr>
              </a:solidFill>
              <a:latin typeface="+mj-lt"/>
              <a:ea typeface="Lato Light" charset="0"/>
              <a:cs typeface="Lato Light" charset="0"/>
            </a:endParaRPr>
          </a:p>
        </p:txBody>
      </p:sp>
      <p:sp>
        <p:nvSpPr>
          <p:cNvPr id="5" name="Freeform 4">
            <a:extLst>
              <a:ext uri="{FF2B5EF4-FFF2-40B4-BE49-F238E27FC236}">
                <a16:creationId xmlns:a16="http://schemas.microsoft.com/office/drawing/2014/main" id="{BA28B917-C106-DA47-88EB-8BA780D24374}"/>
              </a:ext>
            </a:extLst>
          </p:cNvPr>
          <p:cNvSpPr>
            <a:spLocks/>
          </p:cNvSpPr>
          <p:nvPr/>
        </p:nvSpPr>
        <p:spPr bwMode="auto">
          <a:xfrm>
            <a:off x="1604490" y="7005960"/>
            <a:ext cx="865636" cy="639789"/>
          </a:xfrm>
          <a:custGeom>
            <a:avLst/>
            <a:gdLst>
              <a:gd name="T0" fmla="*/ 523 w 583"/>
              <a:gd name="T1" fmla="*/ 118 h 473"/>
              <a:gd name="T2" fmla="*/ 523 w 583"/>
              <a:gd name="T3" fmla="*/ 133 h 473"/>
              <a:gd name="T4" fmla="*/ 184 w 583"/>
              <a:gd name="T5" fmla="*/ 473 h 473"/>
              <a:gd name="T6" fmla="*/ 0 w 583"/>
              <a:gd name="T7" fmla="*/ 419 h 473"/>
              <a:gd name="T8" fmla="*/ 29 w 583"/>
              <a:gd name="T9" fmla="*/ 421 h 473"/>
              <a:gd name="T10" fmla="*/ 177 w 583"/>
              <a:gd name="T11" fmla="*/ 370 h 473"/>
              <a:gd name="T12" fmla="*/ 66 w 583"/>
              <a:gd name="T13" fmla="*/ 287 h 473"/>
              <a:gd name="T14" fmla="*/ 88 w 583"/>
              <a:gd name="T15" fmla="*/ 289 h 473"/>
              <a:gd name="T16" fmla="*/ 120 w 583"/>
              <a:gd name="T17" fmla="*/ 285 h 473"/>
              <a:gd name="T18" fmla="*/ 24 w 583"/>
              <a:gd name="T19" fmla="*/ 168 h 473"/>
              <a:gd name="T20" fmla="*/ 24 w 583"/>
              <a:gd name="T21" fmla="*/ 166 h 473"/>
              <a:gd name="T22" fmla="*/ 78 w 583"/>
              <a:gd name="T23" fmla="*/ 181 h 473"/>
              <a:gd name="T24" fmla="*/ 25 w 583"/>
              <a:gd name="T25" fmla="*/ 82 h 473"/>
              <a:gd name="T26" fmla="*/ 41 w 583"/>
              <a:gd name="T27" fmla="*/ 22 h 473"/>
              <a:gd name="T28" fmla="*/ 287 w 583"/>
              <a:gd name="T29" fmla="*/ 146 h 473"/>
              <a:gd name="T30" fmla="*/ 284 w 583"/>
              <a:gd name="T31" fmla="*/ 119 h 473"/>
              <a:gd name="T32" fmla="*/ 404 w 583"/>
              <a:gd name="T33" fmla="*/ 0 h 473"/>
              <a:gd name="T34" fmla="*/ 491 w 583"/>
              <a:gd name="T35" fmla="*/ 38 h 473"/>
              <a:gd name="T36" fmla="*/ 567 w 583"/>
              <a:gd name="T37" fmla="*/ 9 h 473"/>
              <a:gd name="T38" fmla="*/ 514 w 583"/>
              <a:gd name="T39" fmla="*/ 75 h 473"/>
              <a:gd name="T40" fmla="*/ 583 w 583"/>
              <a:gd name="T41" fmla="*/ 56 h 473"/>
              <a:gd name="T42" fmla="*/ 523 w 583"/>
              <a:gd name="T43" fmla="*/ 118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3" h="473">
                <a:moveTo>
                  <a:pt x="523" y="118"/>
                </a:moveTo>
                <a:cubicBezTo>
                  <a:pt x="523" y="123"/>
                  <a:pt x="523" y="128"/>
                  <a:pt x="523" y="133"/>
                </a:cubicBezTo>
                <a:cubicBezTo>
                  <a:pt x="523" y="291"/>
                  <a:pt x="403" y="473"/>
                  <a:pt x="184" y="473"/>
                </a:cubicBezTo>
                <a:cubicBezTo>
                  <a:pt x="116" y="473"/>
                  <a:pt x="53" y="453"/>
                  <a:pt x="0" y="419"/>
                </a:cubicBezTo>
                <a:cubicBezTo>
                  <a:pt x="10" y="420"/>
                  <a:pt x="19" y="421"/>
                  <a:pt x="29" y="421"/>
                </a:cubicBezTo>
                <a:cubicBezTo>
                  <a:pt x="85" y="421"/>
                  <a:pt x="136" y="402"/>
                  <a:pt x="177" y="370"/>
                </a:cubicBezTo>
                <a:cubicBezTo>
                  <a:pt x="125" y="369"/>
                  <a:pt x="81" y="334"/>
                  <a:pt x="66" y="287"/>
                </a:cubicBezTo>
                <a:cubicBezTo>
                  <a:pt x="73" y="288"/>
                  <a:pt x="80" y="289"/>
                  <a:pt x="88" y="289"/>
                </a:cubicBezTo>
                <a:cubicBezTo>
                  <a:pt x="99" y="289"/>
                  <a:pt x="110" y="288"/>
                  <a:pt x="120" y="285"/>
                </a:cubicBezTo>
                <a:cubicBezTo>
                  <a:pt x="65" y="274"/>
                  <a:pt x="24" y="226"/>
                  <a:pt x="24" y="168"/>
                </a:cubicBezTo>
                <a:cubicBezTo>
                  <a:pt x="24" y="167"/>
                  <a:pt x="24" y="167"/>
                  <a:pt x="24" y="166"/>
                </a:cubicBezTo>
                <a:cubicBezTo>
                  <a:pt x="40" y="175"/>
                  <a:pt x="58" y="181"/>
                  <a:pt x="78" y="181"/>
                </a:cubicBezTo>
                <a:cubicBezTo>
                  <a:pt x="46" y="160"/>
                  <a:pt x="25" y="123"/>
                  <a:pt x="25" y="82"/>
                </a:cubicBezTo>
                <a:cubicBezTo>
                  <a:pt x="25" y="60"/>
                  <a:pt x="31" y="39"/>
                  <a:pt x="41" y="22"/>
                </a:cubicBezTo>
                <a:cubicBezTo>
                  <a:pt x="100" y="94"/>
                  <a:pt x="188" y="141"/>
                  <a:pt x="287" y="146"/>
                </a:cubicBezTo>
                <a:cubicBezTo>
                  <a:pt x="285" y="138"/>
                  <a:pt x="284" y="129"/>
                  <a:pt x="284" y="119"/>
                </a:cubicBezTo>
                <a:cubicBezTo>
                  <a:pt x="284" y="53"/>
                  <a:pt x="338" y="0"/>
                  <a:pt x="404" y="0"/>
                </a:cubicBezTo>
                <a:cubicBezTo>
                  <a:pt x="438" y="0"/>
                  <a:pt x="469" y="14"/>
                  <a:pt x="491" y="38"/>
                </a:cubicBezTo>
                <a:cubicBezTo>
                  <a:pt x="518" y="32"/>
                  <a:pt x="543" y="22"/>
                  <a:pt x="567" y="9"/>
                </a:cubicBezTo>
                <a:cubicBezTo>
                  <a:pt x="558" y="36"/>
                  <a:pt x="539" y="60"/>
                  <a:pt x="514" y="75"/>
                </a:cubicBezTo>
                <a:cubicBezTo>
                  <a:pt x="538" y="72"/>
                  <a:pt x="561" y="65"/>
                  <a:pt x="583" y="56"/>
                </a:cubicBezTo>
                <a:cubicBezTo>
                  <a:pt x="567" y="80"/>
                  <a:pt x="546" y="101"/>
                  <a:pt x="523" y="11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6" name="Group 5">
            <a:extLst>
              <a:ext uri="{FF2B5EF4-FFF2-40B4-BE49-F238E27FC236}">
                <a16:creationId xmlns:a16="http://schemas.microsoft.com/office/drawing/2014/main" id="{D8AE88C3-8F27-7F41-A138-BEF29EDFC44B}"/>
              </a:ext>
            </a:extLst>
          </p:cNvPr>
          <p:cNvGrpSpPr/>
          <p:nvPr/>
        </p:nvGrpSpPr>
        <p:grpSpPr>
          <a:xfrm>
            <a:off x="1651886" y="8325486"/>
            <a:ext cx="818240" cy="743858"/>
            <a:chOff x="5014913" y="3144838"/>
            <a:chExt cx="382587" cy="382588"/>
          </a:xfrm>
          <a:solidFill>
            <a:schemeClr val="accent2"/>
          </a:solidFill>
        </p:grpSpPr>
        <p:sp>
          <p:nvSpPr>
            <p:cNvPr id="7" name="Freeform 6">
              <a:extLst>
                <a:ext uri="{FF2B5EF4-FFF2-40B4-BE49-F238E27FC236}">
                  <a16:creationId xmlns:a16="http://schemas.microsoft.com/office/drawing/2014/main" id="{4CE18750-E2A0-9044-88F2-62597A80958A}"/>
                </a:ext>
              </a:extLst>
            </p:cNvPr>
            <p:cNvSpPr>
              <a:spLocks noEditPoints="1"/>
            </p:cNvSpPr>
            <p:nvPr/>
          </p:nvSpPr>
          <p:spPr bwMode="auto">
            <a:xfrm>
              <a:off x="5014913" y="3144838"/>
              <a:ext cx="84138" cy="382588"/>
            </a:xfrm>
            <a:custGeom>
              <a:avLst/>
              <a:gdLst>
                <a:gd name="T0" fmla="*/ 127 w 127"/>
                <a:gd name="T1" fmla="*/ 64 h 570"/>
                <a:gd name="T2" fmla="*/ 63 w 127"/>
                <a:gd name="T3" fmla="*/ 126 h 570"/>
                <a:gd name="T4" fmla="*/ 0 w 127"/>
                <a:gd name="T5" fmla="*/ 65 h 570"/>
                <a:gd name="T6" fmla="*/ 63 w 127"/>
                <a:gd name="T7" fmla="*/ 0 h 570"/>
                <a:gd name="T8" fmla="*/ 127 w 127"/>
                <a:gd name="T9" fmla="*/ 64 h 570"/>
                <a:gd name="T10" fmla="*/ 0 w 127"/>
                <a:gd name="T11" fmla="*/ 570 h 570"/>
                <a:gd name="T12" fmla="*/ 0 w 127"/>
                <a:gd name="T13" fmla="*/ 158 h 570"/>
                <a:gd name="T14" fmla="*/ 127 w 127"/>
                <a:gd name="T15" fmla="*/ 158 h 570"/>
                <a:gd name="T16" fmla="*/ 127 w 127"/>
                <a:gd name="T17" fmla="*/ 570 h 570"/>
                <a:gd name="T18" fmla="*/ 0 w 127"/>
                <a:gd name="T19" fmla="*/ 57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570">
                  <a:moveTo>
                    <a:pt x="127" y="64"/>
                  </a:moveTo>
                  <a:cubicBezTo>
                    <a:pt x="127" y="97"/>
                    <a:pt x="104" y="126"/>
                    <a:pt x="63" y="126"/>
                  </a:cubicBezTo>
                  <a:cubicBezTo>
                    <a:pt x="25" y="126"/>
                    <a:pt x="0" y="99"/>
                    <a:pt x="0" y="65"/>
                  </a:cubicBezTo>
                  <a:cubicBezTo>
                    <a:pt x="0" y="31"/>
                    <a:pt x="24" y="0"/>
                    <a:pt x="63" y="0"/>
                  </a:cubicBezTo>
                  <a:cubicBezTo>
                    <a:pt x="103" y="0"/>
                    <a:pt x="126" y="29"/>
                    <a:pt x="127" y="64"/>
                  </a:cubicBezTo>
                  <a:close/>
                  <a:moveTo>
                    <a:pt x="0" y="570"/>
                  </a:moveTo>
                  <a:cubicBezTo>
                    <a:pt x="0" y="158"/>
                    <a:pt x="0" y="158"/>
                    <a:pt x="0" y="158"/>
                  </a:cubicBezTo>
                  <a:cubicBezTo>
                    <a:pt x="127" y="158"/>
                    <a:pt x="127" y="158"/>
                    <a:pt x="127" y="158"/>
                  </a:cubicBezTo>
                  <a:cubicBezTo>
                    <a:pt x="127" y="570"/>
                    <a:pt x="127" y="570"/>
                    <a:pt x="127" y="570"/>
                  </a:cubicBezTo>
                  <a:lnTo>
                    <a:pt x="0" y="5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7">
              <a:extLst>
                <a:ext uri="{FF2B5EF4-FFF2-40B4-BE49-F238E27FC236}">
                  <a16:creationId xmlns:a16="http://schemas.microsoft.com/office/drawing/2014/main" id="{6ECCEC37-F7AD-0647-8564-6BB5EA953203}"/>
                </a:ext>
              </a:extLst>
            </p:cNvPr>
            <p:cNvSpPr>
              <a:spLocks/>
            </p:cNvSpPr>
            <p:nvPr/>
          </p:nvSpPr>
          <p:spPr bwMode="auto">
            <a:xfrm>
              <a:off x="5140325" y="3255963"/>
              <a:ext cx="257175" cy="271463"/>
            </a:xfrm>
            <a:custGeom>
              <a:avLst/>
              <a:gdLst>
                <a:gd name="T0" fmla="*/ 3 w 383"/>
                <a:gd name="T1" fmla="*/ 134 h 405"/>
                <a:gd name="T2" fmla="*/ 0 w 383"/>
                <a:gd name="T3" fmla="*/ 9 h 405"/>
                <a:gd name="T4" fmla="*/ 113 w 383"/>
                <a:gd name="T5" fmla="*/ 9 h 405"/>
                <a:gd name="T6" fmla="*/ 119 w 383"/>
                <a:gd name="T7" fmla="*/ 64 h 405"/>
                <a:gd name="T8" fmla="*/ 121 w 383"/>
                <a:gd name="T9" fmla="*/ 64 h 405"/>
                <a:gd name="T10" fmla="*/ 242 w 383"/>
                <a:gd name="T11" fmla="*/ 0 h 405"/>
                <a:gd name="T12" fmla="*/ 383 w 383"/>
                <a:gd name="T13" fmla="*/ 169 h 405"/>
                <a:gd name="T14" fmla="*/ 383 w 383"/>
                <a:gd name="T15" fmla="*/ 405 h 405"/>
                <a:gd name="T16" fmla="*/ 256 w 383"/>
                <a:gd name="T17" fmla="*/ 405 h 405"/>
                <a:gd name="T18" fmla="*/ 256 w 383"/>
                <a:gd name="T19" fmla="*/ 188 h 405"/>
                <a:gd name="T20" fmla="*/ 193 w 383"/>
                <a:gd name="T21" fmla="*/ 99 h 405"/>
                <a:gd name="T22" fmla="*/ 133 w 383"/>
                <a:gd name="T23" fmla="*/ 148 h 405"/>
                <a:gd name="T24" fmla="*/ 129 w 383"/>
                <a:gd name="T25" fmla="*/ 179 h 405"/>
                <a:gd name="T26" fmla="*/ 129 w 383"/>
                <a:gd name="T27" fmla="*/ 405 h 405"/>
                <a:gd name="T28" fmla="*/ 3 w 383"/>
                <a:gd name="T29" fmla="*/ 405 h 405"/>
                <a:gd name="T30" fmla="*/ 3 w 383"/>
                <a:gd name="T31" fmla="*/ 13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3" h="405">
                  <a:moveTo>
                    <a:pt x="3" y="134"/>
                  </a:moveTo>
                  <a:cubicBezTo>
                    <a:pt x="3" y="85"/>
                    <a:pt x="1" y="44"/>
                    <a:pt x="0" y="9"/>
                  </a:cubicBezTo>
                  <a:cubicBezTo>
                    <a:pt x="113" y="9"/>
                    <a:pt x="113" y="9"/>
                    <a:pt x="113" y="9"/>
                  </a:cubicBezTo>
                  <a:cubicBezTo>
                    <a:pt x="119" y="64"/>
                    <a:pt x="119" y="64"/>
                    <a:pt x="119" y="64"/>
                  </a:cubicBezTo>
                  <a:cubicBezTo>
                    <a:pt x="121" y="64"/>
                    <a:pt x="121" y="64"/>
                    <a:pt x="121" y="64"/>
                  </a:cubicBezTo>
                  <a:cubicBezTo>
                    <a:pt x="137" y="38"/>
                    <a:pt x="177" y="0"/>
                    <a:pt x="242" y="0"/>
                  </a:cubicBezTo>
                  <a:cubicBezTo>
                    <a:pt x="323" y="0"/>
                    <a:pt x="383" y="54"/>
                    <a:pt x="383" y="169"/>
                  </a:cubicBezTo>
                  <a:cubicBezTo>
                    <a:pt x="383" y="405"/>
                    <a:pt x="383" y="405"/>
                    <a:pt x="383" y="405"/>
                  </a:cubicBezTo>
                  <a:cubicBezTo>
                    <a:pt x="256" y="405"/>
                    <a:pt x="256" y="405"/>
                    <a:pt x="256" y="405"/>
                  </a:cubicBezTo>
                  <a:cubicBezTo>
                    <a:pt x="256" y="188"/>
                    <a:pt x="256" y="188"/>
                    <a:pt x="256" y="188"/>
                  </a:cubicBezTo>
                  <a:cubicBezTo>
                    <a:pt x="256" y="137"/>
                    <a:pt x="237" y="99"/>
                    <a:pt x="193" y="99"/>
                  </a:cubicBezTo>
                  <a:cubicBezTo>
                    <a:pt x="159" y="99"/>
                    <a:pt x="142" y="126"/>
                    <a:pt x="133" y="148"/>
                  </a:cubicBezTo>
                  <a:cubicBezTo>
                    <a:pt x="130" y="156"/>
                    <a:pt x="129" y="168"/>
                    <a:pt x="129" y="179"/>
                  </a:cubicBezTo>
                  <a:cubicBezTo>
                    <a:pt x="129" y="405"/>
                    <a:pt x="129" y="405"/>
                    <a:pt x="129" y="405"/>
                  </a:cubicBezTo>
                  <a:cubicBezTo>
                    <a:pt x="3" y="405"/>
                    <a:pt x="3" y="405"/>
                    <a:pt x="3" y="405"/>
                  </a:cubicBezTo>
                  <a:lnTo>
                    <a:pt x="3"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0" name="TextBox 9">
            <a:extLst>
              <a:ext uri="{FF2B5EF4-FFF2-40B4-BE49-F238E27FC236}">
                <a16:creationId xmlns:a16="http://schemas.microsoft.com/office/drawing/2014/main" id="{41029402-244E-7F4E-A309-23C11430B652}"/>
              </a:ext>
            </a:extLst>
          </p:cNvPr>
          <p:cNvSpPr txBox="1"/>
          <p:nvPr/>
        </p:nvSpPr>
        <p:spPr>
          <a:xfrm>
            <a:off x="1156923" y="11533490"/>
            <a:ext cx="22141990" cy="1015663"/>
          </a:xfrm>
          <a:prstGeom prst="rect">
            <a:avLst/>
          </a:prstGeom>
          <a:noFill/>
        </p:spPr>
        <p:txBody>
          <a:bodyPr wrap="square" rtlCol="0">
            <a:spAutoFit/>
          </a:bodyPr>
          <a:lstStyle/>
          <a:p>
            <a:r>
              <a:rPr lang="en-US" sz="6000" b="1" dirty="0" err="1">
                <a:solidFill>
                  <a:schemeClr val="accent2"/>
                </a:solidFill>
                <a:latin typeface="+mj-lt"/>
                <a:ea typeface="Lato" charset="0"/>
                <a:cs typeface="Lato" charset="0"/>
              </a:rPr>
              <a:t>opentext.com</a:t>
            </a:r>
            <a:endParaRPr lang="en-US" sz="6000" b="1" dirty="0">
              <a:solidFill>
                <a:schemeClr val="accent2"/>
              </a:solidFill>
              <a:latin typeface="+mj-lt"/>
              <a:ea typeface="Lato" charset="0"/>
              <a:cs typeface="Lato" charset="0"/>
            </a:endParaRPr>
          </a:p>
        </p:txBody>
      </p:sp>
    </p:spTree>
    <p:extLst>
      <p:ext uri="{BB962C8B-B14F-4D97-AF65-F5344CB8AC3E}">
        <p14:creationId xmlns:p14="http://schemas.microsoft.com/office/powerpoint/2010/main" val="12329162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76459-9636-C747-B30F-3FB1AC8A2770}"/>
              </a:ext>
            </a:extLst>
          </p:cNvPr>
          <p:cNvSpPr>
            <a:spLocks noGrp="1"/>
          </p:cNvSpPr>
          <p:nvPr>
            <p:ph type="title"/>
          </p:nvPr>
        </p:nvSpPr>
        <p:spPr/>
        <p:txBody>
          <a:bodyPr/>
          <a:lstStyle/>
          <a:p>
            <a:r>
              <a:rPr lang="en-US" dirty="0"/>
              <a:t>Two icon callouts</a:t>
            </a:r>
          </a:p>
        </p:txBody>
      </p:sp>
      <p:sp>
        <p:nvSpPr>
          <p:cNvPr id="16" name="Rectangle 15">
            <a:extLst>
              <a:ext uri="{FF2B5EF4-FFF2-40B4-BE49-F238E27FC236}">
                <a16:creationId xmlns:a16="http://schemas.microsoft.com/office/drawing/2014/main" id="{7324370E-6704-504C-A5F6-2EA2E7763D5C}"/>
              </a:ext>
            </a:extLst>
          </p:cNvPr>
          <p:cNvSpPr/>
          <p:nvPr/>
        </p:nvSpPr>
        <p:spPr>
          <a:xfrm>
            <a:off x="12503215" y="4462273"/>
            <a:ext cx="10633009" cy="6601967"/>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dolor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U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grpSp>
        <p:nvGrpSpPr>
          <p:cNvPr id="17" name="Group 16">
            <a:extLst>
              <a:ext uri="{FF2B5EF4-FFF2-40B4-BE49-F238E27FC236}">
                <a16:creationId xmlns:a16="http://schemas.microsoft.com/office/drawing/2014/main" id="{EF7B9EAE-AF93-044C-B8F5-61BE61668983}"/>
              </a:ext>
            </a:extLst>
          </p:cNvPr>
          <p:cNvGrpSpPr/>
          <p:nvPr/>
        </p:nvGrpSpPr>
        <p:grpSpPr>
          <a:xfrm>
            <a:off x="16544227" y="2862263"/>
            <a:ext cx="2550985" cy="2550985"/>
            <a:chOff x="8371587" y="2862263"/>
            <a:chExt cx="2550985" cy="2550985"/>
          </a:xfrm>
        </p:grpSpPr>
        <p:sp>
          <p:nvSpPr>
            <p:cNvPr id="18" name="Oval 17">
              <a:extLst>
                <a:ext uri="{FF2B5EF4-FFF2-40B4-BE49-F238E27FC236}">
                  <a16:creationId xmlns:a16="http://schemas.microsoft.com/office/drawing/2014/main" id="{B91DE714-FA39-E34C-8671-4BFF530054A4}"/>
                </a:ext>
              </a:extLst>
            </p:cNvPr>
            <p:cNvSpPr/>
            <p:nvPr/>
          </p:nvSpPr>
          <p:spPr>
            <a:xfrm>
              <a:off x="8371587" y="2862263"/>
              <a:ext cx="2550985" cy="2550985"/>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2">
              <a:extLst>
                <a:ext uri="{FF2B5EF4-FFF2-40B4-BE49-F238E27FC236}">
                  <a16:creationId xmlns:a16="http://schemas.microsoft.com/office/drawing/2014/main" id="{8ADBF998-3642-DB42-ABD6-C1A7BE6D1927}"/>
                </a:ext>
              </a:extLst>
            </p:cNvPr>
            <p:cNvSpPr>
              <a:spLocks noChangeArrowheads="1"/>
            </p:cNvSpPr>
            <p:nvPr/>
          </p:nvSpPr>
          <p:spPr bwMode="auto">
            <a:xfrm>
              <a:off x="8884375"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2"/>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grpSp>
      <p:sp>
        <p:nvSpPr>
          <p:cNvPr id="20" name="Rectangle 19">
            <a:extLst>
              <a:ext uri="{FF2B5EF4-FFF2-40B4-BE49-F238E27FC236}">
                <a16:creationId xmlns:a16="http://schemas.microsoft.com/office/drawing/2014/main" id="{B1E4F422-6A67-D14E-AEE1-5BFDE563AF98}"/>
              </a:ext>
            </a:extLst>
          </p:cNvPr>
          <p:cNvSpPr/>
          <p:nvPr/>
        </p:nvSpPr>
        <p:spPr>
          <a:xfrm>
            <a:off x="1264475" y="4462272"/>
            <a:ext cx="10632215" cy="6602400"/>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a:t>
            </a:r>
            <a:r>
              <a:rPr lang="en-US" sz="2800" dirty="0">
                <a:solidFill>
                  <a:schemeClr val="tx1"/>
                </a:solidFill>
                <a:latin typeface="Arial" panose="020B0604020202020204" pitchFamily="34" charset="0"/>
              </a:rPr>
              <a:t>dolor</a:t>
            </a:r>
            <a:r>
              <a:rPr lang="en-US" sz="2800" dirty="0">
                <a:solidFill>
                  <a:schemeClr val="tx1"/>
                </a:solidFill>
              </a:rPr>
              <a:t>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grpSp>
        <p:nvGrpSpPr>
          <p:cNvPr id="21" name="Group 20">
            <a:extLst>
              <a:ext uri="{FF2B5EF4-FFF2-40B4-BE49-F238E27FC236}">
                <a16:creationId xmlns:a16="http://schemas.microsoft.com/office/drawing/2014/main" id="{9B55637E-8CCF-084D-A526-D90BFEA44BD5}"/>
              </a:ext>
            </a:extLst>
          </p:cNvPr>
          <p:cNvGrpSpPr/>
          <p:nvPr/>
        </p:nvGrpSpPr>
        <p:grpSpPr>
          <a:xfrm>
            <a:off x="5286802" y="2862263"/>
            <a:ext cx="2550985" cy="2550985"/>
            <a:chOff x="2811400" y="2862263"/>
            <a:chExt cx="2550985" cy="2550985"/>
          </a:xfrm>
        </p:grpSpPr>
        <p:sp>
          <p:nvSpPr>
            <p:cNvPr id="22" name="Oval 21">
              <a:extLst>
                <a:ext uri="{FF2B5EF4-FFF2-40B4-BE49-F238E27FC236}">
                  <a16:creationId xmlns:a16="http://schemas.microsoft.com/office/drawing/2014/main" id="{AFA5BA3A-4C78-8F4E-B6B7-E114213378A4}"/>
                </a:ext>
              </a:extLst>
            </p:cNvPr>
            <p:cNvSpPr/>
            <p:nvPr/>
          </p:nvSpPr>
          <p:spPr>
            <a:xfrm>
              <a:off x="2811400" y="2862263"/>
              <a:ext cx="2550985" cy="2550985"/>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
              <a:extLst>
                <a:ext uri="{FF2B5EF4-FFF2-40B4-BE49-F238E27FC236}">
                  <a16:creationId xmlns:a16="http://schemas.microsoft.com/office/drawing/2014/main" id="{751396C8-CB22-294C-BCF2-76BAB0123BE6}"/>
                </a:ext>
              </a:extLst>
            </p:cNvPr>
            <p:cNvSpPr>
              <a:spLocks noChangeArrowheads="1"/>
            </p:cNvSpPr>
            <p:nvPr/>
          </p:nvSpPr>
          <p:spPr bwMode="auto">
            <a:xfrm>
              <a:off x="3324188"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3"/>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grpSp>
    </p:spTree>
    <p:extLst>
      <p:ext uri="{BB962C8B-B14F-4D97-AF65-F5344CB8AC3E}">
        <p14:creationId xmlns:p14="http://schemas.microsoft.com/office/powerpoint/2010/main" val="32214171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956B9-87FA-3645-8488-986F95C7815F}"/>
              </a:ext>
            </a:extLst>
          </p:cNvPr>
          <p:cNvSpPr>
            <a:spLocks noGrp="1"/>
          </p:cNvSpPr>
          <p:nvPr>
            <p:ph type="title"/>
          </p:nvPr>
        </p:nvSpPr>
        <p:spPr/>
        <p:txBody>
          <a:bodyPr/>
          <a:lstStyle/>
          <a:p>
            <a:r>
              <a:rPr lang="en-US" dirty="0"/>
              <a:t>Three icon callouts</a:t>
            </a:r>
          </a:p>
        </p:txBody>
      </p:sp>
      <p:sp>
        <p:nvSpPr>
          <p:cNvPr id="3" name="Rectangle 2">
            <a:extLst>
              <a:ext uri="{FF2B5EF4-FFF2-40B4-BE49-F238E27FC236}">
                <a16:creationId xmlns:a16="http://schemas.microsoft.com/office/drawing/2014/main" id="{E9DDBF9F-2B08-D14E-8361-B1E4141C6138}"/>
              </a:ext>
            </a:extLst>
          </p:cNvPr>
          <p:cNvSpPr/>
          <p:nvPr/>
        </p:nvSpPr>
        <p:spPr>
          <a:xfrm>
            <a:off x="8756831" y="4462273"/>
            <a:ext cx="6868239" cy="6601967"/>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dolor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sp>
        <p:nvSpPr>
          <p:cNvPr id="4" name="Oval 3">
            <a:extLst>
              <a:ext uri="{FF2B5EF4-FFF2-40B4-BE49-F238E27FC236}">
                <a16:creationId xmlns:a16="http://schemas.microsoft.com/office/drawing/2014/main" id="{35130A39-C0F4-EC40-A086-4E3404B43612}"/>
              </a:ext>
            </a:extLst>
          </p:cNvPr>
          <p:cNvSpPr/>
          <p:nvPr/>
        </p:nvSpPr>
        <p:spPr>
          <a:xfrm>
            <a:off x="10915458" y="2862263"/>
            <a:ext cx="2550985" cy="2550985"/>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2">
            <a:extLst>
              <a:ext uri="{FF2B5EF4-FFF2-40B4-BE49-F238E27FC236}">
                <a16:creationId xmlns:a16="http://schemas.microsoft.com/office/drawing/2014/main" id="{070F5B2C-541E-A048-925A-54B3616EDAF1}"/>
              </a:ext>
            </a:extLst>
          </p:cNvPr>
          <p:cNvSpPr>
            <a:spLocks noChangeArrowheads="1"/>
          </p:cNvSpPr>
          <p:nvPr/>
        </p:nvSpPr>
        <p:spPr bwMode="auto">
          <a:xfrm>
            <a:off x="11428246"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2"/>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sp>
        <p:nvSpPr>
          <p:cNvPr id="6" name="Rectangle 5">
            <a:extLst>
              <a:ext uri="{FF2B5EF4-FFF2-40B4-BE49-F238E27FC236}">
                <a16:creationId xmlns:a16="http://schemas.microsoft.com/office/drawing/2014/main" id="{F84E5CAF-C6A1-7F4C-A3EC-696BD6415172}"/>
              </a:ext>
            </a:extLst>
          </p:cNvPr>
          <p:cNvSpPr/>
          <p:nvPr/>
        </p:nvSpPr>
        <p:spPr>
          <a:xfrm>
            <a:off x="16267986" y="4462273"/>
            <a:ext cx="6868239" cy="6601967"/>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dolor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sp>
        <p:nvSpPr>
          <p:cNvPr id="7" name="Oval 6">
            <a:extLst>
              <a:ext uri="{FF2B5EF4-FFF2-40B4-BE49-F238E27FC236}">
                <a16:creationId xmlns:a16="http://schemas.microsoft.com/office/drawing/2014/main" id="{9BBAC6CC-EF48-D645-9DF4-84290E261ECE}"/>
              </a:ext>
            </a:extLst>
          </p:cNvPr>
          <p:cNvSpPr/>
          <p:nvPr/>
        </p:nvSpPr>
        <p:spPr>
          <a:xfrm>
            <a:off x="18426613" y="2862263"/>
            <a:ext cx="2550985" cy="2550985"/>
          </a:xfrm>
          <a:prstGeom prst="ellipse">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2">
            <a:extLst>
              <a:ext uri="{FF2B5EF4-FFF2-40B4-BE49-F238E27FC236}">
                <a16:creationId xmlns:a16="http://schemas.microsoft.com/office/drawing/2014/main" id="{BDA54053-EB31-3D46-89A9-E8C3A3EFA574}"/>
              </a:ext>
            </a:extLst>
          </p:cNvPr>
          <p:cNvSpPr>
            <a:spLocks noChangeArrowheads="1"/>
          </p:cNvSpPr>
          <p:nvPr/>
        </p:nvSpPr>
        <p:spPr bwMode="auto">
          <a:xfrm>
            <a:off x="18957689"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4"/>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sp>
        <p:nvSpPr>
          <p:cNvPr id="9" name="Rectangle 8">
            <a:extLst>
              <a:ext uri="{FF2B5EF4-FFF2-40B4-BE49-F238E27FC236}">
                <a16:creationId xmlns:a16="http://schemas.microsoft.com/office/drawing/2014/main" id="{FDA0CAA9-EB7B-904E-AFBB-935509E6F0AE}"/>
              </a:ext>
            </a:extLst>
          </p:cNvPr>
          <p:cNvSpPr/>
          <p:nvPr/>
        </p:nvSpPr>
        <p:spPr>
          <a:xfrm>
            <a:off x="1264476" y="4462272"/>
            <a:ext cx="6867726" cy="6602400"/>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dolor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sp>
        <p:nvSpPr>
          <p:cNvPr id="10" name="Oval 9">
            <a:extLst>
              <a:ext uri="{FF2B5EF4-FFF2-40B4-BE49-F238E27FC236}">
                <a16:creationId xmlns:a16="http://schemas.microsoft.com/office/drawing/2014/main" id="{E11EA252-E0FB-D844-8D11-28412DA4AD24}"/>
              </a:ext>
            </a:extLst>
          </p:cNvPr>
          <p:cNvSpPr/>
          <p:nvPr/>
        </p:nvSpPr>
        <p:spPr>
          <a:xfrm>
            <a:off x="3404559" y="2862263"/>
            <a:ext cx="2550985" cy="2550985"/>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2">
            <a:extLst>
              <a:ext uri="{FF2B5EF4-FFF2-40B4-BE49-F238E27FC236}">
                <a16:creationId xmlns:a16="http://schemas.microsoft.com/office/drawing/2014/main" id="{99DA565C-FF67-AA46-98A1-A313C6B458A4}"/>
              </a:ext>
            </a:extLst>
          </p:cNvPr>
          <p:cNvSpPr>
            <a:spLocks noChangeArrowheads="1"/>
          </p:cNvSpPr>
          <p:nvPr/>
        </p:nvSpPr>
        <p:spPr bwMode="auto">
          <a:xfrm>
            <a:off x="3917347"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3"/>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spTree>
    <p:extLst>
      <p:ext uri="{BB962C8B-B14F-4D97-AF65-F5344CB8AC3E}">
        <p14:creationId xmlns:p14="http://schemas.microsoft.com/office/powerpoint/2010/main" val="3090162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956B9-87FA-3645-8488-986F95C7815F}"/>
              </a:ext>
            </a:extLst>
          </p:cNvPr>
          <p:cNvSpPr>
            <a:spLocks noGrp="1"/>
          </p:cNvSpPr>
          <p:nvPr>
            <p:ph type="title"/>
          </p:nvPr>
        </p:nvSpPr>
        <p:spPr/>
        <p:txBody>
          <a:bodyPr/>
          <a:lstStyle/>
          <a:p>
            <a:r>
              <a:rPr lang="en-US" dirty="0"/>
              <a:t>Three icon callouts</a:t>
            </a:r>
          </a:p>
        </p:txBody>
      </p:sp>
      <p:grpSp>
        <p:nvGrpSpPr>
          <p:cNvPr id="12" name="Group 11">
            <a:extLst>
              <a:ext uri="{FF2B5EF4-FFF2-40B4-BE49-F238E27FC236}">
                <a16:creationId xmlns:a16="http://schemas.microsoft.com/office/drawing/2014/main" id="{D7BD3507-6AD1-FF4B-A143-A896052C1FF8}"/>
              </a:ext>
            </a:extLst>
          </p:cNvPr>
          <p:cNvGrpSpPr/>
          <p:nvPr/>
        </p:nvGrpSpPr>
        <p:grpSpPr>
          <a:xfrm>
            <a:off x="8756830" y="4462273"/>
            <a:ext cx="6868240" cy="7291092"/>
            <a:chOff x="7022275" y="4462273"/>
            <a:chExt cx="6805918" cy="7291092"/>
          </a:xfrm>
        </p:grpSpPr>
        <p:sp>
          <p:nvSpPr>
            <p:cNvPr id="13" name="Rectangle 12">
              <a:extLst>
                <a:ext uri="{FF2B5EF4-FFF2-40B4-BE49-F238E27FC236}">
                  <a16:creationId xmlns:a16="http://schemas.microsoft.com/office/drawing/2014/main" id="{DBBFFC81-EE21-8548-9FE1-C3FD72E23811}"/>
                </a:ext>
              </a:extLst>
            </p:cNvPr>
            <p:cNvSpPr/>
            <p:nvPr/>
          </p:nvSpPr>
          <p:spPr>
            <a:xfrm>
              <a:off x="7022276" y="4462273"/>
              <a:ext cx="6805917" cy="6601967"/>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dolor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sp>
          <p:nvSpPr>
            <p:cNvPr id="14" name="Rectangle 13">
              <a:extLst>
                <a:ext uri="{FF2B5EF4-FFF2-40B4-BE49-F238E27FC236}">
                  <a16:creationId xmlns:a16="http://schemas.microsoft.com/office/drawing/2014/main" id="{08FD20DF-CD51-3342-961D-DC9E67C76783}"/>
                </a:ext>
              </a:extLst>
            </p:cNvPr>
            <p:cNvSpPr/>
            <p:nvPr/>
          </p:nvSpPr>
          <p:spPr>
            <a:xfrm>
              <a:off x="7022275" y="10939332"/>
              <a:ext cx="6805406" cy="814033"/>
            </a:xfrm>
            <a:prstGeom prst="rect">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12000" tIns="144000" rIns="90000" bIns="144000" rtlCol="0" anchor="t" anchorCtr="0">
              <a:spAutoFit/>
            </a:bodyPr>
            <a:lstStyle/>
            <a:p>
              <a:r>
                <a:rPr lang="en-US" sz="3400">
                  <a:solidFill>
                    <a:schemeClr val="bg2"/>
                  </a:solidFill>
                </a:rPr>
                <a:t>Text</a:t>
              </a:r>
              <a:endParaRPr lang="en-US" sz="3400" dirty="0">
                <a:solidFill>
                  <a:schemeClr val="bg2"/>
                </a:solidFill>
              </a:endParaRPr>
            </a:p>
          </p:txBody>
        </p:sp>
      </p:grpSp>
      <p:grpSp>
        <p:nvGrpSpPr>
          <p:cNvPr id="15" name="Group 14">
            <a:extLst>
              <a:ext uri="{FF2B5EF4-FFF2-40B4-BE49-F238E27FC236}">
                <a16:creationId xmlns:a16="http://schemas.microsoft.com/office/drawing/2014/main" id="{2CA021F0-7974-BC49-BDCA-3B9D7503696A}"/>
              </a:ext>
            </a:extLst>
          </p:cNvPr>
          <p:cNvGrpSpPr/>
          <p:nvPr/>
        </p:nvGrpSpPr>
        <p:grpSpPr>
          <a:xfrm>
            <a:off x="10915458" y="2862263"/>
            <a:ext cx="2550985" cy="2550985"/>
            <a:chOff x="8371587" y="2862263"/>
            <a:chExt cx="2550985" cy="2550985"/>
          </a:xfrm>
        </p:grpSpPr>
        <p:sp>
          <p:nvSpPr>
            <p:cNvPr id="16" name="Oval 15">
              <a:extLst>
                <a:ext uri="{FF2B5EF4-FFF2-40B4-BE49-F238E27FC236}">
                  <a16:creationId xmlns:a16="http://schemas.microsoft.com/office/drawing/2014/main" id="{D28095FE-56CB-9A4A-874B-D56939C70F34}"/>
                </a:ext>
              </a:extLst>
            </p:cNvPr>
            <p:cNvSpPr/>
            <p:nvPr/>
          </p:nvSpPr>
          <p:spPr>
            <a:xfrm>
              <a:off x="8371587" y="2862263"/>
              <a:ext cx="2550985" cy="2550985"/>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2">
              <a:extLst>
                <a:ext uri="{FF2B5EF4-FFF2-40B4-BE49-F238E27FC236}">
                  <a16:creationId xmlns:a16="http://schemas.microsoft.com/office/drawing/2014/main" id="{3A4153D1-370B-E84D-9438-91BE7727CC78}"/>
                </a:ext>
              </a:extLst>
            </p:cNvPr>
            <p:cNvSpPr>
              <a:spLocks noChangeArrowheads="1"/>
            </p:cNvSpPr>
            <p:nvPr/>
          </p:nvSpPr>
          <p:spPr bwMode="auto">
            <a:xfrm>
              <a:off x="8884375"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2"/>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grpSp>
      <p:grpSp>
        <p:nvGrpSpPr>
          <p:cNvPr id="18" name="Group 17">
            <a:extLst>
              <a:ext uri="{FF2B5EF4-FFF2-40B4-BE49-F238E27FC236}">
                <a16:creationId xmlns:a16="http://schemas.microsoft.com/office/drawing/2014/main" id="{41F4645A-0BB3-8B47-A7C6-0A2A8A2E4ADA}"/>
              </a:ext>
            </a:extLst>
          </p:cNvPr>
          <p:cNvGrpSpPr/>
          <p:nvPr/>
        </p:nvGrpSpPr>
        <p:grpSpPr>
          <a:xfrm>
            <a:off x="16267985" y="4462273"/>
            <a:ext cx="6868240" cy="7291092"/>
            <a:chOff x="12582462" y="4462273"/>
            <a:chExt cx="6805918" cy="7291092"/>
          </a:xfrm>
        </p:grpSpPr>
        <p:sp>
          <p:nvSpPr>
            <p:cNvPr id="19" name="Rectangle 18">
              <a:extLst>
                <a:ext uri="{FF2B5EF4-FFF2-40B4-BE49-F238E27FC236}">
                  <a16:creationId xmlns:a16="http://schemas.microsoft.com/office/drawing/2014/main" id="{AFD5FCD1-ED23-AA47-9064-AC793D198986}"/>
                </a:ext>
              </a:extLst>
            </p:cNvPr>
            <p:cNvSpPr/>
            <p:nvPr/>
          </p:nvSpPr>
          <p:spPr>
            <a:xfrm>
              <a:off x="12582463" y="4462273"/>
              <a:ext cx="6805917" cy="6601967"/>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dolor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sp>
          <p:nvSpPr>
            <p:cNvPr id="20" name="Rectangle 19">
              <a:extLst>
                <a:ext uri="{FF2B5EF4-FFF2-40B4-BE49-F238E27FC236}">
                  <a16:creationId xmlns:a16="http://schemas.microsoft.com/office/drawing/2014/main" id="{93FD5824-51B7-6D4C-A1AA-AFA8F275EDCB}"/>
                </a:ext>
              </a:extLst>
            </p:cNvPr>
            <p:cNvSpPr/>
            <p:nvPr/>
          </p:nvSpPr>
          <p:spPr>
            <a:xfrm>
              <a:off x="12582462" y="10939332"/>
              <a:ext cx="6805406" cy="814033"/>
            </a:xfrm>
            <a:prstGeom prst="rect">
              <a:avLst/>
            </a:prstGeom>
            <a:solidFill>
              <a:schemeClr val="accent4"/>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612000" tIns="144000" rIns="90000" bIns="144000" rtlCol="0" anchor="t" anchorCtr="0">
              <a:spAutoFit/>
            </a:bodyPr>
            <a:lstStyle/>
            <a:p>
              <a:r>
                <a:rPr lang="en-US" sz="3400">
                  <a:solidFill>
                    <a:schemeClr val="bg2"/>
                  </a:solidFill>
                </a:rPr>
                <a:t>Text</a:t>
              </a:r>
              <a:endParaRPr lang="en-US" sz="3400" dirty="0">
                <a:solidFill>
                  <a:schemeClr val="bg2"/>
                </a:solidFill>
              </a:endParaRPr>
            </a:p>
          </p:txBody>
        </p:sp>
      </p:grpSp>
      <p:grpSp>
        <p:nvGrpSpPr>
          <p:cNvPr id="21" name="Group 20">
            <a:extLst>
              <a:ext uri="{FF2B5EF4-FFF2-40B4-BE49-F238E27FC236}">
                <a16:creationId xmlns:a16="http://schemas.microsoft.com/office/drawing/2014/main" id="{427B2E71-FE42-DF43-B1CB-D360FC34682B}"/>
              </a:ext>
            </a:extLst>
          </p:cNvPr>
          <p:cNvGrpSpPr/>
          <p:nvPr/>
        </p:nvGrpSpPr>
        <p:grpSpPr>
          <a:xfrm>
            <a:off x="18426613" y="2862263"/>
            <a:ext cx="2550985" cy="2550985"/>
            <a:chOff x="13931774" y="2862263"/>
            <a:chExt cx="2550985" cy="2550985"/>
          </a:xfrm>
        </p:grpSpPr>
        <p:sp>
          <p:nvSpPr>
            <p:cNvPr id="22" name="Oval 21">
              <a:extLst>
                <a:ext uri="{FF2B5EF4-FFF2-40B4-BE49-F238E27FC236}">
                  <a16:creationId xmlns:a16="http://schemas.microsoft.com/office/drawing/2014/main" id="{C7C214DD-1C6C-324C-A9EE-0612D14BD57A}"/>
                </a:ext>
              </a:extLst>
            </p:cNvPr>
            <p:cNvSpPr/>
            <p:nvPr/>
          </p:nvSpPr>
          <p:spPr>
            <a:xfrm>
              <a:off x="13931774" y="2862263"/>
              <a:ext cx="2550985" cy="2550985"/>
            </a:xfrm>
            <a:prstGeom prst="ellipse">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
              <a:extLst>
                <a:ext uri="{FF2B5EF4-FFF2-40B4-BE49-F238E27FC236}">
                  <a16:creationId xmlns:a16="http://schemas.microsoft.com/office/drawing/2014/main" id="{1E41A8E0-1CEE-454A-B20F-F66D27D68CF8}"/>
                </a:ext>
              </a:extLst>
            </p:cNvPr>
            <p:cNvSpPr>
              <a:spLocks noChangeArrowheads="1"/>
            </p:cNvSpPr>
            <p:nvPr/>
          </p:nvSpPr>
          <p:spPr bwMode="auto">
            <a:xfrm>
              <a:off x="14462850"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4"/>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grpSp>
      <p:grpSp>
        <p:nvGrpSpPr>
          <p:cNvPr id="24" name="Group 23">
            <a:extLst>
              <a:ext uri="{FF2B5EF4-FFF2-40B4-BE49-F238E27FC236}">
                <a16:creationId xmlns:a16="http://schemas.microsoft.com/office/drawing/2014/main" id="{7A9788B1-9829-0A4F-8FE2-BB52ACA75EF0}"/>
              </a:ext>
            </a:extLst>
          </p:cNvPr>
          <p:cNvGrpSpPr/>
          <p:nvPr/>
        </p:nvGrpSpPr>
        <p:grpSpPr>
          <a:xfrm>
            <a:off x="1264476" y="4462272"/>
            <a:ext cx="6867726" cy="7291093"/>
            <a:chOff x="1462088" y="4462272"/>
            <a:chExt cx="6805406" cy="7291093"/>
          </a:xfrm>
        </p:grpSpPr>
        <p:sp>
          <p:nvSpPr>
            <p:cNvPr id="25" name="Rectangle 24">
              <a:extLst>
                <a:ext uri="{FF2B5EF4-FFF2-40B4-BE49-F238E27FC236}">
                  <a16:creationId xmlns:a16="http://schemas.microsoft.com/office/drawing/2014/main" id="{6F291127-9FE9-CA44-87CA-AABFAD148539}"/>
                </a:ext>
              </a:extLst>
            </p:cNvPr>
            <p:cNvSpPr/>
            <p:nvPr/>
          </p:nvSpPr>
          <p:spPr>
            <a:xfrm>
              <a:off x="1462088" y="4462272"/>
              <a:ext cx="6805406" cy="6602400"/>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dolor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sp>
          <p:nvSpPr>
            <p:cNvPr id="26" name="Rectangle 25">
              <a:extLst>
                <a:ext uri="{FF2B5EF4-FFF2-40B4-BE49-F238E27FC236}">
                  <a16:creationId xmlns:a16="http://schemas.microsoft.com/office/drawing/2014/main" id="{51A9A7FE-6665-C346-BB2E-4ADDE48B2EE0}"/>
                </a:ext>
              </a:extLst>
            </p:cNvPr>
            <p:cNvSpPr/>
            <p:nvPr/>
          </p:nvSpPr>
          <p:spPr>
            <a:xfrm>
              <a:off x="1462088" y="10939332"/>
              <a:ext cx="6805406" cy="814033"/>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612000" tIns="144000" rIns="90000" bIns="144000" rtlCol="0" anchor="t" anchorCtr="0">
              <a:spAutoFit/>
            </a:bodyPr>
            <a:lstStyle/>
            <a:p>
              <a:r>
                <a:rPr lang="en-US" sz="3400" dirty="0">
                  <a:solidFill>
                    <a:schemeClr val="bg2"/>
                  </a:solidFill>
                </a:rPr>
                <a:t>Text</a:t>
              </a:r>
            </a:p>
          </p:txBody>
        </p:sp>
      </p:grpSp>
      <p:grpSp>
        <p:nvGrpSpPr>
          <p:cNvPr id="27" name="Group 26">
            <a:extLst>
              <a:ext uri="{FF2B5EF4-FFF2-40B4-BE49-F238E27FC236}">
                <a16:creationId xmlns:a16="http://schemas.microsoft.com/office/drawing/2014/main" id="{C475900B-6BC6-B749-9325-A564F048D59D}"/>
              </a:ext>
            </a:extLst>
          </p:cNvPr>
          <p:cNvGrpSpPr/>
          <p:nvPr/>
        </p:nvGrpSpPr>
        <p:grpSpPr>
          <a:xfrm>
            <a:off x="3404559" y="2862263"/>
            <a:ext cx="2550985" cy="2550985"/>
            <a:chOff x="2811400" y="2862263"/>
            <a:chExt cx="2550985" cy="2550985"/>
          </a:xfrm>
        </p:grpSpPr>
        <p:sp>
          <p:nvSpPr>
            <p:cNvPr id="28" name="Oval 27">
              <a:extLst>
                <a:ext uri="{FF2B5EF4-FFF2-40B4-BE49-F238E27FC236}">
                  <a16:creationId xmlns:a16="http://schemas.microsoft.com/office/drawing/2014/main" id="{A2EC39CA-7442-C544-8866-50F74E12237D}"/>
                </a:ext>
              </a:extLst>
            </p:cNvPr>
            <p:cNvSpPr/>
            <p:nvPr/>
          </p:nvSpPr>
          <p:spPr>
            <a:xfrm>
              <a:off x="2811400" y="2862263"/>
              <a:ext cx="2550985" cy="2550985"/>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
              <a:extLst>
                <a:ext uri="{FF2B5EF4-FFF2-40B4-BE49-F238E27FC236}">
                  <a16:creationId xmlns:a16="http://schemas.microsoft.com/office/drawing/2014/main" id="{552FF10F-4C67-5747-95E3-7217A743785F}"/>
                </a:ext>
              </a:extLst>
            </p:cNvPr>
            <p:cNvSpPr>
              <a:spLocks noChangeArrowheads="1"/>
            </p:cNvSpPr>
            <p:nvPr/>
          </p:nvSpPr>
          <p:spPr bwMode="auto">
            <a:xfrm>
              <a:off x="3324188"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3"/>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grpSp>
    </p:spTree>
    <p:extLst>
      <p:ext uri="{BB962C8B-B14F-4D97-AF65-F5344CB8AC3E}">
        <p14:creationId xmlns:p14="http://schemas.microsoft.com/office/powerpoint/2010/main" val="24652634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E08E497-E874-D940-AC6E-F54698FCDCB4}"/>
              </a:ext>
            </a:extLst>
          </p:cNvPr>
          <p:cNvSpPr>
            <a:spLocks noGrp="1"/>
          </p:cNvSpPr>
          <p:nvPr>
            <p:ph type="title"/>
          </p:nvPr>
        </p:nvSpPr>
        <p:spPr/>
        <p:txBody>
          <a:bodyPr/>
          <a:lstStyle/>
          <a:p>
            <a:r>
              <a:rPr lang="en-CA" dirty="0"/>
              <a:t>Saving your PPT into the new template</a:t>
            </a:r>
            <a:endParaRPr lang="en-US" dirty="0"/>
          </a:p>
        </p:txBody>
      </p:sp>
      <p:sp>
        <p:nvSpPr>
          <p:cNvPr id="5" name="Content Placeholder 4">
            <a:extLst>
              <a:ext uri="{FF2B5EF4-FFF2-40B4-BE49-F238E27FC236}">
                <a16:creationId xmlns:a16="http://schemas.microsoft.com/office/drawing/2014/main" id="{BB12B909-C258-3D48-BAC0-93749DF4BA17}"/>
              </a:ext>
            </a:extLst>
          </p:cNvPr>
          <p:cNvSpPr>
            <a:spLocks noGrp="1"/>
          </p:cNvSpPr>
          <p:nvPr>
            <p:ph idx="10"/>
          </p:nvPr>
        </p:nvSpPr>
        <p:spPr/>
        <p:txBody>
          <a:bodyPr/>
          <a:lstStyle/>
          <a:p>
            <a:r>
              <a:rPr lang="en-US" dirty="0"/>
              <a:t>To port an existing presentation into this new template, follow these steps: </a:t>
            </a:r>
            <a:endParaRPr lang="en-CA" dirty="0"/>
          </a:p>
          <a:p>
            <a:r>
              <a:rPr lang="en-CA" dirty="0"/>
              <a:t>Open your existing presentation </a:t>
            </a:r>
          </a:p>
          <a:p>
            <a:r>
              <a:rPr lang="en-CA" dirty="0"/>
              <a:t>Drag and drop (or copy and paste) existing slides into this new template</a:t>
            </a:r>
          </a:p>
          <a:p>
            <a:r>
              <a:rPr lang="en-CA" dirty="0"/>
              <a:t>To override old formatting, click the reset button under the Home tab in the toolbar. This will reset the same positioning, fonts, and colors with the new styles.</a:t>
            </a:r>
          </a:p>
          <a:p>
            <a:r>
              <a:rPr lang="en-CA" dirty="0"/>
              <a:t>Inspect all slides to verify and correct the following:</a:t>
            </a:r>
          </a:p>
          <a:p>
            <a:pPr lvl="1"/>
            <a:r>
              <a:rPr lang="en-CA" dirty="0"/>
              <a:t>Content sits within guides/boundaries outlined on slide 3</a:t>
            </a:r>
          </a:p>
          <a:p>
            <a:pPr lvl="1"/>
            <a:r>
              <a:rPr lang="en-CA" dirty="0"/>
              <a:t>All fonts are Arial</a:t>
            </a:r>
          </a:p>
          <a:p>
            <a:pPr lvl="1"/>
            <a:r>
              <a:rPr lang="en-CA" dirty="0"/>
              <a:t>Colours from the new palette are utilized and are legible where they have been replaced</a:t>
            </a:r>
          </a:p>
        </p:txBody>
      </p:sp>
    </p:spTree>
    <p:extLst>
      <p:ext uri="{BB962C8B-B14F-4D97-AF65-F5344CB8AC3E}">
        <p14:creationId xmlns:p14="http://schemas.microsoft.com/office/powerpoint/2010/main" val="39314781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956B9-87FA-3645-8488-986F95C7815F}"/>
              </a:ext>
            </a:extLst>
          </p:cNvPr>
          <p:cNvSpPr>
            <a:spLocks noGrp="1"/>
          </p:cNvSpPr>
          <p:nvPr>
            <p:ph type="title"/>
          </p:nvPr>
        </p:nvSpPr>
        <p:spPr/>
        <p:txBody>
          <a:bodyPr/>
          <a:lstStyle/>
          <a:p>
            <a:r>
              <a:rPr lang="en-US" dirty="0"/>
              <a:t>Four icon callouts</a:t>
            </a:r>
          </a:p>
        </p:txBody>
      </p:sp>
      <p:sp>
        <p:nvSpPr>
          <p:cNvPr id="30" name="Rectangle 29">
            <a:extLst>
              <a:ext uri="{FF2B5EF4-FFF2-40B4-BE49-F238E27FC236}">
                <a16:creationId xmlns:a16="http://schemas.microsoft.com/office/drawing/2014/main" id="{B3B87F61-2198-B745-8D4E-AA4B87C03308}"/>
              </a:ext>
            </a:extLst>
          </p:cNvPr>
          <p:cNvSpPr/>
          <p:nvPr/>
        </p:nvSpPr>
        <p:spPr>
          <a:xfrm>
            <a:off x="1264476" y="4462272"/>
            <a:ext cx="4993200" cy="6602400"/>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dolor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grpSp>
        <p:nvGrpSpPr>
          <p:cNvPr id="31" name="Group 30">
            <a:extLst>
              <a:ext uri="{FF2B5EF4-FFF2-40B4-BE49-F238E27FC236}">
                <a16:creationId xmlns:a16="http://schemas.microsoft.com/office/drawing/2014/main" id="{CE792E89-DDE3-B044-BD76-CDB6AF8F1CF0}"/>
              </a:ext>
            </a:extLst>
          </p:cNvPr>
          <p:cNvGrpSpPr/>
          <p:nvPr/>
        </p:nvGrpSpPr>
        <p:grpSpPr>
          <a:xfrm>
            <a:off x="2485584" y="2862263"/>
            <a:ext cx="2550985" cy="2550985"/>
            <a:chOff x="2811400" y="2862263"/>
            <a:chExt cx="2550985" cy="2550985"/>
          </a:xfrm>
        </p:grpSpPr>
        <p:sp>
          <p:nvSpPr>
            <p:cNvPr id="32" name="Oval 31">
              <a:extLst>
                <a:ext uri="{FF2B5EF4-FFF2-40B4-BE49-F238E27FC236}">
                  <a16:creationId xmlns:a16="http://schemas.microsoft.com/office/drawing/2014/main" id="{BE71D410-0559-264E-BED6-15B7802B0176}"/>
                </a:ext>
              </a:extLst>
            </p:cNvPr>
            <p:cNvSpPr/>
            <p:nvPr/>
          </p:nvSpPr>
          <p:spPr>
            <a:xfrm>
              <a:off x="2811400" y="2862263"/>
              <a:ext cx="2550985" cy="2550985"/>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2">
              <a:extLst>
                <a:ext uri="{FF2B5EF4-FFF2-40B4-BE49-F238E27FC236}">
                  <a16:creationId xmlns:a16="http://schemas.microsoft.com/office/drawing/2014/main" id="{04E3B01E-5865-8C45-90EC-FA7D2271A5D6}"/>
                </a:ext>
              </a:extLst>
            </p:cNvPr>
            <p:cNvSpPr>
              <a:spLocks noChangeArrowheads="1"/>
            </p:cNvSpPr>
            <p:nvPr/>
          </p:nvSpPr>
          <p:spPr bwMode="auto">
            <a:xfrm>
              <a:off x="3324188"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3"/>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grpSp>
      <p:sp>
        <p:nvSpPr>
          <p:cNvPr id="34" name="Rectangle 33">
            <a:extLst>
              <a:ext uri="{FF2B5EF4-FFF2-40B4-BE49-F238E27FC236}">
                <a16:creationId xmlns:a16="http://schemas.microsoft.com/office/drawing/2014/main" id="{842A5C80-7C10-3244-A7FE-0BD699008483}"/>
              </a:ext>
            </a:extLst>
          </p:cNvPr>
          <p:cNvSpPr/>
          <p:nvPr/>
        </p:nvSpPr>
        <p:spPr>
          <a:xfrm>
            <a:off x="6890284" y="4462273"/>
            <a:ext cx="4993575" cy="6601967"/>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dolor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grpSp>
        <p:nvGrpSpPr>
          <p:cNvPr id="35" name="Group 34">
            <a:extLst>
              <a:ext uri="{FF2B5EF4-FFF2-40B4-BE49-F238E27FC236}">
                <a16:creationId xmlns:a16="http://schemas.microsoft.com/office/drawing/2014/main" id="{A841815A-02D2-A94C-91D1-1310A752EBEF}"/>
              </a:ext>
            </a:extLst>
          </p:cNvPr>
          <p:cNvGrpSpPr/>
          <p:nvPr/>
        </p:nvGrpSpPr>
        <p:grpSpPr>
          <a:xfrm>
            <a:off x="8111579" y="2862263"/>
            <a:ext cx="2550985" cy="2550985"/>
            <a:chOff x="8371587" y="2862263"/>
            <a:chExt cx="2550985" cy="2550985"/>
          </a:xfrm>
        </p:grpSpPr>
        <p:sp>
          <p:nvSpPr>
            <p:cNvPr id="36" name="Oval 35">
              <a:extLst>
                <a:ext uri="{FF2B5EF4-FFF2-40B4-BE49-F238E27FC236}">
                  <a16:creationId xmlns:a16="http://schemas.microsoft.com/office/drawing/2014/main" id="{EB0761BA-6C3B-144A-87D5-D19C530365AC}"/>
                </a:ext>
              </a:extLst>
            </p:cNvPr>
            <p:cNvSpPr/>
            <p:nvPr/>
          </p:nvSpPr>
          <p:spPr>
            <a:xfrm>
              <a:off x="8371587" y="2862263"/>
              <a:ext cx="2550985" cy="2550985"/>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2">
              <a:extLst>
                <a:ext uri="{FF2B5EF4-FFF2-40B4-BE49-F238E27FC236}">
                  <a16:creationId xmlns:a16="http://schemas.microsoft.com/office/drawing/2014/main" id="{664C99C0-75E8-C64F-8BD0-3D60F42F7003}"/>
                </a:ext>
              </a:extLst>
            </p:cNvPr>
            <p:cNvSpPr>
              <a:spLocks noChangeArrowheads="1"/>
            </p:cNvSpPr>
            <p:nvPr/>
          </p:nvSpPr>
          <p:spPr bwMode="auto">
            <a:xfrm>
              <a:off x="8884375"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2"/>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grpSp>
      <p:sp>
        <p:nvSpPr>
          <p:cNvPr id="38" name="Rectangle 37">
            <a:extLst>
              <a:ext uri="{FF2B5EF4-FFF2-40B4-BE49-F238E27FC236}">
                <a16:creationId xmlns:a16="http://schemas.microsoft.com/office/drawing/2014/main" id="{8B837FB9-DB7E-9048-B819-E7EB51E89FA3}"/>
              </a:ext>
            </a:extLst>
          </p:cNvPr>
          <p:cNvSpPr/>
          <p:nvPr/>
        </p:nvSpPr>
        <p:spPr>
          <a:xfrm>
            <a:off x="12516467" y="4462273"/>
            <a:ext cx="4993575" cy="6601967"/>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dolor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grpSp>
        <p:nvGrpSpPr>
          <p:cNvPr id="39" name="Group 38">
            <a:extLst>
              <a:ext uri="{FF2B5EF4-FFF2-40B4-BE49-F238E27FC236}">
                <a16:creationId xmlns:a16="http://schemas.microsoft.com/office/drawing/2014/main" id="{434B3A88-82F2-7C4D-8B5C-B7D229EEB865}"/>
              </a:ext>
            </a:extLst>
          </p:cNvPr>
          <p:cNvGrpSpPr/>
          <p:nvPr/>
        </p:nvGrpSpPr>
        <p:grpSpPr>
          <a:xfrm>
            <a:off x="13737762" y="2862263"/>
            <a:ext cx="2550985" cy="2550985"/>
            <a:chOff x="13931774" y="2862263"/>
            <a:chExt cx="2550985" cy="2550985"/>
          </a:xfrm>
        </p:grpSpPr>
        <p:sp>
          <p:nvSpPr>
            <p:cNvPr id="40" name="Oval 39">
              <a:extLst>
                <a:ext uri="{FF2B5EF4-FFF2-40B4-BE49-F238E27FC236}">
                  <a16:creationId xmlns:a16="http://schemas.microsoft.com/office/drawing/2014/main" id="{80ACC8AA-D22A-9B46-AF27-983E33FCFFEB}"/>
                </a:ext>
              </a:extLst>
            </p:cNvPr>
            <p:cNvSpPr/>
            <p:nvPr/>
          </p:nvSpPr>
          <p:spPr>
            <a:xfrm>
              <a:off x="13931774" y="2862263"/>
              <a:ext cx="2550985" cy="2550985"/>
            </a:xfrm>
            <a:prstGeom prst="ellipse">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reeform 2">
              <a:extLst>
                <a:ext uri="{FF2B5EF4-FFF2-40B4-BE49-F238E27FC236}">
                  <a16:creationId xmlns:a16="http://schemas.microsoft.com/office/drawing/2014/main" id="{A142C188-C7EC-7049-9844-73A38B92B818}"/>
                </a:ext>
              </a:extLst>
            </p:cNvPr>
            <p:cNvSpPr>
              <a:spLocks noChangeArrowheads="1"/>
            </p:cNvSpPr>
            <p:nvPr/>
          </p:nvSpPr>
          <p:spPr bwMode="auto">
            <a:xfrm>
              <a:off x="14462850"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4"/>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grpSp>
      <p:sp>
        <p:nvSpPr>
          <p:cNvPr id="42" name="Rectangle 41">
            <a:extLst>
              <a:ext uri="{FF2B5EF4-FFF2-40B4-BE49-F238E27FC236}">
                <a16:creationId xmlns:a16="http://schemas.microsoft.com/office/drawing/2014/main" id="{0D98422B-8EE6-0342-B7FA-87B465013DEE}"/>
              </a:ext>
            </a:extLst>
          </p:cNvPr>
          <p:cNvSpPr/>
          <p:nvPr/>
        </p:nvSpPr>
        <p:spPr>
          <a:xfrm>
            <a:off x="18142650" y="4462273"/>
            <a:ext cx="4993575" cy="6601967"/>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dolor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grpSp>
        <p:nvGrpSpPr>
          <p:cNvPr id="43" name="Group 42">
            <a:extLst>
              <a:ext uri="{FF2B5EF4-FFF2-40B4-BE49-F238E27FC236}">
                <a16:creationId xmlns:a16="http://schemas.microsoft.com/office/drawing/2014/main" id="{E0A612D3-8F80-5841-ACDD-F46526751F59}"/>
              </a:ext>
            </a:extLst>
          </p:cNvPr>
          <p:cNvGrpSpPr/>
          <p:nvPr/>
        </p:nvGrpSpPr>
        <p:grpSpPr>
          <a:xfrm>
            <a:off x="19363945" y="2862263"/>
            <a:ext cx="2550985" cy="2550985"/>
            <a:chOff x="19363945" y="2862263"/>
            <a:chExt cx="2550985" cy="2550985"/>
          </a:xfrm>
        </p:grpSpPr>
        <p:sp>
          <p:nvSpPr>
            <p:cNvPr id="44" name="Oval 43">
              <a:extLst>
                <a:ext uri="{FF2B5EF4-FFF2-40B4-BE49-F238E27FC236}">
                  <a16:creationId xmlns:a16="http://schemas.microsoft.com/office/drawing/2014/main" id="{EDE3F3AF-990E-7941-A466-A77E3B5DDC82}"/>
                </a:ext>
              </a:extLst>
            </p:cNvPr>
            <p:cNvSpPr/>
            <p:nvPr/>
          </p:nvSpPr>
          <p:spPr>
            <a:xfrm>
              <a:off x="19363945" y="2862263"/>
              <a:ext cx="2550985" cy="2550985"/>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2">
              <a:extLst>
                <a:ext uri="{FF2B5EF4-FFF2-40B4-BE49-F238E27FC236}">
                  <a16:creationId xmlns:a16="http://schemas.microsoft.com/office/drawing/2014/main" id="{F217AC88-A37C-F54C-8BA5-8F4D31D1F940}"/>
                </a:ext>
              </a:extLst>
            </p:cNvPr>
            <p:cNvSpPr>
              <a:spLocks noChangeArrowheads="1"/>
            </p:cNvSpPr>
            <p:nvPr/>
          </p:nvSpPr>
          <p:spPr bwMode="auto">
            <a:xfrm>
              <a:off x="19879602"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1"/>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grpSp>
    </p:spTree>
    <p:extLst>
      <p:ext uri="{BB962C8B-B14F-4D97-AF65-F5344CB8AC3E}">
        <p14:creationId xmlns:p14="http://schemas.microsoft.com/office/powerpoint/2010/main" val="661251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956B9-87FA-3645-8488-986F95C7815F}"/>
              </a:ext>
            </a:extLst>
          </p:cNvPr>
          <p:cNvSpPr>
            <a:spLocks noGrp="1"/>
          </p:cNvSpPr>
          <p:nvPr>
            <p:ph type="title"/>
          </p:nvPr>
        </p:nvSpPr>
        <p:spPr/>
        <p:txBody>
          <a:bodyPr/>
          <a:lstStyle/>
          <a:p>
            <a:r>
              <a:rPr lang="en-US" dirty="0"/>
              <a:t>Four icon callouts</a:t>
            </a:r>
          </a:p>
        </p:txBody>
      </p:sp>
      <p:grpSp>
        <p:nvGrpSpPr>
          <p:cNvPr id="19" name="Group 18">
            <a:extLst>
              <a:ext uri="{FF2B5EF4-FFF2-40B4-BE49-F238E27FC236}">
                <a16:creationId xmlns:a16="http://schemas.microsoft.com/office/drawing/2014/main" id="{C9CE745B-4AD7-6F41-80FB-20CA9209FCF0}"/>
              </a:ext>
            </a:extLst>
          </p:cNvPr>
          <p:cNvGrpSpPr/>
          <p:nvPr/>
        </p:nvGrpSpPr>
        <p:grpSpPr>
          <a:xfrm>
            <a:off x="1264476" y="2862263"/>
            <a:ext cx="4993200" cy="8891102"/>
            <a:chOff x="1462089" y="2862263"/>
            <a:chExt cx="4993200" cy="8891102"/>
          </a:xfrm>
        </p:grpSpPr>
        <p:sp>
          <p:nvSpPr>
            <p:cNvPr id="20" name="Rectangle 19">
              <a:extLst>
                <a:ext uri="{FF2B5EF4-FFF2-40B4-BE49-F238E27FC236}">
                  <a16:creationId xmlns:a16="http://schemas.microsoft.com/office/drawing/2014/main" id="{51877F4F-2F50-3249-87DB-C8882CEB9286}"/>
                </a:ext>
              </a:extLst>
            </p:cNvPr>
            <p:cNvSpPr/>
            <p:nvPr/>
          </p:nvSpPr>
          <p:spPr>
            <a:xfrm>
              <a:off x="1462089" y="4462272"/>
              <a:ext cx="4993200" cy="6602400"/>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dolor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sp>
          <p:nvSpPr>
            <p:cNvPr id="21" name="Rectangle 20">
              <a:extLst>
                <a:ext uri="{FF2B5EF4-FFF2-40B4-BE49-F238E27FC236}">
                  <a16:creationId xmlns:a16="http://schemas.microsoft.com/office/drawing/2014/main" id="{9070476C-73FE-FC40-A3E0-C6F3DBFCE0F5}"/>
                </a:ext>
              </a:extLst>
            </p:cNvPr>
            <p:cNvSpPr/>
            <p:nvPr/>
          </p:nvSpPr>
          <p:spPr>
            <a:xfrm>
              <a:off x="1462089" y="10939332"/>
              <a:ext cx="4993200" cy="814033"/>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612000" tIns="144000" rIns="90000" bIns="144000" rtlCol="0" anchor="t" anchorCtr="0">
              <a:spAutoFit/>
            </a:bodyPr>
            <a:lstStyle/>
            <a:p>
              <a:r>
                <a:rPr lang="en-US" sz="3400">
                  <a:solidFill>
                    <a:schemeClr val="bg2"/>
                  </a:solidFill>
                </a:rPr>
                <a:t>Text</a:t>
              </a:r>
              <a:endParaRPr lang="en-US" sz="3400" dirty="0">
                <a:solidFill>
                  <a:schemeClr val="bg2"/>
                </a:solidFill>
              </a:endParaRPr>
            </a:p>
          </p:txBody>
        </p:sp>
        <p:grpSp>
          <p:nvGrpSpPr>
            <p:cNvPr id="22" name="Group 21">
              <a:extLst>
                <a:ext uri="{FF2B5EF4-FFF2-40B4-BE49-F238E27FC236}">
                  <a16:creationId xmlns:a16="http://schemas.microsoft.com/office/drawing/2014/main" id="{D4081A8B-80F3-9A46-8313-12BDF2CE8A05}"/>
                </a:ext>
              </a:extLst>
            </p:cNvPr>
            <p:cNvGrpSpPr/>
            <p:nvPr/>
          </p:nvGrpSpPr>
          <p:grpSpPr>
            <a:xfrm>
              <a:off x="2683197" y="2862263"/>
              <a:ext cx="2550985" cy="2550985"/>
              <a:chOff x="2811400" y="2862263"/>
              <a:chExt cx="2550985" cy="2550985"/>
            </a:xfrm>
          </p:grpSpPr>
          <p:sp>
            <p:nvSpPr>
              <p:cNvPr id="23" name="Oval 22">
                <a:extLst>
                  <a:ext uri="{FF2B5EF4-FFF2-40B4-BE49-F238E27FC236}">
                    <a16:creationId xmlns:a16="http://schemas.microsoft.com/office/drawing/2014/main" id="{BD647631-4A25-E241-9EB6-67E0EA55011D}"/>
                  </a:ext>
                </a:extLst>
              </p:cNvPr>
              <p:cNvSpPr/>
              <p:nvPr/>
            </p:nvSpPr>
            <p:spPr>
              <a:xfrm>
                <a:off x="2811400" y="2862263"/>
                <a:ext cx="2550985" cy="2550985"/>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
                <a:extLst>
                  <a:ext uri="{FF2B5EF4-FFF2-40B4-BE49-F238E27FC236}">
                    <a16:creationId xmlns:a16="http://schemas.microsoft.com/office/drawing/2014/main" id="{CF3BC512-C2D5-4848-9816-745EF46587D4}"/>
                  </a:ext>
                </a:extLst>
              </p:cNvPr>
              <p:cNvSpPr>
                <a:spLocks noChangeArrowheads="1"/>
              </p:cNvSpPr>
              <p:nvPr/>
            </p:nvSpPr>
            <p:spPr bwMode="auto">
              <a:xfrm>
                <a:off x="3324188"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3"/>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grpSp>
      </p:grpSp>
      <p:grpSp>
        <p:nvGrpSpPr>
          <p:cNvPr id="25" name="Group 24">
            <a:extLst>
              <a:ext uri="{FF2B5EF4-FFF2-40B4-BE49-F238E27FC236}">
                <a16:creationId xmlns:a16="http://schemas.microsoft.com/office/drawing/2014/main" id="{E6DE2A3F-9909-7846-A473-999C0D421771}"/>
              </a:ext>
            </a:extLst>
          </p:cNvPr>
          <p:cNvGrpSpPr/>
          <p:nvPr/>
        </p:nvGrpSpPr>
        <p:grpSpPr>
          <a:xfrm>
            <a:off x="6890284" y="2862263"/>
            <a:ext cx="4993575" cy="8891102"/>
            <a:chOff x="7022276" y="2862263"/>
            <a:chExt cx="4993575" cy="8891102"/>
          </a:xfrm>
        </p:grpSpPr>
        <p:sp>
          <p:nvSpPr>
            <p:cNvPr id="26" name="Rectangle 25">
              <a:extLst>
                <a:ext uri="{FF2B5EF4-FFF2-40B4-BE49-F238E27FC236}">
                  <a16:creationId xmlns:a16="http://schemas.microsoft.com/office/drawing/2014/main" id="{C7E10F82-7FD3-064B-B582-F9404A945F0A}"/>
                </a:ext>
              </a:extLst>
            </p:cNvPr>
            <p:cNvSpPr/>
            <p:nvPr/>
          </p:nvSpPr>
          <p:spPr>
            <a:xfrm>
              <a:off x="7022276" y="4462273"/>
              <a:ext cx="4993575" cy="6601967"/>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dolor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sp>
          <p:nvSpPr>
            <p:cNvPr id="27" name="Rectangle 26">
              <a:extLst>
                <a:ext uri="{FF2B5EF4-FFF2-40B4-BE49-F238E27FC236}">
                  <a16:creationId xmlns:a16="http://schemas.microsoft.com/office/drawing/2014/main" id="{B78C47F9-F490-CD4A-AFA5-BF6BC9CDB2F5}"/>
                </a:ext>
              </a:extLst>
            </p:cNvPr>
            <p:cNvSpPr/>
            <p:nvPr/>
          </p:nvSpPr>
          <p:spPr>
            <a:xfrm>
              <a:off x="7022276" y="10939332"/>
              <a:ext cx="4993200" cy="814033"/>
            </a:xfrm>
            <a:prstGeom prst="rect">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12000" tIns="144000" rIns="90000" bIns="144000" rtlCol="0" anchor="t" anchorCtr="0">
              <a:spAutoFit/>
            </a:bodyPr>
            <a:lstStyle/>
            <a:p>
              <a:r>
                <a:rPr lang="en-US" sz="3400">
                  <a:solidFill>
                    <a:schemeClr val="bg2"/>
                  </a:solidFill>
                </a:rPr>
                <a:t>Text</a:t>
              </a:r>
              <a:endParaRPr lang="en-US" sz="3400" dirty="0">
                <a:solidFill>
                  <a:schemeClr val="bg2"/>
                </a:solidFill>
              </a:endParaRPr>
            </a:p>
          </p:txBody>
        </p:sp>
        <p:grpSp>
          <p:nvGrpSpPr>
            <p:cNvPr id="28" name="Group 27">
              <a:extLst>
                <a:ext uri="{FF2B5EF4-FFF2-40B4-BE49-F238E27FC236}">
                  <a16:creationId xmlns:a16="http://schemas.microsoft.com/office/drawing/2014/main" id="{8401B880-02D8-044D-BA22-9DA0E91F9D06}"/>
                </a:ext>
              </a:extLst>
            </p:cNvPr>
            <p:cNvGrpSpPr/>
            <p:nvPr/>
          </p:nvGrpSpPr>
          <p:grpSpPr>
            <a:xfrm>
              <a:off x="8243571" y="2862263"/>
              <a:ext cx="2550985" cy="2550985"/>
              <a:chOff x="8371587" y="2862263"/>
              <a:chExt cx="2550985" cy="2550985"/>
            </a:xfrm>
          </p:grpSpPr>
          <p:sp>
            <p:nvSpPr>
              <p:cNvPr id="29" name="Oval 28">
                <a:extLst>
                  <a:ext uri="{FF2B5EF4-FFF2-40B4-BE49-F238E27FC236}">
                    <a16:creationId xmlns:a16="http://schemas.microsoft.com/office/drawing/2014/main" id="{08A027F3-3003-7D49-B418-2E19D9E586F7}"/>
                  </a:ext>
                </a:extLst>
              </p:cNvPr>
              <p:cNvSpPr/>
              <p:nvPr/>
            </p:nvSpPr>
            <p:spPr>
              <a:xfrm>
                <a:off x="8371587" y="2862263"/>
                <a:ext cx="2550985" cy="2550985"/>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2">
                <a:extLst>
                  <a:ext uri="{FF2B5EF4-FFF2-40B4-BE49-F238E27FC236}">
                    <a16:creationId xmlns:a16="http://schemas.microsoft.com/office/drawing/2014/main" id="{1FEC400C-5853-DA4A-BA66-4EEC92CD16D7}"/>
                  </a:ext>
                </a:extLst>
              </p:cNvPr>
              <p:cNvSpPr>
                <a:spLocks noChangeArrowheads="1"/>
              </p:cNvSpPr>
              <p:nvPr/>
            </p:nvSpPr>
            <p:spPr bwMode="auto">
              <a:xfrm>
                <a:off x="8884375"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2"/>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grpSp>
      </p:grpSp>
      <p:grpSp>
        <p:nvGrpSpPr>
          <p:cNvPr id="47" name="Group 46">
            <a:extLst>
              <a:ext uri="{FF2B5EF4-FFF2-40B4-BE49-F238E27FC236}">
                <a16:creationId xmlns:a16="http://schemas.microsoft.com/office/drawing/2014/main" id="{B2393955-0C58-CD4E-84CE-08E7DF582BAA}"/>
              </a:ext>
            </a:extLst>
          </p:cNvPr>
          <p:cNvGrpSpPr/>
          <p:nvPr/>
        </p:nvGrpSpPr>
        <p:grpSpPr>
          <a:xfrm>
            <a:off x="12516467" y="2862263"/>
            <a:ext cx="4993575" cy="8891102"/>
            <a:chOff x="12582463" y="2862263"/>
            <a:chExt cx="4993575" cy="8891102"/>
          </a:xfrm>
        </p:grpSpPr>
        <p:sp>
          <p:nvSpPr>
            <p:cNvPr id="48" name="Rectangle 47">
              <a:extLst>
                <a:ext uri="{FF2B5EF4-FFF2-40B4-BE49-F238E27FC236}">
                  <a16:creationId xmlns:a16="http://schemas.microsoft.com/office/drawing/2014/main" id="{ECD4F63E-3068-5740-B31B-CAAD2CD26156}"/>
                </a:ext>
              </a:extLst>
            </p:cNvPr>
            <p:cNvSpPr/>
            <p:nvPr/>
          </p:nvSpPr>
          <p:spPr>
            <a:xfrm>
              <a:off x="12582463" y="4462273"/>
              <a:ext cx="4993575" cy="6601967"/>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dolor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sp>
          <p:nvSpPr>
            <p:cNvPr id="49" name="Rectangle 48">
              <a:extLst>
                <a:ext uri="{FF2B5EF4-FFF2-40B4-BE49-F238E27FC236}">
                  <a16:creationId xmlns:a16="http://schemas.microsoft.com/office/drawing/2014/main" id="{6831FA11-10E5-9347-9517-F99B741C0FC3}"/>
                </a:ext>
              </a:extLst>
            </p:cNvPr>
            <p:cNvSpPr/>
            <p:nvPr/>
          </p:nvSpPr>
          <p:spPr>
            <a:xfrm>
              <a:off x="12582463" y="10939332"/>
              <a:ext cx="4993200" cy="814033"/>
            </a:xfrm>
            <a:prstGeom prst="rect">
              <a:avLst/>
            </a:prstGeom>
            <a:solidFill>
              <a:schemeClr val="accent4"/>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612000" tIns="144000" rIns="90000" bIns="144000" rtlCol="0" anchor="t" anchorCtr="0">
              <a:spAutoFit/>
            </a:bodyPr>
            <a:lstStyle/>
            <a:p>
              <a:r>
                <a:rPr lang="en-US" sz="3400">
                  <a:solidFill>
                    <a:schemeClr val="bg2"/>
                  </a:solidFill>
                </a:rPr>
                <a:t>Text</a:t>
              </a:r>
              <a:endParaRPr lang="en-US" sz="3400" dirty="0">
                <a:solidFill>
                  <a:schemeClr val="bg2"/>
                </a:solidFill>
              </a:endParaRPr>
            </a:p>
          </p:txBody>
        </p:sp>
        <p:grpSp>
          <p:nvGrpSpPr>
            <p:cNvPr id="50" name="Group 49">
              <a:extLst>
                <a:ext uri="{FF2B5EF4-FFF2-40B4-BE49-F238E27FC236}">
                  <a16:creationId xmlns:a16="http://schemas.microsoft.com/office/drawing/2014/main" id="{28C9CBF7-A07F-A546-8A56-6DE94CE6639B}"/>
                </a:ext>
              </a:extLst>
            </p:cNvPr>
            <p:cNvGrpSpPr/>
            <p:nvPr/>
          </p:nvGrpSpPr>
          <p:grpSpPr>
            <a:xfrm>
              <a:off x="13803758" y="2862263"/>
              <a:ext cx="2550985" cy="2550985"/>
              <a:chOff x="13931774" y="2862263"/>
              <a:chExt cx="2550985" cy="2550985"/>
            </a:xfrm>
          </p:grpSpPr>
          <p:sp>
            <p:nvSpPr>
              <p:cNvPr id="51" name="Oval 50">
                <a:extLst>
                  <a:ext uri="{FF2B5EF4-FFF2-40B4-BE49-F238E27FC236}">
                    <a16:creationId xmlns:a16="http://schemas.microsoft.com/office/drawing/2014/main" id="{A25887A4-10F4-4F49-90F6-506C01AE36AB}"/>
                  </a:ext>
                </a:extLst>
              </p:cNvPr>
              <p:cNvSpPr/>
              <p:nvPr/>
            </p:nvSpPr>
            <p:spPr>
              <a:xfrm>
                <a:off x="13931774" y="2862263"/>
                <a:ext cx="2550985" cy="2550985"/>
              </a:xfrm>
              <a:prstGeom prst="ellipse">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Freeform 2">
                <a:extLst>
                  <a:ext uri="{FF2B5EF4-FFF2-40B4-BE49-F238E27FC236}">
                    <a16:creationId xmlns:a16="http://schemas.microsoft.com/office/drawing/2014/main" id="{E65E2752-B6AD-B345-9748-C777892A5531}"/>
                  </a:ext>
                </a:extLst>
              </p:cNvPr>
              <p:cNvSpPr>
                <a:spLocks noChangeArrowheads="1"/>
              </p:cNvSpPr>
              <p:nvPr/>
            </p:nvSpPr>
            <p:spPr bwMode="auto">
              <a:xfrm>
                <a:off x="14462850"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4"/>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grpSp>
      </p:grpSp>
      <p:grpSp>
        <p:nvGrpSpPr>
          <p:cNvPr id="53" name="Group 52">
            <a:extLst>
              <a:ext uri="{FF2B5EF4-FFF2-40B4-BE49-F238E27FC236}">
                <a16:creationId xmlns:a16="http://schemas.microsoft.com/office/drawing/2014/main" id="{1257B5DF-E056-F54C-8ABB-70C9D63E28A5}"/>
              </a:ext>
            </a:extLst>
          </p:cNvPr>
          <p:cNvGrpSpPr/>
          <p:nvPr/>
        </p:nvGrpSpPr>
        <p:grpSpPr>
          <a:xfrm>
            <a:off x="18142650" y="2862263"/>
            <a:ext cx="4993575" cy="8891102"/>
            <a:chOff x="18142650" y="2862263"/>
            <a:chExt cx="4993575" cy="8891102"/>
          </a:xfrm>
        </p:grpSpPr>
        <p:sp>
          <p:nvSpPr>
            <p:cNvPr id="54" name="Rectangle 53">
              <a:extLst>
                <a:ext uri="{FF2B5EF4-FFF2-40B4-BE49-F238E27FC236}">
                  <a16:creationId xmlns:a16="http://schemas.microsoft.com/office/drawing/2014/main" id="{04682BD0-64EA-3B44-9782-7690DA3E51A0}"/>
                </a:ext>
              </a:extLst>
            </p:cNvPr>
            <p:cNvSpPr/>
            <p:nvPr/>
          </p:nvSpPr>
          <p:spPr>
            <a:xfrm>
              <a:off x="18142650" y="4462273"/>
              <a:ext cx="4993575" cy="6601967"/>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2000" tIns="1404000" rIns="612000" rtlCol="0" anchor="t" anchorCtr="0"/>
            <a:lstStyle/>
            <a:p>
              <a:r>
                <a:rPr lang="en-US" sz="2800" b="1" dirty="0">
                  <a:solidFill>
                    <a:schemeClr val="tx1"/>
                  </a:solidFill>
                </a:rPr>
                <a:t>Callout title</a:t>
              </a:r>
            </a:p>
            <a:p>
              <a:endParaRPr lang="en-US" sz="2800" b="1" dirty="0">
                <a:solidFill>
                  <a:schemeClr val="tx1"/>
                </a:solidFill>
              </a:endParaRPr>
            </a:p>
            <a:p>
              <a:r>
                <a:rPr lang="en-US" sz="2800" dirty="0">
                  <a:solidFill>
                    <a:schemeClr val="tx1"/>
                  </a:solidFill>
                </a:rPr>
                <a:t>Lorem ipsum dolor sit </a:t>
              </a:r>
              <a:r>
                <a:rPr lang="en-US" sz="2800" dirty="0" err="1">
                  <a:solidFill>
                    <a:schemeClr val="tx1"/>
                  </a:solidFill>
                </a:rPr>
                <a:t>amet</a:t>
              </a:r>
              <a:r>
                <a:rPr lang="en-US" sz="2800" dirty="0">
                  <a:solidFill>
                    <a:schemeClr val="tx1"/>
                  </a:solidFill>
                </a:rPr>
                <a:t>, </a:t>
              </a:r>
              <a:r>
                <a:rPr lang="en-US" sz="2800" dirty="0" err="1">
                  <a:solidFill>
                    <a:schemeClr val="tx1"/>
                  </a:solidFill>
                </a:rPr>
                <a:t>consectetur</a:t>
              </a:r>
              <a:r>
                <a:rPr lang="en-US" sz="2800" dirty="0">
                  <a:solidFill>
                    <a:schemeClr val="tx1"/>
                  </a:solidFill>
                </a:rPr>
                <a:t> </a:t>
              </a:r>
              <a:r>
                <a:rPr lang="en-US" sz="2800" dirty="0" err="1">
                  <a:solidFill>
                    <a:schemeClr val="tx1"/>
                  </a:solidFill>
                </a:rPr>
                <a:t>adipiscing</a:t>
              </a:r>
              <a:r>
                <a:rPr lang="en-US" sz="2800" dirty="0">
                  <a:solidFill>
                    <a:schemeClr val="tx1"/>
                  </a:solidFill>
                </a:rPr>
                <a:t> </a:t>
              </a:r>
              <a:r>
                <a:rPr lang="en-US" sz="2800" dirty="0" err="1">
                  <a:solidFill>
                    <a:schemeClr val="tx1"/>
                  </a:solidFill>
                </a:rPr>
                <a:t>elit</a:t>
              </a:r>
              <a:r>
                <a:rPr lang="en-US" sz="2800" dirty="0">
                  <a:solidFill>
                    <a:schemeClr val="tx1"/>
                  </a:solidFill>
                </a:rPr>
                <a:t>, </a:t>
              </a:r>
              <a:r>
                <a:rPr lang="en-US" sz="2800" dirty="0" err="1">
                  <a:solidFill>
                    <a:schemeClr val="tx1"/>
                  </a:solidFill>
                </a:rPr>
                <a:t>sed</a:t>
              </a:r>
              <a:r>
                <a:rPr lang="en-US" sz="2800" dirty="0">
                  <a:solidFill>
                    <a:schemeClr val="tx1"/>
                  </a:solidFill>
                </a:rPr>
                <a:t> do </a:t>
              </a:r>
              <a:r>
                <a:rPr lang="en-US" sz="2800" dirty="0" err="1">
                  <a:solidFill>
                    <a:schemeClr val="tx1"/>
                  </a:solidFill>
                </a:rPr>
                <a:t>eiusmod</a:t>
              </a:r>
              <a:r>
                <a:rPr lang="en-US" sz="2800" dirty="0">
                  <a:solidFill>
                    <a:schemeClr val="tx1"/>
                  </a:solidFill>
                </a:rPr>
                <a:t> </a:t>
              </a:r>
              <a:r>
                <a:rPr lang="en-US" sz="2800" dirty="0" err="1">
                  <a:solidFill>
                    <a:schemeClr val="tx1"/>
                  </a:solidFill>
                </a:rPr>
                <a:t>tempor</a:t>
              </a:r>
              <a:r>
                <a:rPr lang="en-US" sz="2800" dirty="0">
                  <a:solidFill>
                    <a:schemeClr val="tx1"/>
                  </a:solidFill>
                </a:rPr>
                <a:t> </a:t>
              </a:r>
              <a:r>
                <a:rPr lang="en-US" sz="2800" dirty="0" err="1">
                  <a:solidFill>
                    <a:schemeClr val="tx1"/>
                  </a:solidFill>
                </a:rPr>
                <a:t>incididunt</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labore</a:t>
              </a:r>
              <a:r>
                <a:rPr lang="en-US" sz="2800" dirty="0">
                  <a:solidFill>
                    <a:schemeClr val="tx1"/>
                  </a:solidFill>
                </a:rPr>
                <a:t> et </a:t>
              </a:r>
              <a:r>
                <a:rPr lang="en-US" sz="2800" dirty="0" err="1">
                  <a:solidFill>
                    <a:schemeClr val="tx1"/>
                  </a:solidFill>
                </a:rPr>
                <a:t>dolore</a:t>
              </a:r>
              <a:r>
                <a:rPr lang="en-US" sz="2800" dirty="0">
                  <a:solidFill>
                    <a:schemeClr val="tx1"/>
                  </a:solidFill>
                </a:rPr>
                <a:t> magna </a:t>
              </a:r>
              <a:r>
                <a:rPr lang="en-US" sz="2800" dirty="0" err="1">
                  <a:solidFill>
                    <a:schemeClr val="tx1"/>
                  </a:solidFill>
                </a:rPr>
                <a:t>aliqua</a:t>
              </a:r>
              <a:r>
                <a:rPr lang="en-US" sz="2800" dirty="0">
                  <a:solidFill>
                    <a:schemeClr val="tx1"/>
                  </a:solidFill>
                </a:rPr>
                <a:t>. </a:t>
              </a:r>
              <a:r>
                <a:rPr lang="en-US" sz="2800" dirty="0" err="1">
                  <a:solidFill>
                    <a:schemeClr val="tx1"/>
                  </a:solidFill>
                </a:rPr>
                <a:t>Ut</a:t>
              </a:r>
              <a:r>
                <a:rPr lang="en-US" sz="2800" dirty="0">
                  <a:solidFill>
                    <a:schemeClr val="tx1"/>
                  </a:solidFill>
                </a:rPr>
                <a:t> </a:t>
              </a:r>
              <a:r>
                <a:rPr lang="en-US" sz="2800" dirty="0" err="1">
                  <a:solidFill>
                    <a:schemeClr val="tx1"/>
                  </a:solidFill>
                </a:rPr>
                <a:t>enim</a:t>
              </a:r>
              <a:r>
                <a:rPr lang="en-US" sz="2800" dirty="0">
                  <a:solidFill>
                    <a:schemeClr val="tx1"/>
                  </a:solidFill>
                </a:rPr>
                <a:t> ad minim </a:t>
              </a:r>
              <a:r>
                <a:rPr lang="en-US" sz="2800" dirty="0" err="1">
                  <a:solidFill>
                    <a:schemeClr val="tx1"/>
                  </a:solidFill>
                </a:rPr>
                <a:t>veniam</a:t>
              </a:r>
              <a:r>
                <a:rPr lang="en-US" sz="2800" dirty="0">
                  <a:solidFill>
                    <a:schemeClr val="tx1"/>
                  </a:solidFill>
                </a:rPr>
                <a:t>, </a:t>
              </a:r>
              <a:r>
                <a:rPr lang="en-US" sz="2800" dirty="0" err="1">
                  <a:solidFill>
                    <a:schemeClr val="tx1"/>
                  </a:solidFill>
                </a:rPr>
                <a:t>quis</a:t>
              </a:r>
              <a:r>
                <a:rPr lang="en-US" sz="2800" dirty="0">
                  <a:solidFill>
                    <a:schemeClr val="tx1"/>
                  </a:solidFill>
                </a:rPr>
                <a:t> </a:t>
              </a:r>
              <a:r>
                <a:rPr lang="en-US" sz="2800" dirty="0" err="1">
                  <a:solidFill>
                    <a:schemeClr val="tx1"/>
                  </a:solidFill>
                </a:rPr>
                <a:t>nostrud</a:t>
              </a:r>
              <a:r>
                <a:rPr lang="en-US" sz="2800" dirty="0">
                  <a:solidFill>
                    <a:schemeClr val="tx1"/>
                  </a:solidFill>
                </a:rPr>
                <a:t> exercitation </a:t>
              </a:r>
              <a:r>
                <a:rPr lang="en-US" sz="2800" dirty="0" err="1">
                  <a:solidFill>
                    <a:schemeClr val="tx1"/>
                  </a:solidFill>
                </a:rPr>
                <a:t>ullamco</a:t>
              </a:r>
              <a:endParaRPr lang="en-US" sz="2800" dirty="0">
                <a:solidFill>
                  <a:schemeClr val="tx1"/>
                </a:solidFill>
              </a:endParaRPr>
            </a:p>
          </p:txBody>
        </p:sp>
        <p:sp>
          <p:nvSpPr>
            <p:cNvPr id="55" name="Rectangle 54">
              <a:extLst>
                <a:ext uri="{FF2B5EF4-FFF2-40B4-BE49-F238E27FC236}">
                  <a16:creationId xmlns:a16="http://schemas.microsoft.com/office/drawing/2014/main" id="{2983EA65-FC69-E046-98DD-542123ED7F75}"/>
                </a:ext>
              </a:extLst>
            </p:cNvPr>
            <p:cNvSpPr/>
            <p:nvPr/>
          </p:nvSpPr>
          <p:spPr>
            <a:xfrm>
              <a:off x="18142650" y="10939332"/>
              <a:ext cx="4993200" cy="814033"/>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2000" tIns="144000" rIns="90000" bIns="144000" rtlCol="0" anchor="t" anchorCtr="0">
              <a:spAutoFit/>
            </a:bodyPr>
            <a:lstStyle/>
            <a:p>
              <a:r>
                <a:rPr lang="en-US" sz="3400">
                  <a:solidFill>
                    <a:schemeClr val="bg2"/>
                  </a:solidFill>
                </a:rPr>
                <a:t>Text</a:t>
              </a:r>
              <a:endParaRPr lang="en-US" sz="3400" dirty="0">
                <a:solidFill>
                  <a:schemeClr val="bg2"/>
                </a:solidFill>
              </a:endParaRPr>
            </a:p>
          </p:txBody>
        </p:sp>
        <p:grpSp>
          <p:nvGrpSpPr>
            <p:cNvPr id="56" name="Group 55">
              <a:extLst>
                <a:ext uri="{FF2B5EF4-FFF2-40B4-BE49-F238E27FC236}">
                  <a16:creationId xmlns:a16="http://schemas.microsoft.com/office/drawing/2014/main" id="{24501234-EB4C-A540-8D96-8C52E6414103}"/>
                </a:ext>
              </a:extLst>
            </p:cNvPr>
            <p:cNvGrpSpPr/>
            <p:nvPr/>
          </p:nvGrpSpPr>
          <p:grpSpPr>
            <a:xfrm>
              <a:off x="19363945" y="2862263"/>
              <a:ext cx="2550985" cy="2550985"/>
              <a:chOff x="19363945" y="2862263"/>
              <a:chExt cx="2550985" cy="2550985"/>
            </a:xfrm>
          </p:grpSpPr>
          <p:sp>
            <p:nvSpPr>
              <p:cNvPr id="57" name="Oval 56">
                <a:extLst>
                  <a:ext uri="{FF2B5EF4-FFF2-40B4-BE49-F238E27FC236}">
                    <a16:creationId xmlns:a16="http://schemas.microsoft.com/office/drawing/2014/main" id="{9ECAE644-4E72-114B-8E51-B3C8D4A6B56E}"/>
                  </a:ext>
                </a:extLst>
              </p:cNvPr>
              <p:cNvSpPr/>
              <p:nvPr/>
            </p:nvSpPr>
            <p:spPr>
              <a:xfrm>
                <a:off x="19363945" y="2862263"/>
                <a:ext cx="2550985" cy="2550985"/>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eform 2">
                <a:extLst>
                  <a:ext uri="{FF2B5EF4-FFF2-40B4-BE49-F238E27FC236}">
                    <a16:creationId xmlns:a16="http://schemas.microsoft.com/office/drawing/2014/main" id="{CA44CC74-49C4-5048-B6A2-D3E34499D712}"/>
                  </a:ext>
                </a:extLst>
              </p:cNvPr>
              <p:cNvSpPr>
                <a:spLocks noChangeArrowheads="1"/>
              </p:cNvSpPr>
              <p:nvPr/>
            </p:nvSpPr>
            <p:spPr bwMode="auto">
              <a:xfrm>
                <a:off x="19879602" y="3328416"/>
                <a:ext cx="1525408" cy="1457103"/>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1"/>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grpSp>
      </p:grpSp>
    </p:spTree>
    <p:extLst>
      <p:ext uri="{BB962C8B-B14F-4D97-AF65-F5344CB8AC3E}">
        <p14:creationId xmlns:p14="http://schemas.microsoft.com/office/powerpoint/2010/main" val="38312243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1B33B-3B98-C04B-B8FC-83D2A4DEB548}"/>
              </a:ext>
            </a:extLst>
          </p:cNvPr>
          <p:cNvSpPr>
            <a:spLocks noGrp="1"/>
          </p:cNvSpPr>
          <p:nvPr>
            <p:ph type="title"/>
          </p:nvPr>
        </p:nvSpPr>
        <p:spPr/>
        <p:txBody>
          <a:bodyPr/>
          <a:lstStyle/>
          <a:p>
            <a:r>
              <a:rPr lang="en-US" dirty="0"/>
              <a:t>Timeline</a:t>
            </a:r>
          </a:p>
        </p:txBody>
      </p:sp>
      <p:cxnSp>
        <p:nvCxnSpPr>
          <p:cNvPr id="3" name="Straight Connector 2">
            <a:extLst>
              <a:ext uri="{FF2B5EF4-FFF2-40B4-BE49-F238E27FC236}">
                <a16:creationId xmlns:a16="http://schemas.microsoft.com/office/drawing/2014/main" id="{F0415432-39D2-F842-B31F-9ADCFD3886C7}"/>
              </a:ext>
            </a:extLst>
          </p:cNvPr>
          <p:cNvCxnSpPr>
            <a:stCxn id="8" idx="4"/>
            <a:endCxn id="9" idx="0"/>
          </p:cNvCxnSpPr>
          <p:nvPr/>
        </p:nvCxnSpPr>
        <p:spPr>
          <a:xfrm>
            <a:off x="3606633" y="4400902"/>
            <a:ext cx="3008203" cy="0"/>
          </a:xfrm>
          <a:prstGeom prst="line">
            <a:avLst/>
          </a:prstGeom>
          <a:ln w="381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4DD0359-15C3-A245-8397-960ACE252898}"/>
              </a:ext>
            </a:extLst>
          </p:cNvPr>
          <p:cNvCxnSpPr>
            <a:stCxn id="9" idx="4"/>
            <a:endCxn id="10" idx="0"/>
          </p:cNvCxnSpPr>
          <p:nvPr/>
        </p:nvCxnSpPr>
        <p:spPr>
          <a:xfrm>
            <a:off x="7103332" y="4400902"/>
            <a:ext cx="3008203" cy="0"/>
          </a:xfrm>
          <a:prstGeom prst="line">
            <a:avLst/>
          </a:prstGeom>
          <a:ln w="381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8B4237E-264E-A843-89CF-332256C31DDA}"/>
              </a:ext>
            </a:extLst>
          </p:cNvPr>
          <p:cNvCxnSpPr>
            <a:stCxn id="10" idx="4"/>
            <a:endCxn id="11" idx="0"/>
          </p:cNvCxnSpPr>
          <p:nvPr/>
        </p:nvCxnSpPr>
        <p:spPr>
          <a:xfrm>
            <a:off x="10600031" y="4400902"/>
            <a:ext cx="3008203" cy="0"/>
          </a:xfrm>
          <a:prstGeom prst="line">
            <a:avLst/>
          </a:prstGeom>
          <a:ln w="381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58EE40D-ED18-FF4D-840B-AE3137C52C7A}"/>
              </a:ext>
            </a:extLst>
          </p:cNvPr>
          <p:cNvCxnSpPr>
            <a:stCxn id="12" idx="4"/>
            <a:endCxn id="13" idx="0"/>
          </p:cNvCxnSpPr>
          <p:nvPr/>
        </p:nvCxnSpPr>
        <p:spPr>
          <a:xfrm>
            <a:off x="17593429" y="4400902"/>
            <a:ext cx="3008204" cy="0"/>
          </a:xfrm>
          <a:prstGeom prst="line">
            <a:avLst/>
          </a:prstGeom>
          <a:ln w="381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6633582-D157-0444-94F8-191C5D141927}"/>
              </a:ext>
            </a:extLst>
          </p:cNvPr>
          <p:cNvCxnSpPr>
            <a:stCxn id="11" idx="4"/>
            <a:endCxn id="12" idx="0"/>
          </p:cNvCxnSpPr>
          <p:nvPr/>
        </p:nvCxnSpPr>
        <p:spPr>
          <a:xfrm>
            <a:off x="14096730" y="4400902"/>
            <a:ext cx="3008203" cy="0"/>
          </a:xfrm>
          <a:prstGeom prst="line">
            <a:avLst/>
          </a:prstGeom>
          <a:ln w="381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C6D123B1-1EF8-854A-A1A9-ED61B9C0182A}"/>
              </a:ext>
            </a:extLst>
          </p:cNvPr>
          <p:cNvSpPr/>
          <p:nvPr/>
        </p:nvSpPr>
        <p:spPr>
          <a:xfrm rot="16200000">
            <a:off x="3118136" y="4156654"/>
            <a:ext cx="488498" cy="488496"/>
          </a:xfrm>
          <a:prstGeom prst="ellipse">
            <a:avLst/>
          </a:prstGeom>
          <a:solidFill>
            <a:schemeClr val="bg1"/>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accent2"/>
              </a:solidFill>
            </a:endParaRPr>
          </a:p>
        </p:txBody>
      </p:sp>
      <p:sp>
        <p:nvSpPr>
          <p:cNvPr id="9" name="Oval 8">
            <a:extLst>
              <a:ext uri="{FF2B5EF4-FFF2-40B4-BE49-F238E27FC236}">
                <a16:creationId xmlns:a16="http://schemas.microsoft.com/office/drawing/2014/main" id="{B8BF5A88-8548-624C-9A42-606A245BF76C}"/>
              </a:ext>
            </a:extLst>
          </p:cNvPr>
          <p:cNvSpPr/>
          <p:nvPr/>
        </p:nvSpPr>
        <p:spPr>
          <a:xfrm rot="16200000">
            <a:off x="6614835" y="4156654"/>
            <a:ext cx="488498" cy="488496"/>
          </a:xfrm>
          <a:prstGeom prst="ellipse">
            <a:avLst/>
          </a:prstGeom>
          <a:solidFill>
            <a:schemeClr val="bg1"/>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accent2"/>
              </a:solidFill>
            </a:endParaRPr>
          </a:p>
        </p:txBody>
      </p:sp>
      <p:sp>
        <p:nvSpPr>
          <p:cNvPr id="10" name="Oval 9">
            <a:extLst>
              <a:ext uri="{FF2B5EF4-FFF2-40B4-BE49-F238E27FC236}">
                <a16:creationId xmlns:a16="http://schemas.microsoft.com/office/drawing/2014/main" id="{781B080D-BF8D-E64F-8D8D-4205B1364EB1}"/>
              </a:ext>
            </a:extLst>
          </p:cNvPr>
          <p:cNvSpPr/>
          <p:nvPr/>
        </p:nvSpPr>
        <p:spPr>
          <a:xfrm rot="16200000">
            <a:off x="10111534" y="4156654"/>
            <a:ext cx="488498" cy="488496"/>
          </a:xfrm>
          <a:prstGeom prst="ellipse">
            <a:avLst/>
          </a:prstGeom>
          <a:solidFill>
            <a:schemeClr val="bg1"/>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accent2"/>
              </a:solidFill>
            </a:endParaRPr>
          </a:p>
        </p:txBody>
      </p:sp>
      <p:sp>
        <p:nvSpPr>
          <p:cNvPr id="11" name="Oval 10">
            <a:extLst>
              <a:ext uri="{FF2B5EF4-FFF2-40B4-BE49-F238E27FC236}">
                <a16:creationId xmlns:a16="http://schemas.microsoft.com/office/drawing/2014/main" id="{6CCD3514-363A-C444-81B2-1A67AA97F71E}"/>
              </a:ext>
            </a:extLst>
          </p:cNvPr>
          <p:cNvSpPr/>
          <p:nvPr/>
        </p:nvSpPr>
        <p:spPr>
          <a:xfrm rot="16200000">
            <a:off x="13608233" y="4156654"/>
            <a:ext cx="488498" cy="488496"/>
          </a:xfrm>
          <a:prstGeom prst="ellipse">
            <a:avLst/>
          </a:prstGeom>
          <a:solidFill>
            <a:schemeClr val="accent3"/>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accent2"/>
              </a:solidFill>
            </a:endParaRPr>
          </a:p>
        </p:txBody>
      </p:sp>
      <p:sp>
        <p:nvSpPr>
          <p:cNvPr id="12" name="Oval 11">
            <a:extLst>
              <a:ext uri="{FF2B5EF4-FFF2-40B4-BE49-F238E27FC236}">
                <a16:creationId xmlns:a16="http://schemas.microsoft.com/office/drawing/2014/main" id="{E4DDD1C4-7EC6-B14F-8025-4C0BDF6D8DBA}"/>
              </a:ext>
            </a:extLst>
          </p:cNvPr>
          <p:cNvSpPr/>
          <p:nvPr/>
        </p:nvSpPr>
        <p:spPr>
          <a:xfrm rot="16200000">
            <a:off x="17104932" y="4156654"/>
            <a:ext cx="488498" cy="488496"/>
          </a:xfrm>
          <a:prstGeom prst="ellipse">
            <a:avLst/>
          </a:prstGeom>
          <a:solidFill>
            <a:schemeClr val="bg1"/>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accent2"/>
              </a:solidFill>
            </a:endParaRPr>
          </a:p>
        </p:txBody>
      </p:sp>
      <p:sp>
        <p:nvSpPr>
          <p:cNvPr id="13" name="Oval 12">
            <a:extLst>
              <a:ext uri="{FF2B5EF4-FFF2-40B4-BE49-F238E27FC236}">
                <a16:creationId xmlns:a16="http://schemas.microsoft.com/office/drawing/2014/main" id="{2D638DD9-900E-8642-91F9-E7BC458C75E0}"/>
              </a:ext>
            </a:extLst>
          </p:cNvPr>
          <p:cNvSpPr/>
          <p:nvPr/>
        </p:nvSpPr>
        <p:spPr>
          <a:xfrm rot="16200000">
            <a:off x="20601632" y="4156654"/>
            <a:ext cx="488498" cy="488496"/>
          </a:xfrm>
          <a:prstGeom prst="ellipse">
            <a:avLst/>
          </a:prstGeom>
          <a:solidFill>
            <a:schemeClr val="bg1"/>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accent2"/>
              </a:solidFill>
            </a:endParaRPr>
          </a:p>
        </p:txBody>
      </p:sp>
      <p:sp>
        <p:nvSpPr>
          <p:cNvPr id="14" name="TextBox 13">
            <a:extLst>
              <a:ext uri="{FF2B5EF4-FFF2-40B4-BE49-F238E27FC236}">
                <a16:creationId xmlns:a16="http://schemas.microsoft.com/office/drawing/2014/main" id="{C960019C-82D5-A74D-A49C-4F4A99EF99D8}"/>
              </a:ext>
            </a:extLst>
          </p:cNvPr>
          <p:cNvSpPr txBox="1"/>
          <p:nvPr/>
        </p:nvSpPr>
        <p:spPr>
          <a:xfrm>
            <a:off x="2066329" y="3218688"/>
            <a:ext cx="2606804" cy="615553"/>
          </a:xfrm>
          <a:prstGeom prst="rect">
            <a:avLst/>
          </a:prstGeom>
          <a:noFill/>
        </p:spPr>
        <p:txBody>
          <a:bodyPr wrap="none" rtlCol="0">
            <a:spAutoFit/>
          </a:bodyPr>
          <a:lstStyle/>
          <a:p>
            <a:pPr algn="ctr"/>
            <a:r>
              <a:rPr lang="en-US" sz="3400" dirty="0">
                <a:solidFill>
                  <a:schemeClr val="bg1">
                    <a:lumMod val="65000"/>
                  </a:schemeClr>
                </a:solidFill>
              </a:rPr>
              <a:t>1991 – 1994</a:t>
            </a:r>
          </a:p>
        </p:txBody>
      </p:sp>
      <p:sp>
        <p:nvSpPr>
          <p:cNvPr id="15" name="TextBox 14">
            <a:extLst>
              <a:ext uri="{FF2B5EF4-FFF2-40B4-BE49-F238E27FC236}">
                <a16:creationId xmlns:a16="http://schemas.microsoft.com/office/drawing/2014/main" id="{825DCA4A-3824-104B-AAB1-C416954913CA}"/>
              </a:ext>
            </a:extLst>
          </p:cNvPr>
          <p:cNvSpPr txBox="1"/>
          <p:nvPr/>
        </p:nvSpPr>
        <p:spPr>
          <a:xfrm>
            <a:off x="5559338" y="3218688"/>
            <a:ext cx="2606804" cy="615553"/>
          </a:xfrm>
          <a:prstGeom prst="rect">
            <a:avLst/>
          </a:prstGeom>
          <a:noFill/>
        </p:spPr>
        <p:txBody>
          <a:bodyPr wrap="none" rtlCol="0">
            <a:spAutoFit/>
          </a:bodyPr>
          <a:lstStyle/>
          <a:p>
            <a:pPr algn="ctr"/>
            <a:r>
              <a:rPr lang="en-US" sz="3400" dirty="0">
                <a:solidFill>
                  <a:schemeClr val="bg1">
                    <a:lumMod val="65000"/>
                  </a:schemeClr>
                </a:solidFill>
              </a:rPr>
              <a:t>1995 – 1998</a:t>
            </a:r>
          </a:p>
        </p:txBody>
      </p:sp>
      <p:sp>
        <p:nvSpPr>
          <p:cNvPr id="16" name="TextBox 15">
            <a:extLst>
              <a:ext uri="{FF2B5EF4-FFF2-40B4-BE49-F238E27FC236}">
                <a16:creationId xmlns:a16="http://schemas.microsoft.com/office/drawing/2014/main" id="{7BC4B296-72B3-094E-BED7-0D0E76602116}"/>
              </a:ext>
            </a:extLst>
          </p:cNvPr>
          <p:cNvSpPr txBox="1"/>
          <p:nvPr/>
        </p:nvSpPr>
        <p:spPr>
          <a:xfrm>
            <a:off x="9015773" y="3218688"/>
            <a:ext cx="2606804" cy="615553"/>
          </a:xfrm>
          <a:prstGeom prst="rect">
            <a:avLst/>
          </a:prstGeom>
          <a:noFill/>
        </p:spPr>
        <p:txBody>
          <a:bodyPr wrap="none" rtlCol="0">
            <a:spAutoFit/>
          </a:bodyPr>
          <a:lstStyle/>
          <a:p>
            <a:pPr algn="ctr"/>
            <a:r>
              <a:rPr lang="en-US" sz="3400" dirty="0">
                <a:solidFill>
                  <a:schemeClr val="bg1">
                    <a:lumMod val="65000"/>
                  </a:schemeClr>
                </a:solidFill>
              </a:rPr>
              <a:t>1999 – 2002</a:t>
            </a:r>
          </a:p>
        </p:txBody>
      </p:sp>
      <p:sp>
        <p:nvSpPr>
          <p:cNvPr id="17" name="TextBox 16">
            <a:extLst>
              <a:ext uri="{FF2B5EF4-FFF2-40B4-BE49-F238E27FC236}">
                <a16:creationId xmlns:a16="http://schemas.microsoft.com/office/drawing/2014/main" id="{31D35444-D950-9E4B-9D72-EF2E49C0C4BE}"/>
              </a:ext>
            </a:extLst>
          </p:cNvPr>
          <p:cNvSpPr txBox="1"/>
          <p:nvPr/>
        </p:nvSpPr>
        <p:spPr>
          <a:xfrm>
            <a:off x="12508778" y="3218688"/>
            <a:ext cx="2606804" cy="615553"/>
          </a:xfrm>
          <a:prstGeom prst="rect">
            <a:avLst/>
          </a:prstGeom>
          <a:noFill/>
        </p:spPr>
        <p:txBody>
          <a:bodyPr wrap="none" rtlCol="0">
            <a:spAutoFit/>
          </a:bodyPr>
          <a:lstStyle/>
          <a:p>
            <a:pPr algn="ctr"/>
            <a:r>
              <a:rPr lang="en-US" sz="3400" dirty="0">
                <a:solidFill>
                  <a:schemeClr val="bg1">
                    <a:lumMod val="65000"/>
                  </a:schemeClr>
                </a:solidFill>
              </a:rPr>
              <a:t>2003 – 2006</a:t>
            </a:r>
          </a:p>
        </p:txBody>
      </p:sp>
      <p:sp>
        <p:nvSpPr>
          <p:cNvPr id="18" name="TextBox 17">
            <a:extLst>
              <a:ext uri="{FF2B5EF4-FFF2-40B4-BE49-F238E27FC236}">
                <a16:creationId xmlns:a16="http://schemas.microsoft.com/office/drawing/2014/main" id="{EAEBB3DB-6ED9-194B-9CBE-7A26D0A2858E}"/>
              </a:ext>
            </a:extLst>
          </p:cNvPr>
          <p:cNvSpPr txBox="1"/>
          <p:nvPr/>
        </p:nvSpPr>
        <p:spPr>
          <a:xfrm>
            <a:off x="16017912" y="3218688"/>
            <a:ext cx="2574552" cy="615553"/>
          </a:xfrm>
          <a:prstGeom prst="rect">
            <a:avLst/>
          </a:prstGeom>
          <a:noFill/>
        </p:spPr>
        <p:txBody>
          <a:bodyPr wrap="none" rtlCol="0">
            <a:spAutoFit/>
          </a:bodyPr>
          <a:lstStyle/>
          <a:p>
            <a:pPr algn="ctr"/>
            <a:r>
              <a:rPr lang="en-US" sz="3400" dirty="0">
                <a:solidFill>
                  <a:schemeClr val="bg1">
                    <a:lumMod val="65000"/>
                  </a:schemeClr>
                </a:solidFill>
              </a:rPr>
              <a:t>2007 – 2011</a:t>
            </a:r>
          </a:p>
        </p:txBody>
      </p:sp>
      <p:sp>
        <p:nvSpPr>
          <p:cNvPr id="19" name="TextBox 18">
            <a:extLst>
              <a:ext uri="{FF2B5EF4-FFF2-40B4-BE49-F238E27FC236}">
                <a16:creationId xmlns:a16="http://schemas.microsoft.com/office/drawing/2014/main" id="{B70B1F71-523E-6F44-A42C-D10067D09E5E}"/>
              </a:ext>
            </a:extLst>
          </p:cNvPr>
          <p:cNvSpPr txBox="1"/>
          <p:nvPr/>
        </p:nvSpPr>
        <p:spPr>
          <a:xfrm>
            <a:off x="19301046" y="3218688"/>
            <a:ext cx="3140604" cy="615553"/>
          </a:xfrm>
          <a:prstGeom prst="rect">
            <a:avLst/>
          </a:prstGeom>
          <a:noFill/>
        </p:spPr>
        <p:txBody>
          <a:bodyPr wrap="none" rtlCol="0">
            <a:spAutoFit/>
          </a:bodyPr>
          <a:lstStyle/>
          <a:p>
            <a:pPr algn="ctr"/>
            <a:r>
              <a:rPr lang="en-US" sz="3400" dirty="0">
                <a:solidFill>
                  <a:schemeClr val="bg1">
                    <a:lumMod val="65000"/>
                  </a:schemeClr>
                </a:solidFill>
              </a:rPr>
              <a:t>2012 – Present</a:t>
            </a:r>
          </a:p>
        </p:txBody>
      </p:sp>
      <p:sp>
        <p:nvSpPr>
          <p:cNvPr id="20" name="TextBox 19">
            <a:extLst>
              <a:ext uri="{FF2B5EF4-FFF2-40B4-BE49-F238E27FC236}">
                <a16:creationId xmlns:a16="http://schemas.microsoft.com/office/drawing/2014/main" id="{203F5DE3-2F78-0142-89F4-E724F9CF48A9}"/>
              </a:ext>
            </a:extLst>
          </p:cNvPr>
          <p:cNvSpPr txBox="1"/>
          <p:nvPr/>
        </p:nvSpPr>
        <p:spPr>
          <a:xfrm>
            <a:off x="10138156" y="5084064"/>
            <a:ext cx="7494359" cy="784830"/>
          </a:xfrm>
          <a:prstGeom prst="rect">
            <a:avLst/>
          </a:prstGeom>
          <a:noFill/>
        </p:spPr>
        <p:txBody>
          <a:bodyPr wrap="none" rtlCol="0">
            <a:spAutoFit/>
          </a:bodyPr>
          <a:lstStyle/>
          <a:p>
            <a:pPr algn="ctr"/>
            <a:r>
              <a:rPr lang="en-US" sz="4500" b="1" dirty="0">
                <a:solidFill>
                  <a:schemeClr val="accent2"/>
                </a:solidFill>
              </a:rPr>
              <a:t>The ECM Solutions Leader</a:t>
            </a:r>
          </a:p>
        </p:txBody>
      </p:sp>
      <p:sp>
        <p:nvSpPr>
          <p:cNvPr id="21" name="Rectangle 20">
            <a:extLst>
              <a:ext uri="{FF2B5EF4-FFF2-40B4-BE49-F238E27FC236}">
                <a16:creationId xmlns:a16="http://schemas.microsoft.com/office/drawing/2014/main" id="{5E906DE4-982C-7543-960C-ED8488C713AB}"/>
              </a:ext>
            </a:extLst>
          </p:cNvPr>
          <p:cNvSpPr/>
          <p:nvPr/>
        </p:nvSpPr>
        <p:spPr>
          <a:xfrm>
            <a:off x="1246188" y="6437376"/>
            <a:ext cx="21890037" cy="589273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48A90DA9-7D64-DD47-9A8F-56011683EDAA}"/>
              </a:ext>
            </a:extLst>
          </p:cNvPr>
          <p:cNvSpPr/>
          <p:nvPr/>
        </p:nvSpPr>
        <p:spPr>
          <a:xfrm rot="2700000">
            <a:off x="13478256" y="6236208"/>
            <a:ext cx="804672" cy="80467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Picture Placeholder 2">
            <a:extLst>
              <a:ext uri="{FF2B5EF4-FFF2-40B4-BE49-F238E27FC236}">
                <a16:creationId xmlns:a16="http://schemas.microsoft.com/office/drawing/2014/main" id="{8F9F12E2-B3E3-FF45-8A86-D3BA1995B1D3}"/>
              </a:ext>
            </a:extLst>
          </p:cNvPr>
          <p:cNvSpPr txBox="1">
            <a:spLocks/>
          </p:cNvSpPr>
          <p:nvPr/>
        </p:nvSpPr>
        <p:spPr>
          <a:xfrm>
            <a:off x="1601789" y="6857999"/>
            <a:ext cx="8639492" cy="5142929"/>
          </a:xfrm>
          <a:prstGeom prst="rect">
            <a:avLst/>
          </a:prstGeom>
          <a:solidFill>
            <a:schemeClr val="bg1"/>
          </a:solidFill>
        </p:spPr>
        <p:txBody>
          <a:bodyPr rtlCol="0">
            <a:normAutofit/>
          </a:bodyPr>
          <a:lstStyle>
            <a:lvl1pPr marL="0" indent="0" algn="l" rtl="0" eaLnBrk="1" fontAlgn="base" hangingPunct="1">
              <a:spcBef>
                <a:spcPts val="3200"/>
              </a:spcBef>
              <a:spcAft>
                <a:spcPct val="0"/>
              </a:spcAft>
              <a:buClr>
                <a:schemeClr val="accent2"/>
              </a:buClr>
              <a:buFont typeface="Arial" charset="0"/>
              <a:buNone/>
              <a:defRPr sz="4266" kern="1200" baseline="0">
                <a:solidFill>
                  <a:schemeClr val="tx1"/>
                </a:solidFill>
                <a:latin typeface="+mj-lt"/>
                <a:ea typeface="ＭＳ Ｐゴシック" charset="0"/>
                <a:cs typeface="HelveticaNeueLT Std"/>
              </a:defRPr>
            </a:lvl1pPr>
            <a:lvl2pPr marL="1219124" indent="0" algn="l" rtl="0" eaLnBrk="1" fontAlgn="base" hangingPunct="1">
              <a:spcBef>
                <a:spcPts val="1067"/>
              </a:spcBef>
              <a:spcAft>
                <a:spcPct val="0"/>
              </a:spcAft>
              <a:buClr>
                <a:schemeClr val="accent2"/>
              </a:buClr>
              <a:buFont typeface="Arial" charset="0"/>
              <a:buNone/>
              <a:defRPr sz="7466" kern="1200">
                <a:solidFill>
                  <a:schemeClr val="tx1"/>
                </a:solidFill>
                <a:latin typeface="+mj-lt"/>
                <a:ea typeface="ＭＳ Ｐゴシック" charset="0"/>
                <a:cs typeface="HelveticaNeueLT Std"/>
              </a:defRPr>
            </a:lvl2pPr>
            <a:lvl3pPr marL="2438248" indent="0" algn="l" rtl="0" eaLnBrk="1" fontAlgn="base" hangingPunct="1">
              <a:spcBef>
                <a:spcPts val="1067"/>
              </a:spcBef>
              <a:spcAft>
                <a:spcPct val="0"/>
              </a:spcAft>
              <a:buClr>
                <a:schemeClr val="accent2"/>
              </a:buClr>
              <a:buFont typeface="Arial" charset="0"/>
              <a:buNone/>
              <a:defRPr sz="6400" kern="1200">
                <a:solidFill>
                  <a:schemeClr val="tx1"/>
                </a:solidFill>
                <a:latin typeface="+mj-lt"/>
                <a:ea typeface="ＭＳ Ｐゴシック" charset="0"/>
                <a:cs typeface="HelveticaNeueLT Std"/>
              </a:defRPr>
            </a:lvl3pPr>
            <a:lvl4pPr marL="3657371" indent="0" algn="l" rtl="0" eaLnBrk="1" fontAlgn="base" hangingPunct="1">
              <a:spcBef>
                <a:spcPts val="1067"/>
              </a:spcBef>
              <a:spcAft>
                <a:spcPct val="0"/>
              </a:spcAft>
              <a:buClr>
                <a:schemeClr val="accent1"/>
              </a:buClr>
              <a:buFont typeface="Wingdings" charset="2"/>
              <a:buNone/>
              <a:defRPr sz="5333" kern="1200">
                <a:solidFill>
                  <a:schemeClr val="tx1"/>
                </a:solidFill>
                <a:latin typeface="+mj-lt"/>
                <a:ea typeface="ＭＳ Ｐゴシック" charset="0"/>
                <a:cs typeface="HelveticaNeueLT Std"/>
              </a:defRPr>
            </a:lvl4pPr>
            <a:lvl5pPr marL="4876495" indent="0" algn="l" rtl="0" eaLnBrk="1" fontAlgn="base" hangingPunct="1">
              <a:spcBef>
                <a:spcPts val="1067"/>
              </a:spcBef>
              <a:spcAft>
                <a:spcPct val="0"/>
              </a:spcAft>
              <a:buClr>
                <a:schemeClr val="accent1"/>
              </a:buClr>
              <a:buFont typeface="Wingdings" charset="2"/>
              <a:buNone/>
              <a:defRPr sz="5333" kern="1200">
                <a:solidFill>
                  <a:schemeClr val="tx1"/>
                </a:solidFill>
                <a:latin typeface="+mj-lt"/>
                <a:ea typeface="ＭＳ Ｐゴシック" charset="0"/>
                <a:cs typeface="HelveticaNeueLT Std"/>
              </a:defRPr>
            </a:lvl5pPr>
            <a:lvl6pPr marL="6095619" indent="0" algn="l" defTabSz="2438248" rtl="0" eaLnBrk="1" latinLnBrk="0" hangingPunct="1">
              <a:spcBef>
                <a:spcPts val="1067"/>
              </a:spcBef>
              <a:buClr>
                <a:schemeClr val="accent1"/>
              </a:buClr>
              <a:buFont typeface="Wingdings" pitchFamily="2" charset="2"/>
              <a:buNone/>
              <a:defRPr sz="5333" kern="1200">
                <a:solidFill>
                  <a:schemeClr val="tx1"/>
                </a:solidFill>
                <a:latin typeface="Arial" pitchFamily="34" charset="0"/>
                <a:ea typeface="+mn-ea"/>
                <a:cs typeface="Arial" pitchFamily="34" charset="0"/>
              </a:defRPr>
            </a:lvl6pPr>
            <a:lvl7pPr marL="7314743" indent="0" algn="l" defTabSz="2438248" rtl="0" eaLnBrk="1" latinLnBrk="0" hangingPunct="1">
              <a:spcBef>
                <a:spcPts val="1067"/>
              </a:spcBef>
              <a:buClr>
                <a:schemeClr val="accent1"/>
              </a:buClr>
              <a:buFont typeface="Wingdings" pitchFamily="2" charset="2"/>
              <a:buNone/>
              <a:defRPr sz="5333" kern="1200" baseline="0">
                <a:solidFill>
                  <a:schemeClr val="tx1"/>
                </a:solidFill>
                <a:latin typeface="Arial" pitchFamily="34" charset="0"/>
                <a:ea typeface="+mn-ea"/>
                <a:cs typeface="Arial" pitchFamily="34" charset="0"/>
              </a:defRPr>
            </a:lvl7pPr>
            <a:lvl8pPr marL="8533867" indent="0" algn="l" defTabSz="2438248" rtl="0" eaLnBrk="1" latinLnBrk="0" hangingPunct="1">
              <a:spcBef>
                <a:spcPts val="1067"/>
              </a:spcBef>
              <a:buClr>
                <a:schemeClr val="accent1"/>
              </a:buClr>
              <a:buFont typeface="Wingdings" pitchFamily="2" charset="2"/>
              <a:buNone/>
              <a:defRPr sz="5333" kern="1200" baseline="0">
                <a:solidFill>
                  <a:schemeClr val="tx1"/>
                </a:solidFill>
                <a:latin typeface="Arial" pitchFamily="34" charset="0"/>
                <a:ea typeface="+mn-ea"/>
                <a:cs typeface="Arial" pitchFamily="34" charset="0"/>
              </a:defRPr>
            </a:lvl8pPr>
            <a:lvl9pPr marL="9752990" indent="0" algn="l" defTabSz="2438248" rtl="0" eaLnBrk="1" latinLnBrk="0" hangingPunct="1">
              <a:spcBef>
                <a:spcPts val="1067"/>
              </a:spcBef>
              <a:buClr>
                <a:schemeClr val="accent1"/>
              </a:buClr>
              <a:buFont typeface="Wingdings" pitchFamily="2" charset="2"/>
              <a:buNone/>
              <a:defRPr sz="5333" kern="1200" baseline="0">
                <a:solidFill>
                  <a:schemeClr val="tx1"/>
                </a:solidFill>
                <a:latin typeface="Arial" pitchFamily="34" charset="0"/>
                <a:ea typeface="+mn-ea"/>
                <a:cs typeface="Arial" pitchFamily="34" charset="0"/>
              </a:defRPr>
            </a:lvl9pPr>
          </a:lstStyle>
          <a:p>
            <a:r>
              <a:rPr lang="en-US" dirty="0"/>
              <a:t>Image placeholder</a:t>
            </a:r>
          </a:p>
        </p:txBody>
      </p:sp>
      <p:sp>
        <p:nvSpPr>
          <p:cNvPr id="24" name="TextBox 23">
            <a:extLst>
              <a:ext uri="{FF2B5EF4-FFF2-40B4-BE49-F238E27FC236}">
                <a16:creationId xmlns:a16="http://schemas.microsoft.com/office/drawing/2014/main" id="{90A23518-E523-9C46-BA30-7414B4F57833}"/>
              </a:ext>
            </a:extLst>
          </p:cNvPr>
          <p:cNvSpPr txBox="1"/>
          <p:nvPr/>
        </p:nvSpPr>
        <p:spPr>
          <a:xfrm>
            <a:off x="10808208" y="6794942"/>
            <a:ext cx="11850624" cy="5165410"/>
          </a:xfrm>
          <a:prstGeom prst="rect">
            <a:avLst/>
          </a:prstGeom>
          <a:noFill/>
        </p:spPr>
        <p:txBody>
          <a:bodyPr wrap="none" rtlCol="0" anchor="ctr" anchorCtr="0">
            <a:noAutofit/>
          </a:bodyPr>
          <a:lstStyle/>
          <a:p>
            <a:r>
              <a:rPr lang="en-US" sz="3500" dirty="0"/>
              <a:t>Lorem ipsum </a:t>
            </a:r>
            <a:r>
              <a:rPr lang="en-US" sz="3500" dirty="0" err="1"/>
              <a:t>delore</a:t>
            </a:r>
            <a:r>
              <a:rPr lang="en-US" sz="3500" dirty="0"/>
              <a:t> </a:t>
            </a:r>
            <a:r>
              <a:rPr lang="en-US" sz="3500" dirty="0" err="1"/>
              <a:t>amet</a:t>
            </a:r>
            <a:r>
              <a:rPr lang="en-US" sz="3500" dirty="0"/>
              <a:t>.</a:t>
            </a:r>
          </a:p>
        </p:txBody>
      </p:sp>
    </p:spTree>
    <p:extLst>
      <p:ext uri="{BB962C8B-B14F-4D97-AF65-F5344CB8AC3E}">
        <p14:creationId xmlns:p14="http://schemas.microsoft.com/office/powerpoint/2010/main" val="5913720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1B33B-3B98-C04B-B8FC-83D2A4DEB548}"/>
              </a:ext>
            </a:extLst>
          </p:cNvPr>
          <p:cNvSpPr>
            <a:spLocks noGrp="1"/>
          </p:cNvSpPr>
          <p:nvPr>
            <p:ph type="title"/>
          </p:nvPr>
        </p:nvSpPr>
        <p:spPr/>
        <p:txBody>
          <a:bodyPr/>
          <a:lstStyle/>
          <a:p>
            <a:r>
              <a:rPr lang="en-US" dirty="0"/>
              <a:t>Process</a:t>
            </a:r>
          </a:p>
        </p:txBody>
      </p:sp>
      <p:cxnSp>
        <p:nvCxnSpPr>
          <p:cNvPr id="25" name="Straight Connector 24">
            <a:extLst>
              <a:ext uri="{FF2B5EF4-FFF2-40B4-BE49-F238E27FC236}">
                <a16:creationId xmlns:a16="http://schemas.microsoft.com/office/drawing/2014/main" id="{3AE6D823-85F0-D04A-A968-5B2B35144F97}"/>
              </a:ext>
            </a:extLst>
          </p:cNvPr>
          <p:cNvCxnSpPr>
            <a:stCxn id="30" idx="4"/>
            <a:endCxn id="31" idx="0"/>
          </p:cNvCxnSpPr>
          <p:nvPr/>
        </p:nvCxnSpPr>
        <p:spPr>
          <a:xfrm>
            <a:off x="3606633" y="7439597"/>
            <a:ext cx="2149040" cy="0"/>
          </a:xfrm>
          <a:prstGeom prst="line">
            <a:avLst/>
          </a:prstGeom>
          <a:ln w="381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078AE62-0918-D241-9CA9-8944807B135C}"/>
              </a:ext>
            </a:extLst>
          </p:cNvPr>
          <p:cNvCxnSpPr>
            <a:stCxn id="31" idx="4"/>
            <a:endCxn id="32" idx="0"/>
          </p:cNvCxnSpPr>
          <p:nvPr/>
        </p:nvCxnSpPr>
        <p:spPr>
          <a:xfrm>
            <a:off x="7962495" y="7439597"/>
            <a:ext cx="1289877" cy="0"/>
          </a:xfrm>
          <a:prstGeom prst="line">
            <a:avLst/>
          </a:prstGeom>
          <a:ln w="381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56F44A5-F5CC-0241-AB2D-1C62D5DE672A}"/>
              </a:ext>
            </a:extLst>
          </p:cNvPr>
          <p:cNvCxnSpPr>
            <a:stCxn id="32" idx="4"/>
            <a:endCxn id="33" idx="0"/>
          </p:cNvCxnSpPr>
          <p:nvPr/>
        </p:nvCxnSpPr>
        <p:spPr>
          <a:xfrm>
            <a:off x="11459194" y="7439597"/>
            <a:ext cx="1289877" cy="0"/>
          </a:xfrm>
          <a:prstGeom prst="line">
            <a:avLst/>
          </a:prstGeom>
          <a:ln w="381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512B4F2-C63B-2241-B166-BEF1B6F06DC3}"/>
              </a:ext>
            </a:extLst>
          </p:cNvPr>
          <p:cNvCxnSpPr>
            <a:stCxn id="34" idx="4"/>
            <a:endCxn id="35" idx="0"/>
          </p:cNvCxnSpPr>
          <p:nvPr/>
        </p:nvCxnSpPr>
        <p:spPr>
          <a:xfrm>
            <a:off x="18452592" y="7439597"/>
            <a:ext cx="2149041" cy="0"/>
          </a:xfrm>
          <a:prstGeom prst="line">
            <a:avLst/>
          </a:prstGeom>
          <a:ln w="381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65B3424-2A37-D949-9644-D70EBCBE8B47}"/>
              </a:ext>
            </a:extLst>
          </p:cNvPr>
          <p:cNvCxnSpPr>
            <a:stCxn id="33" idx="4"/>
            <a:endCxn id="34" idx="0"/>
          </p:cNvCxnSpPr>
          <p:nvPr/>
        </p:nvCxnSpPr>
        <p:spPr>
          <a:xfrm>
            <a:off x="14955893" y="7439597"/>
            <a:ext cx="1289877" cy="0"/>
          </a:xfrm>
          <a:prstGeom prst="line">
            <a:avLst/>
          </a:prstGeom>
          <a:ln w="381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7BB848E9-27AB-9540-AFBD-0288009B2746}"/>
              </a:ext>
            </a:extLst>
          </p:cNvPr>
          <p:cNvSpPr/>
          <p:nvPr/>
        </p:nvSpPr>
        <p:spPr>
          <a:xfrm rot="16200000">
            <a:off x="3118136" y="7195349"/>
            <a:ext cx="488498" cy="488496"/>
          </a:xfrm>
          <a:prstGeom prst="ellipse">
            <a:avLst/>
          </a:prstGeom>
          <a:solidFill>
            <a:schemeClr val="bg1"/>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accent2"/>
              </a:solidFill>
            </a:endParaRPr>
          </a:p>
        </p:txBody>
      </p:sp>
      <p:sp>
        <p:nvSpPr>
          <p:cNvPr id="31" name="Oval 30">
            <a:extLst>
              <a:ext uri="{FF2B5EF4-FFF2-40B4-BE49-F238E27FC236}">
                <a16:creationId xmlns:a16="http://schemas.microsoft.com/office/drawing/2014/main" id="{2B42469A-CC20-F849-843F-77C822044ECC}"/>
              </a:ext>
            </a:extLst>
          </p:cNvPr>
          <p:cNvSpPr/>
          <p:nvPr/>
        </p:nvSpPr>
        <p:spPr>
          <a:xfrm rot="16200000">
            <a:off x="5755668" y="6336186"/>
            <a:ext cx="2206832" cy="2206822"/>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accent2"/>
              </a:solidFill>
            </a:endParaRPr>
          </a:p>
        </p:txBody>
      </p:sp>
      <p:sp>
        <p:nvSpPr>
          <p:cNvPr id="32" name="Oval 31">
            <a:extLst>
              <a:ext uri="{FF2B5EF4-FFF2-40B4-BE49-F238E27FC236}">
                <a16:creationId xmlns:a16="http://schemas.microsoft.com/office/drawing/2014/main" id="{50E6FD0F-99B4-704B-9990-781208B952EF}"/>
              </a:ext>
            </a:extLst>
          </p:cNvPr>
          <p:cNvSpPr/>
          <p:nvPr/>
        </p:nvSpPr>
        <p:spPr>
          <a:xfrm rot="16200000">
            <a:off x="9252367" y="6336186"/>
            <a:ext cx="2206832" cy="2206822"/>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accent2"/>
              </a:solidFill>
            </a:endParaRPr>
          </a:p>
        </p:txBody>
      </p:sp>
      <p:sp>
        <p:nvSpPr>
          <p:cNvPr id="33" name="Oval 32">
            <a:extLst>
              <a:ext uri="{FF2B5EF4-FFF2-40B4-BE49-F238E27FC236}">
                <a16:creationId xmlns:a16="http://schemas.microsoft.com/office/drawing/2014/main" id="{07306F57-03D0-FE42-96AE-8E2392954CFB}"/>
              </a:ext>
            </a:extLst>
          </p:cNvPr>
          <p:cNvSpPr/>
          <p:nvPr/>
        </p:nvSpPr>
        <p:spPr>
          <a:xfrm rot="16200000">
            <a:off x="12749066" y="6336186"/>
            <a:ext cx="2206832" cy="2206822"/>
          </a:xfrm>
          <a:prstGeom prst="ellipse">
            <a:avLst/>
          </a:prstGeom>
          <a:solidFill>
            <a:schemeClr val="bg2"/>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accent2"/>
              </a:solidFill>
            </a:endParaRPr>
          </a:p>
        </p:txBody>
      </p:sp>
      <p:sp>
        <p:nvSpPr>
          <p:cNvPr id="34" name="Oval 33">
            <a:extLst>
              <a:ext uri="{FF2B5EF4-FFF2-40B4-BE49-F238E27FC236}">
                <a16:creationId xmlns:a16="http://schemas.microsoft.com/office/drawing/2014/main" id="{2F59ADB9-25FE-694F-BA24-6EC45E145C0F}"/>
              </a:ext>
            </a:extLst>
          </p:cNvPr>
          <p:cNvSpPr/>
          <p:nvPr/>
        </p:nvSpPr>
        <p:spPr>
          <a:xfrm rot="16200000">
            <a:off x="16245765" y="6336186"/>
            <a:ext cx="2206832" cy="2206822"/>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accent2"/>
              </a:solidFill>
            </a:endParaRPr>
          </a:p>
        </p:txBody>
      </p:sp>
      <p:sp>
        <p:nvSpPr>
          <p:cNvPr id="35" name="Oval 34">
            <a:extLst>
              <a:ext uri="{FF2B5EF4-FFF2-40B4-BE49-F238E27FC236}">
                <a16:creationId xmlns:a16="http://schemas.microsoft.com/office/drawing/2014/main" id="{DB7A83A4-6884-9442-8A59-91107B9F72C7}"/>
              </a:ext>
            </a:extLst>
          </p:cNvPr>
          <p:cNvSpPr/>
          <p:nvPr/>
        </p:nvSpPr>
        <p:spPr>
          <a:xfrm rot="16200000">
            <a:off x="20601632" y="7195349"/>
            <a:ext cx="488498" cy="488496"/>
          </a:xfrm>
          <a:prstGeom prst="ellipse">
            <a:avLst/>
          </a:prstGeom>
          <a:solidFill>
            <a:schemeClr val="bg1"/>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chemeClr val="accent2"/>
              </a:solidFill>
            </a:endParaRPr>
          </a:p>
        </p:txBody>
      </p:sp>
      <p:sp>
        <p:nvSpPr>
          <p:cNvPr id="36" name="TextBox 35">
            <a:extLst>
              <a:ext uri="{FF2B5EF4-FFF2-40B4-BE49-F238E27FC236}">
                <a16:creationId xmlns:a16="http://schemas.microsoft.com/office/drawing/2014/main" id="{4C75D19E-4F74-9A42-9B20-ECBD46B984CF}"/>
              </a:ext>
            </a:extLst>
          </p:cNvPr>
          <p:cNvSpPr txBox="1"/>
          <p:nvPr/>
        </p:nvSpPr>
        <p:spPr>
          <a:xfrm>
            <a:off x="2816535" y="6257383"/>
            <a:ext cx="1106393" cy="615553"/>
          </a:xfrm>
          <a:prstGeom prst="rect">
            <a:avLst/>
          </a:prstGeom>
          <a:noFill/>
        </p:spPr>
        <p:txBody>
          <a:bodyPr wrap="none" rtlCol="0">
            <a:spAutoFit/>
          </a:bodyPr>
          <a:lstStyle/>
          <a:p>
            <a:pPr algn="ctr"/>
            <a:r>
              <a:rPr lang="en-US" sz="3400" dirty="0">
                <a:solidFill>
                  <a:schemeClr val="bg1">
                    <a:lumMod val="65000"/>
                  </a:schemeClr>
                </a:solidFill>
              </a:rPr>
              <a:t>Start</a:t>
            </a:r>
          </a:p>
        </p:txBody>
      </p:sp>
      <p:sp>
        <p:nvSpPr>
          <p:cNvPr id="37" name="TextBox 36">
            <a:extLst>
              <a:ext uri="{FF2B5EF4-FFF2-40B4-BE49-F238E27FC236}">
                <a16:creationId xmlns:a16="http://schemas.microsoft.com/office/drawing/2014/main" id="{D02BC5EB-9F01-9741-A227-2AF03822EA25}"/>
              </a:ext>
            </a:extLst>
          </p:cNvPr>
          <p:cNvSpPr txBox="1"/>
          <p:nvPr/>
        </p:nvSpPr>
        <p:spPr>
          <a:xfrm>
            <a:off x="19677753" y="6257383"/>
            <a:ext cx="2387193" cy="615553"/>
          </a:xfrm>
          <a:prstGeom prst="rect">
            <a:avLst/>
          </a:prstGeom>
          <a:noFill/>
        </p:spPr>
        <p:txBody>
          <a:bodyPr wrap="none" rtlCol="0">
            <a:spAutoFit/>
          </a:bodyPr>
          <a:lstStyle/>
          <a:p>
            <a:pPr algn="ctr"/>
            <a:r>
              <a:rPr lang="en-US" sz="3400" dirty="0">
                <a:solidFill>
                  <a:schemeClr val="bg1">
                    <a:lumMod val="65000"/>
                  </a:schemeClr>
                </a:solidFill>
              </a:rPr>
              <a:t>Completion</a:t>
            </a:r>
          </a:p>
        </p:txBody>
      </p:sp>
      <p:sp>
        <p:nvSpPr>
          <p:cNvPr id="38" name="TextBox 37">
            <a:extLst>
              <a:ext uri="{FF2B5EF4-FFF2-40B4-BE49-F238E27FC236}">
                <a16:creationId xmlns:a16="http://schemas.microsoft.com/office/drawing/2014/main" id="{089A357E-77CE-7E4F-B5E0-B23EFBFD6A78}"/>
              </a:ext>
            </a:extLst>
          </p:cNvPr>
          <p:cNvSpPr txBox="1"/>
          <p:nvPr/>
        </p:nvSpPr>
        <p:spPr>
          <a:xfrm>
            <a:off x="9183082" y="9572822"/>
            <a:ext cx="2301782" cy="630942"/>
          </a:xfrm>
          <a:prstGeom prst="rect">
            <a:avLst/>
          </a:prstGeom>
          <a:noFill/>
        </p:spPr>
        <p:txBody>
          <a:bodyPr wrap="square" rtlCol="0">
            <a:spAutoFit/>
          </a:bodyPr>
          <a:lstStyle/>
          <a:p>
            <a:pPr algn="ctr"/>
            <a:r>
              <a:rPr lang="en-US" sz="3500" b="1" dirty="0">
                <a:solidFill>
                  <a:schemeClr val="accent2"/>
                </a:solidFill>
              </a:rPr>
              <a:t>Step 2</a:t>
            </a:r>
          </a:p>
        </p:txBody>
      </p:sp>
      <p:sp>
        <p:nvSpPr>
          <p:cNvPr id="39" name="TextBox 38">
            <a:extLst>
              <a:ext uri="{FF2B5EF4-FFF2-40B4-BE49-F238E27FC236}">
                <a16:creationId xmlns:a16="http://schemas.microsoft.com/office/drawing/2014/main" id="{1D3545CB-7D54-FE4F-9C28-341E57E5E16F}"/>
              </a:ext>
            </a:extLst>
          </p:cNvPr>
          <p:cNvSpPr txBox="1"/>
          <p:nvPr/>
        </p:nvSpPr>
        <p:spPr>
          <a:xfrm>
            <a:off x="7717536" y="10232291"/>
            <a:ext cx="5266944" cy="1815882"/>
          </a:xfrm>
          <a:prstGeom prst="rect">
            <a:avLst/>
          </a:prstGeom>
          <a:noFill/>
        </p:spPr>
        <p:txBody>
          <a:bodyPr wrap="square" rtlCol="0">
            <a:spAutoFit/>
          </a:bodyPr>
          <a:lstStyle/>
          <a:p>
            <a:pPr algn="ctr"/>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r>
              <a:rPr lang="en-US" sz="2800" dirty="0" err="1"/>
              <a:t>sed</a:t>
            </a:r>
            <a:r>
              <a:rPr lang="en-US" sz="2800" dirty="0"/>
              <a:t> do </a:t>
            </a:r>
            <a:r>
              <a:rPr lang="en-US" sz="2800" dirty="0" err="1"/>
              <a:t>eiusmod</a:t>
            </a:r>
            <a:r>
              <a:rPr lang="en-US" sz="2800" dirty="0"/>
              <a:t> </a:t>
            </a:r>
            <a:r>
              <a:rPr lang="en-US" sz="2800" dirty="0" err="1"/>
              <a:t>tempor</a:t>
            </a:r>
            <a:r>
              <a:rPr lang="en-US" sz="2800" dirty="0"/>
              <a:t> </a:t>
            </a:r>
            <a:r>
              <a:rPr lang="en-US" sz="2800" dirty="0" err="1"/>
              <a:t>incididunt</a:t>
            </a:r>
            <a:r>
              <a:rPr lang="en-US" sz="2800" dirty="0"/>
              <a:t> </a:t>
            </a:r>
            <a:r>
              <a:rPr lang="en-US" sz="2800" dirty="0" err="1"/>
              <a:t>ut</a:t>
            </a:r>
            <a:r>
              <a:rPr lang="en-US" sz="2800" dirty="0"/>
              <a:t> </a:t>
            </a:r>
            <a:r>
              <a:rPr lang="en-US" sz="2800" dirty="0" err="1"/>
              <a:t>labore</a:t>
            </a:r>
            <a:r>
              <a:rPr lang="en-US" sz="2800" dirty="0"/>
              <a:t> et </a:t>
            </a:r>
            <a:r>
              <a:rPr lang="en-US" sz="2800" dirty="0" err="1"/>
              <a:t>dolore</a:t>
            </a:r>
            <a:r>
              <a:rPr lang="en-US" sz="2800" dirty="0"/>
              <a:t> magna </a:t>
            </a:r>
            <a:r>
              <a:rPr lang="en-US" sz="2800" dirty="0" err="1"/>
              <a:t>aliqua</a:t>
            </a:r>
            <a:r>
              <a:rPr lang="en-US" sz="2800" dirty="0"/>
              <a:t>.</a:t>
            </a:r>
          </a:p>
        </p:txBody>
      </p:sp>
      <p:sp>
        <p:nvSpPr>
          <p:cNvPr id="40" name="TextBox 39">
            <a:extLst>
              <a:ext uri="{FF2B5EF4-FFF2-40B4-BE49-F238E27FC236}">
                <a16:creationId xmlns:a16="http://schemas.microsoft.com/office/drawing/2014/main" id="{39A1AAD3-ED5A-9D4D-A4E4-6F22D6324CAF}"/>
              </a:ext>
            </a:extLst>
          </p:cNvPr>
          <p:cNvSpPr txBox="1"/>
          <p:nvPr/>
        </p:nvSpPr>
        <p:spPr>
          <a:xfrm>
            <a:off x="16205674" y="9572822"/>
            <a:ext cx="2301782" cy="630942"/>
          </a:xfrm>
          <a:prstGeom prst="rect">
            <a:avLst/>
          </a:prstGeom>
          <a:noFill/>
        </p:spPr>
        <p:txBody>
          <a:bodyPr wrap="square" rtlCol="0">
            <a:spAutoFit/>
          </a:bodyPr>
          <a:lstStyle/>
          <a:p>
            <a:pPr algn="ctr"/>
            <a:r>
              <a:rPr lang="en-US" sz="3500" b="1" dirty="0">
                <a:solidFill>
                  <a:schemeClr val="accent2"/>
                </a:solidFill>
              </a:rPr>
              <a:t>Step 4</a:t>
            </a:r>
          </a:p>
        </p:txBody>
      </p:sp>
      <p:sp>
        <p:nvSpPr>
          <p:cNvPr id="41" name="TextBox 40">
            <a:extLst>
              <a:ext uri="{FF2B5EF4-FFF2-40B4-BE49-F238E27FC236}">
                <a16:creationId xmlns:a16="http://schemas.microsoft.com/office/drawing/2014/main" id="{729745B4-8285-444E-BB8B-91D0D07033FD}"/>
              </a:ext>
            </a:extLst>
          </p:cNvPr>
          <p:cNvSpPr txBox="1"/>
          <p:nvPr/>
        </p:nvSpPr>
        <p:spPr>
          <a:xfrm>
            <a:off x="14740128" y="10232291"/>
            <a:ext cx="5266944" cy="1815882"/>
          </a:xfrm>
          <a:prstGeom prst="rect">
            <a:avLst/>
          </a:prstGeom>
          <a:noFill/>
        </p:spPr>
        <p:txBody>
          <a:bodyPr wrap="square" rtlCol="0">
            <a:spAutoFit/>
          </a:bodyPr>
          <a:lstStyle/>
          <a:p>
            <a:pPr algn="ctr"/>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r>
              <a:rPr lang="en-US" sz="2800" dirty="0" err="1"/>
              <a:t>sed</a:t>
            </a:r>
            <a:r>
              <a:rPr lang="en-US" sz="2800" dirty="0"/>
              <a:t> do </a:t>
            </a:r>
            <a:r>
              <a:rPr lang="en-US" sz="2800" dirty="0" err="1"/>
              <a:t>eiusmod</a:t>
            </a:r>
            <a:r>
              <a:rPr lang="en-US" sz="2800" dirty="0"/>
              <a:t> </a:t>
            </a:r>
            <a:r>
              <a:rPr lang="en-US" sz="2800" dirty="0" err="1"/>
              <a:t>tempor</a:t>
            </a:r>
            <a:r>
              <a:rPr lang="en-US" sz="2800" dirty="0"/>
              <a:t> </a:t>
            </a:r>
            <a:r>
              <a:rPr lang="en-US" sz="2800" dirty="0" err="1"/>
              <a:t>incididunt</a:t>
            </a:r>
            <a:r>
              <a:rPr lang="en-US" sz="2800" dirty="0"/>
              <a:t> </a:t>
            </a:r>
            <a:r>
              <a:rPr lang="en-US" sz="2800" dirty="0" err="1"/>
              <a:t>ut</a:t>
            </a:r>
            <a:r>
              <a:rPr lang="en-US" sz="2800" dirty="0"/>
              <a:t> </a:t>
            </a:r>
            <a:r>
              <a:rPr lang="en-US" sz="2800" dirty="0" err="1"/>
              <a:t>labore</a:t>
            </a:r>
            <a:r>
              <a:rPr lang="en-US" sz="2800" dirty="0"/>
              <a:t> et </a:t>
            </a:r>
            <a:r>
              <a:rPr lang="en-US" sz="2800" dirty="0" err="1"/>
              <a:t>dolore</a:t>
            </a:r>
            <a:r>
              <a:rPr lang="en-US" sz="2800" dirty="0"/>
              <a:t> magna </a:t>
            </a:r>
            <a:r>
              <a:rPr lang="en-US" sz="2800" dirty="0" err="1"/>
              <a:t>aliqua</a:t>
            </a:r>
            <a:r>
              <a:rPr lang="en-US" sz="2800" dirty="0"/>
              <a:t>.</a:t>
            </a:r>
          </a:p>
        </p:txBody>
      </p:sp>
      <p:sp>
        <p:nvSpPr>
          <p:cNvPr id="42" name="TextBox 41">
            <a:extLst>
              <a:ext uri="{FF2B5EF4-FFF2-40B4-BE49-F238E27FC236}">
                <a16:creationId xmlns:a16="http://schemas.microsoft.com/office/drawing/2014/main" id="{8909EE3E-8C6E-D84F-A68B-22E85770F385}"/>
              </a:ext>
            </a:extLst>
          </p:cNvPr>
          <p:cNvSpPr txBox="1"/>
          <p:nvPr/>
        </p:nvSpPr>
        <p:spPr>
          <a:xfrm>
            <a:off x="5671786" y="2678246"/>
            <a:ext cx="2301782" cy="630942"/>
          </a:xfrm>
          <a:prstGeom prst="rect">
            <a:avLst/>
          </a:prstGeom>
          <a:noFill/>
        </p:spPr>
        <p:txBody>
          <a:bodyPr wrap="square" rtlCol="0">
            <a:spAutoFit/>
          </a:bodyPr>
          <a:lstStyle/>
          <a:p>
            <a:pPr algn="ctr"/>
            <a:r>
              <a:rPr lang="en-US" sz="3500" b="1" dirty="0">
                <a:solidFill>
                  <a:schemeClr val="accent2"/>
                </a:solidFill>
              </a:rPr>
              <a:t>Step 1</a:t>
            </a:r>
          </a:p>
        </p:txBody>
      </p:sp>
      <p:sp>
        <p:nvSpPr>
          <p:cNvPr id="43" name="TextBox 42">
            <a:extLst>
              <a:ext uri="{FF2B5EF4-FFF2-40B4-BE49-F238E27FC236}">
                <a16:creationId xmlns:a16="http://schemas.microsoft.com/office/drawing/2014/main" id="{1FDF4FFE-D3A7-8D48-850D-E35A871C64D5}"/>
              </a:ext>
            </a:extLst>
          </p:cNvPr>
          <p:cNvSpPr txBox="1"/>
          <p:nvPr/>
        </p:nvSpPr>
        <p:spPr>
          <a:xfrm>
            <a:off x="4206240" y="3337715"/>
            <a:ext cx="5266944" cy="1815882"/>
          </a:xfrm>
          <a:prstGeom prst="rect">
            <a:avLst/>
          </a:prstGeom>
          <a:noFill/>
        </p:spPr>
        <p:txBody>
          <a:bodyPr wrap="square" rtlCol="0">
            <a:spAutoFit/>
          </a:bodyPr>
          <a:lstStyle/>
          <a:p>
            <a:pPr algn="ctr"/>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r>
              <a:rPr lang="en-US" sz="2800" dirty="0" err="1"/>
              <a:t>sed</a:t>
            </a:r>
            <a:r>
              <a:rPr lang="en-US" sz="2800" dirty="0"/>
              <a:t> do </a:t>
            </a:r>
            <a:r>
              <a:rPr lang="en-US" sz="2800" dirty="0" err="1"/>
              <a:t>eiusmod</a:t>
            </a:r>
            <a:r>
              <a:rPr lang="en-US" sz="2800" dirty="0"/>
              <a:t> </a:t>
            </a:r>
            <a:r>
              <a:rPr lang="en-US" sz="2800" dirty="0" err="1"/>
              <a:t>tempor</a:t>
            </a:r>
            <a:r>
              <a:rPr lang="en-US" sz="2800" dirty="0"/>
              <a:t> </a:t>
            </a:r>
            <a:r>
              <a:rPr lang="en-US" sz="2800" dirty="0" err="1"/>
              <a:t>incididunt</a:t>
            </a:r>
            <a:r>
              <a:rPr lang="en-US" sz="2800" dirty="0"/>
              <a:t> </a:t>
            </a:r>
            <a:r>
              <a:rPr lang="en-US" sz="2800" dirty="0" err="1"/>
              <a:t>ut</a:t>
            </a:r>
            <a:r>
              <a:rPr lang="en-US" sz="2800" dirty="0"/>
              <a:t> </a:t>
            </a:r>
            <a:r>
              <a:rPr lang="en-US" sz="2800" dirty="0" err="1"/>
              <a:t>labore</a:t>
            </a:r>
            <a:r>
              <a:rPr lang="en-US" sz="2800" dirty="0"/>
              <a:t> et </a:t>
            </a:r>
            <a:r>
              <a:rPr lang="en-US" sz="2800" dirty="0" err="1"/>
              <a:t>dolore</a:t>
            </a:r>
            <a:r>
              <a:rPr lang="en-US" sz="2800" dirty="0"/>
              <a:t> magna </a:t>
            </a:r>
            <a:r>
              <a:rPr lang="en-US" sz="2800" dirty="0" err="1"/>
              <a:t>aliqua</a:t>
            </a:r>
            <a:r>
              <a:rPr lang="en-US" sz="2800" dirty="0"/>
              <a:t>.</a:t>
            </a:r>
          </a:p>
        </p:txBody>
      </p:sp>
      <p:sp>
        <p:nvSpPr>
          <p:cNvPr id="44" name="TextBox 43">
            <a:extLst>
              <a:ext uri="{FF2B5EF4-FFF2-40B4-BE49-F238E27FC236}">
                <a16:creationId xmlns:a16="http://schemas.microsoft.com/office/drawing/2014/main" id="{9EE52EB5-38C0-4B4C-BCDB-78EE2BB87F32}"/>
              </a:ext>
            </a:extLst>
          </p:cNvPr>
          <p:cNvSpPr txBox="1"/>
          <p:nvPr/>
        </p:nvSpPr>
        <p:spPr>
          <a:xfrm>
            <a:off x="12694378" y="2678246"/>
            <a:ext cx="2301782" cy="630942"/>
          </a:xfrm>
          <a:prstGeom prst="rect">
            <a:avLst/>
          </a:prstGeom>
          <a:noFill/>
        </p:spPr>
        <p:txBody>
          <a:bodyPr wrap="square" rtlCol="0">
            <a:spAutoFit/>
          </a:bodyPr>
          <a:lstStyle/>
          <a:p>
            <a:pPr algn="ctr"/>
            <a:r>
              <a:rPr lang="en-US" sz="3500" b="1" dirty="0">
                <a:solidFill>
                  <a:schemeClr val="accent2"/>
                </a:solidFill>
              </a:rPr>
              <a:t>Step 3</a:t>
            </a:r>
          </a:p>
        </p:txBody>
      </p:sp>
      <p:sp>
        <p:nvSpPr>
          <p:cNvPr id="45" name="TextBox 44">
            <a:extLst>
              <a:ext uri="{FF2B5EF4-FFF2-40B4-BE49-F238E27FC236}">
                <a16:creationId xmlns:a16="http://schemas.microsoft.com/office/drawing/2014/main" id="{61ACE221-E292-1C4B-B069-490028840D8F}"/>
              </a:ext>
            </a:extLst>
          </p:cNvPr>
          <p:cNvSpPr txBox="1"/>
          <p:nvPr/>
        </p:nvSpPr>
        <p:spPr>
          <a:xfrm>
            <a:off x="11228832" y="3337715"/>
            <a:ext cx="5266944" cy="1815882"/>
          </a:xfrm>
          <a:prstGeom prst="rect">
            <a:avLst/>
          </a:prstGeom>
          <a:noFill/>
        </p:spPr>
        <p:txBody>
          <a:bodyPr wrap="square" rtlCol="0">
            <a:spAutoFit/>
          </a:bodyPr>
          <a:lstStyle/>
          <a:p>
            <a:pPr algn="ctr"/>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r>
              <a:rPr lang="en-US" sz="2800" dirty="0" err="1"/>
              <a:t>sed</a:t>
            </a:r>
            <a:r>
              <a:rPr lang="en-US" sz="2800" dirty="0"/>
              <a:t> do </a:t>
            </a:r>
            <a:r>
              <a:rPr lang="en-US" sz="2800" dirty="0" err="1"/>
              <a:t>eiusmod</a:t>
            </a:r>
            <a:r>
              <a:rPr lang="en-US" sz="2800" dirty="0"/>
              <a:t> </a:t>
            </a:r>
            <a:r>
              <a:rPr lang="en-US" sz="2800" dirty="0" err="1"/>
              <a:t>tempor</a:t>
            </a:r>
            <a:r>
              <a:rPr lang="en-US" sz="2800" dirty="0"/>
              <a:t> </a:t>
            </a:r>
            <a:r>
              <a:rPr lang="en-US" sz="2800" dirty="0" err="1"/>
              <a:t>incididunt</a:t>
            </a:r>
            <a:r>
              <a:rPr lang="en-US" sz="2800" dirty="0"/>
              <a:t> </a:t>
            </a:r>
            <a:r>
              <a:rPr lang="en-US" sz="2800" dirty="0" err="1"/>
              <a:t>ut</a:t>
            </a:r>
            <a:r>
              <a:rPr lang="en-US" sz="2800" dirty="0"/>
              <a:t> </a:t>
            </a:r>
            <a:r>
              <a:rPr lang="en-US" sz="2800" dirty="0" err="1"/>
              <a:t>labore</a:t>
            </a:r>
            <a:r>
              <a:rPr lang="en-US" sz="2800" dirty="0"/>
              <a:t> et </a:t>
            </a:r>
            <a:r>
              <a:rPr lang="en-US" sz="2800" dirty="0" err="1"/>
              <a:t>dolore</a:t>
            </a:r>
            <a:r>
              <a:rPr lang="en-US" sz="2800" dirty="0"/>
              <a:t> magna </a:t>
            </a:r>
            <a:r>
              <a:rPr lang="en-US" sz="2800" dirty="0" err="1"/>
              <a:t>aliqua</a:t>
            </a:r>
            <a:r>
              <a:rPr lang="en-US" sz="2800" dirty="0"/>
              <a:t>.</a:t>
            </a:r>
          </a:p>
        </p:txBody>
      </p:sp>
      <p:cxnSp>
        <p:nvCxnSpPr>
          <p:cNvPr id="46" name="Straight Connector 45">
            <a:extLst>
              <a:ext uri="{FF2B5EF4-FFF2-40B4-BE49-F238E27FC236}">
                <a16:creationId xmlns:a16="http://schemas.microsoft.com/office/drawing/2014/main" id="{69804FB2-1633-EB4B-BF66-199660CC538E}"/>
              </a:ext>
            </a:extLst>
          </p:cNvPr>
          <p:cNvCxnSpPr>
            <a:stCxn id="31" idx="6"/>
          </p:cNvCxnSpPr>
          <p:nvPr/>
        </p:nvCxnSpPr>
        <p:spPr>
          <a:xfrm flipH="1" flipV="1">
            <a:off x="6858000" y="5504688"/>
            <a:ext cx="1084" cy="831493"/>
          </a:xfrm>
          <a:prstGeom prst="line">
            <a:avLst/>
          </a:prstGeom>
          <a:ln w="3810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1DF3241-98DC-A747-A14B-B402FC6E409C}"/>
              </a:ext>
            </a:extLst>
          </p:cNvPr>
          <p:cNvCxnSpPr/>
          <p:nvPr/>
        </p:nvCxnSpPr>
        <p:spPr>
          <a:xfrm flipH="1" flipV="1">
            <a:off x="10351008" y="8522208"/>
            <a:ext cx="1084" cy="831493"/>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3AD0E7B-B714-2847-A891-33AE9F97C151}"/>
              </a:ext>
            </a:extLst>
          </p:cNvPr>
          <p:cNvCxnSpPr/>
          <p:nvPr/>
        </p:nvCxnSpPr>
        <p:spPr>
          <a:xfrm flipH="1" flipV="1">
            <a:off x="17391888" y="8522208"/>
            <a:ext cx="1084" cy="831493"/>
          </a:xfrm>
          <a:prstGeom prst="line">
            <a:avLst/>
          </a:prstGeom>
          <a:ln w="381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822C7CB-5E7E-4F4A-A9CD-4FD8326FADD6}"/>
              </a:ext>
            </a:extLst>
          </p:cNvPr>
          <p:cNvCxnSpPr/>
          <p:nvPr/>
        </p:nvCxnSpPr>
        <p:spPr>
          <a:xfrm flipH="1" flipV="1">
            <a:off x="13862304" y="5504688"/>
            <a:ext cx="1084" cy="831493"/>
          </a:xfrm>
          <a:prstGeom prst="line">
            <a:avLst/>
          </a:prstGeom>
          <a:ln w="38100">
            <a:solidFill>
              <a:schemeClr val="accent4"/>
            </a:solidFill>
            <a:tailEnd type="none"/>
          </a:ln>
        </p:spPr>
        <p:style>
          <a:lnRef idx="1">
            <a:schemeClr val="accent1"/>
          </a:lnRef>
          <a:fillRef idx="0">
            <a:schemeClr val="accent1"/>
          </a:fillRef>
          <a:effectRef idx="0">
            <a:schemeClr val="accent1"/>
          </a:effectRef>
          <a:fontRef idx="minor">
            <a:schemeClr val="tx1"/>
          </a:fontRef>
        </p:style>
      </p:cxnSp>
      <p:sp>
        <p:nvSpPr>
          <p:cNvPr id="50" name="Freeform 2">
            <a:extLst>
              <a:ext uri="{FF2B5EF4-FFF2-40B4-BE49-F238E27FC236}">
                <a16:creationId xmlns:a16="http://schemas.microsoft.com/office/drawing/2014/main" id="{BD58E8AF-23DE-664F-9A96-227F3D78980D}"/>
              </a:ext>
            </a:extLst>
          </p:cNvPr>
          <p:cNvSpPr>
            <a:spLocks noChangeArrowheads="1"/>
          </p:cNvSpPr>
          <p:nvPr/>
        </p:nvSpPr>
        <p:spPr bwMode="auto">
          <a:xfrm>
            <a:off x="6196278" y="6736607"/>
            <a:ext cx="1320090" cy="1260978"/>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3"/>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sp>
        <p:nvSpPr>
          <p:cNvPr id="51" name="Freeform 2">
            <a:extLst>
              <a:ext uri="{FF2B5EF4-FFF2-40B4-BE49-F238E27FC236}">
                <a16:creationId xmlns:a16="http://schemas.microsoft.com/office/drawing/2014/main" id="{DAC425DF-F5E2-6F41-A65B-7B4E9A53F4F4}"/>
              </a:ext>
            </a:extLst>
          </p:cNvPr>
          <p:cNvSpPr>
            <a:spLocks noChangeArrowheads="1"/>
          </p:cNvSpPr>
          <p:nvPr/>
        </p:nvSpPr>
        <p:spPr bwMode="auto">
          <a:xfrm>
            <a:off x="9707574" y="6736607"/>
            <a:ext cx="1320090" cy="1260978"/>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2"/>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sp>
        <p:nvSpPr>
          <p:cNvPr id="52" name="Freeform 2">
            <a:extLst>
              <a:ext uri="{FF2B5EF4-FFF2-40B4-BE49-F238E27FC236}">
                <a16:creationId xmlns:a16="http://schemas.microsoft.com/office/drawing/2014/main" id="{C2A38236-FC93-504A-99D6-5ADCB2ECC4DB}"/>
              </a:ext>
            </a:extLst>
          </p:cNvPr>
          <p:cNvSpPr>
            <a:spLocks noChangeArrowheads="1"/>
          </p:cNvSpPr>
          <p:nvPr/>
        </p:nvSpPr>
        <p:spPr bwMode="auto">
          <a:xfrm>
            <a:off x="13182294" y="6736607"/>
            <a:ext cx="1320090" cy="1260978"/>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4"/>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sp>
        <p:nvSpPr>
          <p:cNvPr id="53" name="Freeform 2">
            <a:extLst>
              <a:ext uri="{FF2B5EF4-FFF2-40B4-BE49-F238E27FC236}">
                <a16:creationId xmlns:a16="http://schemas.microsoft.com/office/drawing/2014/main" id="{399C0E57-8A1A-7F43-99B0-0A0861489FEC}"/>
              </a:ext>
            </a:extLst>
          </p:cNvPr>
          <p:cNvSpPr>
            <a:spLocks noChangeArrowheads="1"/>
          </p:cNvSpPr>
          <p:nvPr/>
        </p:nvSpPr>
        <p:spPr bwMode="auto">
          <a:xfrm>
            <a:off x="16693590" y="6736607"/>
            <a:ext cx="1320090" cy="1260978"/>
          </a:xfrm>
          <a:custGeom>
            <a:avLst/>
            <a:gdLst>
              <a:gd name="T0" fmla="*/ 746 w 784"/>
              <a:gd name="T1" fmla="*/ 677 h 750"/>
              <a:gd name="T2" fmla="*/ 733 w 784"/>
              <a:gd name="T3" fmla="*/ 634 h 750"/>
              <a:gd name="T4" fmla="*/ 703 w 784"/>
              <a:gd name="T5" fmla="*/ 313 h 750"/>
              <a:gd name="T6" fmla="*/ 727 w 784"/>
              <a:gd name="T7" fmla="*/ 300 h 750"/>
              <a:gd name="T8" fmla="*/ 768 w 784"/>
              <a:gd name="T9" fmla="*/ 241 h 750"/>
              <a:gd name="T10" fmla="*/ 781 w 784"/>
              <a:gd name="T11" fmla="*/ 158 h 750"/>
              <a:gd name="T12" fmla="*/ 408 w 784"/>
              <a:gd name="T13" fmla="*/ 1 h 750"/>
              <a:gd name="T14" fmla="*/ 12 w 784"/>
              <a:gd name="T15" fmla="*/ 147 h 750"/>
              <a:gd name="T16" fmla="*/ 3 w 784"/>
              <a:gd name="T17" fmla="*/ 228 h 750"/>
              <a:gd name="T18" fmla="*/ 57 w 784"/>
              <a:gd name="T19" fmla="*/ 241 h 750"/>
              <a:gd name="T20" fmla="*/ 70 w 784"/>
              <a:gd name="T21" fmla="*/ 313 h 750"/>
              <a:gd name="T22" fmla="*/ 82 w 784"/>
              <a:gd name="T23" fmla="*/ 634 h 750"/>
              <a:gd name="T24" fmla="*/ 36 w 784"/>
              <a:gd name="T25" fmla="*/ 647 h 750"/>
              <a:gd name="T26" fmla="*/ 13 w 784"/>
              <a:gd name="T27" fmla="*/ 677 h 750"/>
              <a:gd name="T28" fmla="*/ 0 w 784"/>
              <a:gd name="T29" fmla="*/ 736 h 750"/>
              <a:gd name="T30" fmla="*/ 768 w 784"/>
              <a:gd name="T31" fmla="*/ 749 h 750"/>
              <a:gd name="T32" fmla="*/ 781 w 784"/>
              <a:gd name="T33" fmla="*/ 690 h 750"/>
              <a:gd name="T34" fmla="*/ 605 w 784"/>
              <a:gd name="T35" fmla="*/ 634 h 750"/>
              <a:gd name="T36" fmla="*/ 592 w 784"/>
              <a:gd name="T37" fmla="*/ 287 h 750"/>
              <a:gd name="T38" fmla="*/ 580 w 784"/>
              <a:gd name="T39" fmla="*/ 241 h 750"/>
              <a:gd name="T40" fmla="*/ 701 w 784"/>
              <a:gd name="T41" fmla="*/ 287 h 750"/>
              <a:gd name="T42" fmla="*/ 676 w 784"/>
              <a:gd name="T43" fmla="*/ 300 h 750"/>
              <a:gd name="T44" fmla="*/ 605 w 784"/>
              <a:gd name="T45" fmla="*/ 634 h 750"/>
              <a:gd name="T46" fmla="*/ 579 w 784"/>
              <a:gd name="T47" fmla="*/ 313 h 750"/>
              <a:gd name="T48" fmla="*/ 453 w 784"/>
              <a:gd name="T49" fmla="*/ 634 h 750"/>
              <a:gd name="T50" fmla="*/ 465 w 784"/>
              <a:gd name="T51" fmla="*/ 313 h 750"/>
              <a:gd name="T52" fmla="*/ 478 w 784"/>
              <a:gd name="T53" fmla="*/ 241 h 750"/>
              <a:gd name="T54" fmla="*/ 554 w 784"/>
              <a:gd name="T55" fmla="*/ 300 h 750"/>
              <a:gd name="T56" fmla="*/ 357 w 784"/>
              <a:gd name="T57" fmla="*/ 634 h 750"/>
              <a:gd name="T58" fmla="*/ 344 w 784"/>
              <a:gd name="T59" fmla="*/ 287 h 750"/>
              <a:gd name="T60" fmla="*/ 332 w 784"/>
              <a:gd name="T61" fmla="*/ 241 h 750"/>
              <a:gd name="T62" fmla="*/ 453 w 784"/>
              <a:gd name="T63" fmla="*/ 287 h 750"/>
              <a:gd name="T64" fmla="*/ 429 w 784"/>
              <a:gd name="T65" fmla="*/ 300 h 750"/>
              <a:gd name="T66" fmla="*/ 357 w 784"/>
              <a:gd name="T67" fmla="*/ 634 h 750"/>
              <a:gd name="T68" fmla="*/ 402 w 784"/>
              <a:gd name="T69" fmla="*/ 26 h 750"/>
              <a:gd name="T70" fmla="*/ 754 w 784"/>
              <a:gd name="T71" fmla="*/ 215 h 750"/>
              <a:gd name="T72" fmla="*/ 29 w 784"/>
              <a:gd name="T73" fmla="*/ 167 h 750"/>
              <a:gd name="T74" fmla="*/ 306 w 784"/>
              <a:gd name="T75" fmla="*/ 300 h 750"/>
              <a:gd name="T76" fmla="*/ 331 w 784"/>
              <a:gd name="T77" fmla="*/ 313 h 750"/>
              <a:gd name="T78" fmla="*/ 206 w 784"/>
              <a:gd name="T79" fmla="*/ 634 h 750"/>
              <a:gd name="T80" fmla="*/ 217 w 784"/>
              <a:gd name="T81" fmla="*/ 313 h 750"/>
              <a:gd name="T82" fmla="*/ 230 w 784"/>
              <a:gd name="T83" fmla="*/ 241 h 750"/>
              <a:gd name="T84" fmla="*/ 96 w 784"/>
              <a:gd name="T85" fmla="*/ 287 h 750"/>
              <a:gd name="T86" fmla="*/ 83 w 784"/>
              <a:gd name="T87" fmla="*/ 241 h 750"/>
              <a:gd name="T88" fmla="*/ 204 w 784"/>
              <a:gd name="T89" fmla="*/ 287 h 750"/>
              <a:gd name="T90" fmla="*/ 179 w 784"/>
              <a:gd name="T91" fmla="*/ 300 h 750"/>
              <a:gd name="T92" fmla="*/ 109 w 784"/>
              <a:gd name="T93" fmla="*/ 634 h 750"/>
              <a:gd name="T94" fmla="*/ 96 w 784"/>
              <a:gd name="T95" fmla="*/ 287 h 750"/>
              <a:gd name="T96" fmla="*/ 28 w 784"/>
              <a:gd name="T97" fmla="*/ 702 h 750"/>
              <a:gd name="T98" fmla="*/ 64 w 784"/>
              <a:gd name="T99" fmla="*/ 689 h 750"/>
              <a:gd name="T100" fmla="*/ 96 w 784"/>
              <a:gd name="T101" fmla="*/ 658 h 750"/>
              <a:gd name="T102" fmla="*/ 343 w 784"/>
              <a:gd name="T103" fmla="*/ 658 h 750"/>
              <a:gd name="T104" fmla="*/ 589 w 784"/>
              <a:gd name="T105" fmla="*/ 658 h 750"/>
              <a:gd name="T106" fmla="*/ 716 w 784"/>
              <a:gd name="T107" fmla="*/ 658 h 750"/>
              <a:gd name="T108" fmla="*/ 729 w 784"/>
              <a:gd name="T109" fmla="*/ 702 h 750"/>
              <a:gd name="T110" fmla="*/ 752 w 784"/>
              <a:gd name="T111" fmla="*/ 72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4" h="750">
                <a:moveTo>
                  <a:pt x="770" y="677"/>
                </a:moveTo>
                <a:lnTo>
                  <a:pt x="746" y="677"/>
                </a:lnTo>
                <a:lnTo>
                  <a:pt x="746" y="647"/>
                </a:lnTo>
                <a:cubicBezTo>
                  <a:pt x="746" y="639"/>
                  <a:pt x="740" y="634"/>
                  <a:pt x="733" y="634"/>
                </a:cubicBezTo>
                <a:lnTo>
                  <a:pt x="703" y="634"/>
                </a:lnTo>
                <a:lnTo>
                  <a:pt x="703" y="313"/>
                </a:lnTo>
                <a:lnTo>
                  <a:pt x="714" y="313"/>
                </a:lnTo>
                <a:cubicBezTo>
                  <a:pt x="721" y="313"/>
                  <a:pt x="727" y="307"/>
                  <a:pt x="727" y="300"/>
                </a:cubicBezTo>
                <a:lnTo>
                  <a:pt x="727" y="241"/>
                </a:lnTo>
                <a:lnTo>
                  <a:pt x="768" y="241"/>
                </a:lnTo>
                <a:cubicBezTo>
                  <a:pt x="775" y="241"/>
                  <a:pt x="781" y="236"/>
                  <a:pt x="781" y="228"/>
                </a:cubicBezTo>
                <a:lnTo>
                  <a:pt x="781" y="158"/>
                </a:lnTo>
                <a:cubicBezTo>
                  <a:pt x="781" y="153"/>
                  <a:pt x="778" y="148"/>
                  <a:pt x="772" y="147"/>
                </a:cubicBezTo>
                <a:lnTo>
                  <a:pt x="408" y="1"/>
                </a:lnTo>
                <a:cubicBezTo>
                  <a:pt x="405" y="0"/>
                  <a:pt x="402" y="0"/>
                  <a:pt x="398" y="1"/>
                </a:cubicBezTo>
                <a:lnTo>
                  <a:pt x="12" y="147"/>
                </a:lnTo>
                <a:cubicBezTo>
                  <a:pt x="6" y="148"/>
                  <a:pt x="3" y="154"/>
                  <a:pt x="3" y="158"/>
                </a:cubicBezTo>
                <a:lnTo>
                  <a:pt x="3" y="228"/>
                </a:lnTo>
                <a:cubicBezTo>
                  <a:pt x="3" y="236"/>
                  <a:pt x="9" y="241"/>
                  <a:pt x="16" y="241"/>
                </a:cubicBezTo>
                <a:lnTo>
                  <a:pt x="57" y="241"/>
                </a:lnTo>
                <a:lnTo>
                  <a:pt x="57" y="300"/>
                </a:lnTo>
                <a:cubicBezTo>
                  <a:pt x="57" y="307"/>
                  <a:pt x="63" y="313"/>
                  <a:pt x="70" y="313"/>
                </a:cubicBezTo>
                <a:lnTo>
                  <a:pt x="82" y="313"/>
                </a:lnTo>
                <a:lnTo>
                  <a:pt x="82" y="634"/>
                </a:lnTo>
                <a:lnTo>
                  <a:pt x="50" y="634"/>
                </a:lnTo>
                <a:cubicBezTo>
                  <a:pt x="42" y="634"/>
                  <a:pt x="36" y="639"/>
                  <a:pt x="36" y="647"/>
                </a:cubicBezTo>
                <a:lnTo>
                  <a:pt x="36" y="677"/>
                </a:lnTo>
                <a:lnTo>
                  <a:pt x="13" y="677"/>
                </a:lnTo>
                <a:cubicBezTo>
                  <a:pt x="6" y="677"/>
                  <a:pt x="0" y="683"/>
                  <a:pt x="0" y="690"/>
                </a:cubicBezTo>
                <a:lnTo>
                  <a:pt x="0" y="736"/>
                </a:lnTo>
                <a:cubicBezTo>
                  <a:pt x="0" y="743"/>
                  <a:pt x="6" y="749"/>
                  <a:pt x="13" y="749"/>
                </a:cubicBezTo>
                <a:lnTo>
                  <a:pt x="768" y="749"/>
                </a:lnTo>
                <a:cubicBezTo>
                  <a:pt x="775" y="749"/>
                  <a:pt x="781" y="743"/>
                  <a:pt x="781" y="736"/>
                </a:cubicBezTo>
                <a:lnTo>
                  <a:pt x="781" y="690"/>
                </a:lnTo>
                <a:cubicBezTo>
                  <a:pt x="783" y="683"/>
                  <a:pt x="777" y="677"/>
                  <a:pt x="770" y="677"/>
                </a:cubicBezTo>
                <a:close/>
                <a:moveTo>
                  <a:pt x="605" y="634"/>
                </a:moveTo>
                <a:lnTo>
                  <a:pt x="605" y="300"/>
                </a:lnTo>
                <a:cubicBezTo>
                  <a:pt x="605" y="292"/>
                  <a:pt x="599" y="287"/>
                  <a:pt x="592" y="287"/>
                </a:cubicBezTo>
                <a:lnTo>
                  <a:pt x="580" y="287"/>
                </a:lnTo>
                <a:lnTo>
                  <a:pt x="580" y="241"/>
                </a:lnTo>
                <a:lnTo>
                  <a:pt x="701" y="241"/>
                </a:lnTo>
                <a:lnTo>
                  <a:pt x="701" y="287"/>
                </a:lnTo>
                <a:lnTo>
                  <a:pt x="689" y="287"/>
                </a:lnTo>
                <a:cubicBezTo>
                  <a:pt x="682" y="287"/>
                  <a:pt x="676" y="292"/>
                  <a:pt x="676" y="300"/>
                </a:cubicBezTo>
                <a:lnTo>
                  <a:pt x="676" y="634"/>
                </a:lnTo>
                <a:lnTo>
                  <a:pt x="605" y="634"/>
                </a:lnTo>
                <a:close/>
                <a:moveTo>
                  <a:pt x="567" y="313"/>
                </a:moveTo>
                <a:lnTo>
                  <a:pt x="579" y="313"/>
                </a:lnTo>
                <a:lnTo>
                  <a:pt x="579" y="634"/>
                </a:lnTo>
                <a:lnTo>
                  <a:pt x="453" y="634"/>
                </a:lnTo>
                <a:lnTo>
                  <a:pt x="453" y="313"/>
                </a:lnTo>
                <a:lnTo>
                  <a:pt x="465" y="313"/>
                </a:lnTo>
                <a:cubicBezTo>
                  <a:pt x="472" y="313"/>
                  <a:pt x="478" y="307"/>
                  <a:pt x="478" y="300"/>
                </a:cubicBezTo>
                <a:lnTo>
                  <a:pt x="478" y="241"/>
                </a:lnTo>
                <a:lnTo>
                  <a:pt x="554" y="241"/>
                </a:lnTo>
                <a:lnTo>
                  <a:pt x="554" y="300"/>
                </a:lnTo>
                <a:cubicBezTo>
                  <a:pt x="554" y="307"/>
                  <a:pt x="560" y="313"/>
                  <a:pt x="567" y="313"/>
                </a:cubicBezTo>
                <a:close/>
                <a:moveTo>
                  <a:pt x="357" y="634"/>
                </a:moveTo>
                <a:lnTo>
                  <a:pt x="357" y="300"/>
                </a:lnTo>
                <a:cubicBezTo>
                  <a:pt x="357" y="292"/>
                  <a:pt x="351" y="287"/>
                  <a:pt x="344" y="287"/>
                </a:cubicBezTo>
                <a:lnTo>
                  <a:pt x="332" y="287"/>
                </a:lnTo>
                <a:lnTo>
                  <a:pt x="332" y="241"/>
                </a:lnTo>
                <a:lnTo>
                  <a:pt x="453" y="241"/>
                </a:lnTo>
                <a:lnTo>
                  <a:pt x="453" y="287"/>
                </a:lnTo>
                <a:lnTo>
                  <a:pt x="442" y="287"/>
                </a:lnTo>
                <a:cubicBezTo>
                  <a:pt x="434" y="287"/>
                  <a:pt x="429" y="292"/>
                  <a:pt x="429" y="300"/>
                </a:cubicBezTo>
                <a:lnTo>
                  <a:pt x="429" y="634"/>
                </a:lnTo>
                <a:lnTo>
                  <a:pt x="357" y="634"/>
                </a:lnTo>
                <a:close/>
                <a:moveTo>
                  <a:pt x="29" y="167"/>
                </a:moveTo>
                <a:lnTo>
                  <a:pt x="402" y="26"/>
                </a:lnTo>
                <a:lnTo>
                  <a:pt x="754" y="167"/>
                </a:lnTo>
                <a:lnTo>
                  <a:pt x="754" y="215"/>
                </a:lnTo>
                <a:lnTo>
                  <a:pt x="29" y="215"/>
                </a:lnTo>
                <a:lnTo>
                  <a:pt x="29" y="167"/>
                </a:lnTo>
                <a:close/>
                <a:moveTo>
                  <a:pt x="306" y="241"/>
                </a:moveTo>
                <a:lnTo>
                  <a:pt x="306" y="300"/>
                </a:lnTo>
                <a:cubicBezTo>
                  <a:pt x="306" y="307"/>
                  <a:pt x="312" y="313"/>
                  <a:pt x="319" y="313"/>
                </a:cubicBezTo>
                <a:lnTo>
                  <a:pt x="331" y="313"/>
                </a:lnTo>
                <a:lnTo>
                  <a:pt x="331" y="634"/>
                </a:lnTo>
                <a:lnTo>
                  <a:pt x="206" y="634"/>
                </a:lnTo>
                <a:lnTo>
                  <a:pt x="206" y="313"/>
                </a:lnTo>
                <a:lnTo>
                  <a:pt x="217" y="313"/>
                </a:lnTo>
                <a:cubicBezTo>
                  <a:pt x="224" y="313"/>
                  <a:pt x="230" y="307"/>
                  <a:pt x="230" y="300"/>
                </a:cubicBezTo>
                <a:lnTo>
                  <a:pt x="230" y="241"/>
                </a:lnTo>
                <a:lnTo>
                  <a:pt x="306" y="241"/>
                </a:lnTo>
                <a:close/>
                <a:moveTo>
                  <a:pt x="96" y="287"/>
                </a:moveTo>
                <a:lnTo>
                  <a:pt x="83" y="287"/>
                </a:lnTo>
                <a:lnTo>
                  <a:pt x="83" y="241"/>
                </a:lnTo>
                <a:lnTo>
                  <a:pt x="204" y="241"/>
                </a:lnTo>
                <a:lnTo>
                  <a:pt x="204" y="287"/>
                </a:lnTo>
                <a:lnTo>
                  <a:pt x="192" y="287"/>
                </a:lnTo>
                <a:cubicBezTo>
                  <a:pt x="185" y="287"/>
                  <a:pt x="179" y="292"/>
                  <a:pt x="179" y="300"/>
                </a:cubicBezTo>
                <a:lnTo>
                  <a:pt x="179" y="634"/>
                </a:lnTo>
                <a:lnTo>
                  <a:pt x="109" y="634"/>
                </a:lnTo>
                <a:lnTo>
                  <a:pt x="109" y="300"/>
                </a:lnTo>
                <a:cubicBezTo>
                  <a:pt x="109" y="292"/>
                  <a:pt x="103" y="287"/>
                  <a:pt x="96" y="287"/>
                </a:cubicBezTo>
                <a:close/>
                <a:moveTo>
                  <a:pt x="28" y="721"/>
                </a:moveTo>
                <a:lnTo>
                  <a:pt x="28" y="702"/>
                </a:lnTo>
                <a:lnTo>
                  <a:pt x="51" y="702"/>
                </a:lnTo>
                <a:cubicBezTo>
                  <a:pt x="58" y="702"/>
                  <a:pt x="64" y="696"/>
                  <a:pt x="64" y="689"/>
                </a:cubicBezTo>
                <a:lnTo>
                  <a:pt x="64" y="658"/>
                </a:lnTo>
                <a:lnTo>
                  <a:pt x="96" y="658"/>
                </a:lnTo>
                <a:lnTo>
                  <a:pt x="192" y="658"/>
                </a:lnTo>
                <a:lnTo>
                  <a:pt x="343" y="658"/>
                </a:lnTo>
                <a:lnTo>
                  <a:pt x="439" y="658"/>
                </a:lnTo>
                <a:lnTo>
                  <a:pt x="589" y="658"/>
                </a:lnTo>
                <a:lnTo>
                  <a:pt x="685" y="658"/>
                </a:lnTo>
                <a:lnTo>
                  <a:pt x="716" y="658"/>
                </a:lnTo>
                <a:lnTo>
                  <a:pt x="716" y="689"/>
                </a:lnTo>
                <a:cubicBezTo>
                  <a:pt x="716" y="696"/>
                  <a:pt x="721" y="702"/>
                  <a:pt x="729" y="702"/>
                </a:cubicBezTo>
                <a:lnTo>
                  <a:pt x="752" y="702"/>
                </a:lnTo>
                <a:lnTo>
                  <a:pt x="752" y="721"/>
                </a:lnTo>
                <a:lnTo>
                  <a:pt x="28" y="721"/>
                </a:lnTo>
                <a:close/>
              </a:path>
            </a:pathLst>
          </a:custGeom>
          <a:solidFill>
            <a:schemeClr val="accent1"/>
          </a:solidFill>
          <a:ln>
            <a:noFill/>
          </a:ln>
          <a:effectLst/>
        </p:spPr>
        <p:txBody>
          <a:bodyPr wrap="none" anchor="ctr"/>
          <a:lstStyle/>
          <a:p>
            <a:pPr defTabSz="363858" eaLnBrk="1">
              <a:lnSpc>
                <a:spcPct val="93000"/>
              </a:lnSpc>
              <a:buClr>
                <a:srgbClr val="000000"/>
              </a:buClr>
              <a:buSzPct val="100000"/>
              <a:buFont typeface="Times New Roman" charset="0"/>
              <a:buNone/>
              <a:defRPr/>
            </a:pPr>
            <a:endParaRPr lang="en-US" sz="2800"/>
          </a:p>
        </p:txBody>
      </p:sp>
    </p:spTree>
    <p:extLst>
      <p:ext uri="{BB962C8B-B14F-4D97-AF65-F5344CB8AC3E}">
        <p14:creationId xmlns:p14="http://schemas.microsoft.com/office/powerpoint/2010/main" val="24067351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AC9431-D0F6-E740-B86E-0715A0376D83}"/>
              </a:ext>
            </a:extLst>
          </p:cNvPr>
          <p:cNvSpPr>
            <a:spLocks noGrp="1"/>
          </p:cNvSpPr>
          <p:nvPr>
            <p:ph type="title"/>
          </p:nvPr>
        </p:nvSpPr>
        <p:spPr/>
        <p:txBody>
          <a:bodyPr/>
          <a:lstStyle/>
          <a:p>
            <a:r>
              <a:rPr lang="en-US" dirty="0"/>
              <a:t>Section title to go here</a:t>
            </a:r>
          </a:p>
        </p:txBody>
      </p:sp>
      <p:sp>
        <p:nvSpPr>
          <p:cNvPr id="3" name="Text Placeholder 2">
            <a:extLst>
              <a:ext uri="{FF2B5EF4-FFF2-40B4-BE49-F238E27FC236}">
                <a16:creationId xmlns:a16="http://schemas.microsoft.com/office/drawing/2014/main" id="{331BD0F1-F3F0-1347-8CA6-672F2217464E}"/>
              </a:ext>
            </a:extLst>
          </p:cNvPr>
          <p:cNvSpPr>
            <a:spLocks noGrp="1"/>
          </p:cNvSpPr>
          <p:nvPr>
            <p:ph type="body" idx="1"/>
          </p:nvPr>
        </p:nvSpPr>
        <p:spPr/>
        <p:txBody>
          <a:bodyPr/>
          <a:lstStyle/>
          <a:p>
            <a:r>
              <a:rPr lang="en-US" dirty="0"/>
              <a:t>Section subtitle to go here</a:t>
            </a:r>
          </a:p>
        </p:txBody>
      </p:sp>
    </p:spTree>
    <p:extLst>
      <p:ext uri="{BB962C8B-B14F-4D97-AF65-F5344CB8AC3E}">
        <p14:creationId xmlns:p14="http://schemas.microsoft.com/office/powerpoint/2010/main" val="12367704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EF00B-EC40-3B46-8A20-162772B5F594}"/>
              </a:ext>
            </a:extLst>
          </p:cNvPr>
          <p:cNvSpPr>
            <a:spLocks noGrp="1"/>
          </p:cNvSpPr>
          <p:nvPr>
            <p:ph type="title"/>
          </p:nvPr>
        </p:nvSpPr>
        <p:spPr/>
        <p:txBody>
          <a:bodyPr/>
          <a:lstStyle/>
          <a:p>
            <a:r>
              <a:rPr lang="en-US" dirty="0"/>
              <a:t>Example slide with table</a:t>
            </a:r>
          </a:p>
        </p:txBody>
      </p:sp>
      <p:sp>
        <p:nvSpPr>
          <p:cNvPr id="4" name="Content Placeholder 3">
            <a:extLst>
              <a:ext uri="{FF2B5EF4-FFF2-40B4-BE49-F238E27FC236}">
                <a16:creationId xmlns:a16="http://schemas.microsoft.com/office/drawing/2014/main" id="{8FDC0ABC-62AF-844C-B10E-F7EEC0254EE8}"/>
              </a:ext>
            </a:extLst>
          </p:cNvPr>
          <p:cNvSpPr>
            <a:spLocks noGrp="1"/>
          </p:cNvSpPr>
          <p:nvPr>
            <p:ph sz="quarter" idx="10"/>
          </p:nvPr>
        </p:nvSpPr>
        <p:spPr/>
        <p:txBody>
          <a:bodyPr/>
          <a:lstStyle/>
          <a:p>
            <a:endParaRPr lang="en-US"/>
          </a:p>
        </p:txBody>
      </p:sp>
      <p:graphicFrame>
        <p:nvGraphicFramePr>
          <p:cNvPr id="3" name="Table 2">
            <a:extLst>
              <a:ext uri="{FF2B5EF4-FFF2-40B4-BE49-F238E27FC236}">
                <a16:creationId xmlns:a16="http://schemas.microsoft.com/office/drawing/2014/main" id="{044DF0C9-C105-864B-9977-1AAB1233ACDE}"/>
              </a:ext>
            </a:extLst>
          </p:cNvPr>
          <p:cNvGraphicFramePr>
            <a:graphicFrameLocks noGrp="1"/>
          </p:cNvGraphicFramePr>
          <p:nvPr>
            <p:extLst>
              <p:ext uri="{D42A27DB-BD31-4B8C-83A1-F6EECF244321}">
                <p14:modId xmlns:p14="http://schemas.microsoft.com/office/powerpoint/2010/main" val="1612012412"/>
              </p:ext>
            </p:extLst>
          </p:nvPr>
        </p:nvGraphicFramePr>
        <p:xfrm>
          <a:off x="1257300" y="2862264"/>
          <a:ext cx="21863050" cy="9469438"/>
        </p:xfrm>
        <a:graphic>
          <a:graphicData uri="http://schemas.openxmlformats.org/drawingml/2006/table">
            <a:tbl>
              <a:tblPr firstRow="1" bandRow="1">
                <a:tableStyleId>{B301B821-A1FF-4177-AEE7-76D212191A09}</a:tableStyleId>
              </a:tblPr>
              <a:tblGrid>
                <a:gridCol w="4372610">
                  <a:extLst>
                    <a:ext uri="{9D8B030D-6E8A-4147-A177-3AD203B41FA5}">
                      <a16:colId xmlns:a16="http://schemas.microsoft.com/office/drawing/2014/main" val="20000"/>
                    </a:ext>
                  </a:extLst>
                </a:gridCol>
                <a:gridCol w="4372610">
                  <a:extLst>
                    <a:ext uri="{9D8B030D-6E8A-4147-A177-3AD203B41FA5}">
                      <a16:colId xmlns:a16="http://schemas.microsoft.com/office/drawing/2014/main" val="20001"/>
                    </a:ext>
                  </a:extLst>
                </a:gridCol>
                <a:gridCol w="4372610">
                  <a:extLst>
                    <a:ext uri="{9D8B030D-6E8A-4147-A177-3AD203B41FA5}">
                      <a16:colId xmlns:a16="http://schemas.microsoft.com/office/drawing/2014/main" val="20002"/>
                    </a:ext>
                  </a:extLst>
                </a:gridCol>
                <a:gridCol w="4372610">
                  <a:extLst>
                    <a:ext uri="{9D8B030D-6E8A-4147-A177-3AD203B41FA5}">
                      <a16:colId xmlns:a16="http://schemas.microsoft.com/office/drawing/2014/main" val="20003"/>
                    </a:ext>
                  </a:extLst>
                </a:gridCol>
                <a:gridCol w="4372610">
                  <a:extLst>
                    <a:ext uri="{9D8B030D-6E8A-4147-A177-3AD203B41FA5}">
                      <a16:colId xmlns:a16="http://schemas.microsoft.com/office/drawing/2014/main" val="20004"/>
                    </a:ext>
                  </a:extLst>
                </a:gridCol>
              </a:tblGrid>
              <a:tr h="886135">
                <a:tc>
                  <a:txBody>
                    <a:bodyPr/>
                    <a:lstStyle/>
                    <a:p>
                      <a:pPr algn="ctr"/>
                      <a:r>
                        <a:rPr lang="en-US" sz="2800" dirty="0"/>
                        <a:t>Column 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solidFill>
                  </a:tcPr>
                </a:tc>
                <a:tc>
                  <a:txBody>
                    <a:bodyPr/>
                    <a:lstStyle/>
                    <a:p>
                      <a:pPr algn="ctr"/>
                      <a:r>
                        <a:rPr lang="en-US" sz="2800" dirty="0"/>
                        <a:t>Column 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0" marR="0" indent="0" algn="ctr" defTabSz="2438248" rtl="0" eaLnBrk="1" fontAlgn="auto" latinLnBrk="0" hangingPunct="1">
                        <a:lnSpc>
                          <a:spcPct val="100000"/>
                        </a:lnSpc>
                        <a:spcBef>
                          <a:spcPts val="0"/>
                        </a:spcBef>
                        <a:spcAft>
                          <a:spcPts val="0"/>
                        </a:spcAft>
                        <a:buClrTx/>
                        <a:buSzTx/>
                        <a:buFontTx/>
                        <a:buNone/>
                        <a:tabLst/>
                        <a:defRPr/>
                      </a:pPr>
                      <a:r>
                        <a:rPr lang="en-US" sz="2800" dirty="0"/>
                        <a:t>Column 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solidFill>
                  </a:tcPr>
                </a:tc>
                <a:tc>
                  <a:txBody>
                    <a:bodyPr/>
                    <a:lstStyle/>
                    <a:p>
                      <a:pPr marL="0" marR="0" indent="0" algn="ctr" defTabSz="2438248" rtl="0" eaLnBrk="1" fontAlgn="auto" latinLnBrk="0" hangingPunct="1">
                        <a:lnSpc>
                          <a:spcPct val="100000"/>
                        </a:lnSpc>
                        <a:spcBef>
                          <a:spcPts val="0"/>
                        </a:spcBef>
                        <a:spcAft>
                          <a:spcPts val="0"/>
                        </a:spcAft>
                        <a:buClrTx/>
                        <a:buSzTx/>
                        <a:buFontTx/>
                        <a:buNone/>
                        <a:tabLst/>
                        <a:defRPr/>
                      </a:pPr>
                      <a:r>
                        <a:rPr lang="en-US" sz="2800" dirty="0"/>
                        <a:t>Column 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0" marR="0" indent="0" algn="ctr" defTabSz="2438248" rtl="0" eaLnBrk="1" fontAlgn="auto" latinLnBrk="0" hangingPunct="1">
                        <a:lnSpc>
                          <a:spcPct val="100000"/>
                        </a:lnSpc>
                        <a:spcBef>
                          <a:spcPts val="0"/>
                        </a:spcBef>
                        <a:spcAft>
                          <a:spcPts val="0"/>
                        </a:spcAft>
                        <a:buClrTx/>
                        <a:buSzTx/>
                        <a:buFontTx/>
                        <a:buNone/>
                        <a:tabLst/>
                        <a:defRPr/>
                      </a:pPr>
                      <a:r>
                        <a:rPr lang="en-US" sz="2800" dirty="0"/>
                        <a:t>Column 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1088831">
                <a:tc>
                  <a:txBody>
                    <a:bodyPr/>
                    <a:lstStyle/>
                    <a:p>
                      <a:pPr marL="72000" algn="l"/>
                      <a:r>
                        <a:rPr lang="en-US" sz="2600" dirty="0"/>
                        <a:t>Lorem</a:t>
                      </a:r>
                      <a:r>
                        <a:rPr lang="en-US" sz="2600" baseline="0" dirty="0"/>
                        <a:t> Ipsum Dolor</a:t>
                      </a:r>
                      <a:br>
                        <a:rPr lang="en-US" sz="2600" baseline="0" dirty="0"/>
                      </a:br>
                      <a:r>
                        <a:rPr lang="en-US" sz="2600" baseline="0" dirty="0"/>
                        <a:t>Sit </a:t>
                      </a:r>
                      <a:r>
                        <a:rPr lang="en-US" sz="2600" baseline="0" dirty="0" err="1"/>
                        <a:t>Amet</a:t>
                      </a:r>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88831">
                <a:tc>
                  <a:txBody>
                    <a:bodyPr/>
                    <a:lstStyle/>
                    <a:p>
                      <a:pPr marL="72000" marR="0" indent="0" algn="l" defTabSz="2438248" rtl="0" eaLnBrk="1" fontAlgn="auto" latinLnBrk="0" hangingPunct="1">
                        <a:lnSpc>
                          <a:spcPct val="100000"/>
                        </a:lnSpc>
                        <a:spcBef>
                          <a:spcPts val="0"/>
                        </a:spcBef>
                        <a:spcAft>
                          <a:spcPts val="0"/>
                        </a:spcAft>
                        <a:buClrTx/>
                        <a:buSzTx/>
                        <a:buFontTx/>
                        <a:buNone/>
                        <a:tabLst/>
                        <a:defRPr/>
                      </a:pPr>
                      <a:r>
                        <a:rPr lang="en-US" sz="2600" dirty="0"/>
                        <a:t>Lorem</a:t>
                      </a:r>
                      <a:r>
                        <a:rPr lang="en-US" sz="2600" baseline="0" dirty="0"/>
                        <a:t> Ipsum Dolor</a:t>
                      </a:r>
                      <a:br>
                        <a:rPr lang="en-US" sz="2600" baseline="0" dirty="0"/>
                      </a:br>
                      <a:r>
                        <a:rPr lang="en-US" sz="2600" baseline="0" dirty="0"/>
                        <a:t>Sit </a:t>
                      </a:r>
                      <a:r>
                        <a:rPr lang="en-US" sz="2600" baseline="0" dirty="0" err="1"/>
                        <a:t>Amet</a:t>
                      </a:r>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88831">
                <a:tc>
                  <a:txBody>
                    <a:bodyPr/>
                    <a:lstStyle/>
                    <a:p>
                      <a:pPr marL="72000" marR="0" indent="0" algn="l" defTabSz="2438248" rtl="0" eaLnBrk="1" fontAlgn="auto" latinLnBrk="0" hangingPunct="1">
                        <a:lnSpc>
                          <a:spcPct val="100000"/>
                        </a:lnSpc>
                        <a:spcBef>
                          <a:spcPts val="0"/>
                        </a:spcBef>
                        <a:spcAft>
                          <a:spcPts val="0"/>
                        </a:spcAft>
                        <a:buClrTx/>
                        <a:buSzTx/>
                        <a:buFontTx/>
                        <a:buNone/>
                        <a:tabLst/>
                        <a:defRPr/>
                      </a:pPr>
                      <a:r>
                        <a:rPr lang="en-US" sz="2600" dirty="0"/>
                        <a:t>Lorem</a:t>
                      </a:r>
                      <a:r>
                        <a:rPr lang="en-US" sz="2600" baseline="0" dirty="0"/>
                        <a:t> Ipsum Dolor</a:t>
                      </a:r>
                      <a:br>
                        <a:rPr lang="en-US" sz="2600" baseline="0" dirty="0"/>
                      </a:br>
                      <a:r>
                        <a:rPr lang="en-US" sz="2600" baseline="0" dirty="0"/>
                        <a:t>Sit </a:t>
                      </a:r>
                      <a:r>
                        <a:rPr lang="en-US" sz="2600" baseline="0" dirty="0" err="1"/>
                        <a:t>Amet</a:t>
                      </a:r>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886135">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886135">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886135">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886135">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886135">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886135">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2000"/>
                      <a:endParaRPr lang="en-US" sz="2600" dirty="0"/>
                    </a:p>
                  </a:txBody>
                  <a:tcPr marL="137160" marR="137160" marT="137160" marB="13716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2453514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F86CE-95CB-CD4E-9818-4CA5285BBFE5}"/>
              </a:ext>
            </a:extLst>
          </p:cNvPr>
          <p:cNvSpPr>
            <a:spLocks noGrp="1"/>
          </p:cNvSpPr>
          <p:nvPr>
            <p:ph type="title"/>
          </p:nvPr>
        </p:nvSpPr>
        <p:spPr/>
        <p:txBody>
          <a:bodyPr/>
          <a:lstStyle/>
          <a:p>
            <a:r>
              <a:rPr lang="en-CA" dirty="0"/>
              <a:t>Text with no first level bullet layout</a:t>
            </a:r>
            <a:endParaRPr lang="en-US" dirty="0"/>
          </a:p>
        </p:txBody>
      </p:sp>
      <p:sp>
        <p:nvSpPr>
          <p:cNvPr id="3" name="Content Placeholder 2">
            <a:extLst>
              <a:ext uri="{FF2B5EF4-FFF2-40B4-BE49-F238E27FC236}">
                <a16:creationId xmlns:a16="http://schemas.microsoft.com/office/drawing/2014/main" id="{55091DE9-7DDC-5C4B-A682-B23D1B6988D8}"/>
              </a:ext>
            </a:extLst>
          </p:cNvPr>
          <p:cNvSpPr>
            <a:spLocks noGrp="1"/>
          </p:cNvSpPr>
          <p:nvPr>
            <p:ph sz="quarter" idx="10"/>
          </p:nvPr>
        </p:nvSpPr>
        <p:spPr/>
        <p:txBody>
          <a:bodyPr/>
          <a:lstStyle/>
          <a:p>
            <a:pPr marL="0" indent="0">
              <a:buNone/>
            </a:pPr>
            <a:r>
              <a:rPr lang="en-CA" sz="5400" dirty="0"/>
              <a:t>This slide is designed so users can continue using Enter and then pressing Tab to create lower-level bulleted text, even though there is no bullet character on this top level</a:t>
            </a:r>
            <a:endParaRPr lang="en-US" sz="5400" dirty="0"/>
          </a:p>
          <a:p>
            <a:r>
              <a:rPr lang="en-US" dirty="0"/>
              <a:t>Second level text automatically has a bullet</a:t>
            </a:r>
          </a:p>
          <a:p>
            <a:r>
              <a:rPr lang="en-US" dirty="0"/>
              <a:t>More second level text</a:t>
            </a:r>
          </a:p>
          <a:p>
            <a:pPr lvl="1"/>
            <a:r>
              <a:rPr lang="en-US" dirty="0"/>
              <a:t>Third level</a:t>
            </a:r>
          </a:p>
          <a:p>
            <a:pPr lvl="1"/>
            <a:r>
              <a:rPr lang="en-US" dirty="0"/>
              <a:t>More third level</a:t>
            </a:r>
          </a:p>
        </p:txBody>
      </p:sp>
    </p:spTree>
    <p:extLst>
      <p:ext uri="{BB962C8B-B14F-4D97-AF65-F5344CB8AC3E}">
        <p14:creationId xmlns:p14="http://schemas.microsoft.com/office/powerpoint/2010/main" val="9872946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231B78-AA04-AE4E-BEC6-9AF9EA0146DB}"/>
              </a:ext>
            </a:extLst>
          </p:cNvPr>
          <p:cNvSpPr>
            <a:spLocks noGrp="1"/>
          </p:cNvSpPr>
          <p:nvPr>
            <p:ph type="title"/>
          </p:nvPr>
        </p:nvSpPr>
        <p:spPr/>
        <p:txBody>
          <a:bodyPr/>
          <a:lstStyle/>
          <a:p>
            <a:r>
              <a:rPr lang="en-CA" dirty="0"/>
              <a:t>Sample chart on a title and content layout</a:t>
            </a:r>
            <a:endParaRPr lang="en-US" dirty="0"/>
          </a:p>
        </p:txBody>
      </p:sp>
      <p:graphicFrame>
        <p:nvGraphicFramePr>
          <p:cNvPr id="3" name="Chart 2">
            <a:extLst>
              <a:ext uri="{FF2B5EF4-FFF2-40B4-BE49-F238E27FC236}">
                <a16:creationId xmlns:a16="http://schemas.microsoft.com/office/drawing/2014/main" id="{41931461-82AE-634E-B36D-4E1BED8FE67B}"/>
              </a:ext>
            </a:extLst>
          </p:cNvPr>
          <p:cNvGraphicFramePr/>
          <p:nvPr>
            <p:extLst>
              <p:ext uri="{D42A27DB-BD31-4B8C-83A1-F6EECF244321}">
                <p14:modId xmlns:p14="http://schemas.microsoft.com/office/powerpoint/2010/main" val="1221732837"/>
              </p:ext>
            </p:extLst>
          </p:nvPr>
        </p:nvGraphicFramePr>
        <p:xfrm>
          <a:off x="4063735" y="3048264"/>
          <a:ext cx="16254942" cy="812747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341793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B6289-D1E3-384E-9EFB-52EBEF3D395A}"/>
              </a:ext>
            </a:extLst>
          </p:cNvPr>
          <p:cNvSpPr>
            <a:spLocks noGrp="1"/>
          </p:cNvSpPr>
          <p:nvPr>
            <p:ph type="title"/>
          </p:nvPr>
        </p:nvSpPr>
        <p:spPr/>
        <p:txBody>
          <a:bodyPr>
            <a:noAutofit/>
          </a:bodyPr>
          <a:lstStyle/>
          <a:p>
            <a:r>
              <a:rPr lang="en-CA" dirty="0"/>
              <a:t>Sample 2 column layout – two pieces of content (text and/or graphic)</a:t>
            </a:r>
            <a:endParaRPr lang="en-US" dirty="0"/>
          </a:p>
        </p:txBody>
      </p:sp>
      <p:sp>
        <p:nvSpPr>
          <p:cNvPr id="3" name="Content Placeholder 2">
            <a:extLst>
              <a:ext uri="{FF2B5EF4-FFF2-40B4-BE49-F238E27FC236}">
                <a16:creationId xmlns:a16="http://schemas.microsoft.com/office/drawing/2014/main" id="{A8EF0A7C-D86B-FE49-8030-9C153E960749}"/>
              </a:ext>
            </a:extLst>
          </p:cNvPr>
          <p:cNvSpPr>
            <a:spLocks noGrp="1"/>
          </p:cNvSpPr>
          <p:nvPr>
            <p:ph sz="half" idx="1"/>
          </p:nvPr>
        </p:nvSpPr>
        <p:spPr/>
        <p:txBody>
          <a:bodyPr/>
          <a:lstStyle/>
          <a:p>
            <a:r>
              <a:rPr lang="en-CA" dirty="0"/>
              <a:t>Use this layout when you need side-by-side content</a:t>
            </a:r>
          </a:p>
          <a:p>
            <a:pPr lvl="1"/>
            <a:r>
              <a:rPr lang="en-CA" dirty="0"/>
              <a:t>Two columns of text</a:t>
            </a:r>
          </a:p>
          <a:p>
            <a:pPr lvl="1"/>
            <a:r>
              <a:rPr lang="en-CA" dirty="0"/>
              <a:t>Text and chart</a:t>
            </a:r>
          </a:p>
          <a:p>
            <a:pPr lvl="1"/>
            <a:r>
              <a:rPr lang="en-CA" dirty="0"/>
              <a:t>Text and table</a:t>
            </a:r>
          </a:p>
          <a:p>
            <a:pPr lvl="1"/>
            <a:r>
              <a:rPr lang="en-CA" dirty="0"/>
              <a:t>Text and SmartArt</a:t>
            </a:r>
          </a:p>
          <a:p>
            <a:pPr lvl="1"/>
            <a:r>
              <a:rPr lang="en-CA" dirty="0"/>
              <a:t>Etc.</a:t>
            </a:r>
          </a:p>
        </p:txBody>
      </p:sp>
      <p:graphicFrame>
        <p:nvGraphicFramePr>
          <p:cNvPr id="5" name="Content Placeholder 5">
            <a:extLst>
              <a:ext uri="{FF2B5EF4-FFF2-40B4-BE49-F238E27FC236}">
                <a16:creationId xmlns:a16="http://schemas.microsoft.com/office/drawing/2014/main" id="{26F5DFF5-3B6F-0243-A446-530A52B8C550}"/>
              </a:ext>
            </a:extLst>
          </p:cNvPr>
          <p:cNvGraphicFramePr>
            <a:graphicFrameLocks/>
          </p:cNvGraphicFramePr>
          <p:nvPr>
            <p:extLst>
              <p:ext uri="{D42A27DB-BD31-4B8C-83A1-F6EECF244321}">
                <p14:modId xmlns:p14="http://schemas.microsoft.com/office/powerpoint/2010/main" val="4162800549"/>
              </p:ext>
            </p:extLst>
          </p:nvPr>
        </p:nvGraphicFramePr>
        <p:xfrm>
          <a:off x="12577762" y="2862263"/>
          <a:ext cx="10542588" cy="94678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842833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1DC43C-4438-8647-BD48-7E9B8B6F5BB8}"/>
              </a:ext>
            </a:extLst>
          </p:cNvPr>
          <p:cNvSpPr>
            <a:spLocks noGrp="1"/>
          </p:cNvSpPr>
          <p:nvPr>
            <p:ph type="title"/>
          </p:nvPr>
        </p:nvSpPr>
        <p:spPr/>
        <p:txBody>
          <a:bodyPr/>
          <a:lstStyle/>
          <a:p>
            <a:r>
              <a:rPr lang="en-US" dirty="0"/>
              <a:t>Flow chart</a:t>
            </a:r>
          </a:p>
        </p:txBody>
      </p:sp>
      <p:sp>
        <p:nvSpPr>
          <p:cNvPr id="3" name="Chevron 2">
            <a:extLst>
              <a:ext uri="{FF2B5EF4-FFF2-40B4-BE49-F238E27FC236}">
                <a16:creationId xmlns:a16="http://schemas.microsoft.com/office/drawing/2014/main" id="{F8E22586-D09B-494A-98B6-5BEB7BED7214}"/>
              </a:ext>
            </a:extLst>
          </p:cNvPr>
          <p:cNvSpPr/>
          <p:nvPr/>
        </p:nvSpPr>
        <p:spPr>
          <a:xfrm>
            <a:off x="1257300" y="3317444"/>
            <a:ext cx="5889780" cy="1475419"/>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b="1" dirty="0">
                <a:solidFill>
                  <a:srgbClr val="FFFFFF"/>
                </a:solidFill>
                <a:latin typeface="Arial" charset="0"/>
                <a:ea typeface="Arial" charset="0"/>
                <a:cs typeface="Arial" charset="0"/>
              </a:rPr>
              <a:t>Step 1</a:t>
            </a:r>
            <a:endParaRPr lang="en-US" sz="3000" b="1" dirty="0">
              <a:solidFill>
                <a:schemeClr val="tx1"/>
              </a:solidFill>
              <a:latin typeface="Arial" charset="0"/>
              <a:ea typeface="Arial" charset="0"/>
              <a:cs typeface="Arial" charset="0"/>
            </a:endParaRPr>
          </a:p>
        </p:txBody>
      </p:sp>
      <p:sp>
        <p:nvSpPr>
          <p:cNvPr id="4" name="Chevron 3">
            <a:extLst>
              <a:ext uri="{FF2B5EF4-FFF2-40B4-BE49-F238E27FC236}">
                <a16:creationId xmlns:a16="http://schemas.microsoft.com/office/drawing/2014/main" id="{E97B7E07-2D7B-594A-B251-BBFC98601E02}"/>
              </a:ext>
            </a:extLst>
          </p:cNvPr>
          <p:cNvSpPr/>
          <p:nvPr/>
        </p:nvSpPr>
        <p:spPr>
          <a:xfrm>
            <a:off x="6592897" y="3317444"/>
            <a:ext cx="5889780" cy="1475419"/>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b="1" dirty="0">
                <a:solidFill>
                  <a:srgbClr val="FFFFFF"/>
                </a:solidFill>
                <a:latin typeface="Arial" charset="0"/>
                <a:ea typeface="Arial" charset="0"/>
                <a:cs typeface="Arial" charset="0"/>
              </a:rPr>
              <a:t>Step 2</a:t>
            </a:r>
          </a:p>
        </p:txBody>
      </p:sp>
      <p:sp>
        <p:nvSpPr>
          <p:cNvPr id="5" name="Chevron 4">
            <a:extLst>
              <a:ext uri="{FF2B5EF4-FFF2-40B4-BE49-F238E27FC236}">
                <a16:creationId xmlns:a16="http://schemas.microsoft.com/office/drawing/2014/main" id="{53E22E10-AD75-714C-99CB-83B33AAF6A19}"/>
              </a:ext>
            </a:extLst>
          </p:cNvPr>
          <p:cNvSpPr/>
          <p:nvPr/>
        </p:nvSpPr>
        <p:spPr>
          <a:xfrm>
            <a:off x="11928496" y="3317444"/>
            <a:ext cx="5889780" cy="1475419"/>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b="1" dirty="0">
                <a:solidFill>
                  <a:srgbClr val="FFFFFF"/>
                </a:solidFill>
                <a:latin typeface="Arial" charset="0"/>
                <a:ea typeface="Arial" charset="0"/>
                <a:cs typeface="Arial" charset="0"/>
              </a:rPr>
              <a:t>Step 3</a:t>
            </a:r>
            <a:endParaRPr lang="en-US" sz="3000" b="1" dirty="0">
              <a:solidFill>
                <a:schemeClr val="tx1"/>
              </a:solidFill>
              <a:latin typeface="Arial" charset="0"/>
              <a:ea typeface="Arial" charset="0"/>
              <a:cs typeface="Arial" charset="0"/>
            </a:endParaRPr>
          </a:p>
        </p:txBody>
      </p:sp>
      <p:sp>
        <p:nvSpPr>
          <p:cNvPr id="6" name="Chevron 5">
            <a:extLst>
              <a:ext uri="{FF2B5EF4-FFF2-40B4-BE49-F238E27FC236}">
                <a16:creationId xmlns:a16="http://schemas.microsoft.com/office/drawing/2014/main" id="{470695F7-933F-B446-903C-A104ECA0B448}"/>
              </a:ext>
            </a:extLst>
          </p:cNvPr>
          <p:cNvSpPr/>
          <p:nvPr/>
        </p:nvSpPr>
        <p:spPr>
          <a:xfrm>
            <a:off x="17264096" y="3317444"/>
            <a:ext cx="5889780" cy="14754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b="1" dirty="0">
                <a:solidFill>
                  <a:srgbClr val="FFFFFF"/>
                </a:solidFill>
                <a:latin typeface="Arial" charset="0"/>
                <a:ea typeface="Arial" charset="0"/>
                <a:cs typeface="Arial" charset="0"/>
              </a:rPr>
              <a:t>Step 4</a:t>
            </a:r>
            <a:endParaRPr lang="en-US" sz="3000" b="1" dirty="0">
              <a:solidFill>
                <a:schemeClr val="tx1"/>
              </a:solidFill>
              <a:latin typeface="Arial" charset="0"/>
              <a:ea typeface="Arial" charset="0"/>
              <a:cs typeface="Arial" charset="0"/>
            </a:endParaRPr>
          </a:p>
        </p:txBody>
      </p:sp>
      <p:sp>
        <p:nvSpPr>
          <p:cNvPr id="7" name="Content Placeholder 4">
            <a:extLst>
              <a:ext uri="{FF2B5EF4-FFF2-40B4-BE49-F238E27FC236}">
                <a16:creationId xmlns:a16="http://schemas.microsoft.com/office/drawing/2014/main" id="{F5B25BC8-494A-7343-B282-9F572446909D}"/>
              </a:ext>
            </a:extLst>
          </p:cNvPr>
          <p:cNvSpPr txBox="1">
            <a:spLocks/>
          </p:cNvSpPr>
          <p:nvPr/>
        </p:nvSpPr>
        <p:spPr>
          <a:xfrm>
            <a:off x="1485710" y="5599027"/>
            <a:ext cx="4419589" cy="5713407"/>
          </a:xfrm>
          <a:prstGeom prst="rect">
            <a:avLst/>
          </a:prstGeom>
        </p:spPr>
        <p:txBody>
          <a:bodyPr vert="horz" lIns="91440" tIns="45720" rIns="91440" bIns="45720" rtlCol="0">
            <a:normAutofit/>
          </a:bodyPr>
          <a:lstStyle>
            <a:lvl1pPr marL="365125" indent="-365125" algn="l" defTabSz="1828709" rtl="0" eaLnBrk="1" latinLnBrk="0" hangingPunct="1">
              <a:lnSpc>
                <a:spcPct val="90000"/>
              </a:lnSpc>
              <a:spcBef>
                <a:spcPts val="2000"/>
              </a:spcBef>
              <a:buClr>
                <a:schemeClr val="accent2"/>
              </a:buClr>
              <a:buFont typeface="Arial" panose="020B0604020202020204" pitchFamily="34" charset="0"/>
              <a:buChar char="•"/>
              <a:tabLst/>
              <a:defRPr sz="4000" kern="1200">
                <a:solidFill>
                  <a:schemeClr val="tx1"/>
                </a:solidFill>
                <a:latin typeface="+mn-lt"/>
                <a:ea typeface="+mn-ea"/>
                <a:cs typeface="+mn-cs"/>
              </a:defRPr>
            </a:lvl1pPr>
            <a:lvl2pPr marL="719138" indent="-354013" algn="l" defTabSz="1828709" rtl="0" eaLnBrk="1" latinLnBrk="0" hangingPunct="1">
              <a:lnSpc>
                <a:spcPct val="90000"/>
              </a:lnSpc>
              <a:spcBef>
                <a:spcPts val="1000"/>
              </a:spcBef>
              <a:buClr>
                <a:schemeClr val="accent2"/>
              </a:buClr>
              <a:buSzPct val="90000"/>
              <a:buFont typeface="System Font Regular"/>
              <a:buChar char="◦"/>
              <a:tabLst/>
              <a:defRPr sz="4000" kern="1200">
                <a:solidFill>
                  <a:schemeClr val="tx1"/>
                </a:solidFill>
                <a:latin typeface="+mn-lt"/>
                <a:ea typeface="+mn-ea"/>
                <a:cs typeface="+mn-cs"/>
              </a:defRPr>
            </a:lvl2pPr>
            <a:lvl3pPr marL="1112838" indent="-354013" algn="l" defTabSz="1828709" rtl="0" eaLnBrk="1" latinLnBrk="0" hangingPunct="1">
              <a:lnSpc>
                <a:spcPct val="90000"/>
              </a:lnSpc>
              <a:spcBef>
                <a:spcPts val="1000"/>
              </a:spcBef>
              <a:buClr>
                <a:schemeClr val="accent2"/>
              </a:buClr>
              <a:buSzPct val="85000"/>
              <a:buFont typeface="Wingdings" pitchFamily="2" charset="2"/>
              <a:buChar char="§"/>
              <a:tabLst/>
              <a:defRPr sz="4000" kern="1200">
                <a:solidFill>
                  <a:schemeClr val="tx1"/>
                </a:solidFill>
                <a:latin typeface="+mn-lt"/>
                <a:ea typeface="+mn-ea"/>
                <a:cs typeface="+mn-cs"/>
              </a:defRPr>
            </a:lvl3pPr>
            <a:lvl4pPr marL="1477963" indent="-404813" algn="l" defTabSz="1828709" rtl="0" eaLnBrk="1" latinLnBrk="0" hangingPunct="1">
              <a:lnSpc>
                <a:spcPct val="90000"/>
              </a:lnSpc>
              <a:spcBef>
                <a:spcPts val="1000"/>
              </a:spcBef>
              <a:buClr>
                <a:schemeClr val="accent2"/>
              </a:buClr>
              <a:buSzPct val="85000"/>
              <a:buFont typeface="Wingdings" pitchFamily="2" charset="2"/>
              <a:buChar char="§"/>
              <a:tabLst/>
              <a:defRPr sz="4000" kern="1200">
                <a:solidFill>
                  <a:schemeClr val="tx1"/>
                </a:solidFill>
                <a:latin typeface="+mn-lt"/>
                <a:ea typeface="+mn-ea"/>
                <a:cs typeface="+mn-cs"/>
              </a:defRPr>
            </a:lvl4pPr>
            <a:lvl5pPr marL="1871663" indent="-393700" algn="l" defTabSz="1828709" rtl="0" eaLnBrk="1" latinLnBrk="0" hangingPunct="1">
              <a:lnSpc>
                <a:spcPct val="90000"/>
              </a:lnSpc>
              <a:spcBef>
                <a:spcPts val="1000"/>
              </a:spcBef>
              <a:buClr>
                <a:schemeClr val="accent2"/>
              </a:buClr>
              <a:buSzPct val="85000"/>
              <a:buFont typeface="Wingdings" panose="05000000000000000000" pitchFamily="2" charset="2"/>
              <a:buChar char="§"/>
              <a:tabLst/>
              <a:defRPr sz="40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buFont typeface="Arial" panose="020B0604020202020204" pitchFamily="34" charset="0"/>
              <a:buNone/>
            </a:pPr>
            <a:r>
              <a:rPr lang="en-US" sz="2800" b="1">
                <a:solidFill>
                  <a:schemeClr val="accent2"/>
                </a:solidFill>
              </a:rPr>
              <a:t>Title</a:t>
            </a:r>
          </a:p>
          <a:p>
            <a:pPr marL="0" indent="0">
              <a:buFont typeface="Arial" panose="020B0604020202020204" pitchFamily="34" charset="0"/>
              <a:buNone/>
            </a:pPr>
            <a:r>
              <a:rPr lang="en-US" sz="2800"/>
              <a:t>Lorem ipsum dolor sit amet, consectetur adipiscing elit, sed do eiusmod tempor incididunt ut labore et dolore magna aliqua. Ut enim ad minim veniam, quis nostrud exercitation ullamco laboris nisi ut aliquip ex ea commodo consequat.</a:t>
            </a:r>
            <a:endParaRPr lang="en-US" sz="2800" dirty="0"/>
          </a:p>
        </p:txBody>
      </p:sp>
      <p:sp>
        <p:nvSpPr>
          <p:cNvPr id="8" name="Content Placeholder 4">
            <a:extLst>
              <a:ext uri="{FF2B5EF4-FFF2-40B4-BE49-F238E27FC236}">
                <a16:creationId xmlns:a16="http://schemas.microsoft.com/office/drawing/2014/main" id="{6A8E0DE2-0FE3-1E45-851F-6182B7CC13FA}"/>
              </a:ext>
            </a:extLst>
          </p:cNvPr>
          <p:cNvSpPr txBox="1">
            <a:spLocks/>
          </p:cNvSpPr>
          <p:nvPr/>
        </p:nvSpPr>
        <p:spPr>
          <a:xfrm>
            <a:off x="6787429" y="5599027"/>
            <a:ext cx="4419589" cy="5713407"/>
          </a:xfrm>
          <a:prstGeom prst="rect">
            <a:avLst/>
          </a:prstGeom>
        </p:spPr>
        <p:txBody>
          <a:bodyPr vert="horz" lIns="91440" tIns="45720" rIns="91440" bIns="45720" rtlCol="0">
            <a:normAutofit/>
          </a:bodyPr>
          <a:lstStyle>
            <a:lvl1pPr marL="365125" indent="-365125" algn="l" defTabSz="1828709" rtl="0" eaLnBrk="1" latinLnBrk="0" hangingPunct="1">
              <a:lnSpc>
                <a:spcPct val="90000"/>
              </a:lnSpc>
              <a:spcBef>
                <a:spcPts val="2000"/>
              </a:spcBef>
              <a:buClr>
                <a:schemeClr val="accent2"/>
              </a:buClr>
              <a:buFont typeface="Arial" panose="020B0604020202020204" pitchFamily="34" charset="0"/>
              <a:buChar char="•"/>
              <a:tabLst/>
              <a:defRPr sz="4000" kern="1200">
                <a:solidFill>
                  <a:schemeClr val="tx1"/>
                </a:solidFill>
                <a:latin typeface="+mn-lt"/>
                <a:ea typeface="+mn-ea"/>
                <a:cs typeface="+mn-cs"/>
              </a:defRPr>
            </a:lvl1pPr>
            <a:lvl2pPr marL="719138" indent="-354013" algn="l" defTabSz="1828709" rtl="0" eaLnBrk="1" latinLnBrk="0" hangingPunct="1">
              <a:lnSpc>
                <a:spcPct val="90000"/>
              </a:lnSpc>
              <a:spcBef>
                <a:spcPts val="1000"/>
              </a:spcBef>
              <a:buClr>
                <a:schemeClr val="accent2"/>
              </a:buClr>
              <a:buSzPct val="90000"/>
              <a:buFont typeface="System Font Regular"/>
              <a:buChar char="◦"/>
              <a:tabLst/>
              <a:defRPr sz="4000" kern="1200">
                <a:solidFill>
                  <a:schemeClr val="tx1"/>
                </a:solidFill>
                <a:latin typeface="+mn-lt"/>
                <a:ea typeface="+mn-ea"/>
                <a:cs typeface="+mn-cs"/>
              </a:defRPr>
            </a:lvl2pPr>
            <a:lvl3pPr marL="1112838" indent="-354013" algn="l" defTabSz="1828709" rtl="0" eaLnBrk="1" latinLnBrk="0" hangingPunct="1">
              <a:lnSpc>
                <a:spcPct val="90000"/>
              </a:lnSpc>
              <a:spcBef>
                <a:spcPts val="1000"/>
              </a:spcBef>
              <a:buClr>
                <a:schemeClr val="accent2"/>
              </a:buClr>
              <a:buSzPct val="85000"/>
              <a:buFont typeface="Wingdings" pitchFamily="2" charset="2"/>
              <a:buChar char="§"/>
              <a:tabLst/>
              <a:defRPr sz="4000" kern="1200">
                <a:solidFill>
                  <a:schemeClr val="tx1"/>
                </a:solidFill>
                <a:latin typeface="+mn-lt"/>
                <a:ea typeface="+mn-ea"/>
                <a:cs typeface="+mn-cs"/>
              </a:defRPr>
            </a:lvl3pPr>
            <a:lvl4pPr marL="1477963" indent="-404813" algn="l" defTabSz="1828709" rtl="0" eaLnBrk="1" latinLnBrk="0" hangingPunct="1">
              <a:lnSpc>
                <a:spcPct val="90000"/>
              </a:lnSpc>
              <a:spcBef>
                <a:spcPts val="1000"/>
              </a:spcBef>
              <a:buClr>
                <a:schemeClr val="accent2"/>
              </a:buClr>
              <a:buSzPct val="85000"/>
              <a:buFont typeface="Wingdings" pitchFamily="2" charset="2"/>
              <a:buChar char="§"/>
              <a:tabLst/>
              <a:defRPr sz="4000" kern="1200">
                <a:solidFill>
                  <a:schemeClr val="tx1"/>
                </a:solidFill>
                <a:latin typeface="+mn-lt"/>
                <a:ea typeface="+mn-ea"/>
                <a:cs typeface="+mn-cs"/>
              </a:defRPr>
            </a:lvl4pPr>
            <a:lvl5pPr marL="1871663" indent="-393700" algn="l" defTabSz="1828709" rtl="0" eaLnBrk="1" latinLnBrk="0" hangingPunct="1">
              <a:lnSpc>
                <a:spcPct val="90000"/>
              </a:lnSpc>
              <a:spcBef>
                <a:spcPts val="1000"/>
              </a:spcBef>
              <a:buClr>
                <a:schemeClr val="accent2"/>
              </a:buClr>
              <a:buSzPct val="85000"/>
              <a:buFont typeface="Wingdings" panose="05000000000000000000" pitchFamily="2" charset="2"/>
              <a:buChar char="§"/>
              <a:tabLst/>
              <a:defRPr sz="40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buFont typeface="Arial" panose="020B0604020202020204" pitchFamily="34" charset="0"/>
              <a:buNone/>
            </a:pPr>
            <a:r>
              <a:rPr lang="en-US" sz="2800" b="1">
                <a:solidFill>
                  <a:schemeClr val="accent2"/>
                </a:solidFill>
              </a:rPr>
              <a:t>Title</a:t>
            </a:r>
          </a:p>
          <a:p>
            <a:pPr marL="0" indent="0">
              <a:buFont typeface="Arial" panose="020B0604020202020204" pitchFamily="34" charset="0"/>
              <a:buNone/>
            </a:pPr>
            <a:r>
              <a:rPr lang="en-US" sz="2800"/>
              <a:t>Lorem ipsum dolor sit amet, consectetur adipiscing elit, sed do eiusmod tempor incididunt ut labore et dolore magna aliqua. Ut enim ad minim veniam, quis nostrud exercitation ullamco laboris nisi ut aliquip ex ea commodo consequat.</a:t>
            </a:r>
            <a:endParaRPr lang="en-US" sz="2800" dirty="0"/>
          </a:p>
        </p:txBody>
      </p:sp>
      <p:sp>
        <p:nvSpPr>
          <p:cNvPr id="9" name="Content Placeholder 4">
            <a:extLst>
              <a:ext uri="{FF2B5EF4-FFF2-40B4-BE49-F238E27FC236}">
                <a16:creationId xmlns:a16="http://schemas.microsoft.com/office/drawing/2014/main" id="{8248E12C-B22D-1841-95B3-AFEF0A7707DD}"/>
              </a:ext>
            </a:extLst>
          </p:cNvPr>
          <p:cNvSpPr txBox="1">
            <a:spLocks/>
          </p:cNvSpPr>
          <p:nvPr/>
        </p:nvSpPr>
        <p:spPr>
          <a:xfrm>
            <a:off x="12149396" y="5599027"/>
            <a:ext cx="4419589" cy="5713407"/>
          </a:xfrm>
          <a:prstGeom prst="rect">
            <a:avLst/>
          </a:prstGeom>
        </p:spPr>
        <p:txBody>
          <a:bodyPr vert="horz" lIns="91440" tIns="45720" rIns="91440" bIns="45720" rtlCol="0">
            <a:normAutofit/>
          </a:bodyPr>
          <a:lstStyle>
            <a:lvl1pPr marL="365125" indent="-365125" algn="l" defTabSz="1828709" rtl="0" eaLnBrk="1" latinLnBrk="0" hangingPunct="1">
              <a:lnSpc>
                <a:spcPct val="90000"/>
              </a:lnSpc>
              <a:spcBef>
                <a:spcPts val="2000"/>
              </a:spcBef>
              <a:buClr>
                <a:schemeClr val="accent2"/>
              </a:buClr>
              <a:buFont typeface="Arial" panose="020B0604020202020204" pitchFamily="34" charset="0"/>
              <a:buChar char="•"/>
              <a:tabLst/>
              <a:defRPr sz="4000" kern="1200">
                <a:solidFill>
                  <a:schemeClr val="tx1"/>
                </a:solidFill>
                <a:latin typeface="+mn-lt"/>
                <a:ea typeface="+mn-ea"/>
                <a:cs typeface="+mn-cs"/>
              </a:defRPr>
            </a:lvl1pPr>
            <a:lvl2pPr marL="719138" indent="-354013" algn="l" defTabSz="1828709" rtl="0" eaLnBrk="1" latinLnBrk="0" hangingPunct="1">
              <a:lnSpc>
                <a:spcPct val="90000"/>
              </a:lnSpc>
              <a:spcBef>
                <a:spcPts val="1000"/>
              </a:spcBef>
              <a:buClr>
                <a:schemeClr val="accent2"/>
              </a:buClr>
              <a:buSzPct val="90000"/>
              <a:buFont typeface="System Font Regular"/>
              <a:buChar char="◦"/>
              <a:tabLst/>
              <a:defRPr sz="4000" kern="1200">
                <a:solidFill>
                  <a:schemeClr val="tx1"/>
                </a:solidFill>
                <a:latin typeface="+mn-lt"/>
                <a:ea typeface="+mn-ea"/>
                <a:cs typeface="+mn-cs"/>
              </a:defRPr>
            </a:lvl2pPr>
            <a:lvl3pPr marL="1112838" indent="-354013" algn="l" defTabSz="1828709" rtl="0" eaLnBrk="1" latinLnBrk="0" hangingPunct="1">
              <a:lnSpc>
                <a:spcPct val="90000"/>
              </a:lnSpc>
              <a:spcBef>
                <a:spcPts val="1000"/>
              </a:spcBef>
              <a:buClr>
                <a:schemeClr val="accent2"/>
              </a:buClr>
              <a:buSzPct val="85000"/>
              <a:buFont typeface="Wingdings" pitchFamily="2" charset="2"/>
              <a:buChar char="§"/>
              <a:tabLst/>
              <a:defRPr sz="4000" kern="1200">
                <a:solidFill>
                  <a:schemeClr val="tx1"/>
                </a:solidFill>
                <a:latin typeface="+mn-lt"/>
                <a:ea typeface="+mn-ea"/>
                <a:cs typeface="+mn-cs"/>
              </a:defRPr>
            </a:lvl3pPr>
            <a:lvl4pPr marL="1477963" indent="-404813" algn="l" defTabSz="1828709" rtl="0" eaLnBrk="1" latinLnBrk="0" hangingPunct="1">
              <a:lnSpc>
                <a:spcPct val="90000"/>
              </a:lnSpc>
              <a:spcBef>
                <a:spcPts val="1000"/>
              </a:spcBef>
              <a:buClr>
                <a:schemeClr val="accent2"/>
              </a:buClr>
              <a:buSzPct val="85000"/>
              <a:buFont typeface="Wingdings" pitchFamily="2" charset="2"/>
              <a:buChar char="§"/>
              <a:tabLst/>
              <a:defRPr sz="4000" kern="1200">
                <a:solidFill>
                  <a:schemeClr val="tx1"/>
                </a:solidFill>
                <a:latin typeface="+mn-lt"/>
                <a:ea typeface="+mn-ea"/>
                <a:cs typeface="+mn-cs"/>
              </a:defRPr>
            </a:lvl4pPr>
            <a:lvl5pPr marL="1871663" indent="-393700" algn="l" defTabSz="1828709" rtl="0" eaLnBrk="1" latinLnBrk="0" hangingPunct="1">
              <a:lnSpc>
                <a:spcPct val="90000"/>
              </a:lnSpc>
              <a:spcBef>
                <a:spcPts val="1000"/>
              </a:spcBef>
              <a:buClr>
                <a:schemeClr val="accent2"/>
              </a:buClr>
              <a:buSzPct val="85000"/>
              <a:buFont typeface="Wingdings" panose="05000000000000000000" pitchFamily="2" charset="2"/>
              <a:buChar char="§"/>
              <a:tabLst/>
              <a:defRPr sz="40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buFont typeface="Arial" panose="020B0604020202020204" pitchFamily="34" charset="0"/>
              <a:buNone/>
            </a:pPr>
            <a:r>
              <a:rPr lang="en-US" sz="2800" b="1">
                <a:solidFill>
                  <a:schemeClr val="accent2"/>
                </a:solidFill>
              </a:rPr>
              <a:t>Title</a:t>
            </a:r>
          </a:p>
          <a:p>
            <a:pPr marL="0" indent="0">
              <a:buFont typeface="Arial" panose="020B0604020202020204" pitchFamily="34" charset="0"/>
              <a:buNone/>
            </a:pPr>
            <a:r>
              <a:rPr lang="en-US" sz="2800"/>
              <a:t>Lorem ipsum dolor sit amet, consectetur adipiscing elit, sed do eiusmod tempor incididunt ut labore et dolore magna aliqua. Ut enim ad minim veniam, quis nostrud exercitation ullamco laboris nisi ut aliquip ex ea commodo consequat.</a:t>
            </a:r>
            <a:endParaRPr lang="en-US" sz="2800" dirty="0"/>
          </a:p>
        </p:txBody>
      </p:sp>
      <p:sp>
        <p:nvSpPr>
          <p:cNvPr id="10" name="Content Placeholder 4">
            <a:extLst>
              <a:ext uri="{FF2B5EF4-FFF2-40B4-BE49-F238E27FC236}">
                <a16:creationId xmlns:a16="http://schemas.microsoft.com/office/drawing/2014/main" id="{CB573EB4-84DB-EA43-9593-9FDF1FFCF421}"/>
              </a:ext>
            </a:extLst>
          </p:cNvPr>
          <p:cNvSpPr txBox="1">
            <a:spLocks/>
          </p:cNvSpPr>
          <p:nvPr/>
        </p:nvSpPr>
        <p:spPr>
          <a:xfrm>
            <a:off x="17611773" y="5599027"/>
            <a:ext cx="4419589" cy="5713407"/>
          </a:xfrm>
          <a:prstGeom prst="rect">
            <a:avLst/>
          </a:prstGeom>
        </p:spPr>
        <p:txBody>
          <a:bodyPr vert="horz" lIns="91440" tIns="45720" rIns="91440" bIns="45720" rtlCol="0">
            <a:normAutofit/>
          </a:bodyPr>
          <a:lstStyle>
            <a:lvl1pPr marL="365125" indent="-365125" algn="l" defTabSz="1828709" rtl="0" eaLnBrk="1" latinLnBrk="0" hangingPunct="1">
              <a:lnSpc>
                <a:spcPct val="90000"/>
              </a:lnSpc>
              <a:spcBef>
                <a:spcPts val="2000"/>
              </a:spcBef>
              <a:buClr>
                <a:schemeClr val="accent2"/>
              </a:buClr>
              <a:buFont typeface="Arial" panose="020B0604020202020204" pitchFamily="34" charset="0"/>
              <a:buChar char="•"/>
              <a:tabLst/>
              <a:defRPr sz="4000" kern="1200">
                <a:solidFill>
                  <a:schemeClr val="tx1"/>
                </a:solidFill>
                <a:latin typeface="+mn-lt"/>
                <a:ea typeface="+mn-ea"/>
                <a:cs typeface="+mn-cs"/>
              </a:defRPr>
            </a:lvl1pPr>
            <a:lvl2pPr marL="719138" indent="-354013" algn="l" defTabSz="1828709" rtl="0" eaLnBrk="1" latinLnBrk="0" hangingPunct="1">
              <a:lnSpc>
                <a:spcPct val="90000"/>
              </a:lnSpc>
              <a:spcBef>
                <a:spcPts val="1000"/>
              </a:spcBef>
              <a:buClr>
                <a:schemeClr val="accent2"/>
              </a:buClr>
              <a:buSzPct val="90000"/>
              <a:buFont typeface="System Font Regular"/>
              <a:buChar char="◦"/>
              <a:tabLst/>
              <a:defRPr sz="4000" kern="1200">
                <a:solidFill>
                  <a:schemeClr val="tx1"/>
                </a:solidFill>
                <a:latin typeface="+mn-lt"/>
                <a:ea typeface="+mn-ea"/>
                <a:cs typeface="+mn-cs"/>
              </a:defRPr>
            </a:lvl2pPr>
            <a:lvl3pPr marL="1112838" indent="-354013" algn="l" defTabSz="1828709" rtl="0" eaLnBrk="1" latinLnBrk="0" hangingPunct="1">
              <a:lnSpc>
                <a:spcPct val="90000"/>
              </a:lnSpc>
              <a:spcBef>
                <a:spcPts val="1000"/>
              </a:spcBef>
              <a:buClr>
                <a:schemeClr val="accent2"/>
              </a:buClr>
              <a:buSzPct val="85000"/>
              <a:buFont typeface="Wingdings" pitchFamily="2" charset="2"/>
              <a:buChar char="§"/>
              <a:tabLst/>
              <a:defRPr sz="4000" kern="1200">
                <a:solidFill>
                  <a:schemeClr val="tx1"/>
                </a:solidFill>
                <a:latin typeface="+mn-lt"/>
                <a:ea typeface="+mn-ea"/>
                <a:cs typeface="+mn-cs"/>
              </a:defRPr>
            </a:lvl3pPr>
            <a:lvl4pPr marL="1477963" indent="-404813" algn="l" defTabSz="1828709" rtl="0" eaLnBrk="1" latinLnBrk="0" hangingPunct="1">
              <a:lnSpc>
                <a:spcPct val="90000"/>
              </a:lnSpc>
              <a:spcBef>
                <a:spcPts val="1000"/>
              </a:spcBef>
              <a:buClr>
                <a:schemeClr val="accent2"/>
              </a:buClr>
              <a:buSzPct val="85000"/>
              <a:buFont typeface="Wingdings" pitchFamily="2" charset="2"/>
              <a:buChar char="§"/>
              <a:tabLst/>
              <a:defRPr sz="4000" kern="1200">
                <a:solidFill>
                  <a:schemeClr val="tx1"/>
                </a:solidFill>
                <a:latin typeface="+mn-lt"/>
                <a:ea typeface="+mn-ea"/>
                <a:cs typeface="+mn-cs"/>
              </a:defRPr>
            </a:lvl4pPr>
            <a:lvl5pPr marL="1871663" indent="-393700" algn="l" defTabSz="1828709" rtl="0" eaLnBrk="1" latinLnBrk="0" hangingPunct="1">
              <a:lnSpc>
                <a:spcPct val="90000"/>
              </a:lnSpc>
              <a:spcBef>
                <a:spcPts val="1000"/>
              </a:spcBef>
              <a:buClr>
                <a:schemeClr val="accent2"/>
              </a:buClr>
              <a:buSzPct val="85000"/>
              <a:buFont typeface="Wingdings" panose="05000000000000000000" pitchFamily="2" charset="2"/>
              <a:buChar char="§"/>
              <a:tabLst/>
              <a:defRPr sz="40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buFont typeface="Arial" panose="020B0604020202020204" pitchFamily="34" charset="0"/>
              <a:buNone/>
            </a:pPr>
            <a:r>
              <a:rPr lang="en-US" sz="2800" b="1">
                <a:solidFill>
                  <a:schemeClr val="accent2"/>
                </a:solidFill>
              </a:rPr>
              <a:t>Title</a:t>
            </a:r>
          </a:p>
          <a:p>
            <a:pPr marL="0" indent="0">
              <a:buFont typeface="Arial" panose="020B0604020202020204" pitchFamily="34" charset="0"/>
              <a:buNone/>
            </a:pPr>
            <a:r>
              <a:rPr lang="en-US" sz="2800"/>
              <a:t>Lorem ipsum dolor sit amet, consectetur adipiscing elit, sed do eiusmod tempor incididunt ut labore et dolore magna aliqua. Ut enim ad minim veniam, quis nostrud exercitation ullamco laboris nisi ut aliquip ex ea commodo consequat.</a:t>
            </a:r>
            <a:endParaRPr lang="en-US" sz="2800" dirty="0"/>
          </a:p>
        </p:txBody>
      </p:sp>
    </p:spTree>
    <p:extLst>
      <p:ext uri="{BB962C8B-B14F-4D97-AF65-F5344CB8AC3E}">
        <p14:creationId xmlns:p14="http://schemas.microsoft.com/office/powerpoint/2010/main" val="29552957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3387E89-D3D6-6A46-B619-7A7B6A52CD7D}"/>
              </a:ext>
            </a:extLst>
          </p:cNvPr>
          <p:cNvSpPr>
            <a:spLocks noGrp="1"/>
          </p:cNvSpPr>
          <p:nvPr>
            <p:ph type="ctrTitle"/>
          </p:nvPr>
        </p:nvSpPr>
        <p:spPr/>
        <p:txBody>
          <a:bodyPr/>
          <a:lstStyle/>
          <a:p>
            <a:endParaRPr lang="en-US"/>
          </a:p>
        </p:txBody>
      </p:sp>
      <p:sp>
        <p:nvSpPr>
          <p:cNvPr id="8" name="Subtitle 7">
            <a:extLst>
              <a:ext uri="{FF2B5EF4-FFF2-40B4-BE49-F238E27FC236}">
                <a16:creationId xmlns:a16="http://schemas.microsoft.com/office/drawing/2014/main" id="{07DD9BB0-66AE-1B41-99B6-82AD1E9E4940}"/>
              </a:ext>
            </a:extLst>
          </p:cNvPr>
          <p:cNvSpPr>
            <a:spLocks noGrp="1"/>
          </p:cNvSpPr>
          <p:nvPr>
            <p:ph type="subTitle" idx="1"/>
          </p:nvPr>
        </p:nvSpPr>
        <p:spPr/>
        <p:txBody>
          <a:bodyPr/>
          <a:lstStyle/>
          <a:p>
            <a:endParaRPr lang="en-US"/>
          </a:p>
        </p:txBody>
      </p:sp>
      <p:sp>
        <p:nvSpPr>
          <p:cNvPr id="9" name="Text Placeholder 8">
            <a:extLst>
              <a:ext uri="{FF2B5EF4-FFF2-40B4-BE49-F238E27FC236}">
                <a16:creationId xmlns:a16="http://schemas.microsoft.com/office/drawing/2014/main" id="{F1046C19-7515-EB4B-9326-7584569E122C}"/>
              </a:ext>
            </a:extLst>
          </p:cNvPr>
          <p:cNvSpPr>
            <a:spLocks noGrp="1"/>
          </p:cNvSpPr>
          <p:nvPr>
            <p:ph type="body" idx="11"/>
          </p:nvPr>
        </p:nvSpPr>
        <p:spPr/>
        <p:txBody>
          <a:bodyPr/>
          <a:lstStyle/>
          <a:p>
            <a:endParaRPr lang="en-US"/>
          </a:p>
        </p:txBody>
      </p:sp>
    </p:spTree>
    <p:extLst>
      <p:ext uri="{BB962C8B-B14F-4D97-AF65-F5344CB8AC3E}">
        <p14:creationId xmlns:p14="http://schemas.microsoft.com/office/powerpoint/2010/main" val="11109145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197F2-715A-5642-9566-E7C19CF7E961}"/>
              </a:ext>
            </a:extLst>
          </p:cNvPr>
          <p:cNvSpPr>
            <a:spLocks noGrp="1"/>
          </p:cNvSpPr>
          <p:nvPr>
            <p:ph type="title"/>
          </p:nvPr>
        </p:nvSpPr>
        <p:spPr/>
        <p:txBody>
          <a:bodyPr/>
          <a:lstStyle/>
          <a:p>
            <a:r>
              <a:rPr lang="en-CA" dirty="0"/>
              <a:t>Example diagram</a:t>
            </a:r>
            <a:endParaRPr lang="en-US" dirty="0"/>
          </a:p>
        </p:txBody>
      </p:sp>
      <p:sp>
        <p:nvSpPr>
          <p:cNvPr id="3" name="Rectangle 2">
            <a:extLst>
              <a:ext uri="{FF2B5EF4-FFF2-40B4-BE49-F238E27FC236}">
                <a16:creationId xmlns:a16="http://schemas.microsoft.com/office/drawing/2014/main" id="{092AD0DA-40AB-9E45-9B07-DBB39757286B}"/>
              </a:ext>
            </a:extLst>
          </p:cNvPr>
          <p:cNvSpPr/>
          <p:nvPr/>
        </p:nvSpPr>
        <p:spPr>
          <a:xfrm>
            <a:off x="4471280" y="3250925"/>
            <a:ext cx="7627466" cy="39804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5" tIns="121912" rIns="243825" bIns="121912" rtlCol="0" anchor="ctr"/>
          <a:lstStyle/>
          <a:p>
            <a:pPr algn="ctr"/>
            <a:r>
              <a:rPr lang="en-US" sz="4500" dirty="0">
                <a:solidFill>
                  <a:schemeClr val="bg1"/>
                </a:solidFill>
              </a:rPr>
              <a:t>Quadrant</a:t>
            </a:r>
            <a:r>
              <a:rPr lang="en-US" sz="4500" b="1" dirty="0">
                <a:solidFill>
                  <a:schemeClr val="bg1"/>
                </a:solidFill>
              </a:rPr>
              <a:t> 1</a:t>
            </a:r>
          </a:p>
        </p:txBody>
      </p:sp>
      <p:sp>
        <p:nvSpPr>
          <p:cNvPr id="4" name="Rectangle 3">
            <a:extLst>
              <a:ext uri="{FF2B5EF4-FFF2-40B4-BE49-F238E27FC236}">
                <a16:creationId xmlns:a16="http://schemas.microsoft.com/office/drawing/2014/main" id="{51FC19B1-539A-1C43-94B9-2D2273CC2E29}"/>
              </a:ext>
            </a:extLst>
          </p:cNvPr>
          <p:cNvSpPr/>
          <p:nvPr/>
        </p:nvSpPr>
        <p:spPr>
          <a:xfrm>
            <a:off x="12361750" y="3250925"/>
            <a:ext cx="7627466" cy="39804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5" tIns="121912" rIns="243825" bIns="121912" rtlCol="0" anchor="ctr"/>
          <a:lstStyle/>
          <a:p>
            <a:pPr algn="ctr"/>
            <a:r>
              <a:rPr lang="en-US" sz="4500" dirty="0">
                <a:solidFill>
                  <a:schemeClr val="bg1"/>
                </a:solidFill>
              </a:rPr>
              <a:t>Quadrant 2</a:t>
            </a:r>
          </a:p>
        </p:txBody>
      </p:sp>
      <p:sp>
        <p:nvSpPr>
          <p:cNvPr id="5" name="Rectangle 4">
            <a:extLst>
              <a:ext uri="{FF2B5EF4-FFF2-40B4-BE49-F238E27FC236}">
                <a16:creationId xmlns:a16="http://schemas.microsoft.com/office/drawing/2014/main" id="{FCE64FB2-C89A-BB43-858B-35C5498B7232}"/>
              </a:ext>
            </a:extLst>
          </p:cNvPr>
          <p:cNvSpPr/>
          <p:nvPr/>
        </p:nvSpPr>
        <p:spPr>
          <a:xfrm>
            <a:off x="4471280" y="7489760"/>
            <a:ext cx="7627466" cy="39804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5" tIns="121912" rIns="243825" bIns="121912" rtlCol="0" anchor="ctr"/>
          <a:lstStyle/>
          <a:p>
            <a:pPr algn="ctr"/>
            <a:r>
              <a:rPr lang="en-US" sz="4500" dirty="0">
                <a:solidFill>
                  <a:schemeClr val="bg1"/>
                </a:solidFill>
              </a:rPr>
              <a:t>Quadrant 3</a:t>
            </a:r>
          </a:p>
        </p:txBody>
      </p:sp>
      <p:sp>
        <p:nvSpPr>
          <p:cNvPr id="6" name="Rectangle 5">
            <a:extLst>
              <a:ext uri="{FF2B5EF4-FFF2-40B4-BE49-F238E27FC236}">
                <a16:creationId xmlns:a16="http://schemas.microsoft.com/office/drawing/2014/main" id="{53948995-2BB9-D341-893C-3A76651A83A7}"/>
              </a:ext>
            </a:extLst>
          </p:cNvPr>
          <p:cNvSpPr/>
          <p:nvPr/>
        </p:nvSpPr>
        <p:spPr>
          <a:xfrm>
            <a:off x="12361753" y="7489760"/>
            <a:ext cx="7627466" cy="39804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5" tIns="121912" rIns="243825" bIns="121912" rtlCol="0" anchor="ctr"/>
          <a:lstStyle/>
          <a:p>
            <a:pPr algn="ctr"/>
            <a:r>
              <a:rPr lang="en-US" sz="4500" dirty="0">
                <a:solidFill>
                  <a:schemeClr val="bg1"/>
                </a:solidFill>
              </a:rPr>
              <a:t>Quadrant</a:t>
            </a:r>
            <a:r>
              <a:rPr lang="en-US" sz="4500" b="1" dirty="0">
                <a:solidFill>
                  <a:schemeClr val="bg1"/>
                </a:solidFill>
              </a:rPr>
              <a:t> 4</a:t>
            </a:r>
          </a:p>
        </p:txBody>
      </p:sp>
      <p:sp>
        <p:nvSpPr>
          <p:cNvPr id="7" name="Oval 6">
            <a:extLst>
              <a:ext uri="{FF2B5EF4-FFF2-40B4-BE49-F238E27FC236}">
                <a16:creationId xmlns:a16="http://schemas.microsoft.com/office/drawing/2014/main" id="{49A28E57-A3D0-104F-A755-CE69578F7816}"/>
              </a:ext>
            </a:extLst>
          </p:cNvPr>
          <p:cNvSpPr/>
          <p:nvPr/>
        </p:nvSpPr>
        <p:spPr>
          <a:xfrm>
            <a:off x="10186919" y="5347253"/>
            <a:ext cx="4021236" cy="4021498"/>
          </a:xfrm>
          <a:prstGeom prst="ellipse">
            <a:avLst/>
          </a:prstGeom>
          <a:solidFill>
            <a:schemeClr val="accent3"/>
          </a:solidFill>
          <a:ln w="225425"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43825" tIns="121912" rIns="243825" bIns="121912" rtlCol="0" anchor="ctr"/>
          <a:lstStyle/>
          <a:p>
            <a:pPr algn="ctr"/>
            <a:r>
              <a:rPr lang="en-US" sz="6600" dirty="0">
                <a:solidFill>
                  <a:schemeClr val="bg1"/>
                </a:solidFill>
              </a:rPr>
              <a:t>Title</a:t>
            </a:r>
            <a:endParaRPr lang="en-US" sz="3000" dirty="0">
              <a:solidFill>
                <a:schemeClr val="bg1"/>
              </a:solidFill>
            </a:endParaRPr>
          </a:p>
        </p:txBody>
      </p:sp>
    </p:spTree>
    <p:extLst>
      <p:ext uri="{BB962C8B-B14F-4D97-AF65-F5344CB8AC3E}">
        <p14:creationId xmlns:p14="http://schemas.microsoft.com/office/powerpoint/2010/main" val="6237088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9D5A8-6DCA-024F-98D7-19919FD1E1A6}"/>
              </a:ext>
            </a:extLst>
          </p:cNvPr>
          <p:cNvSpPr>
            <a:spLocks noGrp="1"/>
          </p:cNvSpPr>
          <p:nvPr>
            <p:ph type="title"/>
          </p:nvPr>
        </p:nvSpPr>
        <p:spPr/>
        <p:txBody>
          <a:bodyPr/>
          <a:lstStyle/>
          <a:p>
            <a:r>
              <a:rPr lang="en-CA" dirty="0"/>
              <a:t>Example diagram (highlighted)</a:t>
            </a:r>
            <a:endParaRPr lang="en-US" dirty="0"/>
          </a:p>
        </p:txBody>
      </p:sp>
      <p:sp>
        <p:nvSpPr>
          <p:cNvPr id="9" name="Rectangle 8">
            <a:extLst>
              <a:ext uri="{FF2B5EF4-FFF2-40B4-BE49-F238E27FC236}">
                <a16:creationId xmlns:a16="http://schemas.microsoft.com/office/drawing/2014/main" id="{1C70742E-D9B1-1B4D-8B56-727C58113A53}"/>
              </a:ext>
            </a:extLst>
          </p:cNvPr>
          <p:cNvSpPr/>
          <p:nvPr/>
        </p:nvSpPr>
        <p:spPr>
          <a:xfrm>
            <a:off x="3217994" y="2596897"/>
            <a:ext cx="8880752" cy="4634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5" tIns="121912" rIns="243825" bIns="121912" rtlCol="0" anchor="ctr"/>
          <a:lstStyle/>
          <a:p>
            <a:pPr algn="ctr"/>
            <a:r>
              <a:rPr lang="en-US" sz="4500" b="1" dirty="0">
                <a:solidFill>
                  <a:schemeClr val="bg1"/>
                </a:solidFill>
              </a:rPr>
              <a:t>Quadrant 1</a:t>
            </a:r>
          </a:p>
        </p:txBody>
      </p:sp>
      <p:sp>
        <p:nvSpPr>
          <p:cNvPr id="10" name="Rectangle 9">
            <a:extLst>
              <a:ext uri="{FF2B5EF4-FFF2-40B4-BE49-F238E27FC236}">
                <a16:creationId xmlns:a16="http://schemas.microsoft.com/office/drawing/2014/main" id="{D276DDB9-88BC-E748-9232-91A4279CCAA5}"/>
              </a:ext>
            </a:extLst>
          </p:cNvPr>
          <p:cNvSpPr/>
          <p:nvPr/>
        </p:nvSpPr>
        <p:spPr>
          <a:xfrm>
            <a:off x="12361750" y="3250925"/>
            <a:ext cx="7627466" cy="39804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5" tIns="121912" rIns="243825" bIns="121912" rtlCol="0" anchor="ctr"/>
          <a:lstStyle/>
          <a:p>
            <a:pPr algn="ctr"/>
            <a:r>
              <a:rPr lang="en-US" sz="4500" dirty="0">
                <a:solidFill>
                  <a:schemeClr val="bg1"/>
                </a:solidFill>
              </a:rPr>
              <a:t>Quadrant 2</a:t>
            </a:r>
          </a:p>
        </p:txBody>
      </p:sp>
      <p:sp>
        <p:nvSpPr>
          <p:cNvPr id="11" name="Rectangle 10">
            <a:extLst>
              <a:ext uri="{FF2B5EF4-FFF2-40B4-BE49-F238E27FC236}">
                <a16:creationId xmlns:a16="http://schemas.microsoft.com/office/drawing/2014/main" id="{815F2F7D-E02B-904E-8C67-08DDE5C54AE5}"/>
              </a:ext>
            </a:extLst>
          </p:cNvPr>
          <p:cNvSpPr/>
          <p:nvPr/>
        </p:nvSpPr>
        <p:spPr>
          <a:xfrm>
            <a:off x="4471280" y="7489760"/>
            <a:ext cx="7627466" cy="39804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5" tIns="121912" rIns="243825" bIns="121912" rtlCol="0" anchor="ctr"/>
          <a:lstStyle/>
          <a:p>
            <a:pPr algn="ctr"/>
            <a:r>
              <a:rPr lang="en-US" sz="4500" dirty="0">
                <a:solidFill>
                  <a:schemeClr val="bg1"/>
                </a:solidFill>
              </a:rPr>
              <a:t>Quadrant 3</a:t>
            </a:r>
          </a:p>
        </p:txBody>
      </p:sp>
      <p:sp>
        <p:nvSpPr>
          <p:cNvPr id="12" name="Rectangle 11">
            <a:extLst>
              <a:ext uri="{FF2B5EF4-FFF2-40B4-BE49-F238E27FC236}">
                <a16:creationId xmlns:a16="http://schemas.microsoft.com/office/drawing/2014/main" id="{896ED39B-94BA-D34E-81E4-DD6B7AA616A9}"/>
              </a:ext>
            </a:extLst>
          </p:cNvPr>
          <p:cNvSpPr/>
          <p:nvPr/>
        </p:nvSpPr>
        <p:spPr>
          <a:xfrm>
            <a:off x="12361753" y="7489760"/>
            <a:ext cx="7627466" cy="39804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5" tIns="121912" rIns="243825" bIns="121912" rtlCol="0" anchor="ctr"/>
          <a:lstStyle/>
          <a:p>
            <a:pPr algn="ctr"/>
            <a:r>
              <a:rPr lang="en-US" sz="4500" dirty="0">
                <a:solidFill>
                  <a:schemeClr val="bg1"/>
                </a:solidFill>
              </a:rPr>
              <a:t>Quadrant 4</a:t>
            </a:r>
          </a:p>
        </p:txBody>
      </p:sp>
      <p:sp>
        <p:nvSpPr>
          <p:cNvPr id="13" name="Oval 12">
            <a:extLst>
              <a:ext uri="{FF2B5EF4-FFF2-40B4-BE49-F238E27FC236}">
                <a16:creationId xmlns:a16="http://schemas.microsoft.com/office/drawing/2014/main" id="{33F1B871-7887-0D44-A20B-681667247601}"/>
              </a:ext>
            </a:extLst>
          </p:cNvPr>
          <p:cNvSpPr/>
          <p:nvPr/>
        </p:nvSpPr>
        <p:spPr>
          <a:xfrm>
            <a:off x="10186919" y="5347253"/>
            <a:ext cx="4021236" cy="4021498"/>
          </a:xfrm>
          <a:prstGeom prst="ellipse">
            <a:avLst/>
          </a:prstGeom>
          <a:solidFill>
            <a:schemeClr val="accent3"/>
          </a:solidFill>
          <a:ln w="225425"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43825" tIns="121912" rIns="243825" bIns="121912" rtlCol="0" anchor="ctr"/>
          <a:lstStyle/>
          <a:p>
            <a:pPr algn="ctr"/>
            <a:r>
              <a:rPr lang="en-US" sz="6600" dirty="0">
                <a:solidFill>
                  <a:schemeClr val="bg1"/>
                </a:solidFill>
              </a:rPr>
              <a:t>Title</a:t>
            </a:r>
          </a:p>
        </p:txBody>
      </p:sp>
    </p:spTree>
    <p:extLst>
      <p:ext uri="{BB962C8B-B14F-4D97-AF65-F5344CB8AC3E}">
        <p14:creationId xmlns:p14="http://schemas.microsoft.com/office/powerpoint/2010/main" val="13906438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51F594-B13C-B047-B2A8-23491F3CEEBF}"/>
              </a:ext>
            </a:extLst>
          </p:cNvPr>
          <p:cNvSpPr>
            <a:spLocks noGrp="1"/>
          </p:cNvSpPr>
          <p:nvPr>
            <p:ph type="body" sz="quarter" idx="15"/>
          </p:nvPr>
        </p:nvSpPr>
        <p:spPr/>
        <p:txBody>
          <a:bodyPr/>
          <a:lstStyle/>
          <a:p>
            <a:r>
              <a:rPr lang="en-US" dirty="0"/>
              <a:t>A customer testimonial can go in this space. Quotes should be concise and to the point. Don’t forget to include a quote source below.</a:t>
            </a:r>
          </a:p>
        </p:txBody>
      </p:sp>
      <p:sp>
        <p:nvSpPr>
          <p:cNvPr id="3" name="Text Placeholder 2">
            <a:extLst>
              <a:ext uri="{FF2B5EF4-FFF2-40B4-BE49-F238E27FC236}">
                <a16:creationId xmlns:a16="http://schemas.microsoft.com/office/drawing/2014/main" id="{A7E3A9A7-7A59-7E48-BD7F-C5E23332C228}"/>
              </a:ext>
            </a:extLst>
          </p:cNvPr>
          <p:cNvSpPr>
            <a:spLocks noGrp="1"/>
          </p:cNvSpPr>
          <p:nvPr>
            <p:ph type="body" sz="quarter" idx="16"/>
          </p:nvPr>
        </p:nvSpPr>
        <p:spPr/>
        <p:txBody>
          <a:bodyPr/>
          <a:lstStyle/>
          <a:p>
            <a:r>
              <a:rPr lang="en-US" dirty="0"/>
              <a:t>—John Smith, Chief Financial Officer, XYZ Company</a:t>
            </a:r>
          </a:p>
        </p:txBody>
      </p:sp>
    </p:spTree>
    <p:extLst>
      <p:ext uri="{BB962C8B-B14F-4D97-AF65-F5344CB8AC3E}">
        <p14:creationId xmlns:p14="http://schemas.microsoft.com/office/powerpoint/2010/main" val="27201104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E699069-AAB7-964C-B985-EBEE56089DE4}"/>
              </a:ext>
            </a:extLst>
          </p:cNvPr>
          <p:cNvSpPr>
            <a:spLocks noGrp="1"/>
          </p:cNvSpPr>
          <p:nvPr>
            <p:ph type="title"/>
          </p:nvPr>
        </p:nvSpPr>
        <p:spPr/>
        <p:txBody>
          <a:bodyPr/>
          <a:lstStyle/>
          <a:p>
            <a:endParaRPr lang="en-US"/>
          </a:p>
        </p:txBody>
      </p:sp>
      <p:pic>
        <p:nvPicPr>
          <p:cNvPr id="16" name="Picture Placeholder 15" descr="A view of a city at night&#10;&#10;Description automatically generated">
            <a:extLst>
              <a:ext uri="{FF2B5EF4-FFF2-40B4-BE49-F238E27FC236}">
                <a16:creationId xmlns:a16="http://schemas.microsoft.com/office/drawing/2014/main" id="{F585DB5E-2648-364F-9AB4-42A45B277E24}"/>
              </a:ext>
            </a:extLst>
          </p:cNvPr>
          <p:cNvPicPr>
            <a:picLocks noGrp="1" noChangeAspect="1"/>
          </p:cNvPicPr>
          <p:nvPr>
            <p:ph type="pic" sz="quarter" idx="4294967295"/>
          </p:nvPr>
        </p:nvPicPr>
        <p:blipFill>
          <a:blip r:embed="rId2" cstate="email">
            <a:extLst>
              <a:ext uri="{28A0092B-C50C-407E-A947-70E740481C1C}">
                <a14:useLocalDpi xmlns:a14="http://schemas.microsoft.com/office/drawing/2010/main"/>
              </a:ext>
            </a:extLst>
          </a:blip>
          <a:srcRect/>
          <a:stretch>
            <a:fillRect/>
          </a:stretch>
        </p:blipFill>
        <p:spPr>
          <a:xfrm>
            <a:off x="0" y="1846263"/>
            <a:ext cx="24382413" cy="7315200"/>
          </a:xfrm>
        </p:spPr>
      </p:pic>
      <p:grpSp>
        <p:nvGrpSpPr>
          <p:cNvPr id="13" name="Group 12">
            <a:extLst>
              <a:ext uri="{FF2B5EF4-FFF2-40B4-BE49-F238E27FC236}">
                <a16:creationId xmlns:a16="http://schemas.microsoft.com/office/drawing/2014/main" id="{D2B573D0-B805-4DF0-A3C6-95B768CE5E7B}"/>
              </a:ext>
            </a:extLst>
          </p:cNvPr>
          <p:cNvGrpSpPr/>
          <p:nvPr/>
        </p:nvGrpSpPr>
        <p:grpSpPr>
          <a:xfrm>
            <a:off x="18284351" y="10007501"/>
            <a:ext cx="4153858" cy="2098227"/>
            <a:chOff x="9469226" y="5003853"/>
            <a:chExt cx="2077064" cy="1049182"/>
          </a:xfrm>
        </p:grpSpPr>
        <p:sp>
          <p:nvSpPr>
            <p:cNvPr id="2" name="TextBox 1">
              <a:extLst>
                <a:ext uri="{FF2B5EF4-FFF2-40B4-BE49-F238E27FC236}">
                  <a16:creationId xmlns:a16="http://schemas.microsoft.com/office/drawing/2014/main" id="{D2A09493-8FDE-4360-BA78-78432BCE0E0C}"/>
                </a:ext>
              </a:extLst>
            </p:cNvPr>
            <p:cNvSpPr txBox="1"/>
            <p:nvPr/>
          </p:nvSpPr>
          <p:spPr>
            <a:xfrm>
              <a:off x="9469226" y="5311630"/>
              <a:ext cx="2077064" cy="741405"/>
            </a:xfrm>
            <a:prstGeom prst="rect">
              <a:avLst/>
            </a:prstGeom>
            <a:noFill/>
          </p:spPr>
          <p:txBody>
            <a:bodyPr wrap="square" rtlCol="0">
              <a:spAutoFit/>
            </a:bodyPr>
            <a:lstStyle/>
            <a:p>
              <a:pPr>
                <a:lnSpc>
                  <a:spcPct val="130000"/>
                </a:lnSpc>
              </a:pPr>
              <a:r>
                <a:rPr lang="en-US" sz="2400" dirty="0"/>
                <a:t>Lorem ipsum is simply dummy text of the printing and typesetting industry</a:t>
              </a:r>
            </a:p>
          </p:txBody>
        </p:sp>
        <p:sp>
          <p:nvSpPr>
            <p:cNvPr id="3" name="TextBox 2">
              <a:extLst>
                <a:ext uri="{FF2B5EF4-FFF2-40B4-BE49-F238E27FC236}">
                  <a16:creationId xmlns:a16="http://schemas.microsoft.com/office/drawing/2014/main" id="{07D0B6C4-A1D3-4505-A782-F0554D82B552}"/>
                </a:ext>
              </a:extLst>
            </p:cNvPr>
            <p:cNvSpPr txBox="1"/>
            <p:nvPr/>
          </p:nvSpPr>
          <p:spPr>
            <a:xfrm>
              <a:off x="9469226" y="5003853"/>
              <a:ext cx="2077064" cy="261627"/>
            </a:xfrm>
            <a:prstGeom prst="rect">
              <a:avLst/>
            </a:prstGeom>
            <a:noFill/>
          </p:spPr>
          <p:txBody>
            <a:bodyPr wrap="square" rtlCol="0">
              <a:spAutoFit/>
            </a:bodyPr>
            <a:lstStyle/>
            <a:p>
              <a:r>
                <a:rPr lang="en-US" sz="2800" dirty="0"/>
                <a:t>Heading</a:t>
              </a:r>
            </a:p>
          </p:txBody>
        </p:sp>
      </p:grpSp>
      <p:grpSp>
        <p:nvGrpSpPr>
          <p:cNvPr id="12" name="Group 11">
            <a:extLst>
              <a:ext uri="{FF2B5EF4-FFF2-40B4-BE49-F238E27FC236}">
                <a16:creationId xmlns:a16="http://schemas.microsoft.com/office/drawing/2014/main" id="{FF057B2D-0F55-4B94-B120-E07246267998}"/>
              </a:ext>
            </a:extLst>
          </p:cNvPr>
          <p:cNvGrpSpPr/>
          <p:nvPr/>
        </p:nvGrpSpPr>
        <p:grpSpPr>
          <a:xfrm>
            <a:off x="12837636" y="10007501"/>
            <a:ext cx="4153858" cy="2098227"/>
            <a:chOff x="6745691" y="5003853"/>
            <a:chExt cx="2077064" cy="1049182"/>
          </a:xfrm>
        </p:grpSpPr>
        <p:sp>
          <p:nvSpPr>
            <p:cNvPr id="4" name="TextBox 3">
              <a:extLst>
                <a:ext uri="{FF2B5EF4-FFF2-40B4-BE49-F238E27FC236}">
                  <a16:creationId xmlns:a16="http://schemas.microsoft.com/office/drawing/2014/main" id="{A3D184E4-5E71-4536-8C86-F3238AECEFF9}"/>
                </a:ext>
              </a:extLst>
            </p:cNvPr>
            <p:cNvSpPr txBox="1"/>
            <p:nvPr/>
          </p:nvSpPr>
          <p:spPr>
            <a:xfrm>
              <a:off x="6745691" y="5311630"/>
              <a:ext cx="2077064" cy="741405"/>
            </a:xfrm>
            <a:prstGeom prst="rect">
              <a:avLst/>
            </a:prstGeom>
            <a:noFill/>
          </p:spPr>
          <p:txBody>
            <a:bodyPr wrap="square" rtlCol="0">
              <a:spAutoFit/>
            </a:bodyPr>
            <a:lstStyle/>
            <a:p>
              <a:pPr>
                <a:lnSpc>
                  <a:spcPct val="130000"/>
                </a:lnSpc>
              </a:pPr>
              <a:r>
                <a:rPr lang="en-US" sz="2400" dirty="0"/>
                <a:t>Lorem ipsum is simply dummy text of the printing and typesetting industry</a:t>
              </a:r>
            </a:p>
          </p:txBody>
        </p:sp>
        <p:sp>
          <p:nvSpPr>
            <p:cNvPr id="5" name="TextBox 4">
              <a:extLst>
                <a:ext uri="{FF2B5EF4-FFF2-40B4-BE49-F238E27FC236}">
                  <a16:creationId xmlns:a16="http://schemas.microsoft.com/office/drawing/2014/main" id="{558200CE-9A4C-421D-A89D-C927475C6A16}"/>
                </a:ext>
              </a:extLst>
            </p:cNvPr>
            <p:cNvSpPr txBox="1"/>
            <p:nvPr/>
          </p:nvSpPr>
          <p:spPr>
            <a:xfrm>
              <a:off x="6745691" y="5003853"/>
              <a:ext cx="2077064" cy="261627"/>
            </a:xfrm>
            <a:prstGeom prst="rect">
              <a:avLst/>
            </a:prstGeom>
            <a:noFill/>
          </p:spPr>
          <p:txBody>
            <a:bodyPr wrap="square" rtlCol="0">
              <a:spAutoFit/>
            </a:bodyPr>
            <a:lstStyle/>
            <a:p>
              <a:r>
                <a:rPr lang="en-US" sz="2800" dirty="0"/>
                <a:t>Heading</a:t>
              </a:r>
            </a:p>
          </p:txBody>
        </p:sp>
      </p:grpSp>
      <p:grpSp>
        <p:nvGrpSpPr>
          <p:cNvPr id="11" name="Group 10">
            <a:extLst>
              <a:ext uri="{FF2B5EF4-FFF2-40B4-BE49-F238E27FC236}">
                <a16:creationId xmlns:a16="http://schemas.microsoft.com/office/drawing/2014/main" id="{4F5B79C3-6597-4049-84DD-82CA88BB213B}"/>
              </a:ext>
            </a:extLst>
          </p:cNvPr>
          <p:cNvGrpSpPr/>
          <p:nvPr/>
        </p:nvGrpSpPr>
        <p:grpSpPr>
          <a:xfrm>
            <a:off x="7390920" y="10007501"/>
            <a:ext cx="4153858" cy="2098227"/>
            <a:chOff x="4022156" y="5003853"/>
            <a:chExt cx="2077064" cy="1049182"/>
          </a:xfrm>
        </p:grpSpPr>
        <p:sp>
          <p:nvSpPr>
            <p:cNvPr id="6" name="TextBox 5">
              <a:extLst>
                <a:ext uri="{FF2B5EF4-FFF2-40B4-BE49-F238E27FC236}">
                  <a16:creationId xmlns:a16="http://schemas.microsoft.com/office/drawing/2014/main" id="{CFC8F874-B002-4EAF-86A0-B330D96F6B9B}"/>
                </a:ext>
              </a:extLst>
            </p:cNvPr>
            <p:cNvSpPr txBox="1"/>
            <p:nvPr/>
          </p:nvSpPr>
          <p:spPr>
            <a:xfrm>
              <a:off x="4022156" y="5311630"/>
              <a:ext cx="2077064" cy="741405"/>
            </a:xfrm>
            <a:prstGeom prst="rect">
              <a:avLst/>
            </a:prstGeom>
            <a:noFill/>
          </p:spPr>
          <p:txBody>
            <a:bodyPr wrap="square" rtlCol="0">
              <a:spAutoFit/>
            </a:bodyPr>
            <a:lstStyle/>
            <a:p>
              <a:pPr>
                <a:lnSpc>
                  <a:spcPct val="130000"/>
                </a:lnSpc>
              </a:pPr>
              <a:r>
                <a:rPr lang="en-US" sz="2400" dirty="0"/>
                <a:t>Lorem ipsum is simply dummy text of the printing and typesetting industry</a:t>
              </a:r>
            </a:p>
          </p:txBody>
        </p:sp>
        <p:sp>
          <p:nvSpPr>
            <p:cNvPr id="7" name="TextBox 6">
              <a:extLst>
                <a:ext uri="{FF2B5EF4-FFF2-40B4-BE49-F238E27FC236}">
                  <a16:creationId xmlns:a16="http://schemas.microsoft.com/office/drawing/2014/main" id="{24439206-4FC7-4B51-BB5C-CA9899BFD0B4}"/>
                </a:ext>
              </a:extLst>
            </p:cNvPr>
            <p:cNvSpPr txBox="1"/>
            <p:nvPr/>
          </p:nvSpPr>
          <p:spPr>
            <a:xfrm>
              <a:off x="4022156" y="5003853"/>
              <a:ext cx="2077064" cy="261627"/>
            </a:xfrm>
            <a:prstGeom prst="rect">
              <a:avLst/>
            </a:prstGeom>
            <a:noFill/>
          </p:spPr>
          <p:txBody>
            <a:bodyPr wrap="square" rtlCol="0">
              <a:spAutoFit/>
            </a:bodyPr>
            <a:lstStyle/>
            <a:p>
              <a:r>
                <a:rPr lang="en-US" sz="2800" dirty="0"/>
                <a:t>Heading</a:t>
              </a:r>
            </a:p>
          </p:txBody>
        </p:sp>
      </p:grpSp>
      <p:grpSp>
        <p:nvGrpSpPr>
          <p:cNvPr id="10" name="Group 9">
            <a:extLst>
              <a:ext uri="{FF2B5EF4-FFF2-40B4-BE49-F238E27FC236}">
                <a16:creationId xmlns:a16="http://schemas.microsoft.com/office/drawing/2014/main" id="{6023C1EA-28D3-4D8D-A325-D1E79B21BF5A}"/>
              </a:ext>
            </a:extLst>
          </p:cNvPr>
          <p:cNvGrpSpPr/>
          <p:nvPr/>
        </p:nvGrpSpPr>
        <p:grpSpPr>
          <a:xfrm>
            <a:off x="1944205" y="10007506"/>
            <a:ext cx="4153858" cy="2098228"/>
            <a:chOff x="1298621" y="5003853"/>
            <a:chExt cx="2077064" cy="1049182"/>
          </a:xfrm>
        </p:grpSpPr>
        <p:sp>
          <p:nvSpPr>
            <p:cNvPr id="8" name="TextBox 7">
              <a:extLst>
                <a:ext uri="{FF2B5EF4-FFF2-40B4-BE49-F238E27FC236}">
                  <a16:creationId xmlns:a16="http://schemas.microsoft.com/office/drawing/2014/main" id="{D10E15C9-CDE6-46B6-883D-1A0C65F6DBF6}"/>
                </a:ext>
              </a:extLst>
            </p:cNvPr>
            <p:cNvSpPr txBox="1"/>
            <p:nvPr/>
          </p:nvSpPr>
          <p:spPr>
            <a:xfrm>
              <a:off x="1298621" y="5311630"/>
              <a:ext cx="2077064" cy="741405"/>
            </a:xfrm>
            <a:prstGeom prst="rect">
              <a:avLst/>
            </a:prstGeom>
            <a:noFill/>
          </p:spPr>
          <p:txBody>
            <a:bodyPr wrap="square" rtlCol="0">
              <a:spAutoFit/>
            </a:bodyPr>
            <a:lstStyle/>
            <a:p>
              <a:pPr>
                <a:lnSpc>
                  <a:spcPct val="130000"/>
                </a:lnSpc>
              </a:pPr>
              <a:r>
                <a:rPr lang="en-US" sz="2400" dirty="0"/>
                <a:t>Lorem ipsum is simply dummy text of the printing and typesetting industry</a:t>
              </a:r>
            </a:p>
          </p:txBody>
        </p:sp>
        <p:sp>
          <p:nvSpPr>
            <p:cNvPr id="9" name="TextBox 8">
              <a:extLst>
                <a:ext uri="{FF2B5EF4-FFF2-40B4-BE49-F238E27FC236}">
                  <a16:creationId xmlns:a16="http://schemas.microsoft.com/office/drawing/2014/main" id="{2486FCBB-41B0-4688-9006-135C23761CEF}"/>
                </a:ext>
              </a:extLst>
            </p:cNvPr>
            <p:cNvSpPr txBox="1"/>
            <p:nvPr/>
          </p:nvSpPr>
          <p:spPr>
            <a:xfrm>
              <a:off x="1298621" y="5003853"/>
              <a:ext cx="2077064" cy="261627"/>
            </a:xfrm>
            <a:prstGeom prst="rect">
              <a:avLst/>
            </a:prstGeom>
            <a:noFill/>
          </p:spPr>
          <p:txBody>
            <a:bodyPr wrap="square" rtlCol="0">
              <a:spAutoFit/>
            </a:bodyPr>
            <a:lstStyle/>
            <a:p>
              <a:r>
                <a:rPr lang="en-US" sz="2800" dirty="0">
                  <a:latin typeface="+mj-lt"/>
                </a:rPr>
                <a:t>Heading</a:t>
              </a:r>
            </a:p>
          </p:txBody>
        </p:sp>
      </p:grpSp>
      <p:sp>
        <p:nvSpPr>
          <p:cNvPr id="23" name="Rectangle 22">
            <a:extLst>
              <a:ext uri="{FF2B5EF4-FFF2-40B4-BE49-F238E27FC236}">
                <a16:creationId xmlns:a16="http://schemas.microsoft.com/office/drawing/2014/main" id="{F8C6E56A-CCE0-4CB6-A564-9A64161FF02E}"/>
              </a:ext>
            </a:extLst>
          </p:cNvPr>
          <p:cNvSpPr/>
          <p:nvPr/>
        </p:nvSpPr>
        <p:spPr>
          <a:xfrm>
            <a:off x="8042268" y="3628316"/>
            <a:ext cx="8297880" cy="3716350"/>
          </a:xfrm>
          <a:prstGeom prst="rect">
            <a:avLst/>
          </a:prstGeom>
          <a:solidFill>
            <a:schemeClr val="bg1">
              <a:alpha val="92000"/>
            </a:schemeClr>
          </a:solidFill>
          <a:ln>
            <a:noFill/>
          </a:ln>
          <a:effectLst>
            <a:outerShdw blurRad="546100" dist="139700" dir="5400000" sx="95000" sy="95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grpSp>
        <p:nvGrpSpPr>
          <p:cNvPr id="34" name="Group 33">
            <a:extLst>
              <a:ext uri="{FF2B5EF4-FFF2-40B4-BE49-F238E27FC236}">
                <a16:creationId xmlns:a16="http://schemas.microsoft.com/office/drawing/2014/main" id="{246798AC-AC89-46DB-B920-93F593DDA97E}"/>
              </a:ext>
            </a:extLst>
          </p:cNvPr>
          <p:cNvGrpSpPr/>
          <p:nvPr/>
        </p:nvGrpSpPr>
        <p:grpSpPr>
          <a:xfrm>
            <a:off x="9556336" y="4293622"/>
            <a:ext cx="5279576" cy="2647838"/>
            <a:chOff x="4778479" y="2058239"/>
            <a:chExt cx="2639960" cy="1324005"/>
          </a:xfrm>
        </p:grpSpPr>
        <p:sp>
          <p:nvSpPr>
            <p:cNvPr id="27" name="TextBox 26">
              <a:extLst>
                <a:ext uri="{FF2B5EF4-FFF2-40B4-BE49-F238E27FC236}">
                  <a16:creationId xmlns:a16="http://schemas.microsoft.com/office/drawing/2014/main" id="{96CC72B0-3C1A-4A60-9B41-0D8EAC12E3E0}"/>
                </a:ext>
              </a:extLst>
            </p:cNvPr>
            <p:cNvSpPr txBox="1"/>
            <p:nvPr/>
          </p:nvSpPr>
          <p:spPr>
            <a:xfrm>
              <a:off x="5055011" y="2058239"/>
              <a:ext cx="2077064" cy="332966"/>
            </a:xfrm>
            <a:prstGeom prst="rect">
              <a:avLst/>
            </a:prstGeom>
            <a:noFill/>
          </p:spPr>
          <p:txBody>
            <a:bodyPr wrap="square" rtlCol="0">
              <a:spAutoFit/>
            </a:bodyPr>
            <a:lstStyle/>
            <a:p>
              <a:pPr algn="ctr">
                <a:lnSpc>
                  <a:spcPct val="130000"/>
                </a:lnSpc>
              </a:pPr>
              <a:r>
                <a:rPr lang="en-US" sz="3200" dirty="0" err="1">
                  <a:solidFill>
                    <a:schemeClr val="bg1">
                      <a:lumMod val="65000"/>
                    </a:schemeClr>
                  </a:solidFill>
                </a:rPr>
                <a:t>Loremipsum</a:t>
              </a:r>
              <a:endParaRPr lang="en-US" sz="3200" dirty="0">
                <a:solidFill>
                  <a:schemeClr val="bg1">
                    <a:lumMod val="65000"/>
                  </a:schemeClr>
                </a:solidFill>
              </a:endParaRPr>
            </a:p>
          </p:txBody>
        </p:sp>
        <p:sp>
          <p:nvSpPr>
            <p:cNvPr id="28" name="TextBox 27">
              <a:extLst>
                <a:ext uri="{FF2B5EF4-FFF2-40B4-BE49-F238E27FC236}">
                  <a16:creationId xmlns:a16="http://schemas.microsoft.com/office/drawing/2014/main" id="{4EEDF8D3-31B3-450D-B3ED-8FE14143A412}"/>
                </a:ext>
              </a:extLst>
            </p:cNvPr>
            <p:cNvSpPr txBox="1"/>
            <p:nvPr/>
          </p:nvSpPr>
          <p:spPr>
            <a:xfrm>
              <a:off x="4778479" y="2470660"/>
              <a:ext cx="2639960" cy="384745"/>
            </a:xfrm>
            <a:prstGeom prst="rect">
              <a:avLst/>
            </a:prstGeom>
            <a:noFill/>
          </p:spPr>
          <p:txBody>
            <a:bodyPr wrap="square" rtlCol="0">
              <a:spAutoFit/>
            </a:bodyPr>
            <a:lstStyle/>
            <a:p>
              <a:pPr algn="ctr"/>
              <a:r>
                <a:rPr lang="en-US" sz="4400" b="1" spc="1200" dirty="0" err="1">
                  <a:solidFill>
                    <a:schemeClr val="tx1">
                      <a:lumMod val="65000"/>
                      <a:lumOff val="35000"/>
                    </a:schemeClr>
                  </a:solidFill>
                  <a:latin typeface="+mj-lt"/>
                </a:rPr>
                <a:t>Loremipsum</a:t>
              </a:r>
              <a:endParaRPr lang="en-US" sz="4400" b="1" spc="1200" dirty="0">
                <a:solidFill>
                  <a:schemeClr val="tx1">
                    <a:lumMod val="65000"/>
                    <a:lumOff val="35000"/>
                  </a:schemeClr>
                </a:solidFill>
                <a:latin typeface="+mj-lt"/>
              </a:endParaRPr>
            </a:p>
          </p:txBody>
        </p:sp>
        <p:sp>
          <p:nvSpPr>
            <p:cNvPr id="29" name="TextBox 28">
              <a:extLst>
                <a:ext uri="{FF2B5EF4-FFF2-40B4-BE49-F238E27FC236}">
                  <a16:creationId xmlns:a16="http://schemas.microsoft.com/office/drawing/2014/main" id="{081AE08B-1D7F-45A9-99C1-17EE0D113583}"/>
                </a:ext>
              </a:extLst>
            </p:cNvPr>
            <p:cNvSpPr txBox="1"/>
            <p:nvPr/>
          </p:nvSpPr>
          <p:spPr>
            <a:xfrm>
              <a:off x="5055011" y="3049278"/>
              <a:ext cx="2077064" cy="332966"/>
            </a:xfrm>
            <a:prstGeom prst="rect">
              <a:avLst/>
            </a:prstGeom>
            <a:noFill/>
          </p:spPr>
          <p:txBody>
            <a:bodyPr wrap="square" rtlCol="0">
              <a:spAutoFit/>
            </a:bodyPr>
            <a:lstStyle/>
            <a:p>
              <a:pPr algn="ctr">
                <a:lnSpc>
                  <a:spcPct val="130000"/>
                </a:lnSpc>
              </a:pPr>
              <a:r>
                <a:rPr lang="en-US" sz="3200" dirty="0" err="1">
                  <a:solidFill>
                    <a:schemeClr val="bg1">
                      <a:lumMod val="65000"/>
                    </a:schemeClr>
                  </a:solidFill>
                </a:rPr>
                <a:t>Loremipsum</a:t>
              </a:r>
              <a:endParaRPr lang="en-US" sz="3200" dirty="0">
                <a:solidFill>
                  <a:schemeClr val="bg1">
                    <a:lumMod val="65000"/>
                  </a:schemeClr>
                </a:solidFill>
              </a:endParaRPr>
            </a:p>
          </p:txBody>
        </p:sp>
      </p:grpSp>
      <p:sp>
        <p:nvSpPr>
          <p:cNvPr id="32" name="Oval 31">
            <a:extLst>
              <a:ext uri="{FF2B5EF4-FFF2-40B4-BE49-F238E27FC236}">
                <a16:creationId xmlns:a16="http://schemas.microsoft.com/office/drawing/2014/main" id="{443F7E7E-4C17-48A7-8461-CAB18F17FB60}"/>
              </a:ext>
            </a:extLst>
          </p:cNvPr>
          <p:cNvSpPr/>
          <p:nvPr/>
        </p:nvSpPr>
        <p:spPr>
          <a:xfrm>
            <a:off x="11676264" y="3113371"/>
            <a:ext cx="1029891" cy="1029891"/>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grpSp>
        <p:nvGrpSpPr>
          <p:cNvPr id="35" name="Group 34">
            <a:extLst>
              <a:ext uri="{FF2B5EF4-FFF2-40B4-BE49-F238E27FC236}">
                <a16:creationId xmlns:a16="http://schemas.microsoft.com/office/drawing/2014/main" id="{1E3CD3AE-663B-4E3C-9C88-B1842E765FF9}"/>
              </a:ext>
            </a:extLst>
          </p:cNvPr>
          <p:cNvGrpSpPr/>
          <p:nvPr/>
        </p:nvGrpSpPr>
        <p:grpSpPr>
          <a:xfrm>
            <a:off x="11980682" y="3444061"/>
            <a:ext cx="421053" cy="368510"/>
            <a:chOff x="2569485" y="4937447"/>
            <a:chExt cx="464344" cy="406400"/>
          </a:xfrm>
          <a:solidFill>
            <a:schemeClr val="accent2"/>
          </a:solidFill>
        </p:grpSpPr>
        <p:sp>
          <p:nvSpPr>
            <p:cNvPr id="36" name="AutoShape 103">
              <a:extLst>
                <a:ext uri="{FF2B5EF4-FFF2-40B4-BE49-F238E27FC236}">
                  <a16:creationId xmlns:a16="http://schemas.microsoft.com/office/drawing/2014/main" id="{0355C419-402D-434C-BFF0-7F73B85B3411}"/>
                </a:ext>
              </a:extLst>
            </p:cNvPr>
            <p:cNvSpPr>
              <a:spLocks/>
            </p:cNvSpPr>
            <p:nvPr/>
          </p:nvSpPr>
          <p:spPr bwMode="auto">
            <a:xfrm>
              <a:off x="2642510" y="5009678"/>
              <a:ext cx="166688" cy="1095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660" y="0"/>
                  </a:moveTo>
                  <a:cubicBezTo>
                    <a:pt x="9461" y="0"/>
                    <a:pt x="0" y="9233"/>
                    <a:pt x="0" y="20160"/>
                  </a:cubicBezTo>
                  <a:cubicBezTo>
                    <a:pt x="0" y="20954"/>
                    <a:pt x="420" y="21600"/>
                    <a:pt x="939" y="21600"/>
                  </a:cubicBezTo>
                  <a:cubicBezTo>
                    <a:pt x="1457" y="21600"/>
                    <a:pt x="1878" y="20954"/>
                    <a:pt x="1878" y="20160"/>
                  </a:cubicBezTo>
                  <a:cubicBezTo>
                    <a:pt x="1878" y="10956"/>
                    <a:pt x="10655" y="2880"/>
                    <a:pt x="20660" y="2880"/>
                  </a:cubicBezTo>
                  <a:cubicBezTo>
                    <a:pt x="21179" y="2880"/>
                    <a:pt x="21600" y="2234"/>
                    <a:pt x="21600" y="1440"/>
                  </a:cubicBezTo>
                  <a:cubicBezTo>
                    <a:pt x="21600" y="645"/>
                    <a:pt x="21179" y="0"/>
                    <a:pt x="20660" y="0"/>
                  </a:cubicBezTo>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38098" tIns="38098" rIns="38098" bIns="38098" anchor="ctr"/>
            <a:lstStyle/>
            <a:p>
              <a:pPr algn="ctr" defTabSz="457177" fontAlgn="base" hangingPunct="0">
                <a:spcBef>
                  <a:spcPct val="0"/>
                </a:spcBef>
                <a:spcAft>
                  <a:spcPct val="0"/>
                </a:spcAft>
              </a:pPr>
              <a:endParaRPr lang="en-US" sz="3000" dirty="0">
                <a:solidFill>
                  <a:srgbClr val="FFFFFF"/>
                </a:solidFill>
                <a:effectLst>
                  <a:outerShdw blurRad="38100" dist="38100" dir="2700000" algn="tl">
                    <a:srgbClr val="000000"/>
                  </a:outerShdw>
                </a:effectLst>
                <a:latin typeface="Gill Sans" charset="0"/>
                <a:sym typeface="Gill Sans" charset="0"/>
              </a:endParaRPr>
            </a:p>
          </p:txBody>
        </p:sp>
        <p:sp>
          <p:nvSpPr>
            <p:cNvPr id="37" name="AutoShape 104">
              <a:extLst>
                <a:ext uri="{FF2B5EF4-FFF2-40B4-BE49-F238E27FC236}">
                  <a16:creationId xmlns:a16="http://schemas.microsoft.com/office/drawing/2014/main" id="{9D458B96-2739-4A11-8B48-32E76C2554C1}"/>
                </a:ext>
              </a:extLst>
            </p:cNvPr>
            <p:cNvSpPr>
              <a:spLocks/>
            </p:cNvSpPr>
            <p:nvPr/>
          </p:nvSpPr>
          <p:spPr bwMode="auto">
            <a:xfrm>
              <a:off x="2569485" y="4937447"/>
              <a:ext cx="464344" cy="406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6971"/>
                  </a:moveTo>
                  <a:cubicBezTo>
                    <a:pt x="10181" y="16971"/>
                    <a:pt x="9546" y="16918"/>
                    <a:pt x="8912" y="16811"/>
                  </a:cubicBezTo>
                  <a:cubicBezTo>
                    <a:pt x="8847" y="16800"/>
                    <a:pt x="8781" y="16794"/>
                    <a:pt x="8716" y="16794"/>
                  </a:cubicBezTo>
                  <a:cubicBezTo>
                    <a:pt x="8315" y="16794"/>
                    <a:pt x="7931" y="16999"/>
                    <a:pt x="7673" y="17359"/>
                  </a:cubicBezTo>
                  <a:cubicBezTo>
                    <a:pt x="7384" y="17761"/>
                    <a:pt x="6563" y="18657"/>
                    <a:pt x="5591" y="19318"/>
                  </a:cubicBezTo>
                  <a:cubicBezTo>
                    <a:pt x="5854" y="18628"/>
                    <a:pt x="6060" y="17853"/>
                    <a:pt x="6074" y="17056"/>
                  </a:cubicBezTo>
                  <a:cubicBezTo>
                    <a:pt x="6078" y="17006"/>
                    <a:pt x="6080" y="16956"/>
                    <a:pt x="6080" y="16914"/>
                  </a:cubicBezTo>
                  <a:cubicBezTo>
                    <a:pt x="6080" y="16334"/>
                    <a:pt x="5796" y="15803"/>
                    <a:pt x="5344" y="15540"/>
                  </a:cubicBezTo>
                  <a:cubicBezTo>
                    <a:pt x="2843" y="14080"/>
                    <a:pt x="1349" y="11731"/>
                    <a:pt x="1349" y="9257"/>
                  </a:cubicBezTo>
                  <a:cubicBezTo>
                    <a:pt x="1349" y="5003"/>
                    <a:pt x="5588" y="1542"/>
                    <a:pt x="10800" y="1542"/>
                  </a:cubicBezTo>
                  <a:cubicBezTo>
                    <a:pt x="16011" y="1542"/>
                    <a:pt x="20249" y="5003"/>
                    <a:pt x="20249" y="9257"/>
                  </a:cubicBezTo>
                  <a:cubicBezTo>
                    <a:pt x="20249" y="13510"/>
                    <a:pt x="16011" y="16971"/>
                    <a:pt x="10800" y="16971"/>
                  </a:cubicBezTo>
                  <a:moveTo>
                    <a:pt x="10800" y="0"/>
                  </a:moveTo>
                  <a:cubicBezTo>
                    <a:pt x="4835" y="0"/>
                    <a:pt x="0" y="4144"/>
                    <a:pt x="0" y="9257"/>
                  </a:cubicBezTo>
                  <a:cubicBezTo>
                    <a:pt x="0" y="12440"/>
                    <a:pt x="1875" y="15248"/>
                    <a:pt x="4730" y="16914"/>
                  </a:cubicBezTo>
                  <a:cubicBezTo>
                    <a:pt x="4730" y="16935"/>
                    <a:pt x="4724" y="16949"/>
                    <a:pt x="4724" y="16971"/>
                  </a:cubicBezTo>
                  <a:cubicBezTo>
                    <a:pt x="4724" y="18354"/>
                    <a:pt x="3821" y="19843"/>
                    <a:pt x="3423" y="20625"/>
                  </a:cubicBezTo>
                  <a:lnTo>
                    <a:pt x="3425" y="20625"/>
                  </a:lnTo>
                  <a:cubicBezTo>
                    <a:pt x="3393" y="20709"/>
                    <a:pt x="3374" y="20802"/>
                    <a:pt x="3374" y="20900"/>
                  </a:cubicBezTo>
                  <a:cubicBezTo>
                    <a:pt x="3374" y="21287"/>
                    <a:pt x="3648" y="21600"/>
                    <a:pt x="3986" y="21600"/>
                  </a:cubicBezTo>
                  <a:cubicBezTo>
                    <a:pt x="4049" y="21600"/>
                    <a:pt x="4161" y="21580"/>
                    <a:pt x="4158" y="21590"/>
                  </a:cubicBezTo>
                  <a:cubicBezTo>
                    <a:pt x="6268" y="21195"/>
                    <a:pt x="8255" y="18979"/>
                    <a:pt x="8716" y="18338"/>
                  </a:cubicBezTo>
                  <a:cubicBezTo>
                    <a:pt x="9391" y="18451"/>
                    <a:pt x="10086" y="18514"/>
                    <a:pt x="10800" y="18514"/>
                  </a:cubicBezTo>
                  <a:cubicBezTo>
                    <a:pt x="16764" y="18514"/>
                    <a:pt x="21600" y="14369"/>
                    <a:pt x="21600" y="9257"/>
                  </a:cubicBezTo>
                  <a:cubicBezTo>
                    <a:pt x="21600" y="4144"/>
                    <a:pt x="16764" y="0"/>
                    <a:pt x="10800" y="0"/>
                  </a:cubicBezTo>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38098" tIns="38098" rIns="38098" bIns="38098" anchor="ctr"/>
            <a:lstStyle/>
            <a:p>
              <a:pPr algn="ctr" defTabSz="457177" fontAlgn="base" hangingPunct="0">
                <a:spcBef>
                  <a:spcPct val="0"/>
                </a:spcBef>
                <a:spcAft>
                  <a:spcPct val="0"/>
                </a:spcAft>
              </a:pPr>
              <a:endParaRPr lang="en-US" sz="3000" dirty="0">
                <a:solidFill>
                  <a:srgbClr val="FFFFFF"/>
                </a:solidFill>
                <a:effectLst>
                  <a:outerShdw blurRad="38100" dist="38100" dir="2700000" algn="tl">
                    <a:srgbClr val="000000"/>
                  </a:outerShdw>
                </a:effectLst>
                <a:latin typeface="Gill Sans" charset="0"/>
                <a:sym typeface="Gill Sans" charset="0"/>
              </a:endParaRPr>
            </a:p>
          </p:txBody>
        </p:sp>
      </p:grpSp>
    </p:spTree>
    <p:extLst>
      <p:ext uri="{BB962C8B-B14F-4D97-AF65-F5344CB8AC3E}">
        <p14:creationId xmlns:p14="http://schemas.microsoft.com/office/powerpoint/2010/main" val="28361075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picture containing indoor, black, sitting, front&#10;&#10;Description automatically generated">
            <a:extLst>
              <a:ext uri="{FF2B5EF4-FFF2-40B4-BE49-F238E27FC236}">
                <a16:creationId xmlns:a16="http://schemas.microsoft.com/office/drawing/2014/main" id="{2F15F4A7-7C8D-FD41-8F7D-3F278F945CB6}"/>
              </a:ext>
            </a:extLst>
          </p:cNvPr>
          <p:cNvPicPr>
            <a:picLocks noGrp="1" noChangeAspect="1"/>
          </p:cNvPicPr>
          <p:nvPr>
            <p:ph type="pic" idx="13"/>
          </p:nvPr>
        </p:nvPicPr>
        <p:blipFill>
          <a:blip r:embed="rId2" cstate="email">
            <a:extLst>
              <a:ext uri="{28A0092B-C50C-407E-A947-70E740481C1C}">
                <a14:useLocalDpi xmlns:a14="http://schemas.microsoft.com/office/drawing/2010/main"/>
              </a:ext>
            </a:extLst>
          </a:blip>
          <a:srcRect/>
          <a:stretch>
            <a:fillRect/>
          </a:stretch>
        </p:blipFill>
        <p:spPr/>
      </p:pic>
      <p:sp>
        <p:nvSpPr>
          <p:cNvPr id="278" name="Freeform 9"/>
          <p:cNvSpPr/>
          <p:nvPr/>
        </p:nvSpPr>
        <p:spPr>
          <a:xfrm>
            <a:off x="15804653" y="7542224"/>
            <a:ext cx="7244986" cy="4954042"/>
          </a:xfrm>
          <a:custGeom>
            <a:avLst/>
            <a:gdLst/>
            <a:ahLst/>
            <a:cxnLst>
              <a:cxn ang="0">
                <a:pos x="wd2" y="hd2"/>
              </a:cxn>
              <a:cxn ang="5400000">
                <a:pos x="wd2" y="hd2"/>
              </a:cxn>
              <a:cxn ang="10800000">
                <a:pos x="wd2" y="hd2"/>
              </a:cxn>
              <a:cxn ang="16200000">
                <a:pos x="wd2" y="hd2"/>
              </a:cxn>
            </a:cxnLst>
            <a:rect l="0" t="0" r="r" b="b"/>
            <a:pathLst>
              <a:path w="20529" h="19521" extrusionOk="0">
                <a:moveTo>
                  <a:pt x="20529" y="19521"/>
                </a:moveTo>
                <a:cubicBezTo>
                  <a:pt x="163" y="19521"/>
                  <a:pt x="163" y="19521"/>
                  <a:pt x="163" y="19521"/>
                </a:cubicBezTo>
                <a:cubicBezTo>
                  <a:pt x="163" y="19521"/>
                  <a:pt x="-1071" y="8311"/>
                  <a:pt x="3249" y="3389"/>
                </a:cubicBezTo>
                <a:cubicBezTo>
                  <a:pt x="6643" y="-438"/>
                  <a:pt x="15798" y="-2079"/>
                  <a:pt x="20529" y="4210"/>
                </a:cubicBezTo>
                <a:lnTo>
                  <a:pt x="20529" y="19521"/>
                </a:lnTo>
                <a:close/>
              </a:path>
            </a:pathLst>
          </a:custGeom>
          <a:solidFill>
            <a:schemeClr val="accent4">
              <a:alpha val="75000"/>
            </a:schemeClr>
          </a:solidFill>
          <a:ln w="12700">
            <a:miter lim="400000"/>
          </a:ln>
        </p:spPr>
        <p:txBody>
          <a:bodyPr lIns="91432" rIns="91432"/>
          <a:lstStyle/>
          <a:p>
            <a:endParaRPr sz="3600"/>
          </a:p>
        </p:txBody>
      </p:sp>
      <p:sp>
        <p:nvSpPr>
          <p:cNvPr id="280" name="Rectangle 7"/>
          <p:cNvSpPr/>
          <p:nvPr/>
        </p:nvSpPr>
        <p:spPr>
          <a:xfrm>
            <a:off x="6395901" y="3913285"/>
            <a:ext cx="11590609" cy="5889429"/>
          </a:xfrm>
          <a:prstGeom prst="rect">
            <a:avLst/>
          </a:prstGeom>
          <a:solidFill>
            <a:srgbClr val="FFFFFF">
              <a:alpha val="89000"/>
            </a:srgbClr>
          </a:solidFill>
          <a:ln w="12700">
            <a:miter lim="400000"/>
          </a:ln>
        </p:spPr>
        <p:txBody>
          <a:bodyPr lIns="91432" rIns="91432" anchor="ctr"/>
          <a:lstStyle/>
          <a:p>
            <a:pPr algn="ctr">
              <a:defRPr>
                <a:solidFill>
                  <a:srgbClr val="FFFFFF"/>
                </a:solidFill>
              </a:defRPr>
            </a:pPr>
            <a:endParaRPr sz="3600"/>
          </a:p>
        </p:txBody>
      </p:sp>
      <p:sp>
        <p:nvSpPr>
          <p:cNvPr id="281" name="Rectangle 9"/>
          <p:cNvSpPr txBox="1"/>
          <p:nvPr/>
        </p:nvSpPr>
        <p:spPr>
          <a:xfrm>
            <a:off x="9723077" y="5756174"/>
            <a:ext cx="4936261" cy="573362"/>
          </a:xfrm>
          <a:prstGeom prst="rect">
            <a:avLst/>
          </a:prstGeom>
          <a:ln w="12700">
            <a:miter lim="400000"/>
          </a:ln>
          <a:extLst>
            <a:ext uri="{C572A759-6A51-4108-AA02-DFA0A04FC94B}">
              <ma14:wrappingTextBoxFlag xmlns:ma14="http://schemas.microsoft.com/office/mac/drawingml/2011/main" xmlns="" val="1"/>
            </a:ext>
          </a:extLst>
        </p:spPr>
        <p:txBody>
          <a:bodyPr lIns="91432" rIns="91432">
            <a:spAutoFit/>
          </a:bodyPr>
          <a:lstStyle>
            <a:lvl1pPr algn="ctr">
              <a:lnSpc>
                <a:spcPct val="150000"/>
              </a:lnSpc>
              <a:defRPr sz="1200" spc="300">
                <a:solidFill>
                  <a:srgbClr val="808080"/>
                </a:solidFill>
                <a:latin typeface="Lato Regular"/>
                <a:ea typeface="Lato Regular"/>
                <a:cs typeface="Lato Regular"/>
                <a:sym typeface="Lato Regular"/>
              </a:defRPr>
            </a:lvl1pPr>
          </a:lstStyle>
          <a:p>
            <a:pPr algn="l"/>
            <a:r>
              <a:rPr sz="2400" dirty="0">
                <a:solidFill>
                  <a:schemeClr val="tx1"/>
                </a:solidFill>
                <a:latin typeface="+mn-lt"/>
              </a:rPr>
              <a:t>YOUR SUBTITLE HERE</a:t>
            </a:r>
          </a:p>
        </p:txBody>
      </p:sp>
      <p:sp>
        <p:nvSpPr>
          <p:cNvPr id="282" name="TextBox 10"/>
          <p:cNvSpPr txBox="1"/>
          <p:nvPr/>
        </p:nvSpPr>
        <p:spPr>
          <a:xfrm>
            <a:off x="10811852" y="4632696"/>
            <a:ext cx="2086838" cy="1200329"/>
          </a:xfrm>
          <a:prstGeom prst="rect">
            <a:avLst/>
          </a:prstGeom>
          <a:ln w="12700">
            <a:miter lim="400000"/>
          </a:ln>
          <a:extLst>
            <a:ext uri="{C572A759-6A51-4108-AA02-DFA0A04FC94B}">
              <ma14:wrappingTextBoxFlag xmlns:ma14="http://schemas.microsoft.com/office/mac/drawingml/2011/main" xmlns="" val="1"/>
            </a:ext>
          </a:extLst>
        </p:spPr>
        <p:txBody>
          <a:bodyPr wrap="none" lIns="91432" rIns="91432">
            <a:spAutoFit/>
          </a:bodyPr>
          <a:lstStyle>
            <a:lvl1pPr>
              <a:defRPr sz="3600" spc="300">
                <a:solidFill>
                  <a:srgbClr val="262626"/>
                </a:solidFill>
                <a:latin typeface="Playfair Display"/>
                <a:ea typeface="Playfair Display"/>
                <a:cs typeface="Playfair Display"/>
                <a:sym typeface="Playfair Display"/>
              </a:defRPr>
            </a:lvl1pPr>
          </a:lstStyle>
          <a:p>
            <a:pPr algn="ctr"/>
            <a:r>
              <a:rPr lang="en-US" sz="7200" dirty="0">
                <a:latin typeface="+mn-lt"/>
              </a:rPr>
              <a:t>Title</a:t>
            </a:r>
            <a:endParaRPr sz="7200" dirty="0">
              <a:latin typeface="+mn-lt"/>
            </a:endParaRPr>
          </a:p>
        </p:txBody>
      </p:sp>
      <p:sp>
        <p:nvSpPr>
          <p:cNvPr id="283" name="Rectangle 11"/>
          <p:cNvSpPr txBox="1"/>
          <p:nvPr/>
        </p:nvSpPr>
        <p:spPr>
          <a:xfrm>
            <a:off x="7132320" y="6646995"/>
            <a:ext cx="9806939" cy="2339871"/>
          </a:xfrm>
          <a:prstGeom prst="rect">
            <a:avLst/>
          </a:prstGeom>
          <a:ln w="12700">
            <a:miter lim="400000"/>
          </a:ln>
          <a:extLst>
            <a:ext uri="{C572A759-6A51-4108-AA02-DFA0A04FC94B}">
              <ma14:wrappingTextBoxFlag xmlns:ma14="http://schemas.microsoft.com/office/mac/drawingml/2011/main" xmlns="" val="1"/>
            </a:ext>
          </a:extLst>
        </p:spPr>
        <p:txBody>
          <a:bodyPr wrap="square" lIns="91432" rIns="91432">
            <a:spAutoFit/>
          </a:bodyPr>
          <a:lstStyle>
            <a:lvl1pPr algn="ctr">
              <a:lnSpc>
                <a:spcPct val="150000"/>
              </a:lnSpc>
              <a:defRPr sz="900">
                <a:solidFill>
                  <a:srgbClr val="808080"/>
                </a:solidFill>
                <a:latin typeface="Lato Regular"/>
                <a:ea typeface="Lato Regular"/>
                <a:cs typeface="Lato Regular"/>
                <a:sym typeface="Lato Regular"/>
              </a:defRPr>
            </a:lvl1pPr>
          </a:lstStyle>
          <a:p>
            <a:r>
              <a:rPr sz="2000" dirty="0">
                <a:solidFill>
                  <a:schemeClr val="tx1"/>
                </a:solidFill>
                <a:latin typeface="+mn-lt"/>
              </a:rPr>
              <a:t>Lorem ipsum dolor sit </a:t>
            </a:r>
            <a:r>
              <a:rPr sz="2000" dirty="0" err="1">
                <a:solidFill>
                  <a:schemeClr val="tx1"/>
                </a:solidFill>
                <a:latin typeface="+mn-lt"/>
              </a:rPr>
              <a:t>amet</a:t>
            </a:r>
            <a:r>
              <a:rPr sz="2000" dirty="0">
                <a:solidFill>
                  <a:schemeClr val="tx1"/>
                </a:solidFill>
                <a:latin typeface="+mn-lt"/>
              </a:rPr>
              <a:t>, </a:t>
            </a:r>
            <a:r>
              <a:rPr sz="2000" dirty="0" err="1">
                <a:solidFill>
                  <a:schemeClr val="tx1"/>
                </a:solidFill>
                <a:latin typeface="+mn-lt"/>
              </a:rPr>
              <a:t>lacus</a:t>
            </a:r>
            <a:r>
              <a:rPr sz="2000" dirty="0">
                <a:solidFill>
                  <a:schemeClr val="tx1"/>
                </a:solidFill>
                <a:latin typeface="+mn-lt"/>
              </a:rPr>
              <a:t> </a:t>
            </a:r>
            <a:r>
              <a:rPr sz="2000" dirty="0" err="1">
                <a:solidFill>
                  <a:schemeClr val="tx1"/>
                </a:solidFill>
                <a:latin typeface="+mn-lt"/>
              </a:rPr>
              <a:t>nulla</a:t>
            </a:r>
            <a:r>
              <a:rPr sz="2000" dirty="0">
                <a:solidFill>
                  <a:schemeClr val="tx1"/>
                </a:solidFill>
                <a:latin typeface="+mn-lt"/>
              </a:rPr>
              <a:t> ac </a:t>
            </a:r>
            <a:r>
              <a:rPr sz="2000" dirty="0" err="1">
                <a:solidFill>
                  <a:schemeClr val="tx1"/>
                </a:solidFill>
                <a:latin typeface="+mn-lt"/>
              </a:rPr>
              <a:t>netus</a:t>
            </a:r>
            <a:r>
              <a:rPr sz="2000" dirty="0">
                <a:solidFill>
                  <a:schemeClr val="tx1"/>
                </a:solidFill>
                <a:latin typeface="+mn-lt"/>
              </a:rPr>
              <a:t> </a:t>
            </a:r>
            <a:r>
              <a:rPr sz="2000" dirty="0" err="1">
                <a:solidFill>
                  <a:schemeClr val="tx1"/>
                </a:solidFill>
                <a:latin typeface="+mn-lt"/>
              </a:rPr>
              <a:t>nibh</a:t>
            </a:r>
            <a:r>
              <a:rPr sz="2000" dirty="0">
                <a:solidFill>
                  <a:schemeClr val="tx1"/>
                </a:solidFill>
                <a:latin typeface="+mn-lt"/>
              </a:rPr>
              <a:t> </a:t>
            </a:r>
            <a:r>
              <a:rPr sz="2000" dirty="0" err="1">
                <a:solidFill>
                  <a:schemeClr val="tx1"/>
                </a:solidFill>
                <a:latin typeface="+mn-lt"/>
              </a:rPr>
              <a:t>aliquet</a:t>
            </a:r>
            <a:r>
              <a:rPr sz="2000" dirty="0">
                <a:solidFill>
                  <a:schemeClr val="tx1"/>
                </a:solidFill>
                <a:latin typeface="+mn-lt"/>
              </a:rPr>
              <a:t>, </a:t>
            </a:r>
            <a:r>
              <a:rPr sz="2000" dirty="0" err="1">
                <a:solidFill>
                  <a:schemeClr val="tx1"/>
                </a:solidFill>
                <a:latin typeface="+mn-lt"/>
              </a:rPr>
              <a:t>porttitor</a:t>
            </a:r>
            <a:r>
              <a:rPr sz="2000" dirty="0">
                <a:solidFill>
                  <a:schemeClr val="tx1"/>
                </a:solidFill>
                <a:latin typeface="+mn-lt"/>
              </a:rPr>
              <a:t> ligula </a:t>
            </a:r>
            <a:r>
              <a:rPr sz="2000" dirty="0" err="1">
                <a:solidFill>
                  <a:schemeClr val="tx1"/>
                </a:solidFill>
                <a:latin typeface="+mn-lt"/>
              </a:rPr>
              <a:t>justo</a:t>
            </a:r>
            <a:r>
              <a:rPr sz="2000" dirty="0">
                <a:solidFill>
                  <a:schemeClr val="tx1"/>
                </a:solidFill>
                <a:latin typeface="+mn-lt"/>
              </a:rPr>
              <a:t> libero </a:t>
            </a:r>
            <a:r>
              <a:rPr sz="2000" dirty="0" err="1">
                <a:solidFill>
                  <a:schemeClr val="tx1"/>
                </a:solidFill>
                <a:latin typeface="+mn-lt"/>
              </a:rPr>
              <a:t>vivamus</a:t>
            </a:r>
            <a:r>
              <a:rPr sz="2000" dirty="0">
                <a:solidFill>
                  <a:schemeClr val="tx1"/>
                </a:solidFill>
                <a:latin typeface="+mn-lt"/>
              </a:rPr>
              <a:t> </a:t>
            </a:r>
            <a:r>
              <a:rPr sz="2000" dirty="0" err="1">
                <a:solidFill>
                  <a:schemeClr val="tx1"/>
                </a:solidFill>
                <a:latin typeface="+mn-lt"/>
              </a:rPr>
              <a:t>porttitor</a:t>
            </a:r>
            <a:r>
              <a:rPr sz="2000" dirty="0">
                <a:solidFill>
                  <a:schemeClr val="tx1"/>
                </a:solidFill>
                <a:latin typeface="+mn-lt"/>
              </a:rPr>
              <a:t> dolor, </a:t>
            </a:r>
            <a:r>
              <a:rPr sz="2000" dirty="0" err="1">
                <a:solidFill>
                  <a:schemeClr val="tx1"/>
                </a:solidFill>
                <a:latin typeface="+mn-lt"/>
              </a:rPr>
              <a:t>conubia</a:t>
            </a:r>
            <a:r>
              <a:rPr sz="2000" dirty="0">
                <a:solidFill>
                  <a:schemeClr val="tx1"/>
                </a:solidFill>
                <a:latin typeface="+mn-lt"/>
              </a:rPr>
              <a:t> </a:t>
            </a:r>
            <a:r>
              <a:rPr sz="2000" dirty="0" err="1">
                <a:solidFill>
                  <a:schemeClr val="tx1"/>
                </a:solidFill>
                <a:latin typeface="+mn-lt"/>
              </a:rPr>
              <a:t>mollit</a:t>
            </a:r>
            <a:r>
              <a:rPr sz="2000" dirty="0">
                <a:solidFill>
                  <a:schemeClr val="tx1"/>
                </a:solidFill>
                <a:latin typeface="+mn-lt"/>
              </a:rPr>
              <a:t>. </a:t>
            </a:r>
            <a:r>
              <a:rPr sz="2000" dirty="0" err="1">
                <a:solidFill>
                  <a:schemeClr val="tx1"/>
                </a:solidFill>
                <a:latin typeface="+mn-lt"/>
              </a:rPr>
              <a:t>Sapien</a:t>
            </a:r>
            <a:r>
              <a:rPr sz="2000" dirty="0">
                <a:solidFill>
                  <a:schemeClr val="tx1"/>
                </a:solidFill>
                <a:latin typeface="+mn-lt"/>
              </a:rPr>
              <a:t> </a:t>
            </a:r>
            <a:r>
              <a:rPr sz="2000" dirty="0" err="1">
                <a:solidFill>
                  <a:schemeClr val="tx1"/>
                </a:solidFill>
                <a:latin typeface="+mn-lt"/>
              </a:rPr>
              <a:t>nam</a:t>
            </a:r>
            <a:r>
              <a:rPr sz="2000" dirty="0">
                <a:solidFill>
                  <a:schemeClr val="tx1"/>
                </a:solidFill>
                <a:latin typeface="+mn-lt"/>
              </a:rPr>
              <a:t> </a:t>
            </a:r>
            <a:r>
              <a:rPr sz="2000" dirty="0" err="1">
                <a:solidFill>
                  <a:schemeClr val="tx1"/>
                </a:solidFill>
                <a:latin typeface="+mn-lt"/>
              </a:rPr>
              <a:t>suspendisse</a:t>
            </a:r>
            <a:r>
              <a:rPr sz="2000" dirty="0">
                <a:solidFill>
                  <a:schemeClr val="tx1"/>
                </a:solidFill>
                <a:latin typeface="+mn-lt"/>
              </a:rPr>
              <a:t>, </a:t>
            </a:r>
            <a:r>
              <a:rPr sz="2000" dirty="0" err="1">
                <a:solidFill>
                  <a:schemeClr val="tx1"/>
                </a:solidFill>
                <a:latin typeface="+mn-lt"/>
              </a:rPr>
              <a:t>tincidunt</a:t>
            </a:r>
            <a:r>
              <a:rPr sz="2000" dirty="0">
                <a:solidFill>
                  <a:schemeClr val="tx1"/>
                </a:solidFill>
                <a:latin typeface="+mn-lt"/>
              </a:rPr>
              <a:t> </a:t>
            </a:r>
            <a:r>
              <a:rPr sz="2000" dirty="0" err="1">
                <a:solidFill>
                  <a:schemeClr val="tx1"/>
                </a:solidFill>
                <a:latin typeface="+mn-lt"/>
              </a:rPr>
              <a:t>eget</a:t>
            </a:r>
            <a:r>
              <a:rPr sz="2000" dirty="0">
                <a:solidFill>
                  <a:schemeClr val="tx1"/>
                </a:solidFill>
                <a:latin typeface="+mn-lt"/>
              </a:rPr>
              <a:t> ante </a:t>
            </a:r>
            <a:r>
              <a:rPr sz="2000" dirty="0" err="1">
                <a:solidFill>
                  <a:schemeClr val="tx1"/>
                </a:solidFill>
                <a:latin typeface="+mn-lt"/>
              </a:rPr>
              <a:t>tincidunt</a:t>
            </a:r>
            <a:r>
              <a:rPr sz="2000" dirty="0">
                <a:solidFill>
                  <a:schemeClr val="tx1"/>
                </a:solidFill>
                <a:latin typeface="+mn-lt"/>
              </a:rPr>
              <a:t>, </a:t>
            </a:r>
            <a:r>
              <a:rPr sz="2000" dirty="0" err="1">
                <a:solidFill>
                  <a:schemeClr val="tx1"/>
                </a:solidFill>
                <a:latin typeface="+mn-lt"/>
              </a:rPr>
              <a:t>eros</a:t>
            </a:r>
            <a:r>
              <a:rPr sz="2000" dirty="0">
                <a:solidFill>
                  <a:schemeClr val="tx1"/>
                </a:solidFill>
                <a:latin typeface="+mn-lt"/>
              </a:rPr>
              <a:t> in </a:t>
            </a:r>
            <a:r>
              <a:rPr sz="2000" dirty="0" err="1">
                <a:solidFill>
                  <a:schemeClr val="tx1"/>
                </a:solidFill>
                <a:latin typeface="+mn-lt"/>
              </a:rPr>
              <a:t>auctor</a:t>
            </a:r>
            <a:r>
              <a:rPr sz="2000" dirty="0">
                <a:solidFill>
                  <a:schemeClr val="tx1"/>
                </a:solidFill>
                <a:latin typeface="+mn-lt"/>
              </a:rPr>
              <a:t> </a:t>
            </a:r>
            <a:r>
              <a:rPr sz="2000" dirty="0" err="1">
                <a:solidFill>
                  <a:schemeClr val="tx1"/>
                </a:solidFill>
                <a:latin typeface="+mn-lt"/>
              </a:rPr>
              <a:t>fringilla</a:t>
            </a:r>
            <a:r>
              <a:rPr sz="2000" dirty="0">
                <a:solidFill>
                  <a:schemeClr val="tx1"/>
                </a:solidFill>
                <a:latin typeface="+mn-lt"/>
              </a:rPr>
              <a:t> </a:t>
            </a:r>
            <a:r>
              <a:rPr sz="2000" dirty="0" err="1">
                <a:solidFill>
                  <a:schemeClr val="tx1"/>
                </a:solidFill>
                <a:latin typeface="+mn-lt"/>
              </a:rPr>
              <a:t>praesent</a:t>
            </a:r>
            <a:r>
              <a:rPr sz="2000" dirty="0">
                <a:solidFill>
                  <a:schemeClr val="tx1"/>
                </a:solidFill>
                <a:latin typeface="+mn-lt"/>
              </a:rPr>
              <a:t> at diam. In et </a:t>
            </a:r>
            <a:r>
              <a:rPr sz="2000" dirty="0" err="1">
                <a:solidFill>
                  <a:schemeClr val="tx1"/>
                </a:solidFill>
                <a:latin typeface="+mn-lt"/>
              </a:rPr>
              <a:t>quam</a:t>
            </a:r>
            <a:r>
              <a:rPr sz="2000" dirty="0">
                <a:solidFill>
                  <a:schemeClr val="tx1"/>
                </a:solidFill>
                <a:latin typeface="+mn-lt"/>
              </a:rPr>
              <a:t> </a:t>
            </a:r>
            <a:r>
              <a:rPr sz="2000" dirty="0" err="1">
                <a:solidFill>
                  <a:schemeClr val="tx1"/>
                </a:solidFill>
                <a:latin typeface="+mn-lt"/>
              </a:rPr>
              <a:t>est</a:t>
            </a:r>
            <a:r>
              <a:rPr sz="2000" dirty="0">
                <a:solidFill>
                  <a:schemeClr val="tx1"/>
                </a:solidFill>
                <a:latin typeface="+mn-lt"/>
              </a:rPr>
              <a:t> </a:t>
            </a:r>
            <a:r>
              <a:rPr sz="2000" dirty="0" err="1">
                <a:solidFill>
                  <a:schemeClr val="tx1"/>
                </a:solidFill>
                <a:latin typeface="+mn-lt"/>
              </a:rPr>
              <a:t>eget</a:t>
            </a:r>
            <a:r>
              <a:rPr sz="2000" dirty="0">
                <a:solidFill>
                  <a:schemeClr val="tx1"/>
                </a:solidFill>
                <a:latin typeface="+mn-lt"/>
              </a:rPr>
              <a:t> mi. </a:t>
            </a:r>
            <a:r>
              <a:rPr sz="2000" dirty="0" err="1">
                <a:solidFill>
                  <a:schemeClr val="tx1"/>
                </a:solidFill>
                <a:latin typeface="+mn-lt"/>
              </a:rPr>
              <a:t>llentesque</a:t>
            </a:r>
            <a:r>
              <a:rPr sz="2000" dirty="0">
                <a:solidFill>
                  <a:schemeClr val="tx1"/>
                </a:solidFill>
                <a:latin typeface="+mn-lt"/>
              </a:rPr>
              <a:t> </a:t>
            </a:r>
            <a:r>
              <a:rPr sz="2000" dirty="0" err="1">
                <a:solidFill>
                  <a:schemeClr val="tx1"/>
                </a:solidFill>
                <a:latin typeface="+mn-lt"/>
              </a:rPr>
              <a:t>nunc</a:t>
            </a:r>
            <a:r>
              <a:rPr sz="2000" dirty="0">
                <a:solidFill>
                  <a:schemeClr val="tx1"/>
                </a:solidFill>
                <a:latin typeface="+mn-lt"/>
              </a:rPr>
              <a:t> </a:t>
            </a:r>
            <a:r>
              <a:rPr sz="2000" dirty="0" err="1">
                <a:solidFill>
                  <a:schemeClr val="tx1"/>
                </a:solidFill>
                <a:latin typeface="+mn-lt"/>
              </a:rPr>
              <a:t>orci</a:t>
            </a:r>
            <a:r>
              <a:rPr sz="2000" dirty="0">
                <a:solidFill>
                  <a:schemeClr val="tx1"/>
                </a:solidFill>
                <a:latin typeface="+mn-lt"/>
              </a:rPr>
              <a:t> </a:t>
            </a:r>
            <a:r>
              <a:rPr sz="2000" dirty="0" err="1">
                <a:solidFill>
                  <a:schemeClr val="tx1"/>
                </a:solidFill>
                <a:latin typeface="+mn-lt"/>
              </a:rPr>
              <a:t>eu</a:t>
            </a:r>
            <a:r>
              <a:rPr sz="2000" dirty="0">
                <a:solidFill>
                  <a:schemeClr val="tx1"/>
                </a:solidFill>
                <a:latin typeface="+mn-lt"/>
              </a:rPr>
              <a:t> </a:t>
            </a:r>
            <a:r>
              <a:rPr sz="2000" dirty="0" err="1">
                <a:solidFill>
                  <a:schemeClr val="tx1"/>
                </a:solidFill>
                <a:latin typeface="+mn-lt"/>
              </a:rPr>
              <a:t>enim</a:t>
            </a:r>
            <a:r>
              <a:rPr sz="2000" dirty="0">
                <a:solidFill>
                  <a:schemeClr val="tx1"/>
                </a:solidFill>
                <a:latin typeface="+mn-lt"/>
              </a:rPr>
              <a:t>, </a:t>
            </a:r>
            <a:r>
              <a:rPr sz="2000" dirty="0" err="1">
                <a:solidFill>
                  <a:schemeClr val="tx1"/>
                </a:solidFill>
                <a:latin typeface="+mn-lt"/>
              </a:rPr>
              <a:t>eget</a:t>
            </a:r>
            <a:r>
              <a:rPr sz="2000" dirty="0">
                <a:solidFill>
                  <a:schemeClr val="tx1"/>
                </a:solidFill>
                <a:latin typeface="+mn-lt"/>
              </a:rPr>
              <a:t> in </a:t>
            </a:r>
            <a:r>
              <a:rPr sz="2000" dirty="0" err="1">
                <a:solidFill>
                  <a:schemeClr val="tx1"/>
                </a:solidFill>
                <a:latin typeface="+mn-lt"/>
              </a:rPr>
              <a:t>fringilla</a:t>
            </a:r>
            <a:r>
              <a:rPr sz="2000" dirty="0">
                <a:solidFill>
                  <a:schemeClr val="tx1"/>
                </a:solidFill>
                <a:latin typeface="+mn-lt"/>
              </a:rPr>
              <a:t> vitae, et </a:t>
            </a:r>
            <a:r>
              <a:rPr sz="2000" dirty="0" err="1">
                <a:solidFill>
                  <a:schemeClr val="tx1"/>
                </a:solidFill>
                <a:latin typeface="+mn-lt"/>
              </a:rPr>
              <a:t>ero</a:t>
            </a:r>
            <a:r>
              <a:rPr sz="2000" dirty="0">
                <a:solidFill>
                  <a:schemeClr val="tx1"/>
                </a:solidFill>
                <a:latin typeface="+mn-lt"/>
              </a:rPr>
              <a:t>, Lorem ipsum dolor sit </a:t>
            </a:r>
            <a:r>
              <a:rPr sz="2000" dirty="0" err="1">
                <a:solidFill>
                  <a:schemeClr val="tx1"/>
                </a:solidFill>
                <a:latin typeface="+mn-lt"/>
              </a:rPr>
              <a:t>amet</a:t>
            </a:r>
            <a:r>
              <a:rPr sz="2000" dirty="0">
                <a:solidFill>
                  <a:schemeClr val="tx1"/>
                </a:solidFill>
                <a:latin typeface="+mn-lt"/>
              </a:rPr>
              <a:t>, </a:t>
            </a:r>
            <a:r>
              <a:rPr sz="2000" dirty="0" err="1">
                <a:solidFill>
                  <a:schemeClr val="tx1"/>
                </a:solidFill>
                <a:latin typeface="+mn-lt"/>
              </a:rPr>
              <a:t>lacus</a:t>
            </a:r>
            <a:r>
              <a:rPr sz="2000" dirty="0">
                <a:solidFill>
                  <a:schemeClr val="tx1"/>
                </a:solidFill>
                <a:latin typeface="+mn-lt"/>
              </a:rPr>
              <a:t> </a:t>
            </a:r>
            <a:r>
              <a:rPr sz="2000" dirty="0" err="1">
                <a:solidFill>
                  <a:schemeClr val="tx1"/>
                </a:solidFill>
                <a:latin typeface="+mn-lt"/>
              </a:rPr>
              <a:t>nulla</a:t>
            </a:r>
            <a:r>
              <a:rPr sz="2000" dirty="0">
                <a:solidFill>
                  <a:schemeClr val="tx1"/>
                </a:solidFill>
                <a:latin typeface="+mn-lt"/>
              </a:rPr>
              <a:t> ac </a:t>
            </a:r>
            <a:r>
              <a:rPr sz="2000" dirty="0" err="1">
                <a:solidFill>
                  <a:schemeClr val="tx1"/>
                </a:solidFill>
                <a:latin typeface="+mn-lt"/>
              </a:rPr>
              <a:t>netus</a:t>
            </a:r>
            <a:r>
              <a:rPr sz="2000" dirty="0">
                <a:solidFill>
                  <a:schemeClr val="tx1"/>
                </a:solidFill>
                <a:latin typeface="+mn-lt"/>
              </a:rPr>
              <a:t> </a:t>
            </a:r>
            <a:r>
              <a:rPr sz="2000" dirty="0" err="1">
                <a:solidFill>
                  <a:schemeClr val="tx1"/>
                </a:solidFill>
                <a:latin typeface="+mn-lt"/>
              </a:rPr>
              <a:t>nibh</a:t>
            </a:r>
            <a:r>
              <a:rPr sz="2000" dirty="0">
                <a:solidFill>
                  <a:schemeClr val="tx1"/>
                </a:solidFill>
                <a:latin typeface="+mn-lt"/>
              </a:rPr>
              <a:t> </a:t>
            </a:r>
            <a:r>
              <a:rPr sz="2000" dirty="0" err="1">
                <a:solidFill>
                  <a:schemeClr val="tx1"/>
                </a:solidFill>
                <a:latin typeface="+mn-lt"/>
              </a:rPr>
              <a:t>aliquet</a:t>
            </a:r>
            <a:r>
              <a:rPr sz="2000" dirty="0">
                <a:solidFill>
                  <a:schemeClr val="tx1"/>
                </a:solidFill>
                <a:latin typeface="+mn-lt"/>
              </a:rPr>
              <a:t>, </a:t>
            </a:r>
            <a:r>
              <a:rPr sz="2000" dirty="0" err="1">
                <a:solidFill>
                  <a:schemeClr val="tx1"/>
                </a:solidFill>
                <a:latin typeface="+mn-lt"/>
              </a:rPr>
              <a:t>porttitor</a:t>
            </a:r>
            <a:r>
              <a:rPr sz="2000" dirty="0">
                <a:solidFill>
                  <a:schemeClr val="tx1"/>
                </a:solidFill>
                <a:latin typeface="+mn-lt"/>
              </a:rPr>
              <a:t> ligula </a:t>
            </a:r>
            <a:r>
              <a:rPr sz="2000" dirty="0" err="1">
                <a:solidFill>
                  <a:schemeClr val="tx1"/>
                </a:solidFill>
                <a:latin typeface="+mn-lt"/>
              </a:rPr>
              <a:t>justo</a:t>
            </a:r>
            <a:r>
              <a:rPr sz="2000" dirty="0">
                <a:solidFill>
                  <a:schemeClr val="tx1"/>
                </a:solidFill>
                <a:latin typeface="+mn-lt"/>
              </a:rPr>
              <a:t> libero </a:t>
            </a:r>
            <a:r>
              <a:rPr sz="2000" dirty="0" err="1">
                <a:solidFill>
                  <a:schemeClr val="tx1"/>
                </a:solidFill>
                <a:latin typeface="+mn-lt"/>
              </a:rPr>
              <a:t>vivamus</a:t>
            </a:r>
            <a:endParaRPr sz="2000" dirty="0">
              <a:solidFill>
                <a:schemeClr val="tx1"/>
              </a:solidFill>
              <a:latin typeface="+mn-lt"/>
            </a:endParaRPr>
          </a:p>
        </p:txBody>
      </p:sp>
      <p:sp>
        <p:nvSpPr>
          <p:cNvPr id="284" name="Oval 10"/>
          <p:cNvSpPr/>
          <p:nvPr/>
        </p:nvSpPr>
        <p:spPr>
          <a:xfrm>
            <a:off x="586406" y="470746"/>
            <a:ext cx="1492737" cy="1498710"/>
          </a:xfrm>
          <a:prstGeom prst="ellipse">
            <a:avLst/>
          </a:prstGeom>
          <a:solidFill>
            <a:schemeClr val="accent4"/>
          </a:solidFill>
          <a:ln w="12700">
            <a:miter lim="400000"/>
          </a:ln>
        </p:spPr>
        <p:txBody>
          <a:bodyPr lIns="91432" rIns="91432"/>
          <a:lstStyle/>
          <a:p>
            <a:endParaRPr sz="3600"/>
          </a:p>
        </p:txBody>
      </p:sp>
    </p:spTree>
    <p:extLst>
      <p:ext uri="{BB962C8B-B14F-4D97-AF65-F5344CB8AC3E}">
        <p14:creationId xmlns:p14="http://schemas.microsoft.com/office/powerpoint/2010/main" val="965653129"/>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building, outdoor, light, street&#10;&#10;Description automatically generated">
            <a:extLst>
              <a:ext uri="{FF2B5EF4-FFF2-40B4-BE49-F238E27FC236}">
                <a16:creationId xmlns:a16="http://schemas.microsoft.com/office/drawing/2014/main" id="{CB483F6F-8910-7245-984F-C5D21F63D9F9}"/>
              </a:ext>
            </a:extLst>
          </p:cNvPr>
          <p:cNvPicPr>
            <a:picLocks noGrp="1" noChangeAspect="1"/>
          </p:cNvPicPr>
          <p:nvPr>
            <p:ph type="pic" sz="quarter" idx="10"/>
          </p:nvPr>
        </p:nvPicPr>
        <p:blipFill>
          <a:blip r:embed="rId2" cstate="email">
            <a:extLst>
              <a:ext uri="{28A0092B-C50C-407E-A947-70E740481C1C}">
                <a14:useLocalDpi xmlns:a14="http://schemas.microsoft.com/office/drawing/2010/main"/>
              </a:ext>
            </a:extLst>
          </a:blip>
          <a:srcRect/>
          <a:stretch>
            <a:fillRect/>
          </a:stretch>
        </p:blipFill>
        <p:spPr>
          <a:xfrm flipH="1">
            <a:off x="-1" y="0"/>
            <a:ext cx="24382413" cy="13716000"/>
          </a:xfrm>
        </p:spPr>
      </p:pic>
      <p:sp>
        <p:nvSpPr>
          <p:cNvPr id="9" name="Rectangle 8">
            <a:extLst>
              <a:ext uri="{FF2B5EF4-FFF2-40B4-BE49-F238E27FC236}">
                <a16:creationId xmlns:a16="http://schemas.microsoft.com/office/drawing/2014/main" id="{82BB0E31-8F08-A34B-B181-D17186ABDBBF}"/>
              </a:ext>
            </a:extLst>
          </p:cNvPr>
          <p:cNvSpPr/>
          <p:nvPr/>
        </p:nvSpPr>
        <p:spPr>
          <a:xfrm>
            <a:off x="12191205" y="9193978"/>
            <a:ext cx="12191206" cy="2717074"/>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6499453" y="9372311"/>
            <a:ext cx="3328027" cy="1754326"/>
          </a:xfrm>
          <a:prstGeom prst="rect">
            <a:avLst/>
          </a:prstGeom>
          <a:noFill/>
        </p:spPr>
        <p:txBody>
          <a:bodyPr wrap="none" rtlCol="0">
            <a:spAutoFit/>
          </a:bodyPr>
          <a:lstStyle/>
          <a:p>
            <a:pPr algn="ctr"/>
            <a:r>
              <a:rPr lang="en-US" sz="10800" spc="900" dirty="0">
                <a:solidFill>
                  <a:schemeClr val="bg2"/>
                </a:solidFill>
                <a:latin typeface="+mj-lt"/>
              </a:rPr>
              <a:t>Title</a:t>
            </a:r>
          </a:p>
        </p:txBody>
      </p:sp>
      <p:sp>
        <p:nvSpPr>
          <p:cNvPr id="8" name="TextBox 7"/>
          <p:cNvSpPr txBox="1"/>
          <p:nvPr/>
        </p:nvSpPr>
        <p:spPr>
          <a:xfrm>
            <a:off x="14485449" y="10872722"/>
            <a:ext cx="8090676" cy="507831"/>
          </a:xfrm>
          <a:prstGeom prst="rect">
            <a:avLst/>
          </a:prstGeom>
          <a:noFill/>
        </p:spPr>
        <p:txBody>
          <a:bodyPr wrap="none" rtlCol="0" anchor="ctr">
            <a:spAutoFit/>
          </a:bodyPr>
          <a:lstStyle/>
          <a:p>
            <a:r>
              <a:rPr lang="en-US" sz="2700" dirty="0" err="1">
                <a:solidFill>
                  <a:schemeClr val="bg2"/>
                </a:solidFill>
              </a:rPr>
              <a:t>Loremipsum</a:t>
            </a:r>
            <a:r>
              <a:rPr lang="en-US" sz="2700" dirty="0">
                <a:solidFill>
                  <a:schemeClr val="bg2"/>
                </a:solidFill>
              </a:rPr>
              <a:t> </a:t>
            </a:r>
            <a:r>
              <a:rPr lang="en-US" sz="2700" dirty="0" err="1">
                <a:solidFill>
                  <a:schemeClr val="bg2"/>
                </a:solidFill>
              </a:rPr>
              <a:t>Loremipsum</a:t>
            </a:r>
            <a:r>
              <a:rPr lang="en-US" sz="2700" dirty="0">
                <a:solidFill>
                  <a:schemeClr val="bg2"/>
                </a:solidFill>
              </a:rPr>
              <a:t> </a:t>
            </a:r>
            <a:r>
              <a:rPr lang="en-US" sz="2700" dirty="0" err="1">
                <a:solidFill>
                  <a:schemeClr val="bg2"/>
                </a:solidFill>
              </a:rPr>
              <a:t>Loremipsum</a:t>
            </a:r>
            <a:r>
              <a:rPr lang="en-US" sz="2700" dirty="0">
                <a:solidFill>
                  <a:schemeClr val="bg2"/>
                </a:solidFill>
              </a:rPr>
              <a:t> </a:t>
            </a:r>
            <a:r>
              <a:rPr lang="en-US" sz="2700" dirty="0" err="1">
                <a:solidFill>
                  <a:schemeClr val="bg2"/>
                </a:solidFill>
              </a:rPr>
              <a:t>Loremipsum</a:t>
            </a:r>
            <a:endParaRPr lang="en-US" sz="2700" dirty="0">
              <a:solidFill>
                <a:schemeClr val="bg2"/>
              </a:solidFill>
            </a:endParaRPr>
          </a:p>
        </p:txBody>
      </p:sp>
    </p:spTree>
    <p:extLst>
      <p:ext uri="{BB962C8B-B14F-4D97-AF65-F5344CB8AC3E}">
        <p14:creationId xmlns:p14="http://schemas.microsoft.com/office/powerpoint/2010/main" val="23073281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CE5E8-BB72-1E40-A9A9-0BB04146DC96}"/>
              </a:ext>
            </a:extLst>
          </p:cNvPr>
          <p:cNvSpPr>
            <a:spLocks noGrp="1"/>
          </p:cNvSpPr>
          <p:nvPr>
            <p:ph type="title"/>
          </p:nvPr>
        </p:nvSpPr>
        <p:spPr/>
        <p:txBody>
          <a:bodyPr>
            <a:normAutofit/>
          </a:bodyPr>
          <a:lstStyle/>
          <a:p>
            <a:r>
              <a:rPr lang="en-US" dirty="0"/>
              <a:t>List</a:t>
            </a:r>
          </a:p>
        </p:txBody>
      </p:sp>
      <p:pic>
        <p:nvPicPr>
          <p:cNvPr id="5" name="Picture 4">
            <a:extLst>
              <a:ext uri="{FF2B5EF4-FFF2-40B4-BE49-F238E27FC236}">
                <a16:creationId xmlns:a16="http://schemas.microsoft.com/office/drawing/2014/main" id="{FFF91218-C6DB-8B47-A215-A52CF0E550B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2191206" y="-12190"/>
            <a:ext cx="12191207" cy="12836649"/>
          </a:xfrm>
          <a:custGeom>
            <a:avLst/>
            <a:gdLst>
              <a:gd name="connsiteX0" fmla="*/ 3419856 w 5624707"/>
              <a:gd name="connsiteY0" fmla="*/ 0 h 6858001"/>
              <a:gd name="connsiteX1" fmla="*/ 3419877 w 5624707"/>
              <a:gd name="connsiteY1" fmla="*/ 1 h 6858001"/>
              <a:gd name="connsiteX2" fmla="*/ 3428976 w 5624707"/>
              <a:gd name="connsiteY2" fmla="*/ 1 h 6858001"/>
              <a:gd name="connsiteX3" fmla="*/ 3429000 w 5624707"/>
              <a:gd name="connsiteY3" fmla="*/ 0 h 6858001"/>
              <a:gd name="connsiteX4" fmla="*/ 3429000 w 5624707"/>
              <a:gd name="connsiteY4" fmla="*/ 1 h 6858001"/>
              <a:gd name="connsiteX5" fmla="*/ 5624707 w 5624707"/>
              <a:gd name="connsiteY5" fmla="*/ 1 h 6858001"/>
              <a:gd name="connsiteX6" fmla="*/ 5624707 w 5624707"/>
              <a:gd name="connsiteY6" fmla="*/ 804548 h 6858001"/>
              <a:gd name="connsiteX7" fmla="*/ 5624707 w 5624707"/>
              <a:gd name="connsiteY7" fmla="*/ 5202937 h 6858001"/>
              <a:gd name="connsiteX8" fmla="*/ 5624707 w 5624707"/>
              <a:gd name="connsiteY8" fmla="*/ 6053453 h 6858001"/>
              <a:gd name="connsiteX9" fmla="*/ 5624707 w 5624707"/>
              <a:gd name="connsiteY9" fmla="*/ 6858001 h 6858001"/>
              <a:gd name="connsiteX10" fmla="*/ 3419856 w 5624707"/>
              <a:gd name="connsiteY10" fmla="*/ 6858001 h 6858001"/>
              <a:gd name="connsiteX11" fmla="*/ 3419878 w 5624707"/>
              <a:gd name="connsiteY11" fmla="*/ 6857999 h 6858001"/>
              <a:gd name="connsiteX12" fmla="*/ 3419856 w 5624707"/>
              <a:gd name="connsiteY12" fmla="*/ 6858000 h 6858001"/>
              <a:gd name="connsiteX13" fmla="*/ 3419856 w 5624707"/>
              <a:gd name="connsiteY13" fmla="*/ 6857538 h 6858001"/>
              <a:gd name="connsiteX14" fmla="*/ 3078405 w 5624707"/>
              <a:gd name="connsiteY14" fmla="*/ 6840297 h 6858001"/>
              <a:gd name="connsiteX15" fmla="*/ 0 w 5624707"/>
              <a:gd name="connsiteY15" fmla="*/ 3429000 h 6858001"/>
              <a:gd name="connsiteX16" fmla="*/ 3078405 w 5624707"/>
              <a:gd name="connsiteY16" fmla="*/ 17704 h 6858001"/>
              <a:gd name="connsiteX17" fmla="*/ 3419856 w 5624707"/>
              <a:gd name="connsiteY17" fmla="*/ 462 h 6858001"/>
              <a:gd name="connsiteX18" fmla="*/ 3419856 w 5624707"/>
              <a:gd name="connsiteY18"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24707" h="6858001">
                <a:moveTo>
                  <a:pt x="3419856" y="0"/>
                </a:moveTo>
                <a:lnTo>
                  <a:pt x="3419877" y="1"/>
                </a:lnTo>
                <a:lnTo>
                  <a:pt x="3428976" y="1"/>
                </a:lnTo>
                <a:lnTo>
                  <a:pt x="3429000" y="0"/>
                </a:lnTo>
                <a:lnTo>
                  <a:pt x="3429000" y="1"/>
                </a:lnTo>
                <a:lnTo>
                  <a:pt x="5624707" y="1"/>
                </a:lnTo>
                <a:lnTo>
                  <a:pt x="5624707" y="804548"/>
                </a:lnTo>
                <a:lnTo>
                  <a:pt x="5624707" y="5202937"/>
                </a:lnTo>
                <a:lnTo>
                  <a:pt x="5624707" y="6053453"/>
                </a:lnTo>
                <a:lnTo>
                  <a:pt x="5624707" y="6858001"/>
                </a:lnTo>
                <a:lnTo>
                  <a:pt x="3419856" y="6858001"/>
                </a:lnTo>
                <a:lnTo>
                  <a:pt x="3419878" y="6857999"/>
                </a:lnTo>
                <a:lnTo>
                  <a:pt x="3419856" y="6858000"/>
                </a:lnTo>
                <a:lnTo>
                  <a:pt x="3419856" y="6857538"/>
                </a:lnTo>
                <a:lnTo>
                  <a:pt x="3078405" y="6840297"/>
                </a:lnTo>
                <a:cubicBezTo>
                  <a:pt x="1349311" y="6664698"/>
                  <a:pt x="0" y="5204423"/>
                  <a:pt x="0" y="3429000"/>
                </a:cubicBezTo>
                <a:cubicBezTo>
                  <a:pt x="0" y="1653578"/>
                  <a:pt x="1349311" y="193303"/>
                  <a:pt x="3078405" y="17704"/>
                </a:cubicBezTo>
                <a:lnTo>
                  <a:pt x="3419856" y="462"/>
                </a:lnTo>
                <a:lnTo>
                  <a:pt x="3419856" y="1"/>
                </a:lnTo>
                <a:close/>
              </a:path>
            </a:pathLst>
          </a:custGeom>
          <a:effectLst>
            <a:innerShdw blurRad="63500" dist="50800" dir="10800000">
              <a:prstClr val="black">
                <a:alpha val="25000"/>
              </a:prstClr>
            </a:innerShdw>
          </a:effectLst>
        </p:spPr>
      </p:pic>
      <p:sp>
        <p:nvSpPr>
          <p:cNvPr id="9" name="Oval 8">
            <a:extLst>
              <a:ext uri="{FF2B5EF4-FFF2-40B4-BE49-F238E27FC236}">
                <a16:creationId xmlns:a16="http://schemas.microsoft.com/office/drawing/2014/main" id="{4CCB1ACE-DFD6-1549-BC1B-A1CB0C9D5D69}"/>
              </a:ext>
            </a:extLst>
          </p:cNvPr>
          <p:cNvSpPr/>
          <p:nvPr/>
        </p:nvSpPr>
        <p:spPr>
          <a:xfrm>
            <a:off x="2012583" y="2876836"/>
            <a:ext cx="1024392" cy="102439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rPr>
              <a:t>1</a:t>
            </a:r>
          </a:p>
        </p:txBody>
      </p:sp>
      <p:sp>
        <p:nvSpPr>
          <p:cNvPr id="10" name="Rectangle 9">
            <a:extLst>
              <a:ext uri="{FF2B5EF4-FFF2-40B4-BE49-F238E27FC236}">
                <a16:creationId xmlns:a16="http://schemas.microsoft.com/office/drawing/2014/main" id="{220E3A57-0878-554A-8F63-FF41CA0A05E5}"/>
              </a:ext>
            </a:extLst>
          </p:cNvPr>
          <p:cNvSpPr/>
          <p:nvPr/>
        </p:nvSpPr>
        <p:spPr>
          <a:xfrm>
            <a:off x="3184230" y="2955916"/>
            <a:ext cx="7231112" cy="954107"/>
          </a:xfrm>
          <a:prstGeom prst="rect">
            <a:avLst/>
          </a:prstGeom>
        </p:spPr>
        <p:txBody>
          <a:bodyPr wrap="square">
            <a:spAutoFit/>
          </a:bodyPr>
          <a:lstStyle/>
          <a:p>
            <a:r>
              <a:rPr lang="en-US" sz="2800" dirty="0"/>
              <a:t>There are many variations of passages of Lorem Ipsum available, but the majority.</a:t>
            </a:r>
          </a:p>
        </p:txBody>
      </p:sp>
      <p:sp>
        <p:nvSpPr>
          <p:cNvPr id="11" name="Oval 10">
            <a:extLst>
              <a:ext uri="{FF2B5EF4-FFF2-40B4-BE49-F238E27FC236}">
                <a16:creationId xmlns:a16="http://schemas.microsoft.com/office/drawing/2014/main" id="{87AA6E9C-A030-9642-8111-71B5164974A1}"/>
              </a:ext>
            </a:extLst>
          </p:cNvPr>
          <p:cNvSpPr/>
          <p:nvPr/>
        </p:nvSpPr>
        <p:spPr>
          <a:xfrm>
            <a:off x="2012583" y="4600584"/>
            <a:ext cx="1024392" cy="102439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tx1"/>
                </a:solidFill>
              </a:rPr>
              <a:t>2</a:t>
            </a:r>
          </a:p>
        </p:txBody>
      </p:sp>
      <p:sp>
        <p:nvSpPr>
          <p:cNvPr id="12" name="Rectangle 11">
            <a:extLst>
              <a:ext uri="{FF2B5EF4-FFF2-40B4-BE49-F238E27FC236}">
                <a16:creationId xmlns:a16="http://schemas.microsoft.com/office/drawing/2014/main" id="{42F7C8B0-CDC6-6648-821B-62E9F377924B}"/>
              </a:ext>
            </a:extLst>
          </p:cNvPr>
          <p:cNvSpPr/>
          <p:nvPr/>
        </p:nvSpPr>
        <p:spPr>
          <a:xfrm>
            <a:off x="3184230" y="4679664"/>
            <a:ext cx="7231112" cy="954107"/>
          </a:xfrm>
          <a:prstGeom prst="rect">
            <a:avLst/>
          </a:prstGeom>
        </p:spPr>
        <p:txBody>
          <a:bodyPr wrap="square">
            <a:spAutoFit/>
          </a:bodyPr>
          <a:lstStyle/>
          <a:p>
            <a:r>
              <a:rPr lang="en-US" sz="2800" dirty="0"/>
              <a:t>There are many variations of passages of Lorem Ipsum available, but the majority.</a:t>
            </a:r>
          </a:p>
        </p:txBody>
      </p:sp>
      <p:sp>
        <p:nvSpPr>
          <p:cNvPr id="13" name="Oval 12">
            <a:extLst>
              <a:ext uri="{FF2B5EF4-FFF2-40B4-BE49-F238E27FC236}">
                <a16:creationId xmlns:a16="http://schemas.microsoft.com/office/drawing/2014/main" id="{6DD4E7BF-D854-074B-ADF0-EFC938FEF21A}"/>
              </a:ext>
            </a:extLst>
          </p:cNvPr>
          <p:cNvSpPr/>
          <p:nvPr/>
        </p:nvSpPr>
        <p:spPr>
          <a:xfrm>
            <a:off x="2012583" y="6324332"/>
            <a:ext cx="1024392" cy="1024392"/>
          </a:xfrm>
          <a:prstGeom prst="ellipse">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2"/>
                </a:solidFill>
              </a:rPr>
              <a:t>3</a:t>
            </a:r>
          </a:p>
        </p:txBody>
      </p:sp>
      <p:sp>
        <p:nvSpPr>
          <p:cNvPr id="14" name="Rectangle 13">
            <a:extLst>
              <a:ext uri="{FF2B5EF4-FFF2-40B4-BE49-F238E27FC236}">
                <a16:creationId xmlns:a16="http://schemas.microsoft.com/office/drawing/2014/main" id="{76D8E0F2-6CFE-974B-9668-4B83DB7D06E8}"/>
              </a:ext>
            </a:extLst>
          </p:cNvPr>
          <p:cNvSpPr/>
          <p:nvPr/>
        </p:nvSpPr>
        <p:spPr>
          <a:xfrm>
            <a:off x="3184230" y="6403412"/>
            <a:ext cx="7231112" cy="954107"/>
          </a:xfrm>
          <a:prstGeom prst="rect">
            <a:avLst/>
          </a:prstGeom>
        </p:spPr>
        <p:txBody>
          <a:bodyPr wrap="square">
            <a:spAutoFit/>
          </a:bodyPr>
          <a:lstStyle/>
          <a:p>
            <a:r>
              <a:rPr lang="en-US" sz="2800" dirty="0"/>
              <a:t>There are many variations of passages of Lorem Ipsum available, but the majority.</a:t>
            </a:r>
          </a:p>
        </p:txBody>
      </p:sp>
      <p:sp>
        <p:nvSpPr>
          <p:cNvPr id="15" name="Oval 14">
            <a:extLst>
              <a:ext uri="{FF2B5EF4-FFF2-40B4-BE49-F238E27FC236}">
                <a16:creationId xmlns:a16="http://schemas.microsoft.com/office/drawing/2014/main" id="{44781DC6-620B-014F-9C77-319D184C034C}"/>
              </a:ext>
            </a:extLst>
          </p:cNvPr>
          <p:cNvSpPr/>
          <p:nvPr/>
        </p:nvSpPr>
        <p:spPr>
          <a:xfrm>
            <a:off x="2012583" y="8048080"/>
            <a:ext cx="1024392" cy="102439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tx1"/>
                </a:solidFill>
              </a:rPr>
              <a:t>4</a:t>
            </a:r>
          </a:p>
        </p:txBody>
      </p:sp>
      <p:sp>
        <p:nvSpPr>
          <p:cNvPr id="16" name="Rectangle 15">
            <a:extLst>
              <a:ext uri="{FF2B5EF4-FFF2-40B4-BE49-F238E27FC236}">
                <a16:creationId xmlns:a16="http://schemas.microsoft.com/office/drawing/2014/main" id="{7A778A5A-5169-9341-9F20-7C1BDB37E831}"/>
              </a:ext>
            </a:extLst>
          </p:cNvPr>
          <p:cNvSpPr/>
          <p:nvPr/>
        </p:nvSpPr>
        <p:spPr>
          <a:xfrm>
            <a:off x="3184230" y="8127160"/>
            <a:ext cx="7231112" cy="954107"/>
          </a:xfrm>
          <a:prstGeom prst="rect">
            <a:avLst/>
          </a:prstGeom>
        </p:spPr>
        <p:txBody>
          <a:bodyPr wrap="square">
            <a:spAutoFit/>
          </a:bodyPr>
          <a:lstStyle/>
          <a:p>
            <a:r>
              <a:rPr lang="en-US" sz="2800" dirty="0"/>
              <a:t>There are many variations of passages of Lorem Ipsum available, but the majority.</a:t>
            </a:r>
          </a:p>
        </p:txBody>
      </p:sp>
      <p:sp>
        <p:nvSpPr>
          <p:cNvPr id="17" name="Oval 16">
            <a:extLst>
              <a:ext uri="{FF2B5EF4-FFF2-40B4-BE49-F238E27FC236}">
                <a16:creationId xmlns:a16="http://schemas.microsoft.com/office/drawing/2014/main" id="{BF3C7EF1-504F-EB49-9314-EC4BDA51599F}"/>
              </a:ext>
            </a:extLst>
          </p:cNvPr>
          <p:cNvSpPr/>
          <p:nvPr/>
        </p:nvSpPr>
        <p:spPr>
          <a:xfrm>
            <a:off x="2012583" y="9771828"/>
            <a:ext cx="1024392" cy="1024392"/>
          </a:xfrm>
          <a:prstGeom prst="ellipse">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2"/>
                </a:solidFill>
              </a:rPr>
              <a:t>5</a:t>
            </a:r>
          </a:p>
        </p:txBody>
      </p:sp>
      <p:sp>
        <p:nvSpPr>
          <p:cNvPr id="18" name="Rectangle 17">
            <a:extLst>
              <a:ext uri="{FF2B5EF4-FFF2-40B4-BE49-F238E27FC236}">
                <a16:creationId xmlns:a16="http://schemas.microsoft.com/office/drawing/2014/main" id="{809BD8DE-20A3-C646-8416-2ABB4DF9A6F6}"/>
              </a:ext>
            </a:extLst>
          </p:cNvPr>
          <p:cNvSpPr/>
          <p:nvPr/>
        </p:nvSpPr>
        <p:spPr>
          <a:xfrm>
            <a:off x="3184230" y="9850908"/>
            <a:ext cx="7231112" cy="954107"/>
          </a:xfrm>
          <a:prstGeom prst="rect">
            <a:avLst/>
          </a:prstGeom>
        </p:spPr>
        <p:txBody>
          <a:bodyPr wrap="square">
            <a:spAutoFit/>
          </a:bodyPr>
          <a:lstStyle/>
          <a:p>
            <a:r>
              <a:rPr lang="en-US" sz="2800" dirty="0"/>
              <a:t>There are many variations of passages of Lorem Ipsum available, but the majority.</a:t>
            </a:r>
          </a:p>
        </p:txBody>
      </p:sp>
    </p:spTree>
    <p:extLst>
      <p:ext uri="{BB962C8B-B14F-4D97-AF65-F5344CB8AC3E}">
        <p14:creationId xmlns:p14="http://schemas.microsoft.com/office/powerpoint/2010/main" val="40976608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32B9B901-2E6D-AE41-A5CC-99AE4DE9E6A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34514" y="1"/>
            <a:ext cx="10715839" cy="6857998"/>
          </a:xfrm>
          <a:custGeom>
            <a:avLst/>
            <a:gdLst>
              <a:gd name="connsiteX0" fmla="*/ 0 w 3571875"/>
              <a:gd name="connsiteY0" fmla="*/ 0 h 2314575"/>
              <a:gd name="connsiteX1" fmla="*/ 3571875 w 3571875"/>
              <a:gd name="connsiteY1" fmla="*/ 0 h 2314575"/>
              <a:gd name="connsiteX2" fmla="*/ 3571875 w 3571875"/>
              <a:gd name="connsiteY2" fmla="*/ 2314575 h 2314575"/>
              <a:gd name="connsiteX3" fmla="*/ 0 w 3571875"/>
              <a:gd name="connsiteY3" fmla="*/ 2314575 h 2314575"/>
            </a:gdLst>
            <a:ahLst/>
            <a:cxnLst>
              <a:cxn ang="0">
                <a:pos x="connsiteX0" y="connsiteY0"/>
              </a:cxn>
              <a:cxn ang="0">
                <a:pos x="connsiteX1" y="connsiteY1"/>
              </a:cxn>
              <a:cxn ang="0">
                <a:pos x="connsiteX2" y="connsiteY2"/>
              </a:cxn>
              <a:cxn ang="0">
                <a:pos x="connsiteX3" y="connsiteY3"/>
              </a:cxn>
            </a:cxnLst>
            <a:rect l="l" t="t" r="r" b="b"/>
            <a:pathLst>
              <a:path w="3571875" h="2314575">
                <a:moveTo>
                  <a:pt x="0" y="0"/>
                </a:moveTo>
                <a:lnTo>
                  <a:pt x="3571875" y="0"/>
                </a:lnTo>
                <a:lnTo>
                  <a:pt x="3571875" y="2314575"/>
                </a:lnTo>
                <a:lnTo>
                  <a:pt x="0" y="2314575"/>
                </a:lnTo>
                <a:close/>
              </a:path>
            </a:pathLst>
          </a:custGeom>
        </p:spPr>
      </p:pic>
      <p:sp>
        <p:nvSpPr>
          <p:cNvPr id="3" name="Rectangle 2">
            <a:extLst>
              <a:ext uri="{FF2B5EF4-FFF2-40B4-BE49-F238E27FC236}">
                <a16:creationId xmlns:a16="http://schemas.microsoft.com/office/drawing/2014/main" id="{F7B285D1-2166-E64C-A855-C67619BD15D5}"/>
              </a:ext>
            </a:extLst>
          </p:cNvPr>
          <p:cNvSpPr/>
          <p:nvPr/>
        </p:nvSpPr>
        <p:spPr>
          <a:xfrm>
            <a:off x="8447913" y="6858000"/>
            <a:ext cx="10702441" cy="68575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5" name="Rectangle: Rounded Corners 9">
            <a:extLst>
              <a:ext uri="{FF2B5EF4-FFF2-40B4-BE49-F238E27FC236}">
                <a16:creationId xmlns:a16="http://schemas.microsoft.com/office/drawing/2014/main" id="{24EFC76A-5A6A-6E47-8EBA-7919FB5A2217}"/>
              </a:ext>
            </a:extLst>
          </p:cNvPr>
          <p:cNvSpPr/>
          <p:nvPr/>
        </p:nvSpPr>
        <p:spPr>
          <a:xfrm>
            <a:off x="19150353" y="6857997"/>
            <a:ext cx="5232059" cy="6857556"/>
          </a:xfrm>
          <a:prstGeom prst="roundRect">
            <a:avLst>
              <a:gd name="adj" fmla="val 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6" name="Content Placeholder 2">
            <a:extLst>
              <a:ext uri="{FF2B5EF4-FFF2-40B4-BE49-F238E27FC236}">
                <a16:creationId xmlns:a16="http://schemas.microsoft.com/office/drawing/2014/main" id="{A1F0369C-F0FE-5740-A75C-6A1CADDC7EAD}"/>
              </a:ext>
            </a:extLst>
          </p:cNvPr>
          <p:cNvSpPr txBox="1">
            <a:spLocks/>
          </p:cNvSpPr>
          <p:nvPr/>
        </p:nvSpPr>
        <p:spPr>
          <a:xfrm>
            <a:off x="9497166" y="9376407"/>
            <a:ext cx="3828801" cy="2742417"/>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pPr>
            <a:r>
              <a:rPr lang="en-US" sz="2800" dirty="0"/>
              <a:t>Lorem ipsum dolor sit </a:t>
            </a:r>
            <a:r>
              <a:rPr lang="en-US" sz="2800" dirty="0" err="1"/>
              <a:t>amet</a:t>
            </a:r>
            <a:r>
              <a:rPr lang="en-US" sz="2800" dirty="0"/>
              <a:t>, </a:t>
            </a:r>
            <a:r>
              <a:rPr lang="en-US" sz="2800" dirty="0" err="1"/>
              <a:t>consectetuer</a:t>
            </a:r>
            <a:r>
              <a:rPr lang="en-US" sz="2800" dirty="0"/>
              <a:t> </a:t>
            </a:r>
            <a:r>
              <a:rPr lang="en-US" sz="2800" dirty="0" err="1"/>
              <a:t>adipiscing</a:t>
            </a:r>
            <a:r>
              <a:rPr lang="en-US" sz="2800" dirty="0"/>
              <a:t> </a:t>
            </a:r>
            <a:r>
              <a:rPr lang="en-US" sz="2800" dirty="0" err="1"/>
              <a:t>elit</a:t>
            </a:r>
            <a:r>
              <a:rPr lang="en-US" sz="2800" dirty="0"/>
              <a:t>. </a:t>
            </a:r>
            <a:r>
              <a:rPr lang="en-US" sz="2800" dirty="0" err="1"/>
              <a:t>Maecas</a:t>
            </a:r>
            <a:r>
              <a:rPr lang="en-US" sz="2800" dirty="0"/>
              <a:t> </a:t>
            </a:r>
            <a:r>
              <a:rPr lang="en-US" sz="2800" dirty="0" err="1"/>
              <a:t>porttitor</a:t>
            </a:r>
            <a:r>
              <a:rPr lang="en-US" sz="2800" dirty="0"/>
              <a:t> </a:t>
            </a:r>
            <a:r>
              <a:rPr lang="en-US" sz="2800" dirty="0" err="1"/>
              <a:t>congue</a:t>
            </a:r>
            <a:r>
              <a:rPr lang="en-US" sz="2800" dirty="0"/>
              <a:t> </a:t>
            </a:r>
            <a:r>
              <a:rPr lang="en-US" sz="2800" dirty="0" err="1"/>
              <a:t>massa</a:t>
            </a:r>
            <a:r>
              <a:rPr lang="en-US" sz="2800" dirty="0"/>
              <a:t>. </a:t>
            </a:r>
            <a:r>
              <a:rPr lang="en-US" sz="2800" dirty="0" err="1"/>
              <a:t>Fusce</a:t>
            </a:r>
            <a:r>
              <a:rPr lang="en-US" sz="2800" dirty="0"/>
              <a:t> </a:t>
            </a:r>
            <a:r>
              <a:rPr lang="en-US" sz="2800" dirty="0" err="1"/>
              <a:t>posuere</a:t>
            </a:r>
            <a:endParaRPr lang="en-US" sz="2800" dirty="0"/>
          </a:p>
        </p:txBody>
      </p:sp>
      <p:sp>
        <p:nvSpPr>
          <p:cNvPr id="7" name="Content Placeholder 2">
            <a:extLst>
              <a:ext uri="{FF2B5EF4-FFF2-40B4-BE49-F238E27FC236}">
                <a16:creationId xmlns:a16="http://schemas.microsoft.com/office/drawing/2014/main" id="{A88CBA84-0F59-C942-8B8D-D378780353E3}"/>
              </a:ext>
            </a:extLst>
          </p:cNvPr>
          <p:cNvSpPr txBox="1">
            <a:spLocks/>
          </p:cNvSpPr>
          <p:nvPr/>
        </p:nvSpPr>
        <p:spPr>
          <a:xfrm>
            <a:off x="20207351" y="9204119"/>
            <a:ext cx="2912999" cy="3302571"/>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pPr>
            <a:r>
              <a:rPr lang="en-US" sz="2800" dirty="0">
                <a:solidFill>
                  <a:schemeClr val="bg1"/>
                </a:solidFill>
              </a:rPr>
              <a:t>Lorem ipsum dolor sit </a:t>
            </a:r>
            <a:r>
              <a:rPr lang="en-US" sz="2800" dirty="0" err="1">
                <a:solidFill>
                  <a:schemeClr val="bg1"/>
                </a:solidFill>
              </a:rPr>
              <a:t>amet</a:t>
            </a:r>
            <a:r>
              <a:rPr lang="en-US" sz="2800" dirty="0">
                <a:solidFill>
                  <a:schemeClr val="bg1"/>
                </a:solidFill>
              </a:rPr>
              <a:t>, </a:t>
            </a:r>
            <a:r>
              <a:rPr lang="en-US" sz="2800" dirty="0" err="1">
                <a:solidFill>
                  <a:schemeClr val="bg1"/>
                </a:solidFill>
              </a:rPr>
              <a:t>consectetuer</a:t>
            </a:r>
            <a:r>
              <a:rPr lang="en-US" sz="2800" dirty="0">
                <a:solidFill>
                  <a:schemeClr val="bg1"/>
                </a:solidFill>
              </a:rPr>
              <a:t> </a:t>
            </a:r>
            <a:r>
              <a:rPr lang="en-US" sz="2800" dirty="0" err="1">
                <a:solidFill>
                  <a:schemeClr val="bg1"/>
                </a:solidFill>
              </a:rPr>
              <a:t>adipiscing</a:t>
            </a:r>
            <a:r>
              <a:rPr lang="en-US" sz="2800" dirty="0">
                <a:solidFill>
                  <a:schemeClr val="bg1"/>
                </a:solidFill>
              </a:rPr>
              <a:t> </a:t>
            </a:r>
            <a:r>
              <a:rPr lang="en-US" sz="2800" dirty="0" err="1">
                <a:solidFill>
                  <a:schemeClr val="bg1"/>
                </a:solidFill>
              </a:rPr>
              <a:t>elit</a:t>
            </a:r>
            <a:r>
              <a:rPr lang="en-US" sz="2800" dirty="0">
                <a:solidFill>
                  <a:schemeClr val="bg1"/>
                </a:solidFill>
              </a:rPr>
              <a:t>. </a:t>
            </a:r>
            <a:r>
              <a:rPr lang="en-US" sz="2800" dirty="0" err="1">
                <a:solidFill>
                  <a:schemeClr val="bg1"/>
                </a:solidFill>
              </a:rPr>
              <a:t>Maecs</a:t>
            </a:r>
            <a:r>
              <a:rPr lang="en-US" sz="2800" dirty="0">
                <a:solidFill>
                  <a:schemeClr val="bg1"/>
                </a:solidFill>
              </a:rPr>
              <a:t> </a:t>
            </a:r>
            <a:r>
              <a:rPr lang="en-US" sz="2800" dirty="0" err="1">
                <a:solidFill>
                  <a:schemeClr val="bg1"/>
                </a:solidFill>
              </a:rPr>
              <a:t>porttitor</a:t>
            </a:r>
            <a:r>
              <a:rPr lang="en-US" sz="2800" dirty="0">
                <a:solidFill>
                  <a:schemeClr val="bg1"/>
                </a:solidFill>
              </a:rPr>
              <a:t> </a:t>
            </a:r>
            <a:r>
              <a:rPr lang="en-US" sz="2800" dirty="0" err="1">
                <a:solidFill>
                  <a:schemeClr val="bg1"/>
                </a:solidFill>
              </a:rPr>
              <a:t>congue</a:t>
            </a:r>
            <a:r>
              <a:rPr lang="en-US" sz="2800" dirty="0">
                <a:solidFill>
                  <a:schemeClr val="bg1"/>
                </a:solidFill>
              </a:rPr>
              <a:t> mas.</a:t>
            </a:r>
          </a:p>
        </p:txBody>
      </p:sp>
      <p:sp>
        <p:nvSpPr>
          <p:cNvPr id="8" name="Content Placeholder 2">
            <a:extLst>
              <a:ext uri="{FF2B5EF4-FFF2-40B4-BE49-F238E27FC236}">
                <a16:creationId xmlns:a16="http://schemas.microsoft.com/office/drawing/2014/main" id="{0753A3F4-FF03-5740-954F-DD74E086BE01}"/>
              </a:ext>
            </a:extLst>
          </p:cNvPr>
          <p:cNvSpPr txBox="1">
            <a:spLocks/>
          </p:cNvSpPr>
          <p:nvPr/>
        </p:nvSpPr>
        <p:spPr>
          <a:xfrm>
            <a:off x="20207351" y="7374426"/>
            <a:ext cx="1330447" cy="1618328"/>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pPr>
            <a:r>
              <a:rPr lang="en-US" sz="8800" dirty="0">
                <a:solidFill>
                  <a:schemeClr val="bg1"/>
                </a:solidFill>
                <a:latin typeface="+mj-lt"/>
                <a:cs typeface="Segoe UI Light" panose="020B0502040204020203" pitchFamily="34" charset="0"/>
              </a:rPr>
              <a:t>02</a:t>
            </a:r>
          </a:p>
        </p:txBody>
      </p:sp>
      <p:sp>
        <p:nvSpPr>
          <p:cNvPr id="9" name="Content Placeholder 2">
            <a:extLst>
              <a:ext uri="{FF2B5EF4-FFF2-40B4-BE49-F238E27FC236}">
                <a16:creationId xmlns:a16="http://schemas.microsoft.com/office/drawing/2014/main" id="{8BA27C44-413B-8847-A55A-FCC2B56838AD}"/>
              </a:ext>
            </a:extLst>
          </p:cNvPr>
          <p:cNvSpPr txBox="1">
            <a:spLocks/>
          </p:cNvSpPr>
          <p:nvPr/>
        </p:nvSpPr>
        <p:spPr>
          <a:xfrm>
            <a:off x="1271496" y="2782613"/>
            <a:ext cx="5714628" cy="4983031"/>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pPr>
            <a:r>
              <a:rPr lang="en-US" sz="2800" dirty="0"/>
              <a:t>Lorem ipsum dolor sit </a:t>
            </a:r>
            <a:r>
              <a:rPr lang="en-US" sz="2800" dirty="0" err="1"/>
              <a:t>amergrgt</a:t>
            </a:r>
            <a:r>
              <a:rPr lang="en-US" sz="2800" dirty="0"/>
              <a:t>, consectetuer adipiscing elit. </a:t>
            </a:r>
            <a:r>
              <a:rPr lang="en-US" sz="2800" dirty="0" err="1"/>
              <a:t>nas</a:t>
            </a:r>
            <a:r>
              <a:rPr lang="en-US" sz="2800" dirty="0"/>
              <a:t> porttitor congue massa. Fusce posuere, magna sed pulvinar </a:t>
            </a:r>
            <a:r>
              <a:rPr lang="en-US" sz="2800" dirty="0" err="1"/>
              <a:t>ules</a:t>
            </a:r>
            <a:r>
              <a:rPr lang="en-US" sz="2800" dirty="0"/>
              <a:t>, purus lectus malesuada libero, sit amet commodo magna eros quis </a:t>
            </a:r>
            <a:r>
              <a:rPr lang="en-US" sz="2800" dirty="0" err="1"/>
              <a:t>urna</a:t>
            </a:r>
            <a:r>
              <a:rPr lang="en-US" sz="2800" dirty="0"/>
              <a:t>. Lorem ipsum dolor sit </a:t>
            </a:r>
            <a:r>
              <a:rPr lang="en-US" sz="2800" dirty="0" err="1"/>
              <a:t>amet</a:t>
            </a:r>
            <a:r>
              <a:rPr lang="en-US" sz="2800" dirty="0"/>
              <a:t>, </a:t>
            </a:r>
            <a:r>
              <a:rPr lang="en-US" sz="2800" dirty="0" err="1"/>
              <a:t>consectetuer</a:t>
            </a:r>
            <a:r>
              <a:rPr lang="en-US" sz="2800" dirty="0"/>
              <a:t> </a:t>
            </a:r>
            <a:r>
              <a:rPr lang="en-US" sz="2800" dirty="0" err="1"/>
              <a:t>adipiscing</a:t>
            </a:r>
            <a:r>
              <a:rPr lang="en-US" sz="2800" dirty="0"/>
              <a:t> </a:t>
            </a:r>
            <a:r>
              <a:rPr lang="en-US" sz="2800" dirty="0" err="1"/>
              <a:t>elit</a:t>
            </a:r>
            <a:r>
              <a:rPr lang="en-US" sz="2800" dirty="0"/>
              <a:t>. </a:t>
            </a:r>
            <a:r>
              <a:rPr lang="en-US" sz="2800" dirty="0" err="1"/>
              <a:t>Mnas</a:t>
            </a:r>
            <a:r>
              <a:rPr lang="en-US" sz="2800" dirty="0"/>
              <a:t> </a:t>
            </a:r>
            <a:r>
              <a:rPr lang="en-US" sz="2800" dirty="0" err="1"/>
              <a:t>porttitor</a:t>
            </a:r>
            <a:r>
              <a:rPr lang="en-US" sz="2800" dirty="0"/>
              <a:t> </a:t>
            </a:r>
            <a:r>
              <a:rPr lang="en-US" sz="2800" dirty="0" err="1"/>
              <a:t>congue</a:t>
            </a:r>
            <a:r>
              <a:rPr lang="en-US" sz="2800" dirty="0"/>
              <a:t> </a:t>
            </a:r>
            <a:r>
              <a:rPr lang="en-US" sz="2800" dirty="0" err="1"/>
              <a:t>massa</a:t>
            </a:r>
            <a:r>
              <a:rPr lang="en-US" sz="2800" dirty="0"/>
              <a:t>.</a:t>
            </a:r>
          </a:p>
        </p:txBody>
      </p:sp>
      <p:sp>
        <p:nvSpPr>
          <p:cNvPr id="10" name="Content Placeholder 2">
            <a:extLst>
              <a:ext uri="{FF2B5EF4-FFF2-40B4-BE49-F238E27FC236}">
                <a16:creationId xmlns:a16="http://schemas.microsoft.com/office/drawing/2014/main" id="{CD9BD52E-296F-CD4D-9B30-03DC0887335F}"/>
              </a:ext>
            </a:extLst>
          </p:cNvPr>
          <p:cNvSpPr txBox="1">
            <a:spLocks/>
          </p:cNvSpPr>
          <p:nvPr/>
        </p:nvSpPr>
        <p:spPr>
          <a:xfrm>
            <a:off x="14385196" y="9376406"/>
            <a:ext cx="3828801" cy="2742417"/>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pPr>
            <a:r>
              <a:rPr lang="en-US" sz="2800" dirty="0"/>
              <a:t>Lorem ipsum dolor sit </a:t>
            </a:r>
            <a:r>
              <a:rPr lang="en-US" sz="2800" dirty="0" err="1"/>
              <a:t>amet</a:t>
            </a:r>
            <a:r>
              <a:rPr lang="en-US" sz="2800" dirty="0"/>
              <a:t>, </a:t>
            </a:r>
            <a:r>
              <a:rPr lang="en-US" sz="2800" dirty="0" err="1"/>
              <a:t>consectetuer</a:t>
            </a:r>
            <a:r>
              <a:rPr lang="en-US" sz="2800" dirty="0"/>
              <a:t> </a:t>
            </a:r>
            <a:r>
              <a:rPr lang="en-US" sz="2800" dirty="0" err="1"/>
              <a:t>adipiscing</a:t>
            </a:r>
            <a:r>
              <a:rPr lang="en-US" sz="2800" dirty="0"/>
              <a:t> </a:t>
            </a:r>
            <a:r>
              <a:rPr lang="en-US" sz="2800" dirty="0" err="1"/>
              <a:t>elit</a:t>
            </a:r>
            <a:r>
              <a:rPr lang="en-US" sz="2800" dirty="0"/>
              <a:t>. </a:t>
            </a:r>
            <a:r>
              <a:rPr lang="en-US" sz="2800" dirty="0" err="1"/>
              <a:t>Maenas</a:t>
            </a:r>
            <a:r>
              <a:rPr lang="en-US" sz="2800" dirty="0"/>
              <a:t> </a:t>
            </a:r>
            <a:r>
              <a:rPr lang="en-US" sz="2800" dirty="0" err="1"/>
              <a:t>porttitor</a:t>
            </a:r>
            <a:r>
              <a:rPr lang="en-US" sz="2800" dirty="0"/>
              <a:t> </a:t>
            </a:r>
            <a:r>
              <a:rPr lang="en-US" sz="2800" dirty="0" err="1"/>
              <a:t>congue</a:t>
            </a:r>
            <a:r>
              <a:rPr lang="en-US" sz="2800" dirty="0"/>
              <a:t> </a:t>
            </a:r>
            <a:r>
              <a:rPr lang="en-US" sz="2800" dirty="0" err="1"/>
              <a:t>massa</a:t>
            </a:r>
            <a:r>
              <a:rPr lang="en-US" sz="2800" dirty="0"/>
              <a:t>. </a:t>
            </a:r>
            <a:r>
              <a:rPr lang="en-US" sz="2800" dirty="0" err="1"/>
              <a:t>Fusce</a:t>
            </a:r>
            <a:r>
              <a:rPr lang="en-US" sz="2800" dirty="0"/>
              <a:t> </a:t>
            </a:r>
            <a:r>
              <a:rPr lang="en-US" sz="2800" dirty="0" err="1"/>
              <a:t>posuere</a:t>
            </a:r>
            <a:endParaRPr lang="en-US" sz="2800" dirty="0"/>
          </a:p>
        </p:txBody>
      </p:sp>
      <p:grpSp>
        <p:nvGrpSpPr>
          <p:cNvPr id="11" name="Group 10">
            <a:extLst>
              <a:ext uri="{FF2B5EF4-FFF2-40B4-BE49-F238E27FC236}">
                <a16:creationId xmlns:a16="http://schemas.microsoft.com/office/drawing/2014/main" id="{A64F5D12-0590-E84A-B336-AD8808EAF2B9}"/>
              </a:ext>
            </a:extLst>
          </p:cNvPr>
          <p:cNvGrpSpPr/>
          <p:nvPr/>
        </p:nvGrpSpPr>
        <p:grpSpPr>
          <a:xfrm>
            <a:off x="9497166" y="8043704"/>
            <a:ext cx="946274" cy="863794"/>
            <a:chOff x="2678113" y="1465264"/>
            <a:chExt cx="346076" cy="315912"/>
          </a:xfrm>
        </p:grpSpPr>
        <p:sp>
          <p:nvSpPr>
            <p:cNvPr id="12" name="Freeform 170">
              <a:extLst>
                <a:ext uri="{FF2B5EF4-FFF2-40B4-BE49-F238E27FC236}">
                  <a16:creationId xmlns:a16="http://schemas.microsoft.com/office/drawing/2014/main" id="{87505ACC-C260-F640-82A6-D923C9564F81}"/>
                </a:ext>
              </a:extLst>
            </p:cNvPr>
            <p:cNvSpPr>
              <a:spLocks/>
            </p:cNvSpPr>
            <p:nvPr/>
          </p:nvSpPr>
          <p:spPr bwMode="auto">
            <a:xfrm>
              <a:off x="2678113" y="1465264"/>
              <a:ext cx="346075" cy="195263"/>
            </a:xfrm>
            <a:custGeom>
              <a:avLst/>
              <a:gdLst>
                <a:gd name="T0" fmla="*/ 218 w 218"/>
                <a:gd name="T1" fmla="*/ 0 h 123"/>
                <a:gd name="T2" fmla="*/ 0 w 218"/>
                <a:gd name="T3" fmla="*/ 90 h 123"/>
                <a:gd name="T4" fmla="*/ 85 w 218"/>
                <a:gd name="T5" fmla="*/ 123 h 123"/>
                <a:gd name="T6" fmla="*/ 218 w 218"/>
                <a:gd name="T7" fmla="*/ 0 h 123"/>
              </a:gdLst>
              <a:ahLst/>
              <a:cxnLst>
                <a:cxn ang="0">
                  <a:pos x="T0" y="T1"/>
                </a:cxn>
                <a:cxn ang="0">
                  <a:pos x="T2" y="T3"/>
                </a:cxn>
                <a:cxn ang="0">
                  <a:pos x="T4" y="T5"/>
                </a:cxn>
                <a:cxn ang="0">
                  <a:pos x="T6" y="T7"/>
                </a:cxn>
              </a:cxnLst>
              <a:rect l="0" t="0" r="r" b="b"/>
              <a:pathLst>
                <a:path w="218" h="123">
                  <a:moveTo>
                    <a:pt x="218" y="0"/>
                  </a:moveTo>
                  <a:lnTo>
                    <a:pt x="0" y="90"/>
                  </a:lnTo>
                  <a:lnTo>
                    <a:pt x="85" y="123"/>
                  </a:lnTo>
                  <a:lnTo>
                    <a:pt x="218" y="0"/>
                  </a:lnTo>
                  <a:close/>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82868" tIns="91434" rIns="182868" bIns="91434" numCol="1" anchor="t" anchorCtr="0" compatLnSpc="1">
              <a:prstTxWarp prst="textNoShape">
                <a:avLst/>
              </a:prstTxWarp>
            </a:bodyPr>
            <a:lstStyle/>
            <a:p>
              <a:endParaRPr lang="id-ID" sz="3600"/>
            </a:p>
          </p:txBody>
        </p:sp>
        <p:sp>
          <p:nvSpPr>
            <p:cNvPr id="13" name="Freeform 171">
              <a:extLst>
                <a:ext uri="{FF2B5EF4-FFF2-40B4-BE49-F238E27FC236}">
                  <a16:creationId xmlns:a16="http://schemas.microsoft.com/office/drawing/2014/main" id="{728EBA84-C675-FC4E-9F81-638A06CA59D7}"/>
                </a:ext>
              </a:extLst>
            </p:cNvPr>
            <p:cNvSpPr>
              <a:spLocks/>
            </p:cNvSpPr>
            <p:nvPr/>
          </p:nvSpPr>
          <p:spPr bwMode="auto">
            <a:xfrm>
              <a:off x="2813051" y="1465264"/>
              <a:ext cx="211138" cy="279400"/>
            </a:xfrm>
            <a:custGeom>
              <a:avLst/>
              <a:gdLst>
                <a:gd name="T0" fmla="*/ 133 w 133"/>
                <a:gd name="T1" fmla="*/ 0 h 176"/>
                <a:gd name="T2" fmla="*/ 95 w 133"/>
                <a:gd name="T3" fmla="*/ 176 h 176"/>
                <a:gd name="T4" fmla="*/ 0 w 133"/>
                <a:gd name="T5" fmla="*/ 123 h 176"/>
                <a:gd name="T6" fmla="*/ 133 w 133"/>
                <a:gd name="T7" fmla="*/ 0 h 176"/>
              </a:gdLst>
              <a:ahLst/>
              <a:cxnLst>
                <a:cxn ang="0">
                  <a:pos x="T0" y="T1"/>
                </a:cxn>
                <a:cxn ang="0">
                  <a:pos x="T2" y="T3"/>
                </a:cxn>
                <a:cxn ang="0">
                  <a:pos x="T4" y="T5"/>
                </a:cxn>
                <a:cxn ang="0">
                  <a:pos x="T6" y="T7"/>
                </a:cxn>
              </a:cxnLst>
              <a:rect l="0" t="0" r="r" b="b"/>
              <a:pathLst>
                <a:path w="133" h="176">
                  <a:moveTo>
                    <a:pt x="133" y="0"/>
                  </a:moveTo>
                  <a:lnTo>
                    <a:pt x="95" y="176"/>
                  </a:lnTo>
                  <a:lnTo>
                    <a:pt x="0" y="123"/>
                  </a:lnTo>
                  <a:lnTo>
                    <a:pt x="133" y="0"/>
                  </a:lnTo>
                  <a:close/>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82868" tIns="91434" rIns="182868" bIns="91434" numCol="1" anchor="t" anchorCtr="0" compatLnSpc="1">
              <a:prstTxWarp prst="textNoShape">
                <a:avLst/>
              </a:prstTxWarp>
            </a:bodyPr>
            <a:lstStyle/>
            <a:p>
              <a:endParaRPr lang="id-ID" sz="3600"/>
            </a:p>
          </p:txBody>
        </p:sp>
        <p:sp>
          <p:nvSpPr>
            <p:cNvPr id="14" name="Freeform 172">
              <a:extLst>
                <a:ext uri="{FF2B5EF4-FFF2-40B4-BE49-F238E27FC236}">
                  <a16:creationId xmlns:a16="http://schemas.microsoft.com/office/drawing/2014/main" id="{0226840E-8E0D-5449-AECA-7F496AB514EA}"/>
                </a:ext>
              </a:extLst>
            </p:cNvPr>
            <p:cNvSpPr>
              <a:spLocks/>
            </p:cNvSpPr>
            <p:nvPr/>
          </p:nvSpPr>
          <p:spPr bwMode="auto">
            <a:xfrm>
              <a:off x="2813051" y="1660526"/>
              <a:ext cx="52388" cy="120650"/>
            </a:xfrm>
            <a:custGeom>
              <a:avLst/>
              <a:gdLst>
                <a:gd name="T0" fmla="*/ 0 w 33"/>
                <a:gd name="T1" fmla="*/ 0 h 76"/>
                <a:gd name="T2" fmla="*/ 0 w 33"/>
                <a:gd name="T3" fmla="*/ 76 h 76"/>
                <a:gd name="T4" fmla="*/ 33 w 33"/>
                <a:gd name="T5" fmla="*/ 19 h 76"/>
              </a:gdLst>
              <a:ahLst/>
              <a:cxnLst>
                <a:cxn ang="0">
                  <a:pos x="T0" y="T1"/>
                </a:cxn>
                <a:cxn ang="0">
                  <a:pos x="T2" y="T3"/>
                </a:cxn>
                <a:cxn ang="0">
                  <a:pos x="T4" y="T5"/>
                </a:cxn>
              </a:cxnLst>
              <a:rect l="0" t="0" r="r" b="b"/>
              <a:pathLst>
                <a:path w="33" h="76">
                  <a:moveTo>
                    <a:pt x="0" y="0"/>
                  </a:moveTo>
                  <a:lnTo>
                    <a:pt x="0" y="76"/>
                  </a:lnTo>
                  <a:lnTo>
                    <a:pt x="33" y="19"/>
                  </a:lnTo>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82868" tIns="91434" rIns="182868" bIns="91434" numCol="1" anchor="t" anchorCtr="0" compatLnSpc="1">
              <a:prstTxWarp prst="textNoShape">
                <a:avLst/>
              </a:prstTxWarp>
            </a:bodyPr>
            <a:lstStyle/>
            <a:p>
              <a:endParaRPr lang="id-ID" sz="3600"/>
            </a:p>
          </p:txBody>
        </p:sp>
      </p:grpSp>
      <p:grpSp>
        <p:nvGrpSpPr>
          <p:cNvPr id="15" name="Group 14">
            <a:extLst>
              <a:ext uri="{FF2B5EF4-FFF2-40B4-BE49-F238E27FC236}">
                <a16:creationId xmlns:a16="http://schemas.microsoft.com/office/drawing/2014/main" id="{1695A1EB-F944-9246-93F7-31E6F78806EE}"/>
              </a:ext>
            </a:extLst>
          </p:cNvPr>
          <p:cNvGrpSpPr/>
          <p:nvPr/>
        </p:nvGrpSpPr>
        <p:grpSpPr>
          <a:xfrm>
            <a:off x="14385196" y="8041712"/>
            <a:ext cx="946272" cy="867778"/>
            <a:chOff x="7005638" y="2909888"/>
            <a:chExt cx="344488" cy="315913"/>
          </a:xfrm>
        </p:grpSpPr>
        <p:sp>
          <p:nvSpPr>
            <p:cNvPr id="16" name="Oval 302">
              <a:extLst>
                <a:ext uri="{FF2B5EF4-FFF2-40B4-BE49-F238E27FC236}">
                  <a16:creationId xmlns:a16="http://schemas.microsoft.com/office/drawing/2014/main" id="{361D10C4-07EE-5F4A-A076-7BD1BD715EBD}"/>
                </a:ext>
              </a:extLst>
            </p:cNvPr>
            <p:cNvSpPr>
              <a:spLocks noChangeArrowheads="1"/>
            </p:cNvSpPr>
            <p:nvPr/>
          </p:nvSpPr>
          <p:spPr bwMode="auto">
            <a:xfrm>
              <a:off x="7140575" y="2909888"/>
              <a:ext cx="74613" cy="76200"/>
            </a:xfrm>
            <a:prstGeom prst="ellipse">
              <a:avLst/>
            </a:pr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82868" tIns="91434" rIns="182868" bIns="91434" numCol="1" anchor="t" anchorCtr="0" compatLnSpc="1">
              <a:prstTxWarp prst="textNoShape">
                <a:avLst/>
              </a:prstTxWarp>
            </a:bodyPr>
            <a:lstStyle/>
            <a:p>
              <a:endParaRPr lang="id-ID" sz="3600"/>
            </a:p>
          </p:txBody>
        </p:sp>
        <p:sp>
          <p:nvSpPr>
            <p:cNvPr id="17" name="Oval 303">
              <a:extLst>
                <a:ext uri="{FF2B5EF4-FFF2-40B4-BE49-F238E27FC236}">
                  <a16:creationId xmlns:a16="http://schemas.microsoft.com/office/drawing/2014/main" id="{64E41009-1FBE-D944-B11E-E6F3C204D294}"/>
                </a:ext>
              </a:extLst>
            </p:cNvPr>
            <p:cNvSpPr>
              <a:spLocks noChangeArrowheads="1"/>
            </p:cNvSpPr>
            <p:nvPr/>
          </p:nvSpPr>
          <p:spPr bwMode="auto">
            <a:xfrm>
              <a:off x="7261225" y="2940051"/>
              <a:ext cx="44450" cy="46038"/>
            </a:xfrm>
            <a:prstGeom prst="ellipse">
              <a:avLst/>
            </a:pr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82868" tIns="91434" rIns="182868" bIns="91434" numCol="1" anchor="t" anchorCtr="0" compatLnSpc="1">
              <a:prstTxWarp prst="textNoShape">
                <a:avLst/>
              </a:prstTxWarp>
            </a:bodyPr>
            <a:lstStyle/>
            <a:p>
              <a:endParaRPr lang="id-ID" sz="3600"/>
            </a:p>
          </p:txBody>
        </p:sp>
        <p:sp>
          <p:nvSpPr>
            <p:cNvPr id="18" name="Oval 304">
              <a:extLst>
                <a:ext uri="{FF2B5EF4-FFF2-40B4-BE49-F238E27FC236}">
                  <a16:creationId xmlns:a16="http://schemas.microsoft.com/office/drawing/2014/main" id="{CA261C4F-340C-2949-9913-63BA1F8A1D19}"/>
                </a:ext>
              </a:extLst>
            </p:cNvPr>
            <p:cNvSpPr>
              <a:spLocks noChangeArrowheads="1"/>
            </p:cNvSpPr>
            <p:nvPr/>
          </p:nvSpPr>
          <p:spPr bwMode="auto">
            <a:xfrm>
              <a:off x="7050088" y="2940051"/>
              <a:ext cx="44450" cy="46038"/>
            </a:xfrm>
            <a:prstGeom prst="ellipse">
              <a:avLst/>
            </a:pr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82868" tIns="91434" rIns="182868" bIns="91434" numCol="1" anchor="t" anchorCtr="0" compatLnSpc="1">
              <a:prstTxWarp prst="textNoShape">
                <a:avLst/>
              </a:prstTxWarp>
            </a:bodyPr>
            <a:lstStyle/>
            <a:p>
              <a:endParaRPr lang="id-ID" sz="3600"/>
            </a:p>
          </p:txBody>
        </p:sp>
        <p:sp>
          <p:nvSpPr>
            <p:cNvPr id="19" name="Freeform 305">
              <a:extLst>
                <a:ext uri="{FF2B5EF4-FFF2-40B4-BE49-F238E27FC236}">
                  <a16:creationId xmlns:a16="http://schemas.microsoft.com/office/drawing/2014/main" id="{45C281AE-40FF-4B4E-9343-DFC90B6F997B}"/>
                </a:ext>
              </a:extLst>
            </p:cNvPr>
            <p:cNvSpPr>
              <a:spLocks/>
            </p:cNvSpPr>
            <p:nvPr/>
          </p:nvSpPr>
          <p:spPr bwMode="auto">
            <a:xfrm>
              <a:off x="7005638" y="3170238"/>
              <a:ext cx="344488" cy="55563"/>
            </a:xfrm>
            <a:custGeom>
              <a:avLst/>
              <a:gdLst>
                <a:gd name="T0" fmla="*/ 66 w 92"/>
                <a:gd name="T1" fmla="*/ 0 h 15"/>
                <a:gd name="T2" fmla="*/ 92 w 92"/>
                <a:gd name="T3" fmla="*/ 7 h 15"/>
                <a:gd name="T4" fmla="*/ 46 w 92"/>
                <a:gd name="T5" fmla="*/ 15 h 15"/>
                <a:gd name="T6" fmla="*/ 0 w 92"/>
                <a:gd name="T7" fmla="*/ 7 h 15"/>
                <a:gd name="T8" fmla="*/ 26 w 92"/>
                <a:gd name="T9" fmla="*/ 0 h 15"/>
              </a:gdLst>
              <a:ahLst/>
              <a:cxnLst>
                <a:cxn ang="0">
                  <a:pos x="T0" y="T1"/>
                </a:cxn>
                <a:cxn ang="0">
                  <a:pos x="T2" y="T3"/>
                </a:cxn>
                <a:cxn ang="0">
                  <a:pos x="T4" y="T5"/>
                </a:cxn>
                <a:cxn ang="0">
                  <a:pos x="T6" y="T7"/>
                </a:cxn>
                <a:cxn ang="0">
                  <a:pos x="T8" y="T9"/>
                </a:cxn>
              </a:cxnLst>
              <a:rect l="0" t="0" r="r" b="b"/>
              <a:pathLst>
                <a:path w="92" h="15">
                  <a:moveTo>
                    <a:pt x="66" y="0"/>
                  </a:moveTo>
                  <a:cubicBezTo>
                    <a:pt x="81" y="1"/>
                    <a:pt x="92" y="4"/>
                    <a:pt x="92" y="7"/>
                  </a:cubicBezTo>
                  <a:cubicBezTo>
                    <a:pt x="92" y="11"/>
                    <a:pt x="71" y="15"/>
                    <a:pt x="46" y="15"/>
                  </a:cubicBezTo>
                  <a:cubicBezTo>
                    <a:pt x="21" y="15"/>
                    <a:pt x="0" y="11"/>
                    <a:pt x="0" y="7"/>
                  </a:cubicBezTo>
                  <a:cubicBezTo>
                    <a:pt x="0" y="4"/>
                    <a:pt x="11" y="1"/>
                    <a:pt x="26" y="0"/>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82868" tIns="91434" rIns="182868" bIns="91434" numCol="1" anchor="t" anchorCtr="0" compatLnSpc="1">
              <a:prstTxWarp prst="textNoShape">
                <a:avLst/>
              </a:prstTxWarp>
            </a:bodyPr>
            <a:lstStyle/>
            <a:p>
              <a:endParaRPr lang="id-ID" sz="3600"/>
            </a:p>
          </p:txBody>
        </p:sp>
        <p:sp>
          <p:nvSpPr>
            <p:cNvPr id="20" name="Freeform 306">
              <a:extLst>
                <a:ext uri="{FF2B5EF4-FFF2-40B4-BE49-F238E27FC236}">
                  <a16:creationId xmlns:a16="http://schemas.microsoft.com/office/drawing/2014/main" id="{35406594-70FF-E647-A0A7-FAB13BECC0C2}"/>
                </a:ext>
              </a:extLst>
            </p:cNvPr>
            <p:cNvSpPr>
              <a:spLocks/>
            </p:cNvSpPr>
            <p:nvPr/>
          </p:nvSpPr>
          <p:spPr bwMode="auto">
            <a:xfrm>
              <a:off x="7140575" y="3014663"/>
              <a:ext cx="74613" cy="136525"/>
            </a:xfrm>
            <a:custGeom>
              <a:avLst/>
              <a:gdLst>
                <a:gd name="T0" fmla="*/ 20 w 20"/>
                <a:gd name="T1" fmla="*/ 36 h 36"/>
                <a:gd name="T2" fmla="*/ 0 w 20"/>
                <a:gd name="T3" fmla="*/ 36 h 36"/>
                <a:gd name="T4" fmla="*/ 0 w 20"/>
                <a:gd name="T5" fmla="*/ 10 h 36"/>
                <a:gd name="T6" fmla="*/ 10 w 20"/>
                <a:gd name="T7" fmla="*/ 0 h 36"/>
                <a:gd name="T8" fmla="*/ 20 w 20"/>
                <a:gd name="T9" fmla="*/ 10 h 36"/>
                <a:gd name="T10" fmla="*/ 20 w 20"/>
                <a:gd name="T11" fmla="*/ 36 h 36"/>
              </a:gdLst>
              <a:ahLst/>
              <a:cxnLst>
                <a:cxn ang="0">
                  <a:pos x="T0" y="T1"/>
                </a:cxn>
                <a:cxn ang="0">
                  <a:pos x="T2" y="T3"/>
                </a:cxn>
                <a:cxn ang="0">
                  <a:pos x="T4" y="T5"/>
                </a:cxn>
                <a:cxn ang="0">
                  <a:pos x="T6" y="T7"/>
                </a:cxn>
                <a:cxn ang="0">
                  <a:pos x="T8" y="T9"/>
                </a:cxn>
                <a:cxn ang="0">
                  <a:pos x="T10" y="T11"/>
                </a:cxn>
              </a:cxnLst>
              <a:rect l="0" t="0" r="r" b="b"/>
              <a:pathLst>
                <a:path w="20" h="36">
                  <a:moveTo>
                    <a:pt x="20" y="36"/>
                  </a:moveTo>
                  <a:cubicBezTo>
                    <a:pt x="0" y="36"/>
                    <a:pt x="0" y="36"/>
                    <a:pt x="0" y="36"/>
                  </a:cubicBezTo>
                  <a:cubicBezTo>
                    <a:pt x="0" y="10"/>
                    <a:pt x="0" y="10"/>
                    <a:pt x="0" y="10"/>
                  </a:cubicBezTo>
                  <a:cubicBezTo>
                    <a:pt x="0" y="4"/>
                    <a:pt x="4" y="0"/>
                    <a:pt x="10" y="0"/>
                  </a:cubicBezTo>
                  <a:cubicBezTo>
                    <a:pt x="16" y="0"/>
                    <a:pt x="20" y="4"/>
                    <a:pt x="20" y="10"/>
                  </a:cubicBezTo>
                  <a:lnTo>
                    <a:pt x="20" y="36"/>
                  </a:lnTo>
                  <a:close/>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82868" tIns="91434" rIns="182868" bIns="91434" numCol="1" anchor="t" anchorCtr="0" compatLnSpc="1">
              <a:prstTxWarp prst="textNoShape">
                <a:avLst/>
              </a:prstTxWarp>
            </a:bodyPr>
            <a:lstStyle/>
            <a:p>
              <a:endParaRPr lang="id-ID" sz="3600"/>
            </a:p>
          </p:txBody>
        </p:sp>
        <p:sp>
          <p:nvSpPr>
            <p:cNvPr id="21" name="Freeform 307">
              <a:extLst>
                <a:ext uri="{FF2B5EF4-FFF2-40B4-BE49-F238E27FC236}">
                  <a16:creationId xmlns:a16="http://schemas.microsoft.com/office/drawing/2014/main" id="{4CD33597-2E84-7549-97A2-02591F96BC7D}"/>
                </a:ext>
              </a:extLst>
            </p:cNvPr>
            <p:cNvSpPr>
              <a:spLocks/>
            </p:cNvSpPr>
            <p:nvPr/>
          </p:nvSpPr>
          <p:spPr bwMode="auto">
            <a:xfrm>
              <a:off x="7261225"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82868" tIns="91434" rIns="182868" bIns="91434" numCol="1" anchor="t" anchorCtr="0" compatLnSpc="1">
              <a:prstTxWarp prst="textNoShape">
                <a:avLst/>
              </a:prstTxWarp>
            </a:bodyPr>
            <a:lstStyle/>
            <a:p>
              <a:endParaRPr lang="id-ID" sz="3600"/>
            </a:p>
          </p:txBody>
        </p:sp>
        <p:sp>
          <p:nvSpPr>
            <p:cNvPr id="22" name="Freeform 308">
              <a:extLst>
                <a:ext uri="{FF2B5EF4-FFF2-40B4-BE49-F238E27FC236}">
                  <a16:creationId xmlns:a16="http://schemas.microsoft.com/office/drawing/2014/main" id="{5244234C-9A5B-5A45-854B-6E411C883BDD}"/>
                </a:ext>
              </a:extLst>
            </p:cNvPr>
            <p:cNvSpPr>
              <a:spLocks/>
            </p:cNvSpPr>
            <p:nvPr/>
          </p:nvSpPr>
          <p:spPr bwMode="auto">
            <a:xfrm>
              <a:off x="7050088"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82868" tIns="91434" rIns="182868" bIns="91434" numCol="1" anchor="t" anchorCtr="0" compatLnSpc="1">
              <a:prstTxWarp prst="textNoShape">
                <a:avLst/>
              </a:prstTxWarp>
            </a:bodyPr>
            <a:lstStyle/>
            <a:p>
              <a:endParaRPr lang="id-ID" sz="3600"/>
            </a:p>
          </p:txBody>
        </p:sp>
      </p:grpSp>
      <p:sp>
        <p:nvSpPr>
          <p:cNvPr id="23" name="Rectangle: Rounded Corners 52">
            <a:extLst>
              <a:ext uri="{FF2B5EF4-FFF2-40B4-BE49-F238E27FC236}">
                <a16:creationId xmlns:a16="http://schemas.microsoft.com/office/drawing/2014/main" id="{FCA02259-3CA7-7742-BE9B-6BAB23070FFB}"/>
              </a:ext>
            </a:extLst>
          </p:cNvPr>
          <p:cNvSpPr/>
          <p:nvPr/>
        </p:nvSpPr>
        <p:spPr>
          <a:xfrm>
            <a:off x="19150353" y="447"/>
            <a:ext cx="5232059" cy="6857556"/>
          </a:xfrm>
          <a:prstGeom prst="roundRect">
            <a:avLst>
              <a:gd name="adj" fmla="val 0"/>
            </a:avLst>
          </a:prstGeom>
          <a:solidFill>
            <a:schemeClr val="accent4">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4" name="Content Placeholder 2">
            <a:extLst>
              <a:ext uri="{FF2B5EF4-FFF2-40B4-BE49-F238E27FC236}">
                <a16:creationId xmlns:a16="http://schemas.microsoft.com/office/drawing/2014/main" id="{1F467BE8-93AA-0946-B14E-FB87D79D30B6}"/>
              </a:ext>
            </a:extLst>
          </p:cNvPr>
          <p:cNvSpPr txBox="1">
            <a:spLocks/>
          </p:cNvSpPr>
          <p:nvPr/>
        </p:nvSpPr>
        <p:spPr>
          <a:xfrm>
            <a:off x="20207351" y="2723485"/>
            <a:ext cx="2912999" cy="3862724"/>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pPr>
            <a:r>
              <a:rPr lang="en-US" sz="2800" dirty="0">
                <a:solidFill>
                  <a:schemeClr val="bg1"/>
                </a:solidFill>
              </a:rPr>
              <a:t>Lorem ipsum dolor sit </a:t>
            </a:r>
            <a:r>
              <a:rPr lang="en-US" sz="2800" dirty="0" err="1">
                <a:solidFill>
                  <a:schemeClr val="bg1"/>
                </a:solidFill>
              </a:rPr>
              <a:t>amet</a:t>
            </a:r>
            <a:r>
              <a:rPr lang="en-US" sz="2800" dirty="0">
                <a:solidFill>
                  <a:schemeClr val="bg1"/>
                </a:solidFill>
              </a:rPr>
              <a:t>, </a:t>
            </a:r>
            <a:r>
              <a:rPr lang="en-US" sz="2800" dirty="0" err="1">
                <a:solidFill>
                  <a:schemeClr val="bg1"/>
                </a:solidFill>
              </a:rPr>
              <a:t>consectetuer</a:t>
            </a:r>
            <a:r>
              <a:rPr lang="en-US" sz="2800" dirty="0">
                <a:solidFill>
                  <a:schemeClr val="bg1"/>
                </a:solidFill>
              </a:rPr>
              <a:t> </a:t>
            </a:r>
            <a:r>
              <a:rPr lang="en-US" sz="2800" dirty="0" err="1">
                <a:solidFill>
                  <a:schemeClr val="bg1"/>
                </a:solidFill>
              </a:rPr>
              <a:t>adipiscing</a:t>
            </a:r>
            <a:r>
              <a:rPr lang="en-US" sz="2800" dirty="0">
                <a:solidFill>
                  <a:schemeClr val="bg1"/>
                </a:solidFill>
              </a:rPr>
              <a:t> </a:t>
            </a:r>
            <a:r>
              <a:rPr lang="en-US" sz="2800" dirty="0" err="1">
                <a:solidFill>
                  <a:schemeClr val="bg1"/>
                </a:solidFill>
              </a:rPr>
              <a:t>elit</a:t>
            </a:r>
            <a:r>
              <a:rPr lang="en-US" sz="2800" dirty="0">
                <a:solidFill>
                  <a:schemeClr val="bg1"/>
                </a:solidFill>
              </a:rPr>
              <a:t>. </a:t>
            </a:r>
            <a:r>
              <a:rPr lang="en-US" sz="2800" dirty="0" err="1">
                <a:solidFill>
                  <a:schemeClr val="bg1"/>
                </a:solidFill>
              </a:rPr>
              <a:t>Maecs</a:t>
            </a:r>
            <a:r>
              <a:rPr lang="en-US" sz="2800" dirty="0">
                <a:solidFill>
                  <a:schemeClr val="bg1"/>
                </a:solidFill>
              </a:rPr>
              <a:t> </a:t>
            </a:r>
            <a:r>
              <a:rPr lang="en-US" sz="2800" dirty="0" err="1">
                <a:solidFill>
                  <a:schemeClr val="bg1"/>
                </a:solidFill>
              </a:rPr>
              <a:t>porttitor</a:t>
            </a:r>
            <a:r>
              <a:rPr lang="en-US" sz="2800" dirty="0">
                <a:solidFill>
                  <a:schemeClr val="bg1"/>
                </a:solidFill>
              </a:rPr>
              <a:t> </a:t>
            </a:r>
            <a:r>
              <a:rPr lang="en-US" sz="2800" dirty="0" err="1">
                <a:solidFill>
                  <a:schemeClr val="bg1"/>
                </a:solidFill>
              </a:rPr>
              <a:t>congue</a:t>
            </a:r>
            <a:r>
              <a:rPr lang="en-US" sz="2800" dirty="0">
                <a:solidFill>
                  <a:schemeClr val="bg1"/>
                </a:solidFill>
              </a:rPr>
              <a:t> mas. </a:t>
            </a:r>
            <a:r>
              <a:rPr lang="en-US" sz="2800" dirty="0" err="1">
                <a:solidFill>
                  <a:schemeClr val="bg1"/>
                </a:solidFill>
              </a:rPr>
              <a:t>Fusce</a:t>
            </a:r>
            <a:r>
              <a:rPr lang="en-US" sz="2800" dirty="0">
                <a:solidFill>
                  <a:schemeClr val="bg1"/>
                </a:solidFill>
              </a:rPr>
              <a:t> </a:t>
            </a:r>
            <a:r>
              <a:rPr lang="en-US" sz="2800" dirty="0" err="1">
                <a:solidFill>
                  <a:schemeClr val="bg1"/>
                </a:solidFill>
              </a:rPr>
              <a:t>posuere</a:t>
            </a:r>
            <a:r>
              <a:rPr lang="en-US" sz="2800" dirty="0">
                <a:solidFill>
                  <a:schemeClr val="bg1"/>
                </a:solidFill>
              </a:rPr>
              <a:t>,</a:t>
            </a:r>
          </a:p>
        </p:txBody>
      </p:sp>
      <p:sp>
        <p:nvSpPr>
          <p:cNvPr id="25" name="Content Placeholder 2">
            <a:extLst>
              <a:ext uri="{FF2B5EF4-FFF2-40B4-BE49-F238E27FC236}">
                <a16:creationId xmlns:a16="http://schemas.microsoft.com/office/drawing/2014/main" id="{8A593584-F801-6343-8957-D4302506446E}"/>
              </a:ext>
            </a:extLst>
          </p:cNvPr>
          <p:cNvSpPr txBox="1">
            <a:spLocks/>
          </p:cNvSpPr>
          <p:nvPr/>
        </p:nvSpPr>
        <p:spPr>
          <a:xfrm>
            <a:off x="20207351" y="893792"/>
            <a:ext cx="1330447" cy="1618328"/>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pPr>
            <a:r>
              <a:rPr lang="en-US" sz="8800" dirty="0">
                <a:solidFill>
                  <a:schemeClr val="bg1"/>
                </a:solidFill>
                <a:latin typeface="+mj-lt"/>
                <a:cs typeface="Segoe UI Light" panose="020B0502040204020203" pitchFamily="34" charset="0"/>
              </a:rPr>
              <a:t>01</a:t>
            </a:r>
          </a:p>
        </p:txBody>
      </p:sp>
      <p:sp>
        <p:nvSpPr>
          <p:cNvPr id="26" name="Slide Number Placeholder 4">
            <a:extLst>
              <a:ext uri="{FF2B5EF4-FFF2-40B4-BE49-F238E27FC236}">
                <a16:creationId xmlns:a16="http://schemas.microsoft.com/office/drawing/2014/main" id="{63D431CF-C23C-6140-9199-8E9AC65D4844}"/>
              </a:ext>
            </a:extLst>
          </p:cNvPr>
          <p:cNvSpPr txBox="1">
            <a:spLocks/>
          </p:cNvSpPr>
          <p:nvPr/>
        </p:nvSpPr>
        <p:spPr>
          <a:xfrm>
            <a:off x="22496585" y="12915508"/>
            <a:ext cx="666705" cy="323827"/>
          </a:xfr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BCE5F6-E27C-40A8-A53A-143DED54513F}" type="slidenum">
              <a:rPr lang="en-US" smtClean="0">
                <a:solidFill>
                  <a:schemeClr val="bg1"/>
                </a:solidFill>
              </a:rPr>
              <a:pPr/>
              <a:t>37</a:t>
            </a:fld>
            <a:endParaRPr lang="en-US" dirty="0">
              <a:solidFill>
                <a:schemeClr val="bg1"/>
              </a:solidFill>
            </a:endParaRPr>
          </a:p>
        </p:txBody>
      </p:sp>
      <p:sp>
        <p:nvSpPr>
          <p:cNvPr id="2" name="Title 1">
            <a:extLst>
              <a:ext uri="{FF2B5EF4-FFF2-40B4-BE49-F238E27FC236}">
                <a16:creationId xmlns:a16="http://schemas.microsoft.com/office/drawing/2014/main" id="{9D5241C0-8C69-A04C-AEBB-64DB50776F0B}"/>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7515998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8B4FF2-8DCC-764B-8520-E0880788E62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9210672" y="8183880"/>
            <a:ext cx="5171737" cy="4147820"/>
          </a:xfrm>
          <a:custGeom>
            <a:avLst/>
            <a:gdLst>
              <a:gd name="connsiteX0" fmla="*/ 0 w 2586037"/>
              <a:gd name="connsiteY0" fmla="*/ 0 h 2628900"/>
              <a:gd name="connsiteX1" fmla="*/ 2586037 w 2586037"/>
              <a:gd name="connsiteY1" fmla="*/ 0 h 2628900"/>
              <a:gd name="connsiteX2" fmla="*/ 2586037 w 2586037"/>
              <a:gd name="connsiteY2" fmla="*/ 2628900 h 2628900"/>
              <a:gd name="connsiteX3" fmla="*/ 0 w 2586037"/>
              <a:gd name="connsiteY3" fmla="*/ 2628900 h 2628900"/>
            </a:gdLst>
            <a:ahLst/>
            <a:cxnLst>
              <a:cxn ang="0">
                <a:pos x="connsiteX0" y="connsiteY0"/>
              </a:cxn>
              <a:cxn ang="0">
                <a:pos x="connsiteX1" y="connsiteY1"/>
              </a:cxn>
              <a:cxn ang="0">
                <a:pos x="connsiteX2" y="connsiteY2"/>
              </a:cxn>
              <a:cxn ang="0">
                <a:pos x="connsiteX3" y="connsiteY3"/>
              </a:cxn>
            </a:cxnLst>
            <a:rect l="l" t="t" r="r" b="b"/>
            <a:pathLst>
              <a:path w="2586037" h="2628900">
                <a:moveTo>
                  <a:pt x="0" y="0"/>
                </a:moveTo>
                <a:lnTo>
                  <a:pt x="2586037" y="0"/>
                </a:lnTo>
                <a:lnTo>
                  <a:pt x="2586037" y="2628900"/>
                </a:lnTo>
                <a:lnTo>
                  <a:pt x="0" y="2628900"/>
                </a:lnTo>
                <a:close/>
              </a:path>
            </a:pathLst>
          </a:custGeom>
        </p:spPr>
      </p:pic>
      <p:pic>
        <p:nvPicPr>
          <p:cNvPr id="3" name="Picture 2">
            <a:extLst>
              <a:ext uri="{FF2B5EF4-FFF2-40B4-BE49-F238E27FC236}">
                <a16:creationId xmlns:a16="http://schemas.microsoft.com/office/drawing/2014/main" id="{FD0F9765-85C7-3B4F-B98A-B88E2813DF5C}"/>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1886427" y="446"/>
            <a:ext cx="7143285" cy="4457410"/>
          </a:xfrm>
          <a:custGeom>
            <a:avLst/>
            <a:gdLst>
              <a:gd name="connsiteX0" fmla="*/ 0 w 3571875"/>
              <a:gd name="connsiteY0" fmla="*/ 0 h 2228850"/>
              <a:gd name="connsiteX1" fmla="*/ 3571875 w 3571875"/>
              <a:gd name="connsiteY1" fmla="*/ 0 h 2228850"/>
              <a:gd name="connsiteX2" fmla="*/ 3571875 w 3571875"/>
              <a:gd name="connsiteY2" fmla="*/ 2228850 h 2228850"/>
              <a:gd name="connsiteX3" fmla="*/ 0 w 3571875"/>
              <a:gd name="connsiteY3" fmla="*/ 2228850 h 2228850"/>
            </a:gdLst>
            <a:ahLst/>
            <a:cxnLst>
              <a:cxn ang="0">
                <a:pos x="connsiteX0" y="connsiteY0"/>
              </a:cxn>
              <a:cxn ang="0">
                <a:pos x="connsiteX1" y="connsiteY1"/>
              </a:cxn>
              <a:cxn ang="0">
                <a:pos x="connsiteX2" y="connsiteY2"/>
              </a:cxn>
              <a:cxn ang="0">
                <a:pos x="connsiteX3" y="connsiteY3"/>
              </a:cxn>
            </a:cxnLst>
            <a:rect l="l" t="t" r="r" b="b"/>
            <a:pathLst>
              <a:path w="3571875" h="2228850">
                <a:moveTo>
                  <a:pt x="0" y="0"/>
                </a:moveTo>
                <a:lnTo>
                  <a:pt x="3571875" y="0"/>
                </a:lnTo>
                <a:lnTo>
                  <a:pt x="3571875" y="2228850"/>
                </a:lnTo>
                <a:lnTo>
                  <a:pt x="0" y="2228850"/>
                </a:lnTo>
                <a:close/>
              </a:path>
            </a:pathLst>
          </a:custGeom>
        </p:spPr>
      </p:pic>
      <p:pic>
        <p:nvPicPr>
          <p:cNvPr id="4" name="Picture 3">
            <a:extLst>
              <a:ext uri="{FF2B5EF4-FFF2-40B4-BE49-F238E27FC236}">
                <a16:creationId xmlns:a16="http://schemas.microsoft.com/office/drawing/2014/main" id="{0B7A1837-4B97-E14A-9179-6797DA243C4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886427" y="9383861"/>
            <a:ext cx="7143285" cy="2947839"/>
          </a:xfrm>
          <a:custGeom>
            <a:avLst/>
            <a:gdLst>
              <a:gd name="connsiteX0" fmla="*/ 0 w 3571875"/>
              <a:gd name="connsiteY0" fmla="*/ 0 h 2143125"/>
              <a:gd name="connsiteX1" fmla="*/ 3571875 w 3571875"/>
              <a:gd name="connsiteY1" fmla="*/ 0 h 2143125"/>
              <a:gd name="connsiteX2" fmla="*/ 3571875 w 3571875"/>
              <a:gd name="connsiteY2" fmla="*/ 2143125 h 2143125"/>
              <a:gd name="connsiteX3" fmla="*/ 0 w 3571875"/>
              <a:gd name="connsiteY3" fmla="*/ 2143125 h 2143125"/>
            </a:gdLst>
            <a:ahLst/>
            <a:cxnLst>
              <a:cxn ang="0">
                <a:pos x="connsiteX0" y="connsiteY0"/>
              </a:cxn>
              <a:cxn ang="0">
                <a:pos x="connsiteX1" y="connsiteY1"/>
              </a:cxn>
              <a:cxn ang="0">
                <a:pos x="connsiteX2" y="connsiteY2"/>
              </a:cxn>
              <a:cxn ang="0">
                <a:pos x="connsiteX3" y="connsiteY3"/>
              </a:cxn>
            </a:cxnLst>
            <a:rect l="l" t="t" r="r" b="b"/>
            <a:pathLst>
              <a:path w="3571875" h="2143125">
                <a:moveTo>
                  <a:pt x="0" y="0"/>
                </a:moveTo>
                <a:lnTo>
                  <a:pt x="3571875" y="0"/>
                </a:lnTo>
                <a:lnTo>
                  <a:pt x="3571875" y="2143125"/>
                </a:lnTo>
                <a:lnTo>
                  <a:pt x="0" y="2143125"/>
                </a:lnTo>
                <a:close/>
              </a:path>
            </a:pathLst>
          </a:custGeom>
        </p:spPr>
      </p:pic>
      <p:pic>
        <p:nvPicPr>
          <p:cNvPr id="5" name="Picture 4">
            <a:extLst>
              <a:ext uri="{FF2B5EF4-FFF2-40B4-BE49-F238E27FC236}">
                <a16:creationId xmlns:a16="http://schemas.microsoft.com/office/drawing/2014/main" id="{DA99BB41-E9B1-254B-B98D-29D9857097C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1886429" y="4606434"/>
            <a:ext cx="7143285" cy="4628849"/>
          </a:xfrm>
          <a:custGeom>
            <a:avLst/>
            <a:gdLst>
              <a:gd name="connsiteX0" fmla="*/ 0 w 3571875"/>
              <a:gd name="connsiteY0" fmla="*/ 0 h 2314575"/>
              <a:gd name="connsiteX1" fmla="*/ 3571875 w 3571875"/>
              <a:gd name="connsiteY1" fmla="*/ 0 h 2314575"/>
              <a:gd name="connsiteX2" fmla="*/ 3571875 w 3571875"/>
              <a:gd name="connsiteY2" fmla="*/ 2314575 h 2314575"/>
              <a:gd name="connsiteX3" fmla="*/ 0 w 3571875"/>
              <a:gd name="connsiteY3" fmla="*/ 2314575 h 2314575"/>
            </a:gdLst>
            <a:ahLst/>
            <a:cxnLst>
              <a:cxn ang="0">
                <a:pos x="connsiteX0" y="connsiteY0"/>
              </a:cxn>
              <a:cxn ang="0">
                <a:pos x="connsiteX1" y="connsiteY1"/>
              </a:cxn>
              <a:cxn ang="0">
                <a:pos x="connsiteX2" y="connsiteY2"/>
              </a:cxn>
              <a:cxn ang="0">
                <a:pos x="connsiteX3" y="connsiteY3"/>
              </a:cxn>
            </a:cxnLst>
            <a:rect l="l" t="t" r="r" b="b"/>
            <a:pathLst>
              <a:path w="3571875" h="2314575">
                <a:moveTo>
                  <a:pt x="0" y="0"/>
                </a:moveTo>
                <a:lnTo>
                  <a:pt x="3571875" y="0"/>
                </a:lnTo>
                <a:lnTo>
                  <a:pt x="3571875" y="2314575"/>
                </a:lnTo>
                <a:lnTo>
                  <a:pt x="0" y="2314575"/>
                </a:lnTo>
                <a:close/>
              </a:path>
            </a:pathLst>
          </a:custGeom>
        </p:spPr>
      </p:pic>
      <p:pic>
        <p:nvPicPr>
          <p:cNvPr id="6" name="Picture 5">
            <a:extLst>
              <a:ext uri="{FF2B5EF4-FFF2-40B4-BE49-F238E27FC236}">
                <a16:creationId xmlns:a16="http://schemas.microsoft.com/office/drawing/2014/main" id="{FC3776F6-C87A-BE4C-9BF9-EFC83F2DC02B}"/>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19210674" y="1"/>
            <a:ext cx="5171739" cy="5532120"/>
          </a:xfrm>
          <a:custGeom>
            <a:avLst/>
            <a:gdLst>
              <a:gd name="connsiteX0" fmla="*/ 0 w 2586038"/>
              <a:gd name="connsiteY0" fmla="*/ 0 h 4140199"/>
              <a:gd name="connsiteX1" fmla="*/ 2586038 w 2586038"/>
              <a:gd name="connsiteY1" fmla="*/ 0 h 4140199"/>
              <a:gd name="connsiteX2" fmla="*/ 2586038 w 2586038"/>
              <a:gd name="connsiteY2" fmla="*/ 4140199 h 4140199"/>
              <a:gd name="connsiteX3" fmla="*/ 0 w 2586038"/>
              <a:gd name="connsiteY3" fmla="*/ 4140199 h 4140199"/>
            </a:gdLst>
            <a:ahLst/>
            <a:cxnLst>
              <a:cxn ang="0">
                <a:pos x="connsiteX0" y="connsiteY0"/>
              </a:cxn>
              <a:cxn ang="0">
                <a:pos x="connsiteX1" y="connsiteY1"/>
              </a:cxn>
              <a:cxn ang="0">
                <a:pos x="connsiteX2" y="connsiteY2"/>
              </a:cxn>
              <a:cxn ang="0">
                <a:pos x="connsiteX3" y="connsiteY3"/>
              </a:cxn>
            </a:cxnLst>
            <a:rect l="l" t="t" r="r" b="b"/>
            <a:pathLst>
              <a:path w="2586038" h="4140199">
                <a:moveTo>
                  <a:pt x="0" y="0"/>
                </a:moveTo>
                <a:lnTo>
                  <a:pt x="2586038" y="0"/>
                </a:lnTo>
                <a:lnTo>
                  <a:pt x="2586038" y="4140199"/>
                </a:lnTo>
                <a:lnTo>
                  <a:pt x="0" y="4140199"/>
                </a:lnTo>
                <a:close/>
              </a:path>
            </a:pathLst>
          </a:custGeom>
        </p:spPr>
      </p:pic>
      <p:grpSp>
        <p:nvGrpSpPr>
          <p:cNvPr id="7" name="Group 6">
            <a:extLst>
              <a:ext uri="{FF2B5EF4-FFF2-40B4-BE49-F238E27FC236}">
                <a16:creationId xmlns:a16="http://schemas.microsoft.com/office/drawing/2014/main" id="{CF1BD440-516A-8544-BB72-B603BD61B1AC}"/>
              </a:ext>
            </a:extLst>
          </p:cNvPr>
          <p:cNvGrpSpPr/>
          <p:nvPr/>
        </p:nvGrpSpPr>
        <p:grpSpPr>
          <a:xfrm>
            <a:off x="1442914" y="2860676"/>
            <a:ext cx="8842444" cy="9624879"/>
            <a:chOff x="721504" y="1401269"/>
            <a:chExt cx="4421510" cy="4812753"/>
          </a:xfrm>
        </p:grpSpPr>
        <p:sp>
          <p:nvSpPr>
            <p:cNvPr id="9" name="TextBox 8">
              <a:extLst>
                <a:ext uri="{FF2B5EF4-FFF2-40B4-BE49-F238E27FC236}">
                  <a16:creationId xmlns:a16="http://schemas.microsoft.com/office/drawing/2014/main" id="{24E40E89-77E7-1243-9C4D-3A74427E4258}"/>
                </a:ext>
              </a:extLst>
            </p:cNvPr>
            <p:cNvSpPr txBox="1"/>
            <p:nvPr/>
          </p:nvSpPr>
          <p:spPr>
            <a:xfrm>
              <a:off x="721504" y="1401269"/>
              <a:ext cx="4421510" cy="1477424"/>
            </a:xfrm>
            <a:prstGeom prst="rect">
              <a:avLst/>
            </a:prstGeom>
            <a:noFill/>
          </p:spPr>
          <p:txBody>
            <a:bodyPr wrap="square" lIns="0" tIns="0" rIns="0" bIns="0" rtlCol="0">
              <a:spAutoFit/>
            </a:bodyPr>
            <a:lstStyle/>
            <a:p>
              <a:r>
                <a:rPr lang="en-US" sz="3200" dirty="0"/>
                <a:t>Lorem Ipsum is simply dummy text of the printing and typesetting industry. Lorem Ipsum has been the industry's standard dummy text ever since the 1500s, when an unknown printer took a galley of type and scrambled it to make a type specimen book.</a:t>
              </a:r>
            </a:p>
          </p:txBody>
        </p:sp>
        <p:grpSp>
          <p:nvGrpSpPr>
            <p:cNvPr id="10" name="Group 9">
              <a:extLst>
                <a:ext uri="{FF2B5EF4-FFF2-40B4-BE49-F238E27FC236}">
                  <a16:creationId xmlns:a16="http://schemas.microsoft.com/office/drawing/2014/main" id="{CC0DFB20-07CF-6F4B-91E2-F73058A5C2FB}"/>
                </a:ext>
              </a:extLst>
            </p:cNvPr>
            <p:cNvGrpSpPr/>
            <p:nvPr/>
          </p:nvGrpSpPr>
          <p:grpSpPr>
            <a:xfrm>
              <a:off x="721504" y="3429000"/>
              <a:ext cx="4117196" cy="763001"/>
              <a:chOff x="721504" y="3429000"/>
              <a:chExt cx="4117196" cy="763001"/>
            </a:xfrm>
          </p:grpSpPr>
          <p:sp>
            <p:nvSpPr>
              <p:cNvPr id="36" name="Oval 35">
                <a:extLst>
                  <a:ext uri="{FF2B5EF4-FFF2-40B4-BE49-F238E27FC236}">
                    <a16:creationId xmlns:a16="http://schemas.microsoft.com/office/drawing/2014/main" id="{4620F688-3BD6-FC4A-A050-6FC6C7E484C3}"/>
                  </a:ext>
                </a:extLst>
              </p:cNvPr>
              <p:cNvSpPr/>
              <p:nvPr/>
            </p:nvSpPr>
            <p:spPr>
              <a:xfrm>
                <a:off x="721504" y="3429000"/>
                <a:ext cx="541020" cy="541020"/>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3600"/>
              </a:p>
            </p:txBody>
          </p:sp>
          <p:sp>
            <p:nvSpPr>
              <p:cNvPr id="35" name="TextBox 34">
                <a:extLst>
                  <a:ext uri="{FF2B5EF4-FFF2-40B4-BE49-F238E27FC236}">
                    <a16:creationId xmlns:a16="http://schemas.microsoft.com/office/drawing/2014/main" id="{73301BF9-8BCF-E44D-A81C-FE90E4EC5BC4}"/>
                  </a:ext>
                </a:extLst>
              </p:cNvPr>
              <p:cNvSpPr txBox="1"/>
              <p:nvPr/>
            </p:nvSpPr>
            <p:spPr>
              <a:xfrm>
                <a:off x="1558376" y="3453289"/>
                <a:ext cx="3280324" cy="738712"/>
              </a:xfrm>
              <a:prstGeom prst="rect">
                <a:avLst/>
              </a:prstGeom>
              <a:noFill/>
            </p:spPr>
            <p:txBody>
              <a:bodyPr wrap="square" lIns="0" tIns="0" rIns="0" bIns="0" rtlCol="0">
                <a:spAutoFit/>
              </a:bodyPr>
              <a:lstStyle/>
              <a:p>
                <a:r>
                  <a:rPr lang="en-US" sz="3200" dirty="0"/>
                  <a:t>Lorem Ipsum is simply dummy text of the printing and typesetting industry</a:t>
                </a:r>
              </a:p>
            </p:txBody>
          </p:sp>
        </p:grpSp>
        <p:grpSp>
          <p:nvGrpSpPr>
            <p:cNvPr id="11" name="Group 10">
              <a:extLst>
                <a:ext uri="{FF2B5EF4-FFF2-40B4-BE49-F238E27FC236}">
                  <a16:creationId xmlns:a16="http://schemas.microsoft.com/office/drawing/2014/main" id="{EF6B6471-3F4B-3C49-A194-40C3A46C326C}"/>
                </a:ext>
              </a:extLst>
            </p:cNvPr>
            <p:cNvGrpSpPr/>
            <p:nvPr/>
          </p:nvGrpSpPr>
          <p:grpSpPr>
            <a:xfrm>
              <a:off x="721504" y="4440010"/>
              <a:ext cx="4117196" cy="763001"/>
              <a:chOff x="721504" y="4440010"/>
              <a:chExt cx="4117196" cy="763001"/>
            </a:xfrm>
          </p:grpSpPr>
          <p:sp>
            <p:nvSpPr>
              <p:cNvPr id="29" name="Oval 28">
                <a:extLst>
                  <a:ext uri="{FF2B5EF4-FFF2-40B4-BE49-F238E27FC236}">
                    <a16:creationId xmlns:a16="http://schemas.microsoft.com/office/drawing/2014/main" id="{1B3E8B9A-6E1B-9341-9797-677278711A80}"/>
                  </a:ext>
                </a:extLst>
              </p:cNvPr>
              <p:cNvSpPr/>
              <p:nvPr/>
            </p:nvSpPr>
            <p:spPr>
              <a:xfrm>
                <a:off x="721504" y="4440010"/>
                <a:ext cx="541020" cy="541020"/>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3600"/>
              </a:p>
            </p:txBody>
          </p:sp>
          <p:sp>
            <p:nvSpPr>
              <p:cNvPr id="28" name="TextBox 27">
                <a:extLst>
                  <a:ext uri="{FF2B5EF4-FFF2-40B4-BE49-F238E27FC236}">
                    <a16:creationId xmlns:a16="http://schemas.microsoft.com/office/drawing/2014/main" id="{903D2F35-A1AC-654A-8A63-63C7AB18B53E}"/>
                  </a:ext>
                </a:extLst>
              </p:cNvPr>
              <p:cNvSpPr txBox="1"/>
              <p:nvPr/>
            </p:nvSpPr>
            <p:spPr>
              <a:xfrm>
                <a:off x="1558376" y="4464299"/>
                <a:ext cx="3280324" cy="738712"/>
              </a:xfrm>
              <a:prstGeom prst="rect">
                <a:avLst/>
              </a:prstGeom>
              <a:noFill/>
            </p:spPr>
            <p:txBody>
              <a:bodyPr wrap="square" lIns="0" tIns="0" rIns="0" bIns="0" rtlCol="0">
                <a:spAutoFit/>
              </a:bodyPr>
              <a:lstStyle/>
              <a:p>
                <a:r>
                  <a:rPr lang="en-US" sz="3200" dirty="0"/>
                  <a:t>Lorem Ipsum is simply dummy text of the printing and typesetting industry</a:t>
                </a:r>
              </a:p>
            </p:txBody>
          </p:sp>
        </p:grpSp>
        <p:grpSp>
          <p:nvGrpSpPr>
            <p:cNvPr id="12" name="Group 11">
              <a:extLst>
                <a:ext uri="{FF2B5EF4-FFF2-40B4-BE49-F238E27FC236}">
                  <a16:creationId xmlns:a16="http://schemas.microsoft.com/office/drawing/2014/main" id="{4C61872F-28A7-4347-B3D3-9874A2027C17}"/>
                </a:ext>
              </a:extLst>
            </p:cNvPr>
            <p:cNvGrpSpPr/>
            <p:nvPr/>
          </p:nvGrpSpPr>
          <p:grpSpPr>
            <a:xfrm>
              <a:off x="721504" y="5451021"/>
              <a:ext cx="4117196" cy="763001"/>
              <a:chOff x="721504" y="5451021"/>
              <a:chExt cx="4117196" cy="763001"/>
            </a:xfrm>
          </p:grpSpPr>
          <p:sp>
            <p:nvSpPr>
              <p:cNvPr id="15" name="Oval 14">
                <a:extLst>
                  <a:ext uri="{FF2B5EF4-FFF2-40B4-BE49-F238E27FC236}">
                    <a16:creationId xmlns:a16="http://schemas.microsoft.com/office/drawing/2014/main" id="{B1EA293E-CBE9-3940-9B08-D32BAA8DC15A}"/>
                  </a:ext>
                </a:extLst>
              </p:cNvPr>
              <p:cNvSpPr/>
              <p:nvPr/>
            </p:nvSpPr>
            <p:spPr>
              <a:xfrm>
                <a:off x="721504" y="5451021"/>
                <a:ext cx="541020" cy="541020"/>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3600"/>
              </a:p>
            </p:txBody>
          </p:sp>
          <p:sp>
            <p:nvSpPr>
              <p:cNvPr id="14" name="TextBox 13">
                <a:extLst>
                  <a:ext uri="{FF2B5EF4-FFF2-40B4-BE49-F238E27FC236}">
                    <a16:creationId xmlns:a16="http://schemas.microsoft.com/office/drawing/2014/main" id="{3BAAC937-F855-DD42-81DC-CBD36D83FA6A}"/>
                  </a:ext>
                </a:extLst>
              </p:cNvPr>
              <p:cNvSpPr txBox="1"/>
              <p:nvPr/>
            </p:nvSpPr>
            <p:spPr>
              <a:xfrm>
                <a:off x="1558376" y="5475310"/>
                <a:ext cx="3280324" cy="738712"/>
              </a:xfrm>
              <a:prstGeom prst="rect">
                <a:avLst/>
              </a:prstGeom>
              <a:noFill/>
            </p:spPr>
            <p:txBody>
              <a:bodyPr wrap="square" lIns="0" tIns="0" rIns="0" bIns="0" rtlCol="0">
                <a:spAutoFit/>
              </a:bodyPr>
              <a:lstStyle/>
              <a:p>
                <a:r>
                  <a:rPr lang="en-US" sz="3200" dirty="0"/>
                  <a:t>Lorem Ipsum is simply dummy text of the printing and typesetting industry</a:t>
                </a:r>
              </a:p>
            </p:txBody>
          </p:sp>
        </p:grpSp>
      </p:grpSp>
      <p:sp>
        <p:nvSpPr>
          <p:cNvPr id="30" name="Freeform: Shape 17">
            <a:extLst>
              <a:ext uri="{FF2B5EF4-FFF2-40B4-BE49-F238E27FC236}">
                <a16:creationId xmlns:a16="http://schemas.microsoft.com/office/drawing/2014/main" id="{A8C038FB-7621-2E43-84E9-FF886BEC9CDE}"/>
              </a:ext>
            </a:extLst>
          </p:cNvPr>
          <p:cNvSpPr/>
          <p:nvPr/>
        </p:nvSpPr>
        <p:spPr>
          <a:xfrm>
            <a:off x="1620620" y="9142728"/>
            <a:ext cx="670382" cy="718904"/>
          </a:xfrm>
          <a:custGeom>
            <a:avLst/>
            <a:gdLst/>
            <a:ahLst/>
            <a:cxnLst>
              <a:cxn ang="3cd4">
                <a:pos x="hc" y="t"/>
              </a:cxn>
              <a:cxn ang="cd2">
                <a:pos x="l" y="vc"/>
              </a:cxn>
              <a:cxn ang="cd4">
                <a:pos x="hc" y="b"/>
              </a:cxn>
              <a:cxn ang="0">
                <a:pos x="r" y="vc"/>
              </a:cxn>
            </a:cxnLst>
            <a:rect l="l" t="t" r="r" b="b"/>
            <a:pathLst>
              <a:path w="5030" h="5394">
                <a:moveTo>
                  <a:pt x="2529" y="2976"/>
                </a:moveTo>
                <a:cubicBezTo>
                  <a:pt x="2736" y="3088"/>
                  <a:pt x="2958" y="3119"/>
                  <a:pt x="3165" y="3119"/>
                </a:cubicBezTo>
                <a:cubicBezTo>
                  <a:pt x="3340" y="3119"/>
                  <a:pt x="3499" y="3104"/>
                  <a:pt x="3658" y="3040"/>
                </a:cubicBezTo>
                <a:cubicBezTo>
                  <a:pt x="3833" y="3453"/>
                  <a:pt x="3833" y="3453"/>
                  <a:pt x="3833" y="3453"/>
                </a:cubicBezTo>
                <a:cubicBezTo>
                  <a:pt x="3785" y="3501"/>
                  <a:pt x="3738" y="3565"/>
                  <a:pt x="3706" y="3628"/>
                </a:cubicBezTo>
                <a:cubicBezTo>
                  <a:pt x="3674" y="3724"/>
                  <a:pt x="3674" y="3835"/>
                  <a:pt x="3722" y="3931"/>
                </a:cubicBezTo>
                <a:cubicBezTo>
                  <a:pt x="4278" y="5155"/>
                  <a:pt x="4278" y="5155"/>
                  <a:pt x="4278" y="5155"/>
                </a:cubicBezTo>
                <a:cubicBezTo>
                  <a:pt x="4310" y="5251"/>
                  <a:pt x="4374" y="5315"/>
                  <a:pt x="4469" y="5362"/>
                </a:cubicBezTo>
                <a:cubicBezTo>
                  <a:pt x="4517" y="5378"/>
                  <a:pt x="4581" y="5394"/>
                  <a:pt x="4629" y="5394"/>
                </a:cubicBezTo>
                <a:cubicBezTo>
                  <a:pt x="4692" y="5394"/>
                  <a:pt x="4739" y="5378"/>
                  <a:pt x="4787" y="5362"/>
                </a:cubicBezTo>
                <a:cubicBezTo>
                  <a:pt x="4883" y="5315"/>
                  <a:pt x="4962" y="5235"/>
                  <a:pt x="4994" y="5139"/>
                </a:cubicBezTo>
                <a:cubicBezTo>
                  <a:pt x="5042" y="5044"/>
                  <a:pt x="5042" y="4933"/>
                  <a:pt x="4994" y="4837"/>
                </a:cubicBezTo>
                <a:cubicBezTo>
                  <a:pt x="4438" y="3613"/>
                  <a:pt x="4438" y="3613"/>
                  <a:pt x="4438" y="3613"/>
                </a:cubicBezTo>
                <a:cubicBezTo>
                  <a:pt x="4358" y="3438"/>
                  <a:pt x="4167" y="3342"/>
                  <a:pt x="3976" y="3390"/>
                </a:cubicBezTo>
                <a:cubicBezTo>
                  <a:pt x="3817" y="2992"/>
                  <a:pt x="3817" y="2992"/>
                  <a:pt x="3817" y="2992"/>
                </a:cubicBezTo>
                <a:cubicBezTo>
                  <a:pt x="4151" y="2833"/>
                  <a:pt x="4438" y="2579"/>
                  <a:pt x="4596" y="2213"/>
                </a:cubicBezTo>
                <a:cubicBezTo>
                  <a:pt x="4772" y="1831"/>
                  <a:pt x="4787" y="1417"/>
                  <a:pt x="4644" y="1020"/>
                </a:cubicBezTo>
                <a:cubicBezTo>
                  <a:pt x="4485" y="622"/>
                  <a:pt x="4199" y="320"/>
                  <a:pt x="3817" y="145"/>
                </a:cubicBezTo>
                <a:cubicBezTo>
                  <a:pt x="3038" y="-220"/>
                  <a:pt x="2115" y="129"/>
                  <a:pt x="1749" y="908"/>
                </a:cubicBezTo>
                <a:cubicBezTo>
                  <a:pt x="1670" y="1099"/>
                  <a:pt x="1622" y="1306"/>
                  <a:pt x="1606" y="1513"/>
                </a:cubicBezTo>
                <a:cubicBezTo>
                  <a:pt x="1606" y="1577"/>
                  <a:pt x="1606" y="1640"/>
                  <a:pt x="1622" y="1704"/>
                </a:cubicBezTo>
                <a:cubicBezTo>
                  <a:pt x="79" y="1688"/>
                  <a:pt x="79" y="1688"/>
                  <a:pt x="79" y="1688"/>
                </a:cubicBezTo>
                <a:cubicBezTo>
                  <a:pt x="32" y="1688"/>
                  <a:pt x="0" y="1736"/>
                  <a:pt x="0" y="1768"/>
                </a:cubicBezTo>
                <a:cubicBezTo>
                  <a:pt x="0" y="1815"/>
                  <a:pt x="32" y="1847"/>
                  <a:pt x="79" y="1847"/>
                </a:cubicBezTo>
                <a:cubicBezTo>
                  <a:pt x="1638" y="1863"/>
                  <a:pt x="1638" y="1863"/>
                  <a:pt x="1638" y="1863"/>
                </a:cubicBezTo>
                <a:cubicBezTo>
                  <a:pt x="1654" y="1943"/>
                  <a:pt x="1686" y="2038"/>
                  <a:pt x="1718" y="2117"/>
                </a:cubicBezTo>
                <a:cubicBezTo>
                  <a:pt x="79" y="2117"/>
                  <a:pt x="79" y="2117"/>
                  <a:pt x="79" y="2117"/>
                </a:cubicBezTo>
                <a:cubicBezTo>
                  <a:pt x="32" y="2117"/>
                  <a:pt x="0" y="2149"/>
                  <a:pt x="0" y="2197"/>
                </a:cubicBezTo>
                <a:cubicBezTo>
                  <a:pt x="0" y="2245"/>
                  <a:pt x="32" y="2277"/>
                  <a:pt x="79" y="2277"/>
                </a:cubicBezTo>
                <a:cubicBezTo>
                  <a:pt x="1781" y="2277"/>
                  <a:pt x="1781" y="2277"/>
                  <a:pt x="1781" y="2277"/>
                </a:cubicBezTo>
                <a:cubicBezTo>
                  <a:pt x="1829" y="2372"/>
                  <a:pt x="1893" y="2467"/>
                  <a:pt x="1956" y="2547"/>
                </a:cubicBezTo>
                <a:cubicBezTo>
                  <a:pt x="79" y="2547"/>
                  <a:pt x="79" y="2547"/>
                  <a:pt x="79" y="2547"/>
                </a:cubicBezTo>
                <a:cubicBezTo>
                  <a:pt x="32" y="2547"/>
                  <a:pt x="0" y="2579"/>
                  <a:pt x="0" y="2626"/>
                </a:cubicBezTo>
                <a:cubicBezTo>
                  <a:pt x="0" y="2658"/>
                  <a:pt x="32" y="2706"/>
                  <a:pt x="79" y="2706"/>
                </a:cubicBezTo>
                <a:cubicBezTo>
                  <a:pt x="2100" y="2706"/>
                  <a:pt x="2100" y="2706"/>
                  <a:pt x="2100" y="2706"/>
                </a:cubicBezTo>
                <a:cubicBezTo>
                  <a:pt x="2227" y="2817"/>
                  <a:pt x="2370" y="2913"/>
                  <a:pt x="2529" y="2976"/>
                </a:cubicBezTo>
                <a:close/>
                <a:moveTo>
                  <a:pt x="4072" y="3533"/>
                </a:moveTo>
                <a:cubicBezTo>
                  <a:pt x="4167" y="3533"/>
                  <a:pt x="4247" y="3597"/>
                  <a:pt x="4294" y="3676"/>
                </a:cubicBezTo>
                <a:cubicBezTo>
                  <a:pt x="4851" y="4901"/>
                  <a:pt x="4851" y="4901"/>
                  <a:pt x="4851" y="4901"/>
                </a:cubicBezTo>
                <a:cubicBezTo>
                  <a:pt x="4867" y="4964"/>
                  <a:pt x="4867" y="5028"/>
                  <a:pt x="4851" y="5092"/>
                </a:cubicBezTo>
                <a:cubicBezTo>
                  <a:pt x="4835" y="5139"/>
                  <a:pt x="4787" y="5187"/>
                  <a:pt x="4724" y="5219"/>
                </a:cubicBezTo>
                <a:cubicBezTo>
                  <a:pt x="4660" y="5235"/>
                  <a:pt x="4596" y="5235"/>
                  <a:pt x="4533" y="5219"/>
                </a:cubicBezTo>
                <a:cubicBezTo>
                  <a:pt x="4485" y="5187"/>
                  <a:pt x="4438" y="5139"/>
                  <a:pt x="4421" y="5092"/>
                </a:cubicBezTo>
                <a:cubicBezTo>
                  <a:pt x="3865" y="3867"/>
                  <a:pt x="3865" y="3867"/>
                  <a:pt x="3865" y="3867"/>
                </a:cubicBezTo>
                <a:cubicBezTo>
                  <a:pt x="3833" y="3803"/>
                  <a:pt x="3833" y="3740"/>
                  <a:pt x="3865" y="3676"/>
                </a:cubicBezTo>
                <a:cubicBezTo>
                  <a:pt x="3881" y="3628"/>
                  <a:pt x="3929" y="3581"/>
                  <a:pt x="3976" y="3549"/>
                </a:cubicBezTo>
                <a:cubicBezTo>
                  <a:pt x="4008" y="3549"/>
                  <a:pt x="4040" y="3533"/>
                  <a:pt x="4072" y="3533"/>
                </a:cubicBezTo>
                <a:close/>
                <a:moveTo>
                  <a:pt x="3181" y="161"/>
                </a:moveTo>
                <a:cubicBezTo>
                  <a:pt x="3372" y="161"/>
                  <a:pt x="3563" y="209"/>
                  <a:pt x="3754" y="289"/>
                </a:cubicBezTo>
                <a:cubicBezTo>
                  <a:pt x="4103" y="447"/>
                  <a:pt x="4358" y="718"/>
                  <a:pt x="4485" y="1068"/>
                </a:cubicBezTo>
                <a:cubicBezTo>
                  <a:pt x="4612" y="1434"/>
                  <a:pt x="4612" y="1815"/>
                  <a:pt x="4453" y="2149"/>
                </a:cubicBezTo>
                <a:cubicBezTo>
                  <a:pt x="4120" y="2849"/>
                  <a:pt x="3293" y="3167"/>
                  <a:pt x="2593" y="2833"/>
                </a:cubicBezTo>
                <a:cubicBezTo>
                  <a:pt x="2322" y="2722"/>
                  <a:pt x="2115" y="2515"/>
                  <a:pt x="1972" y="2277"/>
                </a:cubicBezTo>
                <a:cubicBezTo>
                  <a:pt x="3722" y="2277"/>
                  <a:pt x="3722" y="2277"/>
                  <a:pt x="3722" y="2277"/>
                </a:cubicBezTo>
                <a:cubicBezTo>
                  <a:pt x="3769" y="2277"/>
                  <a:pt x="3801" y="2245"/>
                  <a:pt x="3801" y="2197"/>
                </a:cubicBezTo>
                <a:cubicBezTo>
                  <a:pt x="3801" y="2149"/>
                  <a:pt x="3769" y="2117"/>
                  <a:pt x="3722" y="2117"/>
                </a:cubicBezTo>
                <a:cubicBezTo>
                  <a:pt x="1893" y="2117"/>
                  <a:pt x="1893" y="2117"/>
                  <a:pt x="1893" y="2117"/>
                </a:cubicBezTo>
                <a:cubicBezTo>
                  <a:pt x="1813" y="1958"/>
                  <a:pt x="1781" y="1768"/>
                  <a:pt x="1766" y="1593"/>
                </a:cubicBezTo>
                <a:cubicBezTo>
                  <a:pt x="3722" y="1593"/>
                  <a:pt x="3722" y="1593"/>
                  <a:pt x="3722" y="1593"/>
                </a:cubicBezTo>
                <a:cubicBezTo>
                  <a:pt x="3769" y="1593"/>
                  <a:pt x="3801" y="1545"/>
                  <a:pt x="3801" y="1513"/>
                </a:cubicBezTo>
                <a:cubicBezTo>
                  <a:pt x="3801" y="1465"/>
                  <a:pt x="3769" y="1434"/>
                  <a:pt x="3722" y="1434"/>
                </a:cubicBezTo>
                <a:cubicBezTo>
                  <a:pt x="1781" y="1434"/>
                  <a:pt x="1781" y="1434"/>
                  <a:pt x="1781" y="1434"/>
                </a:cubicBezTo>
                <a:cubicBezTo>
                  <a:pt x="1797" y="1274"/>
                  <a:pt x="1829" y="1131"/>
                  <a:pt x="1893" y="972"/>
                </a:cubicBezTo>
                <a:cubicBezTo>
                  <a:pt x="1909" y="956"/>
                  <a:pt x="1924" y="925"/>
                  <a:pt x="1940" y="893"/>
                </a:cubicBezTo>
                <a:cubicBezTo>
                  <a:pt x="3722" y="893"/>
                  <a:pt x="3722" y="893"/>
                  <a:pt x="3722" y="893"/>
                </a:cubicBezTo>
                <a:cubicBezTo>
                  <a:pt x="3769" y="893"/>
                  <a:pt x="3801" y="861"/>
                  <a:pt x="3801" y="813"/>
                </a:cubicBezTo>
                <a:cubicBezTo>
                  <a:pt x="3801" y="765"/>
                  <a:pt x="3769" y="734"/>
                  <a:pt x="3722" y="734"/>
                </a:cubicBezTo>
                <a:cubicBezTo>
                  <a:pt x="2036" y="734"/>
                  <a:pt x="2036" y="734"/>
                  <a:pt x="2036" y="734"/>
                </a:cubicBezTo>
                <a:cubicBezTo>
                  <a:pt x="2306" y="368"/>
                  <a:pt x="2736" y="161"/>
                  <a:pt x="3181" y="16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1" name="Freeform: Shape 14">
            <a:extLst>
              <a:ext uri="{FF2B5EF4-FFF2-40B4-BE49-F238E27FC236}">
                <a16:creationId xmlns:a16="http://schemas.microsoft.com/office/drawing/2014/main" id="{665F8381-0C30-DE4E-AC04-6D1D6BD1D04F}"/>
              </a:ext>
            </a:extLst>
          </p:cNvPr>
          <p:cNvSpPr/>
          <p:nvPr/>
        </p:nvSpPr>
        <p:spPr>
          <a:xfrm>
            <a:off x="1676357" y="11181144"/>
            <a:ext cx="614645" cy="602544"/>
          </a:xfrm>
          <a:custGeom>
            <a:avLst/>
            <a:gdLst/>
            <a:ahLst/>
            <a:cxnLst>
              <a:cxn ang="3cd4">
                <a:pos x="hc" y="t"/>
              </a:cxn>
              <a:cxn ang="cd2">
                <a:pos x="l" y="vc"/>
              </a:cxn>
              <a:cxn ang="cd4">
                <a:pos x="hc" y="b"/>
              </a:cxn>
              <a:cxn ang="0">
                <a:pos x="r" y="vc"/>
              </a:cxn>
            </a:cxnLst>
            <a:rect l="l" t="t" r="r" b="b"/>
            <a:pathLst>
              <a:path w="3579" h="4644">
                <a:moveTo>
                  <a:pt x="430" y="4215"/>
                </a:moveTo>
                <a:lnTo>
                  <a:pt x="430" y="80"/>
                </a:lnTo>
                <a:cubicBezTo>
                  <a:pt x="430" y="32"/>
                  <a:pt x="398" y="0"/>
                  <a:pt x="350" y="0"/>
                </a:cubicBezTo>
                <a:cubicBezTo>
                  <a:pt x="318" y="0"/>
                  <a:pt x="287" y="32"/>
                  <a:pt x="287" y="80"/>
                </a:cubicBezTo>
                <a:lnTo>
                  <a:pt x="287" y="4215"/>
                </a:lnTo>
                <a:cubicBezTo>
                  <a:pt x="287" y="4262"/>
                  <a:pt x="318" y="4295"/>
                  <a:pt x="350" y="4295"/>
                </a:cubicBezTo>
                <a:cubicBezTo>
                  <a:pt x="398" y="4295"/>
                  <a:pt x="430" y="4262"/>
                  <a:pt x="430" y="4215"/>
                </a:cubicBezTo>
                <a:close/>
                <a:moveTo>
                  <a:pt x="3579" y="4565"/>
                </a:moveTo>
                <a:cubicBezTo>
                  <a:pt x="3579" y="4517"/>
                  <a:pt x="3547" y="4485"/>
                  <a:pt x="3499" y="4485"/>
                </a:cubicBezTo>
                <a:lnTo>
                  <a:pt x="79" y="4485"/>
                </a:lnTo>
                <a:cubicBezTo>
                  <a:pt x="32" y="4485"/>
                  <a:pt x="0" y="4517"/>
                  <a:pt x="0" y="4565"/>
                </a:cubicBezTo>
                <a:cubicBezTo>
                  <a:pt x="0" y="4613"/>
                  <a:pt x="32" y="4644"/>
                  <a:pt x="79" y="4644"/>
                </a:cubicBezTo>
                <a:lnTo>
                  <a:pt x="3499" y="4644"/>
                </a:lnTo>
                <a:cubicBezTo>
                  <a:pt x="3547" y="4644"/>
                  <a:pt x="3579" y="4613"/>
                  <a:pt x="3579" y="4565"/>
                </a:cubicBezTo>
                <a:close/>
                <a:moveTo>
                  <a:pt x="1018" y="4215"/>
                </a:moveTo>
                <a:lnTo>
                  <a:pt x="1018" y="811"/>
                </a:lnTo>
                <a:cubicBezTo>
                  <a:pt x="1018" y="780"/>
                  <a:pt x="986" y="732"/>
                  <a:pt x="939" y="732"/>
                </a:cubicBezTo>
                <a:cubicBezTo>
                  <a:pt x="891" y="732"/>
                  <a:pt x="859" y="780"/>
                  <a:pt x="859" y="811"/>
                </a:cubicBezTo>
                <a:lnTo>
                  <a:pt x="859" y="4215"/>
                </a:lnTo>
                <a:cubicBezTo>
                  <a:pt x="859" y="4262"/>
                  <a:pt x="891" y="4295"/>
                  <a:pt x="939" y="4295"/>
                </a:cubicBezTo>
                <a:cubicBezTo>
                  <a:pt x="986" y="4295"/>
                  <a:pt x="1018" y="4262"/>
                  <a:pt x="1018" y="4215"/>
                </a:cubicBezTo>
                <a:close/>
                <a:moveTo>
                  <a:pt x="1702" y="4215"/>
                </a:moveTo>
                <a:lnTo>
                  <a:pt x="1702" y="2290"/>
                </a:lnTo>
                <a:cubicBezTo>
                  <a:pt x="1702" y="2259"/>
                  <a:pt x="1670" y="2211"/>
                  <a:pt x="1623" y="2211"/>
                </a:cubicBezTo>
                <a:cubicBezTo>
                  <a:pt x="1575" y="2211"/>
                  <a:pt x="1543" y="2259"/>
                  <a:pt x="1543" y="2290"/>
                </a:cubicBezTo>
                <a:lnTo>
                  <a:pt x="1543" y="4215"/>
                </a:lnTo>
                <a:cubicBezTo>
                  <a:pt x="1543" y="4262"/>
                  <a:pt x="1575" y="4295"/>
                  <a:pt x="1623" y="4295"/>
                </a:cubicBezTo>
                <a:cubicBezTo>
                  <a:pt x="1670" y="4295"/>
                  <a:pt x="1702" y="4262"/>
                  <a:pt x="1702" y="4215"/>
                </a:cubicBezTo>
                <a:close/>
                <a:moveTo>
                  <a:pt x="2386" y="4215"/>
                </a:moveTo>
                <a:lnTo>
                  <a:pt x="2386" y="1845"/>
                </a:lnTo>
                <a:cubicBezTo>
                  <a:pt x="2386" y="1798"/>
                  <a:pt x="2354" y="1765"/>
                  <a:pt x="2306" y="1765"/>
                </a:cubicBezTo>
                <a:cubicBezTo>
                  <a:pt x="2259" y="1765"/>
                  <a:pt x="2227" y="1798"/>
                  <a:pt x="2227" y="1845"/>
                </a:cubicBezTo>
                <a:lnTo>
                  <a:pt x="2227" y="4215"/>
                </a:lnTo>
                <a:cubicBezTo>
                  <a:pt x="2227" y="4262"/>
                  <a:pt x="2259" y="4295"/>
                  <a:pt x="2306" y="4295"/>
                </a:cubicBezTo>
                <a:cubicBezTo>
                  <a:pt x="2354" y="4295"/>
                  <a:pt x="2386" y="4262"/>
                  <a:pt x="2386" y="4215"/>
                </a:cubicBezTo>
                <a:close/>
                <a:moveTo>
                  <a:pt x="3070" y="4215"/>
                </a:moveTo>
                <a:lnTo>
                  <a:pt x="3070" y="2417"/>
                </a:lnTo>
                <a:cubicBezTo>
                  <a:pt x="3070" y="2370"/>
                  <a:pt x="3038" y="2338"/>
                  <a:pt x="2990" y="2338"/>
                </a:cubicBezTo>
                <a:cubicBezTo>
                  <a:pt x="2942" y="2338"/>
                  <a:pt x="2911" y="2370"/>
                  <a:pt x="2911" y="2417"/>
                </a:cubicBezTo>
                <a:lnTo>
                  <a:pt x="2911" y="4215"/>
                </a:lnTo>
                <a:cubicBezTo>
                  <a:pt x="2911" y="4262"/>
                  <a:pt x="2942" y="4295"/>
                  <a:pt x="2990" y="4295"/>
                </a:cubicBezTo>
                <a:cubicBezTo>
                  <a:pt x="3038" y="4295"/>
                  <a:pt x="3070" y="4262"/>
                  <a:pt x="3070" y="421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2" name="Freeform: Shape 1">
            <a:extLst>
              <a:ext uri="{FF2B5EF4-FFF2-40B4-BE49-F238E27FC236}">
                <a16:creationId xmlns:a16="http://schemas.microsoft.com/office/drawing/2014/main" id="{57A4952F-7E65-F84F-BF9E-FA3AE7991079}"/>
              </a:ext>
            </a:extLst>
          </p:cNvPr>
          <p:cNvSpPr/>
          <p:nvPr/>
        </p:nvSpPr>
        <p:spPr>
          <a:xfrm>
            <a:off x="1654659" y="7128077"/>
            <a:ext cx="662600" cy="664800"/>
          </a:xfrm>
          <a:custGeom>
            <a:avLst/>
            <a:gdLst/>
            <a:ahLst/>
            <a:cxnLst>
              <a:cxn ang="3cd4">
                <a:pos x="hc" y="t"/>
              </a:cxn>
              <a:cxn ang="cd2">
                <a:pos x="l" y="vc"/>
              </a:cxn>
              <a:cxn ang="cd4">
                <a:pos x="hc" y="b"/>
              </a:cxn>
              <a:cxn ang="0">
                <a:pos x="r" y="vc"/>
              </a:cxn>
            </a:cxnLst>
            <a:rect l="l" t="t" r="r" b="b"/>
            <a:pathLst>
              <a:path w="5121" h="5138">
                <a:moveTo>
                  <a:pt x="0" y="4502"/>
                </a:moveTo>
                <a:cubicBezTo>
                  <a:pt x="0" y="4852"/>
                  <a:pt x="270" y="5138"/>
                  <a:pt x="620" y="5138"/>
                </a:cubicBezTo>
                <a:cubicBezTo>
                  <a:pt x="938" y="5138"/>
                  <a:pt x="1192" y="4899"/>
                  <a:pt x="1240" y="4613"/>
                </a:cubicBezTo>
                <a:cubicBezTo>
                  <a:pt x="1940" y="4613"/>
                  <a:pt x="1940" y="4613"/>
                  <a:pt x="1940" y="4613"/>
                </a:cubicBezTo>
                <a:cubicBezTo>
                  <a:pt x="1988" y="4899"/>
                  <a:pt x="2243" y="5138"/>
                  <a:pt x="2561" y="5138"/>
                </a:cubicBezTo>
                <a:cubicBezTo>
                  <a:pt x="2863" y="5138"/>
                  <a:pt x="3117" y="4899"/>
                  <a:pt x="3181" y="4613"/>
                </a:cubicBezTo>
                <a:cubicBezTo>
                  <a:pt x="3881" y="4613"/>
                  <a:pt x="3881" y="4613"/>
                  <a:pt x="3881" y="4613"/>
                </a:cubicBezTo>
                <a:cubicBezTo>
                  <a:pt x="3928" y="4899"/>
                  <a:pt x="4183" y="5138"/>
                  <a:pt x="4501" y="5138"/>
                </a:cubicBezTo>
                <a:cubicBezTo>
                  <a:pt x="4851" y="5138"/>
                  <a:pt x="5121" y="4852"/>
                  <a:pt x="5121" y="4502"/>
                </a:cubicBezTo>
                <a:cubicBezTo>
                  <a:pt x="5121" y="4184"/>
                  <a:pt x="4883" y="3913"/>
                  <a:pt x="4565" y="3881"/>
                </a:cubicBezTo>
                <a:cubicBezTo>
                  <a:pt x="4565" y="3197"/>
                  <a:pt x="4565" y="3197"/>
                  <a:pt x="4565" y="3197"/>
                </a:cubicBezTo>
                <a:cubicBezTo>
                  <a:pt x="4883" y="3166"/>
                  <a:pt x="5121" y="2895"/>
                  <a:pt x="5121" y="2561"/>
                </a:cubicBezTo>
                <a:cubicBezTo>
                  <a:pt x="5121" y="2243"/>
                  <a:pt x="4883" y="1973"/>
                  <a:pt x="4565" y="1941"/>
                </a:cubicBezTo>
                <a:cubicBezTo>
                  <a:pt x="4565" y="1257"/>
                  <a:pt x="4565" y="1257"/>
                  <a:pt x="4565" y="1257"/>
                </a:cubicBezTo>
                <a:cubicBezTo>
                  <a:pt x="4883" y="1225"/>
                  <a:pt x="5121" y="955"/>
                  <a:pt x="5121" y="620"/>
                </a:cubicBezTo>
                <a:cubicBezTo>
                  <a:pt x="5121" y="286"/>
                  <a:pt x="4851" y="0"/>
                  <a:pt x="4501" y="0"/>
                </a:cubicBezTo>
                <a:cubicBezTo>
                  <a:pt x="4167" y="0"/>
                  <a:pt x="3897" y="239"/>
                  <a:pt x="3865" y="557"/>
                </a:cubicBezTo>
                <a:cubicBezTo>
                  <a:pt x="3181" y="557"/>
                  <a:pt x="3181" y="557"/>
                  <a:pt x="3181" y="557"/>
                </a:cubicBezTo>
                <a:cubicBezTo>
                  <a:pt x="3149" y="239"/>
                  <a:pt x="2879" y="0"/>
                  <a:pt x="2561" y="0"/>
                </a:cubicBezTo>
                <a:cubicBezTo>
                  <a:pt x="2227" y="0"/>
                  <a:pt x="1956" y="239"/>
                  <a:pt x="1924" y="557"/>
                </a:cubicBezTo>
                <a:cubicBezTo>
                  <a:pt x="1256" y="557"/>
                  <a:pt x="1256" y="557"/>
                  <a:pt x="1256" y="557"/>
                </a:cubicBezTo>
                <a:cubicBezTo>
                  <a:pt x="1225" y="239"/>
                  <a:pt x="954" y="0"/>
                  <a:pt x="620" y="0"/>
                </a:cubicBezTo>
                <a:cubicBezTo>
                  <a:pt x="270" y="0"/>
                  <a:pt x="0" y="286"/>
                  <a:pt x="0" y="620"/>
                </a:cubicBezTo>
                <a:cubicBezTo>
                  <a:pt x="0" y="939"/>
                  <a:pt x="222" y="1193"/>
                  <a:pt x="525" y="1257"/>
                </a:cubicBezTo>
                <a:cubicBezTo>
                  <a:pt x="525" y="1941"/>
                  <a:pt x="525" y="1941"/>
                  <a:pt x="525" y="1941"/>
                </a:cubicBezTo>
                <a:cubicBezTo>
                  <a:pt x="222" y="1988"/>
                  <a:pt x="0" y="2259"/>
                  <a:pt x="0" y="2561"/>
                </a:cubicBezTo>
                <a:cubicBezTo>
                  <a:pt x="0" y="2879"/>
                  <a:pt x="222" y="3134"/>
                  <a:pt x="525" y="3182"/>
                </a:cubicBezTo>
                <a:cubicBezTo>
                  <a:pt x="525" y="3881"/>
                  <a:pt x="525" y="3881"/>
                  <a:pt x="525" y="3881"/>
                </a:cubicBezTo>
                <a:cubicBezTo>
                  <a:pt x="222" y="3929"/>
                  <a:pt x="0" y="4200"/>
                  <a:pt x="0" y="4502"/>
                </a:cubicBezTo>
                <a:close/>
                <a:moveTo>
                  <a:pt x="1924" y="4454"/>
                </a:moveTo>
                <a:cubicBezTo>
                  <a:pt x="1256" y="4454"/>
                  <a:pt x="1256" y="4454"/>
                  <a:pt x="1256" y="4454"/>
                </a:cubicBezTo>
                <a:cubicBezTo>
                  <a:pt x="1225" y="4152"/>
                  <a:pt x="986" y="3897"/>
                  <a:pt x="683" y="3881"/>
                </a:cubicBezTo>
                <a:cubicBezTo>
                  <a:pt x="683" y="3197"/>
                  <a:pt x="683" y="3197"/>
                  <a:pt x="683" y="3197"/>
                </a:cubicBezTo>
                <a:cubicBezTo>
                  <a:pt x="954" y="3166"/>
                  <a:pt x="1177" y="2959"/>
                  <a:pt x="1240" y="2704"/>
                </a:cubicBezTo>
                <a:cubicBezTo>
                  <a:pt x="1749" y="2704"/>
                  <a:pt x="1749" y="2704"/>
                  <a:pt x="1749" y="2704"/>
                </a:cubicBezTo>
                <a:cubicBezTo>
                  <a:pt x="1797" y="3070"/>
                  <a:pt x="2099" y="3357"/>
                  <a:pt x="2481" y="3388"/>
                </a:cubicBezTo>
                <a:cubicBezTo>
                  <a:pt x="2481" y="3881"/>
                  <a:pt x="2481" y="3881"/>
                  <a:pt x="2481" y="3881"/>
                </a:cubicBezTo>
                <a:cubicBezTo>
                  <a:pt x="2179" y="3913"/>
                  <a:pt x="1956" y="4152"/>
                  <a:pt x="1924" y="4454"/>
                </a:cubicBezTo>
                <a:close/>
                <a:moveTo>
                  <a:pt x="3213" y="2625"/>
                </a:moveTo>
                <a:cubicBezTo>
                  <a:pt x="3181" y="2959"/>
                  <a:pt x="2895" y="3229"/>
                  <a:pt x="2561" y="3229"/>
                </a:cubicBezTo>
                <a:cubicBezTo>
                  <a:pt x="2195" y="3229"/>
                  <a:pt x="1892" y="2927"/>
                  <a:pt x="1892" y="2561"/>
                </a:cubicBezTo>
                <a:cubicBezTo>
                  <a:pt x="1892" y="2195"/>
                  <a:pt x="2195" y="1909"/>
                  <a:pt x="2561" y="1909"/>
                </a:cubicBezTo>
                <a:cubicBezTo>
                  <a:pt x="2927" y="1909"/>
                  <a:pt x="3213" y="2195"/>
                  <a:pt x="3213" y="2561"/>
                </a:cubicBezTo>
                <a:cubicBezTo>
                  <a:pt x="3213" y="2577"/>
                  <a:pt x="3213" y="2593"/>
                  <a:pt x="3213" y="2609"/>
                </a:cubicBezTo>
                <a:close/>
                <a:moveTo>
                  <a:pt x="2561" y="4979"/>
                </a:moveTo>
                <a:cubicBezTo>
                  <a:pt x="2290" y="4979"/>
                  <a:pt x="2083" y="4756"/>
                  <a:pt x="2083" y="4502"/>
                </a:cubicBezTo>
                <a:cubicBezTo>
                  <a:pt x="2083" y="4247"/>
                  <a:pt x="2290" y="4024"/>
                  <a:pt x="2561" y="4024"/>
                </a:cubicBezTo>
                <a:cubicBezTo>
                  <a:pt x="2815" y="4024"/>
                  <a:pt x="3022" y="4247"/>
                  <a:pt x="3022" y="4502"/>
                </a:cubicBezTo>
                <a:cubicBezTo>
                  <a:pt x="3022" y="4756"/>
                  <a:pt x="2815" y="4979"/>
                  <a:pt x="2561" y="4979"/>
                </a:cubicBezTo>
                <a:close/>
                <a:moveTo>
                  <a:pt x="3865" y="4454"/>
                </a:moveTo>
                <a:cubicBezTo>
                  <a:pt x="3181" y="4454"/>
                  <a:pt x="3181" y="4454"/>
                  <a:pt x="3181" y="4454"/>
                </a:cubicBezTo>
                <a:cubicBezTo>
                  <a:pt x="3165" y="4152"/>
                  <a:pt x="2927" y="3913"/>
                  <a:pt x="2640" y="3881"/>
                </a:cubicBezTo>
                <a:cubicBezTo>
                  <a:pt x="2640" y="3388"/>
                  <a:pt x="2640" y="3388"/>
                  <a:pt x="2640" y="3388"/>
                </a:cubicBezTo>
                <a:cubicBezTo>
                  <a:pt x="3006" y="3340"/>
                  <a:pt x="3308" y="3054"/>
                  <a:pt x="3372" y="2704"/>
                </a:cubicBezTo>
                <a:cubicBezTo>
                  <a:pt x="3881" y="2704"/>
                  <a:pt x="3881" y="2704"/>
                  <a:pt x="3881" y="2704"/>
                </a:cubicBezTo>
                <a:cubicBezTo>
                  <a:pt x="3928" y="2959"/>
                  <a:pt x="4151" y="3149"/>
                  <a:pt x="4406" y="3182"/>
                </a:cubicBezTo>
                <a:cubicBezTo>
                  <a:pt x="4406" y="3881"/>
                  <a:pt x="4406" y="3881"/>
                  <a:pt x="4406" y="3881"/>
                </a:cubicBezTo>
                <a:cubicBezTo>
                  <a:pt x="4119" y="3929"/>
                  <a:pt x="3897" y="4152"/>
                  <a:pt x="3865" y="4454"/>
                </a:cubicBezTo>
                <a:close/>
                <a:moveTo>
                  <a:pt x="4963" y="4502"/>
                </a:moveTo>
                <a:cubicBezTo>
                  <a:pt x="4963" y="4756"/>
                  <a:pt x="4755" y="4979"/>
                  <a:pt x="4501" y="4979"/>
                </a:cubicBezTo>
                <a:cubicBezTo>
                  <a:pt x="4231" y="4979"/>
                  <a:pt x="4024" y="4756"/>
                  <a:pt x="4024" y="4502"/>
                </a:cubicBezTo>
                <a:cubicBezTo>
                  <a:pt x="4024" y="4247"/>
                  <a:pt x="4231" y="4024"/>
                  <a:pt x="4501" y="4024"/>
                </a:cubicBezTo>
                <a:cubicBezTo>
                  <a:pt x="4755" y="4024"/>
                  <a:pt x="4963" y="4247"/>
                  <a:pt x="4963" y="4502"/>
                </a:cubicBezTo>
                <a:close/>
                <a:moveTo>
                  <a:pt x="4963" y="2561"/>
                </a:moveTo>
                <a:cubicBezTo>
                  <a:pt x="4963" y="2831"/>
                  <a:pt x="4755" y="3039"/>
                  <a:pt x="4501" y="3039"/>
                </a:cubicBezTo>
                <a:lnTo>
                  <a:pt x="4485" y="3039"/>
                </a:lnTo>
                <a:lnTo>
                  <a:pt x="4469" y="3039"/>
                </a:lnTo>
                <a:cubicBezTo>
                  <a:pt x="4231" y="3022"/>
                  <a:pt x="4024" y="2816"/>
                  <a:pt x="4024" y="2561"/>
                </a:cubicBezTo>
                <a:cubicBezTo>
                  <a:pt x="4024" y="2307"/>
                  <a:pt x="4231" y="2100"/>
                  <a:pt x="4501" y="2100"/>
                </a:cubicBezTo>
                <a:cubicBezTo>
                  <a:pt x="4755" y="2100"/>
                  <a:pt x="4963" y="2307"/>
                  <a:pt x="4963" y="2561"/>
                </a:cubicBezTo>
                <a:close/>
                <a:moveTo>
                  <a:pt x="4501" y="159"/>
                </a:moveTo>
                <a:cubicBezTo>
                  <a:pt x="4755" y="159"/>
                  <a:pt x="4963" y="366"/>
                  <a:pt x="4963" y="620"/>
                </a:cubicBezTo>
                <a:cubicBezTo>
                  <a:pt x="4963" y="891"/>
                  <a:pt x="4755" y="1098"/>
                  <a:pt x="4501" y="1098"/>
                </a:cubicBezTo>
                <a:cubicBezTo>
                  <a:pt x="4231" y="1098"/>
                  <a:pt x="4024" y="891"/>
                  <a:pt x="4024" y="620"/>
                </a:cubicBezTo>
                <a:cubicBezTo>
                  <a:pt x="4024" y="366"/>
                  <a:pt x="4231" y="159"/>
                  <a:pt x="4501" y="159"/>
                </a:cubicBezTo>
                <a:close/>
                <a:moveTo>
                  <a:pt x="3881" y="716"/>
                </a:moveTo>
                <a:cubicBezTo>
                  <a:pt x="3913" y="986"/>
                  <a:pt x="4135" y="1209"/>
                  <a:pt x="4406" y="1257"/>
                </a:cubicBezTo>
                <a:cubicBezTo>
                  <a:pt x="4406" y="1941"/>
                  <a:pt x="4406" y="1941"/>
                  <a:pt x="4406" y="1941"/>
                </a:cubicBezTo>
                <a:cubicBezTo>
                  <a:pt x="4103" y="1988"/>
                  <a:pt x="3881" y="2227"/>
                  <a:pt x="3865" y="2545"/>
                </a:cubicBezTo>
                <a:cubicBezTo>
                  <a:pt x="3372" y="2545"/>
                  <a:pt x="3372" y="2545"/>
                  <a:pt x="3372" y="2545"/>
                </a:cubicBezTo>
                <a:cubicBezTo>
                  <a:pt x="3356" y="2132"/>
                  <a:pt x="3038" y="1798"/>
                  <a:pt x="2640" y="1750"/>
                </a:cubicBezTo>
                <a:cubicBezTo>
                  <a:pt x="2640" y="1257"/>
                  <a:pt x="2640" y="1257"/>
                  <a:pt x="2640" y="1257"/>
                </a:cubicBezTo>
                <a:cubicBezTo>
                  <a:pt x="2910" y="1209"/>
                  <a:pt x="3133" y="1003"/>
                  <a:pt x="3181" y="716"/>
                </a:cubicBezTo>
                <a:close/>
                <a:moveTo>
                  <a:pt x="2561" y="159"/>
                </a:moveTo>
                <a:cubicBezTo>
                  <a:pt x="2815" y="159"/>
                  <a:pt x="3022" y="366"/>
                  <a:pt x="3022" y="620"/>
                </a:cubicBezTo>
                <a:cubicBezTo>
                  <a:pt x="3022" y="891"/>
                  <a:pt x="2815" y="1098"/>
                  <a:pt x="2561" y="1098"/>
                </a:cubicBezTo>
                <a:cubicBezTo>
                  <a:pt x="2290" y="1098"/>
                  <a:pt x="2083" y="891"/>
                  <a:pt x="2083" y="620"/>
                </a:cubicBezTo>
                <a:cubicBezTo>
                  <a:pt x="2083" y="366"/>
                  <a:pt x="2290" y="159"/>
                  <a:pt x="2561" y="159"/>
                </a:cubicBezTo>
                <a:close/>
                <a:moveTo>
                  <a:pt x="1924" y="716"/>
                </a:moveTo>
                <a:cubicBezTo>
                  <a:pt x="1972" y="1003"/>
                  <a:pt x="2195" y="1225"/>
                  <a:pt x="2481" y="1257"/>
                </a:cubicBezTo>
                <a:cubicBezTo>
                  <a:pt x="2481" y="1750"/>
                  <a:pt x="2481" y="1750"/>
                  <a:pt x="2481" y="1750"/>
                </a:cubicBezTo>
                <a:cubicBezTo>
                  <a:pt x="2067" y="1782"/>
                  <a:pt x="1749" y="2116"/>
                  <a:pt x="1734" y="2545"/>
                </a:cubicBezTo>
                <a:cubicBezTo>
                  <a:pt x="1256" y="2545"/>
                  <a:pt x="1256" y="2545"/>
                  <a:pt x="1256" y="2545"/>
                </a:cubicBezTo>
                <a:cubicBezTo>
                  <a:pt x="1240" y="2227"/>
                  <a:pt x="986" y="1957"/>
                  <a:pt x="683" y="1941"/>
                </a:cubicBezTo>
                <a:cubicBezTo>
                  <a:pt x="683" y="1257"/>
                  <a:pt x="683" y="1257"/>
                  <a:pt x="683" y="1257"/>
                </a:cubicBezTo>
                <a:cubicBezTo>
                  <a:pt x="970" y="1225"/>
                  <a:pt x="1209" y="1003"/>
                  <a:pt x="1240" y="716"/>
                </a:cubicBezTo>
                <a:close/>
                <a:moveTo>
                  <a:pt x="159" y="620"/>
                </a:moveTo>
                <a:cubicBezTo>
                  <a:pt x="159" y="366"/>
                  <a:pt x="365" y="159"/>
                  <a:pt x="620" y="159"/>
                </a:cubicBezTo>
                <a:cubicBezTo>
                  <a:pt x="891" y="159"/>
                  <a:pt x="1097" y="366"/>
                  <a:pt x="1097" y="620"/>
                </a:cubicBezTo>
                <a:cubicBezTo>
                  <a:pt x="1097" y="891"/>
                  <a:pt x="891" y="1098"/>
                  <a:pt x="620" y="1098"/>
                </a:cubicBezTo>
                <a:cubicBezTo>
                  <a:pt x="604" y="1098"/>
                  <a:pt x="604" y="1098"/>
                  <a:pt x="604" y="1098"/>
                </a:cubicBezTo>
                <a:cubicBezTo>
                  <a:pt x="588" y="1098"/>
                  <a:pt x="588" y="1098"/>
                  <a:pt x="588" y="1098"/>
                </a:cubicBezTo>
                <a:cubicBezTo>
                  <a:pt x="350" y="1082"/>
                  <a:pt x="159" y="875"/>
                  <a:pt x="159" y="620"/>
                </a:cubicBezTo>
                <a:close/>
                <a:moveTo>
                  <a:pt x="159" y="2561"/>
                </a:moveTo>
                <a:cubicBezTo>
                  <a:pt x="159" y="2322"/>
                  <a:pt x="350" y="2116"/>
                  <a:pt x="588" y="2100"/>
                </a:cubicBezTo>
                <a:lnTo>
                  <a:pt x="604" y="2100"/>
                </a:lnTo>
                <a:lnTo>
                  <a:pt x="620" y="2100"/>
                </a:lnTo>
                <a:cubicBezTo>
                  <a:pt x="891" y="2100"/>
                  <a:pt x="1097" y="2307"/>
                  <a:pt x="1097" y="2561"/>
                </a:cubicBezTo>
                <a:cubicBezTo>
                  <a:pt x="1097" y="2831"/>
                  <a:pt x="891" y="3039"/>
                  <a:pt x="620" y="3039"/>
                </a:cubicBezTo>
                <a:lnTo>
                  <a:pt x="604" y="3039"/>
                </a:lnTo>
                <a:cubicBezTo>
                  <a:pt x="588" y="3039"/>
                  <a:pt x="588" y="3039"/>
                  <a:pt x="573" y="3039"/>
                </a:cubicBezTo>
                <a:cubicBezTo>
                  <a:pt x="334" y="3006"/>
                  <a:pt x="159" y="2816"/>
                  <a:pt x="159" y="2561"/>
                </a:cubicBezTo>
                <a:close/>
                <a:moveTo>
                  <a:pt x="620" y="4024"/>
                </a:moveTo>
                <a:cubicBezTo>
                  <a:pt x="891" y="4024"/>
                  <a:pt x="1097" y="4247"/>
                  <a:pt x="1097" y="4502"/>
                </a:cubicBezTo>
                <a:cubicBezTo>
                  <a:pt x="1097" y="4756"/>
                  <a:pt x="891" y="4979"/>
                  <a:pt x="620" y="4979"/>
                </a:cubicBezTo>
                <a:cubicBezTo>
                  <a:pt x="365" y="4979"/>
                  <a:pt x="159" y="4756"/>
                  <a:pt x="159" y="4502"/>
                </a:cubicBezTo>
                <a:cubicBezTo>
                  <a:pt x="159" y="4247"/>
                  <a:pt x="365" y="4024"/>
                  <a:pt x="620" y="402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5" name="Rectangle 24">
            <a:extLst>
              <a:ext uri="{FF2B5EF4-FFF2-40B4-BE49-F238E27FC236}">
                <a16:creationId xmlns:a16="http://schemas.microsoft.com/office/drawing/2014/main" id="{5828DF9C-15F1-BE47-9895-D2FF0676EC3C}"/>
              </a:ext>
            </a:extLst>
          </p:cNvPr>
          <p:cNvSpPr/>
          <p:nvPr/>
        </p:nvSpPr>
        <p:spPr>
          <a:xfrm>
            <a:off x="19210672" y="5686425"/>
            <a:ext cx="5171737" cy="23114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7BFCA385-256A-484C-9520-1BFF8721D1A8}"/>
              </a:ext>
            </a:extLst>
          </p:cNvPr>
          <p:cNvSpPr/>
          <p:nvPr/>
        </p:nvSpPr>
        <p:spPr>
          <a:xfrm>
            <a:off x="11886427" y="0"/>
            <a:ext cx="7143285" cy="4457856"/>
          </a:xfrm>
          <a:prstGeom prst="rect">
            <a:avLst/>
          </a:prstGeom>
          <a:solidFill>
            <a:schemeClr val="accent4">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ECE32E65-2384-DA4B-8C97-DF81D36EC954}"/>
              </a:ext>
            </a:extLst>
          </p:cNvPr>
          <p:cNvSpPr/>
          <p:nvPr/>
        </p:nvSpPr>
        <p:spPr>
          <a:xfrm>
            <a:off x="11886427" y="9383861"/>
            <a:ext cx="7143285" cy="2947839"/>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2">
            <a:extLst>
              <a:ext uri="{FF2B5EF4-FFF2-40B4-BE49-F238E27FC236}">
                <a16:creationId xmlns:a16="http://schemas.microsoft.com/office/drawing/2014/main" id="{F633D2BC-3FEB-8D4A-A165-FA998D4344B9}"/>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8364100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2">
            <a:extLst>
              <a:ext uri="{FF2B5EF4-FFF2-40B4-BE49-F238E27FC236}">
                <a16:creationId xmlns:a16="http://schemas.microsoft.com/office/drawing/2014/main" id="{A080CBFD-8BEB-9D4A-9A7A-20CD7E253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456" y="6158175"/>
            <a:ext cx="24373957" cy="6595003"/>
          </a:xfrm>
          <a:prstGeom prst="rect">
            <a:avLst/>
          </a:prstGeom>
          <a:ln>
            <a:noFill/>
          </a:ln>
          <a:effectLst/>
        </p:spPr>
      </p:pic>
      <p:sp>
        <p:nvSpPr>
          <p:cNvPr id="5" name="Content Placeholder 4">
            <a:extLst>
              <a:ext uri="{FF2B5EF4-FFF2-40B4-BE49-F238E27FC236}">
                <a16:creationId xmlns:a16="http://schemas.microsoft.com/office/drawing/2014/main" id="{F3635565-840F-42D6-8BD1-575D33B9159F}"/>
              </a:ext>
            </a:extLst>
          </p:cNvPr>
          <p:cNvSpPr>
            <a:spLocks noGrp="1"/>
          </p:cNvSpPr>
          <p:nvPr>
            <p:ph idx="11"/>
          </p:nvPr>
        </p:nvSpPr>
        <p:spPr>
          <a:xfrm>
            <a:off x="1243127" y="2860674"/>
            <a:ext cx="4497273" cy="3182637"/>
          </a:xfrm>
        </p:spPr>
        <p:txBody>
          <a:bodyPr>
            <a:normAutofit/>
          </a:bodyPr>
          <a:lstStyle/>
          <a:p>
            <a:pPr marL="0" indent="0">
              <a:buNone/>
            </a:pPr>
            <a:r>
              <a:rPr lang="en-US" dirty="0"/>
              <a:t>Overarching headline goes here</a:t>
            </a:r>
          </a:p>
        </p:txBody>
      </p:sp>
      <p:sp>
        <p:nvSpPr>
          <p:cNvPr id="4" name="Title 3">
            <a:extLst>
              <a:ext uri="{FF2B5EF4-FFF2-40B4-BE49-F238E27FC236}">
                <a16:creationId xmlns:a16="http://schemas.microsoft.com/office/drawing/2014/main" id="{DA67C495-0BD6-475E-B929-B5A038A7C16D}"/>
              </a:ext>
            </a:extLst>
          </p:cNvPr>
          <p:cNvSpPr>
            <a:spLocks noGrp="1"/>
          </p:cNvSpPr>
          <p:nvPr>
            <p:ph type="title"/>
          </p:nvPr>
        </p:nvSpPr>
        <p:spPr/>
        <p:txBody>
          <a:bodyPr/>
          <a:lstStyle/>
          <a:p>
            <a:r>
              <a:rPr lang="en-US" dirty="0"/>
              <a:t>High level content with graphic</a:t>
            </a:r>
          </a:p>
        </p:txBody>
      </p:sp>
      <p:sp>
        <p:nvSpPr>
          <p:cNvPr id="6" name="Oval 5">
            <a:extLst>
              <a:ext uri="{FF2B5EF4-FFF2-40B4-BE49-F238E27FC236}">
                <a16:creationId xmlns:a16="http://schemas.microsoft.com/office/drawing/2014/main" id="{0C5EDA62-A760-274C-836B-92AE996BB30F}"/>
              </a:ext>
            </a:extLst>
          </p:cNvPr>
          <p:cNvSpPr/>
          <p:nvPr/>
        </p:nvSpPr>
        <p:spPr>
          <a:xfrm>
            <a:off x="18017410" y="2860674"/>
            <a:ext cx="5118814" cy="5118814"/>
          </a:xfrm>
          <a:prstGeom prst="ellipse">
            <a:avLst/>
          </a:prstGeom>
          <a:solidFill>
            <a:schemeClr val="accent2"/>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9E07409-1228-0142-AA63-82BB9BE2A48B}"/>
              </a:ext>
            </a:extLst>
          </p:cNvPr>
          <p:cNvSpPr/>
          <p:nvPr/>
        </p:nvSpPr>
        <p:spPr>
          <a:xfrm>
            <a:off x="18017411" y="3401907"/>
            <a:ext cx="5118814" cy="4127692"/>
          </a:xfrm>
          <a:prstGeom prst="rect">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lIns="360000" tIns="360000" rIns="360000" bIns="360000" rtlCol="0" anchor="ctr" anchorCtr="0"/>
          <a:lstStyle/>
          <a:p>
            <a:pPr algn="ctr"/>
            <a:r>
              <a:rPr lang="en-US" sz="4400" b="1" dirty="0">
                <a:solidFill>
                  <a:schemeClr val="bg1"/>
                </a:solidFill>
              </a:rPr>
              <a:t>Headline</a:t>
            </a:r>
          </a:p>
          <a:p>
            <a:pPr algn="ctr"/>
            <a:r>
              <a:rPr lang="en-US" sz="4400" dirty="0">
                <a:solidFill>
                  <a:schemeClr val="bg1"/>
                </a:solidFill>
              </a:rPr>
              <a:t>Lorem ipsum content copy to go here</a:t>
            </a:r>
          </a:p>
        </p:txBody>
      </p:sp>
      <p:sp>
        <p:nvSpPr>
          <p:cNvPr id="10" name="Oval 9">
            <a:extLst>
              <a:ext uri="{FF2B5EF4-FFF2-40B4-BE49-F238E27FC236}">
                <a16:creationId xmlns:a16="http://schemas.microsoft.com/office/drawing/2014/main" id="{C3101A01-A41C-7640-835F-3DF5FB395BE4}"/>
              </a:ext>
            </a:extLst>
          </p:cNvPr>
          <p:cNvSpPr/>
          <p:nvPr/>
        </p:nvSpPr>
        <p:spPr>
          <a:xfrm>
            <a:off x="11887359" y="2860674"/>
            <a:ext cx="5118814" cy="5118814"/>
          </a:xfrm>
          <a:prstGeom prst="ellipse">
            <a:avLst/>
          </a:prstGeom>
          <a:solidFill>
            <a:schemeClr val="accent2"/>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FCDCF726-A157-004D-A47D-66337706F966}"/>
              </a:ext>
            </a:extLst>
          </p:cNvPr>
          <p:cNvSpPr/>
          <p:nvPr/>
        </p:nvSpPr>
        <p:spPr>
          <a:xfrm>
            <a:off x="5757308" y="2860674"/>
            <a:ext cx="5118814" cy="5118814"/>
          </a:xfrm>
          <a:prstGeom prst="ellipse">
            <a:avLst/>
          </a:prstGeom>
          <a:solidFill>
            <a:schemeClr val="accent2"/>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FE5346E-FA1F-074E-A771-E112992D6995}"/>
              </a:ext>
            </a:extLst>
          </p:cNvPr>
          <p:cNvSpPr/>
          <p:nvPr/>
        </p:nvSpPr>
        <p:spPr>
          <a:xfrm>
            <a:off x="11887359" y="3401907"/>
            <a:ext cx="5118814" cy="4127692"/>
          </a:xfrm>
          <a:prstGeom prst="rect">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lIns="360000" tIns="360000" rIns="360000" bIns="360000" rtlCol="0" anchor="ctr" anchorCtr="0"/>
          <a:lstStyle/>
          <a:p>
            <a:pPr algn="ctr"/>
            <a:r>
              <a:rPr lang="en-US" sz="4400" b="1" dirty="0">
                <a:solidFill>
                  <a:schemeClr val="bg1"/>
                </a:solidFill>
              </a:rPr>
              <a:t>Headline</a:t>
            </a:r>
          </a:p>
          <a:p>
            <a:pPr algn="ctr"/>
            <a:r>
              <a:rPr lang="en-US" sz="4400" dirty="0">
                <a:solidFill>
                  <a:schemeClr val="bg1"/>
                </a:solidFill>
              </a:rPr>
              <a:t>Lorem ipsum content copy to go here</a:t>
            </a:r>
          </a:p>
        </p:txBody>
      </p:sp>
      <p:sp>
        <p:nvSpPr>
          <p:cNvPr id="14" name="Rectangle 13">
            <a:extLst>
              <a:ext uri="{FF2B5EF4-FFF2-40B4-BE49-F238E27FC236}">
                <a16:creationId xmlns:a16="http://schemas.microsoft.com/office/drawing/2014/main" id="{7B1B6D86-86A6-D045-8C80-390DA50C3E3B}"/>
              </a:ext>
            </a:extLst>
          </p:cNvPr>
          <p:cNvSpPr/>
          <p:nvPr/>
        </p:nvSpPr>
        <p:spPr>
          <a:xfrm>
            <a:off x="5721510" y="3401905"/>
            <a:ext cx="5154612" cy="4127694"/>
          </a:xfrm>
          <a:prstGeom prst="rect">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lIns="360000" tIns="360000" rIns="360000" bIns="360000" rtlCol="0" anchor="ctr" anchorCtr="0"/>
          <a:lstStyle/>
          <a:p>
            <a:pPr algn="ctr"/>
            <a:r>
              <a:rPr lang="en-US" sz="4400" b="1" dirty="0">
                <a:solidFill>
                  <a:schemeClr val="bg1"/>
                </a:solidFill>
              </a:rPr>
              <a:t>Headline</a:t>
            </a:r>
          </a:p>
          <a:p>
            <a:pPr algn="ctr"/>
            <a:r>
              <a:rPr lang="en-US" sz="4400" dirty="0">
                <a:solidFill>
                  <a:schemeClr val="bg1"/>
                </a:solidFill>
              </a:rPr>
              <a:t>Lorem ipsum content copy to go here</a:t>
            </a:r>
          </a:p>
        </p:txBody>
      </p:sp>
    </p:spTree>
    <p:extLst>
      <p:ext uri="{BB962C8B-B14F-4D97-AF65-F5344CB8AC3E}">
        <p14:creationId xmlns:p14="http://schemas.microsoft.com/office/powerpoint/2010/main" val="32466302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4BC2C-76C9-2846-B390-64A4F1B954A9}"/>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247462947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6A3CBF4-9C2E-E740-B612-AE26F2D6D0A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7609569" y="1"/>
            <a:ext cx="5510781" cy="7417120"/>
          </a:xfrm>
          <a:prstGeom prst="rect">
            <a:avLst/>
          </a:prstGeom>
        </p:spPr>
      </p:pic>
      <p:pic>
        <p:nvPicPr>
          <p:cNvPr id="7" name="Picture 6">
            <a:extLst>
              <a:ext uri="{FF2B5EF4-FFF2-40B4-BE49-F238E27FC236}">
                <a16:creationId xmlns:a16="http://schemas.microsoft.com/office/drawing/2014/main" id="{F8F2E108-CE36-AF43-A8E8-E745514D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257300" y="5673429"/>
            <a:ext cx="5660645" cy="7050547"/>
          </a:xfrm>
          <a:prstGeom prst="rect">
            <a:avLst/>
          </a:prstGeom>
        </p:spPr>
      </p:pic>
      <p:sp>
        <p:nvSpPr>
          <p:cNvPr id="8" name="Rectangle 7">
            <a:extLst>
              <a:ext uri="{FF2B5EF4-FFF2-40B4-BE49-F238E27FC236}">
                <a16:creationId xmlns:a16="http://schemas.microsoft.com/office/drawing/2014/main" id="{945BAB23-2DAE-1C43-8605-AD0E32EE43E1}"/>
              </a:ext>
            </a:extLst>
          </p:cNvPr>
          <p:cNvSpPr/>
          <p:nvPr/>
        </p:nvSpPr>
        <p:spPr>
          <a:xfrm>
            <a:off x="1257300" y="341311"/>
            <a:ext cx="5660645" cy="53068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7DD2A5D-48DD-5741-B074-F0A9F13FA743}"/>
              </a:ext>
            </a:extLst>
          </p:cNvPr>
          <p:cNvSpPr/>
          <p:nvPr/>
        </p:nvSpPr>
        <p:spPr>
          <a:xfrm>
            <a:off x="17609569" y="7417120"/>
            <a:ext cx="5661354" cy="53068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BA26FB4C-6770-9F42-9E7E-40FE999BE39E}"/>
              </a:ext>
            </a:extLst>
          </p:cNvPr>
          <p:cNvSpPr txBox="1"/>
          <p:nvPr/>
        </p:nvSpPr>
        <p:spPr>
          <a:xfrm>
            <a:off x="1736043" y="1271193"/>
            <a:ext cx="4687059" cy="3447098"/>
          </a:xfrm>
          <a:prstGeom prst="rect">
            <a:avLst/>
          </a:prstGeom>
          <a:noFill/>
        </p:spPr>
        <p:txBody>
          <a:bodyPr wrap="square" lIns="0" tIns="0" rIns="0" bIns="0" rtlCol="0" anchor="ctr">
            <a:spAutoFit/>
          </a:bodyPr>
          <a:lstStyle/>
          <a:p>
            <a:r>
              <a:rPr lang="en-US" sz="2800" dirty="0">
                <a:solidFill>
                  <a:srgbClr val="1B222C"/>
                </a:solidFill>
              </a:rPr>
              <a:t>Lorem ipsum dolor sit </a:t>
            </a:r>
            <a:r>
              <a:rPr lang="en-US" sz="2800" dirty="0" err="1">
                <a:solidFill>
                  <a:srgbClr val="1B222C"/>
                </a:solidFill>
              </a:rPr>
              <a:t>amet</a:t>
            </a:r>
            <a:r>
              <a:rPr lang="en-US" sz="2800" dirty="0">
                <a:solidFill>
                  <a:srgbClr val="1B222C"/>
                </a:solidFill>
              </a:rPr>
              <a:t>, </a:t>
            </a:r>
            <a:r>
              <a:rPr lang="en-US" sz="2800" dirty="0" err="1">
                <a:solidFill>
                  <a:srgbClr val="1B222C"/>
                </a:solidFill>
              </a:rPr>
              <a:t>agam</a:t>
            </a:r>
            <a:r>
              <a:rPr lang="en-US" sz="2800" dirty="0">
                <a:solidFill>
                  <a:srgbClr val="1B222C"/>
                </a:solidFill>
              </a:rPr>
              <a:t> </a:t>
            </a:r>
            <a:r>
              <a:rPr lang="en-US" sz="2800" dirty="0" err="1">
                <a:solidFill>
                  <a:srgbClr val="1B222C"/>
                </a:solidFill>
              </a:rPr>
              <a:t>dicat</a:t>
            </a:r>
            <a:r>
              <a:rPr lang="en-US" sz="2800" dirty="0">
                <a:solidFill>
                  <a:srgbClr val="1B222C"/>
                </a:solidFill>
              </a:rPr>
              <a:t> </a:t>
            </a:r>
            <a:r>
              <a:rPr lang="en-US" sz="2800" dirty="0" err="1">
                <a:solidFill>
                  <a:srgbClr val="1B222C"/>
                </a:solidFill>
              </a:rPr>
              <a:t>appellantur</a:t>
            </a:r>
            <a:r>
              <a:rPr lang="en-US" sz="2800" dirty="0">
                <a:solidFill>
                  <a:srgbClr val="1B222C"/>
                </a:solidFill>
              </a:rPr>
              <a:t> et qui, duo cu </a:t>
            </a:r>
            <a:r>
              <a:rPr lang="en-US" sz="2800" dirty="0" err="1">
                <a:solidFill>
                  <a:srgbClr val="1B222C"/>
                </a:solidFill>
              </a:rPr>
              <a:t>natum</a:t>
            </a:r>
            <a:r>
              <a:rPr lang="en-US" sz="2800" dirty="0">
                <a:solidFill>
                  <a:srgbClr val="1B222C"/>
                </a:solidFill>
              </a:rPr>
              <a:t> </a:t>
            </a:r>
            <a:r>
              <a:rPr lang="en-US" sz="2800" dirty="0" err="1">
                <a:solidFill>
                  <a:srgbClr val="1B222C"/>
                </a:solidFill>
              </a:rPr>
              <a:t>urbanitas</a:t>
            </a:r>
            <a:r>
              <a:rPr lang="en-US" sz="2800" dirty="0">
                <a:solidFill>
                  <a:srgbClr val="1B222C"/>
                </a:solidFill>
              </a:rPr>
              <a:t>. Ad </a:t>
            </a:r>
            <a:r>
              <a:rPr lang="en-US" sz="2800" dirty="0" err="1">
                <a:solidFill>
                  <a:srgbClr val="1B222C"/>
                </a:solidFill>
              </a:rPr>
              <a:t>elitr</a:t>
            </a:r>
            <a:r>
              <a:rPr lang="en-US" sz="2800" dirty="0">
                <a:solidFill>
                  <a:srgbClr val="1B222C"/>
                </a:solidFill>
              </a:rPr>
              <a:t> </a:t>
            </a:r>
            <a:r>
              <a:rPr lang="en-US" sz="2800" dirty="0" err="1">
                <a:solidFill>
                  <a:srgbClr val="1B222C"/>
                </a:solidFill>
              </a:rPr>
              <a:t>forensibus</a:t>
            </a:r>
            <a:r>
              <a:rPr lang="en-US" sz="2800" dirty="0">
                <a:solidFill>
                  <a:srgbClr val="1B222C"/>
                </a:solidFill>
              </a:rPr>
              <a:t> </a:t>
            </a:r>
            <a:r>
              <a:rPr lang="en-US" sz="2800" dirty="0" err="1">
                <a:solidFill>
                  <a:srgbClr val="1B222C"/>
                </a:solidFill>
              </a:rPr>
              <a:t>scribentur</a:t>
            </a:r>
            <a:r>
              <a:rPr lang="en-US" sz="2800" dirty="0">
                <a:solidFill>
                  <a:srgbClr val="1B222C"/>
                </a:solidFill>
              </a:rPr>
              <a:t> </a:t>
            </a:r>
            <a:r>
              <a:rPr lang="en-US" sz="2800" dirty="0" err="1">
                <a:solidFill>
                  <a:srgbClr val="1B222C"/>
                </a:solidFill>
              </a:rPr>
              <a:t>eum</a:t>
            </a:r>
            <a:r>
              <a:rPr lang="en-US" sz="2800" dirty="0">
                <a:solidFill>
                  <a:srgbClr val="1B222C"/>
                </a:solidFill>
              </a:rPr>
              <a:t>, mea </a:t>
            </a:r>
            <a:r>
              <a:rPr lang="en-US" sz="2800" dirty="0" err="1">
                <a:solidFill>
                  <a:srgbClr val="1B222C"/>
                </a:solidFill>
              </a:rPr>
              <a:t>suas</a:t>
            </a:r>
            <a:r>
              <a:rPr lang="en-US" sz="2800" dirty="0">
                <a:solidFill>
                  <a:srgbClr val="1B222C"/>
                </a:solidFill>
              </a:rPr>
              <a:t> </a:t>
            </a:r>
            <a:r>
              <a:rPr lang="en-US" sz="2800" dirty="0" err="1">
                <a:solidFill>
                  <a:srgbClr val="1B222C"/>
                </a:solidFill>
              </a:rPr>
              <a:t>omnes</a:t>
            </a:r>
            <a:r>
              <a:rPr lang="en-US" sz="2800" dirty="0">
                <a:solidFill>
                  <a:srgbClr val="1B222C"/>
                </a:solidFill>
              </a:rPr>
              <a:t> </a:t>
            </a:r>
            <a:r>
              <a:rPr lang="en-US" sz="2800" dirty="0" err="1">
                <a:solidFill>
                  <a:srgbClr val="1B222C"/>
                </a:solidFill>
              </a:rPr>
              <a:t>denique</a:t>
            </a:r>
            <a:r>
              <a:rPr lang="en-US" sz="2800" dirty="0">
                <a:solidFill>
                  <a:srgbClr val="1B222C"/>
                </a:solidFill>
              </a:rPr>
              <a:t> in. An </a:t>
            </a:r>
            <a:r>
              <a:rPr lang="en-US" sz="2800" dirty="0" err="1">
                <a:solidFill>
                  <a:srgbClr val="1B222C"/>
                </a:solidFill>
              </a:rPr>
              <a:t>usu</a:t>
            </a:r>
            <a:r>
              <a:rPr lang="en-US" sz="2800" dirty="0">
                <a:solidFill>
                  <a:srgbClr val="1B222C"/>
                </a:solidFill>
              </a:rPr>
              <a:t> </a:t>
            </a:r>
            <a:r>
              <a:rPr lang="en-US" sz="2800" dirty="0" err="1">
                <a:solidFill>
                  <a:srgbClr val="1B222C"/>
                </a:solidFill>
              </a:rPr>
              <a:t>eros</a:t>
            </a:r>
            <a:r>
              <a:rPr lang="en-US" sz="2800" dirty="0">
                <a:solidFill>
                  <a:srgbClr val="1B222C"/>
                </a:solidFill>
              </a:rPr>
              <a:t> </a:t>
            </a:r>
            <a:r>
              <a:rPr lang="en-US" sz="2800" dirty="0" err="1">
                <a:solidFill>
                  <a:srgbClr val="1B222C"/>
                </a:solidFill>
              </a:rPr>
              <a:t>liberavisse</a:t>
            </a:r>
            <a:r>
              <a:rPr lang="en-US" sz="2800" dirty="0">
                <a:solidFill>
                  <a:srgbClr val="1B222C"/>
                </a:solidFill>
              </a:rPr>
              <a:t> </a:t>
            </a:r>
            <a:r>
              <a:rPr lang="en-US" sz="2800" dirty="0" err="1">
                <a:solidFill>
                  <a:srgbClr val="1B222C"/>
                </a:solidFill>
              </a:rPr>
              <a:t>necessitatibus</a:t>
            </a:r>
            <a:r>
              <a:rPr lang="en-US" sz="2800" dirty="0">
                <a:solidFill>
                  <a:srgbClr val="1B222C"/>
                </a:solidFill>
              </a:rPr>
              <a:t>, tale </a:t>
            </a:r>
            <a:r>
              <a:rPr lang="en-US" sz="2800" dirty="0" err="1">
                <a:solidFill>
                  <a:srgbClr val="1B222C"/>
                </a:solidFill>
              </a:rPr>
              <a:t>nibh</a:t>
            </a:r>
            <a:r>
              <a:rPr lang="en-US" sz="2800" dirty="0">
                <a:solidFill>
                  <a:srgbClr val="1B222C"/>
                </a:solidFill>
              </a:rPr>
              <a:t> </a:t>
            </a:r>
            <a:r>
              <a:rPr lang="en-US" sz="2800" dirty="0" err="1">
                <a:solidFill>
                  <a:srgbClr val="1B222C"/>
                </a:solidFill>
              </a:rPr>
              <a:t>alienum</a:t>
            </a:r>
            <a:r>
              <a:rPr lang="en-US" sz="2800" dirty="0">
                <a:solidFill>
                  <a:srgbClr val="1B222C"/>
                </a:solidFill>
              </a:rPr>
              <a:t> ad </a:t>
            </a:r>
            <a:r>
              <a:rPr lang="en-US" sz="2800" dirty="0" err="1">
                <a:solidFill>
                  <a:srgbClr val="1B222C"/>
                </a:solidFill>
              </a:rPr>
              <a:t>eam</a:t>
            </a:r>
            <a:r>
              <a:rPr lang="en-US" sz="2800" dirty="0">
                <a:solidFill>
                  <a:srgbClr val="1B222C"/>
                </a:solidFill>
              </a:rPr>
              <a:t>. </a:t>
            </a:r>
          </a:p>
        </p:txBody>
      </p:sp>
      <p:sp>
        <p:nvSpPr>
          <p:cNvPr id="11" name="TextBox 10">
            <a:extLst>
              <a:ext uri="{FF2B5EF4-FFF2-40B4-BE49-F238E27FC236}">
                <a16:creationId xmlns:a16="http://schemas.microsoft.com/office/drawing/2014/main" id="{D159B02E-B367-6A46-A3F8-C2761D490E2C}"/>
              </a:ext>
            </a:extLst>
          </p:cNvPr>
          <p:cNvSpPr txBox="1"/>
          <p:nvPr/>
        </p:nvSpPr>
        <p:spPr>
          <a:xfrm>
            <a:off x="18370274" y="7894115"/>
            <a:ext cx="4750076" cy="3447098"/>
          </a:xfrm>
          <a:prstGeom prst="rect">
            <a:avLst/>
          </a:prstGeom>
          <a:noFill/>
        </p:spPr>
        <p:txBody>
          <a:bodyPr wrap="square" lIns="0" tIns="0" rIns="0" bIns="0" rtlCol="0" anchor="ctr">
            <a:spAutoFit/>
          </a:bodyPr>
          <a:lstStyle/>
          <a:p>
            <a:pPr algn="r"/>
            <a:r>
              <a:rPr lang="en-US" sz="2800" dirty="0">
                <a:solidFill>
                  <a:srgbClr val="1B222C"/>
                </a:solidFill>
              </a:rPr>
              <a:t>Lorem ipsum dolor sit </a:t>
            </a:r>
            <a:r>
              <a:rPr lang="en-US" sz="2800" dirty="0" err="1">
                <a:solidFill>
                  <a:srgbClr val="1B222C"/>
                </a:solidFill>
              </a:rPr>
              <a:t>amet</a:t>
            </a:r>
            <a:r>
              <a:rPr lang="en-US" sz="2800" dirty="0">
                <a:solidFill>
                  <a:srgbClr val="1B222C"/>
                </a:solidFill>
              </a:rPr>
              <a:t>, </a:t>
            </a:r>
            <a:r>
              <a:rPr lang="en-US" sz="2800" dirty="0" err="1">
                <a:solidFill>
                  <a:srgbClr val="1B222C"/>
                </a:solidFill>
              </a:rPr>
              <a:t>agam</a:t>
            </a:r>
            <a:r>
              <a:rPr lang="en-US" sz="2800" dirty="0">
                <a:solidFill>
                  <a:srgbClr val="1B222C"/>
                </a:solidFill>
              </a:rPr>
              <a:t> </a:t>
            </a:r>
            <a:r>
              <a:rPr lang="en-US" sz="2800" dirty="0" err="1">
                <a:solidFill>
                  <a:srgbClr val="1B222C"/>
                </a:solidFill>
              </a:rPr>
              <a:t>dicat</a:t>
            </a:r>
            <a:r>
              <a:rPr lang="en-US" sz="2800" dirty="0">
                <a:solidFill>
                  <a:srgbClr val="1B222C"/>
                </a:solidFill>
              </a:rPr>
              <a:t> </a:t>
            </a:r>
            <a:r>
              <a:rPr lang="en-US" sz="2800" dirty="0" err="1">
                <a:solidFill>
                  <a:srgbClr val="1B222C"/>
                </a:solidFill>
              </a:rPr>
              <a:t>appellantur</a:t>
            </a:r>
            <a:r>
              <a:rPr lang="en-US" sz="2800" dirty="0">
                <a:solidFill>
                  <a:srgbClr val="1B222C"/>
                </a:solidFill>
              </a:rPr>
              <a:t> et qui, duo cu </a:t>
            </a:r>
            <a:r>
              <a:rPr lang="en-US" sz="2800" dirty="0" err="1">
                <a:solidFill>
                  <a:srgbClr val="1B222C"/>
                </a:solidFill>
              </a:rPr>
              <a:t>natum</a:t>
            </a:r>
            <a:r>
              <a:rPr lang="en-US" sz="2800" dirty="0">
                <a:solidFill>
                  <a:srgbClr val="1B222C"/>
                </a:solidFill>
              </a:rPr>
              <a:t> </a:t>
            </a:r>
            <a:r>
              <a:rPr lang="en-US" sz="2800" dirty="0" err="1">
                <a:solidFill>
                  <a:srgbClr val="1B222C"/>
                </a:solidFill>
              </a:rPr>
              <a:t>urbanitas</a:t>
            </a:r>
            <a:r>
              <a:rPr lang="en-US" sz="2800" dirty="0">
                <a:solidFill>
                  <a:srgbClr val="1B222C"/>
                </a:solidFill>
              </a:rPr>
              <a:t>. Ad </a:t>
            </a:r>
            <a:r>
              <a:rPr lang="en-US" sz="2800" dirty="0" err="1">
                <a:solidFill>
                  <a:srgbClr val="1B222C"/>
                </a:solidFill>
              </a:rPr>
              <a:t>elitr</a:t>
            </a:r>
            <a:r>
              <a:rPr lang="en-US" sz="2800" dirty="0">
                <a:solidFill>
                  <a:srgbClr val="1B222C"/>
                </a:solidFill>
              </a:rPr>
              <a:t> </a:t>
            </a:r>
            <a:r>
              <a:rPr lang="en-US" sz="2800" dirty="0" err="1">
                <a:solidFill>
                  <a:srgbClr val="1B222C"/>
                </a:solidFill>
              </a:rPr>
              <a:t>forensibus</a:t>
            </a:r>
            <a:r>
              <a:rPr lang="en-US" sz="2800" dirty="0">
                <a:solidFill>
                  <a:srgbClr val="1B222C"/>
                </a:solidFill>
              </a:rPr>
              <a:t> </a:t>
            </a:r>
            <a:r>
              <a:rPr lang="en-US" sz="2800" dirty="0" err="1">
                <a:solidFill>
                  <a:srgbClr val="1B222C"/>
                </a:solidFill>
              </a:rPr>
              <a:t>scribentur</a:t>
            </a:r>
            <a:r>
              <a:rPr lang="en-US" sz="2800" dirty="0">
                <a:solidFill>
                  <a:srgbClr val="1B222C"/>
                </a:solidFill>
              </a:rPr>
              <a:t> </a:t>
            </a:r>
            <a:r>
              <a:rPr lang="en-US" sz="2800" dirty="0" err="1">
                <a:solidFill>
                  <a:srgbClr val="1B222C"/>
                </a:solidFill>
              </a:rPr>
              <a:t>eum</a:t>
            </a:r>
            <a:r>
              <a:rPr lang="en-US" sz="2800" dirty="0">
                <a:solidFill>
                  <a:srgbClr val="1B222C"/>
                </a:solidFill>
              </a:rPr>
              <a:t>, mea </a:t>
            </a:r>
            <a:r>
              <a:rPr lang="en-US" sz="2800" dirty="0" err="1">
                <a:solidFill>
                  <a:srgbClr val="1B222C"/>
                </a:solidFill>
              </a:rPr>
              <a:t>suas</a:t>
            </a:r>
            <a:r>
              <a:rPr lang="en-US" sz="2800" dirty="0">
                <a:solidFill>
                  <a:srgbClr val="1B222C"/>
                </a:solidFill>
              </a:rPr>
              <a:t> </a:t>
            </a:r>
            <a:r>
              <a:rPr lang="en-US" sz="2800" dirty="0" err="1">
                <a:solidFill>
                  <a:srgbClr val="1B222C"/>
                </a:solidFill>
              </a:rPr>
              <a:t>omnes</a:t>
            </a:r>
            <a:r>
              <a:rPr lang="en-US" sz="2800" dirty="0">
                <a:solidFill>
                  <a:srgbClr val="1B222C"/>
                </a:solidFill>
              </a:rPr>
              <a:t> </a:t>
            </a:r>
            <a:r>
              <a:rPr lang="en-US" sz="2800" dirty="0" err="1">
                <a:solidFill>
                  <a:srgbClr val="1B222C"/>
                </a:solidFill>
              </a:rPr>
              <a:t>denique</a:t>
            </a:r>
            <a:r>
              <a:rPr lang="en-US" sz="2800" dirty="0">
                <a:solidFill>
                  <a:srgbClr val="1B222C"/>
                </a:solidFill>
              </a:rPr>
              <a:t> in. An </a:t>
            </a:r>
            <a:r>
              <a:rPr lang="en-US" sz="2800" dirty="0" err="1">
                <a:solidFill>
                  <a:srgbClr val="1B222C"/>
                </a:solidFill>
              </a:rPr>
              <a:t>usu</a:t>
            </a:r>
            <a:r>
              <a:rPr lang="en-US" sz="2800" dirty="0">
                <a:solidFill>
                  <a:srgbClr val="1B222C"/>
                </a:solidFill>
              </a:rPr>
              <a:t> </a:t>
            </a:r>
            <a:r>
              <a:rPr lang="en-US" sz="2800" dirty="0" err="1">
                <a:solidFill>
                  <a:srgbClr val="1B222C"/>
                </a:solidFill>
              </a:rPr>
              <a:t>eros</a:t>
            </a:r>
            <a:r>
              <a:rPr lang="en-US" sz="2800" dirty="0">
                <a:solidFill>
                  <a:srgbClr val="1B222C"/>
                </a:solidFill>
              </a:rPr>
              <a:t> </a:t>
            </a:r>
            <a:r>
              <a:rPr lang="en-US" sz="2800" dirty="0" err="1">
                <a:solidFill>
                  <a:srgbClr val="1B222C"/>
                </a:solidFill>
              </a:rPr>
              <a:t>liberavisse</a:t>
            </a:r>
            <a:r>
              <a:rPr lang="en-US" sz="2800" dirty="0">
                <a:solidFill>
                  <a:srgbClr val="1B222C"/>
                </a:solidFill>
              </a:rPr>
              <a:t> </a:t>
            </a:r>
            <a:r>
              <a:rPr lang="en-US" sz="2800" dirty="0" err="1">
                <a:solidFill>
                  <a:srgbClr val="1B222C"/>
                </a:solidFill>
              </a:rPr>
              <a:t>necessitatibus</a:t>
            </a:r>
            <a:r>
              <a:rPr lang="en-US" sz="2800" dirty="0">
                <a:solidFill>
                  <a:srgbClr val="1B222C"/>
                </a:solidFill>
              </a:rPr>
              <a:t>, tale </a:t>
            </a:r>
            <a:r>
              <a:rPr lang="en-US" sz="2800" dirty="0" err="1">
                <a:solidFill>
                  <a:srgbClr val="1B222C"/>
                </a:solidFill>
              </a:rPr>
              <a:t>nibh</a:t>
            </a:r>
            <a:r>
              <a:rPr lang="en-US" sz="2800" dirty="0">
                <a:solidFill>
                  <a:srgbClr val="1B222C"/>
                </a:solidFill>
              </a:rPr>
              <a:t> </a:t>
            </a:r>
            <a:r>
              <a:rPr lang="en-US" sz="2800" dirty="0" err="1">
                <a:solidFill>
                  <a:srgbClr val="1B222C"/>
                </a:solidFill>
              </a:rPr>
              <a:t>alienum</a:t>
            </a:r>
            <a:r>
              <a:rPr lang="en-US" sz="2800" dirty="0">
                <a:solidFill>
                  <a:srgbClr val="1B222C"/>
                </a:solidFill>
              </a:rPr>
              <a:t> ad </a:t>
            </a:r>
            <a:r>
              <a:rPr lang="en-US" sz="2800" dirty="0" err="1">
                <a:solidFill>
                  <a:srgbClr val="1B222C"/>
                </a:solidFill>
              </a:rPr>
              <a:t>eam</a:t>
            </a:r>
            <a:r>
              <a:rPr lang="en-US" sz="2800" dirty="0">
                <a:solidFill>
                  <a:srgbClr val="1B222C"/>
                </a:solidFill>
              </a:rPr>
              <a:t>. </a:t>
            </a:r>
          </a:p>
        </p:txBody>
      </p:sp>
      <p:sp>
        <p:nvSpPr>
          <p:cNvPr id="14" name="Rectangle 13">
            <a:extLst>
              <a:ext uri="{FF2B5EF4-FFF2-40B4-BE49-F238E27FC236}">
                <a16:creationId xmlns:a16="http://schemas.microsoft.com/office/drawing/2014/main" id="{9D26460E-CF23-B244-89CC-564B9D9748C7}"/>
              </a:ext>
            </a:extLst>
          </p:cNvPr>
          <p:cNvSpPr/>
          <p:nvPr/>
        </p:nvSpPr>
        <p:spPr>
          <a:xfrm>
            <a:off x="8823173" y="0"/>
            <a:ext cx="6881879" cy="12725400"/>
          </a:xfrm>
          <a:prstGeom prst="rect">
            <a:avLst/>
          </a:prstGeom>
          <a:solidFill>
            <a:schemeClr val="accent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CA3E1511-1E2F-4946-B1FB-53671B4AF5C5}"/>
              </a:ext>
            </a:extLst>
          </p:cNvPr>
          <p:cNvSpPr txBox="1"/>
          <p:nvPr/>
        </p:nvSpPr>
        <p:spPr>
          <a:xfrm>
            <a:off x="9260823" y="5032215"/>
            <a:ext cx="6006575" cy="1077218"/>
          </a:xfrm>
          <a:prstGeom prst="rect">
            <a:avLst/>
          </a:prstGeom>
          <a:noFill/>
        </p:spPr>
        <p:txBody>
          <a:bodyPr wrap="square" lIns="0" tIns="0" rIns="0" bIns="0" rtlCol="0">
            <a:spAutoFit/>
          </a:bodyPr>
          <a:lstStyle/>
          <a:p>
            <a:pPr algn="ctr"/>
            <a:r>
              <a:rPr lang="da-DK" sz="7000" dirty="0">
                <a:solidFill>
                  <a:schemeClr val="bg1"/>
                </a:solidFill>
                <a:latin typeface="+mj-lt"/>
              </a:rPr>
              <a:t>Title</a:t>
            </a:r>
            <a:endParaRPr lang="en-US" sz="7000" dirty="0">
              <a:solidFill>
                <a:schemeClr val="bg1"/>
              </a:solidFill>
              <a:latin typeface="+mj-lt"/>
            </a:endParaRPr>
          </a:p>
        </p:txBody>
      </p:sp>
      <p:sp>
        <p:nvSpPr>
          <p:cNvPr id="17" name="Oval 16">
            <a:extLst>
              <a:ext uri="{FF2B5EF4-FFF2-40B4-BE49-F238E27FC236}">
                <a16:creationId xmlns:a16="http://schemas.microsoft.com/office/drawing/2014/main" id="{CA53251E-4127-4F49-A4B3-FC3FF4B8B8D9}"/>
              </a:ext>
            </a:extLst>
          </p:cNvPr>
          <p:cNvSpPr/>
          <p:nvPr/>
        </p:nvSpPr>
        <p:spPr>
          <a:xfrm>
            <a:off x="7678650" y="7894115"/>
            <a:ext cx="2429719" cy="2429719"/>
          </a:xfrm>
          <a:prstGeom prst="ellipse">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89CFFC38-2443-0748-8BA6-635659284D9B}"/>
              </a:ext>
            </a:extLst>
          </p:cNvPr>
          <p:cNvSpPr/>
          <p:nvPr/>
        </p:nvSpPr>
        <p:spPr>
          <a:xfrm>
            <a:off x="14335635" y="2292350"/>
            <a:ext cx="2321676" cy="2321676"/>
          </a:xfrm>
          <a:prstGeom prst="ellipse">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lide Number Placeholder 36">
            <a:extLst>
              <a:ext uri="{FF2B5EF4-FFF2-40B4-BE49-F238E27FC236}">
                <a16:creationId xmlns:a16="http://schemas.microsoft.com/office/drawing/2014/main" id="{670AE451-C54A-CD4D-8BD2-9F376ED45074}"/>
              </a:ext>
            </a:extLst>
          </p:cNvPr>
          <p:cNvSpPr txBox="1">
            <a:spLocks/>
          </p:cNvSpPr>
          <p:nvPr/>
        </p:nvSpPr>
        <p:spPr>
          <a:xfrm>
            <a:off x="21069561" y="11818207"/>
            <a:ext cx="1146543" cy="659262"/>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14117C3-953C-4526-B0C6-2FD1C4FC1E6B}" type="slidenum">
              <a:rPr lang="en-US" smtClean="0"/>
              <a:pPr/>
              <a:t>40</a:t>
            </a:fld>
            <a:endParaRPr lang="en-US" dirty="0"/>
          </a:p>
        </p:txBody>
      </p:sp>
      <p:sp>
        <p:nvSpPr>
          <p:cNvPr id="16" name="Freeform: Shape 15">
            <a:extLst>
              <a:ext uri="{FF2B5EF4-FFF2-40B4-BE49-F238E27FC236}">
                <a16:creationId xmlns:a16="http://schemas.microsoft.com/office/drawing/2014/main" id="{32F05B53-C936-194D-8A71-616695DB6C50}"/>
              </a:ext>
            </a:extLst>
          </p:cNvPr>
          <p:cNvSpPr/>
          <p:nvPr/>
        </p:nvSpPr>
        <p:spPr>
          <a:xfrm>
            <a:off x="8131048" y="8275320"/>
            <a:ext cx="1633918" cy="1741214"/>
          </a:xfrm>
          <a:custGeom>
            <a:avLst/>
            <a:gdLst/>
            <a:ahLst/>
            <a:cxnLst>
              <a:cxn ang="3cd4">
                <a:pos x="hc" y="t"/>
              </a:cxn>
              <a:cxn ang="cd2">
                <a:pos x="l" y="vc"/>
              </a:cxn>
              <a:cxn ang="cd4">
                <a:pos x="hc" y="b"/>
              </a:cxn>
              <a:cxn ang="0">
                <a:pos x="r" y="vc"/>
              </a:cxn>
            </a:cxnLst>
            <a:rect l="l" t="t" r="r" b="b"/>
            <a:pathLst>
              <a:path w="5209" h="5551">
                <a:moveTo>
                  <a:pt x="4094" y="2259"/>
                </a:moveTo>
                <a:lnTo>
                  <a:pt x="4078" y="2259"/>
                </a:lnTo>
                <a:lnTo>
                  <a:pt x="4078" y="2195"/>
                </a:lnTo>
                <a:cubicBezTo>
                  <a:pt x="4062" y="2116"/>
                  <a:pt x="4030" y="2036"/>
                  <a:pt x="3982" y="1989"/>
                </a:cubicBezTo>
                <a:cubicBezTo>
                  <a:pt x="4030" y="1877"/>
                  <a:pt x="4125" y="1623"/>
                  <a:pt x="4062" y="1273"/>
                </a:cubicBezTo>
                <a:cubicBezTo>
                  <a:pt x="3950" y="668"/>
                  <a:pt x="3649" y="621"/>
                  <a:pt x="3537" y="621"/>
                </a:cubicBezTo>
                <a:cubicBezTo>
                  <a:pt x="3458" y="636"/>
                  <a:pt x="3410" y="668"/>
                  <a:pt x="3378" y="716"/>
                </a:cubicBezTo>
                <a:cubicBezTo>
                  <a:pt x="3315" y="796"/>
                  <a:pt x="3330" y="939"/>
                  <a:pt x="3458" y="1257"/>
                </a:cubicBezTo>
                <a:cubicBezTo>
                  <a:pt x="3521" y="1448"/>
                  <a:pt x="3553" y="1639"/>
                  <a:pt x="3569" y="1798"/>
                </a:cubicBezTo>
                <a:cubicBezTo>
                  <a:pt x="3585" y="1829"/>
                  <a:pt x="3585" y="1861"/>
                  <a:pt x="3585" y="1893"/>
                </a:cubicBezTo>
                <a:cubicBezTo>
                  <a:pt x="3521" y="1909"/>
                  <a:pt x="3473" y="1941"/>
                  <a:pt x="3426" y="2005"/>
                </a:cubicBezTo>
                <a:cubicBezTo>
                  <a:pt x="3410" y="2020"/>
                  <a:pt x="3394" y="2052"/>
                  <a:pt x="3378" y="2084"/>
                </a:cubicBezTo>
                <a:cubicBezTo>
                  <a:pt x="3235" y="2100"/>
                  <a:pt x="2964" y="2148"/>
                  <a:pt x="2710" y="2370"/>
                </a:cubicBezTo>
                <a:cubicBezTo>
                  <a:pt x="2471" y="2577"/>
                  <a:pt x="2360" y="2752"/>
                  <a:pt x="2360" y="2895"/>
                </a:cubicBezTo>
                <a:cubicBezTo>
                  <a:pt x="2360" y="2975"/>
                  <a:pt x="2392" y="3038"/>
                  <a:pt x="2440" y="3086"/>
                </a:cubicBezTo>
                <a:cubicBezTo>
                  <a:pt x="2471" y="3118"/>
                  <a:pt x="2519" y="3150"/>
                  <a:pt x="2599" y="3150"/>
                </a:cubicBezTo>
                <a:cubicBezTo>
                  <a:pt x="2694" y="3150"/>
                  <a:pt x="2821" y="3070"/>
                  <a:pt x="3028" y="2863"/>
                </a:cubicBezTo>
                <a:cubicBezTo>
                  <a:pt x="3155" y="2720"/>
                  <a:pt x="3315" y="2609"/>
                  <a:pt x="3442" y="2529"/>
                </a:cubicBezTo>
                <a:lnTo>
                  <a:pt x="3473" y="2498"/>
                </a:lnTo>
                <a:cubicBezTo>
                  <a:pt x="3537" y="2561"/>
                  <a:pt x="3616" y="2593"/>
                  <a:pt x="3712" y="2593"/>
                </a:cubicBezTo>
                <a:lnTo>
                  <a:pt x="3760" y="2593"/>
                </a:lnTo>
                <a:lnTo>
                  <a:pt x="3792" y="2593"/>
                </a:lnTo>
                <a:cubicBezTo>
                  <a:pt x="3950" y="2752"/>
                  <a:pt x="4157" y="2895"/>
                  <a:pt x="4380" y="2959"/>
                </a:cubicBezTo>
                <a:cubicBezTo>
                  <a:pt x="4507" y="2990"/>
                  <a:pt x="4619" y="3007"/>
                  <a:pt x="4714" y="3007"/>
                </a:cubicBezTo>
                <a:cubicBezTo>
                  <a:pt x="4921" y="3007"/>
                  <a:pt x="5064" y="2927"/>
                  <a:pt x="5160" y="2752"/>
                </a:cubicBezTo>
                <a:cubicBezTo>
                  <a:pt x="5175" y="2720"/>
                  <a:pt x="5239" y="2625"/>
                  <a:pt x="5191" y="2529"/>
                </a:cubicBezTo>
                <a:cubicBezTo>
                  <a:pt x="5143" y="2434"/>
                  <a:pt x="4985" y="2386"/>
                  <a:pt x="4682" y="2370"/>
                </a:cubicBezTo>
                <a:cubicBezTo>
                  <a:pt x="4460" y="2354"/>
                  <a:pt x="4253" y="2307"/>
                  <a:pt x="4094" y="2259"/>
                </a:cubicBezTo>
                <a:close/>
                <a:moveTo>
                  <a:pt x="3505" y="796"/>
                </a:moveTo>
                <a:cubicBezTo>
                  <a:pt x="3521" y="791"/>
                  <a:pt x="3521" y="780"/>
                  <a:pt x="3553" y="780"/>
                </a:cubicBezTo>
                <a:cubicBezTo>
                  <a:pt x="3696" y="780"/>
                  <a:pt x="3839" y="971"/>
                  <a:pt x="3903" y="1305"/>
                </a:cubicBezTo>
                <a:cubicBezTo>
                  <a:pt x="3950" y="1543"/>
                  <a:pt x="3919" y="1750"/>
                  <a:pt x="3855" y="1893"/>
                </a:cubicBezTo>
                <a:cubicBezTo>
                  <a:pt x="3824" y="1877"/>
                  <a:pt x="3776" y="1861"/>
                  <a:pt x="3744" y="1861"/>
                </a:cubicBezTo>
                <a:cubicBezTo>
                  <a:pt x="3744" y="1845"/>
                  <a:pt x="3744" y="1814"/>
                  <a:pt x="3728" y="1782"/>
                </a:cubicBezTo>
                <a:cubicBezTo>
                  <a:pt x="3712" y="1607"/>
                  <a:pt x="3680" y="1400"/>
                  <a:pt x="3601" y="1209"/>
                </a:cubicBezTo>
                <a:cubicBezTo>
                  <a:pt x="3489" y="907"/>
                  <a:pt x="3489" y="812"/>
                  <a:pt x="3505" y="796"/>
                </a:cubicBezTo>
                <a:close/>
                <a:moveTo>
                  <a:pt x="2901" y="2752"/>
                </a:moveTo>
                <a:cubicBezTo>
                  <a:pt x="2710" y="2959"/>
                  <a:pt x="2631" y="2990"/>
                  <a:pt x="2599" y="2990"/>
                </a:cubicBezTo>
                <a:cubicBezTo>
                  <a:pt x="2583" y="2990"/>
                  <a:pt x="2567" y="2990"/>
                  <a:pt x="2551" y="2975"/>
                </a:cubicBezTo>
                <a:cubicBezTo>
                  <a:pt x="2519" y="2959"/>
                  <a:pt x="2519" y="2927"/>
                  <a:pt x="2519" y="2895"/>
                </a:cubicBezTo>
                <a:cubicBezTo>
                  <a:pt x="2519" y="2847"/>
                  <a:pt x="2567" y="2720"/>
                  <a:pt x="2806" y="2498"/>
                </a:cubicBezTo>
                <a:cubicBezTo>
                  <a:pt x="2997" y="2338"/>
                  <a:pt x="3187" y="2275"/>
                  <a:pt x="3346" y="2243"/>
                </a:cubicBezTo>
                <a:lnTo>
                  <a:pt x="3346" y="2275"/>
                </a:lnTo>
                <a:cubicBezTo>
                  <a:pt x="3346" y="2307"/>
                  <a:pt x="3362" y="2338"/>
                  <a:pt x="3378" y="2370"/>
                </a:cubicBezTo>
                <a:lnTo>
                  <a:pt x="3346" y="2386"/>
                </a:lnTo>
                <a:cubicBezTo>
                  <a:pt x="3219" y="2481"/>
                  <a:pt x="3060" y="2593"/>
                  <a:pt x="2901" y="2752"/>
                </a:cubicBezTo>
                <a:close/>
                <a:moveTo>
                  <a:pt x="3744" y="2434"/>
                </a:moveTo>
                <a:cubicBezTo>
                  <a:pt x="3616" y="2450"/>
                  <a:pt x="3521" y="2370"/>
                  <a:pt x="3505" y="2259"/>
                </a:cubicBezTo>
                <a:lnTo>
                  <a:pt x="3505" y="2195"/>
                </a:lnTo>
                <a:cubicBezTo>
                  <a:pt x="3505" y="2180"/>
                  <a:pt x="3521" y="2180"/>
                  <a:pt x="3521" y="2163"/>
                </a:cubicBezTo>
                <a:cubicBezTo>
                  <a:pt x="3521" y="2148"/>
                  <a:pt x="3537" y="2116"/>
                  <a:pt x="3553" y="2100"/>
                </a:cubicBezTo>
                <a:cubicBezTo>
                  <a:pt x="3585" y="2052"/>
                  <a:pt x="3633" y="2036"/>
                  <a:pt x="3696" y="2020"/>
                </a:cubicBezTo>
                <a:lnTo>
                  <a:pt x="3712" y="2020"/>
                </a:lnTo>
                <a:cubicBezTo>
                  <a:pt x="3760" y="2020"/>
                  <a:pt x="3807" y="2036"/>
                  <a:pt x="3839" y="2068"/>
                </a:cubicBezTo>
                <a:cubicBezTo>
                  <a:pt x="3887" y="2100"/>
                  <a:pt x="3919" y="2148"/>
                  <a:pt x="3919" y="2211"/>
                </a:cubicBezTo>
                <a:cubicBezTo>
                  <a:pt x="3935" y="2323"/>
                  <a:pt x="3855" y="2418"/>
                  <a:pt x="3744" y="2434"/>
                </a:cubicBezTo>
                <a:close/>
                <a:moveTo>
                  <a:pt x="5048" y="2609"/>
                </a:moveTo>
                <a:cubicBezTo>
                  <a:pt x="5043" y="2630"/>
                  <a:pt x="5048" y="2625"/>
                  <a:pt x="5032" y="2672"/>
                </a:cubicBezTo>
                <a:cubicBezTo>
                  <a:pt x="4952" y="2799"/>
                  <a:pt x="4842" y="2911"/>
                  <a:pt x="4428" y="2799"/>
                </a:cubicBezTo>
                <a:cubicBezTo>
                  <a:pt x="4189" y="2736"/>
                  <a:pt x="4030" y="2593"/>
                  <a:pt x="3950" y="2513"/>
                </a:cubicBezTo>
                <a:cubicBezTo>
                  <a:pt x="3982" y="2481"/>
                  <a:pt x="4014" y="2450"/>
                  <a:pt x="4030" y="2402"/>
                </a:cubicBezTo>
                <a:lnTo>
                  <a:pt x="4046" y="2402"/>
                </a:lnTo>
                <a:cubicBezTo>
                  <a:pt x="4205" y="2450"/>
                  <a:pt x="4443" y="2513"/>
                  <a:pt x="4682" y="2529"/>
                </a:cubicBezTo>
                <a:cubicBezTo>
                  <a:pt x="5000" y="2545"/>
                  <a:pt x="5048" y="2593"/>
                  <a:pt x="5048" y="2609"/>
                </a:cubicBezTo>
                <a:close/>
                <a:moveTo>
                  <a:pt x="4125" y="5551"/>
                </a:moveTo>
                <a:cubicBezTo>
                  <a:pt x="4142" y="5551"/>
                  <a:pt x="4157" y="5551"/>
                  <a:pt x="4173" y="5535"/>
                </a:cubicBezTo>
                <a:cubicBezTo>
                  <a:pt x="4189" y="5519"/>
                  <a:pt x="4205" y="5488"/>
                  <a:pt x="4205" y="5472"/>
                </a:cubicBezTo>
                <a:lnTo>
                  <a:pt x="3807" y="2689"/>
                </a:lnTo>
                <a:cubicBezTo>
                  <a:pt x="3792" y="2641"/>
                  <a:pt x="3760" y="2609"/>
                  <a:pt x="3728" y="2609"/>
                </a:cubicBezTo>
                <a:lnTo>
                  <a:pt x="3696" y="2609"/>
                </a:lnTo>
                <a:cubicBezTo>
                  <a:pt x="3664" y="2609"/>
                  <a:pt x="3633" y="2641"/>
                  <a:pt x="3616" y="2689"/>
                </a:cubicBezTo>
                <a:lnTo>
                  <a:pt x="3219" y="5472"/>
                </a:lnTo>
                <a:cubicBezTo>
                  <a:pt x="3219" y="5488"/>
                  <a:pt x="3235" y="5519"/>
                  <a:pt x="3251" y="5535"/>
                </a:cubicBezTo>
                <a:cubicBezTo>
                  <a:pt x="3251" y="5551"/>
                  <a:pt x="3283" y="5551"/>
                  <a:pt x="3298" y="5551"/>
                </a:cubicBezTo>
                <a:close/>
                <a:moveTo>
                  <a:pt x="3712" y="3181"/>
                </a:moveTo>
                <a:lnTo>
                  <a:pt x="4030" y="5392"/>
                </a:lnTo>
                <a:lnTo>
                  <a:pt x="3394" y="5392"/>
                </a:lnTo>
                <a:close/>
                <a:moveTo>
                  <a:pt x="197" y="1336"/>
                </a:moveTo>
                <a:lnTo>
                  <a:pt x="643" y="1336"/>
                </a:lnTo>
                <a:cubicBezTo>
                  <a:pt x="658" y="1480"/>
                  <a:pt x="722" y="1607"/>
                  <a:pt x="801" y="1718"/>
                </a:cubicBezTo>
                <a:lnTo>
                  <a:pt x="483" y="2020"/>
                </a:lnTo>
                <a:cubicBezTo>
                  <a:pt x="452" y="2052"/>
                  <a:pt x="452" y="2100"/>
                  <a:pt x="483" y="2132"/>
                </a:cubicBezTo>
                <a:cubicBezTo>
                  <a:pt x="499" y="2148"/>
                  <a:pt x="515" y="2163"/>
                  <a:pt x="547" y="2163"/>
                </a:cubicBezTo>
                <a:cubicBezTo>
                  <a:pt x="563" y="2163"/>
                  <a:pt x="579" y="2148"/>
                  <a:pt x="595" y="2132"/>
                </a:cubicBezTo>
                <a:lnTo>
                  <a:pt x="913" y="1829"/>
                </a:lnTo>
                <a:cubicBezTo>
                  <a:pt x="1024" y="1909"/>
                  <a:pt x="1152" y="1972"/>
                  <a:pt x="1295" y="1972"/>
                </a:cubicBezTo>
                <a:lnTo>
                  <a:pt x="1295" y="2418"/>
                </a:lnTo>
                <a:cubicBezTo>
                  <a:pt x="1295" y="2466"/>
                  <a:pt x="1326" y="2498"/>
                  <a:pt x="1374" y="2498"/>
                </a:cubicBezTo>
                <a:cubicBezTo>
                  <a:pt x="1406" y="2498"/>
                  <a:pt x="1453" y="2466"/>
                  <a:pt x="1453" y="2418"/>
                </a:cubicBezTo>
                <a:lnTo>
                  <a:pt x="1453" y="1972"/>
                </a:lnTo>
                <a:cubicBezTo>
                  <a:pt x="1596" y="1972"/>
                  <a:pt x="1724" y="1909"/>
                  <a:pt x="1819" y="1829"/>
                </a:cubicBezTo>
                <a:lnTo>
                  <a:pt x="2137" y="2132"/>
                </a:lnTo>
                <a:cubicBezTo>
                  <a:pt x="2153" y="2148"/>
                  <a:pt x="2169" y="2163"/>
                  <a:pt x="2201" y="2163"/>
                </a:cubicBezTo>
                <a:cubicBezTo>
                  <a:pt x="2217" y="2163"/>
                  <a:pt x="2233" y="2148"/>
                  <a:pt x="2249" y="2132"/>
                </a:cubicBezTo>
                <a:cubicBezTo>
                  <a:pt x="2280" y="2100"/>
                  <a:pt x="2280" y="2052"/>
                  <a:pt x="2249" y="2020"/>
                </a:cubicBezTo>
                <a:lnTo>
                  <a:pt x="1947" y="1718"/>
                </a:lnTo>
                <a:cubicBezTo>
                  <a:pt x="2026" y="1607"/>
                  <a:pt x="2074" y="1480"/>
                  <a:pt x="2090" y="1336"/>
                </a:cubicBezTo>
                <a:lnTo>
                  <a:pt x="2535" y="1336"/>
                </a:lnTo>
                <a:cubicBezTo>
                  <a:pt x="2583" y="1336"/>
                  <a:pt x="2615" y="1305"/>
                  <a:pt x="2615" y="1257"/>
                </a:cubicBezTo>
                <a:cubicBezTo>
                  <a:pt x="2615" y="1209"/>
                  <a:pt x="2583" y="1177"/>
                  <a:pt x="2535" y="1177"/>
                </a:cubicBezTo>
                <a:lnTo>
                  <a:pt x="2090" y="1177"/>
                </a:lnTo>
                <a:cubicBezTo>
                  <a:pt x="2074" y="1034"/>
                  <a:pt x="2026" y="907"/>
                  <a:pt x="1947" y="796"/>
                </a:cubicBezTo>
                <a:lnTo>
                  <a:pt x="2249" y="478"/>
                </a:lnTo>
                <a:cubicBezTo>
                  <a:pt x="2280" y="446"/>
                  <a:pt x="2280" y="398"/>
                  <a:pt x="2249" y="366"/>
                </a:cubicBezTo>
                <a:cubicBezTo>
                  <a:pt x="2217" y="335"/>
                  <a:pt x="2169" y="335"/>
                  <a:pt x="2137" y="366"/>
                </a:cubicBezTo>
                <a:lnTo>
                  <a:pt x="1819" y="684"/>
                </a:lnTo>
                <a:cubicBezTo>
                  <a:pt x="1724" y="605"/>
                  <a:pt x="1596" y="541"/>
                  <a:pt x="1453" y="525"/>
                </a:cubicBezTo>
                <a:lnTo>
                  <a:pt x="1453" y="80"/>
                </a:lnTo>
                <a:cubicBezTo>
                  <a:pt x="1453" y="48"/>
                  <a:pt x="1406" y="0"/>
                  <a:pt x="1374" y="0"/>
                </a:cubicBezTo>
                <a:cubicBezTo>
                  <a:pt x="1326" y="0"/>
                  <a:pt x="1295" y="48"/>
                  <a:pt x="1295" y="80"/>
                </a:cubicBezTo>
                <a:lnTo>
                  <a:pt x="1295" y="525"/>
                </a:lnTo>
                <a:cubicBezTo>
                  <a:pt x="1152" y="541"/>
                  <a:pt x="1024" y="605"/>
                  <a:pt x="913" y="684"/>
                </a:cubicBezTo>
                <a:lnTo>
                  <a:pt x="595" y="366"/>
                </a:lnTo>
                <a:cubicBezTo>
                  <a:pt x="563" y="335"/>
                  <a:pt x="515" y="335"/>
                  <a:pt x="483" y="366"/>
                </a:cubicBezTo>
                <a:cubicBezTo>
                  <a:pt x="452" y="398"/>
                  <a:pt x="452" y="446"/>
                  <a:pt x="483" y="478"/>
                </a:cubicBezTo>
                <a:lnTo>
                  <a:pt x="801" y="796"/>
                </a:lnTo>
                <a:cubicBezTo>
                  <a:pt x="722" y="907"/>
                  <a:pt x="658" y="1034"/>
                  <a:pt x="643" y="1177"/>
                </a:cubicBezTo>
                <a:lnTo>
                  <a:pt x="197" y="1177"/>
                </a:lnTo>
                <a:cubicBezTo>
                  <a:pt x="149" y="1177"/>
                  <a:pt x="117" y="1209"/>
                  <a:pt x="117" y="1257"/>
                </a:cubicBezTo>
                <a:cubicBezTo>
                  <a:pt x="117" y="1305"/>
                  <a:pt x="149" y="1336"/>
                  <a:pt x="197" y="1336"/>
                </a:cubicBezTo>
                <a:close/>
                <a:moveTo>
                  <a:pt x="1374" y="684"/>
                </a:moveTo>
                <a:cubicBezTo>
                  <a:pt x="1692" y="684"/>
                  <a:pt x="1947" y="939"/>
                  <a:pt x="1947" y="1257"/>
                </a:cubicBezTo>
                <a:cubicBezTo>
                  <a:pt x="1947" y="1575"/>
                  <a:pt x="1692" y="1829"/>
                  <a:pt x="1374" y="1829"/>
                </a:cubicBezTo>
                <a:cubicBezTo>
                  <a:pt x="1056" y="1829"/>
                  <a:pt x="801" y="1575"/>
                  <a:pt x="801" y="1257"/>
                </a:cubicBezTo>
                <a:cubicBezTo>
                  <a:pt x="801" y="939"/>
                  <a:pt x="1056" y="684"/>
                  <a:pt x="1374" y="684"/>
                </a:cubicBezTo>
                <a:close/>
                <a:moveTo>
                  <a:pt x="38" y="4152"/>
                </a:moveTo>
                <a:cubicBezTo>
                  <a:pt x="70" y="4168"/>
                  <a:pt x="117" y="4168"/>
                  <a:pt x="149" y="4120"/>
                </a:cubicBezTo>
                <a:cubicBezTo>
                  <a:pt x="340" y="3817"/>
                  <a:pt x="833" y="3977"/>
                  <a:pt x="1342" y="4152"/>
                </a:cubicBezTo>
                <a:cubicBezTo>
                  <a:pt x="1644" y="4263"/>
                  <a:pt x="1962" y="4358"/>
                  <a:pt x="2233" y="4358"/>
                </a:cubicBezTo>
                <a:cubicBezTo>
                  <a:pt x="2440" y="4358"/>
                  <a:pt x="2615" y="4295"/>
                  <a:pt x="2726" y="4120"/>
                </a:cubicBezTo>
                <a:cubicBezTo>
                  <a:pt x="2742" y="4088"/>
                  <a:pt x="2742" y="4025"/>
                  <a:pt x="2694" y="4008"/>
                </a:cubicBezTo>
                <a:cubicBezTo>
                  <a:pt x="2662" y="3977"/>
                  <a:pt x="2615" y="3992"/>
                  <a:pt x="2599" y="4025"/>
                </a:cubicBezTo>
                <a:cubicBezTo>
                  <a:pt x="2392" y="4343"/>
                  <a:pt x="1915" y="4183"/>
                  <a:pt x="1390" y="4008"/>
                </a:cubicBezTo>
                <a:cubicBezTo>
                  <a:pt x="849" y="3817"/>
                  <a:pt x="277" y="3627"/>
                  <a:pt x="6" y="4040"/>
                </a:cubicBezTo>
                <a:cubicBezTo>
                  <a:pt x="-10" y="4072"/>
                  <a:pt x="6" y="4120"/>
                  <a:pt x="38" y="4152"/>
                </a:cubicBezTo>
                <a:close/>
                <a:moveTo>
                  <a:pt x="38" y="4565"/>
                </a:moveTo>
                <a:cubicBezTo>
                  <a:pt x="70" y="4581"/>
                  <a:pt x="117" y="4581"/>
                  <a:pt x="149" y="4534"/>
                </a:cubicBezTo>
                <a:cubicBezTo>
                  <a:pt x="340" y="4231"/>
                  <a:pt x="833" y="4390"/>
                  <a:pt x="1342" y="4565"/>
                </a:cubicBezTo>
                <a:cubicBezTo>
                  <a:pt x="1644" y="4677"/>
                  <a:pt x="1962" y="4772"/>
                  <a:pt x="2233" y="4772"/>
                </a:cubicBezTo>
                <a:cubicBezTo>
                  <a:pt x="2440" y="4772"/>
                  <a:pt x="2615" y="4708"/>
                  <a:pt x="2726" y="4534"/>
                </a:cubicBezTo>
                <a:cubicBezTo>
                  <a:pt x="2742" y="4486"/>
                  <a:pt x="2742" y="4438"/>
                  <a:pt x="2694" y="4422"/>
                </a:cubicBezTo>
                <a:cubicBezTo>
                  <a:pt x="2662" y="4390"/>
                  <a:pt x="2615" y="4406"/>
                  <a:pt x="2599" y="4438"/>
                </a:cubicBezTo>
                <a:cubicBezTo>
                  <a:pt x="2392" y="4756"/>
                  <a:pt x="1915" y="4581"/>
                  <a:pt x="1390" y="4422"/>
                </a:cubicBezTo>
                <a:cubicBezTo>
                  <a:pt x="849" y="4231"/>
                  <a:pt x="277" y="4040"/>
                  <a:pt x="6" y="4454"/>
                </a:cubicBezTo>
                <a:cubicBezTo>
                  <a:pt x="-10" y="4486"/>
                  <a:pt x="6" y="4534"/>
                  <a:pt x="38" y="456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8" name="Freeform: Shape 16">
            <a:extLst>
              <a:ext uri="{FF2B5EF4-FFF2-40B4-BE49-F238E27FC236}">
                <a16:creationId xmlns:a16="http://schemas.microsoft.com/office/drawing/2014/main" id="{544D6A41-24FC-2347-B99B-A334FD57F3D0}"/>
              </a:ext>
            </a:extLst>
          </p:cNvPr>
          <p:cNvSpPr/>
          <p:nvPr/>
        </p:nvSpPr>
        <p:spPr>
          <a:xfrm>
            <a:off x="14767473" y="2724188"/>
            <a:ext cx="1458000" cy="1458000"/>
          </a:xfrm>
          <a:custGeom>
            <a:avLst/>
            <a:gdLst/>
            <a:ahLst/>
            <a:cxnLst>
              <a:cxn ang="3cd4">
                <a:pos x="hc" y="t"/>
              </a:cxn>
              <a:cxn ang="cd2">
                <a:pos x="l" y="vc"/>
              </a:cxn>
              <a:cxn ang="cd4">
                <a:pos x="hc" y="b"/>
              </a:cxn>
              <a:cxn ang="0">
                <a:pos x="r" y="vc"/>
              </a:cxn>
            </a:cxnLst>
            <a:rect l="l" t="t" r="r" b="b"/>
            <a:pathLst>
              <a:path w="4051" h="4051">
                <a:moveTo>
                  <a:pt x="111" y="3924"/>
                </a:moveTo>
                <a:cubicBezTo>
                  <a:pt x="206" y="4019"/>
                  <a:pt x="318" y="4051"/>
                  <a:pt x="461" y="4051"/>
                </a:cubicBezTo>
                <a:cubicBezTo>
                  <a:pt x="652" y="4051"/>
                  <a:pt x="906" y="3988"/>
                  <a:pt x="1193" y="3845"/>
                </a:cubicBezTo>
                <a:cubicBezTo>
                  <a:pt x="1447" y="3701"/>
                  <a:pt x="1733" y="3527"/>
                  <a:pt x="2020" y="3304"/>
                </a:cubicBezTo>
                <a:cubicBezTo>
                  <a:pt x="2306" y="3527"/>
                  <a:pt x="2592" y="3701"/>
                  <a:pt x="2862" y="3845"/>
                </a:cubicBezTo>
                <a:cubicBezTo>
                  <a:pt x="3133" y="3988"/>
                  <a:pt x="3387" y="4051"/>
                  <a:pt x="3578" y="4051"/>
                </a:cubicBezTo>
                <a:cubicBezTo>
                  <a:pt x="3722" y="4051"/>
                  <a:pt x="3849" y="4019"/>
                  <a:pt x="3928" y="3924"/>
                </a:cubicBezTo>
                <a:cubicBezTo>
                  <a:pt x="4119" y="3733"/>
                  <a:pt x="4087" y="3367"/>
                  <a:pt x="3833" y="2858"/>
                </a:cubicBezTo>
                <a:cubicBezTo>
                  <a:pt x="3705" y="2604"/>
                  <a:pt x="3514" y="2318"/>
                  <a:pt x="3292" y="2031"/>
                </a:cubicBezTo>
                <a:cubicBezTo>
                  <a:pt x="3514" y="1745"/>
                  <a:pt x="3705" y="1459"/>
                  <a:pt x="3833" y="1189"/>
                </a:cubicBezTo>
                <a:cubicBezTo>
                  <a:pt x="4087" y="695"/>
                  <a:pt x="4119" y="314"/>
                  <a:pt x="3928" y="123"/>
                </a:cubicBezTo>
                <a:cubicBezTo>
                  <a:pt x="3737" y="-68"/>
                  <a:pt x="3356" y="-36"/>
                  <a:pt x="2862" y="218"/>
                </a:cubicBezTo>
                <a:cubicBezTo>
                  <a:pt x="2592" y="346"/>
                  <a:pt x="2306" y="537"/>
                  <a:pt x="2020" y="759"/>
                </a:cubicBezTo>
                <a:cubicBezTo>
                  <a:pt x="1733" y="537"/>
                  <a:pt x="1447" y="346"/>
                  <a:pt x="1193" y="218"/>
                </a:cubicBezTo>
                <a:cubicBezTo>
                  <a:pt x="684" y="-36"/>
                  <a:pt x="302" y="-68"/>
                  <a:pt x="111" y="123"/>
                </a:cubicBezTo>
                <a:cubicBezTo>
                  <a:pt x="-64" y="314"/>
                  <a:pt x="-32" y="695"/>
                  <a:pt x="206" y="1189"/>
                </a:cubicBezTo>
                <a:cubicBezTo>
                  <a:pt x="333" y="1459"/>
                  <a:pt x="524" y="1745"/>
                  <a:pt x="747" y="2031"/>
                </a:cubicBezTo>
                <a:cubicBezTo>
                  <a:pt x="524" y="2318"/>
                  <a:pt x="333" y="2604"/>
                  <a:pt x="206" y="2858"/>
                </a:cubicBezTo>
                <a:cubicBezTo>
                  <a:pt x="-32" y="3367"/>
                  <a:pt x="-64" y="3733"/>
                  <a:pt x="111" y="3924"/>
                </a:cubicBezTo>
                <a:close/>
                <a:moveTo>
                  <a:pt x="3690" y="2938"/>
                </a:moveTo>
                <a:cubicBezTo>
                  <a:pt x="3912" y="3352"/>
                  <a:pt x="3944" y="3685"/>
                  <a:pt x="3817" y="3813"/>
                </a:cubicBezTo>
                <a:cubicBezTo>
                  <a:pt x="3674" y="3956"/>
                  <a:pt x="3356" y="3908"/>
                  <a:pt x="2926" y="3701"/>
                </a:cubicBezTo>
                <a:cubicBezTo>
                  <a:pt x="2687" y="3574"/>
                  <a:pt x="2417" y="3399"/>
                  <a:pt x="2147" y="3192"/>
                </a:cubicBezTo>
                <a:cubicBezTo>
                  <a:pt x="2338" y="3049"/>
                  <a:pt x="2513" y="2874"/>
                  <a:pt x="2687" y="2700"/>
                </a:cubicBezTo>
                <a:cubicBezTo>
                  <a:pt x="2878" y="2525"/>
                  <a:pt x="3038" y="2334"/>
                  <a:pt x="3196" y="2159"/>
                </a:cubicBezTo>
                <a:cubicBezTo>
                  <a:pt x="3404" y="2429"/>
                  <a:pt x="3562" y="2683"/>
                  <a:pt x="3690" y="2938"/>
                </a:cubicBezTo>
                <a:close/>
                <a:moveTo>
                  <a:pt x="2020" y="3097"/>
                </a:moveTo>
                <a:cubicBezTo>
                  <a:pt x="1829" y="2938"/>
                  <a:pt x="1638" y="2763"/>
                  <a:pt x="1463" y="2588"/>
                </a:cubicBezTo>
                <a:cubicBezTo>
                  <a:pt x="1272" y="2397"/>
                  <a:pt x="1113" y="2222"/>
                  <a:pt x="954" y="2031"/>
                </a:cubicBezTo>
                <a:cubicBezTo>
                  <a:pt x="1113" y="1840"/>
                  <a:pt x="1272" y="1650"/>
                  <a:pt x="1463" y="1475"/>
                </a:cubicBezTo>
                <a:cubicBezTo>
                  <a:pt x="1638" y="1284"/>
                  <a:pt x="1829" y="1109"/>
                  <a:pt x="2020" y="966"/>
                </a:cubicBezTo>
                <a:cubicBezTo>
                  <a:pt x="2211" y="1109"/>
                  <a:pt x="2401" y="1284"/>
                  <a:pt x="2576" y="1475"/>
                </a:cubicBezTo>
                <a:cubicBezTo>
                  <a:pt x="2767" y="1650"/>
                  <a:pt x="2942" y="1840"/>
                  <a:pt x="3085" y="2031"/>
                </a:cubicBezTo>
                <a:cubicBezTo>
                  <a:pt x="2942" y="2222"/>
                  <a:pt x="2767" y="2397"/>
                  <a:pt x="2576" y="2588"/>
                </a:cubicBezTo>
                <a:cubicBezTo>
                  <a:pt x="2401" y="2763"/>
                  <a:pt x="2211" y="2938"/>
                  <a:pt x="2020" y="3097"/>
                </a:cubicBezTo>
                <a:close/>
                <a:moveTo>
                  <a:pt x="2926" y="361"/>
                </a:moveTo>
                <a:cubicBezTo>
                  <a:pt x="3196" y="234"/>
                  <a:pt x="3419" y="155"/>
                  <a:pt x="3578" y="155"/>
                </a:cubicBezTo>
                <a:cubicBezTo>
                  <a:pt x="3674" y="155"/>
                  <a:pt x="3753" y="186"/>
                  <a:pt x="3817" y="234"/>
                </a:cubicBezTo>
                <a:cubicBezTo>
                  <a:pt x="3944" y="377"/>
                  <a:pt x="3912" y="695"/>
                  <a:pt x="3690" y="1125"/>
                </a:cubicBezTo>
                <a:cubicBezTo>
                  <a:pt x="3562" y="1364"/>
                  <a:pt x="3404" y="1634"/>
                  <a:pt x="3196" y="1904"/>
                </a:cubicBezTo>
                <a:cubicBezTo>
                  <a:pt x="3038" y="1713"/>
                  <a:pt x="2878" y="1538"/>
                  <a:pt x="2687" y="1364"/>
                </a:cubicBezTo>
                <a:cubicBezTo>
                  <a:pt x="2513" y="1173"/>
                  <a:pt x="2338" y="1013"/>
                  <a:pt x="2147" y="855"/>
                </a:cubicBezTo>
                <a:cubicBezTo>
                  <a:pt x="2417" y="647"/>
                  <a:pt x="2687" y="489"/>
                  <a:pt x="2926" y="361"/>
                </a:cubicBezTo>
                <a:close/>
                <a:moveTo>
                  <a:pt x="350" y="1125"/>
                </a:moveTo>
                <a:cubicBezTo>
                  <a:pt x="143" y="695"/>
                  <a:pt x="95" y="377"/>
                  <a:pt x="238" y="234"/>
                </a:cubicBezTo>
                <a:cubicBezTo>
                  <a:pt x="286" y="186"/>
                  <a:pt x="366" y="155"/>
                  <a:pt x="461" y="155"/>
                </a:cubicBezTo>
                <a:cubicBezTo>
                  <a:pt x="636" y="155"/>
                  <a:pt x="859" y="234"/>
                  <a:pt x="1113" y="361"/>
                </a:cubicBezTo>
                <a:cubicBezTo>
                  <a:pt x="1368" y="489"/>
                  <a:pt x="1622" y="647"/>
                  <a:pt x="1892" y="855"/>
                </a:cubicBezTo>
                <a:cubicBezTo>
                  <a:pt x="1717" y="1013"/>
                  <a:pt x="1526" y="1173"/>
                  <a:pt x="1351" y="1364"/>
                </a:cubicBezTo>
                <a:cubicBezTo>
                  <a:pt x="1177" y="1538"/>
                  <a:pt x="1002" y="1713"/>
                  <a:pt x="859" y="1904"/>
                </a:cubicBezTo>
                <a:cubicBezTo>
                  <a:pt x="652" y="1634"/>
                  <a:pt x="477" y="1364"/>
                  <a:pt x="350" y="1125"/>
                </a:cubicBezTo>
                <a:close/>
                <a:moveTo>
                  <a:pt x="859" y="2159"/>
                </a:moveTo>
                <a:cubicBezTo>
                  <a:pt x="1002" y="2334"/>
                  <a:pt x="1177" y="2525"/>
                  <a:pt x="1351" y="2700"/>
                </a:cubicBezTo>
                <a:cubicBezTo>
                  <a:pt x="1526" y="2874"/>
                  <a:pt x="1717" y="3049"/>
                  <a:pt x="1892" y="3192"/>
                </a:cubicBezTo>
                <a:cubicBezTo>
                  <a:pt x="1622" y="3399"/>
                  <a:pt x="1368" y="3574"/>
                  <a:pt x="1113" y="3701"/>
                </a:cubicBezTo>
                <a:cubicBezTo>
                  <a:pt x="684" y="3908"/>
                  <a:pt x="366" y="3956"/>
                  <a:pt x="238" y="3813"/>
                </a:cubicBezTo>
                <a:cubicBezTo>
                  <a:pt x="95" y="3685"/>
                  <a:pt x="143" y="3352"/>
                  <a:pt x="350" y="2938"/>
                </a:cubicBezTo>
                <a:cubicBezTo>
                  <a:pt x="477" y="2683"/>
                  <a:pt x="652" y="2429"/>
                  <a:pt x="859" y="2159"/>
                </a:cubicBezTo>
                <a:close/>
                <a:moveTo>
                  <a:pt x="2020" y="1729"/>
                </a:moveTo>
                <a:cubicBezTo>
                  <a:pt x="1860" y="1729"/>
                  <a:pt x="1717" y="1856"/>
                  <a:pt x="1717" y="2031"/>
                </a:cubicBezTo>
                <a:cubicBezTo>
                  <a:pt x="1717" y="2191"/>
                  <a:pt x="1860" y="2318"/>
                  <a:pt x="2020" y="2318"/>
                </a:cubicBezTo>
                <a:cubicBezTo>
                  <a:pt x="2178" y="2318"/>
                  <a:pt x="2322" y="2191"/>
                  <a:pt x="2322" y="2031"/>
                </a:cubicBezTo>
                <a:cubicBezTo>
                  <a:pt x="2322" y="1856"/>
                  <a:pt x="2178" y="1729"/>
                  <a:pt x="2020" y="1729"/>
                </a:cubicBezTo>
                <a:close/>
                <a:moveTo>
                  <a:pt x="2020" y="2159"/>
                </a:moveTo>
                <a:cubicBezTo>
                  <a:pt x="1940" y="2159"/>
                  <a:pt x="1877" y="2111"/>
                  <a:pt x="1877" y="2031"/>
                </a:cubicBezTo>
                <a:cubicBezTo>
                  <a:pt x="1877" y="1952"/>
                  <a:pt x="1940" y="1888"/>
                  <a:pt x="2020" y="1888"/>
                </a:cubicBezTo>
                <a:cubicBezTo>
                  <a:pt x="2099" y="1888"/>
                  <a:pt x="2163" y="1952"/>
                  <a:pt x="2163" y="2031"/>
                </a:cubicBezTo>
                <a:cubicBezTo>
                  <a:pt x="2163" y="2111"/>
                  <a:pt x="2099" y="2159"/>
                  <a:pt x="2020" y="21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8061891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D927096F-A2CE-7B45-9B27-6BD520DD031B}"/>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9253276" y="0"/>
            <a:ext cx="15129137" cy="9847384"/>
          </a:xfrm>
          <a:prstGeom prst="rect">
            <a:avLst/>
          </a:prstGeom>
          <a:ln>
            <a:noFill/>
          </a:ln>
          <a:effectLst>
            <a:outerShdw blurRad="190500" dist="114300" dir="8100000" algn="tr" rotWithShape="0">
              <a:prstClr val="black">
                <a:alpha val="40000"/>
              </a:prstClr>
            </a:outerShdw>
          </a:effectLst>
        </p:spPr>
      </p:pic>
      <p:sp>
        <p:nvSpPr>
          <p:cNvPr id="4" name="Rectangle 3">
            <a:extLst>
              <a:ext uri="{FF2B5EF4-FFF2-40B4-BE49-F238E27FC236}">
                <a16:creationId xmlns:a16="http://schemas.microsoft.com/office/drawing/2014/main" id="{C943DEF1-F7A6-6C42-9D38-CA441C427588}"/>
              </a:ext>
            </a:extLst>
          </p:cNvPr>
          <p:cNvSpPr/>
          <p:nvPr/>
        </p:nvSpPr>
        <p:spPr>
          <a:xfrm>
            <a:off x="2843534" y="5363453"/>
            <a:ext cx="7314724" cy="3657362"/>
          </a:xfrm>
          <a:prstGeom prst="rect">
            <a:avLst/>
          </a:prstGeom>
          <a:solidFill>
            <a:schemeClr val="bg1"/>
          </a:solidFill>
          <a:ln>
            <a:noFill/>
          </a:ln>
          <a:effectLst>
            <a:outerShdw blurRad="1905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1"/>
          </a:p>
        </p:txBody>
      </p:sp>
      <p:sp>
        <p:nvSpPr>
          <p:cNvPr id="5" name="Rectangle 4">
            <a:extLst>
              <a:ext uri="{FF2B5EF4-FFF2-40B4-BE49-F238E27FC236}">
                <a16:creationId xmlns:a16="http://schemas.microsoft.com/office/drawing/2014/main" id="{975C0C6C-1042-E44B-BBE3-B44F87DA116E}"/>
              </a:ext>
            </a:extLst>
          </p:cNvPr>
          <p:cNvSpPr/>
          <p:nvPr/>
        </p:nvSpPr>
        <p:spPr>
          <a:xfrm>
            <a:off x="10785584" y="5378034"/>
            <a:ext cx="5153966" cy="3657362"/>
          </a:xfrm>
          <a:prstGeom prst="rect">
            <a:avLst/>
          </a:prstGeom>
          <a:solidFill>
            <a:schemeClr val="accent2">
              <a:alpha val="72000"/>
            </a:schemeClr>
          </a:solidFill>
          <a:ln>
            <a:noFill/>
          </a:ln>
          <a:effectLst>
            <a:outerShdw blurRad="1905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1"/>
          </a:p>
        </p:txBody>
      </p:sp>
      <p:sp>
        <p:nvSpPr>
          <p:cNvPr id="6" name="TextBox 5">
            <a:extLst>
              <a:ext uri="{FF2B5EF4-FFF2-40B4-BE49-F238E27FC236}">
                <a16:creationId xmlns:a16="http://schemas.microsoft.com/office/drawing/2014/main" id="{D403083F-E451-F545-AD35-01C6B3BC24E4}"/>
              </a:ext>
            </a:extLst>
          </p:cNvPr>
          <p:cNvSpPr txBox="1"/>
          <p:nvPr/>
        </p:nvSpPr>
        <p:spPr>
          <a:xfrm>
            <a:off x="4777525" y="6602231"/>
            <a:ext cx="3417162" cy="1077218"/>
          </a:xfrm>
          <a:prstGeom prst="rect">
            <a:avLst/>
          </a:prstGeom>
          <a:noFill/>
        </p:spPr>
        <p:txBody>
          <a:bodyPr wrap="square" rtlCol="0">
            <a:spAutoFit/>
          </a:bodyPr>
          <a:lstStyle/>
          <a:p>
            <a:r>
              <a:rPr lang="en-US" sz="6400" b="1" dirty="0">
                <a:solidFill>
                  <a:schemeClr val="tx1">
                    <a:lumMod val="75000"/>
                    <a:lumOff val="25000"/>
                  </a:schemeClr>
                </a:solidFill>
                <a:latin typeface="+mj-lt"/>
              </a:rPr>
              <a:t>Heading</a:t>
            </a:r>
            <a:endParaRPr lang="en-US" sz="6400" b="1" dirty="0">
              <a:solidFill>
                <a:schemeClr val="accent1"/>
              </a:solidFill>
              <a:latin typeface="+mj-lt"/>
            </a:endParaRPr>
          </a:p>
        </p:txBody>
      </p:sp>
      <p:sp>
        <p:nvSpPr>
          <p:cNvPr id="7" name="Rectangle 6">
            <a:extLst>
              <a:ext uri="{FF2B5EF4-FFF2-40B4-BE49-F238E27FC236}">
                <a16:creationId xmlns:a16="http://schemas.microsoft.com/office/drawing/2014/main" id="{5EC27417-FB4F-5547-9861-4F7FD3590F71}"/>
              </a:ext>
            </a:extLst>
          </p:cNvPr>
          <p:cNvSpPr/>
          <p:nvPr/>
        </p:nvSpPr>
        <p:spPr>
          <a:xfrm>
            <a:off x="11450164" y="6047894"/>
            <a:ext cx="3730613" cy="1951432"/>
          </a:xfrm>
          <a:prstGeom prst="rect">
            <a:avLst/>
          </a:prstGeom>
        </p:spPr>
        <p:txBody>
          <a:bodyPr wrap="square">
            <a:spAutoFit/>
          </a:bodyPr>
          <a:lstStyle/>
          <a:p>
            <a:pPr>
              <a:lnSpc>
                <a:spcPct val="150000"/>
              </a:lnSpc>
            </a:pPr>
            <a:r>
              <a:rPr lang="en-US" sz="2800" dirty="0">
                <a:solidFill>
                  <a:schemeClr val="bg1"/>
                </a:solidFill>
              </a:rPr>
              <a:t>Lorem Ipsum Dolor Sit </a:t>
            </a:r>
            <a:r>
              <a:rPr lang="en-US" sz="2800" dirty="0" err="1">
                <a:solidFill>
                  <a:schemeClr val="bg1"/>
                </a:solidFill>
              </a:rPr>
              <a:t>Amet</a:t>
            </a:r>
            <a:r>
              <a:rPr lang="en-US" sz="2800" dirty="0">
                <a:solidFill>
                  <a:schemeClr val="bg1"/>
                </a:solidFill>
              </a:rPr>
              <a:t>, </a:t>
            </a:r>
            <a:r>
              <a:rPr lang="en-US" sz="2800" dirty="0" err="1">
                <a:solidFill>
                  <a:schemeClr val="bg1"/>
                </a:solidFill>
              </a:rPr>
              <a:t>Consectetur</a:t>
            </a:r>
            <a:r>
              <a:rPr lang="en-US" sz="2800" dirty="0">
                <a:solidFill>
                  <a:schemeClr val="bg1"/>
                </a:solidFill>
              </a:rPr>
              <a:t> </a:t>
            </a:r>
            <a:r>
              <a:rPr lang="en-US" sz="2800" dirty="0" err="1">
                <a:solidFill>
                  <a:schemeClr val="bg1"/>
                </a:solidFill>
              </a:rPr>
              <a:t>Adipiscing</a:t>
            </a:r>
            <a:r>
              <a:rPr lang="en-US" sz="2800" dirty="0">
                <a:solidFill>
                  <a:schemeClr val="bg1"/>
                </a:solidFill>
              </a:rPr>
              <a:t> </a:t>
            </a:r>
            <a:r>
              <a:rPr lang="en-US" sz="2800" dirty="0" err="1">
                <a:solidFill>
                  <a:schemeClr val="bg1"/>
                </a:solidFill>
              </a:rPr>
              <a:t>Elit</a:t>
            </a:r>
            <a:r>
              <a:rPr lang="en-US" sz="2800" dirty="0">
                <a:solidFill>
                  <a:schemeClr val="bg1"/>
                </a:solidFill>
              </a:rPr>
              <a:t>. </a:t>
            </a:r>
            <a:endParaRPr lang="en-US" sz="2800" dirty="0">
              <a:solidFill>
                <a:schemeClr val="bg1"/>
              </a:solidFill>
              <a:cs typeface="Lato Light"/>
            </a:endParaRPr>
          </a:p>
        </p:txBody>
      </p:sp>
      <p:grpSp>
        <p:nvGrpSpPr>
          <p:cNvPr id="8" name="Group 7">
            <a:extLst>
              <a:ext uri="{FF2B5EF4-FFF2-40B4-BE49-F238E27FC236}">
                <a16:creationId xmlns:a16="http://schemas.microsoft.com/office/drawing/2014/main" id="{668D831C-77CD-A444-8B48-6978EEB53DD3}"/>
              </a:ext>
            </a:extLst>
          </p:cNvPr>
          <p:cNvGrpSpPr/>
          <p:nvPr/>
        </p:nvGrpSpPr>
        <p:grpSpPr>
          <a:xfrm>
            <a:off x="3500527" y="10332089"/>
            <a:ext cx="644955" cy="644955"/>
            <a:chOff x="8204317" y="2115665"/>
            <a:chExt cx="464344" cy="464344"/>
          </a:xfrm>
          <a:solidFill>
            <a:schemeClr val="accent1"/>
          </a:solidFill>
        </p:grpSpPr>
        <p:sp>
          <p:nvSpPr>
            <p:cNvPr id="9" name="AutoShape 81">
              <a:extLst>
                <a:ext uri="{FF2B5EF4-FFF2-40B4-BE49-F238E27FC236}">
                  <a16:creationId xmlns:a16="http://schemas.microsoft.com/office/drawing/2014/main" id="{A3ABDA51-824F-5047-BD12-B40E1B5D0197}"/>
                </a:ext>
              </a:extLst>
            </p:cNvPr>
            <p:cNvSpPr>
              <a:spLocks/>
            </p:cNvSpPr>
            <p:nvPr/>
          </p:nvSpPr>
          <p:spPr bwMode="auto">
            <a:xfrm>
              <a:off x="8204317" y="2115665"/>
              <a:ext cx="464344"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35" y="9811"/>
                  </a:moveTo>
                  <a:cubicBezTo>
                    <a:pt x="20220" y="10144"/>
                    <a:pt x="20081" y="10800"/>
                    <a:pt x="18899" y="10800"/>
                  </a:cubicBezTo>
                  <a:lnTo>
                    <a:pt x="17549" y="10800"/>
                  </a:lnTo>
                  <a:cubicBezTo>
                    <a:pt x="17363" y="10800"/>
                    <a:pt x="17212" y="10950"/>
                    <a:pt x="17212" y="11137"/>
                  </a:cubicBezTo>
                  <a:cubicBezTo>
                    <a:pt x="17212" y="11324"/>
                    <a:pt x="17363" y="11475"/>
                    <a:pt x="17549" y="11475"/>
                  </a:cubicBezTo>
                  <a:lnTo>
                    <a:pt x="18858" y="11475"/>
                  </a:lnTo>
                  <a:cubicBezTo>
                    <a:pt x="19870" y="11475"/>
                    <a:pt x="20003" y="12314"/>
                    <a:pt x="19938" y="12719"/>
                  </a:cubicBezTo>
                  <a:cubicBezTo>
                    <a:pt x="19855" y="13223"/>
                    <a:pt x="19618" y="14175"/>
                    <a:pt x="18478" y="14175"/>
                  </a:cubicBezTo>
                  <a:lnTo>
                    <a:pt x="16874" y="14175"/>
                  </a:lnTo>
                  <a:cubicBezTo>
                    <a:pt x="16688" y="14175"/>
                    <a:pt x="16537" y="14325"/>
                    <a:pt x="16537" y="14512"/>
                  </a:cubicBezTo>
                  <a:cubicBezTo>
                    <a:pt x="16537" y="14699"/>
                    <a:pt x="16688" y="14850"/>
                    <a:pt x="16874" y="14850"/>
                  </a:cubicBezTo>
                  <a:lnTo>
                    <a:pt x="18203" y="14850"/>
                  </a:lnTo>
                  <a:cubicBezTo>
                    <a:pt x="19343" y="14850"/>
                    <a:pt x="19243" y="15718"/>
                    <a:pt x="19079" y="16237"/>
                  </a:cubicBezTo>
                  <a:cubicBezTo>
                    <a:pt x="18864" y="16918"/>
                    <a:pt x="18732" y="17549"/>
                    <a:pt x="17297" y="17549"/>
                  </a:cubicBezTo>
                  <a:lnTo>
                    <a:pt x="16196" y="17549"/>
                  </a:lnTo>
                  <a:cubicBezTo>
                    <a:pt x="16009" y="17549"/>
                    <a:pt x="15859" y="17700"/>
                    <a:pt x="15859" y="17887"/>
                  </a:cubicBezTo>
                  <a:cubicBezTo>
                    <a:pt x="15859" y="18073"/>
                    <a:pt x="16009" y="18225"/>
                    <a:pt x="16196" y="18225"/>
                  </a:cubicBezTo>
                  <a:lnTo>
                    <a:pt x="17255" y="18225"/>
                  </a:lnTo>
                  <a:cubicBezTo>
                    <a:pt x="17993" y="18225"/>
                    <a:pt x="18027" y="18923"/>
                    <a:pt x="17950" y="19174"/>
                  </a:cubicBezTo>
                  <a:cubicBezTo>
                    <a:pt x="17866" y="19448"/>
                    <a:pt x="17767" y="19651"/>
                    <a:pt x="17762" y="19660"/>
                  </a:cubicBezTo>
                  <a:cubicBezTo>
                    <a:pt x="17558" y="20028"/>
                    <a:pt x="17229" y="20249"/>
                    <a:pt x="16534" y="20249"/>
                  </a:cubicBezTo>
                  <a:lnTo>
                    <a:pt x="12844" y="20249"/>
                  </a:lnTo>
                  <a:cubicBezTo>
                    <a:pt x="10990" y="20249"/>
                    <a:pt x="9151" y="19829"/>
                    <a:pt x="9104" y="19818"/>
                  </a:cubicBezTo>
                  <a:cubicBezTo>
                    <a:pt x="6299" y="19172"/>
                    <a:pt x="6152" y="19122"/>
                    <a:pt x="5976" y="19072"/>
                  </a:cubicBezTo>
                  <a:cubicBezTo>
                    <a:pt x="5976" y="19072"/>
                    <a:pt x="5405" y="18976"/>
                    <a:pt x="5405" y="18478"/>
                  </a:cubicBezTo>
                  <a:lnTo>
                    <a:pt x="5399" y="9155"/>
                  </a:lnTo>
                  <a:cubicBezTo>
                    <a:pt x="5399" y="8839"/>
                    <a:pt x="5601" y="8552"/>
                    <a:pt x="5935" y="8452"/>
                  </a:cubicBezTo>
                  <a:cubicBezTo>
                    <a:pt x="5977" y="8435"/>
                    <a:pt x="6034" y="8419"/>
                    <a:pt x="6074" y="8401"/>
                  </a:cubicBezTo>
                  <a:cubicBezTo>
                    <a:pt x="9158" y="7125"/>
                    <a:pt x="10097" y="4324"/>
                    <a:pt x="10124" y="2025"/>
                  </a:cubicBezTo>
                  <a:cubicBezTo>
                    <a:pt x="10128" y="1702"/>
                    <a:pt x="10378" y="1350"/>
                    <a:pt x="10800" y="1350"/>
                  </a:cubicBezTo>
                  <a:cubicBezTo>
                    <a:pt x="11514" y="1350"/>
                    <a:pt x="12774" y="2782"/>
                    <a:pt x="12774" y="4554"/>
                  </a:cubicBezTo>
                  <a:cubicBezTo>
                    <a:pt x="12774" y="6155"/>
                    <a:pt x="12711" y="6432"/>
                    <a:pt x="12149" y="8100"/>
                  </a:cubicBezTo>
                  <a:cubicBezTo>
                    <a:pt x="18899" y="8100"/>
                    <a:pt x="18852" y="8196"/>
                    <a:pt x="19448" y="8353"/>
                  </a:cubicBezTo>
                  <a:cubicBezTo>
                    <a:pt x="20187" y="8564"/>
                    <a:pt x="20249" y="9175"/>
                    <a:pt x="20249" y="9386"/>
                  </a:cubicBezTo>
                  <a:cubicBezTo>
                    <a:pt x="20249" y="9618"/>
                    <a:pt x="20243" y="9584"/>
                    <a:pt x="20235" y="9811"/>
                  </a:cubicBezTo>
                  <a:moveTo>
                    <a:pt x="4724" y="19575"/>
                  </a:moveTo>
                  <a:cubicBezTo>
                    <a:pt x="4724" y="19948"/>
                    <a:pt x="4423" y="20249"/>
                    <a:pt x="4049" y="20249"/>
                  </a:cubicBezTo>
                  <a:lnTo>
                    <a:pt x="2024" y="20249"/>
                  </a:lnTo>
                  <a:cubicBezTo>
                    <a:pt x="1652" y="20249"/>
                    <a:pt x="1349" y="19948"/>
                    <a:pt x="1349" y="19575"/>
                  </a:cubicBezTo>
                  <a:lnTo>
                    <a:pt x="1349" y="8774"/>
                  </a:lnTo>
                  <a:cubicBezTo>
                    <a:pt x="1349" y="8401"/>
                    <a:pt x="1652" y="8100"/>
                    <a:pt x="2024" y="8100"/>
                  </a:cubicBezTo>
                  <a:lnTo>
                    <a:pt x="4049" y="8100"/>
                  </a:lnTo>
                  <a:cubicBezTo>
                    <a:pt x="4423" y="8100"/>
                    <a:pt x="4724" y="8401"/>
                    <a:pt x="4724" y="8774"/>
                  </a:cubicBezTo>
                  <a:cubicBezTo>
                    <a:pt x="4724" y="8774"/>
                    <a:pt x="4724" y="19575"/>
                    <a:pt x="4724" y="19575"/>
                  </a:cubicBezTo>
                  <a:close/>
                  <a:moveTo>
                    <a:pt x="19686" y="7069"/>
                  </a:moveTo>
                  <a:cubicBezTo>
                    <a:pt x="18842" y="6846"/>
                    <a:pt x="16858" y="6849"/>
                    <a:pt x="13956" y="6773"/>
                  </a:cubicBezTo>
                  <a:cubicBezTo>
                    <a:pt x="14093" y="6139"/>
                    <a:pt x="14124" y="5568"/>
                    <a:pt x="14124" y="4554"/>
                  </a:cubicBezTo>
                  <a:cubicBezTo>
                    <a:pt x="14124" y="2133"/>
                    <a:pt x="12361" y="0"/>
                    <a:pt x="10800" y="0"/>
                  </a:cubicBezTo>
                  <a:cubicBezTo>
                    <a:pt x="9698" y="0"/>
                    <a:pt x="8789" y="901"/>
                    <a:pt x="8774" y="2009"/>
                  </a:cubicBezTo>
                  <a:cubicBezTo>
                    <a:pt x="8760" y="3368"/>
                    <a:pt x="8340" y="5716"/>
                    <a:pt x="6074" y="6906"/>
                  </a:cubicBezTo>
                  <a:cubicBezTo>
                    <a:pt x="5908" y="6994"/>
                    <a:pt x="5433" y="7228"/>
                    <a:pt x="5364" y="7259"/>
                  </a:cubicBezTo>
                  <a:lnTo>
                    <a:pt x="5399" y="7289"/>
                  </a:lnTo>
                  <a:cubicBezTo>
                    <a:pt x="5045" y="6984"/>
                    <a:pt x="4554" y="6750"/>
                    <a:pt x="4049" y="6750"/>
                  </a:cubicBezTo>
                  <a:lnTo>
                    <a:pt x="2024" y="6750"/>
                  </a:lnTo>
                  <a:cubicBezTo>
                    <a:pt x="908" y="6750"/>
                    <a:pt x="0" y="7658"/>
                    <a:pt x="0" y="8774"/>
                  </a:cubicBezTo>
                  <a:lnTo>
                    <a:pt x="0" y="19575"/>
                  </a:lnTo>
                  <a:cubicBezTo>
                    <a:pt x="0" y="20691"/>
                    <a:pt x="908" y="21599"/>
                    <a:pt x="2024" y="21599"/>
                  </a:cubicBezTo>
                  <a:lnTo>
                    <a:pt x="4049" y="21599"/>
                  </a:lnTo>
                  <a:cubicBezTo>
                    <a:pt x="4853" y="21599"/>
                    <a:pt x="5525" y="21114"/>
                    <a:pt x="5850" y="20434"/>
                  </a:cubicBezTo>
                  <a:cubicBezTo>
                    <a:pt x="5859" y="20437"/>
                    <a:pt x="5873" y="20441"/>
                    <a:pt x="5882" y="20442"/>
                  </a:cubicBezTo>
                  <a:cubicBezTo>
                    <a:pt x="5927" y="20454"/>
                    <a:pt x="5979" y="20467"/>
                    <a:pt x="6044" y="20485"/>
                  </a:cubicBezTo>
                  <a:cubicBezTo>
                    <a:pt x="6056" y="20487"/>
                    <a:pt x="6062" y="20488"/>
                    <a:pt x="6074" y="20492"/>
                  </a:cubicBezTo>
                  <a:cubicBezTo>
                    <a:pt x="6464" y="20588"/>
                    <a:pt x="7212" y="20768"/>
                    <a:pt x="8812" y="21135"/>
                  </a:cubicBezTo>
                  <a:cubicBezTo>
                    <a:pt x="9155" y="21213"/>
                    <a:pt x="10966" y="21599"/>
                    <a:pt x="12844" y="21599"/>
                  </a:cubicBezTo>
                  <a:lnTo>
                    <a:pt x="16534" y="21599"/>
                  </a:lnTo>
                  <a:cubicBezTo>
                    <a:pt x="17659" y="21599"/>
                    <a:pt x="18469" y="21167"/>
                    <a:pt x="18952" y="20298"/>
                  </a:cubicBezTo>
                  <a:cubicBezTo>
                    <a:pt x="18958" y="20285"/>
                    <a:pt x="19114" y="19982"/>
                    <a:pt x="19240" y="19572"/>
                  </a:cubicBezTo>
                  <a:cubicBezTo>
                    <a:pt x="19336" y="19263"/>
                    <a:pt x="19371" y="18827"/>
                    <a:pt x="19256" y="18384"/>
                  </a:cubicBezTo>
                  <a:cubicBezTo>
                    <a:pt x="19981" y="17886"/>
                    <a:pt x="20214" y="17133"/>
                    <a:pt x="20366" y="16643"/>
                  </a:cubicBezTo>
                  <a:cubicBezTo>
                    <a:pt x="20620" y="15838"/>
                    <a:pt x="20544" y="15235"/>
                    <a:pt x="20367" y="14803"/>
                  </a:cubicBezTo>
                  <a:cubicBezTo>
                    <a:pt x="20775" y="14418"/>
                    <a:pt x="21122" y="13831"/>
                    <a:pt x="21269" y="12935"/>
                  </a:cubicBezTo>
                  <a:cubicBezTo>
                    <a:pt x="21361" y="12380"/>
                    <a:pt x="21263" y="11809"/>
                    <a:pt x="21007" y="11334"/>
                  </a:cubicBezTo>
                  <a:cubicBezTo>
                    <a:pt x="21389" y="10905"/>
                    <a:pt x="21564" y="10365"/>
                    <a:pt x="21583" y="9865"/>
                  </a:cubicBezTo>
                  <a:lnTo>
                    <a:pt x="21591" y="9724"/>
                  </a:lnTo>
                  <a:cubicBezTo>
                    <a:pt x="21596" y="9635"/>
                    <a:pt x="21600" y="9581"/>
                    <a:pt x="21600" y="9386"/>
                  </a:cubicBezTo>
                  <a:cubicBezTo>
                    <a:pt x="21600" y="8533"/>
                    <a:pt x="21010" y="7446"/>
                    <a:pt x="19686" y="7069"/>
                  </a:cubicBezTo>
                </a:path>
              </a:pathLst>
            </a:custGeom>
            <a:grp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38099" tIns="38099" rIns="38099" bIns="38099" anchor="ctr"/>
            <a:lstStyle/>
            <a:p>
              <a:pPr defTabSz="457171" fontAlgn="base" hangingPunct="0">
                <a:spcBef>
                  <a:spcPct val="0"/>
                </a:spcBef>
                <a:spcAft>
                  <a:spcPct val="0"/>
                </a:spcAft>
              </a:pPr>
              <a:endParaRPr lang="en-US" sz="3000" dirty="0">
                <a:solidFill>
                  <a:schemeClr val="bg1"/>
                </a:solidFill>
                <a:effectLst>
                  <a:outerShdw blurRad="38100" dist="38100" dir="2700000" algn="tl">
                    <a:srgbClr val="000000"/>
                  </a:outerShdw>
                </a:effectLst>
                <a:sym typeface="Gill Sans" charset="0"/>
              </a:endParaRPr>
            </a:p>
          </p:txBody>
        </p:sp>
        <p:sp>
          <p:nvSpPr>
            <p:cNvPr id="10" name="AutoShape 82">
              <a:extLst>
                <a:ext uri="{FF2B5EF4-FFF2-40B4-BE49-F238E27FC236}">
                  <a16:creationId xmlns:a16="http://schemas.microsoft.com/office/drawing/2014/main" id="{75CAD58B-333D-1549-8C7C-E54C8D3435FF}"/>
                </a:ext>
              </a:extLst>
            </p:cNvPr>
            <p:cNvSpPr>
              <a:spLocks/>
            </p:cNvSpPr>
            <p:nvPr/>
          </p:nvSpPr>
          <p:spPr bwMode="auto">
            <a:xfrm>
              <a:off x="8247973" y="2492697"/>
              <a:ext cx="43657" cy="436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4400"/>
                  </a:moveTo>
                  <a:cubicBezTo>
                    <a:pt x="8820" y="14400"/>
                    <a:pt x="7200" y="12782"/>
                    <a:pt x="7200" y="10800"/>
                  </a:cubicBezTo>
                  <a:cubicBezTo>
                    <a:pt x="7200" y="8817"/>
                    <a:pt x="8820" y="7200"/>
                    <a:pt x="10800" y="7200"/>
                  </a:cubicBezTo>
                  <a:cubicBezTo>
                    <a:pt x="12779" y="7200"/>
                    <a:pt x="14400" y="8817"/>
                    <a:pt x="14400" y="10800"/>
                  </a:cubicBezTo>
                  <a:cubicBezTo>
                    <a:pt x="14400" y="12782"/>
                    <a:pt x="12779" y="14400"/>
                    <a:pt x="10800" y="14400"/>
                  </a:cubicBezTo>
                  <a:moveTo>
                    <a:pt x="10800" y="0"/>
                  </a:moveTo>
                  <a:cubicBezTo>
                    <a:pt x="4837" y="0"/>
                    <a:pt x="0" y="4837"/>
                    <a:pt x="0" y="10800"/>
                  </a:cubicBezTo>
                  <a:cubicBezTo>
                    <a:pt x="0" y="16762"/>
                    <a:pt x="4837" y="21599"/>
                    <a:pt x="10800" y="21599"/>
                  </a:cubicBezTo>
                  <a:cubicBezTo>
                    <a:pt x="16762" y="21599"/>
                    <a:pt x="21600" y="16762"/>
                    <a:pt x="21600" y="10800"/>
                  </a:cubicBezTo>
                  <a:cubicBezTo>
                    <a:pt x="21600" y="4837"/>
                    <a:pt x="16762" y="0"/>
                    <a:pt x="10800" y="0"/>
                  </a:cubicBezTo>
                </a:path>
              </a:pathLst>
            </a:custGeom>
            <a:grp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38099" tIns="38099" rIns="38099" bIns="38099" anchor="ctr"/>
            <a:lstStyle/>
            <a:p>
              <a:pPr defTabSz="457171" fontAlgn="base" hangingPunct="0">
                <a:spcBef>
                  <a:spcPct val="0"/>
                </a:spcBef>
                <a:spcAft>
                  <a:spcPct val="0"/>
                </a:spcAft>
              </a:pPr>
              <a:endParaRPr lang="en-US" sz="3000" dirty="0">
                <a:solidFill>
                  <a:schemeClr val="bg1"/>
                </a:solidFill>
                <a:effectLst>
                  <a:outerShdw blurRad="38100" dist="38100" dir="2700000" algn="tl">
                    <a:srgbClr val="000000"/>
                  </a:outerShdw>
                </a:effectLst>
                <a:sym typeface="Gill Sans" charset="0"/>
              </a:endParaRPr>
            </a:p>
          </p:txBody>
        </p:sp>
      </p:grpSp>
      <p:sp>
        <p:nvSpPr>
          <p:cNvPr id="11" name="Shape 18864">
            <a:extLst>
              <a:ext uri="{FF2B5EF4-FFF2-40B4-BE49-F238E27FC236}">
                <a16:creationId xmlns:a16="http://schemas.microsoft.com/office/drawing/2014/main" id="{BCC08DB1-29D1-2B4B-B4F0-4849CD4AA574}"/>
              </a:ext>
            </a:extLst>
          </p:cNvPr>
          <p:cNvSpPr/>
          <p:nvPr/>
        </p:nvSpPr>
        <p:spPr>
          <a:xfrm>
            <a:off x="4595702" y="10520172"/>
            <a:ext cx="2517236" cy="4568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914400">
              <a:lnSpc>
                <a:spcPct val="80000"/>
              </a:lnSpc>
              <a:defRPr sz="3000">
                <a:solidFill>
                  <a:srgbClr val="78BE42"/>
                </a:solidFill>
                <a:latin typeface="Roboto Bold"/>
                <a:ea typeface="Roboto Bold"/>
                <a:cs typeface="Roboto Bold"/>
                <a:sym typeface="Roboto Bold"/>
              </a:defRPr>
            </a:lvl1pPr>
          </a:lstStyle>
          <a:p>
            <a:pPr lvl="0">
              <a:defRPr sz="1800">
                <a:solidFill>
                  <a:srgbClr val="000000"/>
                </a:solidFill>
              </a:defRPr>
            </a:pPr>
            <a:r>
              <a:rPr lang="en-US" sz="2800" b="1" dirty="0">
                <a:solidFill>
                  <a:schemeClr val="tx1">
                    <a:lumMod val="75000"/>
                    <a:lumOff val="25000"/>
                  </a:schemeClr>
                </a:solidFill>
                <a:latin typeface="+mn-lt"/>
              </a:rPr>
              <a:t>First Solutions</a:t>
            </a:r>
            <a:endParaRPr sz="2800" b="1" dirty="0">
              <a:solidFill>
                <a:schemeClr val="tx1">
                  <a:lumMod val="75000"/>
                  <a:lumOff val="25000"/>
                </a:schemeClr>
              </a:solidFill>
              <a:latin typeface="+mn-lt"/>
            </a:endParaRPr>
          </a:p>
        </p:txBody>
      </p:sp>
      <p:sp>
        <p:nvSpPr>
          <p:cNvPr id="12" name="Rectangle 11">
            <a:extLst>
              <a:ext uri="{FF2B5EF4-FFF2-40B4-BE49-F238E27FC236}">
                <a16:creationId xmlns:a16="http://schemas.microsoft.com/office/drawing/2014/main" id="{4F951DC4-EF1B-1F47-90A1-54B862ED9D44}"/>
              </a:ext>
            </a:extLst>
          </p:cNvPr>
          <p:cNvSpPr/>
          <p:nvPr/>
        </p:nvSpPr>
        <p:spPr>
          <a:xfrm>
            <a:off x="4452965" y="10928827"/>
            <a:ext cx="3218934" cy="1045223"/>
          </a:xfrm>
          <a:prstGeom prst="rect">
            <a:avLst/>
          </a:prstGeom>
        </p:spPr>
        <p:txBody>
          <a:bodyPr wrap="square">
            <a:spAutoFit/>
          </a:bodyPr>
          <a:lstStyle/>
          <a:p>
            <a:pPr>
              <a:lnSpc>
                <a:spcPct val="150000"/>
              </a:lnSpc>
            </a:pPr>
            <a:r>
              <a:rPr lang="en-US" sz="2200" dirty="0">
                <a:solidFill>
                  <a:schemeClr val="tx1">
                    <a:lumMod val="75000"/>
                    <a:lumOff val="25000"/>
                  </a:schemeClr>
                </a:solidFill>
              </a:rPr>
              <a:t>Lorem Ipsum Dolor Sit </a:t>
            </a:r>
            <a:r>
              <a:rPr lang="en-US" sz="2200" dirty="0" err="1">
                <a:solidFill>
                  <a:schemeClr val="tx1">
                    <a:lumMod val="75000"/>
                    <a:lumOff val="25000"/>
                  </a:schemeClr>
                </a:solidFill>
              </a:rPr>
              <a:t>Amet</a:t>
            </a:r>
            <a:r>
              <a:rPr lang="en-US" sz="2200" dirty="0">
                <a:solidFill>
                  <a:schemeClr val="tx1">
                    <a:lumMod val="75000"/>
                    <a:lumOff val="25000"/>
                  </a:schemeClr>
                </a:solidFill>
              </a:rPr>
              <a:t>, </a:t>
            </a:r>
            <a:r>
              <a:rPr lang="en-US" sz="2200" dirty="0" err="1">
                <a:solidFill>
                  <a:schemeClr val="tx1">
                    <a:lumMod val="75000"/>
                    <a:lumOff val="25000"/>
                  </a:schemeClr>
                </a:solidFill>
              </a:rPr>
              <a:t>Consectetur</a:t>
            </a:r>
            <a:endParaRPr lang="en-US" sz="2200" dirty="0">
              <a:solidFill>
                <a:schemeClr val="tx1">
                  <a:lumMod val="75000"/>
                  <a:lumOff val="25000"/>
                </a:schemeClr>
              </a:solidFill>
              <a:cs typeface="Lato Light"/>
            </a:endParaRPr>
          </a:p>
        </p:txBody>
      </p:sp>
      <p:sp>
        <p:nvSpPr>
          <p:cNvPr id="13" name="Shape 18858">
            <a:extLst>
              <a:ext uri="{FF2B5EF4-FFF2-40B4-BE49-F238E27FC236}">
                <a16:creationId xmlns:a16="http://schemas.microsoft.com/office/drawing/2014/main" id="{1D2CB2B1-695F-744B-8B31-F5A4EAAA3063}"/>
              </a:ext>
            </a:extLst>
          </p:cNvPr>
          <p:cNvSpPr/>
          <p:nvPr/>
        </p:nvSpPr>
        <p:spPr>
          <a:xfrm>
            <a:off x="10616939" y="10423331"/>
            <a:ext cx="622933" cy="553713"/>
          </a:xfrm>
          <a:custGeom>
            <a:avLst/>
            <a:gdLst/>
            <a:ahLst/>
            <a:cxnLst>
              <a:cxn ang="0">
                <a:pos x="wd2" y="hd2"/>
              </a:cxn>
              <a:cxn ang="5400000">
                <a:pos x="wd2" y="hd2"/>
              </a:cxn>
              <a:cxn ang="10800000">
                <a:pos x="wd2" y="hd2"/>
              </a:cxn>
              <a:cxn ang="16200000">
                <a:pos x="wd2" y="hd2"/>
              </a:cxn>
            </a:cxnLst>
            <a:rect l="0" t="0" r="r" b="b"/>
            <a:pathLst>
              <a:path w="21600" h="21600" extrusionOk="0">
                <a:moveTo>
                  <a:pt x="19200" y="6749"/>
                </a:moveTo>
                <a:cubicBezTo>
                  <a:pt x="19200" y="7201"/>
                  <a:pt x="19083" y="9449"/>
                  <a:pt x="16799" y="9449"/>
                </a:cubicBezTo>
                <a:lnTo>
                  <a:pt x="16799" y="5398"/>
                </a:lnTo>
                <a:lnTo>
                  <a:pt x="19200" y="5398"/>
                </a:lnTo>
                <a:cubicBezTo>
                  <a:pt x="19200" y="5398"/>
                  <a:pt x="19200" y="6749"/>
                  <a:pt x="19200" y="6749"/>
                </a:cubicBezTo>
                <a:close/>
                <a:moveTo>
                  <a:pt x="14399" y="10292"/>
                </a:moveTo>
                <a:lnTo>
                  <a:pt x="14097" y="11067"/>
                </a:lnTo>
                <a:cubicBezTo>
                  <a:pt x="13523" y="12543"/>
                  <a:pt x="12229" y="13499"/>
                  <a:pt x="10799" y="13499"/>
                </a:cubicBezTo>
                <a:cubicBezTo>
                  <a:pt x="9369" y="13499"/>
                  <a:pt x="8077" y="12543"/>
                  <a:pt x="7503" y="11067"/>
                </a:cubicBezTo>
                <a:lnTo>
                  <a:pt x="7202" y="10292"/>
                </a:lnTo>
                <a:lnTo>
                  <a:pt x="7202" y="2699"/>
                </a:lnTo>
                <a:lnTo>
                  <a:pt x="14399" y="2699"/>
                </a:lnTo>
                <a:cubicBezTo>
                  <a:pt x="14399" y="2699"/>
                  <a:pt x="14399" y="10292"/>
                  <a:pt x="14399" y="10292"/>
                </a:cubicBezTo>
                <a:close/>
                <a:moveTo>
                  <a:pt x="4799" y="9449"/>
                </a:moveTo>
                <a:cubicBezTo>
                  <a:pt x="2608" y="9449"/>
                  <a:pt x="2408" y="7375"/>
                  <a:pt x="2400" y="6749"/>
                </a:cubicBezTo>
                <a:lnTo>
                  <a:pt x="2400" y="5398"/>
                </a:lnTo>
                <a:lnTo>
                  <a:pt x="4799" y="5398"/>
                </a:lnTo>
                <a:cubicBezTo>
                  <a:pt x="4799" y="5398"/>
                  <a:pt x="4799" y="9449"/>
                  <a:pt x="4799" y="9449"/>
                </a:cubicBezTo>
                <a:close/>
                <a:moveTo>
                  <a:pt x="20399" y="2699"/>
                </a:moveTo>
                <a:lnTo>
                  <a:pt x="16799" y="2699"/>
                </a:lnTo>
                <a:lnTo>
                  <a:pt x="16799" y="1351"/>
                </a:lnTo>
                <a:cubicBezTo>
                  <a:pt x="16799" y="603"/>
                  <a:pt x="16263" y="0"/>
                  <a:pt x="15600" y="0"/>
                </a:cubicBezTo>
                <a:lnTo>
                  <a:pt x="6000" y="0"/>
                </a:lnTo>
                <a:cubicBezTo>
                  <a:pt x="5338" y="0"/>
                  <a:pt x="4799" y="603"/>
                  <a:pt x="4799" y="1351"/>
                </a:cubicBezTo>
                <a:lnTo>
                  <a:pt x="4799" y="2699"/>
                </a:lnTo>
                <a:lnTo>
                  <a:pt x="1202" y="2699"/>
                </a:lnTo>
                <a:cubicBezTo>
                  <a:pt x="537" y="2699"/>
                  <a:pt x="0" y="3302"/>
                  <a:pt x="0" y="4051"/>
                </a:cubicBezTo>
                <a:lnTo>
                  <a:pt x="0" y="6749"/>
                </a:lnTo>
                <a:cubicBezTo>
                  <a:pt x="0" y="8918"/>
                  <a:pt x="1278" y="12148"/>
                  <a:pt x="4799" y="12148"/>
                </a:cubicBezTo>
                <a:lnTo>
                  <a:pt x="5303" y="12148"/>
                </a:lnTo>
                <a:cubicBezTo>
                  <a:pt x="6229" y="14534"/>
                  <a:pt x="8341" y="16198"/>
                  <a:pt x="10799" y="16198"/>
                </a:cubicBezTo>
                <a:cubicBezTo>
                  <a:pt x="13259" y="16198"/>
                  <a:pt x="15371" y="14534"/>
                  <a:pt x="16297" y="12148"/>
                </a:cubicBezTo>
                <a:lnTo>
                  <a:pt x="16799" y="12148"/>
                </a:lnTo>
                <a:cubicBezTo>
                  <a:pt x="20320" y="12148"/>
                  <a:pt x="21600" y="8918"/>
                  <a:pt x="21600" y="6749"/>
                </a:cubicBezTo>
                <a:lnTo>
                  <a:pt x="21600" y="4051"/>
                </a:lnTo>
                <a:cubicBezTo>
                  <a:pt x="21600" y="3302"/>
                  <a:pt x="21063" y="2699"/>
                  <a:pt x="20399" y="2699"/>
                </a:cubicBezTo>
                <a:cubicBezTo>
                  <a:pt x="20399" y="2699"/>
                  <a:pt x="20399" y="2699"/>
                  <a:pt x="20399" y="2699"/>
                </a:cubicBezTo>
                <a:close/>
                <a:moveTo>
                  <a:pt x="9601" y="18897"/>
                </a:moveTo>
                <a:lnTo>
                  <a:pt x="8400" y="18897"/>
                </a:lnTo>
                <a:cubicBezTo>
                  <a:pt x="7075" y="18897"/>
                  <a:pt x="6000" y="20107"/>
                  <a:pt x="6000" y="21600"/>
                </a:cubicBezTo>
                <a:lnTo>
                  <a:pt x="15600" y="21600"/>
                </a:lnTo>
                <a:cubicBezTo>
                  <a:pt x="15600" y="20107"/>
                  <a:pt x="14525" y="18897"/>
                  <a:pt x="13201" y="18897"/>
                </a:cubicBezTo>
                <a:lnTo>
                  <a:pt x="12000" y="18897"/>
                </a:lnTo>
                <a:lnTo>
                  <a:pt x="12000" y="16198"/>
                </a:lnTo>
                <a:lnTo>
                  <a:pt x="9601" y="16198"/>
                </a:lnTo>
                <a:cubicBezTo>
                  <a:pt x="9601" y="16198"/>
                  <a:pt x="9601" y="18897"/>
                  <a:pt x="9601" y="18897"/>
                </a:cubicBezTo>
                <a:close/>
              </a:path>
            </a:pathLst>
          </a:custGeom>
          <a:solidFill>
            <a:schemeClr val="accent2"/>
          </a:solidFill>
          <a:ln w="12700" cap="flat">
            <a:noFill/>
            <a:miter lim="400000"/>
          </a:ln>
          <a:effectLst/>
        </p:spPr>
        <p:txBody>
          <a:bodyPr wrap="square" lIns="38099" tIns="38099" rIns="38099" bIns="38099" numCol="1" anchor="ctr">
            <a:noAutofit/>
          </a:bodyPr>
          <a:lstStyle/>
          <a:p>
            <a:pPr defTabSz="457171">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000"/>
          </a:p>
        </p:txBody>
      </p:sp>
      <p:sp>
        <p:nvSpPr>
          <p:cNvPr id="14" name="Shape 18864">
            <a:extLst>
              <a:ext uri="{FF2B5EF4-FFF2-40B4-BE49-F238E27FC236}">
                <a16:creationId xmlns:a16="http://schemas.microsoft.com/office/drawing/2014/main" id="{9D9B0410-8EA6-DE47-8725-1813C18023AC}"/>
              </a:ext>
            </a:extLst>
          </p:cNvPr>
          <p:cNvSpPr/>
          <p:nvPr/>
        </p:nvSpPr>
        <p:spPr>
          <a:xfrm>
            <a:off x="11692549" y="10520173"/>
            <a:ext cx="3218934" cy="45244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914400">
              <a:lnSpc>
                <a:spcPct val="80000"/>
              </a:lnSpc>
              <a:defRPr sz="3000">
                <a:solidFill>
                  <a:srgbClr val="78BE42"/>
                </a:solidFill>
                <a:latin typeface="Roboto Bold"/>
                <a:ea typeface="Roboto Bold"/>
                <a:cs typeface="Roboto Bold"/>
                <a:sym typeface="Roboto Bold"/>
              </a:defRPr>
            </a:lvl1pPr>
          </a:lstStyle>
          <a:p>
            <a:pPr lvl="0">
              <a:defRPr sz="1800">
                <a:solidFill>
                  <a:srgbClr val="000000"/>
                </a:solidFill>
              </a:defRPr>
            </a:pPr>
            <a:r>
              <a:rPr lang="en-US" sz="2800" b="1" dirty="0">
                <a:solidFill>
                  <a:schemeClr val="tx1">
                    <a:lumMod val="75000"/>
                    <a:lumOff val="25000"/>
                  </a:schemeClr>
                </a:solidFill>
                <a:latin typeface="+mn-lt"/>
              </a:rPr>
              <a:t>Second Solutions</a:t>
            </a:r>
            <a:endParaRPr sz="2800" b="1" dirty="0">
              <a:solidFill>
                <a:schemeClr val="tx1">
                  <a:lumMod val="75000"/>
                  <a:lumOff val="25000"/>
                </a:schemeClr>
              </a:solidFill>
              <a:latin typeface="+mn-lt"/>
            </a:endParaRPr>
          </a:p>
        </p:txBody>
      </p:sp>
      <p:sp>
        <p:nvSpPr>
          <p:cNvPr id="15" name="Rectangle 14">
            <a:extLst>
              <a:ext uri="{FF2B5EF4-FFF2-40B4-BE49-F238E27FC236}">
                <a16:creationId xmlns:a16="http://schemas.microsoft.com/office/drawing/2014/main" id="{BECBF040-7CAB-FD46-9A54-C4F84F025822}"/>
              </a:ext>
            </a:extLst>
          </p:cNvPr>
          <p:cNvSpPr/>
          <p:nvPr/>
        </p:nvSpPr>
        <p:spPr>
          <a:xfrm>
            <a:off x="11549812" y="10928827"/>
            <a:ext cx="3218934" cy="1045223"/>
          </a:xfrm>
          <a:prstGeom prst="rect">
            <a:avLst/>
          </a:prstGeom>
        </p:spPr>
        <p:txBody>
          <a:bodyPr wrap="square">
            <a:spAutoFit/>
          </a:bodyPr>
          <a:lstStyle/>
          <a:p>
            <a:pPr>
              <a:lnSpc>
                <a:spcPct val="150000"/>
              </a:lnSpc>
            </a:pPr>
            <a:r>
              <a:rPr lang="en-US" sz="2200" dirty="0">
                <a:solidFill>
                  <a:schemeClr val="tx1">
                    <a:lumMod val="75000"/>
                    <a:lumOff val="25000"/>
                  </a:schemeClr>
                </a:solidFill>
              </a:rPr>
              <a:t>Lorem Ipsum Dolor Sit </a:t>
            </a:r>
            <a:r>
              <a:rPr lang="en-US" sz="2200" dirty="0" err="1">
                <a:solidFill>
                  <a:schemeClr val="tx1">
                    <a:lumMod val="75000"/>
                    <a:lumOff val="25000"/>
                  </a:schemeClr>
                </a:solidFill>
              </a:rPr>
              <a:t>Amet</a:t>
            </a:r>
            <a:r>
              <a:rPr lang="en-US" sz="2200" dirty="0">
                <a:solidFill>
                  <a:schemeClr val="tx1">
                    <a:lumMod val="75000"/>
                    <a:lumOff val="25000"/>
                  </a:schemeClr>
                </a:solidFill>
              </a:rPr>
              <a:t>, </a:t>
            </a:r>
            <a:r>
              <a:rPr lang="en-US" sz="2200" dirty="0" err="1">
                <a:solidFill>
                  <a:schemeClr val="tx1">
                    <a:lumMod val="75000"/>
                    <a:lumOff val="25000"/>
                  </a:schemeClr>
                </a:solidFill>
              </a:rPr>
              <a:t>Consectetur</a:t>
            </a:r>
            <a:endParaRPr lang="en-US" sz="2200" dirty="0">
              <a:solidFill>
                <a:schemeClr val="tx1">
                  <a:lumMod val="75000"/>
                  <a:lumOff val="25000"/>
                </a:schemeClr>
              </a:solidFill>
              <a:cs typeface="Lato Light"/>
            </a:endParaRPr>
          </a:p>
        </p:txBody>
      </p:sp>
      <p:grpSp>
        <p:nvGrpSpPr>
          <p:cNvPr id="16" name="Group 1136">
            <a:extLst>
              <a:ext uri="{FF2B5EF4-FFF2-40B4-BE49-F238E27FC236}">
                <a16:creationId xmlns:a16="http://schemas.microsoft.com/office/drawing/2014/main" id="{3F46A4B9-6182-AE4A-973F-64112F6306EE}"/>
              </a:ext>
            </a:extLst>
          </p:cNvPr>
          <p:cNvGrpSpPr>
            <a:grpSpLocks noChangeAspect="1"/>
          </p:cNvGrpSpPr>
          <p:nvPr/>
        </p:nvGrpSpPr>
        <p:grpSpPr bwMode="auto">
          <a:xfrm>
            <a:off x="18026781" y="10321498"/>
            <a:ext cx="539410" cy="651123"/>
            <a:chOff x="2712" y="795"/>
            <a:chExt cx="2255" cy="2722"/>
          </a:xfrm>
          <a:solidFill>
            <a:schemeClr val="accent1"/>
          </a:solidFill>
        </p:grpSpPr>
        <p:sp>
          <p:nvSpPr>
            <p:cNvPr id="17" name="Freeform 1138">
              <a:extLst>
                <a:ext uri="{FF2B5EF4-FFF2-40B4-BE49-F238E27FC236}">
                  <a16:creationId xmlns:a16="http://schemas.microsoft.com/office/drawing/2014/main" id="{A498337F-C5AF-4344-AB09-BF09D2AC4AEB}"/>
                </a:ext>
              </a:extLst>
            </p:cNvPr>
            <p:cNvSpPr>
              <a:spLocks/>
            </p:cNvSpPr>
            <p:nvPr/>
          </p:nvSpPr>
          <p:spPr bwMode="auto">
            <a:xfrm>
              <a:off x="3897" y="2545"/>
              <a:ext cx="148" cy="243"/>
            </a:xfrm>
            <a:custGeom>
              <a:avLst/>
              <a:gdLst>
                <a:gd name="T0" fmla="*/ 0 w 298"/>
                <a:gd name="T1" fmla="*/ 0 h 487"/>
                <a:gd name="T2" fmla="*/ 63 w 298"/>
                <a:gd name="T3" fmla="*/ 17 h 487"/>
                <a:gd name="T4" fmla="*/ 124 w 298"/>
                <a:gd name="T5" fmla="*/ 38 h 487"/>
                <a:gd name="T6" fmla="*/ 184 w 298"/>
                <a:gd name="T7" fmla="*/ 65 h 487"/>
                <a:gd name="T8" fmla="*/ 210 w 298"/>
                <a:gd name="T9" fmla="*/ 80 h 487"/>
                <a:gd name="T10" fmla="*/ 235 w 298"/>
                <a:gd name="T11" fmla="*/ 96 h 487"/>
                <a:gd name="T12" fmla="*/ 257 w 298"/>
                <a:gd name="T13" fmla="*/ 118 h 487"/>
                <a:gd name="T14" fmla="*/ 273 w 298"/>
                <a:gd name="T15" fmla="*/ 139 h 487"/>
                <a:gd name="T16" fmla="*/ 285 w 298"/>
                <a:gd name="T17" fmla="*/ 164 h 487"/>
                <a:gd name="T18" fmla="*/ 293 w 298"/>
                <a:gd name="T19" fmla="*/ 191 h 487"/>
                <a:gd name="T20" fmla="*/ 298 w 298"/>
                <a:gd name="T21" fmla="*/ 229 h 487"/>
                <a:gd name="T22" fmla="*/ 296 w 298"/>
                <a:gd name="T23" fmla="*/ 268 h 487"/>
                <a:gd name="T24" fmla="*/ 288 w 298"/>
                <a:gd name="T25" fmla="*/ 306 h 487"/>
                <a:gd name="T26" fmla="*/ 271 w 298"/>
                <a:gd name="T27" fmla="*/ 343 h 487"/>
                <a:gd name="T28" fmla="*/ 250 w 298"/>
                <a:gd name="T29" fmla="*/ 376 h 487"/>
                <a:gd name="T30" fmla="*/ 222 w 298"/>
                <a:gd name="T31" fmla="*/ 404 h 487"/>
                <a:gd name="T32" fmla="*/ 189 w 298"/>
                <a:gd name="T33" fmla="*/ 427 h 487"/>
                <a:gd name="T34" fmla="*/ 154 w 298"/>
                <a:gd name="T35" fmla="*/ 445 h 487"/>
                <a:gd name="T36" fmla="*/ 116 w 298"/>
                <a:gd name="T37" fmla="*/ 460 h 487"/>
                <a:gd name="T38" fmla="*/ 78 w 298"/>
                <a:gd name="T39" fmla="*/ 472 h 487"/>
                <a:gd name="T40" fmla="*/ 38 w 298"/>
                <a:gd name="T41" fmla="*/ 480 h 487"/>
                <a:gd name="T42" fmla="*/ 0 w 298"/>
                <a:gd name="T43" fmla="*/ 487 h 487"/>
                <a:gd name="T44" fmla="*/ 0 w 298"/>
                <a:gd name="T45"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8" h="487">
                  <a:moveTo>
                    <a:pt x="0" y="0"/>
                  </a:moveTo>
                  <a:lnTo>
                    <a:pt x="63" y="17"/>
                  </a:lnTo>
                  <a:lnTo>
                    <a:pt x="124" y="38"/>
                  </a:lnTo>
                  <a:lnTo>
                    <a:pt x="184" y="65"/>
                  </a:lnTo>
                  <a:lnTo>
                    <a:pt x="210" y="80"/>
                  </a:lnTo>
                  <a:lnTo>
                    <a:pt x="235" y="96"/>
                  </a:lnTo>
                  <a:lnTo>
                    <a:pt x="257" y="118"/>
                  </a:lnTo>
                  <a:lnTo>
                    <a:pt x="273" y="139"/>
                  </a:lnTo>
                  <a:lnTo>
                    <a:pt x="285" y="164"/>
                  </a:lnTo>
                  <a:lnTo>
                    <a:pt x="293" y="191"/>
                  </a:lnTo>
                  <a:lnTo>
                    <a:pt x="298" y="229"/>
                  </a:lnTo>
                  <a:lnTo>
                    <a:pt x="296" y="268"/>
                  </a:lnTo>
                  <a:lnTo>
                    <a:pt x="288" y="306"/>
                  </a:lnTo>
                  <a:lnTo>
                    <a:pt x="271" y="343"/>
                  </a:lnTo>
                  <a:lnTo>
                    <a:pt x="250" y="376"/>
                  </a:lnTo>
                  <a:lnTo>
                    <a:pt x="222" y="404"/>
                  </a:lnTo>
                  <a:lnTo>
                    <a:pt x="189" y="427"/>
                  </a:lnTo>
                  <a:lnTo>
                    <a:pt x="154" y="445"/>
                  </a:lnTo>
                  <a:lnTo>
                    <a:pt x="116" y="460"/>
                  </a:lnTo>
                  <a:lnTo>
                    <a:pt x="78" y="472"/>
                  </a:lnTo>
                  <a:lnTo>
                    <a:pt x="38" y="480"/>
                  </a:lnTo>
                  <a:lnTo>
                    <a:pt x="0" y="487"/>
                  </a:lnTo>
                  <a:lnTo>
                    <a:pt x="0" y="0"/>
                  </a:lnTo>
                  <a:close/>
                </a:path>
              </a:pathLst>
            </a:custGeom>
            <a:grpFill/>
            <a:ln w="0">
              <a:noFill/>
              <a:prstDash val="solid"/>
              <a:round/>
              <a:headEnd/>
              <a:tailEnd/>
            </a:ln>
          </p:spPr>
          <p:txBody>
            <a:bodyPr vert="horz" wrap="square" lIns="182868" tIns="91434" rIns="182868" bIns="91434" numCol="1" anchor="t" anchorCtr="0" compatLnSpc="1">
              <a:prstTxWarp prst="textNoShape">
                <a:avLst/>
              </a:prstTxWarp>
            </a:bodyPr>
            <a:lstStyle/>
            <a:p>
              <a:endParaRPr lang="en-US" sz="2701"/>
            </a:p>
          </p:txBody>
        </p:sp>
        <p:sp>
          <p:nvSpPr>
            <p:cNvPr id="18" name="Freeform 1139">
              <a:extLst>
                <a:ext uri="{FF2B5EF4-FFF2-40B4-BE49-F238E27FC236}">
                  <a16:creationId xmlns:a16="http://schemas.microsoft.com/office/drawing/2014/main" id="{475E3D70-142D-D049-92E5-CEF9D2A46A24}"/>
                </a:ext>
              </a:extLst>
            </p:cNvPr>
            <p:cNvSpPr>
              <a:spLocks/>
            </p:cNvSpPr>
            <p:nvPr/>
          </p:nvSpPr>
          <p:spPr bwMode="auto">
            <a:xfrm>
              <a:off x="3641" y="2153"/>
              <a:ext cx="122" cy="221"/>
            </a:xfrm>
            <a:custGeom>
              <a:avLst/>
              <a:gdLst>
                <a:gd name="T0" fmla="*/ 243 w 243"/>
                <a:gd name="T1" fmla="*/ 0 h 442"/>
                <a:gd name="T2" fmla="*/ 243 w 243"/>
                <a:gd name="T3" fmla="*/ 442 h 442"/>
                <a:gd name="T4" fmla="*/ 199 w 243"/>
                <a:gd name="T5" fmla="*/ 427 h 442"/>
                <a:gd name="T6" fmla="*/ 157 w 243"/>
                <a:gd name="T7" fmla="*/ 412 h 442"/>
                <a:gd name="T8" fmla="*/ 113 w 243"/>
                <a:gd name="T9" fmla="*/ 390 h 442"/>
                <a:gd name="T10" fmla="*/ 70 w 243"/>
                <a:gd name="T11" fmla="*/ 365 h 442"/>
                <a:gd name="T12" fmla="*/ 47 w 243"/>
                <a:gd name="T13" fmla="*/ 347 h 442"/>
                <a:gd name="T14" fmla="*/ 27 w 243"/>
                <a:gd name="T15" fmla="*/ 327 h 442"/>
                <a:gd name="T16" fmla="*/ 12 w 243"/>
                <a:gd name="T17" fmla="*/ 301 h 442"/>
                <a:gd name="T18" fmla="*/ 4 w 243"/>
                <a:gd name="T19" fmla="*/ 271 h 442"/>
                <a:gd name="T20" fmla="*/ 0 w 243"/>
                <a:gd name="T21" fmla="*/ 238 h 442"/>
                <a:gd name="T22" fmla="*/ 0 w 243"/>
                <a:gd name="T23" fmla="*/ 207 h 442"/>
                <a:gd name="T24" fmla="*/ 7 w 243"/>
                <a:gd name="T25" fmla="*/ 177 h 442"/>
                <a:gd name="T26" fmla="*/ 17 w 243"/>
                <a:gd name="T27" fmla="*/ 147 h 442"/>
                <a:gd name="T28" fmla="*/ 33 w 243"/>
                <a:gd name="T29" fmla="*/ 121 h 442"/>
                <a:gd name="T30" fmla="*/ 58 w 243"/>
                <a:gd name="T31" fmla="*/ 89 h 442"/>
                <a:gd name="T32" fmla="*/ 91 w 243"/>
                <a:gd name="T33" fmla="*/ 63 h 442"/>
                <a:gd name="T34" fmla="*/ 126 w 243"/>
                <a:gd name="T35" fmla="*/ 41 h 442"/>
                <a:gd name="T36" fmla="*/ 164 w 243"/>
                <a:gd name="T37" fmla="*/ 23 h 442"/>
                <a:gd name="T38" fmla="*/ 204 w 243"/>
                <a:gd name="T39" fmla="*/ 10 h 442"/>
                <a:gd name="T40" fmla="*/ 243 w 243"/>
                <a:gd name="T41"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3" h="442">
                  <a:moveTo>
                    <a:pt x="243" y="0"/>
                  </a:moveTo>
                  <a:lnTo>
                    <a:pt x="243" y="442"/>
                  </a:lnTo>
                  <a:lnTo>
                    <a:pt x="199" y="427"/>
                  </a:lnTo>
                  <a:lnTo>
                    <a:pt x="157" y="412"/>
                  </a:lnTo>
                  <a:lnTo>
                    <a:pt x="113" y="390"/>
                  </a:lnTo>
                  <a:lnTo>
                    <a:pt x="70" y="365"/>
                  </a:lnTo>
                  <a:lnTo>
                    <a:pt x="47" y="347"/>
                  </a:lnTo>
                  <a:lnTo>
                    <a:pt x="27" y="327"/>
                  </a:lnTo>
                  <a:lnTo>
                    <a:pt x="12" y="301"/>
                  </a:lnTo>
                  <a:lnTo>
                    <a:pt x="4" y="271"/>
                  </a:lnTo>
                  <a:lnTo>
                    <a:pt x="0" y="238"/>
                  </a:lnTo>
                  <a:lnTo>
                    <a:pt x="0" y="207"/>
                  </a:lnTo>
                  <a:lnTo>
                    <a:pt x="7" y="177"/>
                  </a:lnTo>
                  <a:lnTo>
                    <a:pt x="17" y="147"/>
                  </a:lnTo>
                  <a:lnTo>
                    <a:pt x="33" y="121"/>
                  </a:lnTo>
                  <a:lnTo>
                    <a:pt x="58" y="89"/>
                  </a:lnTo>
                  <a:lnTo>
                    <a:pt x="91" y="63"/>
                  </a:lnTo>
                  <a:lnTo>
                    <a:pt x="126" y="41"/>
                  </a:lnTo>
                  <a:lnTo>
                    <a:pt x="164" y="23"/>
                  </a:lnTo>
                  <a:lnTo>
                    <a:pt x="204" y="10"/>
                  </a:lnTo>
                  <a:lnTo>
                    <a:pt x="243" y="0"/>
                  </a:lnTo>
                  <a:close/>
                </a:path>
              </a:pathLst>
            </a:custGeom>
            <a:grpFill/>
            <a:ln w="0">
              <a:noFill/>
              <a:prstDash val="solid"/>
              <a:round/>
              <a:headEnd/>
              <a:tailEnd/>
            </a:ln>
          </p:spPr>
          <p:txBody>
            <a:bodyPr vert="horz" wrap="square" lIns="182868" tIns="91434" rIns="182868" bIns="91434" numCol="1" anchor="t" anchorCtr="0" compatLnSpc="1">
              <a:prstTxWarp prst="textNoShape">
                <a:avLst/>
              </a:prstTxWarp>
            </a:bodyPr>
            <a:lstStyle/>
            <a:p>
              <a:endParaRPr lang="en-US" sz="2701"/>
            </a:p>
          </p:txBody>
        </p:sp>
        <p:sp>
          <p:nvSpPr>
            <p:cNvPr id="19" name="Freeform 1140">
              <a:extLst>
                <a:ext uri="{FF2B5EF4-FFF2-40B4-BE49-F238E27FC236}">
                  <a16:creationId xmlns:a16="http://schemas.microsoft.com/office/drawing/2014/main" id="{735A29ED-DBC7-5F41-BE2E-087C322D7F8D}"/>
                </a:ext>
              </a:extLst>
            </p:cNvPr>
            <p:cNvSpPr>
              <a:spLocks noEditPoints="1"/>
            </p:cNvSpPr>
            <p:nvPr/>
          </p:nvSpPr>
          <p:spPr bwMode="auto">
            <a:xfrm>
              <a:off x="2712" y="795"/>
              <a:ext cx="2255" cy="2722"/>
            </a:xfrm>
            <a:custGeom>
              <a:avLst/>
              <a:gdLst>
                <a:gd name="T0" fmla="*/ 2105 w 4510"/>
                <a:gd name="T1" fmla="*/ 2268 h 5443"/>
                <a:gd name="T2" fmla="*/ 1792 w 4510"/>
                <a:gd name="T3" fmla="*/ 2563 h 5443"/>
                <a:gd name="T4" fmla="*/ 1592 w 4510"/>
                <a:gd name="T5" fmla="*/ 2900 h 5443"/>
                <a:gd name="T6" fmla="*/ 1683 w 4510"/>
                <a:gd name="T7" fmla="*/ 3220 h 5443"/>
                <a:gd name="T8" fmla="*/ 2040 w 4510"/>
                <a:gd name="T9" fmla="*/ 3420 h 5443"/>
                <a:gd name="T10" fmla="*/ 1898 w 4510"/>
                <a:gd name="T11" fmla="*/ 3837 h 5443"/>
                <a:gd name="T12" fmla="*/ 1781 w 4510"/>
                <a:gd name="T13" fmla="*/ 3635 h 5443"/>
                <a:gd name="T14" fmla="*/ 1592 w 4510"/>
                <a:gd name="T15" fmla="*/ 3688 h 5443"/>
                <a:gd name="T16" fmla="*/ 1632 w 4510"/>
                <a:gd name="T17" fmla="*/ 3916 h 5443"/>
                <a:gd name="T18" fmla="*/ 1971 w 4510"/>
                <a:gd name="T19" fmla="*/ 4206 h 5443"/>
                <a:gd name="T20" fmla="*/ 2153 w 4510"/>
                <a:gd name="T21" fmla="*/ 4502 h 5443"/>
                <a:gd name="T22" fmla="*/ 2343 w 4510"/>
                <a:gd name="T23" fmla="*/ 4476 h 5443"/>
                <a:gd name="T24" fmla="*/ 2568 w 4510"/>
                <a:gd name="T25" fmla="*/ 4214 h 5443"/>
                <a:gd name="T26" fmla="*/ 2900 w 4510"/>
                <a:gd name="T27" fmla="*/ 3920 h 5443"/>
                <a:gd name="T28" fmla="*/ 2877 w 4510"/>
                <a:gd name="T29" fmla="*/ 3511 h 5443"/>
                <a:gd name="T30" fmla="*/ 2887 w 4510"/>
                <a:gd name="T31" fmla="*/ 3529 h 5443"/>
                <a:gd name="T32" fmla="*/ 2869 w 4510"/>
                <a:gd name="T33" fmla="*/ 3496 h 5443"/>
                <a:gd name="T34" fmla="*/ 2870 w 4510"/>
                <a:gd name="T35" fmla="*/ 3498 h 5443"/>
                <a:gd name="T36" fmla="*/ 2735 w 4510"/>
                <a:gd name="T37" fmla="*/ 3362 h 5443"/>
                <a:gd name="T38" fmla="*/ 2369 w 4510"/>
                <a:gd name="T39" fmla="*/ 2715 h 5443"/>
                <a:gd name="T40" fmla="*/ 2627 w 4510"/>
                <a:gd name="T41" fmla="*/ 2874 h 5443"/>
                <a:gd name="T42" fmla="*/ 2740 w 4510"/>
                <a:gd name="T43" fmla="*/ 3021 h 5443"/>
                <a:gd name="T44" fmla="*/ 2907 w 4510"/>
                <a:gd name="T45" fmla="*/ 2925 h 5443"/>
                <a:gd name="T46" fmla="*/ 2812 w 4510"/>
                <a:gd name="T47" fmla="*/ 2669 h 5443"/>
                <a:gd name="T48" fmla="*/ 2421 w 4510"/>
                <a:gd name="T49" fmla="*/ 2452 h 5443"/>
                <a:gd name="T50" fmla="*/ 2292 w 4510"/>
                <a:gd name="T51" fmla="*/ 2176 h 5443"/>
                <a:gd name="T52" fmla="*/ 1528 w 4510"/>
                <a:gd name="T53" fmla="*/ 40 h 5443"/>
                <a:gd name="T54" fmla="*/ 1891 w 4510"/>
                <a:gd name="T55" fmla="*/ 185 h 5443"/>
                <a:gd name="T56" fmla="*/ 2263 w 4510"/>
                <a:gd name="T57" fmla="*/ 174 h 5443"/>
                <a:gd name="T58" fmla="*/ 2721 w 4510"/>
                <a:gd name="T59" fmla="*/ 50 h 5443"/>
                <a:gd name="T60" fmla="*/ 3079 w 4510"/>
                <a:gd name="T61" fmla="*/ 26 h 5443"/>
                <a:gd name="T62" fmla="*/ 3093 w 4510"/>
                <a:gd name="T63" fmla="*/ 260 h 5443"/>
                <a:gd name="T64" fmla="*/ 2931 w 4510"/>
                <a:gd name="T65" fmla="*/ 672 h 5443"/>
                <a:gd name="T66" fmla="*/ 2640 w 4510"/>
                <a:gd name="T67" fmla="*/ 1089 h 5443"/>
                <a:gd name="T68" fmla="*/ 2878 w 4510"/>
                <a:gd name="T69" fmla="*/ 1367 h 5443"/>
                <a:gd name="T70" fmla="*/ 3356 w 4510"/>
                <a:gd name="T71" fmla="*/ 1755 h 5443"/>
                <a:gd name="T72" fmla="*/ 3803 w 4510"/>
                <a:gd name="T73" fmla="*/ 2262 h 5443"/>
                <a:gd name="T74" fmla="*/ 4171 w 4510"/>
                <a:gd name="T75" fmla="*/ 2843 h 5443"/>
                <a:gd name="T76" fmla="*/ 4423 w 4510"/>
                <a:gd name="T77" fmla="*/ 3453 h 5443"/>
                <a:gd name="T78" fmla="*/ 4510 w 4510"/>
                <a:gd name="T79" fmla="*/ 4050 h 5443"/>
                <a:gd name="T80" fmla="*/ 4393 w 4510"/>
                <a:gd name="T81" fmla="*/ 4591 h 5443"/>
                <a:gd name="T82" fmla="*/ 4026 w 4510"/>
                <a:gd name="T83" fmla="*/ 5033 h 5443"/>
                <a:gd name="T84" fmla="*/ 3366 w 4510"/>
                <a:gd name="T85" fmla="*/ 5333 h 5443"/>
                <a:gd name="T86" fmla="*/ 2369 w 4510"/>
                <a:gd name="T87" fmla="*/ 5443 h 5443"/>
                <a:gd name="T88" fmla="*/ 1255 w 4510"/>
                <a:gd name="T89" fmla="*/ 5341 h 5443"/>
                <a:gd name="T90" fmla="*/ 536 w 4510"/>
                <a:gd name="T91" fmla="*/ 5038 h 5443"/>
                <a:gd name="T92" fmla="*/ 134 w 4510"/>
                <a:gd name="T93" fmla="*/ 4578 h 5443"/>
                <a:gd name="T94" fmla="*/ 0 w 4510"/>
                <a:gd name="T95" fmla="*/ 4011 h 5443"/>
                <a:gd name="T96" fmla="*/ 86 w 4510"/>
                <a:gd name="T97" fmla="*/ 3385 h 5443"/>
                <a:gd name="T98" fmla="*/ 341 w 4510"/>
                <a:gd name="T99" fmla="*/ 2750 h 5443"/>
                <a:gd name="T100" fmla="*/ 718 w 4510"/>
                <a:gd name="T101" fmla="*/ 2156 h 5443"/>
                <a:gd name="T102" fmla="*/ 1166 w 4510"/>
                <a:gd name="T103" fmla="*/ 1651 h 5443"/>
                <a:gd name="T104" fmla="*/ 1635 w 4510"/>
                <a:gd name="T105" fmla="*/ 1286 h 5443"/>
                <a:gd name="T106" fmla="*/ 1476 w 4510"/>
                <a:gd name="T107" fmla="*/ 953 h 5443"/>
                <a:gd name="T108" fmla="*/ 1209 w 4510"/>
                <a:gd name="T109" fmla="*/ 505 h 5443"/>
                <a:gd name="T110" fmla="*/ 1161 w 4510"/>
                <a:gd name="T111" fmla="*/ 134 h 5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10" h="5443">
                  <a:moveTo>
                    <a:pt x="2230" y="2164"/>
                  </a:moveTo>
                  <a:lnTo>
                    <a:pt x="2201" y="2167"/>
                  </a:lnTo>
                  <a:lnTo>
                    <a:pt x="2173" y="2179"/>
                  </a:lnTo>
                  <a:lnTo>
                    <a:pt x="2146" y="2197"/>
                  </a:lnTo>
                  <a:lnTo>
                    <a:pt x="2128" y="2219"/>
                  </a:lnTo>
                  <a:lnTo>
                    <a:pt x="2113" y="2242"/>
                  </a:lnTo>
                  <a:lnTo>
                    <a:pt x="2105" y="2268"/>
                  </a:lnTo>
                  <a:lnTo>
                    <a:pt x="2101" y="2297"/>
                  </a:lnTo>
                  <a:lnTo>
                    <a:pt x="2101" y="2445"/>
                  </a:lnTo>
                  <a:lnTo>
                    <a:pt x="2035" y="2457"/>
                  </a:lnTo>
                  <a:lnTo>
                    <a:pt x="1971" y="2475"/>
                  </a:lnTo>
                  <a:lnTo>
                    <a:pt x="1908" y="2498"/>
                  </a:lnTo>
                  <a:lnTo>
                    <a:pt x="1848" y="2528"/>
                  </a:lnTo>
                  <a:lnTo>
                    <a:pt x="1792" y="2563"/>
                  </a:lnTo>
                  <a:lnTo>
                    <a:pt x="1741" y="2606"/>
                  </a:lnTo>
                  <a:lnTo>
                    <a:pt x="1698" y="2651"/>
                  </a:lnTo>
                  <a:lnTo>
                    <a:pt x="1660" y="2702"/>
                  </a:lnTo>
                  <a:lnTo>
                    <a:pt x="1630" y="2756"/>
                  </a:lnTo>
                  <a:lnTo>
                    <a:pt x="1612" y="2803"/>
                  </a:lnTo>
                  <a:lnTo>
                    <a:pt x="1600" y="2851"/>
                  </a:lnTo>
                  <a:lnTo>
                    <a:pt x="1592" y="2900"/>
                  </a:lnTo>
                  <a:lnTo>
                    <a:pt x="1591" y="2950"/>
                  </a:lnTo>
                  <a:lnTo>
                    <a:pt x="1594" y="3000"/>
                  </a:lnTo>
                  <a:lnTo>
                    <a:pt x="1600" y="3048"/>
                  </a:lnTo>
                  <a:lnTo>
                    <a:pt x="1614" y="3096"/>
                  </a:lnTo>
                  <a:lnTo>
                    <a:pt x="1632" y="3142"/>
                  </a:lnTo>
                  <a:lnTo>
                    <a:pt x="1655" y="3183"/>
                  </a:lnTo>
                  <a:lnTo>
                    <a:pt x="1683" y="3220"/>
                  </a:lnTo>
                  <a:lnTo>
                    <a:pt x="1715" y="3254"/>
                  </a:lnTo>
                  <a:lnTo>
                    <a:pt x="1751" y="3284"/>
                  </a:lnTo>
                  <a:lnTo>
                    <a:pt x="1802" y="3321"/>
                  </a:lnTo>
                  <a:lnTo>
                    <a:pt x="1858" y="3352"/>
                  </a:lnTo>
                  <a:lnTo>
                    <a:pt x="1918" y="3379"/>
                  </a:lnTo>
                  <a:lnTo>
                    <a:pt x="1977" y="3400"/>
                  </a:lnTo>
                  <a:lnTo>
                    <a:pt x="2040" y="3420"/>
                  </a:lnTo>
                  <a:lnTo>
                    <a:pt x="2101" y="3436"/>
                  </a:lnTo>
                  <a:lnTo>
                    <a:pt x="2101" y="3966"/>
                  </a:lnTo>
                  <a:lnTo>
                    <a:pt x="2055" y="3951"/>
                  </a:lnTo>
                  <a:lnTo>
                    <a:pt x="2010" y="3930"/>
                  </a:lnTo>
                  <a:lnTo>
                    <a:pt x="1969" y="3905"/>
                  </a:lnTo>
                  <a:lnTo>
                    <a:pt x="1931" y="3873"/>
                  </a:lnTo>
                  <a:lnTo>
                    <a:pt x="1898" y="3837"/>
                  </a:lnTo>
                  <a:lnTo>
                    <a:pt x="1872" y="3797"/>
                  </a:lnTo>
                  <a:lnTo>
                    <a:pt x="1852" y="3754"/>
                  </a:lnTo>
                  <a:lnTo>
                    <a:pt x="1843" y="3731"/>
                  </a:lnTo>
                  <a:lnTo>
                    <a:pt x="1837" y="3708"/>
                  </a:lnTo>
                  <a:lnTo>
                    <a:pt x="1824" y="3680"/>
                  </a:lnTo>
                  <a:lnTo>
                    <a:pt x="1805" y="3655"/>
                  </a:lnTo>
                  <a:lnTo>
                    <a:pt x="1781" y="3635"/>
                  </a:lnTo>
                  <a:lnTo>
                    <a:pt x="1753" y="3622"/>
                  </a:lnTo>
                  <a:lnTo>
                    <a:pt x="1723" y="3617"/>
                  </a:lnTo>
                  <a:lnTo>
                    <a:pt x="1690" y="3617"/>
                  </a:lnTo>
                  <a:lnTo>
                    <a:pt x="1660" y="3625"/>
                  </a:lnTo>
                  <a:lnTo>
                    <a:pt x="1634" y="3640"/>
                  </a:lnTo>
                  <a:lnTo>
                    <a:pt x="1610" y="3662"/>
                  </a:lnTo>
                  <a:lnTo>
                    <a:pt x="1592" y="3688"/>
                  </a:lnTo>
                  <a:lnTo>
                    <a:pt x="1582" y="3711"/>
                  </a:lnTo>
                  <a:lnTo>
                    <a:pt x="1577" y="3738"/>
                  </a:lnTo>
                  <a:lnTo>
                    <a:pt x="1577" y="3762"/>
                  </a:lnTo>
                  <a:lnTo>
                    <a:pt x="1581" y="3786"/>
                  </a:lnTo>
                  <a:lnTo>
                    <a:pt x="1587" y="3809"/>
                  </a:lnTo>
                  <a:lnTo>
                    <a:pt x="1604" y="3857"/>
                  </a:lnTo>
                  <a:lnTo>
                    <a:pt x="1632" y="3916"/>
                  </a:lnTo>
                  <a:lnTo>
                    <a:pt x="1665" y="3973"/>
                  </a:lnTo>
                  <a:lnTo>
                    <a:pt x="1705" y="4024"/>
                  </a:lnTo>
                  <a:lnTo>
                    <a:pt x="1751" y="4070"/>
                  </a:lnTo>
                  <a:lnTo>
                    <a:pt x="1801" y="4113"/>
                  </a:lnTo>
                  <a:lnTo>
                    <a:pt x="1853" y="4148"/>
                  </a:lnTo>
                  <a:lnTo>
                    <a:pt x="1911" y="4179"/>
                  </a:lnTo>
                  <a:lnTo>
                    <a:pt x="1971" y="4206"/>
                  </a:lnTo>
                  <a:lnTo>
                    <a:pt x="2032" y="4226"/>
                  </a:lnTo>
                  <a:lnTo>
                    <a:pt x="2101" y="4241"/>
                  </a:lnTo>
                  <a:lnTo>
                    <a:pt x="2101" y="4396"/>
                  </a:lnTo>
                  <a:lnTo>
                    <a:pt x="2105" y="4428"/>
                  </a:lnTo>
                  <a:lnTo>
                    <a:pt x="2115" y="4456"/>
                  </a:lnTo>
                  <a:lnTo>
                    <a:pt x="2131" y="4481"/>
                  </a:lnTo>
                  <a:lnTo>
                    <a:pt x="2153" y="4502"/>
                  </a:lnTo>
                  <a:lnTo>
                    <a:pt x="2179" y="4519"/>
                  </a:lnTo>
                  <a:lnTo>
                    <a:pt x="2209" y="4528"/>
                  </a:lnTo>
                  <a:lnTo>
                    <a:pt x="2239" y="4530"/>
                  </a:lnTo>
                  <a:lnTo>
                    <a:pt x="2270" y="4525"/>
                  </a:lnTo>
                  <a:lnTo>
                    <a:pt x="2298" y="4515"/>
                  </a:lnTo>
                  <a:lnTo>
                    <a:pt x="2323" y="4497"/>
                  </a:lnTo>
                  <a:lnTo>
                    <a:pt x="2343" y="4476"/>
                  </a:lnTo>
                  <a:lnTo>
                    <a:pt x="2356" y="4452"/>
                  </a:lnTo>
                  <a:lnTo>
                    <a:pt x="2366" y="4424"/>
                  </a:lnTo>
                  <a:lnTo>
                    <a:pt x="2369" y="4396"/>
                  </a:lnTo>
                  <a:lnTo>
                    <a:pt x="2369" y="4254"/>
                  </a:lnTo>
                  <a:lnTo>
                    <a:pt x="2435" y="4246"/>
                  </a:lnTo>
                  <a:lnTo>
                    <a:pt x="2503" y="4234"/>
                  </a:lnTo>
                  <a:lnTo>
                    <a:pt x="2568" y="4214"/>
                  </a:lnTo>
                  <a:lnTo>
                    <a:pt x="2630" y="4189"/>
                  </a:lnTo>
                  <a:lnTo>
                    <a:pt x="2690" y="4160"/>
                  </a:lnTo>
                  <a:lnTo>
                    <a:pt x="2746" y="4120"/>
                  </a:lnTo>
                  <a:lnTo>
                    <a:pt x="2794" y="4078"/>
                  </a:lnTo>
                  <a:lnTo>
                    <a:pt x="2837" y="4030"/>
                  </a:lnTo>
                  <a:lnTo>
                    <a:pt x="2872" y="3978"/>
                  </a:lnTo>
                  <a:lnTo>
                    <a:pt x="2900" y="3920"/>
                  </a:lnTo>
                  <a:lnTo>
                    <a:pt x="2920" y="3858"/>
                  </a:lnTo>
                  <a:lnTo>
                    <a:pt x="2931" y="3796"/>
                  </a:lnTo>
                  <a:lnTo>
                    <a:pt x="2935" y="3738"/>
                  </a:lnTo>
                  <a:lnTo>
                    <a:pt x="2930" y="3678"/>
                  </a:lnTo>
                  <a:lnTo>
                    <a:pt x="2920" y="3620"/>
                  </a:lnTo>
                  <a:lnTo>
                    <a:pt x="2902" y="3564"/>
                  </a:lnTo>
                  <a:lnTo>
                    <a:pt x="2877" y="3511"/>
                  </a:lnTo>
                  <a:lnTo>
                    <a:pt x="2878" y="3514"/>
                  </a:lnTo>
                  <a:lnTo>
                    <a:pt x="2882" y="3518"/>
                  </a:lnTo>
                  <a:lnTo>
                    <a:pt x="2883" y="3521"/>
                  </a:lnTo>
                  <a:lnTo>
                    <a:pt x="2885" y="3524"/>
                  </a:lnTo>
                  <a:lnTo>
                    <a:pt x="2887" y="3527"/>
                  </a:lnTo>
                  <a:lnTo>
                    <a:pt x="2887" y="3527"/>
                  </a:lnTo>
                  <a:lnTo>
                    <a:pt x="2887" y="3529"/>
                  </a:lnTo>
                  <a:lnTo>
                    <a:pt x="2887" y="3527"/>
                  </a:lnTo>
                  <a:lnTo>
                    <a:pt x="2885" y="3526"/>
                  </a:lnTo>
                  <a:lnTo>
                    <a:pt x="2883" y="3523"/>
                  </a:lnTo>
                  <a:lnTo>
                    <a:pt x="2880" y="3516"/>
                  </a:lnTo>
                  <a:lnTo>
                    <a:pt x="2877" y="3509"/>
                  </a:lnTo>
                  <a:lnTo>
                    <a:pt x="2872" y="3503"/>
                  </a:lnTo>
                  <a:lnTo>
                    <a:pt x="2869" y="3496"/>
                  </a:lnTo>
                  <a:lnTo>
                    <a:pt x="2867" y="3493"/>
                  </a:lnTo>
                  <a:lnTo>
                    <a:pt x="2865" y="3491"/>
                  </a:lnTo>
                  <a:lnTo>
                    <a:pt x="2865" y="3489"/>
                  </a:lnTo>
                  <a:lnTo>
                    <a:pt x="2865" y="3491"/>
                  </a:lnTo>
                  <a:lnTo>
                    <a:pt x="2867" y="3491"/>
                  </a:lnTo>
                  <a:lnTo>
                    <a:pt x="2869" y="3494"/>
                  </a:lnTo>
                  <a:lnTo>
                    <a:pt x="2870" y="3498"/>
                  </a:lnTo>
                  <a:lnTo>
                    <a:pt x="2872" y="3501"/>
                  </a:lnTo>
                  <a:lnTo>
                    <a:pt x="2874" y="3504"/>
                  </a:lnTo>
                  <a:lnTo>
                    <a:pt x="2877" y="3509"/>
                  </a:lnTo>
                  <a:lnTo>
                    <a:pt x="2847" y="3466"/>
                  </a:lnTo>
                  <a:lnTo>
                    <a:pt x="2814" y="3427"/>
                  </a:lnTo>
                  <a:lnTo>
                    <a:pt x="2776" y="3392"/>
                  </a:lnTo>
                  <a:lnTo>
                    <a:pt x="2735" y="3362"/>
                  </a:lnTo>
                  <a:lnTo>
                    <a:pt x="2692" y="3334"/>
                  </a:lnTo>
                  <a:lnTo>
                    <a:pt x="2645" y="3311"/>
                  </a:lnTo>
                  <a:lnTo>
                    <a:pt x="2597" y="3291"/>
                  </a:lnTo>
                  <a:lnTo>
                    <a:pt x="2523" y="3264"/>
                  </a:lnTo>
                  <a:lnTo>
                    <a:pt x="2445" y="3241"/>
                  </a:lnTo>
                  <a:lnTo>
                    <a:pt x="2369" y="3223"/>
                  </a:lnTo>
                  <a:lnTo>
                    <a:pt x="2369" y="2715"/>
                  </a:lnTo>
                  <a:lnTo>
                    <a:pt x="2417" y="2727"/>
                  </a:lnTo>
                  <a:lnTo>
                    <a:pt x="2465" y="2742"/>
                  </a:lnTo>
                  <a:lnTo>
                    <a:pt x="2510" y="2761"/>
                  </a:lnTo>
                  <a:lnTo>
                    <a:pt x="2553" y="2788"/>
                  </a:lnTo>
                  <a:lnTo>
                    <a:pt x="2587" y="2818"/>
                  </a:lnTo>
                  <a:lnTo>
                    <a:pt x="2616" y="2854"/>
                  </a:lnTo>
                  <a:lnTo>
                    <a:pt x="2627" y="2874"/>
                  </a:lnTo>
                  <a:lnTo>
                    <a:pt x="2637" y="2895"/>
                  </a:lnTo>
                  <a:lnTo>
                    <a:pt x="2645" y="2919"/>
                  </a:lnTo>
                  <a:lnTo>
                    <a:pt x="2652" y="2940"/>
                  </a:lnTo>
                  <a:lnTo>
                    <a:pt x="2667" y="2968"/>
                  </a:lnTo>
                  <a:lnTo>
                    <a:pt x="2687" y="2991"/>
                  </a:lnTo>
                  <a:lnTo>
                    <a:pt x="2711" y="3010"/>
                  </a:lnTo>
                  <a:lnTo>
                    <a:pt x="2740" y="3021"/>
                  </a:lnTo>
                  <a:lnTo>
                    <a:pt x="2771" y="3026"/>
                  </a:lnTo>
                  <a:lnTo>
                    <a:pt x="2802" y="3025"/>
                  </a:lnTo>
                  <a:lnTo>
                    <a:pt x="2832" y="3015"/>
                  </a:lnTo>
                  <a:lnTo>
                    <a:pt x="2859" y="2998"/>
                  </a:lnTo>
                  <a:lnTo>
                    <a:pt x="2880" y="2977"/>
                  </a:lnTo>
                  <a:lnTo>
                    <a:pt x="2898" y="2948"/>
                  </a:lnTo>
                  <a:lnTo>
                    <a:pt x="2907" y="2925"/>
                  </a:lnTo>
                  <a:lnTo>
                    <a:pt x="2910" y="2899"/>
                  </a:lnTo>
                  <a:lnTo>
                    <a:pt x="2908" y="2872"/>
                  </a:lnTo>
                  <a:lnTo>
                    <a:pt x="2903" y="2849"/>
                  </a:lnTo>
                  <a:lnTo>
                    <a:pt x="2897" y="2824"/>
                  </a:lnTo>
                  <a:lnTo>
                    <a:pt x="2877" y="2776"/>
                  </a:lnTo>
                  <a:lnTo>
                    <a:pt x="2849" y="2720"/>
                  </a:lnTo>
                  <a:lnTo>
                    <a:pt x="2812" y="2669"/>
                  </a:lnTo>
                  <a:lnTo>
                    <a:pt x="2771" y="2622"/>
                  </a:lnTo>
                  <a:lnTo>
                    <a:pt x="2721" y="2579"/>
                  </a:lnTo>
                  <a:lnTo>
                    <a:pt x="2667" y="2541"/>
                  </a:lnTo>
                  <a:lnTo>
                    <a:pt x="2609" y="2512"/>
                  </a:lnTo>
                  <a:lnTo>
                    <a:pt x="2548" y="2487"/>
                  </a:lnTo>
                  <a:lnTo>
                    <a:pt x="2485" y="2467"/>
                  </a:lnTo>
                  <a:lnTo>
                    <a:pt x="2421" y="2452"/>
                  </a:lnTo>
                  <a:lnTo>
                    <a:pt x="2369" y="2444"/>
                  </a:lnTo>
                  <a:lnTo>
                    <a:pt x="2369" y="2297"/>
                  </a:lnTo>
                  <a:lnTo>
                    <a:pt x="2366" y="2267"/>
                  </a:lnTo>
                  <a:lnTo>
                    <a:pt x="2354" y="2239"/>
                  </a:lnTo>
                  <a:lnTo>
                    <a:pt x="2338" y="2212"/>
                  </a:lnTo>
                  <a:lnTo>
                    <a:pt x="2316" y="2192"/>
                  </a:lnTo>
                  <a:lnTo>
                    <a:pt x="2292" y="2176"/>
                  </a:lnTo>
                  <a:lnTo>
                    <a:pt x="2262" y="2166"/>
                  </a:lnTo>
                  <a:lnTo>
                    <a:pt x="2230" y="2164"/>
                  </a:lnTo>
                  <a:close/>
                  <a:moveTo>
                    <a:pt x="1346" y="0"/>
                  </a:moveTo>
                  <a:lnTo>
                    <a:pt x="1389" y="2"/>
                  </a:lnTo>
                  <a:lnTo>
                    <a:pt x="1433" y="10"/>
                  </a:lnTo>
                  <a:lnTo>
                    <a:pt x="1480" y="23"/>
                  </a:lnTo>
                  <a:lnTo>
                    <a:pt x="1528" y="40"/>
                  </a:lnTo>
                  <a:lnTo>
                    <a:pt x="1577" y="58"/>
                  </a:lnTo>
                  <a:lnTo>
                    <a:pt x="1627" y="79"/>
                  </a:lnTo>
                  <a:lnTo>
                    <a:pt x="1680" y="103"/>
                  </a:lnTo>
                  <a:lnTo>
                    <a:pt x="1731" y="126"/>
                  </a:lnTo>
                  <a:lnTo>
                    <a:pt x="1784" y="147"/>
                  </a:lnTo>
                  <a:lnTo>
                    <a:pt x="1837" y="167"/>
                  </a:lnTo>
                  <a:lnTo>
                    <a:pt x="1891" y="185"/>
                  </a:lnTo>
                  <a:lnTo>
                    <a:pt x="1944" y="199"/>
                  </a:lnTo>
                  <a:lnTo>
                    <a:pt x="1999" y="207"/>
                  </a:lnTo>
                  <a:lnTo>
                    <a:pt x="2052" y="212"/>
                  </a:lnTo>
                  <a:lnTo>
                    <a:pt x="2106" y="208"/>
                  </a:lnTo>
                  <a:lnTo>
                    <a:pt x="2153" y="200"/>
                  </a:lnTo>
                  <a:lnTo>
                    <a:pt x="2206" y="189"/>
                  </a:lnTo>
                  <a:lnTo>
                    <a:pt x="2263" y="174"/>
                  </a:lnTo>
                  <a:lnTo>
                    <a:pt x="2323" y="157"/>
                  </a:lnTo>
                  <a:lnTo>
                    <a:pt x="2387" y="139"/>
                  </a:lnTo>
                  <a:lnTo>
                    <a:pt x="2452" y="121"/>
                  </a:lnTo>
                  <a:lnTo>
                    <a:pt x="2520" y="103"/>
                  </a:lnTo>
                  <a:lnTo>
                    <a:pt x="2587" y="83"/>
                  </a:lnTo>
                  <a:lnTo>
                    <a:pt x="2655" y="66"/>
                  </a:lnTo>
                  <a:lnTo>
                    <a:pt x="2721" y="50"/>
                  </a:lnTo>
                  <a:lnTo>
                    <a:pt x="2786" y="35"/>
                  </a:lnTo>
                  <a:lnTo>
                    <a:pt x="2849" y="25"/>
                  </a:lnTo>
                  <a:lnTo>
                    <a:pt x="2908" y="17"/>
                  </a:lnTo>
                  <a:lnTo>
                    <a:pt x="2964" y="13"/>
                  </a:lnTo>
                  <a:lnTo>
                    <a:pt x="3016" y="13"/>
                  </a:lnTo>
                  <a:lnTo>
                    <a:pt x="3060" y="18"/>
                  </a:lnTo>
                  <a:lnTo>
                    <a:pt x="3079" y="26"/>
                  </a:lnTo>
                  <a:lnTo>
                    <a:pt x="3093" y="43"/>
                  </a:lnTo>
                  <a:lnTo>
                    <a:pt x="3103" y="65"/>
                  </a:lnTo>
                  <a:lnTo>
                    <a:pt x="3110" y="93"/>
                  </a:lnTo>
                  <a:lnTo>
                    <a:pt x="3112" y="127"/>
                  </a:lnTo>
                  <a:lnTo>
                    <a:pt x="3108" y="167"/>
                  </a:lnTo>
                  <a:lnTo>
                    <a:pt x="3103" y="210"/>
                  </a:lnTo>
                  <a:lnTo>
                    <a:pt x="3093" y="260"/>
                  </a:lnTo>
                  <a:lnTo>
                    <a:pt x="3080" y="311"/>
                  </a:lnTo>
                  <a:lnTo>
                    <a:pt x="3062" y="366"/>
                  </a:lnTo>
                  <a:lnTo>
                    <a:pt x="3042" y="424"/>
                  </a:lnTo>
                  <a:lnTo>
                    <a:pt x="3019" y="485"/>
                  </a:lnTo>
                  <a:lnTo>
                    <a:pt x="2993" y="546"/>
                  </a:lnTo>
                  <a:lnTo>
                    <a:pt x="2963" y="609"/>
                  </a:lnTo>
                  <a:lnTo>
                    <a:pt x="2931" y="672"/>
                  </a:lnTo>
                  <a:lnTo>
                    <a:pt x="2897" y="736"/>
                  </a:lnTo>
                  <a:lnTo>
                    <a:pt x="2860" y="799"/>
                  </a:lnTo>
                  <a:lnTo>
                    <a:pt x="2821" y="860"/>
                  </a:lnTo>
                  <a:lnTo>
                    <a:pt x="2778" y="922"/>
                  </a:lnTo>
                  <a:lnTo>
                    <a:pt x="2735" y="979"/>
                  </a:lnTo>
                  <a:lnTo>
                    <a:pt x="2688" y="1036"/>
                  </a:lnTo>
                  <a:lnTo>
                    <a:pt x="2640" y="1089"/>
                  </a:lnTo>
                  <a:lnTo>
                    <a:pt x="2591" y="1138"/>
                  </a:lnTo>
                  <a:lnTo>
                    <a:pt x="2540" y="1185"/>
                  </a:lnTo>
                  <a:lnTo>
                    <a:pt x="2606" y="1214"/>
                  </a:lnTo>
                  <a:lnTo>
                    <a:pt x="2673" y="1246"/>
                  </a:lnTo>
                  <a:lnTo>
                    <a:pt x="2741" y="1284"/>
                  </a:lnTo>
                  <a:lnTo>
                    <a:pt x="2809" y="1324"/>
                  </a:lnTo>
                  <a:lnTo>
                    <a:pt x="2878" y="1367"/>
                  </a:lnTo>
                  <a:lnTo>
                    <a:pt x="2946" y="1413"/>
                  </a:lnTo>
                  <a:lnTo>
                    <a:pt x="3016" y="1463"/>
                  </a:lnTo>
                  <a:lnTo>
                    <a:pt x="3084" y="1516"/>
                  </a:lnTo>
                  <a:lnTo>
                    <a:pt x="3153" y="1572"/>
                  </a:lnTo>
                  <a:lnTo>
                    <a:pt x="3221" y="1631"/>
                  </a:lnTo>
                  <a:lnTo>
                    <a:pt x="3289" y="1693"/>
                  </a:lnTo>
                  <a:lnTo>
                    <a:pt x="3356" y="1755"/>
                  </a:lnTo>
                  <a:lnTo>
                    <a:pt x="3422" y="1822"/>
                  </a:lnTo>
                  <a:lnTo>
                    <a:pt x="3489" y="1891"/>
                  </a:lnTo>
                  <a:lnTo>
                    <a:pt x="3553" y="1961"/>
                  </a:lnTo>
                  <a:lnTo>
                    <a:pt x="3618" y="2033"/>
                  </a:lnTo>
                  <a:lnTo>
                    <a:pt x="3680" y="2108"/>
                  </a:lnTo>
                  <a:lnTo>
                    <a:pt x="3742" y="2184"/>
                  </a:lnTo>
                  <a:lnTo>
                    <a:pt x="3803" y="2262"/>
                  </a:lnTo>
                  <a:lnTo>
                    <a:pt x="3861" y="2341"/>
                  </a:lnTo>
                  <a:lnTo>
                    <a:pt x="3917" y="2422"/>
                  </a:lnTo>
                  <a:lnTo>
                    <a:pt x="3973" y="2505"/>
                  </a:lnTo>
                  <a:lnTo>
                    <a:pt x="4026" y="2588"/>
                  </a:lnTo>
                  <a:lnTo>
                    <a:pt x="4077" y="2672"/>
                  </a:lnTo>
                  <a:lnTo>
                    <a:pt x="4125" y="2756"/>
                  </a:lnTo>
                  <a:lnTo>
                    <a:pt x="4171" y="2843"/>
                  </a:lnTo>
                  <a:lnTo>
                    <a:pt x="4216" y="2929"/>
                  </a:lnTo>
                  <a:lnTo>
                    <a:pt x="4257" y="3016"/>
                  </a:lnTo>
                  <a:lnTo>
                    <a:pt x="4297" y="3102"/>
                  </a:lnTo>
                  <a:lnTo>
                    <a:pt x="4333" y="3190"/>
                  </a:lnTo>
                  <a:lnTo>
                    <a:pt x="4367" y="3278"/>
                  </a:lnTo>
                  <a:lnTo>
                    <a:pt x="4396" y="3365"/>
                  </a:lnTo>
                  <a:lnTo>
                    <a:pt x="4423" y="3453"/>
                  </a:lnTo>
                  <a:lnTo>
                    <a:pt x="4446" y="3541"/>
                  </a:lnTo>
                  <a:lnTo>
                    <a:pt x="4467" y="3627"/>
                  </a:lnTo>
                  <a:lnTo>
                    <a:pt x="4484" y="3713"/>
                  </a:lnTo>
                  <a:lnTo>
                    <a:pt x="4495" y="3799"/>
                  </a:lnTo>
                  <a:lnTo>
                    <a:pt x="4505" y="3883"/>
                  </a:lnTo>
                  <a:lnTo>
                    <a:pt x="4510" y="3968"/>
                  </a:lnTo>
                  <a:lnTo>
                    <a:pt x="4510" y="4050"/>
                  </a:lnTo>
                  <a:lnTo>
                    <a:pt x="4509" y="4133"/>
                  </a:lnTo>
                  <a:lnTo>
                    <a:pt x="4500" y="4212"/>
                  </a:lnTo>
                  <a:lnTo>
                    <a:pt x="4489" y="4292"/>
                  </a:lnTo>
                  <a:lnTo>
                    <a:pt x="4472" y="4370"/>
                  </a:lnTo>
                  <a:lnTo>
                    <a:pt x="4451" y="4446"/>
                  </a:lnTo>
                  <a:lnTo>
                    <a:pt x="4424" y="4520"/>
                  </a:lnTo>
                  <a:lnTo>
                    <a:pt x="4393" y="4591"/>
                  </a:lnTo>
                  <a:lnTo>
                    <a:pt x="4357" y="4663"/>
                  </a:lnTo>
                  <a:lnTo>
                    <a:pt x="4315" y="4730"/>
                  </a:lnTo>
                  <a:lnTo>
                    <a:pt x="4269" y="4797"/>
                  </a:lnTo>
                  <a:lnTo>
                    <a:pt x="4216" y="4859"/>
                  </a:lnTo>
                  <a:lnTo>
                    <a:pt x="4158" y="4921"/>
                  </a:lnTo>
                  <a:lnTo>
                    <a:pt x="4095" y="4979"/>
                  </a:lnTo>
                  <a:lnTo>
                    <a:pt x="4026" y="5033"/>
                  </a:lnTo>
                  <a:lnTo>
                    <a:pt x="3950" y="5086"/>
                  </a:lnTo>
                  <a:lnTo>
                    <a:pt x="3869" y="5136"/>
                  </a:lnTo>
                  <a:lnTo>
                    <a:pt x="3781" y="5182"/>
                  </a:lnTo>
                  <a:lnTo>
                    <a:pt x="3687" y="5225"/>
                  </a:lnTo>
                  <a:lnTo>
                    <a:pt x="3586" y="5263"/>
                  </a:lnTo>
                  <a:lnTo>
                    <a:pt x="3480" y="5300"/>
                  </a:lnTo>
                  <a:lnTo>
                    <a:pt x="3366" y="5333"/>
                  </a:lnTo>
                  <a:lnTo>
                    <a:pt x="3246" y="5361"/>
                  </a:lnTo>
                  <a:lnTo>
                    <a:pt x="3117" y="5386"/>
                  </a:lnTo>
                  <a:lnTo>
                    <a:pt x="2983" y="5405"/>
                  </a:lnTo>
                  <a:lnTo>
                    <a:pt x="2840" y="5422"/>
                  </a:lnTo>
                  <a:lnTo>
                    <a:pt x="2692" y="5434"/>
                  </a:lnTo>
                  <a:lnTo>
                    <a:pt x="2535" y="5442"/>
                  </a:lnTo>
                  <a:lnTo>
                    <a:pt x="2369" y="5443"/>
                  </a:lnTo>
                  <a:lnTo>
                    <a:pt x="2197" y="5442"/>
                  </a:lnTo>
                  <a:lnTo>
                    <a:pt x="2017" y="5435"/>
                  </a:lnTo>
                  <a:lnTo>
                    <a:pt x="1829" y="5424"/>
                  </a:lnTo>
                  <a:lnTo>
                    <a:pt x="1673" y="5410"/>
                  </a:lnTo>
                  <a:lnTo>
                    <a:pt x="1526" y="5392"/>
                  </a:lnTo>
                  <a:lnTo>
                    <a:pt x="1387" y="5369"/>
                  </a:lnTo>
                  <a:lnTo>
                    <a:pt x="1255" y="5341"/>
                  </a:lnTo>
                  <a:lnTo>
                    <a:pt x="1131" y="5309"/>
                  </a:lnTo>
                  <a:lnTo>
                    <a:pt x="1015" y="5273"/>
                  </a:lnTo>
                  <a:lnTo>
                    <a:pt x="904" y="5233"/>
                  </a:lnTo>
                  <a:lnTo>
                    <a:pt x="802" y="5190"/>
                  </a:lnTo>
                  <a:lnTo>
                    <a:pt x="706" y="5142"/>
                  </a:lnTo>
                  <a:lnTo>
                    <a:pt x="618" y="5093"/>
                  </a:lnTo>
                  <a:lnTo>
                    <a:pt x="536" y="5038"/>
                  </a:lnTo>
                  <a:lnTo>
                    <a:pt x="460" y="4982"/>
                  </a:lnTo>
                  <a:lnTo>
                    <a:pt x="390" y="4921"/>
                  </a:lnTo>
                  <a:lnTo>
                    <a:pt x="327" y="4858"/>
                  </a:lnTo>
                  <a:lnTo>
                    <a:pt x="269" y="4792"/>
                  </a:lnTo>
                  <a:lnTo>
                    <a:pt x="218" y="4724"/>
                  </a:lnTo>
                  <a:lnTo>
                    <a:pt x="174" y="4653"/>
                  </a:lnTo>
                  <a:lnTo>
                    <a:pt x="134" y="4578"/>
                  </a:lnTo>
                  <a:lnTo>
                    <a:pt x="99" y="4504"/>
                  </a:lnTo>
                  <a:lnTo>
                    <a:pt x="69" y="4426"/>
                  </a:lnTo>
                  <a:lnTo>
                    <a:pt x="46" y="4345"/>
                  </a:lnTo>
                  <a:lnTo>
                    <a:pt x="26" y="4264"/>
                  </a:lnTo>
                  <a:lnTo>
                    <a:pt x="13" y="4181"/>
                  </a:lnTo>
                  <a:lnTo>
                    <a:pt x="5" y="4097"/>
                  </a:lnTo>
                  <a:lnTo>
                    <a:pt x="0" y="4011"/>
                  </a:lnTo>
                  <a:lnTo>
                    <a:pt x="0" y="3925"/>
                  </a:lnTo>
                  <a:lnTo>
                    <a:pt x="3" y="3835"/>
                  </a:lnTo>
                  <a:lnTo>
                    <a:pt x="13" y="3748"/>
                  </a:lnTo>
                  <a:lnTo>
                    <a:pt x="25" y="3657"/>
                  </a:lnTo>
                  <a:lnTo>
                    <a:pt x="41" y="3567"/>
                  </a:lnTo>
                  <a:lnTo>
                    <a:pt x="61" y="3476"/>
                  </a:lnTo>
                  <a:lnTo>
                    <a:pt x="86" y="3385"/>
                  </a:lnTo>
                  <a:lnTo>
                    <a:pt x="112" y="3294"/>
                  </a:lnTo>
                  <a:lnTo>
                    <a:pt x="144" y="3203"/>
                  </a:lnTo>
                  <a:lnTo>
                    <a:pt x="177" y="3111"/>
                  </a:lnTo>
                  <a:lnTo>
                    <a:pt x="215" y="3020"/>
                  </a:lnTo>
                  <a:lnTo>
                    <a:pt x="255" y="2930"/>
                  </a:lnTo>
                  <a:lnTo>
                    <a:pt x="296" y="2839"/>
                  </a:lnTo>
                  <a:lnTo>
                    <a:pt x="341" y="2750"/>
                  </a:lnTo>
                  <a:lnTo>
                    <a:pt x="389" y="2662"/>
                  </a:lnTo>
                  <a:lnTo>
                    <a:pt x="438" y="2574"/>
                  </a:lnTo>
                  <a:lnTo>
                    <a:pt x="491" y="2487"/>
                  </a:lnTo>
                  <a:lnTo>
                    <a:pt x="546" y="2402"/>
                  </a:lnTo>
                  <a:lnTo>
                    <a:pt x="600" y="2318"/>
                  </a:lnTo>
                  <a:lnTo>
                    <a:pt x="658" y="2237"/>
                  </a:lnTo>
                  <a:lnTo>
                    <a:pt x="718" y="2156"/>
                  </a:lnTo>
                  <a:lnTo>
                    <a:pt x="779" y="2076"/>
                  </a:lnTo>
                  <a:lnTo>
                    <a:pt x="840" y="2000"/>
                  </a:lnTo>
                  <a:lnTo>
                    <a:pt x="904" y="1926"/>
                  </a:lnTo>
                  <a:lnTo>
                    <a:pt x="969" y="1853"/>
                  </a:lnTo>
                  <a:lnTo>
                    <a:pt x="1033" y="1784"/>
                  </a:lnTo>
                  <a:lnTo>
                    <a:pt x="1099" y="1716"/>
                  </a:lnTo>
                  <a:lnTo>
                    <a:pt x="1166" y="1651"/>
                  </a:lnTo>
                  <a:lnTo>
                    <a:pt x="1232" y="1588"/>
                  </a:lnTo>
                  <a:lnTo>
                    <a:pt x="1300" y="1530"/>
                  </a:lnTo>
                  <a:lnTo>
                    <a:pt x="1367" y="1474"/>
                  </a:lnTo>
                  <a:lnTo>
                    <a:pt x="1435" y="1421"/>
                  </a:lnTo>
                  <a:lnTo>
                    <a:pt x="1501" y="1373"/>
                  </a:lnTo>
                  <a:lnTo>
                    <a:pt x="1569" y="1327"/>
                  </a:lnTo>
                  <a:lnTo>
                    <a:pt x="1635" y="1286"/>
                  </a:lnTo>
                  <a:lnTo>
                    <a:pt x="1701" y="1248"/>
                  </a:lnTo>
                  <a:lnTo>
                    <a:pt x="1766" y="1214"/>
                  </a:lnTo>
                  <a:lnTo>
                    <a:pt x="1703" y="1170"/>
                  </a:lnTo>
                  <a:lnTo>
                    <a:pt x="1642" y="1122"/>
                  </a:lnTo>
                  <a:lnTo>
                    <a:pt x="1584" y="1069"/>
                  </a:lnTo>
                  <a:lnTo>
                    <a:pt x="1529" y="1013"/>
                  </a:lnTo>
                  <a:lnTo>
                    <a:pt x="1476" y="953"/>
                  </a:lnTo>
                  <a:lnTo>
                    <a:pt x="1427" y="892"/>
                  </a:lnTo>
                  <a:lnTo>
                    <a:pt x="1382" y="829"/>
                  </a:lnTo>
                  <a:lnTo>
                    <a:pt x="1339" y="764"/>
                  </a:lnTo>
                  <a:lnTo>
                    <a:pt x="1301" y="698"/>
                  </a:lnTo>
                  <a:lnTo>
                    <a:pt x="1266" y="634"/>
                  </a:lnTo>
                  <a:lnTo>
                    <a:pt x="1235" y="569"/>
                  </a:lnTo>
                  <a:lnTo>
                    <a:pt x="1209" y="505"/>
                  </a:lnTo>
                  <a:lnTo>
                    <a:pt x="1187" y="443"/>
                  </a:lnTo>
                  <a:lnTo>
                    <a:pt x="1171" y="382"/>
                  </a:lnTo>
                  <a:lnTo>
                    <a:pt x="1157" y="326"/>
                  </a:lnTo>
                  <a:lnTo>
                    <a:pt x="1151" y="271"/>
                  </a:lnTo>
                  <a:lnTo>
                    <a:pt x="1149" y="222"/>
                  </a:lnTo>
                  <a:lnTo>
                    <a:pt x="1152" y="175"/>
                  </a:lnTo>
                  <a:lnTo>
                    <a:pt x="1161" y="134"/>
                  </a:lnTo>
                  <a:lnTo>
                    <a:pt x="1176" y="99"/>
                  </a:lnTo>
                  <a:lnTo>
                    <a:pt x="1197" y="69"/>
                  </a:lnTo>
                  <a:lnTo>
                    <a:pt x="1230" y="38"/>
                  </a:lnTo>
                  <a:lnTo>
                    <a:pt x="1266" y="18"/>
                  </a:lnTo>
                  <a:lnTo>
                    <a:pt x="1306" y="5"/>
                  </a:lnTo>
                  <a:lnTo>
                    <a:pt x="1346" y="0"/>
                  </a:lnTo>
                  <a:close/>
                </a:path>
              </a:pathLst>
            </a:custGeom>
            <a:grpFill/>
            <a:ln w="0">
              <a:noFill/>
              <a:prstDash val="solid"/>
              <a:round/>
              <a:headEnd/>
              <a:tailEnd/>
            </a:ln>
          </p:spPr>
          <p:txBody>
            <a:bodyPr vert="horz" wrap="square" lIns="182868" tIns="91434" rIns="182868" bIns="91434" numCol="1" anchor="t" anchorCtr="0" compatLnSpc="1">
              <a:prstTxWarp prst="textNoShape">
                <a:avLst/>
              </a:prstTxWarp>
            </a:bodyPr>
            <a:lstStyle/>
            <a:p>
              <a:endParaRPr lang="en-US" sz="2701"/>
            </a:p>
          </p:txBody>
        </p:sp>
        <p:sp>
          <p:nvSpPr>
            <p:cNvPr id="20" name="Freeform 1141">
              <a:extLst>
                <a:ext uri="{FF2B5EF4-FFF2-40B4-BE49-F238E27FC236}">
                  <a16:creationId xmlns:a16="http://schemas.microsoft.com/office/drawing/2014/main" id="{C570AED6-048C-C248-9A19-D0A6BCF91426}"/>
                </a:ext>
              </a:extLst>
            </p:cNvPr>
            <p:cNvSpPr>
              <a:spLocks/>
            </p:cNvSpPr>
            <p:nvPr/>
          </p:nvSpPr>
          <p:spPr bwMode="auto">
            <a:xfrm>
              <a:off x="4031" y="2718"/>
              <a:ext cx="0" cy="1"/>
            </a:xfrm>
            <a:custGeom>
              <a:avLst/>
              <a:gdLst>
                <a:gd name="T0" fmla="*/ 2 w 2"/>
                <a:gd name="T1" fmla="*/ 0 h 3"/>
                <a:gd name="T2" fmla="*/ 2 w 2"/>
                <a:gd name="T3" fmla="*/ 2 h 3"/>
                <a:gd name="T4" fmla="*/ 0 w 2"/>
                <a:gd name="T5" fmla="*/ 3 h 3"/>
                <a:gd name="T6" fmla="*/ 2 w 2"/>
                <a:gd name="T7" fmla="*/ 2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lnTo>
                    <a:pt x="2" y="2"/>
                  </a:lnTo>
                  <a:lnTo>
                    <a:pt x="0" y="3"/>
                  </a:lnTo>
                  <a:lnTo>
                    <a:pt x="2" y="2"/>
                  </a:lnTo>
                  <a:lnTo>
                    <a:pt x="2" y="0"/>
                  </a:lnTo>
                  <a:close/>
                </a:path>
              </a:pathLst>
            </a:custGeom>
            <a:grpFill/>
            <a:ln w="0">
              <a:noFill/>
              <a:prstDash val="solid"/>
              <a:round/>
              <a:headEnd/>
              <a:tailEnd/>
            </a:ln>
          </p:spPr>
          <p:txBody>
            <a:bodyPr vert="horz" wrap="square" lIns="182868" tIns="91434" rIns="182868" bIns="91434" numCol="1" anchor="t" anchorCtr="0" compatLnSpc="1">
              <a:prstTxWarp prst="textNoShape">
                <a:avLst/>
              </a:prstTxWarp>
            </a:bodyPr>
            <a:lstStyle/>
            <a:p>
              <a:endParaRPr lang="en-US" sz="2701"/>
            </a:p>
          </p:txBody>
        </p:sp>
      </p:grpSp>
      <p:sp>
        <p:nvSpPr>
          <p:cNvPr id="21" name="Shape 18864">
            <a:extLst>
              <a:ext uri="{FF2B5EF4-FFF2-40B4-BE49-F238E27FC236}">
                <a16:creationId xmlns:a16="http://schemas.microsoft.com/office/drawing/2014/main" id="{6033ADDA-E6BF-0B46-8FC3-CFA8A6C948C3}"/>
              </a:ext>
            </a:extLst>
          </p:cNvPr>
          <p:cNvSpPr/>
          <p:nvPr/>
        </p:nvSpPr>
        <p:spPr>
          <a:xfrm>
            <a:off x="19050923" y="10520172"/>
            <a:ext cx="2812214" cy="39623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914400">
              <a:lnSpc>
                <a:spcPct val="80000"/>
              </a:lnSpc>
              <a:defRPr sz="3000">
                <a:solidFill>
                  <a:srgbClr val="78BE42"/>
                </a:solidFill>
                <a:latin typeface="Roboto Bold"/>
                <a:ea typeface="Roboto Bold"/>
                <a:cs typeface="Roboto Bold"/>
                <a:sym typeface="Roboto Bold"/>
              </a:defRPr>
            </a:lvl1pPr>
          </a:lstStyle>
          <a:p>
            <a:pPr lvl="0">
              <a:defRPr sz="1800">
                <a:solidFill>
                  <a:srgbClr val="000000"/>
                </a:solidFill>
              </a:defRPr>
            </a:pPr>
            <a:r>
              <a:rPr lang="en-US" sz="2800" b="1" dirty="0">
                <a:solidFill>
                  <a:schemeClr val="tx1">
                    <a:lumMod val="75000"/>
                    <a:lumOff val="25000"/>
                  </a:schemeClr>
                </a:solidFill>
                <a:latin typeface="+mn-lt"/>
              </a:rPr>
              <a:t>Third Solutions</a:t>
            </a:r>
            <a:endParaRPr sz="2800" b="1" dirty="0">
              <a:solidFill>
                <a:schemeClr val="tx1">
                  <a:lumMod val="75000"/>
                  <a:lumOff val="25000"/>
                </a:schemeClr>
              </a:solidFill>
              <a:latin typeface="+mn-lt"/>
            </a:endParaRPr>
          </a:p>
        </p:txBody>
      </p:sp>
      <p:sp>
        <p:nvSpPr>
          <p:cNvPr id="22" name="Rectangle 21">
            <a:extLst>
              <a:ext uri="{FF2B5EF4-FFF2-40B4-BE49-F238E27FC236}">
                <a16:creationId xmlns:a16="http://schemas.microsoft.com/office/drawing/2014/main" id="{A617460E-828A-C846-BBA6-7735E797F09F}"/>
              </a:ext>
            </a:extLst>
          </p:cNvPr>
          <p:cNvSpPr/>
          <p:nvPr/>
        </p:nvSpPr>
        <p:spPr>
          <a:xfrm>
            <a:off x="18908186" y="10928827"/>
            <a:ext cx="3218934" cy="1045223"/>
          </a:xfrm>
          <a:prstGeom prst="rect">
            <a:avLst/>
          </a:prstGeom>
        </p:spPr>
        <p:txBody>
          <a:bodyPr wrap="square">
            <a:spAutoFit/>
          </a:bodyPr>
          <a:lstStyle/>
          <a:p>
            <a:pPr>
              <a:lnSpc>
                <a:spcPct val="150000"/>
              </a:lnSpc>
            </a:pPr>
            <a:r>
              <a:rPr lang="en-US" sz="2200" dirty="0">
                <a:solidFill>
                  <a:schemeClr val="tx1">
                    <a:lumMod val="75000"/>
                    <a:lumOff val="25000"/>
                  </a:schemeClr>
                </a:solidFill>
              </a:rPr>
              <a:t>Lorem Ipsum Dolor Sit </a:t>
            </a:r>
            <a:r>
              <a:rPr lang="en-US" sz="2200" dirty="0" err="1">
                <a:solidFill>
                  <a:schemeClr val="tx1">
                    <a:lumMod val="75000"/>
                    <a:lumOff val="25000"/>
                  </a:schemeClr>
                </a:solidFill>
              </a:rPr>
              <a:t>Amet</a:t>
            </a:r>
            <a:r>
              <a:rPr lang="en-US" sz="2200" dirty="0">
                <a:solidFill>
                  <a:schemeClr val="tx1">
                    <a:lumMod val="75000"/>
                    <a:lumOff val="25000"/>
                  </a:schemeClr>
                </a:solidFill>
              </a:rPr>
              <a:t>, </a:t>
            </a:r>
            <a:r>
              <a:rPr lang="en-US" sz="2200" dirty="0" err="1">
                <a:solidFill>
                  <a:schemeClr val="tx1">
                    <a:lumMod val="75000"/>
                    <a:lumOff val="25000"/>
                  </a:schemeClr>
                </a:solidFill>
              </a:rPr>
              <a:t>Consectetur</a:t>
            </a:r>
            <a:endParaRPr lang="en-US" sz="2200" dirty="0">
              <a:solidFill>
                <a:schemeClr val="tx1">
                  <a:lumMod val="75000"/>
                  <a:lumOff val="25000"/>
                </a:schemeClr>
              </a:solidFill>
              <a:cs typeface="Lato Light"/>
            </a:endParaRPr>
          </a:p>
        </p:txBody>
      </p:sp>
      <p:sp>
        <p:nvSpPr>
          <p:cNvPr id="2" name="Title 1">
            <a:extLst>
              <a:ext uri="{FF2B5EF4-FFF2-40B4-BE49-F238E27FC236}">
                <a16:creationId xmlns:a16="http://schemas.microsoft.com/office/drawing/2014/main" id="{91258DEA-8B10-B749-8BBB-6F479545913B}"/>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29953274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Title 1"/>
          <p:cNvSpPr>
            <a:spLocks noGrp="1"/>
          </p:cNvSpPr>
          <p:nvPr>
            <p:ph type="title"/>
          </p:nvPr>
        </p:nvSpPr>
        <p:spPr/>
        <p:txBody>
          <a:bodyPr/>
          <a:lstStyle/>
          <a:p>
            <a:r>
              <a:rPr lang="en-CA" dirty="0"/>
              <a:t>3 columns of info with icons and footer</a:t>
            </a:r>
          </a:p>
        </p:txBody>
      </p:sp>
      <p:sp>
        <p:nvSpPr>
          <p:cNvPr id="6" name="Rectangle 5">
            <a:extLst>
              <a:ext uri="{FF2B5EF4-FFF2-40B4-BE49-F238E27FC236}">
                <a16:creationId xmlns:a16="http://schemas.microsoft.com/office/drawing/2014/main" id="{0A4A96BF-7E12-8B42-A74A-312BB6363064}"/>
              </a:ext>
            </a:extLst>
          </p:cNvPr>
          <p:cNvSpPr/>
          <p:nvPr/>
        </p:nvSpPr>
        <p:spPr>
          <a:xfrm>
            <a:off x="1239946" y="3879273"/>
            <a:ext cx="7060388"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322AEE5B-DDAF-D24F-A3CB-FBCB7A2743C9}"/>
              </a:ext>
            </a:extLst>
          </p:cNvPr>
          <p:cNvSpPr/>
          <p:nvPr/>
        </p:nvSpPr>
        <p:spPr>
          <a:xfrm>
            <a:off x="8726299" y="3879273"/>
            <a:ext cx="7049190" cy="609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D19589DE-EC7D-244A-A631-EB928C06428E}"/>
              </a:ext>
            </a:extLst>
          </p:cNvPr>
          <p:cNvSpPr/>
          <p:nvPr/>
        </p:nvSpPr>
        <p:spPr>
          <a:xfrm>
            <a:off x="16223847" y="3879273"/>
            <a:ext cx="6917390"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1D46B1B2-6314-8A4E-8182-A3A632022381}"/>
              </a:ext>
            </a:extLst>
          </p:cNvPr>
          <p:cNvSpPr/>
          <p:nvPr/>
        </p:nvSpPr>
        <p:spPr>
          <a:xfrm>
            <a:off x="3566778" y="3130287"/>
            <a:ext cx="2216728" cy="2216728"/>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F62DAFE2-BB16-ED4F-B723-80B50B600CB4}"/>
              </a:ext>
            </a:extLst>
          </p:cNvPr>
          <p:cNvSpPr txBox="1"/>
          <p:nvPr/>
        </p:nvSpPr>
        <p:spPr>
          <a:xfrm>
            <a:off x="2062794" y="5656585"/>
            <a:ext cx="5602601" cy="2923877"/>
          </a:xfrm>
          <a:prstGeom prst="rect">
            <a:avLst/>
          </a:prstGeom>
          <a:noFill/>
        </p:spPr>
        <p:txBody>
          <a:bodyPr wrap="square" rtlCol="0">
            <a:spAutoFit/>
          </a:bodyPr>
          <a:lstStyle/>
          <a:p>
            <a:pPr defTabSz="914354"/>
            <a:r>
              <a:rPr lang="en-US" sz="2800" b="1" dirty="0">
                <a:solidFill>
                  <a:schemeClr val="bg1"/>
                </a:solidFill>
                <a:latin typeface="Arial" panose="020B0604020202020204" pitchFamily="34" charset="0"/>
                <a:cs typeface="Arial" panose="020B0604020202020204" pitchFamily="34" charset="0"/>
              </a:rPr>
              <a:t>Upstream (Discover and learn)</a:t>
            </a:r>
          </a:p>
          <a:p>
            <a:pPr defTabSz="914354"/>
            <a:endParaRPr lang="en-US" sz="2600" b="1" dirty="0">
              <a:solidFill>
                <a:schemeClr val="bg1"/>
              </a:solidFill>
              <a:latin typeface="Arial" panose="020B0604020202020204" pitchFamily="34" charset="0"/>
              <a:cs typeface="Arial" panose="020B0604020202020204" pitchFamily="34" charset="0"/>
            </a:endParaRPr>
          </a:p>
          <a:p>
            <a:pPr marL="349233" indent="-349233" defTabSz="914354">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Personalized engagement </a:t>
            </a:r>
            <a:br>
              <a:rPr lang="en-US" sz="2600" dirty="0">
                <a:solidFill>
                  <a:schemeClr val="bg1"/>
                </a:solidFill>
                <a:latin typeface="Arial" panose="020B0604020202020204" pitchFamily="34" charset="0"/>
                <a:cs typeface="Arial" panose="020B0604020202020204" pitchFamily="34" charset="0"/>
              </a:rPr>
            </a:br>
            <a:r>
              <a:rPr lang="en-US" sz="2600" dirty="0">
                <a:solidFill>
                  <a:schemeClr val="bg1"/>
                </a:solidFill>
                <a:latin typeface="Arial" panose="020B0604020202020204" pitchFamily="34" charset="0"/>
                <a:cs typeface="Arial" panose="020B0604020202020204" pitchFamily="34" charset="0"/>
              </a:rPr>
              <a:t>(e.g. AI, chat, Social)</a:t>
            </a:r>
          </a:p>
          <a:p>
            <a:pPr marL="349233" indent="-349233" defTabSz="914354">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Influencer Marketing  </a:t>
            </a:r>
          </a:p>
          <a:p>
            <a:pPr marL="349233" indent="-349233" defTabSz="914354">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Mobile delivery of content</a:t>
            </a:r>
          </a:p>
          <a:p>
            <a:endParaRPr lang="en-US" sz="2600" dirty="0">
              <a:solidFill>
                <a:schemeClr val="bg1"/>
              </a:solidFill>
            </a:endParaRPr>
          </a:p>
        </p:txBody>
      </p:sp>
      <p:sp>
        <p:nvSpPr>
          <p:cNvPr id="15" name="TextBox 14">
            <a:extLst>
              <a:ext uri="{FF2B5EF4-FFF2-40B4-BE49-F238E27FC236}">
                <a16:creationId xmlns:a16="http://schemas.microsoft.com/office/drawing/2014/main" id="{F30BA058-1827-8445-B116-234B0397192A}"/>
              </a:ext>
            </a:extLst>
          </p:cNvPr>
          <p:cNvSpPr txBox="1"/>
          <p:nvPr/>
        </p:nvSpPr>
        <p:spPr>
          <a:xfrm>
            <a:off x="1239946" y="9111705"/>
            <a:ext cx="6839639" cy="1015663"/>
          </a:xfrm>
          <a:prstGeom prst="rect">
            <a:avLst/>
          </a:prstGeom>
          <a:noFill/>
        </p:spPr>
        <p:txBody>
          <a:bodyPr wrap="square" rtlCol="0">
            <a:spAutoFit/>
          </a:bodyPr>
          <a:lstStyle/>
          <a:p>
            <a:pPr algn="ctr"/>
            <a:r>
              <a:rPr lang="en-US" sz="3000" b="1" dirty="0">
                <a:solidFill>
                  <a:schemeClr val="bg1"/>
                </a:solidFill>
                <a:latin typeface="Arial" panose="020B0604020202020204" pitchFamily="34" charset="0"/>
                <a:cs typeface="Arial" panose="020B0604020202020204" pitchFamily="34" charset="0"/>
              </a:rPr>
              <a:t>Enhanced customer engagement</a:t>
            </a:r>
          </a:p>
          <a:p>
            <a:pPr algn="ctr"/>
            <a:endParaRPr lang="en-US" sz="3000" dirty="0"/>
          </a:p>
        </p:txBody>
      </p:sp>
      <p:cxnSp>
        <p:nvCxnSpPr>
          <p:cNvPr id="17" name="Straight Connector 16">
            <a:extLst>
              <a:ext uri="{FF2B5EF4-FFF2-40B4-BE49-F238E27FC236}">
                <a16:creationId xmlns:a16="http://schemas.microsoft.com/office/drawing/2014/main" id="{6B48D39B-36C7-9D4B-9593-C997BADBA32F}"/>
              </a:ext>
            </a:extLst>
          </p:cNvPr>
          <p:cNvCxnSpPr>
            <a:cxnSpLocks/>
          </p:cNvCxnSpPr>
          <p:nvPr/>
        </p:nvCxnSpPr>
        <p:spPr>
          <a:xfrm>
            <a:off x="1129903" y="8802134"/>
            <a:ext cx="22921588" cy="0"/>
          </a:xfrm>
          <a:prstGeom prst="line">
            <a:avLst/>
          </a:prstGeom>
          <a:ln w="5715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AB1FD88-91CD-CC49-BF33-F92E1080319E}"/>
              </a:ext>
            </a:extLst>
          </p:cNvPr>
          <p:cNvSpPr/>
          <p:nvPr/>
        </p:nvSpPr>
        <p:spPr>
          <a:xfrm>
            <a:off x="9305680" y="9111705"/>
            <a:ext cx="5828840" cy="553998"/>
          </a:xfrm>
          <a:prstGeom prst="rect">
            <a:avLst/>
          </a:prstGeom>
        </p:spPr>
        <p:txBody>
          <a:bodyPr wrap="none">
            <a:spAutoFit/>
          </a:bodyPr>
          <a:lstStyle/>
          <a:p>
            <a:pPr algn="ctr" defTabSz="914354"/>
            <a:r>
              <a:rPr lang="en-US" sz="3000" b="1" dirty="0">
                <a:solidFill>
                  <a:schemeClr val="bg1"/>
                </a:solidFill>
                <a:latin typeface="Arial" panose="020B0604020202020204" pitchFamily="34" charset="0"/>
                <a:cs typeface="Arial" panose="020B0604020202020204" pitchFamily="34" charset="0"/>
              </a:rPr>
              <a:t>New buying and sales patterns</a:t>
            </a:r>
          </a:p>
        </p:txBody>
      </p:sp>
      <p:sp>
        <p:nvSpPr>
          <p:cNvPr id="19" name="TextBox 18">
            <a:extLst>
              <a:ext uri="{FF2B5EF4-FFF2-40B4-BE49-F238E27FC236}">
                <a16:creationId xmlns:a16="http://schemas.microsoft.com/office/drawing/2014/main" id="{15801E6A-AF2B-EC4B-ADF5-6D630704C5DA}"/>
              </a:ext>
            </a:extLst>
          </p:cNvPr>
          <p:cNvSpPr txBox="1"/>
          <p:nvPr/>
        </p:nvSpPr>
        <p:spPr>
          <a:xfrm>
            <a:off x="16212650" y="9111705"/>
            <a:ext cx="6954981" cy="830997"/>
          </a:xfrm>
          <a:prstGeom prst="rect">
            <a:avLst/>
          </a:prstGeom>
          <a:noFill/>
        </p:spPr>
        <p:txBody>
          <a:bodyPr wrap="square" rtlCol="0">
            <a:spAutoFit/>
          </a:bodyPr>
          <a:lstStyle/>
          <a:p>
            <a:pPr algn="ctr"/>
            <a:r>
              <a:rPr lang="en-US" sz="3000" b="1" dirty="0">
                <a:solidFill>
                  <a:schemeClr val="bg1"/>
                </a:solidFill>
                <a:latin typeface="Arial" panose="020B0604020202020204" pitchFamily="34" charset="0"/>
                <a:cs typeface="Arial" panose="020B0604020202020204" pitchFamily="34" charset="0"/>
              </a:rPr>
              <a:t>Value driven relationships</a:t>
            </a:r>
          </a:p>
          <a:p>
            <a:endParaRPr lang="en-US" dirty="0"/>
          </a:p>
        </p:txBody>
      </p:sp>
      <p:sp>
        <p:nvSpPr>
          <p:cNvPr id="22" name="Oval 21">
            <a:extLst>
              <a:ext uri="{FF2B5EF4-FFF2-40B4-BE49-F238E27FC236}">
                <a16:creationId xmlns:a16="http://schemas.microsoft.com/office/drawing/2014/main" id="{D09C3DE4-BD6E-FB4C-99B9-8296CBCA0077}"/>
              </a:ext>
            </a:extLst>
          </p:cNvPr>
          <p:cNvSpPr/>
          <p:nvPr/>
        </p:nvSpPr>
        <p:spPr>
          <a:xfrm>
            <a:off x="11104339" y="3130287"/>
            <a:ext cx="2216728" cy="2216728"/>
          </a:xfrm>
          <a:prstGeom prst="ellipse">
            <a:avLst/>
          </a:prstGeom>
          <a:solidFill>
            <a:schemeClr val="bg1"/>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9B7DFFD5-0254-674F-833B-F5D316A0877A}"/>
              </a:ext>
            </a:extLst>
          </p:cNvPr>
          <p:cNvSpPr/>
          <p:nvPr/>
        </p:nvSpPr>
        <p:spPr>
          <a:xfrm>
            <a:off x="18574178" y="3130287"/>
            <a:ext cx="2216728" cy="2216728"/>
          </a:xfrm>
          <a:prstGeom prst="ellipse">
            <a:avLst/>
          </a:prstGeom>
          <a:solidFill>
            <a:schemeClr val="bg1"/>
          </a:solid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A927C825-6BE2-D34A-B384-CB9B1EFF64F6}"/>
              </a:ext>
            </a:extLst>
          </p:cNvPr>
          <p:cNvSpPr txBox="1"/>
          <p:nvPr/>
        </p:nvSpPr>
        <p:spPr>
          <a:xfrm>
            <a:off x="9465502" y="5656585"/>
            <a:ext cx="5669017" cy="2923877"/>
          </a:xfrm>
          <a:prstGeom prst="rect">
            <a:avLst/>
          </a:prstGeom>
          <a:noFill/>
        </p:spPr>
        <p:txBody>
          <a:bodyPr wrap="square" rtlCol="0">
            <a:spAutoFit/>
          </a:bodyPr>
          <a:lstStyle/>
          <a:p>
            <a:pPr defTabSz="914354"/>
            <a:r>
              <a:rPr lang="en-US" sz="2800" b="1" dirty="0">
                <a:solidFill>
                  <a:schemeClr val="bg1"/>
                </a:solidFill>
              </a:rPr>
              <a:t>Midstream (pilot, buy and scale)</a:t>
            </a:r>
          </a:p>
          <a:p>
            <a:pPr defTabSz="914354"/>
            <a:endParaRPr lang="en-US" sz="2600" b="1" dirty="0">
              <a:solidFill>
                <a:schemeClr val="bg1"/>
              </a:solidFill>
              <a:latin typeface="Arial"/>
            </a:endParaRPr>
          </a:p>
          <a:p>
            <a:pPr marL="349233" indent="-349233" defTabSz="914354">
              <a:buFont typeface="Arial" panose="020B0604020202020204" pitchFamily="34" charset="0"/>
              <a:buChar char="•"/>
            </a:pPr>
            <a:r>
              <a:rPr lang="en-US" sz="2600" dirty="0">
                <a:solidFill>
                  <a:schemeClr val="bg1"/>
                </a:solidFill>
              </a:rPr>
              <a:t>Proof point-based purchasing</a:t>
            </a:r>
          </a:p>
          <a:p>
            <a:pPr marL="349233" indent="-349233" defTabSz="914354">
              <a:buFont typeface="Arial" panose="020B0604020202020204" pitchFamily="34" charset="0"/>
              <a:buChar char="•"/>
            </a:pPr>
            <a:r>
              <a:rPr lang="en-US" sz="2600" dirty="0">
                <a:solidFill>
                  <a:schemeClr val="bg1"/>
                </a:solidFill>
              </a:rPr>
              <a:t>Flexible Licensing options</a:t>
            </a:r>
          </a:p>
          <a:p>
            <a:pPr marL="349233" indent="-349233" defTabSz="914354">
              <a:buFont typeface="Arial" panose="020B0604020202020204" pitchFamily="34" charset="0"/>
              <a:buChar char="•"/>
            </a:pPr>
            <a:r>
              <a:rPr lang="en-US" sz="2600" dirty="0">
                <a:solidFill>
                  <a:schemeClr val="bg1"/>
                </a:solidFill>
              </a:rPr>
              <a:t>Marketplace channel</a:t>
            </a:r>
          </a:p>
          <a:p>
            <a:pPr marL="349233" indent="-349233" defTabSz="914354">
              <a:buFont typeface="Arial" panose="020B0604020202020204" pitchFamily="34" charset="0"/>
              <a:buChar char="•"/>
            </a:pPr>
            <a:r>
              <a:rPr lang="en-US" sz="2600" dirty="0">
                <a:solidFill>
                  <a:schemeClr val="bg1"/>
                </a:solidFill>
              </a:rPr>
              <a:t>Buyer enablement</a:t>
            </a:r>
          </a:p>
          <a:p>
            <a:endParaRPr lang="en-US" sz="2600" dirty="0">
              <a:solidFill>
                <a:schemeClr val="bg1"/>
              </a:solidFill>
            </a:endParaRPr>
          </a:p>
        </p:txBody>
      </p:sp>
      <p:sp>
        <p:nvSpPr>
          <p:cNvPr id="24" name="TextBox 23">
            <a:extLst>
              <a:ext uri="{FF2B5EF4-FFF2-40B4-BE49-F238E27FC236}">
                <a16:creationId xmlns:a16="http://schemas.microsoft.com/office/drawing/2014/main" id="{DA106949-70EB-5F4E-B449-C762F2F08AC0}"/>
              </a:ext>
            </a:extLst>
          </p:cNvPr>
          <p:cNvSpPr txBox="1"/>
          <p:nvPr/>
        </p:nvSpPr>
        <p:spPr>
          <a:xfrm>
            <a:off x="16606833" y="5656585"/>
            <a:ext cx="6450411" cy="2523768"/>
          </a:xfrm>
          <a:prstGeom prst="rect">
            <a:avLst/>
          </a:prstGeom>
          <a:noFill/>
        </p:spPr>
        <p:txBody>
          <a:bodyPr wrap="square" rtlCol="0">
            <a:spAutoFit/>
          </a:bodyPr>
          <a:lstStyle/>
          <a:p>
            <a:pPr defTabSz="914354"/>
            <a:r>
              <a:rPr lang="en-US" sz="2800" b="1" dirty="0">
                <a:solidFill>
                  <a:schemeClr val="bg1"/>
                </a:solidFill>
              </a:rPr>
              <a:t>Downstream (Use and recommend)</a:t>
            </a:r>
          </a:p>
          <a:p>
            <a:pPr defTabSz="914354"/>
            <a:endParaRPr lang="en-US" sz="2600" b="1" dirty="0">
              <a:solidFill>
                <a:schemeClr val="bg1"/>
              </a:solidFill>
              <a:latin typeface="Arial"/>
            </a:endParaRPr>
          </a:p>
          <a:p>
            <a:pPr marL="349233" indent="-349233" defTabSz="914354">
              <a:buFont typeface="Arial" panose="020B0604020202020204" pitchFamily="34" charset="0"/>
              <a:buChar char="•"/>
            </a:pPr>
            <a:r>
              <a:rPr lang="en-US" sz="2600" dirty="0">
                <a:solidFill>
                  <a:schemeClr val="bg1"/>
                </a:solidFill>
              </a:rPr>
              <a:t>Building customer advocacy</a:t>
            </a:r>
          </a:p>
          <a:p>
            <a:pPr marL="349233" indent="-349233" defTabSz="914354">
              <a:buFont typeface="Arial" panose="020B0604020202020204" pitchFamily="34" charset="0"/>
              <a:buChar char="•"/>
            </a:pPr>
            <a:r>
              <a:rPr lang="en-US" sz="2600" dirty="0">
                <a:solidFill>
                  <a:schemeClr val="bg1"/>
                </a:solidFill>
              </a:rPr>
              <a:t>Customer Lifetime Value (CLV)</a:t>
            </a:r>
          </a:p>
          <a:p>
            <a:pPr marL="349233" indent="-349233" defTabSz="914354">
              <a:buFont typeface="Arial" panose="020B0604020202020204" pitchFamily="34" charset="0"/>
              <a:buChar char="•"/>
            </a:pPr>
            <a:r>
              <a:rPr lang="en-US" sz="2600" dirty="0">
                <a:solidFill>
                  <a:schemeClr val="bg1"/>
                </a:solidFill>
              </a:rPr>
              <a:t>Consumption-based demand</a:t>
            </a:r>
          </a:p>
          <a:p>
            <a:endParaRPr lang="en-US" sz="2600" dirty="0">
              <a:solidFill>
                <a:schemeClr val="bg1"/>
              </a:solidFill>
            </a:endParaRPr>
          </a:p>
        </p:txBody>
      </p:sp>
      <p:sp>
        <p:nvSpPr>
          <p:cNvPr id="27" name="Rectangle 26">
            <a:extLst>
              <a:ext uri="{FF2B5EF4-FFF2-40B4-BE49-F238E27FC236}">
                <a16:creationId xmlns:a16="http://schemas.microsoft.com/office/drawing/2014/main" id="{F1184FE7-7FD9-B34A-8836-09D288B85DA1}"/>
              </a:ext>
            </a:extLst>
          </p:cNvPr>
          <p:cNvSpPr/>
          <p:nvPr/>
        </p:nvSpPr>
        <p:spPr>
          <a:xfrm>
            <a:off x="8300334" y="10833359"/>
            <a:ext cx="7520243" cy="523220"/>
          </a:xfrm>
          <a:prstGeom prst="rect">
            <a:avLst/>
          </a:prstGeom>
        </p:spPr>
        <p:txBody>
          <a:bodyPr wrap="square">
            <a:spAutoFit/>
          </a:bodyPr>
          <a:lstStyle/>
          <a:p>
            <a:pPr marL="682592" indent="-342883" algn="ctr">
              <a:buFont typeface="Arial" panose="020B0604020202020204" pitchFamily="34" charset="0"/>
              <a:buChar char="•"/>
            </a:pPr>
            <a:r>
              <a:rPr lang="en-US" sz="2800" dirty="0">
                <a:latin typeface="Arial" panose="020B0604020202020204" pitchFamily="34" charset="0"/>
                <a:cs typeface="Arial" panose="020B0604020202020204" pitchFamily="34" charset="0"/>
              </a:rPr>
              <a:t>AI-driven Customer Data Management</a:t>
            </a:r>
          </a:p>
        </p:txBody>
      </p:sp>
      <p:sp>
        <p:nvSpPr>
          <p:cNvPr id="28" name="Rectangle 27">
            <a:extLst>
              <a:ext uri="{FF2B5EF4-FFF2-40B4-BE49-F238E27FC236}">
                <a16:creationId xmlns:a16="http://schemas.microsoft.com/office/drawing/2014/main" id="{50679888-DAF9-8741-88DD-02A12AA9ED51}"/>
              </a:ext>
            </a:extLst>
          </p:cNvPr>
          <p:cNvSpPr/>
          <p:nvPr/>
        </p:nvSpPr>
        <p:spPr>
          <a:xfrm>
            <a:off x="1239945" y="10833358"/>
            <a:ext cx="6839639" cy="523220"/>
          </a:xfrm>
          <a:prstGeom prst="rect">
            <a:avLst/>
          </a:prstGeom>
        </p:spPr>
        <p:txBody>
          <a:bodyPr wrap="square">
            <a:spAutoFit/>
          </a:bodyPr>
          <a:lstStyle/>
          <a:p>
            <a:pPr marL="682592" indent="-342883" algn="ctr">
              <a:buFont typeface="Arial" panose="020B0604020202020204" pitchFamily="34" charset="0"/>
              <a:buChar char="•"/>
            </a:pPr>
            <a:r>
              <a:rPr lang="en-US" sz="2800" dirty="0">
                <a:latin typeface="Arial" panose="020B0604020202020204" pitchFamily="34" charset="0"/>
                <a:cs typeface="Arial" panose="020B0604020202020204" pitchFamily="34" charset="0"/>
              </a:rPr>
              <a:t>Self Service and Personalization</a:t>
            </a:r>
          </a:p>
        </p:txBody>
      </p:sp>
      <p:sp>
        <p:nvSpPr>
          <p:cNvPr id="29" name="Rectangle 28">
            <a:extLst>
              <a:ext uri="{FF2B5EF4-FFF2-40B4-BE49-F238E27FC236}">
                <a16:creationId xmlns:a16="http://schemas.microsoft.com/office/drawing/2014/main" id="{2797F803-BD39-8046-8DEC-FAC60D1F3912}"/>
              </a:ext>
            </a:extLst>
          </p:cNvPr>
          <p:cNvSpPr/>
          <p:nvPr/>
        </p:nvSpPr>
        <p:spPr>
          <a:xfrm>
            <a:off x="16291632" y="10833358"/>
            <a:ext cx="6850836" cy="523220"/>
          </a:xfrm>
          <a:prstGeom prst="rect">
            <a:avLst/>
          </a:prstGeom>
        </p:spPr>
        <p:txBody>
          <a:bodyPr wrap="square">
            <a:spAutoFit/>
          </a:bodyPr>
          <a:lstStyle/>
          <a:p>
            <a:pPr marL="682592" indent="-342883" algn="ctr">
              <a:buFont typeface="Arial" panose="020B0604020202020204" pitchFamily="34" charset="0"/>
              <a:buChar char="•"/>
            </a:pPr>
            <a:r>
              <a:rPr lang="en-US" sz="2800" dirty="0">
                <a:latin typeface="Arial" panose="020B0604020202020204" pitchFamily="34" charset="0"/>
                <a:cs typeface="Arial" panose="020B0604020202020204" pitchFamily="34" charset="0"/>
              </a:rPr>
              <a:t>Security and Privacy </a:t>
            </a:r>
          </a:p>
        </p:txBody>
      </p:sp>
      <p:sp>
        <p:nvSpPr>
          <p:cNvPr id="30" name="Rectangle 29">
            <a:extLst>
              <a:ext uri="{FF2B5EF4-FFF2-40B4-BE49-F238E27FC236}">
                <a16:creationId xmlns:a16="http://schemas.microsoft.com/office/drawing/2014/main" id="{974FB635-6918-BA4F-A190-C8962801ED96}"/>
              </a:ext>
            </a:extLst>
          </p:cNvPr>
          <p:cNvSpPr/>
          <p:nvPr/>
        </p:nvSpPr>
        <p:spPr>
          <a:xfrm>
            <a:off x="1257300" y="10467657"/>
            <a:ext cx="21878926" cy="1667597"/>
          </a:xfrm>
          <a:prstGeom prst="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2E7EB819-C0E3-FE42-8A04-D79F5C891C68}"/>
              </a:ext>
            </a:extLst>
          </p:cNvPr>
          <p:cNvSpPr/>
          <p:nvPr/>
        </p:nvSpPr>
        <p:spPr>
          <a:xfrm>
            <a:off x="1239944" y="11640795"/>
            <a:ext cx="21896280" cy="584775"/>
          </a:xfrm>
          <a:prstGeom prst="rect">
            <a:avLst/>
          </a:prstGeom>
          <a:solidFill>
            <a:schemeClr val="tx2"/>
          </a:solidFill>
        </p:spPr>
        <p:txBody>
          <a:bodyPr wrap="square">
            <a:spAutoFit/>
          </a:bodyPr>
          <a:lstStyle/>
          <a:p>
            <a:pPr algn="ctr"/>
            <a:r>
              <a:rPr lang="en-US" sz="3200" b="1" dirty="0">
                <a:solidFill>
                  <a:schemeClr val="bg1"/>
                </a:solidFill>
                <a:latin typeface="Arial" panose="020B0604020202020204" pitchFamily="34" charset="0"/>
                <a:cs typeface="Arial" panose="020B0604020202020204" pitchFamily="34" charset="0"/>
              </a:rPr>
              <a:t>Across the Customer Journey </a:t>
            </a:r>
          </a:p>
        </p:txBody>
      </p:sp>
      <p:sp>
        <p:nvSpPr>
          <p:cNvPr id="32" name="Freeform: Shape 17">
            <a:extLst>
              <a:ext uri="{FF2B5EF4-FFF2-40B4-BE49-F238E27FC236}">
                <a16:creationId xmlns:a16="http://schemas.microsoft.com/office/drawing/2014/main" id="{5F934F33-83D5-DB4B-920B-C494BC1BACDA}"/>
              </a:ext>
            </a:extLst>
          </p:cNvPr>
          <p:cNvSpPr/>
          <p:nvPr/>
        </p:nvSpPr>
        <p:spPr>
          <a:xfrm>
            <a:off x="3890246" y="3579436"/>
            <a:ext cx="1268950" cy="1360797"/>
          </a:xfrm>
          <a:custGeom>
            <a:avLst/>
            <a:gdLst/>
            <a:ahLst/>
            <a:cxnLst>
              <a:cxn ang="3cd4">
                <a:pos x="hc" y="t"/>
              </a:cxn>
              <a:cxn ang="cd2">
                <a:pos x="l" y="vc"/>
              </a:cxn>
              <a:cxn ang="cd4">
                <a:pos x="hc" y="b"/>
              </a:cxn>
              <a:cxn ang="0">
                <a:pos x="r" y="vc"/>
              </a:cxn>
            </a:cxnLst>
            <a:rect l="l" t="t" r="r" b="b"/>
            <a:pathLst>
              <a:path w="5030" h="5394">
                <a:moveTo>
                  <a:pt x="2529" y="2976"/>
                </a:moveTo>
                <a:cubicBezTo>
                  <a:pt x="2736" y="3088"/>
                  <a:pt x="2958" y="3119"/>
                  <a:pt x="3165" y="3119"/>
                </a:cubicBezTo>
                <a:cubicBezTo>
                  <a:pt x="3340" y="3119"/>
                  <a:pt x="3499" y="3104"/>
                  <a:pt x="3658" y="3040"/>
                </a:cubicBezTo>
                <a:cubicBezTo>
                  <a:pt x="3833" y="3453"/>
                  <a:pt x="3833" y="3453"/>
                  <a:pt x="3833" y="3453"/>
                </a:cubicBezTo>
                <a:cubicBezTo>
                  <a:pt x="3785" y="3501"/>
                  <a:pt x="3738" y="3565"/>
                  <a:pt x="3706" y="3628"/>
                </a:cubicBezTo>
                <a:cubicBezTo>
                  <a:pt x="3674" y="3724"/>
                  <a:pt x="3674" y="3835"/>
                  <a:pt x="3722" y="3931"/>
                </a:cubicBezTo>
                <a:cubicBezTo>
                  <a:pt x="4278" y="5155"/>
                  <a:pt x="4278" y="5155"/>
                  <a:pt x="4278" y="5155"/>
                </a:cubicBezTo>
                <a:cubicBezTo>
                  <a:pt x="4310" y="5251"/>
                  <a:pt x="4374" y="5315"/>
                  <a:pt x="4469" y="5362"/>
                </a:cubicBezTo>
                <a:cubicBezTo>
                  <a:pt x="4517" y="5378"/>
                  <a:pt x="4581" y="5394"/>
                  <a:pt x="4629" y="5394"/>
                </a:cubicBezTo>
                <a:cubicBezTo>
                  <a:pt x="4692" y="5394"/>
                  <a:pt x="4739" y="5378"/>
                  <a:pt x="4787" y="5362"/>
                </a:cubicBezTo>
                <a:cubicBezTo>
                  <a:pt x="4883" y="5315"/>
                  <a:pt x="4962" y="5235"/>
                  <a:pt x="4994" y="5139"/>
                </a:cubicBezTo>
                <a:cubicBezTo>
                  <a:pt x="5042" y="5044"/>
                  <a:pt x="5042" y="4933"/>
                  <a:pt x="4994" y="4837"/>
                </a:cubicBezTo>
                <a:cubicBezTo>
                  <a:pt x="4438" y="3613"/>
                  <a:pt x="4438" y="3613"/>
                  <a:pt x="4438" y="3613"/>
                </a:cubicBezTo>
                <a:cubicBezTo>
                  <a:pt x="4358" y="3438"/>
                  <a:pt x="4167" y="3342"/>
                  <a:pt x="3976" y="3390"/>
                </a:cubicBezTo>
                <a:cubicBezTo>
                  <a:pt x="3817" y="2992"/>
                  <a:pt x="3817" y="2992"/>
                  <a:pt x="3817" y="2992"/>
                </a:cubicBezTo>
                <a:cubicBezTo>
                  <a:pt x="4151" y="2833"/>
                  <a:pt x="4438" y="2579"/>
                  <a:pt x="4596" y="2213"/>
                </a:cubicBezTo>
                <a:cubicBezTo>
                  <a:pt x="4772" y="1831"/>
                  <a:pt x="4787" y="1417"/>
                  <a:pt x="4644" y="1020"/>
                </a:cubicBezTo>
                <a:cubicBezTo>
                  <a:pt x="4485" y="622"/>
                  <a:pt x="4199" y="320"/>
                  <a:pt x="3817" y="145"/>
                </a:cubicBezTo>
                <a:cubicBezTo>
                  <a:pt x="3038" y="-220"/>
                  <a:pt x="2115" y="129"/>
                  <a:pt x="1749" y="908"/>
                </a:cubicBezTo>
                <a:cubicBezTo>
                  <a:pt x="1670" y="1099"/>
                  <a:pt x="1622" y="1306"/>
                  <a:pt x="1606" y="1513"/>
                </a:cubicBezTo>
                <a:cubicBezTo>
                  <a:pt x="1606" y="1577"/>
                  <a:pt x="1606" y="1640"/>
                  <a:pt x="1622" y="1704"/>
                </a:cubicBezTo>
                <a:cubicBezTo>
                  <a:pt x="79" y="1688"/>
                  <a:pt x="79" y="1688"/>
                  <a:pt x="79" y="1688"/>
                </a:cubicBezTo>
                <a:cubicBezTo>
                  <a:pt x="32" y="1688"/>
                  <a:pt x="0" y="1736"/>
                  <a:pt x="0" y="1768"/>
                </a:cubicBezTo>
                <a:cubicBezTo>
                  <a:pt x="0" y="1815"/>
                  <a:pt x="32" y="1847"/>
                  <a:pt x="79" y="1847"/>
                </a:cubicBezTo>
                <a:cubicBezTo>
                  <a:pt x="1638" y="1863"/>
                  <a:pt x="1638" y="1863"/>
                  <a:pt x="1638" y="1863"/>
                </a:cubicBezTo>
                <a:cubicBezTo>
                  <a:pt x="1654" y="1943"/>
                  <a:pt x="1686" y="2038"/>
                  <a:pt x="1718" y="2117"/>
                </a:cubicBezTo>
                <a:cubicBezTo>
                  <a:pt x="79" y="2117"/>
                  <a:pt x="79" y="2117"/>
                  <a:pt x="79" y="2117"/>
                </a:cubicBezTo>
                <a:cubicBezTo>
                  <a:pt x="32" y="2117"/>
                  <a:pt x="0" y="2149"/>
                  <a:pt x="0" y="2197"/>
                </a:cubicBezTo>
                <a:cubicBezTo>
                  <a:pt x="0" y="2245"/>
                  <a:pt x="32" y="2277"/>
                  <a:pt x="79" y="2277"/>
                </a:cubicBezTo>
                <a:cubicBezTo>
                  <a:pt x="1781" y="2277"/>
                  <a:pt x="1781" y="2277"/>
                  <a:pt x="1781" y="2277"/>
                </a:cubicBezTo>
                <a:cubicBezTo>
                  <a:pt x="1829" y="2372"/>
                  <a:pt x="1893" y="2467"/>
                  <a:pt x="1956" y="2547"/>
                </a:cubicBezTo>
                <a:cubicBezTo>
                  <a:pt x="79" y="2547"/>
                  <a:pt x="79" y="2547"/>
                  <a:pt x="79" y="2547"/>
                </a:cubicBezTo>
                <a:cubicBezTo>
                  <a:pt x="32" y="2547"/>
                  <a:pt x="0" y="2579"/>
                  <a:pt x="0" y="2626"/>
                </a:cubicBezTo>
                <a:cubicBezTo>
                  <a:pt x="0" y="2658"/>
                  <a:pt x="32" y="2706"/>
                  <a:pt x="79" y="2706"/>
                </a:cubicBezTo>
                <a:cubicBezTo>
                  <a:pt x="2100" y="2706"/>
                  <a:pt x="2100" y="2706"/>
                  <a:pt x="2100" y="2706"/>
                </a:cubicBezTo>
                <a:cubicBezTo>
                  <a:pt x="2227" y="2817"/>
                  <a:pt x="2370" y="2913"/>
                  <a:pt x="2529" y="2976"/>
                </a:cubicBezTo>
                <a:close/>
                <a:moveTo>
                  <a:pt x="4072" y="3533"/>
                </a:moveTo>
                <a:cubicBezTo>
                  <a:pt x="4167" y="3533"/>
                  <a:pt x="4247" y="3597"/>
                  <a:pt x="4294" y="3676"/>
                </a:cubicBezTo>
                <a:cubicBezTo>
                  <a:pt x="4851" y="4901"/>
                  <a:pt x="4851" y="4901"/>
                  <a:pt x="4851" y="4901"/>
                </a:cubicBezTo>
                <a:cubicBezTo>
                  <a:pt x="4867" y="4964"/>
                  <a:pt x="4867" y="5028"/>
                  <a:pt x="4851" y="5092"/>
                </a:cubicBezTo>
                <a:cubicBezTo>
                  <a:pt x="4835" y="5139"/>
                  <a:pt x="4787" y="5187"/>
                  <a:pt x="4724" y="5219"/>
                </a:cubicBezTo>
                <a:cubicBezTo>
                  <a:pt x="4660" y="5235"/>
                  <a:pt x="4596" y="5235"/>
                  <a:pt x="4533" y="5219"/>
                </a:cubicBezTo>
                <a:cubicBezTo>
                  <a:pt x="4485" y="5187"/>
                  <a:pt x="4438" y="5139"/>
                  <a:pt x="4421" y="5092"/>
                </a:cubicBezTo>
                <a:cubicBezTo>
                  <a:pt x="3865" y="3867"/>
                  <a:pt x="3865" y="3867"/>
                  <a:pt x="3865" y="3867"/>
                </a:cubicBezTo>
                <a:cubicBezTo>
                  <a:pt x="3833" y="3803"/>
                  <a:pt x="3833" y="3740"/>
                  <a:pt x="3865" y="3676"/>
                </a:cubicBezTo>
                <a:cubicBezTo>
                  <a:pt x="3881" y="3628"/>
                  <a:pt x="3929" y="3581"/>
                  <a:pt x="3976" y="3549"/>
                </a:cubicBezTo>
                <a:cubicBezTo>
                  <a:pt x="4008" y="3549"/>
                  <a:pt x="4040" y="3533"/>
                  <a:pt x="4072" y="3533"/>
                </a:cubicBezTo>
                <a:close/>
                <a:moveTo>
                  <a:pt x="3181" y="161"/>
                </a:moveTo>
                <a:cubicBezTo>
                  <a:pt x="3372" y="161"/>
                  <a:pt x="3563" y="209"/>
                  <a:pt x="3754" y="289"/>
                </a:cubicBezTo>
                <a:cubicBezTo>
                  <a:pt x="4103" y="447"/>
                  <a:pt x="4358" y="718"/>
                  <a:pt x="4485" y="1068"/>
                </a:cubicBezTo>
                <a:cubicBezTo>
                  <a:pt x="4612" y="1434"/>
                  <a:pt x="4612" y="1815"/>
                  <a:pt x="4453" y="2149"/>
                </a:cubicBezTo>
                <a:cubicBezTo>
                  <a:pt x="4120" y="2849"/>
                  <a:pt x="3293" y="3167"/>
                  <a:pt x="2593" y="2833"/>
                </a:cubicBezTo>
                <a:cubicBezTo>
                  <a:pt x="2322" y="2722"/>
                  <a:pt x="2115" y="2515"/>
                  <a:pt x="1972" y="2277"/>
                </a:cubicBezTo>
                <a:cubicBezTo>
                  <a:pt x="3722" y="2277"/>
                  <a:pt x="3722" y="2277"/>
                  <a:pt x="3722" y="2277"/>
                </a:cubicBezTo>
                <a:cubicBezTo>
                  <a:pt x="3769" y="2277"/>
                  <a:pt x="3801" y="2245"/>
                  <a:pt x="3801" y="2197"/>
                </a:cubicBezTo>
                <a:cubicBezTo>
                  <a:pt x="3801" y="2149"/>
                  <a:pt x="3769" y="2117"/>
                  <a:pt x="3722" y="2117"/>
                </a:cubicBezTo>
                <a:cubicBezTo>
                  <a:pt x="1893" y="2117"/>
                  <a:pt x="1893" y="2117"/>
                  <a:pt x="1893" y="2117"/>
                </a:cubicBezTo>
                <a:cubicBezTo>
                  <a:pt x="1813" y="1958"/>
                  <a:pt x="1781" y="1768"/>
                  <a:pt x="1766" y="1593"/>
                </a:cubicBezTo>
                <a:cubicBezTo>
                  <a:pt x="3722" y="1593"/>
                  <a:pt x="3722" y="1593"/>
                  <a:pt x="3722" y="1593"/>
                </a:cubicBezTo>
                <a:cubicBezTo>
                  <a:pt x="3769" y="1593"/>
                  <a:pt x="3801" y="1545"/>
                  <a:pt x="3801" y="1513"/>
                </a:cubicBezTo>
                <a:cubicBezTo>
                  <a:pt x="3801" y="1465"/>
                  <a:pt x="3769" y="1434"/>
                  <a:pt x="3722" y="1434"/>
                </a:cubicBezTo>
                <a:cubicBezTo>
                  <a:pt x="1781" y="1434"/>
                  <a:pt x="1781" y="1434"/>
                  <a:pt x="1781" y="1434"/>
                </a:cubicBezTo>
                <a:cubicBezTo>
                  <a:pt x="1797" y="1274"/>
                  <a:pt x="1829" y="1131"/>
                  <a:pt x="1893" y="972"/>
                </a:cubicBezTo>
                <a:cubicBezTo>
                  <a:pt x="1909" y="956"/>
                  <a:pt x="1924" y="925"/>
                  <a:pt x="1940" y="893"/>
                </a:cubicBezTo>
                <a:cubicBezTo>
                  <a:pt x="3722" y="893"/>
                  <a:pt x="3722" y="893"/>
                  <a:pt x="3722" y="893"/>
                </a:cubicBezTo>
                <a:cubicBezTo>
                  <a:pt x="3769" y="893"/>
                  <a:pt x="3801" y="861"/>
                  <a:pt x="3801" y="813"/>
                </a:cubicBezTo>
                <a:cubicBezTo>
                  <a:pt x="3801" y="765"/>
                  <a:pt x="3769" y="734"/>
                  <a:pt x="3722" y="734"/>
                </a:cubicBezTo>
                <a:cubicBezTo>
                  <a:pt x="2036" y="734"/>
                  <a:pt x="2036" y="734"/>
                  <a:pt x="2036" y="734"/>
                </a:cubicBezTo>
                <a:cubicBezTo>
                  <a:pt x="2306" y="368"/>
                  <a:pt x="2736" y="161"/>
                  <a:pt x="3181" y="161"/>
                </a:cubicBezTo>
                <a:close/>
              </a:path>
            </a:pathLst>
          </a:custGeom>
          <a:solidFill>
            <a:schemeClr val="accent2"/>
          </a:solidFill>
          <a:ln cap="flat">
            <a:solidFill>
              <a:schemeClr val="accent2"/>
            </a:solid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dirty="0">
              <a:ln>
                <a:noFill/>
              </a:ln>
              <a:latin typeface="Arial" pitchFamily="18"/>
              <a:ea typeface="SimSun" pitchFamily="2"/>
              <a:cs typeface="Lucida Sans" pitchFamily="2"/>
            </a:endParaRPr>
          </a:p>
        </p:txBody>
      </p:sp>
      <p:sp>
        <p:nvSpPr>
          <p:cNvPr id="33" name="Freeform: Shape 6">
            <a:extLst>
              <a:ext uri="{FF2B5EF4-FFF2-40B4-BE49-F238E27FC236}">
                <a16:creationId xmlns:a16="http://schemas.microsoft.com/office/drawing/2014/main" id="{3C80D9A0-471A-5B4B-B062-0AC6AEDE5ECF}"/>
              </a:ext>
            </a:extLst>
          </p:cNvPr>
          <p:cNvSpPr/>
          <p:nvPr/>
        </p:nvSpPr>
        <p:spPr>
          <a:xfrm>
            <a:off x="11496412" y="3557763"/>
            <a:ext cx="1410248" cy="1405486"/>
          </a:xfrm>
          <a:custGeom>
            <a:avLst/>
            <a:gdLst/>
            <a:ahLst/>
            <a:cxnLst>
              <a:cxn ang="3cd4">
                <a:pos x="hc" y="t"/>
              </a:cxn>
              <a:cxn ang="cd2">
                <a:pos x="l" y="vc"/>
              </a:cxn>
              <a:cxn ang="cd4">
                <a:pos x="hc" y="b"/>
              </a:cxn>
              <a:cxn ang="0">
                <a:pos x="r" y="vc"/>
              </a:cxn>
            </a:cxnLst>
            <a:rect l="l" t="t" r="r" b="b"/>
            <a:pathLst>
              <a:path w="4741" h="4725">
                <a:moveTo>
                  <a:pt x="4088" y="748"/>
                </a:moveTo>
                <a:cubicBezTo>
                  <a:pt x="4518" y="334"/>
                  <a:pt x="4518" y="334"/>
                  <a:pt x="4518" y="334"/>
                </a:cubicBezTo>
                <a:cubicBezTo>
                  <a:pt x="4550" y="302"/>
                  <a:pt x="4550" y="254"/>
                  <a:pt x="4518" y="223"/>
                </a:cubicBezTo>
                <a:cubicBezTo>
                  <a:pt x="4486" y="191"/>
                  <a:pt x="4422" y="191"/>
                  <a:pt x="4407" y="223"/>
                </a:cubicBezTo>
                <a:cubicBezTo>
                  <a:pt x="3977" y="636"/>
                  <a:pt x="3977" y="636"/>
                  <a:pt x="3977" y="636"/>
                </a:cubicBezTo>
                <a:cubicBezTo>
                  <a:pt x="3564" y="254"/>
                  <a:pt x="2991" y="0"/>
                  <a:pt x="2370" y="0"/>
                </a:cubicBezTo>
                <a:cubicBezTo>
                  <a:pt x="1750" y="0"/>
                  <a:pt x="1177" y="254"/>
                  <a:pt x="763" y="636"/>
                </a:cubicBezTo>
                <a:cubicBezTo>
                  <a:pt x="334" y="223"/>
                  <a:pt x="334" y="223"/>
                  <a:pt x="334" y="223"/>
                </a:cubicBezTo>
                <a:cubicBezTo>
                  <a:pt x="318" y="191"/>
                  <a:pt x="254" y="191"/>
                  <a:pt x="222" y="223"/>
                </a:cubicBezTo>
                <a:cubicBezTo>
                  <a:pt x="191" y="254"/>
                  <a:pt x="191" y="302"/>
                  <a:pt x="222" y="334"/>
                </a:cubicBezTo>
                <a:cubicBezTo>
                  <a:pt x="652" y="748"/>
                  <a:pt x="652" y="748"/>
                  <a:pt x="652" y="748"/>
                </a:cubicBezTo>
                <a:cubicBezTo>
                  <a:pt x="254" y="1177"/>
                  <a:pt x="0" y="1750"/>
                  <a:pt x="0" y="2371"/>
                </a:cubicBezTo>
                <a:cubicBezTo>
                  <a:pt x="0" y="2991"/>
                  <a:pt x="254" y="3564"/>
                  <a:pt x="652" y="3978"/>
                </a:cubicBezTo>
                <a:cubicBezTo>
                  <a:pt x="222" y="4391"/>
                  <a:pt x="222" y="4391"/>
                  <a:pt x="222" y="4391"/>
                </a:cubicBezTo>
                <a:cubicBezTo>
                  <a:pt x="191" y="4423"/>
                  <a:pt x="191" y="4471"/>
                  <a:pt x="222" y="4502"/>
                </a:cubicBezTo>
                <a:cubicBezTo>
                  <a:pt x="239" y="4518"/>
                  <a:pt x="270" y="4535"/>
                  <a:pt x="286" y="4535"/>
                </a:cubicBezTo>
                <a:cubicBezTo>
                  <a:pt x="302" y="4535"/>
                  <a:pt x="334" y="4518"/>
                  <a:pt x="334" y="4502"/>
                </a:cubicBezTo>
                <a:cubicBezTo>
                  <a:pt x="763" y="4089"/>
                  <a:pt x="763" y="4089"/>
                  <a:pt x="763" y="4089"/>
                </a:cubicBezTo>
                <a:cubicBezTo>
                  <a:pt x="1177" y="4487"/>
                  <a:pt x="1750" y="4725"/>
                  <a:pt x="2370" y="4725"/>
                </a:cubicBezTo>
                <a:cubicBezTo>
                  <a:pt x="2991" y="4725"/>
                  <a:pt x="3564" y="4487"/>
                  <a:pt x="3977" y="4089"/>
                </a:cubicBezTo>
                <a:cubicBezTo>
                  <a:pt x="4407" y="4502"/>
                  <a:pt x="4407" y="4502"/>
                  <a:pt x="4407" y="4502"/>
                </a:cubicBezTo>
                <a:cubicBezTo>
                  <a:pt x="4407" y="4518"/>
                  <a:pt x="4439" y="4535"/>
                  <a:pt x="4455" y="4535"/>
                </a:cubicBezTo>
                <a:cubicBezTo>
                  <a:pt x="4470" y="4535"/>
                  <a:pt x="4502" y="4518"/>
                  <a:pt x="4518" y="4502"/>
                </a:cubicBezTo>
                <a:cubicBezTo>
                  <a:pt x="4550" y="4471"/>
                  <a:pt x="4550" y="4423"/>
                  <a:pt x="4518" y="4391"/>
                </a:cubicBezTo>
                <a:cubicBezTo>
                  <a:pt x="4088" y="3978"/>
                  <a:pt x="4088" y="3978"/>
                  <a:pt x="4088" y="3978"/>
                </a:cubicBezTo>
                <a:cubicBezTo>
                  <a:pt x="4486" y="3564"/>
                  <a:pt x="4741" y="2991"/>
                  <a:pt x="4741" y="2371"/>
                </a:cubicBezTo>
                <a:cubicBezTo>
                  <a:pt x="4741" y="1750"/>
                  <a:pt x="4486" y="1177"/>
                  <a:pt x="4088" y="748"/>
                </a:cubicBezTo>
                <a:close/>
                <a:moveTo>
                  <a:pt x="2370" y="159"/>
                </a:moveTo>
                <a:cubicBezTo>
                  <a:pt x="2943" y="159"/>
                  <a:pt x="3484" y="382"/>
                  <a:pt x="3866" y="748"/>
                </a:cubicBezTo>
                <a:cubicBezTo>
                  <a:pt x="3213" y="1416"/>
                  <a:pt x="3213" y="1416"/>
                  <a:pt x="3213" y="1416"/>
                </a:cubicBezTo>
                <a:cubicBezTo>
                  <a:pt x="2991" y="1225"/>
                  <a:pt x="2688" y="1098"/>
                  <a:pt x="2370" y="1098"/>
                </a:cubicBezTo>
                <a:cubicBezTo>
                  <a:pt x="2052" y="1098"/>
                  <a:pt x="1750" y="1225"/>
                  <a:pt x="1527" y="1416"/>
                </a:cubicBezTo>
                <a:cubicBezTo>
                  <a:pt x="875" y="748"/>
                  <a:pt x="875" y="748"/>
                  <a:pt x="875" y="748"/>
                </a:cubicBezTo>
                <a:cubicBezTo>
                  <a:pt x="1257" y="382"/>
                  <a:pt x="1797" y="159"/>
                  <a:pt x="2370" y="159"/>
                </a:cubicBezTo>
                <a:close/>
                <a:moveTo>
                  <a:pt x="2259" y="2371"/>
                </a:moveTo>
                <a:cubicBezTo>
                  <a:pt x="1527" y="3102"/>
                  <a:pt x="1527" y="3102"/>
                  <a:pt x="1527" y="3102"/>
                </a:cubicBezTo>
                <a:cubicBezTo>
                  <a:pt x="1368" y="2896"/>
                  <a:pt x="1257" y="2641"/>
                  <a:pt x="1257" y="2371"/>
                </a:cubicBezTo>
                <a:cubicBezTo>
                  <a:pt x="1257" y="2084"/>
                  <a:pt x="1368" y="1830"/>
                  <a:pt x="1527" y="1639"/>
                </a:cubicBezTo>
                <a:close/>
                <a:moveTo>
                  <a:pt x="1639" y="1527"/>
                </a:moveTo>
                <a:cubicBezTo>
                  <a:pt x="1845" y="1353"/>
                  <a:pt x="2100" y="1257"/>
                  <a:pt x="2370" y="1257"/>
                </a:cubicBezTo>
                <a:cubicBezTo>
                  <a:pt x="2641" y="1257"/>
                  <a:pt x="2895" y="1353"/>
                  <a:pt x="3102" y="1527"/>
                </a:cubicBezTo>
                <a:cubicBezTo>
                  <a:pt x="2370" y="2259"/>
                  <a:pt x="2370" y="2259"/>
                  <a:pt x="2370" y="2259"/>
                </a:cubicBezTo>
                <a:close/>
                <a:moveTo>
                  <a:pt x="2370" y="2482"/>
                </a:moveTo>
                <a:cubicBezTo>
                  <a:pt x="3102" y="3214"/>
                  <a:pt x="3102" y="3214"/>
                  <a:pt x="3102" y="3214"/>
                </a:cubicBezTo>
                <a:cubicBezTo>
                  <a:pt x="2895" y="3373"/>
                  <a:pt x="2641" y="3484"/>
                  <a:pt x="2370" y="3484"/>
                </a:cubicBezTo>
                <a:cubicBezTo>
                  <a:pt x="2100" y="3484"/>
                  <a:pt x="1845" y="3373"/>
                  <a:pt x="1639" y="3214"/>
                </a:cubicBezTo>
                <a:close/>
                <a:moveTo>
                  <a:pt x="2482" y="2371"/>
                </a:moveTo>
                <a:cubicBezTo>
                  <a:pt x="3213" y="1639"/>
                  <a:pt x="3213" y="1639"/>
                  <a:pt x="3213" y="1639"/>
                </a:cubicBezTo>
                <a:cubicBezTo>
                  <a:pt x="3373" y="1830"/>
                  <a:pt x="3484" y="2084"/>
                  <a:pt x="3484" y="2371"/>
                </a:cubicBezTo>
                <a:cubicBezTo>
                  <a:pt x="3484" y="2641"/>
                  <a:pt x="3373" y="2896"/>
                  <a:pt x="3213" y="3102"/>
                </a:cubicBezTo>
                <a:close/>
                <a:moveTo>
                  <a:pt x="159" y="2371"/>
                </a:moveTo>
                <a:cubicBezTo>
                  <a:pt x="159" y="1782"/>
                  <a:pt x="397" y="1257"/>
                  <a:pt x="763" y="859"/>
                </a:cubicBezTo>
                <a:cubicBezTo>
                  <a:pt x="1416" y="1527"/>
                  <a:pt x="1416" y="1527"/>
                  <a:pt x="1416" y="1527"/>
                </a:cubicBezTo>
                <a:cubicBezTo>
                  <a:pt x="1225" y="1750"/>
                  <a:pt x="1097" y="2053"/>
                  <a:pt x="1097" y="2371"/>
                </a:cubicBezTo>
                <a:cubicBezTo>
                  <a:pt x="1097" y="2689"/>
                  <a:pt x="1225" y="2991"/>
                  <a:pt x="1416" y="3214"/>
                </a:cubicBezTo>
                <a:cubicBezTo>
                  <a:pt x="763" y="3866"/>
                  <a:pt x="763" y="3866"/>
                  <a:pt x="763" y="3866"/>
                </a:cubicBezTo>
                <a:cubicBezTo>
                  <a:pt x="397" y="3468"/>
                  <a:pt x="159" y="2944"/>
                  <a:pt x="159" y="2371"/>
                </a:cubicBezTo>
                <a:close/>
                <a:moveTo>
                  <a:pt x="2370" y="4566"/>
                </a:moveTo>
                <a:cubicBezTo>
                  <a:pt x="1797" y="4566"/>
                  <a:pt x="1257" y="4344"/>
                  <a:pt x="875" y="3978"/>
                </a:cubicBezTo>
                <a:cubicBezTo>
                  <a:pt x="1527" y="3325"/>
                  <a:pt x="1527" y="3325"/>
                  <a:pt x="1527" y="3325"/>
                </a:cubicBezTo>
                <a:cubicBezTo>
                  <a:pt x="1750" y="3516"/>
                  <a:pt x="2052" y="3644"/>
                  <a:pt x="2370" y="3644"/>
                </a:cubicBezTo>
                <a:cubicBezTo>
                  <a:pt x="2688" y="3644"/>
                  <a:pt x="2991" y="3516"/>
                  <a:pt x="3213" y="3325"/>
                </a:cubicBezTo>
                <a:cubicBezTo>
                  <a:pt x="3866" y="3978"/>
                  <a:pt x="3866" y="3978"/>
                  <a:pt x="3866" y="3978"/>
                </a:cubicBezTo>
                <a:cubicBezTo>
                  <a:pt x="3484" y="4344"/>
                  <a:pt x="2943" y="4566"/>
                  <a:pt x="2370" y="4566"/>
                </a:cubicBezTo>
                <a:close/>
                <a:moveTo>
                  <a:pt x="3325" y="3214"/>
                </a:moveTo>
                <a:cubicBezTo>
                  <a:pt x="3516" y="2991"/>
                  <a:pt x="3643" y="2689"/>
                  <a:pt x="3643" y="2371"/>
                </a:cubicBezTo>
                <a:cubicBezTo>
                  <a:pt x="3643" y="2053"/>
                  <a:pt x="3516" y="1750"/>
                  <a:pt x="3325" y="1527"/>
                </a:cubicBezTo>
                <a:cubicBezTo>
                  <a:pt x="3977" y="859"/>
                  <a:pt x="3977" y="859"/>
                  <a:pt x="3977" y="859"/>
                </a:cubicBezTo>
                <a:cubicBezTo>
                  <a:pt x="4343" y="1257"/>
                  <a:pt x="4582" y="1782"/>
                  <a:pt x="4582" y="2371"/>
                </a:cubicBezTo>
                <a:cubicBezTo>
                  <a:pt x="4582" y="2944"/>
                  <a:pt x="4343" y="3468"/>
                  <a:pt x="3977" y="3866"/>
                </a:cubicBezTo>
                <a:close/>
              </a:path>
            </a:pathLst>
          </a:custGeom>
          <a:solidFill>
            <a:schemeClr val="accent4"/>
          </a:solidFill>
          <a:ln cap="flat">
            <a:solidFill>
              <a:schemeClr val="accent4"/>
            </a:solid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dirty="0">
              <a:ln>
                <a:noFill/>
              </a:ln>
              <a:latin typeface="Arial" pitchFamily="18"/>
              <a:ea typeface="SimSun" pitchFamily="2"/>
              <a:cs typeface="Lucida Sans" pitchFamily="2"/>
            </a:endParaRPr>
          </a:p>
        </p:txBody>
      </p:sp>
      <p:sp>
        <p:nvSpPr>
          <p:cNvPr id="34" name="Freeform: Shape 4">
            <a:extLst>
              <a:ext uri="{FF2B5EF4-FFF2-40B4-BE49-F238E27FC236}">
                <a16:creationId xmlns:a16="http://schemas.microsoft.com/office/drawing/2014/main" id="{D1B9B66C-5914-CE4C-B138-DD73ED1C82B0}"/>
              </a:ext>
            </a:extLst>
          </p:cNvPr>
          <p:cNvSpPr/>
          <p:nvPr/>
        </p:nvSpPr>
        <p:spPr>
          <a:xfrm>
            <a:off x="18902600" y="3857017"/>
            <a:ext cx="1639068" cy="942059"/>
          </a:xfrm>
          <a:custGeom>
            <a:avLst/>
            <a:gdLst/>
            <a:ahLst/>
            <a:cxnLst>
              <a:cxn ang="3cd4">
                <a:pos x="hc" y="t"/>
              </a:cxn>
              <a:cxn ang="cd2">
                <a:pos x="l" y="vc"/>
              </a:cxn>
              <a:cxn ang="cd4">
                <a:pos x="hc" y="b"/>
              </a:cxn>
              <a:cxn ang="0">
                <a:pos x="r" y="vc"/>
              </a:cxn>
            </a:cxnLst>
            <a:rect l="l" t="t" r="r" b="b"/>
            <a:pathLst>
              <a:path w="6061" h="3484">
                <a:moveTo>
                  <a:pt x="938" y="2466"/>
                </a:moveTo>
                <a:cubicBezTo>
                  <a:pt x="970" y="2466"/>
                  <a:pt x="1002" y="2450"/>
                  <a:pt x="1002" y="2418"/>
                </a:cubicBezTo>
                <a:cubicBezTo>
                  <a:pt x="1018" y="2402"/>
                  <a:pt x="1050" y="2291"/>
                  <a:pt x="1097" y="2116"/>
                </a:cubicBezTo>
                <a:cubicBezTo>
                  <a:pt x="1384" y="2354"/>
                  <a:pt x="1384" y="2354"/>
                  <a:pt x="1384" y="2354"/>
                </a:cubicBezTo>
                <a:cubicBezTo>
                  <a:pt x="1781" y="2688"/>
                  <a:pt x="2529" y="3309"/>
                  <a:pt x="2641" y="3388"/>
                </a:cubicBezTo>
                <a:cubicBezTo>
                  <a:pt x="2736" y="3436"/>
                  <a:pt x="2863" y="3484"/>
                  <a:pt x="2991" y="3484"/>
                </a:cubicBezTo>
                <a:cubicBezTo>
                  <a:pt x="3006" y="3484"/>
                  <a:pt x="3023" y="3484"/>
                  <a:pt x="3038" y="3484"/>
                </a:cubicBezTo>
                <a:cubicBezTo>
                  <a:pt x="3150" y="3468"/>
                  <a:pt x="3229" y="3436"/>
                  <a:pt x="3277" y="3357"/>
                </a:cubicBezTo>
                <a:cubicBezTo>
                  <a:pt x="3388" y="3420"/>
                  <a:pt x="3548" y="3436"/>
                  <a:pt x="3691" y="3388"/>
                </a:cubicBezTo>
                <a:cubicBezTo>
                  <a:pt x="3770" y="3357"/>
                  <a:pt x="3834" y="3293"/>
                  <a:pt x="3882" y="3213"/>
                </a:cubicBezTo>
                <a:cubicBezTo>
                  <a:pt x="3977" y="3245"/>
                  <a:pt x="4105" y="3245"/>
                  <a:pt x="4200" y="3182"/>
                </a:cubicBezTo>
                <a:cubicBezTo>
                  <a:pt x="4311" y="3134"/>
                  <a:pt x="4375" y="3054"/>
                  <a:pt x="4406" y="2959"/>
                </a:cubicBezTo>
                <a:cubicBezTo>
                  <a:pt x="4486" y="2975"/>
                  <a:pt x="4582" y="2943"/>
                  <a:pt x="4661" y="2879"/>
                </a:cubicBezTo>
                <a:cubicBezTo>
                  <a:pt x="4757" y="2800"/>
                  <a:pt x="4836" y="2640"/>
                  <a:pt x="4757" y="2450"/>
                </a:cubicBezTo>
                <a:cubicBezTo>
                  <a:pt x="4963" y="2291"/>
                  <a:pt x="4963" y="2291"/>
                  <a:pt x="4963" y="2291"/>
                </a:cubicBezTo>
                <a:cubicBezTo>
                  <a:pt x="4963" y="2306"/>
                  <a:pt x="4963" y="2306"/>
                  <a:pt x="4963" y="2322"/>
                </a:cubicBezTo>
                <a:cubicBezTo>
                  <a:pt x="4979" y="2339"/>
                  <a:pt x="4996" y="2354"/>
                  <a:pt x="5011" y="2370"/>
                </a:cubicBezTo>
                <a:cubicBezTo>
                  <a:pt x="5139" y="2418"/>
                  <a:pt x="5361" y="2434"/>
                  <a:pt x="5568" y="2434"/>
                </a:cubicBezTo>
                <a:cubicBezTo>
                  <a:pt x="5775" y="2434"/>
                  <a:pt x="5950" y="2418"/>
                  <a:pt x="5982" y="2418"/>
                </a:cubicBezTo>
                <a:cubicBezTo>
                  <a:pt x="6014" y="2418"/>
                  <a:pt x="6030" y="2402"/>
                  <a:pt x="6045" y="2386"/>
                </a:cubicBezTo>
                <a:cubicBezTo>
                  <a:pt x="6061" y="2370"/>
                  <a:pt x="6061" y="2354"/>
                  <a:pt x="6061" y="2322"/>
                </a:cubicBezTo>
                <a:cubicBezTo>
                  <a:pt x="6045" y="2275"/>
                  <a:pt x="5918" y="843"/>
                  <a:pt x="5616" y="413"/>
                </a:cubicBezTo>
                <a:cubicBezTo>
                  <a:pt x="5600" y="397"/>
                  <a:pt x="5584" y="397"/>
                  <a:pt x="5568" y="381"/>
                </a:cubicBezTo>
                <a:cubicBezTo>
                  <a:pt x="5075" y="286"/>
                  <a:pt x="4518" y="509"/>
                  <a:pt x="4406" y="557"/>
                </a:cubicBezTo>
                <a:cubicBezTo>
                  <a:pt x="4391" y="557"/>
                  <a:pt x="4391" y="540"/>
                  <a:pt x="4391" y="540"/>
                </a:cubicBezTo>
                <a:cubicBezTo>
                  <a:pt x="4391" y="540"/>
                  <a:pt x="4073" y="445"/>
                  <a:pt x="3563" y="222"/>
                </a:cubicBezTo>
                <a:cubicBezTo>
                  <a:pt x="3197" y="63"/>
                  <a:pt x="2832" y="127"/>
                  <a:pt x="2561" y="286"/>
                </a:cubicBezTo>
                <a:cubicBezTo>
                  <a:pt x="2275" y="254"/>
                  <a:pt x="1686" y="238"/>
                  <a:pt x="1479" y="238"/>
                </a:cubicBezTo>
                <a:cubicBezTo>
                  <a:pt x="1145" y="127"/>
                  <a:pt x="381" y="15"/>
                  <a:pt x="350" y="0"/>
                </a:cubicBezTo>
                <a:cubicBezTo>
                  <a:pt x="302" y="0"/>
                  <a:pt x="254" y="31"/>
                  <a:pt x="254" y="63"/>
                </a:cubicBezTo>
                <a:cubicBezTo>
                  <a:pt x="254" y="79"/>
                  <a:pt x="0" y="1463"/>
                  <a:pt x="0" y="2386"/>
                </a:cubicBezTo>
                <a:cubicBezTo>
                  <a:pt x="0" y="2434"/>
                  <a:pt x="15" y="2466"/>
                  <a:pt x="47" y="2466"/>
                </a:cubicBezTo>
                <a:cubicBezTo>
                  <a:pt x="143" y="2497"/>
                  <a:pt x="270" y="2497"/>
                  <a:pt x="413" y="2497"/>
                </a:cubicBezTo>
                <a:cubicBezTo>
                  <a:pt x="652" y="2497"/>
                  <a:pt x="923" y="2466"/>
                  <a:pt x="938" y="2466"/>
                </a:cubicBezTo>
                <a:close/>
                <a:moveTo>
                  <a:pt x="5505" y="540"/>
                </a:moveTo>
                <a:cubicBezTo>
                  <a:pt x="5727" y="906"/>
                  <a:pt x="5854" y="1957"/>
                  <a:pt x="5887" y="2259"/>
                </a:cubicBezTo>
                <a:cubicBezTo>
                  <a:pt x="5679" y="2275"/>
                  <a:pt x="5282" y="2275"/>
                  <a:pt x="5107" y="2243"/>
                </a:cubicBezTo>
                <a:cubicBezTo>
                  <a:pt x="5011" y="1893"/>
                  <a:pt x="4709" y="1034"/>
                  <a:pt x="4534" y="668"/>
                </a:cubicBezTo>
                <a:cubicBezTo>
                  <a:pt x="4709" y="604"/>
                  <a:pt x="5123" y="477"/>
                  <a:pt x="5505" y="540"/>
                </a:cubicBezTo>
                <a:close/>
                <a:moveTo>
                  <a:pt x="3500" y="366"/>
                </a:moveTo>
                <a:cubicBezTo>
                  <a:pt x="4009" y="604"/>
                  <a:pt x="4327" y="700"/>
                  <a:pt x="4343" y="700"/>
                </a:cubicBezTo>
                <a:lnTo>
                  <a:pt x="4359" y="700"/>
                </a:lnTo>
                <a:cubicBezTo>
                  <a:pt x="4502" y="954"/>
                  <a:pt x="4788" y="1718"/>
                  <a:pt x="4916" y="2131"/>
                </a:cubicBezTo>
                <a:cubicBezTo>
                  <a:pt x="4693" y="2306"/>
                  <a:pt x="4693" y="2306"/>
                  <a:pt x="4693" y="2306"/>
                </a:cubicBezTo>
                <a:cubicBezTo>
                  <a:pt x="4422" y="1893"/>
                  <a:pt x="3643" y="1193"/>
                  <a:pt x="3214" y="906"/>
                </a:cubicBezTo>
                <a:cubicBezTo>
                  <a:pt x="3197" y="891"/>
                  <a:pt x="3166" y="891"/>
                  <a:pt x="3134" y="906"/>
                </a:cubicBezTo>
                <a:cubicBezTo>
                  <a:pt x="3070" y="922"/>
                  <a:pt x="3070" y="922"/>
                  <a:pt x="3070" y="922"/>
                </a:cubicBezTo>
                <a:cubicBezTo>
                  <a:pt x="2959" y="970"/>
                  <a:pt x="2959" y="970"/>
                  <a:pt x="2863" y="970"/>
                </a:cubicBezTo>
                <a:cubicBezTo>
                  <a:pt x="2815" y="986"/>
                  <a:pt x="2815" y="986"/>
                  <a:pt x="2815" y="986"/>
                </a:cubicBezTo>
                <a:cubicBezTo>
                  <a:pt x="2784" y="986"/>
                  <a:pt x="2768" y="1002"/>
                  <a:pt x="2752" y="1018"/>
                </a:cubicBezTo>
                <a:cubicBezTo>
                  <a:pt x="2609" y="1225"/>
                  <a:pt x="2450" y="1448"/>
                  <a:pt x="2195" y="1368"/>
                </a:cubicBezTo>
                <a:cubicBezTo>
                  <a:pt x="2148" y="1352"/>
                  <a:pt x="2115" y="1304"/>
                  <a:pt x="2100" y="1257"/>
                </a:cubicBezTo>
                <a:cubicBezTo>
                  <a:pt x="2068" y="1081"/>
                  <a:pt x="2211" y="763"/>
                  <a:pt x="2370" y="620"/>
                </a:cubicBezTo>
                <a:cubicBezTo>
                  <a:pt x="2434" y="540"/>
                  <a:pt x="2514" y="477"/>
                  <a:pt x="2609" y="429"/>
                </a:cubicBezTo>
                <a:cubicBezTo>
                  <a:pt x="2863" y="286"/>
                  <a:pt x="3182" y="222"/>
                  <a:pt x="3500" y="366"/>
                </a:cubicBezTo>
                <a:close/>
                <a:moveTo>
                  <a:pt x="2338" y="429"/>
                </a:moveTo>
                <a:cubicBezTo>
                  <a:pt x="2306" y="445"/>
                  <a:pt x="2291" y="477"/>
                  <a:pt x="2259" y="509"/>
                </a:cubicBezTo>
                <a:cubicBezTo>
                  <a:pt x="2100" y="668"/>
                  <a:pt x="1893" y="1034"/>
                  <a:pt x="1957" y="1288"/>
                </a:cubicBezTo>
                <a:cubicBezTo>
                  <a:pt x="1972" y="1400"/>
                  <a:pt x="2052" y="1479"/>
                  <a:pt x="2148" y="1511"/>
                </a:cubicBezTo>
                <a:cubicBezTo>
                  <a:pt x="2514" y="1638"/>
                  <a:pt x="2736" y="1320"/>
                  <a:pt x="2863" y="1129"/>
                </a:cubicBezTo>
                <a:cubicBezTo>
                  <a:pt x="2879" y="1129"/>
                  <a:pt x="2879" y="1129"/>
                  <a:pt x="2879" y="1129"/>
                </a:cubicBezTo>
                <a:cubicBezTo>
                  <a:pt x="2991" y="1129"/>
                  <a:pt x="2991" y="1129"/>
                  <a:pt x="3134" y="1066"/>
                </a:cubicBezTo>
                <a:cubicBezTo>
                  <a:pt x="3150" y="1066"/>
                  <a:pt x="3150" y="1066"/>
                  <a:pt x="3150" y="1066"/>
                </a:cubicBezTo>
                <a:cubicBezTo>
                  <a:pt x="3643" y="1400"/>
                  <a:pt x="4454" y="2163"/>
                  <a:pt x="4597" y="2482"/>
                </a:cubicBezTo>
                <a:cubicBezTo>
                  <a:pt x="4661" y="2609"/>
                  <a:pt x="4614" y="2704"/>
                  <a:pt x="4550" y="2752"/>
                </a:cubicBezTo>
                <a:cubicBezTo>
                  <a:pt x="4518" y="2800"/>
                  <a:pt x="4439" y="2816"/>
                  <a:pt x="4375" y="2784"/>
                </a:cubicBezTo>
                <a:cubicBezTo>
                  <a:pt x="4248" y="2672"/>
                  <a:pt x="3532" y="2004"/>
                  <a:pt x="3532" y="2004"/>
                </a:cubicBezTo>
                <a:cubicBezTo>
                  <a:pt x="3500" y="1972"/>
                  <a:pt x="3452" y="1972"/>
                  <a:pt x="3420" y="2004"/>
                </a:cubicBezTo>
                <a:cubicBezTo>
                  <a:pt x="3388" y="2036"/>
                  <a:pt x="3388" y="2084"/>
                  <a:pt x="3420" y="2116"/>
                </a:cubicBezTo>
                <a:cubicBezTo>
                  <a:pt x="3452" y="2148"/>
                  <a:pt x="4073" y="2720"/>
                  <a:pt x="4263" y="2879"/>
                </a:cubicBezTo>
                <a:cubicBezTo>
                  <a:pt x="4248" y="2975"/>
                  <a:pt x="4168" y="3022"/>
                  <a:pt x="4136" y="3054"/>
                </a:cubicBezTo>
                <a:cubicBezTo>
                  <a:pt x="4041" y="3086"/>
                  <a:pt x="3929" y="3086"/>
                  <a:pt x="3882" y="3039"/>
                </a:cubicBezTo>
                <a:cubicBezTo>
                  <a:pt x="3723" y="2911"/>
                  <a:pt x="3229" y="2466"/>
                  <a:pt x="3166" y="2402"/>
                </a:cubicBezTo>
                <a:cubicBezTo>
                  <a:pt x="3134" y="2370"/>
                  <a:pt x="3086" y="2370"/>
                  <a:pt x="3054" y="2386"/>
                </a:cubicBezTo>
                <a:cubicBezTo>
                  <a:pt x="3023" y="2418"/>
                  <a:pt x="3023" y="2466"/>
                  <a:pt x="3054" y="2497"/>
                </a:cubicBezTo>
                <a:cubicBezTo>
                  <a:pt x="3118" y="2577"/>
                  <a:pt x="3548" y="2975"/>
                  <a:pt x="3739" y="3134"/>
                </a:cubicBezTo>
                <a:cubicBezTo>
                  <a:pt x="3723" y="3197"/>
                  <a:pt x="3659" y="3229"/>
                  <a:pt x="3627" y="3245"/>
                </a:cubicBezTo>
                <a:cubicBezTo>
                  <a:pt x="3516" y="3277"/>
                  <a:pt x="3388" y="3261"/>
                  <a:pt x="3309" y="3182"/>
                </a:cubicBezTo>
                <a:cubicBezTo>
                  <a:pt x="3293" y="3182"/>
                  <a:pt x="3293" y="3182"/>
                  <a:pt x="3293" y="3182"/>
                </a:cubicBezTo>
                <a:cubicBezTo>
                  <a:pt x="3134" y="3054"/>
                  <a:pt x="2911" y="2831"/>
                  <a:pt x="2768" y="2657"/>
                </a:cubicBezTo>
                <a:cubicBezTo>
                  <a:pt x="2736" y="2625"/>
                  <a:pt x="2688" y="2625"/>
                  <a:pt x="2657" y="2657"/>
                </a:cubicBezTo>
                <a:cubicBezTo>
                  <a:pt x="2625" y="2688"/>
                  <a:pt x="2625" y="2736"/>
                  <a:pt x="2657" y="2768"/>
                </a:cubicBezTo>
                <a:cubicBezTo>
                  <a:pt x="2784" y="2927"/>
                  <a:pt x="2991" y="3118"/>
                  <a:pt x="3150" y="3261"/>
                </a:cubicBezTo>
                <a:cubicBezTo>
                  <a:pt x="3118" y="3293"/>
                  <a:pt x="3086" y="3325"/>
                  <a:pt x="3023" y="3325"/>
                </a:cubicBezTo>
                <a:cubicBezTo>
                  <a:pt x="2927" y="3340"/>
                  <a:pt x="2800" y="3293"/>
                  <a:pt x="2736" y="3245"/>
                </a:cubicBezTo>
                <a:cubicBezTo>
                  <a:pt x="2641" y="3197"/>
                  <a:pt x="2036" y="2704"/>
                  <a:pt x="1495" y="2243"/>
                </a:cubicBezTo>
                <a:cubicBezTo>
                  <a:pt x="1161" y="1957"/>
                  <a:pt x="1161" y="1957"/>
                  <a:pt x="1161" y="1957"/>
                </a:cubicBezTo>
                <a:cubicBezTo>
                  <a:pt x="1288" y="1511"/>
                  <a:pt x="1479" y="827"/>
                  <a:pt x="1527" y="397"/>
                </a:cubicBezTo>
                <a:cubicBezTo>
                  <a:pt x="1718" y="397"/>
                  <a:pt x="2084" y="413"/>
                  <a:pt x="2338" y="429"/>
                </a:cubicBezTo>
                <a:close/>
                <a:moveTo>
                  <a:pt x="397" y="175"/>
                </a:moveTo>
                <a:cubicBezTo>
                  <a:pt x="588" y="206"/>
                  <a:pt x="1097" y="286"/>
                  <a:pt x="1368" y="381"/>
                </a:cubicBezTo>
                <a:cubicBezTo>
                  <a:pt x="1304" y="970"/>
                  <a:pt x="954" y="2068"/>
                  <a:pt x="875" y="2322"/>
                </a:cubicBezTo>
                <a:cubicBezTo>
                  <a:pt x="732" y="2322"/>
                  <a:pt x="366" y="2354"/>
                  <a:pt x="158" y="2322"/>
                </a:cubicBezTo>
                <a:cubicBezTo>
                  <a:pt x="175" y="1543"/>
                  <a:pt x="350" y="461"/>
                  <a:pt x="397" y="175"/>
                </a:cubicBezTo>
                <a:close/>
              </a:path>
            </a:pathLst>
          </a:custGeom>
          <a:solidFill>
            <a:schemeClr val="tx2"/>
          </a:solidFill>
          <a:ln cap="flat">
            <a:solidFill>
              <a:schemeClr val="tx2"/>
            </a:solid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dirty="0">
              <a:ln>
                <a:noFill/>
              </a:ln>
              <a:latin typeface="Arial" pitchFamily="18"/>
              <a:ea typeface="SimSun" pitchFamily="2"/>
              <a:cs typeface="Lucida Sans" pitchFamily="2"/>
            </a:endParaRPr>
          </a:p>
        </p:txBody>
      </p:sp>
    </p:spTree>
    <p:extLst>
      <p:ext uri="{BB962C8B-B14F-4D97-AF65-F5344CB8AC3E}">
        <p14:creationId xmlns:p14="http://schemas.microsoft.com/office/powerpoint/2010/main" val="33099665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9FFF96EC-D303-9041-B7A7-52DC77066544}"/>
              </a:ext>
            </a:extLst>
          </p:cNvPr>
          <p:cNvCxnSpPr>
            <a:cxnSpLocks/>
          </p:cNvCxnSpPr>
          <p:nvPr/>
        </p:nvCxnSpPr>
        <p:spPr>
          <a:xfrm flipV="1">
            <a:off x="1257300" y="4438594"/>
            <a:ext cx="21985211" cy="26673"/>
          </a:xfrm>
          <a:prstGeom prst="line">
            <a:avLst/>
          </a:prstGeom>
          <a:ln w="63500">
            <a:solidFill>
              <a:schemeClr val="bg1">
                <a:lumMod val="8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41" name="Rectangle: Rounded Corners 16">
            <a:extLst>
              <a:ext uri="{FF2B5EF4-FFF2-40B4-BE49-F238E27FC236}">
                <a16:creationId xmlns:a16="http://schemas.microsoft.com/office/drawing/2014/main" id="{E4307EC1-8902-9B4D-9308-6EE7F612252F}"/>
              </a:ext>
            </a:extLst>
          </p:cNvPr>
          <p:cNvSpPr/>
          <p:nvPr/>
        </p:nvSpPr>
        <p:spPr>
          <a:xfrm>
            <a:off x="1405782" y="2595824"/>
            <a:ext cx="4295807" cy="887977"/>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mj-lt"/>
                <a:cs typeface="Segoe UI" panose="020B0502040204020203" pitchFamily="34" charset="0"/>
              </a:rPr>
              <a:t>Lorem ipsum</a:t>
            </a:r>
          </a:p>
        </p:txBody>
      </p:sp>
      <p:sp>
        <p:nvSpPr>
          <p:cNvPr id="42" name="TextBox 48">
            <a:extLst>
              <a:ext uri="{FF2B5EF4-FFF2-40B4-BE49-F238E27FC236}">
                <a16:creationId xmlns:a16="http://schemas.microsoft.com/office/drawing/2014/main" id="{72F024FB-42D4-0047-B76F-52FBA7E0B811}"/>
              </a:ext>
            </a:extLst>
          </p:cNvPr>
          <p:cNvSpPr txBox="1"/>
          <p:nvPr/>
        </p:nvSpPr>
        <p:spPr>
          <a:xfrm>
            <a:off x="1190993" y="5393384"/>
            <a:ext cx="4725387" cy="6716840"/>
          </a:xfrm>
          <a:prstGeom prst="rect">
            <a:avLst/>
          </a:prstGeom>
          <a:noFill/>
          <a:ln w="6350">
            <a:noFill/>
            <a:prstDash val="dash"/>
          </a:ln>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a:solidFill>
                  <a:schemeClr val="tx1">
                    <a:lumMod val="85000"/>
                    <a:lumOff val="15000"/>
                  </a:schemeClr>
                </a:solidFill>
                <a:cs typeface="Segoe UI" panose="020B0502040204020203" pitchFamily="34" charset="0"/>
              </a:rPr>
              <a:t>Lorem ipsum dolor sit </a:t>
            </a:r>
            <a:r>
              <a:rPr lang="en-US" sz="2800" dirty="0" err="1">
                <a:solidFill>
                  <a:schemeClr val="tx1">
                    <a:lumMod val="85000"/>
                    <a:lumOff val="15000"/>
                  </a:schemeClr>
                </a:solidFill>
                <a:cs typeface="Segoe UI" panose="020B0502040204020203" pitchFamily="34" charset="0"/>
              </a:rPr>
              <a:t>ame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consectetur</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adipiscing</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eli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Nulla</a:t>
            </a:r>
            <a:r>
              <a:rPr lang="en-US" sz="2800" dirty="0">
                <a:solidFill>
                  <a:schemeClr val="tx1">
                    <a:lumMod val="85000"/>
                    <a:lumOff val="15000"/>
                  </a:schemeClr>
                </a:solidFill>
                <a:cs typeface="Segoe UI" panose="020B0502040204020203" pitchFamily="34" charset="0"/>
              </a:rPr>
              <a:t> pharetra dolor sed </a:t>
            </a:r>
            <a:r>
              <a:rPr lang="en-US" sz="2800" dirty="0" err="1">
                <a:solidFill>
                  <a:schemeClr val="tx1">
                    <a:lumMod val="85000"/>
                    <a:lumOff val="15000"/>
                  </a:schemeClr>
                </a:solidFill>
                <a:cs typeface="Segoe UI" panose="020B0502040204020203" pitchFamily="34" charset="0"/>
              </a:rPr>
              <a:t>finibus</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aliqua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uspendisse</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volutpa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em</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finibus</a:t>
            </a:r>
            <a:r>
              <a:rPr lang="en-US" sz="2800" dirty="0">
                <a:solidFill>
                  <a:schemeClr val="tx1">
                    <a:lumMod val="85000"/>
                    <a:lumOff val="15000"/>
                  </a:schemeClr>
                </a:solidFill>
                <a:cs typeface="Segoe UI" panose="020B0502040204020203" pitchFamily="34" charset="0"/>
              </a:rPr>
              <a:t> tempus. Ut </a:t>
            </a:r>
            <a:r>
              <a:rPr lang="en-US" sz="2800" dirty="0" err="1">
                <a:solidFill>
                  <a:schemeClr val="tx1">
                    <a:lumMod val="85000"/>
                    <a:lumOff val="15000"/>
                  </a:schemeClr>
                </a:solidFill>
                <a:cs typeface="Segoe UI" panose="020B0502040204020203" pitchFamily="34" charset="0"/>
              </a:rPr>
              <a:t>vulputate</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mauris</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pretium</a:t>
            </a:r>
            <a:r>
              <a:rPr lang="en-US" sz="2800" dirty="0">
                <a:solidFill>
                  <a:schemeClr val="tx1">
                    <a:lumMod val="85000"/>
                    <a:lumOff val="15000"/>
                  </a:schemeClr>
                </a:solidFill>
                <a:cs typeface="Segoe UI" panose="020B0502040204020203" pitchFamily="34" charset="0"/>
              </a:rPr>
              <a:t> dictum. Maecenas </a:t>
            </a:r>
            <a:r>
              <a:rPr lang="en-US" sz="2800" dirty="0" err="1">
                <a:solidFill>
                  <a:schemeClr val="tx1">
                    <a:lumMod val="85000"/>
                    <a:lumOff val="15000"/>
                  </a:schemeClr>
                </a:solidFill>
                <a:cs typeface="Segoe UI" panose="020B0502040204020203" pitchFamily="34" charset="0"/>
              </a:rPr>
              <a:t>sodales</a:t>
            </a:r>
            <a:r>
              <a:rPr lang="en-US" sz="2800" dirty="0">
                <a:solidFill>
                  <a:schemeClr val="tx1">
                    <a:lumMod val="85000"/>
                    <a:lumOff val="15000"/>
                  </a:schemeClr>
                </a:solidFill>
                <a:cs typeface="Segoe UI" panose="020B0502040204020203" pitchFamily="34" charset="0"/>
              </a:rPr>
              <a:t> tempus </a:t>
            </a:r>
            <a:r>
              <a:rPr lang="en-US" sz="2800" dirty="0" err="1">
                <a:solidFill>
                  <a:schemeClr val="tx1">
                    <a:lumMod val="85000"/>
                    <a:lumOff val="15000"/>
                  </a:schemeClr>
                </a:solidFill>
                <a:cs typeface="Segoe UI" panose="020B0502040204020203" pitchFamily="34" charset="0"/>
              </a:rPr>
              <a:t>risus</a:t>
            </a:r>
            <a:r>
              <a:rPr lang="en-US" sz="2800" dirty="0">
                <a:solidFill>
                  <a:schemeClr val="tx1">
                    <a:lumMod val="85000"/>
                    <a:lumOff val="15000"/>
                  </a:schemeClr>
                </a:solidFill>
                <a:cs typeface="Segoe UI" panose="020B0502040204020203" pitchFamily="34" charset="0"/>
              </a:rPr>
              <a:t>. Vestibulum </a:t>
            </a:r>
            <a:r>
              <a:rPr lang="en-US" sz="2800" dirty="0" err="1">
                <a:solidFill>
                  <a:schemeClr val="tx1">
                    <a:lumMod val="85000"/>
                    <a:lumOff val="15000"/>
                  </a:schemeClr>
                </a:solidFill>
                <a:cs typeface="Segoe UI" panose="020B0502040204020203" pitchFamily="34" charset="0"/>
              </a:rPr>
              <a:t>eros</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e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fringilla</a:t>
            </a:r>
            <a:r>
              <a:rPr lang="en-US" sz="2800" dirty="0">
                <a:solidFill>
                  <a:schemeClr val="tx1">
                    <a:lumMod val="85000"/>
                    <a:lumOff val="15000"/>
                  </a:schemeClr>
                </a:solidFill>
                <a:cs typeface="Segoe UI" panose="020B0502040204020203" pitchFamily="34" charset="0"/>
              </a:rPr>
              <a:t> id </a:t>
            </a:r>
            <a:r>
              <a:rPr lang="en-US" sz="2800" dirty="0" err="1">
                <a:solidFill>
                  <a:schemeClr val="tx1">
                    <a:lumMod val="85000"/>
                    <a:lumOff val="15000"/>
                  </a:schemeClr>
                </a:solidFill>
                <a:cs typeface="Segoe UI" panose="020B0502040204020203" pitchFamily="34" charset="0"/>
              </a:rPr>
              <a:t>commodo</a:t>
            </a:r>
            <a:r>
              <a:rPr lang="en-US" sz="2800" dirty="0">
                <a:solidFill>
                  <a:schemeClr val="tx1">
                    <a:lumMod val="85000"/>
                    <a:lumOff val="15000"/>
                  </a:schemeClr>
                </a:solidFill>
                <a:cs typeface="Segoe UI" panose="020B0502040204020203" pitchFamily="34" charset="0"/>
              </a:rPr>
              <a:t> sit </a:t>
            </a:r>
            <a:r>
              <a:rPr lang="en-US" sz="2800" dirty="0" err="1">
                <a:solidFill>
                  <a:schemeClr val="tx1">
                    <a:lumMod val="85000"/>
                    <a:lumOff val="15000"/>
                  </a:schemeClr>
                </a:solidFill>
                <a:cs typeface="Segoe UI" panose="020B0502040204020203" pitchFamily="34" charset="0"/>
              </a:rPr>
              <a:t>ame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molestie</a:t>
            </a:r>
            <a:r>
              <a:rPr lang="en-US" sz="2800" dirty="0">
                <a:solidFill>
                  <a:schemeClr val="tx1">
                    <a:lumMod val="85000"/>
                    <a:lumOff val="15000"/>
                  </a:schemeClr>
                </a:solidFill>
                <a:cs typeface="Segoe UI" panose="020B0502040204020203" pitchFamily="34" charset="0"/>
              </a:rPr>
              <a:t> sed dolor. </a:t>
            </a:r>
            <a:r>
              <a:rPr lang="en-US" sz="2800" dirty="0" err="1">
                <a:solidFill>
                  <a:schemeClr val="tx1">
                    <a:lumMod val="85000"/>
                    <a:lumOff val="15000"/>
                  </a:schemeClr>
                </a:solidFill>
                <a:cs typeface="Segoe UI" panose="020B0502040204020203" pitchFamily="34" charset="0"/>
              </a:rPr>
              <a:t>Aliqua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iaculis</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velit</a:t>
            </a:r>
            <a:r>
              <a:rPr lang="en-US" sz="2800" dirty="0">
                <a:solidFill>
                  <a:schemeClr val="tx1">
                    <a:lumMod val="85000"/>
                    <a:lumOff val="15000"/>
                  </a:schemeClr>
                </a:solidFill>
                <a:cs typeface="Segoe UI" panose="020B0502040204020203" pitchFamily="34" charset="0"/>
              </a:rPr>
              <a:t> convallis </a:t>
            </a:r>
            <a:r>
              <a:rPr lang="en-US" sz="2800" dirty="0" err="1">
                <a:solidFill>
                  <a:schemeClr val="tx1">
                    <a:lumMod val="85000"/>
                    <a:lumOff val="15000"/>
                  </a:schemeClr>
                </a:solidFill>
                <a:cs typeface="Segoe UI" panose="020B0502040204020203" pitchFamily="34" charset="0"/>
              </a:rPr>
              <a:t>efficitur</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Proin</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nec</a:t>
            </a:r>
            <a:r>
              <a:rPr lang="en-US" sz="2800" dirty="0">
                <a:solidFill>
                  <a:schemeClr val="tx1">
                    <a:lumMod val="85000"/>
                    <a:lumOff val="15000"/>
                  </a:schemeClr>
                </a:solidFill>
                <a:cs typeface="Segoe UI" panose="020B0502040204020203" pitchFamily="34" charset="0"/>
              </a:rPr>
              <a:t> dui </a:t>
            </a:r>
            <a:r>
              <a:rPr lang="en-US" sz="2800" dirty="0" err="1">
                <a:solidFill>
                  <a:schemeClr val="tx1">
                    <a:lumMod val="85000"/>
                    <a:lumOff val="15000"/>
                  </a:schemeClr>
                </a:solidFill>
                <a:cs typeface="Segoe UI" panose="020B0502040204020203" pitchFamily="34" charset="0"/>
              </a:rPr>
              <a:t>lectus</a:t>
            </a:r>
            <a:r>
              <a:rPr lang="en-US" sz="2800" dirty="0">
                <a:solidFill>
                  <a:schemeClr val="tx1">
                    <a:lumMod val="85000"/>
                    <a:lumOff val="15000"/>
                  </a:schemeClr>
                </a:solidFill>
                <a:cs typeface="Segoe UI" panose="020B0502040204020203" pitchFamily="34" charset="0"/>
              </a:rPr>
              <a:t>. </a:t>
            </a:r>
          </a:p>
        </p:txBody>
      </p:sp>
      <p:sp>
        <p:nvSpPr>
          <p:cNvPr id="43" name="Rectangle: Rounded Corners 20">
            <a:extLst>
              <a:ext uri="{FF2B5EF4-FFF2-40B4-BE49-F238E27FC236}">
                <a16:creationId xmlns:a16="http://schemas.microsoft.com/office/drawing/2014/main" id="{D67F7EBE-5723-DF49-8729-9626AF6D2AE4}"/>
              </a:ext>
            </a:extLst>
          </p:cNvPr>
          <p:cNvSpPr/>
          <p:nvPr/>
        </p:nvSpPr>
        <p:spPr>
          <a:xfrm>
            <a:off x="7005420" y="2595824"/>
            <a:ext cx="4295807" cy="887977"/>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mj-lt"/>
                <a:cs typeface="Segoe UI" panose="020B0502040204020203" pitchFamily="34" charset="0"/>
              </a:rPr>
              <a:t>Lorem ipsum</a:t>
            </a:r>
          </a:p>
        </p:txBody>
      </p:sp>
      <p:sp>
        <p:nvSpPr>
          <p:cNvPr id="44" name="TextBox 48">
            <a:extLst>
              <a:ext uri="{FF2B5EF4-FFF2-40B4-BE49-F238E27FC236}">
                <a16:creationId xmlns:a16="http://schemas.microsoft.com/office/drawing/2014/main" id="{1C0D2E88-EC65-394D-8B2F-6ECA6F0F14CF}"/>
              </a:ext>
            </a:extLst>
          </p:cNvPr>
          <p:cNvSpPr txBox="1"/>
          <p:nvPr/>
        </p:nvSpPr>
        <p:spPr>
          <a:xfrm>
            <a:off x="6790631" y="5393384"/>
            <a:ext cx="4725387" cy="6716840"/>
          </a:xfrm>
          <a:prstGeom prst="rect">
            <a:avLst/>
          </a:prstGeom>
          <a:noFill/>
          <a:ln w="6350">
            <a:noFill/>
            <a:prstDash val="dash"/>
          </a:ln>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a:solidFill>
                  <a:schemeClr val="tx1">
                    <a:lumMod val="85000"/>
                    <a:lumOff val="15000"/>
                  </a:schemeClr>
                </a:solidFill>
                <a:cs typeface="Segoe UI" panose="020B0502040204020203" pitchFamily="34" charset="0"/>
              </a:rPr>
              <a:t>Lorem ipsum dolor sit </a:t>
            </a:r>
            <a:r>
              <a:rPr lang="en-US" sz="2800" dirty="0" err="1">
                <a:solidFill>
                  <a:schemeClr val="tx1">
                    <a:lumMod val="85000"/>
                    <a:lumOff val="15000"/>
                  </a:schemeClr>
                </a:solidFill>
                <a:cs typeface="Segoe UI" panose="020B0502040204020203" pitchFamily="34" charset="0"/>
              </a:rPr>
              <a:t>ame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consectetur</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adipiscing</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eli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Nulla</a:t>
            </a:r>
            <a:r>
              <a:rPr lang="en-US" sz="2800" dirty="0">
                <a:solidFill>
                  <a:schemeClr val="tx1">
                    <a:lumMod val="85000"/>
                    <a:lumOff val="15000"/>
                  </a:schemeClr>
                </a:solidFill>
                <a:cs typeface="Segoe UI" panose="020B0502040204020203" pitchFamily="34" charset="0"/>
              </a:rPr>
              <a:t> pharetra dolor sed </a:t>
            </a:r>
            <a:r>
              <a:rPr lang="en-US" sz="2800" dirty="0" err="1">
                <a:solidFill>
                  <a:schemeClr val="tx1">
                    <a:lumMod val="85000"/>
                    <a:lumOff val="15000"/>
                  </a:schemeClr>
                </a:solidFill>
                <a:cs typeface="Segoe UI" panose="020B0502040204020203" pitchFamily="34" charset="0"/>
              </a:rPr>
              <a:t>finibus</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aliqua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uspendisse</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volutpa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em</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finibus</a:t>
            </a:r>
            <a:r>
              <a:rPr lang="en-US" sz="2800" dirty="0">
                <a:solidFill>
                  <a:schemeClr val="tx1">
                    <a:lumMod val="85000"/>
                    <a:lumOff val="15000"/>
                  </a:schemeClr>
                </a:solidFill>
                <a:cs typeface="Segoe UI" panose="020B0502040204020203" pitchFamily="34" charset="0"/>
              </a:rPr>
              <a:t> tempus. Ut </a:t>
            </a:r>
            <a:r>
              <a:rPr lang="en-US" sz="2800" dirty="0" err="1">
                <a:solidFill>
                  <a:schemeClr val="tx1">
                    <a:lumMod val="85000"/>
                    <a:lumOff val="15000"/>
                  </a:schemeClr>
                </a:solidFill>
                <a:cs typeface="Segoe UI" panose="020B0502040204020203" pitchFamily="34" charset="0"/>
              </a:rPr>
              <a:t>vulputate</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mauris</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pretium</a:t>
            </a:r>
            <a:r>
              <a:rPr lang="en-US" sz="2800" dirty="0">
                <a:solidFill>
                  <a:schemeClr val="tx1">
                    <a:lumMod val="85000"/>
                    <a:lumOff val="15000"/>
                  </a:schemeClr>
                </a:solidFill>
                <a:cs typeface="Segoe UI" panose="020B0502040204020203" pitchFamily="34" charset="0"/>
              </a:rPr>
              <a:t> dictum. Maecenas </a:t>
            </a:r>
            <a:r>
              <a:rPr lang="en-US" sz="2800" dirty="0" err="1">
                <a:solidFill>
                  <a:schemeClr val="tx1">
                    <a:lumMod val="85000"/>
                    <a:lumOff val="15000"/>
                  </a:schemeClr>
                </a:solidFill>
                <a:cs typeface="Segoe UI" panose="020B0502040204020203" pitchFamily="34" charset="0"/>
              </a:rPr>
              <a:t>sodales</a:t>
            </a:r>
            <a:r>
              <a:rPr lang="en-US" sz="2800" dirty="0">
                <a:solidFill>
                  <a:schemeClr val="tx1">
                    <a:lumMod val="85000"/>
                    <a:lumOff val="15000"/>
                  </a:schemeClr>
                </a:solidFill>
                <a:cs typeface="Segoe UI" panose="020B0502040204020203" pitchFamily="34" charset="0"/>
              </a:rPr>
              <a:t> tempus </a:t>
            </a:r>
            <a:r>
              <a:rPr lang="en-US" sz="2800" dirty="0" err="1">
                <a:solidFill>
                  <a:schemeClr val="tx1">
                    <a:lumMod val="85000"/>
                    <a:lumOff val="15000"/>
                  </a:schemeClr>
                </a:solidFill>
                <a:cs typeface="Segoe UI" panose="020B0502040204020203" pitchFamily="34" charset="0"/>
              </a:rPr>
              <a:t>risus</a:t>
            </a:r>
            <a:r>
              <a:rPr lang="en-US" sz="2800" dirty="0">
                <a:solidFill>
                  <a:schemeClr val="tx1">
                    <a:lumMod val="85000"/>
                    <a:lumOff val="15000"/>
                  </a:schemeClr>
                </a:solidFill>
                <a:cs typeface="Segoe UI" panose="020B0502040204020203" pitchFamily="34" charset="0"/>
              </a:rPr>
              <a:t>. Vestibulum </a:t>
            </a:r>
            <a:r>
              <a:rPr lang="en-US" sz="2800" dirty="0" err="1">
                <a:solidFill>
                  <a:schemeClr val="tx1">
                    <a:lumMod val="85000"/>
                    <a:lumOff val="15000"/>
                  </a:schemeClr>
                </a:solidFill>
                <a:cs typeface="Segoe UI" panose="020B0502040204020203" pitchFamily="34" charset="0"/>
              </a:rPr>
              <a:t>eros</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e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fringilla</a:t>
            </a:r>
            <a:r>
              <a:rPr lang="en-US" sz="2800" dirty="0">
                <a:solidFill>
                  <a:schemeClr val="tx1">
                    <a:lumMod val="85000"/>
                    <a:lumOff val="15000"/>
                  </a:schemeClr>
                </a:solidFill>
                <a:cs typeface="Segoe UI" panose="020B0502040204020203" pitchFamily="34" charset="0"/>
              </a:rPr>
              <a:t> id </a:t>
            </a:r>
            <a:r>
              <a:rPr lang="en-US" sz="2800" dirty="0" err="1">
                <a:solidFill>
                  <a:schemeClr val="tx1">
                    <a:lumMod val="85000"/>
                    <a:lumOff val="15000"/>
                  </a:schemeClr>
                </a:solidFill>
                <a:cs typeface="Segoe UI" panose="020B0502040204020203" pitchFamily="34" charset="0"/>
              </a:rPr>
              <a:t>commodo</a:t>
            </a:r>
            <a:r>
              <a:rPr lang="en-US" sz="2800" dirty="0">
                <a:solidFill>
                  <a:schemeClr val="tx1">
                    <a:lumMod val="85000"/>
                    <a:lumOff val="15000"/>
                  </a:schemeClr>
                </a:solidFill>
                <a:cs typeface="Segoe UI" panose="020B0502040204020203" pitchFamily="34" charset="0"/>
              </a:rPr>
              <a:t> sit </a:t>
            </a:r>
            <a:r>
              <a:rPr lang="en-US" sz="2800" dirty="0" err="1">
                <a:solidFill>
                  <a:schemeClr val="tx1">
                    <a:lumMod val="85000"/>
                    <a:lumOff val="15000"/>
                  </a:schemeClr>
                </a:solidFill>
                <a:cs typeface="Segoe UI" panose="020B0502040204020203" pitchFamily="34" charset="0"/>
              </a:rPr>
              <a:t>ame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molestie</a:t>
            </a:r>
            <a:r>
              <a:rPr lang="en-US" sz="2800" dirty="0">
                <a:solidFill>
                  <a:schemeClr val="tx1">
                    <a:lumMod val="85000"/>
                    <a:lumOff val="15000"/>
                  </a:schemeClr>
                </a:solidFill>
                <a:cs typeface="Segoe UI" panose="020B0502040204020203" pitchFamily="34" charset="0"/>
              </a:rPr>
              <a:t> sed dolor. </a:t>
            </a:r>
            <a:r>
              <a:rPr lang="en-US" sz="2800" dirty="0" err="1">
                <a:solidFill>
                  <a:schemeClr val="tx1">
                    <a:lumMod val="85000"/>
                    <a:lumOff val="15000"/>
                  </a:schemeClr>
                </a:solidFill>
                <a:cs typeface="Segoe UI" panose="020B0502040204020203" pitchFamily="34" charset="0"/>
              </a:rPr>
              <a:t>Aliqua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iaculis</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velit</a:t>
            </a:r>
            <a:r>
              <a:rPr lang="en-US" sz="2800" dirty="0">
                <a:solidFill>
                  <a:schemeClr val="tx1">
                    <a:lumMod val="85000"/>
                    <a:lumOff val="15000"/>
                  </a:schemeClr>
                </a:solidFill>
                <a:cs typeface="Segoe UI" panose="020B0502040204020203" pitchFamily="34" charset="0"/>
              </a:rPr>
              <a:t> convallis </a:t>
            </a:r>
            <a:r>
              <a:rPr lang="en-US" sz="2800" dirty="0" err="1">
                <a:solidFill>
                  <a:schemeClr val="tx1">
                    <a:lumMod val="85000"/>
                    <a:lumOff val="15000"/>
                  </a:schemeClr>
                </a:solidFill>
                <a:cs typeface="Segoe UI" panose="020B0502040204020203" pitchFamily="34" charset="0"/>
              </a:rPr>
              <a:t>efficitur</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Proin</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nec</a:t>
            </a:r>
            <a:r>
              <a:rPr lang="en-US" sz="2800" dirty="0">
                <a:solidFill>
                  <a:schemeClr val="tx1">
                    <a:lumMod val="85000"/>
                    <a:lumOff val="15000"/>
                  </a:schemeClr>
                </a:solidFill>
                <a:cs typeface="Segoe UI" panose="020B0502040204020203" pitchFamily="34" charset="0"/>
              </a:rPr>
              <a:t> dui </a:t>
            </a:r>
            <a:r>
              <a:rPr lang="en-US" sz="2800" dirty="0" err="1">
                <a:solidFill>
                  <a:schemeClr val="tx1">
                    <a:lumMod val="85000"/>
                    <a:lumOff val="15000"/>
                  </a:schemeClr>
                </a:solidFill>
                <a:cs typeface="Segoe UI" panose="020B0502040204020203" pitchFamily="34" charset="0"/>
              </a:rPr>
              <a:t>lectus</a:t>
            </a:r>
            <a:r>
              <a:rPr lang="en-US" sz="2800" dirty="0">
                <a:solidFill>
                  <a:schemeClr val="tx1">
                    <a:lumMod val="85000"/>
                    <a:lumOff val="15000"/>
                  </a:schemeClr>
                </a:solidFill>
                <a:cs typeface="Segoe UI" panose="020B0502040204020203" pitchFamily="34" charset="0"/>
              </a:rPr>
              <a:t>. </a:t>
            </a:r>
          </a:p>
        </p:txBody>
      </p:sp>
      <p:sp>
        <p:nvSpPr>
          <p:cNvPr id="45" name="Rectangle: Rounded Corners 25">
            <a:extLst>
              <a:ext uri="{FF2B5EF4-FFF2-40B4-BE49-F238E27FC236}">
                <a16:creationId xmlns:a16="http://schemas.microsoft.com/office/drawing/2014/main" id="{C19B93AC-2FF3-8E45-80B0-9E07BFD2E1FF}"/>
              </a:ext>
            </a:extLst>
          </p:cNvPr>
          <p:cNvSpPr/>
          <p:nvPr/>
        </p:nvSpPr>
        <p:spPr>
          <a:xfrm>
            <a:off x="12605058" y="2595824"/>
            <a:ext cx="4295807" cy="887977"/>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mj-lt"/>
                <a:cs typeface="Segoe UI" panose="020B0502040204020203" pitchFamily="34" charset="0"/>
              </a:rPr>
              <a:t>Lorem ipsum</a:t>
            </a:r>
          </a:p>
        </p:txBody>
      </p:sp>
      <p:sp>
        <p:nvSpPr>
          <p:cNvPr id="46" name="TextBox 48">
            <a:extLst>
              <a:ext uri="{FF2B5EF4-FFF2-40B4-BE49-F238E27FC236}">
                <a16:creationId xmlns:a16="http://schemas.microsoft.com/office/drawing/2014/main" id="{27991533-5F52-5343-B3DA-B282D91A4975}"/>
              </a:ext>
            </a:extLst>
          </p:cNvPr>
          <p:cNvSpPr txBox="1"/>
          <p:nvPr/>
        </p:nvSpPr>
        <p:spPr>
          <a:xfrm>
            <a:off x="12390269" y="5393384"/>
            <a:ext cx="4725387" cy="6716840"/>
          </a:xfrm>
          <a:prstGeom prst="rect">
            <a:avLst/>
          </a:prstGeom>
          <a:noFill/>
          <a:ln w="6350">
            <a:noFill/>
            <a:prstDash val="dash"/>
          </a:ln>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a:solidFill>
                  <a:schemeClr val="tx1">
                    <a:lumMod val="85000"/>
                    <a:lumOff val="15000"/>
                  </a:schemeClr>
                </a:solidFill>
                <a:cs typeface="Segoe UI" panose="020B0502040204020203" pitchFamily="34" charset="0"/>
              </a:rPr>
              <a:t>Lorem ipsum dolor sit </a:t>
            </a:r>
            <a:r>
              <a:rPr lang="en-US" sz="2800" dirty="0" err="1">
                <a:solidFill>
                  <a:schemeClr val="tx1">
                    <a:lumMod val="85000"/>
                    <a:lumOff val="15000"/>
                  </a:schemeClr>
                </a:solidFill>
                <a:cs typeface="Segoe UI" panose="020B0502040204020203" pitchFamily="34" charset="0"/>
              </a:rPr>
              <a:t>ame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consectetur</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adipiscing</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eli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Nulla</a:t>
            </a:r>
            <a:r>
              <a:rPr lang="en-US" sz="2800" dirty="0">
                <a:solidFill>
                  <a:schemeClr val="tx1">
                    <a:lumMod val="85000"/>
                    <a:lumOff val="15000"/>
                  </a:schemeClr>
                </a:solidFill>
                <a:cs typeface="Segoe UI" panose="020B0502040204020203" pitchFamily="34" charset="0"/>
              </a:rPr>
              <a:t> pharetra dolor sed </a:t>
            </a:r>
            <a:r>
              <a:rPr lang="en-US" sz="2800" dirty="0" err="1">
                <a:solidFill>
                  <a:schemeClr val="tx1">
                    <a:lumMod val="85000"/>
                    <a:lumOff val="15000"/>
                  </a:schemeClr>
                </a:solidFill>
                <a:cs typeface="Segoe UI" panose="020B0502040204020203" pitchFamily="34" charset="0"/>
              </a:rPr>
              <a:t>finibus</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aliqua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uspendisse</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volutpa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em</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finibus</a:t>
            </a:r>
            <a:r>
              <a:rPr lang="en-US" sz="2800" dirty="0">
                <a:solidFill>
                  <a:schemeClr val="tx1">
                    <a:lumMod val="85000"/>
                    <a:lumOff val="15000"/>
                  </a:schemeClr>
                </a:solidFill>
                <a:cs typeface="Segoe UI" panose="020B0502040204020203" pitchFamily="34" charset="0"/>
              </a:rPr>
              <a:t> tempus. Ut </a:t>
            </a:r>
            <a:r>
              <a:rPr lang="en-US" sz="2800" dirty="0" err="1">
                <a:solidFill>
                  <a:schemeClr val="tx1">
                    <a:lumMod val="85000"/>
                    <a:lumOff val="15000"/>
                  </a:schemeClr>
                </a:solidFill>
                <a:cs typeface="Segoe UI" panose="020B0502040204020203" pitchFamily="34" charset="0"/>
              </a:rPr>
              <a:t>vulputate</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mauris</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pretium</a:t>
            </a:r>
            <a:r>
              <a:rPr lang="en-US" sz="2800" dirty="0">
                <a:solidFill>
                  <a:schemeClr val="tx1">
                    <a:lumMod val="85000"/>
                    <a:lumOff val="15000"/>
                  </a:schemeClr>
                </a:solidFill>
                <a:cs typeface="Segoe UI" panose="020B0502040204020203" pitchFamily="34" charset="0"/>
              </a:rPr>
              <a:t> dictum. Maecenas </a:t>
            </a:r>
            <a:r>
              <a:rPr lang="en-US" sz="2800" dirty="0" err="1">
                <a:solidFill>
                  <a:schemeClr val="tx1">
                    <a:lumMod val="85000"/>
                    <a:lumOff val="15000"/>
                  </a:schemeClr>
                </a:solidFill>
                <a:cs typeface="Segoe UI" panose="020B0502040204020203" pitchFamily="34" charset="0"/>
              </a:rPr>
              <a:t>sodales</a:t>
            </a:r>
            <a:r>
              <a:rPr lang="en-US" sz="2800" dirty="0">
                <a:solidFill>
                  <a:schemeClr val="tx1">
                    <a:lumMod val="85000"/>
                    <a:lumOff val="15000"/>
                  </a:schemeClr>
                </a:solidFill>
                <a:cs typeface="Segoe UI" panose="020B0502040204020203" pitchFamily="34" charset="0"/>
              </a:rPr>
              <a:t> tempus </a:t>
            </a:r>
            <a:r>
              <a:rPr lang="en-US" sz="2800" dirty="0" err="1">
                <a:solidFill>
                  <a:schemeClr val="tx1">
                    <a:lumMod val="85000"/>
                    <a:lumOff val="15000"/>
                  </a:schemeClr>
                </a:solidFill>
                <a:cs typeface="Segoe UI" panose="020B0502040204020203" pitchFamily="34" charset="0"/>
              </a:rPr>
              <a:t>risus</a:t>
            </a:r>
            <a:r>
              <a:rPr lang="en-US" sz="2800" dirty="0">
                <a:solidFill>
                  <a:schemeClr val="tx1">
                    <a:lumMod val="85000"/>
                    <a:lumOff val="15000"/>
                  </a:schemeClr>
                </a:solidFill>
                <a:cs typeface="Segoe UI" panose="020B0502040204020203" pitchFamily="34" charset="0"/>
              </a:rPr>
              <a:t>. Vestibulum </a:t>
            </a:r>
            <a:r>
              <a:rPr lang="en-US" sz="2800" dirty="0" err="1">
                <a:solidFill>
                  <a:schemeClr val="tx1">
                    <a:lumMod val="85000"/>
                    <a:lumOff val="15000"/>
                  </a:schemeClr>
                </a:solidFill>
                <a:cs typeface="Segoe UI" panose="020B0502040204020203" pitchFamily="34" charset="0"/>
              </a:rPr>
              <a:t>eros</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e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fringilla</a:t>
            </a:r>
            <a:r>
              <a:rPr lang="en-US" sz="2800" dirty="0">
                <a:solidFill>
                  <a:schemeClr val="tx1">
                    <a:lumMod val="85000"/>
                    <a:lumOff val="15000"/>
                  </a:schemeClr>
                </a:solidFill>
                <a:cs typeface="Segoe UI" panose="020B0502040204020203" pitchFamily="34" charset="0"/>
              </a:rPr>
              <a:t> id </a:t>
            </a:r>
            <a:r>
              <a:rPr lang="en-US" sz="2800" dirty="0" err="1">
                <a:solidFill>
                  <a:schemeClr val="tx1">
                    <a:lumMod val="85000"/>
                    <a:lumOff val="15000"/>
                  </a:schemeClr>
                </a:solidFill>
                <a:cs typeface="Segoe UI" panose="020B0502040204020203" pitchFamily="34" charset="0"/>
              </a:rPr>
              <a:t>commodo</a:t>
            </a:r>
            <a:r>
              <a:rPr lang="en-US" sz="2800" dirty="0">
                <a:solidFill>
                  <a:schemeClr val="tx1">
                    <a:lumMod val="85000"/>
                    <a:lumOff val="15000"/>
                  </a:schemeClr>
                </a:solidFill>
                <a:cs typeface="Segoe UI" panose="020B0502040204020203" pitchFamily="34" charset="0"/>
              </a:rPr>
              <a:t> sit </a:t>
            </a:r>
            <a:r>
              <a:rPr lang="en-US" sz="2800" dirty="0" err="1">
                <a:solidFill>
                  <a:schemeClr val="tx1">
                    <a:lumMod val="85000"/>
                    <a:lumOff val="15000"/>
                  </a:schemeClr>
                </a:solidFill>
                <a:cs typeface="Segoe UI" panose="020B0502040204020203" pitchFamily="34" charset="0"/>
              </a:rPr>
              <a:t>ame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molestie</a:t>
            </a:r>
            <a:r>
              <a:rPr lang="en-US" sz="2800" dirty="0">
                <a:solidFill>
                  <a:schemeClr val="tx1">
                    <a:lumMod val="85000"/>
                    <a:lumOff val="15000"/>
                  </a:schemeClr>
                </a:solidFill>
                <a:cs typeface="Segoe UI" panose="020B0502040204020203" pitchFamily="34" charset="0"/>
              </a:rPr>
              <a:t> sed dolor. </a:t>
            </a:r>
            <a:r>
              <a:rPr lang="en-US" sz="2800" dirty="0" err="1">
                <a:solidFill>
                  <a:schemeClr val="tx1">
                    <a:lumMod val="85000"/>
                    <a:lumOff val="15000"/>
                  </a:schemeClr>
                </a:solidFill>
                <a:cs typeface="Segoe UI" panose="020B0502040204020203" pitchFamily="34" charset="0"/>
              </a:rPr>
              <a:t>Aliqua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iaculis</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velit</a:t>
            </a:r>
            <a:r>
              <a:rPr lang="en-US" sz="2800" dirty="0">
                <a:solidFill>
                  <a:schemeClr val="tx1">
                    <a:lumMod val="85000"/>
                    <a:lumOff val="15000"/>
                  </a:schemeClr>
                </a:solidFill>
                <a:cs typeface="Segoe UI" panose="020B0502040204020203" pitchFamily="34" charset="0"/>
              </a:rPr>
              <a:t> convallis </a:t>
            </a:r>
            <a:r>
              <a:rPr lang="en-US" sz="2800" dirty="0" err="1">
                <a:solidFill>
                  <a:schemeClr val="tx1">
                    <a:lumMod val="85000"/>
                    <a:lumOff val="15000"/>
                  </a:schemeClr>
                </a:solidFill>
                <a:cs typeface="Segoe UI" panose="020B0502040204020203" pitchFamily="34" charset="0"/>
              </a:rPr>
              <a:t>efficitur</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Proin</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nec</a:t>
            </a:r>
            <a:r>
              <a:rPr lang="en-US" sz="2800" dirty="0">
                <a:solidFill>
                  <a:schemeClr val="tx1">
                    <a:lumMod val="85000"/>
                    <a:lumOff val="15000"/>
                  </a:schemeClr>
                </a:solidFill>
                <a:cs typeface="Segoe UI" panose="020B0502040204020203" pitchFamily="34" charset="0"/>
              </a:rPr>
              <a:t> dui </a:t>
            </a:r>
            <a:r>
              <a:rPr lang="en-US" sz="2800" dirty="0" err="1">
                <a:solidFill>
                  <a:schemeClr val="tx1">
                    <a:lumMod val="85000"/>
                    <a:lumOff val="15000"/>
                  </a:schemeClr>
                </a:solidFill>
                <a:cs typeface="Segoe UI" panose="020B0502040204020203" pitchFamily="34" charset="0"/>
              </a:rPr>
              <a:t>lectus</a:t>
            </a:r>
            <a:r>
              <a:rPr lang="en-US" sz="2800" dirty="0">
                <a:solidFill>
                  <a:schemeClr val="tx1">
                    <a:lumMod val="85000"/>
                    <a:lumOff val="15000"/>
                  </a:schemeClr>
                </a:solidFill>
                <a:cs typeface="Segoe UI" panose="020B0502040204020203" pitchFamily="34" charset="0"/>
              </a:rPr>
              <a:t>. </a:t>
            </a:r>
          </a:p>
        </p:txBody>
      </p:sp>
      <p:sp>
        <p:nvSpPr>
          <p:cNvPr id="47" name="Rectangle: Rounded Corners 27">
            <a:extLst>
              <a:ext uri="{FF2B5EF4-FFF2-40B4-BE49-F238E27FC236}">
                <a16:creationId xmlns:a16="http://schemas.microsoft.com/office/drawing/2014/main" id="{BE8BC894-E8D1-914C-A6E0-C1CA078C3581}"/>
              </a:ext>
            </a:extLst>
          </p:cNvPr>
          <p:cNvSpPr/>
          <p:nvPr/>
        </p:nvSpPr>
        <p:spPr>
          <a:xfrm>
            <a:off x="18243641" y="2595824"/>
            <a:ext cx="4295807" cy="887977"/>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mj-lt"/>
                <a:cs typeface="Segoe UI" panose="020B0502040204020203" pitchFamily="34" charset="0"/>
              </a:rPr>
              <a:t>Lorem ipsum</a:t>
            </a:r>
          </a:p>
        </p:txBody>
      </p:sp>
      <p:sp>
        <p:nvSpPr>
          <p:cNvPr id="48" name="TextBox 48">
            <a:extLst>
              <a:ext uri="{FF2B5EF4-FFF2-40B4-BE49-F238E27FC236}">
                <a16:creationId xmlns:a16="http://schemas.microsoft.com/office/drawing/2014/main" id="{5756A6EA-FA2E-2345-B7E1-585DB673C85C}"/>
              </a:ext>
            </a:extLst>
          </p:cNvPr>
          <p:cNvSpPr txBox="1"/>
          <p:nvPr/>
        </p:nvSpPr>
        <p:spPr>
          <a:xfrm>
            <a:off x="18028852" y="5393384"/>
            <a:ext cx="4725387" cy="6716840"/>
          </a:xfrm>
          <a:prstGeom prst="rect">
            <a:avLst/>
          </a:prstGeom>
          <a:noFill/>
          <a:ln w="6350">
            <a:noFill/>
            <a:prstDash val="dash"/>
          </a:ln>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a:solidFill>
                  <a:schemeClr val="tx1">
                    <a:lumMod val="85000"/>
                    <a:lumOff val="15000"/>
                  </a:schemeClr>
                </a:solidFill>
                <a:cs typeface="Segoe UI" panose="020B0502040204020203" pitchFamily="34" charset="0"/>
              </a:rPr>
              <a:t>Lorem ipsum dolor sit </a:t>
            </a:r>
            <a:r>
              <a:rPr lang="en-US" sz="2800" dirty="0" err="1">
                <a:solidFill>
                  <a:schemeClr val="tx1">
                    <a:lumMod val="85000"/>
                    <a:lumOff val="15000"/>
                  </a:schemeClr>
                </a:solidFill>
                <a:cs typeface="Segoe UI" panose="020B0502040204020203" pitchFamily="34" charset="0"/>
              </a:rPr>
              <a:t>ame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consectetur</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adipiscing</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eli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Nulla</a:t>
            </a:r>
            <a:r>
              <a:rPr lang="en-US" sz="2800" dirty="0">
                <a:solidFill>
                  <a:schemeClr val="tx1">
                    <a:lumMod val="85000"/>
                    <a:lumOff val="15000"/>
                  </a:schemeClr>
                </a:solidFill>
                <a:cs typeface="Segoe UI" panose="020B0502040204020203" pitchFamily="34" charset="0"/>
              </a:rPr>
              <a:t> pharetra dolor sed </a:t>
            </a:r>
            <a:r>
              <a:rPr lang="en-US" sz="2800" dirty="0" err="1">
                <a:solidFill>
                  <a:schemeClr val="tx1">
                    <a:lumMod val="85000"/>
                    <a:lumOff val="15000"/>
                  </a:schemeClr>
                </a:solidFill>
                <a:cs typeface="Segoe UI" panose="020B0502040204020203" pitchFamily="34" charset="0"/>
              </a:rPr>
              <a:t>finibus</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aliqua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uspendisse</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volutpa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em</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finibus</a:t>
            </a:r>
            <a:r>
              <a:rPr lang="en-US" sz="2800" dirty="0">
                <a:solidFill>
                  <a:schemeClr val="tx1">
                    <a:lumMod val="85000"/>
                    <a:lumOff val="15000"/>
                  </a:schemeClr>
                </a:solidFill>
                <a:cs typeface="Segoe UI" panose="020B0502040204020203" pitchFamily="34" charset="0"/>
              </a:rPr>
              <a:t> tempus. Ut </a:t>
            </a:r>
            <a:r>
              <a:rPr lang="en-US" sz="2800" dirty="0" err="1">
                <a:solidFill>
                  <a:schemeClr val="tx1">
                    <a:lumMod val="85000"/>
                    <a:lumOff val="15000"/>
                  </a:schemeClr>
                </a:solidFill>
                <a:cs typeface="Segoe UI" panose="020B0502040204020203" pitchFamily="34" charset="0"/>
              </a:rPr>
              <a:t>vulputate</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mauris</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pretium</a:t>
            </a:r>
            <a:r>
              <a:rPr lang="en-US" sz="2800" dirty="0">
                <a:solidFill>
                  <a:schemeClr val="tx1">
                    <a:lumMod val="85000"/>
                    <a:lumOff val="15000"/>
                  </a:schemeClr>
                </a:solidFill>
                <a:cs typeface="Segoe UI" panose="020B0502040204020203" pitchFamily="34" charset="0"/>
              </a:rPr>
              <a:t> dictum. Maecenas </a:t>
            </a:r>
            <a:r>
              <a:rPr lang="en-US" sz="2800" dirty="0" err="1">
                <a:solidFill>
                  <a:schemeClr val="tx1">
                    <a:lumMod val="85000"/>
                    <a:lumOff val="15000"/>
                  </a:schemeClr>
                </a:solidFill>
                <a:cs typeface="Segoe UI" panose="020B0502040204020203" pitchFamily="34" charset="0"/>
              </a:rPr>
              <a:t>sodales</a:t>
            </a:r>
            <a:r>
              <a:rPr lang="en-US" sz="2800" dirty="0">
                <a:solidFill>
                  <a:schemeClr val="tx1">
                    <a:lumMod val="85000"/>
                    <a:lumOff val="15000"/>
                  </a:schemeClr>
                </a:solidFill>
                <a:cs typeface="Segoe UI" panose="020B0502040204020203" pitchFamily="34" charset="0"/>
              </a:rPr>
              <a:t> tempus </a:t>
            </a:r>
            <a:r>
              <a:rPr lang="en-US" sz="2800" dirty="0" err="1">
                <a:solidFill>
                  <a:schemeClr val="tx1">
                    <a:lumMod val="85000"/>
                    <a:lumOff val="15000"/>
                  </a:schemeClr>
                </a:solidFill>
                <a:cs typeface="Segoe UI" panose="020B0502040204020203" pitchFamily="34" charset="0"/>
              </a:rPr>
              <a:t>risus</a:t>
            </a:r>
            <a:r>
              <a:rPr lang="en-US" sz="2800" dirty="0">
                <a:solidFill>
                  <a:schemeClr val="tx1">
                    <a:lumMod val="85000"/>
                    <a:lumOff val="15000"/>
                  </a:schemeClr>
                </a:solidFill>
                <a:cs typeface="Segoe UI" panose="020B0502040204020203" pitchFamily="34" charset="0"/>
              </a:rPr>
              <a:t>. Vestibulum </a:t>
            </a:r>
            <a:r>
              <a:rPr lang="en-US" sz="2800" dirty="0" err="1">
                <a:solidFill>
                  <a:schemeClr val="tx1">
                    <a:lumMod val="85000"/>
                    <a:lumOff val="15000"/>
                  </a:schemeClr>
                </a:solidFill>
                <a:cs typeface="Segoe UI" panose="020B0502040204020203" pitchFamily="34" charset="0"/>
              </a:rPr>
              <a:t>eros</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e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fringilla</a:t>
            </a:r>
            <a:r>
              <a:rPr lang="en-US" sz="2800" dirty="0">
                <a:solidFill>
                  <a:schemeClr val="tx1">
                    <a:lumMod val="85000"/>
                    <a:lumOff val="15000"/>
                  </a:schemeClr>
                </a:solidFill>
                <a:cs typeface="Segoe UI" panose="020B0502040204020203" pitchFamily="34" charset="0"/>
              </a:rPr>
              <a:t> id </a:t>
            </a:r>
            <a:r>
              <a:rPr lang="en-US" sz="2800" dirty="0" err="1">
                <a:solidFill>
                  <a:schemeClr val="tx1">
                    <a:lumMod val="85000"/>
                    <a:lumOff val="15000"/>
                  </a:schemeClr>
                </a:solidFill>
                <a:cs typeface="Segoe UI" panose="020B0502040204020203" pitchFamily="34" charset="0"/>
              </a:rPr>
              <a:t>commodo</a:t>
            </a:r>
            <a:r>
              <a:rPr lang="en-US" sz="2800" dirty="0">
                <a:solidFill>
                  <a:schemeClr val="tx1">
                    <a:lumMod val="85000"/>
                    <a:lumOff val="15000"/>
                  </a:schemeClr>
                </a:solidFill>
                <a:cs typeface="Segoe UI" panose="020B0502040204020203" pitchFamily="34" charset="0"/>
              </a:rPr>
              <a:t> sit </a:t>
            </a:r>
            <a:r>
              <a:rPr lang="en-US" sz="2800" dirty="0" err="1">
                <a:solidFill>
                  <a:schemeClr val="tx1">
                    <a:lumMod val="85000"/>
                    <a:lumOff val="15000"/>
                  </a:schemeClr>
                </a:solidFill>
                <a:cs typeface="Segoe UI" panose="020B0502040204020203" pitchFamily="34" charset="0"/>
              </a:rPr>
              <a:t>ame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molestie</a:t>
            </a:r>
            <a:r>
              <a:rPr lang="en-US" sz="2800" dirty="0">
                <a:solidFill>
                  <a:schemeClr val="tx1">
                    <a:lumMod val="85000"/>
                    <a:lumOff val="15000"/>
                  </a:schemeClr>
                </a:solidFill>
                <a:cs typeface="Segoe UI" panose="020B0502040204020203" pitchFamily="34" charset="0"/>
              </a:rPr>
              <a:t> sed dolor. </a:t>
            </a:r>
            <a:r>
              <a:rPr lang="en-US" sz="2800" dirty="0" err="1">
                <a:solidFill>
                  <a:schemeClr val="tx1">
                    <a:lumMod val="85000"/>
                    <a:lumOff val="15000"/>
                  </a:schemeClr>
                </a:solidFill>
                <a:cs typeface="Segoe UI" panose="020B0502040204020203" pitchFamily="34" charset="0"/>
              </a:rPr>
              <a:t>Aliqua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iaculis</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velit</a:t>
            </a:r>
            <a:r>
              <a:rPr lang="en-US" sz="2800" dirty="0">
                <a:solidFill>
                  <a:schemeClr val="tx1">
                    <a:lumMod val="85000"/>
                    <a:lumOff val="15000"/>
                  </a:schemeClr>
                </a:solidFill>
                <a:cs typeface="Segoe UI" panose="020B0502040204020203" pitchFamily="34" charset="0"/>
              </a:rPr>
              <a:t> convallis </a:t>
            </a:r>
            <a:r>
              <a:rPr lang="en-US" sz="2800" dirty="0" err="1">
                <a:solidFill>
                  <a:schemeClr val="tx1">
                    <a:lumMod val="85000"/>
                    <a:lumOff val="15000"/>
                  </a:schemeClr>
                </a:solidFill>
                <a:cs typeface="Segoe UI" panose="020B0502040204020203" pitchFamily="34" charset="0"/>
              </a:rPr>
              <a:t>efficitur</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Proin</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nec</a:t>
            </a:r>
            <a:r>
              <a:rPr lang="en-US" sz="2800" dirty="0">
                <a:solidFill>
                  <a:schemeClr val="tx1">
                    <a:lumMod val="85000"/>
                    <a:lumOff val="15000"/>
                  </a:schemeClr>
                </a:solidFill>
                <a:cs typeface="Segoe UI" panose="020B0502040204020203" pitchFamily="34" charset="0"/>
              </a:rPr>
              <a:t> dui </a:t>
            </a:r>
            <a:r>
              <a:rPr lang="en-US" sz="2800" dirty="0" err="1">
                <a:solidFill>
                  <a:schemeClr val="tx1">
                    <a:lumMod val="85000"/>
                    <a:lumOff val="15000"/>
                  </a:schemeClr>
                </a:solidFill>
                <a:cs typeface="Segoe UI" panose="020B0502040204020203" pitchFamily="34" charset="0"/>
              </a:rPr>
              <a:t>lectus</a:t>
            </a:r>
            <a:r>
              <a:rPr lang="en-US" sz="2800" dirty="0">
                <a:solidFill>
                  <a:schemeClr val="tx1">
                    <a:lumMod val="85000"/>
                    <a:lumOff val="15000"/>
                  </a:schemeClr>
                </a:solidFill>
                <a:cs typeface="Segoe UI" panose="020B0502040204020203" pitchFamily="34" charset="0"/>
              </a:rPr>
              <a:t>. </a:t>
            </a:r>
          </a:p>
        </p:txBody>
      </p:sp>
      <p:grpSp>
        <p:nvGrpSpPr>
          <p:cNvPr id="49" name="Group 48">
            <a:extLst>
              <a:ext uri="{FF2B5EF4-FFF2-40B4-BE49-F238E27FC236}">
                <a16:creationId xmlns:a16="http://schemas.microsoft.com/office/drawing/2014/main" id="{2FCA0C56-EE0D-AF43-84E7-5093F7DACFFB}"/>
              </a:ext>
            </a:extLst>
          </p:cNvPr>
          <p:cNvGrpSpPr/>
          <p:nvPr/>
        </p:nvGrpSpPr>
        <p:grpSpPr>
          <a:xfrm>
            <a:off x="2589475" y="3603755"/>
            <a:ext cx="1765495" cy="1765495"/>
            <a:chOff x="1701283" y="2187979"/>
            <a:chExt cx="520505" cy="520505"/>
          </a:xfrm>
        </p:grpSpPr>
        <p:sp>
          <p:nvSpPr>
            <p:cNvPr id="50" name="Oval 49">
              <a:extLst>
                <a:ext uri="{FF2B5EF4-FFF2-40B4-BE49-F238E27FC236}">
                  <a16:creationId xmlns:a16="http://schemas.microsoft.com/office/drawing/2014/main" id="{B29FE05A-9652-564C-928F-77BD47912AB2}"/>
                </a:ext>
              </a:extLst>
            </p:cNvPr>
            <p:cNvSpPr/>
            <p:nvPr/>
          </p:nvSpPr>
          <p:spPr>
            <a:xfrm>
              <a:off x="1701283" y="2187979"/>
              <a:ext cx="520505" cy="520505"/>
            </a:xfrm>
            <a:prstGeom prst="ellipse">
              <a:avLst/>
            </a:prstGeom>
            <a:solidFill>
              <a:schemeClr val="accent3"/>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oup 50">
              <a:extLst>
                <a:ext uri="{FF2B5EF4-FFF2-40B4-BE49-F238E27FC236}">
                  <a16:creationId xmlns:a16="http://schemas.microsoft.com/office/drawing/2014/main" id="{4C3C6115-7CB6-5844-8324-25AEC402F249}"/>
                </a:ext>
              </a:extLst>
            </p:cNvPr>
            <p:cNvGrpSpPr/>
            <p:nvPr/>
          </p:nvGrpSpPr>
          <p:grpSpPr>
            <a:xfrm>
              <a:off x="1779234" y="2353498"/>
              <a:ext cx="293164" cy="294242"/>
              <a:chOff x="4011613" y="2555876"/>
              <a:chExt cx="431800" cy="433388"/>
            </a:xfrm>
          </p:grpSpPr>
          <p:sp>
            <p:nvSpPr>
              <p:cNvPr id="52" name="Line 5">
                <a:extLst>
                  <a:ext uri="{FF2B5EF4-FFF2-40B4-BE49-F238E27FC236}">
                    <a16:creationId xmlns:a16="http://schemas.microsoft.com/office/drawing/2014/main" id="{2B057F07-A5CF-644B-B0CB-C59876680B0C}"/>
                  </a:ext>
                </a:extLst>
              </p:cNvPr>
              <p:cNvSpPr>
                <a:spLocks noChangeShapeType="1"/>
              </p:cNvSpPr>
              <p:nvPr/>
            </p:nvSpPr>
            <p:spPr bwMode="auto">
              <a:xfrm flipH="1">
                <a:off x="4149726" y="2668588"/>
                <a:ext cx="180975" cy="180975"/>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3" name="Freeform 6">
                <a:extLst>
                  <a:ext uri="{FF2B5EF4-FFF2-40B4-BE49-F238E27FC236}">
                    <a16:creationId xmlns:a16="http://schemas.microsoft.com/office/drawing/2014/main" id="{01530C02-4F39-CC4B-95B2-D6A2B59F8EA5}"/>
                  </a:ext>
                </a:extLst>
              </p:cNvPr>
              <p:cNvSpPr>
                <a:spLocks/>
              </p:cNvSpPr>
              <p:nvPr/>
            </p:nvSpPr>
            <p:spPr bwMode="auto">
              <a:xfrm>
                <a:off x="4011613" y="2555876"/>
                <a:ext cx="431800" cy="433388"/>
              </a:xfrm>
              <a:custGeom>
                <a:avLst/>
                <a:gdLst>
                  <a:gd name="T0" fmla="*/ 115 w 115"/>
                  <a:gd name="T1" fmla="*/ 0 h 115"/>
                  <a:gd name="T2" fmla="*/ 40 w 115"/>
                  <a:gd name="T3" fmla="*/ 75 h 115"/>
                  <a:gd name="T4" fmla="*/ 115 w 115"/>
                  <a:gd name="T5" fmla="*/ 0 h 115"/>
                </a:gdLst>
                <a:ahLst/>
                <a:cxnLst>
                  <a:cxn ang="0">
                    <a:pos x="T0" y="T1"/>
                  </a:cxn>
                  <a:cxn ang="0">
                    <a:pos x="T2" y="T3"/>
                  </a:cxn>
                  <a:cxn ang="0">
                    <a:pos x="T4" y="T5"/>
                  </a:cxn>
                </a:cxnLst>
                <a:rect l="0" t="0" r="r" b="b"/>
                <a:pathLst>
                  <a:path w="115" h="115">
                    <a:moveTo>
                      <a:pt x="115" y="0"/>
                    </a:moveTo>
                    <a:cubicBezTo>
                      <a:pt x="115" y="0"/>
                      <a:pt x="102" y="115"/>
                      <a:pt x="40" y="75"/>
                    </a:cubicBezTo>
                    <a:cubicBezTo>
                      <a:pt x="0" y="13"/>
                      <a:pt x="115" y="0"/>
                      <a:pt x="115" y="0"/>
                    </a:cubicBez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Freeform 7">
                <a:extLst>
                  <a:ext uri="{FF2B5EF4-FFF2-40B4-BE49-F238E27FC236}">
                    <a16:creationId xmlns:a16="http://schemas.microsoft.com/office/drawing/2014/main" id="{510D36CF-AAD8-4B4F-938C-54033A0A6389}"/>
                  </a:ext>
                </a:extLst>
              </p:cNvPr>
              <p:cNvSpPr>
                <a:spLocks/>
              </p:cNvSpPr>
              <p:nvPr/>
            </p:nvSpPr>
            <p:spPr bwMode="auto">
              <a:xfrm>
                <a:off x="4210051" y="2714626"/>
                <a:ext cx="76200" cy="74613"/>
              </a:xfrm>
              <a:custGeom>
                <a:avLst/>
                <a:gdLst>
                  <a:gd name="T0" fmla="*/ 48 w 48"/>
                  <a:gd name="T1" fmla="*/ 47 h 47"/>
                  <a:gd name="T2" fmla="*/ 0 w 48"/>
                  <a:gd name="T3" fmla="*/ 47 h 47"/>
                  <a:gd name="T4" fmla="*/ 0 w 48"/>
                  <a:gd name="T5" fmla="*/ 0 h 47"/>
                </a:gdLst>
                <a:ahLst/>
                <a:cxnLst>
                  <a:cxn ang="0">
                    <a:pos x="T0" y="T1"/>
                  </a:cxn>
                  <a:cxn ang="0">
                    <a:pos x="T2" y="T3"/>
                  </a:cxn>
                  <a:cxn ang="0">
                    <a:pos x="T4" y="T5"/>
                  </a:cxn>
                </a:cxnLst>
                <a:rect l="0" t="0" r="r" b="b"/>
                <a:pathLst>
                  <a:path w="48" h="47">
                    <a:moveTo>
                      <a:pt x="48" y="47"/>
                    </a:moveTo>
                    <a:lnTo>
                      <a:pt x="0" y="47"/>
                    </a:lnTo>
                    <a:lnTo>
                      <a:pt x="0" y="0"/>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5" name="Freeform 8">
                <a:extLst>
                  <a:ext uri="{FF2B5EF4-FFF2-40B4-BE49-F238E27FC236}">
                    <a16:creationId xmlns:a16="http://schemas.microsoft.com/office/drawing/2014/main" id="{8D0A953D-1686-AF48-80BB-529E8FFA0B59}"/>
                  </a:ext>
                </a:extLst>
              </p:cNvPr>
              <p:cNvSpPr>
                <a:spLocks/>
              </p:cNvSpPr>
              <p:nvPr/>
            </p:nvSpPr>
            <p:spPr bwMode="auto">
              <a:xfrm>
                <a:off x="4270376" y="2676526"/>
                <a:ext cx="52388" cy="52388"/>
              </a:xfrm>
              <a:custGeom>
                <a:avLst/>
                <a:gdLst>
                  <a:gd name="T0" fmla="*/ 33 w 33"/>
                  <a:gd name="T1" fmla="*/ 33 h 33"/>
                  <a:gd name="T2" fmla="*/ 0 w 33"/>
                  <a:gd name="T3" fmla="*/ 33 h 33"/>
                  <a:gd name="T4" fmla="*/ 0 w 33"/>
                  <a:gd name="T5" fmla="*/ 0 h 33"/>
                </a:gdLst>
                <a:ahLst/>
                <a:cxnLst>
                  <a:cxn ang="0">
                    <a:pos x="T0" y="T1"/>
                  </a:cxn>
                  <a:cxn ang="0">
                    <a:pos x="T2" y="T3"/>
                  </a:cxn>
                  <a:cxn ang="0">
                    <a:pos x="T4" y="T5"/>
                  </a:cxn>
                </a:cxnLst>
                <a:rect l="0" t="0" r="r" b="b"/>
                <a:pathLst>
                  <a:path w="33" h="33">
                    <a:moveTo>
                      <a:pt x="33" y="33"/>
                    </a:moveTo>
                    <a:lnTo>
                      <a:pt x="0" y="33"/>
                    </a:lnTo>
                    <a:lnTo>
                      <a:pt x="0" y="0"/>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6" name="Freeform 9">
                <a:extLst>
                  <a:ext uri="{FF2B5EF4-FFF2-40B4-BE49-F238E27FC236}">
                    <a16:creationId xmlns:a16="http://schemas.microsoft.com/office/drawing/2014/main" id="{0F932BDF-A036-9C42-B39F-A1924C441276}"/>
                  </a:ext>
                </a:extLst>
              </p:cNvPr>
              <p:cNvSpPr>
                <a:spLocks/>
              </p:cNvSpPr>
              <p:nvPr/>
            </p:nvSpPr>
            <p:spPr bwMode="auto">
              <a:xfrm>
                <a:off x="4330701" y="2646363"/>
                <a:ext cx="22225" cy="22225"/>
              </a:xfrm>
              <a:custGeom>
                <a:avLst/>
                <a:gdLst>
                  <a:gd name="T0" fmla="*/ 14 w 14"/>
                  <a:gd name="T1" fmla="*/ 14 h 14"/>
                  <a:gd name="T2" fmla="*/ 0 w 14"/>
                  <a:gd name="T3" fmla="*/ 14 h 14"/>
                  <a:gd name="T4" fmla="*/ 0 w 14"/>
                  <a:gd name="T5" fmla="*/ 0 h 14"/>
                </a:gdLst>
                <a:ahLst/>
                <a:cxnLst>
                  <a:cxn ang="0">
                    <a:pos x="T0" y="T1"/>
                  </a:cxn>
                  <a:cxn ang="0">
                    <a:pos x="T2" y="T3"/>
                  </a:cxn>
                  <a:cxn ang="0">
                    <a:pos x="T4" y="T5"/>
                  </a:cxn>
                </a:cxnLst>
                <a:rect l="0" t="0" r="r" b="b"/>
                <a:pathLst>
                  <a:path w="14" h="14">
                    <a:moveTo>
                      <a:pt x="14" y="14"/>
                    </a:moveTo>
                    <a:lnTo>
                      <a:pt x="0" y="14"/>
                    </a:lnTo>
                    <a:lnTo>
                      <a:pt x="0" y="0"/>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57" name="Group 56">
            <a:extLst>
              <a:ext uri="{FF2B5EF4-FFF2-40B4-BE49-F238E27FC236}">
                <a16:creationId xmlns:a16="http://schemas.microsoft.com/office/drawing/2014/main" id="{5CE041CB-153A-0245-9C92-80866A5413D3}"/>
              </a:ext>
            </a:extLst>
          </p:cNvPr>
          <p:cNvGrpSpPr/>
          <p:nvPr/>
        </p:nvGrpSpPr>
        <p:grpSpPr>
          <a:xfrm>
            <a:off x="13914714" y="3590008"/>
            <a:ext cx="1765495" cy="1765495"/>
            <a:chOff x="7187683" y="2187979"/>
            <a:chExt cx="520505" cy="520505"/>
          </a:xfrm>
        </p:grpSpPr>
        <p:sp>
          <p:nvSpPr>
            <p:cNvPr id="58" name="Oval 57">
              <a:extLst>
                <a:ext uri="{FF2B5EF4-FFF2-40B4-BE49-F238E27FC236}">
                  <a16:creationId xmlns:a16="http://schemas.microsoft.com/office/drawing/2014/main" id="{E95E3F68-AD24-6A4F-83EE-843DA31C72D8}"/>
                </a:ext>
              </a:extLst>
            </p:cNvPr>
            <p:cNvSpPr/>
            <p:nvPr/>
          </p:nvSpPr>
          <p:spPr>
            <a:xfrm>
              <a:off x="7187683" y="2187979"/>
              <a:ext cx="520505" cy="520505"/>
            </a:xfrm>
            <a:prstGeom prst="ellipse">
              <a:avLst/>
            </a:prstGeom>
            <a:solidFill>
              <a:schemeClr val="accent3"/>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 58">
              <a:extLst>
                <a:ext uri="{FF2B5EF4-FFF2-40B4-BE49-F238E27FC236}">
                  <a16:creationId xmlns:a16="http://schemas.microsoft.com/office/drawing/2014/main" id="{6D7D0839-6A3F-7046-8DDD-0361D68DF95A}"/>
                </a:ext>
              </a:extLst>
            </p:cNvPr>
            <p:cNvGrpSpPr/>
            <p:nvPr/>
          </p:nvGrpSpPr>
          <p:grpSpPr>
            <a:xfrm>
              <a:off x="7319515" y="2319130"/>
              <a:ext cx="256842" cy="264931"/>
              <a:chOff x="6306272" y="1829522"/>
              <a:chExt cx="300182" cy="309636"/>
            </a:xfrm>
          </p:grpSpPr>
          <p:sp>
            <p:nvSpPr>
              <p:cNvPr id="60" name="Freeform 88">
                <a:extLst>
                  <a:ext uri="{FF2B5EF4-FFF2-40B4-BE49-F238E27FC236}">
                    <a16:creationId xmlns:a16="http://schemas.microsoft.com/office/drawing/2014/main" id="{F441E1CD-F39B-2843-880D-AF73879E2507}"/>
                  </a:ext>
                </a:extLst>
              </p:cNvPr>
              <p:cNvSpPr>
                <a:spLocks/>
              </p:cNvSpPr>
              <p:nvPr/>
            </p:nvSpPr>
            <p:spPr bwMode="auto">
              <a:xfrm>
                <a:off x="6388605" y="1829522"/>
                <a:ext cx="137103" cy="204932"/>
              </a:xfrm>
              <a:custGeom>
                <a:avLst/>
                <a:gdLst>
                  <a:gd name="T0" fmla="*/ 40 w 40"/>
                  <a:gd name="T1" fmla="*/ 40 h 60"/>
                  <a:gd name="T2" fmla="*/ 20 w 40"/>
                  <a:gd name="T3" fmla="*/ 60 h 60"/>
                  <a:gd name="T4" fmla="*/ 0 w 40"/>
                  <a:gd name="T5" fmla="*/ 40 h 60"/>
                  <a:gd name="T6" fmla="*/ 20 w 40"/>
                  <a:gd name="T7" fmla="*/ 0 h 60"/>
                  <a:gd name="T8" fmla="*/ 40 w 40"/>
                  <a:gd name="T9" fmla="*/ 40 h 60"/>
                </a:gdLst>
                <a:ahLst/>
                <a:cxnLst>
                  <a:cxn ang="0">
                    <a:pos x="T0" y="T1"/>
                  </a:cxn>
                  <a:cxn ang="0">
                    <a:pos x="T2" y="T3"/>
                  </a:cxn>
                  <a:cxn ang="0">
                    <a:pos x="T4" y="T5"/>
                  </a:cxn>
                  <a:cxn ang="0">
                    <a:pos x="T6" y="T7"/>
                  </a:cxn>
                  <a:cxn ang="0">
                    <a:pos x="T8" y="T9"/>
                  </a:cxn>
                </a:cxnLst>
                <a:rect l="0" t="0" r="r" b="b"/>
                <a:pathLst>
                  <a:path w="40" h="60">
                    <a:moveTo>
                      <a:pt x="40" y="40"/>
                    </a:moveTo>
                    <a:cubicBezTo>
                      <a:pt x="40" y="51"/>
                      <a:pt x="31" y="60"/>
                      <a:pt x="20" y="60"/>
                    </a:cubicBezTo>
                    <a:cubicBezTo>
                      <a:pt x="9" y="60"/>
                      <a:pt x="0" y="51"/>
                      <a:pt x="0" y="40"/>
                    </a:cubicBezTo>
                    <a:cubicBezTo>
                      <a:pt x="0" y="29"/>
                      <a:pt x="20" y="0"/>
                      <a:pt x="20" y="0"/>
                    </a:cubicBezTo>
                    <a:cubicBezTo>
                      <a:pt x="20" y="0"/>
                      <a:pt x="40" y="29"/>
                      <a:pt x="40" y="40"/>
                    </a:cubicBez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1" name="Freeform 89">
                <a:extLst>
                  <a:ext uri="{FF2B5EF4-FFF2-40B4-BE49-F238E27FC236}">
                    <a16:creationId xmlns:a16="http://schemas.microsoft.com/office/drawing/2014/main" id="{F75E6371-E5BB-6A46-A8C9-27E210C6FFF6}"/>
                  </a:ext>
                </a:extLst>
              </p:cNvPr>
              <p:cNvSpPr>
                <a:spLocks/>
              </p:cNvSpPr>
              <p:nvPr/>
            </p:nvSpPr>
            <p:spPr bwMode="auto">
              <a:xfrm>
                <a:off x="6424540" y="1966840"/>
                <a:ext cx="30308" cy="30308"/>
              </a:xfrm>
              <a:custGeom>
                <a:avLst/>
                <a:gdLst>
                  <a:gd name="T0" fmla="*/ 9 w 9"/>
                  <a:gd name="T1" fmla="*/ 9 h 9"/>
                  <a:gd name="T2" fmla="*/ 0 w 9"/>
                  <a:gd name="T3" fmla="*/ 0 h 9"/>
                </a:gdLst>
                <a:ahLst/>
                <a:cxnLst>
                  <a:cxn ang="0">
                    <a:pos x="T0" y="T1"/>
                  </a:cxn>
                  <a:cxn ang="0">
                    <a:pos x="T2" y="T3"/>
                  </a:cxn>
                </a:cxnLst>
                <a:rect l="0" t="0" r="r" b="b"/>
                <a:pathLst>
                  <a:path w="9" h="9">
                    <a:moveTo>
                      <a:pt x="9" y="9"/>
                    </a:moveTo>
                    <a:cubicBezTo>
                      <a:pt x="4" y="9"/>
                      <a:pt x="0" y="5"/>
                      <a:pt x="0"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2" name="Freeform 90">
                <a:extLst>
                  <a:ext uri="{FF2B5EF4-FFF2-40B4-BE49-F238E27FC236}">
                    <a16:creationId xmlns:a16="http://schemas.microsoft.com/office/drawing/2014/main" id="{700A06A7-6FD4-5745-9BF7-E88938B63FDB}"/>
                  </a:ext>
                </a:extLst>
              </p:cNvPr>
              <p:cNvSpPr>
                <a:spLocks/>
              </p:cNvSpPr>
              <p:nvPr/>
            </p:nvSpPr>
            <p:spPr bwMode="auto">
              <a:xfrm>
                <a:off x="6361113" y="2068297"/>
                <a:ext cx="190499" cy="27421"/>
              </a:xfrm>
              <a:custGeom>
                <a:avLst/>
                <a:gdLst>
                  <a:gd name="T0" fmla="*/ 56 w 56"/>
                  <a:gd name="T1" fmla="*/ 0 h 8"/>
                  <a:gd name="T2" fmla="*/ 28 w 56"/>
                  <a:gd name="T3" fmla="*/ 8 h 8"/>
                  <a:gd name="T4" fmla="*/ 0 w 56"/>
                  <a:gd name="T5" fmla="*/ 0 h 8"/>
                </a:gdLst>
                <a:ahLst/>
                <a:cxnLst>
                  <a:cxn ang="0">
                    <a:pos x="T0" y="T1"/>
                  </a:cxn>
                  <a:cxn ang="0">
                    <a:pos x="T2" y="T3"/>
                  </a:cxn>
                  <a:cxn ang="0">
                    <a:pos x="T4" y="T5"/>
                  </a:cxn>
                </a:cxnLst>
                <a:rect l="0" t="0" r="r" b="b"/>
                <a:pathLst>
                  <a:path w="56" h="8">
                    <a:moveTo>
                      <a:pt x="56" y="0"/>
                    </a:moveTo>
                    <a:cubicBezTo>
                      <a:pt x="49" y="5"/>
                      <a:pt x="39" y="8"/>
                      <a:pt x="28" y="8"/>
                    </a:cubicBezTo>
                    <a:cubicBezTo>
                      <a:pt x="17" y="8"/>
                      <a:pt x="7" y="5"/>
                      <a:pt x="0"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3" name="Freeform 91">
                <a:extLst>
                  <a:ext uri="{FF2B5EF4-FFF2-40B4-BE49-F238E27FC236}">
                    <a16:creationId xmlns:a16="http://schemas.microsoft.com/office/drawing/2014/main" id="{7B672A20-7330-504A-9E82-B802249A9EFB}"/>
                  </a:ext>
                </a:extLst>
              </p:cNvPr>
              <p:cNvSpPr>
                <a:spLocks/>
              </p:cNvSpPr>
              <p:nvPr/>
            </p:nvSpPr>
            <p:spPr bwMode="auto">
              <a:xfrm>
                <a:off x="6306272" y="2091533"/>
                <a:ext cx="300182" cy="47625"/>
              </a:xfrm>
              <a:custGeom>
                <a:avLst/>
                <a:gdLst>
                  <a:gd name="T0" fmla="*/ 88 w 88"/>
                  <a:gd name="T1" fmla="*/ 0 h 14"/>
                  <a:gd name="T2" fmla="*/ 44 w 88"/>
                  <a:gd name="T3" fmla="*/ 14 h 14"/>
                  <a:gd name="T4" fmla="*/ 0 w 88"/>
                  <a:gd name="T5" fmla="*/ 0 h 14"/>
                </a:gdLst>
                <a:ahLst/>
                <a:cxnLst>
                  <a:cxn ang="0">
                    <a:pos x="T0" y="T1"/>
                  </a:cxn>
                  <a:cxn ang="0">
                    <a:pos x="T2" y="T3"/>
                  </a:cxn>
                  <a:cxn ang="0">
                    <a:pos x="T4" y="T5"/>
                  </a:cxn>
                </a:cxnLst>
                <a:rect l="0" t="0" r="r" b="b"/>
                <a:pathLst>
                  <a:path w="88" h="14">
                    <a:moveTo>
                      <a:pt x="88" y="0"/>
                    </a:moveTo>
                    <a:cubicBezTo>
                      <a:pt x="77" y="9"/>
                      <a:pt x="62" y="14"/>
                      <a:pt x="44" y="14"/>
                    </a:cubicBezTo>
                    <a:cubicBezTo>
                      <a:pt x="26" y="14"/>
                      <a:pt x="10" y="9"/>
                      <a:pt x="0"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64" name="Group 63">
            <a:extLst>
              <a:ext uri="{FF2B5EF4-FFF2-40B4-BE49-F238E27FC236}">
                <a16:creationId xmlns:a16="http://schemas.microsoft.com/office/drawing/2014/main" id="{EB483989-867C-6745-B8ED-90653DD55225}"/>
              </a:ext>
            </a:extLst>
          </p:cNvPr>
          <p:cNvGrpSpPr/>
          <p:nvPr/>
        </p:nvGrpSpPr>
        <p:grpSpPr>
          <a:xfrm>
            <a:off x="8273113" y="3637976"/>
            <a:ext cx="1765495" cy="1765495"/>
            <a:chOff x="4444483" y="2187979"/>
            <a:chExt cx="520505" cy="520505"/>
          </a:xfrm>
        </p:grpSpPr>
        <p:sp>
          <p:nvSpPr>
            <p:cNvPr id="65" name="Oval 64">
              <a:extLst>
                <a:ext uri="{FF2B5EF4-FFF2-40B4-BE49-F238E27FC236}">
                  <a16:creationId xmlns:a16="http://schemas.microsoft.com/office/drawing/2014/main" id="{F6167C7F-CBE9-4046-8838-660471B07A0A}"/>
                </a:ext>
              </a:extLst>
            </p:cNvPr>
            <p:cNvSpPr/>
            <p:nvPr/>
          </p:nvSpPr>
          <p:spPr>
            <a:xfrm>
              <a:off x="4444483" y="2187979"/>
              <a:ext cx="520505" cy="520505"/>
            </a:xfrm>
            <a:prstGeom prst="ellipse">
              <a:avLst/>
            </a:prstGeom>
            <a:solidFill>
              <a:schemeClr val="accent3"/>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6" name="Group 65">
              <a:extLst>
                <a:ext uri="{FF2B5EF4-FFF2-40B4-BE49-F238E27FC236}">
                  <a16:creationId xmlns:a16="http://schemas.microsoft.com/office/drawing/2014/main" id="{34194333-4855-E94C-A549-96030A421406}"/>
                </a:ext>
              </a:extLst>
            </p:cNvPr>
            <p:cNvGrpSpPr/>
            <p:nvPr/>
          </p:nvGrpSpPr>
          <p:grpSpPr>
            <a:xfrm>
              <a:off x="4530061" y="2308000"/>
              <a:ext cx="349349" cy="280463"/>
              <a:chOff x="4119563" y="4738688"/>
              <a:chExt cx="338137" cy="271462"/>
            </a:xfrm>
          </p:grpSpPr>
          <p:sp>
            <p:nvSpPr>
              <p:cNvPr id="67" name="Freeform 230">
                <a:extLst>
                  <a:ext uri="{FF2B5EF4-FFF2-40B4-BE49-F238E27FC236}">
                    <a16:creationId xmlns:a16="http://schemas.microsoft.com/office/drawing/2014/main" id="{257DACD4-D358-B34F-96D6-0A784BE899FB}"/>
                  </a:ext>
                </a:extLst>
              </p:cNvPr>
              <p:cNvSpPr>
                <a:spLocks/>
              </p:cNvSpPr>
              <p:nvPr/>
            </p:nvSpPr>
            <p:spPr bwMode="auto">
              <a:xfrm>
                <a:off x="4229100" y="4802188"/>
                <a:ext cx="115888" cy="147638"/>
              </a:xfrm>
              <a:custGeom>
                <a:avLst/>
                <a:gdLst>
                  <a:gd name="T0" fmla="*/ 2 w 31"/>
                  <a:gd name="T1" fmla="*/ 21 h 39"/>
                  <a:gd name="T2" fmla="*/ 14 w 31"/>
                  <a:gd name="T3" fmla="*/ 31 h 39"/>
                  <a:gd name="T4" fmla="*/ 29 w 31"/>
                  <a:gd name="T5" fmla="*/ 28 h 39"/>
                  <a:gd name="T6" fmla="*/ 18 w 31"/>
                  <a:gd name="T7" fmla="*/ 0 h 39"/>
                  <a:gd name="T8" fmla="*/ 2 w 31"/>
                  <a:gd name="T9" fmla="*/ 21 h 39"/>
                </a:gdLst>
                <a:ahLst/>
                <a:cxnLst>
                  <a:cxn ang="0">
                    <a:pos x="T0" y="T1"/>
                  </a:cxn>
                  <a:cxn ang="0">
                    <a:pos x="T2" y="T3"/>
                  </a:cxn>
                  <a:cxn ang="0">
                    <a:pos x="T4" y="T5"/>
                  </a:cxn>
                  <a:cxn ang="0">
                    <a:pos x="T6" y="T7"/>
                  </a:cxn>
                  <a:cxn ang="0">
                    <a:pos x="T8" y="T9"/>
                  </a:cxn>
                </a:cxnLst>
                <a:rect l="0" t="0" r="r" b="b"/>
                <a:pathLst>
                  <a:path w="31" h="39">
                    <a:moveTo>
                      <a:pt x="2" y="21"/>
                    </a:moveTo>
                    <a:cubicBezTo>
                      <a:pt x="0" y="28"/>
                      <a:pt x="2" y="34"/>
                      <a:pt x="14" y="31"/>
                    </a:cubicBezTo>
                    <a:cubicBezTo>
                      <a:pt x="23" y="39"/>
                      <a:pt x="27" y="35"/>
                      <a:pt x="29" y="28"/>
                    </a:cubicBezTo>
                    <a:cubicBezTo>
                      <a:pt x="31" y="20"/>
                      <a:pt x="25" y="5"/>
                      <a:pt x="18" y="0"/>
                    </a:cubicBezTo>
                    <a:cubicBezTo>
                      <a:pt x="14" y="10"/>
                      <a:pt x="4" y="13"/>
                      <a:pt x="2" y="21"/>
                    </a:cubicBez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8" name="Freeform 231">
                <a:extLst>
                  <a:ext uri="{FF2B5EF4-FFF2-40B4-BE49-F238E27FC236}">
                    <a16:creationId xmlns:a16="http://schemas.microsoft.com/office/drawing/2014/main" id="{20DB3C60-6666-AC4F-A0FE-223903EBC85C}"/>
                  </a:ext>
                </a:extLst>
              </p:cNvPr>
              <p:cNvSpPr>
                <a:spLocks/>
              </p:cNvSpPr>
              <p:nvPr/>
            </p:nvSpPr>
            <p:spPr bwMode="auto">
              <a:xfrm>
                <a:off x="4278313" y="4851400"/>
                <a:ext cx="14288" cy="101600"/>
              </a:xfrm>
              <a:custGeom>
                <a:avLst/>
                <a:gdLst>
                  <a:gd name="T0" fmla="*/ 1 w 4"/>
                  <a:gd name="T1" fmla="*/ 27 h 27"/>
                  <a:gd name="T2" fmla="*/ 4 w 4"/>
                  <a:gd name="T3" fmla="*/ 0 h 27"/>
                </a:gdLst>
                <a:ahLst/>
                <a:cxnLst>
                  <a:cxn ang="0">
                    <a:pos x="T0" y="T1"/>
                  </a:cxn>
                  <a:cxn ang="0">
                    <a:pos x="T2" y="T3"/>
                  </a:cxn>
                </a:cxnLst>
                <a:rect l="0" t="0" r="r" b="b"/>
                <a:pathLst>
                  <a:path w="4" h="27">
                    <a:moveTo>
                      <a:pt x="1" y="27"/>
                    </a:moveTo>
                    <a:cubicBezTo>
                      <a:pt x="0" y="18"/>
                      <a:pt x="0" y="7"/>
                      <a:pt x="4"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9" name="Freeform 232">
                <a:extLst>
                  <a:ext uri="{FF2B5EF4-FFF2-40B4-BE49-F238E27FC236}">
                    <a16:creationId xmlns:a16="http://schemas.microsoft.com/office/drawing/2014/main" id="{04DC6A52-B3EF-1243-8AF0-9C0335C9EAA2}"/>
                  </a:ext>
                </a:extLst>
              </p:cNvPr>
              <p:cNvSpPr>
                <a:spLocks/>
              </p:cNvSpPr>
              <p:nvPr/>
            </p:nvSpPr>
            <p:spPr bwMode="auto">
              <a:xfrm>
                <a:off x="4119563" y="4848225"/>
                <a:ext cx="90488" cy="63500"/>
              </a:xfrm>
              <a:custGeom>
                <a:avLst/>
                <a:gdLst>
                  <a:gd name="T0" fmla="*/ 0 w 57"/>
                  <a:gd name="T1" fmla="*/ 0 h 40"/>
                  <a:gd name="T2" fmla="*/ 26 w 57"/>
                  <a:gd name="T3" fmla="*/ 40 h 40"/>
                  <a:gd name="T4" fmla="*/ 57 w 57"/>
                  <a:gd name="T5" fmla="*/ 4 h 40"/>
                </a:gdLst>
                <a:ahLst/>
                <a:cxnLst>
                  <a:cxn ang="0">
                    <a:pos x="T0" y="T1"/>
                  </a:cxn>
                  <a:cxn ang="0">
                    <a:pos x="T2" y="T3"/>
                  </a:cxn>
                  <a:cxn ang="0">
                    <a:pos x="T4" y="T5"/>
                  </a:cxn>
                </a:cxnLst>
                <a:rect l="0" t="0" r="r" b="b"/>
                <a:pathLst>
                  <a:path w="57" h="40">
                    <a:moveTo>
                      <a:pt x="0" y="0"/>
                    </a:moveTo>
                    <a:lnTo>
                      <a:pt x="26" y="40"/>
                    </a:lnTo>
                    <a:lnTo>
                      <a:pt x="57" y="4"/>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0" name="Freeform 233">
                <a:extLst>
                  <a:ext uri="{FF2B5EF4-FFF2-40B4-BE49-F238E27FC236}">
                    <a16:creationId xmlns:a16="http://schemas.microsoft.com/office/drawing/2014/main" id="{D393722E-555E-DC4B-8607-D155485DA096}"/>
                  </a:ext>
                </a:extLst>
              </p:cNvPr>
              <p:cNvSpPr>
                <a:spLocks/>
              </p:cNvSpPr>
              <p:nvPr/>
            </p:nvSpPr>
            <p:spPr bwMode="auto">
              <a:xfrm>
                <a:off x="4368800" y="4851400"/>
                <a:ext cx="88900" cy="63500"/>
              </a:xfrm>
              <a:custGeom>
                <a:avLst/>
                <a:gdLst>
                  <a:gd name="T0" fmla="*/ 56 w 56"/>
                  <a:gd name="T1" fmla="*/ 40 h 40"/>
                  <a:gd name="T2" fmla="*/ 30 w 56"/>
                  <a:gd name="T3" fmla="*/ 0 h 40"/>
                  <a:gd name="T4" fmla="*/ 0 w 56"/>
                  <a:gd name="T5" fmla="*/ 36 h 40"/>
                </a:gdLst>
                <a:ahLst/>
                <a:cxnLst>
                  <a:cxn ang="0">
                    <a:pos x="T0" y="T1"/>
                  </a:cxn>
                  <a:cxn ang="0">
                    <a:pos x="T2" y="T3"/>
                  </a:cxn>
                  <a:cxn ang="0">
                    <a:pos x="T4" y="T5"/>
                  </a:cxn>
                </a:cxnLst>
                <a:rect l="0" t="0" r="r" b="b"/>
                <a:pathLst>
                  <a:path w="56" h="40">
                    <a:moveTo>
                      <a:pt x="56" y="40"/>
                    </a:moveTo>
                    <a:lnTo>
                      <a:pt x="30" y="0"/>
                    </a:lnTo>
                    <a:lnTo>
                      <a:pt x="0" y="36"/>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1" name="Freeform 234">
                <a:extLst>
                  <a:ext uri="{FF2B5EF4-FFF2-40B4-BE49-F238E27FC236}">
                    <a16:creationId xmlns:a16="http://schemas.microsoft.com/office/drawing/2014/main" id="{8BFE91D1-96DA-BB43-B381-4BE0D65F44D3}"/>
                  </a:ext>
                </a:extLst>
              </p:cNvPr>
              <p:cNvSpPr>
                <a:spLocks/>
              </p:cNvSpPr>
              <p:nvPr/>
            </p:nvSpPr>
            <p:spPr bwMode="auto">
              <a:xfrm>
                <a:off x="4198938" y="4851400"/>
                <a:ext cx="228600" cy="158750"/>
              </a:xfrm>
              <a:custGeom>
                <a:avLst/>
                <a:gdLst>
                  <a:gd name="T0" fmla="*/ 58 w 61"/>
                  <a:gd name="T1" fmla="*/ 0 h 42"/>
                  <a:gd name="T2" fmla="*/ 32 w 61"/>
                  <a:gd name="T3" fmla="*/ 39 h 42"/>
                  <a:gd name="T4" fmla="*/ 0 w 61"/>
                  <a:gd name="T5" fmla="*/ 30 h 42"/>
                </a:gdLst>
                <a:ahLst/>
                <a:cxnLst>
                  <a:cxn ang="0">
                    <a:pos x="T0" y="T1"/>
                  </a:cxn>
                  <a:cxn ang="0">
                    <a:pos x="T2" y="T3"/>
                  </a:cxn>
                  <a:cxn ang="0">
                    <a:pos x="T4" y="T5"/>
                  </a:cxn>
                </a:cxnLst>
                <a:rect l="0" t="0" r="r" b="b"/>
                <a:pathLst>
                  <a:path w="61" h="42">
                    <a:moveTo>
                      <a:pt x="58" y="0"/>
                    </a:moveTo>
                    <a:cubicBezTo>
                      <a:pt x="61" y="18"/>
                      <a:pt x="49" y="35"/>
                      <a:pt x="32" y="39"/>
                    </a:cubicBezTo>
                    <a:cubicBezTo>
                      <a:pt x="20" y="42"/>
                      <a:pt x="8" y="38"/>
                      <a:pt x="0" y="3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2" name="Freeform 235">
                <a:extLst>
                  <a:ext uri="{FF2B5EF4-FFF2-40B4-BE49-F238E27FC236}">
                    <a16:creationId xmlns:a16="http://schemas.microsoft.com/office/drawing/2014/main" id="{C6357952-7444-5E45-9DEE-51472E885936}"/>
                  </a:ext>
                </a:extLst>
              </p:cNvPr>
              <p:cNvSpPr>
                <a:spLocks/>
              </p:cNvSpPr>
              <p:nvPr/>
            </p:nvSpPr>
            <p:spPr bwMode="auto">
              <a:xfrm>
                <a:off x="4143375" y="4738688"/>
                <a:ext cx="242888" cy="173038"/>
              </a:xfrm>
              <a:custGeom>
                <a:avLst/>
                <a:gdLst>
                  <a:gd name="T0" fmla="*/ 5 w 65"/>
                  <a:gd name="T1" fmla="*/ 46 h 46"/>
                  <a:gd name="T2" fmla="*/ 31 w 65"/>
                  <a:gd name="T3" fmla="*/ 3 h 46"/>
                  <a:gd name="T4" fmla="*/ 65 w 65"/>
                  <a:gd name="T5" fmla="*/ 13 h 46"/>
                </a:gdLst>
                <a:ahLst/>
                <a:cxnLst>
                  <a:cxn ang="0">
                    <a:pos x="T0" y="T1"/>
                  </a:cxn>
                  <a:cxn ang="0">
                    <a:pos x="T2" y="T3"/>
                  </a:cxn>
                  <a:cxn ang="0">
                    <a:pos x="T4" y="T5"/>
                  </a:cxn>
                </a:cxnLst>
                <a:rect l="0" t="0" r="r" b="b"/>
                <a:pathLst>
                  <a:path w="65" h="46">
                    <a:moveTo>
                      <a:pt x="5" y="46"/>
                    </a:moveTo>
                    <a:cubicBezTo>
                      <a:pt x="0" y="26"/>
                      <a:pt x="13" y="7"/>
                      <a:pt x="31" y="3"/>
                    </a:cubicBezTo>
                    <a:cubicBezTo>
                      <a:pt x="44" y="0"/>
                      <a:pt x="57" y="4"/>
                      <a:pt x="65" y="13"/>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73" name="Group 72">
            <a:extLst>
              <a:ext uri="{FF2B5EF4-FFF2-40B4-BE49-F238E27FC236}">
                <a16:creationId xmlns:a16="http://schemas.microsoft.com/office/drawing/2014/main" id="{30683B8E-6F9F-9B4C-BD62-CCF6C9BD6993}"/>
              </a:ext>
            </a:extLst>
          </p:cNvPr>
          <p:cNvGrpSpPr/>
          <p:nvPr/>
        </p:nvGrpSpPr>
        <p:grpSpPr>
          <a:xfrm>
            <a:off x="19598352" y="3592802"/>
            <a:ext cx="1765495" cy="1765495"/>
            <a:chOff x="9930883" y="2187979"/>
            <a:chExt cx="520505" cy="520505"/>
          </a:xfrm>
        </p:grpSpPr>
        <p:sp>
          <p:nvSpPr>
            <p:cNvPr id="74" name="Oval 73">
              <a:extLst>
                <a:ext uri="{FF2B5EF4-FFF2-40B4-BE49-F238E27FC236}">
                  <a16:creationId xmlns:a16="http://schemas.microsoft.com/office/drawing/2014/main" id="{06A92A86-A69B-B64A-8E96-0F2BDF70D071}"/>
                </a:ext>
              </a:extLst>
            </p:cNvPr>
            <p:cNvSpPr/>
            <p:nvPr/>
          </p:nvSpPr>
          <p:spPr>
            <a:xfrm>
              <a:off x="9930883" y="2187979"/>
              <a:ext cx="520505" cy="520505"/>
            </a:xfrm>
            <a:prstGeom prst="ellipse">
              <a:avLst/>
            </a:prstGeom>
            <a:solidFill>
              <a:schemeClr val="accent3"/>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5" name="Group 74">
              <a:extLst>
                <a:ext uri="{FF2B5EF4-FFF2-40B4-BE49-F238E27FC236}">
                  <a16:creationId xmlns:a16="http://schemas.microsoft.com/office/drawing/2014/main" id="{51ED152B-C0C4-CD4C-96FA-DC2BEEFB10A5}"/>
                </a:ext>
              </a:extLst>
            </p:cNvPr>
            <p:cNvGrpSpPr/>
            <p:nvPr/>
          </p:nvGrpSpPr>
          <p:grpSpPr>
            <a:xfrm>
              <a:off x="10012862" y="2305947"/>
              <a:ext cx="356546" cy="284568"/>
              <a:chOff x="7726363" y="1841500"/>
              <a:chExt cx="338138" cy="269876"/>
            </a:xfrm>
          </p:grpSpPr>
          <p:sp>
            <p:nvSpPr>
              <p:cNvPr id="76" name="Freeform 236">
                <a:extLst>
                  <a:ext uri="{FF2B5EF4-FFF2-40B4-BE49-F238E27FC236}">
                    <a16:creationId xmlns:a16="http://schemas.microsoft.com/office/drawing/2014/main" id="{917F5C14-16E4-9740-B697-95E44B12B12F}"/>
                  </a:ext>
                </a:extLst>
              </p:cNvPr>
              <p:cNvSpPr>
                <a:spLocks/>
              </p:cNvSpPr>
              <p:nvPr/>
            </p:nvSpPr>
            <p:spPr bwMode="auto">
              <a:xfrm>
                <a:off x="7726363" y="1951038"/>
                <a:ext cx="90488" cy="63500"/>
              </a:xfrm>
              <a:custGeom>
                <a:avLst/>
                <a:gdLst>
                  <a:gd name="T0" fmla="*/ 0 w 57"/>
                  <a:gd name="T1" fmla="*/ 0 h 40"/>
                  <a:gd name="T2" fmla="*/ 26 w 57"/>
                  <a:gd name="T3" fmla="*/ 40 h 40"/>
                  <a:gd name="T4" fmla="*/ 57 w 57"/>
                  <a:gd name="T5" fmla="*/ 4 h 40"/>
                </a:gdLst>
                <a:ahLst/>
                <a:cxnLst>
                  <a:cxn ang="0">
                    <a:pos x="T0" y="T1"/>
                  </a:cxn>
                  <a:cxn ang="0">
                    <a:pos x="T2" y="T3"/>
                  </a:cxn>
                  <a:cxn ang="0">
                    <a:pos x="T4" y="T5"/>
                  </a:cxn>
                </a:cxnLst>
                <a:rect l="0" t="0" r="r" b="b"/>
                <a:pathLst>
                  <a:path w="57" h="40">
                    <a:moveTo>
                      <a:pt x="0" y="0"/>
                    </a:moveTo>
                    <a:lnTo>
                      <a:pt x="26" y="40"/>
                    </a:lnTo>
                    <a:lnTo>
                      <a:pt x="57" y="4"/>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7" name="Freeform 237">
                <a:extLst>
                  <a:ext uri="{FF2B5EF4-FFF2-40B4-BE49-F238E27FC236}">
                    <a16:creationId xmlns:a16="http://schemas.microsoft.com/office/drawing/2014/main" id="{86AD58B7-2D5A-534E-9F91-46CC848EC8F9}"/>
                  </a:ext>
                </a:extLst>
              </p:cNvPr>
              <p:cNvSpPr>
                <a:spLocks/>
              </p:cNvSpPr>
              <p:nvPr/>
            </p:nvSpPr>
            <p:spPr bwMode="auto">
              <a:xfrm>
                <a:off x="7974013" y="1954213"/>
                <a:ext cx="90488" cy="63500"/>
              </a:xfrm>
              <a:custGeom>
                <a:avLst/>
                <a:gdLst>
                  <a:gd name="T0" fmla="*/ 57 w 57"/>
                  <a:gd name="T1" fmla="*/ 40 h 40"/>
                  <a:gd name="T2" fmla="*/ 31 w 57"/>
                  <a:gd name="T3" fmla="*/ 0 h 40"/>
                  <a:gd name="T4" fmla="*/ 0 w 57"/>
                  <a:gd name="T5" fmla="*/ 35 h 40"/>
                </a:gdLst>
                <a:ahLst/>
                <a:cxnLst>
                  <a:cxn ang="0">
                    <a:pos x="T0" y="T1"/>
                  </a:cxn>
                  <a:cxn ang="0">
                    <a:pos x="T2" y="T3"/>
                  </a:cxn>
                  <a:cxn ang="0">
                    <a:pos x="T4" y="T5"/>
                  </a:cxn>
                </a:cxnLst>
                <a:rect l="0" t="0" r="r" b="b"/>
                <a:pathLst>
                  <a:path w="57" h="40">
                    <a:moveTo>
                      <a:pt x="57" y="40"/>
                    </a:moveTo>
                    <a:lnTo>
                      <a:pt x="31" y="0"/>
                    </a:lnTo>
                    <a:lnTo>
                      <a:pt x="0" y="35"/>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8" name="Freeform 238">
                <a:extLst>
                  <a:ext uri="{FF2B5EF4-FFF2-40B4-BE49-F238E27FC236}">
                    <a16:creationId xmlns:a16="http://schemas.microsoft.com/office/drawing/2014/main" id="{F2065B61-235F-734C-85DF-B6E2125B3E1D}"/>
                  </a:ext>
                </a:extLst>
              </p:cNvPr>
              <p:cNvSpPr>
                <a:spLocks/>
              </p:cNvSpPr>
              <p:nvPr/>
            </p:nvSpPr>
            <p:spPr bwMode="auto">
              <a:xfrm>
                <a:off x="7805738" y="1954213"/>
                <a:ext cx="228600" cy="157163"/>
              </a:xfrm>
              <a:custGeom>
                <a:avLst/>
                <a:gdLst>
                  <a:gd name="T0" fmla="*/ 58 w 61"/>
                  <a:gd name="T1" fmla="*/ 0 h 42"/>
                  <a:gd name="T2" fmla="*/ 32 w 61"/>
                  <a:gd name="T3" fmla="*/ 39 h 42"/>
                  <a:gd name="T4" fmla="*/ 0 w 61"/>
                  <a:gd name="T5" fmla="*/ 30 h 42"/>
                </a:gdLst>
                <a:ahLst/>
                <a:cxnLst>
                  <a:cxn ang="0">
                    <a:pos x="T0" y="T1"/>
                  </a:cxn>
                  <a:cxn ang="0">
                    <a:pos x="T2" y="T3"/>
                  </a:cxn>
                  <a:cxn ang="0">
                    <a:pos x="T4" y="T5"/>
                  </a:cxn>
                </a:cxnLst>
                <a:rect l="0" t="0" r="r" b="b"/>
                <a:pathLst>
                  <a:path w="61" h="42">
                    <a:moveTo>
                      <a:pt x="58" y="0"/>
                    </a:moveTo>
                    <a:cubicBezTo>
                      <a:pt x="61" y="18"/>
                      <a:pt x="49" y="35"/>
                      <a:pt x="32" y="39"/>
                    </a:cubicBezTo>
                    <a:cubicBezTo>
                      <a:pt x="20" y="42"/>
                      <a:pt x="8" y="38"/>
                      <a:pt x="0" y="3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9" name="Freeform 239">
                <a:extLst>
                  <a:ext uri="{FF2B5EF4-FFF2-40B4-BE49-F238E27FC236}">
                    <a16:creationId xmlns:a16="http://schemas.microsoft.com/office/drawing/2014/main" id="{2C987CA4-23EF-4646-A3D9-7487E96E5F64}"/>
                  </a:ext>
                </a:extLst>
              </p:cNvPr>
              <p:cNvSpPr>
                <a:spLocks/>
              </p:cNvSpPr>
              <p:nvPr/>
            </p:nvSpPr>
            <p:spPr bwMode="auto">
              <a:xfrm>
                <a:off x="7748588" y="1841500"/>
                <a:ext cx="244475" cy="173038"/>
              </a:xfrm>
              <a:custGeom>
                <a:avLst/>
                <a:gdLst>
                  <a:gd name="T0" fmla="*/ 5 w 65"/>
                  <a:gd name="T1" fmla="*/ 46 h 46"/>
                  <a:gd name="T2" fmla="*/ 31 w 65"/>
                  <a:gd name="T3" fmla="*/ 3 h 46"/>
                  <a:gd name="T4" fmla="*/ 65 w 65"/>
                  <a:gd name="T5" fmla="*/ 13 h 46"/>
                </a:gdLst>
                <a:ahLst/>
                <a:cxnLst>
                  <a:cxn ang="0">
                    <a:pos x="T0" y="T1"/>
                  </a:cxn>
                  <a:cxn ang="0">
                    <a:pos x="T2" y="T3"/>
                  </a:cxn>
                  <a:cxn ang="0">
                    <a:pos x="T4" y="T5"/>
                  </a:cxn>
                </a:cxnLst>
                <a:rect l="0" t="0" r="r" b="b"/>
                <a:pathLst>
                  <a:path w="65" h="46">
                    <a:moveTo>
                      <a:pt x="5" y="46"/>
                    </a:moveTo>
                    <a:cubicBezTo>
                      <a:pt x="0" y="26"/>
                      <a:pt x="13" y="7"/>
                      <a:pt x="31" y="3"/>
                    </a:cubicBezTo>
                    <a:cubicBezTo>
                      <a:pt x="44" y="0"/>
                      <a:pt x="57" y="4"/>
                      <a:pt x="65" y="13"/>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0" name="Freeform 240">
                <a:extLst>
                  <a:ext uri="{FF2B5EF4-FFF2-40B4-BE49-F238E27FC236}">
                    <a16:creationId xmlns:a16="http://schemas.microsoft.com/office/drawing/2014/main" id="{CE1FE76A-1ED6-004B-8C8C-745D2F017EA7}"/>
                  </a:ext>
                </a:extLst>
              </p:cNvPr>
              <p:cNvSpPr>
                <a:spLocks/>
              </p:cNvSpPr>
              <p:nvPr/>
            </p:nvSpPr>
            <p:spPr bwMode="auto">
              <a:xfrm>
                <a:off x="7847013" y="1897063"/>
                <a:ext cx="96838" cy="150813"/>
              </a:xfrm>
              <a:custGeom>
                <a:avLst/>
                <a:gdLst>
                  <a:gd name="T0" fmla="*/ 26 w 26"/>
                  <a:gd name="T1" fmla="*/ 28 h 40"/>
                  <a:gd name="T2" fmla="*/ 13 w 26"/>
                  <a:gd name="T3" fmla="*/ 40 h 40"/>
                  <a:gd name="T4" fmla="*/ 0 w 26"/>
                  <a:gd name="T5" fmla="*/ 28 h 40"/>
                  <a:gd name="T6" fmla="*/ 13 w 26"/>
                  <a:gd name="T7" fmla="*/ 0 h 40"/>
                  <a:gd name="T8" fmla="*/ 26 w 26"/>
                  <a:gd name="T9" fmla="*/ 28 h 40"/>
                </a:gdLst>
                <a:ahLst/>
                <a:cxnLst>
                  <a:cxn ang="0">
                    <a:pos x="T0" y="T1"/>
                  </a:cxn>
                  <a:cxn ang="0">
                    <a:pos x="T2" y="T3"/>
                  </a:cxn>
                  <a:cxn ang="0">
                    <a:pos x="T4" y="T5"/>
                  </a:cxn>
                  <a:cxn ang="0">
                    <a:pos x="T6" y="T7"/>
                  </a:cxn>
                  <a:cxn ang="0">
                    <a:pos x="T8" y="T9"/>
                  </a:cxn>
                </a:cxnLst>
                <a:rect l="0" t="0" r="r" b="b"/>
                <a:pathLst>
                  <a:path w="26" h="40">
                    <a:moveTo>
                      <a:pt x="26" y="28"/>
                    </a:moveTo>
                    <a:cubicBezTo>
                      <a:pt x="26" y="36"/>
                      <a:pt x="20" y="40"/>
                      <a:pt x="13" y="40"/>
                    </a:cubicBezTo>
                    <a:cubicBezTo>
                      <a:pt x="6" y="40"/>
                      <a:pt x="0" y="36"/>
                      <a:pt x="0" y="28"/>
                    </a:cubicBezTo>
                    <a:cubicBezTo>
                      <a:pt x="0" y="21"/>
                      <a:pt x="13" y="0"/>
                      <a:pt x="13" y="0"/>
                    </a:cubicBezTo>
                    <a:cubicBezTo>
                      <a:pt x="13" y="0"/>
                      <a:pt x="26" y="21"/>
                      <a:pt x="26" y="28"/>
                    </a:cubicBez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1" name="Freeform 241">
                <a:extLst>
                  <a:ext uri="{FF2B5EF4-FFF2-40B4-BE49-F238E27FC236}">
                    <a16:creationId xmlns:a16="http://schemas.microsoft.com/office/drawing/2014/main" id="{9FF42FE4-88CE-374C-B527-F5D2DB3D4C3D}"/>
                  </a:ext>
                </a:extLst>
              </p:cNvPr>
              <p:cNvSpPr>
                <a:spLocks/>
              </p:cNvSpPr>
              <p:nvPr/>
            </p:nvSpPr>
            <p:spPr bwMode="auto">
              <a:xfrm>
                <a:off x="7877175" y="1998663"/>
                <a:ext cx="22225" cy="19050"/>
              </a:xfrm>
              <a:custGeom>
                <a:avLst/>
                <a:gdLst>
                  <a:gd name="T0" fmla="*/ 6 w 6"/>
                  <a:gd name="T1" fmla="*/ 5 h 5"/>
                  <a:gd name="T2" fmla="*/ 0 w 6"/>
                  <a:gd name="T3" fmla="*/ 0 h 5"/>
                </a:gdLst>
                <a:ahLst/>
                <a:cxnLst>
                  <a:cxn ang="0">
                    <a:pos x="T0" y="T1"/>
                  </a:cxn>
                  <a:cxn ang="0">
                    <a:pos x="T2" y="T3"/>
                  </a:cxn>
                </a:cxnLst>
                <a:rect l="0" t="0" r="r" b="b"/>
                <a:pathLst>
                  <a:path w="6" h="5">
                    <a:moveTo>
                      <a:pt x="6" y="5"/>
                    </a:moveTo>
                    <a:cubicBezTo>
                      <a:pt x="3" y="5"/>
                      <a:pt x="0" y="3"/>
                      <a:pt x="0"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2" name="Title 1">
            <a:extLst>
              <a:ext uri="{FF2B5EF4-FFF2-40B4-BE49-F238E27FC236}">
                <a16:creationId xmlns:a16="http://schemas.microsoft.com/office/drawing/2014/main" id="{7F210DAF-E6B0-F444-BF04-219CB0894F61}"/>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19830668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C60C20E-8627-E841-BA05-C760C0003610}"/>
              </a:ext>
            </a:extLst>
          </p:cNvPr>
          <p:cNvSpPr/>
          <p:nvPr/>
        </p:nvSpPr>
        <p:spPr>
          <a:xfrm>
            <a:off x="1257300" y="2292350"/>
            <a:ext cx="21863050" cy="35498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Segoe UI" panose="020B0502040204020203" pitchFamily="34" charset="0"/>
              <a:cs typeface="Segoe UI" panose="020B0502040204020203" pitchFamily="34" charset="0"/>
            </a:endParaRPr>
          </a:p>
        </p:txBody>
      </p:sp>
      <p:sp>
        <p:nvSpPr>
          <p:cNvPr id="3" name="TextBox 48">
            <a:extLst>
              <a:ext uri="{FF2B5EF4-FFF2-40B4-BE49-F238E27FC236}">
                <a16:creationId xmlns:a16="http://schemas.microsoft.com/office/drawing/2014/main" id="{588A8CC5-5306-D245-9B24-CAA924777B21}"/>
              </a:ext>
            </a:extLst>
          </p:cNvPr>
          <p:cNvSpPr txBox="1"/>
          <p:nvPr/>
        </p:nvSpPr>
        <p:spPr>
          <a:xfrm>
            <a:off x="2350453" y="2673235"/>
            <a:ext cx="19676745" cy="2033332"/>
          </a:xfrm>
          <a:prstGeom prst="rect">
            <a:avLst/>
          </a:prstGeom>
          <a:noFill/>
          <a:ln w="6350">
            <a:noFill/>
            <a:prstDash val="dash"/>
          </a:ln>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600" b="1" dirty="0">
                <a:solidFill>
                  <a:schemeClr val="bg1"/>
                </a:solidFill>
                <a:cs typeface="Segoe UI" panose="020B0502040204020203" pitchFamily="34" charset="0"/>
              </a:rPr>
              <a:t>Lorem ipsum dolor sit </a:t>
            </a:r>
            <a:r>
              <a:rPr lang="en-US" sz="3600" b="1" dirty="0" err="1">
                <a:solidFill>
                  <a:schemeClr val="bg1"/>
                </a:solidFill>
                <a:cs typeface="Segoe UI" panose="020B0502040204020203" pitchFamily="34" charset="0"/>
              </a:rPr>
              <a:t>amet</a:t>
            </a:r>
            <a:r>
              <a:rPr lang="en-US" sz="3600" b="1" dirty="0">
                <a:solidFill>
                  <a:schemeClr val="bg1"/>
                </a:solidFill>
                <a:cs typeface="Segoe UI" panose="020B0502040204020203" pitchFamily="34" charset="0"/>
              </a:rPr>
              <a:t>, </a:t>
            </a:r>
            <a:r>
              <a:rPr lang="en-US" sz="3600" b="1" dirty="0" err="1">
                <a:solidFill>
                  <a:schemeClr val="bg1"/>
                </a:solidFill>
                <a:cs typeface="Segoe UI" panose="020B0502040204020203" pitchFamily="34" charset="0"/>
              </a:rPr>
              <a:t>consectetur</a:t>
            </a:r>
            <a:r>
              <a:rPr lang="en-US" sz="3600" b="1" dirty="0">
                <a:solidFill>
                  <a:schemeClr val="bg1"/>
                </a:solidFill>
                <a:cs typeface="Segoe UI" panose="020B0502040204020203" pitchFamily="34" charset="0"/>
              </a:rPr>
              <a:t> </a:t>
            </a:r>
            <a:r>
              <a:rPr lang="en-US" sz="3600" b="1" dirty="0" err="1">
                <a:solidFill>
                  <a:schemeClr val="bg1"/>
                </a:solidFill>
                <a:cs typeface="Segoe UI" panose="020B0502040204020203" pitchFamily="34" charset="0"/>
              </a:rPr>
              <a:t>adipiscing</a:t>
            </a:r>
            <a:r>
              <a:rPr lang="en-US" sz="3600" b="1" dirty="0">
                <a:solidFill>
                  <a:schemeClr val="bg1"/>
                </a:solidFill>
                <a:cs typeface="Segoe UI" panose="020B0502040204020203" pitchFamily="34" charset="0"/>
              </a:rPr>
              <a:t> </a:t>
            </a:r>
            <a:r>
              <a:rPr lang="en-US" sz="3600" b="1" dirty="0" err="1">
                <a:solidFill>
                  <a:schemeClr val="bg1"/>
                </a:solidFill>
                <a:cs typeface="Segoe UI" panose="020B0502040204020203" pitchFamily="34" charset="0"/>
              </a:rPr>
              <a:t>elit</a:t>
            </a:r>
            <a:r>
              <a:rPr lang="en-US" sz="3600" b="1" dirty="0">
                <a:solidFill>
                  <a:schemeClr val="bg1"/>
                </a:solidFill>
                <a:cs typeface="Segoe UI" panose="020B0502040204020203" pitchFamily="34" charset="0"/>
              </a:rPr>
              <a:t>. </a:t>
            </a:r>
            <a:r>
              <a:rPr lang="en-US" sz="3600" b="1" dirty="0" err="1">
                <a:solidFill>
                  <a:schemeClr val="bg1"/>
                </a:solidFill>
                <a:cs typeface="Segoe UI" panose="020B0502040204020203" pitchFamily="34" charset="0"/>
              </a:rPr>
              <a:t>Nulla</a:t>
            </a:r>
            <a:r>
              <a:rPr lang="en-US" sz="3600" b="1" dirty="0">
                <a:solidFill>
                  <a:schemeClr val="bg1"/>
                </a:solidFill>
                <a:cs typeface="Segoe UI" panose="020B0502040204020203" pitchFamily="34" charset="0"/>
              </a:rPr>
              <a:t> pharetra dolor sed </a:t>
            </a:r>
            <a:r>
              <a:rPr lang="en-US" sz="3600" b="1" dirty="0" err="1">
                <a:solidFill>
                  <a:schemeClr val="bg1"/>
                </a:solidFill>
                <a:cs typeface="Segoe UI" panose="020B0502040204020203" pitchFamily="34" charset="0"/>
              </a:rPr>
              <a:t>finibus</a:t>
            </a:r>
            <a:r>
              <a:rPr lang="en-US" sz="3600" b="1" dirty="0">
                <a:solidFill>
                  <a:schemeClr val="bg1"/>
                </a:solidFill>
                <a:cs typeface="Segoe UI" panose="020B0502040204020203" pitchFamily="34" charset="0"/>
              </a:rPr>
              <a:t> </a:t>
            </a:r>
            <a:r>
              <a:rPr lang="en-US" sz="3600" b="1" dirty="0" err="1">
                <a:solidFill>
                  <a:schemeClr val="bg1"/>
                </a:solidFill>
                <a:cs typeface="Segoe UI" panose="020B0502040204020203" pitchFamily="34" charset="0"/>
              </a:rPr>
              <a:t>aliquam</a:t>
            </a:r>
            <a:r>
              <a:rPr lang="en-US" sz="3600" b="1" dirty="0">
                <a:solidFill>
                  <a:schemeClr val="bg1"/>
                </a:solidFill>
                <a:cs typeface="Segoe UI" panose="020B0502040204020203" pitchFamily="34" charset="0"/>
              </a:rPr>
              <a:t>. </a:t>
            </a:r>
            <a:r>
              <a:rPr lang="en-US" sz="3600" b="1" dirty="0" err="1">
                <a:solidFill>
                  <a:schemeClr val="bg1"/>
                </a:solidFill>
                <a:cs typeface="Segoe UI" panose="020B0502040204020203" pitchFamily="34" charset="0"/>
              </a:rPr>
              <a:t>Suspendisse</a:t>
            </a:r>
            <a:r>
              <a:rPr lang="en-US" sz="3600" b="1" dirty="0">
                <a:solidFill>
                  <a:schemeClr val="bg1"/>
                </a:solidFill>
                <a:cs typeface="Segoe UI" panose="020B0502040204020203" pitchFamily="34" charset="0"/>
              </a:rPr>
              <a:t> </a:t>
            </a:r>
            <a:r>
              <a:rPr lang="en-US" sz="3600" b="1" dirty="0" err="1">
                <a:solidFill>
                  <a:schemeClr val="bg1"/>
                </a:solidFill>
                <a:cs typeface="Segoe UI" panose="020B0502040204020203" pitchFamily="34" charset="0"/>
              </a:rPr>
              <a:t>volutpat</a:t>
            </a:r>
            <a:r>
              <a:rPr lang="en-US" sz="3600" b="1" dirty="0">
                <a:solidFill>
                  <a:schemeClr val="bg1"/>
                </a:solidFill>
                <a:cs typeface="Segoe UI" panose="020B0502040204020203" pitchFamily="34" charset="0"/>
              </a:rPr>
              <a:t> </a:t>
            </a:r>
            <a:r>
              <a:rPr lang="en-US" sz="3600" b="1" dirty="0" err="1">
                <a:solidFill>
                  <a:schemeClr val="bg1"/>
                </a:solidFill>
                <a:cs typeface="Segoe UI" panose="020B0502040204020203" pitchFamily="34" charset="0"/>
              </a:rPr>
              <a:t>sem</a:t>
            </a:r>
            <a:r>
              <a:rPr lang="en-US" sz="3600" b="1" dirty="0">
                <a:solidFill>
                  <a:schemeClr val="bg1"/>
                </a:solidFill>
                <a:cs typeface="Segoe UI" panose="020B0502040204020203" pitchFamily="34" charset="0"/>
              </a:rPr>
              <a:t> at </a:t>
            </a:r>
            <a:r>
              <a:rPr lang="en-US" sz="3600" b="1" dirty="0" err="1">
                <a:solidFill>
                  <a:schemeClr val="bg1"/>
                </a:solidFill>
                <a:cs typeface="Segoe UI" panose="020B0502040204020203" pitchFamily="34" charset="0"/>
              </a:rPr>
              <a:t>finibus</a:t>
            </a:r>
            <a:r>
              <a:rPr lang="en-US" sz="3600" b="1" dirty="0">
                <a:solidFill>
                  <a:schemeClr val="bg1"/>
                </a:solidFill>
                <a:cs typeface="Segoe UI" panose="020B0502040204020203" pitchFamily="34" charset="0"/>
              </a:rPr>
              <a:t> tempus. Ut </a:t>
            </a:r>
            <a:r>
              <a:rPr lang="en-US" sz="3600" b="1" dirty="0" err="1">
                <a:solidFill>
                  <a:schemeClr val="bg1"/>
                </a:solidFill>
                <a:cs typeface="Segoe UI" panose="020B0502040204020203" pitchFamily="34" charset="0"/>
              </a:rPr>
              <a:t>vulputate</a:t>
            </a:r>
            <a:r>
              <a:rPr lang="en-US" sz="3600" b="1" dirty="0">
                <a:solidFill>
                  <a:schemeClr val="bg1"/>
                </a:solidFill>
                <a:cs typeface="Segoe UI" panose="020B0502040204020203" pitchFamily="34" charset="0"/>
              </a:rPr>
              <a:t> </a:t>
            </a:r>
            <a:r>
              <a:rPr lang="en-US" sz="3600" b="1" dirty="0" err="1">
                <a:solidFill>
                  <a:schemeClr val="bg1"/>
                </a:solidFill>
                <a:cs typeface="Segoe UI" panose="020B0502040204020203" pitchFamily="34" charset="0"/>
              </a:rPr>
              <a:t>mauris</a:t>
            </a:r>
            <a:r>
              <a:rPr lang="en-US" sz="3600" b="1" dirty="0">
                <a:solidFill>
                  <a:schemeClr val="bg1"/>
                </a:solidFill>
                <a:cs typeface="Segoe UI" panose="020B0502040204020203" pitchFamily="34" charset="0"/>
              </a:rPr>
              <a:t> at </a:t>
            </a:r>
            <a:r>
              <a:rPr lang="en-US" sz="3600" b="1" dirty="0" err="1">
                <a:solidFill>
                  <a:schemeClr val="bg1"/>
                </a:solidFill>
                <a:cs typeface="Segoe UI" panose="020B0502040204020203" pitchFamily="34" charset="0"/>
              </a:rPr>
              <a:t>pretium</a:t>
            </a:r>
            <a:r>
              <a:rPr lang="en-US" sz="3600" b="1" dirty="0">
                <a:solidFill>
                  <a:schemeClr val="bg1"/>
                </a:solidFill>
                <a:cs typeface="Segoe UI" panose="020B0502040204020203" pitchFamily="34" charset="0"/>
              </a:rPr>
              <a:t> dictum. Maecenas </a:t>
            </a:r>
            <a:r>
              <a:rPr lang="en-US" sz="3600" b="1" dirty="0" err="1">
                <a:solidFill>
                  <a:schemeClr val="bg1"/>
                </a:solidFill>
                <a:cs typeface="Segoe UI" panose="020B0502040204020203" pitchFamily="34" charset="0"/>
              </a:rPr>
              <a:t>sodales</a:t>
            </a:r>
            <a:r>
              <a:rPr lang="en-US" sz="3600" b="1" dirty="0">
                <a:solidFill>
                  <a:schemeClr val="bg1"/>
                </a:solidFill>
                <a:cs typeface="Segoe UI" panose="020B0502040204020203" pitchFamily="34" charset="0"/>
              </a:rPr>
              <a:t> tempus </a:t>
            </a:r>
            <a:r>
              <a:rPr lang="en-US" sz="3600" b="1" dirty="0" err="1">
                <a:solidFill>
                  <a:schemeClr val="bg1"/>
                </a:solidFill>
                <a:cs typeface="Segoe UI" panose="020B0502040204020203" pitchFamily="34" charset="0"/>
              </a:rPr>
              <a:t>risus</a:t>
            </a:r>
            <a:r>
              <a:rPr lang="en-US" sz="3600" b="1" dirty="0">
                <a:solidFill>
                  <a:schemeClr val="bg1"/>
                </a:solidFill>
                <a:cs typeface="Segoe UI" panose="020B0502040204020203" pitchFamily="34" charset="0"/>
              </a:rPr>
              <a:t>. Vestibulum </a:t>
            </a:r>
            <a:r>
              <a:rPr lang="en-US" sz="3600" b="1" dirty="0" err="1">
                <a:solidFill>
                  <a:schemeClr val="bg1"/>
                </a:solidFill>
                <a:cs typeface="Segoe UI" panose="020B0502040204020203" pitchFamily="34" charset="0"/>
              </a:rPr>
              <a:t>eros</a:t>
            </a:r>
            <a:r>
              <a:rPr lang="en-US" sz="3600" b="1" dirty="0">
                <a:solidFill>
                  <a:schemeClr val="bg1"/>
                </a:solidFill>
                <a:cs typeface="Segoe UI" panose="020B0502040204020203" pitchFamily="34" charset="0"/>
              </a:rPr>
              <a:t> </a:t>
            </a:r>
            <a:r>
              <a:rPr lang="en-US" sz="3600" b="1" dirty="0" err="1">
                <a:solidFill>
                  <a:schemeClr val="bg1"/>
                </a:solidFill>
                <a:cs typeface="Segoe UI" panose="020B0502040204020203" pitchFamily="34" charset="0"/>
              </a:rPr>
              <a:t>sem</a:t>
            </a:r>
            <a:r>
              <a:rPr lang="en-US" sz="3600" b="1" dirty="0">
                <a:solidFill>
                  <a:schemeClr val="bg1"/>
                </a:solidFill>
                <a:cs typeface="Segoe UI" panose="020B0502040204020203" pitchFamily="34" charset="0"/>
              </a:rPr>
              <a:t>, </a:t>
            </a:r>
            <a:r>
              <a:rPr lang="en-US" sz="3600" b="1" dirty="0" err="1">
                <a:solidFill>
                  <a:schemeClr val="bg1"/>
                </a:solidFill>
                <a:cs typeface="Segoe UI" panose="020B0502040204020203" pitchFamily="34" charset="0"/>
              </a:rPr>
              <a:t>fringilla</a:t>
            </a:r>
            <a:r>
              <a:rPr lang="en-US" sz="3600" b="1" dirty="0">
                <a:solidFill>
                  <a:schemeClr val="bg1"/>
                </a:solidFill>
                <a:cs typeface="Segoe UI" panose="020B0502040204020203" pitchFamily="34" charset="0"/>
              </a:rPr>
              <a:t> id </a:t>
            </a:r>
            <a:r>
              <a:rPr lang="en-US" sz="3600" b="1" dirty="0" err="1">
                <a:solidFill>
                  <a:schemeClr val="bg1"/>
                </a:solidFill>
                <a:cs typeface="Segoe UI" panose="020B0502040204020203" pitchFamily="34" charset="0"/>
              </a:rPr>
              <a:t>commodo</a:t>
            </a:r>
            <a:r>
              <a:rPr lang="en-US" sz="3600" b="1" dirty="0">
                <a:solidFill>
                  <a:schemeClr val="bg1"/>
                </a:solidFill>
                <a:cs typeface="Segoe UI" panose="020B0502040204020203" pitchFamily="34" charset="0"/>
              </a:rPr>
              <a:t> sit </a:t>
            </a:r>
            <a:r>
              <a:rPr lang="en-US" sz="3600" b="1" dirty="0" err="1">
                <a:solidFill>
                  <a:schemeClr val="bg1"/>
                </a:solidFill>
                <a:cs typeface="Segoe UI" panose="020B0502040204020203" pitchFamily="34" charset="0"/>
              </a:rPr>
              <a:t>amet</a:t>
            </a:r>
            <a:r>
              <a:rPr lang="en-US" sz="3600" b="1" dirty="0">
                <a:solidFill>
                  <a:schemeClr val="bg1"/>
                </a:solidFill>
                <a:cs typeface="Segoe UI" panose="020B0502040204020203" pitchFamily="34" charset="0"/>
              </a:rPr>
              <a:t>, </a:t>
            </a:r>
            <a:r>
              <a:rPr lang="en-US" sz="3600" b="1" dirty="0" err="1">
                <a:solidFill>
                  <a:schemeClr val="bg1"/>
                </a:solidFill>
                <a:cs typeface="Segoe UI" panose="020B0502040204020203" pitchFamily="34" charset="0"/>
              </a:rPr>
              <a:t>molestie</a:t>
            </a:r>
            <a:r>
              <a:rPr lang="en-US" sz="3600" b="1" dirty="0">
                <a:solidFill>
                  <a:schemeClr val="bg1"/>
                </a:solidFill>
                <a:cs typeface="Segoe UI" panose="020B0502040204020203" pitchFamily="34" charset="0"/>
              </a:rPr>
              <a:t> sed dolor. </a:t>
            </a:r>
            <a:r>
              <a:rPr lang="en-US" sz="3600" b="1" dirty="0" err="1">
                <a:solidFill>
                  <a:schemeClr val="bg1"/>
                </a:solidFill>
                <a:cs typeface="Segoe UI" panose="020B0502040204020203" pitchFamily="34" charset="0"/>
              </a:rPr>
              <a:t>Aliquam</a:t>
            </a:r>
            <a:r>
              <a:rPr lang="en-US" sz="3600" b="1" dirty="0">
                <a:solidFill>
                  <a:schemeClr val="bg1"/>
                </a:solidFill>
                <a:cs typeface="Segoe UI" panose="020B0502040204020203" pitchFamily="34" charset="0"/>
              </a:rPr>
              <a:t> </a:t>
            </a:r>
            <a:r>
              <a:rPr lang="en-US" sz="3600" b="1" dirty="0" err="1">
                <a:solidFill>
                  <a:schemeClr val="bg1"/>
                </a:solidFill>
                <a:cs typeface="Segoe UI" panose="020B0502040204020203" pitchFamily="34" charset="0"/>
              </a:rPr>
              <a:t>iaculis</a:t>
            </a:r>
            <a:r>
              <a:rPr lang="en-US" sz="3600" b="1" dirty="0">
                <a:solidFill>
                  <a:schemeClr val="bg1"/>
                </a:solidFill>
                <a:cs typeface="Segoe UI" panose="020B0502040204020203" pitchFamily="34" charset="0"/>
              </a:rPr>
              <a:t> at </a:t>
            </a:r>
            <a:r>
              <a:rPr lang="en-US" sz="3600" b="1" dirty="0" err="1">
                <a:solidFill>
                  <a:schemeClr val="bg1"/>
                </a:solidFill>
                <a:cs typeface="Segoe UI" panose="020B0502040204020203" pitchFamily="34" charset="0"/>
              </a:rPr>
              <a:t>velit</a:t>
            </a:r>
            <a:r>
              <a:rPr lang="en-US" sz="3600" b="1" dirty="0">
                <a:solidFill>
                  <a:schemeClr val="bg1"/>
                </a:solidFill>
                <a:cs typeface="Segoe UI" panose="020B0502040204020203" pitchFamily="34" charset="0"/>
              </a:rPr>
              <a:t> convallis </a:t>
            </a:r>
            <a:r>
              <a:rPr lang="en-US" sz="3600" b="1" dirty="0" err="1">
                <a:solidFill>
                  <a:schemeClr val="bg1"/>
                </a:solidFill>
                <a:cs typeface="Segoe UI" panose="020B0502040204020203" pitchFamily="34" charset="0"/>
              </a:rPr>
              <a:t>efficitur</a:t>
            </a:r>
            <a:r>
              <a:rPr lang="en-US" sz="3600" b="1" dirty="0">
                <a:solidFill>
                  <a:schemeClr val="bg1"/>
                </a:solidFill>
                <a:cs typeface="Segoe UI" panose="020B0502040204020203" pitchFamily="34" charset="0"/>
              </a:rPr>
              <a:t>. </a:t>
            </a:r>
            <a:r>
              <a:rPr lang="en-US" sz="3600" b="1" dirty="0" err="1">
                <a:solidFill>
                  <a:schemeClr val="bg1"/>
                </a:solidFill>
                <a:cs typeface="Segoe UI" panose="020B0502040204020203" pitchFamily="34" charset="0"/>
              </a:rPr>
              <a:t>Proin</a:t>
            </a:r>
            <a:r>
              <a:rPr lang="en-US" sz="3600" b="1" dirty="0">
                <a:solidFill>
                  <a:schemeClr val="bg1"/>
                </a:solidFill>
                <a:cs typeface="Segoe UI" panose="020B0502040204020203" pitchFamily="34" charset="0"/>
              </a:rPr>
              <a:t> </a:t>
            </a:r>
            <a:r>
              <a:rPr lang="en-US" sz="3600" b="1" dirty="0" err="1">
                <a:solidFill>
                  <a:schemeClr val="bg1"/>
                </a:solidFill>
                <a:cs typeface="Segoe UI" panose="020B0502040204020203" pitchFamily="34" charset="0"/>
              </a:rPr>
              <a:t>nec</a:t>
            </a:r>
            <a:r>
              <a:rPr lang="en-US" sz="3600" b="1" dirty="0">
                <a:solidFill>
                  <a:schemeClr val="bg1"/>
                </a:solidFill>
                <a:cs typeface="Segoe UI" panose="020B0502040204020203" pitchFamily="34" charset="0"/>
              </a:rPr>
              <a:t> dui </a:t>
            </a:r>
            <a:r>
              <a:rPr lang="en-US" sz="3600" b="1" dirty="0" err="1">
                <a:solidFill>
                  <a:schemeClr val="bg1"/>
                </a:solidFill>
                <a:cs typeface="Segoe UI" panose="020B0502040204020203" pitchFamily="34" charset="0"/>
              </a:rPr>
              <a:t>lectus</a:t>
            </a:r>
            <a:r>
              <a:rPr lang="en-US" sz="3600" b="1" dirty="0">
                <a:solidFill>
                  <a:schemeClr val="bg1"/>
                </a:solidFill>
                <a:cs typeface="Segoe UI" panose="020B0502040204020203" pitchFamily="34" charset="0"/>
              </a:rPr>
              <a:t>. </a:t>
            </a:r>
          </a:p>
        </p:txBody>
      </p:sp>
      <p:sp>
        <p:nvSpPr>
          <p:cNvPr id="4" name="TextBox 48">
            <a:extLst>
              <a:ext uri="{FF2B5EF4-FFF2-40B4-BE49-F238E27FC236}">
                <a16:creationId xmlns:a16="http://schemas.microsoft.com/office/drawing/2014/main" id="{D56D467C-7697-4C4F-8D2B-E13D378E5951}"/>
              </a:ext>
            </a:extLst>
          </p:cNvPr>
          <p:cNvSpPr txBox="1"/>
          <p:nvPr/>
        </p:nvSpPr>
        <p:spPr>
          <a:xfrm>
            <a:off x="2310598" y="6824783"/>
            <a:ext cx="9123432" cy="3686135"/>
          </a:xfrm>
          <a:prstGeom prst="rect">
            <a:avLst/>
          </a:prstGeom>
          <a:noFill/>
          <a:ln w="6350">
            <a:noFill/>
            <a:prstDash val="dash"/>
          </a:ln>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Clr>
                <a:schemeClr val="accent6"/>
              </a:buClr>
              <a:buFont typeface="Segoe UI" panose="020B0502040204020203" pitchFamily="34" charset="0"/>
              <a:buChar char="›"/>
            </a:pPr>
            <a:r>
              <a:rPr lang="en-US" sz="3200" dirty="0">
                <a:solidFill>
                  <a:schemeClr val="tx1">
                    <a:lumMod val="85000"/>
                    <a:lumOff val="15000"/>
                  </a:schemeClr>
                </a:solidFill>
                <a:cs typeface="Segoe UI" panose="020B0502040204020203" pitchFamily="34" charset="0"/>
              </a:rPr>
              <a:t>Lorem ipsum dolor sit </a:t>
            </a:r>
            <a:r>
              <a:rPr lang="en-US" sz="3200" dirty="0" err="1">
                <a:solidFill>
                  <a:schemeClr val="tx1">
                    <a:lumMod val="85000"/>
                    <a:lumOff val="15000"/>
                  </a:schemeClr>
                </a:solidFill>
                <a:cs typeface="Segoe UI" panose="020B0502040204020203" pitchFamily="34" charset="0"/>
              </a:rPr>
              <a:t>amet</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consectetur</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adipiscing</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elit</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Nulla</a:t>
            </a:r>
            <a:r>
              <a:rPr lang="en-US" sz="3200" dirty="0">
                <a:solidFill>
                  <a:schemeClr val="tx1">
                    <a:lumMod val="85000"/>
                    <a:lumOff val="15000"/>
                  </a:schemeClr>
                </a:solidFill>
                <a:cs typeface="Segoe UI" panose="020B0502040204020203" pitchFamily="34" charset="0"/>
              </a:rPr>
              <a:t> pharetra dolor sed </a:t>
            </a:r>
            <a:r>
              <a:rPr lang="en-US" sz="3200" dirty="0" err="1">
                <a:solidFill>
                  <a:schemeClr val="tx1">
                    <a:lumMod val="85000"/>
                    <a:lumOff val="15000"/>
                  </a:schemeClr>
                </a:solidFill>
                <a:cs typeface="Segoe UI" panose="020B0502040204020203" pitchFamily="34" charset="0"/>
              </a:rPr>
              <a:t>finibus</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aliquam</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Suspendisse</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volutpat</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sem</a:t>
            </a:r>
            <a:r>
              <a:rPr lang="en-US" sz="3200" dirty="0">
                <a:solidFill>
                  <a:schemeClr val="tx1">
                    <a:lumMod val="85000"/>
                    <a:lumOff val="15000"/>
                  </a:schemeClr>
                </a:solidFill>
                <a:cs typeface="Segoe UI" panose="020B0502040204020203" pitchFamily="34" charset="0"/>
              </a:rPr>
              <a:t> at </a:t>
            </a:r>
            <a:r>
              <a:rPr lang="en-US" sz="3200" dirty="0" err="1">
                <a:solidFill>
                  <a:schemeClr val="tx1">
                    <a:lumMod val="85000"/>
                    <a:lumOff val="15000"/>
                  </a:schemeClr>
                </a:solidFill>
                <a:cs typeface="Segoe UI" panose="020B0502040204020203" pitchFamily="34" charset="0"/>
              </a:rPr>
              <a:t>finibus</a:t>
            </a:r>
            <a:r>
              <a:rPr lang="en-US" sz="3200" dirty="0">
                <a:solidFill>
                  <a:schemeClr val="tx1">
                    <a:lumMod val="85000"/>
                    <a:lumOff val="15000"/>
                  </a:schemeClr>
                </a:solidFill>
                <a:cs typeface="Segoe UI" panose="020B0502040204020203" pitchFamily="34" charset="0"/>
              </a:rPr>
              <a:t> tempus. Ut </a:t>
            </a:r>
            <a:r>
              <a:rPr lang="en-US" sz="3200" dirty="0" err="1">
                <a:solidFill>
                  <a:schemeClr val="tx1">
                    <a:lumMod val="85000"/>
                    <a:lumOff val="15000"/>
                  </a:schemeClr>
                </a:solidFill>
                <a:cs typeface="Segoe UI" panose="020B0502040204020203" pitchFamily="34" charset="0"/>
              </a:rPr>
              <a:t>vulputate</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mauris</a:t>
            </a:r>
            <a:r>
              <a:rPr lang="en-US" sz="3200" dirty="0">
                <a:solidFill>
                  <a:schemeClr val="tx1">
                    <a:lumMod val="85000"/>
                    <a:lumOff val="15000"/>
                  </a:schemeClr>
                </a:solidFill>
                <a:cs typeface="Segoe UI" panose="020B0502040204020203" pitchFamily="34" charset="0"/>
              </a:rPr>
              <a:t> at </a:t>
            </a:r>
            <a:r>
              <a:rPr lang="en-US" sz="3200" dirty="0" err="1">
                <a:solidFill>
                  <a:schemeClr val="tx1">
                    <a:lumMod val="85000"/>
                    <a:lumOff val="15000"/>
                  </a:schemeClr>
                </a:solidFill>
                <a:cs typeface="Segoe UI" panose="020B0502040204020203" pitchFamily="34" charset="0"/>
              </a:rPr>
              <a:t>pretium</a:t>
            </a:r>
            <a:r>
              <a:rPr lang="en-US" sz="3200" dirty="0">
                <a:solidFill>
                  <a:schemeClr val="tx1">
                    <a:lumMod val="85000"/>
                    <a:lumOff val="15000"/>
                  </a:schemeClr>
                </a:solidFill>
                <a:cs typeface="Segoe UI" panose="020B0502040204020203" pitchFamily="34" charset="0"/>
              </a:rPr>
              <a:t> dictum. Maecenas </a:t>
            </a:r>
            <a:r>
              <a:rPr lang="en-US" sz="3200" dirty="0" err="1">
                <a:solidFill>
                  <a:schemeClr val="tx1">
                    <a:lumMod val="85000"/>
                    <a:lumOff val="15000"/>
                  </a:schemeClr>
                </a:solidFill>
                <a:cs typeface="Segoe UI" panose="020B0502040204020203" pitchFamily="34" charset="0"/>
              </a:rPr>
              <a:t>sodales</a:t>
            </a:r>
            <a:r>
              <a:rPr lang="en-US" sz="3200" dirty="0">
                <a:solidFill>
                  <a:schemeClr val="tx1">
                    <a:lumMod val="85000"/>
                    <a:lumOff val="15000"/>
                  </a:schemeClr>
                </a:solidFill>
                <a:cs typeface="Segoe UI" panose="020B0502040204020203" pitchFamily="34" charset="0"/>
              </a:rPr>
              <a:t> tempus </a:t>
            </a:r>
            <a:r>
              <a:rPr lang="en-US" sz="3200" dirty="0" err="1">
                <a:solidFill>
                  <a:schemeClr val="tx1">
                    <a:lumMod val="85000"/>
                    <a:lumOff val="15000"/>
                  </a:schemeClr>
                </a:solidFill>
                <a:cs typeface="Segoe UI" panose="020B0502040204020203" pitchFamily="34" charset="0"/>
              </a:rPr>
              <a:t>risus</a:t>
            </a:r>
            <a:r>
              <a:rPr lang="en-US" sz="3200" dirty="0">
                <a:solidFill>
                  <a:schemeClr val="tx1">
                    <a:lumMod val="85000"/>
                    <a:lumOff val="15000"/>
                  </a:schemeClr>
                </a:solidFill>
                <a:cs typeface="Segoe UI" panose="020B0502040204020203" pitchFamily="34" charset="0"/>
              </a:rPr>
              <a:t>. Vestibulum </a:t>
            </a:r>
            <a:r>
              <a:rPr lang="en-US" sz="3200" dirty="0" err="1">
                <a:solidFill>
                  <a:schemeClr val="tx1">
                    <a:lumMod val="85000"/>
                    <a:lumOff val="15000"/>
                  </a:schemeClr>
                </a:solidFill>
                <a:cs typeface="Segoe UI" panose="020B0502040204020203" pitchFamily="34" charset="0"/>
              </a:rPr>
              <a:t>eros</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sem</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fringilla</a:t>
            </a:r>
            <a:r>
              <a:rPr lang="en-US" sz="3200" dirty="0">
                <a:solidFill>
                  <a:schemeClr val="tx1">
                    <a:lumMod val="85000"/>
                    <a:lumOff val="15000"/>
                  </a:schemeClr>
                </a:solidFill>
                <a:cs typeface="Segoe UI" panose="020B0502040204020203" pitchFamily="34" charset="0"/>
              </a:rPr>
              <a:t> id </a:t>
            </a:r>
            <a:r>
              <a:rPr lang="en-US" sz="3200" dirty="0" err="1">
                <a:solidFill>
                  <a:schemeClr val="tx1">
                    <a:lumMod val="85000"/>
                    <a:lumOff val="15000"/>
                  </a:schemeClr>
                </a:solidFill>
                <a:cs typeface="Segoe UI" panose="020B0502040204020203" pitchFamily="34" charset="0"/>
              </a:rPr>
              <a:t>commodo</a:t>
            </a:r>
            <a:r>
              <a:rPr lang="en-US" sz="3200" dirty="0">
                <a:solidFill>
                  <a:schemeClr val="tx1">
                    <a:lumMod val="85000"/>
                    <a:lumOff val="15000"/>
                  </a:schemeClr>
                </a:solidFill>
                <a:cs typeface="Segoe UI" panose="020B0502040204020203" pitchFamily="34" charset="0"/>
              </a:rPr>
              <a:t> sit </a:t>
            </a:r>
            <a:r>
              <a:rPr lang="en-US" sz="3200" dirty="0" err="1">
                <a:solidFill>
                  <a:schemeClr val="tx1">
                    <a:lumMod val="85000"/>
                    <a:lumOff val="15000"/>
                  </a:schemeClr>
                </a:solidFill>
                <a:cs typeface="Segoe UI" panose="020B0502040204020203" pitchFamily="34" charset="0"/>
              </a:rPr>
              <a:t>amet</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molestie</a:t>
            </a:r>
            <a:r>
              <a:rPr lang="en-US" sz="3200" dirty="0">
                <a:solidFill>
                  <a:schemeClr val="tx1">
                    <a:lumMod val="85000"/>
                    <a:lumOff val="15000"/>
                  </a:schemeClr>
                </a:solidFill>
                <a:cs typeface="Segoe UI" panose="020B0502040204020203" pitchFamily="34" charset="0"/>
              </a:rPr>
              <a:t> sed dolor. </a:t>
            </a:r>
            <a:r>
              <a:rPr lang="en-US" sz="3200" dirty="0" err="1">
                <a:solidFill>
                  <a:schemeClr val="tx1">
                    <a:lumMod val="85000"/>
                    <a:lumOff val="15000"/>
                  </a:schemeClr>
                </a:solidFill>
                <a:cs typeface="Segoe UI" panose="020B0502040204020203" pitchFamily="34" charset="0"/>
              </a:rPr>
              <a:t>Aliquam</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iaculis</a:t>
            </a:r>
            <a:r>
              <a:rPr lang="en-US" sz="3200" dirty="0">
                <a:solidFill>
                  <a:schemeClr val="tx1">
                    <a:lumMod val="85000"/>
                    <a:lumOff val="15000"/>
                  </a:schemeClr>
                </a:solidFill>
                <a:cs typeface="Segoe UI" panose="020B0502040204020203" pitchFamily="34" charset="0"/>
              </a:rPr>
              <a:t> at </a:t>
            </a:r>
            <a:r>
              <a:rPr lang="en-US" sz="3200" dirty="0" err="1">
                <a:solidFill>
                  <a:schemeClr val="tx1">
                    <a:lumMod val="85000"/>
                    <a:lumOff val="15000"/>
                  </a:schemeClr>
                </a:solidFill>
                <a:cs typeface="Segoe UI" panose="020B0502040204020203" pitchFamily="34" charset="0"/>
              </a:rPr>
              <a:t>velit</a:t>
            </a:r>
            <a:r>
              <a:rPr lang="en-US" sz="3200" dirty="0">
                <a:solidFill>
                  <a:schemeClr val="tx1">
                    <a:lumMod val="85000"/>
                    <a:lumOff val="15000"/>
                  </a:schemeClr>
                </a:solidFill>
                <a:cs typeface="Segoe UI" panose="020B0502040204020203" pitchFamily="34" charset="0"/>
              </a:rPr>
              <a:t> convallis </a:t>
            </a:r>
            <a:r>
              <a:rPr lang="en-US" sz="3200" dirty="0" err="1">
                <a:solidFill>
                  <a:schemeClr val="tx1">
                    <a:lumMod val="85000"/>
                    <a:lumOff val="15000"/>
                  </a:schemeClr>
                </a:solidFill>
                <a:cs typeface="Segoe UI" panose="020B0502040204020203" pitchFamily="34" charset="0"/>
              </a:rPr>
              <a:t>efficitur</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Proin</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nec</a:t>
            </a:r>
            <a:r>
              <a:rPr lang="en-US" sz="3200" dirty="0">
                <a:solidFill>
                  <a:schemeClr val="tx1">
                    <a:lumMod val="85000"/>
                    <a:lumOff val="15000"/>
                  </a:schemeClr>
                </a:solidFill>
                <a:cs typeface="Segoe UI" panose="020B0502040204020203" pitchFamily="34" charset="0"/>
              </a:rPr>
              <a:t> dui </a:t>
            </a:r>
            <a:r>
              <a:rPr lang="en-US" sz="3200" dirty="0" err="1">
                <a:solidFill>
                  <a:schemeClr val="tx1">
                    <a:lumMod val="85000"/>
                    <a:lumOff val="15000"/>
                  </a:schemeClr>
                </a:solidFill>
                <a:cs typeface="Segoe UI" panose="020B0502040204020203" pitchFamily="34" charset="0"/>
              </a:rPr>
              <a:t>lectus</a:t>
            </a:r>
            <a:r>
              <a:rPr lang="en-US" sz="3200" dirty="0">
                <a:solidFill>
                  <a:schemeClr val="tx1">
                    <a:lumMod val="85000"/>
                    <a:lumOff val="15000"/>
                  </a:schemeClr>
                </a:solidFill>
                <a:cs typeface="Segoe UI" panose="020B0502040204020203" pitchFamily="34" charset="0"/>
              </a:rPr>
              <a:t>. </a:t>
            </a:r>
          </a:p>
        </p:txBody>
      </p:sp>
      <p:sp>
        <p:nvSpPr>
          <p:cNvPr id="5" name="TextBox 48">
            <a:extLst>
              <a:ext uri="{FF2B5EF4-FFF2-40B4-BE49-F238E27FC236}">
                <a16:creationId xmlns:a16="http://schemas.microsoft.com/office/drawing/2014/main" id="{8C2F7D59-B3BB-014A-9CCF-5F2CF3A37663}"/>
              </a:ext>
            </a:extLst>
          </p:cNvPr>
          <p:cNvSpPr txBox="1"/>
          <p:nvPr/>
        </p:nvSpPr>
        <p:spPr>
          <a:xfrm>
            <a:off x="12903766" y="6824783"/>
            <a:ext cx="9123432" cy="3686135"/>
          </a:xfrm>
          <a:prstGeom prst="rect">
            <a:avLst/>
          </a:prstGeom>
          <a:noFill/>
          <a:ln w="6350">
            <a:noFill/>
            <a:prstDash val="dash"/>
          </a:ln>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Clr>
                <a:schemeClr val="accent6"/>
              </a:buClr>
              <a:buFont typeface="Segoe UI" panose="020B0502040204020203" pitchFamily="34" charset="0"/>
              <a:buChar char="›"/>
            </a:pPr>
            <a:r>
              <a:rPr lang="en-US" sz="3200" dirty="0">
                <a:solidFill>
                  <a:schemeClr val="tx1">
                    <a:lumMod val="85000"/>
                    <a:lumOff val="15000"/>
                  </a:schemeClr>
                </a:solidFill>
                <a:cs typeface="Segoe UI" panose="020B0502040204020203" pitchFamily="34" charset="0"/>
              </a:rPr>
              <a:t>Lorem ipsum dolor sit </a:t>
            </a:r>
            <a:r>
              <a:rPr lang="en-US" sz="3200" dirty="0" err="1">
                <a:solidFill>
                  <a:schemeClr val="tx1">
                    <a:lumMod val="85000"/>
                    <a:lumOff val="15000"/>
                  </a:schemeClr>
                </a:solidFill>
                <a:cs typeface="Segoe UI" panose="020B0502040204020203" pitchFamily="34" charset="0"/>
              </a:rPr>
              <a:t>amet</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consectetur</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adipiscing</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elit</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Nulla</a:t>
            </a:r>
            <a:r>
              <a:rPr lang="en-US" sz="3200" dirty="0">
                <a:solidFill>
                  <a:schemeClr val="tx1">
                    <a:lumMod val="85000"/>
                    <a:lumOff val="15000"/>
                  </a:schemeClr>
                </a:solidFill>
                <a:cs typeface="Segoe UI" panose="020B0502040204020203" pitchFamily="34" charset="0"/>
              </a:rPr>
              <a:t> pharetra dolor sed </a:t>
            </a:r>
            <a:r>
              <a:rPr lang="en-US" sz="3200" dirty="0" err="1">
                <a:solidFill>
                  <a:schemeClr val="tx1">
                    <a:lumMod val="85000"/>
                    <a:lumOff val="15000"/>
                  </a:schemeClr>
                </a:solidFill>
                <a:cs typeface="Segoe UI" panose="020B0502040204020203" pitchFamily="34" charset="0"/>
              </a:rPr>
              <a:t>finibus</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aliquam</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Suspendisse</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volutpat</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sem</a:t>
            </a:r>
            <a:r>
              <a:rPr lang="en-US" sz="3200" dirty="0">
                <a:solidFill>
                  <a:schemeClr val="tx1">
                    <a:lumMod val="85000"/>
                    <a:lumOff val="15000"/>
                  </a:schemeClr>
                </a:solidFill>
                <a:cs typeface="Segoe UI" panose="020B0502040204020203" pitchFamily="34" charset="0"/>
              </a:rPr>
              <a:t> at </a:t>
            </a:r>
            <a:r>
              <a:rPr lang="en-US" sz="3200" dirty="0" err="1">
                <a:solidFill>
                  <a:schemeClr val="tx1">
                    <a:lumMod val="85000"/>
                    <a:lumOff val="15000"/>
                  </a:schemeClr>
                </a:solidFill>
                <a:cs typeface="Segoe UI" panose="020B0502040204020203" pitchFamily="34" charset="0"/>
              </a:rPr>
              <a:t>finibus</a:t>
            </a:r>
            <a:r>
              <a:rPr lang="en-US" sz="3200" dirty="0">
                <a:solidFill>
                  <a:schemeClr val="tx1">
                    <a:lumMod val="85000"/>
                    <a:lumOff val="15000"/>
                  </a:schemeClr>
                </a:solidFill>
                <a:cs typeface="Segoe UI" panose="020B0502040204020203" pitchFamily="34" charset="0"/>
              </a:rPr>
              <a:t> tempus. Ut </a:t>
            </a:r>
            <a:r>
              <a:rPr lang="en-US" sz="3200" dirty="0" err="1">
                <a:solidFill>
                  <a:schemeClr val="tx1">
                    <a:lumMod val="85000"/>
                    <a:lumOff val="15000"/>
                  </a:schemeClr>
                </a:solidFill>
                <a:cs typeface="Segoe UI" panose="020B0502040204020203" pitchFamily="34" charset="0"/>
              </a:rPr>
              <a:t>vulputate</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mauris</a:t>
            </a:r>
            <a:r>
              <a:rPr lang="en-US" sz="3200" dirty="0">
                <a:solidFill>
                  <a:schemeClr val="tx1">
                    <a:lumMod val="85000"/>
                    <a:lumOff val="15000"/>
                  </a:schemeClr>
                </a:solidFill>
                <a:cs typeface="Segoe UI" panose="020B0502040204020203" pitchFamily="34" charset="0"/>
              </a:rPr>
              <a:t> at </a:t>
            </a:r>
            <a:r>
              <a:rPr lang="en-US" sz="3200" dirty="0" err="1">
                <a:solidFill>
                  <a:schemeClr val="tx1">
                    <a:lumMod val="85000"/>
                    <a:lumOff val="15000"/>
                  </a:schemeClr>
                </a:solidFill>
                <a:cs typeface="Segoe UI" panose="020B0502040204020203" pitchFamily="34" charset="0"/>
              </a:rPr>
              <a:t>pretium</a:t>
            </a:r>
            <a:r>
              <a:rPr lang="en-US" sz="3200" dirty="0">
                <a:solidFill>
                  <a:schemeClr val="tx1">
                    <a:lumMod val="85000"/>
                    <a:lumOff val="15000"/>
                  </a:schemeClr>
                </a:solidFill>
                <a:cs typeface="Segoe UI" panose="020B0502040204020203" pitchFamily="34" charset="0"/>
              </a:rPr>
              <a:t> dictum. Maecenas </a:t>
            </a:r>
            <a:r>
              <a:rPr lang="en-US" sz="3200" dirty="0" err="1">
                <a:solidFill>
                  <a:schemeClr val="tx1">
                    <a:lumMod val="85000"/>
                    <a:lumOff val="15000"/>
                  </a:schemeClr>
                </a:solidFill>
                <a:cs typeface="Segoe UI" panose="020B0502040204020203" pitchFamily="34" charset="0"/>
              </a:rPr>
              <a:t>sodales</a:t>
            </a:r>
            <a:r>
              <a:rPr lang="en-US" sz="3200" dirty="0">
                <a:solidFill>
                  <a:schemeClr val="tx1">
                    <a:lumMod val="85000"/>
                    <a:lumOff val="15000"/>
                  </a:schemeClr>
                </a:solidFill>
                <a:cs typeface="Segoe UI" panose="020B0502040204020203" pitchFamily="34" charset="0"/>
              </a:rPr>
              <a:t> tempus </a:t>
            </a:r>
            <a:r>
              <a:rPr lang="en-US" sz="3200" dirty="0" err="1">
                <a:solidFill>
                  <a:schemeClr val="tx1">
                    <a:lumMod val="85000"/>
                    <a:lumOff val="15000"/>
                  </a:schemeClr>
                </a:solidFill>
                <a:cs typeface="Segoe UI" panose="020B0502040204020203" pitchFamily="34" charset="0"/>
              </a:rPr>
              <a:t>risus</a:t>
            </a:r>
            <a:r>
              <a:rPr lang="en-US" sz="3200" dirty="0">
                <a:solidFill>
                  <a:schemeClr val="tx1">
                    <a:lumMod val="85000"/>
                    <a:lumOff val="15000"/>
                  </a:schemeClr>
                </a:solidFill>
                <a:cs typeface="Segoe UI" panose="020B0502040204020203" pitchFamily="34" charset="0"/>
              </a:rPr>
              <a:t>. Vestibulum </a:t>
            </a:r>
            <a:r>
              <a:rPr lang="en-US" sz="3200" dirty="0" err="1">
                <a:solidFill>
                  <a:schemeClr val="tx1">
                    <a:lumMod val="85000"/>
                    <a:lumOff val="15000"/>
                  </a:schemeClr>
                </a:solidFill>
                <a:cs typeface="Segoe UI" panose="020B0502040204020203" pitchFamily="34" charset="0"/>
              </a:rPr>
              <a:t>eros</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sem</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fringilla</a:t>
            </a:r>
            <a:r>
              <a:rPr lang="en-US" sz="3200" dirty="0">
                <a:solidFill>
                  <a:schemeClr val="tx1">
                    <a:lumMod val="85000"/>
                    <a:lumOff val="15000"/>
                  </a:schemeClr>
                </a:solidFill>
                <a:cs typeface="Segoe UI" panose="020B0502040204020203" pitchFamily="34" charset="0"/>
              </a:rPr>
              <a:t> id </a:t>
            </a:r>
            <a:r>
              <a:rPr lang="en-US" sz="3200" dirty="0" err="1">
                <a:solidFill>
                  <a:schemeClr val="tx1">
                    <a:lumMod val="85000"/>
                    <a:lumOff val="15000"/>
                  </a:schemeClr>
                </a:solidFill>
                <a:cs typeface="Segoe UI" panose="020B0502040204020203" pitchFamily="34" charset="0"/>
              </a:rPr>
              <a:t>commodo</a:t>
            </a:r>
            <a:r>
              <a:rPr lang="en-US" sz="3200" dirty="0">
                <a:solidFill>
                  <a:schemeClr val="tx1">
                    <a:lumMod val="85000"/>
                    <a:lumOff val="15000"/>
                  </a:schemeClr>
                </a:solidFill>
                <a:cs typeface="Segoe UI" panose="020B0502040204020203" pitchFamily="34" charset="0"/>
              </a:rPr>
              <a:t> sit </a:t>
            </a:r>
            <a:r>
              <a:rPr lang="en-US" sz="3200" dirty="0" err="1">
                <a:solidFill>
                  <a:schemeClr val="tx1">
                    <a:lumMod val="85000"/>
                    <a:lumOff val="15000"/>
                  </a:schemeClr>
                </a:solidFill>
                <a:cs typeface="Segoe UI" panose="020B0502040204020203" pitchFamily="34" charset="0"/>
              </a:rPr>
              <a:t>amet</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molestie</a:t>
            </a:r>
            <a:r>
              <a:rPr lang="en-US" sz="3200" dirty="0">
                <a:solidFill>
                  <a:schemeClr val="tx1">
                    <a:lumMod val="85000"/>
                    <a:lumOff val="15000"/>
                  </a:schemeClr>
                </a:solidFill>
                <a:cs typeface="Segoe UI" panose="020B0502040204020203" pitchFamily="34" charset="0"/>
              </a:rPr>
              <a:t> sed dolor. </a:t>
            </a:r>
            <a:r>
              <a:rPr lang="en-US" sz="3200" dirty="0" err="1">
                <a:solidFill>
                  <a:schemeClr val="tx1">
                    <a:lumMod val="85000"/>
                    <a:lumOff val="15000"/>
                  </a:schemeClr>
                </a:solidFill>
                <a:cs typeface="Segoe UI" panose="020B0502040204020203" pitchFamily="34" charset="0"/>
              </a:rPr>
              <a:t>Aliquam</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iaculis</a:t>
            </a:r>
            <a:r>
              <a:rPr lang="en-US" sz="3200" dirty="0">
                <a:solidFill>
                  <a:schemeClr val="tx1">
                    <a:lumMod val="85000"/>
                    <a:lumOff val="15000"/>
                  </a:schemeClr>
                </a:solidFill>
                <a:cs typeface="Segoe UI" panose="020B0502040204020203" pitchFamily="34" charset="0"/>
              </a:rPr>
              <a:t> at </a:t>
            </a:r>
            <a:r>
              <a:rPr lang="en-US" sz="3200" dirty="0" err="1">
                <a:solidFill>
                  <a:schemeClr val="tx1">
                    <a:lumMod val="85000"/>
                    <a:lumOff val="15000"/>
                  </a:schemeClr>
                </a:solidFill>
                <a:cs typeface="Segoe UI" panose="020B0502040204020203" pitchFamily="34" charset="0"/>
              </a:rPr>
              <a:t>velit</a:t>
            </a:r>
            <a:r>
              <a:rPr lang="en-US" sz="3200" dirty="0">
                <a:solidFill>
                  <a:schemeClr val="tx1">
                    <a:lumMod val="85000"/>
                    <a:lumOff val="15000"/>
                  </a:schemeClr>
                </a:solidFill>
                <a:cs typeface="Segoe UI" panose="020B0502040204020203" pitchFamily="34" charset="0"/>
              </a:rPr>
              <a:t> convallis </a:t>
            </a:r>
            <a:r>
              <a:rPr lang="en-US" sz="3200" dirty="0" err="1">
                <a:solidFill>
                  <a:schemeClr val="tx1">
                    <a:lumMod val="85000"/>
                    <a:lumOff val="15000"/>
                  </a:schemeClr>
                </a:solidFill>
                <a:cs typeface="Segoe UI" panose="020B0502040204020203" pitchFamily="34" charset="0"/>
              </a:rPr>
              <a:t>efficitur</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Proin</a:t>
            </a:r>
            <a:r>
              <a:rPr lang="en-US" sz="3200" dirty="0">
                <a:solidFill>
                  <a:schemeClr val="tx1">
                    <a:lumMod val="85000"/>
                    <a:lumOff val="15000"/>
                  </a:schemeClr>
                </a:solidFill>
                <a:cs typeface="Segoe UI" panose="020B0502040204020203" pitchFamily="34" charset="0"/>
              </a:rPr>
              <a:t> </a:t>
            </a:r>
            <a:r>
              <a:rPr lang="en-US" sz="3200" dirty="0" err="1">
                <a:solidFill>
                  <a:schemeClr val="tx1">
                    <a:lumMod val="85000"/>
                    <a:lumOff val="15000"/>
                  </a:schemeClr>
                </a:solidFill>
                <a:cs typeface="Segoe UI" panose="020B0502040204020203" pitchFamily="34" charset="0"/>
              </a:rPr>
              <a:t>nec</a:t>
            </a:r>
            <a:r>
              <a:rPr lang="en-US" sz="3200" dirty="0">
                <a:solidFill>
                  <a:schemeClr val="tx1">
                    <a:lumMod val="85000"/>
                    <a:lumOff val="15000"/>
                  </a:schemeClr>
                </a:solidFill>
                <a:cs typeface="Segoe UI" panose="020B0502040204020203" pitchFamily="34" charset="0"/>
              </a:rPr>
              <a:t> dui </a:t>
            </a:r>
            <a:r>
              <a:rPr lang="en-US" sz="3200" dirty="0" err="1">
                <a:solidFill>
                  <a:schemeClr val="tx1">
                    <a:lumMod val="85000"/>
                    <a:lumOff val="15000"/>
                  </a:schemeClr>
                </a:solidFill>
                <a:cs typeface="Segoe UI" panose="020B0502040204020203" pitchFamily="34" charset="0"/>
              </a:rPr>
              <a:t>lectus</a:t>
            </a:r>
            <a:r>
              <a:rPr lang="en-US" sz="3200" dirty="0">
                <a:solidFill>
                  <a:schemeClr val="tx1">
                    <a:lumMod val="85000"/>
                    <a:lumOff val="15000"/>
                  </a:schemeClr>
                </a:solidFill>
                <a:cs typeface="Segoe UI" panose="020B0502040204020203" pitchFamily="34" charset="0"/>
              </a:rPr>
              <a:t>. </a:t>
            </a:r>
          </a:p>
        </p:txBody>
      </p:sp>
      <p:grpSp>
        <p:nvGrpSpPr>
          <p:cNvPr id="6" name="Group 5">
            <a:extLst>
              <a:ext uri="{FF2B5EF4-FFF2-40B4-BE49-F238E27FC236}">
                <a16:creationId xmlns:a16="http://schemas.microsoft.com/office/drawing/2014/main" id="{AD6F9592-EA41-0847-9B97-9DB6AC9DA628}"/>
              </a:ext>
            </a:extLst>
          </p:cNvPr>
          <p:cNvGrpSpPr/>
          <p:nvPr/>
        </p:nvGrpSpPr>
        <p:grpSpPr>
          <a:xfrm>
            <a:off x="16627431" y="5101420"/>
            <a:ext cx="1527673" cy="1527673"/>
            <a:chOff x="8571203" y="2871412"/>
            <a:chExt cx="851912" cy="851912"/>
          </a:xfrm>
        </p:grpSpPr>
        <p:sp>
          <p:nvSpPr>
            <p:cNvPr id="7" name="Oval 6">
              <a:extLst>
                <a:ext uri="{FF2B5EF4-FFF2-40B4-BE49-F238E27FC236}">
                  <a16:creationId xmlns:a16="http://schemas.microsoft.com/office/drawing/2014/main" id="{683E917E-186C-3345-9D3D-9AF0F73C745E}"/>
                </a:ext>
              </a:extLst>
            </p:cNvPr>
            <p:cNvSpPr/>
            <p:nvPr/>
          </p:nvSpPr>
          <p:spPr>
            <a:xfrm>
              <a:off x="8571203" y="2871412"/>
              <a:ext cx="851912" cy="851912"/>
            </a:xfrm>
            <a:prstGeom prst="ellipse">
              <a:avLst/>
            </a:prstGeom>
            <a:solidFill>
              <a:schemeClr val="accent4"/>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1E0A317C-4725-6446-BFB5-046F61C31B83}"/>
                </a:ext>
              </a:extLst>
            </p:cNvPr>
            <p:cNvGrpSpPr/>
            <p:nvPr/>
          </p:nvGrpSpPr>
          <p:grpSpPr>
            <a:xfrm>
              <a:off x="8794809" y="3037884"/>
              <a:ext cx="404700" cy="518968"/>
              <a:chOff x="4872038" y="3978276"/>
              <a:chExt cx="269875" cy="346075"/>
            </a:xfrm>
          </p:grpSpPr>
          <p:sp>
            <p:nvSpPr>
              <p:cNvPr id="9" name="Freeform 42">
                <a:extLst>
                  <a:ext uri="{FF2B5EF4-FFF2-40B4-BE49-F238E27FC236}">
                    <a16:creationId xmlns:a16="http://schemas.microsoft.com/office/drawing/2014/main" id="{EB483D89-48DE-5B4F-BD7D-E084415BB032}"/>
                  </a:ext>
                </a:extLst>
              </p:cNvPr>
              <p:cNvSpPr>
                <a:spLocks/>
              </p:cNvSpPr>
              <p:nvPr/>
            </p:nvSpPr>
            <p:spPr bwMode="auto">
              <a:xfrm>
                <a:off x="4938713" y="4024313"/>
                <a:ext cx="131763" cy="168275"/>
              </a:xfrm>
              <a:custGeom>
                <a:avLst/>
                <a:gdLst>
                  <a:gd name="T0" fmla="*/ 2 w 35"/>
                  <a:gd name="T1" fmla="*/ 24 h 45"/>
                  <a:gd name="T2" fmla="*/ 16 w 35"/>
                  <a:gd name="T3" fmla="*/ 36 h 45"/>
                  <a:gd name="T4" fmla="*/ 33 w 35"/>
                  <a:gd name="T5" fmla="*/ 32 h 45"/>
                  <a:gd name="T6" fmla="*/ 20 w 35"/>
                  <a:gd name="T7" fmla="*/ 0 h 45"/>
                  <a:gd name="T8" fmla="*/ 2 w 35"/>
                  <a:gd name="T9" fmla="*/ 24 h 45"/>
                </a:gdLst>
                <a:ahLst/>
                <a:cxnLst>
                  <a:cxn ang="0">
                    <a:pos x="T0" y="T1"/>
                  </a:cxn>
                  <a:cxn ang="0">
                    <a:pos x="T2" y="T3"/>
                  </a:cxn>
                  <a:cxn ang="0">
                    <a:pos x="T4" y="T5"/>
                  </a:cxn>
                  <a:cxn ang="0">
                    <a:pos x="T6" y="T7"/>
                  </a:cxn>
                  <a:cxn ang="0">
                    <a:pos x="T8" y="T9"/>
                  </a:cxn>
                </a:cxnLst>
                <a:rect l="0" t="0" r="r" b="b"/>
                <a:pathLst>
                  <a:path w="35" h="45">
                    <a:moveTo>
                      <a:pt x="2" y="24"/>
                    </a:moveTo>
                    <a:cubicBezTo>
                      <a:pt x="0" y="32"/>
                      <a:pt x="3" y="39"/>
                      <a:pt x="16" y="36"/>
                    </a:cubicBezTo>
                    <a:cubicBezTo>
                      <a:pt x="26" y="45"/>
                      <a:pt x="31" y="41"/>
                      <a:pt x="33" y="32"/>
                    </a:cubicBezTo>
                    <a:cubicBezTo>
                      <a:pt x="35" y="23"/>
                      <a:pt x="29" y="6"/>
                      <a:pt x="20" y="0"/>
                    </a:cubicBezTo>
                    <a:cubicBezTo>
                      <a:pt x="16" y="11"/>
                      <a:pt x="5" y="15"/>
                      <a:pt x="2" y="24"/>
                    </a:cubicBezTo>
                    <a:close/>
                  </a:path>
                </a:pathLst>
              </a:custGeom>
              <a:noFill/>
              <a:ln w="22225" cap="rnd">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 name="Line 43">
                <a:extLst>
                  <a:ext uri="{FF2B5EF4-FFF2-40B4-BE49-F238E27FC236}">
                    <a16:creationId xmlns:a16="http://schemas.microsoft.com/office/drawing/2014/main" id="{07722486-F09A-D14E-885D-24D2954EFB01}"/>
                  </a:ext>
                </a:extLst>
              </p:cNvPr>
              <p:cNvSpPr>
                <a:spLocks noChangeShapeType="1"/>
              </p:cNvSpPr>
              <p:nvPr/>
            </p:nvSpPr>
            <p:spPr bwMode="auto">
              <a:xfrm>
                <a:off x="4968876" y="4279901"/>
                <a:ext cx="76200" cy="0"/>
              </a:xfrm>
              <a:prstGeom prst="line">
                <a:avLst/>
              </a:prstGeom>
              <a:noFill/>
              <a:ln w="22225" cap="rnd">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 name="Line 44">
                <a:extLst>
                  <a:ext uri="{FF2B5EF4-FFF2-40B4-BE49-F238E27FC236}">
                    <a16:creationId xmlns:a16="http://schemas.microsoft.com/office/drawing/2014/main" id="{C246C23E-0A89-4444-8652-6260C27001DF}"/>
                  </a:ext>
                </a:extLst>
              </p:cNvPr>
              <p:cNvSpPr>
                <a:spLocks noChangeShapeType="1"/>
              </p:cNvSpPr>
              <p:nvPr/>
            </p:nvSpPr>
            <p:spPr bwMode="auto">
              <a:xfrm>
                <a:off x="4968876" y="4310063"/>
                <a:ext cx="76200" cy="0"/>
              </a:xfrm>
              <a:prstGeom prst="line">
                <a:avLst/>
              </a:prstGeom>
              <a:noFill/>
              <a:ln w="22225" cap="rnd">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 name="Line 45">
                <a:extLst>
                  <a:ext uri="{FF2B5EF4-FFF2-40B4-BE49-F238E27FC236}">
                    <a16:creationId xmlns:a16="http://schemas.microsoft.com/office/drawing/2014/main" id="{208A06E8-40FA-264F-8451-8E18EF821298}"/>
                  </a:ext>
                </a:extLst>
              </p:cNvPr>
              <p:cNvSpPr>
                <a:spLocks noChangeShapeType="1"/>
              </p:cNvSpPr>
              <p:nvPr/>
            </p:nvSpPr>
            <p:spPr bwMode="auto">
              <a:xfrm>
                <a:off x="5006976" y="4310063"/>
                <a:ext cx="0" cy="14288"/>
              </a:xfrm>
              <a:prstGeom prst="line">
                <a:avLst/>
              </a:prstGeom>
              <a:noFill/>
              <a:ln w="22225" cap="rnd">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 name="Freeform 46">
                <a:extLst>
                  <a:ext uri="{FF2B5EF4-FFF2-40B4-BE49-F238E27FC236}">
                    <a16:creationId xmlns:a16="http://schemas.microsoft.com/office/drawing/2014/main" id="{75D99302-B5FE-9B4D-941C-55CE3C340075}"/>
                  </a:ext>
                </a:extLst>
              </p:cNvPr>
              <p:cNvSpPr>
                <a:spLocks/>
              </p:cNvSpPr>
              <p:nvPr/>
            </p:nvSpPr>
            <p:spPr bwMode="auto">
              <a:xfrm>
                <a:off x="4984751" y="4079876"/>
                <a:ext cx="30163" cy="169863"/>
              </a:xfrm>
              <a:custGeom>
                <a:avLst/>
                <a:gdLst>
                  <a:gd name="T0" fmla="*/ 6 w 8"/>
                  <a:gd name="T1" fmla="*/ 45 h 45"/>
                  <a:gd name="T2" fmla="*/ 8 w 8"/>
                  <a:gd name="T3" fmla="*/ 0 h 45"/>
                </a:gdLst>
                <a:ahLst/>
                <a:cxnLst>
                  <a:cxn ang="0">
                    <a:pos x="T0" y="T1"/>
                  </a:cxn>
                  <a:cxn ang="0">
                    <a:pos x="T2" y="T3"/>
                  </a:cxn>
                </a:cxnLst>
                <a:rect l="0" t="0" r="r" b="b"/>
                <a:pathLst>
                  <a:path w="8" h="45">
                    <a:moveTo>
                      <a:pt x="6" y="45"/>
                    </a:moveTo>
                    <a:cubicBezTo>
                      <a:pt x="6" y="45"/>
                      <a:pt x="0" y="14"/>
                      <a:pt x="8" y="0"/>
                    </a:cubicBezTo>
                  </a:path>
                </a:pathLst>
              </a:custGeom>
              <a:noFill/>
              <a:ln w="22225" cap="rnd">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 name="Freeform 47">
                <a:extLst>
                  <a:ext uri="{FF2B5EF4-FFF2-40B4-BE49-F238E27FC236}">
                    <a16:creationId xmlns:a16="http://schemas.microsoft.com/office/drawing/2014/main" id="{313D62CC-7B88-EF42-BCFC-3BDA06786132}"/>
                  </a:ext>
                </a:extLst>
              </p:cNvPr>
              <p:cNvSpPr>
                <a:spLocks/>
              </p:cNvSpPr>
              <p:nvPr/>
            </p:nvSpPr>
            <p:spPr bwMode="auto">
              <a:xfrm>
                <a:off x="4872038" y="3978276"/>
                <a:ext cx="269875" cy="271463"/>
              </a:xfrm>
              <a:custGeom>
                <a:avLst/>
                <a:gdLst>
                  <a:gd name="T0" fmla="*/ 72 w 72"/>
                  <a:gd name="T1" fmla="*/ 34 h 72"/>
                  <a:gd name="T2" fmla="*/ 36 w 72"/>
                  <a:gd name="T3" fmla="*/ 0 h 72"/>
                  <a:gd name="T4" fmla="*/ 0 w 72"/>
                  <a:gd name="T5" fmla="*/ 34 h 72"/>
                  <a:gd name="T6" fmla="*/ 26 w 72"/>
                  <a:gd name="T7" fmla="*/ 67 h 72"/>
                  <a:gd name="T8" fmla="*/ 26 w 72"/>
                  <a:gd name="T9" fmla="*/ 72 h 72"/>
                  <a:gd name="T10" fmla="*/ 46 w 72"/>
                  <a:gd name="T11" fmla="*/ 72 h 72"/>
                  <a:gd name="T12" fmla="*/ 46 w 72"/>
                  <a:gd name="T13" fmla="*/ 67 h 72"/>
                  <a:gd name="T14" fmla="*/ 72 w 72"/>
                  <a:gd name="T15" fmla="*/ 34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72">
                    <a:moveTo>
                      <a:pt x="72" y="34"/>
                    </a:moveTo>
                    <a:cubicBezTo>
                      <a:pt x="72" y="15"/>
                      <a:pt x="56" y="0"/>
                      <a:pt x="36" y="0"/>
                    </a:cubicBezTo>
                    <a:cubicBezTo>
                      <a:pt x="16" y="0"/>
                      <a:pt x="0" y="15"/>
                      <a:pt x="0" y="34"/>
                    </a:cubicBezTo>
                    <a:cubicBezTo>
                      <a:pt x="0" y="49"/>
                      <a:pt x="11" y="63"/>
                      <a:pt x="26" y="67"/>
                    </a:cubicBezTo>
                    <a:cubicBezTo>
                      <a:pt x="26" y="72"/>
                      <a:pt x="26" y="72"/>
                      <a:pt x="26" y="72"/>
                    </a:cubicBezTo>
                    <a:cubicBezTo>
                      <a:pt x="46" y="72"/>
                      <a:pt x="46" y="72"/>
                      <a:pt x="46" y="72"/>
                    </a:cubicBezTo>
                    <a:cubicBezTo>
                      <a:pt x="46" y="67"/>
                      <a:pt x="46" y="67"/>
                      <a:pt x="46" y="67"/>
                    </a:cubicBezTo>
                    <a:cubicBezTo>
                      <a:pt x="61" y="63"/>
                      <a:pt x="72" y="49"/>
                      <a:pt x="72" y="34"/>
                    </a:cubicBezTo>
                    <a:close/>
                  </a:path>
                </a:pathLst>
              </a:custGeom>
              <a:noFill/>
              <a:ln w="22225" cap="rnd">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15" name="Group 14">
            <a:extLst>
              <a:ext uri="{FF2B5EF4-FFF2-40B4-BE49-F238E27FC236}">
                <a16:creationId xmlns:a16="http://schemas.microsoft.com/office/drawing/2014/main" id="{D77F479E-F2A0-B943-A11E-CC435A070920}"/>
              </a:ext>
            </a:extLst>
          </p:cNvPr>
          <p:cNvGrpSpPr/>
          <p:nvPr/>
        </p:nvGrpSpPr>
        <p:grpSpPr>
          <a:xfrm>
            <a:off x="6222549" y="5101420"/>
            <a:ext cx="1527673" cy="1527673"/>
            <a:chOff x="2768887" y="2871412"/>
            <a:chExt cx="851912" cy="851912"/>
          </a:xfrm>
        </p:grpSpPr>
        <p:sp>
          <p:nvSpPr>
            <p:cNvPr id="16" name="Oval 15">
              <a:extLst>
                <a:ext uri="{FF2B5EF4-FFF2-40B4-BE49-F238E27FC236}">
                  <a16:creationId xmlns:a16="http://schemas.microsoft.com/office/drawing/2014/main" id="{CE144EAF-7236-4A4B-B547-E48E06E9DB6B}"/>
                </a:ext>
              </a:extLst>
            </p:cNvPr>
            <p:cNvSpPr/>
            <p:nvPr/>
          </p:nvSpPr>
          <p:spPr>
            <a:xfrm>
              <a:off x="2768887" y="2871412"/>
              <a:ext cx="851912" cy="851912"/>
            </a:xfrm>
            <a:prstGeom prst="ellipse">
              <a:avLst/>
            </a:prstGeom>
            <a:solidFill>
              <a:schemeClr val="accent4"/>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7" name="Group 16">
              <a:extLst>
                <a:ext uri="{FF2B5EF4-FFF2-40B4-BE49-F238E27FC236}">
                  <a16:creationId xmlns:a16="http://schemas.microsoft.com/office/drawing/2014/main" id="{CAD382A3-8E17-924E-BC67-9D3636788CAF}"/>
                </a:ext>
              </a:extLst>
            </p:cNvPr>
            <p:cNvGrpSpPr/>
            <p:nvPr/>
          </p:nvGrpSpPr>
          <p:grpSpPr>
            <a:xfrm>
              <a:off x="2962217" y="3042532"/>
              <a:ext cx="465252" cy="509672"/>
              <a:chOff x="4856163" y="1811338"/>
              <a:chExt cx="315913" cy="346075"/>
            </a:xfrm>
          </p:grpSpPr>
          <p:sp>
            <p:nvSpPr>
              <p:cNvPr id="18" name="Freeform 148">
                <a:extLst>
                  <a:ext uri="{FF2B5EF4-FFF2-40B4-BE49-F238E27FC236}">
                    <a16:creationId xmlns:a16="http://schemas.microsoft.com/office/drawing/2014/main" id="{91925D12-6578-474E-A72C-DE614CE94DA6}"/>
                  </a:ext>
                </a:extLst>
              </p:cNvPr>
              <p:cNvSpPr>
                <a:spLocks/>
              </p:cNvSpPr>
              <p:nvPr/>
            </p:nvSpPr>
            <p:spPr bwMode="auto">
              <a:xfrm>
                <a:off x="4856163" y="1811338"/>
                <a:ext cx="315913" cy="346075"/>
              </a:xfrm>
              <a:custGeom>
                <a:avLst/>
                <a:gdLst>
                  <a:gd name="T0" fmla="*/ 75 w 84"/>
                  <a:gd name="T1" fmla="*/ 32 h 92"/>
                  <a:gd name="T2" fmla="*/ 39 w 84"/>
                  <a:gd name="T3" fmla="*/ 0 h 92"/>
                  <a:gd name="T4" fmla="*/ 0 w 84"/>
                  <a:gd name="T5" fmla="*/ 38 h 92"/>
                  <a:gd name="T6" fmla="*/ 16 w 84"/>
                  <a:gd name="T7" fmla="*/ 69 h 92"/>
                  <a:gd name="T8" fmla="*/ 16 w 84"/>
                  <a:gd name="T9" fmla="*/ 92 h 92"/>
                  <a:gd name="T10" fmla="*/ 56 w 84"/>
                  <a:gd name="T11" fmla="*/ 92 h 92"/>
                  <a:gd name="T12" fmla="*/ 56 w 84"/>
                  <a:gd name="T13" fmla="*/ 78 h 92"/>
                  <a:gd name="T14" fmla="*/ 71 w 84"/>
                  <a:gd name="T15" fmla="*/ 75 h 92"/>
                  <a:gd name="T16" fmla="*/ 75 w 84"/>
                  <a:gd name="T17" fmla="*/ 56 h 92"/>
                  <a:gd name="T18" fmla="*/ 81 w 84"/>
                  <a:gd name="T19" fmla="*/ 56 h 92"/>
                  <a:gd name="T20" fmla="*/ 83 w 84"/>
                  <a:gd name="T21" fmla="*/ 55 h 92"/>
                  <a:gd name="T22" fmla="*/ 84 w 84"/>
                  <a:gd name="T23" fmla="*/ 52 h 92"/>
                  <a:gd name="T24" fmla="*/ 75 w 84"/>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92">
                    <a:moveTo>
                      <a:pt x="75" y="32"/>
                    </a:moveTo>
                    <a:cubicBezTo>
                      <a:pt x="75" y="11"/>
                      <a:pt x="56" y="0"/>
                      <a:pt x="39"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5" y="71"/>
                      <a:pt x="75" y="56"/>
                      <a:pt x="75" y="56"/>
                    </a:cubicBezTo>
                    <a:cubicBezTo>
                      <a:pt x="75" y="56"/>
                      <a:pt x="78" y="56"/>
                      <a:pt x="81" y="56"/>
                    </a:cubicBezTo>
                    <a:cubicBezTo>
                      <a:pt x="82" y="56"/>
                      <a:pt x="83" y="56"/>
                      <a:pt x="83" y="55"/>
                    </a:cubicBezTo>
                    <a:cubicBezTo>
                      <a:pt x="84" y="54"/>
                      <a:pt x="84" y="53"/>
                      <a:pt x="84" y="52"/>
                    </a:cubicBezTo>
                    <a:cubicBezTo>
                      <a:pt x="84" y="46"/>
                      <a:pt x="75" y="35"/>
                      <a:pt x="75" y="32"/>
                    </a:cubicBezTo>
                    <a:close/>
                  </a:path>
                </a:pathLst>
              </a:custGeom>
              <a:noFill/>
              <a:ln w="22225" cap="flat">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 name="Freeform 149">
                <a:extLst>
                  <a:ext uri="{FF2B5EF4-FFF2-40B4-BE49-F238E27FC236}">
                    <a16:creationId xmlns:a16="http://schemas.microsoft.com/office/drawing/2014/main" id="{05316F93-99CB-924F-ADC2-C3BE0A456FCA}"/>
                  </a:ext>
                </a:extLst>
              </p:cNvPr>
              <p:cNvSpPr>
                <a:spLocks/>
              </p:cNvSpPr>
              <p:nvPr/>
            </p:nvSpPr>
            <p:spPr bwMode="auto">
              <a:xfrm>
                <a:off x="4943476" y="1871663"/>
                <a:ext cx="123825" cy="142875"/>
              </a:xfrm>
              <a:custGeom>
                <a:avLst/>
                <a:gdLst>
                  <a:gd name="T0" fmla="*/ 6 w 33"/>
                  <a:gd name="T1" fmla="*/ 11 h 38"/>
                  <a:gd name="T2" fmla="*/ 10 w 33"/>
                  <a:gd name="T3" fmla="*/ 27 h 38"/>
                  <a:gd name="T4" fmla="*/ 27 w 33"/>
                  <a:gd name="T5" fmla="*/ 28 h 38"/>
                  <a:gd name="T6" fmla="*/ 29 w 33"/>
                  <a:gd name="T7" fmla="*/ 0 h 38"/>
                  <a:gd name="T8" fmla="*/ 6 w 33"/>
                  <a:gd name="T9" fmla="*/ 11 h 38"/>
                </a:gdLst>
                <a:ahLst/>
                <a:cxnLst>
                  <a:cxn ang="0">
                    <a:pos x="T0" y="T1"/>
                  </a:cxn>
                  <a:cxn ang="0">
                    <a:pos x="T2" y="T3"/>
                  </a:cxn>
                  <a:cxn ang="0">
                    <a:pos x="T4" y="T5"/>
                  </a:cxn>
                  <a:cxn ang="0">
                    <a:pos x="T6" y="T7"/>
                  </a:cxn>
                  <a:cxn ang="0">
                    <a:pos x="T8" y="T9"/>
                  </a:cxn>
                </a:cxnLst>
                <a:rect l="0" t="0" r="r" b="b"/>
                <a:pathLst>
                  <a:path w="33" h="38">
                    <a:moveTo>
                      <a:pt x="6" y="11"/>
                    </a:moveTo>
                    <a:cubicBezTo>
                      <a:pt x="2" y="16"/>
                      <a:pt x="0" y="23"/>
                      <a:pt x="10" y="27"/>
                    </a:cubicBezTo>
                    <a:cubicBezTo>
                      <a:pt x="15" y="38"/>
                      <a:pt x="22" y="34"/>
                      <a:pt x="27" y="28"/>
                    </a:cubicBezTo>
                    <a:cubicBezTo>
                      <a:pt x="31" y="23"/>
                      <a:pt x="33" y="8"/>
                      <a:pt x="29" y="0"/>
                    </a:cubicBezTo>
                    <a:cubicBezTo>
                      <a:pt x="21" y="6"/>
                      <a:pt x="12" y="5"/>
                      <a:pt x="6" y="11"/>
                    </a:cubicBezTo>
                    <a:close/>
                  </a:path>
                </a:pathLst>
              </a:custGeom>
              <a:noFill/>
              <a:ln w="22225" cap="rnd">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 name="Freeform 150">
                <a:extLst>
                  <a:ext uri="{FF2B5EF4-FFF2-40B4-BE49-F238E27FC236}">
                    <a16:creationId xmlns:a16="http://schemas.microsoft.com/office/drawing/2014/main" id="{6CDB9E8C-6163-F849-B673-F2A68526F7C6}"/>
                  </a:ext>
                </a:extLst>
              </p:cNvPr>
              <p:cNvSpPr>
                <a:spLocks/>
              </p:cNvSpPr>
              <p:nvPr/>
            </p:nvSpPr>
            <p:spPr bwMode="auto">
              <a:xfrm>
                <a:off x="4946651" y="1912938"/>
                <a:ext cx="79375" cy="131763"/>
              </a:xfrm>
              <a:custGeom>
                <a:avLst/>
                <a:gdLst>
                  <a:gd name="T0" fmla="*/ 0 w 21"/>
                  <a:gd name="T1" fmla="*/ 35 h 35"/>
                  <a:gd name="T2" fmla="*/ 21 w 21"/>
                  <a:gd name="T3" fmla="*/ 0 h 35"/>
                </a:gdLst>
                <a:ahLst/>
                <a:cxnLst>
                  <a:cxn ang="0">
                    <a:pos x="T0" y="T1"/>
                  </a:cxn>
                  <a:cxn ang="0">
                    <a:pos x="T2" y="T3"/>
                  </a:cxn>
                </a:cxnLst>
                <a:rect l="0" t="0" r="r" b="b"/>
                <a:pathLst>
                  <a:path w="21" h="35">
                    <a:moveTo>
                      <a:pt x="0" y="35"/>
                    </a:moveTo>
                    <a:cubicBezTo>
                      <a:pt x="0" y="35"/>
                      <a:pt x="5" y="16"/>
                      <a:pt x="21" y="0"/>
                    </a:cubicBezTo>
                  </a:path>
                </a:pathLst>
              </a:custGeom>
              <a:noFill/>
              <a:ln w="22225" cap="rnd">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21" name="Title 20">
            <a:extLst>
              <a:ext uri="{FF2B5EF4-FFF2-40B4-BE49-F238E27FC236}">
                <a16:creationId xmlns:a16="http://schemas.microsoft.com/office/drawing/2014/main" id="{E65D97DF-9CC5-2B46-8FD0-48B1AFE48897}"/>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6735796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65E5E13-7ADC-DF43-9A36-6ED90194285C}"/>
              </a:ext>
            </a:extLst>
          </p:cNvPr>
          <p:cNvCxnSpPr/>
          <p:nvPr/>
        </p:nvCxnSpPr>
        <p:spPr>
          <a:xfrm>
            <a:off x="4229201" y="4495295"/>
            <a:ext cx="15340799" cy="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7CF90C81-F97E-454A-8780-BEB26CFBC500}"/>
              </a:ext>
            </a:extLst>
          </p:cNvPr>
          <p:cNvSpPr/>
          <p:nvPr/>
        </p:nvSpPr>
        <p:spPr>
          <a:xfrm>
            <a:off x="2662750" y="2827605"/>
            <a:ext cx="3335381" cy="3335381"/>
          </a:xfrm>
          <a:prstGeom prst="ellipse">
            <a:avLst/>
          </a:prstGeom>
          <a:solidFill>
            <a:schemeClr val="bg1"/>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91664DCA-245C-3341-9A84-9503FFB2121A}"/>
              </a:ext>
            </a:extLst>
          </p:cNvPr>
          <p:cNvSpPr/>
          <p:nvPr/>
        </p:nvSpPr>
        <p:spPr>
          <a:xfrm>
            <a:off x="10607091" y="2827605"/>
            <a:ext cx="3335381" cy="3335381"/>
          </a:xfrm>
          <a:prstGeom prst="ellipse">
            <a:avLst/>
          </a:prstGeom>
          <a:solidFill>
            <a:schemeClr val="bg1"/>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6C69C0F6-0E28-FD42-A6E4-401298122780}"/>
              </a:ext>
            </a:extLst>
          </p:cNvPr>
          <p:cNvSpPr/>
          <p:nvPr/>
        </p:nvSpPr>
        <p:spPr>
          <a:xfrm>
            <a:off x="18551436" y="2827605"/>
            <a:ext cx="3335381" cy="3335381"/>
          </a:xfrm>
          <a:prstGeom prst="ellipse">
            <a:avLst/>
          </a:prstGeom>
          <a:solidFill>
            <a:schemeClr val="bg1"/>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AA79937D-46DC-174A-A08A-AA6DDDDF2A8D}"/>
              </a:ext>
            </a:extLst>
          </p:cNvPr>
          <p:cNvGrpSpPr/>
          <p:nvPr/>
        </p:nvGrpSpPr>
        <p:grpSpPr>
          <a:xfrm>
            <a:off x="3077479" y="3242334"/>
            <a:ext cx="2505922" cy="2505922"/>
            <a:chOff x="1893039" y="1617528"/>
            <a:chExt cx="1145150" cy="1145150"/>
          </a:xfrm>
        </p:grpSpPr>
        <p:sp>
          <p:nvSpPr>
            <p:cNvPr id="7" name="Oval 6">
              <a:extLst>
                <a:ext uri="{FF2B5EF4-FFF2-40B4-BE49-F238E27FC236}">
                  <a16:creationId xmlns:a16="http://schemas.microsoft.com/office/drawing/2014/main" id="{4D1157B2-D800-E14B-956A-2BC5FF21784C}"/>
                </a:ext>
              </a:extLst>
            </p:cNvPr>
            <p:cNvSpPr/>
            <p:nvPr/>
          </p:nvSpPr>
          <p:spPr>
            <a:xfrm>
              <a:off x="1893039" y="1617528"/>
              <a:ext cx="1145150" cy="11451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2F6947AE-3B24-C845-B659-9030ABC33470}"/>
                </a:ext>
              </a:extLst>
            </p:cNvPr>
            <p:cNvGrpSpPr/>
            <p:nvPr/>
          </p:nvGrpSpPr>
          <p:grpSpPr>
            <a:xfrm>
              <a:off x="2189460" y="1902547"/>
              <a:ext cx="552309" cy="575112"/>
              <a:chOff x="3398838" y="1811338"/>
              <a:chExt cx="346075" cy="360363"/>
            </a:xfrm>
          </p:grpSpPr>
          <p:sp>
            <p:nvSpPr>
              <p:cNvPr id="9" name="Freeform 48">
                <a:extLst>
                  <a:ext uri="{FF2B5EF4-FFF2-40B4-BE49-F238E27FC236}">
                    <a16:creationId xmlns:a16="http://schemas.microsoft.com/office/drawing/2014/main" id="{9B7994B3-1897-EF48-BCAC-1C3BF9D87370}"/>
                  </a:ext>
                </a:extLst>
              </p:cNvPr>
              <p:cNvSpPr>
                <a:spLocks/>
              </p:cNvSpPr>
              <p:nvPr/>
            </p:nvSpPr>
            <p:spPr bwMode="auto">
              <a:xfrm>
                <a:off x="3598863" y="1885951"/>
                <a:ext cx="112713" cy="120650"/>
              </a:xfrm>
              <a:custGeom>
                <a:avLst/>
                <a:gdLst>
                  <a:gd name="T0" fmla="*/ 7 w 30"/>
                  <a:gd name="T1" fmla="*/ 8 h 32"/>
                  <a:gd name="T2" fmla="*/ 7 w 30"/>
                  <a:gd name="T3" fmla="*/ 22 h 32"/>
                  <a:gd name="T4" fmla="*/ 23 w 30"/>
                  <a:gd name="T5" fmla="*/ 24 h 32"/>
                  <a:gd name="T6" fmla="*/ 26 w 30"/>
                  <a:gd name="T7" fmla="*/ 0 h 32"/>
                  <a:gd name="T8" fmla="*/ 7 w 30"/>
                  <a:gd name="T9" fmla="*/ 8 h 32"/>
                </a:gdLst>
                <a:ahLst/>
                <a:cxnLst>
                  <a:cxn ang="0">
                    <a:pos x="T0" y="T1"/>
                  </a:cxn>
                  <a:cxn ang="0">
                    <a:pos x="T2" y="T3"/>
                  </a:cxn>
                  <a:cxn ang="0">
                    <a:pos x="T4" y="T5"/>
                  </a:cxn>
                  <a:cxn ang="0">
                    <a:pos x="T6" y="T7"/>
                  </a:cxn>
                  <a:cxn ang="0">
                    <a:pos x="T8" y="T9"/>
                  </a:cxn>
                </a:cxnLst>
                <a:rect l="0" t="0" r="r" b="b"/>
                <a:pathLst>
                  <a:path w="30" h="32">
                    <a:moveTo>
                      <a:pt x="7" y="8"/>
                    </a:moveTo>
                    <a:cubicBezTo>
                      <a:pt x="2" y="11"/>
                      <a:pt x="0" y="17"/>
                      <a:pt x="7" y="22"/>
                    </a:cubicBezTo>
                    <a:cubicBezTo>
                      <a:pt x="11" y="32"/>
                      <a:pt x="18" y="29"/>
                      <a:pt x="23" y="24"/>
                    </a:cubicBezTo>
                    <a:cubicBezTo>
                      <a:pt x="27" y="20"/>
                      <a:pt x="30" y="7"/>
                      <a:pt x="26" y="0"/>
                    </a:cubicBezTo>
                    <a:cubicBezTo>
                      <a:pt x="19" y="5"/>
                      <a:pt x="13" y="4"/>
                      <a:pt x="7" y="8"/>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 name="Freeform 49">
                <a:extLst>
                  <a:ext uri="{FF2B5EF4-FFF2-40B4-BE49-F238E27FC236}">
                    <a16:creationId xmlns:a16="http://schemas.microsoft.com/office/drawing/2014/main" id="{714DF76F-B105-EC46-BB40-FCD4B44E8225}"/>
                  </a:ext>
                </a:extLst>
              </p:cNvPr>
              <p:cNvSpPr>
                <a:spLocks/>
              </p:cNvSpPr>
              <p:nvPr/>
            </p:nvSpPr>
            <p:spPr bwMode="auto">
              <a:xfrm>
                <a:off x="3451226" y="1811338"/>
                <a:ext cx="150813" cy="173038"/>
              </a:xfrm>
              <a:custGeom>
                <a:avLst/>
                <a:gdLst>
                  <a:gd name="T0" fmla="*/ 32 w 40"/>
                  <a:gd name="T1" fmla="*/ 14 h 46"/>
                  <a:gd name="T2" fmla="*/ 28 w 40"/>
                  <a:gd name="T3" fmla="*/ 33 h 46"/>
                  <a:gd name="T4" fmla="*/ 8 w 40"/>
                  <a:gd name="T5" fmla="*/ 34 h 46"/>
                  <a:gd name="T6" fmla="*/ 5 w 40"/>
                  <a:gd name="T7" fmla="*/ 0 h 46"/>
                  <a:gd name="T8" fmla="*/ 32 w 40"/>
                  <a:gd name="T9" fmla="*/ 14 h 46"/>
                </a:gdLst>
                <a:ahLst/>
                <a:cxnLst>
                  <a:cxn ang="0">
                    <a:pos x="T0" y="T1"/>
                  </a:cxn>
                  <a:cxn ang="0">
                    <a:pos x="T2" y="T3"/>
                  </a:cxn>
                  <a:cxn ang="0">
                    <a:pos x="T4" y="T5"/>
                  </a:cxn>
                  <a:cxn ang="0">
                    <a:pos x="T6" y="T7"/>
                  </a:cxn>
                  <a:cxn ang="0">
                    <a:pos x="T8" y="T9"/>
                  </a:cxn>
                </a:cxnLst>
                <a:rect l="0" t="0" r="r" b="b"/>
                <a:pathLst>
                  <a:path w="40" h="46">
                    <a:moveTo>
                      <a:pt x="32" y="14"/>
                    </a:moveTo>
                    <a:cubicBezTo>
                      <a:pt x="37" y="20"/>
                      <a:pt x="40" y="28"/>
                      <a:pt x="28" y="33"/>
                    </a:cubicBezTo>
                    <a:cubicBezTo>
                      <a:pt x="22" y="46"/>
                      <a:pt x="13" y="41"/>
                      <a:pt x="8" y="34"/>
                    </a:cubicBezTo>
                    <a:cubicBezTo>
                      <a:pt x="2" y="28"/>
                      <a:pt x="0" y="10"/>
                      <a:pt x="5" y="0"/>
                    </a:cubicBezTo>
                    <a:cubicBezTo>
                      <a:pt x="14" y="8"/>
                      <a:pt x="26" y="6"/>
                      <a:pt x="32" y="14"/>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 name="Freeform 50">
                <a:extLst>
                  <a:ext uri="{FF2B5EF4-FFF2-40B4-BE49-F238E27FC236}">
                    <a16:creationId xmlns:a16="http://schemas.microsoft.com/office/drawing/2014/main" id="{4AC7C9B4-2247-394E-BC69-EC91EB5119F0}"/>
                  </a:ext>
                </a:extLst>
              </p:cNvPr>
              <p:cNvSpPr>
                <a:spLocks/>
              </p:cNvSpPr>
              <p:nvPr/>
            </p:nvSpPr>
            <p:spPr bwMode="auto">
              <a:xfrm>
                <a:off x="3500438" y="1863726"/>
                <a:ext cx="161925" cy="158750"/>
              </a:xfrm>
              <a:custGeom>
                <a:avLst/>
                <a:gdLst>
                  <a:gd name="T0" fmla="*/ 43 w 43"/>
                  <a:gd name="T1" fmla="*/ 20 h 42"/>
                  <a:gd name="T2" fmla="*/ 25 w 43"/>
                  <a:gd name="T3" fmla="*/ 42 h 42"/>
                  <a:gd name="T4" fmla="*/ 0 w 43"/>
                  <a:gd name="T5" fmla="*/ 0 h 42"/>
                </a:gdLst>
                <a:ahLst/>
                <a:cxnLst>
                  <a:cxn ang="0">
                    <a:pos x="T0" y="T1"/>
                  </a:cxn>
                  <a:cxn ang="0">
                    <a:pos x="T2" y="T3"/>
                  </a:cxn>
                  <a:cxn ang="0">
                    <a:pos x="T4" y="T5"/>
                  </a:cxn>
                </a:cxnLst>
                <a:rect l="0" t="0" r="r" b="b"/>
                <a:pathLst>
                  <a:path w="43" h="42">
                    <a:moveTo>
                      <a:pt x="43" y="20"/>
                    </a:moveTo>
                    <a:cubicBezTo>
                      <a:pt x="31" y="26"/>
                      <a:pt x="25" y="42"/>
                      <a:pt x="25" y="42"/>
                    </a:cubicBezTo>
                    <a:cubicBezTo>
                      <a:pt x="25" y="42"/>
                      <a:pt x="20" y="18"/>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 name="Rectangle 51">
                <a:extLst>
                  <a:ext uri="{FF2B5EF4-FFF2-40B4-BE49-F238E27FC236}">
                    <a16:creationId xmlns:a16="http://schemas.microsoft.com/office/drawing/2014/main" id="{8F5F1BB0-AAB0-FE40-B7CA-E5D565174614}"/>
                  </a:ext>
                </a:extLst>
              </p:cNvPr>
              <p:cNvSpPr>
                <a:spLocks noChangeArrowheads="1"/>
              </p:cNvSpPr>
              <p:nvPr/>
            </p:nvSpPr>
            <p:spPr bwMode="auto">
              <a:xfrm>
                <a:off x="3398838" y="2022476"/>
                <a:ext cx="60325" cy="119063"/>
              </a:xfrm>
              <a:prstGeom prst="rect">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 name="Freeform 52">
                <a:extLst>
                  <a:ext uri="{FF2B5EF4-FFF2-40B4-BE49-F238E27FC236}">
                    <a16:creationId xmlns:a16="http://schemas.microsoft.com/office/drawing/2014/main" id="{120A38F9-75FF-8643-83A0-B5F8093447FD}"/>
                  </a:ext>
                </a:extLst>
              </p:cNvPr>
              <p:cNvSpPr>
                <a:spLocks/>
              </p:cNvSpPr>
              <p:nvPr/>
            </p:nvSpPr>
            <p:spPr bwMode="auto">
              <a:xfrm>
                <a:off x="3459163" y="2063751"/>
                <a:ext cx="285750" cy="107950"/>
              </a:xfrm>
              <a:custGeom>
                <a:avLst/>
                <a:gdLst>
                  <a:gd name="T0" fmla="*/ 0 w 76"/>
                  <a:gd name="T1" fmla="*/ 15 h 29"/>
                  <a:gd name="T2" fmla="*/ 76 w 76"/>
                  <a:gd name="T3" fmla="*/ 5 h 29"/>
                  <a:gd name="T4" fmla="*/ 64 w 76"/>
                  <a:gd name="T5" fmla="*/ 1 h 29"/>
                  <a:gd name="T6" fmla="*/ 46 w 76"/>
                  <a:gd name="T7" fmla="*/ 7 h 29"/>
                </a:gdLst>
                <a:ahLst/>
                <a:cxnLst>
                  <a:cxn ang="0">
                    <a:pos x="T0" y="T1"/>
                  </a:cxn>
                  <a:cxn ang="0">
                    <a:pos x="T2" y="T3"/>
                  </a:cxn>
                  <a:cxn ang="0">
                    <a:pos x="T4" y="T5"/>
                  </a:cxn>
                  <a:cxn ang="0">
                    <a:pos x="T6" y="T7"/>
                  </a:cxn>
                </a:cxnLst>
                <a:rect l="0" t="0" r="r" b="b"/>
                <a:pathLst>
                  <a:path w="76" h="29">
                    <a:moveTo>
                      <a:pt x="0" y="15"/>
                    </a:moveTo>
                    <a:cubicBezTo>
                      <a:pt x="43" y="29"/>
                      <a:pt x="27" y="29"/>
                      <a:pt x="76" y="5"/>
                    </a:cubicBezTo>
                    <a:cubicBezTo>
                      <a:pt x="72" y="1"/>
                      <a:pt x="68" y="0"/>
                      <a:pt x="64" y="1"/>
                    </a:cubicBezTo>
                    <a:cubicBezTo>
                      <a:pt x="46" y="7"/>
                      <a:pt x="46" y="7"/>
                      <a:pt x="46" y="7"/>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 name="Freeform 53">
                <a:extLst>
                  <a:ext uri="{FF2B5EF4-FFF2-40B4-BE49-F238E27FC236}">
                    <a16:creationId xmlns:a16="http://schemas.microsoft.com/office/drawing/2014/main" id="{AF2661BC-9422-254E-A32F-C00C898801DE}"/>
                  </a:ext>
                </a:extLst>
              </p:cNvPr>
              <p:cNvSpPr>
                <a:spLocks/>
              </p:cNvSpPr>
              <p:nvPr/>
            </p:nvSpPr>
            <p:spPr bwMode="auto">
              <a:xfrm>
                <a:off x="3459163" y="2036763"/>
                <a:ext cx="180975" cy="60325"/>
              </a:xfrm>
              <a:custGeom>
                <a:avLst/>
                <a:gdLst>
                  <a:gd name="T0" fmla="*/ 0 w 48"/>
                  <a:gd name="T1" fmla="*/ 0 h 16"/>
                  <a:gd name="T2" fmla="*/ 12 w 48"/>
                  <a:gd name="T3" fmla="*/ 0 h 16"/>
                  <a:gd name="T4" fmla="*/ 30 w 48"/>
                  <a:gd name="T5" fmla="*/ 8 h 16"/>
                  <a:gd name="T6" fmla="*/ 42 w 48"/>
                  <a:gd name="T7" fmla="*/ 8 h 16"/>
                  <a:gd name="T8" fmla="*/ 42 w 48"/>
                  <a:gd name="T9" fmla="*/ 16 h 16"/>
                  <a:gd name="T10" fmla="*/ 20 w 48"/>
                  <a:gd name="T11" fmla="*/ 16 h 16"/>
                </a:gdLst>
                <a:ahLst/>
                <a:cxnLst>
                  <a:cxn ang="0">
                    <a:pos x="T0" y="T1"/>
                  </a:cxn>
                  <a:cxn ang="0">
                    <a:pos x="T2" y="T3"/>
                  </a:cxn>
                  <a:cxn ang="0">
                    <a:pos x="T4" y="T5"/>
                  </a:cxn>
                  <a:cxn ang="0">
                    <a:pos x="T6" y="T7"/>
                  </a:cxn>
                  <a:cxn ang="0">
                    <a:pos x="T8" y="T9"/>
                  </a:cxn>
                  <a:cxn ang="0">
                    <a:pos x="T10" y="T11"/>
                  </a:cxn>
                </a:cxnLst>
                <a:rect l="0" t="0" r="r" b="b"/>
                <a:pathLst>
                  <a:path w="48" h="16">
                    <a:moveTo>
                      <a:pt x="0" y="0"/>
                    </a:moveTo>
                    <a:cubicBezTo>
                      <a:pt x="12" y="0"/>
                      <a:pt x="12" y="0"/>
                      <a:pt x="12" y="0"/>
                    </a:cubicBezTo>
                    <a:cubicBezTo>
                      <a:pt x="21" y="0"/>
                      <a:pt x="28" y="6"/>
                      <a:pt x="30" y="8"/>
                    </a:cubicBezTo>
                    <a:cubicBezTo>
                      <a:pt x="30" y="8"/>
                      <a:pt x="36" y="8"/>
                      <a:pt x="42" y="8"/>
                    </a:cubicBezTo>
                    <a:cubicBezTo>
                      <a:pt x="48" y="8"/>
                      <a:pt x="48" y="16"/>
                      <a:pt x="42" y="16"/>
                    </a:cubicBezTo>
                    <a:cubicBezTo>
                      <a:pt x="20" y="16"/>
                      <a:pt x="20" y="16"/>
                      <a:pt x="20" y="16"/>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15" name="Group 14">
            <a:extLst>
              <a:ext uri="{FF2B5EF4-FFF2-40B4-BE49-F238E27FC236}">
                <a16:creationId xmlns:a16="http://schemas.microsoft.com/office/drawing/2014/main" id="{90A5C2F1-2EFA-874B-8A87-B297C7A306EC}"/>
              </a:ext>
            </a:extLst>
          </p:cNvPr>
          <p:cNvGrpSpPr/>
          <p:nvPr/>
        </p:nvGrpSpPr>
        <p:grpSpPr>
          <a:xfrm>
            <a:off x="11021820" y="3242334"/>
            <a:ext cx="2505922" cy="2505922"/>
            <a:chOff x="5523424" y="1617528"/>
            <a:chExt cx="1145150" cy="1145150"/>
          </a:xfrm>
        </p:grpSpPr>
        <p:sp>
          <p:nvSpPr>
            <p:cNvPr id="16" name="Oval 15">
              <a:extLst>
                <a:ext uri="{FF2B5EF4-FFF2-40B4-BE49-F238E27FC236}">
                  <a16:creationId xmlns:a16="http://schemas.microsoft.com/office/drawing/2014/main" id="{6D85ADEF-70CA-3F4E-A7A5-CB4567AF3795}"/>
                </a:ext>
              </a:extLst>
            </p:cNvPr>
            <p:cNvSpPr/>
            <p:nvPr/>
          </p:nvSpPr>
          <p:spPr>
            <a:xfrm>
              <a:off x="5523424" y="1617528"/>
              <a:ext cx="1145150" cy="11451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A870C3DC-17D3-6E4E-9696-C19E2A6E8423}"/>
                </a:ext>
              </a:extLst>
            </p:cNvPr>
            <p:cNvGrpSpPr/>
            <p:nvPr/>
          </p:nvGrpSpPr>
          <p:grpSpPr>
            <a:xfrm>
              <a:off x="5817311" y="1907616"/>
              <a:ext cx="557376" cy="564975"/>
              <a:chOff x="9169400" y="3970338"/>
              <a:chExt cx="349250" cy="354012"/>
            </a:xfrm>
          </p:grpSpPr>
          <p:sp>
            <p:nvSpPr>
              <p:cNvPr id="18" name="Freeform 341">
                <a:extLst>
                  <a:ext uri="{FF2B5EF4-FFF2-40B4-BE49-F238E27FC236}">
                    <a16:creationId xmlns:a16="http://schemas.microsoft.com/office/drawing/2014/main" id="{C4DA41E1-A92E-834E-8A19-C35A6578B280}"/>
                  </a:ext>
                </a:extLst>
              </p:cNvPr>
              <p:cNvSpPr>
                <a:spLocks/>
              </p:cNvSpPr>
              <p:nvPr/>
            </p:nvSpPr>
            <p:spPr bwMode="auto">
              <a:xfrm>
                <a:off x="9221788" y="4219575"/>
                <a:ext cx="112713" cy="74613"/>
              </a:xfrm>
              <a:custGeom>
                <a:avLst/>
                <a:gdLst>
                  <a:gd name="T0" fmla="*/ 4 w 30"/>
                  <a:gd name="T1" fmla="*/ 0 h 20"/>
                  <a:gd name="T2" fmla="*/ 30 w 30"/>
                  <a:gd name="T3" fmla="*/ 0 h 20"/>
                  <a:gd name="T4" fmla="*/ 30 w 30"/>
                  <a:gd name="T5" fmla="*/ 20 h 20"/>
                  <a:gd name="T6" fmla="*/ 8 w 30"/>
                  <a:gd name="T7" fmla="*/ 20 h 20"/>
                  <a:gd name="T8" fmla="*/ 1 w 30"/>
                  <a:gd name="T9" fmla="*/ 16 h 20"/>
                  <a:gd name="T10" fmla="*/ 0 w 30"/>
                  <a:gd name="T11" fmla="*/ 14 h 20"/>
                </a:gdLst>
                <a:ahLst/>
                <a:cxnLst>
                  <a:cxn ang="0">
                    <a:pos x="T0" y="T1"/>
                  </a:cxn>
                  <a:cxn ang="0">
                    <a:pos x="T2" y="T3"/>
                  </a:cxn>
                  <a:cxn ang="0">
                    <a:pos x="T4" y="T5"/>
                  </a:cxn>
                  <a:cxn ang="0">
                    <a:pos x="T6" y="T7"/>
                  </a:cxn>
                  <a:cxn ang="0">
                    <a:pos x="T8" y="T9"/>
                  </a:cxn>
                  <a:cxn ang="0">
                    <a:pos x="T10" y="T11"/>
                  </a:cxn>
                </a:cxnLst>
                <a:rect l="0" t="0" r="r" b="b"/>
                <a:pathLst>
                  <a:path w="30" h="20">
                    <a:moveTo>
                      <a:pt x="4" y="0"/>
                    </a:moveTo>
                    <a:cubicBezTo>
                      <a:pt x="30" y="0"/>
                      <a:pt x="30" y="0"/>
                      <a:pt x="30" y="0"/>
                    </a:cubicBezTo>
                    <a:cubicBezTo>
                      <a:pt x="30" y="20"/>
                      <a:pt x="30" y="20"/>
                      <a:pt x="30" y="20"/>
                    </a:cubicBezTo>
                    <a:cubicBezTo>
                      <a:pt x="8" y="20"/>
                      <a:pt x="8" y="20"/>
                      <a:pt x="8" y="20"/>
                    </a:cubicBezTo>
                    <a:cubicBezTo>
                      <a:pt x="6" y="20"/>
                      <a:pt x="3" y="18"/>
                      <a:pt x="1" y="16"/>
                    </a:cubicBezTo>
                    <a:cubicBezTo>
                      <a:pt x="0" y="14"/>
                      <a:pt x="0" y="14"/>
                      <a:pt x="0" y="14"/>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 name="Freeform 342">
                <a:extLst>
                  <a:ext uri="{FF2B5EF4-FFF2-40B4-BE49-F238E27FC236}">
                    <a16:creationId xmlns:a16="http://schemas.microsoft.com/office/drawing/2014/main" id="{670AC08D-3CF1-1145-8C82-DFABD6134AA0}"/>
                  </a:ext>
                </a:extLst>
              </p:cNvPr>
              <p:cNvSpPr>
                <a:spLocks/>
              </p:cNvSpPr>
              <p:nvPr/>
            </p:nvSpPr>
            <p:spPr bwMode="auto">
              <a:xfrm>
                <a:off x="9169400" y="4121150"/>
                <a:ext cx="127000" cy="158750"/>
              </a:xfrm>
              <a:custGeom>
                <a:avLst/>
                <a:gdLst>
                  <a:gd name="T0" fmla="*/ 16 w 34"/>
                  <a:gd name="T1" fmla="*/ 42 h 42"/>
                  <a:gd name="T2" fmla="*/ 26 w 34"/>
                  <a:gd name="T3" fmla="*/ 16 h 42"/>
                  <a:gd name="T4" fmla="*/ 34 w 34"/>
                  <a:gd name="T5" fmla="*/ 16 h 42"/>
                  <a:gd name="T6" fmla="*/ 22 w 34"/>
                  <a:gd name="T7" fmla="*/ 0 h 42"/>
                  <a:gd name="T8" fmla="*/ 0 w 34"/>
                  <a:gd name="T9" fmla="*/ 0 h 42"/>
                  <a:gd name="T10" fmla="*/ 6 w 34"/>
                  <a:gd name="T11" fmla="*/ 4 h 42"/>
                  <a:gd name="T12" fmla="*/ 2 w 34"/>
                  <a:gd name="T13" fmla="*/ 12 h 42"/>
                  <a:gd name="T14" fmla="*/ 16 w 34"/>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42">
                    <a:moveTo>
                      <a:pt x="16" y="42"/>
                    </a:moveTo>
                    <a:cubicBezTo>
                      <a:pt x="16" y="42"/>
                      <a:pt x="8" y="36"/>
                      <a:pt x="26" y="16"/>
                    </a:cubicBezTo>
                    <a:cubicBezTo>
                      <a:pt x="32" y="16"/>
                      <a:pt x="34" y="16"/>
                      <a:pt x="34" y="16"/>
                    </a:cubicBezTo>
                    <a:cubicBezTo>
                      <a:pt x="22" y="0"/>
                      <a:pt x="22" y="0"/>
                      <a:pt x="22" y="0"/>
                    </a:cubicBezTo>
                    <a:cubicBezTo>
                      <a:pt x="0" y="0"/>
                      <a:pt x="0" y="0"/>
                      <a:pt x="0" y="0"/>
                    </a:cubicBezTo>
                    <a:cubicBezTo>
                      <a:pt x="6" y="4"/>
                      <a:pt x="6" y="4"/>
                      <a:pt x="6" y="4"/>
                    </a:cubicBezTo>
                    <a:cubicBezTo>
                      <a:pt x="6" y="4"/>
                      <a:pt x="2" y="6"/>
                      <a:pt x="2" y="12"/>
                    </a:cubicBezTo>
                    <a:cubicBezTo>
                      <a:pt x="2" y="17"/>
                      <a:pt x="10" y="33"/>
                      <a:pt x="16" y="42"/>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 name="Freeform 343">
                <a:extLst>
                  <a:ext uri="{FF2B5EF4-FFF2-40B4-BE49-F238E27FC236}">
                    <a16:creationId xmlns:a16="http://schemas.microsoft.com/office/drawing/2014/main" id="{A7D2914B-25DF-E14F-9F56-AC945C9682C5}"/>
                  </a:ext>
                </a:extLst>
              </p:cNvPr>
              <p:cNvSpPr>
                <a:spLocks/>
              </p:cNvSpPr>
              <p:nvPr/>
            </p:nvSpPr>
            <p:spPr bwMode="auto">
              <a:xfrm>
                <a:off x="9398000" y="4087813"/>
                <a:ext cx="120650" cy="120650"/>
              </a:xfrm>
              <a:custGeom>
                <a:avLst/>
                <a:gdLst>
                  <a:gd name="T0" fmla="*/ 14 w 32"/>
                  <a:gd name="T1" fmla="*/ 32 h 32"/>
                  <a:gd name="T2" fmla="*/ 0 w 32"/>
                  <a:gd name="T3" fmla="*/ 12 h 32"/>
                  <a:gd name="T4" fmla="*/ 18 w 32"/>
                  <a:gd name="T5" fmla="*/ 0 h 32"/>
                  <a:gd name="T6" fmla="*/ 31 w 32"/>
                  <a:gd name="T7" fmla="*/ 18 h 32"/>
                  <a:gd name="T8" fmla="*/ 31 w 32"/>
                  <a:gd name="T9" fmla="*/ 24 h 32"/>
                  <a:gd name="T10" fmla="*/ 30 w 32"/>
                  <a:gd name="T11" fmla="*/ 27 h 32"/>
                </a:gdLst>
                <a:ahLst/>
                <a:cxnLst>
                  <a:cxn ang="0">
                    <a:pos x="T0" y="T1"/>
                  </a:cxn>
                  <a:cxn ang="0">
                    <a:pos x="T2" y="T3"/>
                  </a:cxn>
                  <a:cxn ang="0">
                    <a:pos x="T4" y="T5"/>
                  </a:cxn>
                  <a:cxn ang="0">
                    <a:pos x="T6" y="T7"/>
                  </a:cxn>
                  <a:cxn ang="0">
                    <a:pos x="T8" y="T9"/>
                  </a:cxn>
                  <a:cxn ang="0">
                    <a:pos x="T10" y="T11"/>
                  </a:cxn>
                </a:cxnLst>
                <a:rect l="0" t="0" r="r" b="b"/>
                <a:pathLst>
                  <a:path w="32" h="32">
                    <a:moveTo>
                      <a:pt x="14" y="32"/>
                    </a:moveTo>
                    <a:cubicBezTo>
                      <a:pt x="0" y="12"/>
                      <a:pt x="0" y="12"/>
                      <a:pt x="0" y="12"/>
                    </a:cubicBezTo>
                    <a:cubicBezTo>
                      <a:pt x="18" y="0"/>
                      <a:pt x="18" y="0"/>
                      <a:pt x="18" y="0"/>
                    </a:cubicBezTo>
                    <a:cubicBezTo>
                      <a:pt x="31" y="18"/>
                      <a:pt x="31" y="18"/>
                      <a:pt x="31" y="18"/>
                    </a:cubicBezTo>
                    <a:cubicBezTo>
                      <a:pt x="32" y="20"/>
                      <a:pt x="32" y="23"/>
                      <a:pt x="31" y="24"/>
                    </a:cubicBezTo>
                    <a:cubicBezTo>
                      <a:pt x="30" y="27"/>
                      <a:pt x="30" y="27"/>
                      <a:pt x="30" y="27"/>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 name="Freeform 344">
                <a:extLst>
                  <a:ext uri="{FF2B5EF4-FFF2-40B4-BE49-F238E27FC236}">
                    <a16:creationId xmlns:a16="http://schemas.microsoft.com/office/drawing/2014/main" id="{30620734-BB83-A846-936B-9E6AEB5F6233}"/>
                  </a:ext>
                </a:extLst>
              </p:cNvPr>
              <p:cNvSpPr>
                <a:spLocks/>
              </p:cNvSpPr>
              <p:nvPr/>
            </p:nvSpPr>
            <p:spPr bwMode="auto">
              <a:xfrm>
                <a:off x="9364663" y="4178300"/>
                <a:ext cx="149225" cy="146050"/>
              </a:xfrm>
              <a:custGeom>
                <a:avLst/>
                <a:gdLst>
                  <a:gd name="T0" fmla="*/ 40 w 40"/>
                  <a:gd name="T1" fmla="*/ 0 h 39"/>
                  <a:gd name="T2" fmla="*/ 12 w 40"/>
                  <a:gd name="T3" fmla="*/ 7 h 39"/>
                  <a:gd name="T4" fmla="*/ 12 w 40"/>
                  <a:gd name="T5" fmla="*/ 1 h 39"/>
                  <a:gd name="T6" fmla="*/ 0 w 40"/>
                  <a:gd name="T7" fmla="*/ 19 h 39"/>
                  <a:gd name="T8" fmla="*/ 11 w 40"/>
                  <a:gd name="T9" fmla="*/ 39 h 39"/>
                  <a:gd name="T10" fmla="*/ 12 w 40"/>
                  <a:gd name="T11" fmla="*/ 30 h 39"/>
                  <a:gd name="T12" fmla="*/ 21 w 40"/>
                  <a:gd name="T13" fmla="*/ 30 h 39"/>
                  <a:gd name="T14" fmla="*/ 40 w 40"/>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9">
                    <a:moveTo>
                      <a:pt x="40" y="0"/>
                    </a:moveTo>
                    <a:cubicBezTo>
                      <a:pt x="40" y="0"/>
                      <a:pt x="39" y="10"/>
                      <a:pt x="12" y="7"/>
                    </a:cubicBezTo>
                    <a:cubicBezTo>
                      <a:pt x="12" y="2"/>
                      <a:pt x="12" y="1"/>
                      <a:pt x="12" y="1"/>
                    </a:cubicBezTo>
                    <a:cubicBezTo>
                      <a:pt x="0" y="19"/>
                      <a:pt x="0" y="19"/>
                      <a:pt x="0" y="19"/>
                    </a:cubicBezTo>
                    <a:cubicBezTo>
                      <a:pt x="11" y="39"/>
                      <a:pt x="11" y="39"/>
                      <a:pt x="11" y="39"/>
                    </a:cubicBezTo>
                    <a:cubicBezTo>
                      <a:pt x="12" y="30"/>
                      <a:pt x="12" y="30"/>
                      <a:pt x="12" y="30"/>
                    </a:cubicBezTo>
                    <a:cubicBezTo>
                      <a:pt x="12" y="30"/>
                      <a:pt x="16" y="33"/>
                      <a:pt x="21" y="30"/>
                    </a:cubicBezTo>
                    <a:cubicBezTo>
                      <a:pt x="25" y="27"/>
                      <a:pt x="34" y="10"/>
                      <a:pt x="40" y="0"/>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 name="Freeform 345">
                <a:extLst>
                  <a:ext uri="{FF2B5EF4-FFF2-40B4-BE49-F238E27FC236}">
                    <a16:creationId xmlns:a16="http://schemas.microsoft.com/office/drawing/2014/main" id="{AA6FC678-760E-E141-B0FF-12FC4C5829B3}"/>
                  </a:ext>
                </a:extLst>
              </p:cNvPr>
              <p:cNvSpPr>
                <a:spLocks/>
              </p:cNvSpPr>
              <p:nvPr/>
            </p:nvSpPr>
            <p:spPr bwMode="auto">
              <a:xfrm>
                <a:off x="9224963" y="3978275"/>
                <a:ext cx="109538" cy="123825"/>
              </a:xfrm>
              <a:custGeom>
                <a:avLst/>
                <a:gdLst>
                  <a:gd name="T0" fmla="*/ 29 w 29"/>
                  <a:gd name="T1" fmla="*/ 12 h 33"/>
                  <a:gd name="T2" fmla="*/ 19 w 29"/>
                  <a:gd name="T3" fmla="*/ 33 h 33"/>
                  <a:gd name="T4" fmla="*/ 0 w 29"/>
                  <a:gd name="T5" fmla="*/ 24 h 33"/>
                  <a:gd name="T6" fmla="*/ 10 w 29"/>
                  <a:gd name="T7" fmla="*/ 4 h 33"/>
                  <a:gd name="T8" fmla="*/ 15 w 29"/>
                  <a:gd name="T9" fmla="*/ 0 h 33"/>
                  <a:gd name="T10" fmla="*/ 17 w 29"/>
                  <a:gd name="T11" fmla="*/ 0 h 33"/>
                </a:gdLst>
                <a:ahLst/>
                <a:cxnLst>
                  <a:cxn ang="0">
                    <a:pos x="T0" y="T1"/>
                  </a:cxn>
                  <a:cxn ang="0">
                    <a:pos x="T2" y="T3"/>
                  </a:cxn>
                  <a:cxn ang="0">
                    <a:pos x="T4" y="T5"/>
                  </a:cxn>
                  <a:cxn ang="0">
                    <a:pos x="T6" y="T7"/>
                  </a:cxn>
                  <a:cxn ang="0">
                    <a:pos x="T8" y="T9"/>
                  </a:cxn>
                  <a:cxn ang="0">
                    <a:pos x="T10" y="T11"/>
                  </a:cxn>
                </a:cxnLst>
                <a:rect l="0" t="0" r="r" b="b"/>
                <a:pathLst>
                  <a:path w="29" h="33">
                    <a:moveTo>
                      <a:pt x="29" y="12"/>
                    </a:moveTo>
                    <a:cubicBezTo>
                      <a:pt x="19" y="33"/>
                      <a:pt x="19" y="33"/>
                      <a:pt x="19" y="33"/>
                    </a:cubicBezTo>
                    <a:cubicBezTo>
                      <a:pt x="0" y="24"/>
                      <a:pt x="0" y="24"/>
                      <a:pt x="0" y="24"/>
                    </a:cubicBezTo>
                    <a:cubicBezTo>
                      <a:pt x="10" y="4"/>
                      <a:pt x="10" y="4"/>
                      <a:pt x="10" y="4"/>
                    </a:cubicBezTo>
                    <a:cubicBezTo>
                      <a:pt x="10" y="2"/>
                      <a:pt x="13" y="0"/>
                      <a:pt x="15" y="0"/>
                    </a:cubicBezTo>
                    <a:cubicBezTo>
                      <a:pt x="17" y="0"/>
                      <a:pt x="17" y="0"/>
                      <a:pt x="17" y="0"/>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 name="Freeform 346">
                <a:extLst>
                  <a:ext uri="{FF2B5EF4-FFF2-40B4-BE49-F238E27FC236}">
                    <a16:creationId xmlns:a16="http://schemas.microsoft.com/office/drawing/2014/main" id="{29D3E00B-3D77-A541-A4D5-7ADDDC08B226}"/>
                  </a:ext>
                </a:extLst>
              </p:cNvPr>
              <p:cNvSpPr>
                <a:spLocks/>
              </p:cNvSpPr>
              <p:nvPr/>
            </p:nvSpPr>
            <p:spPr bwMode="auto">
              <a:xfrm>
                <a:off x="9282113" y="3970338"/>
                <a:ext cx="179388" cy="106363"/>
              </a:xfrm>
              <a:custGeom>
                <a:avLst/>
                <a:gdLst>
                  <a:gd name="T0" fmla="*/ 0 w 48"/>
                  <a:gd name="T1" fmla="*/ 2 h 28"/>
                  <a:gd name="T2" fmla="*/ 20 w 48"/>
                  <a:gd name="T3" fmla="*/ 25 h 28"/>
                  <a:gd name="T4" fmla="*/ 16 w 48"/>
                  <a:gd name="T5" fmla="*/ 27 h 28"/>
                  <a:gd name="T6" fmla="*/ 38 w 48"/>
                  <a:gd name="T7" fmla="*/ 27 h 28"/>
                  <a:gd name="T8" fmla="*/ 48 w 48"/>
                  <a:gd name="T9" fmla="*/ 8 h 28"/>
                  <a:gd name="T10" fmla="*/ 40 w 48"/>
                  <a:gd name="T11" fmla="*/ 11 h 28"/>
                  <a:gd name="T12" fmla="*/ 35 w 48"/>
                  <a:gd name="T13" fmla="*/ 4 h 28"/>
                  <a:gd name="T14" fmla="*/ 0 w 48"/>
                  <a:gd name="T15" fmla="*/ 2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8">
                    <a:moveTo>
                      <a:pt x="0" y="2"/>
                    </a:moveTo>
                    <a:cubicBezTo>
                      <a:pt x="0" y="2"/>
                      <a:pt x="9" y="0"/>
                      <a:pt x="20" y="25"/>
                    </a:cubicBezTo>
                    <a:cubicBezTo>
                      <a:pt x="16" y="28"/>
                      <a:pt x="16" y="27"/>
                      <a:pt x="16" y="27"/>
                    </a:cubicBezTo>
                    <a:cubicBezTo>
                      <a:pt x="38" y="27"/>
                      <a:pt x="38" y="27"/>
                      <a:pt x="38" y="27"/>
                    </a:cubicBezTo>
                    <a:cubicBezTo>
                      <a:pt x="48" y="8"/>
                      <a:pt x="48" y="8"/>
                      <a:pt x="48" y="8"/>
                    </a:cubicBezTo>
                    <a:cubicBezTo>
                      <a:pt x="40" y="11"/>
                      <a:pt x="40" y="11"/>
                      <a:pt x="40" y="11"/>
                    </a:cubicBezTo>
                    <a:cubicBezTo>
                      <a:pt x="40" y="11"/>
                      <a:pt x="40" y="6"/>
                      <a:pt x="35" y="4"/>
                    </a:cubicBezTo>
                    <a:cubicBezTo>
                      <a:pt x="30" y="2"/>
                      <a:pt x="11" y="2"/>
                      <a:pt x="0" y="2"/>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24" name="Group 23">
            <a:extLst>
              <a:ext uri="{FF2B5EF4-FFF2-40B4-BE49-F238E27FC236}">
                <a16:creationId xmlns:a16="http://schemas.microsoft.com/office/drawing/2014/main" id="{B42CADF6-7901-E648-A7F8-8B88627A7A3B}"/>
              </a:ext>
            </a:extLst>
          </p:cNvPr>
          <p:cNvGrpSpPr/>
          <p:nvPr/>
        </p:nvGrpSpPr>
        <p:grpSpPr>
          <a:xfrm>
            <a:off x="18966165" y="3242334"/>
            <a:ext cx="2505922" cy="2505922"/>
            <a:chOff x="9153811" y="1617528"/>
            <a:chExt cx="1145150" cy="1145150"/>
          </a:xfrm>
        </p:grpSpPr>
        <p:sp>
          <p:nvSpPr>
            <p:cNvPr id="25" name="Oval 24">
              <a:extLst>
                <a:ext uri="{FF2B5EF4-FFF2-40B4-BE49-F238E27FC236}">
                  <a16:creationId xmlns:a16="http://schemas.microsoft.com/office/drawing/2014/main" id="{26427911-7323-F04F-8EEC-2466BFE9AC4F}"/>
                </a:ext>
              </a:extLst>
            </p:cNvPr>
            <p:cNvSpPr/>
            <p:nvPr/>
          </p:nvSpPr>
          <p:spPr>
            <a:xfrm>
              <a:off x="9153811" y="1617528"/>
              <a:ext cx="1145150" cy="11451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id="{D430C52F-56D5-D141-9D4A-FAA182C54B3E}"/>
                </a:ext>
              </a:extLst>
            </p:cNvPr>
            <p:cNvGrpSpPr/>
            <p:nvPr/>
          </p:nvGrpSpPr>
          <p:grpSpPr>
            <a:xfrm>
              <a:off x="9511037" y="1913949"/>
              <a:ext cx="430698" cy="552309"/>
              <a:chOff x="4872038" y="3978276"/>
              <a:chExt cx="269875" cy="346075"/>
            </a:xfrm>
          </p:grpSpPr>
          <p:sp>
            <p:nvSpPr>
              <p:cNvPr id="27" name="Freeform 42">
                <a:extLst>
                  <a:ext uri="{FF2B5EF4-FFF2-40B4-BE49-F238E27FC236}">
                    <a16:creationId xmlns:a16="http://schemas.microsoft.com/office/drawing/2014/main" id="{C17BC3AC-E922-0842-837E-31E4B64FD93D}"/>
                  </a:ext>
                </a:extLst>
              </p:cNvPr>
              <p:cNvSpPr>
                <a:spLocks/>
              </p:cNvSpPr>
              <p:nvPr/>
            </p:nvSpPr>
            <p:spPr bwMode="auto">
              <a:xfrm>
                <a:off x="4938713" y="4024313"/>
                <a:ext cx="131763" cy="168275"/>
              </a:xfrm>
              <a:custGeom>
                <a:avLst/>
                <a:gdLst>
                  <a:gd name="T0" fmla="*/ 2 w 35"/>
                  <a:gd name="T1" fmla="*/ 24 h 45"/>
                  <a:gd name="T2" fmla="*/ 16 w 35"/>
                  <a:gd name="T3" fmla="*/ 36 h 45"/>
                  <a:gd name="T4" fmla="*/ 33 w 35"/>
                  <a:gd name="T5" fmla="*/ 32 h 45"/>
                  <a:gd name="T6" fmla="*/ 20 w 35"/>
                  <a:gd name="T7" fmla="*/ 0 h 45"/>
                  <a:gd name="T8" fmla="*/ 2 w 35"/>
                  <a:gd name="T9" fmla="*/ 24 h 45"/>
                </a:gdLst>
                <a:ahLst/>
                <a:cxnLst>
                  <a:cxn ang="0">
                    <a:pos x="T0" y="T1"/>
                  </a:cxn>
                  <a:cxn ang="0">
                    <a:pos x="T2" y="T3"/>
                  </a:cxn>
                  <a:cxn ang="0">
                    <a:pos x="T4" y="T5"/>
                  </a:cxn>
                  <a:cxn ang="0">
                    <a:pos x="T6" y="T7"/>
                  </a:cxn>
                  <a:cxn ang="0">
                    <a:pos x="T8" y="T9"/>
                  </a:cxn>
                </a:cxnLst>
                <a:rect l="0" t="0" r="r" b="b"/>
                <a:pathLst>
                  <a:path w="35" h="45">
                    <a:moveTo>
                      <a:pt x="2" y="24"/>
                    </a:moveTo>
                    <a:cubicBezTo>
                      <a:pt x="0" y="32"/>
                      <a:pt x="3" y="39"/>
                      <a:pt x="16" y="36"/>
                    </a:cubicBezTo>
                    <a:cubicBezTo>
                      <a:pt x="26" y="45"/>
                      <a:pt x="31" y="41"/>
                      <a:pt x="33" y="32"/>
                    </a:cubicBezTo>
                    <a:cubicBezTo>
                      <a:pt x="35" y="23"/>
                      <a:pt x="29" y="6"/>
                      <a:pt x="20" y="0"/>
                    </a:cubicBezTo>
                    <a:cubicBezTo>
                      <a:pt x="16" y="11"/>
                      <a:pt x="5" y="15"/>
                      <a:pt x="2" y="24"/>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8" name="Line 43">
                <a:extLst>
                  <a:ext uri="{FF2B5EF4-FFF2-40B4-BE49-F238E27FC236}">
                    <a16:creationId xmlns:a16="http://schemas.microsoft.com/office/drawing/2014/main" id="{2FB368B6-BC9C-B04F-B72F-445F37E5AC59}"/>
                  </a:ext>
                </a:extLst>
              </p:cNvPr>
              <p:cNvSpPr>
                <a:spLocks noChangeShapeType="1"/>
              </p:cNvSpPr>
              <p:nvPr/>
            </p:nvSpPr>
            <p:spPr bwMode="auto">
              <a:xfrm>
                <a:off x="4968876" y="4279901"/>
                <a:ext cx="7620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9" name="Line 44">
                <a:extLst>
                  <a:ext uri="{FF2B5EF4-FFF2-40B4-BE49-F238E27FC236}">
                    <a16:creationId xmlns:a16="http://schemas.microsoft.com/office/drawing/2014/main" id="{40709A45-1892-F240-8BB5-B4E5A1A45DD9}"/>
                  </a:ext>
                </a:extLst>
              </p:cNvPr>
              <p:cNvSpPr>
                <a:spLocks noChangeShapeType="1"/>
              </p:cNvSpPr>
              <p:nvPr/>
            </p:nvSpPr>
            <p:spPr bwMode="auto">
              <a:xfrm>
                <a:off x="4968876" y="4310063"/>
                <a:ext cx="7620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0" name="Line 45">
                <a:extLst>
                  <a:ext uri="{FF2B5EF4-FFF2-40B4-BE49-F238E27FC236}">
                    <a16:creationId xmlns:a16="http://schemas.microsoft.com/office/drawing/2014/main" id="{49CFB2A9-49F8-8742-BDB3-520CE5C067B4}"/>
                  </a:ext>
                </a:extLst>
              </p:cNvPr>
              <p:cNvSpPr>
                <a:spLocks noChangeShapeType="1"/>
              </p:cNvSpPr>
              <p:nvPr/>
            </p:nvSpPr>
            <p:spPr bwMode="auto">
              <a:xfrm>
                <a:off x="5006976" y="4310063"/>
                <a:ext cx="0" cy="1428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 name="Freeform 46">
                <a:extLst>
                  <a:ext uri="{FF2B5EF4-FFF2-40B4-BE49-F238E27FC236}">
                    <a16:creationId xmlns:a16="http://schemas.microsoft.com/office/drawing/2014/main" id="{A31DD700-FBB1-1F4A-AD7C-112C9DBA7B79}"/>
                  </a:ext>
                </a:extLst>
              </p:cNvPr>
              <p:cNvSpPr>
                <a:spLocks/>
              </p:cNvSpPr>
              <p:nvPr/>
            </p:nvSpPr>
            <p:spPr bwMode="auto">
              <a:xfrm>
                <a:off x="4984751" y="4079876"/>
                <a:ext cx="30163" cy="169863"/>
              </a:xfrm>
              <a:custGeom>
                <a:avLst/>
                <a:gdLst>
                  <a:gd name="T0" fmla="*/ 6 w 8"/>
                  <a:gd name="T1" fmla="*/ 45 h 45"/>
                  <a:gd name="T2" fmla="*/ 8 w 8"/>
                  <a:gd name="T3" fmla="*/ 0 h 45"/>
                </a:gdLst>
                <a:ahLst/>
                <a:cxnLst>
                  <a:cxn ang="0">
                    <a:pos x="T0" y="T1"/>
                  </a:cxn>
                  <a:cxn ang="0">
                    <a:pos x="T2" y="T3"/>
                  </a:cxn>
                </a:cxnLst>
                <a:rect l="0" t="0" r="r" b="b"/>
                <a:pathLst>
                  <a:path w="8" h="45">
                    <a:moveTo>
                      <a:pt x="6" y="45"/>
                    </a:moveTo>
                    <a:cubicBezTo>
                      <a:pt x="6" y="45"/>
                      <a:pt x="0" y="14"/>
                      <a:pt x="8"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 name="Freeform 47">
                <a:extLst>
                  <a:ext uri="{FF2B5EF4-FFF2-40B4-BE49-F238E27FC236}">
                    <a16:creationId xmlns:a16="http://schemas.microsoft.com/office/drawing/2014/main" id="{844B1C50-CCD2-FC48-BE38-A9C45A66BB23}"/>
                  </a:ext>
                </a:extLst>
              </p:cNvPr>
              <p:cNvSpPr>
                <a:spLocks/>
              </p:cNvSpPr>
              <p:nvPr/>
            </p:nvSpPr>
            <p:spPr bwMode="auto">
              <a:xfrm>
                <a:off x="4872038" y="3978276"/>
                <a:ext cx="269875" cy="271463"/>
              </a:xfrm>
              <a:custGeom>
                <a:avLst/>
                <a:gdLst>
                  <a:gd name="T0" fmla="*/ 72 w 72"/>
                  <a:gd name="T1" fmla="*/ 34 h 72"/>
                  <a:gd name="T2" fmla="*/ 36 w 72"/>
                  <a:gd name="T3" fmla="*/ 0 h 72"/>
                  <a:gd name="T4" fmla="*/ 0 w 72"/>
                  <a:gd name="T5" fmla="*/ 34 h 72"/>
                  <a:gd name="T6" fmla="*/ 26 w 72"/>
                  <a:gd name="T7" fmla="*/ 67 h 72"/>
                  <a:gd name="T8" fmla="*/ 26 w 72"/>
                  <a:gd name="T9" fmla="*/ 72 h 72"/>
                  <a:gd name="T10" fmla="*/ 46 w 72"/>
                  <a:gd name="T11" fmla="*/ 72 h 72"/>
                  <a:gd name="T12" fmla="*/ 46 w 72"/>
                  <a:gd name="T13" fmla="*/ 67 h 72"/>
                  <a:gd name="T14" fmla="*/ 72 w 72"/>
                  <a:gd name="T15" fmla="*/ 34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72">
                    <a:moveTo>
                      <a:pt x="72" y="34"/>
                    </a:moveTo>
                    <a:cubicBezTo>
                      <a:pt x="72" y="15"/>
                      <a:pt x="56" y="0"/>
                      <a:pt x="36" y="0"/>
                    </a:cubicBezTo>
                    <a:cubicBezTo>
                      <a:pt x="16" y="0"/>
                      <a:pt x="0" y="15"/>
                      <a:pt x="0" y="34"/>
                    </a:cubicBezTo>
                    <a:cubicBezTo>
                      <a:pt x="0" y="49"/>
                      <a:pt x="11" y="63"/>
                      <a:pt x="26" y="67"/>
                    </a:cubicBezTo>
                    <a:cubicBezTo>
                      <a:pt x="26" y="72"/>
                      <a:pt x="26" y="72"/>
                      <a:pt x="26" y="72"/>
                    </a:cubicBezTo>
                    <a:cubicBezTo>
                      <a:pt x="46" y="72"/>
                      <a:pt x="46" y="72"/>
                      <a:pt x="46" y="72"/>
                    </a:cubicBezTo>
                    <a:cubicBezTo>
                      <a:pt x="46" y="67"/>
                      <a:pt x="46" y="67"/>
                      <a:pt x="46" y="67"/>
                    </a:cubicBezTo>
                    <a:cubicBezTo>
                      <a:pt x="61" y="63"/>
                      <a:pt x="72" y="49"/>
                      <a:pt x="72" y="34"/>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33" name="Rectangle: Rounded Corners 45">
            <a:extLst>
              <a:ext uri="{FF2B5EF4-FFF2-40B4-BE49-F238E27FC236}">
                <a16:creationId xmlns:a16="http://schemas.microsoft.com/office/drawing/2014/main" id="{F3F146E9-2ADD-B944-8D9D-3668E338D721}"/>
              </a:ext>
            </a:extLst>
          </p:cNvPr>
          <p:cNvSpPr/>
          <p:nvPr/>
        </p:nvSpPr>
        <p:spPr>
          <a:xfrm>
            <a:off x="1224034" y="6708315"/>
            <a:ext cx="6212811" cy="628766"/>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cs typeface="Segoe UI" panose="020B0502040204020203" pitchFamily="34" charset="0"/>
              </a:rPr>
              <a:t>Lorem ipsum</a:t>
            </a:r>
          </a:p>
        </p:txBody>
      </p:sp>
      <p:sp>
        <p:nvSpPr>
          <p:cNvPr id="34" name="TextBox 48">
            <a:extLst>
              <a:ext uri="{FF2B5EF4-FFF2-40B4-BE49-F238E27FC236}">
                <a16:creationId xmlns:a16="http://schemas.microsoft.com/office/drawing/2014/main" id="{55C3361F-886B-454F-B34B-FD860B7E270D}"/>
              </a:ext>
            </a:extLst>
          </p:cNvPr>
          <p:cNvSpPr txBox="1"/>
          <p:nvPr/>
        </p:nvSpPr>
        <p:spPr>
          <a:xfrm>
            <a:off x="1257300" y="7524055"/>
            <a:ext cx="6212811" cy="5093671"/>
          </a:xfrm>
          <a:prstGeom prst="rect">
            <a:avLst/>
          </a:prstGeom>
          <a:noFill/>
          <a:ln w="6350">
            <a:noFill/>
            <a:prstDash val="dash"/>
          </a:ln>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a:solidFill>
                  <a:schemeClr val="tx1">
                    <a:lumMod val="85000"/>
                    <a:lumOff val="15000"/>
                  </a:schemeClr>
                </a:solidFill>
                <a:cs typeface="Segoe UI" panose="020B0502040204020203" pitchFamily="34" charset="0"/>
              </a:rPr>
              <a:t>Lorem ipsum dolor sit </a:t>
            </a:r>
            <a:r>
              <a:rPr lang="en-US" sz="2800" dirty="0" err="1">
                <a:solidFill>
                  <a:schemeClr val="tx1">
                    <a:lumMod val="85000"/>
                    <a:lumOff val="15000"/>
                  </a:schemeClr>
                </a:solidFill>
                <a:cs typeface="Segoe UI" panose="020B0502040204020203" pitchFamily="34" charset="0"/>
              </a:rPr>
              <a:t>ame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consectetur</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adipiscing</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eli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Nulla</a:t>
            </a:r>
            <a:r>
              <a:rPr lang="en-US" sz="2800" dirty="0">
                <a:solidFill>
                  <a:schemeClr val="tx1">
                    <a:lumMod val="85000"/>
                    <a:lumOff val="15000"/>
                  </a:schemeClr>
                </a:solidFill>
                <a:cs typeface="Segoe UI" panose="020B0502040204020203" pitchFamily="34" charset="0"/>
              </a:rPr>
              <a:t> pharetra dolor sed </a:t>
            </a:r>
            <a:r>
              <a:rPr lang="en-US" sz="2800" dirty="0" err="1">
                <a:solidFill>
                  <a:schemeClr val="tx1">
                    <a:lumMod val="85000"/>
                    <a:lumOff val="15000"/>
                  </a:schemeClr>
                </a:solidFill>
                <a:cs typeface="Segoe UI" panose="020B0502040204020203" pitchFamily="34" charset="0"/>
              </a:rPr>
              <a:t>finibus</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aliqua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uspendisse</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volutpa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em</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finibus</a:t>
            </a:r>
            <a:r>
              <a:rPr lang="en-US" sz="2800" dirty="0">
                <a:solidFill>
                  <a:schemeClr val="tx1">
                    <a:lumMod val="85000"/>
                    <a:lumOff val="15000"/>
                  </a:schemeClr>
                </a:solidFill>
                <a:cs typeface="Segoe UI" panose="020B0502040204020203" pitchFamily="34" charset="0"/>
              </a:rPr>
              <a:t> tempus. Ut </a:t>
            </a:r>
            <a:r>
              <a:rPr lang="en-US" sz="2800" dirty="0" err="1">
                <a:solidFill>
                  <a:schemeClr val="tx1">
                    <a:lumMod val="85000"/>
                    <a:lumOff val="15000"/>
                  </a:schemeClr>
                </a:solidFill>
                <a:cs typeface="Segoe UI" panose="020B0502040204020203" pitchFamily="34" charset="0"/>
              </a:rPr>
              <a:t>vulputate</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mauris</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pretium</a:t>
            </a:r>
            <a:r>
              <a:rPr lang="en-US" sz="2800" dirty="0">
                <a:solidFill>
                  <a:schemeClr val="tx1">
                    <a:lumMod val="85000"/>
                    <a:lumOff val="15000"/>
                  </a:schemeClr>
                </a:solidFill>
                <a:cs typeface="Segoe UI" panose="020B0502040204020203" pitchFamily="34" charset="0"/>
              </a:rPr>
              <a:t> dictum. Maecenas </a:t>
            </a:r>
            <a:r>
              <a:rPr lang="en-US" sz="2800" dirty="0" err="1">
                <a:solidFill>
                  <a:schemeClr val="tx1">
                    <a:lumMod val="85000"/>
                    <a:lumOff val="15000"/>
                  </a:schemeClr>
                </a:solidFill>
                <a:cs typeface="Segoe UI" panose="020B0502040204020203" pitchFamily="34" charset="0"/>
              </a:rPr>
              <a:t>sodales</a:t>
            </a:r>
            <a:r>
              <a:rPr lang="en-US" sz="2800" dirty="0">
                <a:solidFill>
                  <a:schemeClr val="tx1">
                    <a:lumMod val="85000"/>
                    <a:lumOff val="15000"/>
                  </a:schemeClr>
                </a:solidFill>
                <a:cs typeface="Segoe UI" panose="020B0502040204020203" pitchFamily="34" charset="0"/>
              </a:rPr>
              <a:t> tempus </a:t>
            </a:r>
            <a:r>
              <a:rPr lang="en-US" sz="2800" dirty="0" err="1">
                <a:solidFill>
                  <a:schemeClr val="tx1">
                    <a:lumMod val="85000"/>
                    <a:lumOff val="15000"/>
                  </a:schemeClr>
                </a:solidFill>
                <a:cs typeface="Segoe UI" panose="020B0502040204020203" pitchFamily="34" charset="0"/>
              </a:rPr>
              <a:t>risus</a:t>
            </a:r>
            <a:r>
              <a:rPr lang="en-US" sz="2800" dirty="0">
                <a:solidFill>
                  <a:schemeClr val="tx1">
                    <a:lumMod val="85000"/>
                    <a:lumOff val="15000"/>
                  </a:schemeClr>
                </a:solidFill>
                <a:cs typeface="Segoe UI" panose="020B0502040204020203" pitchFamily="34" charset="0"/>
              </a:rPr>
              <a:t>. Vestibulum </a:t>
            </a:r>
            <a:r>
              <a:rPr lang="en-US" sz="2800" dirty="0" err="1">
                <a:solidFill>
                  <a:schemeClr val="tx1">
                    <a:lumMod val="85000"/>
                    <a:lumOff val="15000"/>
                  </a:schemeClr>
                </a:solidFill>
                <a:cs typeface="Segoe UI" panose="020B0502040204020203" pitchFamily="34" charset="0"/>
              </a:rPr>
              <a:t>eros</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e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fringilla</a:t>
            </a:r>
            <a:r>
              <a:rPr lang="en-US" sz="2800" dirty="0">
                <a:solidFill>
                  <a:schemeClr val="tx1">
                    <a:lumMod val="85000"/>
                    <a:lumOff val="15000"/>
                  </a:schemeClr>
                </a:solidFill>
                <a:cs typeface="Segoe UI" panose="020B0502040204020203" pitchFamily="34" charset="0"/>
              </a:rPr>
              <a:t> id </a:t>
            </a:r>
            <a:r>
              <a:rPr lang="en-US" sz="2800" dirty="0" err="1">
                <a:solidFill>
                  <a:schemeClr val="tx1">
                    <a:lumMod val="85000"/>
                    <a:lumOff val="15000"/>
                  </a:schemeClr>
                </a:solidFill>
                <a:cs typeface="Segoe UI" panose="020B0502040204020203" pitchFamily="34" charset="0"/>
              </a:rPr>
              <a:t>commodo</a:t>
            </a:r>
            <a:r>
              <a:rPr lang="en-US" sz="2800" dirty="0">
                <a:solidFill>
                  <a:schemeClr val="tx1">
                    <a:lumMod val="85000"/>
                    <a:lumOff val="15000"/>
                  </a:schemeClr>
                </a:solidFill>
                <a:cs typeface="Segoe UI" panose="020B0502040204020203" pitchFamily="34" charset="0"/>
              </a:rPr>
              <a:t> sit </a:t>
            </a:r>
            <a:r>
              <a:rPr lang="en-US" sz="2800" dirty="0" err="1">
                <a:solidFill>
                  <a:schemeClr val="tx1">
                    <a:lumMod val="85000"/>
                    <a:lumOff val="15000"/>
                  </a:schemeClr>
                </a:solidFill>
                <a:cs typeface="Segoe UI" panose="020B0502040204020203" pitchFamily="34" charset="0"/>
              </a:rPr>
              <a:t>ame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molestie</a:t>
            </a:r>
            <a:r>
              <a:rPr lang="en-US" sz="2800" dirty="0">
                <a:solidFill>
                  <a:schemeClr val="tx1">
                    <a:lumMod val="85000"/>
                    <a:lumOff val="15000"/>
                  </a:schemeClr>
                </a:solidFill>
                <a:cs typeface="Segoe UI" panose="020B0502040204020203" pitchFamily="34" charset="0"/>
              </a:rPr>
              <a:t> sed dolor. </a:t>
            </a:r>
            <a:r>
              <a:rPr lang="en-US" sz="2800" dirty="0" err="1">
                <a:solidFill>
                  <a:schemeClr val="tx1">
                    <a:lumMod val="85000"/>
                    <a:lumOff val="15000"/>
                  </a:schemeClr>
                </a:solidFill>
                <a:cs typeface="Segoe UI" panose="020B0502040204020203" pitchFamily="34" charset="0"/>
              </a:rPr>
              <a:t>Aliqua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iaculis</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velit</a:t>
            </a:r>
            <a:r>
              <a:rPr lang="en-US" sz="2800" dirty="0">
                <a:solidFill>
                  <a:schemeClr val="tx1">
                    <a:lumMod val="85000"/>
                    <a:lumOff val="15000"/>
                  </a:schemeClr>
                </a:solidFill>
                <a:cs typeface="Segoe UI" panose="020B0502040204020203" pitchFamily="34" charset="0"/>
              </a:rPr>
              <a:t> convallis </a:t>
            </a:r>
            <a:r>
              <a:rPr lang="en-US" sz="2800" dirty="0" err="1">
                <a:solidFill>
                  <a:schemeClr val="tx1">
                    <a:lumMod val="85000"/>
                    <a:lumOff val="15000"/>
                  </a:schemeClr>
                </a:solidFill>
                <a:cs typeface="Segoe UI" panose="020B0502040204020203" pitchFamily="34" charset="0"/>
              </a:rPr>
              <a:t>efficitur</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Proin</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nec</a:t>
            </a:r>
            <a:r>
              <a:rPr lang="en-US" sz="2800" dirty="0">
                <a:solidFill>
                  <a:schemeClr val="tx1">
                    <a:lumMod val="85000"/>
                    <a:lumOff val="15000"/>
                  </a:schemeClr>
                </a:solidFill>
                <a:cs typeface="Segoe UI" panose="020B0502040204020203" pitchFamily="34" charset="0"/>
              </a:rPr>
              <a:t> dui </a:t>
            </a:r>
            <a:r>
              <a:rPr lang="en-US" sz="2800" dirty="0" err="1">
                <a:solidFill>
                  <a:schemeClr val="tx1">
                    <a:lumMod val="85000"/>
                    <a:lumOff val="15000"/>
                  </a:schemeClr>
                </a:solidFill>
                <a:cs typeface="Segoe UI" panose="020B0502040204020203" pitchFamily="34" charset="0"/>
              </a:rPr>
              <a:t>lectus</a:t>
            </a:r>
            <a:r>
              <a:rPr lang="en-US" sz="2800" dirty="0">
                <a:solidFill>
                  <a:schemeClr val="tx1">
                    <a:lumMod val="85000"/>
                    <a:lumOff val="15000"/>
                  </a:schemeClr>
                </a:solidFill>
                <a:cs typeface="Segoe UI" panose="020B0502040204020203" pitchFamily="34" charset="0"/>
              </a:rPr>
              <a:t>. </a:t>
            </a:r>
          </a:p>
        </p:txBody>
      </p:sp>
      <p:sp>
        <p:nvSpPr>
          <p:cNvPr id="35" name="Rectangle: Rounded Corners 47">
            <a:extLst>
              <a:ext uri="{FF2B5EF4-FFF2-40B4-BE49-F238E27FC236}">
                <a16:creationId xmlns:a16="http://schemas.microsoft.com/office/drawing/2014/main" id="{4D4871A5-B334-D445-A801-5FF76BF287C7}"/>
              </a:ext>
            </a:extLst>
          </p:cNvPr>
          <p:cNvSpPr/>
          <p:nvPr/>
        </p:nvSpPr>
        <p:spPr>
          <a:xfrm>
            <a:off x="9168377" y="6708315"/>
            <a:ext cx="6212811" cy="628766"/>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cs typeface="Segoe UI" panose="020B0502040204020203" pitchFamily="34" charset="0"/>
              </a:rPr>
              <a:t>Lorem ipsum</a:t>
            </a:r>
          </a:p>
        </p:txBody>
      </p:sp>
      <p:sp>
        <p:nvSpPr>
          <p:cNvPr id="36" name="TextBox 35">
            <a:extLst>
              <a:ext uri="{FF2B5EF4-FFF2-40B4-BE49-F238E27FC236}">
                <a16:creationId xmlns:a16="http://schemas.microsoft.com/office/drawing/2014/main" id="{5D5019B9-86A0-0B42-84F7-EDD38EB8CB6E}"/>
              </a:ext>
            </a:extLst>
          </p:cNvPr>
          <p:cNvSpPr txBox="1"/>
          <p:nvPr/>
        </p:nvSpPr>
        <p:spPr>
          <a:xfrm>
            <a:off x="9165317" y="7524055"/>
            <a:ext cx="6212811" cy="5093671"/>
          </a:xfrm>
          <a:prstGeom prst="rect">
            <a:avLst/>
          </a:prstGeom>
          <a:noFill/>
          <a:ln w="6350">
            <a:noFill/>
            <a:prstDash val="dash"/>
          </a:ln>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a:solidFill>
                  <a:schemeClr val="tx1">
                    <a:lumMod val="85000"/>
                    <a:lumOff val="15000"/>
                  </a:schemeClr>
                </a:solidFill>
                <a:cs typeface="Segoe UI" panose="020B0502040204020203" pitchFamily="34" charset="0"/>
              </a:rPr>
              <a:t>Lorem ipsum dolor sit </a:t>
            </a:r>
            <a:r>
              <a:rPr lang="en-US" sz="2800" dirty="0" err="1">
                <a:solidFill>
                  <a:schemeClr val="tx1">
                    <a:lumMod val="85000"/>
                    <a:lumOff val="15000"/>
                  </a:schemeClr>
                </a:solidFill>
                <a:cs typeface="Segoe UI" panose="020B0502040204020203" pitchFamily="34" charset="0"/>
              </a:rPr>
              <a:t>ame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consectetur</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adipiscing</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eli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Nulla</a:t>
            </a:r>
            <a:r>
              <a:rPr lang="en-US" sz="2800" dirty="0">
                <a:solidFill>
                  <a:schemeClr val="tx1">
                    <a:lumMod val="85000"/>
                    <a:lumOff val="15000"/>
                  </a:schemeClr>
                </a:solidFill>
                <a:cs typeface="Segoe UI" panose="020B0502040204020203" pitchFamily="34" charset="0"/>
              </a:rPr>
              <a:t> pharetra dolor sed </a:t>
            </a:r>
            <a:r>
              <a:rPr lang="en-US" sz="2800" dirty="0" err="1">
                <a:solidFill>
                  <a:schemeClr val="tx1">
                    <a:lumMod val="85000"/>
                    <a:lumOff val="15000"/>
                  </a:schemeClr>
                </a:solidFill>
                <a:cs typeface="Segoe UI" panose="020B0502040204020203" pitchFamily="34" charset="0"/>
              </a:rPr>
              <a:t>finibus</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aliqua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uspendisse</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volutpa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em</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finibus</a:t>
            </a:r>
            <a:r>
              <a:rPr lang="en-US" sz="2800" dirty="0">
                <a:solidFill>
                  <a:schemeClr val="tx1">
                    <a:lumMod val="85000"/>
                    <a:lumOff val="15000"/>
                  </a:schemeClr>
                </a:solidFill>
                <a:cs typeface="Segoe UI" panose="020B0502040204020203" pitchFamily="34" charset="0"/>
              </a:rPr>
              <a:t> tempus. Ut </a:t>
            </a:r>
            <a:r>
              <a:rPr lang="en-US" sz="2800" dirty="0" err="1">
                <a:solidFill>
                  <a:schemeClr val="tx1">
                    <a:lumMod val="85000"/>
                    <a:lumOff val="15000"/>
                  </a:schemeClr>
                </a:solidFill>
                <a:cs typeface="Segoe UI" panose="020B0502040204020203" pitchFamily="34" charset="0"/>
              </a:rPr>
              <a:t>vulputate</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mauris</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pretium</a:t>
            </a:r>
            <a:r>
              <a:rPr lang="en-US" sz="2800" dirty="0">
                <a:solidFill>
                  <a:schemeClr val="tx1">
                    <a:lumMod val="85000"/>
                    <a:lumOff val="15000"/>
                  </a:schemeClr>
                </a:solidFill>
                <a:cs typeface="Segoe UI" panose="020B0502040204020203" pitchFamily="34" charset="0"/>
              </a:rPr>
              <a:t> dictum. Maecenas </a:t>
            </a:r>
            <a:r>
              <a:rPr lang="en-US" sz="2800" dirty="0" err="1">
                <a:solidFill>
                  <a:schemeClr val="tx1">
                    <a:lumMod val="85000"/>
                    <a:lumOff val="15000"/>
                  </a:schemeClr>
                </a:solidFill>
                <a:cs typeface="Segoe UI" panose="020B0502040204020203" pitchFamily="34" charset="0"/>
              </a:rPr>
              <a:t>sodales</a:t>
            </a:r>
            <a:r>
              <a:rPr lang="en-US" sz="2800" dirty="0">
                <a:solidFill>
                  <a:schemeClr val="tx1">
                    <a:lumMod val="85000"/>
                    <a:lumOff val="15000"/>
                  </a:schemeClr>
                </a:solidFill>
                <a:cs typeface="Segoe UI" panose="020B0502040204020203" pitchFamily="34" charset="0"/>
              </a:rPr>
              <a:t> tempus </a:t>
            </a:r>
            <a:r>
              <a:rPr lang="en-US" sz="2800" dirty="0" err="1">
                <a:solidFill>
                  <a:schemeClr val="tx1">
                    <a:lumMod val="85000"/>
                    <a:lumOff val="15000"/>
                  </a:schemeClr>
                </a:solidFill>
                <a:cs typeface="Segoe UI" panose="020B0502040204020203" pitchFamily="34" charset="0"/>
              </a:rPr>
              <a:t>risus</a:t>
            </a:r>
            <a:r>
              <a:rPr lang="en-US" sz="2800" dirty="0">
                <a:solidFill>
                  <a:schemeClr val="tx1">
                    <a:lumMod val="85000"/>
                    <a:lumOff val="15000"/>
                  </a:schemeClr>
                </a:solidFill>
                <a:cs typeface="Segoe UI" panose="020B0502040204020203" pitchFamily="34" charset="0"/>
              </a:rPr>
              <a:t>. Vestibulum </a:t>
            </a:r>
            <a:r>
              <a:rPr lang="en-US" sz="2800" dirty="0" err="1">
                <a:solidFill>
                  <a:schemeClr val="tx1">
                    <a:lumMod val="85000"/>
                    <a:lumOff val="15000"/>
                  </a:schemeClr>
                </a:solidFill>
                <a:cs typeface="Segoe UI" panose="020B0502040204020203" pitchFamily="34" charset="0"/>
              </a:rPr>
              <a:t>eros</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e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fringilla</a:t>
            </a:r>
            <a:r>
              <a:rPr lang="en-US" sz="2800" dirty="0">
                <a:solidFill>
                  <a:schemeClr val="tx1">
                    <a:lumMod val="85000"/>
                    <a:lumOff val="15000"/>
                  </a:schemeClr>
                </a:solidFill>
                <a:cs typeface="Segoe UI" panose="020B0502040204020203" pitchFamily="34" charset="0"/>
              </a:rPr>
              <a:t> id </a:t>
            </a:r>
            <a:r>
              <a:rPr lang="en-US" sz="2800" dirty="0" err="1">
                <a:solidFill>
                  <a:schemeClr val="tx1">
                    <a:lumMod val="85000"/>
                    <a:lumOff val="15000"/>
                  </a:schemeClr>
                </a:solidFill>
                <a:cs typeface="Segoe UI" panose="020B0502040204020203" pitchFamily="34" charset="0"/>
              </a:rPr>
              <a:t>commodo</a:t>
            </a:r>
            <a:r>
              <a:rPr lang="en-US" sz="2800" dirty="0">
                <a:solidFill>
                  <a:schemeClr val="tx1">
                    <a:lumMod val="85000"/>
                    <a:lumOff val="15000"/>
                  </a:schemeClr>
                </a:solidFill>
                <a:cs typeface="Segoe UI" panose="020B0502040204020203" pitchFamily="34" charset="0"/>
              </a:rPr>
              <a:t> sit </a:t>
            </a:r>
            <a:r>
              <a:rPr lang="en-US" sz="2800" dirty="0" err="1">
                <a:solidFill>
                  <a:schemeClr val="tx1">
                    <a:lumMod val="85000"/>
                    <a:lumOff val="15000"/>
                  </a:schemeClr>
                </a:solidFill>
                <a:cs typeface="Segoe UI" panose="020B0502040204020203" pitchFamily="34" charset="0"/>
              </a:rPr>
              <a:t>ame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molestie</a:t>
            </a:r>
            <a:r>
              <a:rPr lang="en-US" sz="2800" dirty="0">
                <a:solidFill>
                  <a:schemeClr val="tx1">
                    <a:lumMod val="85000"/>
                    <a:lumOff val="15000"/>
                  </a:schemeClr>
                </a:solidFill>
                <a:cs typeface="Segoe UI" panose="020B0502040204020203" pitchFamily="34" charset="0"/>
              </a:rPr>
              <a:t> sed dolor. </a:t>
            </a:r>
            <a:r>
              <a:rPr lang="en-US" sz="2800" dirty="0" err="1">
                <a:solidFill>
                  <a:schemeClr val="tx1">
                    <a:lumMod val="85000"/>
                    <a:lumOff val="15000"/>
                  </a:schemeClr>
                </a:solidFill>
                <a:cs typeface="Segoe UI" panose="020B0502040204020203" pitchFamily="34" charset="0"/>
              </a:rPr>
              <a:t>Aliqua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iaculis</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velit</a:t>
            </a:r>
            <a:r>
              <a:rPr lang="en-US" sz="2800" dirty="0">
                <a:solidFill>
                  <a:schemeClr val="tx1">
                    <a:lumMod val="85000"/>
                    <a:lumOff val="15000"/>
                  </a:schemeClr>
                </a:solidFill>
                <a:cs typeface="Segoe UI" panose="020B0502040204020203" pitchFamily="34" charset="0"/>
              </a:rPr>
              <a:t> convallis </a:t>
            </a:r>
            <a:r>
              <a:rPr lang="en-US" sz="2800" dirty="0" err="1">
                <a:solidFill>
                  <a:schemeClr val="tx1">
                    <a:lumMod val="85000"/>
                    <a:lumOff val="15000"/>
                  </a:schemeClr>
                </a:solidFill>
                <a:cs typeface="Segoe UI" panose="020B0502040204020203" pitchFamily="34" charset="0"/>
              </a:rPr>
              <a:t>efficitur</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Proin</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nec</a:t>
            </a:r>
            <a:r>
              <a:rPr lang="en-US" sz="2800" dirty="0">
                <a:solidFill>
                  <a:schemeClr val="tx1">
                    <a:lumMod val="85000"/>
                    <a:lumOff val="15000"/>
                  </a:schemeClr>
                </a:solidFill>
                <a:cs typeface="Segoe UI" panose="020B0502040204020203" pitchFamily="34" charset="0"/>
              </a:rPr>
              <a:t> dui </a:t>
            </a:r>
            <a:r>
              <a:rPr lang="en-US" sz="2800" dirty="0" err="1">
                <a:solidFill>
                  <a:schemeClr val="tx1">
                    <a:lumMod val="85000"/>
                    <a:lumOff val="15000"/>
                  </a:schemeClr>
                </a:solidFill>
                <a:cs typeface="Segoe UI" panose="020B0502040204020203" pitchFamily="34" charset="0"/>
              </a:rPr>
              <a:t>lectus</a:t>
            </a:r>
            <a:r>
              <a:rPr lang="en-US" sz="2800" dirty="0">
                <a:solidFill>
                  <a:schemeClr val="tx1">
                    <a:lumMod val="85000"/>
                    <a:lumOff val="15000"/>
                  </a:schemeClr>
                </a:solidFill>
                <a:cs typeface="Segoe UI" panose="020B0502040204020203" pitchFamily="34" charset="0"/>
              </a:rPr>
              <a:t>. </a:t>
            </a:r>
          </a:p>
        </p:txBody>
      </p:sp>
      <p:sp>
        <p:nvSpPr>
          <p:cNvPr id="37" name="Rectangle: Rounded Corners 49">
            <a:extLst>
              <a:ext uri="{FF2B5EF4-FFF2-40B4-BE49-F238E27FC236}">
                <a16:creationId xmlns:a16="http://schemas.microsoft.com/office/drawing/2014/main" id="{7A4DA06E-5545-114B-8680-5F310E0723DB}"/>
              </a:ext>
            </a:extLst>
          </p:cNvPr>
          <p:cNvSpPr/>
          <p:nvPr/>
        </p:nvSpPr>
        <p:spPr>
          <a:xfrm>
            <a:off x="16961825" y="6708315"/>
            <a:ext cx="6212811" cy="628766"/>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cs typeface="Segoe UI" panose="020B0502040204020203" pitchFamily="34" charset="0"/>
              </a:rPr>
              <a:t>Lorem ipsum</a:t>
            </a:r>
          </a:p>
        </p:txBody>
      </p:sp>
      <p:sp>
        <p:nvSpPr>
          <p:cNvPr id="38" name="TextBox 37">
            <a:extLst>
              <a:ext uri="{FF2B5EF4-FFF2-40B4-BE49-F238E27FC236}">
                <a16:creationId xmlns:a16="http://schemas.microsoft.com/office/drawing/2014/main" id="{0381CD43-2359-3F4A-A1DB-F46646F4EADE}"/>
              </a:ext>
            </a:extLst>
          </p:cNvPr>
          <p:cNvSpPr txBox="1"/>
          <p:nvPr/>
        </p:nvSpPr>
        <p:spPr>
          <a:xfrm>
            <a:off x="16961825" y="7524055"/>
            <a:ext cx="6212811" cy="5093671"/>
          </a:xfrm>
          <a:prstGeom prst="rect">
            <a:avLst/>
          </a:prstGeom>
          <a:noFill/>
          <a:ln w="6350">
            <a:noFill/>
            <a:prstDash val="dash"/>
          </a:ln>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a:solidFill>
                  <a:schemeClr val="tx1">
                    <a:lumMod val="85000"/>
                    <a:lumOff val="15000"/>
                  </a:schemeClr>
                </a:solidFill>
                <a:cs typeface="Segoe UI" panose="020B0502040204020203" pitchFamily="34" charset="0"/>
              </a:rPr>
              <a:t>Lorem ipsum dolor sit </a:t>
            </a:r>
            <a:r>
              <a:rPr lang="en-US" sz="2800" dirty="0" err="1">
                <a:solidFill>
                  <a:schemeClr val="tx1">
                    <a:lumMod val="85000"/>
                    <a:lumOff val="15000"/>
                  </a:schemeClr>
                </a:solidFill>
                <a:cs typeface="Segoe UI" panose="020B0502040204020203" pitchFamily="34" charset="0"/>
              </a:rPr>
              <a:t>ame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consectetur</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adipiscing</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eli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Nulla</a:t>
            </a:r>
            <a:r>
              <a:rPr lang="en-US" sz="2800" dirty="0">
                <a:solidFill>
                  <a:schemeClr val="tx1">
                    <a:lumMod val="85000"/>
                    <a:lumOff val="15000"/>
                  </a:schemeClr>
                </a:solidFill>
                <a:cs typeface="Segoe UI" panose="020B0502040204020203" pitchFamily="34" charset="0"/>
              </a:rPr>
              <a:t> pharetra dolor sed </a:t>
            </a:r>
            <a:r>
              <a:rPr lang="en-US" sz="2800" dirty="0" err="1">
                <a:solidFill>
                  <a:schemeClr val="tx1">
                    <a:lumMod val="85000"/>
                    <a:lumOff val="15000"/>
                  </a:schemeClr>
                </a:solidFill>
                <a:cs typeface="Segoe UI" panose="020B0502040204020203" pitchFamily="34" charset="0"/>
              </a:rPr>
              <a:t>finibus</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aliqua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uspendisse</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volutpa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em</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finibus</a:t>
            </a:r>
            <a:r>
              <a:rPr lang="en-US" sz="2800" dirty="0">
                <a:solidFill>
                  <a:schemeClr val="tx1">
                    <a:lumMod val="85000"/>
                    <a:lumOff val="15000"/>
                  </a:schemeClr>
                </a:solidFill>
                <a:cs typeface="Segoe UI" panose="020B0502040204020203" pitchFamily="34" charset="0"/>
              </a:rPr>
              <a:t> tempus. Ut </a:t>
            </a:r>
            <a:r>
              <a:rPr lang="en-US" sz="2800" dirty="0" err="1">
                <a:solidFill>
                  <a:schemeClr val="tx1">
                    <a:lumMod val="85000"/>
                    <a:lumOff val="15000"/>
                  </a:schemeClr>
                </a:solidFill>
                <a:cs typeface="Segoe UI" panose="020B0502040204020203" pitchFamily="34" charset="0"/>
              </a:rPr>
              <a:t>vulputate</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mauris</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pretium</a:t>
            </a:r>
            <a:r>
              <a:rPr lang="en-US" sz="2800" dirty="0">
                <a:solidFill>
                  <a:schemeClr val="tx1">
                    <a:lumMod val="85000"/>
                    <a:lumOff val="15000"/>
                  </a:schemeClr>
                </a:solidFill>
                <a:cs typeface="Segoe UI" panose="020B0502040204020203" pitchFamily="34" charset="0"/>
              </a:rPr>
              <a:t> dictum. Maecenas </a:t>
            </a:r>
            <a:r>
              <a:rPr lang="en-US" sz="2800" dirty="0" err="1">
                <a:solidFill>
                  <a:schemeClr val="tx1">
                    <a:lumMod val="85000"/>
                    <a:lumOff val="15000"/>
                  </a:schemeClr>
                </a:solidFill>
                <a:cs typeface="Segoe UI" panose="020B0502040204020203" pitchFamily="34" charset="0"/>
              </a:rPr>
              <a:t>sodales</a:t>
            </a:r>
            <a:r>
              <a:rPr lang="en-US" sz="2800" dirty="0">
                <a:solidFill>
                  <a:schemeClr val="tx1">
                    <a:lumMod val="85000"/>
                    <a:lumOff val="15000"/>
                  </a:schemeClr>
                </a:solidFill>
                <a:cs typeface="Segoe UI" panose="020B0502040204020203" pitchFamily="34" charset="0"/>
              </a:rPr>
              <a:t> tempus </a:t>
            </a:r>
            <a:r>
              <a:rPr lang="en-US" sz="2800" dirty="0" err="1">
                <a:solidFill>
                  <a:schemeClr val="tx1">
                    <a:lumMod val="85000"/>
                    <a:lumOff val="15000"/>
                  </a:schemeClr>
                </a:solidFill>
                <a:cs typeface="Segoe UI" panose="020B0502040204020203" pitchFamily="34" charset="0"/>
              </a:rPr>
              <a:t>risus</a:t>
            </a:r>
            <a:r>
              <a:rPr lang="en-US" sz="2800" dirty="0">
                <a:solidFill>
                  <a:schemeClr val="tx1">
                    <a:lumMod val="85000"/>
                    <a:lumOff val="15000"/>
                  </a:schemeClr>
                </a:solidFill>
                <a:cs typeface="Segoe UI" panose="020B0502040204020203" pitchFamily="34" charset="0"/>
              </a:rPr>
              <a:t>. Vestibulum </a:t>
            </a:r>
            <a:r>
              <a:rPr lang="en-US" sz="2800" dirty="0" err="1">
                <a:solidFill>
                  <a:schemeClr val="tx1">
                    <a:lumMod val="85000"/>
                    <a:lumOff val="15000"/>
                  </a:schemeClr>
                </a:solidFill>
                <a:cs typeface="Segoe UI" panose="020B0502040204020203" pitchFamily="34" charset="0"/>
              </a:rPr>
              <a:t>eros</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se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fringilla</a:t>
            </a:r>
            <a:r>
              <a:rPr lang="en-US" sz="2800" dirty="0">
                <a:solidFill>
                  <a:schemeClr val="tx1">
                    <a:lumMod val="85000"/>
                    <a:lumOff val="15000"/>
                  </a:schemeClr>
                </a:solidFill>
                <a:cs typeface="Segoe UI" panose="020B0502040204020203" pitchFamily="34" charset="0"/>
              </a:rPr>
              <a:t> id </a:t>
            </a:r>
            <a:r>
              <a:rPr lang="en-US" sz="2800" dirty="0" err="1">
                <a:solidFill>
                  <a:schemeClr val="tx1">
                    <a:lumMod val="85000"/>
                    <a:lumOff val="15000"/>
                  </a:schemeClr>
                </a:solidFill>
                <a:cs typeface="Segoe UI" panose="020B0502040204020203" pitchFamily="34" charset="0"/>
              </a:rPr>
              <a:t>commodo</a:t>
            </a:r>
            <a:r>
              <a:rPr lang="en-US" sz="2800" dirty="0">
                <a:solidFill>
                  <a:schemeClr val="tx1">
                    <a:lumMod val="85000"/>
                    <a:lumOff val="15000"/>
                  </a:schemeClr>
                </a:solidFill>
                <a:cs typeface="Segoe UI" panose="020B0502040204020203" pitchFamily="34" charset="0"/>
              </a:rPr>
              <a:t> sit </a:t>
            </a:r>
            <a:r>
              <a:rPr lang="en-US" sz="2800" dirty="0" err="1">
                <a:solidFill>
                  <a:schemeClr val="tx1">
                    <a:lumMod val="85000"/>
                    <a:lumOff val="15000"/>
                  </a:schemeClr>
                </a:solidFill>
                <a:cs typeface="Segoe UI" panose="020B0502040204020203" pitchFamily="34" charset="0"/>
              </a:rPr>
              <a:t>amet</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molestie</a:t>
            </a:r>
            <a:r>
              <a:rPr lang="en-US" sz="2800" dirty="0">
                <a:solidFill>
                  <a:schemeClr val="tx1">
                    <a:lumMod val="85000"/>
                    <a:lumOff val="15000"/>
                  </a:schemeClr>
                </a:solidFill>
                <a:cs typeface="Segoe UI" panose="020B0502040204020203" pitchFamily="34" charset="0"/>
              </a:rPr>
              <a:t> sed dolor. </a:t>
            </a:r>
            <a:r>
              <a:rPr lang="en-US" sz="2800" dirty="0" err="1">
                <a:solidFill>
                  <a:schemeClr val="tx1">
                    <a:lumMod val="85000"/>
                    <a:lumOff val="15000"/>
                  </a:schemeClr>
                </a:solidFill>
                <a:cs typeface="Segoe UI" panose="020B0502040204020203" pitchFamily="34" charset="0"/>
              </a:rPr>
              <a:t>Aliquam</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iaculis</a:t>
            </a:r>
            <a:r>
              <a:rPr lang="en-US" sz="2800" dirty="0">
                <a:solidFill>
                  <a:schemeClr val="tx1">
                    <a:lumMod val="85000"/>
                    <a:lumOff val="15000"/>
                  </a:schemeClr>
                </a:solidFill>
                <a:cs typeface="Segoe UI" panose="020B0502040204020203" pitchFamily="34" charset="0"/>
              </a:rPr>
              <a:t> at </a:t>
            </a:r>
            <a:r>
              <a:rPr lang="en-US" sz="2800" dirty="0" err="1">
                <a:solidFill>
                  <a:schemeClr val="tx1">
                    <a:lumMod val="85000"/>
                    <a:lumOff val="15000"/>
                  </a:schemeClr>
                </a:solidFill>
                <a:cs typeface="Segoe UI" panose="020B0502040204020203" pitchFamily="34" charset="0"/>
              </a:rPr>
              <a:t>velit</a:t>
            </a:r>
            <a:r>
              <a:rPr lang="en-US" sz="2800" dirty="0">
                <a:solidFill>
                  <a:schemeClr val="tx1">
                    <a:lumMod val="85000"/>
                    <a:lumOff val="15000"/>
                  </a:schemeClr>
                </a:solidFill>
                <a:cs typeface="Segoe UI" panose="020B0502040204020203" pitchFamily="34" charset="0"/>
              </a:rPr>
              <a:t> convallis </a:t>
            </a:r>
            <a:r>
              <a:rPr lang="en-US" sz="2800" dirty="0" err="1">
                <a:solidFill>
                  <a:schemeClr val="tx1">
                    <a:lumMod val="85000"/>
                    <a:lumOff val="15000"/>
                  </a:schemeClr>
                </a:solidFill>
                <a:cs typeface="Segoe UI" panose="020B0502040204020203" pitchFamily="34" charset="0"/>
              </a:rPr>
              <a:t>efficitur</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Proin</a:t>
            </a:r>
            <a:r>
              <a:rPr lang="en-US" sz="2800" dirty="0">
                <a:solidFill>
                  <a:schemeClr val="tx1">
                    <a:lumMod val="85000"/>
                    <a:lumOff val="15000"/>
                  </a:schemeClr>
                </a:solidFill>
                <a:cs typeface="Segoe UI" panose="020B0502040204020203" pitchFamily="34" charset="0"/>
              </a:rPr>
              <a:t> </a:t>
            </a:r>
            <a:r>
              <a:rPr lang="en-US" sz="2800" dirty="0" err="1">
                <a:solidFill>
                  <a:schemeClr val="tx1">
                    <a:lumMod val="85000"/>
                    <a:lumOff val="15000"/>
                  </a:schemeClr>
                </a:solidFill>
                <a:cs typeface="Segoe UI" panose="020B0502040204020203" pitchFamily="34" charset="0"/>
              </a:rPr>
              <a:t>nec</a:t>
            </a:r>
            <a:r>
              <a:rPr lang="en-US" sz="2800" dirty="0">
                <a:solidFill>
                  <a:schemeClr val="tx1">
                    <a:lumMod val="85000"/>
                    <a:lumOff val="15000"/>
                  </a:schemeClr>
                </a:solidFill>
                <a:cs typeface="Segoe UI" panose="020B0502040204020203" pitchFamily="34" charset="0"/>
              </a:rPr>
              <a:t> dui </a:t>
            </a:r>
            <a:r>
              <a:rPr lang="en-US" sz="2800" dirty="0" err="1">
                <a:solidFill>
                  <a:schemeClr val="tx1">
                    <a:lumMod val="85000"/>
                    <a:lumOff val="15000"/>
                  </a:schemeClr>
                </a:solidFill>
                <a:cs typeface="Segoe UI" panose="020B0502040204020203" pitchFamily="34" charset="0"/>
              </a:rPr>
              <a:t>lectus</a:t>
            </a:r>
            <a:r>
              <a:rPr lang="en-US" sz="2800" dirty="0">
                <a:solidFill>
                  <a:schemeClr val="tx1">
                    <a:lumMod val="85000"/>
                    <a:lumOff val="15000"/>
                  </a:schemeClr>
                </a:solidFill>
                <a:cs typeface="Segoe UI" panose="020B0502040204020203" pitchFamily="34" charset="0"/>
              </a:rPr>
              <a:t>. </a:t>
            </a:r>
          </a:p>
        </p:txBody>
      </p:sp>
      <p:sp>
        <p:nvSpPr>
          <p:cNvPr id="41" name="Title 40">
            <a:extLst>
              <a:ext uri="{FF2B5EF4-FFF2-40B4-BE49-F238E27FC236}">
                <a16:creationId xmlns:a16="http://schemas.microsoft.com/office/drawing/2014/main" id="{1C6AACFF-42F6-A242-BA27-027B60A97AA9}"/>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4104383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Placeholder 30"/>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p:blipFill>
        <p:spPr>
          <a:xfrm>
            <a:off x="1249196" y="2953375"/>
            <a:ext cx="5698147" cy="8912486"/>
          </a:xfrm>
        </p:spPr>
      </p:pic>
      <p:pic>
        <p:nvPicPr>
          <p:cNvPr id="482" name="Picture Placeholder 481"/>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p:blipFill>
        <p:spPr>
          <a:xfrm>
            <a:off x="17444614" y="3155491"/>
            <a:ext cx="5683840" cy="8520935"/>
          </a:xfrm>
        </p:spPr>
      </p:pic>
      <p:sp>
        <p:nvSpPr>
          <p:cNvPr id="85" name="TextBox 84"/>
          <p:cNvSpPr txBox="1"/>
          <p:nvPr/>
        </p:nvSpPr>
        <p:spPr>
          <a:xfrm>
            <a:off x="8335775" y="3566804"/>
            <a:ext cx="3198880" cy="1477328"/>
          </a:xfrm>
          <a:prstGeom prst="rect">
            <a:avLst/>
          </a:prstGeom>
          <a:noFill/>
          <a:ln w="6350">
            <a:noFill/>
            <a:prstDash val="dash"/>
          </a:ln>
        </p:spPr>
        <p:txBody>
          <a:bodyPr wrap="square" lIns="0" tIns="0" rIns="0" bIns="0" rtlCol="0" anchor="b">
            <a:spAutoFit/>
          </a:bodyPr>
          <a:lstStyle/>
          <a:p>
            <a:pPr algn="ctr"/>
            <a:r>
              <a:rPr lang="en-US" sz="9600" b="1" dirty="0"/>
              <a:t>50%</a:t>
            </a:r>
          </a:p>
        </p:txBody>
      </p:sp>
      <p:sp>
        <p:nvSpPr>
          <p:cNvPr id="86" name="TextBox 85"/>
          <p:cNvSpPr txBox="1"/>
          <p:nvPr/>
        </p:nvSpPr>
        <p:spPr>
          <a:xfrm>
            <a:off x="8356858" y="3087318"/>
            <a:ext cx="3198880" cy="430887"/>
          </a:xfrm>
          <a:prstGeom prst="rect">
            <a:avLst/>
          </a:prstGeom>
          <a:noFill/>
          <a:ln w="6350">
            <a:noFill/>
            <a:prstDash val="dash"/>
          </a:ln>
        </p:spPr>
        <p:txBody>
          <a:bodyPr wrap="square" lIns="0" tIns="0" rIns="0" bIns="0" rtlCol="0">
            <a:spAutoFit/>
          </a:bodyPr>
          <a:lstStyle/>
          <a:p>
            <a:pPr algn="ctr"/>
            <a:r>
              <a:rPr lang="en-US" sz="2800" b="1" dirty="0" err="1"/>
              <a:t>TItle</a:t>
            </a:r>
            <a:endParaRPr lang="en-US" sz="2800" b="1" dirty="0"/>
          </a:p>
        </p:txBody>
      </p:sp>
      <p:sp>
        <p:nvSpPr>
          <p:cNvPr id="87" name="TextBox 86"/>
          <p:cNvSpPr txBox="1"/>
          <p:nvPr/>
        </p:nvSpPr>
        <p:spPr>
          <a:xfrm>
            <a:off x="13175760" y="3566804"/>
            <a:ext cx="3198880" cy="1477328"/>
          </a:xfrm>
          <a:prstGeom prst="rect">
            <a:avLst/>
          </a:prstGeom>
          <a:noFill/>
          <a:ln w="6350">
            <a:noFill/>
            <a:prstDash val="dash"/>
          </a:ln>
        </p:spPr>
        <p:txBody>
          <a:bodyPr wrap="square" lIns="0" tIns="0" rIns="0" bIns="0" rtlCol="0" anchor="b">
            <a:spAutoFit/>
          </a:bodyPr>
          <a:lstStyle/>
          <a:p>
            <a:pPr algn="ctr"/>
            <a:r>
              <a:rPr lang="en-US" sz="9600" b="1" dirty="0"/>
              <a:t>72%</a:t>
            </a:r>
          </a:p>
        </p:txBody>
      </p:sp>
      <p:sp>
        <p:nvSpPr>
          <p:cNvPr id="88" name="TextBox 87"/>
          <p:cNvSpPr txBox="1"/>
          <p:nvPr/>
        </p:nvSpPr>
        <p:spPr>
          <a:xfrm>
            <a:off x="13175760" y="3087318"/>
            <a:ext cx="3198880" cy="430887"/>
          </a:xfrm>
          <a:prstGeom prst="rect">
            <a:avLst/>
          </a:prstGeom>
          <a:noFill/>
          <a:ln w="6350">
            <a:noFill/>
            <a:prstDash val="dash"/>
          </a:ln>
        </p:spPr>
        <p:txBody>
          <a:bodyPr wrap="square" lIns="0" tIns="0" rIns="0" bIns="0" rtlCol="0">
            <a:spAutoFit/>
          </a:bodyPr>
          <a:lstStyle/>
          <a:p>
            <a:pPr algn="ctr"/>
            <a:r>
              <a:rPr lang="en-US" sz="2800" b="1" dirty="0"/>
              <a:t>Title</a:t>
            </a:r>
          </a:p>
        </p:txBody>
      </p:sp>
      <p:sp>
        <p:nvSpPr>
          <p:cNvPr id="130" name="Rounded Rectangle 129"/>
          <p:cNvSpPr/>
          <p:nvPr/>
        </p:nvSpPr>
        <p:spPr>
          <a:xfrm>
            <a:off x="8411928" y="5310039"/>
            <a:ext cx="473113" cy="4407419"/>
          </a:xfrm>
          <a:prstGeom prst="roundRect">
            <a:avLst>
              <a:gd name="adj" fmla="val 50000"/>
            </a:avLst>
          </a:prstGeom>
          <a:solidFill>
            <a:schemeClr val="bg1">
              <a:lumMod val="85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31" name="Rounded Rectangle 130"/>
          <p:cNvSpPr/>
          <p:nvPr/>
        </p:nvSpPr>
        <p:spPr>
          <a:xfrm rot="10800000">
            <a:off x="8411928" y="6251337"/>
            <a:ext cx="473113" cy="3466122"/>
          </a:xfrm>
          <a:prstGeom prst="roundRect">
            <a:avLst>
              <a:gd name="adj" fmla="val 476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solidFill>
                <a:prstClr val="white"/>
              </a:solidFill>
            </a:endParaRPr>
          </a:p>
        </p:txBody>
      </p:sp>
      <p:sp>
        <p:nvSpPr>
          <p:cNvPr id="132" name="Rounded Rectangle 131"/>
          <p:cNvSpPr/>
          <p:nvPr/>
        </p:nvSpPr>
        <p:spPr>
          <a:xfrm>
            <a:off x="9706762" y="5310039"/>
            <a:ext cx="473113" cy="4407419"/>
          </a:xfrm>
          <a:prstGeom prst="roundRect">
            <a:avLst>
              <a:gd name="adj" fmla="val 50000"/>
            </a:avLst>
          </a:prstGeom>
          <a:solidFill>
            <a:schemeClr val="bg1">
              <a:lumMod val="85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33" name="Rounded Rectangle 132"/>
          <p:cNvSpPr/>
          <p:nvPr/>
        </p:nvSpPr>
        <p:spPr>
          <a:xfrm rot="10800000">
            <a:off x="9698660" y="7227391"/>
            <a:ext cx="473113" cy="2490068"/>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34" name="Rounded Rectangle 133"/>
          <p:cNvSpPr/>
          <p:nvPr/>
        </p:nvSpPr>
        <p:spPr>
          <a:xfrm>
            <a:off x="11001596" y="5310039"/>
            <a:ext cx="473113" cy="4407419"/>
          </a:xfrm>
          <a:prstGeom prst="roundRect">
            <a:avLst>
              <a:gd name="adj" fmla="val 50000"/>
            </a:avLst>
          </a:prstGeom>
          <a:solidFill>
            <a:schemeClr val="bg1">
              <a:lumMod val="85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35" name="Rounded Rectangle 134"/>
          <p:cNvSpPr/>
          <p:nvPr/>
        </p:nvSpPr>
        <p:spPr>
          <a:xfrm rot="10800000">
            <a:off x="11001596" y="6686666"/>
            <a:ext cx="473113" cy="3030793"/>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37" name="Oval 136"/>
          <p:cNvSpPr/>
          <p:nvPr/>
        </p:nvSpPr>
        <p:spPr>
          <a:xfrm>
            <a:off x="9607161" y="7076581"/>
            <a:ext cx="672318" cy="672318"/>
          </a:xfrm>
          <a:prstGeom prst="ellipse">
            <a:avLst/>
          </a:prstGeom>
          <a:solidFill>
            <a:schemeClr val="accent4"/>
          </a:solidFill>
          <a:ln w="28575">
            <a:solidFill>
              <a:schemeClr val="bg1"/>
            </a:solidFill>
          </a:ln>
          <a:effectLst>
            <a:outerShdw blurRad="38100" dist="254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43" name="Oval 142"/>
          <p:cNvSpPr/>
          <p:nvPr/>
        </p:nvSpPr>
        <p:spPr>
          <a:xfrm>
            <a:off x="8312326" y="5932557"/>
            <a:ext cx="672318" cy="672318"/>
          </a:xfrm>
          <a:prstGeom prst="ellipse">
            <a:avLst/>
          </a:prstGeom>
          <a:solidFill>
            <a:schemeClr val="accent2"/>
          </a:solidFill>
          <a:ln w="28575">
            <a:solidFill>
              <a:schemeClr val="bg1"/>
            </a:solidFill>
          </a:ln>
          <a:effectLst>
            <a:outerShdw blurRad="38100" dist="254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48" name="Oval 147"/>
          <p:cNvSpPr/>
          <p:nvPr/>
        </p:nvSpPr>
        <p:spPr>
          <a:xfrm>
            <a:off x="10901995" y="6389635"/>
            <a:ext cx="672318" cy="672318"/>
          </a:xfrm>
          <a:prstGeom prst="ellipse">
            <a:avLst/>
          </a:prstGeom>
          <a:solidFill>
            <a:schemeClr val="accent3"/>
          </a:solidFill>
          <a:ln w="28575">
            <a:solidFill>
              <a:schemeClr val="bg1"/>
            </a:solidFill>
          </a:ln>
          <a:effectLst>
            <a:outerShdw blurRad="38100" dist="254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54" name="TextBox 153"/>
          <p:cNvSpPr txBox="1"/>
          <p:nvPr/>
        </p:nvSpPr>
        <p:spPr>
          <a:xfrm>
            <a:off x="7798637" y="10419680"/>
            <a:ext cx="4273160" cy="1538883"/>
          </a:xfrm>
          <a:prstGeom prst="rect">
            <a:avLst/>
          </a:prstGeom>
          <a:noFill/>
          <a:ln w="6350">
            <a:noFill/>
            <a:prstDash val="dash"/>
          </a:ln>
        </p:spPr>
        <p:txBody>
          <a:bodyPr wrap="square" lIns="0" tIns="0" rIns="0" bIns="0" rtlCol="0" anchor="ctr">
            <a:spAutoFit/>
          </a:bodyPr>
          <a:lstStyle/>
          <a:p>
            <a:r>
              <a:rPr lang="en-US" sz="2000" dirty="0" err="1">
                <a:solidFill>
                  <a:prstClr val="black"/>
                </a:solidFill>
              </a:rPr>
              <a:t>Lorem</a:t>
            </a:r>
            <a:r>
              <a:rPr lang="en-US" sz="2000" dirty="0">
                <a:solidFill>
                  <a:prstClr val="black"/>
                </a:solidFill>
              </a:rPr>
              <a:t> </a:t>
            </a:r>
            <a:r>
              <a:rPr lang="en-US" sz="2000" dirty="0" err="1">
                <a:solidFill>
                  <a:prstClr val="black"/>
                </a:solidFill>
              </a:rPr>
              <a:t>Ipsum</a:t>
            </a:r>
            <a:r>
              <a:rPr lang="en-US" sz="2000" dirty="0">
                <a:solidFill>
                  <a:prstClr val="black"/>
                </a:solidFill>
              </a:rPr>
              <a:t> is simply dummy text of the printing and typesetting industry. Lorem Ipsum has been the industry's standard dummy text ever since the 1500s.</a:t>
            </a:r>
          </a:p>
        </p:txBody>
      </p:sp>
      <p:sp>
        <p:nvSpPr>
          <p:cNvPr id="155" name="TextBox 154"/>
          <p:cNvSpPr txBox="1"/>
          <p:nvPr/>
        </p:nvSpPr>
        <p:spPr>
          <a:xfrm>
            <a:off x="7798637" y="10073450"/>
            <a:ext cx="4273160" cy="369332"/>
          </a:xfrm>
          <a:prstGeom prst="rect">
            <a:avLst/>
          </a:prstGeom>
          <a:noFill/>
          <a:ln w="6350">
            <a:noFill/>
            <a:prstDash val="dash"/>
          </a:ln>
        </p:spPr>
        <p:txBody>
          <a:bodyPr wrap="square" lIns="0" tIns="0" rIns="0" bIns="0" rtlCol="0" anchor="t">
            <a:spAutoFit/>
          </a:bodyPr>
          <a:lstStyle/>
          <a:p>
            <a:r>
              <a:rPr lang="en-US" sz="2400" b="1" dirty="0"/>
              <a:t>Lorem ipsum</a:t>
            </a:r>
          </a:p>
        </p:txBody>
      </p:sp>
      <p:sp>
        <p:nvSpPr>
          <p:cNvPr id="170" name="Rounded Rectangle 169"/>
          <p:cNvSpPr/>
          <p:nvPr/>
        </p:nvSpPr>
        <p:spPr>
          <a:xfrm>
            <a:off x="13251913" y="5310039"/>
            <a:ext cx="473113" cy="4407419"/>
          </a:xfrm>
          <a:prstGeom prst="roundRect">
            <a:avLst>
              <a:gd name="adj" fmla="val 50000"/>
            </a:avLst>
          </a:prstGeom>
          <a:solidFill>
            <a:schemeClr val="bg1">
              <a:lumMod val="85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71" name="Rounded Rectangle 170"/>
          <p:cNvSpPr/>
          <p:nvPr/>
        </p:nvSpPr>
        <p:spPr>
          <a:xfrm rot="10800000">
            <a:off x="13251913" y="7511875"/>
            <a:ext cx="473113" cy="2205584"/>
          </a:xfrm>
          <a:prstGeom prst="roundRect">
            <a:avLst>
              <a:gd name="adj" fmla="val 476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72" name="Rounded Rectangle 171"/>
          <p:cNvSpPr/>
          <p:nvPr/>
        </p:nvSpPr>
        <p:spPr>
          <a:xfrm>
            <a:off x="14546747" y="5310039"/>
            <a:ext cx="473113" cy="4407419"/>
          </a:xfrm>
          <a:prstGeom prst="roundRect">
            <a:avLst>
              <a:gd name="adj" fmla="val 50000"/>
            </a:avLst>
          </a:prstGeom>
          <a:solidFill>
            <a:schemeClr val="bg1">
              <a:lumMod val="85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73" name="Rounded Rectangle 172"/>
          <p:cNvSpPr/>
          <p:nvPr/>
        </p:nvSpPr>
        <p:spPr>
          <a:xfrm rot="10800000">
            <a:off x="14538645" y="6686664"/>
            <a:ext cx="473113" cy="303079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74" name="Rounded Rectangle 173"/>
          <p:cNvSpPr/>
          <p:nvPr/>
        </p:nvSpPr>
        <p:spPr>
          <a:xfrm>
            <a:off x="15841580" y="5310039"/>
            <a:ext cx="473113" cy="4407419"/>
          </a:xfrm>
          <a:prstGeom prst="roundRect">
            <a:avLst>
              <a:gd name="adj" fmla="val 50000"/>
            </a:avLst>
          </a:prstGeom>
          <a:solidFill>
            <a:schemeClr val="bg1">
              <a:lumMod val="85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75" name="Rounded Rectangle 174"/>
          <p:cNvSpPr/>
          <p:nvPr/>
        </p:nvSpPr>
        <p:spPr>
          <a:xfrm rot="10800000">
            <a:off x="15841580" y="7538908"/>
            <a:ext cx="473113" cy="2178548"/>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76" name="Oval 175"/>
          <p:cNvSpPr/>
          <p:nvPr/>
        </p:nvSpPr>
        <p:spPr>
          <a:xfrm>
            <a:off x="14447146" y="6309027"/>
            <a:ext cx="672318" cy="672318"/>
          </a:xfrm>
          <a:prstGeom prst="ellipse">
            <a:avLst/>
          </a:prstGeom>
          <a:solidFill>
            <a:schemeClr val="accent4"/>
          </a:solidFill>
          <a:ln w="28575">
            <a:solidFill>
              <a:schemeClr val="bg1"/>
            </a:solidFill>
          </a:ln>
          <a:effectLst>
            <a:outerShdw blurRad="38100" dist="254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77" name="Oval 176"/>
          <p:cNvSpPr/>
          <p:nvPr/>
        </p:nvSpPr>
        <p:spPr>
          <a:xfrm>
            <a:off x="13152311" y="7222631"/>
            <a:ext cx="672318" cy="672318"/>
          </a:xfrm>
          <a:prstGeom prst="ellipse">
            <a:avLst/>
          </a:prstGeom>
          <a:solidFill>
            <a:schemeClr val="accent2"/>
          </a:solidFill>
          <a:ln w="28575">
            <a:solidFill>
              <a:schemeClr val="bg1"/>
            </a:solidFill>
          </a:ln>
          <a:effectLst>
            <a:outerShdw blurRad="38100" dist="254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78" name="Oval 177"/>
          <p:cNvSpPr/>
          <p:nvPr/>
        </p:nvSpPr>
        <p:spPr>
          <a:xfrm>
            <a:off x="15741980" y="7202748"/>
            <a:ext cx="672318" cy="672318"/>
          </a:xfrm>
          <a:prstGeom prst="ellipse">
            <a:avLst/>
          </a:prstGeom>
          <a:solidFill>
            <a:schemeClr val="accent3"/>
          </a:solidFill>
          <a:ln w="28575">
            <a:solidFill>
              <a:schemeClr val="bg1"/>
            </a:solidFill>
          </a:ln>
          <a:effectLst>
            <a:outerShdw blurRad="38100" dist="254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79" name="TextBox 178"/>
          <p:cNvSpPr txBox="1"/>
          <p:nvPr/>
        </p:nvSpPr>
        <p:spPr>
          <a:xfrm>
            <a:off x="12638622" y="10419680"/>
            <a:ext cx="4273160" cy="1538883"/>
          </a:xfrm>
          <a:prstGeom prst="rect">
            <a:avLst/>
          </a:prstGeom>
          <a:noFill/>
          <a:ln w="6350">
            <a:noFill/>
            <a:prstDash val="dash"/>
          </a:ln>
        </p:spPr>
        <p:txBody>
          <a:bodyPr wrap="square" lIns="0" tIns="0" rIns="0" bIns="0" rtlCol="0" anchor="ctr">
            <a:spAutoFit/>
          </a:bodyPr>
          <a:lstStyle/>
          <a:p>
            <a:r>
              <a:rPr lang="en-US" sz="2000" dirty="0" err="1">
                <a:solidFill>
                  <a:prstClr val="black"/>
                </a:solidFill>
              </a:rPr>
              <a:t>Lorem</a:t>
            </a:r>
            <a:r>
              <a:rPr lang="en-US" sz="2000" dirty="0">
                <a:solidFill>
                  <a:prstClr val="black"/>
                </a:solidFill>
              </a:rPr>
              <a:t> </a:t>
            </a:r>
            <a:r>
              <a:rPr lang="en-US" sz="2000" dirty="0" err="1">
                <a:solidFill>
                  <a:prstClr val="black"/>
                </a:solidFill>
              </a:rPr>
              <a:t>Ipsum</a:t>
            </a:r>
            <a:r>
              <a:rPr lang="en-US" sz="2000" dirty="0">
                <a:solidFill>
                  <a:prstClr val="black"/>
                </a:solidFill>
              </a:rPr>
              <a:t> is simply dummy text of the printing and typesetting industry. Lorem Ipsum has been the industry's standard dummy text ever since the 1500s.</a:t>
            </a:r>
          </a:p>
        </p:txBody>
      </p:sp>
      <p:sp>
        <p:nvSpPr>
          <p:cNvPr id="180" name="TextBox 179"/>
          <p:cNvSpPr txBox="1"/>
          <p:nvPr/>
        </p:nvSpPr>
        <p:spPr>
          <a:xfrm>
            <a:off x="12638622" y="10073450"/>
            <a:ext cx="4273160" cy="369332"/>
          </a:xfrm>
          <a:prstGeom prst="rect">
            <a:avLst/>
          </a:prstGeom>
          <a:noFill/>
          <a:ln w="6350">
            <a:noFill/>
            <a:prstDash val="dash"/>
          </a:ln>
        </p:spPr>
        <p:txBody>
          <a:bodyPr wrap="square" lIns="0" tIns="0" rIns="0" bIns="0" rtlCol="0" anchor="t">
            <a:spAutoFit/>
          </a:bodyPr>
          <a:lstStyle/>
          <a:p>
            <a:r>
              <a:rPr lang="en-US" sz="2400" b="1" dirty="0"/>
              <a:t>Lorem ipsum</a:t>
            </a:r>
          </a:p>
        </p:txBody>
      </p:sp>
      <p:sp>
        <p:nvSpPr>
          <p:cNvPr id="68" name="Title 1">
            <a:extLst>
              <a:ext uri="{FF2B5EF4-FFF2-40B4-BE49-F238E27FC236}">
                <a16:creationId xmlns:a16="http://schemas.microsoft.com/office/drawing/2014/main" id="{7B34E0B6-4B5F-DA4B-8C4C-088FCE311225}"/>
              </a:ext>
            </a:extLst>
          </p:cNvPr>
          <p:cNvSpPr txBox="1">
            <a:spLocks/>
          </p:cNvSpPr>
          <p:nvPr/>
        </p:nvSpPr>
        <p:spPr>
          <a:xfrm>
            <a:off x="1257300" y="346075"/>
            <a:ext cx="21863051" cy="1939924"/>
          </a:xfrm>
          <a:prstGeom prst="rect">
            <a:avLst/>
          </a:prstGeom>
        </p:spPr>
        <p:txBody>
          <a:bodyPr anchor="ctr" anchorCtr="0"/>
          <a:lstStyle>
            <a:lvl1pPr algn="l" defTabSz="1828709" rtl="0" eaLnBrk="1" latinLnBrk="0" hangingPunct="1">
              <a:lnSpc>
                <a:spcPct val="90000"/>
              </a:lnSpc>
              <a:spcBef>
                <a:spcPct val="0"/>
              </a:spcBef>
              <a:buNone/>
              <a:defRPr sz="7000" kern="1200">
                <a:solidFill>
                  <a:schemeClr val="accent2"/>
                </a:solidFill>
                <a:latin typeface="+mj-lt"/>
                <a:ea typeface="+mj-ea"/>
                <a:cs typeface="+mj-cs"/>
              </a:defRPr>
            </a:lvl1pPr>
          </a:lstStyle>
          <a:p>
            <a:r>
              <a:rPr lang="en-CA" dirty="0"/>
              <a:t>Comparison chart</a:t>
            </a:r>
            <a:endParaRPr lang="en-US" dirty="0"/>
          </a:p>
        </p:txBody>
      </p:sp>
    </p:spTree>
    <p:extLst>
      <p:ext uri="{BB962C8B-B14F-4D97-AF65-F5344CB8AC3E}">
        <p14:creationId xmlns:p14="http://schemas.microsoft.com/office/powerpoint/2010/main" val="31934874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8DF06-24E8-4C0F-8B96-C23D5FDDEF6C}"/>
              </a:ext>
            </a:extLst>
          </p:cNvPr>
          <p:cNvSpPr>
            <a:spLocks noGrp="1"/>
          </p:cNvSpPr>
          <p:nvPr>
            <p:ph type="title"/>
          </p:nvPr>
        </p:nvSpPr>
        <p:spPr>
          <a:xfrm>
            <a:off x="1219121" y="877326"/>
            <a:ext cx="21944172" cy="969496"/>
          </a:xfrm>
        </p:spPr>
        <p:txBody>
          <a:bodyPr/>
          <a:lstStyle/>
          <a:p>
            <a:r>
              <a:rPr lang="en-US" sz="7000" b="0" dirty="0"/>
              <a:t>Chart</a:t>
            </a:r>
          </a:p>
        </p:txBody>
      </p:sp>
      <p:sp>
        <p:nvSpPr>
          <p:cNvPr id="4" name="Rectangle 3">
            <a:extLst>
              <a:ext uri="{FF2B5EF4-FFF2-40B4-BE49-F238E27FC236}">
                <a16:creationId xmlns:a16="http://schemas.microsoft.com/office/drawing/2014/main" id="{509536FD-EBE6-45F0-9FF9-16CEB8E95237}"/>
              </a:ext>
            </a:extLst>
          </p:cNvPr>
          <p:cNvSpPr/>
          <p:nvPr/>
        </p:nvSpPr>
        <p:spPr>
          <a:xfrm>
            <a:off x="15645381" y="447"/>
            <a:ext cx="8737031" cy="13715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TextBox 48">
            <a:extLst>
              <a:ext uri="{FF2B5EF4-FFF2-40B4-BE49-F238E27FC236}">
                <a16:creationId xmlns:a16="http://schemas.microsoft.com/office/drawing/2014/main" id="{F88E1A4C-6692-4F92-BBE9-52597289929D}"/>
              </a:ext>
            </a:extLst>
          </p:cNvPr>
          <p:cNvSpPr txBox="1"/>
          <p:nvPr/>
        </p:nvSpPr>
        <p:spPr>
          <a:xfrm>
            <a:off x="16806221" y="2723701"/>
            <a:ext cx="6415350" cy="6795044"/>
          </a:xfrm>
          <a:prstGeom prst="rect">
            <a:avLst/>
          </a:prstGeom>
          <a:noFill/>
          <a:ln w="6350">
            <a:noFill/>
            <a:prstDash val="dash"/>
          </a:ln>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dirty="0">
                <a:solidFill>
                  <a:schemeClr val="accent2"/>
                </a:solidFill>
                <a:cs typeface="Segoe UI" panose="020B0502040204020203" pitchFamily="34" charset="0"/>
              </a:rPr>
              <a:t>Lorem ipsum dolor sit </a:t>
            </a:r>
            <a:r>
              <a:rPr lang="en-US" sz="3200" dirty="0" err="1">
                <a:solidFill>
                  <a:schemeClr val="accent2"/>
                </a:solidFill>
                <a:cs typeface="Segoe UI" panose="020B0502040204020203" pitchFamily="34" charset="0"/>
              </a:rPr>
              <a:t>amet</a:t>
            </a:r>
            <a:r>
              <a:rPr lang="en-US" sz="3200" dirty="0">
                <a:solidFill>
                  <a:schemeClr val="accent2"/>
                </a:solidFill>
                <a:cs typeface="Segoe UI" panose="020B0502040204020203" pitchFamily="34" charset="0"/>
              </a:rPr>
              <a:t>, </a:t>
            </a:r>
            <a:r>
              <a:rPr lang="en-US" sz="3200" dirty="0" err="1">
                <a:solidFill>
                  <a:schemeClr val="accent2"/>
                </a:solidFill>
                <a:cs typeface="Segoe UI" panose="020B0502040204020203" pitchFamily="34" charset="0"/>
              </a:rPr>
              <a:t>consectetur</a:t>
            </a:r>
            <a:r>
              <a:rPr lang="en-US" sz="3200" dirty="0">
                <a:solidFill>
                  <a:schemeClr val="accent2"/>
                </a:solidFill>
                <a:cs typeface="Segoe UI" panose="020B0502040204020203" pitchFamily="34" charset="0"/>
              </a:rPr>
              <a:t> </a:t>
            </a:r>
            <a:r>
              <a:rPr lang="en-US" sz="3200" dirty="0" err="1">
                <a:solidFill>
                  <a:schemeClr val="accent2"/>
                </a:solidFill>
                <a:cs typeface="Segoe UI" panose="020B0502040204020203" pitchFamily="34" charset="0"/>
              </a:rPr>
              <a:t>adipiscing</a:t>
            </a:r>
            <a:r>
              <a:rPr lang="en-US" sz="3200" dirty="0">
                <a:solidFill>
                  <a:schemeClr val="accent2"/>
                </a:solidFill>
                <a:cs typeface="Segoe UI" panose="020B0502040204020203" pitchFamily="34" charset="0"/>
              </a:rPr>
              <a:t> </a:t>
            </a:r>
            <a:r>
              <a:rPr lang="en-US" sz="3200" dirty="0" err="1">
                <a:solidFill>
                  <a:schemeClr val="accent2"/>
                </a:solidFill>
                <a:cs typeface="Segoe UI" panose="020B0502040204020203" pitchFamily="34" charset="0"/>
              </a:rPr>
              <a:t>elit</a:t>
            </a:r>
            <a:r>
              <a:rPr lang="en-US" sz="3200" dirty="0">
                <a:solidFill>
                  <a:schemeClr val="accent2"/>
                </a:solidFill>
                <a:cs typeface="Segoe UI" panose="020B0502040204020203" pitchFamily="34" charset="0"/>
              </a:rPr>
              <a:t>. </a:t>
            </a:r>
            <a:r>
              <a:rPr lang="en-US" sz="3200" dirty="0" err="1">
                <a:solidFill>
                  <a:schemeClr val="accent2"/>
                </a:solidFill>
                <a:cs typeface="Segoe UI" panose="020B0502040204020203" pitchFamily="34" charset="0"/>
              </a:rPr>
              <a:t>Nulla</a:t>
            </a:r>
            <a:r>
              <a:rPr lang="en-US" sz="3200" dirty="0">
                <a:solidFill>
                  <a:schemeClr val="accent2"/>
                </a:solidFill>
                <a:cs typeface="Segoe UI" panose="020B0502040204020203" pitchFamily="34" charset="0"/>
              </a:rPr>
              <a:t> pharetra dolor sed </a:t>
            </a:r>
            <a:r>
              <a:rPr lang="en-US" sz="3200" dirty="0" err="1">
                <a:solidFill>
                  <a:schemeClr val="accent2"/>
                </a:solidFill>
                <a:cs typeface="Segoe UI" panose="020B0502040204020203" pitchFamily="34" charset="0"/>
              </a:rPr>
              <a:t>finibus</a:t>
            </a:r>
            <a:r>
              <a:rPr lang="en-US" sz="3200" dirty="0">
                <a:solidFill>
                  <a:schemeClr val="accent2"/>
                </a:solidFill>
                <a:cs typeface="Segoe UI" panose="020B0502040204020203" pitchFamily="34" charset="0"/>
              </a:rPr>
              <a:t> </a:t>
            </a:r>
            <a:r>
              <a:rPr lang="en-US" sz="3200" dirty="0" err="1">
                <a:solidFill>
                  <a:schemeClr val="accent2"/>
                </a:solidFill>
                <a:cs typeface="Segoe UI" panose="020B0502040204020203" pitchFamily="34" charset="0"/>
              </a:rPr>
              <a:t>aliquam</a:t>
            </a:r>
            <a:r>
              <a:rPr lang="en-US" sz="3200" dirty="0">
                <a:solidFill>
                  <a:schemeClr val="accent2"/>
                </a:solidFill>
                <a:cs typeface="Segoe UI" panose="020B0502040204020203" pitchFamily="34" charset="0"/>
              </a:rPr>
              <a:t>. </a:t>
            </a:r>
            <a:r>
              <a:rPr lang="en-US" sz="3200" dirty="0" err="1">
                <a:solidFill>
                  <a:schemeClr val="accent2"/>
                </a:solidFill>
                <a:cs typeface="Segoe UI" panose="020B0502040204020203" pitchFamily="34" charset="0"/>
              </a:rPr>
              <a:t>Suspendisse</a:t>
            </a:r>
            <a:r>
              <a:rPr lang="en-US" sz="3200" dirty="0">
                <a:solidFill>
                  <a:schemeClr val="accent2"/>
                </a:solidFill>
                <a:cs typeface="Segoe UI" panose="020B0502040204020203" pitchFamily="34" charset="0"/>
              </a:rPr>
              <a:t> </a:t>
            </a:r>
            <a:r>
              <a:rPr lang="en-US" sz="3200" dirty="0" err="1">
                <a:solidFill>
                  <a:schemeClr val="accent2"/>
                </a:solidFill>
                <a:cs typeface="Segoe UI" panose="020B0502040204020203" pitchFamily="34" charset="0"/>
              </a:rPr>
              <a:t>volutpat</a:t>
            </a:r>
            <a:r>
              <a:rPr lang="en-US" sz="3200" dirty="0">
                <a:solidFill>
                  <a:schemeClr val="accent2"/>
                </a:solidFill>
                <a:cs typeface="Segoe UI" panose="020B0502040204020203" pitchFamily="34" charset="0"/>
              </a:rPr>
              <a:t> </a:t>
            </a:r>
            <a:r>
              <a:rPr lang="en-US" sz="3200" dirty="0" err="1">
                <a:solidFill>
                  <a:schemeClr val="accent2"/>
                </a:solidFill>
                <a:cs typeface="Segoe UI" panose="020B0502040204020203" pitchFamily="34" charset="0"/>
              </a:rPr>
              <a:t>sem</a:t>
            </a:r>
            <a:r>
              <a:rPr lang="en-US" sz="3200" dirty="0">
                <a:solidFill>
                  <a:schemeClr val="accent2"/>
                </a:solidFill>
                <a:cs typeface="Segoe UI" panose="020B0502040204020203" pitchFamily="34" charset="0"/>
              </a:rPr>
              <a:t> at </a:t>
            </a:r>
            <a:r>
              <a:rPr lang="en-US" sz="3200" dirty="0" err="1">
                <a:solidFill>
                  <a:schemeClr val="accent2"/>
                </a:solidFill>
                <a:cs typeface="Segoe UI" panose="020B0502040204020203" pitchFamily="34" charset="0"/>
              </a:rPr>
              <a:t>finibus</a:t>
            </a:r>
            <a:r>
              <a:rPr lang="en-US" sz="3200" dirty="0">
                <a:solidFill>
                  <a:schemeClr val="accent2"/>
                </a:solidFill>
                <a:cs typeface="Segoe UI" panose="020B0502040204020203" pitchFamily="34" charset="0"/>
              </a:rPr>
              <a:t> tempus. Ut </a:t>
            </a:r>
            <a:r>
              <a:rPr lang="en-US" sz="3200" dirty="0" err="1">
                <a:solidFill>
                  <a:schemeClr val="accent2"/>
                </a:solidFill>
                <a:cs typeface="Segoe UI" panose="020B0502040204020203" pitchFamily="34" charset="0"/>
              </a:rPr>
              <a:t>vulputate</a:t>
            </a:r>
            <a:r>
              <a:rPr lang="en-US" sz="3200" dirty="0">
                <a:solidFill>
                  <a:schemeClr val="accent2"/>
                </a:solidFill>
                <a:cs typeface="Segoe UI" panose="020B0502040204020203" pitchFamily="34" charset="0"/>
              </a:rPr>
              <a:t> </a:t>
            </a:r>
            <a:r>
              <a:rPr lang="en-US" sz="3200" dirty="0" err="1">
                <a:solidFill>
                  <a:schemeClr val="accent2"/>
                </a:solidFill>
                <a:cs typeface="Segoe UI" panose="020B0502040204020203" pitchFamily="34" charset="0"/>
              </a:rPr>
              <a:t>mauris</a:t>
            </a:r>
            <a:r>
              <a:rPr lang="en-US" sz="3200" dirty="0">
                <a:solidFill>
                  <a:schemeClr val="accent2"/>
                </a:solidFill>
                <a:cs typeface="Segoe UI" panose="020B0502040204020203" pitchFamily="34" charset="0"/>
              </a:rPr>
              <a:t> at </a:t>
            </a:r>
            <a:r>
              <a:rPr lang="en-US" sz="3200" dirty="0" err="1">
                <a:solidFill>
                  <a:schemeClr val="accent2"/>
                </a:solidFill>
                <a:cs typeface="Segoe UI" panose="020B0502040204020203" pitchFamily="34" charset="0"/>
              </a:rPr>
              <a:t>pretium</a:t>
            </a:r>
            <a:r>
              <a:rPr lang="en-US" sz="3200" dirty="0">
                <a:solidFill>
                  <a:schemeClr val="accent2"/>
                </a:solidFill>
                <a:cs typeface="Segoe UI" panose="020B0502040204020203" pitchFamily="34" charset="0"/>
              </a:rPr>
              <a:t> dictum. Maecenas </a:t>
            </a:r>
            <a:r>
              <a:rPr lang="en-US" sz="3200" dirty="0" err="1">
                <a:solidFill>
                  <a:schemeClr val="accent2"/>
                </a:solidFill>
                <a:cs typeface="Segoe UI" panose="020B0502040204020203" pitchFamily="34" charset="0"/>
              </a:rPr>
              <a:t>sodales</a:t>
            </a:r>
            <a:r>
              <a:rPr lang="en-US" sz="3200" dirty="0">
                <a:solidFill>
                  <a:schemeClr val="accent2"/>
                </a:solidFill>
                <a:cs typeface="Segoe UI" panose="020B0502040204020203" pitchFamily="34" charset="0"/>
              </a:rPr>
              <a:t> tempus </a:t>
            </a:r>
            <a:r>
              <a:rPr lang="en-US" sz="3200" dirty="0" err="1">
                <a:solidFill>
                  <a:schemeClr val="accent2"/>
                </a:solidFill>
                <a:cs typeface="Segoe UI" panose="020B0502040204020203" pitchFamily="34" charset="0"/>
              </a:rPr>
              <a:t>risus</a:t>
            </a:r>
            <a:r>
              <a:rPr lang="en-US" sz="3200" dirty="0">
                <a:solidFill>
                  <a:schemeClr val="accent2"/>
                </a:solidFill>
                <a:cs typeface="Segoe UI" panose="020B0502040204020203" pitchFamily="34" charset="0"/>
              </a:rPr>
              <a:t>. Vestibulum </a:t>
            </a:r>
            <a:r>
              <a:rPr lang="en-US" sz="3200" dirty="0" err="1">
                <a:solidFill>
                  <a:schemeClr val="accent2"/>
                </a:solidFill>
                <a:cs typeface="Segoe UI" panose="020B0502040204020203" pitchFamily="34" charset="0"/>
              </a:rPr>
              <a:t>eros</a:t>
            </a:r>
            <a:r>
              <a:rPr lang="en-US" sz="3200" dirty="0">
                <a:solidFill>
                  <a:schemeClr val="accent2"/>
                </a:solidFill>
                <a:cs typeface="Segoe UI" panose="020B0502040204020203" pitchFamily="34" charset="0"/>
              </a:rPr>
              <a:t> </a:t>
            </a:r>
            <a:r>
              <a:rPr lang="en-US" sz="3200" dirty="0" err="1">
                <a:solidFill>
                  <a:schemeClr val="accent2"/>
                </a:solidFill>
                <a:cs typeface="Segoe UI" panose="020B0502040204020203" pitchFamily="34" charset="0"/>
              </a:rPr>
              <a:t>sem</a:t>
            </a:r>
            <a:r>
              <a:rPr lang="en-US" sz="3200" dirty="0">
                <a:solidFill>
                  <a:schemeClr val="accent2"/>
                </a:solidFill>
                <a:cs typeface="Segoe UI" panose="020B0502040204020203" pitchFamily="34" charset="0"/>
              </a:rPr>
              <a:t>, </a:t>
            </a:r>
            <a:r>
              <a:rPr lang="en-US" sz="3200" dirty="0" err="1">
                <a:solidFill>
                  <a:schemeClr val="accent2"/>
                </a:solidFill>
                <a:cs typeface="Segoe UI" panose="020B0502040204020203" pitchFamily="34" charset="0"/>
              </a:rPr>
              <a:t>fringilla</a:t>
            </a:r>
            <a:r>
              <a:rPr lang="en-US" sz="3200" dirty="0">
                <a:solidFill>
                  <a:schemeClr val="accent2"/>
                </a:solidFill>
                <a:cs typeface="Segoe UI" panose="020B0502040204020203" pitchFamily="34" charset="0"/>
              </a:rPr>
              <a:t> id </a:t>
            </a:r>
            <a:r>
              <a:rPr lang="en-US" sz="3200" dirty="0" err="1">
                <a:solidFill>
                  <a:schemeClr val="accent2"/>
                </a:solidFill>
                <a:cs typeface="Segoe UI" panose="020B0502040204020203" pitchFamily="34" charset="0"/>
              </a:rPr>
              <a:t>commodo</a:t>
            </a:r>
            <a:r>
              <a:rPr lang="en-US" sz="3200" dirty="0">
                <a:solidFill>
                  <a:schemeClr val="accent2"/>
                </a:solidFill>
                <a:cs typeface="Segoe UI" panose="020B0502040204020203" pitchFamily="34" charset="0"/>
              </a:rPr>
              <a:t> sit </a:t>
            </a:r>
            <a:r>
              <a:rPr lang="en-US" sz="3200" dirty="0" err="1">
                <a:solidFill>
                  <a:schemeClr val="accent2"/>
                </a:solidFill>
                <a:cs typeface="Segoe UI" panose="020B0502040204020203" pitchFamily="34" charset="0"/>
              </a:rPr>
              <a:t>amet</a:t>
            </a:r>
            <a:r>
              <a:rPr lang="en-US" sz="3200" dirty="0">
                <a:solidFill>
                  <a:schemeClr val="accent2"/>
                </a:solidFill>
                <a:cs typeface="Segoe UI" panose="020B0502040204020203" pitchFamily="34" charset="0"/>
              </a:rPr>
              <a:t>, </a:t>
            </a:r>
            <a:r>
              <a:rPr lang="en-US" sz="3200" dirty="0" err="1">
                <a:solidFill>
                  <a:schemeClr val="accent2"/>
                </a:solidFill>
                <a:cs typeface="Segoe UI" panose="020B0502040204020203" pitchFamily="34" charset="0"/>
              </a:rPr>
              <a:t>molestie</a:t>
            </a:r>
            <a:r>
              <a:rPr lang="en-US" sz="3200" dirty="0">
                <a:solidFill>
                  <a:schemeClr val="accent2"/>
                </a:solidFill>
                <a:cs typeface="Segoe UI" panose="020B0502040204020203" pitchFamily="34" charset="0"/>
              </a:rPr>
              <a:t> sed dolor. </a:t>
            </a:r>
            <a:r>
              <a:rPr lang="en-US" sz="3200" dirty="0" err="1">
                <a:solidFill>
                  <a:schemeClr val="accent2"/>
                </a:solidFill>
                <a:cs typeface="Segoe UI" panose="020B0502040204020203" pitchFamily="34" charset="0"/>
              </a:rPr>
              <a:t>Aliquam</a:t>
            </a:r>
            <a:r>
              <a:rPr lang="en-US" sz="3200" dirty="0">
                <a:solidFill>
                  <a:schemeClr val="accent2"/>
                </a:solidFill>
                <a:cs typeface="Segoe UI" panose="020B0502040204020203" pitchFamily="34" charset="0"/>
              </a:rPr>
              <a:t> </a:t>
            </a:r>
            <a:r>
              <a:rPr lang="en-US" sz="3200" dirty="0" err="1">
                <a:solidFill>
                  <a:schemeClr val="accent2"/>
                </a:solidFill>
                <a:cs typeface="Segoe UI" panose="020B0502040204020203" pitchFamily="34" charset="0"/>
              </a:rPr>
              <a:t>iaculis</a:t>
            </a:r>
            <a:r>
              <a:rPr lang="en-US" sz="3200" dirty="0">
                <a:solidFill>
                  <a:schemeClr val="accent2"/>
                </a:solidFill>
                <a:cs typeface="Segoe UI" panose="020B0502040204020203" pitchFamily="34" charset="0"/>
              </a:rPr>
              <a:t> at </a:t>
            </a:r>
            <a:r>
              <a:rPr lang="en-US" sz="3200" dirty="0" err="1">
                <a:solidFill>
                  <a:schemeClr val="accent2"/>
                </a:solidFill>
                <a:cs typeface="Segoe UI" panose="020B0502040204020203" pitchFamily="34" charset="0"/>
              </a:rPr>
              <a:t>velit</a:t>
            </a:r>
            <a:r>
              <a:rPr lang="en-US" sz="3200" dirty="0">
                <a:solidFill>
                  <a:schemeClr val="accent2"/>
                </a:solidFill>
                <a:cs typeface="Segoe UI" panose="020B0502040204020203" pitchFamily="34" charset="0"/>
              </a:rPr>
              <a:t> convallis </a:t>
            </a:r>
            <a:r>
              <a:rPr lang="en-US" sz="3200" dirty="0" err="1">
                <a:solidFill>
                  <a:schemeClr val="accent2"/>
                </a:solidFill>
                <a:cs typeface="Segoe UI" panose="020B0502040204020203" pitchFamily="34" charset="0"/>
              </a:rPr>
              <a:t>efficitur</a:t>
            </a:r>
            <a:r>
              <a:rPr lang="en-US" sz="3200" dirty="0">
                <a:solidFill>
                  <a:schemeClr val="accent2"/>
                </a:solidFill>
                <a:cs typeface="Segoe UI" panose="020B0502040204020203" pitchFamily="34" charset="0"/>
              </a:rPr>
              <a:t>. </a:t>
            </a:r>
            <a:r>
              <a:rPr lang="en-US" sz="3200" dirty="0" err="1">
                <a:solidFill>
                  <a:schemeClr val="accent2"/>
                </a:solidFill>
                <a:cs typeface="Segoe UI" panose="020B0502040204020203" pitchFamily="34" charset="0"/>
              </a:rPr>
              <a:t>Proin</a:t>
            </a:r>
            <a:r>
              <a:rPr lang="en-US" sz="3200" dirty="0">
                <a:solidFill>
                  <a:schemeClr val="accent2"/>
                </a:solidFill>
                <a:cs typeface="Segoe UI" panose="020B0502040204020203" pitchFamily="34" charset="0"/>
              </a:rPr>
              <a:t> </a:t>
            </a:r>
            <a:r>
              <a:rPr lang="en-US" sz="3200" dirty="0" err="1">
                <a:solidFill>
                  <a:schemeClr val="accent2"/>
                </a:solidFill>
                <a:cs typeface="Segoe UI" panose="020B0502040204020203" pitchFamily="34" charset="0"/>
              </a:rPr>
              <a:t>nec</a:t>
            </a:r>
            <a:r>
              <a:rPr lang="en-US" sz="3200" dirty="0">
                <a:solidFill>
                  <a:schemeClr val="accent2"/>
                </a:solidFill>
                <a:cs typeface="Segoe UI" panose="020B0502040204020203" pitchFamily="34" charset="0"/>
              </a:rPr>
              <a:t> dui </a:t>
            </a:r>
            <a:r>
              <a:rPr lang="en-US" sz="3200" dirty="0" err="1">
                <a:solidFill>
                  <a:schemeClr val="accent2"/>
                </a:solidFill>
                <a:cs typeface="Segoe UI" panose="020B0502040204020203" pitchFamily="34" charset="0"/>
              </a:rPr>
              <a:t>lectus</a:t>
            </a:r>
            <a:r>
              <a:rPr lang="en-US" sz="3200" dirty="0">
                <a:solidFill>
                  <a:schemeClr val="accent2"/>
                </a:solidFill>
                <a:cs typeface="Segoe UI" panose="020B0502040204020203" pitchFamily="34" charset="0"/>
              </a:rPr>
              <a:t>. </a:t>
            </a:r>
          </a:p>
        </p:txBody>
      </p:sp>
      <p:graphicFrame>
        <p:nvGraphicFramePr>
          <p:cNvPr id="9" name="Chart 8">
            <a:extLst>
              <a:ext uri="{FF2B5EF4-FFF2-40B4-BE49-F238E27FC236}">
                <a16:creationId xmlns:a16="http://schemas.microsoft.com/office/drawing/2014/main" id="{E9F7E2A8-A0E4-4CAD-9CCA-516598DE502A}"/>
              </a:ext>
            </a:extLst>
          </p:cNvPr>
          <p:cNvGraphicFramePr/>
          <p:nvPr/>
        </p:nvGraphicFramePr>
        <p:xfrm>
          <a:off x="1174674" y="3473451"/>
          <a:ext cx="13483800" cy="7613104"/>
        </p:xfrm>
        <a:graphic>
          <a:graphicData uri="http://schemas.openxmlformats.org/drawingml/2006/chart">
            <c:chart xmlns:c="http://schemas.openxmlformats.org/drawingml/2006/chart" xmlns:r="http://schemas.openxmlformats.org/officeDocument/2006/relationships" r:id="rId2"/>
          </a:graphicData>
        </a:graphic>
      </p:graphicFrame>
      <p:sp>
        <p:nvSpPr>
          <p:cNvPr id="10" name="Isosceles Triangle 9">
            <a:extLst>
              <a:ext uri="{FF2B5EF4-FFF2-40B4-BE49-F238E27FC236}">
                <a16:creationId xmlns:a16="http://schemas.microsoft.com/office/drawing/2014/main" id="{83DD3370-2365-42CA-BECF-149822D7768F}"/>
              </a:ext>
            </a:extLst>
          </p:cNvPr>
          <p:cNvSpPr/>
          <p:nvPr/>
        </p:nvSpPr>
        <p:spPr>
          <a:xfrm rot="5400000">
            <a:off x="15051060" y="6591318"/>
            <a:ext cx="1722008" cy="53336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6" name="Slide Number Placeholder 5">
            <a:extLst>
              <a:ext uri="{FF2B5EF4-FFF2-40B4-BE49-F238E27FC236}">
                <a16:creationId xmlns:a16="http://schemas.microsoft.com/office/drawing/2014/main" id="{9CF9A2FB-8EDC-4FD6-8F94-18FBD019EB75}"/>
              </a:ext>
            </a:extLst>
          </p:cNvPr>
          <p:cNvSpPr>
            <a:spLocks noGrp="1"/>
          </p:cNvSpPr>
          <p:nvPr>
            <p:ph type="sldNum" sz="quarter" idx="12"/>
          </p:nvPr>
        </p:nvSpPr>
        <p:spPr/>
        <p:txBody>
          <a:bodyPr/>
          <a:lstStyle/>
          <a:p>
            <a:fld id="{C3D74100-D227-47C1-86AE-33ADAD8687E1}" type="slidenum">
              <a:rPr lang="en-US" smtClean="0"/>
              <a:t>47</a:t>
            </a:fld>
            <a:endParaRPr lang="en-US"/>
          </a:p>
        </p:txBody>
      </p:sp>
    </p:spTree>
    <p:extLst>
      <p:ext uri="{BB962C8B-B14F-4D97-AF65-F5344CB8AC3E}">
        <p14:creationId xmlns:p14="http://schemas.microsoft.com/office/powerpoint/2010/main" val="30177223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Footer Placeholder 141">
            <a:extLst>
              <a:ext uri="{FF2B5EF4-FFF2-40B4-BE49-F238E27FC236}">
                <a16:creationId xmlns:a16="http://schemas.microsoft.com/office/drawing/2014/main" id="{B5D661C5-36CD-4F72-9349-99F40356304C}"/>
              </a:ext>
            </a:extLst>
          </p:cNvPr>
          <p:cNvSpPr>
            <a:spLocks noGrp="1"/>
          </p:cNvSpPr>
          <p:nvPr>
            <p:ph type="ftr" sz="quarter" idx="11"/>
          </p:nvPr>
        </p:nvSpPr>
        <p:spPr>
          <a:xfrm>
            <a:off x="8610598" y="6847000"/>
            <a:ext cx="2743201"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Your Logo Here</a:t>
            </a:r>
            <a:endParaRPr lang="en-US" dirty="0"/>
          </a:p>
        </p:txBody>
      </p:sp>
      <p:sp>
        <p:nvSpPr>
          <p:cNvPr id="143" name="Slide Number Placeholder 142">
            <a:extLst>
              <a:ext uri="{FF2B5EF4-FFF2-40B4-BE49-F238E27FC236}">
                <a16:creationId xmlns:a16="http://schemas.microsoft.com/office/drawing/2014/main" id="{F0C912A4-DC8D-4B44-AACF-327C575270BF}"/>
              </a:ext>
            </a:extLst>
          </p:cNvPr>
          <p:cNvSpPr>
            <a:spLocks noGrp="1"/>
          </p:cNvSpPr>
          <p:nvPr>
            <p:ph type="sldNum" sz="quarter" idx="12"/>
          </p:nvPr>
        </p:nvSpPr>
        <p:spPr>
          <a:xfrm>
            <a:off x="4724400" y="7052101"/>
            <a:ext cx="2743200" cy="184666"/>
          </a:xfrm>
          <a:prstGeom prst="rect">
            <a:avLst/>
          </a:prstGeom>
        </p:spPr>
        <p:txBody>
          <a:bodyPr vert="horz" lIns="0" tIns="0" rIns="0" bIns="0" rtlCol="0" anchor="ctr">
            <a:spAutoFit/>
          </a:bodyPr>
          <a:lstStyle>
            <a:defPPr>
              <a:defRPr lang="en-US"/>
            </a:defPPr>
            <a:lvl1pPr marL="0" algn="ctr" defTabSz="914400" rtl="0" eaLnBrk="1" latinLnBrk="0" hangingPunct="1">
              <a:defRPr sz="1200"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598DBAD-472B-4D31-8670-5164AECB0621}" type="slidenum">
              <a:rPr lang="en-US" smtClean="0"/>
              <a:pPr/>
              <a:t>48</a:t>
            </a:fld>
            <a:endParaRPr lang="en-US"/>
          </a:p>
        </p:txBody>
      </p:sp>
      <p:sp>
        <p:nvSpPr>
          <p:cNvPr id="58" name="Rectangle 57">
            <a:extLst>
              <a:ext uri="{FF2B5EF4-FFF2-40B4-BE49-F238E27FC236}">
                <a16:creationId xmlns:a16="http://schemas.microsoft.com/office/drawing/2014/main" id="{DEDC474F-5192-41B2-AC2F-882134FB907D}"/>
              </a:ext>
            </a:extLst>
          </p:cNvPr>
          <p:cNvSpPr/>
          <p:nvPr/>
        </p:nvSpPr>
        <p:spPr>
          <a:xfrm>
            <a:off x="2418009" y="3715153"/>
            <a:ext cx="6292880" cy="4198881"/>
          </a:xfrm>
          <a:prstGeom prst="rect">
            <a:avLst/>
          </a:prstGeom>
          <a:solidFill>
            <a:schemeClr val="bg1">
              <a:lumMod val="95000"/>
            </a:scheme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3600"/>
          </a:p>
        </p:txBody>
      </p:sp>
      <p:sp>
        <p:nvSpPr>
          <p:cNvPr id="59" name="Rectangle 58">
            <a:extLst>
              <a:ext uri="{FF2B5EF4-FFF2-40B4-BE49-F238E27FC236}">
                <a16:creationId xmlns:a16="http://schemas.microsoft.com/office/drawing/2014/main" id="{F3949BB6-CF25-4088-9D03-C806675D6B69}"/>
              </a:ext>
            </a:extLst>
          </p:cNvPr>
          <p:cNvSpPr/>
          <p:nvPr/>
        </p:nvSpPr>
        <p:spPr>
          <a:xfrm>
            <a:off x="8975814" y="3715153"/>
            <a:ext cx="6292880" cy="4198881"/>
          </a:xfrm>
          <a:prstGeom prst="rect">
            <a:avLst/>
          </a:prstGeom>
          <a:solidFill>
            <a:schemeClr val="bg1">
              <a:lumMod val="95000"/>
            </a:scheme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3600"/>
          </a:p>
        </p:txBody>
      </p:sp>
      <p:sp>
        <p:nvSpPr>
          <p:cNvPr id="60" name="Rectangle 59">
            <a:extLst>
              <a:ext uri="{FF2B5EF4-FFF2-40B4-BE49-F238E27FC236}">
                <a16:creationId xmlns:a16="http://schemas.microsoft.com/office/drawing/2014/main" id="{FBB5C1F2-8CB8-4D46-8DE7-3A8252217BC9}"/>
              </a:ext>
            </a:extLst>
          </p:cNvPr>
          <p:cNvSpPr/>
          <p:nvPr/>
        </p:nvSpPr>
        <p:spPr>
          <a:xfrm>
            <a:off x="15533620" y="3715153"/>
            <a:ext cx="6292880" cy="4198881"/>
          </a:xfrm>
          <a:prstGeom prst="rect">
            <a:avLst/>
          </a:prstGeom>
          <a:solidFill>
            <a:schemeClr val="bg1">
              <a:lumMod val="95000"/>
            </a:scheme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3600"/>
          </a:p>
        </p:txBody>
      </p:sp>
      <p:graphicFrame>
        <p:nvGraphicFramePr>
          <p:cNvPr id="61" name="Chart 21">
            <a:extLst>
              <a:ext uri="{FF2B5EF4-FFF2-40B4-BE49-F238E27FC236}">
                <a16:creationId xmlns:a16="http://schemas.microsoft.com/office/drawing/2014/main" id="{0D97A3FD-F86C-43B7-8DFE-3CCE911D752C}"/>
              </a:ext>
            </a:extLst>
          </p:cNvPr>
          <p:cNvGraphicFramePr>
            <a:graphicFrameLocks/>
          </p:cNvGraphicFramePr>
          <p:nvPr/>
        </p:nvGraphicFramePr>
        <p:xfrm>
          <a:off x="2418008" y="3715153"/>
          <a:ext cx="6565065" cy="419888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2" name="Chart 26">
            <a:extLst>
              <a:ext uri="{FF2B5EF4-FFF2-40B4-BE49-F238E27FC236}">
                <a16:creationId xmlns:a16="http://schemas.microsoft.com/office/drawing/2014/main" id="{988FC236-C7EE-4D70-B4AE-E6D9C3771E2D}"/>
              </a:ext>
            </a:extLst>
          </p:cNvPr>
          <p:cNvGraphicFramePr>
            <a:graphicFrameLocks/>
          </p:cNvGraphicFramePr>
          <p:nvPr/>
        </p:nvGraphicFramePr>
        <p:xfrm>
          <a:off x="8710888" y="3715153"/>
          <a:ext cx="6565065" cy="41988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3" name="Chart 27">
            <a:extLst>
              <a:ext uri="{FF2B5EF4-FFF2-40B4-BE49-F238E27FC236}">
                <a16:creationId xmlns:a16="http://schemas.microsoft.com/office/drawing/2014/main" id="{13A9CE0A-CDB6-48A9-9D4E-3C1764CC9344}"/>
              </a:ext>
            </a:extLst>
          </p:cNvPr>
          <p:cNvGraphicFramePr>
            <a:graphicFrameLocks/>
          </p:cNvGraphicFramePr>
          <p:nvPr/>
        </p:nvGraphicFramePr>
        <p:xfrm>
          <a:off x="15395714" y="3715153"/>
          <a:ext cx="6568692" cy="4198881"/>
        </p:xfrm>
        <a:graphic>
          <a:graphicData uri="http://schemas.openxmlformats.org/drawingml/2006/chart">
            <c:chart xmlns:c="http://schemas.openxmlformats.org/drawingml/2006/chart" xmlns:r="http://schemas.openxmlformats.org/officeDocument/2006/relationships" r:id="rId4"/>
          </a:graphicData>
        </a:graphic>
      </p:graphicFrame>
      <p:sp>
        <p:nvSpPr>
          <p:cNvPr id="64" name="Round Same Side Corner Rectangle 16">
            <a:extLst>
              <a:ext uri="{FF2B5EF4-FFF2-40B4-BE49-F238E27FC236}">
                <a16:creationId xmlns:a16="http://schemas.microsoft.com/office/drawing/2014/main" id="{B3DFB6E3-D067-4DCC-83D7-E772E2D3F9A6}"/>
              </a:ext>
            </a:extLst>
          </p:cNvPr>
          <p:cNvSpPr/>
          <p:nvPr/>
        </p:nvSpPr>
        <p:spPr>
          <a:xfrm>
            <a:off x="2486963" y="2640935"/>
            <a:ext cx="19408490" cy="827438"/>
          </a:xfrm>
          <a:prstGeom prst="round2SameRect">
            <a:avLst>
              <a:gd name="adj1" fmla="val 27778"/>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3600">
              <a:solidFill>
                <a:srgbClr val="FFFFFF"/>
              </a:solidFill>
              <a:ea typeface="ＭＳ Ｐゴシック" charset="0"/>
              <a:cs typeface="ＭＳ Ｐゴシック" charset="0"/>
            </a:endParaRPr>
          </a:p>
        </p:txBody>
      </p:sp>
      <p:sp>
        <p:nvSpPr>
          <p:cNvPr id="66" name="Rectangle 65">
            <a:extLst>
              <a:ext uri="{FF2B5EF4-FFF2-40B4-BE49-F238E27FC236}">
                <a16:creationId xmlns:a16="http://schemas.microsoft.com/office/drawing/2014/main" id="{39E3AD87-FAB8-45F1-A6BD-8B99614EA63E}"/>
              </a:ext>
            </a:extLst>
          </p:cNvPr>
          <p:cNvSpPr/>
          <p:nvPr/>
        </p:nvSpPr>
        <p:spPr>
          <a:xfrm>
            <a:off x="2486963" y="8226138"/>
            <a:ext cx="19408490" cy="4126301"/>
          </a:xfrm>
          <a:prstGeom prst="rect">
            <a:avLst/>
          </a:prstGeom>
          <a:solidFill>
            <a:srgbClr val="F2F2F2"/>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3600"/>
          </a:p>
        </p:txBody>
      </p:sp>
      <p:graphicFrame>
        <p:nvGraphicFramePr>
          <p:cNvPr id="67" name="Content Placeholder 5">
            <a:extLst>
              <a:ext uri="{FF2B5EF4-FFF2-40B4-BE49-F238E27FC236}">
                <a16:creationId xmlns:a16="http://schemas.microsoft.com/office/drawing/2014/main" id="{F4C34244-75B0-4A32-95C5-E74E43CB6D20}"/>
              </a:ext>
            </a:extLst>
          </p:cNvPr>
          <p:cNvGraphicFramePr>
            <a:graphicFrameLocks/>
          </p:cNvGraphicFramePr>
          <p:nvPr/>
        </p:nvGraphicFramePr>
        <p:xfrm>
          <a:off x="2915196" y="8476242"/>
          <a:ext cx="18552020" cy="3626094"/>
        </p:xfrm>
        <a:graphic>
          <a:graphicData uri="http://schemas.openxmlformats.org/drawingml/2006/chart">
            <c:chart xmlns:c="http://schemas.openxmlformats.org/drawingml/2006/chart" xmlns:r="http://schemas.openxmlformats.org/officeDocument/2006/relationships" r:id="rId5"/>
          </a:graphicData>
        </a:graphic>
      </p:graphicFrame>
      <p:sp>
        <p:nvSpPr>
          <p:cNvPr id="65" name="Rektangel 76">
            <a:extLst>
              <a:ext uri="{FF2B5EF4-FFF2-40B4-BE49-F238E27FC236}">
                <a16:creationId xmlns:a16="http://schemas.microsoft.com/office/drawing/2014/main" id="{70BCCBA9-9A8E-4797-963C-DC0DDE5AB89D}"/>
              </a:ext>
            </a:extLst>
          </p:cNvPr>
          <p:cNvSpPr>
            <a:spLocks noChangeArrowheads="1"/>
          </p:cNvSpPr>
          <p:nvPr/>
        </p:nvSpPr>
        <p:spPr bwMode="auto">
          <a:xfrm>
            <a:off x="3637389" y="2869988"/>
            <a:ext cx="399202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ctr">
              <a:spcAft>
                <a:spcPts val="1200"/>
              </a:spcAft>
            </a:pPr>
            <a:r>
              <a:rPr lang="en-US" altLang="en-US" sz="2400" b="1" noProof="1">
                <a:solidFill>
                  <a:srgbClr val="FFFFFF"/>
                </a:solidFill>
                <a:latin typeface="+mj-lt"/>
              </a:rPr>
              <a:t>Lorem Ipsum</a:t>
            </a:r>
          </a:p>
        </p:txBody>
      </p:sp>
      <p:sp>
        <p:nvSpPr>
          <p:cNvPr id="68" name="Rektangel 76">
            <a:extLst>
              <a:ext uri="{FF2B5EF4-FFF2-40B4-BE49-F238E27FC236}">
                <a16:creationId xmlns:a16="http://schemas.microsoft.com/office/drawing/2014/main" id="{5337A145-873B-4C4F-AD1B-F8310B29CEE5}"/>
              </a:ext>
            </a:extLst>
          </p:cNvPr>
          <p:cNvSpPr>
            <a:spLocks noChangeArrowheads="1"/>
          </p:cNvSpPr>
          <p:nvPr/>
        </p:nvSpPr>
        <p:spPr bwMode="auto">
          <a:xfrm>
            <a:off x="10264146" y="2869988"/>
            <a:ext cx="399202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ctr">
              <a:spcAft>
                <a:spcPts val="1200"/>
              </a:spcAft>
            </a:pPr>
            <a:r>
              <a:rPr lang="en-US" altLang="en-US" sz="2400" b="1" noProof="1">
                <a:solidFill>
                  <a:srgbClr val="FFFFFF"/>
                </a:solidFill>
                <a:latin typeface="+mj-lt"/>
              </a:rPr>
              <a:t>Lorem Ipsum</a:t>
            </a:r>
          </a:p>
        </p:txBody>
      </p:sp>
      <p:sp>
        <p:nvSpPr>
          <p:cNvPr id="69" name="Rektangel 76">
            <a:extLst>
              <a:ext uri="{FF2B5EF4-FFF2-40B4-BE49-F238E27FC236}">
                <a16:creationId xmlns:a16="http://schemas.microsoft.com/office/drawing/2014/main" id="{8F481706-1797-4FD7-A5A8-15BB1C4951E8}"/>
              </a:ext>
            </a:extLst>
          </p:cNvPr>
          <p:cNvSpPr>
            <a:spLocks noChangeArrowheads="1"/>
          </p:cNvSpPr>
          <p:nvPr/>
        </p:nvSpPr>
        <p:spPr bwMode="auto">
          <a:xfrm>
            <a:off x="16753001" y="2869988"/>
            <a:ext cx="399202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ctr">
              <a:spcAft>
                <a:spcPts val="1200"/>
              </a:spcAft>
            </a:pPr>
            <a:r>
              <a:rPr lang="en-US" altLang="en-US" sz="2400" b="1" noProof="1">
                <a:solidFill>
                  <a:srgbClr val="FFFFFF"/>
                </a:solidFill>
                <a:latin typeface="+mj-lt"/>
              </a:rPr>
              <a:t>Lorem Ipsum </a:t>
            </a:r>
          </a:p>
        </p:txBody>
      </p:sp>
      <p:sp>
        <p:nvSpPr>
          <p:cNvPr id="70" name="Oval 69">
            <a:extLst>
              <a:ext uri="{FF2B5EF4-FFF2-40B4-BE49-F238E27FC236}">
                <a16:creationId xmlns:a16="http://schemas.microsoft.com/office/drawing/2014/main" id="{E8E33D5A-AAEA-4DAB-BD68-19C1008C99E1}"/>
              </a:ext>
            </a:extLst>
          </p:cNvPr>
          <p:cNvSpPr/>
          <p:nvPr/>
        </p:nvSpPr>
        <p:spPr>
          <a:xfrm>
            <a:off x="4379223" y="4786084"/>
            <a:ext cx="2101619" cy="2101619"/>
          </a:xfrm>
          <a:prstGeom prst="ellipse">
            <a:avLst/>
          </a:prstGeom>
          <a:solidFill>
            <a:schemeClr val="bg1"/>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solidFill>
                <a:schemeClr val="tx1">
                  <a:lumMod val="75000"/>
                  <a:lumOff val="25000"/>
                </a:schemeClr>
              </a:solidFill>
            </a:endParaRPr>
          </a:p>
        </p:txBody>
      </p:sp>
      <p:sp>
        <p:nvSpPr>
          <p:cNvPr id="71" name="Oval 70">
            <a:extLst>
              <a:ext uri="{FF2B5EF4-FFF2-40B4-BE49-F238E27FC236}">
                <a16:creationId xmlns:a16="http://schemas.microsoft.com/office/drawing/2014/main" id="{CCB71E2D-7C73-4890-B15E-74287A8498ED}"/>
              </a:ext>
            </a:extLst>
          </p:cNvPr>
          <p:cNvSpPr/>
          <p:nvPr/>
        </p:nvSpPr>
        <p:spPr>
          <a:xfrm>
            <a:off x="10804938" y="4786084"/>
            <a:ext cx="2101619" cy="2101619"/>
          </a:xfrm>
          <a:prstGeom prst="ellipse">
            <a:avLst/>
          </a:prstGeom>
          <a:solidFill>
            <a:schemeClr val="bg1"/>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73" name="Oval 72">
            <a:extLst>
              <a:ext uri="{FF2B5EF4-FFF2-40B4-BE49-F238E27FC236}">
                <a16:creationId xmlns:a16="http://schemas.microsoft.com/office/drawing/2014/main" id="{7362458F-FDAB-4D24-8B39-7A1811E58C05}"/>
              </a:ext>
            </a:extLst>
          </p:cNvPr>
          <p:cNvSpPr/>
          <p:nvPr/>
        </p:nvSpPr>
        <p:spPr>
          <a:xfrm>
            <a:off x="17224370" y="4786084"/>
            <a:ext cx="2101619" cy="2101619"/>
          </a:xfrm>
          <a:prstGeom prst="ellipse">
            <a:avLst/>
          </a:prstGeom>
          <a:solidFill>
            <a:schemeClr val="bg1"/>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3" name="Title 2">
            <a:extLst>
              <a:ext uri="{FF2B5EF4-FFF2-40B4-BE49-F238E27FC236}">
                <a16:creationId xmlns:a16="http://schemas.microsoft.com/office/drawing/2014/main" id="{254E67A9-350B-FE4D-AD85-F80124D9DF8D}"/>
              </a:ext>
            </a:extLst>
          </p:cNvPr>
          <p:cNvSpPr>
            <a:spLocks noGrp="1"/>
          </p:cNvSpPr>
          <p:nvPr>
            <p:ph type="title"/>
          </p:nvPr>
        </p:nvSpPr>
        <p:spPr/>
        <p:txBody>
          <a:bodyPr/>
          <a:lstStyle/>
          <a:p>
            <a:r>
              <a:rPr lang="en-US" dirty="0"/>
              <a:t>Graphs</a:t>
            </a:r>
          </a:p>
        </p:txBody>
      </p:sp>
      <p:sp>
        <p:nvSpPr>
          <p:cNvPr id="38" name="Freeform: Shape 9">
            <a:extLst>
              <a:ext uri="{FF2B5EF4-FFF2-40B4-BE49-F238E27FC236}">
                <a16:creationId xmlns:a16="http://schemas.microsoft.com/office/drawing/2014/main" id="{0C3BF399-4628-EF4A-B7AC-33746A360E9B}"/>
              </a:ext>
            </a:extLst>
          </p:cNvPr>
          <p:cNvSpPr/>
          <p:nvPr/>
        </p:nvSpPr>
        <p:spPr>
          <a:xfrm>
            <a:off x="4762821" y="5195642"/>
            <a:ext cx="1334422" cy="1166991"/>
          </a:xfrm>
          <a:custGeom>
            <a:avLst/>
            <a:gdLst/>
            <a:ahLst/>
            <a:cxnLst>
              <a:cxn ang="3cd4">
                <a:pos x="hc" y="t"/>
              </a:cxn>
              <a:cxn ang="cd2">
                <a:pos x="l" y="vc"/>
              </a:cxn>
              <a:cxn ang="cd4">
                <a:pos x="hc" y="b"/>
              </a:cxn>
              <a:cxn ang="0">
                <a:pos x="r" y="vc"/>
              </a:cxn>
            </a:cxnLst>
            <a:rect l="l" t="t" r="r" b="b"/>
            <a:pathLst>
              <a:path w="4783" h="4183">
                <a:moveTo>
                  <a:pt x="0" y="4120"/>
                </a:moveTo>
                <a:cubicBezTo>
                  <a:pt x="0" y="4135"/>
                  <a:pt x="0" y="4135"/>
                  <a:pt x="0" y="4135"/>
                </a:cubicBezTo>
                <a:cubicBezTo>
                  <a:pt x="0" y="4151"/>
                  <a:pt x="16" y="4151"/>
                  <a:pt x="16" y="4151"/>
                </a:cubicBezTo>
                <a:cubicBezTo>
                  <a:pt x="16" y="4167"/>
                  <a:pt x="16" y="4167"/>
                  <a:pt x="31" y="4167"/>
                </a:cubicBezTo>
                <a:lnTo>
                  <a:pt x="31" y="4183"/>
                </a:lnTo>
                <a:lnTo>
                  <a:pt x="47" y="4183"/>
                </a:lnTo>
                <a:cubicBezTo>
                  <a:pt x="64" y="4183"/>
                  <a:pt x="64" y="4183"/>
                  <a:pt x="64" y="4183"/>
                </a:cubicBezTo>
                <a:lnTo>
                  <a:pt x="79" y="4183"/>
                </a:lnTo>
                <a:cubicBezTo>
                  <a:pt x="1527" y="4183"/>
                  <a:pt x="1527" y="4183"/>
                  <a:pt x="1527" y="4183"/>
                </a:cubicBezTo>
                <a:cubicBezTo>
                  <a:pt x="1558" y="4183"/>
                  <a:pt x="1574" y="4183"/>
                  <a:pt x="1590" y="4151"/>
                </a:cubicBezTo>
                <a:cubicBezTo>
                  <a:pt x="1606" y="4135"/>
                  <a:pt x="1622" y="4120"/>
                  <a:pt x="1606" y="4088"/>
                </a:cubicBezTo>
                <a:cubicBezTo>
                  <a:pt x="1018" y="1972"/>
                  <a:pt x="1018" y="1972"/>
                  <a:pt x="1018" y="1972"/>
                </a:cubicBezTo>
                <a:cubicBezTo>
                  <a:pt x="1527" y="1972"/>
                  <a:pt x="1527" y="1972"/>
                  <a:pt x="1527" y="1972"/>
                </a:cubicBezTo>
                <a:cubicBezTo>
                  <a:pt x="2036" y="1972"/>
                  <a:pt x="2576" y="1829"/>
                  <a:pt x="3054" y="1638"/>
                </a:cubicBezTo>
                <a:cubicBezTo>
                  <a:pt x="2370" y="4088"/>
                  <a:pt x="2370" y="4088"/>
                  <a:pt x="2370" y="4088"/>
                </a:cubicBezTo>
                <a:lnTo>
                  <a:pt x="2370" y="4104"/>
                </a:lnTo>
                <a:cubicBezTo>
                  <a:pt x="2370" y="4120"/>
                  <a:pt x="2370" y="4120"/>
                  <a:pt x="2370" y="4120"/>
                </a:cubicBezTo>
                <a:cubicBezTo>
                  <a:pt x="2370" y="4135"/>
                  <a:pt x="2370" y="4135"/>
                  <a:pt x="2370" y="4135"/>
                </a:cubicBezTo>
                <a:cubicBezTo>
                  <a:pt x="2370" y="4151"/>
                  <a:pt x="2385" y="4151"/>
                  <a:pt x="2385" y="4151"/>
                </a:cubicBezTo>
                <a:cubicBezTo>
                  <a:pt x="2385" y="4167"/>
                  <a:pt x="2385" y="4167"/>
                  <a:pt x="2401" y="4167"/>
                </a:cubicBezTo>
                <a:lnTo>
                  <a:pt x="2401" y="4183"/>
                </a:lnTo>
                <a:lnTo>
                  <a:pt x="2417" y="4183"/>
                </a:lnTo>
                <a:cubicBezTo>
                  <a:pt x="2433" y="4183"/>
                  <a:pt x="2433" y="4183"/>
                  <a:pt x="2433" y="4183"/>
                </a:cubicBezTo>
                <a:lnTo>
                  <a:pt x="2449" y="4183"/>
                </a:lnTo>
                <a:cubicBezTo>
                  <a:pt x="4708" y="4183"/>
                  <a:pt x="4708" y="4183"/>
                  <a:pt x="4708" y="4183"/>
                </a:cubicBezTo>
                <a:cubicBezTo>
                  <a:pt x="4724" y="4183"/>
                  <a:pt x="4755" y="4183"/>
                  <a:pt x="4771" y="4151"/>
                </a:cubicBezTo>
                <a:cubicBezTo>
                  <a:pt x="4787" y="4135"/>
                  <a:pt x="4787" y="4120"/>
                  <a:pt x="4771" y="4088"/>
                </a:cubicBezTo>
                <a:cubicBezTo>
                  <a:pt x="3976" y="1209"/>
                  <a:pt x="3976" y="1209"/>
                  <a:pt x="3976" y="1209"/>
                </a:cubicBezTo>
                <a:cubicBezTo>
                  <a:pt x="4421" y="970"/>
                  <a:pt x="4724" y="748"/>
                  <a:pt x="4739" y="732"/>
                </a:cubicBezTo>
                <a:cubicBezTo>
                  <a:pt x="4771" y="716"/>
                  <a:pt x="4787" y="684"/>
                  <a:pt x="4771" y="652"/>
                </a:cubicBezTo>
                <a:cubicBezTo>
                  <a:pt x="4771" y="605"/>
                  <a:pt x="4739" y="588"/>
                  <a:pt x="4708" y="588"/>
                </a:cubicBezTo>
                <a:cubicBezTo>
                  <a:pt x="3801" y="588"/>
                  <a:pt x="3801" y="588"/>
                  <a:pt x="3801" y="588"/>
                </a:cubicBezTo>
                <a:cubicBezTo>
                  <a:pt x="3642" y="48"/>
                  <a:pt x="3642" y="48"/>
                  <a:pt x="3642" y="48"/>
                </a:cubicBezTo>
                <a:cubicBezTo>
                  <a:pt x="3626" y="-16"/>
                  <a:pt x="3515" y="-16"/>
                  <a:pt x="3499" y="48"/>
                </a:cubicBezTo>
                <a:cubicBezTo>
                  <a:pt x="3340" y="588"/>
                  <a:pt x="3340" y="588"/>
                  <a:pt x="3340" y="588"/>
                </a:cubicBezTo>
                <a:cubicBezTo>
                  <a:pt x="2449" y="588"/>
                  <a:pt x="2449" y="588"/>
                  <a:pt x="2449" y="588"/>
                </a:cubicBezTo>
                <a:cubicBezTo>
                  <a:pt x="2417" y="588"/>
                  <a:pt x="2385" y="605"/>
                  <a:pt x="2370" y="636"/>
                </a:cubicBezTo>
                <a:cubicBezTo>
                  <a:pt x="2147" y="1209"/>
                  <a:pt x="1479" y="1495"/>
                  <a:pt x="922" y="1654"/>
                </a:cubicBezTo>
                <a:cubicBezTo>
                  <a:pt x="874" y="1479"/>
                  <a:pt x="874" y="1479"/>
                  <a:pt x="874" y="1479"/>
                </a:cubicBezTo>
                <a:cubicBezTo>
                  <a:pt x="859" y="1416"/>
                  <a:pt x="747" y="1416"/>
                  <a:pt x="731" y="1479"/>
                </a:cubicBezTo>
                <a:cubicBezTo>
                  <a:pt x="668" y="1718"/>
                  <a:pt x="668" y="1718"/>
                  <a:pt x="668" y="1718"/>
                </a:cubicBezTo>
                <a:cubicBezTo>
                  <a:pt x="318" y="1797"/>
                  <a:pt x="79" y="1814"/>
                  <a:pt x="64" y="1814"/>
                </a:cubicBezTo>
                <a:cubicBezTo>
                  <a:pt x="31" y="1814"/>
                  <a:pt x="0" y="1845"/>
                  <a:pt x="0" y="1893"/>
                </a:cubicBezTo>
                <a:cubicBezTo>
                  <a:pt x="0" y="1924"/>
                  <a:pt x="31" y="1972"/>
                  <a:pt x="79" y="1972"/>
                </a:cubicBezTo>
                <a:cubicBezTo>
                  <a:pt x="588" y="1972"/>
                  <a:pt x="588" y="1972"/>
                  <a:pt x="588" y="1972"/>
                </a:cubicBezTo>
                <a:cubicBezTo>
                  <a:pt x="0" y="4088"/>
                  <a:pt x="0" y="4088"/>
                  <a:pt x="0" y="4088"/>
                </a:cubicBezTo>
                <a:lnTo>
                  <a:pt x="0" y="4104"/>
                </a:lnTo>
                <a:cubicBezTo>
                  <a:pt x="0" y="4120"/>
                  <a:pt x="0" y="4120"/>
                  <a:pt x="0" y="4120"/>
                </a:cubicBezTo>
                <a:close/>
                <a:moveTo>
                  <a:pt x="4342" y="3133"/>
                </a:moveTo>
                <a:cubicBezTo>
                  <a:pt x="3006" y="3133"/>
                  <a:pt x="3006" y="3133"/>
                  <a:pt x="3006" y="3133"/>
                </a:cubicBezTo>
                <a:cubicBezTo>
                  <a:pt x="4151" y="2418"/>
                  <a:pt x="4151" y="2418"/>
                  <a:pt x="4151" y="2418"/>
                </a:cubicBezTo>
                <a:close/>
                <a:moveTo>
                  <a:pt x="2751" y="3293"/>
                </a:moveTo>
                <a:cubicBezTo>
                  <a:pt x="4040" y="3293"/>
                  <a:pt x="4040" y="3293"/>
                  <a:pt x="4040" y="3293"/>
                </a:cubicBezTo>
                <a:cubicBezTo>
                  <a:pt x="2561" y="3960"/>
                  <a:pt x="2561" y="3960"/>
                  <a:pt x="2561" y="3960"/>
                </a:cubicBezTo>
                <a:close/>
                <a:moveTo>
                  <a:pt x="2815" y="3070"/>
                </a:moveTo>
                <a:cubicBezTo>
                  <a:pt x="3006" y="2402"/>
                  <a:pt x="3006" y="2402"/>
                  <a:pt x="3006" y="2402"/>
                </a:cubicBezTo>
                <a:cubicBezTo>
                  <a:pt x="3864" y="2402"/>
                  <a:pt x="3864" y="2402"/>
                  <a:pt x="3864" y="2402"/>
                </a:cubicBezTo>
                <a:close/>
                <a:moveTo>
                  <a:pt x="2815" y="4024"/>
                </a:moveTo>
                <a:cubicBezTo>
                  <a:pt x="4390" y="3308"/>
                  <a:pt x="4390" y="3308"/>
                  <a:pt x="4390" y="3308"/>
                </a:cubicBezTo>
                <a:cubicBezTo>
                  <a:pt x="4596" y="4024"/>
                  <a:pt x="4596" y="4024"/>
                  <a:pt x="4596" y="4024"/>
                </a:cubicBezTo>
                <a:close/>
                <a:moveTo>
                  <a:pt x="4103" y="2243"/>
                </a:moveTo>
                <a:cubicBezTo>
                  <a:pt x="3054" y="2243"/>
                  <a:pt x="3054" y="2243"/>
                  <a:pt x="3054" y="2243"/>
                </a:cubicBezTo>
                <a:cubicBezTo>
                  <a:pt x="3245" y="1559"/>
                  <a:pt x="3245" y="1559"/>
                  <a:pt x="3245" y="1559"/>
                </a:cubicBezTo>
                <a:cubicBezTo>
                  <a:pt x="3451" y="1479"/>
                  <a:pt x="3642" y="1384"/>
                  <a:pt x="3833" y="1288"/>
                </a:cubicBezTo>
                <a:close/>
                <a:moveTo>
                  <a:pt x="3292" y="1368"/>
                </a:moveTo>
                <a:cubicBezTo>
                  <a:pt x="3467" y="748"/>
                  <a:pt x="3467" y="748"/>
                  <a:pt x="3467" y="748"/>
                </a:cubicBezTo>
                <a:cubicBezTo>
                  <a:pt x="3674" y="748"/>
                  <a:pt x="3674" y="748"/>
                  <a:pt x="3674" y="748"/>
                </a:cubicBezTo>
                <a:cubicBezTo>
                  <a:pt x="3785" y="1129"/>
                  <a:pt x="3785" y="1129"/>
                  <a:pt x="3785" y="1129"/>
                </a:cubicBezTo>
                <a:cubicBezTo>
                  <a:pt x="3626" y="1209"/>
                  <a:pt x="3467" y="1288"/>
                  <a:pt x="3292" y="1368"/>
                </a:cubicBezTo>
                <a:close/>
                <a:moveTo>
                  <a:pt x="4437" y="748"/>
                </a:moveTo>
                <a:cubicBezTo>
                  <a:pt x="4310" y="827"/>
                  <a:pt x="4135" y="939"/>
                  <a:pt x="3928" y="1050"/>
                </a:cubicBezTo>
                <a:cubicBezTo>
                  <a:pt x="3849" y="748"/>
                  <a:pt x="3849" y="748"/>
                  <a:pt x="3849" y="748"/>
                </a:cubicBezTo>
                <a:close/>
                <a:moveTo>
                  <a:pt x="3578" y="366"/>
                </a:moveTo>
                <a:cubicBezTo>
                  <a:pt x="3642" y="588"/>
                  <a:pt x="3642" y="588"/>
                  <a:pt x="3642" y="588"/>
                </a:cubicBezTo>
                <a:cubicBezTo>
                  <a:pt x="3515" y="588"/>
                  <a:pt x="3515" y="588"/>
                  <a:pt x="3515" y="588"/>
                </a:cubicBezTo>
                <a:close/>
                <a:moveTo>
                  <a:pt x="2497" y="748"/>
                </a:moveTo>
                <a:cubicBezTo>
                  <a:pt x="3308" y="748"/>
                  <a:pt x="3308" y="748"/>
                  <a:pt x="3308" y="748"/>
                </a:cubicBezTo>
                <a:cubicBezTo>
                  <a:pt x="3101" y="1448"/>
                  <a:pt x="3101" y="1448"/>
                  <a:pt x="3101" y="1448"/>
                </a:cubicBezTo>
                <a:cubicBezTo>
                  <a:pt x="2608" y="1654"/>
                  <a:pt x="2052" y="1814"/>
                  <a:pt x="1527" y="1814"/>
                </a:cubicBezTo>
                <a:cubicBezTo>
                  <a:pt x="986" y="1814"/>
                  <a:pt x="986" y="1814"/>
                  <a:pt x="986" y="1814"/>
                </a:cubicBezTo>
                <a:cubicBezTo>
                  <a:pt x="1558" y="1654"/>
                  <a:pt x="2227" y="1336"/>
                  <a:pt x="2497" y="748"/>
                </a:cubicBezTo>
                <a:close/>
                <a:moveTo>
                  <a:pt x="461" y="3038"/>
                </a:moveTo>
                <a:cubicBezTo>
                  <a:pt x="891" y="3038"/>
                  <a:pt x="891" y="3038"/>
                  <a:pt x="891" y="3038"/>
                </a:cubicBezTo>
                <a:cubicBezTo>
                  <a:pt x="365" y="3372"/>
                  <a:pt x="365" y="3372"/>
                  <a:pt x="365" y="3372"/>
                </a:cubicBezTo>
                <a:close/>
                <a:moveTo>
                  <a:pt x="1272" y="3451"/>
                </a:moveTo>
                <a:cubicBezTo>
                  <a:pt x="540" y="3451"/>
                  <a:pt x="540" y="3451"/>
                  <a:pt x="540" y="3451"/>
                </a:cubicBezTo>
                <a:cubicBezTo>
                  <a:pt x="1161" y="3054"/>
                  <a:pt x="1161" y="3054"/>
                  <a:pt x="1161" y="3054"/>
                </a:cubicBezTo>
                <a:close/>
                <a:moveTo>
                  <a:pt x="302" y="3611"/>
                </a:moveTo>
                <a:cubicBezTo>
                  <a:pt x="970" y="3611"/>
                  <a:pt x="970" y="3611"/>
                  <a:pt x="970" y="3611"/>
                </a:cubicBezTo>
                <a:cubicBezTo>
                  <a:pt x="191" y="3960"/>
                  <a:pt x="191" y="3960"/>
                  <a:pt x="191" y="3960"/>
                </a:cubicBezTo>
                <a:close/>
                <a:moveTo>
                  <a:pt x="445" y="4024"/>
                </a:moveTo>
                <a:cubicBezTo>
                  <a:pt x="1320" y="3626"/>
                  <a:pt x="1320" y="3626"/>
                  <a:pt x="1320" y="3626"/>
                </a:cubicBezTo>
                <a:cubicBezTo>
                  <a:pt x="1431" y="4024"/>
                  <a:pt x="1431" y="4024"/>
                  <a:pt x="1431" y="4024"/>
                </a:cubicBezTo>
                <a:close/>
                <a:moveTo>
                  <a:pt x="859" y="1972"/>
                </a:moveTo>
                <a:cubicBezTo>
                  <a:pt x="1113" y="2879"/>
                  <a:pt x="1113" y="2879"/>
                  <a:pt x="1113" y="2879"/>
                </a:cubicBezTo>
                <a:cubicBezTo>
                  <a:pt x="509" y="2879"/>
                  <a:pt x="509" y="2879"/>
                  <a:pt x="509" y="2879"/>
                </a:cubicBezTo>
                <a:cubicBezTo>
                  <a:pt x="763" y="1972"/>
                  <a:pt x="763" y="1972"/>
                  <a:pt x="763" y="19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9" name="Freeform: Shape 2">
            <a:extLst>
              <a:ext uri="{FF2B5EF4-FFF2-40B4-BE49-F238E27FC236}">
                <a16:creationId xmlns:a16="http://schemas.microsoft.com/office/drawing/2014/main" id="{033A4852-A60A-704B-A568-DAF88FE03B80}"/>
              </a:ext>
            </a:extLst>
          </p:cNvPr>
          <p:cNvSpPr/>
          <p:nvPr/>
        </p:nvSpPr>
        <p:spPr>
          <a:xfrm>
            <a:off x="11234653" y="5157295"/>
            <a:ext cx="1260770" cy="1208504"/>
          </a:xfrm>
          <a:custGeom>
            <a:avLst/>
            <a:gdLst/>
            <a:ahLst/>
            <a:cxnLst>
              <a:cxn ang="3cd4">
                <a:pos x="hc" y="t"/>
              </a:cxn>
              <a:cxn ang="cd2">
                <a:pos x="l" y="vc"/>
              </a:cxn>
              <a:cxn ang="cd4">
                <a:pos x="hc" y="b"/>
              </a:cxn>
              <a:cxn ang="0">
                <a:pos x="r" y="vc"/>
              </a:cxn>
            </a:cxnLst>
            <a:rect l="l" t="t" r="r" b="b"/>
            <a:pathLst>
              <a:path w="4343" h="4163">
                <a:moveTo>
                  <a:pt x="80" y="4163"/>
                </a:moveTo>
                <a:cubicBezTo>
                  <a:pt x="4263" y="4163"/>
                  <a:pt x="4263" y="4163"/>
                  <a:pt x="4263" y="4163"/>
                </a:cubicBezTo>
                <a:cubicBezTo>
                  <a:pt x="4311" y="4163"/>
                  <a:pt x="4343" y="4131"/>
                  <a:pt x="4343" y="4084"/>
                </a:cubicBezTo>
                <a:cubicBezTo>
                  <a:pt x="4343" y="3845"/>
                  <a:pt x="4343" y="3845"/>
                  <a:pt x="4343" y="3845"/>
                </a:cubicBezTo>
                <a:cubicBezTo>
                  <a:pt x="4343" y="3798"/>
                  <a:pt x="4311" y="3765"/>
                  <a:pt x="4263" y="3765"/>
                </a:cubicBezTo>
                <a:cubicBezTo>
                  <a:pt x="4152" y="3765"/>
                  <a:pt x="4152" y="3765"/>
                  <a:pt x="4152" y="3765"/>
                </a:cubicBezTo>
                <a:cubicBezTo>
                  <a:pt x="4152" y="3591"/>
                  <a:pt x="4152" y="3591"/>
                  <a:pt x="4152" y="3591"/>
                </a:cubicBezTo>
                <a:cubicBezTo>
                  <a:pt x="4152" y="3559"/>
                  <a:pt x="4104" y="3511"/>
                  <a:pt x="4072" y="3511"/>
                </a:cubicBezTo>
                <a:cubicBezTo>
                  <a:pt x="3898" y="3511"/>
                  <a:pt x="3898" y="3511"/>
                  <a:pt x="3898" y="3511"/>
                </a:cubicBezTo>
                <a:cubicBezTo>
                  <a:pt x="3898" y="1762"/>
                  <a:pt x="3898" y="1762"/>
                  <a:pt x="3898" y="1762"/>
                </a:cubicBezTo>
                <a:cubicBezTo>
                  <a:pt x="3961" y="1762"/>
                  <a:pt x="3961" y="1762"/>
                  <a:pt x="3961" y="1762"/>
                </a:cubicBezTo>
                <a:cubicBezTo>
                  <a:pt x="4009" y="1762"/>
                  <a:pt x="4041" y="1730"/>
                  <a:pt x="4041" y="1682"/>
                </a:cubicBezTo>
                <a:cubicBezTo>
                  <a:pt x="4041" y="1364"/>
                  <a:pt x="4041" y="1364"/>
                  <a:pt x="4041" y="1364"/>
                </a:cubicBezTo>
                <a:cubicBezTo>
                  <a:pt x="4263" y="1364"/>
                  <a:pt x="4263" y="1364"/>
                  <a:pt x="4263" y="1364"/>
                </a:cubicBezTo>
                <a:cubicBezTo>
                  <a:pt x="4311" y="1364"/>
                  <a:pt x="4343" y="1332"/>
                  <a:pt x="4343" y="1284"/>
                </a:cubicBezTo>
                <a:cubicBezTo>
                  <a:pt x="4343" y="887"/>
                  <a:pt x="4343" y="887"/>
                  <a:pt x="4343" y="887"/>
                </a:cubicBezTo>
                <a:cubicBezTo>
                  <a:pt x="4343" y="855"/>
                  <a:pt x="4327" y="823"/>
                  <a:pt x="4295" y="823"/>
                </a:cubicBezTo>
                <a:cubicBezTo>
                  <a:pt x="2275" y="12"/>
                  <a:pt x="2275" y="12"/>
                  <a:pt x="2275" y="12"/>
                </a:cubicBezTo>
                <a:cubicBezTo>
                  <a:pt x="2259" y="-4"/>
                  <a:pt x="2227" y="-4"/>
                  <a:pt x="2211" y="12"/>
                </a:cubicBezTo>
                <a:cubicBezTo>
                  <a:pt x="80" y="823"/>
                  <a:pt x="80" y="823"/>
                  <a:pt x="80" y="823"/>
                </a:cubicBezTo>
                <a:cubicBezTo>
                  <a:pt x="48" y="823"/>
                  <a:pt x="17" y="855"/>
                  <a:pt x="17" y="887"/>
                </a:cubicBezTo>
                <a:cubicBezTo>
                  <a:pt x="17" y="1284"/>
                  <a:pt x="17" y="1284"/>
                  <a:pt x="17" y="1284"/>
                </a:cubicBezTo>
                <a:cubicBezTo>
                  <a:pt x="17" y="1332"/>
                  <a:pt x="64" y="1364"/>
                  <a:pt x="96" y="1364"/>
                </a:cubicBezTo>
                <a:cubicBezTo>
                  <a:pt x="319" y="1364"/>
                  <a:pt x="319" y="1364"/>
                  <a:pt x="319" y="1364"/>
                </a:cubicBezTo>
                <a:cubicBezTo>
                  <a:pt x="319" y="1682"/>
                  <a:pt x="319" y="1682"/>
                  <a:pt x="319" y="1682"/>
                </a:cubicBezTo>
                <a:cubicBezTo>
                  <a:pt x="319" y="1730"/>
                  <a:pt x="351" y="1762"/>
                  <a:pt x="398" y="1762"/>
                </a:cubicBezTo>
                <a:cubicBezTo>
                  <a:pt x="462" y="1762"/>
                  <a:pt x="462" y="1762"/>
                  <a:pt x="462" y="1762"/>
                </a:cubicBezTo>
                <a:cubicBezTo>
                  <a:pt x="462" y="3511"/>
                  <a:pt x="462" y="3511"/>
                  <a:pt x="462" y="3511"/>
                </a:cubicBezTo>
                <a:cubicBezTo>
                  <a:pt x="287" y="3511"/>
                  <a:pt x="287" y="3511"/>
                  <a:pt x="287" y="3511"/>
                </a:cubicBezTo>
                <a:cubicBezTo>
                  <a:pt x="239" y="3511"/>
                  <a:pt x="208" y="3559"/>
                  <a:pt x="208" y="3591"/>
                </a:cubicBezTo>
                <a:cubicBezTo>
                  <a:pt x="208" y="3765"/>
                  <a:pt x="208" y="3765"/>
                  <a:pt x="208" y="3765"/>
                </a:cubicBezTo>
                <a:cubicBezTo>
                  <a:pt x="80" y="3765"/>
                  <a:pt x="80" y="3765"/>
                  <a:pt x="80" y="3765"/>
                </a:cubicBezTo>
                <a:cubicBezTo>
                  <a:pt x="33" y="3765"/>
                  <a:pt x="0" y="3798"/>
                  <a:pt x="0" y="3845"/>
                </a:cubicBezTo>
                <a:cubicBezTo>
                  <a:pt x="0" y="4084"/>
                  <a:pt x="0" y="4084"/>
                  <a:pt x="0" y="4084"/>
                </a:cubicBezTo>
                <a:cubicBezTo>
                  <a:pt x="0" y="4131"/>
                  <a:pt x="33" y="4163"/>
                  <a:pt x="80" y="4163"/>
                </a:cubicBezTo>
                <a:close/>
                <a:moveTo>
                  <a:pt x="3372" y="3511"/>
                </a:moveTo>
                <a:cubicBezTo>
                  <a:pt x="3372" y="1682"/>
                  <a:pt x="3372" y="1682"/>
                  <a:pt x="3372" y="1682"/>
                </a:cubicBezTo>
                <a:cubicBezTo>
                  <a:pt x="3372" y="1634"/>
                  <a:pt x="3341" y="1602"/>
                  <a:pt x="3293" y="1602"/>
                </a:cubicBezTo>
                <a:cubicBezTo>
                  <a:pt x="3229" y="1602"/>
                  <a:pt x="3229" y="1602"/>
                  <a:pt x="3229" y="1602"/>
                </a:cubicBezTo>
                <a:cubicBezTo>
                  <a:pt x="3229" y="1364"/>
                  <a:pt x="3229" y="1364"/>
                  <a:pt x="3229" y="1364"/>
                </a:cubicBezTo>
                <a:cubicBezTo>
                  <a:pt x="3881" y="1364"/>
                  <a:pt x="3881" y="1364"/>
                  <a:pt x="3881" y="1364"/>
                </a:cubicBezTo>
                <a:cubicBezTo>
                  <a:pt x="3881" y="1602"/>
                  <a:pt x="3881" y="1602"/>
                  <a:pt x="3881" y="1602"/>
                </a:cubicBezTo>
                <a:cubicBezTo>
                  <a:pt x="3818" y="1602"/>
                  <a:pt x="3818" y="1602"/>
                  <a:pt x="3818" y="1602"/>
                </a:cubicBezTo>
                <a:cubicBezTo>
                  <a:pt x="3786" y="1602"/>
                  <a:pt x="3738" y="1634"/>
                  <a:pt x="3738" y="1682"/>
                </a:cubicBezTo>
                <a:cubicBezTo>
                  <a:pt x="3738" y="3511"/>
                  <a:pt x="3738" y="3511"/>
                  <a:pt x="3738" y="3511"/>
                </a:cubicBezTo>
                <a:close/>
                <a:moveTo>
                  <a:pt x="3150" y="1762"/>
                </a:moveTo>
                <a:cubicBezTo>
                  <a:pt x="3214" y="1762"/>
                  <a:pt x="3214" y="1762"/>
                  <a:pt x="3214" y="1762"/>
                </a:cubicBezTo>
                <a:cubicBezTo>
                  <a:pt x="3214" y="3511"/>
                  <a:pt x="3214" y="3511"/>
                  <a:pt x="3214" y="3511"/>
                </a:cubicBezTo>
                <a:cubicBezTo>
                  <a:pt x="2530" y="3511"/>
                  <a:pt x="2530" y="3511"/>
                  <a:pt x="2530" y="3511"/>
                </a:cubicBezTo>
                <a:cubicBezTo>
                  <a:pt x="2530" y="1762"/>
                  <a:pt x="2530" y="1762"/>
                  <a:pt x="2530" y="1762"/>
                </a:cubicBezTo>
                <a:cubicBezTo>
                  <a:pt x="2593" y="1762"/>
                  <a:pt x="2593" y="1762"/>
                  <a:pt x="2593" y="1762"/>
                </a:cubicBezTo>
                <a:cubicBezTo>
                  <a:pt x="2625" y="1762"/>
                  <a:pt x="2673" y="1730"/>
                  <a:pt x="2673" y="1682"/>
                </a:cubicBezTo>
                <a:cubicBezTo>
                  <a:pt x="2673" y="1364"/>
                  <a:pt x="2673" y="1364"/>
                  <a:pt x="2673" y="1364"/>
                </a:cubicBezTo>
                <a:cubicBezTo>
                  <a:pt x="3071" y="1364"/>
                  <a:pt x="3071" y="1364"/>
                  <a:pt x="3071" y="1364"/>
                </a:cubicBezTo>
                <a:cubicBezTo>
                  <a:pt x="3071" y="1682"/>
                  <a:pt x="3071" y="1682"/>
                  <a:pt x="3071" y="1682"/>
                </a:cubicBezTo>
                <a:cubicBezTo>
                  <a:pt x="3071" y="1730"/>
                  <a:pt x="3102" y="1762"/>
                  <a:pt x="3150" y="1762"/>
                </a:cubicBezTo>
                <a:close/>
                <a:moveTo>
                  <a:pt x="1989" y="3511"/>
                </a:moveTo>
                <a:cubicBezTo>
                  <a:pt x="1989" y="1682"/>
                  <a:pt x="1989" y="1682"/>
                  <a:pt x="1989" y="1682"/>
                </a:cubicBezTo>
                <a:cubicBezTo>
                  <a:pt x="1989" y="1634"/>
                  <a:pt x="1957" y="1602"/>
                  <a:pt x="1909" y="1602"/>
                </a:cubicBezTo>
                <a:cubicBezTo>
                  <a:pt x="1862" y="1602"/>
                  <a:pt x="1862" y="1602"/>
                  <a:pt x="1862" y="1602"/>
                </a:cubicBezTo>
                <a:cubicBezTo>
                  <a:pt x="1862" y="1364"/>
                  <a:pt x="1862" y="1364"/>
                  <a:pt x="1862" y="1364"/>
                </a:cubicBezTo>
                <a:cubicBezTo>
                  <a:pt x="2514" y="1364"/>
                  <a:pt x="2514" y="1364"/>
                  <a:pt x="2514" y="1364"/>
                </a:cubicBezTo>
                <a:cubicBezTo>
                  <a:pt x="2514" y="1602"/>
                  <a:pt x="2514" y="1602"/>
                  <a:pt x="2514" y="1602"/>
                </a:cubicBezTo>
                <a:cubicBezTo>
                  <a:pt x="2450" y="1602"/>
                  <a:pt x="2450" y="1602"/>
                  <a:pt x="2450" y="1602"/>
                </a:cubicBezTo>
                <a:cubicBezTo>
                  <a:pt x="2402" y="1602"/>
                  <a:pt x="2371" y="1634"/>
                  <a:pt x="2371" y="1682"/>
                </a:cubicBezTo>
                <a:cubicBezTo>
                  <a:pt x="2371" y="3511"/>
                  <a:pt x="2371" y="3511"/>
                  <a:pt x="2371" y="3511"/>
                </a:cubicBezTo>
                <a:close/>
                <a:moveTo>
                  <a:pt x="176" y="950"/>
                </a:moveTo>
                <a:cubicBezTo>
                  <a:pt x="2243" y="171"/>
                  <a:pt x="2243" y="171"/>
                  <a:pt x="2243" y="171"/>
                </a:cubicBezTo>
                <a:cubicBezTo>
                  <a:pt x="4184" y="950"/>
                  <a:pt x="4184" y="950"/>
                  <a:pt x="4184" y="950"/>
                </a:cubicBezTo>
                <a:cubicBezTo>
                  <a:pt x="4184" y="1205"/>
                  <a:pt x="4184" y="1205"/>
                  <a:pt x="4184" y="1205"/>
                </a:cubicBezTo>
                <a:cubicBezTo>
                  <a:pt x="176" y="1205"/>
                  <a:pt x="176" y="1205"/>
                  <a:pt x="176" y="1205"/>
                </a:cubicBezTo>
                <a:close/>
                <a:moveTo>
                  <a:pt x="1702" y="1364"/>
                </a:moveTo>
                <a:cubicBezTo>
                  <a:pt x="1702" y="1682"/>
                  <a:pt x="1702" y="1682"/>
                  <a:pt x="1702" y="1682"/>
                </a:cubicBezTo>
                <a:cubicBezTo>
                  <a:pt x="1702" y="1730"/>
                  <a:pt x="1735" y="1762"/>
                  <a:pt x="1782" y="1762"/>
                </a:cubicBezTo>
                <a:cubicBezTo>
                  <a:pt x="1830" y="1762"/>
                  <a:pt x="1830" y="1762"/>
                  <a:pt x="1830" y="1762"/>
                </a:cubicBezTo>
                <a:cubicBezTo>
                  <a:pt x="1830" y="3511"/>
                  <a:pt x="1830" y="3511"/>
                  <a:pt x="1830" y="3511"/>
                </a:cubicBezTo>
                <a:cubicBezTo>
                  <a:pt x="1162" y="3511"/>
                  <a:pt x="1162" y="3511"/>
                  <a:pt x="1162" y="3511"/>
                </a:cubicBezTo>
                <a:cubicBezTo>
                  <a:pt x="1162" y="1762"/>
                  <a:pt x="1162" y="1762"/>
                  <a:pt x="1162" y="1762"/>
                </a:cubicBezTo>
                <a:cubicBezTo>
                  <a:pt x="1209" y="1762"/>
                  <a:pt x="1209" y="1762"/>
                  <a:pt x="1209" y="1762"/>
                </a:cubicBezTo>
                <a:cubicBezTo>
                  <a:pt x="1257" y="1762"/>
                  <a:pt x="1289" y="1730"/>
                  <a:pt x="1289" y="1682"/>
                </a:cubicBezTo>
                <a:cubicBezTo>
                  <a:pt x="1289" y="1364"/>
                  <a:pt x="1289" y="1364"/>
                  <a:pt x="1289" y="1364"/>
                </a:cubicBezTo>
                <a:close/>
                <a:moveTo>
                  <a:pt x="542" y="1602"/>
                </a:moveTo>
                <a:cubicBezTo>
                  <a:pt x="478" y="1602"/>
                  <a:pt x="478" y="1602"/>
                  <a:pt x="478" y="1602"/>
                </a:cubicBezTo>
                <a:cubicBezTo>
                  <a:pt x="478" y="1364"/>
                  <a:pt x="478" y="1364"/>
                  <a:pt x="478" y="1364"/>
                </a:cubicBezTo>
                <a:cubicBezTo>
                  <a:pt x="1130" y="1364"/>
                  <a:pt x="1130" y="1364"/>
                  <a:pt x="1130" y="1364"/>
                </a:cubicBezTo>
                <a:cubicBezTo>
                  <a:pt x="1130" y="1602"/>
                  <a:pt x="1130" y="1602"/>
                  <a:pt x="1130" y="1602"/>
                </a:cubicBezTo>
                <a:cubicBezTo>
                  <a:pt x="1082" y="1602"/>
                  <a:pt x="1082" y="1602"/>
                  <a:pt x="1082" y="1602"/>
                </a:cubicBezTo>
                <a:cubicBezTo>
                  <a:pt x="1035" y="1602"/>
                  <a:pt x="1003" y="1634"/>
                  <a:pt x="1003" y="1682"/>
                </a:cubicBezTo>
                <a:cubicBezTo>
                  <a:pt x="1003" y="3511"/>
                  <a:pt x="1003" y="3511"/>
                  <a:pt x="1003" y="3511"/>
                </a:cubicBezTo>
                <a:cubicBezTo>
                  <a:pt x="621" y="3511"/>
                  <a:pt x="621" y="3511"/>
                  <a:pt x="621" y="3511"/>
                </a:cubicBezTo>
                <a:cubicBezTo>
                  <a:pt x="621" y="1682"/>
                  <a:pt x="621" y="1682"/>
                  <a:pt x="621" y="1682"/>
                </a:cubicBezTo>
                <a:cubicBezTo>
                  <a:pt x="621" y="1634"/>
                  <a:pt x="589" y="1602"/>
                  <a:pt x="542" y="1602"/>
                </a:cubicBezTo>
                <a:close/>
                <a:moveTo>
                  <a:pt x="160" y="3925"/>
                </a:moveTo>
                <a:cubicBezTo>
                  <a:pt x="287" y="3925"/>
                  <a:pt x="287" y="3925"/>
                  <a:pt x="287" y="3925"/>
                </a:cubicBezTo>
                <a:cubicBezTo>
                  <a:pt x="335" y="3925"/>
                  <a:pt x="366" y="3893"/>
                  <a:pt x="366" y="3845"/>
                </a:cubicBezTo>
                <a:cubicBezTo>
                  <a:pt x="366" y="3670"/>
                  <a:pt x="366" y="3670"/>
                  <a:pt x="366" y="3670"/>
                </a:cubicBezTo>
                <a:cubicBezTo>
                  <a:pt x="526" y="3670"/>
                  <a:pt x="526" y="3670"/>
                  <a:pt x="526" y="3670"/>
                </a:cubicBezTo>
                <a:cubicBezTo>
                  <a:pt x="542" y="3670"/>
                  <a:pt x="542" y="3686"/>
                  <a:pt x="542" y="3686"/>
                </a:cubicBezTo>
                <a:cubicBezTo>
                  <a:pt x="1082" y="3686"/>
                  <a:pt x="1082" y="3686"/>
                  <a:pt x="1082" y="3686"/>
                </a:cubicBezTo>
                <a:lnTo>
                  <a:pt x="1082" y="3670"/>
                </a:lnTo>
                <a:cubicBezTo>
                  <a:pt x="1909" y="3670"/>
                  <a:pt x="1909" y="3670"/>
                  <a:pt x="1909" y="3670"/>
                </a:cubicBezTo>
                <a:lnTo>
                  <a:pt x="1909" y="3686"/>
                </a:lnTo>
                <a:cubicBezTo>
                  <a:pt x="2450" y="3686"/>
                  <a:pt x="2450" y="3686"/>
                  <a:pt x="2450" y="3686"/>
                </a:cubicBezTo>
                <a:lnTo>
                  <a:pt x="2450" y="3670"/>
                </a:lnTo>
                <a:cubicBezTo>
                  <a:pt x="3277" y="3670"/>
                  <a:pt x="3277" y="3670"/>
                  <a:pt x="3277" y="3670"/>
                </a:cubicBezTo>
                <a:lnTo>
                  <a:pt x="3293" y="3686"/>
                </a:lnTo>
                <a:cubicBezTo>
                  <a:pt x="3818" y="3686"/>
                  <a:pt x="3818" y="3686"/>
                  <a:pt x="3818" y="3686"/>
                </a:cubicBezTo>
                <a:cubicBezTo>
                  <a:pt x="3834" y="3686"/>
                  <a:pt x="3834" y="3670"/>
                  <a:pt x="3834" y="3670"/>
                </a:cubicBezTo>
                <a:cubicBezTo>
                  <a:pt x="3993" y="3670"/>
                  <a:pt x="3993" y="3670"/>
                  <a:pt x="3993" y="3670"/>
                </a:cubicBezTo>
                <a:cubicBezTo>
                  <a:pt x="3993" y="3845"/>
                  <a:pt x="3993" y="3845"/>
                  <a:pt x="3993" y="3845"/>
                </a:cubicBezTo>
                <a:cubicBezTo>
                  <a:pt x="3993" y="3893"/>
                  <a:pt x="4025" y="3925"/>
                  <a:pt x="4072" y="3925"/>
                </a:cubicBezTo>
                <a:cubicBezTo>
                  <a:pt x="4184" y="3925"/>
                  <a:pt x="4184" y="3925"/>
                  <a:pt x="4184" y="3925"/>
                </a:cubicBezTo>
                <a:cubicBezTo>
                  <a:pt x="4184" y="4004"/>
                  <a:pt x="4184" y="4004"/>
                  <a:pt x="4184" y="4004"/>
                </a:cubicBezTo>
                <a:cubicBezTo>
                  <a:pt x="160" y="4004"/>
                  <a:pt x="160" y="4004"/>
                  <a:pt x="160" y="400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0" name="Freeform: Shape 15">
            <a:extLst>
              <a:ext uri="{FF2B5EF4-FFF2-40B4-BE49-F238E27FC236}">
                <a16:creationId xmlns:a16="http://schemas.microsoft.com/office/drawing/2014/main" id="{16272DF0-5B4D-D246-A82A-17083FF4D7F1}"/>
              </a:ext>
            </a:extLst>
          </p:cNvPr>
          <p:cNvSpPr/>
          <p:nvPr/>
        </p:nvSpPr>
        <p:spPr>
          <a:xfrm>
            <a:off x="17626393" y="5085536"/>
            <a:ext cx="1383299" cy="1474138"/>
          </a:xfrm>
          <a:custGeom>
            <a:avLst/>
            <a:gdLst/>
            <a:ahLst/>
            <a:cxnLst>
              <a:cxn ang="3cd4">
                <a:pos x="hc" y="t"/>
              </a:cxn>
              <a:cxn ang="cd2">
                <a:pos x="l" y="vc"/>
              </a:cxn>
              <a:cxn ang="cd4">
                <a:pos x="hc" y="b"/>
              </a:cxn>
              <a:cxn ang="0">
                <a:pos x="r" y="vc"/>
              </a:cxn>
            </a:cxnLst>
            <a:rect l="l" t="t" r="r" b="b"/>
            <a:pathLst>
              <a:path w="5209" h="5551">
                <a:moveTo>
                  <a:pt x="4094" y="2259"/>
                </a:moveTo>
                <a:lnTo>
                  <a:pt x="4078" y="2259"/>
                </a:lnTo>
                <a:lnTo>
                  <a:pt x="4078" y="2195"/>
                </a:lnTo>
                <a:cubicBezTo>
                  <a:pt x="4062" y="2116"/>
                  <a:pt x="4030" y="2036"/>
                  <a:pt x="3982" y="1989"/>
                </a:cubicBezTo>
                <a:cubicBezTo>
                  <a:pt x="4030" y="1877"/>
                  <a:pt x="4125" y="1623"/>
                  <a:pt x="4062" y="1273"/>
                </a:cubicBezTo>
                <a:cubicBezTo>
                  <a:pt x="3950" y="668"/>
                  <a:pt x="3649" y="621"/>
                  <a:pt x="3537" y="621"/>
                </a:cubicBezTo>
                <a:cubicBezTo>
                  <a:pt x="3458" y="636"/>
                  <a:pt x="3410" y="668"/>
                  <a:pt x="3378" y="716"/>
                </a:cubicBezTo>
                <a:cubicBezTo>
                  <a:pt x="3315" y="796"/>
                  <a:pt x="3330" y="939"/>
                  <a:pt x="3458" y="1257"/>
                </a:cubicBezTo>
                <a:cubicBezTo>
                  <a:pt x="3521" y="1448"/>
                  <a:pt x="3553" y="1639"/>
                  <a:pt x="3569" y="1798"/>
                </a:cubicBezTo>
                <a:cubicBezTo>
                  <a:pt x="3585" y="1829"/>
                  <a:pt x="3585" y="1861"/>
                  <a:pt x="3585" y="1893"/>
                </a:cubicBezTo>
                <a:cubicBezTo>
                  <a:pt x="3521" y="1909"/>
                  <a:pt x="3473" y="1941"/>
                  <a:pt x="3426" y="2005"/>
                </a:cubicBezTo>
                <a:cubicBezTo>
                  <a:pt x="3410" y="2020"/>
                  <a:pt x="3394" y="2052"/>
                  <a:pt x="3378" y="2084"/>
                </a:cubicBezTo>
                <a:cubicBezTo>
                  <a:pt x="3235" y="2100"/>
                  <a:pt x="2964" y="2148"/>
                  <a:pt x="2710" y="2370"/>
                </a:cubicBezTo>
                <a:cubicBezTo>
                  <a:pt x="2471" y="2577"/>
                  <a:pt x="2360" y="2752"/>
                  <a:pt x="2360" y="2895"/>
                </a:cubicBezTo>
                <a:cubicBezTo>
                  <a:pt x="2360" y="2975"/>
                  <a:pt x="2392" y="3038"/>
                  <a:pt x="2440" y="3086"/>
                </a:cubicBezTo>
                <a:cubicBezTo>
                  <a:pt x="2471" y="3118"/>
                  <a:pt x="2519" y="3150"/>
                  <a:pt x="2599" y="3150"/>
                </a:cubicBezTo>
                <a:cubicBezTo>
                  <a:pt x="2694" y="3150"/>
                  <a:pt x="2821" y="3070"/>
                  <a:pt x="3028" y="2863"/>
                </a:cubicBezTo>
                <a:cubicBezTo>
                  <a:pt x="3155" y="2720"/>
                  <a:pt x="3315" y="2609"/>
                  <a:pt x="3442" y="2529"/>
                </a:cubicBezTo>
                <a:lnTo>
                  <a:pt x="3473" y="2498"/>
                </a:lnTo>
                <a:cubicBezTo>
                  <a:pt x="3537" y="2561"/>
                  <a:pt x="3616" y="2593"/>
                  <a:pt x="3712" y="2593"/>
                </a:cubicBezTo>
                <a:lnTo>
                  <a:pt x="3760" y="2593"/>
                </a:lnTo>
                <a:lnTo>
                  <a:pt x="3792" y="2593"/>
                </a:lnTo>
                <a:cubicBezTo>
                  <a:pt x="3950" y="2752"/>
                  <a:pt x="4157" y="2895"/>
                  <a:pt x="4380" y="2959"/>
                </a:cubicBezTo>
                <a:cubicBezTo>
                  <a:pt x="4507" y="2990"/>
                  <a:pt x="4619" y="3007"/>
                  <a:pt x="4714" y="3007"/>
                </a:cubicBezTo>
                <a:cubicBezTo>
                  <a:pt x="4921" y="3007"/>
                  <a:pt x="5064" y="2927"/>
                  <a:pt x="5160" y="2752"/>
                </a:cubicBezTo>
                <a:cubicBezTo>
                  <a:pt x="5175" y="2720"/>
                  <a:pt x="5239" y="2625"/>
                  <a:pt x="5191" y="2529"/>
                </a:cubicBezTo>
                <a:cubicBezTo>
                  <a:pt x="5143" y="2434"/>
                  <a:pt x="4985" y="2386"/>
                  <a:pt x="4682" y="2370"/>
                </a:cubicBezTo>
                <a:cubicBezTo>
                  <a:pt x="4460" y="2354"/>
                  <a:pt x="4253" y="2307"/>
                  <a:pt x="4094" y="2259"/>
                </a:cubicBezTo>
                <a:close/>
                <a:moveTo>
                  <a:pt x="3505" y="796"/>
                </a:moveTo>
                <a:cubicBezTo>
                  <a:pt x="3521" y="791"/>
                  <a:pt x="3521" y="780"/>
                  <a:pt x="3553" y="780"/>
                </a:cubicBezTo>
                <a:cubicBezTo>
                  <a:pt x="3696" y="780"/>
                  <a:pt x="3839" y="971"/>
                  <a:pt x="3903" y="1305"/>
                </a:cubicBezTo>
                <a:cubicBezTo>
                  <a:pt x="3950" y="1543"/>
                  <a:pt x="3919" y="1750"/>
                  <a:pt x="3855" y="1893"/>
                </a:cubicBezTo>
                <a:cubicBezTo>
                  <a:pt x="3824" y="1877"/>
                  <a:pt x="3776" y="1861"/>
                  <a:pt x="3744" y="1861"/>
                </a:cubicBezTo>
                <a:cubicBezTo>
                  <a:pt x="3744" y="1845"/>
                  <a:pt x="3744" y="1814"/>
                  <a:pt x="3728" y="1782"/>
                </a:cubicBezTo>
                <a:cubicBezTo>
                  <a:pt x="3712" y="1607"/>
                  <a:pt x="3680" y="1400"/>
                  <a:pt x="3601" y="1209"/>
                </a:cubicBezTo>
                <a:cubicBezTo>
                  <a:pt x="3489" y="907"/>
                  <a:pt x="3489" y="812"/>
                  <a:pt x="3505" y="796"/>
                </a:cubicBezTo>
                <a:close/>
                <a:moveTo>
                  <a:pt x="2901" y="2752"/>
                </a:moveTo>
                <a:cubicBezTo>
                  <a:pt x="2710" y="2959"/>
                  <a:pt x="2631" y="2990"/>
                  <a:pt x="2599" y="2990"/>
                </a:cubicBezTo>
                <a:cubicBezTo>
                  <a:pt x="2583" y="2990"/>
                  <a:pt x="2567" y="2990"/>
                  <a:pt x="2551" y="2975"/>
                </a:cubicBezTo>
                <a:cubicBezTo>
                  <a:pt x="2519" y="2959"/>
                  <a:pt x="2519" y="2927"/>
                  <a:pt x="2519" y="2895"/>
                </a:cubicBezTo>
                <a:cubicBezTo>
                  <a:pt x="2519" y="2847"/>
                  <a:pt x="2567" y="2720"/>
                  <a:pt x="2806" y="2498"/>
                </a:cubicBezTo>
                <a:cubicBezTo>
                  <a:pt x="2997" y="2338"/>
                  <a:pt x="3187" y="2275"/>
                  <a:pt x="3346" y="2243"/>
                </a:cubicBezTo>
                <a:lnTo>
                  <a:pt x="3346" y="2275"/>
                </a:lnTo>
                <a:cubicBezTo>
                  <a:pt x="3346" y="2307"/>
                  <a:pt x="3362" y="2338"/>
                  <a:pt x="3378" y="2370"/>
                </a:cubicBezTo>
                <a:lnTo>
                  <a:pt x="3346" y="2386"/>
                </a:lnTo>
                <a:cubicBezTo>
                  <a:pt x="3219" y="2481"/>
                  <a:pt x="3060" y="2593"/>
                  <a:pt x="2901" y="2752"/>
                </a:cubicBezTo>
                <a:close/>
                <a:moveTo>
                  <a:pt x="3744" y="2434"/>
                </a:moveTo>
                <a:cubicBezTo>
                  <a:pt x="3616" y="2450"/>
                  <a:pt x="3521" y="2370"/>
                  <a:pt x="3505" y="2259"/>
                </a:cubicBezTo>
                <a:lnTo>
                  <a:pt x="3505" y="2195"/>
                </a:lnTo>
                <a:cubicBezTo>
                  <a:pt x="3505" y="2180"/>
                  <a:pt x="3521" y="2180"/>
                  <a:pt x="3521" y="2163"/>
                </a:cubicBezTo>
                <a:cubicBezTo>
                  <a:pt x="3521" y="2148"/>
                  <a:pt x="3537" y="2116"/>
                  <a:pt x="3553" y="2100"/>
                </a:cubicBezTo>
                <a:cubicBezTo>
                  <a:pt x="3585" y="2052"/>
                  <a:pt x="3633" y="2036"/>
                  <a:pt x="3696" y="2020"/>
                </a:cubicBezTo>
                <a:lnTo>
                  <a:pt x="3712" y="2020"/>
                </a:lnTo>
                <a:cubicBezTo>
                  <a:pt x="3760" y="2020"/>
                  <a:pt x="3807" y="2036"/>
                  <a:pt x="3839" y="2068"/>
                </a:cubicBezTo>
                <a:cubicBezTo>
                  <a:pt x="3887" y="2100"/>
                  <a:pt x="3919" y="2148"/>
                  <a:pt x="3919" y="2211"/>
                </a:cubicBezTo>
                <a:cubicBezTo>
                  <a:pt x="3935" y="2323"/>
                  <a:pt x="3855" y="2418"/>
                  <a:pt x="3744" y="2434"/>
                </a:cubicBezTo>
                <a:close/>
                <a:moveTo>
                  <a:pt x="5048" y="2609"/>
                </a:moveTo>
                <a:cubicBezTo>
                  <a:pt x="5043" y="2630"/>
                  <a:pt x="5048" y="2625"/>
                  <a:pt x="5032" y="2672"/>
                </a:cubicBezTo>
                <a:cubicBezTo>
                  <a:pt x="4952" y="2799"/>
                  <a:pt x="4842" y="2911"/>
                  <a:pt x="4428" y="2799"/>
                </a:cubicBezTo>
                <a:cubicBezTo>
                  <a:pt x="4189" y="2736"/>
                  <a:pt x="4030" y="2593"/>
                  <a:pt x="3950" y="2513"/>
                </a:cubicBezTo>
                <a:cubicBezTo>
                  <a:pt x="3982" y="2481"/>
                  <a:pt x="4014" y="2450"/>
                  <a:pt x="4030" y="2402"/>
                </a:cubicBezTo>
                <a:lnTo>
                  <a:pt x="4046" y="2402"/>
                </a:lnTo>
                <a:cubicBezTo>
                  <a:pt x="4205" y="2450"/>
                  <a:pt x="4443" y="2513"/>
                  <a:pt x="4682" y="2529"/>
                </a:cubicBezTo>
                <a:cubicBezTo>
                  <a:pt x="5000" y="2545"/>
                  <a:pt x="5048" y="2593"/>
                  <a:pt x="5048" y="2609"/>
                </a:cubicBezTo>
                <a:close/>
                <a:moveTo>
                  <a:pt x="4125" y="5551"/>
                </a:moveTo>
                <a:cubicBezTo>
                  <a:pt x="4142" y="5551"/>
                  <a:pt x="4157" y="5551"/>
                  <a:pt x="4173" y="5535"/>
                </a:cubicBezTo>
                <a:cubicBezTo>
                  <a:pt x="4189" y="5519"/>
                  <a:pt x="4205" y="5488"/>
                  <a:pt x="4205" y="5472"/>
                </a:cubicBezTo>
                <a:lnTo>
                  <a:pt x="3807" y="2689"/>
                </a:lnTo>
                <a:cubicBezTo>
                  <a:pt x="3792" y="2641"/>
                  <a:pt x="3760" y="2609"/>
                  <a:pt x="3728" y="2609"/>
                </a:cubicBezTo>
                <a:lnTo>
                  <a:pt x="3696" y="2609"/>
                </a:lnTo>
                <a:cubicBezTo>
                  <a:pt x="3664" y="2609"/>
                  <a:pt x="3633" y="2641"/>
                  <a:pt x="3616" y="2689"/>
                </a:cubicBezTo>
                <a:lnTo>
                  <a:pt x="3219" y="5472"/>
                </a:lnTo>
                <a:cubicBezTo>
                  <a:pt x="3219" y="5488"/>
                  <a:pt x="3235" y="5519"/>
                  <a:pt x="3251" y="5535"/>
                </a:cubicBezTo>
                <a:cubicBezTo>
                  <a:pt x="3251" y="5551"/>
                  <a:pt x="3283" y="5551"/>
                  <a:pt x="3298" y="5551"/>
                </a:cubicBezTo>
                <a:close/>
                <a:moveTo>
                  <a:pt x="3712" y="3181"/>
                </a:moveTo>
                <a:lnTo>
                  <a:pt x="4030" y="5392"/>
                </a:lnTo>
                <a:lnTo>
                  <a:pt x="3394" y="5392"/>
                </a:lnTo>
                <a:close/>
                <a:moveTo>
                  <a:pt x="197" y="1336"/>
                </a:moveTo>
                <a:lnTo>
                  <a:pt x="643" y="1336"/>
                </a:lnTo>
                <a:cubicBezTo>
                  <a:pt x="658" y="1480"/>
                  <a:pt x="722" y="1607"/>
                  <a:pt x="801" y="1718"/>
                </a:cubicBezTo>
                <a:lnTo>
                  <a:pt x="483" y="2020"/>
                </a:lnTo>
                <a:cubicBezTo>
                  <a:pt x="452" y="2052"/>
                  <a:pt x="452" y="2100"/>
                  <a:pt x="483" y="2132"/>
                </a:cubicBezTo>
                <a:cubicBezTo>
                  <a:pt x="499" y="2148"/>
                  <a:pt x="515" y="2163"/>
                  <a:pt x="547" y="2163"/>
                </a:cubicBezTo>
                <a:cubicBezTo>
                  <a:pt x="563" y="2163"/>
                  <a:pt x="579" y="2148"/>
                  <a:pt x="595" y="2132"/>
                </a:cubicBezTo>
                <a:lnTo>
                  <a:pt x="913" y="1829"/>
                </a:lnTo>
                <a:cubicBezTo>
                  <a:pt x="1024" y="1909"/>
                  <a:pt x="1152" y="1972"/>
                  <a:pt x="1295" y="1972"/>
                </a:cubicBezTo>
                <a:lnTo>
                  <a:pt x="1295" y="2418"/>
                </a:lnTo>
                <a:cubicBezTo>
                  <a:pt x="1295" y="2466"/>
                  <a:pt x="1326" y="2498"/>
                  <a:pt x="1374" y="2498"/>
                </a:cubicBezTo>
                <a:cubicBezTo>
                  <a:pt x="1406" y="2498"/>
                  <a:pt x="1453" y="2466"/>
                  <a:pt x="1453" y="2418"/>
                </a:cubicBezTo>
                <a:lnTo>
                  <a:pt x="1453" y="1972"/>
                </a:lnTo>
                <a:cubicBezTo>
                  <a:pt x="1596" y="1972"/>
                  <a:pt x="1724" y="1909"/>
                  <a:pt x="1819" y="1829"/>
                </a:cubicBezTo>
                <a:lnTo>
                  <a:pt x="2137" y="2132"/>
                </a:lnTo>
                <a:cubicBezTo>
                  <a:pt x="2153" y="2148"/>
                  <a:pt x="2169" y="2163"/>
                  <a:pt x="2201" y="2163"/>
                </a:cubicBezTo>
                <a:cubicBezTo>
                  <a:pt x="2217" y="2163"/>
                  <a:pt x="2233" y="2148"/>
                  <a:pt x="2249" y="2132"/>
                </a:cubicBezTo>
                <a:cubicBezTo>
                  <a:pt x="2280" y="2100"/>
                  <a:pt x="2280" y="2052"/>
                  <a:pt x="2249" y="2020"/>
                </a:cubicBezTo>
                <a:lnTo>
                  <a:pt x="1947" y="1718"/>
                </a:lnTo>
                <a:cubicBezTo>
                  <a:pt x="2026" y="1607"/>
                  <a:pt x="2074" y="1480"/>
                  <a:pt x="2090" y="1336"/>
                </a:cubicBezTo>
                <a:lnTo>
                  <a:pt x="2535" y="1336"/>
                </a:lnTo>
                <a:cubicBezTo>
                  <a:pt x="2583" y="1336"/>
                  <a:pt x="2615" y="1305"/>
                  <a:pt x="2615" y="1257"/>
                </a:cubicBezTo>
                <a:cubicBezTo>
                  <a:pt x="2615" y="1209"/>
                  <a:pt x="2583" y="1177"/>
                  <a:pt x="2535" y="1177"/>
                </a:cubicBezTo>
                <a:lnTo>
                  <a:pt x="2090" y="1177"/>
                </a:lnTo>
                <a:cubicBezTo>
                  <a:pt x="2074" y="1034"/>
                  <a:pt x="2026" y="907"/>
                  <a:pt x="1947" y="796"/>
                </a:cubicBezTo>
                <a:lnTo>
                  <a:pt x="2249" y="478"/>
                </a:lnTo>
                <a:cubicBezTo>
                  <a:pt x="2280" y="446"/>
                  <a:pt x="2280" y="398"/>
                  <a:pt x="2249" y="366"/>
                </a:cubicBezTo>
                <a:cubicBezTo>
                  <a:pt x="2217" y="335"/>
                  <a:pt x="2169" y="335"/>
                  <a:pt x="2137" y="366"/>
                </a:cubicBezTo>
                <a:lnTo>
                  <a:pt x="1819" y="684"/>
                </a:lnTo>
                <a:cubicBezTo>
                  <a:pt x="1724" y="605"/>
                  <a:pt x="1596" y="541"/>
                  <a:pt x="1453" y="525"/>
                </a:cubicBezTo>
                <a:lnTo>
                  <a:pt x="1453" y="80"/>
                </a:lnTo>
                <a:cubicBezTo>
                  <a:pt x="1453" y="48"/>
                  <a:pt x="1406" y="0"/>
                  <a:pt x="1374" y="0"/>
                </a:cubicBezTo>
                <a:cubicBezTo>
                  <a:pt x="1326" y="0"/>
                  <a:pt x="1295" y="48"/>
                  <a:pt x="1295" y="80"/>
                </a:cubicBezTo>
                <a:lnTo>
                  <a:pt x="1295" y="525"/>
                </a:lnTo>
                <a:cubicBezTo>
                  <a:pt x="1152" y="541"/>
                  <a:pt x="1024" y="605"/>
                  <a:pt x="913" y="684"/>
                </a:cubicBezTo>
                <a:lnTo>
                  <a:pt x="595" y="366"/>
                </a:lnTo>
                <a:cubicBezTo>
                  <a:pt x="563" y="335"/>
                  <a:pt x="515" y="335"/>
                  <a:pt x="483" y="366"/>
                </a:cubicBezTo>
                <a:cubicBezTo>
                  <a:pt x="452" y="398"/>
                  <a:pt x="452" y="446"/>
                  <a:pt x="483" y="478"/>
                </a:cubicBezTo>
                <a:lnTo>
                  <a:pt x="801" y="796"/>
                </a:lnTo>
                <a:cubicBezTo>
                  <a:pt x="722" y="907"/>
                  <a:pt x="658" y="1034"/>
                  <a:pt x="643" y="1177"/>
                </a:cubicBezTo>
                <a:lnTo>
                  <a:pt x="197" y="1177"/>
                </a:lnTo>
                <a:cubicBezTo>
                  <a:pt x="149" y="1177"/>
                  <a:pt x="117" y="1209"/>
                  <a:pt x="117" y="1257"/>
                </a:cubicBezTo>
                <a:cubicBezTo>
                  <a:pt x="117" y="1305"/>
                  <a:pt x="149" y="1336"/>
                  <a:pt x="197" y="1336"/>
                </a:cubicBezTo>
                <a:close/>
                <a:moveTo>
                  <a:pt x="1374" y="684"/>
                </a:moveTo>
                <a:cubicBezTo>
                  <a:pt x="1692" y="684"/>
                  <a:pt x="1947" y="939"/>
                  <a:pt x="1947" y="1257"/>
                </a:cubicBezTo>
                <a:cubicBezTo>
                  <a:pt x="1947" y="1575"/>
                  <a:pt x="1692" y="1829"/>
                  <a:pt x="1374" y="1829"/>
                </a:cubicBezTo>
                <a:cubicBezTo>
                  <a:pt x="1056" y="1829"/>
                  <a:pt x="801" y="1575"/>
                  <a:pt x="801" y="1257"/>
                </a:cubicBezTo>
                <a:cubicBezTo>
                  <a:pt x="801" y="939"/>
                  <a:pt x="1056" y="684"/>
                  <a:pt x="1374" y="684"/>
                </a:cubicBezTo>
                <a:close/>
                <a:moveTo>
                  <a:pt x="38" y="4152"/>
                </a:moveTo>
                <a:cubicBezTo>
                  <a:pt x="70" y="4168"/>
                  <a:pt x="117" y="4168"/>
                  <a:pt x="149" y="4120"/>
                </a:cubicBezTo>
                <a:cubicBezTo>
                  <a:pt x="340" y="3817"/>
                  <a:pt x="833" y="3977"/>
                  <a:pt x="1342" y="4152"/>
                </a:cubicBezTo>
                <a:cubicBezTo>
                  <a:pt x="1644" y="4263"/>
                  <a:pt x="1962" y="4358"/>
                  <a:pt x="2233" y="4358"/>
                </a:cubicBezTo>
                <a:cubicBezTo>
                  <a:pt x="2440" y="4358"/>
                  <a:pt x="2615" y="4295"/>
                  <a:pt x="2726" y="4120"/>
                </a:cubicBezTo>
                <a:cubicBezTo>
                  <a:pt x="2742" y="4088"/>
                  <a:pt x="2742" y="4025"/>
                  <a:pt x="2694" y="4008"/>
                </a:cubicBezTo>
                <a:cubicBezTo>
                  <a:pt x="2662" y="3977"/>
                  <a:pt x="2615" y="3992"/>
                  <a:pt x="2599" y="4025"/>
                </a:cubicBezTo>
                <a:cubicBezTo>
                  <a:pt x="2392" y="4343"/>
                  <a:pt x="1915" y="4183"/>
                  <a:pt x="1390" y="4008"/>
                </a:cubicBezTo>
                <a:cubicBezTo>
                  <a:pt x="849" y="3817"/>
                  <a:pt x="277" y="3627"/>
                  <a:pt x="6" y="4040"/>
                </a:cubicBezTo>
                <a:cubicBezTo>
                  <a:pt x="-10" y="4072"/>
                  <a:pt x="6" y="4120"/>
                  <a:pt x="38" y="4152"/>
                </a:cubicBezTo>
                <a:close/>
                <a:moveTo>
                  <a:pt x="38" y="4565"/>
                </a:moveTo>
                <a:cubicBezTo>
                  <a:pt x="70" y="4581"/>
                  <a:pt x="117" y="4581"/>
                  <a:pt x="149" y="4534"/>
                </a:cubicBezTo>
                <a:cubicBezTo>
                  <a:pt x="340" y="4231"/>
                  <a:pt x="833" y="4390"/>
                  <a:pt x="1342" y="4565"/>
                </a:cubicBezTo>
                <a:cubicBezTo>
                  <a:pt x="1644" y="4677"/>
                  <a:pt x="1962" y="4772"/>
                  <a:pt x="2233" y="4772"/>
                </a:cubicBezTo>
                <a:cubicBezTo>
                  <a:pt x="2440" y="4772"/>
                  <a:pt x="2615" y="4708"/>
                  <a:pt x="2726" y="4534"/>
                </a:cubicBezTo>
                <a:cubicBezTo>
                  <a:pt x="2742" y="4486"/>
                  <a:pt x="2742" y="4438"/>
                  <a:pt x="2694" y="4422"/>
                </a:cubicBezTo>
                <a:cubicBezTo>
                  <a:pt x="2662" y="4390"/>
                  <a:pt x="2615" y="4406"/>
                  <a:pt x="2599" y="4438"/>
                </a:cubicBezTo>
                <a:cubicBezTo>
                  <a:pt x="2392" y="4756"/>
                  <a:pt x="1915" y="4581"/>
                  <a:pt x="1390" y="4422"/>
                </a:cubicBezTo>
                <a:cubicBezTo>
                  <a:pt x="849" y="4231"/>
                  <a:pt x="277" y="4040"/>
                  <a:pt x="6" y="4454"/>
                </a:cubicBezTo>
                <a:cubicBezTo>
                  <a:pt x="-10" y="4486"/>
                  <a:pt x="6" y="4534"/>
                  <a:pt x="38" y="456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57300018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D732DAD-C2BE-4A14-B4EB-6508C2CCF645}"/>
              </a:ext>
            </a:extLst>
          </p:cNvPr>
          <p:cNvSpPr/>
          <p:nvPr/>
        </p:nvSpPr>
        <p:spPr>
          <a:xfrm>
            <a:off x="1257299" y="2860675"/>
            <a:ext cx="21863051" cy="861774"/>
          </a:xfrm>
          <a:prstGeom prst="rect">
            <a:avLst/>
          </a:prstGeom>
        </p:spPr>
        <p:txBody>
          <a:bodyPr wrap="square" lIns="0" tIns="0" rIns="0" bIns="0">
            <a:spAutoFit/>
          </a:bodyPr>
          <a:lstStyle/>
          <a:p>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Duis </a:t>
            </a:r>
            <a:r>
              <a:rPr lang="en-US" sz="2800" dirty="0" err="1"/>
              <a:t>suscipit</a:t>
            </a:r>
            <a:r>
              <a:rPr lang="en-US" sz="2800" dirty="0"/>
              <a:t> in </a:t>
            </a:r>
            <a:r>
              <a:rPr lang="en-US" sz="2800" dirty="0" err="1"/>
              <a:t>tellus</a:t>
            </a:r>
            <a:r>
              <a:rPr lang="en-US" sz="2800" dirty="0"/>
              <a:t> ac </a:t>
            </a:r>
            <a:r>
              <a:rPr lang="en-US" sz="2800" dirty="0" err="1"/>
              <a:t>bibendum</a:t>
            </a:r>
            <a:r>
              <a:rPr lang="en-US" sz="2800" dirty="0"/>
              <a:t>. Sed </a:t>
            </a:r>
            <a:r>
              <a:rPr lang="en-US" sz="2800" dirty="0" err="1"/>
              <a:t>congue</a:t>
            </a:r>
            <a:r>
              <a:rPr lang="en-US" sz="2800" dirty="0"/>
              <a:t> </a:t>
            </a:r>
            <a:r>
              <a:rPr lang="en-US" sz="2800" dirty="0" err="1"/>
              <a:t>lacus</a:t>
            </a:r>
            <a:r>
              <a:rPr lang="en-US" sz="2800" dirty="0"/>
              <a:t> vitae </a:t>
            </a:r>
            <a:r>
              <a:rPr lang="en-US" sz="2800" dirty="0" err="1"/>
              <a:t>tellus</a:t>
            </a:r>
            <a:r>
              <a:rPr lang="en-US" sz="2800" dirty="0"/>
              <a:t> </a:t>
            </a:r>
            <a:r>
              <a:rPr lang="en-US" sz="2800" dirty="0" err="1"/>
              <a:t>finibus</a:t>
            </a:r>
            <a:r>
              <a:rPr lang="en-US" sz="2800" dirty="0"/>
              <a:t>, </a:t>
            </a:r>
            <a:r>
              <a:rPr lang="en-US" sz="2800" dirty="0" err="1"/>
              <a:t>eu</a:t>
            </a:r>
            <a:r>
              <a:rPr lang="en-US" sz="2800" dirty="0"/>
              <a:t> </a:t>
            </a:r>
            <a:r>
              <a:rPr lang="en-US" sz="2800" dirty="0" err="1"/>
              <a:t>faucibus</a:t>
            </a:r>
            <a:r>
              <a:rPr lang="en-US" sz="2800" dirty="0"/>
              <a:t> nisi </a:t>
            </a:r>
            <a:r>
              <a:rPr lang="en-US" sz="2800" dirty="0" err="1"/>
              <a:t>ullamcorper</a:t>
            </a:r>
            <a:r>
              <a:rPr lang="en-US" sz="2800" dirty="0"/>
              <a:t>. </a:t>
            </a:r>
          </a:p>
        </p:txBody>
      </p:sp>
      <p:grpSp>
        <p:nvGrpSpPr>
          <p:cNvPr id="7" name="Group 6">
            <a:extLst>
              <a:ext uri="{FF2B5EF4-FFF2-40B4-BE49-F238E27FC236}">
                <a16:creationId xmlns:a16="http://schemas.microsoft.com/office/drawing/2014/main" id="{039B0CAC-C241-4AD7-9B9F-F4F89AEE81E1}"/>
              </a:ext>
            </a:extLst>
          </p:cNvPr>
          <p:cNvGrpSpPr/>
          <p:nvPr/>
        </p:nvGrpSpPr>
        <p:grpSpPr>
          <a:xfrm>
            <a:off x="2185704" y="4076857"/>
            <a:ext cx="5457751" cy="4944680"/>
            <a:chOff x="838201" y="1921699"/>
            <a:chExt cx="3759199" cy="3405805"/>
          </a:xfrm>
        </p:grpSpPr>
        <p:graphicFrame>
          <p:nvGraphicFramePr>
            <p:cNvPr id="22" name="Chart 21">
              <a:extLst>
                <a:ext uri="{FF2B5EF4-FFF2-40B4-BE49-F238E27FC236}">
                  <a16:creationId xmlns:a16="http://schemas.microsoft.com/office/drawing/2014/main" id="{F70CE0F3-B87D-4665-95F2-E5B3920F401D}"/>
                </a:ext>
              </a:extLst>
            </p:cNvPr>
            <p:cNvGraphicFramePr/>
            <p:nvPr/>
          </p:nvGraphicFramePr>
          <p:xfrm>
            <a:off x="838201" y="1921699"/>
            <a:ext cx="3759199" cy="3405805"/>
          </p:xfrm>
          <a:graphic>
            <a:graphicData uri="http://schemas.openxmlformats.org/drawingml/2006/chart">
              <c:chart xmlns:c="http://schemas.openxmlformats.org/drawingml/2006/chart" xmlns:r="http://schemas.openxmlformats.org/officeDocument/2006/relationships" r:id="rId2"/>
            </a:graphicData>
          </a:graphic>
        </p:graphicFrame>
        <p:sp>
          <p:nvSpPr>
            <p:cNvPr id="23" name="Oval 22">
              <a:extLst>
                <a:ext uri="{FF2B5EF4-FFF2-40B4-BE49-F238E27FC236}">
                  <a16:creationId xmlns:a16="http://schemas.microsoft.com/office/drawing/2014/main" id="{09EABBD2-4899-4EB7-9B33-2DFA72498A05}"/>
                </a:ext>
              </a:extLst>
            </p:cNvPr>
            <p:cNvSpPr/>
            <p:nvPr/>
          </p:nvSpPr>
          <p:spPr>
            <a:xfrm>
              <a:off x="1873250" y="2780051"/>
              <a:ext cx="1689100" cy="1689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dirty="0">
                  <a:solidFill>
                    <a:schemeClr val="tx1"/>
                  </a:solidFill>
                </a:rPr>
                <a:t>2016</a:t>
              </a:r>
            </a:p>
          </p:txBody>
        </p:sp>
      </p:grpSp>
      <p:grpSp>
        <p:nvGrpSpPr>
          <p:cNvPr id="27" name="Group 26">
            <a:extLst>
              <a:ext uri="{FF2B5EF4-FFF2-40B4-BE49-F238E27FC236}">
                <a16:creationId xmlns:a16="http://schemas.microsoft.com/office/drawing/2014/main" id="{C5856224-4E9D-431F-8522-40297F3359D6}"/>
              </a:ext>
            </a:extLst>
          </p:cNvPr>
          <p:cNvGrpSpPr/>
          <p:nvPr/>
        </p:nvGrpSpPr>
        <p:grpSpPr>
          <a:xfrm>
            <a:off x="9462331" y="4076857"/>
            <a:ext cx="5457751" cy="4944680"/>
            <a:chOff x="838201" y="1921699"/>
            <a:chExt cx="3759199" cy="3405805"/>
          </a:xfrm>
        </p:grpSpPr>
        <p:graphicFrame>
          <p:nvGraphicFramePr>
            <p:cNvPr id="31" name="Chart 30">
              <a:extLst>
                <a:ext uri="{FF2B5EF4-FFF2-40B4-BE49-F238E27FC236}">
                  <a16:creationId xmlns:a16="http://schemas.microsoft.com/office/drawing/2014/main" id="{21EA1EB9-318D-43C5-A7F6-693D06C6547A}"/>
                </a:ext>
              </a:extLst>
            </p:cNvPr>
            <p:cNvGraphicFramePr/>
            <p:nvPr/>
          </p:nvGraphicFramePr>
          <p:xfrm>
            <a:off x="838201" y="1921699"/>
            <a:ext cx="3759199" cy="3405805"/>
          </p:xfrm>
          <a:graphic>
            <a:graphicData uri="http://schemas.openxmlformats.org/drawingml/2006/chart">
              <c:chart xmlns:c="http://schemas.openxmlformats.org/drawingml/2006/chart" xmlns:r="http://schemas.openxmlformats.org/officeDocument/2006/relationships" r:id="rId3"/>
            </a:graphicData>
          </a:graphic>
        </p:graphicFrame>
        <p:sp>
          <p:nvSpPr>
            <p:cNvPr id="32" name="Oval 31">
              <a:extLst>
                <a:ext uri="{FF2B5EF4-FFF2-40B4-BE49-F238E27FC236}">
                  <a16:creationId xmlns:a16="http://schemas.microsoft.com/office/drawing/2014/main" id="{CECEF4C3-A3CF-418C-87C9-42A88C310C22}"/>
                </a:ext>
              </a:extLst>
            </p:cNvPr>
            <p:cNvSpPr/>
            <p:nvPr/>
          </p:nvSpPr>
          <p:spPr>
            <a:xfrm>
              <a:off x="1873250" y="2780051"/>
              <a:ext cx="1689100" cy="1689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dirty="0">
                  <a:solidFill>
                    <a:schemeClr val="tx1"/>
                  </a:solidFill>
                </a:rPr>
                <a:t>2017</a:t>
              </a:r>
            </a:p>
          </p:txBody>
        </p:sp>
      </p:grpSp>
      <p:grpSp>
        <p:nvGrpSpPr>
          <p:cNvPr id="33" name="Group 32">
            <a:extLst>
              <a:ext uri="{FF2B5EF4-FFF2-40B4-BE49-F238E27FC236}">
                <a16:creationId xmlns:a16="http://schemas.microsoft.com/office/drawing/2014/main" id="{0CEB9E93-36D8-48AF-9BB1-B171EE4D4B6C}"/>
              </a:ext>
            </a:extLst>
          </p:cNvPr>
          <p:cNvGrpSpPr/>
          <p:nvPr/>
        </p:nvGrpSpPr>
        <p:grpSpPr>
          <a:xfrm>
            <a:off x="16738959" y="4076857"/>
            <a:ext cx="5457751" cy="4944680"/>
            <a:chOff x="838201" y="1921699"/>
            <a:chExt cx="3759199" cy="3405805"/>
          </a:xfrm>
        </p:grpSpPr>
        <p:graphicFrame>
          <p:nvGraphicFramePr>
            <p:cNvPr id="34" name="Chart 33">
              <a:extLst>
                <a:ext uri="{FF2B5EF4-FFF2-40B4-BE49-F238E27FC236}">
                  <a16:creationId xmlns:a16="http://schemas.microsoft.com/office/drawing/2014/main" id="{EB788F92-3687-4A68-AF55-D27E3804F718}"/>
                </a:ext>
              </a:extLst>
            </p:cNvPr>
            <p:cNvGraphicFramePr/>
            <p:nvPr/>
          </p:nvGraphicFramePr>
          <p:xfrm>
            <a:off x="838201" y="1921699"/>
            <a:ext cx="3759199" cy="3405805"/>
          </p:xfrm>
          <a:graphic>
            <a:graphicData uri="http://schemas.openxmlformats.org/drawingml/2006/chart">
              <c:chart xmlns:c="http://schemas.openxmlformats.org/drawingml/2006/chart" xmlns:r="http://schemas.openxmlformats.org/officeDocument/2006/relationships" r:id="rId4"/>
            </a:graphicData>
          </a:graphic>
        </p:graphicFrame>
        <p:sp>
          <p:nvSpPr>
            <p:cNvPr id="35" name="Oval 34">
              <a:extLst>
                <a:ext uri="{FF2B5EF4-FFF2-40B4-BE49-F238E27FC236}">
                  <a16:creationId xmlns:a16="http://schemas.microsoft.com/office/drawing/2014/main" id="{4173E98F-9480-4166-8DF4-ECC73CE98FEE}"/>
                </a:ext>
              </a:extLst>
            </p:cNvPr>
            <p:cNvSpPr/>
            <p:nvPr/>
          </p:nvSpPr>
          <p:spPr>
            <a:xfrm>
              <a:off x="1873250" y="2780051"/>
              <a:ext cx="1689100" cy="1689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dirty="0">
                  <a:solidFill>
                    <a:schemeClr val="tx1"/>
                  </a:solidFill>
                </a:rPr>
                <a:t>2018</a:t>
              </a:r>
            </a:p>
          </p:txBody>
        </p:sp>
      </p:grpSp>
      <p:sp>
        <p:nvSpPr>
          <p:cNvPr id="36" name="Rectangle 35">
            <a:extLst>
              <a:ext uri="{FF2B5EF4-FFF2-40B4-BE49-F238E27FC236}">
                <a16:creationId xmlns:a16="http://schemas.microsoft.com/office/drawing/2014/main" id="{305DAF2F-E441-496D-82DE-8E2B344F1D0E}"/>
              </a:ext>
            </a:extLst>
          </p:cNvPr>
          <p:cNvSpPr/>
          <p:nvPr/>
        </p:nvSpPr>
        <p:spPr>
          <a:xfrm>
            <a:off x="2185703" y="9418625"/>
            <a:ext cx="5457749" cy="1107996"/>
          </a:xfrm>
          <a:prstGeom prst="rect">
            <a:avLst/>
          </a:prstGeom>
        </p:spPr>
        <p:txBody>
          <a:bodyPr wrap="square" lIns="0" tIns="0" rIns="0" bIns="0" anchor="ctr">
            <a:spAutoFit/>
          </a:bodyPr>
          <a:lstStyle/>
          <a:p>
            <a:pPr marL="571471" indent="-571471">
              <a:buClr>
                <a:schemeClr val="accent2"/>
              </a:buClr>
              <a:buFont typeface="Arial" panose="020B0604020202020204" pitchFamily="34" charset="0"/>
              <a:buChar char="•"/>
            </a:pPr>
            <a:r>
              <a:rPr lang="en-US" sz="2400" dirty="0"/>
              <a:t>Lorem ipsum dolor sit </a:t>
            </a:r>
            <a:r>
              <a:rPr lang="en-US" sz="2400" dirty="0" err="1"/>
              <a:t>amet</a:t>
            </a:r>
            <a:r>
              <a:rPr lang="en-US" sz="2400" dirty="0"/>
              <a:t>, </a:t>
            </a:r>
            <a:r>
              <a:rPr lang="en-US" sz="2400" dirty="0" err="1"/>
              <a:t>consectetur</a:t>
            </a:r>
            <a:r>
              <a:rPr lang="en-US" sz="2400" dirty="0"/>
              <a:t> </a:t>
            </a:r>
            <a:r>
              <a:rPr lang="en-US" sz="2400" dirty="0" err="1"/>
              <a:t>adipiscing</a:t>
            </a:r>
            <a:r>
              <a:rPr lang="en-US" sz="2400" dirty="0"/>
              <a:t> </a:t>
            </a:r>
            <a:r>
              <a:rPr lang="en-US" sz="2400" dirty="0" err="1"/>
              <a:t>elit</a:t>
            </a:r>
            <a:r>
              <a:rPr lang="en-US" sz="2400" dirty="0"/>
              <a:t>. Duis </a:t>
            </a:r>
            <a:r>
              <a:rPr lang="en-US" sz="2400" dirty="0" err="1"/>
              <a:t>suscipit</a:t>
            </a:r>
            <a:r>
              <a:rPr lang="en-US" sz="2400" dirty="0"/>
              <a:t> in </a:t>
            </a:r>
            <a:r>
              <a:rPr lang="en-US" sz="2400" dirty="0" err="1"/>
              <a:t>tellus</a:t>
            </a:r>
            <a:r>
              <a:rPr lang="en-US" sz="2400" dirty="0"/>
              <a:t> ac </a:t>
            </a:r>
            <a:r>
              <a:rPr lang="en-US" sz="2400" dirty="0" err="1"/>
              <a:t>bibendum</a:t>
            </a:r>
            <a:r>
              <a:rPr lang="en-US" sz="2400" dirty="0"/>
              <a:t>. </a:t>
            </a:r>
          </a:p>
        </p:txBody>
      </p:sp>
      <p:sp>
        <p:nvSpPr>
          <p:cNvPr id="37" name="Rectangle 36">
            <a:extLst>
              <a:ext uri="{FF2B5EF4-FFF2-40B4-BE49-F238E27FC236}">
                <a16:creationId xmlns:a16="http://schemas.microsoft.com/office/drawing/2014/main" id="{ED475EF6-7D10-48DA-A83C-A78686DC48C9}"/>
              </a:ext>
            </a:extLst>
          </p:cNvPr>
          <p:cNvSpPr/>
          <p:nvPr/>
        </p:nvSpPr>
        <p:spPr>
          <a:xfrm>
            <a:off x="2185703" y="10898365"/>
            <a:ext cx="5457749" cy="1107996"/>
          </a:xfrm>
          <a:prstGeom prst="rect">
            <a:avLst/>
          </a:prstGeom>
        </p:spPr>
        <p:txBody>
          <a:bodyPr wrap="square" lIns="0" tIns="0" rIns="0" bIns="0" anchor="ctr">
            <a:spAutoFit/>
          </a:bodyPr>
          <a:lstStyle/>
          <a:p>
            <a:pPr marL="571471" indent="-571471">
              <a:buClr>
                <a:schemeClr val="accent2"/>
              </a:buClr>
              <a:buFont typeface="Arial" panose="020B0604020202020204" pitchFamily="34" charset="0"/>
              <a:buChar char="•"/>
            </a:pPr>
            <a:r>
              <a:rPr lang="en-US" sz="2400" dirty="0"/>
              <a:t>Lorem ipsum dolor sit </a:t>
            </a:r>
            <a:r>
              <a:rPr lang="en-US" sz="2400" dirty="0" err="1"/>
              <a:t>amet</a:t>
            </a:r>
            <a:r>
              <a:rPr lang="en-US" sz="2400" dirty="0"/>
              <a:t>, </a:t>
            </a:r>
            <a:r>
              <a:rPr lang="en-US" sz="2400" dirty="0" err="1"/>
              <a:t>consectetur</a:t>
            </a:r>
            <a:r>
              <a:rPr lang="en-US" sz="2400" dirty="0"/>
              <a:t> </a:t>
            </a:r>
            <a:r>
              <a:rPr lang="en-US" sz="2400" dirty="0" err="1"/>
              <a:t>adipiscing</a:t>
            </a:r>
            <a:r>
              <a:rPr lang="en-US" sz="2400" dirty="0"/>
              <a:t> </a:t>
            </a:r>
            <a:r>
              <a:rPr lang="en-US" sz="2400" dirty="0" err="1"/>
              <a:t>elit</a:t>
            </a:r>
            <a:r>
              <a:rPr lang="en-US" sz="2400" dirty="0"/>
              <a:t>. Duis </a:t>
            </a:r>
            <a:r>
              <a:rPr lang="en-US" sz="2400" dirty="0" err="1"/>
              <a:t>suscipit</a:t>
            </a:r>
            <a:r>
              <a:rPr lang="en-US" sz="2400" dirty="0"/>
              <a:t> in </a:t>
            </a:r>
            <a:r>
              <a:rPr lang="en-US" sz="2400" dirty="0" err="1"/>
              <a:t>tellus</a:t>
            </a:r>
            <a:r>
              <a:rPr lang="en-US" sz="2400" dirty="0"/>
              <a:t> ac </a:t>
            </a:r>
            <a:r>
              <a:rPr lang="en-US" sz="2400" dirty="0" err="1"/>
              <a:t>bibendum</a:t>
            </a:r>
            <a:r>
              <a:rPr lang="en-US" sz="2400" dirty="0"/>
              <a:t>. </a:t>
            </a:r>
          </a:p>
        </p:txBody>
      </p:sp>
      <p:sp>
        <p:nvSpPr>
          <p:cNvPr id="39" name="Rectangle 38">
            <a:extLst>
              <a:ext uri="{FF2B5EF4-FFF2-40B4-BE49-F238E27FC236}">
                <a16:creationId xmlns:a16="http://schemas.microsoft.com/office/drawing/2014/main" id="{34A8C64F-2DEC-4004-8C0B-5667873002BC}"/>
              </a:ext>
            </a:extLst>
          </p:cNvPr>
          <p:cNvSpPr/>
          <p:nvPr/>
        </p:nvSpPr>
        <p:spPr>
          <a:xfrm>
            <a:off x="9462332" y="9418625"/>
            <a:ext cx="5457749" cy="1107996"/>
          </a:xfrm>
          <a:prstGeom prst="rect">
            <a:avLst/>
          </a:prstGeom>
        </p:spPr>
        <p:txBody>
          <a:bodyPr wrap="square" lIns="0" tIns="0" rIns="0" bIns="0" anchor="ctr">
            <a:spAutoFit/>
          </a:bodyPr>
          <a:lstStyle/>
          <a:p>
            <a:pPr marL="571471" indent="-571471">
              <a:buClr>
                <a:schemeClr val="accent3"/>
              </a:buClr>
              <a:buFont typeface="Arial" panose="020B0604020202020204" pitchFamily="34" charset="0"/>
              <a:buChar char="•"/>
            </a:pPr>
            <a:r>
              <a:rPr lang="en-US" sz="2400" dirty="0"/>
              <a:t>Lorem ipsum dolor sit </a:t>
            </a:r>
            <a:r>
              <a:rPr lang="en-US" sz="2400" dirty="0" err="1"/>
              <a:t>amet</a:t>
            </a:r>
            <a:r>
              <a:rPr lang="en-US" sz="2400" dirty="0"/>
              <a:t>, </a:t>
            </a:r>
            <a:r>
              <a:rPr lang="en-US" sz="2400" dirty="0" err="1"/>
              <a:t>consectetur</a:t>
            </a:r>
            <a:r>
              <a:rPr lang="en-US" sz="2400" dirty="0"/>
              <a:t> </a:t>
            </a:r>
            <a:r>
              <a:rPr lang="en-US" sz="2400" dirty="0" err="1"/>
              <a:t>adipiscing</a:t>
            </a:r>
            <a:r>
              <a:rPr lang="en-US" sz="2400" dirty="0"/>
              <a:t> </a:t>
            </a:r>
            <a:r>
              <a:rPr lang="en-US" sz="2400" dirty="0" err="1"/>
              <a:t>elit</a:t>
            </a:r>
            <a:r>
              <a:rPr lang="en-US" sz="2400" dirty="0"/>
              <a:t>. Duis </a:t>
            </a:r>
            <a:r>
              <a:rPr lang="en-US" sz="2400" dirty="0" err="1"/>
              <a:t>suscipit</a:t>
            </a:r>
            <a:r>
              <a:rPr lang="en-US" sz="2400" dirty="0"/>
              <a:t> in </a:t>
            </a:r>
            <a:r>
              <a:rPr lang="en-US" sz="2400" dirty="0" err="1"/>
              <a:t>tellus</a:t>
            </a:r>
            <a:r>
              <a:rPr lang="en-US" sz="2400" dirty="0"/>
              <a:t> ac </a:t>
            </a:r>
            <a:r>
              <a:rPr lang="en-US" sz="2400" dirty="0" err="1"/>
              <a:t>bibendum</a:t>
            </a:r>
            <a:r>
              <a:rPr lang="en-US" sz="2400" dirty="0"/>
              <a:t>. </a:t>
            </a:r>
          </a:p>
        </p:txBody>
      </p:sp>
      <p:sp>
        <p:nvSpPr>
          <p:cNvPr id="40" name="Rectangle 39">
            <a:extLst>
              <a:ext uri="{FF2B5EF4-FFF2-40B4-BE49-F238E27FC236}">
                <a16:creationId xmlns:a16="http://schemas.microsoft.com/office/drawing/2014/main" id="{03F04276-4C16-4C12-B892-6E54BF0ACE06}"/>
              </a:ext>
            </a:extLst>
          </p:cNvPr>
          <p:cNvSpPr/>
          <p:nvPr/>
        </p:nvSpPr>
        <p:spPr>
          <a:xfrm>
            <a:off x="9462332" y="10898365"/>
            <a:ext cx="5457749" cy="1107996"/>
          </a:xfrm>
          <a:prstGeom prst="rect">
            <a:avLst/>
          </a:prstGeom>
        </p:spPr>
        <p:txBody>
          <a:bodyPr wrap="square" lIns="0" tIns="0" rIns="0" bIns="0" anchor="ctr">
            <a:spAutoFit/>
          </a:bodyPr>
          <a:lstStyle/>
          <a:p>
            <a:pPr marL="571471" indent="-571471">
              <a:buClr>
                <a:schemeClr val="accent3"/>
              </a:buClr>
              <a:buFont typeface="Arial" panose="020B0604020202020204" pitchFamily="34" charset="0"/>
              <a:buChar char="•"/>
            </a:pPr>
            <a:r>
              <a:rPr lang="en-US" sz="2400" dirty="0"/>
              <a:t>Lorem ipsum dolor sit </a:t>
            </a:r>
            <a:r>
              <a:rPr lang="en-US" sz="2400" dirty="0" err="1"/>
              <a:t>amet</a:t>
            </a:r>
            <a:r>
              <a:rPr lang="en-US" sz="2400" dirty="0"/>
              <a:t>, </a:t>
            </a:r>
            <a:r>
              <a:rPr lang="en-US" sz="2400" dirty="0" err="1"/>
              <a:t>consectetur</a:t>
            </a:r>
            <a:r>
              <a:rPr lang="en-US" sz="2400" dirty="0"/>
              <a:t> </a:t>
            </a:r>
            <a:r>
              <a:rPr lang="en-US" sz="2400" dirty="0" err="1"/>
              <a:t>adipiscing</a:t>
            </a:r>
            <a:r>
              <a:rPr lang="en-US" sz="2400" dirty="0"/>
              <a:t> </a:t>
            </a:r>
            <a:r>
              <a:rPr lang="en-US" sz="2400" dirty="0" err="1"/>
              <a:t>elit</a:t>
            </a:r>
            <a:r>
              <a:rPr lang="en-US" sz="2400" dirty="0"/>
              <a:t>. Duis </a:t>
            </a:r>
            <a:r>
              <a:rPr lang="en-US" sz="2400" dirty="0" err="1"/>
              <a:t>suscipit</a:t>
            </a:r>
            <a:r>
              <a:rPr lang="en-US" sz="2400" dirty="0"/>
              <a:t> in </a:t>
            </a:r>
            <a:r>
              <a:rPr lang="en-US" sz="2400" dirty="0" err="1"/>
              <a:t>tellus</a:t>
            </a:r>
            <a:r>
              <a:rPr lang="en-US" sz="2400" dirty="0"/>
              <a:t> ac </a:t>
            </a:r>
            <a:r>
              <a:rPr lang="en-US" sz="2400" dirty="0" err="1"/>
              <a:t>bibendum</a:t>
            </a:r>
            <a:r>
              <a:rPr lang="en-US" sz="2400" dirty="0"/>
              <a:t>. </a:t>
            </a:r>
          </a:p>
        </p:txBody>
      </p:sp>
      <p:sp>
        <p:nvSpPr>
          <p:cNvPr id="42" name="Rectangle 41">
            <a:extLst>
              <a:ext uri="{FF2B5EF4-FFF2-40B4-BE49-F238E27FC236}">
                <a16:creationId xmlns:a16="http://schemas.microsoft.com/office/drawing/2014/main" id="{AC4CF303-82C7-4179-B2FB-827D53D5D147}"/>
              </a:ext>
            </a:extLst>
          </p:cNvPr>
          <p:cNvSpPr/>
          <p:nvPr/>
        </p:nvSpPr>
        <p:spPr>
          <a:xfrm>
            <a:off x="16738960" y="9418625"/>
            <a:ext cx="5457749" cy="1107996"/>
          </a:xfrm>
          <a:prstGeom prst="rect">
            <a:avLst/>
          </a:prstGeom>
        </p:spPr>
        <p:txBody>
          <a:bodyPr wrap="square" lIns="0" tIns="0" rIns="0" bIns="0" anchor="ctr">
            <a:spAutoFit/>
          </a:bodyPr>
          <a:lstStyle/>
          <a:p>
            <a:pPr marL="571471" indent="-571471">
              <a:buClr>
                <a:schemeClr val="tx1">
                  <a:lumMod val="75000"/>
                  <a:lumOff val="25000"/>
                </a:schemeClr>
              </a:buClr>
              <a:buFont typeface="Arial" panose="020B0604020202020204" pitchFamily="34" charset="0"/>
              <a:buChar char="•"/>
            </a:pPr>
            <a:r>
              <a:rPr lang="en-US" sz="2400" dirty="0"/>
              <a:t>Lorem ipsum dolor sit </a:t>
            </a:r>
            <a:r>
              <a:rPr lang="en-US" sz="2400" dirty="0" err="1"/>
              <a:t>amet</a:t>
            </a:r>
            <a:r>
              <a:rPr lang="en-US" sz="2400" dirty="0"/>
              <a:t>, </a:t>
            </a:r>
            <a:r>
              <a:rPr lang="en-US" sz="2400" dirty="0" err="1"/>
              <a:t>consectetur</a:t>
            </a:r>
            <a:r>
              <a:rPr lang="en-US" sz="2400" dirty="0"/>
              <a:t> </a:t>
            </a:r>
            <a:r>
              <a:rPr lang="en-US" sz="2400" dirty="0" err="1"/>
              <a:t>adipiscing</a:t>
            </a:r>
            <a:r>
              <a:rPr lang="en-US" sz="2400" dirty="0"/>
              <a:t> </a:t>
            </a:r>
            <a:r>
              <a:rPr lang="en-US" sz="2400" dirty="0" err="1"/>
              <a:t>elit</a:t>
            </a:r>
            <a:r>
              <a:rPr lang="en-US" sz="2400" dirty="0"/>
              <a:t>. Duis </a:t>
            </a:r>
            <a:r>
              <a:rPr lang="en-US" sz="2400" dirty="0" err="1"/>
              <a:t>suscipit</a:t>
            </a:r>
            <a:r>
              <a:rPr lang="en-US" sz="2400" dirty="0"/>
              <a:t> in </a:t>
            </a:r>
            <a:r>
              <a:rPr lang="en-US" sz="2400" dirty="0" err="1"/>
              <a:t>tellus</a:t>
            </a:r>
            <a:r>
              <a:rPr lang="en-US" sz="2400" dirty="0"/>
              <a:t> ac </a:t>
            </a:r>
            <a:r>
              <a:rPr lang="en-US" sz="2400" dirty="0" err="1"/>
              <a:t>bibendum</a:t>
            </a:r>
            <a:r>
              <a:rPr lang="en-US" sz="2400" dirty="0"/>
              <a:t>. </a:t>
            </a:r>
          </a:p>
        </p:txBody>
      </p:sp>
      <p:sp>
        <p:nvSpPr>
          <p:cNvPr id="43" name="Rectangle 42">
            <a:extLst>
              <a:ext uri="{FF2B5EF4-FFF2-40B4-BE49-F238E27FC236}">
                <a16:creationId xmlns:a16="http://schemas.microsoft.com/office/drawing/2014/main" id="{5C691FCC-83F9-4B38-8C2B-656CE4DB500D}"/>
              </a:ext>
            </a:extLst>
          </p:cNvPr>
          <p:cNvSpPr/>
          <p:nvPr/>
        </p:nvSpPr>
        <p:spPr>
          <a:xfrm>
            <a:off x="16738960" y="10898365"/>
            <a:ext cx="5457749" cy="1107996"/>
          </a:xfrm>
          <a:prstGeom prst="rect">
            <a:avLst/>
          </a:prstGeom>
        </p:spPr>
        <p:txBody>
          <a:bodyPr wrap="square" lIns="0" tIns="0" rIns="0" bIns="0" anchor="ctr">
            <a:spAutoFit/>
          </a:bodyPr>
          <a:lstStyle/>
          <a:p>
            <a:pPr marL="571471" indent="-571471">
              <a:buClr>
                <a:schemeClr val="tx1">
                  <a:lumMod val="75000"/>
                  <a:lumOff val="25000"/>
                </a:schemeClr>
              </a:buClr>
              <a:buFont typeface="Arial" panose="020B0604020202020204" pitchFamily="34" charset="0"/>
              <a:buChar char="•"/>
            </a:pPr>
            <a:r>
              <a:rPr lang="en-US" sz="2400" dirty="0"/>
              <a:t>Lorem ipsum dolor sit </a:t>
            </a:r>
            <a:r>
              <a:rPr lang="en-US" sz="2400" dirty="0" err="1"/>
              <a:t>amet</a:t>
            </a:r>
            <a:r>
              <a:rPr lang="en-US" sz="2400" dirty="0"/>
              <a:t>, </a:t>
            </a:r>
            <a:r>
              <a:rPr lang="en-US" sz="2400" dirty="0" err="1"/>
              <a:t>consectetur</a:t>
            </a:r>
            <a:r>
              <a:rPr lang="en-US" sz="2400" dirty="0"/>
              <a:t> </a:t>
            </a:r>
            <a:r>
              <a:rPr lang="en-US" sz="2400" dirty="0" err="1"/>
              <a:t>adipiscing</a:t>
            </a:r>
            <a:r>
              <a:rPr lang="en-US" sz="2400" dirty="0"/>
              <a:t> </a:t>
            </a:r>
            <a:r>
              <a:rPr lang="en-US" sz="2400" dirty="0" err="1"/>
              <a:t>elit</a:t>
            </a:r>
            <a:r>
              <a:rPr lang="en-US" sz="2400" dirty="0"/>
              <a:t>. Duis </a:t>
            </a:r>
            <a:r>
              <a:rPr lang="en-US" sz="2400" dirty="0" err="1"/>
              <a:t>suscipit</a:t>
            </a:r>
            <a:r>
              <a:rPr lang="en-US" sz="2400" dirty="0"/>
              <a:t> in </a:t>
            </a:r>
            <a:r>
              <a:rPr lang="en-US" sz="2400" dirty="0" err="1"/>
              <a:t>tellus</a:t>
            </a:r>
            <a:r>
              <a:rPr lang="en-US" sz="2400" dirty="0"/>
              <a:t> ac </a:t>
            </a:r>
            <a:r>
              <a:rPr lang="en-US" sz="2400" dirty="0" err="1"/>
              <a:t>bibendum</a:t>
            </a:r>
            <a:r>
              <a:rPr lang="en-US" sz="2400" dirty="0"/>
              <a:t>. </a:t>
            </a:r>
          </a:p>
        </p:txBody>
      </p:sp>
      <p:sp>
        <p:nvSpPr>
          <p:cNvPr id="4" name="Title 3">
            <a:extLst>
              <a:ext uri="{FF2B5EF4-FFF2-40B4-BE49-F238E27FC236}">
                <a16:creationId xmlns:a16="http://schemas.microsoft.com/office/drawing/2014/main" id="{89F0B7AF-9E7B-2541-8DA1-A8B5A827FC67}"/>
              </a:ext>
            </a:extLst>
          </p:cNvPr>
          <p:cNvSpPr>
            <a:spLocks noGrp="1"/>
          </p:cNvSpPr>
          <p:nvPr>
            <p:ph type="title"/>
          </p:nvPr>
        </p:nvSpPr>
        <p:spPr/>
        <p:txBody>
          <a:bodyPr/>
          <a:lstStyle/>
          <a:p>
            <a:r>
              <a:rPr lang="en-US" dirty="0"/>
              <a:t>Pie charts with info</a:t>
            </a:r>
          </a:p>
        </p:txBody>
      </p:sp>
    </p:spTree>
    <p:extLst>
      <p:ext uri="{BB962C8B-B14F-4D97-AF65-F5344CB8AC3E}">
        <p14:creationId xmlns:p14="http://schemas.microsoft.com/office/powerpoint/2010/main" val="9394169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AFD0C-45AB-044C-B75F-529DA9E97079}"/>
              </a:ext>
            </a:extLst>
          </p:cNvPr>
          <p:cNvSpPr>
            <a:spLocks noGrp="1"/>
          </p:cNvSpPr>
          <p:nvPr>
            <p:ph type="title"/>
          </p:nvPr>
        </p:nvSpPr>
        <p:spPr/>
        <p:txBody>
          <a:bodyPr/>
          <a:lstStyle/>
          <a:p>
            <a:r>
              <a:rPr lang="en-US" dirty="0"/>
              <a:t>The logo</a:t>
            </a:r>
          </a:p>
        </p:txBody>
      </p:sp>
      <p:grpSp>
        <p:nvGrpSpPr>
          <p:cNvPr id="4" name="Group 3">
            <a:extLst>
              <a:ext uri="{FF2B5EF4-FFF2-40B4-BE49-F238E27FC236}">
                <a16:creationId xmlns:a16="http://schemas.microsoft.com/office/drawing/2014/main" id="{496CF21A-6AF3-C84F-8C26-5DDF228113A6}"/>
              </a:ext>
            </a:extLst>
          </p:cNvPr>
          <p:cNvGrpSpPr/>
          <p:nvPr/>
        </p:nvGrpSpPr>
        <p:grpSpPr>
          <a:xfrm>
            <a:off x="1246188" y="3084163"/>
            <a:ext cx="21890037" cy="8055673"/>
            <a:chOff x="1462088" y="2862263"/>
            <a:chExt cx="21674137" cy="9467850"/>
          </a:xfrm>
        </p:grpSpPr>
        <p:sp>
          <p:nvSpPr>
            <p:cNvPr id="5" name="Rectangle 4">
              <a:extLst>
                <a:ext uri="{FF2B5EF4-FFF2-40B4-BE49-F238E27FC236}">
                  <a16:creationId xmlns:a16="http://schemas.microsoft.com/office/drawing/2014/main" id="{880B7911-9E9F-1E4E-B665-58677D54067E}"/>
                </a:ext>
              </a:extLst>
            </p:cNvPr>
            <p:cNvSpPr/>
            <p:nvPr/>
          </p:nvSpPr>
          <p:spPr>
            <a:xfrm>
              <a:off x="1462088" y="7596188"/>
              <a:ext cx="21674137" cy="47339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9A44F48A-AF4C-374A-929D-BB3616AB5E3B}"/>
                </a:ext>
              </a:extLst>
            </p:cNvPr>
            <p:cNvSpPr/>
            <p:nvPr/>
          </p:nvSpPr>
          <p:spPr>
            <a:xfrm>
              <a:off x="1462088" y="2862263"/>
              <a:ext cx="21674137" cy="4733925"/>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 name="Picture 6">
            <a:extLst>
              <a:ext uri="{FF2B5EF4-FFF2-40B4-BE49-F238E27FC236}">
                <a16:creationId xmlns:a16="http://schemas.microsoft.com/office/drawing/2014/main" id="{DD9D0BAA-B8DD-DB46-8ECE-00632169012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876070" y="3885189"/>
            <a:ext cx="12741114" cy="2425784"/>
          </a:xfrm>
          <a:prstGeom prst="rect">
            <a:avLst/>
          </a:prstGeom>
        </p:spPr>
      </p:pic>
      <p:pic>
        <p:nvPicPr>
          <p:cNvPr id="8" name="Picture 7">
            <a:extLst>
              <a:ext uri="{FF2B5EF4-FFF2-40B4-BE49-F238E27FC236}">
                <a16:creationId xmlns:a16="http://schemas.microsoft.com/office/drawing/2014/main" id="{52C1549A-5607-BD40-8E13-0C84663BF5F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76074" y="7752744"/>
            <a:ext cx="12741106" cy="2425784"/>
          </a:xfrm>
          <a:prstGeom prst="rect">
            <a:avLst/>
          </a:prstGeom>
        </p:spPr>
      </p:pic>
    </p:spTree>
    <p:extLst>
      <p:ext uri="{BB962C8B-B14F-4D97-AF65-F5344CB8AC3E}">
        <p14:creationId xmlns:p14="http://schemas.microsoft.com/office/powerpoint/2010/main" val="23619814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D732DAD-C2BE-4A14-B4EB-6508C2CCF645}"/>
              </a:ext>
            </a:extLst>
          </p:cNvPr>
          <p:cNvSpPr/>
          <p:nvPr/>
        </p:nvSpPr>
        <p:spPr>
          <a:xfrm>
            <a:off x="1257299" y="2882132"/>
            <a:ext cx="21863051" cy="893363"/>
          </a:xfrm>
          <a:prstGeom prst="rect">
            <a:avLst/>
          </a:prstGeom>
        </p:spPr>
        <p:txBody>
          <a:bodyPr wrap="square" lIns="0" tIns="0" rIns="0" bIns="0">
            <a:spAutoFit/>
          </a:bodyPr>
          <a:lstStyle/>
          <a:p>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Duis </a:t>
            </a:r>
            <a:r>
              <a:rPr lang="en-US" sz="2800" dirty="0" err="1"/>
              <a:t>suscipit</a:t>
            </a:r>
            <a:r>
              <a:rPr lang="en-US" sz="2800" dirty="0"/>
              <a:t> in </a:t>
            </a:r>
            <a:r>
              <a:rPr lang="en-US" sz="2800" dirty="0" err="1"/>
              <a:t>tellus</a:t>
            </a:r>
            <a:r>
              <a:rPr lang="en-US" sz="2800" dirty="0"/>
              <a:t> ac </a:t>
            </a:r>
            <a:r>
              <a:rPr lang="en-US" sz="2800" dirty="0" err="1"/>
              <a:t>bibendum</a:t>
            </a:r>
            <a:r>
              <a:rPr lang="en-US" sz="2800" dirty="0"/>
              <a:t>. Sed </a:t>
            </a:r>
            <a:r>
              <a:rPr lang="en-US" sz="2800" dirty="0" err="1"/>
              <a:t>congue</a:t>
            </a:r>
            <a:r>
              <a:rPr lang="en-US" sz="2800" dirty="0"/>
              <a:t> </a:t>
            </a:r>
            <a:r>
              <a:rPr lang="en-US" sz="2800" dirty="0" err="1"/>
              <a:t>lacus</a:t>
            </a:r>
            <a:r>
              <a:rPr lang="en-US" sz="2800" dirty="0"/>
              <a:t> vitae </a:t>
            </a:r>
            <a:r>
              <a:rPr lang="en-US" sz="2800" dirty="0" err="1"/>
              <a:t>tellus</a:t>
            </a:r>
            <a:r>
              <a:rPr lang="en-US" sz="2800" dirty="0"/>
              <a:t> </a:t>
            </a:r>
            <a:r>
              <a:rPr lang="en-US" sz="2800" dirty="0" err="1"/>
              <a:t>finibus</a:t>
            </a:r>
            <a:r>
              <a:rPr lang="en-US" sz="2800" dirty="0"/>
              <a:t>, </a:t>
            </a:r>
            <a:r>
              <a:rPr lang="en-US" sz="2800" dirty="0" err="1"/>
              <a:t>eu</a:t>
            </a:r>
            <a:r>
              <a:rPr lang="en-US" sz="2800" dirty="0"/>
              <a:t> </a:t>
            </a:r>
            <a:r>
              <a:rPr lang="en-US" sz="2800" dirty="0" err="1"/>
              <a:t>faucibus</a:t>
            </a:r>
            <a:r>
              <a:rPr lang="en-US" sz="2800" dirty="0"/>
              <a:t> nisi </a:t>
            </a:r>
            <a:r>
              <a:rPr lang="en-US" sz="2800" dirty="0" err="1"/>
              <a:t>ullamcorper</a:t>
            </a:r>
            <a:r>
              <a:rPr lang="en-US" sz="2800" dirty="0"/>
              <a:t>. </a:t>
            </a:r>
          </a:p>
        </p:txBody>
      </p:sp>
      <p:graphicFrame>
        <p:nvGraphicFramePr>
          <p:cNvPr id="21" name="Chart 20">
            <a:extLst>
              <a:ext uri="{FF2B5EF4-FFF2-40B4-BE49-F238E27FC236}">
                <a16:creationId xmlns:a16="http://schemas.microsoft.com/office/drawing/2014/main" id="{CCD9F438-132A-43B2-B89D-1E5EE7412EE7}"/>
              </a:ext>
            </a:extLst>
          </p:cNvPr>
          <p:cNvGraphicFramePr/>
          <p:nvPr/>
        </p:nvGraphicFramePr>
        <p:xfrm>
          <a:off x="972988" y="3994314"/>
          <a:ext cx="9864386" cy="8232847"/>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3">
            <a:extLst>
              <a:ext uri="{FF2B5EF4-FFF2-40B4-BE49-F238E27FC236}">
                <a16:creationId xmlns:a16="http://schemas.microsoft.com/office/drawing/2014/main" id="{2BC4E869-E5C3-4EE8-B2A4-6635F686DAAA}"/>
              </a:ext>
            </a:extLst>
          </p:cNvPr>
          <p:cNvSpPr/>
          <p:nvPr/>
        </p:nvSpPr>
        <p:spPr>
          <a:xfrm>
            <a:off x="11015031" y="3775494"/>
            <a:ext cx="12105319" cy="16677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5" name="Oval 4">
            <a:extLst>
              <a:ext uri="{FF2B5EF4-FFF2-40B4-BE49-F238E27FC236}">
                <a16:creationId xmlns:a16="http://schemas.microsoft.com/office/drawing/2014/main" id="{8442900A-1A5B-4C2D-A58F-92D8C866C93D}"/>
              </a:ext>
            </a:extLst>
          </p:cNvPr>
          <p:cNvSpPr/>
          <p:nvPr/>
        </p:nvSpPr>
        <p:spPr>
          <a:xfrm>
            <a:off x="3316782" y="5522338"/>
            <a:ext cx="5176799" cy="51767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400" dirty="0">
                <a:solidFill>
                  <a:schemeClr val="tx1"/>
                </a:solidFill>
                <a:latin typeface="+mj-lt"/>
              </a:rPr>
              <a:t>LOREM IPSUM</a:t>
            </a:r>
          </a:p>
        </p:txBody>
      </p:sp>
      <p:sp>
        <p:nvSpPr>
          <p:cNvPr id="6" name="Rectangle 5">
            <a:extLst>
              <a:ext uri="{FF2B5EF4-FFF2-40B4-BE49-F238E27FC236}">
                <a16:creationId xmlns:a16="http://schemas.microsoft.com/office/drawing/2014/main" id="{77258E40-E357-4729-BC48-C47C0ADAAE06}"/>
              </a:ext>
            </a:extLst>
          </p:cNvPr>
          <p:cNvSpPr/>
          <p:nvPr/>
        </p:nvSpPr>
        <p:spPr>
          <a:xfrm>
            <a:off x="20773668" y="3775494"/>
            <a:ext cx="2244752" cy="166772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400" b="1" dirty="0">
                <a:latin typeface="+mj-lt"/>
              </a:rPr>
              <a:t>45%</a:t>
            </a:r>
          </a:p>
        </p:txBody>
      </p:sp>
      <p:sp>
        <p:nvSpPr>
          <p:cNvPr id="28" name="Rectangle 27">
            <a:extLst>
              <a:ext uri="{FF2B5EF4-FFF2-40B4-BE49-F238E27FC236}">
                <a16:creationId xmlns:a16="http://schemas.microsoft.com/office/drawing/2014/main" id="{495CD800-3D8C-4C8F-8A4F-2C89667228A1}"/>
              </a:ext>
            </a:extLst>
          </p:cNvPr>
          <p:cNvSpPr/>
          <p:nvPr/>
        </p:nvSpPr>
        <p:spPr>
          <a:xfrm>
            <a:off x="11228376" y="3994315"/>
            <a:ext cx="9390777" cy="1292662"/>
          </a:xfrm>
          <a:prstGeom prst="rect">
            <a:avLst/>
          </a:prstGeom>
        </p:spPr>
        <p:txBody>
          <a:bodyPr wrap="square" lIns="0" tIns="0" rIns="0" bIns="0" anchor="ctr">
            <a:spAutoFit/>
          </a:bodyPr>
          <a:lstStyle/>
          <a:p>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Duis </a:t>
            </a:r>
            <a:r>
              <a:rPr lang="en-US" sz="2800" dirty="0" err="1"/>
              <a:t>suscipit</a:t>
            </a:r>
            <a:r>
              <a:rPr lang="en-US" sz="2800" dirty="0"/>
              <a:t> in </a:t>
            </a:r>
            <a:r>
              <a:rPr lang="en-US" sz="2800" dirty="0" err="1"/>
              <a:t>tellus</a:t>
            </a:r>
            <a:r>
              <a:rPr lang="en-US" sz="2800" dirty="0"/>
              <a:t> ac </a:t>
            </a:r>
            <a:r>
              <a:rPr lang="en-US" sz="2800" dirty="0" err="1"/>
              <a:t>bibendum</a:t>
            </a:r>
            <a:r>
              <a:rPr lang="en-US" sz="2800" dirty="0"/>
              <a:t>. Sed </a:t>
            </a:r>
            <a:r>
              <a:rPr lang="en-US" sz="2800" dirty="0" err="1"/>
              <a:t>congue</a:t>
            </a:r>
            <a:r>
              <a:rPr lang="en-US" sz="2800" dirty="0"/>
              <a:t> </a:t>
            </a:r>
            <a:r>
              <a:rPr lang="en-US" sz="2800" dirty="0" err="1"/>
              <a:t>lacus</a:t>
            </a:r>
            <a:r>
              <a:rPr lang="en-US" sz="2800" dirty="0"/>
              <a:t> vitae </a:t>
            </a:r>
            <a:r>
              <a:rPr lang="en-US" sz="2800" dirty="0" err="1"/>
              <a:t>tellus</a:t>
            </a:r>
            <a:r>
              <a:rPr lang="en-US" sz="2800" dirty="0"/>
              <a:t> </a:t>
            </a:r>
            <a:r>
              <a:rPr lang="en-US" sz="2800" dirty="0" err="1"/>
              <a:t>finibus</a:t>
            </a:r>
            <a:r>
              <a:rPr lang="en-US" sz="2800" dirty="0"/>
              <a:t>, </a:t>
            </a:r>
            <a:r>
              <a:rPr lang="en-US" sz="2800" dirty="0" err="1"/>
              <a:t>eu</a:t>
            </a:r>
            <a:r>
              <a:rPr lang="en-US" sz="2800" dirty="0"/>
              <a:t> </a:t>
            </a:r>
            <a:r>
              <a:rPr lang="en-US" sz="2800" dirty="0" err="1"/>
              <a:t>faucibus</a:t>
            </a:r>
            <a:r>
              <a:rPr lang="en-US" sz="2800" dirty="0"/>
              <a:t> nisi </a:t>
            </a:r>
            <a:r>
              <a:rPr lang="en-US" sz="2800" dirty="0" err="1"/>
              <a:t>ullamcorper</a:t>
            </a:r>
            <a:r>
              <a:rPr lang="en-US" sz="2800" dirty="0"/>
              <a:t>. </a:t>
            </a:r>
          </a:p>
        </p:txBody>
      </p:sp>
      <p:sp>
        <p:nvSpPr>
          <p:cNvPr id="29" name="Rectangle 28">
            <a:extLst>
              <a:ext uri="{FF2B5EF4-FFF2-40B4-BE49-F238E27FC236}">
                <a16:creationId xmlns:a16="http://schemas.microsoft.com/office/drawing/2014/main" id="{04305915-2EA5-4702-BBE7-3BE53C7F53C2}"/>
              </a:ext>
            </a:extLst>
          </p:cNvPr>
          <p:cNvSpPr/>
          <p:nvPr/>
        </p:nvSpPr>
        <p:spPr>
          <a:xfrm>
            <a:off x="11015031" y="6039351"/>
            <a:ext cx="12105319" cy="16677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30" name="Rectangle 29">
            <a:extLst>
              <a:ext uri="{FF2B5EF4-FFF2-40B4-BE49-F238E27FC236}">
                <a16:creationId xmlns:a16="http://schemas.microsoft.com/office/drawing/2014/main" id="{8DF0E683-DE96-4395-8555-5B7D469DDAF2}"/>
              </a:ext>
            </a:extLst>
          </p:cNvPr>
          <p:cNvSpPr/>
          <p:nvPr/>
        </p:nvSpPr>
        <p:spPr>
          <a:xfrm>
            <a:off x="20773668" y="6039351"/>
            <a:ext cx="2244752" cy="166772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400" b="1" dirty="0">
                <a:latin typeface="+mj-lt"/>
              </a:rPr>
              <a:t>25%</a:t>
            </a:r>
          </a:p>
        </p:txBody>
      </p:sp>
      <p:sp>
        <p:nvSpPr>
          <p:cNvPr id="45" name="Rectangle 44">
            <a:extLst>
              <a:ext uri="{FF2B5EF4-FFF2-40B4-BE49-F238E27FC236}">
                <a16:creationId xmlns:a16="http://schemas.microsoft.com/office/drawing/2014/main" id="{5175C0BE-5F4F-4BE1-BC54-A54264433F53}"/>
              </a:ext>
            </a:extLst>
          </p:cNvPr>
          <p:cNvSpPr/>
          <p:nvPr/>
        </p:nvSpPr>
        <p:spPr>
          <a:xfrm>
            <a:off x="11228376" y="6258171"/>
            <a:ext cx="9390777" cy="1292662"/>
          </a:xfrm>
          <a:prstGeom prst="rect">
            <a:avLst/>
          </a:prstGeom>
        </p:spPr>
        <p:txBody>
          <a:bodyPr wrap="square" lIns="0" tIns="0" rIns="0" bIns="0" anchor="ctr">
            <a:spAutoFit/>
          </a:bodyPr>
          <a:lstStyle/>
          <a:p>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Duis </a:t>
            </a:r>
            <a:r>
              <a:rPr lang="en-US" sz="2800" dirty="0" err="1"/>
              <a:t>suscipit</a:t>
            </a:r>
            <a:r>
              <a:rPr lang="en-US" sz="2800" dirty="0"/>
              <a:t> in </a:t>
            </a:r>
            <a:r>
              <a:rPr lang="en-US" sz="2800" dirty="0" err="1"/>
              <a:t>tellus</a:t>
            </a:r>
            <a:r>
              <a:rPr lang="en-US" sz="2800" dirty="0"/>
              <a:t> ac </a:t>
            </a:r>
            <a:r>
              <a:rPr lang="en-US" sz="2800" dirty="0" err="1"/>
              <a:t>bibendum</a:t>
            </a:r>
            <a:r>
              <a:rPr lang="en-US" sz="2800" dirty="0"/>
              <a:t>. Sed </a:t>
            </a:r>
            <a:r>
              <a:rPr lang="en-US" sz="2800" dirty="0" err="1"/>
              <a:t>congue</a:t>
            </a:r>
            <a:r>
              <a:rPr lang="en-US" sz="2800" dirty="0"/>
              <a:t> </a:t>
            </a:r>
            <a:r>
              <a:rPr lang="en-US" sz="2800" dirty="0" err="1"/>
              <a:t>lacus</a:t>
            </a:r>
            <a:r>
              <a:rPr lang="en-US" sz="2800" dirty="0"/>
              <a:t> vitae </a:t>
            </a:r>
            <a:r>
              <a:rPr lang="en-US" sz="2800" dirty="0" err="1"/>
              <a:t>tellus</a:t>
            </a:r>
            <a:r>
              <a:rPr lang="en-US" sz="2800" dirty="0"/>
              <a:t> </a:t>
            </a:r>
            <a:r>
              <a:rPr lang="en-US" sz="2800" dirty="0" err="1"/>
              <a:t>finibus</a:t>
            </a:r>
            <a:r>
              <a:rPr lang="en-US" sz="2800" dirty="0"/>
              <a:t>, </a:t>
            </a:r>
            <a:r>
              <a:rPr lang="en-US" sz="2800" dirty="0" err="1"/>
              <a:t>eu</a:t>
            </a:r>
            <a:r>
              <a:rPr lang="en-US" sz="2800" dirty="0"/>
              <a:t> </a:t>
            </a:r>
            <a:r>
              <a:rPr lang="en-US" sz="2800" dirty="0" err="1"/>
              <a:t>faucibus</a:t>
            </a:r>
            <a:r>
              <a:rPr lang="en-US" sz="2800" dirty="0"/>
              <a:t> nisi </a:t>
            </a:r>
            <a:r>
              <a:rPr lang="en-US" sz="2800" dirty="0" err="1"/>
              <a:t>ullamcorper</a:t>
            </a:r>
            <a:r>
              <a:rPr lang="en-US" sz="2800" dirty="0"/>
              <a:t>. </a:t>
            </a:r>
          </a:p>
        </p:txBody>
      </p:sp>
      <p:sp>
        <p:nvSpPr>
          <p:cNvPr id="46" name="Rectangle 45">
            <a:extLst>
              <a:ext uri="{FF2B5EF4-FFF2-40B4-BE49-F238E27FC236}">
                <a16:creationId xmlns:a16="http://schemas.microsoft.com/office/drawing/2014/main" id="{16F4BD29-42DB-4BDD-975D-84F527432825}"/>
              </a:ext>
            </a:extLst>
          </p:cNvPr>
          <p:cNvSpPr/>
          <p:nvPr/>
        </p:nvSpPr>
        <p:spPr>
          <a:xfrm>
            <a:off x="11015031" y="8299394"/>
            <a:ext cx="12105319" cy="16677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47" name="Rectangle 46">
            <a:extLst>
              <a:ext uri="{FF2B5EF4-FFF2-40B4-BE49-F238E27FC236}">
                <a16:creationId xmlns:a16="http://schemas.microsoft.com/office/drawing/2014/main" id="{B6F3D837-58DC-40F7-A479-1199321548AD}"/>
              </a:ext>
            </a:extLst>
          </p:cNvPr>
          <p:cNvSpPr/>
          <p:nvPr/>
        </p:nvSpPr>
        <p:spPr>
          <a:xfrm>
            <a:off x="20773668" y="8299394"/>
            <a:ext cx="2244752" cy="16677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400" b="1" dirty="0">
                <a:latin typeface="+mj-lt"/>
              </a:rPr>
              <a:t>20%</a:t>
            </a:r>
          </a:p>
        </p:txBody>
      </p:sp>
      <p:sp>
        <p:nvSpPr>
          <p:cNvPr id="48" name="Rectangle 47">
            <a:extLst>
              <a:ext uri="{FF2B5EF4-FFF2-40B4-BE49-F238E27FC236}">
                <a16:creationId xmlns:a16="http://schemas.microsoft.com/office/drawing/2014/main" id="{1AAEF2B3-B4C8-42BB-9853-59894D4D68DE}"/>
              </a:ext>
            </a:extLst>
          </p:cNvPr>
          <p:cNvSpPr/>
          <p:nvPr/>
        </p:nvSpPr>
        <p:spPr>
          <a:xfrm>
            <a:off x="11228376" y="8518214"/>
            <a:ext cx="9390777" cy="1292662"/>
          </a:xfrm>
          <a:prstGeom prst="rect">
            <a:avLst/>
          </a:prstGeom>
        </p:spPr>
        <p:txBody>
          <a:bodyPr wrap="square" lIns="0" tIns="0" rIns="0" bIns="0" anchor="ctr">
            <a:spAutoFit/>
          </a:bodyPr>
          <a:lstStyle/>
          <a:p>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Duis </a:t>
            </a:r>
            <a:r>
              <a:rPr lang="en-US" sz="2800" dirty="0" err="1"/>
              <a:t>suscipit</a:t>
            </a:r>
            <a:r>
              <a:rPr lang="en-US" sz="2800" dirty="0"/>
              <a:t> in </a:t>
            </a:r>
            <a:r>
              <a:rPr lang="en-US" sz="2800" dirty="0" err="1"/>
              <a:t>tellus</a:t>
            </a:r>
            <a:r>
              <a:rPr lang="en-US" sz="2800" dirty="0"/>
              <a:t> ac </a:t>
            </a:r>
            <a:r>
              <a:rPr lang="en-US" sz="2800" dirty="0" err="1"/>
              <a:t>bibendum</a:t>
            </a:r>
            <a:r>
              <a:rPr lang="en-US" sz="2800" dirty="0"/>
              <a:t>. Sed </a:t>
            </a:r>
            <a:r>
              <a:rPr lang="en-US" sz="2800" dirty="0" err="1"/>
              <a:t>congue</a:t>
            </a:r>
            <a:r>
              <a:rPr lang="en-US" sz="2800" dirty="0"/>
              <a:t> </a:t>
            </a:r>
            <a:r>
              <a:rPr lang="en-US" sz="2800" dirty="0" err="1"/>
              <a:t>lacus</a:t>
            </a:r>
            <a:r>
              <a:rPr lang="en-US" sz="2800" dirty="0"/>
              <a:t> vitae </a:t>
            </a:r>
            <a:r>
              <a:rPr lang="en-US" sz="2800" dirty="0" err="1"/>
              <a:t>tellus</a:t>
            </a:r>
            <a:r>
              <a:rPr lang="en-US" sz="2800" dirty="0"/>
              <a:t> </a:t>
            </a:r>
            <a:r>
              <a:rPr lang="en-US" sz="2800" dirty="0" err="1"/>
              <a:t>finibus</a:t>
            </a:r>
            <a:r>
              <a:rPr lang="en-US" sz="2800" dirty="0"/>
              <a:t>, </a:t>
            </a:r>
            <a:r>
              <a:rPr lang="en-US" sz="2800" dirty="0" err="1"/>
              <a:t>eu</a:t>
            </a:r>
            <a:r>
              <a:rPr lang="en-US" sz="2800" dirty="0"/>
              <a:t> </a:t>
            </a:r>
            <a:r>
              <a:rPr lang="en-US" sz="2800" dirty="0" err="1"/>
              <a:t>faucibus</a:t>
            </a:r>
            <a:r>
              <a:rPr lang="en-US" sz="2800" dirty="0"/>
              <a:t> nisi </a:t>
            </a:r>
            <a:r>
              <a:rPr lang="en-US" sz="2800" dirty="0" err="1"/>
              <a:t>ullamcorper</a:t>
            </a:r>
            <a:r>
              <a:rPr lang="en-US" sz="2800" dirty="0"/>
              <a:t>. </a:t>
            </a:r>
          </a:p>
        </p:txBody>
      </p:sp>
      <p:sp>
        <p:nvSpPr>
          <p:cNvPr id="49" name="Rectangle 48">
            <a:extLst>
              <a:ext uri="{FF2B5EF4-FFF2-40B4-BE49-F238E27FC236}">
                <a16:creationId xmlns:a16="http://schemas.microsoft.com/office/drawing/2014/main" id="{546B8846-2ED3-479E-B5A2-C798CBBB6825}"/>
              </a:ext>
            </a:extLst>
          </p:cNvPr>
          <p:cNvSpPr/>
          <p:nvPr/>
        </p:nvSpPr>
        <p:spPr>
          <a:xfrm>
            <a:off x="11015031" y="10559437"/>
            <a:ext cx="12105319" cy="16677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50" name="Rectangle 49">
            <a:extLst>
              <a:ext uri="{FF2B5EF4-FFF2-40B4-BE49-F238E27FC236}">
                <a16:creationId xmlns:a16="http://schemas.microsoft.com/office/drawing/2014/main" id="{A88381B5-6DBB-4A9A-8ACC-8400FFD817F1}"/>
              </a:ext>
            </a:extLst>
          </p:cNvPr>
          <p:cNvSpPr/>
          <p:nvPr/>
        </p:nvSpPr>
        <p:spPr>
          <a:xfrm>
            <a:off x="20773668" y="10559437"/>
            <a:ext cx="2244752" cy="16677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400" b="1" dirty="0">
                <a:latin typeface="+mj-lt"/>
              </a:rPr>
              <a:t>10%</a:t>
            </a:r>
          </a:p>
        </p:txBody>
      </p:sp>
      <p:sp>
        <p:nvSpPr>
          <p:cNvPr id="51" name="Rectangle 50">
            <a:extLst>
              <a:ext uri="{FF2B5EF4-FFF2-40B4-BE49-F238E27FC236}">
                <a16:creationId xmlns:a16="http://schemas.microsoft.com/office/drawing/2014/main" id="{E89193A9-62FD-4A84-9AAA-01D61DBAA22B}"/>
              </a:ext>
            </a:extLst>
          </p:cNvPr>
          <p:cNvSpPr/>
          <p:nvPr/>
        </p:nvSpPr>
        <p:spPr>
          <a:xfrm>
            <a:off x="11228376" y="10778257"/>
            <a:ext cx="9390777" cy="1292662"/>
          </a:xfrm>
          <a:prstGeom prst="rect">
            <a:avLst/>
          </a:prstGeom>
        </p:spPr>
        <p:txBody>
          <a:bodyPr wrap="square" lIns="0" tIns="0" rIns="0" bIns="0" anchor="ctr">
            <a:spAutoFit/>
          </a:bodyPr>
          <a:lstStyle/>
          <a:p>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Duis </a:t>
            </a:r>
            <a:r>
              <a:rPr lang="en-US" sz="2800" dirty="0" err="1"/>
              <a:t>suscipit</a:t>
            </a:r>
            <a:r>
              <a:rPr lang="en-US" sz="2800" dirty="0"/>
              <a:t> in </a:t>
            </a:r>
            <a:r>
              <a:rPr lang="en-US" sz="2800" dirty="0" err="1"/>
              <a:t>tellus</a:t>
            </a:r>
            <a:r>
              <a:rPr lang="en-US" sz="2800" dirty="0"/>
              <a:t> ac </a:t>
            </a:r>
            <a:r>
              <a:rPr lang="en-US" sz="2800" dirty="0" err="1"/>
              <a:t>bibendum</a:t>
            </a:r>
            <a:r>
              <a:rPr lang="en-US" sz="2800" dirty="0"/>
              <a:t>. Sed </a:t>
            </a:r>
            <a:r>
              <a:rPr lang="en-US" sz="2800" dirty="0" err="1"/>
              <a:t>congue</a:t>
            </a:r>
            <a:r>
              <a:rPr lang="en-US" sz="2800" dirty="0"/>
              <a:t> </a:t>
            </a:r>
            <a:r>
              <a:rPr lang="en-US" sz="2800" dirty="0" err="1"/>
              <a:t>lacus</a:t>
            </a:r>
            <a:r>
              <a:rPr lang="en-US" sz="2800" dirty="0"/>
              <a:t> vitae </a:t>
            </a:r>
            <a:r>
              <a:rPr lang="en-US" sz="2800" dirty="0" err="1"/>
              <a:t>tellus</a:t>
            </a:r>
            <a:r>
              <a:rPr lang="en-US" sz="2800" dirty="0"/>
              <a:t> </a:t>
            </a:r>
            <a:r>
              <a:rPr lang="en-US" sz="2800" dirty="0" err="1"/>
              <a:t>finibus</a:t>
            </a:r>
            <a:r>
              <a:rPr lang="en-US" sz="2800" dirty="0"/>
              <a:t>, </a:t>
            </a:r>
            <a:r>
              <a:rPr lang="en-US" sz="2800" dirty="0" err="1"/>
              <a:t>eu</a:t>
            </a:r>
            <a:r>
              <a:rPr lang="en-US" sz="2800" dirty="0"/>
              <a:t> </a:t>
            </a:r>
            <a:r>
              <a:rPr lang="en-US" sz="2800" dirty="0" err="1"/>
              <a:t>faucibus</a:t>
            </a:r>
            <a:r>
              <a:rPr lang="en-US" sz="2800" dirty="0"/>
              <a:t> nisi </a:t>
            </a:r>
            <a:r>
              <a:rPr lang="en-US" sz="2800" dirty="0" err="1"/>
              <a:t>ullamcorper</a:t>
            </a:r>
            <a:r>
              <a:rPr lang="en-US" sz="2800" dirty="0"/>
              <a:t>. </a:t>
            </a:r>
          </a:p>
        </p:txBody>
      </p:sp>
      <p:sp>
        <p:nvSpPr>
          <p:cNvPr id="7" name="Title 6">
            <a:extLst>
              <a:ext uri="{FF2B5EF4-FFF2-40B4-BE49-F238E27FC236}">
                <a16:creationId xmlns:a16="http://schemas.microsoft.com/office/drawing/2014/main" id="{64E9ED36-757B-CA4E-B60C-C1E57804A797}"/>
              </a:ext>
            </a:extLst>
          </p:cNvPr>
          <p:cNvSpPr>
            <a:spLocks noGrp="1"/>
          </p:cNvSpPr>
          <p:nvPr>
            <p:ph type="title"/>
          </p:nvPr>
        </p:nvSpPr>
        <p:spPr>
          <a:xfrm>
            <a:off x="1257300" y="346075"/>
            <a:ext cx="21863051" cy="1939924"/>
          </a:xfrm>
        </p:spPr>
        <p:txBody>
          <a:bodyPr/>
          <a:lstStyle/>
          <a:p>
            <a:r>
              <a:rPr lang="en-US" dirty="0"/>
              <a:t>Pie chart with info</a:t>
            </a:r>
          </a:p>
        </p:txBody>
      </p:sp>
    </p:spTree>
    <p:extLst>
      <p:ext uri="{BB962C8B-B14F-4D97-AF65-F5344CB8AC3E}">
        <p14:creationId xmlns:p14="http://schemas.microsoft.com/office/powerpoint/2010/main" val="68819813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Oval 134">
            <a:extLst>
              <a:ext uri="{FF2B5EF4-FFF2-40B4-BE49-F238E27FC236}">
                <a16:creationId xmlns:a16="http://schemas.microsoft.com/office/drawing/2014/main" id="{15D9F6E9-2A83-4BE5-8F42-0902682CD2FC}"/>
              </a:ext>
            </a:extLst>
          </p:cNvPr>
          <p:cNvSpPr/>
          <p:nvPr/>
        </p:nvSpPr>
        <p:spPr>
          <a:xfrm>
            <a:off x="12335455" y="9445590"/>
            <a:ext cx="2884940" cy="28849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rPr>
              <a:t>90%</a:t>
            </a:r>
          </a:p>
        </p:txBody>
      </p:sp>
      <p:graphicFrame>
        <p:nvGraphicFramePr>
          <p:cNvPr id="136" name="Chart 135">
            <a:extLst>
              <a:ext uri="{FF2B5EF4-FFF2-40B4-BE49-F238E27FC236}">
                <a16:creationId xmlns:a16="http://schemas.microsoft.com/office/drawing/2014/main" id="{E7F530BE-8216-45FC-A418-337196ADFAB0}"/>
              </a:ext>
            </a:extLst>
          </p:cNvPr>
          <p:cNvGraphicFramePr/>
          <p:nvPr/>
        </p:nvGraphicFramePr>
        <p:xfrm>
          <a:off x="12191206" y="9325559"/>
          <a:ext cx="3173437" cy="3110275"/>
        </p:xfrm>
        <a:graphic>
          <a:graphicData uri="http://schemas.openxmlformats.org/drawingml/2006/chart">
            <c:chart xmlns:c="http://schemas.openxmlformats.org/drawingml/2006/chart" xmlns:r="http://schemas.openxmlformats.org/officeDocument/2006/relationships" r:id="rId2"/>
          </a:graphicData>
        </a:graphic>
      </p:graphicFrame>
      <p:sp>
        <p:nvSpPr>
          <p:cNvPr id="132" name="Oval 131">
            <a:extLst>
              <a:ext uri="{FF2B5EF4-FFF2-40B4-BE49-F238E27FC236}">
                <a16:creationId xmlns:a16="http://schemas.microsoft.com/office/drawing/2014/main" id="{271F1C45-C822-4EC8-96FE-4A0CB89C443F}"/>
              </a:ext>
            </a:extLst>
          </p:cNvPr>
          <p:cNvSpPr/>
          <p:nvPr/>
        </p:nvSpPr>
        <p:spPr>
          <a:xfrm>
            <a:off x="12335455" y="6330886"/>
            <a:ext cx="2884940" cy="28849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rPr>
              <a:t>75%</a:t>
            </a:r>
          </a:p>
        </p:txBody>
      </p:sp>
      <p:graphicFrame>
        <p:nvGraphicFramePr>
          <p:cNvPr id="133" name="Chart 132">
            <a:extLst>
              <a:ext uri="{FF2B5EF4-FFF2-40B4-BE49-F238E27FC236}">
                <a16:creationId xmlns:a16="http://schemas.microsoft.com/office/drawing/2014/main" id="{C4A1CF23-CA94-4EF6-A66B-9F313A862507}"/>
              </a:ext>
            </a:extLst>
          </p:cNvPr>
          <p:cNvGraphicFramePr/>
          <p:nvPr/>
        </p:nvGraphicFramePr>
        <p:xfrm>
          <a:off x="12191206" y="6210855"/>
          <a:ext cx="3173437" cy="3110275"/>
        </p:xfrm>
        <a:graphic>
          <a:graphicData uri="http://schemas.openxmlformats.org/drawingml/2006/chart">
            <c:chart xmlns:c="http://schemas.openxmlformats.org/drawingml/2006/chart" xmlns:r="http://schemas.openxmlformats.org/officeDocument/2006/relationships" r:id="rId3"/>
          </a:graphicData>
        </a:graphic>
      </p:graphicFrame>
      <p:sp>
        <p:nvSpPr>
          <p:cNvPr id="129" name="Oval 128">
            <a:extLst>
              <a:ext uri="{FF2B5EF4-FFF2-40B4-BE49-F238E27FC236}">
                <a16:creationId xmlns:a16="http://schemas.microsoft.com/office/drawing/2014/main" id="{B38BE9B0-E4C1-434B-B996-3595F0340317}"/>
              </a:ext>
            </a:extLst>
          </p:cNvPr>
          <p:cNvSpPr/>
          <p:nvPr/>
        </p:nvSpPr>
        <p:spPr>
          <a:xfrm>
            <a:off x="12335455" y="3216181"/>
            <a:ext cx="2884940" cy="28849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rPr>
              <a:t>65%</a:t>
            </a:r>
          </a:p>
        </p:txBody>
      </p:sp>
      <p:graphicFrame>
        <p:nvGraphicFramePr>
          <p:cNvPr id="130" name="Chart 129">
            <a:extLst>
              <a:ext uri="{FF2B5EF4-FFF2-40B4-BE49-F238E27FC236}">
                <a16:creationId xmlns:a16="http://schemas.microsoft.com/office/drawing/2014/main" id="{60A1154D-9F37-4A40-A5EF-37B455984693}"/>
              </a:ext>
            </a:extLst>
          </p:cNvPr>
          <p:cNvGraphicFramePr/>
          <p:nvPr/>
        </p:nvGraphicFramePr>
        <p:xfrm>
          <a:off x="12191206" y="3096150"/>
          <a:ext cx="3173437" cy="3110275"/>
        </p:xfrm>
        <a:graphic>
          <a:graphicData uri="http://schemas.openxmlformats.org/drawingml/2006/chart">
            <c:chart xmlns:c="http://schemas.openxmlformats.org/drawingml/2006/chart" xmlns:r="http://schemas.openxmlformats.org/officeDocument/2006/relationships" r:id="rId4"/>
          </a:graphicData>
        </a:graphic>
      </p:graphicFrame>
      <p:sp>
        <p:nvSpPr>
          <p:cNvPr id="126" name="Oval 125">
            <a:extLst>
              <a:ext uri="{FF2B5EF4-FFF2-40B4-BE49-F238E27FC236}">
                <a16:creationId xmlns:a16="http://schemas.microsoft.com/office/drawing/2014/main" id="{BBF12101-45FE-4ADD-8799-9CBE46F987AD}"/>
              </a:ext>
            </a:extLst>
          </p:cNvPr>
          <p:cNvSpPr/>
          <p:nvPr/>
        </p:nvSpPr>
        <p:spPr>
          <a:xfrm>
            <a:off x="1415522" y="9445590"/>
            <a:ext cx="2884940" cy="28849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rPr>
              <a:t>50%</a:t>
            </a:r>
          </a:p>
        </p:txBody>
      </p:sp>
      <p:graphicFrame>
        <p:nvGraphicFramePr>
          <p:cNvPr id="127" name="Chart 126">
            <a:extLst>
              <a:ext uri="{FF2B5EF4-FFF2-40B4-BE49-F238E27FC236}">
                <a16:creationId xmlns:a16="http://schemas.microsoft.com/office/drawing/2014/main" id="{FCF3314A-C488-4A9A-A9D5-F3DA13B62953}"/>
              </a:ext>
            </a:extLst>
          </p:cNvPr>
          <p:cNvGraphicFramePr/>
          <p:nvPr/>
        </p:nvGraphicFramePr>
        <p:xfrm>
          <a:off x="1271273" y="9325559"/>
          <a:ext cx="3173437" cy="3110275"/>
        </p:xfrm>
        <a:graphic>
          <a:graphicData uri="http://schemas.openxmlformats.org/drawingml/2006/chart">
            <c:chart xmlns:c="http://schemas.openxmlformats.org/drawingml/2006/chart" xmlns:r="http://schemas.openxmlformats.org/officeDocument/2006/relationships" r:id="rId5"/>
          </a:graphicData>
        </a:graphic>
      </p:graphicFrame>
      <p:sp>
        <p:nvSpPr>
          <p:cNvPr id="123" name="Oval 122">
            <a:extLst>
              <a:ext uri="{FF2B5EF4-FFF2-40B4-BE49-F238E27FC236}">
                <a16:creationId xmlns:a16="http://schemas.microsoft.com/office/drawing/2014/main" id="{391E82C3-4F6E-423F-8FC3-05973952611F}"/>
              </a:ext>
            </a:extLst>
          </p:cNvPr>
          <p:cNvSpPr/>
          <p:nvPr/>
        </p:nvSpPr>
        <p:spPr>
          <a:xfrm>
            <a:off x="1415522" y="6330886"/>
            <a:ext cx="2884940" cy="28849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rPr>
              <a:t>40%</a:t>
            </a:r>
          </a:p>
        </p:txBody>
      </p:sp>
      <p:graphicFrame>
        <p:nvGraphicFramePr>
          <p:cNvPr id="124" name="Chart 123">
            <a:extLst>
              <a:ext uri="{FF2B5EF4-FFF2-40B4-BE49-F238E27FC236}">
                <a16:creationId xmlns:a16="http://schemas.microsoft.com/office/drawing/2014/main" id="{B778A89B-A057-4B13-9B5C-89BC34CC5182}"/>
              </a:ext>
            </a:extLst>
          </p:cNvPr>
          <p:cNvGraphicFramePr/>
          <p:nvPr/>
        </p:nvGraphicFramePr>
        <p:xfrm>
          <a:off x="1271273" y="6210855"/>
          <a:ext cx="3173437" cy="3110275"/>
        </p:xfrm>
        <a:graphic>
          <a:graphicData uri="http://schemas.openxmlformats.org/drawingml/2006/chart">
            <c:chart xmlns:c="http://schemas.openxmlformats.org/drawingml/2006/chart" xmlns:r="http://schemas.openxmlformats.org/officeDocument/2006/relationships" r:id="rId6"/>
          </a:graphicData>
        </a:graphic>
      </p:graphicFrame>
      <p:sp>
        <p:nvSpPr>
          <p:cNvPr id="100" name="Oval 99">
            <a:extLst>
              <a:ext uri="{FF2B5EF4-FFF2-40B4-BE49-F238E27FC236}">
                <a16:creationId xmlns:a16="http://schemas.microsoft.com/office/drawing/2014/main" id="{54A879F8-A92B-4339-8D51-9F3152ACD32C}"/>
              </a:ext>
            </a:extLst>
          </p:cNvPr>
          <p:cNvSpPr/>
          <p:nvPr/>
        </p:nvSpPr>
        <p:spPr>
          <a:xfrm>
            <a:off x="1415522" y="3216181"/>
            <a:ext cx="2884940" cy="28849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rPr>
              <a:t>20%</a:t>
            </a:r>
          </a:p>
        </p:txBody>
      </p:sp>
      <p:graphicFrame>
        <p:nvGraphicFramePr>
          <p:cNvPr id="106" name="Chart 105">
            <a:extLst>
              <a:ext uri="{FF2B5EF4-FFF2-40B4-BE49-F238E27FC236}">
                <a16:creationId xmlns:a16="http://schemas.microsoft.com/office/drawing/2014/main" id="{F5AFEB1A-9CED-4D12-9F2A-AF2D53C1F8B0}"/>
              </a:ext>
            </a:extLst>
          </p:cNvPr>
          <p:cNvGraphicFramePr/>
          <p:nvPr/>
        </p:nvGraphicFramePr>
        <p:xfrm>
          <a:off x="1271273" y="3096150"/>
          <a:ext cx="3173437" cy="3110275"/>
        </p:xfrm>
        <a:graphic>
          <a:graphicData uri="http://schemas.openxmlformats.org/drawingml/2006/chart">
            <c:chart xmlns:c="http://schemas.openxmlformats.org/drawingml/2006/chart" xmlns:r="http://schemas.openxmlformats.org/officeDocument/2006/relationships" r:id="rId7"/>
          </a:graphicData>
        </a:graphic>
      </p:graphicFrame>
      <p:sp>
        <p:nvSpPr>
          <p:cNvPr id="4" name="Title 3">
            <a:extLst>
              <a:ext uri="{FF2B5EF4-FFF2-40B4-BE49-F238E27FC236}">
                <a16:creationId xmlns:a16="http://schemas.microsoft.com/office/drawing/2014/main" id="{D8E1399C-014F-B94C-B717-6E705A970F8A}"/>
              </a:ext>
            </a:extLst>
          </p:cNvPr>
          <p:cNvSpPr>
            <a:spLocks noGrp="1"/>
          </p:cNvSpPr>
          <p:nvPr>
            <p:ph type="title"/>
          </p:nvPr>
        </p:nvSpPr>
        <p:spPr/>
        <p:txBody>
          <a:bodyPr/>
          <a:lstStyle/>
          <a:p>
            <a:r>
              <a:rPr lang="en-US" dirty="0"/>
              <a:t>Pie charts with info</a:t>
            </a:r>
          </a:p>
        </p:txBody>
      </p:sp>
      <p:sp>
        <p:nvSpPr>
          <p:cNvPr id="137" name="Rectangle 136">
            <a:extLst>
              <a:ext uri="{FF2B5EF4-FFF2-40B4-BE49-F238E27FC236}">
                <a16:creationId xmlns:a16="http://schemas.microsoft.com/office/drawing/2014/main" id="{28AEF665-709D-485B-8C48-499CBECDEEC3}"/>
              </a:ext>
            </a:extLst>
          </p:cNvPr>
          <p:cNvSpPr/>
          <p:nvPr/>
        </p:nvSpPr>
        <p:spPr>
          <a:xfrm>
            <a:off x="4444711" y="3789513"/>
            <a:ext cx="7151702" cy="1723549"/>
          </a:xfrm>
          <a:prstGeom prst="rect">
            <a:avLst/>
          </a:prstGeom>
        </p:spPr>
        <p:txBody>
          <a:bodyPr wrap="square" lIns="0" tIns="0" rIns="0" bIns="0" anchor="ctr">
            <a:spAutoFit/>
          </a:bodyPr>
          <a:lstStyle/>
          <a:p>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Duis </a:t>
            </a:r>
            <a:r>
              <a:rPr lang="en-US" sz="2800" dirty="0" err="1"/>
              <a:t>suscipit</a:t>
            </a:r>
            <a:r>
              <a:rPr lang="en-US" sz="2800" dirty="0"/>
              <a:t> in </a:t>
            </a:r>
            <a:r>
              <a:rPr lang="en-US" sz="2800" dirty="0" err="1"/>
              <a:t>tellus</a:t>
            </a:r>
            <a:r>
              <a:rPr lang="en-US" sz="2800" dirty="0"/>
              <a:t> ac </a:t>
            </a:r>
            <a:r>
              <a:rPr lang="en-US" sz="2800" dirty="0" err="1"/>
              <a:t>bibendum</a:t>
            </a:r>
            <a:r>
              <a:rPr lang="en-US" sz="2800" dirty="0"/>
              <a:t>. Sed </a:t>
            </a:r>
            <a:r>
              <a:rPr lang="en-US" sz="2800" dirty="0" err="1"/>
              <a:t>congue</a:t>
            </a:r>
            <a:r>
              <a:rPr lang="en-US" sz="2800" dirty="0"/>
              <a:t> </a:t>
            </a:r>
            <a:r>
              <a:rPr lang="en-US" sz="2800" dirty="0" err="1"/>
              <a:t>lacus</a:t>
            </a:r>
            <a:r>
              <a:rPr lang="en-US" sz="2800" dirty="0"/>
              <a:t> vitae </a:t>
            </a:r>
            <a:r>
              <a:rPr lang="en-US" sz="2800" dirty="0" err="1"/>
              <a:t>tellus</a:t>
            </a:r>
            <a:r>
              <a:rPr lang="en-US" sz="2800" dirty="0"/>
              <a:t> </a:t>
            </a:r>
            <a:r>
              <a:rPr lang="en-US" sz="2800" dirty="0" err="1"/>
              <a:t>finibus</a:t>
            </a:r>
            <a:r>
              <a:rPr lang="en-US" sz="2800" dirty="0"/>
              <a:t>, </a:t>
            </a:r>
            <a:r>
              <a:rPr lang="en-US" sz="2800" dirty="0" err="1"/>
              <a:t>eu</a:t>
            </a:r>
            <a:r>
              <a:rPr lang="en-US" sz="2800" dirty="0"/>
              <a:t> </a:t>
            </a:r>
            <a:r>
              <a:rPr lang="en-US" sz="2800" dirty="0" err="1"/>
              <a:t>faucibus</a:t>
            </a:r>
            <a:r>
              <a:rPr lang="en-US" sz="2800" dirty="0"/>
              <a:t> nisi </a:t>
            </a:r>
            <a:r>
              <a:rPr lang="en-US" sz="2800" dirty="0" err="1"/>
              <a:t>ullamcorper</a:t>
            </a:r>
            <a:r>
              <a:rPr lang="en-US" sz="2800" dirty="0"/>
              <a:t>. </a:t>
            </a:r>
          </a:p>
        </p:txBody>
      </p:sp>
      <p:sp>
        <p:nvSpPr>
          <p:cNvPr id="138" name="Rectangle 137">
            <a:extLst>
              <a:ext uri="{FF2B5EF4-FFF2-40B4-BE49-F238E27FC236}">
                <a16:creationId xmlns:a16="http://schemas.microsoft.com/office/drawing/2014/main" id="{14EB012E-450C-4F5E-97C0-B722CB19F25B}"/>
              </a:ext>
            </a:extLst>
          </p:cNvPr>
          <p:cNvSpPr/>
          <p:nvPr/>
        </p:nvSpPr>
        <p:spPr>
          <a:xfrm>
            <a:off x="4444711" y="6904218"/>
            <a:ext cx="7151702" cy="1723549"/>
          </a:xfrm>
          <a:prstGeom prst="rect">
            <a:avLst/>
          </a:prstGeom>
        </p:spPr>
        <p:txBody>
          <a:bodyPr wrap="square" lIns="0" tIns="0" rIns="0" bIns="0" anchor="ctr">
            <a:spAutoFit/>
          </a:bodyPr>
          <a:lstStyle/>
          <a:p>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Duis </a:t>
            </a:r>
            <a:r>
              <a:rPr lang="en-US" sz="2800" dirty="0" err="1"/>
              <a:t>suscipit</a:t>
            </a:r>
            <a:r>
              <a:rPr lang="en-US" sz="2800" dirty="0"/>
              <a:t> in </a:t>
            </a:r>
            <a:r>
              <a:rPr lang="en-US" sz="2800" dirty="0" err="1"/>
              <a:t>tellus</a:t>
            </a:r>
            <a:r>
              <a:rPr lang="en-US" sz="2800" dirty="0"/>
              <a:t> ac </a:t>
            </a:r>
            <a:r>
              <a:rPr lang="en-US" sz="2800" dirty="0" err="1"/>
              <a:t>bibendum</a:t>
            </a:r>
            <a:r>
              <a:rPr lang="en-US" sz="2800" dirty="0"/>
              <a:t>. Sed </a:t>
            </a:r>
            <a:r>
              <a:rPr lang="en-US" sz="2800" dirty="0" err="1"/>
              <a:t>congue</a:t>
            </a:r>
            <a:r>
              <a:rPr lang="en-US" sz="2800" dirty="0"/>
              <a:t> </a:t>
            </a:r>
            <a:r>
              <a:rPr lang="en-US" sz="2800" dirty="0" err="1"/>
              <a:t>lacus</a:t>
            </a:r>
            <a:r>
              <a:rPr lang="en-US" sz="2800" dirty="0"/>
              <a:t> vitae </a:t>
            </a:r>
            <a:r>
              <a:rPr lang="en-US" sz="2800" dirty="0" err="1"/>
              <a:t>tellus</a:t>
            </a:r>
            <a:r>
              <a:rPr lang="en-US" sz="2800" dirty="0"/>
              <a:t> </a:t>
            </a:r>
            <a:r>
              <a:rPr lang="en-US" sz="2800" dirty="0" err="1"/>
              <a:t>finibus</a:t>
            </a:r>
            <a:r>
              <a:rPr lang="en-US" sz="2800" dirty="0"/>
              <a:t>, </a:t>
            </a:r>
            <a:r>
              <a:rPr lang="en-US" sz="2800" dirty="0" err="1"/>
              <a:t>eu</a:t>
            </a:r>
            <a:r>
              <a:rPr lang="en-US" sz="2800" dirty="0"/>
              <a:t> </a:t>
            </a:r>
            <a:r>
              <a:rPr lang="en-US" sz="2800" dirty="0" err="1"/>
              <a:t>faucibus</a:t>
            </a:r>
            <a:r>
              <a:rPr lang="en-US" sz="2800" dirty="0"/>
              <a:t> nisi </a:t>
            </a:r>
            <a:r>
              <a:rPr lang="en-US" sz="2800" dirty="0" err="1"/>
              <a:t>ullamcorper</a:t>
            </a:r>
            <a:r>
              <a:rPr lang="en-US" sz="2800" dirty="0"/>
              <a:t>. </a:t>
            </a:r>
          </a:p>
        </p:txBody>
      </p:sp>
      <p:sp>
        <p:nvSpPr>
          <p:cNvPr id="139" name="Rectangle 138">
            <a:extLst>
              <a:ext uri="{FF2B5EF4-FFF2-40B4-BE49-F238E27FC236}">
                <a16:creationId xmlns:a16="http://schemas.microsoft.com/office/drawing/2014/main" id="{95E4D9A5-0774-4785-863F-E9553E2C9984}"/>
              </a:ext>
            </a:extLst>
          </p:cNvPr>
          <p:cNvSpPr/>
          <p:nvPr/>
        </p:nvSpPr>
        <p:spPr>
          <a:xfrm>
            <a:off x="4444711" y="10020196"/>
            <a:ext cx="7151702" cy="1723549"/>
          </a:xfrm>
          <a:prstGeom prst="rect">
            <a:avLst/>
          </a:prstGeom>
        </p:spPr>
        <p:txBody>
          <a:bodyPr wrap="square" lIns="0" tIns="0" rIns="0" bIns="0" anchor="ctr">
            <a:spAutoFit/>
          </a:bodyPr>
          <a:lstStyle/>
          <a:p>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Duis </a:t>
            </a:r>
            <a:r>
              <a:rPr lang="en-US" sz="2800" dirty="0" err="1"/>
              <a:t>suscipit</a:t>
            </a:r>
            <a:r>
              <a:rPr lang="en-US" sz="2800" dirty="0"/>
              <a:t> in </a:t>
            </a:r>
            <a:r>
              <a:rPr lang="en-US" sz="2800" dirty="0" err="1"/>
              <a:t>tellus</a:t>
            </a:r>
            <a:r>
              <a:rPr lang="en-US" sz="2800" dirty="0"/>
              <a:t> ac </a:t>
            </a:r>
            <a:r>
              <a:rPr lang="en-US" sz="2800" dirty="0" err="1"/>
              <a:t>bibendum</a:t>
            </a:r>
            <a:r>
              <a:rPr lang="en-US" sz="2800" dirty="0"/>
              <a:t>. Sed </a:t>
            </a:r>
            <a:r>
              <a:rPr lang="en-US" sz="2800" dirty="0" err="1"/>
              <a:t>congue</a:t>
            </a:r>
            <a:r>
              <a:rPr lang="en-US" sz="2800" dirty="0"/>
              <a:t> </a:t>
            </a:r>
            <a:r>
              <a:rPr lang="en-US" sz="2800" dirty="0" err="1"/>
              <a:t>lacus</a:t>
            </a:r>
            <a:r>
              <a:rPr lang="en-US" sz="2800" dirty="0"/>
              <a:t> vitae </a:t>
            </a:r>
            <a:r>
              <a:rPr lang="en-US" sz="2800" dirty="0" err="1"/>
              <a:t>tellus</a:t>
            </a:r>
            <a:r>
              <a:rPr lang="en-US" sz="2800" dirty="0"/>
              <a:t> </a:t>
            </a:r>
            <a:r>
              <a:rPr lang="en-US" sz="2800" dirty="0" err="1"/>
              <a:t>finibus</a:t>
            </a:r>
            <a:r>
              <a:rPr lang="en-US" sz="2800" dirty="0"/>
              <a:t>, </a:t>
            </a:r>
            <a:r>
              <a:rPr lang="en-US" sz="2800" dirty="0" err="1"/>
              <a:t>eu</a:t>
            </a:r>
            <a:r>
              <a:rPr lang="en-US" sz="2800" dirty="0"/>
              <a:t> </a:t>
            </a:r>
            <a:r>
              <a:rPr lang="en-US" sz="2800" dirty="0" err="1"/>
              <a:t>faucibus</a:t>
            </a:r>
            <a:r>
              <a:rPr lang="en-US" sz="2800" dirty="0"/>
              <a:t> nisi </a:t>
            </a:r>
            <a:r>
              <a:rPr lang="en-US" sz="2800" dirty="0" err="1"/>
              <a:t>ullamcorper</a:t>
            </a:r>
            <a:r>
              <a:rPr lang="en-US" sz="2800" dirty="0"/>
              <a:t>. </a:t>
            </a:r>
          </a:p>
        </p:txBody>
      </p:sp>
      <p:sp>
        <p:nvSpPr>
          <p:cNvPr id="140" name="Rectangle 139">
            <a:extLst>
              <a:ext uri="{FF2B5EF4-FFF2-40B4-BE49-F238E27FC236}">
                <a16:creationId xmlns:a16="http://schemas.microsoft.com/office/drawing/2014/main" id="{9E50C303-E0AC-41B3-B8F6-D95E3FE024D8}"/>
              </a:ext>
            </a:extLst>
          </p:cNvPr>
          <p:cNvSpPr/>
          <p:nvPr/>
        </p:nvSpPr>
        <p:spPr>
          <a:xfrm>
            <a:off x="15364644" y="3789513"/>
            <a:ext cx="7151702" cy="1723549"/>
          </a:xfrm>
          <a:prstGeom prst="rect">
            <a:avLst/>
          </a:prstGeom>
        </p:spPr>
        <p:txBody>
          <a:bodyPr wrap="square" lIns="0" tIns="0" rIns="0" bIns="0" anchor="ctr">
            <a:spAutoFit/>
          </a:bodyPr>
          <a:lstStyle/>
          <a:p>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Duis </a:t>
            </a:r>
            <a:r>
              <a:rPr lang="en-US" sz="2800" dirty="0" err="1"/>
              <a:t>suscipit</a:t>
            </a:r>
            <a:r>
              <a:rPr lang="en-US" sz="2800" dirty="0"/>
              <a:t> in </a:t>
            </a:r>
            <a:r>
              <a:rPr lang="en-US" sz="2800" dirty="0" err="1"/>
              <a:t>tellus</a:t>
            </a:r>
            <a:r>
              <a:rPr lang="en-US" sz="2800" dirty="0"/>
              <a:t> ac </a:t>
            </a:r>
            <a:r>
              <a:rPr lang="en-US" sz="2800" dirty="0" err="1"/>
              <a:t>bibendum</a:t>
            </a:r>
            <a:r>
              <a:rPr lang="en-US" sz="2800" dirty="0"/>
              <a:t>. Sed </a:t>
            </a:r>
            <a:r>
              <a:rPr lang="en-US" sz="2800" dirty="0" err="1"/>
              <a:t>congue</a:t>
            </a:r>
            <a:r>
              <a:rPr lang="en-US" sz="2800" dirty="0"/>
              <a:t> </a:t>
            </a:r>
            <a:r>
              <a:rPr lang="en-US" sz="2800" dirty="0" err="1"/>
              <a:t>lacus</a:t>
            </a:r>
            <a:r>
              <a:rPr lang="en-US" sz="2800" dirty="0"/>
              <a:t> vitae </a:t>
            </a:r>
            <a:r>
              <a:rPr lang="en-US" sz="2800" dirty="0" err="1"/>
              <a:t>tellus</a:t>
            </a:r>
            <a:r>
              <a:rPr lang="en-US" sz="2800" dirty="0"/>
              <a:t> </a:t>
            </a:r>
            <a:r>
              <a:rPr lang="en-US" sz="2800" dirty="0" err="1"/>
              <a:t>finibus</a:t>
            </a:r>
            <a:r>
              <a:rPr lang="en-US" sz="2800" dirty="0"/>
              <a:t>, </a:t>
            </a:r>
            <a:r>
              <a:rPr lang="en-US" sz="2800" dirty="0" err="1"/>
              <a:t>eu</a:t>
            </a:r>
            <a:r>
              <a:rPr lang="en-US" sz="2800" dirty="0"/>
              <a:t> </a:t>
            </a:r>
            <a:r>
              <a:rPr lang="en-US" sz="2800" dirty="0" err="1"/>
              <a:t>faucibus</a:t>
            </a:r>
            <a:r>
              <a:rPr lang="en-US" sz="2800" dirty="0"/>
              <a:t> nisi </a:t>
            </a:r>
            <a:r>
              <a:rPr lang="en-US" sz="2800" dirty="0" err="1"/>
              <a:t>ullamcorper</a:t>
            </a:r>
            <a:r>
              <a:rPr lang="en-US" sz="2800" dirty="0"/>
              <a:t>. </a:t>
            </a:r>
          </a:p>
        </p:txBody>
      </p:sp>
      <p:sp>
        <p:nvSpPr>
          <p:cNvPr id="141" name="Rectangle 140">
            <a:extLst>
              <a:ext uri="{FF2B5EF4-FFF2-40B4-BE49-F238E27FC236}">
                <a16:creationId xmlns:a16="http://schemas.microsoft.com/office/drawing/2014/main" id="{2FB23573-283B-4584-82A0-2C231111D86B}"/>
              </a:ext>
            </a:extLst>
          </p:cNvPr>
          <p:cNvSpPr/>
          <p:nvPr/>
        </p:nvSpPr>
        <p:spPr>
          <a:xfrm>
            <a:off x="15364644" y="6904218"/>
            <a:ext cx="7151702" cy="1723549"/>
          </a:xfrm>
          <a:prstGeom prst="rect">
            <a:avLst/>
          </a:prstGeom>
        </p:spPr>
        <p:txBody>
          <a:bodyPr wrap="square" lIns="0" tIns="0" rIns="0" bIns="0" anchor="ctr">
            <a:spAutoFit/>
          </a:bodyPr>
          <a:lstStyle/>
          <a:p>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Duis </a:t>
            </a:r>
            <a:r>
              <a:rPr lang="en-US" sz="2800" dirty="0" err="1"/>
              <a:t>suscipit</a:t>
            </a:r>
            <a:r>
              <a:rPr lang="en-US" sz="2800" dirty="0"/>
              <a:t> in </a:t>
            </a:r>
            <a:r>
              <a:rPr lang="en-US" sz="2800" dirty="0" err="1"/>
              <a:t>tellus</a:t>
            </a:r>
            <a:r>
              <a:rPr lang="en-US" sz="2800" dirty="0"/>
              <a:t> ac </a:t>
            </a:r>
            <a:r>
              <a:rPr lang="en-US" sz="2800" dirty="0" err="1"/>
              <a:t>bibendum</a:t>
            </a:r>
            <a:r>
              <a:rPr lang="en-US" sz="2800" dirty="0"/>
              <a:t>. Sed </a:t>
            </a:r>
            <a:r>
              <a:rPr lang="en-US" sz="2800" dirty="0" err="1"/>
              <a:t>congue</a:t>
            </a:r>
            <a:r>
              <a:rPr lang="en-US" sz="2800" dirty="0"/>
              <a:t> </a:t>
            </a:r>
            <a:r>
              <a:rPr lang="en-US" sz="2800" dirty="0" err="1"/>
              <a:t>lacus</a:t>
            </a:r>
            <a:r>
              <a:rPr lang="en-US" sz="2800" dirty="0"/>
              <a:t> vitae </a:t>
            </a:r>
            <a:r>
              <a:rPr lang="en-US" sz="2800" dirty="0" err="1"/>
              <a:t>tellus</a:t>
            </a:r>
            <a:r>
              <a:rPr lang="en-US" sz="2800" dirty="0"/>
              <a:t> </a:t>
            </a:r>
            <a:r>
              <a:rPr lang="en-US" sz="2800" dirty="0" err="1"/>
              <a:t>finibus</a:t>
            </a:r>
            <a:r>
              <a:rPr lang="en-US" sz="2800" dirty="0"/>
              <a:t>, </a:t>
            </a:r>
            <a:r>
              <a:rPr lang="en-US" sz="2800" dirty="0" err="1"/>
              <a:t>eu</a:t>
            </a:r>
            <a:r>
              <a:rPr lang="en-US" sz="2800" dirty="0"/>
              <a:t> </a:t>
            </a:r>
            <a:r>
              <a:rPr lang="en-US" sz="2800" dirty="0" err="1"/>
              <a:t>faucibus</a:t>
            </a:r>
            <a:r>
              <a:rPr lang="en-US" sz="2800" dirty="0"/>
              <a:t> nisi </a:t>
            </a:r>
            <a:r>
              <a:rPr lang="en-US" sz="2800" dirty="0" err="1"/>
              <a:t>ullamcorper</a:t>
            </a:r>
            <a:r>
              <a:rPr lang="en-US" sz="2800" dirty="0"/>
              <a:t>. </a:t>
            </a:r>
          </a:p>
        </p:txBody>
      </p:sp>
      <p:sp>
        <p:nvSpPr>
          <p:cNvPr id="142" name="Rectangle 141">
            <a:extLst>
              <a:ext uri="{FF2B5EF4-FFF2-40B4-BE49-F238E27FC236}">
                <a16:creationId xmlns:a16="http://schemas.microsoft.com/office/drawing/2014/main" id="{2F60EE4F-09E5-47E3-B8E6-0DE8A2ADF69D}"/>
              </a:ext>
            </a:extLst>
          </p:cNvPr>
          <p:cNvSpPr/>
          <p:nvPr/>
        </p:nvSpPr>
        <p:spPr>
          <a:xfrm>
            <a:off x="15364644" y="10020196"/>
            <a:ext cx="7151702" cy="1723549"/>
          </a:xfrm>
          <a:prstGeom prst="rect">
            <a:avLst/>
          </a:prstGeom>
        </p:spPr>
        <p:txBody>
          <a:bodyPr wrap="square" lIns="0" tIns="0" rIns="0" bIns="0" anchor="ctr">
            <a:spAutoFit/>
          </a:bodyPr>
          <a:lstStyle/>
          <a:p>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Duis </a:t>
            </a:r>
            <a:r>
              <a:rPr lang="en-US" sz="2800" dirty="0" err="1"/>
              <a:t>suscipit</a:t>
            </a:r>
            <a:r>
              <a:rPr lang="en-US" sz="2800" dirty="0"/>
              <a:t> in </a:t>
            </a:r>
            <a:r>
              <a:rPr lang="en-US" sz="2800" dirty="0" err="1"/>
              <a:t>tellus</a:t>
            </a:r>
            <a:r>
              <a:rPr lang="en-US" sz="2800" dirty="0"/>
              <a:t> ac </a:t>
            </a:r>
            <a:r>
              <a:rPr lang="en-US" sz="2800" dirty="0" err="1"/>
              <a:t>bibendum</a:t>
            </a:r>
            <a:r>
              <a:rPr lang="en-US" sz="2800" dirty="0"/>
              <a:t>. Sed </a:t>
            </a:r>
            <a:r>
              <a:rPr lang="en-US" sz="2800" dirty="0" err="1"/>
              <a:t>congue</a:t>
            </a:r>
            <a:r>
              <a:rPr lang="en-US" sz="2800" dirty="0"/>
              <a:t> </a:t>
            </a:r>
            <a:r>
              <a:rPr lang="en-US" sz="2800" dirty="0" err="1"/>
              <a:t>lacus</a:t>
            </a:r>
            <a:r>
              <a:rPr lang="en-US" sz="2800" dirty="0"/>
              <a:t> vitae </a:t>
            </a:r>
            <a:r>
              <a:rPr lang="en-US" sz="2800" dirty="0" err="1"/>
              <a:t>tellus</a:t>
            </a:r>
            <a:r>
              <a:rPr lang="en-US" sz="2800" dirty="0"/>
              <a:t> </a:t>
            </a:r>
            <a:r>
              <a:rPr lang="en-US" sz="2800" dirty="0" err="1"/>
              <a:t>finibus</a:t>
            </a:r>
            <a:r>
              <a:rPr lang="en-US" sz="2800" dirty="0"/>
              <a:t>, </a:t>
            </a:r>
            <a:r>
              <a:rPr lang="en-US" sz="2800" dirty="0" err="1"/>
              <a:t>eu</a:t>
            </a:r>
            <a:r>
              <a:rPr lang="en-US" sz="2800" dirty="0"/>
              <a:t> </a:t>
            </a:r>
            <a:r>
              <a:rPr lang="en-US" sz="2800" dirty="0" err="1"/>
              <a:t>faucibus</a:t>
            </a:r>
            <a:r>
              <a:rPr lang="en-US" sz="2800" dirty="0"/>
              <a:t> nisi </a:t>
            </a:r>
            <a:r>
              <a:rPr lang="en-US" sz="2800" dirty="0" err="1"/>
              <a:t>ullamcorper</a:t>
            </a:r>
            <a:r>
              <a:rPr lang="en-US" sz="2800" dirty="0"/>
              <a:t>. </a:t>
            </a:r>
          </a:p>
        </p:txBody>
      </p:sp>
    </p:spTree>
    <p:extLst>
      <p:ext uri="{BB962C8B-B14F-4D97-AF65-F5344CB8AC3E}">
        <p14:creationId xmlns:p14="http://schemas.microsoft.com/office/powerpoint/2010/main" val="16118881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D732DAD-C2BE-4A14-B4EB-6508C2CCF645}"/>
              </a:ext>
            </a:extLst>
          </p:cNvPr>
          <p:cNvSpPr/>
          <p:nvPr/>
        </p:nvSpPr>
        <p:spPr>
          <a:xfrm>
            <a:off x="1257299" y="2938703"/>
            <a:ext cx="5459585" cy="2585323"/>
          </a:xfrm>
          <a:prstGeom prst="rect">
            <a:avLst/>
          </a:prstGeom>
        </p:spPr>
        <p:txBody>
          <a:bodyPr wrap="square" lIns="0" tIns="0" rIns="0" bIns="0">
            <a:spAutoFit/>
          </a:bodyPr>
          <a:lstStyle/>
          <a:p>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Duis </a:t>
            </a:r>
            <a:r>
              <a:rPr lang="en-US" sz="2800" dirty="0" err="1"/>
              <a:t>suscipit</a:t>
            </a:r>
            <a:r>
              <a:rPr lang="en-US" sz="2800" dirty="0"/>
              <a:t> in </a:t>
            </a:r>
            <a:r>
              <a:rPr lang="en-US" sz="2800" dirty="0" err="1"/>
              <a:t>tellus</a:t>
            </a:r>
            <a:r>
              <a:rPr lang="en-US" sz="2800" dirty="0"/>
              <a:t> ac </a:t>
            </a:r>
            <a:r>
              <a:rPr lang="en-US" sz="2800" dirty="0" err="1"/>
              <a:t>bibendum</a:t>
            </a:r>
            <a:r>
              <a:rPr lang="en-US" sz="2800" dirty="0"/>
              <a:t>. Sed </a:t>
            </a:r>
            <a:r>
              <a:rPr lang="en-US" sz="2800" dirty="0" err="1"/>
              <a:t>congue</a:t>
            </a:r>
            <a:r>
              <a:rPr lang="en-US" sz="2800" dirty="0"/>
              <a:t> </a:t>
            </a:r>
            <a:r>
              <a:rPr lang="en-US" sz="2800" dirty="0" err="1"/>
              <a:t>lacus</a:t>
            </a:r>
            <a:r>
              <a:rPr lang="en-US" sz="2800" dirty="0"/>
              <a:t> vitae </a:t>
            </a:r>
            <a:r>
              <a:rPr lang="en-US" sz="2800" dirty="0" err="1"/>
              <a:t>tellus</a:t>
            </a:r>
            <a:r>
              <a:rPr lang="en-US" sz="2800" dirty="0"/>
              <a:t> </a:t>
            </a:r>
            <a:r>
              <a:rPr lang="en-US" sz="2800" dirty="0" err="1"/>
              <a:t>finibus</a:t>
            </a:r>
            <a:r>
              <a:rPr lang="en-US" sz="2800" dirty="0"/>
              <a:t>, </a:t>
            </a:r>
            <a:r>
              <a:rPr lang="en-US" sz="2800" dirty="0" err="1"/>
              <a:t>eu</a:t>
            </a:r>
            <a:r>
              <a:rPr lang="en-US" sz="2800" dirty="0"/>
              <a:t> </a:t>
            </a:r>
            <a:r>
              <a:rPr lang="en-US" sz="2800" dirty="0" err="1"/>
              <a:t>faucibus</a:t>
            </a:r>
            <a:r>
              <a:rPr lang="en-US" sz="2800" dirty="0"/>
              <a:t> nisi </a:t>
            </a:r>
            <a:r>
              <a:rPr lang="en-US" sz="2800" dirty="0" err="1"/>
              <a:t>ullamcorper</a:t>
            </a:r>
            <a:r>
              <a:rPr lang="en-US" sz="2800" dirty="0"/>
              <a:t>. </a:t>
            </a:r>
          </a:p>
        </p:txBody>
      </p:sp>
      <p:sp>
        <p:nvSpPr>
          <p:cNvPr id="4" name="Title 3">
            <a:extLst>
              <a:ext uri="{FF2B5EF4-FFF2-40B4-BE49-F238E27FC236}">
                <a16:creationId xmlns:a16="http://schemas.microsoft.com/office/drawing/2014/main" id="{A86BD9FC-281E-0D4D-BEAB-9990440D4593}"/>
              </a:ext>
            </a:extLst>
          </p:cNvPr>
          <p:cNvSpPr>
            <a:spLocks noGrp="1"/>
          </p:cNvSpPr>
          <p:nvPr>
            <p:ph type="title"/>
          </p:nvPr>
        </p:nvSpPr>
        <p:spPr/>
        <p:txBody>
          <a:bodyPr/>
          <a:lstStyle/>
          <a:p>
            <a:r>
              <a:rPr lang="en-US" dirty="0"/>
              <a:t>World pie charts</a:t>
            </a:r>
          </a:p>
        </p:txBody>
      </p:sp>
      <p:grpSp>
        <p:nvGrpSpPr>
          <p:cNvPr id="24" name="Group 225">
            <a:extLst>
              <a:ext uri="{FF2B5EF4-FFF2-40B4-BE49-F238E27FC236}">
                <a16:creationId xmlns:a16="http://schemas.microsoft.com/office/drawing/2014/main" id="{D006235C-BCA2-4175-98A4-E34FE856E2EA}"/>
              </a:ext>
            </a:extLst>
          </p:cNvPr>
          <p:cNvGrpSpPr>
            <a:grpSpLocks/>
          </p:cNvGrpSpPr>
          <p:nvPr/>
        </p:nvGrpSpPr>
        <p:grpSpPr bwMode="auto">
          <a:xfrm>
            <a:off x="7715002" y="3812018"/>
            <a:ext cx="14286412" cy="8260958"/>
            <a:chOff x="61885" y="752495"/>
            <a:chExt cx="8724928" cy="5045056"/>
          </a:xfrm>
          <a:solidFill>
            <a:schemeClr val="bg1">
              <a:lumMod val="85000"/>
            </a:schemeClr>
          </a:solidFill>
        </p:grpSpPr>
        <p:sp>
          <p:nvSpPr>
            <p:cNvPr id="25" name="Freeform 5962">
              <a:extLst>
                <a:ext uri="{FF2B5EF4-FFF2-40B4-BE49-F238E27FC236}">
                  <a16:creationId xmlns:a16="http://schemas.microsoft.com/office/drawing/2014/main" id="{EFC7B396-187F-4ACA-8FE7-6AFB4777B6D8}"/>
                </a:ext>
              </a:extLst>
            </p:cNvPr>
            <p:cNvSpPr>
              <a:spLocks noEditPoints="1"/>
            </p:cNvSpPr>
            <p:nvPr/>
          </p:nvSpPr>
          <p:spPr bwMode="auto">
            <a:xfrm>
              <a:off x="2279630" y="3535373"/>
              <a:ext cx="1189042" cy="2262178"/>
            </a:xfrm>
            <a:custGeom>
              <a:avLst/>
              <a:gdLst>
                <a:gd name="T0" fmla="*/ 168775 w 1874"/>
                <a:gd name="T1" fmla="*/ 2086902 h 3562"/>
                <a:gd name="T2" fmla="*/ 147202 w 1874"/>
                <a:gd name="T3" fmla="*/ 1968776 h 3562"/>
                <a:gd name="T4" fmla="*/ 184003 w 1874"/>
                <a:gd name="T5" fmla="*/ 1976397 h 3562"/>
                <a:gd name="T6" fmla="*/ 161161 w 1874"/>
                <a:gd name="T7" fmla="*/ 1982748 h 3562"/>
                <a:gd name="T8" fmla="*/ 154816 w 1874"/>
                <a:gd name="T9" fmla="*/ 2042446 h 3562"/>
                <a:gd name="T10" fmla="*/ 156085 w 1874"/>
                <a:gd name="T11" fmla="*/ 1997990 h 3562"/>
                <a:gd name="T12" fmla="*/ 147202 w 1874"/>
                <a:gd name="T13" fmla="*/ 2006881 h 3562"/>
                <a:gd name="T14" fmla="*/ 184003 w 1874"/>
                <a:gd name="T15" fmla="*/ 2086902 h 3562"/>
                <a:gd name="T16" fmla="*/ 153547 w 1874"/>
                <a:gd name="T17" fmla="*/ 1999260 h 3562"/>
                <a:gd name="T18" fmla="*/ 185272 w 1874"/>
                <a:gd name="T19" fmla="*/ 1850649 h 3562"/>
                <a:gd name="T20" fmla="*/ 192886 w 1874"/>
                <a:gd name="T21" fmla="*/ 1841758 h 3562"/>
                <a:gd name="T22" fmla="*/ 166237 w 1874"/>
                <a:gd name="T23" fmla="*/ 1884944 h 3562"/>
                <a:gd name="T24" fmla="*/ 348971 w 1874"/>
                <a:gd name="T25" fmla="*/ 2235513 h 3562"/>
                <a:gd name="T26" fmla="*/ 304556 w 1874"/>
                <a:gd name="T27" fmla="*/ 2245675 h 3562"/>
                <a:gd name="T28" fmla="*/ 284252 w 1874"/>
                <a:gd name="T29" fmla="*/ 2227892 h 3562"/>
                <a:gd name="T30" fmla="*/ 323591 w 1874"/>
                <a:gd name="T31" fmla="*/ 2224082 h 3562"/>
                <a:gd name="T32" fmla="*/ 277907 w 1874"/>
                <a:gd name="T33" fmla="*/ 2230433 h 3562"/>
                <a:gd name="T34" fmla="*/ 170044 w 1874"/>
                <a:gd name="T35" fmla="*/ 2140250 h 3562"/>
                <a:gd name="T36" fmla="*/ 180196 w 1874"/>
                <a:gd name="T37" fmla="*/ 2163113 h 3562"/>
                <a:gd name="T38" fmla="*/ 157354 w 1874"/>
                <a:gd name="T39" fmla="*/ 2090713 h 3562"/>
                <a:gd name="T40" fmla="*/ 247452 w 1874"/>
                <a:gd name="T41" fmla="*/ 2198678 h 3562"/>
                <a:gd name="T42" fmla="*/ 214458 w 1874"/>
                <a:gd name="T43" fmla="*/ 2170734 h 3562"/>
                <a:gd name="T44" fmla="*/ 224610 w 1874"/>
                <a:gd name="T45" fmla="*/ 2189787 h 3562"/>
                <a:gd name="T46" fmla="*/ 300749 w 1874"/>
                <a:gd name="T47" fmla="*/ 2198678 h 3562"/>
                <a:gd name="T48" fmla="*/ 237300 w 1874"/>
                <a:gd name="T49" fmla="*/ 2207569 h 3562"/>
                <a:gd name="T50" fmla="*/ 319784 w 1874"/>
                <a:gd name="T51" fmla="*/ 2224082 h 3562"/>
                <a:gd name="T52" fmla="*/ 184003 w 1874"/>
                <a:gd name="T53" fmla="*/ 1738874 h 3562"/>
                <a:gd name="T54" fmla="*/ 166237 w 1874"/>
                <a:gd name="T55" fmla="*/ 1802383 h 3562"/>
                <a:gd name="T56" fmla="*/ 187810 w 1874"/>
                <a:gd name="T57" fmla="*/ 1807463 h 3562"/>
                <a:gd name="T58" fmla="*/ 176389 w 1874"/>
                <a:gd name="T59" fmla="*/ 1878593 h 3562"/>
                <a:gd name="T60" fmla="*/ 939048 w 1874"/>
                <a:gd name="T61" fmla="*/ 443292 h 3562"/>
                <a:gd name="T62" fmla="*/ 767735 w 1874"/>
                <a:gd name="T63" fmla="*/ 403917 h 3562"/>
                <a:gd name="T64" fmla="*/ 761390 w 1874"/>
                <a:gd name="T65" fmla="*/ 248955 h 3562"/>
                <a:gd name="T66" fmla="*/ 611650 w 1874"/>
                <a:gd name="T67" fmla="*/ 190527 h 3562"/>
                <a:gd name="T68" fmla="*/ 474600 w 1874"/>
                <a:gd name="T69" fmla="*/ 59698 h 3562"/>
                <a:gd name="T70" fmla="*/ 281714 w 1874"/>
                <a:gd name="T71" fmla="*/ 21593 h 3562"/>
                <a:gd name="T72" fmla="*/ 157354 w 1874"/>
                <a:gd name="T73" fmla="*/ 45726 h 3562"/>
                <a:gd name="T74" fmla="*/ 91367 w 1874"/>
                <a:gd name="T75" fmla="*/ 299762 h 3562"/>
                <a:gd name="T76" fmla="*/ 35532 w 1874"/>
                <a:gd name="T77" fmla="*/ 461075 h 3562"/>
                <a:gd name="T78" fmla="*/ 109133 w 1874"/>
                <a:gd name="T79" fmla="*/ 768458 h 3562"/>
                <a:gd name="T80" fmla="*/ 275370 w 1874"/>
                <a:gd name="T81" fmla="*/ 1108865 h 3562"/>
                <a:gd name="T82" fmla="*/ 252528 w 1874"/>
                <a:gd name="T83" fmla="*/ 1420059 h 3562"/>
                <a:gd name="T84" fmla="*/ 196693 w 1874"/>
                <a:gd name="T85" fmla="*/ 1667744 h 3562"/>
                <a:gd name="T86" fmla="*/ 209382 w 1874"/>
                <a:gd name="T87" fmla="*/ 1797302 h 3562"/>
                <a:gd name="T88" fmla="*/ 171313 w 1874"/>
                <a:gd name="T89" fmla="*/ 1882404 h 3562"/>
                <a:gd name="T90" fmla="*/ 170044 w 1874"/>
                <a:gd name="T91" fmla="*/ 1947183 h 3562"/>
                <a:gd name="T92" fmla="*/ 176389 w 1874"/>
                <a:gd name="T93" fmla="*/ 2011962 h 3562"/>
                <a:gd name="T94" fmla="*/ 185272 w 1874"/>
                <a:gd name="T95" fmla="*/ 2053878 h 3562"/>
                <a:gd name="T96" fmla="*/ 196693 w 1874"/>
                <a:gd name="T97" fmla="*/ 2100874 h 3562"/>
                <a:gd name="T98" fmla="*/ 194155 w 1874"/>
                <a:gd name="T99" fmla="*/ 2113576 h 3562"/>
                <a:gd name="T100" fmla="*/ 233493 w 1874"/>
                <a:gd name="T101" fmla="*/ 2131359 h 3562"/>
                <a:gd name="T102" fmla="*/ 255066 w 1874"/>
                <a:gd name="T103" fmla="*/ 2141520 h 3562"/>
                <a:gd name="T104" fmla="*/ 314708 w 1874"/>
                <a:gd name="T105" fmla="*/ 2122467 h 3562"/>
                <a:gd name="T106" fmla="*/ 348971 w 1874"/>
                <a:gd name="T107" fmla="*/ 1890025 h 3562"/>
                <a:gd name="T108" fmla="*/ 453027 w 1874"/>
                <a:gd name="T109" fmla="*/ 1764277 h 3562"/>
                <a:gd name="T110" fmla="*/ 491097 w 1874"/>
                <a:gd name="T111" fmla="*/ 1635989 h 3562"/>
                <a:gd name="T112" fmla="*/ 629416 w 1874"/>
                <a:gd name="T113" fmla="*/ 1491189 h 3562"/>
                <a:gd name="T114" fmla="*/ 865447 w 1874"/>
                <a:gd name="T115" fmla="*/ 1158402 h 3562"/>
                <a:gd name="T116" fmla="*/ 1079905 w 1874"/>
                <a:gd name="T117" fmla="*/ 900556 h 3562"/>
                <a:gd name="T118" fmla="*/ 426379 w 1874"/>
                <a:gd name="T119" fmla="*/ 2222811 h 3562"/>
                <a:gd name="T120" fmla="*/ 184003 w 1874"/>
                <a:gd name="T121" fmla="*/ 1928130 h 3562"/>
                <a:gd name="T122" fmla="*/ 159892 w 1874"/>
                <a:gd name="T123" fmla="*/ 1994179 h 3562"/>
                <a:gd name="T124" fmla="*/ 175120 w 1874"/>
                <a:gd name="T125" fmla="*/ 2027204 h 356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74"/>
                <a:gd name="T190" fmla="*/ 0 h 3562"/>
                <a:gd name="T191" fmla="*/ 1874 w 1874"/>
                <a:gd name="T192" fmla="*/ 3562 h 356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74" h="3562">
                  <a:moveTo>
                    <a:pt x="282" y="3320"/>
                  </a:moveTo>
                  <a:lnTo>
                    <a:pt x="282" y="3320"/>
                  </a:lnTo>
                  <a:lnTo>
                    <a:pt x="286" y="3322"/>
                  </a:lnTo>
                  <a:lnTo>
                    <a:pt x="286" y="3320"/>
                  </a:lnTo>
                  <a:lnTo>
                    <a:pt x="284" y="3316"/>
                  </a:lnTo>
                  <a:lnTo>
                    <a:pt x="282" y="3312"/>
                  </a:lnTo>
                  <a:lnTo>
                    <a:pt x="278" y="3308"/>
                  </a:lnTo>
                  <a:lnTo>
                    <a:pt x="274" y="3308"/>
                  </a:lnTo>
                  <a:lnTo>
                    <a:pt x="274" y="3310"/>
                  </a:lnTo>
                  <a:lnTo>
                    <a:pt x="276" y="3314"/>
                  </a:lnTo>
                  <a:lnTo>
                    <a:pt x="276" y="3316"/>
                  </a:lnTo>
                  <a:lnTo>
                    <a:pt x="282" y="3320"/>
                  </a:lnTo>
                  <a:close/>
                  <a:moveTo>
                    <a:pt x="286" y="3348"/>
                  </a:moveTo>
                  <a:lnTo>
                    <a:pt x="286" y="3348"/>
                  </a:lnTo>
                  <a:lnTo>
                    <a:pt x="288" y="3348"/>
                  </a:lnTo>
                  <a:lnTo>
                    <a:pt x="290" y="3348"/>
                  </a:lnTo>
                  <a:lnTo>
                    <a:pt x="296" y="3344"/>
                  </a:lnTo>
                  <a:lnTo>
                    <a:pt x="294" y="3340"/>
                  </a:lnTo>
                  <a:lnTo>
                    <a:pt x="286" y="3334"/>
                  </a:lnTo>
                  <a:lnTo>
                    <a:pt x="282" y="3330"/>
                  </a:lnTo>
                  <a:lnTo>
                    <a:pt x="278" y="3330"/>
                  </a:lnTo>
                  <a:lnTo>
                    <a:pt x="276" y="3332"/>
                  </a:lnTo>
                  <a:lnTo>
                    <a:pt x="278" y="3334"/>
                  </a:lnTo>
                  <a:lnTo>
                    <a:pt x="278" y="3336"/>
                  </a:lnTo>
                  <a:lnTo>
                    <a:pt x="280" y="3336"/>
                  </a:lnTo>
                  <a:lnTo>
                    <a:pt x="282" y="3336"/>
                  </a:lnTo>
                  <a:lnTo>
                    <a:pt x="284" y="3336"/>
                  </a:lnTo>
                  <a:lnTo>
                    <a:pt x="284" y="3338"/>
                  </a:lnTo>
                  <a:lnTo>
                    <a:pt x="284" y="3340"/>
                  </a:lnTo>
                  <a:lnTo>
                    <a:pt x="284" y="3342"/>
                  </a:lnTo>
                  <a:lnTo>
                    <a:pt x="286" y="3348"/>
                  </a:lnTo>
                  <a:close/>
                  <a:moveTo>
                    <a:pt x="270" y="3286"/>
                  </a:moveTo>
                  <a:lnTo>
                    <a:pt x="270" y="3286"/>
                  </a:lnTo>
                  <a:lnTo>
                    <a:pt x="270" y="3280"/>
                  </a:lnTo>
                  <a:lnTo>
                    <a:pt x="268" y="3278"/>
                  </a:lnTo>
                  <a:lnTo>
                    <a:pt x="266" y="3278"/>
                  </a:lnTo>
                  <a:lnTo>
                    <a:pt x="262" y="3278"/>
                  </a:lnTo>
                  <a:lnTo>
                    <a:pt x="260" y="3280"/>
                  </a:lnTo>
                  <a:lnTo>
                    <a:pt x="256" y="3286"/>
                  </a:lnTo>
                  <a:lnTo>
                    <a:pt x="252" y="3292"/>
                  </a:lnTo>
                  <a:lnTo>
                    <a:pt x="254" y="3292"/>
                  </a:lnTo>
                  <a:lnTo>
                    <a:pt x="258" y="3292"/>
                  </a:lnTo>
                  <a:lnTo>
                    <a:pt x="262" y="3290"/>
                  </a:lnTo>
                  <a:lnTo>
                    <a:pt x="262" y="3288"/>
                  </a:lnTo>
                  <a:lnTo>
                    <a:pt x="264" y="3286"/>
                  </a:lnTo>
                  <a:lnTo>
                    <a:pt x="266" y="3286"/>
                  </a:lnTo>
                  <a:lnTo>
                    <a:pt x="266" y="3288"/>
                  </a:lnTo>
                  <a:lnTo>
                    <a:pt x="268" y="3290"/>
                  </a:lnTo>
                  <a:lnTo>
                    <a:pt x="270" y="3288"/>
                  </a:lnTo>
                  <a:lnTo>
                    <a:pt x="270" y="3286"/>
                  </a:lnTo>
                  <a:close/>
                  <a:moveTo>
                    <a:pt x="262" y="3260"/>
                  </a:moveTo>
                  <a:lnTo>
                    <a:pt x="262" y="3260"/>
                  </a:lnTo>
                  <a:lnTo>
                    <a:pt x="256" y="3260"/>
                  </a:lnTo>
                  <a:lnTo>
                    <a:pt x="254" y="3260"/>
                  </a:lnTo>
                  <a:lnTo>
                    <a:pt x="254" y="3262"/>
                  </a:lnTo>
                  <a:lnTo>
                    <a:pt x="256" y="3264"/>
                  </a:lnTo>
                  <a:lnTo>
                    <a:pt x="258" y="3266"/>
                  </a:lnTo>
                  <a:lnTo>
                    <a:pt x="260" y="3270"/>
                  </a:lnTo>
                  <a:lnTo>
                    <a:pt x="264" y="3272"/>
                  </a:lnTo>
                  <a:lnTo>
                    <a:pt x="266" y="3270"/>
                  </a:lnTo>
                  <a:lnTo>
                    <a:pt x="268" y="3268"/>
                  </a:lnTo>
                  <a:lnTo>
                    <a:pt x="270" y="3266"/>
                  </a:lnTo>
                  <a:lnTo>
                    <a:pt x="274" y="3266"/>
                  </a:lnTo>
                  <a:lnTo>
                    <a:pt x="276" y="3266"/>
                  </a:lnTo>
                  <a:lnTo>
                    <a:pt x="276" y="3258"/>
                  </a:lnTo>
                  <a:lnTo>
                    <a:pt x="274" y="3254"/>
                  </a:lnTo>
                  <a:lnTo>
                    <a:pt x="270" y="3250"/>
                  </a:lnTo>
                  <a:lnTo>
                    <a:pt x="268" y="3250"/>
                  </a:lnTo>
                  <a:lnTo>
                    <a:pt x="266" y="3252"/>
                  </a:lnTo>
                  <a:lnTo>
                    <a:pt x="268" y="3258"/>
                  </a:lnTo>
                  <a:lnTo>
                    <a:pt x="266" y="3260"/>
                  </a:lnTo>
                  <a:lnTo>
                    <a:pt x="262" y="3260"/>
                  </a:lnTo>
                  <a:close/>
                  <a:moveTo>
                    <a:pt x="236" y="3110"/>
                  </a:moveTo>
                  <a:lnTo>
                    <a:pt x="236" y="3110"/>
                  </a:lnTo>
                  <a:lnTo>
                    <a:pt x="238" y="3110"/>
                  </a:lnTo>
                  <a:lnTo>
                    <a:pt x="240" y="3112"/>
                  </a:lnTo>
                  <a:lnTo>
                    <a:pt x="240" y="3118"/>
                  </a:lnTo>
                  <a:lnTo>
                    <a:pt x="240" y="3126"/>
                  </a:lnTo>
                  <a:lnTo>
                    <a:pt x="242" y="3128"/>
                  </a:lnTo>
                  <a:lnTo>
                    <a:pt x="244" y="3128"/>
                  </a:lnTo>
                  <a:lnTo>
                    <a:pt x="248" y="3124"/>
                  </a:lnTo>
                  <a:lnTo>
                    <a:pt x="250" y="3120"/>
                  </a:lnTo>
                  <a:lnTo>
                    <a:pt x="244" y="3108"/>
                  </a:lnTo>
                  <a:lnTo>
                    <a:pt x="240" y="3102"/>
                  </a:lnTo>
                  <a:lnTo>
                    <a:pt x="240" y="3096"/>
                  </a:lnTo>
                  <a:lnTo>
                    <a:pt x="238" y="3090"/>
                  </a:lnTo>
                  <a:lnTo>
                    <a:pt x="236" y="3088"/>
                  </a:lnTo>
                  <a:lnTo>
                    <a:pt x="232" y="3090"/>
                  </a:lnTo>
                  <a:lnTo>
                    <a:pt x="230" y="3094"/>
                  </a:lnTo>
                  <a:lnTo>
                    <a:pt x="230" y="3098"/>
                  </a:lnTo>
                  <a:lnTo>
                    <a:pt x="232" y="3100"/>
                  </a:lnTo>
                  <a:lnTo>
                    <a:pt x="232" y="3104"/>
                  </a:lnTo>
                  <a:lnTo>
                    <a:pt x="230" y="3108"/>
                  </a:lnTo>
                  <a:lnTo>
                    <a:pt x="230" y="3110"/>
                  </a:lnTo>
                  <a:lnTo>
                    <a:pt x="232" y="3110"/>
                  </a:lnTo>
                  <a:lnTo>
                    <a:pt x="236" y="3110"/>
                  </a:lnTo>
                  <a:close/>
                  <a:moveTo>
                    <a:pt x="284" y="3278"/>
                  </a:moveTo>
                  <a:lnTo>
                    <a:pt x="284" y="3278"/>
                  </a:lnTo>
                  <a:lnTo>
                    <a:pt x="284" y="3276"/>
                  </a:lnTo>
                  <a:lnTo>
                    <a:pt x="284" y="3270"/>
                  </a:lnTo>
                  <a:lnTo>
                    <a:pt x="282" y="3264"/>
                  </a:lnTo>
                  <a:lnTo>
                    <a:pt x="280" y="3260"/>
                  </a:lnTo>
                  <a:lnTo>
                    <a:pt x="278" y="3264"/>
                  </a:lnTo>
                  <a:lnTo>
                    <a:pt x="278" y="3270"/>
                  </a:lnTo>
                  <a:lnTo>
                    <a:pt x="280" y="3276"/>
                  </a:lnTo>
                  <a:lnTo>
                    <a:pt x="282" y="3278"/>
                  </a:lnTo>
                  <a:lnTo>
                    <a:pt x="284" y="3278"/>
                  </a:lnTo>
                  <a:close/>
                  <a:moveTo>
                    <a:pt x="304" y="3362"/>
                  </a:moveTo>
                  <a:lnTo>
                    <a:pt x="304" y="3362"/>
                  </a:lnTo>
                  <a:lnTo>
                    <a:pt x="304" y="3358"/>
                  </a:lnTo>
                  <a:lnTo>
                    <a:pt x="304" y="3356"/>
                  </a:lnTo>
                  <a:lnTo>
                    <a:pt x="306" y="3354"/>
                  </a:lnTo>
                  <a:lnTo>
                    <a:pt x="304" y="3352"/>
                  </a:lnTo>
                  <a:lnTo>
                    <a:pt x="302" y="3350"/>
                  </a:lnTo>
                  <a:lnTo>
                    <a:pt x="300" y="3350"/>
                  </a:lnTo>
                  <a:lnTo>
                    <a:pt x="294" y="3356"/>
                  </a:lnTo>
                  <a:lnTo>
                    <a:pt x="292" y="3360"/>
                  </a:lnTo>
                  <a:lnTo>
                    <a:pt x="292" y="3362"/>
                  </a:lnTo>
                  <a:lnTo>
                    <a:pt x="296" y="3368"/>
                  </a:lnTo>
                  <a:lnTo>
                    <a:pt x="298" y="3368"/>
                  </a:lnTo>
                  <a:lnTo>
                    <a:pt x="300" y="3368"/>
                  </a:lnTo>
                  <a:lnTo>
                    <a:pt x="302" y="3366"/>
                  </a:lnTo>
                  <a:lnTo>
                    <a:pt x="304" y="3362"/>
                  </a:lnTo>
                  <a:close/>
                  <a:moveTo>
                    <a:pt x="262" y="3320"/>
                  </a:moveTo>
                  <a:lnTo>
                    <a:pt x="262" y="3320"/>
                  </a:lnTo>
                  <a:lnTo>
                    <a:pt x="260" y="3330"/>
                  </a:lnTo>
                  <a:lnTo>
                    <a:pt x="258" y="3332"/>
                  </a:lnTo>
                  <a:lnTo>
                    <a:pt x="260" y="3330"/>
                  </a:lnTo>
                  <a:lnTo>
                    <a:pt x="264" y="3328"/>
                  </a:lnTo>
                  <a:lnTo>
                    <a:pt x="268" y="3320"/>
                  </a:lnTo>
                  <a:lnTo>
                    <a:pt x="268" y="3316"/>
                  </a:lnTo>
                  <a:lnTo>
                    <a:pt x="266" y="3314"/>
                  </a:lnTo>
                  <a:lnTo>
                    <a:pt x="264" y="3314"/>
                  </a:lnTo>
                  <a:lnTo>
                    <a:pt x="262" y="3320"/>
                  </a:lnTo>
                  <a:close/>
                  <a:moveTo>
                    <a:pt x="276" y="3112"/>
                  </a:moveTo>
                  <a:lnTo>
                    <a:pt x="276" y="3112"/>
                  </a:lnTo>
                  <a:lnTo>
                    <a:pt x="286" y="3114"/>
                  </a:lnTo>
                  <a:lnTo>
                    <a:pt x="288" y="3114"/>
                  </a:lnTo>
                  <a:lnTo>
                    <a:pt x="290" y="3112"/>
                  </a:lnTo>
                  <a:lnTo>
                    <a:pt x="284" y="3110"/>
                  </a:lnTo>
                  <a:lnTo>
                    <a:pt x="276" y="3102"/>
                  </a:lnTo>
                  <a:lnTo>
                    <a:pt x="270" y="3096"/>
                  </a:lnTo>
                  <a:lnTo>
                    <a:pt x="270" y="3098"/>
                  </a:lnTo>
                  <a:lnTo>
                    <a:pt x="270" y="3102"/>
                  </a:lnTo>
                  <a:lnTo>
                    <a:pt x="272" y="3108"/>
                  </a:lnTo>
                  <a:lnTo>
                    <a:pt x="276" y="3112"/>
                  </a:lnTo>
                  <a:close/>
                  <a:moveTo>
                    <a:pt x="274" y="3270"/>
                  </a:moveTo>
                  <a:lnTo>
                    <a:pt x="274" y="3270"/>
                  </a:lnTo>
                  <a:lnTo>
                    <a:pt x="272" y="3270"/>
                  </a:lnTo>
                  <a:lnTo>
                    <a:pt x="270" y="3272"/>
                  </a:lnTo>
                  <a:lnTo>
                    <a:pt x="270" y="3274"/>
                  </a:lnTo>
                  <a:lnTo>
                    <a:pt x="272" y="3276"/>
                  </a:lnTo>
                  <a:lnTo>
                    <a:pt x="274" y="3278"/>
                  </a:lnTo>
                  <a:lnTo>
                    <a:pt x="276" y="3276"/>
                  </a:lnTo>
                  <a:lnTo>
                    <a:pt x="276" y="3272"/>
                  </a:lnTo>
                  <a:lnTo>
                    <a:pt x="274" y="3270"/>
                  </a:lnTo>
                  <a:close/>
                  <a:moveTo>
                    <a:pt x="246" y="3090"/>
                  </a:moveTo>
                  <a:lnTo>
                    <a:pt x="246" y="3090"/>
                  </a:lnTo>
                  <a:lnTo>
                    <a:pt x="250" y="3090"/>
                  </a:lnTo>
                  <a:lnTo>
                    <a:pt x="252" y="3090"/>
                  </a:lnTo>
                  <a:lnTo>
                    <a:pt x="254" y="3092"/>
                  </a:lnTo>
                  <a:lnTo>
                    <a:pt x="258" y="3092"/>
                  </a:lnTo>
                  <a:lnTo>
                    <a:pt x="260" y="3090"/>
                  </a:lnTo>
                  <a:lnTo>
                    <a:pt x="260" y="3084"/>
                  </a:lnTo>
                  <a:lnTo>
                    <a:pt x="260" y="3080"/>
                  </a:lnTo>
                  <a:lnTo>
                    <a:pt x="260" y="3076"/>
                  </a:lnTo>
                  <a:lnTo>
                    <a:pt x="258" y="3078"/>
                  </a:lnTo>
                  <a:lnTo>
                    <a:pt x="256" y="3080"/>
                  </a:lnTo>
                  <a:lnTo>
                    <a:pt x="252" y="3084"/>
                  </a:lnTo>
                  <a:lnTo>
                    <a:pt x="248" y="3086"/>
                  </a:lnTo>
                  <a:lnTo>
                    <a:pt x="244" y="3086"/>
                  </a:lnTo>
                  <a:lnTo>
                    <a:pt x="242" y="3088"/>
                  </a:lnTo>
                  <a:lnTo>
                    <a:pt x="242" y="3090"/>
                  </a:lnTo>
                  <a:lnTo>
                    <a:pt x="246" y="3090"/>
                  </a:lnTo>
                  <a:close/>
                  <a:moveTo>
                    <a:pt x="248" y="3074"/>
                  </a:moveTo>
                  <a:lnTo>
                    <a:pt x="248" y="3074"/>
                  </a:lnTo>
                  <a:lnTo>
                    <a:pt x="246" y="3072"/>
                  </a:lnTo>
                  <a:lnTo>
                    <a:pt x="244" y="3072"/>
                  </a:lnTo>
                  <a:lnTo>
                    <a:pt x="242" y="3074"/>
                  </a:lnTo>
                  <a:lnTo>
                    <a:pt x="244" y="3078"/>
                  </a:lnTo>
                  <a:lnTo>
                    <a:pt x="246" y="3080"/>
                  </a:lnTo>
                  <a:lnTo>
                    <a:pt x="248" y="3078"/>
                  </a:lnTo>
                  <a:lnTo>
                    <a:pt x="250" y="3076"/>
                  </a:lnTo>
                  <a:lnTo>
                    <a:pt x="248" y="3074"/>
                  </a:lnTo>
                  <a:close/>
                  <a:moveTo>
                    <a:pt x="252" y="3118"/>
                  </a:moveTo>
                  <a:lnTo>
                    <a:pt x="252" y="3118"/>
                  </a:lnTo>
                  <a:lnTo>
                    <a:pt x="252" y="3120"/>
                  </a:lnTo>
                  <a:lnTo>
                    <a:pt x="254" y="3122"/>
                  </a:lnTo>
                  <a:lnTo>
                    <a:pt x="266" y="3128"/>
                  </a:lnTo>
                  <a:lnTo>
                    <a:pt x="272" y="3128"/>
                  </a:lnTo>
                  <a:lnTo>
                    <a:pt x="274" y="3124"/>
                  </a:lnTo>
                  <a:lnTo>
                    <a:pt x="272" y="3124"/>
                  </a:lnTo>
                  <a:lnTo>
                    <a:pt x="270" y="3122"/>
                  </a:lnTo>
                  <a:lnTo>
                    <a:pt x="268" y="3118"/>
                  </a:lnTo>
                  <a:lnTo>
                    <a:pt x="270" y="3116"/>
                  </a:lnTo>
                  <a:lnTo>
                    <a:pt x="270" y="3114"/>
                  </a:lnTo>
                  <a:lnTo>
                    <a:pt x="270" y="3108"/>
                  </a:lnTo>
                  <a:lnTo>
                    <a:pt x="266" y="3100"/>
                  </a:lnTo>
                  <a:lnTo>
                    <a:pt x="264" y="3098"/>
                  </a:lnTo>
                  <a:lnTo>
                    <a:pt x="262" y="3102"/>
                  </a:lnTo>
                  <a:lnTo>
                    <a:pt x="262" y="3106"/>
                  </a:lnTo>
                  <a:lnTo>
                    <a:pt x="262" y="3108"/>
                  </a:lnTo>
                  <a:lnTo>
                    <a:pt x="262" y="3114"/>
                  </a:lnTo>
                  <a:lnTo>
                    <a:pt x="262" y="3116"/>
                  </a:lnTo>
                  <a:lnTo>
                    <a:pt x="260" y="3114"/>
                  </a:lnTo>
                  <a:lnTo>
                    <a:pt x="258" y="3114"/>
                  </a:lnTo>
                  <a:lnTo>
                    <a:pt x="252" y="3118"/>
                  </a:lnTo>
                  <a:close/>
                  <a:moveTo>
                    <a:pt x="246" y="3228"/>
                  </a:moveTo>
                  <a:lnTo>
                    <a:pt x="246" y="3228"/>
                  </a:lnTo>
                  <a:lnTo>
                    <a:pt x="248" y="3228"/>
                  </a:lnTo>
                  <a:lnTo>
                    <a:pt x="250" y="3228"/>
                  </a:lnTo>
                  <a:lnTo>
                    <a:pt x="252" y="3228"/>
                  </a:lnTo>
                  <a:lnTo>
                    <a:pt x="254" y="3228"/>
                  </a:lnTo>
                  <a:lnTo>
                    <a:pt x="256" y="3224"/>
                  </a:lnTo>
                  <a:lnTo>
                    <a:pt x="256" y="3222"/>
                  </a:lnTo>
                  <a:lnTo>
                    <a:pt x="258" y="3218"/>
                  </a:lnTo>
                  <a:lnTo>
                    <a:pt x="262" y="3216"/>
                  </a:lnTo>
                  <a:lnTo>
                    <a:pt x="262" y="3214"/>
                  </a:lnTo>
                  <a:lnTo>
                    <a:pt x="260" y="3214"/>
                  </a:lnTo>
                  <a:lnTo>
                    <a:pt x="256" y="3216"/>
                  </a:lnTo>
                  <a:lnTo>
                    <a:pt x="254" y="3216"/>
                  </a:lnTo>
                  <a:lnTo>
                    <a:pt x="254" y="3214"/>
                  </a:lnTo>
                  <a:lnTo>
                    <a:pt x="254" y="3212"/>
                  </a:lnTo>
                  <a:lnTo>
                    <a:pt x="252" y="3212"/>
                  </a:lnTo>
                  <a:lnTo>
                    <a:pt x="248" y="3210"/>
                  </a:lnTo>
                  <a:lnTo>
                    <a:pt x="246" y="3210"/>
                  </a:lnTo>
                  <a:lnTo>
                    <a:pt x="242" y="3208"/>
                  </a:lnTo>
                  <a:lnTo>
                    <a:pt x="238" y="3208"/>
                  </a:lnTo>
                  <a:lnTo>
                    <a:pt x="236" y="3208"/>
                  </a:lnTo>
                  <a:lnTo>
                    <a:pt x="236" y="3210"/>
                  </a:lnTo>
                  <a:lnTo>
                    <a:pt x="240" y="3212"/>
                  </a:lnTo>
                  <a:lnTo>
                    <a:pt x="244" y="3216"/>
                  </a:lnTo>
                  <a:lnTo>
                    <a:pt x="244" y="3218"/>
                  </a:lnTo>
                  <a:lnTo>
                    <a:pt x="242" y="3218"/>
                  </a:lnTo>
                  <a:lnTo>
                    <a:pt x="240" y="3218"/>
                  </a:lnTo>
                  <a:lnTo>
                    <a:pt x="236" y="3218"/>
                  </a:lnTo>
                  <a:lnTo>
                    <a:pt x="232" y="3222"/>
                  </a:lnTo>
                  <a:lnTo>
                    <a:pt x="232" y="3224"/>
                  </a:lnTo>
                  <a:lnTo>
                    <a:pt x="234" y="3226"/>
                  </a:lnTo>
                  <a:lnTo>
                    <a:pt x="238" y="3226"/>
                  </a:lnTo>
                  <a:lnTo>
                    <a:pt x="242" y="3226"/>
                  </a:lnTo>
                  <a:lnTo>
                    <a:pt x="240" y="3230"/>
                  </a:lnTo>
                  <a:lnTo>
                    <a:pt x="240" y="3232"/>
                  </a:lnTo>
                  <a:lnTo>
                    <a:pt x="242" y="3232"/>
                  </a:lnTo>
                  <a:lnTo>
                    <a:pt x="246" y="3228"/>
                  </a:lnTo>
                  <a:close/>
                  <a:moveTo>
                    <a:pt x="256" y="3248"/>
                  </a:moveTo>
                  <a:lnTo>
                    <a:pt x="256" y="3248"/>
                  </a:lnTo>
                  <a:lnTo>
                    <a:pt x="254" y="3250"/>
                  </a:lnTo>
                  <a:lnTo>
                    <a:pt x="254" y="3252"/>
                  </a:lnTo>
                  <a:lnTo>
                    <a:pt x="258" y="3256"/>
                  </a:lnTo>
                  <a:lnTo>
                    <a:pt x="262" y="3258"/>
                  </a:lnTo>
                  <a:lnTo>
                    <a:pt x="264" y="3258"/>
                  </a:lnTo>
                  <a:lnTo>
                    <a:pt x="264" y="3256"/>
                  </a:lnTo>
                  <a:lnTo>
                    <a:pt x="262" y="3252"/>
                  </a:lnTo>
                  <a:lnTo>
                    <a:pt x="260" y="3248"/>
                  </a:lnTo>
                  <a:lnTo>
                    <a:pt x="258" y="3248"/>
                  </a:lnTo>
                  <a:lnTo>
                    <a:pt x="256" y="3248"/>
                  </a:lnTo>
                  <a:close/>
                  <a:moveTo>
                    <a:pt x="254" y="3160"/>
                  </a:moveTo>
                  <a:lnTo>
                    <a:pt x="254" y="3160"/>
                  </a:lnTo>
                  <a:lnTo>
                    <a:pt x="256" y="3160"/>
                  </a:lnTo>
                  <a:lnTo>
                    <a:pt x="256" y="3154"/>
                  </a:lnTo>
                  <a:lnTo>
                    <a:pt x="254" y="3150"/>
                  </a:lnTo>
                  <a:lnTo>
                    <a:pt x="250" y="3150"/>
                  </a:lnTo>
                  <a:lnTo>
                    <a:pt x="246" y="3152"/>
                  </a:lnTo>
                  <a:lnTo>
                    <a:pt x="242" y="3154"/>
                  </a:lnTo>
                  <a:lnTo>
                    <a:pt x="242" y="3156"/>
                  </a:lnTo>
                  <a:lnTo>
                    <a:pt x="246" y="3156"/>
                  </a:lnTo>
                  <a:lnTo>
                    <a:pt x="248" y="3158"/>
                  </a:lnTo>
                  <a:lnTo>
                    <a:pt x="254" y="3160"/>
                  </a:lnTo>
                  <a:close/>
                  <a:moveTo>
                    <a:pt x="248" y="3146"/>
                  </a:moveTo>
                  <a:lnTo>
                    <a:pt x="248" y="3146"/>
                  </a:lnTo>
                  <a:lnTo>
                    <a:pt x="250" y="3144"/>
                  </a:lnTo>
                  <a:lnTo>
                    <a:pt x="250" y="3142"/>
                  </a:lnTo>
                  <a:lnTo>
                    <a:pt x="244" y="3136"/>
                  </a:lnTo>
                  <a:lnTo>
                    <a:pt x="242" y="3136"/>
                  </a:lnTo>
                  <a:lnTo>
                    <a:pt x="244" y="3142"/>
                  </a:lnTo>
                  <a:lnTo>
                    <a:pt x="246" y="3146"/>
                  </a:lnTo>
                  <a:lnTo>
                    <a:pt x="248" y="3146"/>
                  </a:lnTo>
                  <a:close/>
                  <a:moveTo>
                    <a:pt x="282" y="3246"/>
                  </a:moveTo>
                  <a:lnTo>
                    <a:pt x="282" y="3246"/>
                  </a:lnTo>
                  <a:lnTo>
                    <a:pt x="280" y="3242"/>
                  </a:lnTo>
                  <a:lnTo>
                    <a:pt x="278" y="3238"/>
                  </a:lnTo>
                  <a:lnTo>
                    <a:pt x="278" y="3236"/>
                  </a:lnTo>
                  <a:lnTo>
                    <a:pt x="276" y="3234"/>
                  </a:lnTo>
                  <a:lnTo>
                    <a:pt x="272" y="3232"/>
                  </a:lnTo>
                  <a:lnTo>
                    <a:pt x="270" y="3232"/>
                  </a:lnTo>
                  <a:lnTo>
                    <a:pt x="270" y="3234"/>
                  </a:lnTo>
                  <a:lnTo>
                    <a:pt x="272" y="3238"/>
                  </a:lnTo>
                  <a:lnTo>
                    <a:pt x="274" y="3240"/>
                  </a:lnTo>
                  <a:lnTo>
                    <a:pt x="272" y="3242"/>
                  </a:lnTo>
                  <a:lnTo>
                    <a:pt x="272" y="3244"/>
                  </a:lnTo>
                  <a:lnTo>
                    <a:pt x="276" y="3252"/>
                  </a:lnTo>
                  <a:lnTo>
                    <a:pt x="280" y="3256"/>
                  </a:lnTo>
                  <a:lnTo>
                    <a:pt x="284" y="3256"/>
                  </a:lnTo>
                  <a:lnTo>
                    <a:pt x="286" y="3254"/>
                  </a:lnTo>
                  <a:lnTo>
                    <a:pt x="286" y="3252"/>
                  </a:lnTo>
                  <a:lnTo>
                    <a:pt x="282" y="3246"/>
                  </a:lnTo>
                  <a:close/>
                  <a:moveTo>
                    <a:pt x="234" y="3130"/>
                  </a:moveTo>
                  <a:lnTo>
                    <a:pt x="234" y="3130"/>
                  </a:lnTo>
                  <a:lnTo>
                    <a:pt x="228" y="3130"/>
                  </a:lnTo>
                  <a:lnTo>
                    <a:pt x="226" y="3132"/>
                  </a:lnTo>
                  <a:lnTo>
                    <a:pt x="226" y="3134"/>
                  </a:lnTo>
                  <a:lnTo>
                    <a:pt x="228" y="3134"/>
                  </a:lnTo>
                  <a:lnTo>
                    <a:pt x="236" y="3132"/>
                  </a:lnTo>
                  <a:lnTo>
                    <a:pt x="240" y="3132"/>
                  </a:lnTo>
                  <a:lnTo>
                    <a:pt x="240" y="3130"/>
                  </a:lnTo>
                  <a:lnTo>
                    <a:pt x="238" y="3128"/>
                  </a:lnTo>
                  <a:lnTo>
                    <a:pt x="234" y="3130"/>
                  </a:lnTo>
                  <a:close/>
                  <a:moveTo>
                    <a:pt x="224" y="3120"/>
                  </a:moveTo>
                  <a:lnTo>
                    <a:pt x="224" y="3120"/>
                  </a:lnTo>
                  <a:lnTo>
                    <a:pt x="226" y="3124"/>
                  </a:lnTo>
                  <a:lnTo>
                    <a:pt x="228" y="3126"/>
                  </a:lnTo>
                  <a:lnTo>
                    <a:pt x="230" y="3128"/>
                  </a:lnTo>
                  <a:lnTo>
                    <a:pt x="236" y="3126"/>
                  </a:lnTo>
                  <a:lnTo>
                    <a:pt x="238" y="3124"/>
                  </a:lnTo>
                  <a:lnTo>
                    <a:pt x="236" y="3120"/>
                  </a:lnTo>
                  <a:lnTo>
                    <a:pt x="236" y="3116"/>
                  </a:lnTo>
                  <a:lnTo>
                    <a:pt x="234" y="3114"/>
                  </a:lnTo>
                  <a:lnTo>
                    <a:pt x="230" y="3116"/>
                  </a:lnTo>
                  <a:lnTo>
                    <a:pt x="228" y="3116"/>
                  </a:lnTo>
                  <a:lnTo>
                    <a:pt x="226" y="3116"/>
                  </a:lnTo>
                  <a:lnTo>
                    <a:pt x="224" y="3120"/>
                  </a:lnTo>
                  <a:close/>
                  <a:moveTo>
                    <a:pt x="232" y="3160"/>
                  </a:moveTo>
                  <a:lnTo>
                    <a:pt x="232" y="3160"/>
                  </a:lnTo>
                  <a:lnTo>
                    <a:pt x="234" y="3158"/>
                  </a:lnTo>
                  <a:lnTo>
                    <a:pt x="236" y="3156"/>
                  </a:lnTo>
                  <a:lnTo>
                    <a:pt x="238" y="3154"/>
                  </a:lnTo>
                  <a:lnTo>
                    <a:pt x="238" y="3152"/>
                  </a:lnTo>
                  <a:lnTo>
                    <a:pt x="236" y="3148"/>
                  </a:lnTo>
                  <a:lnTo>
                    <a:pt x="236" y="3150"/>
                  </a:lnTo>
                  <a:lnTo>
                    <a:pt x="234" y="3152"/>
                  </a:lnTo>
                  <a:lnTo>
                    <a:pt x="230" y="3154"/>
                  </a:lnTo>
                  <a:lnTo>
                    <a:pt x="228" y="3156"/>
                  </a:lnTo>
                  <a:lnTo>
                    <a:pt x="226" y="3158"/>
                  </a:lnTo>
                  <a:lnTo>
                    <a:pt x="226" y="3160"/>
                  </a:lnTo>
                  <a:lnTo>
                    <a:pt x="228" y="3162"/>
                  </a:lnTo>
                  <a:lnTo>
                    <a:pt x="232" y="3164"/>
                  </a:lnTo>
                  <a:lnTo>
                    <a:pt x="232" y="3160"/>
                  </a:lnTo>
                  <a:close/>
                  <a:moveTo>
                    <a:pt x="290" y="3322"/>
                  </a:moveTo>
                  <a:lnTo>
                    <a:pt x="290" y="3322"/>
                  </a:lnTo>
                  <a:lnTo>
                    <a:pt x="290" y="3324"/>
                  </a:lnTo>
                  <a:lnTo>
                    <a:pt x="292" y="3326"/>
                  </a:lnTo>
                  <a:lnTo>
                    <a:pt x="300" y="3334"/>
                  </a:lnTo>
                  <a:lnTo>
                    <a:pt x="304" y="3338"/>
                  </a:lnTo>
                  <a:lnTo>
                    <a:pt x="302" y="3332"/>
                  </a:lnTo>
                  <a:lnTo>
                    <a:pt x="296" y="3324"/>
                  </a:lnTo>
                  <a:lnTo>
                    <a:pt x="292" y="3322"/>
                  </a:lnTo>
                  <a:lnTo>
                    <a:pt x="290" y="3322"/>
                  </a:lnTo>
                  <a:close/>
                  <a:moveTo>
                    <a:pt x="246" y="3094"/>
                  </a:moveTo>
                  <a:lnTo>
                    <a:pt x="246" y="3094"/>
                  </a:lnTo>
                  <a:lnTo>
                    <a:pt x="244" y="3094"/>
                  </a:lnTo>
                  <a:lnTo>
                    <a:pt x="242" y="3094"/>
                  </a:lnTo>
                  <a:lnTo>
                    <a:pt x="242" y="3098"/>
                  </a:lnTo>
                  <a:lnTo>
                    <a:pt x="250" y="3112"/>
                  </a:lnTo>
                  <a:lnTo>
                    <a:pt x="252" y="3114"/>
                  </a:lnTo>
                  <a:lnTo>
                    <a:pt x="254" y="3112"/>
                  </a:lnTo>
                  <a:lnTo>
                    <a:pt x="256" y="3110"/>
                  </a:lnTo>
                  <a:lnTo>
                    <a:pt x="258" y="3110"/>
                  </a:lnTo>
                  <a:lnTo>
                    <a:pt x="258" y="3108"/>
                  </a:lnTo>
                  <a:lnTo>
                    <a:pt x="258" y="3102"/>
                  </a:lnTo>
                  <a:lnTo>
                    <a:pt x="258" y="3098"/>
                  </a:lnTo>
                  <a:lnTo>
                    <a:pt x="256" y="3096"/>
                  </a:lnTo>
                  <a:lnTo>
                    <a:pt x="246" y="3094"/>
                  </a:lnTo>
                  <a:close/>
                  <a:moveTo>
                    <a:pt x="294" y="3282"/>
                  </a:moveTo>
                  <a:lnTo>
                    <a:pt x="294" y="3282"/>
                  </a:lnTo>
                  <a:lnTo>
                    <a:pt x="294" y="3280"/>
                  </a:lnTo>
                  <a:lnTo>
                    <a:pt x="290" y="3278"/>
                  </a:lnTo>
                  <a:lnTo>
                    <a:pt x="288" y="3280"/>
                  </a:lnTo>
                  <a:lnTo>
                    <a:pt x="288" y="3284"/>
                  </a:lnTo>
                  <a:lnTo>
                    <a:pt x="290" y="3286"/>
                  </a:lnTo>
                  <a:lnTo>
                    <a:pt x="292" y="3286"/>
                  </a:lnTo>
                  <a:lnTo>
                    <a:pt x="294" y="3284"/>
                  </a:lnTo>
                  <a:lnTo>
                    <a:pt x="294" y="3282"/>
                  </a:lnTo>
                  <a:close/>
                  <a:moveTo>
                    <a:pt x="284" y="3284"/>
                  </a:moveTo>
                  <a:lnTo>
                    <a:pt x="284" y="3284"/>
                  </a:lnTo>
                  <a:lnTo>
                    <a:pt x="282" y="3284"/>
                  </a:lnTo>
                  <a:lnTo>
                    <a:pt x="282" y="3286"/>
                  </a:lnTo>
                  <a:lnTo>
                    <a:pt x="282" y="3288"/>
                  </a:lnTo>
                  <a:lnTo>
                    <a:pt x="286" y="3292"/>
                  </a:lnTo>
                  <a:lnTo>
                    <a:pt x="286" y="3288"/>
                  </a:lnTo>
                  <a:lnTo>
                    <a:pt x="286" y="3286"/>
                  </a:lnTo>
                  <a:lnTo>
                    <a:pt x="284" y="3284"/>
                  </a:lnTo>
                  <a:close/>
                  <a:moveTo>
                    <a:pt x="294" y="3312"/>
                  </a:moveTo>
                  <a:lnTo>
                    <a:pt x="294" y="3312"/>
                  </a:lnTo>
                  <a:lnTo>
                    <a:pt x="294" y="3310"/>
                  </a:lnTo>
                  <a:lnTo>
                    <a:pt x="294" y="3306"/>
                  </a:lnTo>
                  <a:lnTo>
                    <a:pt x="290" y="3298"/>
                  </a:lnTo>
                  <a:lnTo>
                    <a:pt x="288" y="3296"/>
                  </a:lnTo>
                  <a:lnTo>
                    <a:pt x="288" y="3298"/>
                  </a:lnTo>
                  <a:lnTo>
                    <a:pt x="288" y="3302"/>
                  </a:lnTo>
                  <a:lnTo>
                    <a:pt x="286" y="3306"/>
                  </a:lnTo>
                  <a:lnTo>
                    <a:pt x="284" y="3308"/>
                  </a:lnTo>
                  <a:lnTo>
                    <a:pt x="286" y="3312"/>
                  </a:lnTo>
                  <a:lnTo>
                    <a:pt x="290" y="3314"/>
                  </a:lnTo>
                  <a:lnTo>
                    <a:pt x="294" y="3312"/>
                  </a:lnTo>
                  <a:close/>
                  <a:moveTo>
                    <a:pt x="240" y="3200"/>
                  </a:moveTo>
                  <a:lnTo>
                    <a:pt x="240" y="3200"/>
                  </a:lnTo>
                  <a:lnTo>
                    <a:pt x="242" y="3200"/>
                  </a:lnTo>
                  <a:lnTo>
                    <a:pt x="242" y="3192"/>
                  </a:lnTo>
                  <a:lnTo>
                    <a:pt x="238" y="3184"/>
                  </a:lnTo>
                  <a:lnTo>
                    <a:pt x="236" y="3184"/>
                  </a:lnTo>
                  <a:lnTo>
                    <a:pt x="234" y="3184"/>
                  </a:lnTo>
                  <a:lnTo>
                    <a:pt x="230" y="3184"/>
                  </a:lnTo>
                  <a:lnTo>
                    <a:pt x="230" y="3186"/>
                  </a:lnTo>
                  <a:lnTo>
                    <a:pt x="230" y="3196"/>
                  </a:lnTo>
                  <a:lnTo>
                    <a:pt x="236" y="3194"/>
                  </a:lnTo>
                  <a:lnTo>
                    <a:pt x="238" y="3192"/>
                  </a:lnTo>
                  <a:lnTo>
                    <a:pt x="238" y="3194"/>
                  </a:lnTo>
                  <a:lnTo>
                    <a:pt x="238" y="3198"/>
                  </a:lnTo>
                  <a:lnTo>
                    <a:pt x="240" y="3200"/>
                  </a:lnTo>
                  <a:close/>
                  <a:moveTo>
                    <a:pt x="236" y="3146"/>
                  </a:moveTo>
                  <a:lnTo>
                    <a:pt x="236" y="3146"/>
                  </a:lnTo>
                  <a:lnTo>
                    <a:pt x="238" y="3146"/>
                  </a:lnTo>
                  <a:lnTo>
                    <a:pt x="240" y="3148"/>
                  </a:lnTo>
                  <a:lnTo>
                    <a:pt x="242" y="3148"/>
                  </a:lnTo>
                  <a:lnTo>
                    <a:pt x="242" y="3146"/>
                  </a:lnTo>
                  <a:lnTo>
                    <a:pt x="240" y="3142"/>
                  </a:lnTo>
                  <a:lnTo>
                    <a:pt x="236" y="3138"/>
                  </a:lnTo>
                  <a:lnTo>
                    <a:pt x="232" y="3138"/>
                  </a:lnTo>
                  <a:lnTo>
                    <a:pt x="228" y="3138"/>
                  </a:lnTo>
                  <a:lnTo>
                    <a:pt x="224" y="3140"/>
                  </a:lnTo>
                  <a:lnTo>
                    <a:pt x="224" y="3144"/>
                  </a:lnTo>
                  <a:lnTo>
                    <a:pt x="226" y="3146"/>
                  </a:lnTo>
                  <a:lnTo>
                    <a:pt x="230" y="3146"/>
                  </a:lnTo>
                  <a:lnTo>
                    <a:pt x="236" y="3146"/>
                  </a:lnTo>
                  <a:close/>
                  <a:moveTo>
                    <a:pt x="292" y="2928"/>
                  </a:moveTo>
                  <a:lnTo>
                    <a:pt x="292" y="2928"/>
                  </a:lnTo>
                  <a:lnTo>
                    <a:pt x="294" y="2930"/>
                  </a:lnTo>
                  <a:lnTo>
                    <a:pt x="296" y="2930"/>
                  </a:lnTo>
                  <a:lnTo>
                    <a:pt x="298" y="2930"/>
                  </a:lnTo>
                  <a:lnTo>
                    <a:pt x="302" y="2930"/>
                  </a:lnTo>
                  <a:lnTo>
                    <a:pt x="304" y="2930"/>
                  </a:lnTo>
                  <a:lnTo>
                    <a:pt x="306" y="2928"/>
                  </a:lnTo>
                  <a:lnTo>
                    <a:pt x="302" y="2918"/>
                  </a:lnTo>
                  <a:lnTo>
                    <a:pt x="300" y="2916"/>
                  </a:lnTo>
                  <a:lnTo>
                    <a:pt x="298" y="2916"/>
                  </a:lnTo>
                  <a:lnTo>
                    <a:pt x="294" y="2918"/>
                  </a:lnTo>
                  <a:lnTo>
                    <a:pt x="290" y="2918"/>
                  </a:lnTo>
                  <a:lnTo>
                    <a:pt x="286" y="2918"/>
                  </a:lnTo>
                  <a:lnTo>
                    <a:pt x="284" y="2920"/>
                  </a:lnTo>
                  <a:lnTo>
                    <a:pt x="284" y="2922"/>
                  </a:lnTo>
                  <a:lnTo>
                    <a:pt x="288" y="2924"/>
                  </a:lnTo>
                  <a:lnTo>
                    <a:pt x="290" y="2924"/>
                  </a:lnTo>
                  <a:lnTo>
                    <a:pt x="292" y="2928"/>
                  </a:lnTo>
                  <a:close/>
                  <a:moveTo>
                    <a:pt x="294" y="2944"/>
                  </a:moveTo>
                  <a:lnTo>
                    <a:pt x="294" y="2944"/>
                  </a:lnTo>
                  <a:lnTo>
                    <a:pt x="296" y="2944"/>
                  </a:lnTo>
                  <a:lnTo>
                    <a:pt x="298" y="2942"/>
                  </a:lnTo>
                  <a:lnTo>
                    <a:pt x="300" y="2940"/>
                  </a:lnTo>
                  <a:lnTo>
                    <a:pt x="298" y="2940"/>
                  </a:lnTo>
                  <a:lnTo>
                    <a:pt x="292" y="2940"/>
                  </a:lnTo>
                  <a:lnTo>
                    <a:pt x="290" y="2940"/>
                  </a:lnTo>
                  <a:lnTo>
                    <a:pt x="290" y="2942"/>
                  </a:lnTo>
                  <a:lnTo>
                    <a:pt x="288" y="2944"/>
                  </a:lnTo>
                  <a:lnTo>
                    <a:pt x="290" y="2944"/>
                  </a:lnTo>
                  <a:lnTo>
                    <a:pt x="294" y="2944"/>
                  </a:lnTo>
                  <a:close/>
                  <a:moveTo>
                    <a:pt x="278" y="2914"/>
                  </a:moveTo>
                  <a:lnTo>
                    <a:pt x="278" y="2914"/>
                  </a:lnTo>
                  <a:lnTo>
                    <a:pt x="278" y="2916"/>
                  </a:lnTo>
                  <a:lnTo>
                    <a:pt x="282" y="2916"/>
                  </a:lnTo>
                  <a:lnTo>
                    <a:pt x="286" y="2914"/>
                  </a:lnTo>
                  <a:lnTo>
                    <a:pt x="292" y="2914"/>
                  </a:lnTo>
                  <a:lnTo>
                    <a:pt x="294" y="2914"/>
                  </a:lnTo>
                  <a:lnTo>
                    <a:pt x="294" y="2912"/>
                  </a:lnTo>
                  <a:lnTo>
                    <a:pt x="288" y="2908"/>
                  </a:lnTo>
                  <a:lnTo>
                    <a:pt x="286" y="2908"/>
                  </a:lnTo>
                  <a:lnTo>
                    <a:pt x="282" y="2908"/>
                  </a:lnTo>
                  <a:lnTo>
                    <a:pt x="278" y="2914"/>
                  </a:lnTo>
                  <a:close/>
                  <a:moveTo>
                    <a:pt x="276" y="2888"/>
                  </a:moveTo>
                  <a:lnTo>
                    <a:pt x="276" y="2888"/>
                  </a:lnTo>
                  <a:lnTo>
                    <a:pt x="280" y="2886"/>
                  </a:lnTo>
                  <a:lnTo>
                    <a:pt x="282" y="2884"/>
                  </a:lnTo>
                  <a:lnTo>
                    <a:pt x="282" y="2882"/>
                  </a:lnTo>
                  <a:lnTo>
                    <a:pt x="282" y="2880"/>
                  </a:lnTo>
                  <a:lnTo>
                    <a:pt x="278" y="2880"/>
                  </a:lnTo>
                  <a:lnTo>
                    <a:pt x="272" y="2884"/>
                  </a:lnTo>
                  <a:lnTo>
                    <a:pt x="270" y="2884"/>
                  </a:lnTo>
                  <a:lnTo>
                    <a:pt x="270" y="2886"/>
                  </a:lnTo>
                  <a:lnTo>
                    <a:pt x="272" y="2888"/>
                  </a:lnTo>
                  <a:lnTo>
                    <a:pt x="276" y="2888"/>
                  </a:lnTo>
                  <a:close/>
                  <a:moveTo>
                    <a:pt x="282" y="2902"/>
                  </a:moveTo>
                  <a:lnTo>
                    <a:pt x="282" y="2902"/>
                  </a:lnTo>
                  <a:lnTo>
                    <a:pt x="284" y="2902"/>
                  </a:lnTo>
                  <a:lnTo>
                    <a:pt x="290" y="2900"/>
                  </a:lnTo>
                  <a:lnTo>
                    <a:pt x="296" y="2898"/>
                  </a:lnTo>
                  <a:lnTo>
                    <a:pt x="296" y="2896"/>
                  </a:lnTo>
                  <a:lnTo>
                    <a:pt x="294" y="2894"/>
                  </a:lnTo>
                  <a:lnTo>
                    <a:pt x="292" y="2894"/>
                  </a:lnTo>
                  <a:lnTo>
                    <a:pt x="282" y="2894"/>
                  </a:lnTo>
                  <a:lnTo>
                    <a:pt x="276" y="2894"/>
                  </a:lnTo>
                  <a:lnTo>
                    <a:pt x="276" y="2896"/>
                  </a:lnTo>
                  <a:lnTo>
                    <a:pt x="278" y="2900"/>
                  </a:lnTo>
                  <a:lnTo>
                    <a:pt x="282" y="2902"/>
                  </a:lnTo>
                  <a:close/>
                  <a:moveTo>
                    <a:pt x="296" y="2950"/>
                  </a:moveTo>
                  <a:lnTo>
                    <a:pt x="296" y="2950"/>
                  </a:lnTo>
                  <a:lnTo>
                    <a:pt x="294" y="2948"/>
                  </a:lnTo>
                  <a:lnTo>
                    <a:pt x="290" y="2950"/>
                  </a:lnTo>
                  <a:lnTo>
                    <a:pt x="290" y="2952"/>
                  </a:lnTo>
                  <a:lnTo>
                    <a:pt x="290" y="2954"/>
                  </a:lnTo>
                  <a:lnTo>
                    <a:pt x="292" y="2956"/>
                  </a:lnTo>
                  <a:lnTo>
                    <a:pt x="294" y="2954"/>
                  </a:lnTo>
                  <a:lnTo>
                    <a:pt x="296" y="2952"/>
                  </a:lnTo>
                  <a:lnTo>
                    <a:pt x="296" y="2950"/>
                  </a:lnTo>
                  <a:close/>
                  <a:moveTo>
                    <a:pt x="302" y="2888"/>
                  </a:moveTo>
                  <a:lnTo>
                    <a:pt x="302" y="2888"/>
                  </a:lnTo>
                  <a:lnTo>
                    <a:pt x="300" y="2890"/>
                  </a:lnTo>
                  <a:lnTo>
                    <a:pt x="300" y="2892"/>
                  </a:lnTo>
                  <a:lnTo>
                    <a:pt x="302" y="2898"/>
                  </a:lnTo>
                  <a:lnTo>
                    <a:pt x="304" y="2900"/>
                  </a:lnTo>
                  <a:lnTo>
                    <a:pt x="308" y="2898"/>
                  </a:lnTo>
                  <a:lnTo>
                    <a:pt x="310" y="2896"/>
                  </a:lnTo>
                  <a:lnTo>
                    <a:pt x="308" y="2894"/>
                  </a:lnTo>
                  <a:lnTo>
                    <a:pt x="306" y="2890"/>
                  </a:lnTo>
                  <a:lnTo>
                    <a:pt x="302" y="2888"/>
                  </a:lnTo>
                  <a:close/>
                  <a:moveTo>
                    <a:pt x="304" y="2856"/>
                  </a:moveTo>
                  <a:lnTo>
                    <a:pt x="304" y="2856"/>
                  </a:lnTo>
                  <a:lnTo>
                    <a:pt x="304" y="2858"/>
                  </a:lnTo>
                  <a:lnTo>
                    <a:pt x="304" y="2862"/>
                  </a:lnTo>
                  <a:lnTo>
                    <a:pt x="306" y="2864"/>
                  </a:lnTo>
                  <a:lnTo>
                    <a:pt x="308" y="2864"/>
                  </a:lnTo>
                  <a:lnTo>
                    <a:pt x="310" y="2862"/>
                  </a:lnTo>
                  <a:lnTo>
                    <a:pt x="308" y="2860"/>
                  </a:lnTo>
                  <a:lnTo>
                    <a:pt x="306" y="2856"/>
                  </a:lnTo>
                  <a:lnTo>
                    <a:pt x="304" y="2856"/>
                  </a:lnTo>
                  <a:close/>
                  <a:moveTo>
                    <a:pt x="300" y="2968"/>
                  </a:moveTo>
                  <a:lnTo>
                    <a:pt x="300" y="2968"/>
                  </a:lnTo>
                  <a:lnTo>
                    <a:pt x="304" y="2964"/>
                  </a:lnTo>
                  <a:lnTo>
                    <a:pt x="304" y="2962"/>
                  </a:lnTo>
                  <a:lnTo>
                    <a:pt x="304" y="2960"/>
                  </a:lnTo>
                  <a:lnTo>
                    <a:pt x="300" y="2962"/>
                  </a:lnTo>
                  <a:lnTo>
                    <a:pt x="298" y="2964"/>
                  </a:lnTo>
                  <a:lnTo>
                    <a:pt x="296" y="2968"/>
                  </a:lnTo>
                  <a:lnTo>
                    <a:pt x="296" y="2970"/>
                  </a:lnTo>
                  <a:lnTo>
                    <a:pt x="300" y="2968"/>
                  </a:lnTo>
                  <a:close/>
                  <a:moveTo>
                    <a:pt x="290" y="2888"/>
                  </a:moveTo>
                  <a:lnTo>
                    <a:pt x="290" y="2888"/>
                  </a:lnTo>
                  <a:lnTo>
                    <a:pt x="294" y="2888"/>
                  </a:lnTo>
                  <a:lnTo>
                    <a:pt x="294" y="2886"/>
                  </a:lnTo>
                  <a:lnTo>
                    <a:pt x="292" y="2884"/>
                  </a:lnTo>
                  <a:lnTo>
                    <a:pt x="290" y="2884"/>
                  </a:lnTo>
                  <a:lnTo>
                    <a:pt x="282" y="2888"/>
                  </a:lnTo>
                  <a:lnTo>
                    <a:pt x="280" y="2888"/>
                  </a:lnTo>
                  <a:lnTo>
                    <a:pt x="282" y="2890"/>
                  </a:lnTo>
                  <a:lnTo>
                    <a:pt x="290" y="2888"/>
                  </a:lnTo>
                  <a:close/>
                  <a:moveTo>
                    <a:pt x="250" y="2970"/>
                  </a:moveTo>
                  <a:lnTo>
                    <a:pt x="250" y="2970"/>
                  </a:lnTo>
                  <a:lnTo>
                    <a:pt x="250" y="2972"/>
                  </a:lnTo>
                  <a:lnTo>
                    <a:pt x="248" y="2974"/>
                  </a:lnTo>
                  <a:lnTo>
                    <a:pt x="248" y="2978"/>
                  </a:lnTo>
                  <a:lnTo>
                    <a:pt x="252" y="2980"/>
                  </a:lnTo>
                  <a:lnTo>
                    <a:pt x="254" y="2980"/>
                  </a:lnTo>
                  <a:lnTo>
                    <a:pt x="260" y="2974"/>
                  </a:lnTo>
                  <a:lnTo>
                    <a:pt x="262" y="2972"/>
                  </a:lnTo>
                  <a:lnTo>
                    <a:pt x="262" y="2968"/>
                  </a:lnTo>
                  <a:lnTo>
                    <a:pt x="262" y="2964"/>
                  </a:lnTo>
                  <a:lnTo>
                    <a:pt x="260" y="2962"/>
                  </a:lnTo>
                  <a:lnTo>
                    <a:pt x="256" y="2962"/>
                  </a:lnTo>
                  <a:lnTo>
                    <a:pt x="250" y="2966"/>
                  </a:lnTo>
                  <a:lnTo>
                    <a:pt x="248" y="2966"/>
                  </a:lnTo>
                  <a:lnTo>
                    <a:pt x="250" y="2970"/>
                  </a:lnTo>
                  <a:close/>
                  <a:moveTo>
                    <a:pt x="540" y="3562"/>
                  </a:moveTo>
                  <a:lnTo>
                    <a:pt x="540" y="3562"/>
                  </a:lnTo>
                  <a:lnTo>
                    <a:pt x="544" y="3562"/>
                  </a:lnTo>
                  <a:lnTo>
                    <a:pt x="548" y="3562"/>
                  </a:lnTo>
                  <a:lnTo>
                    <a:pt x="554" y="3560"/>
                  </a:lnTo>
                  <a:lnTo>
                    <a:pt x="554" y="3558"/>
                  </a:lnTo>
                  <a:lnTo>
                    <a:pt x="552" y="3558"/>
                  </a:lnTo>
                  <a:lnTo>
                    <a:pt x="546" y="3558"/>
                  </a:lnTo>
                  <a:lnTo>
                    <a:pt x="542" y="3560"/>
                  </a:lnTo>
                  <a:lnTo>
                    <a:pt x="540" y="3562"/>
                  </a:lnTo>
                  <a:close/>
                  <a:moveTo>
                    <a:pt x="560" y="3548"/>
                  </a:moveTo>
                  <a:lnTo>
                    <a:pt x="560" y="3548"/>
                  </a:lnTo>
                  <a:lnTo>
                    <a:pt x="558" y="3550"/>
                  </a:lnTo>
                  <a:lnTo>
                    <a:pt x="556" y="3548"/>
                  </a:lnTo>
                  <a:lnTo>
                    <a:pt x="554" y="3550"/>
                  </a:lnTo>
                  <a:lnTo>
                    <a:pt x="552" y="3552"/>
                  </a:lnTo>
                  <a:lnTo>
                    <a:pt x="554" y="3554"/>
                  </a:lnTo>
                  <a:lnTo>
                    <a:pt x="560" y="3556"/>
                  </a:lnTo>
                  <a:lnTo>
                    <a:pt x="562" y="3556"/>
                  </a:lnTo>
                  <a:lnTo>
                    <a:pt x="564" y="3556"/>
                  </a:lnTo>
                  <a:lnTo>
                    <a:pt x="562" y="3548"/>
                  </a:lnTo>
                  <a:lnTo>
                    <a:pt x="560" y="3544"/>
                  </a:lnTo>
                  <a:lnTo>
                    <a:pt x="560" y="3546"/>
                  </a:lnTo>
                  <a:lnTo>
                    <a:pt x="560" y="3548"/>
                  </a:lnTo>
                  <a:close/>
                  <a:moveTo>
                    <a:pt x="556" y="3506"/>
                  </a:moveTo>
                  <a:lnTo>
                    <a:pt x="556" y="3506"/>
                  </a:lnTo>
                  <a:lnTo>
                    <a:pt x="530" y="3504"/>
                  </a:lnTo>
                  <a:lnTo>
                    <a:pt x="522" y="3504"/>
                  </a:lnTo>
                  <a:lnTo>
                    <a:pt x="522" y="3506"/>
                  </a:lnTo>
                  <a:lnTo>
                    <a:pt x="526" y="3508"/>
                  </a:lnTo>
                  <a:lnTo>
                    <a:pt x="528" y="3510"/>
                  </a:lnTo>
                  <a:lnTo>
                    <a:pt x="528" y="3512"/>
                  </a:lnTo>
                  <a:lnTo>
                    <a:pt x="528" y="3516"/>
                  </a:lnTo>
                  <a:lnTo>
                    <a:pt x="530" y="3522"/>
                  </a:lnTo>
                  <a:lnTo>
                    <a:pt x="532" y="3524"/>
                  </a:lnTo>
                  <a:lnTo>
                    <a:pt x="536" y="3524"/>
                  </a:lnTo>
                  <a:lnTo>
                    <a:pt x="546" y="3524"/>
                  </a:lnTo>
                  <a:lnTo>
                    <a:pt x="550" y="3524"/>
                  </a:lnTo>
                  <a:lnTo>
                    <a:pt x="550" y="3522"/>
                  </a:lnTo>
                  <a:lnTo>
                    <a:pt x="550" y="3520"/>
                  </a:lnTo>
                  <a:lnTo>
                    <a:pt x="554" y="3518"/>
                  </a:lnTo>
                  <a:lnTo>
                    <a:pt x="556" y="3520"/>
                  </a:lnTo>
                  <a:lnTo>
                    <a:pt x="558" y="3524"/>
                  </a:lnTo>
                  <a:lnTo>
                    <a:pt x="558" y="3526"/>
                  </a:lnTo>
                  <a:lnTo>
                    <a:pt x="562" y="3528"/>
                  </a:lnTo>
                  <a:lnTo>
                    <a:pt x="566" y="3526"/>
                  </a:lnTo>
                  <a:lnTo>
                    <a:pt x="568" y="3524"/>
                  </a:lnTo>
                  <a:lnTo>
                    <a:pt x="572" y="3514"/>
                  </a:lnTo>
                  <a:lnTo>
                    <a:pt x="572" y="3512"/>
                  </a:lnTo>
                  <a:lnTo>
                    <a:pt x="572" y="3508"/>
                  </a:lnTo>
                  <a:lnTo>
                    <a:pt x="568" y="3506"/>
                  </a:lnTo>
                  <a:lnTo>
                    <a:pt x="562" y="3506"/>
                  </a:lnTo>
                  <a:lnTo>
                    <a:pt x="556" y="3506"/>
                  </a:lnTo>
                  <a:close/>
                  <a:moveTo>
                    <a:pt x="522" y="3532"/>
                  </a:moveTo>
                  <a:lnTo>
                    <a:pt x="522" y="3532"/>
                  </a:lnTo>
                  <a:lnTo>
                    <a:pt x="516" y="3528"/>
                  </a:lnTo>
                  <a:lnTo>
                    <a:pt x="520" y="3528"/>
                  </a:lnTo>
                  <a:lnTo>
                    <a:pt x="524" y="3526"/>
                  </a:lnTo>
                  <a:lnTo>
                    <a:pt x="524" y="3524"/>
                  </a:lnTo>
                  <a:lnTo>
                    <a:pt x="518" y="3520"/>
                  </a:lnTo>
                  <a:lnTo>
                    <a:pt x="510" y="3520"/>
                  </a:lnTo>
                  <a:lnTo>
                    <a:pt x="506" y="3520"/>
                  </a:lnTo>
                  <a:lnTo>
                    <a:pt x="506" y="3518"/>
                  </a:lnTo>
                  <a:lnTo>
                    <a:pt x="514" y="3516"/>
                  </a:lnTo>
                  <a:lnTo>
                    <a:pt x="520" y="3514"/>
                  </a:lnTo>
                  <a:lnTo>
                    <a:pt x="520" y="3512"/>
                  </a:lnTo>
                  <a:lnTo>
                    <a:pt x="520" y="3510"/>
                  </a:lnTo>
                  <a:lnTo>
                    <a:pt x="518" y="3508"/>
                  </a:lnTo>
                  <a:lnTo>
                    <a:pt x="512" y="3506"/>
                  </a:lnTo>
                  <a:lnTo>
                    <a:pt x="504" y="3506"/>
                  </a:lnTo>
                  <a:lnTo>
                    <a:pt x="498" y="3508"/>
                  </a:lnTo>
                  <a:lnTo>
                    <a:pt x="490" y="3508"/>
                  </a:lnTo>
                  <a:lnTo>
                    <a:pt x="486" y="3508"/>
                  </a:lnTo>
                  <a:lnTo>
                    <a:pt x="478" y="3510"/>
                  </a:lnTo>
                  <a:lnTo>
                    <a:pt x="462" y="3514"/>
                  </a:lnTo>
                  <a:lnTo>
                    <a:pt x="454" y="3516"/>
                  </a:lnTo>
                  <a:lnTo>
                    <a:pt x="454" y="3518"/>
                  </a:lnTo>
                  <a:lnTo>
                    <a:pt x="464" y="3524"/>
                  </a:lnTo>
                  <a:lnTo>
                    <a:pt x="466" y="3526"/>
                  </a:lnTo>
                  <a:lnTo>
                    <a:pt x="462" y="3528"/>
                  </a:lnTo>
                  <a:lnTo>
                    <a:pt x="470" y="3532"/>
                  </a:lnTo>
                  <a:lnTo>
                    <a:pt x="476" y="3534"/>
                  </a:lnTo>
                  <a:lnTo>
                    <a:pt x="480" y="3536"/>
                  </a:lnTo>
                  <a:lnTo>
                    <a:pt x="486" y="3540"/>
                  </a:lnTo>
                  <a:lnTo>
                    <a:pt x="490" y="3540"/>
                  </a:lnTo>
                  <a:lnTo>
                    <a:pt x="490" y="3538"/>
                  </a:lnTo>
                  <a:lnTo>
                    <a:pt x="482" y="3530"/>
                  </a:lnTo>
                  <a:lnTo>
                    <a:pt x="480" y="3526"/>
                  </a:lnTo>
                  <a:lnTo>
                    <a:pt x="482" y="3524"/>
                  </a:lnTo>
                  <a:lnTo>
                    <a:pt x="486" y="3524"/>
                  </a:lnTo>
                  <a:lnTo>
                    <a:pt x="490" y="3524"/>
                  </a:lnTo>
                  <a:lnTo>
                    <a:pt x="494" y="3524"/>
                  </a:lnTo>
                  <a:lnTo>
                    <a:pt x="498" y="3524"/>
                  </a:lnTo>
                  <a:lnTo>
                    <a:pt x="500" y="3524"/>
                  </a:lnTo>
                  <a:lnTo>
                    <a:pt x="496" y="3532"/>
                  </a:lnTo>
                  <a:lnTo>
                    <a:pt x="496" y="3536"/>
                  </a:lnTo>
                  <a:lnTo>
                    <a:pt x="500" y="3540"/>
                  </a:lnTo>
                  <a:lnTo>
                    <a:pt x="502" y="3540"/>
                  </a:lnTo>
                  <a:lnTo>
                    <a:pt x="506" y="3538"/>
                  </a:lnTo>
                  <a:lnTo>
                    <a:pt x="510" y="3536"/>
                  </a:lnTo>
                  <a:lnTo>
                    <a:pt x="512" y="3538"/>
                  </a:lnTo>
                  <a:lnTo>
                    <a:pt x="514" y="3540"/>
                  </a:lnTo>
                  <a:lnTo>
                    <a:pt x="518" y="3540"/>
                  </a:lnTo>
                  <a:lnTo>
                    <a:pt x="522" y="3542"/>
                  </a:lnTo>
                  <a:lnTo>
                    <a:pt x="522" y="3544"/>
                  </a:lnTo>
                  <a:lnTo>
                    <a:pt x="524" y="3548"/>
                  </a:lnTo>
                  <a:lnTo>
                    <a:pt x="526" y="3548"/>
                  </a:lnTo>
                  <a:lnTo>
                    <a:pt x="528" y="3550"/>
                  </a:lnTo>
                  <a:lnTo>
                    <a:pt x="532" y="3554"/>
                  </a:lnTo>
                  <a:lnTo>
                    <a:pt x="534" y="3552"/>
                  </a:lnTo>
                  <a:lnTo>
                    <a:pt x="534" y="3548"/>
                  </a:lnTo>
                  <a:lnTo>
                    <a:pt x="534" y="3544"/>
                  </a:lnTo>
                  <a:lnTo>
                    <a:pt x="532" y="3542"/>
                  </a:lnTo>
                  <a:lnTo>
                    <a:pt x="532" y="3538"/>
                  </a:lnTo>
                  <a:lnTo>
                    <a:pt x="530" y="3536"/>
                  </a:lnTo>
                  <a:lnTo>
                    <a:pt x="522" y="3532"/>
                  </a:lnTo>
                  <a:close/>
                  <a:moveTo>
                    <a:pt x="476" y="3508"/>
                  </a:moveTo>
                  <a:lnTo>
                    <a:pt x="476" y="3508"/>
                  </a:lnTo>
                  <a:lnTo>
                    <a:pt x="484" y="3506"/>
                  </a:lnTo>
                  <a:lnTo>
                    <a:pt x="484" y="3504"/>
                  </a:lnTo>
                  <a:lnTo>
                    <a:pt x="472" y="3502"/>
                  </a:lnTo>
                  <a:lnTo>
                    <a:pt x="464" y="3502"/>
                  </a:lnTo>
                  <a:lnTo>
                    <a:pt x="458" y="3502"/>
                  </a:lnTo>
                  <a:lnTo>
                    <a:pt x="450" y="3506"/>
                  </a:lnTo>
                  <a:lnTo>
                    <a:pt x="448" y="3508"/>
                  </a:lnTo>
                  <a:lnTo>
                    <a:pt x="456" y="3510"/>
                  </a:lnTo>
                  <a:lnTo>
                    <a:pt x="462" y="3510"/>
                  </a:lnTo>
                  <a:lnTo>
                    <a:pt x="476" y="3508"/>
                  </a:lnTo>
                  <a:close/>
                  <a:moveTo>
                    <a:pt x="572" y="3528"/>
                  </a:moveTo>
                  <a:lnTo>
                    <a:pt x="572" y="3528"/>
                  </a:lnTo>
                  <a:lnTo>
                    <a:pt x="574" y="3530"/>
                  </a:lnTo>
                  <a:lnTo>
                    <a:pt x="578" y="3530"/>
                  </a:lnTo>
                  <a:lnTo>
                    <a:pt x="580" y="3528"/>
                  </a:lnTo>
                  <a:lnTo>
                    <a:pt x="582" y="3524"/>
                  </a:lnTo>
                  <a:lnTo>
                    <a:pt x="580" y="3522"/>
                  </a:lnTo>
                  <a:lnTo>
                    <a:pt x="578" y="3522"/>
                  </a:lnTo>
                  <a:lnTo>
                    <a:pt x="574" y="3524"/>
                  </a:lnTo>
                  <a:lnTo>
                    <a:pt x="572" y="3528"/>
                  </a:lnTo>
                  <a:close/>
                  <a:moveTo>
                    <a:pt x="636" y="3486"/>
                  </a:moveTo>
                  <a:lnTo>
                    <a:pt x="636" y="3486"/>
                  </a:lnTo>
                  <a:lnTo>
                    <a:pt x="628" y="3488"/>
                  </a:lnTo>
                  <a:lnTo>
                    <a:pt x="622" y="3486"/>
                  </a:lnTo>
                  <a:lnTo>
                    <a:pt x="616" y="3484"/>
                  </a:lnTo>
                  <a:lnTo>
                    <a:pt x="610" y="3482"/>
                  </a:lnTo>
                  <a:lnTo>
                    <a:pt x="602" y="3478"/>
                  </a:lnTo>
                  <a:lnTo>
                    <a:pt x="594" y="3470"/>
                  </a:lnTo>
                  <a:lnTo>
                    <a:pt x="584" y="3462"/>
                  </a:lnTo>
                  <a:lnTo>
                    <a:pt x="574" y="3456"/>
                  </a:lnTo>
                  <a:lnTo>
                    <a:pt x="562" y="3448"/>
                  </a:lnTo>
                  <a:lnTo>
                    <a:pt x="548" y="3436"/>
                  </a:lnTo>
                  <a:lnTo>
                    <a:pt x="538" y="3424"/>
                  </a:lnTo>
                  <a:lnTo>
                    <a:pt x="532" y="3414"/>
                  </a:lnTo>
                  <a:lnTo>
                    <a:pt x="530" y="3404"/>
                  </a:lnTo>
                  <a:lnTo>
                    <a:pt x="528" y="3404"/>
                  </a:lnTo>
                  <a:lnTo>
                    <a:pt x="522" y="3402"/>
                  </a:lnTo>
                  <a:lnTo>
                    <a:pt x="516" y="3402"/>
                  </a:lnTo>
                  <a:lnTo>
                    <a:pt x="514" y="3400"/>
                  </a:lnTo>
                  <a:lnTo>
                    <a:pt x="512" y="3396"/>
                  </a:lnTo>
                  <a:lnTo>
                    <a:pt x="516" y="3390"/>
                  </a:lnTo>
                  <a:lnTo>
                    <a:pt x="520" y="3386"/>
                  </a:lnTo>
                  <a:lnTo>
                    <a:pt x="522" y="3386"/>
                  </a:lnTo>
                  <a:lnTo>
                    <a:pt x="524" y="3390"/>
                  </a:lnTo>
                  <a:lnTo>
                    <a:pt x="524" y="3392"/>
                  </a:lnTo>
                  <a:lnTo>
                    <a:pt x="526" y="3394"/>
                  </a:lnTo>
                  <a:lnTo>
                    <a:pt x="528" y="3392"/>
                  </a:lnTo>
                  <a:lnTo>
                    <a:pt x="528" y="3388"/>
                  </a:lnTo>
                  <a:lnTo>
                    <a:pt x="524" y="3380"/>
                  </a:lnTo>
                  <a:lnTo>
                    <a:pt x="510" y="3364"/>
                  </a:lnTo>
                  <a:lnTo>
                    <a:pt x="510" y="3502"/>
                  </a:lnTo>
                  <a:lnTo>
                    <a:pt x="518" y="3498"/>
                  </a:lnTo>
                  <a:lnTo>
                    <a:pt x="520" y="3496"/>
                  </a:lnTo>
                  <a:lnTo>
                    <a:pt x="522" y="3496"/>
                  </a:lnTo>
                  <a:lnTo>
                    <a:pt x="530" y="3498"/>
                  </a:lnTo>
                  <a:lnTo>
                    <a:pt x="544" y="3500"/>
                  </a:lnTo>
                  <a:lnTo>
                    <a:pt x="560" y="3502"/>
                  </a:lnTo>
                  <a:lnTo>
                    <a:pt x="576" y="3504"/>
                  </a:lnTo>
                  <a:lnTo>
                    <a:pt x="584" y="3506"/>
                  </a:lnTo>
                  <a:lnTo>
                    <a:pt x="588" y="3508"/>
                  </a:lnTo>
                  <a:lnTo>
                    <a:pt x="596" y="3512"/>
                  </a:lnTo>
                  <a:lnTo>
                    <a:pt x="598" y="3510"/>
                  </a:lnTo>
                  <a:lnTo>
                    <a:pt x="602" y="3508"/>
                  </a:lnTo>
                  <a:lnTo>
                    <a:pt x="606" y="3506"/>
                  </a:lnTo>
                  <a:lnTo>
                    <a:pt x="614" y="3506"/>
                  </a:lnTo>
                  <a:lnTo>
                    <a:pt x="620" y="3502"/>
                  </a:lnTo>
                  <a:lnTo>
                    <a:pt x="624" y="3500"/>
                  </a:lnTo>
                  <a:lnTo>
                    <a:pt x="626" y="3502"/>
                  </a:lnTo>
                  <a:lnTo>
                    <a:pt x="630" y="3506"/>
                  </a:lnTo>
                  <a:lnTo>
                    <a:pt x="632" y="3504"/>
                  </a:lnTo>
                  <a:lnTo>
                    <a:pt x="634" y="3502"/>
                  </a:lnTo>
                  <a:lnTo>
                    <a:pt x="638" y="3502"/>
                  </a:lnTo>
                  <a:lnTo>
                    <a:pt x="640" y="3502"/>
                  </a:lnTo>
                  <a:lnTo>
                    <a:pt x="642" y="3502"/>
                  </a:lnTo>
                  <a:lnTo>
                    <a:pt x="646" y="3494"/>
                  </a:lnTo>
                  <a:lnTo>
                    <a:pt x="648" y="3488"/>
                  </a:lnTo>
                  <a:lnTo>
                    <a:pt x="648" y="3486"/>
                  </a:lnTo>
                  <a:lnTo>
                    <a:pt x="642" y="3486"/>
                  </a:lnTo>
                  <a:lnTo>
                    <a:pt x="636" y="3486"/>
                  </a:lnTo>
                  <a:close/>
                  <a:moveTo>
                    <a:pt x="436" y="3502"/>
                  </a:moveTo>
                  <a:lnTo>
                    <a:pt x="436" y="3502"/>
                  </a:lnTo>
                  <a:lnTo>
                    <a:pt x="428" y="3504"/>
                  </a:lnTo>
                  <a:lnTo>
                    <a:pt x="426" y="3506"/>
                  </a:lnTo>
                  <a:lnTo>
                    <a:pt x="420" y="3506"/>
                  </a:lnTo>
                  <a:lnTo>
                    <a:pt x="414" y="3506"/>
                  </a:lnTo>
                  <a:lnTo>
                    <a:pt x="414" y="3508"/>
                  </a:lnTo>
                  <a:lnTo>
                    <a:pt x="414" y="3510"/>
                  </a:lnTo>
                  <a:lnTo>
                    <a:pt x="416" y="3514"/>
                  </a:lnTo>
                  <a:lnTo>
                    <a:pt x="418" y="3514"/>
                  </a:lnTo>
                  <a:lnTo>
                    <a:pt x="428" y="3516"/>
                  </a:lnTo>
                  <a:lnTo>
                    <a:pt x="430" y="3516"/>
                  </a:lnTo>
                  <a:lnTo>
                    <a:pt x="432" y="3518"/>
                  </a:lnTo>
                  <a:lnTo>
                    <a:pt x="432" y="3520"/>
                  </a:lnTo>
                  <a:lnTo>
                    <a:pt x="432" y="3522"/>
                  </a:lnTo>
                  <a:lnTo>
                    <a:pt x="436" y="3522"/>
                  </a:lnTo>
                  <a:lnTo>
                    <a:pt x="442" y="3518"/>
                  </a:lnTo>
                  <a:lnTo>
                    <a:pt x="442" y="3516"/>
                  </a:lnTo>
                  <a:lnTo>
                    <a:pt x="442" y="3512"/>
                  </a:lnTo>
                  <a:lnTo>
                    <a:pt x="438" y="3512"/>
                  </a:lnTo>
                  <a:lnTo>
                    <a:pt x="432" y="3510"/>
                  </a:lnTo>
                  <a:lnTo>
                    <a:pt x="434" y="3508"/>
                  </a:lnTo>
                  <a:lnTo>
                    <a:pt x="438" y="3508"/>
                  </a:lnTo>
                  <a:lnTo>
                    <a:pt x="442" y="3506"/>
                  </a:lnTo>
                  <a:lnTo>
                    <a:pt x="444" y="3504"/>
                  </a:lnTo>
                  <a:lnTo>
                    <a:pt x="440" y="3504"/>
                  </a:lnTo>
                  <a:lnTo>
                    <a:pt x="436" y="3502"/>
                  </a:lnTo>
                  <a:close/>
                  <a:moveTo>
                    <a:pt x="290" y="2874"/>
                  </a:moveTo>
                  <a:lnTo>
                    <a:pt x="290" y="2874"/>
                  </a:lnTo>
                  <a:lnTo>
                    <a:pt x="292" y="2876"/>
                  </a:lnTo>
                  <a:lnTo>
                    <a:pt x="294" y="2874"/>
                  </a:lnTo>
                  <a:lnTo>
                    <a:pt x="294" y="2872"/>
                  </a:lnTo>
                  <a:lnTo>
                    <a:pt x="294" y="2870"/>
                  </a:lnTo>
                  <a:lnTo>
                    <a:pt x="290" y="2868"/>
                  </a:lnTo>
                  <a:lnTo>
                    <a:pt x="290" y="2874"/>
                  </a:lnTo>
                  <a:close/>
                  <a:moveTo>
                    <a:pt x="592" y="3524"/>
                  </a:moveTo>
                  <a:lnTo>
                    <a:pt x="592" y="3524"/>
                  </a:lnTo>
                  <a:lnTo>
                    <a:pt x="596" y="3524"/>
                  </a:lnTo>
                  <a:lnTo>
                    <a:pt x="598" y="3524"/>
                  </a:lnTo>
                  <a:lnTo>
                    <a:pt x="598" y="3522"/>
                  </a:lnTo>
                  <a:lnTo>
                    <a:pt x="596" y="3518"/>
                  </a:lnTo>
                  <a:lnTo>
                    <a:pt x="594" y="3518"/>
                  </a:lnTo>
                  <a:lnTo>
                    <a:pt x="590" y="3520"/>
                  </a:lnTo>
                  <a:lnTo>
                    <a:pt x="590" y="3522"/>
                  </a:lnTo>
                  <a:lnTo>
                    <a:pt x="592" y="3524"/>
                  </a:lnTo>
                  <a:close/>
                  <a:moveTo>
                    <a:pt x="310" y="3406"/>
                  </a:moveTo>
                  <a:lnTo>
                    <a:pt x="310" y="3406"/>
                  </a:lnTo>
                  <a:lnTo>
                    <a:pt x="314" y="3406"/>
                  </a:lnTo>
                  <a:lnTo>
                    <a:pt x="318" y="3406"/>
                  </a:lnTo>
                  <a:lnTo>
                    <a:pt x="322" y="3406"/>
                  </a:lnTo>
                  <a:lnTo>
                    <a:pt x="326" y="3408"/>
                  </a:lnTo>
                  <a:lnTo>
                    <a:pt x="328" y="3408"/>
                  </a:lnTo>
                  <a:lnTo>
                    <a:pt x="324" y="3402"/>
                  </a:lnTo>
                  <a:lnTo>
                    <a:pt x="318" y="3396"/>
                  </a:lnTo>
                  <a:lnTo>
                    <a:pt x="316" y="3394"/>
                  </a:lnTo>
                  <a:lnTo>
                    <a:pt x="314" y="3394"/>
                  </a:lnTo>
                  <a:lnTo>
                    <a:pt x="312" y="3394"/>
                  </a:lnTo>
                  <a:lnTo>
                    <a:pt x="310" y="3392"/>
                  </a:lnTo>
                  <a:lnTo>
                    <a:pt x="308" y="3390"/>
                  </a:lnTo>
                  <a:lnTo>
                    <a:pt x="306" y="3392"/>
                  </a:lnTo>
                  <a:lnTo>
                    <a:pt x="304" y="3390"/>
                  </a:lnTo>
                  <a:lnTo>
                    <a:pt x="294" y="3384"/>
                  </a:lnTo>
                  <a:lnTo>
                    <a:pt x="284" y="3382"/>
                  </a:lnTo>
                  <a:lnTo>
                    <a:pt x="280" y="3378"/>
                  </a:lnTo>
                  <a:lnTo>
                    <a:pt x="274" y="3374"/>
                  </a:lnTo>
                  <a:lnTo>
                    <a:pt x="268" y="3370"/>
                  </a:lnTo>
                  <a:lnTo>
                    <a:pt x="264" y="3368"/>
                  </a:lnTo>
                  <a:lnTo>
                    <a:pt x="262" y="3370"/>
                  </a:lnTo>
                  <a:lnTo>
                    <a:pt x="266" y="3374"/>
                  </a:lnTo>
                  <a:lnTo>
                    <a:pt x="270" y="3376"/>
                  </a:lnTo>
                  <a:lnTo>
                    <a:pt x="270" y="3380"/>
                  </a:lnTo>
                  <a:lnTo>
                    <a:pt x="268" y="3380"/>
                  </a:lnTo>
                  <a:lnTo>
                    <a:pt x="272" y="3382"/>
                  </a:lnTo>
                  <a:lnTo>
                    <a:pt x="276" y="3384"/>
                  </a:lnTo>
                  <a:lnTo>
                    <a:pt x="278" y="3388"/>
                  </a:lnTo>
                  <a:lnTo>
                    <a:pt x="282" y="3390"/>
                  </a:lnTo>
                  <a:lnTo>
                    <a:pt x="288" y="3392"/>
                  </a:lnTo>
                  <a:lnTo>
                    <a:pt x="294" y="3392"/>
                  </a:lnTo>
                  <a:lnTo>
                    <a:pt x="296" y="3394"/>
                  </a:lnTo>
                  <a:lnTo>
                    <a:pt x="300" y="3396"/>
                  </a:lnTo>
                  <a:lnTo>
                    <a:pt x="302" y="3398"/>
                  </a:lnTo>
                  <a:lnTo>
                    <a:pt x="304" y="3398"/>
                  </a:lnTo>
                  <a:lnTo>
                    <a:pt x="308" y="3398"/>
                  </a:lnTo>
                  <a:lnTo>
                    <a:pt x="310" y="3400"/>
                  </a:lnTo>
                  <a:lnTo>
                    <a:pt x="310" y="3402"/>
                  </a:lnTo>
                  <a:lnTo>
                    <a:pt x="310" y="3404"/>
                  </a:lnTo>
                  <a:lnTo>
                    <a:pt x="310" y="3406"/>
                  </a:lnTo>
                  <a:close/>
                  <a:moveTo>
                    <a:pt x="262" y="3306"/>
                  </a:moveTo>
                  <a:lnTo>
                    <a:pt x="262" y="3306"/>
                  </a:lnTo>
                  <a:lnTo>
                    <a:pt x="260" y="3302"/>
                  </a:lnTo>
                  <a:lnTo>
                    <a:pt x="258" y="3302"/>
                  </a:lnTo>
                  <a:lnTo>
                    <a:pt x="258" y="3304"/>
                  </a:lnTo>
                  <a:lnTo>
                    <a:pt x="258" y="3310"/>
                  </a:lnTo>
                  <a:lnTo>
                    <a:pt x="258" y="3314"/>
                  </a:lnTo>
                  <a:lnTo>
                    <a:pt x="254" y="3308"/>
                  </a:lnTo>
                  <a:lnTo>
                    <a:pt x="252" y="3308"/>
                  </a:lnTo>
                  <a:lnTo>
                    <a:pt x="250" y="3310"/>
                  </a:lnTo>
                  <a:lnTo>
                    <a:pt x="248" y="3314"/>
                  </a:lnTo>
                  <a:lnTo>
                    <a:pt x="250" y="3318"/>
                  </a:lnTo>
                  <a:lnTo>
                    <a:pt x="252" y="3320"/>
                  </a:lnTo>
                  <a:lnTo>
                    <a:pt x="252" y="3322"/>
                  </a:lnTo>
                  <a:lnTo>
                    <a:pt x="250" y="3324"/>
                  </a:lnTo>
                  <a:lnTo>
                    <a:pt x="252" y="3328"/>
                  </a:lnTo>
                  <a:lnTo>
                    <a:pt x="252" y="3332"/>
                  </a:lnTo>
                  <a:lnTo>
                    <a:pt x="254" y="3332"/>
                  </a:lnTo>
                  <a:lnTo>
                    <a:pt x="258" y="3324"/>
                  </a:lnTo>
                  <a:lnTo>
                    <a:pt x="260" y="3314"/>
                  </a:lnTo>
                  <a:lnTo>
                    <a:pt x="262" y="3310"/>
                  </a:lnTo>
                  <a:lnTo>
                    <a:pt x="262" y="3306"/>
                  </a:lnTo>
                  <a:close/>
                  <a:moveTo>
                    <a:pt x="284" y="3406"/>
                  </a:moveTo>
                  <a:lnTo>
                    <a:pt x="284" y="3406"/>
                  </a:lnTo>
                  <a:lnTo>
                    <a:pt x="286" y="3406"/>
                  </a:lnTo>
                  <a:lnTo>
                    <a:pt x="288" y="3404"/>
                  </a:lnTo>
                  <a:lnTo>
                    <a:pt x="290" y="3402"/>
                  </a:lnTo>
                  <a:lnTo>
                    <a:pt x="290" y="3400"/>
                  </a:lnTo>
                  <a:lnTo>
                    <a:pt x="286" y="3398"/>
                  </a:lnTo>
                  <a:lnTo>
                    <a:pt x="284" y="3400"/>
                  </a:lnTo>
                  <a:lnTo>
                    <a:pt x="284" y="3404"/>
                  </a:lnTo>
                  <a:lnTo>
                    <a:pt x="284" y="3406"/>
                  </a:lnTo>
                  <a:close/>
                  <a:moveTo>
                    <a:pt x="268" y="3336"/>
                  </a:moveTo>
                  <a:lnTo>
                    <a:pt x="268" y="3336"/>
                  </a:lnTo>
                  <a:lnTo>
                    <a:pt x="260" y="3336"/>
                  </a:lnTo>
                  <a:lnTo>
                    <a:pt x="258" y="3336"/>
                  </a:lnTo>
                  <a:lnTo>
                    <a:pt x="256" y="3338"/>
                  </a:lnTo>
                  <a:lnTo>
                    <a:pt x="258" y="3340"/>
                  </a:lnTo>
                  <a:lnTo>
                    <a:pt x="262" y="3342"/>
                  </a:lnTo>
                  <a:lnTo>
                    <a:pt x="264" y="3342"/>
                  </a:lnTo>
                  <a:lnTo>
                    <a:pt x="268" y="3340"/>
                  </a:lnTo>
                  <a:lnTo>
                    <a:pt x="268" y="3338"/>
                  </a:lnTo>
                  <a:lnTo>
                    <a:pt x="268" y="3336"/>
                  </a:lnTo>
                  <a:close/>
                  <a:moveTo>
                    <a:pt x="412" y="3500"/>
                  </a:moveTo>
                  <a:lnTo>
                    <a:pt x="412" y="3500"/>
                  </a:lnTo>
                  <a:lnTo>
                    <a:pt x="406" y="3498"/>
                  </a:lnTo>
                  <a:lnTo>
                    <a:pt x="402" y="3496"/>
                  </a:lnTo>
                  <a:lnTo>
                    <a:pt x="398" y="3498"/>
                  </a:lnTo>
                  <a:lnTo>
                    <a:pt x="396" y="3500"/>
                  </a:lnTo>
                  <a:lnTo>
                    <a:pt x="396" y="3502"/>
                  </a:lnTo>
                  <a:lnTo>
                    <a:pt x="398" y="3504"/>
                  </a:lnTo>
                  <a:lnTo>
                    <a:pt x="402" y="3502"/>
                  </a:lnTo>
                  <a:lnTo>
                    <a:pt x="406" y="3500"/>
                  </a:lnTo>
                  <a:lnTo>
                    <a:pt x="408" y="3502"/>
                  </a:lnTo>
                  <a:lnTo>
                    <a:pt x="410" y="3502"/>
                  </a:lnTo>
                  <a:lnTo>
                    <a:pt x="414" y="3504"/>
                  </a:lnTo>
                  <a:lnTo>
                    <a:pt x="414" y="3502"/>
                  </a:lnTo>
                  <a:lnTo>
                    <a:pt x="416" y="3500"/>
                  </a:lnTo>
                  <a:lnTo>
                    <a:pt x="414" y="3500"/>
                  </a:lnTo>
                  <a:lnTo>
                    <a:pt x="412" y="3500"/>
                  </a:lnTo>
                  <a:close/>
                  <a:moveTo>
                    <a:pt x="248" y="3284"/>
                  </a:moveTo>
                  <a:lnTo>
                    <a:pt x="248" y="3284"/>
                  </a:lnTo>
                  <a:lnTo>
                    <a:pt x="244" y="3282"/>
                  </a:lnTo>
                  <a:lnTo>
                    <a:pt x="244" y="3284"/>
                  </a:lnTo>
                  <a:lnTo>
                    <a:pt x="244" y="3292"/>
                  </a:lnTo>
                  <a:lnTo>
                    <a:pt x="240" y="3300"/>
                  </a:lnTo>
                  <a:lnTo>
                    <a:pt x="240" y="3302"/>
                  </a:lnTo>
                  <a:lnTo>
                    <a:pt x="244" y="3302"/>
                  </a:lnTo>
                  <a:lnTo>
                    <a:pt x="246" y="3300"/>
                  </a:lnTo>
                  <a:lnTo>
                    <a:pt x="246" y="3298"/>
                  </a:lnTo>
                  <a:lnTo>
                    <a:pt x="248" y="3294"/>
                  </a:lnTo>
                  <a:lnTo>
                    <a:pt x="248" y="3292"/>
                  </a:lnTo>
                  <a:lnTo>
                    <a:pt x="252" y="3288"/>
                  </a:lnTo>
                  <a:lnTo>
                    <a:pt x="248" y="3284"/>
                  </a:lnTo>
                  <a:close/>
                  <a:moveTo>
                    <a:pt x="376" y="3462"/>
                  </a:moveTo>
                  <a:lnTo>
                    <a:pt x="376" y="3462"/>
                  </a:lnTo>
                  <a:lnTo>
                    <a:pt x="376" y="3466"/>
                  </a:lnTo>
                  <a:lnTo>
                    <a:pt x="378" y="3468"/>
                  </a:lnTo>
                  <a:lnTo>
                    <a:pt x="380" y="3468"/>
                  </a:lnTo>
                  <a:lnTo>
                    <a:pt x="380" y="3464"/>
                  </a:lnTo>
                  <a:lnTo>
                    <a:pt x="380" y="3462"/>
                  </a:lnTo>
                  <a:lnTo>
                    <a:pt x="382" y="3462"/>
                  </a:lnTo>
                  <a:lnTo>
                    <a:pt x="384" y="3460"/>
                  </a:lnTo>
                  <a:lnTo>
                    <a:pt x="384" y="3456"/>
                  </a:lnTo>
                  <a:lnTo>
                    <a:pt x="386" y="3454"/>
                  </a:lnTo>
                  <a:lnTo>
                    <a:pt x="386" y="3452"/>
                  </a:lnTo>
                  <a:lnTo>
                    <a:pt x="386" y="3448"/>
                  </a:lnTo>
                  <a:lnTo>
                    <a:pt x="386" y="3444"/>
                  </a:lnTo>
                  <a:lnTo>
                    <a:pt x="386" y="3442"/>
                  </a:lnTo>
                  <a:lnTo>
                    <a:pt x="384" y="3440"/>
                  </a:lnTo>
                  <a:lnTo>
                    <a:pt x="378" y="3438"/>
                  </a:lnTo>
                  <a:lnTo>
                    <a:pt x="376" y="3438"/>
                  </a:lnTo>
                  <a:lnTo>
                    <a:pt x="374" y="3442"/>
                  </a:lnTo>
                  <a:lnTo>
                    <a:pt x="372" y="3444"/>
                  </a:lnTo>
                  <a:lnTo>
                    <a:pt x="370" y="3442"/>
                  </a:lnTo>
                  <a:lnTo>
                    <a:pt x="368" y="3442"/>
                  </a:lnTo>
                  <a:lnTo>
                    <a:pt x="364" y="3442"/>
                  </a:lnTo>
                  <a:lnTo>
                    <a:pt x="362" y="3444"/>
                  </a:lnTo>
                  <a:lnTo>
                    <a:pt x="362" y="3446"/>
                  </a:lnTo>
                  <a:lnTo>
                    <a:pt x="368" y="3452"/>
                  </a:lnTo>
                  <a:lnTo>
                    <a:pt x="374" y="3458"/>
                  </a:lnTo>
                  <a:lnTo>
                    <a:pt x="376" y="3460"/>
                  </a:lnTo>
                  <a:lnTo>
                    <a:pt x="376" y="3462"/>
                  </a:lnTo>
                  <a:close/>
                  <a:moveTo>
                    <a:pt x="360" y="3454"/>
                  </a:moveTo>
                  <a:lnTo>
                    <a:pt x="360" y="3454"/>
                  </a:lnTo>
                  <a:lnTo>
                    <a:pt x="358" y="3458"/>
                  </a:lnTo>
                  <a:lnTo>
                    <a:pt x="354" y="3458"/>
                  </a:lnTo>
                  <a:lnTo>
                    <a:pt x="352" y="3460"/>
                  </a:lnTo>
                  <a:lnTo>
                    <a:pt x="354" y="3462"/>
                  </a:lnTo>
                  <a:lnTo>
                    <a:pt x="356" y="3464"/>
                  </a:lnTo>
                  <a:lnTo>
                    <a:pt x="358" y="3464"/>
                  </a:lnTo>
                  <a:lnTo>
                    <a:pt x="364" y="3458"/>
                  </a:lnTo>
                  <a:lnTo>
                    <a:pt x="364" y="3456"/>
                  </a:lnTo>
                  <a:lnTo>
                    <a:pt x="364" y="3454"/>
                  </a:lnTo>
                  <a:lnTo>
                    <a:pt x="362" y="3452"/>
                  </a:lnTo>
                  <a:lnTo>
                    <a:pt x="360" y="3454"/>
                  </a:lnTo>
                  <a:close/>
                  <a:moveTo>
                    <a:pt x="390" y="3462"/>
                  </a:moveTo>
                  <a:lnTo>
                    <a:pt x="390" y="3462"/>
                  </a:lnTo>
                  <a:lnTo>
                    <a:pt x="394" y="3462"/>
                  </a:lnTo>
                  <a:lnTo>
                    <a:pt x="394" y="3460"/>
                  </a:lnTo>
                  <a:lnTo>
                    <a:pt x="396" y="3458"/>
                  </a:lnTo>
                  <a:lnTo>
                    <a:pt x="398" y="3460"/>
                  </a:lnTo>
                  <a:lnTo>
                    <a:pt x="402" y="3462"/>
                  </a:lnTo>
                  <a:lnTo>
                    <a:pt x="402" y="3464"/>
                  </a:lnTo>
                  <a:lnTo>
                    <a:pt x="402" y="3466"/>
                  </a:lnTo>
                  <a:lnTo>
                    <a:pt x="406" y="3468"/>
                  </a:lnTo>
                  <a:lnTo>
                    <a:pt x="410" y="3468"/>
                  </a:lnTo>
                  <a:lnTo>
                    <a:pt x="412" y="3466"/>
                  </a:lnTo>
                  <a:lnTo>
                    <a:pt x="412" y="3454"/>
                  </a:lnTo>
                  <a:lnTo>
                    <a:pt x="410" y="3450"/>
                  </a:lnTo>
                  <a:lnTo>
                    <a:pt x="408" y="3450"/>
                  </a:lnTo>
                  <a:lnTo>
                    <a:pt x="406" y="3450"/>
                  </a:lnTo>
                  <a:lnTo>
                    <a:pt x="402" y="3448"/>
                  </a:lnTo>
                  <a:lnTo>
                    <a:pt x="400" y="3444"/>
                  </a:lnTo>
                  <a:lnTo>
                    <a:pt x="394" y="3442"/>
                  </a:lnTo>
                  <a:lnTo>
                    <a:pt x="390" y="3444"/>
                  </a:lnTo>
                  <a:lnTo>
                    <a:pt x="388" y="3446"/>
                  </a:lnTo>
                  <a:lnTo>
                    <a:pt x="388" y="3448"/>
                  </a:lnTo>
                  <a:lnTo>
                    <a:pt x="390" y="3454"/>
                  </a:lnTo>
                  <a:lnTo>
                    <a:pt x="388" y="3456"/>
                  </a:lnTo>
                  <a:lnTo>
                    <a:pt x="388" y="3460"/>
                  </a:lnTo>
                  <a:lnTo>
                    <a:pt x="390" y="3462"/>
                  </a:lnTo>
                  <a:close/>
                  <a:moveTo>
                    <a:pt x="356" y="3450"/>
                  </a:moveTo>
                  <a:lnTo>
                    <a:pt x="356" y="3450"/>
                  </a:lnTo>
                  <a:lnTo>
                    <a:pt x="358" y="3450"/>
                  </a:lnTo>
                  <a:lnTo>
                    <a:pt x="360" y="3450"/>
                  </a:lnTo>
                  <a:lnTo>
                    <a:pt x="358" y="3444"/>
                  </a:lnTo>
                  <a:lnTo>
                    <a:pt x="358" y="3442"/>
                  </a:lnTo>
                  <a:lnTo>
                    <a:pt x="358" y="3440"/>
                  </a:lnTo>
                  <a:lnTo>
                    <a:pt x="362" y="3438"/>
                  </a:lnTo>
                  <a:lnTo>
                    <a:pt x="366" y="3436"/>
                  </a:lnTo>
                  <a:lnTo>
                    <a:pt x="366" y="3434"/>
                  </a:lnTo>
                  <a:lnTo>
                    <a:pt x="366" y="3432"/>
                  </a:lnTo>
                  <a:lnTo>
                    <a:pt x="362" y="3430"/>
                  </a:lnTo>
                  <a:lnTo>
                    <a:pt x="360" y="3430"/>
                  </a:lnTo>
                  <a:lnTo>
                    <a:pt x="358" y="3428"/>
                  </a:lnTo>
                  <a:lnTo>
                    <a:pt x="356" y="3426"/>
                  </a:lnTo>
                  <a:lnTo>
                    <a:pt x="354" y="3422"/>
                  </a:lnTo>
                  <a:lnTo>
                    <a:pt x="352" y="3420"/>
                  </a:lnTo>
                  <a:lnTo>
                    <a:pt x="348" y="3418"/>
                  </a:lnTo>
                  <a:lnTo>
                    <a:pt x="346" y="3420"/>
                  </a:lnTo>
                  <a:lnTo>
                    <a:pt x="344" y="3420"/>
                  </a:lnTo>
                  <a:lnTo>
                    <a:pt x="344" y="3418"/>
                  </a:lnTo>
                  <a:lnTo>
                    <a:pt x="342" y="3418"/>
                  </a:lnTo>
                  <a:lnTo>
                    <a:pt x="340" y="3420"/>
                  </a:lnTo>
                  <a:lnTo>
                    <a:pt x="338" y="3422"/>
                  </a:lnTo>
                  <a:lnTo>
                    <a:pt x="338" y="3418"/>
                  </a:lnTo>
                  <a:lnTo>
                    <a:pt x="336" y="3414"/>
                  </a:lnTo>
                  <a:lnTo>
                    <a:pt x="332" y="3410"/>
                  </a:lnTo>
                  <a:lnTo>
                    <a:pt x="328" y="3410"/>
                  </a:lnTo>
                  <a:lnTo>
                    <a:pt x="328" y="3412"/>
                  </a:lnTo>
                  <a:lnTo>
                    <a:pt x="328" y="3414"/>
                  </a:lnTo>
                  <a:lnTo>
                    <a:pt x="322" y="3414"/>
                  </a:lnTo>
                  <a:lnTo>
                    <a:pt x="320" y="3414"/>
                  </a:lnTo>
                  <a:lnTo>
                    <a:pt x="318" y="3414"/>
                  </a:lnTo>
                  <a:lnTo>
                    <a:pt x="320" y="3418"/>
                  </a:lnTo>
                  <a:lnTo>
                    <a:pt x="322" y="3422"/>
                  </a:lnTo>
                  <a:lnTo>
                    <a:pt x="320" y="3422"/>
                  </a:lnTo>
                  <a:lnTo>
                    <a:pt x="314" y="3420"/>
                  </a:lnTo>
                  <a:lnTo>
                    <a:pt x="310" y="3422"/>
                  </a:lnTo>
                  <a:lnTo>
                    <a:pt x="308" y="3424"/>
                  </a:lnTo>
                  <a:lnTo>
                    <a:pt x="308" y="3426"/>
                  </a:lnTo>
                  <a:lnTo>
                    <a:pt x="310" y="3428"/>
                  </a:lnTo>
                  <a:lnTo>
                    <a:pt x="312" y="3430"/>
                  </a:lnTo>
                  <a:lnTo>
                    <a:pt x="312" y="3432"/>
                  </a:lnTo>
                  <a:lnTo>
                    <a:pt x="316" y="3432"/>
                  </a:lnTo>
                  <a:lnTo>
                    <a:pt x="320" y="3430"/>
                  </a:lnTo>
                  <a:lnTo>
                    <a:pt x="322" y="3432"/>
                  </a:lnTo>
                  <a:lnTo>
                    <a:pt x="322" y="3434"/>
                  </a:lnTo>
                  <a:lnTo>
                    <a:pt x="322" y="3442"/>
                  </a:lnTo>
                  <a:lnTo>
                    <a:pt x="324" y="3444"/>
                  </a:lnTo>
                  <a:lnTo>
                    <a:pt x="328" y="3448"/>
                  </a:lnTo>
                  <a:lnTo>
                    <a:pt x="330" y="3448"/>
                  </a:lnTo>
                  <a:lnTo>
                    <a:pt x="332" y="3448"/>
                  </a:lnTo>
                  <a:lnTo>
                    <a:pt x="332" y="3442"/>
                  </a:lnTo>
                  <a:lnTo>
                    <a:pt x="332" y="3438"/>
                  </a:lnTo>
                  <a:lnTo>
                    <a:pt x="334" y="3438"/>
                  </a:lnTo>
                  <a:lnTo>
                    <a:pt x="336" y="3440"/>
                  </a:lnTo>
                  <a:lnTo>
                    <a:pt x="340" y="3438"/>
                  </a:lnTo>
                  <a:lnTo>
                    <a:pt x="342" y="3438"/>
                  </a:lnTo>
                  <a:lnTo>
                    <a:pt x="342" y="3442"/>
                  </a:lnTo>
                  <a:lnTo>
                    <a:pt x="340" y="3448"/>
                  </a:lnTo>
                  <a:lnTo>
                    <a:pt x="336" y="3450"/>
                  </a:lnTo>
                  <a:lnTo>
                    <a:pt x="334" y="3452"/>
                  </a:lnTo>
                  <a:lnTo>
                    <a:pt x="338" y="3454"/>
                  </a:lnTo>
                  <a:lnTo>
                    <a:pt x="342" y="3454"/>
                  </a:lnTo>
                  <a:lnTo>
                    <a:pt x="346" y="3454"/>
                  </a:lnTo>
                  <a:lnTo>
                    <a:pt x="348" y="3452"/>
                  </a:lnTo>
                  <a:lnTo>
                    <a:pt x="350" y="3452"/>
                  </a:lnTo>
                  <a:lnTo>
                    <a:pt x="352" y="3452"/>
                  </a:lnTo>
                  <a:lnTo>
                    <a:pt x="352" y="3450"/>
                  </a:lnTo>
                  <a:lnTo>
                    <a:pt x="354" y="3448"/>
                  </a:lnTo>
                  <a:lnTo>
                    <a:pt x="356" y="3450"/>
                  </a:lnTo>
                  <a:close/>
                  <a:moveTo>
                    <a:pt x="490" y="3366"/>
                  </a:moveTo>
                  <a:lnTo>
                    <a:pt x="490" y="3366"/>
                  </a:lnTo>
                  <a:lnTo>
                    <a:pt x="488" y="3366"/>
                  </a:lnTo>
                  <a:lnTo>
                    <a:pt x="486" y="3364"/>
                  </a:lnTo>
                  <a:lnTo>
                    <a:pt x="482" y="3360"/>
                  </a:lnTo>
                  <a:lnTo>
                    <a:pt x="480" y="3354"/>
                  </a:lnTo>
                  <a:lnTo>
                    <a:pt x="478" y="3352"/>
                  </a:lnTo>
                  <a:lnTo>
                    <a:pt x="476" y="3352"/>
                  </a:lnTo>
                  <a:lnTo>
                    <a:pt x="472" y="3356"/>
                  </a:lnTo>
                  <a:lnTo>
                    <a:pt x="468" y="3364"/>
                  </a:lnTo>
                  <a:lnTo>
                    <a:pt x="464" y="3370"/>
                  </a:lnTo>
                  <a:lnTo>
                    <a:pt x="460" y="3374"/>
                  </a:lnTo>
                  <a:lnTo>
                    <a:pt x="454" y="3374"/>
                  </a:lnTo>
                  <a:lnTo>
                    <a:pt x="450" y="3372"/>
                  </a:lnTo>
                  <a:lnTo>
                    <a:pt x="446" y="3368"/>
                  </a:lnTo>
                  <a:lnTo>
                    <a:pt x="440" y="3370"/>
                  </a:lnTo>
                  <a:lnTo>
                    <a:pt x="438" y="3370"/>
                  </a:lnTo>
                  <a:lnTo>
                    <a:pt x="440" y="3372"/>
                  </a:lnTo>
                  <a:lnTo>
                    <a:pt x="442" y="3374"/>
                  </a:lnTo>
                  <a:lnTo>
                    <a:pt x="444" y="3376"/>
                  </a:lnTo>
                  <a:lnTo>
                    <a:pt x="444" y="3378"/>
                  </a:lnTo>
                  <a:lnTo>
                    <a:pt x="448" y="3380"/>
                  </a:lnTo>
                  <a:lnTo>
                    <a:pt x="450" y="3382"/>
                  </a:lnTo>
                  <a:lnTo>
                    <a:pt x="448" y="3384"/>
                  </a:lnTo>
                  <a:lnTo>
                    <a:pt x="446" y="3388"/>
                  </a:lnTo>
                  <a:lnTo>
                    <a:pt x="444" y="3388"/>
                  </a:lnTo>
                  <a:lnTo>
                    <a:pt x="440" y="3384"/>
                  </a:lnTo>
                  <a:lnTo>
                    <a:pt x="438" y="3382"/>
                  </a:lnTo>
                  <a:lnTo>
                    <a:pt x="438" y="3384"/>
                  </a:lnTo>
                  <a:lnTo>
                    <a:pt x="436" y="3388"/>
                  </a:lnTo>
                  <a:lnTo>
                    <a:pt x="436" y="3398"/>
                  </a:lnTo>
                  <a:lnTo>
                    <a:pt x="440" y="3410"/>
                  </a:lnTo>
                  <a:lnTo>
                    <a:pt x="442" y="3412"/>
                  </a:lnTo>
                  <a:lnTo>
                    <a:pt x="448" y="3414"/>
                  </a:lnTo>
                  <a:lnTo>
                    <a:pt x="460" y="3410"/>
                  </a:lnTo>
                  <a:lnTo>
                    <a:pt x="474" y="3406"/>
                  </a:lnTo>
                  <a:lnTo>
                    <a:pt x="478" y="3406"/>
                  </a:lnTo>
                  <a:lnTo>
                    <a:pt x="480" y="3408"/>
                  </a:lnTo>
                  <a:lnTo>
                    <a:pt x="482" y="3414"/>
                  </a:lnTo>
                  <a:lnTo>
                    <a:pt x="478" y="3418"/>
                  </a:lnTo>
                  <a:lnTo>
                    <a:pt x="472" y="3422"/>
                  </a:lnTo>
                  <a:lnTo>
                    <a:pt x="466" y="3424"/>
                  </a:lnTo>
                  <a:lnTo>
                    <a:pt x="452" y="3430"/>
                  </a:lnTo>
                  <a:lnTo>
                    <a:pt x="448" y="3434"/>
                  </a:lnTo>
                  <a:lnTo>
                    <a:pt x="448" y="3438"/>
                  </a:lnTo>
                  <a:lnTo>
                    <a:pt x="452" y="3446"/>
                  </a:lnTo>
                  <a:lnTo>
                    <a:pt x="458" y="3452"/>
                  </a:lnTo>
                  <a:lnTo>
                    <a:pt x="464" y="3458"/>
                  </a:lnTo>
                  <a:lnTo>
                    <a:pt x="474" y="3462"/>
                  </a:lnTo>
                  <a:lnTo>
                    <a:pt x="488" y="3470"/>
                  </a:lnTo>
                  <a:lnTo>
                    <a:pt x="494" y="3472"/>
                  </a:lnTo>
                  <a:lnTo>
                    <a:pt x="496" y="3474"/>
                  </a:lnTo>
                  <a:lnTo>
                    <a:pt x="482" y="3472"/>
                  </a:lnTo>
                  <a:lnTo>
                    <a:pt x="476" y="3468"/>
                  </a:lnTo>
                  <a:lnTo>
                    <a:pt x="474" y="3468"/>
                  </a:lnTo>
                  <a:lnTo>
                    <a:pt x="472" y="3468"/>
                  </a:lnTo>
                  <a:lnTo>
                    <a:pt x="470" y="3470"/>
                  </a:lnTo>
                  <a:lnTo>
                    <a:pt x="468" y="3470"/>
                  </a:lnTo>
                  <a:lnTo>
                    <a:pt x="462" y="3466"/>
                  </a:lnTo>
                  <a:lnTo>
                    <a:pt x="456" y="3464"/>
                  </a:lnTo>
                  <a:lnTo>
                    <a:pt x="452" y="3464"/>
                  </a:lnTo>
                  <a:lnTo>
                    <a:pt x="450" y="3464"/>
                  </a:lnTo>
                  <a:lnTo>
                    <a:pt x="448" y="3466"/>
                  </a:lnTo>
                  <a:lnTo>
                    <a:pt x="448" y="3468"/>
                  </a:lnTo>
                  <a:lnTo>
                    <a:pt x="448" y="3472"/>
                  </a:lnTo>
                  <a:lnTo>
                    <a:pt x="450" y="3472"/>
                  </a:lnTo>
                  <a:lnTo>
                    <a:pt x="448" y="3472"/>
                  </a:lnTo>
                  <a:lnTo>
                    <a:pt x="442" y="3468"/>
                  </a:lnTo>
                  <a:lnTo>
                    <a:pt x="422" y="3454"/>
                  </a:lnTo>
                  <a:lnTo>
                    <a:pt x="416" y="3452"/>
                  </a:lnTo>
                  <a:lnTo>
                    <a:pt x="416" y="3454"/>
                  </a:lnTo>
                  <a:lnTo>
                    <a:pt x="418" y="3456"/>
                  </a:lnTo>
                  <a:lnTo>
                    <a:pt x="422" y="3462"/>
                  </a:lnTo>
                  <a:lnTo>
                    <a:pt x="428" y="3464"/>
                  </a:lnTo>
                  <a:lnTo>
                    <a:pt x="430" y="3466"/>
                  </a:lnTo>
                  <a:lnTo>
                    <a:pt x="426" y="3466"/>
                  </a:lnTo>
                  <a:lnTo>
                    <a:pt x="420" y="3466"/>
                  </a:lnTo>
                  <a:lnTo>
                    <a:pt x="418" y="3468"/>
                  </a:lnTo>
                  <a:lnTo>
                    <a:pt x="416" y="3472"/>
                  </a:lnTo>
                  <a:lnTo>
                    <a:pt x="414" y="3476"/>
                  </a:lnTo>
                  <a:lnTo>
                    <a:pt x="408" y="3474"/>
                  </a:lnTo>
                  <a:lnTo>
                    <a:pt x="398" y="3470"/>
                  </a:lnTo>
                  <a:lnTo>
                    <a:pt x="398" y="3472"/>
                  </a:lnTo>
                  <a:lnTo>
                    <a:pt x="396" y="3474"/>
                  </a:lnTo>
                  <a:lnTo>
                    <a:pt x="392" y="3472"/>
                  </a:lnTo>
                  <a:lnTo>
                    <a:pt x="380" y="3470"/>
                  </a:lnTo>
                  <a:lnTo>
                    <a:pt x="380" y="3472"/>
                  </a:lnTo>
                  <a:lnTo>
                    <a:pt x="382" y="3476"/>
                  </a:lnTo>
                  <a:lnTo>
                    <a:pt x="386" y="3478"/>
                  </a:lnTo>
                  <a:lnTo>
                    <a:pt x="386" y="3480"/>
                  </a:lnTo>
                  <a:lnTo>
                    <a:pt x="382" y="3480"/>
                  </a:lnTo>
                  <a:lnTo>
                    <a:pt x="376" y="3476"/>
                  </a:lnTo>
                  <a:lnTo>
                    <a:pt x="374" y="3474"/>
                  </a:lnTo>
                  <a:lnTo>
                    <a:pt x="372" y="3474"/>
                  </a:lnTo>
                  <a:lnTo>
                    <a:pt x="374" y="3476"/>
                  </a:lnTo>
                  <a:lnTo>
                    <a:pt x="374" y="3482"/>
                  </a:lnTo>
                  <a:lnTo>
                    <a:pt x="374" y="3484"/>
                  </a:lnTo>
                  <a:lnTo>
                    <a:pt x="374" y="3486"/>
                  </a:lnTo>
                  <a:lnTo>
                    <a:pt x="376" y="3486"/>
                  </a:lnTo>
                  <a:lnTo>
                    <a:pt x="380" y="3488"/>
                  </a:lnTo>
                  <a:lnTo>
                    <a:pt x="384" y="3486"/>
                  </a:lnTo>
                  <a:lnTo>
                    <a:pt x="390" y="3486"/>
                  </a:lnTo>
                  <a:lnTo>
                    <a:pt x="394" y="3488"/>
                  </a:lnTo>
                  <a:lnTo>
                    <a:pt x="396" y="3488"/>
                  </a:lnTo>
                  <a:lnTo>
                    <a:pt x="398" y="3484"/>
                  </a:lnTo>
                  <a:lnTo>
                    <a:pt x="400" y="3480"/>
                  </a:lnTo>
                  <a:lnTo>
                    <a:pt x="402" y="3480"/>
                  </a:lnTo>
                  <a:lnTo>
                    <a:pt x="404" y="3480"/>
                  </a:lnTo>
                  <a:lnTo>
                    <a:pt x="402" y="3484"/>
                  </a:lnTo>
                  <a:lnTo>
                    <a:pt x="402" y="3486"/>
                  </a:lnTo>
                  <a:lnTo>
                    <a:pt x="404" y="3488"/>
                  </a:lnTo>
                  <a:lnTo>
                    <a:pt x="408" y="3488"/>
                  </a:lnTo>
                  <a:lnTo>
                    <a:pt x="412" y="3486"/>
                  </a:lnTo>
                  <a:lnTo>
                    <a:pt x="416" y="3486"/>
                  </a:lnTo>
                  <a:lnTo>
                    <a:pt x="414" y="3488"/>
                  </a:lnTo>
                  <a:lnTo>
                    <a:pt x="412" y="3492"/>
                  </a:lnTo>
                  <a:lnTo>
                    <a:pt x="414" y="3494"/>
                  </a:lnTo>
                  <a:lnTo>
                    <a:pt x="416" y="3492"/>
                  </a:lnTo>
                  <a:lnTo>
                    <a:pt x="418" y="3494"/>
                  </a:lnTo>
                  <a:lnTo>
                    <a:pt x="422" y="3498"/>
                  </a:lnTo>
                  <a:lnTo>
                    <a:pt x="424" y="3498"/>
                  </a:lnTo>
                  <a:lnTo>
                    <a:pt x="428" y="3496"/>
                  </a:lnTo>
                  <a:lnTo>
                    <a:pt x="432" y="3496"/>
                  </a:lnTo>
                  <a:lnTo>
                    <a:pt x="438" y="3498"/>
                  </a:lnTo>
                  <a:lnTo>
                    <a:pt x="442" y="3498"/>
                  </a:lnTo>
                  <a:lnTo>
                    <a:pt x="446" y="3496"/>
                  </a:lnTo>
                  <a:lnTo>
                    <a:pt x="450" y="3496"/>
                  </a:lnTo>
                  <a:lnTo>
                    <a:pt x="452" y="3498"/>
                  </a:lnTo>
                  <a:lnTo>
                    <a:pt x="452" y="3500"/>
                  </a:lnTo>
                  <a:lnTo>
                    <a:pt x="456" y="3498"/>
                  </a:lnTo>
                  <a:lnTo>
                    <a:pt x="458" y="3496"/>
                  </a:lnTo>
                  <a:lnTo>
                    <a:pt x="462" y="3496"/>
                  </a:lnTo>
                  <a:lnTo>
                    <a:pt x="464" y="3496"/>
                  </a:lnTo>
                  <a:lnTo>
                    <a:pt x="466" y="3492"/>
                  </a:lnTo>
                  <a:lnTo>
                    <a:pt x="468" y="3494"/>
                  </a:lnTo>
                  <a:lnTo>
                    <a:pt x="470" y="3498"/>
                  </a:lnTo>
                  <a:lnTo>
                    <a:pt x="478" y="3500"/>
                  </a:lnTo>
                  <a:lnTo>
                    <a:pt x="496" y="3504"/>
                  </a:lnTo>
                  <a:lnTo>
                    <a:pt x="502" y="3504"/>
                  </a:lnTo>
                  <a:lnTo>
                    <a:pt x="504" y="3504"/>
                  </a:lnTo>
                  <a:lnTo>
                    <a:pt x="504" y="3502"/>
                  </a:lnTo>
                  <a:lnTo>
                    <a:pt x="504" y="3500"/>
                  </a:lnTo>
                  <a:lnTo>
                    <a:pt x="506" y="3500"/>
                  </a:lnTo>
                  <a:lnTo>
                    <a:pt x="510" y="3502"/>
                  </a:lnTo>
                  <a:lnTo>
                    <a:pt x="510" y="3364"/>
                  </a:lnTo>
                  <a:lnTo>
                    <a:pt x="508" y="3362"/>
                  </a:lnTo>
                  <a:lnTo>
                    <a:pt x="504" y="3360"/>
                  </a:lnTo>
                  <a:lnTo>
                    <a:pt x="500" y="3360"/>
                  </a:lnTo>
                  <a:lnTo>
                    <a:pt x="496" y="3364"/>
                  </a:lnTo>
                  <a:lnTo>
                    <a:pt x="490" y="3366"/>
                  </a:lnTo>
                  <a:close/>
                  <a:moveTo>
                    <a:pt x="298" y="2826"/>
                  </a:moveTo>
                  <a:lnTo>
                    <a:pt x="298" y="2826"/>
                  </a:lnTo>
                  <a:lnTo>
                    <a:pt x="304" y="2826"/>
                  </a:lnTo>
                  <a:lnTo>
                    <a:pt x="306" y="2824"/>
                  </a:lnTo>
                  <a:lnTo>
                    <a:pt x="306" y="2822"/>
                  </a:lnTo>
                  <a:lnTo>
                    <a:pt x="304" y="2820"/>
                  </a:lnTo>
                  <a:lnTo>
                    <a:pt x="302" y="2814"/>
                  </a:lnTo>
                  <a:lnTo>
                    <a:pt x="304" y="2812"/>
                  </a:lnTo>
                  <a:lnTo>
                    <a:pt x="308" y="2812"/>
                  </a:lnTo>
                  <a:lnTo>
                    <a:pt x="310" y="2812"/>
                  </a:lnTo>
                  <a:lnTo>
                    <a:pt x="312" y="2810"/>
                  </a:lnTo>
                  <a:lnTo>
                    <a:pt x="310" y="2806"/>
                  </a:lnTo>
                  <a:lnTo>
                    <a:pt x="308" y="2800"/>
                  </a:lnTo>
                  <a:lnTo>
                    <a:pt x="308" y="2798"/>
                  </a:lnTo>
                  <a:lnTo>
                    <a:pt x="310" y="2798"/>
                  </a:lnTo>
                  <a:lnTo>
                    <a:pt x="314" y="2798"/>
                  </a:lnTo>
                  <a:lnTo>
                    <a:pt x="314" y="2794"/>
                  </a:lnTo>
                  <a:lnTo>
                    <a:pt x="304" y="2784"/>
                  </a:lnTo>
                  <a:lnTo>
                    <a:pt x="302" y="2780"/>
                  </a:lnTo>
                  <a:lnTo>
                    <a:pt x="302" y="2778"/>
                  </a:lnTo>
                  <a:lnTo>
                    <a:pt x="306" y="2776"/>
                  </a:lnTo>
                  <a:lnTo>
                    <a:pt x="306" y="2774"/>
                  </a:lnTo>
                  <a:lnTo>
                    <a:pt x="306" y="2770"/>
                  </a:lnTo>
                  <a:lnTo>
                    <a:pt x="306" y="2768"/>
                  </a:lnTo>
                  <a:lnTo>
                    <a:pt x="316" y="2764"/>
                  </a:lnTo>
                  <a:lnTo>
                    <a:pt x="318" y="2764"/>
                  </a:lnTo>
                  <a:lnTo>
                    <a:pt x="320" y="2762"/>
                  </a:lnTo>
                  <a:lnTo>
                    <a:pt x="318" y="2758"/>
                  </a:lnTo>
                  <a:lnTo>
                    <a:pt x="312" y="2748"/>
                  </a:lnTo>
                  <a:lnTo>
                    <a:pt x="310" y="2740"/>
                  </a:lnTo>
                  <a:lnTo>
                    <a:pt x="308" y="2738"/>
                  </a:lnTo>
                  <a:lnTo>
                    <a:pt x="302" y="2738"/>
                  </a:lnTo>
                  <a:lnTo>
                    <a:pt x="298" y="2740"/>
                  </a:lnTo>
                  <a:lnTo>
                    <a:pt x="298" y="2738"/>
                  </a:lnTo>
                  <a:lnTo>
                    <a:pt x="298" y="2736"/>
                  </a:lnTo>
                  <a:lnTo>
                    <a:pt x="296" y="2736"/>
                  </a:lnTo>
                  <a:lnTo>
                    <a:pt x="292" y="2736"/>
                  </a:lnTo>
                  <a:lnTo>
                    <a:pt x="290" y="2736"/>
                  </a:lnTo>
                  <a:lnTo>
                    <a:pt x="290" y="2738"/>
                  </a:lnTo>
                  <a:lnTo>
                    <a:pt x="290" y="2744"/>
                  </a:lnTo>
                  <a:lnTo>
                    <a:pt x="290" y="2752"/>
                  </a:lnTo>
                  <a:lnTo>
                    <a:pt x="288" y="2756"/>
                  </a:lnTo>
                  <a:lnTo>
                    <a:pt x="286" y="2762"/>
                  </a:lnTo>
                  <a:lnTo>
                    <a:pt x="284" y="2770"/>
                  </a:lnTo>
                  <a:lnTo>
                    <a:pt x="284" y="2778"/>
                  </a:lnTo>
                  <a:lnTo>
                    <a:pt x="286" y="2782"/>
                  </a:lnTo>
                  <a:lnTo>
                    <a:pt x="286" y="2790"/>
                  </a:lnTo>
                  <a:lnTo>
                    <a:pt x="282" y="2802"/>
                  </a:lnTo>
                  <a:lnTo>
                    <a:pt x="278" y="2814"/>
                  </a:lnTo>
                  <a:lnTo>
                    <a:pt x="278" y="2818"/>
                  </a:lnTo>
                  <a:lnTo>
                    <a:pt x="280" y="2822"/>
                  </a:lnTo>
                  <a:lnTo>
                    <a:pt x="286" y="2824"/>
                  </a:lnTo>
                  <a:lnTo>
                    <a:pt x="298" y="2826"/>
                  </a:lnTo>
                  <a:close/>
                  <a:moveTo>
                    <a:pt x="316" y="2894"/>
                  </a:moveTo>
                  <a:lnTo>
                    <a:pt x="316" y="2894"/>
                  </a:lnTo>
                  <a:lnTo>
                    <a:pt x="316" y="2898"/>
                  </a:lnTo>
                  <a:lnTo>
                    <a:pt x="318" y="2902"/>
                  </a:lnTo>
                  <a:lnTo>
                    <a:pt x="318" y="2904"/>
                  </a:lnTo>
                  <a:lnTo>
                    <a:pt x="318" y="2906"/>
                  </a:lnTo>
                  <a:lnTo>
                    <a:pt x="320" y="2908"/>
                  </a:lnTo>
                  <a:lnTo>
                    <a:pt x="324" y="2910"/>
                  </a:lnTo>
                  <a:lnTo>
                    <a:pt x="330" y="2910"/>
                  </a:lnTo>
                  <a:lnTo>
                    <a:pt x="336" y="2902"/>
                  </a:lnTo>
                  <a:lnTo>
                    <a:pt x="338" y="2900"/>
                  </a:lnTo>
                  <a:lnTo>
                    <a:pt x="338" y="2898"/>
                  </a:lnTo>
                  <a:lnTo>
                    <a:pt x="338" y="2896"/>
                  </a:lnTo>
                  <a:lnTo>
                    <a:pt x="342" y="2894"/>
                  </a:lnTo>
                  <a:lnTo>
                    <a:pt x="344" y="2890"/>
                  </a:lnTo>
                  <a:lnTo>
                    <a:pt x="342" y="2886"/>
                  </a:lnTo>
                  <a:lnTo>
                    <a:pt x="338" y="2882"/>
                  </a:lnTo>
                  <a:lnTo>
                    <a:pt x="332" y="2880"/>
                  </a:lnTo>
                  <a:lnTo>
                    <a:pt x="330" y="2880"/>
                  </a:lnTo>
                  <a:lnTo>
                    <a:pt x="330" y="2882"/>
                  </a:lnTo>
                  <a:lnTo>
                    <a:pt x="328" y="2882"/>
                  </a:lnTo>
                  <a:lnTo>
                    <a:pt x="326" y="2882"/>
                  </a:lnTo>
                  <a:lnTo>
                    <a:pt x="324" y="2882"/>
                  </a:lnTo>
                  <a:lnTo>
                    <a:pt x="324" y="2884"/>
                  </a:lnTo>
                  <a:lnTo>
                    <a:pt x="322" y="2888"/>
                  </a:lnTo>
                  <a:lnTo>
                    <a:pt x="322" y="2892"/>
                  </a:lnTo>
                  <a:lnTo>
                    <a:pt x="320" y="2894"/>
                  </a:lnTo>
                  <a:lnTo>
                    <a:pt x="318" y="2894"/>
                  </a:lnTo>
                  <a:lnTo>
                    <a:pt x="316" y="2894"/>
                  </a:lnTo>
                  <a:close/>
                  <a:moveTo>
                    <a:pt x="258" y="2836"/>
                  </a:moveTo>
                  <a:lnTo>
                    <a:pt x="258" y="2836"/>
                  </a:lnTo>
                  <a:lnTo>
                    <a:pt x="262" y="2838"/>
                  </a:lnTo>
                  <a:lnTo>
                    <a:pt x="264" y="2838"/>
                  </a:lnTo>
                  <a:lnTo>
                    <a:pt x="266" y="2836"/>
                  </a:lnTo>
                  <a:lnTo>
                    <a:pt x="266" y="2834"/>
                  </a:lnTo>
                  <a:lnTo>
                    <a:pt x="262" y="2832"/>
                  </a:lnTo>
                  <a:lnTo>
                    <a:pt x="260" y="2832"/>
                  </a:lnTo>
                  <a:lnTo>
                    <a:pt x="258" y="2834"/>
                  </a:lnTo>
                  <a:lnTo>
                    <a:pt x="258" y="2836"/>
                  </a:lnTo>
                  <a:close/>
                  <a:moveTo>
                    <a:pt x="324" y="2852"/>
                  </a:moveTo>
                  <a:lnTo>
                    <a:pt x="324" y="2852"/>
                  </a:lnTo>
                  <a:lnTo>
                    <a:pt x="320" y="2856"/>
                  </a:lnTo>
                  <a:lnTo>
                    <a:pt x="322" y="2858"/>
                  </a:lnTo>
                  <a:lnTo>
                    <a:pt x="324" y="2860"/>
                  </a:lnTo>
                  <a:lnTo>
                    <a:pt x="326" y="2858"/>
                  </a:lnTo>
                  <a:lnTo>
                    <a:pt x="326" y="2854"/>
                  </a:lnTo>
                  <a:lnTo>
                    <a:pt x="326" y="2852"/>
                  </a:lnTo>
                  <a:lnTo>
                    <a:pt x="324" y="2850"/>
                  </a:lnTo>
                  <a:lnTo>
                    <a:pt x="324" y="2852"/>
                  </a:lnTo>
                  <a:close/>
                  <a:moveTo>
                    <a:pt x="266" y="2958"/>
                  </a:moveTo>
                  <a:lnTo>
                    <a:pt x="266" y="2958"/>
                  </a:lnTo>
                  <a:lnTo>
                    <a:pt x="270" y="2958"/>
                  </a:lnTo>
                  <a:lnTo>
                    <a:pt x="270" y="2954"/>
                  </a:lnTo>
                  <a:lnTo>
                    <a:pt x="270" y="2950"/>
                  </a:lnTo>
                  <a:lnTo>
                    <a:pt x="268" y="2950"/>
                  </a:lnTo>
                  <a:lnTo>
                    <a:pt x="266" y="2952"/>
                  </a:lnTo>
                  <a:lnTo>
                    <a:pt x="264" y="2954"/>
                  </a:lnTo>
                  <a:lnTo>
                    <a:pt x="264" y="2956"/>
                  </a:lnTo>
                  <a:lnTo>
                    <a:pt x="266" y="2958"/>
                  </a:lnTo>
                  <a:close/>
                  <a:moveTo>
                    <a:pt x="244" y="3242"/>
                  </a:moveTo>
                  <a:lnTo>
                    <a:pt x="244" y="3242"/>
                  </a:lnTo>
                  <a:lnTo>
                    <a:pt x="248" y="3238"/>
                  </a:lnTo>
                  <a:lnTo>
                    <a:pt x="248" y="3236"/>
                  </a:lnTo>
                  <a:lnTo>
                    <a:pt x="246" y="3236"/>
                  </a:lnTo>
                  <a:lnTo>
                    <a:pt x="240" y="3234"/>
                  </a:lnTo>
                  <a:lnTo>
                    <a:pt x="234" y="3234"/>
                  </a:lnTo>
                  <a:lnTo>
                    <a:pt x="234" y="3236"/>
                  </a:lnTo>
                  <a:lnTo>
                    <a:pt x="236" y="3240"/>
                  </a:lnTo>
                  <a:lnTo>
                    <a:pt x="236" y="3242"/>
                  </a:lnTo>
                  <a:lnTo>
                    <a:pt x="232" y="3248"/>
                  </a:lnTo>
                  <a:lnTo>
                    <a:pt x="234" y="3250"/>
                  </a:lnTo>
                  <a:lnTo>
                    <a:pt x="238" y="3252"/>
                  </a:lnTo>
                  <a:lnTo>
                    <a:pt x="242" y="3254"/>
                  </a:lnTo>
                  <a:lnTo>
                    <a:pt x="242" y="3250"/>
                  </a:lnTo>
                  <a:lnTo>
                    <a:pt x="242" y="3246"/>
                  </a:lnTo>
                  <a:lnTo>
                    <a:pt x="244" y="3242"/>
                  </a:lnTo>
                  <a:close/>
                  <a:moveTo>
                    <a:pt x="302" y="2848"/>
                  </a:moveTo>
                  <a:lnTo>
                    <a:pt x="302" y="2848"/>
                  </a:lnTo>
                  <a:lnTo>
                    <a:pt x="300" y="2846"/>
                  </a:lnTo>
                  <a:lnTo>
                    <a:pt x="298" y="2846"/>
                  </a:lnTo>
                  <a:lnTo>
                    <a:pt x="296" y="2846"/>
                  </a:lnTo>
                  <a:lnTo>
                    <a:pt x="292" y="2846"/>
                  </a:lnTo>
                  <a:lnTo>
                    <a:pt x="288" y="2846"/>
                  </a:lnTo>
                  <a:lnTo>
                    <a:pt x="286" y="2848"/>
                  </a:lnTo>
                  <a:lnTo>
                    <a:pt x="288" y="2850"/>
                  </a:lnTo>
                  <a:lnTo>
                    <a:pt x="292" y="2854"/>
                  </a:lnTo>
                  <a:lnTo>
                    <a:pt x="294" y="2854"/>
                  </a:lnTo>
                  <a:lnTo>
                    <a:pt x="296" y="2854"/>
                  </a:lnTo>
                  <a:lnTo>
                    <a:pt x="300" y="2852"/>
                  </a:lnTo>
                  <a:lnTo>
                    <a:pt x="302" y="2850"/>
                  </a:lnTo>
                  <a:lnTo>
                    <a:pt x="302" y="2848"/>
                  </a:lnTo>
                  <a:close/>
                  <a:moveTo>
                    <a:pt x="302" y="2912"/>
                  </a:moveTo>
                  <a:lnTo>
                    <a:pt x="302" y="2912"/>
                  </a:lnTo>
                  <a:lnTo>
                    <a:pt x="304" y="2910"/>
                  </a:lnTo>
                  <a:lnTo>
                    <a:pt x="302" y="2906"/>
                  </a:lnTo>
                  <a:lnTo>
                    <a:pt x="300" y="2904"/>
                  </a:lnTo>
                  <a:lnTo>
                    <a:pt x="298" y="2904"/>
                  </a:lnTo>
                  <a:lnTo>
                    <a:pt x="296" y="2906"/>
                  </a:lnTo>
                  <a:lnTo>
                    <a:pt x="298" y="2910"/>
                  </a:lnTo>
                  <a:lnTo>
                    <a:pt x="300" y="2912"/>
                  </a:lnTo>
                  <a:lnTo>
                    <a:pt x="302" y="2912"/>
                  </a:lnTo>
                  <a:close/>
                  <a:moveTo>
                    <a:pt x="306" y="2942"/>
                  </a:moveTo>
                  <a:lnTo>
                    <a:pt x="306" y="2942"/>
                  </a:lnTo>
                  <a:lnTo>
                    <a:pt x="304" y="2942"/>
                  </a:lnTo>
                  <a:lnTo>
                    <a:pt x="302" y="2948"/>
                  </a:lnTo>
                  <a:lnTo>
                    <a:pt x="302" y="2952"/>
                  </a:lnTo>
                  <a:lnTo>
                    <a:pt x="304" y="2958"/>
                  </a:lnTo>
                  <a:lnTo>
                    <a:pt x="306" y="2958"/>
                  </a:lnTo>
                  <a:lnTo>
                    <a:pt x="308" y="2958"/>
                  </a:lnTo>
                  <a:lnTo>
                    <a:pt x="308" y="2952"/>
                  </a:lnTo>
                  <a:lnTo>
                    <a:pt x="310" y="2944"/>
                  </a:lnTo>
                  <a:lnTo>
                    <a:pt x="308" y="2942"/>
                  </a:lnTo>
                  <a:lnTo>
                    <a:pt x="306" y="2942"/>
                  </a:lnTo>
                  <a:close/>
                  <a:moveTo>
                    <a:pt x="278" y="2958"/>
                  </a:moveTo>
                  <a:lnTo>
                    <a:pt x="278" y="2958"/>
                  </a:lnTo>
                  <a:lnTo>
                    <a:pt x="280" y="2956"/>
                  </a:lnTo>
                  <a:lnTo>
                    <a:pt x="284" y="2952"/>
                  </a:lnTo>
                  <a:lnTo>
                    <a:pt x="286" y="2950"/>
                  </a:lnTo>
                  <a:lnTo>
                    <a:pt x="284" y="2946"/>
                  </a:lnTo>
                  <a:lnTo>
                    <a:pt x="280" y="2942"/>
                  </a:lnTo>
                  <a:lnTo>
                    <a:pt x="276" y="2942"/>
                  </a:lnTo>
                  <a:lnTo>
                    <a:pt x="274" y="2944"/>
                  </a:lnTo>
                  <a:lnTo>
                    <a:pt x="272" y="2946"/>
                  </a:lnTo>
                  <a:lnTo>
                    <a:pt x="274" y="2950"/>
                  </a:lnTo>
                  <a:lnTo>
                    <a:pt x="274" y="2952"/>
                  </a:lnTo>
                  <a:lnTo>
                    <a:pt x="274" y="2956"/>
                  </a:lnTo>
                  <a:lnTo>
                    <a:pt x="274" y="2958"/>
                  </a:lnTo>
                  <a:lnTo>
                    <a:pt x="278" y="2958"/>
                  </a:lnTo>
                  <a:close/>
                  <a:moveTo>
                    <a:pt x="1872" y="956"/>
                  </a:moveTo>
                  <a:lnTo>
                    <a:pt x="1872" y="956"/>
                  </a:lnTo>
                  <a:lnTo>
                    <a:pt x="1868" y="926"/>
                  </a:lnTo>
                  <a:lnTo>
                    <a:pt x="1864" y="900"/>
                  </a:lnTo>
                  <a:lnTo>
                    <a:pt x="1862" y="888"/>
                  </a:lnTo>
                  <a:lnTo>
                    <a:pt x="1858" y="876"/>
                  </a:lnTo>
                  <a:lnTo>
                    <a:pt x="1852" y="868"/>
                  </a:lnTo>
                  <a:lnTo>
                    <a:pt x="1844" y="858"/>
                  </a:lnTo>
                  <a:lnTo>
                    <a:pt x="1836" y="852"/>
                  </a:lnTo>
                  <a:lnTo>
                    <a:pt x="1830" y="850"/>
                  </a:lnTo>
                  <a:lnTo>
                    <a:pt x="1824" y="850"/>
                  </a:lnTo>
                  <a:lnTo>
                    <a:pt x="1816" y="850"/>
                  </a:lnTo>
                  <a:lnTo>
                    <a:pt x="1810" y="852"/>
                  </a:lnTo>
                  <a:lnTo>
                    <a:pt x="1800" y="850"/>
                  </a:lnTo>
                  <a:lnTo>
                    <a:pt x="1788" y="846"/>
                  </a:lnTo>
                  <a:lnTo>
                    <a:pt x="1774" y="838"/>
                  </a:lnTo>
                  <a:lnTo>
                    <a:pt x="1760" y="828"/>
                  </a:lnTo>
                  <a:lnTo>
                    <a:pt x="1750" y="820"/>
                  </a:lnTo>
                  <a:lnTo>
                    <a:pt x="1744" y="814"/>
                  </a:lnTo>
                  <a:lnTo>
                    <a:pt x="1740" y="808"/>
                  </a:lnTo>
                  <a:lnTo>
                    <a:pt x="1734" y="796"/>
                  </a:lnTo>
                  <a:lnTo>
                    <a:pt x="1728" y="788"/>
                  </a:lnTo>
                  <a:lnTo>
                    <a:pt x="1718" y="780"/>
                  </a:lnTo>
                  <a:lnTo>
                    <a:pt x="1698" y="762"/>
                  </a:lnTo>
                  <a:lnTo>
                    <a:pt x="1688" y="754"/>
                  </a:lnTo>
                  <a:lnTo>
                    <a:pt x="1680" y="748"/>
                  </a:lnTo>
                  <a:lnTo>
                    <a:pt x="1670" y="742"/>
                  </a:lnTo>
                  <a:lnTo>
                    <a:pt x="1660" y="740"/>
                  </a:lnTo>
                  <a:lnTo>
                    <a:pt x="1646" y="740"/>
                  </a:lnTo>
                  <a:lnTo>
                    <a:pt x="1632" y="740"/>
                  </a:lnTo>
                  <a:lnTo>
                    <a:pt x="1618" y="742"/>
                  </a:lnTo>
                  <a:lnTo>
                    <a:pt x="1602" y="742"/>
                  </a:lnTo>
                  <a:lnTo>
                    <a:pt x="1590" y="742"/>
                  </a:lnTo>
                  <a:lnTo>
                    <a:pt x="1578" y="738"/>
                  </a:lnTo>
                  <a:lnTo>
                    <a:pt x="1556" y="732"/>
                  </a:lnTo>
                  <a:lnTo>
                    <a:pt x="1536" y="722"/>
                  </a:lnTo>
                  <a:lnTo>
                    <a:pt x="1530" y="722"/>
                  </a:lnTo>
                  <a:lnTo>
                    <a:pt x="1526" y="722"/>
                  </a:lnTo>
                  <a:lnTo>
                    <a:pt x="1516" y="724"/>
                  </a:lnTo>
                  <a:lnTo>
                    <a:pt x="1508" y="730"/>
                  </a:lnTo>
                  <a:lnTo>
                    <a:pt x="1500" y="738"/>
                  </a:lnTo>
                  <a:lnTo>
                    <a:pt x="1488" y="750"/>
                  </a:lnTo>
                  <a:lnTo>
                    <a:pt x="1482" y="754"/>
                  </a:lnTo>
                  <a:lnTo>
                    <a:pt x="1480" y="752"/>
                  </a:lnTo>
                  <a:lnTo>
                    <a:pt x="1478" y="748"/>
                  </a:lnTo>
                  <a:lnTo>
                    <a:pt x="1478" y="742"/>
                  </a:lnTo>
                  <a:lnTo>
                    <a:pt x="1482" y="728"/>
                  </a:lnTo>
                  <a:lnTo>
                    <a:pt x="1486" y="716"/>
                  </a:lnTo>
                  <a:lnTo>
                    <a:pt x="1488" y="712"/>
                  </a:lnTo>
                  <a:lnTo>
                    <a:pt x="1486" y="708"/>
                  </a:lnTo>
                  <a:lnTo>
                    <a:pt x="1482" y="702"/>
                  </a:lnTo>
                  <a:lnTo>
                    <a:pt x="1480" y="698"/>
                  </a:lnTo>
                  <a:lnTo>
                    <a:pt x="1478" y="688"/>
                  </a:lnTo>
                  <a:lnTo>
                    <a:pt x="1476" y="684"/>
                  </a:lnTo>
                  <a:lnTo>
                    <a:pt x="1470" y="680"/>
                  </a:lnTo>
                  <a:lnTo>
                    <a:pt x="1464" y="678"/>
                  </a:lnTo>
                  <a:lnTo>
                    <a:pt x="1454" y="674"/>
                  </a:lnTo>
                  <a:lnTo>
                    <a:pt x="1444" y="670"/>
                  </a:lnTo>
                  <a:lnTo>
                    <a:pt x="1438" y="668"/>
                  </a:lnTo>
                  <a:lnTo>
                    <a:pt x="1428" y="658"/>
                  </a:lnTo>
                  <a:lnTo>
                    <a:pt x="1420" y="652"/>
                  </a:lnTo>
                  <a:lnTo>
                    <a:pt x="1416" y="650"/>
                  </a:lnTo>
                  <a:lnTo>
                    <a:pt x="1410" y="650"/>
                  </a:lnTo>
                  <a:lnTo>
                    <a:pt x="1400" y="648"/>
                  </a:lnTo>
                  <a:lnTo>
                    <a:pt x="1392" y="644"/>
                  </a:lnTo>
                  <a:lnTo>
                    <a:pt x="1382" y="640"/>
                  </a:lnTo>
                  <a:lnTo>
                    <a:pt x="1362" y="638"/>
                  </a:lnTo>
                  <a:lnTo>
                    <a:pt x="1354" y="638"/>
                  </a:lnTo>
                  <a:lnTo>
                    <a:pt x="1348" y="640"/>
                  </a:lnTo>
                  <a:lnTo>
                    <a:pt x="1340" y="644"/>
                  </a:lnTo>
                  <a:lnTo>
                    <a:pt x="1332" y="654"/>
                  </a:lnTo>
                  <a:lnTo>
                    <a:pt x="1326" y="662"/>
                  </a:lnTo>
                  <a:lnTo>
                    <a:pt x="1318" y="676"/>
                  </a:lnTo>
                  <a:lnTo>
                    <a:pt x="1314" y="678"/>
                  </a:lnTo>
                  <a:lnTo>
                    <a:pt x="1312" y="674"/>
                  </a:lnTo>
                  <a:lnTo>
                    <a:pt x="1310" y="666"/>
                  </a:lnTo>
                  <a:lnTo>
                    <a:pt x="1314" y="658"/>
                  </a:lnTo>
                  <a:lnTo>
                    <a:pt x="1322" y="642"/>
                  </a:lnTo>
                  <a:lnTo>
                    <a:pt x="1326" y="634"/>
                  </a:lnTo>
                  <a:lnTo>
                    <a:pt x="1326" y="628"/>
                  </a:lnTo>
                  <a:lnTo>
                    <a:pt x="1326" y="626"/>
                  </a:lnTo>
                  <a:lnTo>
                    <a:pt x="1322" y="622"/>
                  </a:lnTo>
                  <a:lnTo>
                    <a:pt x="1314" y="618"/>
                  </a:lnTo>
                  <a:lnTo>
                    <a:pt x="1296" y="614"/>
                  </a:lnTo>
                  <a:lnTo>
                    <a:pt x="1288" y="614"/>
                  </a:lnTo>
                  <a:lnTo>
                    <a:pt x="1278" y="616"/>
                  </a:lnTo>
                  <a:lnTo>
                    <a:pt x="1256" y="612"/>
                  </a:lnTo>
                  <a:lnTo>
                    <a:pt x="1246" y="612"/>
                  </a:lnTo>
                  <a:lnTo>
                    <a:pt x="1240" y="614"/>
                  </a:lnTo>
                  <a:lnTo>
                    <a:pt x="1234" y="620"/>
                  </a:lnTo>
                  <a:lnTo>
                    <a:pt x="1230" y="626"/>
                  </a:lnTo>
                  <a:lnTo>
                    <a:pt x="1230" y="634"/>
                  </a:lnTo>
                  <a:lnTo>
                    <a:pt x="1228" y="642"/>
                  </a:lnTo>
                  <a:lnTo>
                    <a:pt x="1228" y="656"/>
                  </a:lnTo>
                  <a:lnTo>
                    <a:pt x="1226" y="652"/>
                  </a:lnTo>
                  <a:lnTo>
                    <a:pt x="1222" y="652"/>
                  </a:lnTo>
                  <a:lnTo>
                    <a:pt x="1216" y="658"/>
                  </a:lnTo>
                  <a:lnTo>
                    <a:pt x="1214" y="660"/>
                  </a:lnTo>
                  <a:lnTo>
                    <a:pt x="1212" y="660"/>
                  </a:lnTo>
                  <a:lnTo>
                    <a:pt x="1212" y="658"/>
                  </a:lnTo>
                  <a:lnTo>
                    <a:pt x="1214" y="650"/>
                  </a:lnTo>
                  <a:lnTo>
                    <a:pt x="1216" y="642"/>
                  </a:lnTo>
                  <a:lnTo>
                    <a:pt x="1214" y="638"/>
                  </a:lnTo>
                  <a:lnTo>
                    <a:pt x="1210" y="636"/>
                  </a:lnTo>
                  <a:lnTo>
                    <a:pt x="1206" y="638"/>
                  </a:lnTo>
                  <a:lnTo>
                    <a:pt x="1198" y="640"/>
                  </a:lnTo>
                  <a:lnTo>
                    <a:pt x="1198" y="636"/>
                  </a:lnTo>
                  <a:lnTo>
                    <a:pt x="1202" y="632"/>
                  </a:lnTo>
                  <a:lnTo>
                    <a:pt x="1202" y="628"/>
                  </a:lnTo>
                  <a:lnTo>
                    <a:pt x="1204" y="620"/>
                  </a:lnTo>
                  <a:lnTo>
                    <a:pt x="1204" y="616"/>
                  </a:lnTo>
                  <a:lnTo>
                    <a:pt x="1206" y="614"/>
                  </a:lnTo>
                  <a:lnTo>
                    <a:pt x="1210" y="610"/>
                  </a:lnTo>
                  <a:lnTo>
                    <a:pt x="1216" y="608"/>
                  </a:lnTo>
                  <a:lnTo>
                    <a:pt x="1224" y="604"/>
                  </a:lnTo>
                  <a:lnTo>
                    <a:pt x="1230" y="596"/>
                  </a:lnTo>
                  <a:lnTo>
                    <a:pt x="1240" y="582"/>
                  </a:lnTo>
                  <a:lnTo>
                    <a:pt x="1248" y="566"/>
                  </a:lnTo>
                  <a:lnTo>
                    <a:pt x="1254" y="560"/>
                  </a:lnTo>
                  <a:lnTo>
                    <a:pt x="1260" y="556"/>
                  </a:lnTo>
                  <a:lnTo>
                    <a:pt x="1264" y="554"/>
                  </a:lnTo>
                  <a:lnTo>
                    <a:pt x="1266" y="548"/>
                  </a:lnTo>
                  <a:lnTo>
                    <a:pt x="1266" y="542"/>
                  </a:lnTo>
                  <a:lnTo>
                    <a:pt x="1266" y="536"/>
                  </a:lnTo>
                  <a:lnTo>
                    <a:pt x="1264" y="528"/>
                  </a:lnTo>
                  <a:lnTo>
                    <a:pt x="1260" y="524"/>
                  </a:lnTo>
                  <a:lnTo>
                    <a:pt x="1256" y="520"/>
                  </a:lnTo>
                  <a:lnTo>
                    <a:pt x="1252" y="518"/>
                  </a:lnTo>
                  <a:lnTo>
                    <a:pt x="1244" y="518"/>
                  </a:lnTo>
                  <a:lnTo>
                    <a:pt x="1240" y="516"/>
                  </a:lnTo>
                  <a:lnTo>
                    <a:pt x="1238" y="514"/>
                  </a:lnTo>
                  <a:lnTo>
                    <a:pt x="1238" y="508"/>
                  </a:lnTo>
                  <a:lnTo>
                    <a:pt x="1236" y="504"/>
                  </a:lnTo>
                  <a:lnTo>
                    <a:pt x="1234" y="502"/>
                  </a:lnTo>
                  <a:lnTo>
                    <a:pt x="1234" y="500"/>
                  </a:lnTo>
                  <a:lnTo>
                    <a:pt x="1232" y="494"/>
                  </a:lnTo>
                  <a:lnTo>
                    <a:pt x="1232" y="490"/>
                  </a:lnTo>
                  <a:lnTo>
                    <a:pt x="1230" y="488"/>
                  </a:lnTo>
                  <a:lnTo>
                    <a:pt x="1228" y="484"/>
                  </a:lnTo>
                  <a:lnTo>
                    <a:pt x="1226" y="480"/>
                  </a:lnTo>
                  <a:lnTo>
                    <a:pt x="1226" y="476"/>
                  </a:lnTo>
                  <a:lnTo>
                    <a:pt x="1226" y="472"/>
                  </a:lnTo>
                  <a:lnTo>
                    <a:pt x="1222" y="466"/>
                  </a:lnTo>
                  <a:lnTo>
                    <a:pt x="1220" y="444"/>
                  </a:lnTo>
                  <a:lnTo>
                    <a:pt x="1218" y="422"/>
                  </a:lnTo>
                  <a:lnTo>
                    <a:pt x="1218" y="418"/>
                  </a:lnTo>
                  <a:lnTo>
                    <a:pt x="1216" y="416"/>
                  </a:lnTo>
                  <a:lnTo>
                    <a:pt x="1214" y="414"/>
                  </a:lnTo>
                  <a:lnTo>
                    <a:pt x="1212" y="410"/>
                  </a:lnTo>
                  <a:lnTo>
                    <a:pt x="1206" y="398"/>
                  </a:lnTo>
                  <a:lnTo>
                    <a:pt x="1202" y="392"/>
                  </a:lnTo>
                  <a:lnTo>
                    <a:pt x="1200" y="392"/>
                  </a:lnTo>
                  <a:lnTo>
                    <a:pt x="1198" y="394"/>
                  </a:lnTo>
                  <a:lnTo>
                    <a:pt x="1198" y="396"/>
                  </a:lnTo>
                  <a:lnTo>
                    <a:pt x="1196" y="402"/>
                  </a:lnTo>
                  <a:lnTo>
                    <a:pt x="1192" y="410"/>
                  </a:lnTo>
                  <a:lnTo>
                    <a:pt x="1192" y="406"/>
                  </a:lnTo>
                  <a:lnTo>
                    <a:pt x="1192" y="404"/>
                  </a:lnTo>
                  <a:lnTo>
                    <a:pt x="1192" y="400"/>
                  </a:lnTo>
                  <a:lnTo>
                    <a:pt x="1192" y="394"/>
                  </a:lnTo>
                  <a:lnTo>
                    <a:pt x="1188" y="380"/>
                  </a:lnTo>
                  <a:lnTo>
                    <a:pt x="1186" y="380"/>
                  </a:lnTo>
                  <a:lnTo>
                    <a:pt x="1184" y="382"/>
                  </a:lnTo>
                  <a:lnTo>
                    <a:pt x="1182" y="382"/>
                  </a:lnTo>
                  <a:lnTo>
                    <a:pt x="1180" y="380"/>
                  </a:lnTo>
                  <a:lnTo>
                    <a:pt x="1178" y="374"/>
                  </a:lnTo>
                  <a:lnTo>
                    <a:pt x="1174" y="372"/>
                  </a:lnTo>
                  <a:lnTo>
                    <a:pt x="1172" y="368"/>
                  </a:lnTo>
                  <a:lnTo>
                    <a:pt x="1166" y="364"/>
                  </a:lnTo>
                  <a:lnTo>
                    <a:pt x="1158" y="360"/>
                  </a:lnTo>
                  <a:lnTo>
                    <a:pt x="1154" y="356"/>
                  </a:lnTo>
                  <a:lnTo>
                    <a:pt x="1150" y="350"/>
                  </a:lnTo>
                  <a:lnTo>
                    <a:pt x="1148" y="346"/>
                  </a:lnTo>
                  <a:lnTo>
                    <a:pt x="1144" y="342"/>
                  </a:lnTo>
                  <a:lnTo>
                    <a:pt x="1136" y="338"/>
                  </a:lnTo>
                  <a:lnTo>
                    <a:pt x="1126" y="334"/>
                  </a:lnTo>
                  <a:lnTo>
                    <a:pt x="1114" y="330"/>
                  </a:lnTo>
                  <a:lnTo>
                    <a:pt x="1102" y="324"/>
                  </a:lnTo>
                  <a:lnTo>
                    <a:pt x="1072" y="316"/>
                  </a:lnTo>
                  <a:lnTo>
                    <a:pt x="1060" y="314"/>
                  </a:lnTo>
                  <a:lnTo>
                    <a:pt x="1056" y="314"/>
                  </a:lnTo>
                  <a:lnTo>
                    <a:pt x="1054" y="316"/>
                  </a:lnTo>
                  <a:lnTo>
                    <a:pt x="1048" y="316"/>
                  </a:lnTo>
                  <a:lnTo>
                    <a:pt x="1038" y="314"/>
                  </a:lnTo>
                  <a:lnTo>
                    <a:pt x="1026" y="314"/>
                  </a:lnTo>
                  <a:lnTo>
                    <a:pt x="1024" y="316"/>
                  </a:lnTo>
                  <a:lnTo>
                    <a:pt x="1022" y="318"/>
                  </a:lnTo>
                  <a:lnTo>
                    <a:pt x="1022" y="322"/>
                  </a:lnTo>
                  <a:lnTo>
                    <a:pt x="1018" y="322"/>
                  </a:lnTo>
                  <a:lnTo>
                    <a:pt x="1006" y="318"/>
                  </a:lnTo>
                  <a:lnTo>
                    <a:pt x="998" y="316"/>
                  </a:lnTo>
                  <a:lnTo>
                    <a:pt x="990" y="314"/>
                  </a:lnTo>
                  <a:lnTo>
                    <a:pt x="982" y="316"/>
                  </a:lnTo>
                  <a:lnTo>
                    <a:pt x="974" y="318"/>
                  </a:lnTo>
                  <a:lnTo>
                    <a:pt x="972" y="316"/>
                  </a:lnTo>
                  <a:lnTo>
                    <a:pt x="972" y="314"/>
                  </a:lnTo>
                  <a:lnTo>
                    <a:pt x="968" y="308"/>
                  </a:lnTo>
                  <a:lnTo>
                    <a:pt x="966" y="302"/>
                  </a:lnTo>
                  <a:lnTo>
                    <a:pt x="964" y="300"/>
                  </a:lnTo>
                  <a:lnTo>
                    <a:pt x="962" y="298"/>
                  </a:lnTo>
                  <a:lnTo>
                    <a:pt x="958" y="296"/>
                  </a:lnTo>
                  <a:lnTo>
                    <a:pt x="956" y="294"/>
                  </a:lnTo>
                  <a:lnTo>
                    <a:pt x="954" y="288"/>
                  </a:lnTo>
                  <a:lnTo>
                    <a:pt x="952" y="284"/>
                  </a:lnTo>
                  <a:lnTo>
                    <a:pt x="948" y="280"/>
                  </a:lnTo>
                  <a:lnTo>
                    <a:pt x="942" y="276"/>
                  </a:lnTo>
                  <a:lnTo>
                    <a:pt x="934" y="274"/>
                  </a:lnTo>
                  <a:lnTo>
                    <a:pt x="920" y="270"/>
                  </a:lnTo>
                  <a:lnTo>
                    <a:pt x="916" y="268"/>
                  </a:lnTo>
                  <a:lnTo>
                    <a:pt x="916" y="264"/>
                  </a:lnTo>
                  <a:lnTo>
                    <a:pt x="918" y="254"/>
                  </a:lnTo>
                  <a:lnTo>
                    <a:pt x="918" y="248"/>
                  </a:lnTo>
                  <a:lnTo>
                    <a:pt x="918" y="242"/>
                  </a:lnTo>
                  <a:lnTo>
                    <a:pt x="914" y="234"/>
                  </a:lnTo>
                  <a:lnTo>
                    <a:pt x="908" y="228"/>
                  </a:lnTo>
                  <a:lnTo>
                    <a:pt x="892" y="214"/>
                  </a:lnTo>
                  <a:lnTo>
                    <a:pt x="868" y="198"/>
                  </a:lnTo>
                  <a:lnTo>
                    <a:pt x="862" y="192"/>
                  </a:lnTo>
                  <a:lnTo>
                    <a:pt x="852" y="188"/>
                  </a:lnTo>
                  <a:lnTo>
                    <a:pt x="840" y="188"/>
                  </a:lnTo>
                  <a:lnTo>
                    <a:pt x="830" y="188"/>
                  </a:lnTo>
                  <a:lnTo>
                    <a:pt x="818" y="190"/>
                  </a:lnTo>
                  <a:lnTo>
                    <a:pt x="804" y="194"/>
                  </a:lnTo>
                  <a:lnTo>
                    <a:pt x="802" y="192"/>
                  </a:lnTo>
                  <a:lnTo>
                    <a:pt x="804" y="190"/>
                  </a:lnTo>
                  <a:lnTo>
                    <a:pt x="808" y="184"/>
                  </a:lnTo>
                  <a:lnTo>
                    <a:pt x="810" y="180"/>
                  </a:lnTo>
                  <a:lnTo>
                    <a:pt x="812" y="172"/>
                  </a:lnTo>
                  <a:lnTo>
                    <a:pt x="814" y="164"/>
                  </a:lnTo>
                  <a:lnTo>
                    <a:pt x="816" y="160"/>
                  </a:lnTo>
                  <a:lnTo>
                    <a:pt x="822" y="156"/>
                  </a:lnTo>
                  <a:lnTo>
                    <a:pt x="826" y="152"/>
                  </a:lnTo>
                  <a:lnTo>
                    <a:pt x="826" y="150"/>
                  </a:lnTo>
                  <a:lnTo>
                    <a:pt x="826" y="148"/>
                  </a:lnTo>
                  <a:lnTo>
                    <a:pt x="822" y="146"/>
                  </a:lnTo>
                  <a:lnTo>
                    <a:pt x="814" y="142"/>
                  </a:lnTo>
                  <a:lnTo>
                    <a:pt x="810" y="138"/>
                  </a:lnTo>
                  <a:lnTo>
                    <a:pt x="808" y="134"/>
                  </a:lnTo>
                  <a:lnTo>
                    <a:pt x="804" y="130"/>
                  </a:lnTo>
                  <a:lnTo>
                    <a:pt x="800" y="128"/>
                  </a:lnTo>
                  <a:lnTo>
                    <a:pt x="792" y="128"/>
                  </a:lnTo>
                  <a:lnTo>
                    <a:pt x="784" y="126"/>
                  </a:lnTo>
                  <a:lnTo>
                    <a:pt x="780" y="124"/>
                  </a:lnTo>
                  <a:lnTo>
                    <a:pt x="778" y="122"/>
                  </a:lnTo>
                  <a:lnTo>
                    <a:pt x="772" y="116"/>
                  </a:lnTo>
                  <a:lnTo>
                    <a:pt x="766" y="112"/>
                  </a:lnTo>
                  <a:lnTo>
                    <a:pt x="752" y="104"/>
                  </a:lnTo>
                  <a:lnTo>
                    <a:pt x="746" y="100"/>
                  </a:lnTo>
                  <a:lnTo>
                    <a:pt x="744" y="98"/>
                  </a:lnTo>
                  <a:lnTo>
                    <a:pt x="748" y="94"/>
                  </a:lnTo>
                  <a:lnTo>
                    <a:pt x="756" y="92"/>
                  </a:lnTo>
                  <a:lnTo>
                    <a:pt x="772" y="88"/>
                  </a:lnTo>
                  <a:lnTo>
                    <a:pt x="782" y="84"/>
                  </a:lnTo>
                  <a:lnTo>
                    <a:pt x="782" y="82"/>
                  </a:lnTo>
                  <a:lnTo>
                    <a:pt x="778" y="80"/>
                  </a:lnTo>
                  <a:lnTo>
                    <a:pt x="762" y="78"/>
                  </a:lnTo>
                  <a:lnTo>
                    <a:pt x="744" y="78"/>
                  </a:lnTo>
                  <a:lnTo>
                    <a:pt x="736" y="80"/>
                  </a:lnTo>
                  <a:lnTo>
                    <a:pt x="726" y="82"/>
                  </a:lnTo>
                  <a:lnTo>
                    <a:pt x="706" y="84"/>
                  </a:lnTo>
                  <a:lnTo>
                    <a:pt x="696" y="84"/>
                  </a:lnTo>
                  <a:lnTo>
                    <a:pt x="688" y="86"/>
                  </a:lnTo>
                  <a:lnTo>
                    <a:pt x="684" y="88"/>
                  </a:lnTo>
                  <a:lnTo>
                    <a:pt x="682" y="92"/>
                  </a:lnTo>
                  <a:lnTo>
                    <a:pt x="680" y="98"/>
                  </a:lnTo>
                  <a:lnTo>
                    <a:pt x="678" y="100"/>
                  </a:lnTo>
                  <a:lnTo>
                    <a:pt x="674" y="104"/>
                  </a:lnTo>
                  <a:lnTo>
                    <a:pt x="662" y="110"/>
                  </a:lnTo>
                  <a:lnTo>
                    <a:pt x="654" y="112"/>
                  </a:lnTo>
                  <a:lnTo>
                    <a:pt x="646" y="112"/>
                  </a:lnTo>
                  <a:lnTo>
                    <a:pt x="638" y="112"/>
                  </a:lnTo>
                  <a:lnTo>
                    <a:pt x="630" y="108"/>
                  </a:lnTo>
                  <a:lnTo>
                    <a:pt x="622" y="102"/>
                  </a:lnTo>
                  <a:lnTo>
                    <a:pt x="616" y="94"/>
                  </a:lnTo>
                  <a:lnTo>
                    <a:pt x="612" y="88"/>
                  </a:lnTo>
                  <a:lnTo>
                    <a:pt x="608" y="86"/>
                  </a:lnTo>
                  <a:lnTo>
                    <a:pt x="602" y="84"/>
                  </a:lnTo>
                  <a:lnTo>
                    <a:pt x="594" y="84"/>
                  </a:lnTo>
                  <a:lnTo>
                    <a:pt x="580" y="86"/>
                  </a:lnTo>
                  <a:lnTo>
                    <a:pt x="564" y="90"/>
                  </a:lnTo>
                  <a:lnTo>
                    <a:pt x="548" y="94"/>
                  </a:lnTo>
                  <a:lnTo>
                    <a:pt x="536" y="94"/>
                  </a:lnTo>
                  <a:lnTo>
                    <a:pt x="530" y="92"/>
                  </a:lnTo>
                  <a:lnTo>
                    <a:pt x="526" y="90"/>
                  </a:lnTo>
                  <a:lnTo>
                    <a:pt x="524" y="84"/>
                  </a:lnTo>
                  <a:lnTo>
                    <a:pt x="522" y="78"/>
                  </a:lnTo>
                  <a:lnTo>
                    <a:pt x="520" y="64"/>
                  </a:lnTo>
                  <a:lnTo>
                    <a:pt x="516" y="56"/>
                  </a:lnTo>
                  <a:lnTo>
                    <a:pt x="508" y="50"/>
                  </a:lnTo>
                  <a:lnTo>
                    <a:pt x="500" y="46"/>
                  </a:lnTo>
                  <a:lnTo>
                    <a:pt x="490" y="44"/>
                  </a:lnTo>
                  <a:lnTo>
                    <a:pt x="482" y="40"/>
                  </a:lnTo>
                  <a:lnTo>
                    <a:pt x="474" y="32"/>
                  </a:lnTo>
                  <a:lnTo>
                    <a:pt x="468" y="22"/>
                  </a:lnTo>
                  <a:lnTo>
                    <a:pt x="464" y="12"/>
                  </a:lnTo>
                  <a:lnTo>
                    <a:pt x="458" y="8"/>
                  </a:lnTo>
                  <a:lnTo>
                    <a:pt x="454" y="8"/>
                  </a:lnTo>
                  <a:lnTo>
                    <a:pt x="450" y="10"/>
                  </a:lnTo>
                  <a:lnTo>
                    <a:pt x="446" y="16"/>
                  </a:lnTo>
                  <a:lnTo>
                    <a:pt x="444" y="22"/>
                  </a:lnTo>
                  <a:lnTo>
                    <a:pt x="444" y="28"/>
                  </a:lnTo>
                  <a:lnTo>
                    <a:pt x="444" y="34"/>
                  </a:lnTo>
                  <a:lnTo>
                    <a:pt x="448" y="40"/>
                  </a:lnTo>
                  <a:lnTo>
                    <a:pt x="452" y="48"/>
                  </a:lnTo>
                  <a:lnTo>
                    <a:pt x="452" y="50"/>
                  </a:lnTo>
                  <a:lnTo>
                    <a:pt x="448" y="52"/>
                  </a:lnTo>
                  <a:lnTo>
                    <a:pt x="430" y="56"/>
                  </a:lnTo>
                  <a:lnTo>
                    <a:pt x="420" y="60"/>
                  </a:lnTo>
                  <a:lnTo>
                    <a:pt x="410" y="64"/>
                  </a:lnTo>
                  <a:lnTo>
                    <a:pt x="402" y="70"/>
                  </a:lnTo>
                  <a:lnTo>
                    <a:pt x="398" y="74"/>
                  </a:lnTo>
                  <a:lnTo>
                    <a:pt x="392" y="80"/>
                  </a:lnTo>
                  <a:lnTo>
                    <a:pt x="390" y="78"/>
                  </a:lnTo>
                  <a:lnTo>
                    <a:pt x="388" y="72"/>
                  </a:lnTo>
                  <a:lnTo>
                    <a:pt x="386" y="64"/>
                  </a:lnTo>
                  <a:lnTo>
                    <a:pt x="380" y="56"/>
                  </a:lnTo>
                  <a:lnTo>
                    <a:pt x="376" y="52"/>
                  </a:lnTo>
                  <a:lnTo>
                    <a:pt x="376" y="48"/>
                  </a:lnTo>
                  <a:lnTo>
                    <a:pt x="378" y="44"/>
                  </a:lnTo>
                  <a:lnTo>
                    <a:pt x="382" y="40"/>
                  </a:lnTo>
                  <a:lnTo>
                    <a:pt x="392" y="32"/>
                  </a:lnTo>
                  <a:lnTo>
                    <a:pt x="402" y="26"/>
                  </a:lnTo>
                  <a:lnTo>
                    <a:pt x="406" y="24"/>
                  </a:lnTo>
                  <a:lnTo>
                    <a:pt x="410" y="20"/>
                  </a:lnTo>
                  <a:lnTo>
                    <a:pt x="410" y="14"/>
                  </a:lnTo>
                  <a:lnTo>
                    <a:pt x="410" y="10"/>
                  </a:lnTo>
                  <a:lnTo>
                    <a:pt x="408" y="6"/>
                  </a:lnTo>
                  <a:lnTo>
                    <a:pt x="404" y="2"/>
                  </a:lnTo>
                  <a:lnTo>
                    <a:pt x="398" y="0"/>
                  </a:lnTo>
                  <a:lnTo>
                    <a:pt x="390" y="0"/>
                  </a:lnTo>
                  <a:lnTo>
                    <a:pt x="378" y="4"/>
                  </a:lnTo>
                  <a:lnTo>
                    <a:pt x="374" y="6"/>
                  </a:lnTo>
                  <a:lnTo>
                    <a:pt x="370" y="10"/>
                  </a:lnTo>
                  <a:lnTo>
                    <a:pt x="362" y="20"/>
                  </a:lnTo>
                  <a:lnTo>
                    <a:pt x="354" y="26"/>
                  </a:lnTo>
                  <a:lnTo>
                    <a:pt x="344" y="36"/>
                  </a:lnTo>
                  <a:lnTo>
                    <a:pt x="328" y="46"/>
                  </a:lnTo>
                  <a:lnTo>
                    <a:pt x="316" y="50"/>
                  </a:lnTo>
                  <a:lnTo>
                    <a:pt x="306" y="52"/>
                  </a:lnTo>
                  <a:lnTo>
                    <a:pt x="298" y="52"/>
                  </a:lnTo>
                  <a:lnTo>
                    <a:pt x="294" y="50"/>
                  </a:lnTo>
                  <a:lnTo>
                    <a:pt x="290" y="50"/>
                  </a:lnTo>
                  <a:lnTo>
                    <a:pt x="286" y="52"/>
                  </a:lnTo>
                  <a:lnTo>
                    <a:pt x="284" y="58"/>
                  </a:lnTo>
                  <a:lnTo>
                    <a:pt x="280" y="66"/>
                  </a:lnTo>
                  <a:lnTo>
                    <a:pt x="276" y="68"/>
                  </a:lnTo>
                  <a:lnTo>
                    <a:pt x="270" y="68"/>
                  </a:lnTo>
                  <a:lnTo>
                    <a:pt x="266" y="66"/>
                  </a:lnTo>
                  <a:lnTo>
                    <a:pt x="256" y="62"/>
                  </a:lnTo>
                  <a:lnTo>
                    <a:pt x="252" y="64"/>
                  </a:lnTo>
                  <a:lnTo>
                    <a:pt x="250" y="68"/>
                  </a:lnTo>
                  <a:lnTo>
                    <a:pt x="248" y="72"/>
                  </a:lnTo>
                  <a:lnTo>
                    <a:pt x="244" y="78"/>
                  </a:lnTo>
                  <a:lnTo>
                    <a:pt x="238" y="86"/>
                  </a:lnTo>
                  <a:lnTo>
                    <a:pt x="234" y="92"/>
                  </a:lnTo>
                  <a:lnTo>
                    <a:pt x="232" y="100"/>
                  </a:lnTo>
                  <a:lnTo>
                    <a:pt x="230" y="110"/>
                  </a:lnTo>
                  <a:lnTo>
                    <a:pt x="230" y="122"/>
                  </a:lnTo>
                  <a:lnTo>
                    <a:pt x="230" y="134"/>
                  </a:lnTo>
                  <a:lnTo>
                    <a:pt x="226" y="142"/>
                  </a:lnTo>
                  <a:lnTo>
                    <a:pt x="224" y="144"/>
                  </a:lnTo>
                  <a:lnTo>
                    <a:pt x="220" y="146"/>
                  </a:lnTo>
                  <a:lnTo>
                    <a:pt x="214" y="146"/>
                  </a:lnTo>
                  <a:lnTo>
                    <a:pt x="210" y="148"/>
                  </a:lnTo>
                  <a:lnTo>
                    <a:pt x="208" y="150"/>
                  </a:lnTo>
                  <a:lnTo>
                    <a:pt x="206" y="158"/>
                  </a:lnTo>
                  <a:lnTo>
                    <a:pt x="202" y="166"/>
                  </a:lnTo>
                  <a:lnTo>
                    <a:pt x="198" y="170"/>
                  </a:lnTo>
                  <a:lnTo>
                    <a:pt x="180" y="202"/>
                  </a:lnTo>
                  <a:lnTo>
                    <a:pt x="182" y="212"/>
                  </a:lnTo>
                  <a:lnTo>
                    <a:pt x="182" y="214"/>
                  </a:lnTo>
                  <a:lnTo>
                    <a:pt x="180" y="214"/>
                  </a:lnTo>
                  <a:lnTo>
                    <a:pt x="176" y="210"/>
                  </a:lnTo>
                  <a:lnTo>
                    <a:pt x="144" y="264"/>
                  </a:lnTo>
                  <a:lnTo>
                    <a:pt x="146" y="274"/>
                  </a:lnTo>
                  <a:lnTo>
                    <a:pt x="148" y="278"/>
                  </a:lnTo>
                  <a:lnTo>
                    <a:pt x="152" y="280"/>
                  </a:lnTo>
                  <a:lnTo>
                    <a:pt x="156" y="284"/>
                  </a:lnTo>
                  <a:lnTo>
                    <a:pt x="158" y="286"/>
                  </a:lnTo>
                  <a:lnTo>
                    <a:pt x="158" y="290"/>
                  </a:lnTo>
                  <a:lnTo>
                    <a:pt x="156" y="296"/>
                  </a:lnTo>
                  <a:lnTo>
                    <a:pt x="154" y="304"/>
                  </a:lnTo>
                  <a:lnTo>
                    <a:pt x="154" y="310"/>
                  </a:lnTo>
                  <a:lnTo>
                    <a:pt x="156" y="314"/>
                  </a:lnTo>
                  <a:lnTo>
                    <a:pt x="162" y="320"/>
                  </a:lnTo>
                  <a:lnTo>
                    <a:pt x="162" y="324"/>
                  </a:lnTo>
                  <a:lnTo>
                    <a:pt x="160" y="328"/>
                  </a:lnTo>
                  <a:lnTo>
                    <a:pt x="158" y="330"/>
                  </a:lnTo>
                  <a:lnTo>
                    <a:pt x="154" y="334"/>
                  </a:lnTo>
                  <a:lnTo>
                    <a:pt x="152" y="338"/>
                  </a:lnTo>
                  <a:lnTo>
                    <a:pt x="150" y="348"/>
                  </a:lnTo>
                  <a:lnTo>
                    <a:pt x="152" y="360"/>
                  </a:lnTo>
                  <a:lnTo>
                    <a:pt x="154" y="374"/>
                  </a:lnTo>
                  <a:lnTo>
                    <a:pt x="154" y="386"/>
                  </a:lnTo>
                  <a:lnTo>
                    <a:pt x="152" y="406"/>
                  </a:lnTo>
                  <a:lnTo>
                    <a:pt x="152" y="418"/>
                  </a:lnTo>
                  <a:lnTo>
                    <a:pt x="152" y="422"/>
                  </a:lnTo>
                  <a:lnTo>
                    <a:pt x="156" y="424"/>
                  </a:lnTo>
                  <a:lnTo>
                    <a:pt x="158" y="428"/>
                  </a:lnTo>
                  <a:lnTo>
                    <a:pt x="158" y="434"/>
                  </a:lnTo>
                  <a:lnTo>
                    <a:pt x="158" y="444"/>
                  </a:lnTo>
                  <a:lnTo>
                    <a:pt x="154" y="454"/>
                  </a:lnTo>
                  <a:lnTo>
                    <a:pt x="150" y="464"/>
                  </a:lnTo>
                  <a:lnTo>
                    <a:pt x="144" y="472"/>
                  </a:lnTo>
                  <a:lnTo>
                    <a:pt x="138" y="478"/>
                  </a:lnTo>
                  <a:lnTo>
                    <a:pt x="132" y="480"/>
                  </a:lnTo>
                  <a:lnTo>
                    <a:pt x="118" y="482"/>
                  </a:lnTo>
                  <a:lnTo>
                    <a:pt x="110" y="486"/>
                  </a:lnTo>
                  <a:lnTo>
                    <a:pt x="106" y="490"/>
                  </a:lnTo>
                  <a:lnTo>
                    <a:pt x="104" y="494"/>
                  </a:lnTo>
                  <a:lnTo>
                    <a:pt x="104" y="498"/>
                  </a:lnTo>
                  <a:lnTo>
                    <a:pt x="104" y="504"/>
                  </a:lnTo>
                  <a:lnTo>
                    <a:pt x="104" y="510"/>
                  </a:lnTo>
                  <a:lnTo>
                    <a:pt x="102" y="512"/>
                  </a:lnTo>
                  <a:lnTo>
                    <a:pt x="96" y="516"/>
                  </a:lnTo>
                  <a:lnTo>
                    <a:pt x="92" y="518"/>
                  </a:lnTo>
                  <a:lnTo>
                    <a:pt x="92" y="520"/>
                  </a:lnTo>
                  <a:lnTo>
                    <a:pt x="94" y="526"/>
                  </a:lnTo>
                  <a:lnTo>
                    <a:pt x="98" y="536"/>
                  </a:lnTo>
                  <a:lnTo>
                    <a:pt x="98" y="540"/>
                  </a:lnTo>
                  <a:lnTo>
                    <a:pt x="98" y="542"/>
                  </a:lnTo>
                  <a:lnTo>
                    <a:pt x="92" y="548"/>
                  </a:lnTo>
                  <a:lnTo>
                    <a:pt x="84" y="552"/>
                  </a:lnTo>
                  <a:lnTo>
                    <a:pt x="74" y="554"/>
                  </a:lnTo>
                  <a:lnTo>
                    <a:pt x="64" y="558"/>
                  </a:lnTo>
                  <a:lnTo>
                    <a:pt x="56" y="562"/>
                  </a:lnTo>
                  <a:lnTo>
                    <a:pt x="50" y="570"/>
                  </a:lnTo>
                  <a:lnTo>
                    <a:pt x="50" y="574"/>
                  </a:lnTo>
                  <a:lnTo>
                    <a:pt x="50" y="578"/>
                  </a:lnTo>
                  <a:lnTo>
                    <a:pt x="50" y="592"/>
                  </a:lnTo>
                  <a:lnTo>
                    <a:pt x="48" y="600"/>
                  </a:lnTo>
                  <a:lnTo>
                    <a:pt x="46" y="606"/>
                  </a:lnTo>
                  <a:lnTo>
                    <a:pt x="42" y="610"/>
                  </a:lnTo>
                  <a:lnTo>
                    <a:pt x="36" y="618"/>
                  </a:lnTo>
                  <a:lnTo>
                    <a:pt x="34" y="624"/>
                  </a:lnTo>
                  <a:lnTo>
                    <a:pt x="34" y="632"/>
                  </a:lnTo>
                  <a:lnTo>
                    <a:pt x="34" y="642"/>
                  </a:lnTo>
                  <a:lnTo>
                    <a:pt x="30" y="646"/>
                  </a:lnTo>
                  <a:lnTo>
                    <a:pt x="28" y="648"/>
                  </a:lnTo>
                  <a:lnTo>
                    <a:pt x="22" y="650"/>
                  </a:lnTo>
                  <a:lnTo>
                    <a:pt x="18" y="652"/>
                  </a:lnTo>
                  <a:lnTo>
                    <a:pt x="16" y="654"/>
                  </a:lnTo>
                  <a:lnTo>
                    <a:pt x="14" y="660"/>
                  </a:lnTo>
                  <a:lnTo>
                    <a:pt x="16" y="670"/>
                  </a:lnTo>
                  <a:lnTo>
                    <a:pt x="18" y="688"/>
                  </a:lnTo>
                  <a:lnTo>
                    <a:pt x="20" y="698"/>
                  </a:lnTo>
                  <a:lnTo>
                    <a:pt x="18" y="706"/>
                  </a:lnTo>
                  <a:lnTo>
                    <a:pt x="18" y="710"/>
                  </a:lnTo>
                  <a:lnTo>
                    <a:pt x="16" y="714"/>
                  </a:lnTo>
                  <a:lnTo>
                    <a:pt x="18" y="716"/>
                  </a:lnTo>
                  <a:lnTo>
                    <a:pt x="28" y="728"/>
                  </a:lnTo>
                  <a:lnTo>
                    <a:pt x="34" y="734"/>
                  </a:lnTo>
                  <a:lnTo>
                    <a:pt x="42" y="736"/>
                  </a:lnTo>
                  <a:lnTo>
                    <a:pt x="46" y="736"/>
                  </a:lnTo>
                  <a:lnTo>
                    <a:pt x="50" y="732"/>
                  </a:lnTo>
                  <a:lnTo>
                    <a:pt x="54" y="726"/>
                  </a:lnTo>
                  <a:lnTo>
                    <a:pt x="56" y="726"/>
                  </a:lnTo>
                  <a:lnTo>
                    <a:pt x="56" y="730"/>
                  </a:lnTo>
                  <a:lnTo>
                    <a:pt x="56" y="744"/>
                  </a:lnTo>
                  <a:lnTo>
                    <a:pt x="54" y="756"/>
                  </a:lnTo>
                  <a:lnTo>
                    <a:pt x="52" y="760"/>
                  </a:lnTo>
                  <a:lnTo>
                    <a:pt x="48" y="766"/>
                  </a:lnTo>
                  <a:lnTo>
                    <a:pt x="44" y="768"/>
                  </a:lnTo>
                  <a:lnTo>
                    <a:pt x="38" y="770"/>
                  </a:lnTo>
                  <a:lnTo>
                    <a:pt x="22" y="786"/>
                  </a:lnTo>
                  <a:lnTo>
                    <a:pt x="12" y="800"/>
                  </a:lnTo>
                  <a:lnTo>
                    <a:pt x="6" y="812"/>
                  </a:lnTo>
                  <a:lnTo>
                    <a:pt x="2" y="824"/>
                  </a:lnTo>
                  <a:lnTo>
                    <a:pt x="0" y="836"/>
                  </a:lnTo>
                  <a:lnTo>
                    <a:pt x="0" y="844"/>
                  </a:lnTo>
                  <a:lnTo>
                    <a:pt x="2" y="860"/>
                  </a:lnTo>
                  <a:lnTo>
                    <a:pt x="4" y="866"/>
                  </a:lnTo>
                  <a:lnTo>
                    <a:pt x="8" y="870"/>
                  </a:lnTo>
                  <a:lnTo>
                    <a:pt x="16" y="876"/>
                  </a:lnTo>
                  <a:lnTo>
                    <a:pt x="18" y="878"/>
                  </a:lnTo>
                  <a:lnTo>
                    <a:pt x="18" y="882"/>
                  </a:lnTo>
                  <a:lnTo>
                    <a:pt x="18" y="884"/>
                  </a:lnTo>
                  <a:lnTo>
                    <a:pt x="12" y="888"/>
                  </a:lnTo>
                  <a:lnTo>
                    <a:pt x="8" y="892"/>
                  </a:lnTo>
                  <a:lnTo>
                    <a:pt x="6" y="896"/>
                  </a:lnTo>
                  <a:lnTo>
                    <a:pt x="6" y="900"/>
                  </a:lnTo>
                  <a:lnTo>
                    <a:pt x="6" y="902"/>
                  </a:lnTo>
                  <a:lnTo>
                    <a:pt x="12" y="908"/>
                  </a:lnTo>
                  <a:lnTo>
                    <a:pt x="22" y="914"/>
                  </a:lnTo>
                  <a:lnTo>
                    <a:pt x="44" y="926"/>
                  </a:lnTo>
                  <a:lnTo>
                    <a:pt x="54" y="934"/>
                  </a:lnTo>
                  <a:lnTo>
                    <a:pt x="56" y="938"/>
                  </a:lnTo>
                  <a:lnTo>
                    <a:pt x="58" y="944"/>
                  </a:lnTo>
                  <a:lnTo>
                    <a:pt x="62" y="960"/>
                  </a:lnTo>
                  <a:lnTo>
                    <a:pt x="68" y="972"/>
                  </a:lnTo>
                  <a:lnTo>
                    <a:pt x="74" y="980"/>
                  </a:lnTo>
                  <a:lnTo>
                    <a:pt x="80" y="988"/>
                  </a:lnTo>
                  <a:lnTo>
                    <a:pt x="92" y="1004"/>
                  </a:lnTo>
                  <a:lnTo>
                    <a:pt x="96" y="1014"/>
                  </a:lnTo>
                  <a:lnTo>
                    <a:pt x="100" y="1026"/>
                  </a:lnTo>
                  <a:lnTo>
                    <a:pt x="104" y="1040"/>
                  </a:lnTo>
                  <a:lnTo>
                    <a:pt x="108" y="1056"/>
                  </a:lnTo>
                  <a:lnTo>
                    <a:pt x="122" y="1086"/>
                  </a:lnTo>
                  <a:lnTo>
                    <a:pt x="136" y="1114"/>
                  </a:lnTo>
                  <a:lnTo>
                    <a:pt x="142" y="1128"/>
                  </a:lnTo>
                  <a:lnTo>
                    <a:pt x="146" y="1142"/>
                  </a:lnTo>
                  <a:lnTo>
                    <a:pt x="148" y="1152"/>
                  </a:lnTo>
                  <a:lnTo>
                    <a:pt x="152" y="1160"/>
                  </a:lnTo>
                  <a:lnTo>
                    <a:pt x="158" y="1172"/>
                  </a:lnTo>
                  <a:lnTo>
                    <a:pt x="162" y="1180"/>
                  </a:lnTo>
                  <a:lnTo>
                    <a:pt x="164" y="1186"/>
                  </a:lnTo>
                  <a:lnTo>
                    <a:pt x="164" y="1194"/>
                  </a:lnTo>
                  <a:lnTo>
                    <a:pt x="166" y="1202"/>
                  </a:lnTo>
                  <a:lnTo>
                    <a:pt x="172" y="1210"/>
                  </a:lnTo>
                  <a:lnTo>
                    <a:pt x="184" y="1228"/>
                  </a:lnTo>
                  <a:lnTo>
                    <a:pt x="192" y="1238"/>
                  </a:lnTo>
                  <a:lnTo>
                    <a:pt x="198" y="1248"/>
                  </a:lnTo>
                  <a:lnTo>
                    <a:pt x="200" y="1260"/>
                  </a:lnTo>
                  <a:lnTo>
                    <a:pt x="200" y="1274"/>
                  </a:lnTo>
                  <a:lnTo>
                    <a:pt x="200" y="1286"/>
                  </a:lnTo>
                  <a:lnTo>
                    <a:pt x="204" y="1298"/>
                  </a:lnTo>
                  <a:lnTo>
                    <a:pt x="208" y="1308"/>
                  </a:lnTo>
                  <a:lnTo>
                    <a:pt x="214" y="1316"/>
                  </a:lnTo>
                  <a:lnTo>
                    <a:pt x="228" y="1330"/>
                  </a:lnTo>
                  <a:lnTo>
                    <a:pt x="234" y="1338"/>
                  </a:lnTo>
                  <a:lnTo>
                    <a:pt x="238" y="1344"/>
                  </a:lnTo>
                  <a:lnTo>
                    <a:pt x="246" y="1356"/>
                  </a:lnTo>
                  <a:lnTo>
                    <a:pt x="256" y="1368"/>
                  </a:lnTo>
                  <a:lnTo>
                    <a:pt x="278" y="1384"/>
                  </a:lnTo>
                  <a:lnTo>
                    <a:pt x="318" y="1406"/>
                  </a:lnTo>
                  <a:lnTo>
                    <a:pt x="358" y="1428"/>
                  </a:lnTo>
                  <a:lnTo>
                    <a:pt x="380" y="1442"/>
                  </a:lnTo>
                  <a:lnTo>
                    <a:pt x="388" y="1448"/>
                  </a:lnTo>
                  <a:lnTo>
                    <a:pt x="392" y="1454"/>
                  </a:lnTo>
                  <a:lnTo>
                    <a:pt x="396" y="1460"/>
                  </a:lnTo>
                  <a:lnTo>
                    <a:pt x="398" y="1468"/>
                  </a:lnTo>
                  <a:lnTo>
                    <a:pt x="400" y="1474"/>
                  </a:lnTo>
                  <a:lnTo>
                    <a:pt x="404" y="1480"/>
                  </a:lnTo>
                  <a:lnTo>
                    <a:pt x="408" y="1486"/>
                  </a:lnTo>
                  <a:lnTo>
                    <a:pt x="414" y="1490"/>
                  </a:lnTo>
                  <a:lnTo>
                    <a:pt x="426" y="1496"/>
                  </a:lnTo>
                  <a:lnTo>
                    <a:pt x="434" y="1500"/>
                  </a:lnTo>
                  <a:lnTo>
                    <a:pt x="440" y="1506"/>
                  </a:lnTo>
                  <a:lnTo>
                    <a:pt x="438" y="1532"/>
                  </a:lnTo>
                  <a:lnTo>
                    <a:pt x="440" y="1542"/>
                  </a:lnTo>
                  <a:lnTo>
                    <a:pt x="442" y="1546"/>
                  </a:lnTo>
                  <a:lnTo>
                    <a:pt x="442" y="1552"/>
                  </a:lnTo>
                  <a:lnTo>
                    <a:pt x="444" y="1564"/>
                  </a:lnTo>
                  <a:lnTo>
                    <a:pt x="446" y="1574"/>
                  </a:lnTo>
                  <a:lnTo>
                    <a:pt x="448" y="1586"/>
                  </a:lnTo>
                  <a:lnTo>
                    <a:pt x="448" y="1594"/>
                  </a:lnTo>
                  <a:lnTo>
                    <a:pt x="448" y="1604"/>
                  </a:lnTo>
                  <a:lnTo>
                    <a:pt x="446" y="1614"/>
                  </a:lnTo>
                  <a:lnTo>
                    <a:pt x="446" y="1624"/>
                  </a:lnTo>
                  <a:lnTo>
                    <a:pt x="450" y="1640"/>
                  </a:lnTo>
                  <a:lnTo>
                    <a:pt x="452" y="1658"/>
                  </a:lnTo>
                  <a:lnTo>
                    <a:pt x="452" y="1670"/>
                  </a:lnTo>
                  <a:lnTo>
                    <a:pt x="448" y="1686"/>
                  </a:lnTo>
                  <a:lnTo>
                    <a:pt x="444" y="1716"/>
                  </a:lnTo>
                  <a:lnTo>
                    <a:pt x="442" y="1732"/>
                  </a:lnTo>
                  <a:lnTo>
                    <a:pt x="440" y="1742"/>
                  </a:lnTo>
                  <a:lnTo>
                    <a:pt x="440" y="1744"/>
                  </a:lnTo>
                  <a:lnTo>
                    <a:pt x="438" y="1744"/>
                  </a:lnTo>
                  <a:lnTo>
                    <a:pt x="436" y="1744"/>
                  </a:lnTo>
                  <a:lnTo>
                    <a:pt x="434" y="1746"/>
                  </a:lnTo>
                  <a:lnTo>
                    <a:pt x="430" y="1752"/>
                  </a:lnTo>
                  <a:lnTo>
                    <a:pt x="430" y="1760"/>
                  </a:lnTo>
                  <a:lnTo>
                    <a:pt x="430" y="1762"/>
                  </a:lnTo>
                  <a:lnTo>
                    <a:pt x="434" y="1764"/>
                  </a:lnTo>
                  <a:lnTo>
                    <a:pt x="436" y="1768"/>
                  </a:lnTo>
                  <a:lnTo>
                    <a:pt x="436" y="1772"/>
                  </a:lnTo>
                  <a:lnTo>
                    <a:pt x="434" y="1788"/>
                  </a:lnTo>
                  <a:lnTo>
                    <a:pt x="430" y="1808"/>
                  </a:lnTo>
                  <a:lnTo>
                    <a:pt x="432" y="1820"/>
                  </a:lnTo>
                  <a:lnTo>
                    <a:pt x="434" y="1834"/>
                  </a:lnTo>
                  <a:lnTo>
                    <a:pt x="436" y="1846"/>
                  </a:lnTo>
                  <a:lnTo>
                    <a:pt x="436" y="1856"/>
                  </a:lnTo>
                  <a:lnTo>
                    <a:pt x="434" y="1864"/>
                  </a:lnTo>
                  <a:lnTo>
                    <a:pt x="432" y="1870"/>
                  </a:lnTo>
                  <a:lnTo>
                    <a:pt x="428" y="1882"/>
                  </a:lnTo>
                  <a:lnTo>
                    <a:pt x="428" y="1888"/>
                  </a:lnTo>
                  <a:lnTo>
                    <a:pt x="430" y="1894"/>
                  </a:lnTo>
                  <a:lnTo>
                    <a:pt x="432" y="1900"/>
                  </a:lnTo>
                  <a:lnTo>
                    <a:pt x="430" y="1908"/>
                  </a:lnTo>
                  <a:lnTo>
                    <a:pt x="424" y="1928"/>
                  </a:lnTo>
                  <a:lnTo>
                    <a:pt x="418" y="1946"/>
                  </a:lnTo>
                  <a:lnTo>
                    <a:pt x="416" y="1956"/>
                  </a:lnTo>
                  <a:lnTo>
                    <a:pt x="416" y="1964"/>
                  </a:lnTo>
                  <a:lnTo>
                    <a:pt x="416" y="1974"/>
                  </a:lnTo>
                  <a:lnTo>
                    <a:pt x="414" y="1978"/>
                  </a:lnTo>
                  <a:lnTo>
                    <a:pt x="410" y="1986"/>
                  </a:lnTo>
                  <a:lnTo>
                    <a:pt x="408" y="2004"/>
                  </a:lnTo>
                  <a:lnTo>
                    <a:pt x="408" y="2016"/>
                  </a:lnTo>
                  <a:lnTo>
                    <a:pt x="404" y="2024"/>
                  </a:lnTo>
                  <a:lnTo>
                    <a:pt x="400" y="2030"/>
                  </a:lnTo>
                  <a:lnTo>
                    <a:pt x="398" y="2036"/>
                  </a:lnTo>
                  <a:lnTo>
                    <a:pt x="394" y="2040"/>
                  </a:lnTo>
                  <a:lnTo>
                    <a:pt x="392" y="2044"/>
                  </a:lnTo>
                  <a:lnTo>
                    <a:pt x="392" y="2048"/>
                  </a:lnTo>
                  <a:lnTo>
                    <a:pt x="394" y="2056"/>
                  </a:lnTo>
                  <a:lnTo>
                    <a:pt x="400" y="2072"/>
                  </a:lnTo>
                  <a:lnTo>
                    <a:pt x="402" y="2086"/>
                  </a:lnTo>
                  <a:lnTo>
                    <a:pt x="402" y="2098"/>
                  </a:lnTo>
                  <a:lnTo>
                    <a:pt x="400" y="2104"/>
                  </a:lnTo>
                  <a:lnTo>
                    <a:pt x="398" y="2108"/>
                  </a:lnTo>
                  <a:lnTo>
                    <a:pt x="390" y="2116"/>
                  </a:lnTo>
                  <a:lnTo>
                    <a:pt x="386" y="2124"/>
                  </a:lnTo>
                  <a:lnTo>
                    <a:pt x="384" y="2130"/>
                  </a:lnTo>
                  <a:lnTo>
                    <a:pt x="384" y="2138"/>
                  </a:lnTo>
                  <a:lnTo>
                    <a:pt x="388" y="2162"/>
                  </a:lnTo>
                  <a:lnTo>
                    <a:pt x="392" y="2186"/>
                  </a:lnTo>
                  <a:lnTo>
                    <a:pt x="392" y="2200"/>
                  </a:lnTo>
                  <a:lnTo>
                    <a:pt x="392" y="2212"/>
                  </a:lnTo>
                  <a:lnTo>
                    <a:pt x="396" y="2224"/>
                  </a:lnTo>
                  <a:lnTo>
                    <a:pt x="398" y="2230"/>
                  </a:lnTo>
                  <a:lnTo>
                    <a:pt x="398" y="2236"/>
                  </a:lnTo>
                  <a:lnTo>
                    <a:pt x="392" y="2248"/>
                  </a:lnTo>
                  <a:lnTo>
                    <a:pt x="386" y="2262"/>
                  </a:lnTo>
                  <a:lnTo>
                    <a:pt x="386" y="2270"/>
                  </a:lnTo>
                  <a:lnTo>
                    <a:pt x="386" y="2280"/>
                  </a:lnTo>
                  <a:lnTo>
                    <a:pt x="388" y="2288"/>
                  </a:lnTo>
                  <a:lnTo>
                    <a:pt x="388" y="2292"/>
                  </a:lnTo>
                  <a:lnTo>
                    <a:pt x="386" y="2294"/>
                  </a:lnTo>
                  <a:lnTo>
                    <a:pt x="384" y="2298"/>
                  </a:lnTo>
                  <a:lnTo>
                    <a:pt x="380" y="2300"/>
                  </a:lnTo>
                  <a:lnTo>
                    <a:pt x="378" y="2306"/>
                  </a:lnTo>
                  <a:lnTo>
                    <a:pt x="376" y="2314"/>
                  </a:lnTo>
                  <a:lnTo>
                    <a:pt x="374" y="2328"/>
                  </a:lnTo>
                  <a:lnTo>
                    <a:pt x="372" y="2342"/>
                  </a:lnTo>
                  <a:lnTo>
                    <a:pt x="370" y="2354"/>
                  </a:lnTo>
                  <a:lnTo>
                    <a:pt x="362" y="2376"/>
                  </a:lnTo>
                  <a:lnTo>
                    <a:pt x="354" y="2390"/>
                  </a:lnTo>
                  <a:lnTo>
                    <a:pt x="350" y="2402"/>
                  </a:lnTo>
                  <a:lnTo>
                    <a:pt x="348" y="2412"/>
                  </a:lnTo>
                  <a:lnTo>
                    <a:pt x="344" y="2414"/>
                  </a:lnTo>
                  <a:lnTo>
                    <a:pt x="342" y="2420"/>
                  </a:lnTo>
                  <a:lnTo>
                    <a:pt x="338" y="2434"/>
                  </a:lnTo>
                  <a:lnTo>
                    <a:pt x="336" y="2446"/>
                  </a:lnTo>
                  <a:lnTo>
                    <a:pt x="334" y="2452"/>
                  </a:lnTo>
                  <a:lnTo>
                    <a:pt x="334" y="2454"/>
                  </a:lnTo>
                  <a:lnTo>
                    <a:pt x="332" y="2454"/>
                  </a:lnTo>
                  <a:lnTo>
                    <a:pt x="330" y="2452"/>
                  </a:lnTo>
                  <a:lnTo>
                    <a:pt x="328" y="2462"/>
                  </a:lnTo>
                  <a:lnTo>
                    <a:pt x="326" y="2474"/>
                  </a:lnTo>
                  <a:lnTo>
                    <a:pt x="324" y="2480"/>
                  </a:lnTo>
                  <a:lnTo>
                    <a:pt x="320" y="2482"/>
                  </a:lnTo>
                  <a:lnTo>
                    <a:pt x="318" y="2482"/>
                  </a:lnTo>
                  <a:lnTo>
                    <a:pt x="310" y="2480"/>
                  </a:lnTo>
                  <a:lnTo>
                    <a:pt x="308" y="2482"/>
                  </a:lnTo>
                  <a:lnTo>
                    <a:pt x="306" y="2486"/>
                  </a:lnTo>
                  <a:lnTo>
                    <a:pt x="306" y="2498"/>
                  </a:lnTo>
                  <a:lnTo>
                    <a:pt x="306" y="2506"/>
                  </a:lnTo>
                  <a:lnTo>
                    <a:pt x="310" y="2514"/>
                  </a:lnTo>
                  <a:lnTo>
                    <a:pt x="314" y="2522"/>
                  </a:lnTo>
                  <a:lnTo>
                    <a:pt x="314" y="2530"/>
                  </a:lnTo>
                  <a:lnTo>
                    <a:pt x="314" y="2540"/>
                  </a:lnTo>
                  <a:lnTo>
                    <a:pt x="312" y="2552"/>
                  </a:lnTo>
                  <a:lnTo>
                    <a:pt x="314" y="2560"/>
                  </a:lnTo>
                  <a:lnTo>
                    <a:pt x="318" y="2572"/>
                  </a:lnTo>
                  <a:lnTo>
                    <a:pt x="320" y="2576"/>
                  </a:lnTo>
                  <a:lnTo>
                    <a:pt x="322" y="2584"/>
                  </a:lnTo>
                  <a:lnTo>
                    <a:pt x="324" y="2594"/>
                  </a:lnTo>
                  <a:lnTo>
                    <a:pt x="322" y="2606"/>
                  </a:lnTo>
                  <a:lnTo>
                    <a:pt x="320" y="2618"/>
                  </a:lnTo>
                  <a:lnTo>
                    <a:pt x="316" y="2624"/>
                  </a:lnTo>
                  <a:lnTo>
                    <a:pt x="314" y="2626"/>
                  </a:lnTo>
                  <a:lnTo>
                    <a:pt x="310" y="2626"/>
                  </a:lnTo>
                  <a:lnTo>
                    <a:pt x="308" y="2626"/>
                  </a:lnTo>
                  <a:lnTo>
                    <a:pt x="306" y="2628"/>
                  </a:lnTo>
                  <a:lnTo>
                    <a:pt x="304" y="2632"/>
                  </a:lnTo>
                  <a:lnTo>
                    <a:pt x="304" y="2642"/>
                  </a:lnTo>
                  <a:lnTo>
                    <a:pt x="302" y="2658"/>
                  </a:lnTo>
                  <a:lnTo>
                    <a:pt x="298" y="2670"/>
                  </a:lnTo>
                  <a:lnTo>
                    <a:pt x="294" y="2686"/>
                  </a:lnTo>
                  <a:lnTo>
                    <a:pt x="292" y="2692"/>
                  </a:lnTo>
                  <a:lnTo>
                    <a:pt x="292" y="2696"/>
                  </a:lnTo>
                  <a:lnTo>
                    <a:pt x="294" y="2704"/>
                  </a:lnTo>
                  <a:lnTo>
                    <a:pt x="298" y="2712"/>
                  </a:lnTo>
                  <a:lnTo>
                    <a:pt x="302" y="2722"/>
                  </a:lnTo>
                  <a:lnTo>
                    <a:pt x="308" y="2728"/>
                  </a:lnTo>
                  <a:lnTo>
                    <a:pt x="312" y="2732"/>
                  </a:lnTo>
                  <a:lnTo>
                    <a:pt x="316" y="2734"/>
                  </a:lnTo>
                  <a:lnTo>
                    <a:pt x="320" y="2734"/>
                  </a:lnTo>
                  <a:lnTo>
                    <a:pt x="324" y="2732"/>
                  </a:lnTo>
                  <a:lnTo>
                    <a:pt x="328" y="2728"/>
                  </a:lnTo>
                  <a:lnTo>
                    <a:pt x="330" y="2724"/>
                  </a:lnTo>
                  <a:lnTo>
                    <a:pt x="334" y="2716"/>
                  </a:lnTo>
                  <a:lnTo>
                    <a:pt x="336" y="2716"/>
                  </a:lnTo>
                  <a:lnTo>
                    <a:pt x="338" y="2718"/>
                  </a:lnTo>
                  <a:lnTo>
                    <a:pt x="342" y="2722"/>
                  </a:lnTo>
                  <a:lnTo>
                    <a:pt x="346" y="2726"/>
                  </a:lnTo>
                  <a:lnTo>
                    <a:pt x="348" y="2728"/>
                  </a:lnTo>
                  <a:lnTo>
                    <a:pt x="350" y="2730"/>
                  </a:lnTo>
                  <a:lnTo>
                    <a:pt x="350" y="2732"/>
                  </a:lnTo>
                  <a:lnTo>
                    <a:pt x="344" y="2738"/>
                  </a:lnTo>
                  <a:lnTo>
                    <a:pt x="340" y="2744"/>
                  </a:lnTo>
                  <a:lnTo>
                    <a:pt x="340" y="2746"/>
                  </a:lnTo>
                  <a:lnTo>
                    <a:pt x="344" y="2746"/>
                  </a:lnTo>
                  <a:lnTo>
                    <a:pt x="350" y="2748"/>
                  </a:lnTo>
                  <a:lnTo>
                    <a:pt x="354" y="2752"/>
                  </a:lnTo>
                  <a:lnTo>
                    <a:pt x="356" y="2754"/>
                  </a:lnTo>
                  <a:lnTo>
                    <a:pt x="356" y="2760"/>
                  </a:lnTo>
                  <a:lnTo>
                    <a:pt x="356" y="2766"/>
                  </a:lnTo>
                  <a:lnTo>
                    <a:pt x="354" y="2766"/>
                  </a:lnTo>
                  <a:lnTo>
                    <a:pt x="352" y="2764"/>
                  </a:lnTo>
                  <a:lnTo>
                    <a:pt x="348" y="2758"/>
                  </a:lnTo>
                  <a:lnTo>
                    <a:pt x="344" y="2758"/>
                  </a:lnTo>
                  <a:lnTo>
                    <a:pt x="342" y="2760"/>
                  </a:lnTo>
                  <a:lnTo>
                    <a:pt x="342" y="2766"/>
                  </a:lnTo>
                  <a:lnTo>
                    <a:pt x="342" y="2774"/>
                  </a:lnTo>
                  <a:lnTo>
                    <a:pt x="342" y="2778"/>
                  </a:lnTo>
                  <a:lnTo>
                    <a:pt x="340" y="2782"/>
                  </a:lnTo>
                  <a:lnTo>
                    <a:pt x="342" y="2792"/>
                  </a:lnTo>
                  <a:lnTo>
                    <a:pt x="342" y="2798"/>
                  </a:lnTo>
                  <a:lnTo>
                    <a:pt x="342" y="2804"/>
                  </a:lnTo>
                  <a:lnTo>
                    <a:pt x="336" y="2812"/>
                  </a:lnTo>
                  <a:lnTo>
                    <a:pt x="330" y="2820"/>
                  </a:lnTo>
                  <a:lnTo>
                    <a:pt x="330" y="2824"/>
                  </a:lnTo>
                  <a:lnTo>
                    <a:pt x="330" y="2830"/>
                  </a:lnTo>
                  <a:lnTo>
                    <a:pt x="334" y="2840"/>
                  </a:lnTo>
                  <a:lnTo>
                    <a:pt x="332" y="2852"/>
                  </a:lnTo>
                  <a:lnTo>
                    <a:pt x="330" y="2860"/>
                  </a:lnTo>
                  <a:lnTo>
                    <a:pt x="326" y="2864"/>
                  </a:lnTo>
                  <a:lnTo>
                    <a:pt x="324" y="2866"/>
                  </a:lnTo>
                  <a:lnTo>
                    <a:pt x="324" y="2870"/>
                  </a:lnTo>
                  <a:lnTo>
                    <a:pt x="330" y="2872"/>
                  </a:lnTo>
                  <a:lnTo>
                    <a:pt x="336" y="2874"/>
                  </a:lnTo>
                  <a:lnTo>
                    <a:pt x="344" y="2878"/>
                  </a:lnTo>
                  <a:lnTo>
                    <a:pt x="346" y="2882"/>
                  </a:lnTo>
                  <a:lnTo>
                    <a:pt x="348" y="2890"/>
                  </a:lnTo>
                  <a:lnTo>
                    <a:pt x="346" y="2896"/>
                  </a:lnTo>
                  <a:lnTo>
                    <a:pt x="342" y="2904"/>
                  </a:lnTo>
                  <a:lnTo>
                    <a:pt x="338" y="2908"/>
                  </a:lnTo>
                  <a:lnTo>
                    <a:pt x="332" y="2912"/>
                  </a:lnTo>
                  <a:lnTo>
                    <a:pt x="326" y="2916"/>
                  </a:lnTo>
                  <a:lnTo>
                    <a:pt x="320" y="2918"/>
                  </a:lnTo>
                  <a:lnTo>
                    <a:pt x="318" y="2922"/>
                  </a:lnTo>
                  <a:lnTo>
                    <a:pt x="320" y="2926"/>
                  </a:lnTo>
                  <a:lnTo>
                    <a:pt x="322" y="2930"/>
                  </a:lnTo>
                  <a:lnTo>
                    <a:pt x="322" y="2932"/>
                  </a:lnTo>
                  <a:lnTo>
                    <a:pt x="320" y="2936"/>
                  </a:lnTo>
                  <a:lnTo>
                    <a:pt x="316" y="2940"/>
                  </a:lnTo>
                  <a:lnTo>
                    <a:pt x="312" y="2946"/>
                  </a:lnTo>
                  <a:lnTo>
                    <a:pt x="312" y="2954"/>
                  </a:lnTo>
                  <a:lnTo>
                    <a:pt x="312" y="2956"/>
                  </a:lnTo>
                  <a:lnTo>
                    <a:pt x="312" y="2962"/>
                  </a:lnTo>
                  <a:lnTo>
                    <a:pt x="310" y="2974"/>
                  </a:lnTo>
                  <a:lnTo>
                    <a:pt x="308" y="2986"/>
                  </a:lnTo>
                  <a:lnTo>
                    <a:pt x="308" y="2994"/>
                  </a:lnTo>
                  <a:lnTo>
                    <a:pt x="306" y="3000"/>
                  </a:lnTo>
                  <a:lnTo>
                    <a:pt x="300" y="3006"/>
                  </a:lnTo>
                  <a:lnTo>
                    <a:pt x="298" y="3006"/>
                  </a:lnTo>
                  <a:lnTo>
                    <a:pt x="296" y="3006"/>
                  </a:lnTo>
                  <a:lnTo>
                    <a:pt x="298" y="2998"/>
                  </a:lnTo>
                  <a:lnTo>
                    <a:pt x="300" y="2988"/>
                  </a:lnTo>
                  <a:lnTo>
                    <a:pt x="300" y="2984"/>
                  </a:lnTo>
                  <a:lnTo>
                    <a:pt x="296" y="2980"/>
                  </a:lnTo>
                  <a:lnTo>
                    <a:pt x="292" y="2978"/>
                  </a:lnTo>
                  <a:lnTo>
                    <a:pt x="290" y="2974"/>
                  </a:lnTo>
                  <a:lnTo>
                    <a:pt x="290" y="2968"/>
                  </a:lnTo>
                  <a:lnTo>
                    <a:pt x="290" y="2964"/>
                  </a:lnTo>
                  <a:lnTo>
                    <a:pt x="288" y="2962"/>
                  </a:lnTo>
                  <a:lnTo>
                    <a:pt x="282" y="2962"/>
                  </a:lnTo>
                  <a:lnTo>
                    <a:pt x="276" y="2962"/>
                  </a:lnTo>
                  <a:lnTo>
                    <a:pt x="274" y="2964"/>
                  </a:lnTo>
                  <a:lnTo>
                    <a:pt x="274" y="2966"/>
                  </a:lnTo>
                  <a:lnTo>
                    <a:pt x="270" y="2964"/>
                  </a:lnTo>
                  <a:lnTo>
                    <a:pt x="268" y="2964"/>
                  </a:lnTo>
                  <a:lnTo>
                    <a:pt x="266" y="2964"/>
                  </a:lnTo>
                  <a:lnTo>
                    <a:pt x="266" y="2968"/>
                  </a:lnTo>
                  <a:lnTo>
                    <a:pt x="266" y="2972"/>
                  </a:lnTo>
                  <a:lnTo>
                    <a:pt x="264" y="2976"/>
                  </a:lnTo>
                  <a:lnTo>
                    <a:pt x="260" y="2980"/>
                  </a:lnTo>
                  <a:lnTo>
                    <a:pt x="254" y="2986"/>
                  </a:lnTo>
                  <a:lnTo>
                    <a:pt x="238" y="2994"/>
                  </a:lnTo>
                  <a:lnTo>
                    <a:pt x="228" y="3004"/>
                  </a:lnTo>
                  <a:lnTo>
                    <a:pt x="226" y="3008"/>
                  </a:lnTo>
                  <a:lnTo>
                    <a:pt x="224" y="3012"/>
                  </a:lnTo>
                  <a:lnTo>
                    <a:pt x="224" y="3016"/>
                  </a:lnTo>
                  <a:lnTo>
                    <a:pt x="226" y="3020"/>
                  </a:lnTo>
                  <a:lnTo>
                    <a:pt x="232" y="3026"/>
                  </a:lnTo>
                  <a:lnTo>
                    <a:pt x="236" y="3026"/>
                  </a:lnTo>
                  <a:lnTo>
                    <a:pt x="236" y="3024"/>
                  </a:lnTo>
                  <a:lnTo>
                    <a:pt x="238" y="3016"/>
                  </a:lnTo>
                  <a:lnTo>
                    <a:pt x="238" y="3010"/>
                  </a:lnTo>
                  <a:lnTo>
                    <a:pt x="242" y="3006"/>
                  </a:lnTo>
                  <a:lnTo>
                    <a:pt x="244" y="3006"/>
                  </a:lnTo>
                  <a:lnTo>
                    <a:pt x="248" y="3006"/>
                  </a:lnTo>
                  <a:lnTo>
                    <a:pt x="252" y="3012"/>
                  </a:lnTo>
                  <a:lnTo>
                    <a:pt x="256" y="3018"/>
                  </a:lnTo>
                  <a:lnTo>
                    <a:pt x="264" y="3022"/>
                  </a:lnTo>
                  <a:lnTo>
                    <a:pt x="272" y="3024"/>
                  </a:lnTo>
                  <a:lnTo>
                    <a:pt x="274" y="3022"/>
                  </a:lnTo>
                  <a:lnTo>
                    <a:pt x="274" y="3020"/>
                  </a:lnTo>
                  <a:lnTo>
                    <a:pt x="276" y="3016"/>
                  </a:lnTo>
                  <a:lnTo>
                    <a:pt x="278" y="3016"/>
                  </a:lnTo>
                  <a:lnTo>
                    <a:pt x="282" y="3018"/>
                  </a:lnTo>
                  <a:lnTo>
                    <a:pt x="286" y="3024"/>
                  </a:lnTo>
                  <a:lnTo>
                    <a:pt x="290" y="3026"/>
                  </a:lnTo>
                  <a:lnTo>
                    <a:pt x="292" y="3028"/>
                  </a:lnTo>
                  <a:lnTo>
                    <a:pt x="296" y="3030"/>
                  </a:lnTo>
                  <a:lnTo>
                    <a:pt x="296" y="3036"/>
                  </a:lnTo>
                  <a:lnTo>
                    <a:pt x="294" y="3040"/>
                  </a:lnTo>
                  <a:lnTo>
                    <a:pt x="292" y="3040"/>
                  </a:lnTo>
                  <a:lnTo>
                    <a:pt x="286" y="3042"/>
                  </a:lnTo>
                  <a:lnTo>
                    <a:pt x="280" y="3042"/>
                  </a:lnTo>
                  <a:lnTo>
                    <a:pt x="278" y="3044"/>
                  </a:lnTo>
                  <a:lnTo>
                    <a:pt x="276" y="3048"/>
                  </a:lnTo>
                  <a:lnTo>
                    <a:pt x="274" y="3054"/>
                  </a:lnTo>
                  <a:lnTo>
                    <a:pt x="274" y="3056"/>
                  </a:lnTo>
                  <a:lnTo>
                    <a:pt x="280" y="3062"/>
                  </a:lnTo>
                  <a:lnTo>
                    <a:pt x="284" y="3064"/>
                  </a:lnTo>
                  <a:lnTo>
                    <a:pt x="282" y="3064"/>
                  </a:lnTo>
                  <a:lnTo>
                    <a:pt x="272" y="3062"/>
                  </a:lnTo>
                  <a:lnTo>
                    <a:pt x="270" y="3062"/>
                  </a:lnTo>
                  <a:lnTo>
                    <a:pt x="268" y="3066"/>
                  </a:lnTo>
                  <a:lnTo>
                    <a:pt x="266" y="3072"/>
                  </a:lnTo>
                  <a:lnTo>
                    <a:pt x="268" y="3074"/>
                  </a:lnTo>
                  <a:lnTo>
                    <a:pt x="272" y="3074"/>
                  </a:lnTo>
                  <a:lnTo>
                    <a:pt x="282" y="3074"/>
                  </a:lnTo>
                  <a:lnTo>
                    <a:pt x="290" y="3074"/>
                  </a:lnTo>
                  <a:lnTo>
                    <a:pt x="296" y="3076"/>
                  </a:lnTo>
                  <a:lnTo>
                    <a:pt x="300" y="3078"/>
                  </a:lnTo>
                  <a:lnTo>
                    <a:pt x="302" y="3078"/>
                  </a:lnTo>
                  <a:lnTo>
                    <a:pt x="302" y="3074"/>
                  </a:lnTo>
                  <a:lnTo>
                    <a:pt x="304" y="3072"/>
                  </a:lnTo>
                  <a:lnTo>
                    <a:pt x="306" y="3072"/>
                  </a:lnTo>
                  <a:lnTo>
                    <a:pt x="310" y="3076"/>
                  </a:lnTo>
                  <a:lnTo>
                    <a:pt x="312" y="3080"/>
                  </a:lnTo>
                  <a:lnTo>
                    <a:pt x="312" y="3082"/>
                  </a:lnTo>
                  <a:lnTo>
                    <a:pt x="310" y="3084"/>
                  </a:lnTo>
                  <a:lnTo>
                    <a:pt x="308" y="3086"/>
                  </a:lnTo>
                  <a:lnTo>
                    <a:pt x="310" y="3088"/>
                  </a:lnTo>
                  <a:lnTo>
                    <a:pt x="314" y="3096"/>
                  </a:lnTo>
                  <a:lnTo>
                    <a:pt x="318" y="3100"/>
                  </a:lnTo>
                  <a:lnTo>
                    <a:pt x="318" y="3102"/>
                  </a:lnTo>
                  <a:lnTo>
                    <a:pt x="314" y="3100"/>
                  </a:lnTo>
                  <a:lnTo>
                    <a:pt x="300" y="3090"/>
                  </a:lnTo>
                  <a:lnTo>
                    <a:pt x="294" y="3088"/>
                  </a:lnTo>
                  <a:lnTo>
                    <a:pt x="286" y="3088"/>
                  </a:lnTo>
                  <a:lnTo>
                    <a:pt x="272" y="3086"/>
                  </a:lnTo>
                  <a:lnTo>
                    <a:pt x="268" y="3088"/>
                  </a:lnTo>
                  <a:lnTo>
                    <a:pt x="266" y="3088"/>
                  </a:lnTo>
                  <a:lnTo>
                    <a:pt x="268" y="3090"/>
                  </a:lnTo>
                  <a:lnTo>
                    <a:pt x="270" y="3092"/>
                  </a:lnTo>
                  <a:lnTo>
                    <a:pt x="272" y="3092"/>
                  </a:lnTo>
                  <a:lnTo>
                    <a:pt x="274" y="3092"/>
                  </a:lnTo>
                  <a:lnTo>
                    <a:pt x="276" y="3096"/>
                  </a:lnTo>
                  <a:lnTo>
                    <a:pt x="278" y="3100"/>
                  </a:lnTo>
                  <a:lnTo>
                    <a:pt x="282" y="3104"/>
                  </a:lnTo>
                  <a:lnTo>
                    <a:pt x="292" y="3110"/>
                  </a:lnTo>
                  <a:lnTo>
                    <a:pt x="294" y="3112"/>
                  </a:lnTo>
                  <a:lnTo>
                    <a:pt x="294" y="3114"/>
                  </a:lnTo>
                  <a:lnTo>
                    <a:pt x="294" y="3116"/>
                  </a:lnTo>
                  <a:lnTo>
                    <a:pt x="294" y="3120"/>
                  </a:lnTo>
                  <a:lnTo>
                    <a:pt x="292" y="3120"/>
                  </a:lnTo>
                  <a:lnTo>
                    <a:pt x="288" y="3118"/>
                  </a:lnTo>
                  <a:lnTo>
                    <a:pt x="284" y="3116"/>
                  </a:lnTo>
                  <a:lnTo>
                    <a:pt x="280" y="3116"/>
                  </a:lnTo>
                  <a:lnTo>
                    <a:pt x="280" y="3120"/>
                  </a:lnTo>
                  <a:lnTo>
                    <a:pt x="276" y="3132"/>
                  </a:lnTo>
                  <a:lnTo>
                    <a:pt x="276" y="3138"/>
                  </a:lnTo>
                  <a:lnTo>
                    <a:pt x="276" y="3148"/>
                  </a:lnTo>
                  <a:lnTo>
                    <a:pt x="278" y="3168"/>
                  </a:lnTo>
                  <a:lnTo>
                    <a:pt x="280" y="3174"/>
                  </a:lnTo>
                  <a:lnTo>
                    <a:pt x="282" y="3178"/>
                  </a:lnTo>
                  <a:lnTo>
                    <a:pt x="284" y="3178"/>
                  </a:lnTo>
                  <a:lnTo>
                    <a:pt x="284" y="3176"/>
                  </a:lnTo>
                  <a:lnTo>
                    <a:pt x="286" y="3168"/>
                  </a:lnTo>
                  <a:lnTo>
                    <a:pt x="288" y="3160"/>
                  </a:lnTo>
                  <a:lnTo>
                    <a:pt x="290" y="3156"/>
                  </a:lnTo>
                  <a:lnTo>
                    <a:pt x="292" y="3154"/>
                  </a:lnTo>
                  <a:lnTo>
                    <a:pt x="292" y="3158"/>
                  </a:lnTo>
                  <a:lnTo>
                    <a:pt x="292" y="3164"/>
                  </a:lnTo>
                  <a:lnTo>
                    <a:pt x="292" y="3170"/>
                  </a:lnTo>
                  <a:lnTo>
                    <a:pt x="294" y="3176"/>
                  </a:lnTo>
                  <a:lnTo>
                    <a:pt x="298" y="3182"/>
                  </a:lnTo>
                  <a:lnTo>
                    <a:pt x="300" y="3184"/>
                  </a:lnTo>
                  <a:lnTo>
                    <a:pt x="296" y="3182"/>
                  </a:lnTo>
                  <a:lnTo>
                    <a:pt x="290" y="3180"/>
                  </a:lnTo>
                  <a:lnTo>
                    <a:pt x="284" y="3182"/>
                  </a:lnTo>
                  <a:lnTo>
                    <a:pt x="280" y="3184"/>
                  </a:lnTo>
                  <a:lnTo>
                    <a:pt x="280" y="3186"/>
                  </a:lnTo>
                  <a:lnTo>
                    <a:pt x="282" y="3188"/>
                  </a:lnTo>
                  <a:lnTo>
                    <a:pt x="282" y="3190"/>
                  </a:lnTo>
                  <a:lnTo>
                    <a:pt x="280" y="3192"/>
                  </a:lnTo>
                  <a:lnTo>
                    <a:pt x="280" y="3194"/>
                  </a:lnTo>
                  <a:lnTo>
                    <a:pt x="284" y="3198"/>
                  </a:lnTo>
                  <a:lnTo>
                    <a:pt x="296" y="3206"/>
                  </a:lnTo>
                  <a:lnTo>
                    <a:pt x="294" y="3206"/>
                  </a:lnTo>
                  <a:lnTo>
                    <a:pt x="288" y="3206"/>
                  </a:lnTo>
                  <a:lnTo>
                    <a:pt x="280" y="3204"/>
                  </a:lnTo>
                  <a:lnTo>
                    <a:pt x="278" y="3204"/>
                  </a:lnTo>
                  <a:lnTo>
                    <a:pt x="280" y="3206"/>
                  </a:lnTo>
                  <a:lnTo>
                    <a:pt x="288" y="3216"/>
                  </a:lnTo>
                  <a:lnTo>
                    <a:pt x="290" y="3220"/>
                  </a:lnTo>
                  <a:lnTo>
                    <a:pt x="280" y="3214"/>
                  </a:lnTo>
                  <a:lnTo>
                    <a:pt x="274" y="3212"/>
                  </a:lnTo>
                  <a:lnTo>
                    <a:pt x="268" y="3212"/>
                  </a:lnTo>
                  <a:lnTo>
                    <a:pt x="264" y="3214"/>
                  </a:lnTo>
                  <a:lnTo>
                    <a:pt x="264" y="3216"/>
                  </a:lnTo>
                  <a:lnTo>
                    <a:pt x="268" y="3218"/>
                  </a:lnTo>
                  <a:lnTo>
                    <a:pt x="272" y="3220"/>
                  </a:lnTo>
                  <a:lnTo>
                    <a:pt x="274" y="3224"/>
                  </a:lnTo>
                  <a:lnTo>
                    <a:pt x="274" y="3226"/>
                  </a:lnTo>
                  <a:lnTo>
                    <a:pt x="278" y="3228"/>
                  </a:lnTo>
                  <a:lnTo>
                    <a:pt x="282" y="3230"/>
                  </a:lnTo>
                  <a:lnTo>
                    <a:pt x="284" y="3230"/>
                  </a:lnTo>
                  <a:lnTo>
                    <a:pt x="288" y="3230"/>
                  </a:lnTo>
                  <a:lnTo>
                    <a:pt x="292" y="3234"/>
                  </a:lnTo>
                  <a:lnTo>
                    <a:pt x="296" y="3236"/>
                  </a:lnTo>
                  <a:lnTo>
                    <a:pt x="296" y="3238"/>
                  </a:lnTo>
                  <a:lnTo>
                    <a:pt x="288" y="3236"/>
                  </a:lnTo>
                  <a:lnTo>
                    <a:pt x="284" y="3236"/>
                  </a:lnTo>
                  <a:lnTo>
                    <a:pt x="284" y="3238"/>
                  </a:lnTo>
                  <a:lnTo>
                    <a:pt x="288" y="3248"/>
                  </a:lnTo>
                  <a:lnTo>
                    <a:pt x="290" y="3252"/>
                  </a:lnTo>
                  <a:lnTo>
                    <a:pt x="294" y="3252"/>
                  </a:lnTo>
                  <a:lnTo>
                    <a:pt x="298" y="3250"/>
                  </a:lnTo>
                  <a:lnTo>
                    <a:pt x="302" y="3240"/>
                  </a:lnTo>
                  <a:lnTo>
                    <a:pt x="306" y="3234"/>
                  </a:lnTo>
                  <a:lnTo>
                    <a:pt x="308" y="3232"/>
                  </a:lnTo>
                  <a:lnTo>
                    <a:pt x="308" y="3234"/>
                  </a:lnTo>
                  <a:lnTo>
                    <a:pt x="306" y="3242"/>
                  </a:lnTo>
                  <a:lnTo>
                    <a:pt x="300" y="3256"/>
                  </a:lnTo>
                  <a:lnTo>
                    <a:pt x="296" y="3258"/>
                  </a:lnTo>
                  <a:lnTo>
                    <a:pt x="292" y="3258"/>
                  </a:lnTo>
                  <a:lnTo>
                    <a:pt x="288" y="3258"/>
                  </a:lnTo>
                  <a:lnTo>
                    <a:pt x="286" y="3258"/>
                  </a:lnTo>
                  <a:lnTo>
                    <a:pt x="284" y="3260"/>
                  </a:lnTo>
                  <a:lnTo>
                    <a:pt x="284" y="3264"/>
                  </a:lnTo>
                  <a:lnTo>
                    <a:pt x="286" y="3266"/>
                  </a:lnTo>
                  <a:lnTo>
                    <a:pt x="288" y="3268"/>
                  </a:lnTo>
                  <a:lnTo>
                    <a:pt x="288" y="3272"/>
                  </a:lnTo>
                  <a:lnTo>
                    <a:pt x="288" y="3276"/>
                  </a:lnTo>
                  <a:lnTo>
                    <a:pt x="290" y="3276"/>
                  </a:lnTo>
                  <a:lnTo>
                    <a:pt x="292" y="3276"/>
                  </a:lnTo>
                  <a:lnTo>
                    <a:pt x="296" y="3276"/>
                  </a:lnTo>
                  <a:lnTo>
                    <a:pt x="302" y="3278"/>
                  </a:lnTo>
                  <a:lnTo>
                    <a:pt x="306" y="3286"/>
                  </a:lnTo>
                  <a:lnTo>
                    <a:pt x="308" y="3294"/>
                  </a:lnTo>
                  <a:lnTo>
                    <a:pt x="308" y="3298"/>
                  </a:lnTo>
                  <a:lnTo>
                    <a:pt x="306" y="3298"/>
                  </a:lnTo>
                  <a:lnTo>
                    <a:pt x="302" y="3294"/>
                  </a:lnTo>
                  <a:lnTo>
                    <a:pt x="298" y="3288"/>
                  </a:lnTo>
                  <a:lnTo>
                    <a:pt x="296" y="3288"/>
                  </a:lnTo>
                  <a:lnTo>
                    <a:pt x="296" y="3290"/>
                  </a:lnTo>
                  <a:lnTo>
                    <a:pt x="296" y="3294"/>
                  </a:lnTo>
                  <a:lnTo>
                    <a:pt x="298" y="3298"/>
                  </a:lnTo>
                  <a:lnTo>
                    <a:pt x="298" y="3302"/>
                  </a:lnTo>
                  <a:lnTo>
                    <a:pt x="298" y="3304"/>
                  </a:lnTo>
                  <a:lnTo>
                    <a:pt x="300" y="3308"/>
                  </a:lnTo>
                  <a:lnTo>
                    <a:pt x="302" y="3310"/>
                  </a:lnTo>
                  <a:lnTo>
                    <a:pt x="306" y="3308"/>
                  </a:lnTo>
                  <a:lnTo>
                    <a:pt x="308" y="3306"/>
                  </a:lnTo>
                  <a:lnTo>
                    <a:pt x="310" y="3308"/>
                  </a:lnTo>
                  <a:lnTo>
                    <a:pt x="312" y="3310"/>
                  </a:lnTo>
                  <a:lnTo>
                    <a:pt x="314" y="3318"/>
                  </a:lnTo>
                  <a:lnTo>
                    <a:pt x="310" y="3316"/>
                  </a:lnTo>
                  <a:lnTo>
                    <a:pt x="308" y="3316"/>
                  </a:lnTo>
                  <a:lnTo>
                    <a:pt x="308" y="3318"/>
                  </a:lnTo>
                  <a:lnTo>
                    <a:pt x="312" y="3326"/>
                  </a:lnTo>
                  <a:lnTo>
                    <a:pt x="318" y="3332"/>
                  </a:lnTo>
                  <a:lnTo>
                    <a:pt x="322" y="3332"/>
                  </a:lnTo>
                  <a:lnTo>
                    <a:pt x="324" y="3332"/>
                  </a:lnTo>
                  <a:lnTo>
                    <a:pt x="326" y="3322"/>
                  </a:lnTo>
                  <a:lnTo>
                    <a:pt x="330" y="3318"/>
                  </a:lnTo>
                  <a:lnTo>
                    <a:pt x="332" y="3316"/>
                  </a:lnTo>
                  <a:lnTo>
                    <a:pt x="334" y="3314"/>
                  </a:lnTo>
                  <a:lnTo>
                    <a:pt x="334" y="3312"/>
                  </a:lnTo>
                  <a:lnTo>
                    <a:pt x="334" y="3310"/>
                  </a:lnTo>
                  <a:lnTo>
                    <a:pt x="342" y="3312"/>
                  </a:lnTo>
                  <a:lnTo>
                    <a:pt x="348" y="3312"/>
                  </a:lnTo>
                  <a:lnTo>
                    <a:pt x="350" y="3312"/>
                  </a:lnTo>
                  <a:lnTo>
                    <a:pt x="350" y="3310"/>
                  </a:lnTo>
                  <a:lnTo>
                    <a:pt x="344" y="3304"/>
                  </a:lnTo>
                  <a:lnTo>
                    <a:pt x="334" y="3300"/>
                  </a:lnTo>
                  <a:lnTo>
                    <a:pt x="326" y="3294"/>
                  </a:lnTo>
                  <a:lnTo>
                    <a:pt x="324" y="3292"/>
                  </a:lnTo>
                  <a:lnTo>
                    <a:pt x="328" y="3290"/>
                  </a:lnTo>
                  <a:lnTo>
                    <a:pt x="336" y="3294"/>
                  </a:lnTo>
                  <a:lnTo>
                    <a:pt x="350" y="3302"/>
                  </a:lnTo>
                  <a:lnTo>
                    <a:pt x="354" y="3308"/>
                  </a:lnTo>
                  <a:lnTo>
                    <a:pt x="354" y="3314"/>
                  </a:lnTo>
                  <a:lnTo>
                    <a:pt x="352" y="3320"/>
                  </a:lnTo>
                  <a:lnTo>
                    <a:pt x="350" y="3322"/>
                  </a:lnTo>
                  <a:lnTo>
                    <a:pt x="348" y="3324"/>
                  </a:lnTo>
                  <a:lnTo>
                    <a:pt x="350" y="3330"/>
                  </a:lnTo>
                  <a:lnTo>
                    <a:pt x="352" y="3332"/>
                  </a:lnTo>
                  <a:lnTo>
                    <a:pt x="348" y="3328"/>
                  </a:lnTo>
                  <a:lnTo>
                    <a:pt x="342" y="3322"/>
                  </a:lnTo>
                  <a:lnTo>
                    <a:pt x="340" y="3322"/>
                  </a:lnTo>
                  <a:lnTo>
                    <a:pt x="338" y="3326"/>
                  </a:lnTo>
                  <a:lnTo>
                    <a:pt x="334" y="3336"/>
                  </a:lnTo>
                  <a:lnTo>
                    <a:pt x="332" y="3334"/>
                  </a:lnTo>
                  <a:lnTo>
                    <a:pt x="332" y="3330"/>
                  </a:lnTo>
                  <a:lnTo>
                    <a:pt x="330" y="3332"/>
                  </a:lnTo>
                  <a:lnTo>
                    <a:pt x="324" y="3338"/>
                  </a:lnTo>
                  <a:lnTo>
                    <a:pt x="322" y="3340"/>
                  </a:lnTo>
                  <a:lnTo>
                    <a:pt x="320" y="3340"/>
                  </a:lnTo>
                  <a:lnTo>
                    <a:pt x="316" y="3336"/>
                  </a:lnTo>
                  <a:lnTo>
                    <a:pt x="310" y="3330"/>
                  </a:lnTo>
                  <a:lnTo>
                    <a:pt x="306" y="3328"/>
                  </a:lnTo>
                  <a:lnTo>
                    <a:pt x="304" y="3328"/>
                  </a:lnTo>
                  <a:lnTo>
                    <a:pt x="306" y="3332"/>
                  </a:lnTo>
                  <a:lnTo>
                    <a:pt x="310" y="3336"/>
                  </a:lnTo>
                  <a:lnTo>
                    <a:pt x="310" y="3340"/>
                  </a:lnTo>
                  <a:lnTo>
                    <a:pt x="308" y="3344"/>
                  </a:lnTo>
                  <a:lnTo>
                    <a:pt x="306" y="3350"/>
                  </a:lnTo>
                  <a:lnTo>
                    <a:pt x="308" y="3350"/>
                  </a:lnTo>
                  <a:lnTo>
                    <a:pt x="312" y="3352"/>
                  </a:lnTo>
                  <a:lnTo>
                    <a:pt x="310" y="3356"/>
                  </a:lnTo>
                  <a:lnTo>
                    <a:pt x="306" y="3364"/>
                  </a:lnTo>
                  <a:lnTo>
                    <a:pt x="306" y="3368"/>
                  </a:lnTo>
                  <a:lnTo>
                    <a:pt x="306" y="3370"/>
                  </a:lnTo>
                  <a:lnTo>
                    <a:pt x="308" y="3370"/>
                  </a:lnTo>
                  <a:lnTo>
                    <a:pt x="314" y="3366"/>
                  </a:lnTo>
                  <a:lnTo>
                    <a:pt x="316" y="3364"/>
                  </a:lnTo>
                  <a:lnTo>
                    <a:pt x="320" y="3364"/>
                  </a:lnTo>
                  <a:lnTo>
                    <a:pt x="322" y="3366"/>
                  </a:lnTo>
                  <a:lnTo>
                    <a:pt x="324" y="3372"/>
                  </a:lnTo>
                  <a:lnTo>
                    <a:pt x="322" y="3374"/>
                  </a:lnTo>
                  <a:lnTo>
                    <a:pt x="320" y="3374"/>
                  </a:lnTo>
                  <a:lnTo>
                    <a:pt x="316" y="3374"/>
                  </a:lnTo>
                  <a:lnTo>
                    <a:pt x="322" y="3380"/>
                  </a:lnTo>
                  <a:lnTo>
                    <a:pt x="322" y="3382"/>
                  </a:lnTo>
                  <a:lnTo>
                    <a:pt x="318" y="3384"/>
                  </a:lnTo>
                  <a:lnTo>
                    <a:pt x="316" y="3386"/>
                  </a:lnTo>
                  <a:lnTo>
                    <a:pt x="320" y="3388"/>
                  </a:lnTo>
                  <a:lnTo>
                    <a:pt x="328" y="3390"/>
                  </a:lnTo>
                  <a:lnTo>
                    <a:pt x="332" y="3388"/>
                  </a:lnTo>
                  <a:lnTo>
                    <a:pt x="334" y="3384"/>
                  </a:lnTo>
                  <a:lnTo>
                    <a:pt x="334" y="3378"/>
                  </a:lnTo>
                  <a:lnTo>
                    <a:pt x="334" y="3376"/>
                  </a:lnTo>
                  <a:lnTo>
                    <a:pt x="336" y="3374"/>
                  </a:lnTo>
                  <a:lnTo>
                    <a:pt x="340" y="3370"/>
                  </a:lnTo>
                  <a:lnTo>
                    <a:pt x="344" y="3368"/>
                  </a:lnTo>
                  <a:lnTo>
                    <a:pt x="346" y="3366"/>
                  </a:lnTo>
                  <a:lnTo>
                    <a:pt x="346" y="3364"/>
                  </a:lnTo>
                  <a:lnTo>
                    <a:pt x="344" y="3362"/>
                  </a:lnTo>
                  <a:lnTo>
                    <a:pt x="340" y="3360"/>
                  </a:lnTo>
                  <a:lnTo>
                    <a:pt x="340" y="3358"/>
                  </a:lnTo>
                  <a:lnTo>
                    <a:pt x="344" y="3358"/>
                  </a:lnTo>
                  <a:lnTo>
                    <a:pt x="352" y="3358"/>
                  </a:lnTo>
                  <a:lnTo>
                    <a:pt x="354" y="3362"/>
                  </a:lnTo>
                  <a:lnTo>
                    <a:pt x="356" y="3362"/>
                  </a:lnTo>
                  <a:lnTo>
                    <a:pt x="360" y="3360"/>
                  </a:lnTo>
                  <a:lnTo>
                    <a:pt x="364" y="3358"/>
                  </a:lnTo>
                  <a:lnTo>
                    <a:pt x="368" y="3356"/>
                  </a:lnTo>
                  <a:lnTo>
                    <a:pt x="382" y="3356"/>
                  </a:lnTo>
                  <a:lnTo>
                    <a:pt x="392" y="3358"/>
                  </a:lnTo>
                  <a:lnTo>
                    <a:pt x="394" y="3360"/>
                  </a:lnTo>
                  <a:lnTo>
                    <a:pt x="396" y="3362"/>
                  </a:lnTo>
                  <a:lnTo>
                    <a:pt x="392" y="3366"/>
                  </a:lnTo>
                  <a:lnTo>
                    <a:pt x="386" y="3368"/>
                  </a:lnTo>
                  <a:lnTo>
                    <a:pt x="380" y="3366"/>
                  </a:lnTo>
                  <a:lnTo>
                    <a:pt x="372" y="3364"/>
                  </a:lnTo>
                  <a:lnTo>
                    <a:pt x="368" y="3364"/>
                  </a:lnTo>
                  <a:lnTo>
                    <a:pt x="366" y="3366"/>
                  </a:lnTo>
                  <a:lnTo>
                    <a:pt x="362" y="3370"/>
                  </a:lnTo>
                  <a:lnTo>
                    <a:pt x="358" y="3376"/>
                  </a:lnTo>
                  <a:lnTo>
                    <a:pt x="356" y="3376"/>
                  </a:lnTo>
                  <a:lnTo>
                    <a:pt x="354" y="3376"/>
                  </a:lnTo>
                  <a:lnTo>
                    <a:pt x="348" y="3372"/>
                  </a:lnTo>
                  <a:lnTo>
                    <a:pt x="342" y="3374"/>
                  </a:lnTo>
                  <a:lnTo>
                    <a:pt x="338" y="3378"/>
                  </a:lnTo>
                  <a:lnTo>
                    <a:pt x="338" y="3384"/>
                  </a:lnTo>
                  <a:lnTo>
                    <a:pt x="340" y="3388"/>
                  </a:lnTo>
                  <a:lnTo>
                    <a:pt x="338" y="3390"/>
                  </a:lnTo>
                  <a:lnTo>
                    <a:pt x="338" y="3392"/>
                  </a:lnTo>
                  <a:lnTo>
                    <a:pt x="340" y="3396"/>
                  </a:lnTo>
                  <a:lnTo>
                    <a:pt x="342" y="3398"/>
                  </a:lnTo>
                  <a:lnTo>
                    <a:pt x="340" y="3398"/>
                  </a:lnTo>
                  <a:lnTo>
                    <a:pt x="334" y="3396"/>
                  </a:lnTo>
                  <a:lnTo>
                    <a:pt x="326" y="3396"/>
                  </a:lnTo>
                  <a:lnTo>
                    <a:pt x="324" y="3396"/>
                  </a:lnTo>
                  <a:lnTo>
                    <a:pt x="324" y="3398"/>
                  </a:lnTo>
                  <a:lnTo>
                    <a:pt x="326" y="3402"/>
                  </a:lnTo>
                  <a:lnTo>
                    <a:pt x="342" y="3412"/>
                  </a:lnTo>
                  <a:lnTo>
                    <a:pt x="354" y="3418"/>
                  </a:lnTo>
                  <a:lnTo>
                    <a:pt x="356" y="3418"/>
                  </a:lnTo>
                  <a:lnTo>
                    <a:pt x="354" y="3412"/>
                  </a:lnTo>
                  <a:lnTo>
                    <a:pt x="352" y="3406"/>
                  </a:lnTo>
                  <a:lnTo>
                    <a:pt x="352" y="3402"/>
                  </a:lnTo>
                  <a:lnTo>
                    <a:pt x="358" y="3400"/>
                  </a:lnTo>
                  <a:lnTo>
                    <a:pt x="362" y="3398"/>
                  </a:lnTo>
                  <a:lnTo>
                    <a:pt x="364" y="3396"/>
                  </a:lnTo>
                  <a:lnTo>
                    <a:pt x="364" y="3394"/>
                  </a:lnTo>
                  <a:lnTo>
                    <a:pt x="360" y="3390"/>
                  </a:lnTo>
                  <a:lnTo>
                    <a:pt x="356" y="3388"/>
                  </a:lnTo>
                  <a:lnTo>
                    <a:pt x="362" y="3390"/>
                  </a:lnTo>
                  <a:lnTo>
                    <a:pt x="370" y="3392"/>
                  </a:lnTo>
                  <a:lnTo>
                    <a:pt x="374" y="3390"/>
                  </a:lnTo>
                  <a:lnTo>
                    <a:pt x="378" y="3386"/>
                  </a:lnTo>
                  <a:lnTo>
                    <a:pt x="384" y="3382"/>
                  </a:lnTo>
                  <a:lnTo>
                    <a:pt x="392" y="3378"/>
                  </a:lnTo>
                  <a:lnTo>
                    <a:pt x="396" y="3374"/>
                  </a:lnTo>
                  <a:lnTo>
                    <a:pt x="402" y="3372"/>
                  </a:lnTo>
                  <a:lnTo>
                    <a:pt x="406" y="3374"/>
                  </a:lnTo>
                  <a:lnTo>
                    <a:pt x="408" y="3376"/>
                  </a:lnTo>
                  <a:lnTo>
                    <a:pt x="408" y="3378"/>
                  </a:lnTo>
                  <a:lnTo>
                    <a:pt x="406" y="3384"/>
                  </a:lnTo>
                  <a:lnTo>
                    <a:pt x="398" y="3392"/>
                  </a:lnTo>
                  <a:lnTo>
                    <a:pt x="390" y="3396"/>
                  </a:lnTo>
                  <a:lnTo>
                    <a:pt x="384" y="3400"/>
                  </a:lnTo>
                  <a:lnTo>
                    <a:pt x="384" y="3402"/>
                  </a:lnTo>
                  <a:lnTo>
                    <a:pt x="382" y="3404"/>
                  </a:lnTo>
                  <a:lnTo>
                    <a:pt x="380" y="3402"/>
                  </a:lnTo>
                  <a:lnTo>
                    <a:pt x="376" y="3400"/>
                  </a:lnTo>
                  <a:lnTo>
                    <a:pt x="374" y="3402"/>
                  </a:lnTo>
                  <a:lnTo>
                    <a:pt x="374" y="3404"/>
                  </a:lnTo>
                  <a:lnTo>
                    <a:pt x="370" y="3402"/>
                  </a:lnTo>
                  <a:lnTo>
                    <a:pt x="362" y="3404"/>
                  </a:lnTo>
                  <a:lnTo>
                    <a:pt x="358" y="3406"/>
                  </a:lnTo>
                  <a:lnTo>
                    <a:pt x="356" y="3408"/>
                  </a:lnTo>
                  <a:lnTo>
                    <a:pt x="360" y="3414"/>
                  </a:lnTo>
                  <a:lnTo>
                    <a:pt x="366" y="3420"/>
                  </a:lnTo>
                  <a:lnTo>
                    <a:pt x="372" y="3426"/>
                  </a:lnTo>
                  <a:lnTo>
                    <a:pt x="378" y="3430"/>
                  </a:lnTo>
                  <a:lnTo>
                    <a:pt x="382" y="3432"/>
                  </a:lnTo>
                  <a:lnTo>
                    <a:pt x="386" y="3434"/>
                  </a:lnTo>
                  <a:lnTo>
                    <a:pt x="392" y="3438"/>
                  </a:lnTo>
                  <a:lnTo>
                    <a:pt x="402" y="3438"/>
                  </a:lnTo>
                  <a:lnTo>
                    <a:pt x="410" y="3436"/>
                  </a:lnTo>
                  <a:lnTo>
                    <a:pt x="414" y="3434"/>
                  </a:lnTo>
                  <a:lnTo>
                    <a:pt x="416" y="3426"/>
                  </a:lnTo>
                  <a:lnTo>
                    <a:pt x="416" y="3412"/>
                  </a:lnTo>
                  <a:lnTo>
                    <a:pt x="418" y="3400"/>
                  </a:lnTo>
                  <a:lnTo>
                    <a:pt x="420" y="3394"/>
                  </a:lnTo>
                  <a:lnTo>
                    <a:pt x="422" y="3388"/>
                  </a:lnTo>
                  <a:lnTo>
                    <a:pt x="424" y="3378"/>
                  </a:lnTo>
                  <a:lnTo>
                    <a:pt x="424" y="3372"/>
                  </a:lnTo>
                  <a:lnTo>
                    <a:pt x="426" y="3368"/>
                  </a:lnTo>
                  <a:lnTo>
                    <a:pt x="428" y="3366"/>
                  </a:lnTo>
                  <a:lnTo>
                    <a:pt x="432" y="3366"/>
                  </a:lnTo>
                  <a:lnTo>
                    <a:pt x="440" y="3364"/>
                  </a:lnTo>
                  <a:lnTo>
                    <a:pt x="444" y="3362"/>
                  </a:lnTo>
                  <a:lnTo>
                    <a:pt x="450" y="3358"/>
                  </a:lnTo>
                  <a:lnTo>
                    <a:pt x="454" y="3354"/>
                  </a:lnTo>
                  <a:lnTo>
                    <a:pt x="458" y="3354"/>
                  </a:lnTo>
                  <a:lnTo>
                    <a:pt x="462" y="3354"/>
                  </a:lnTo>
                  <a:lnTo>
                    <a:pt x="466" y="3356"/>
                  </a:lnTo>
                  <a:lnTo>
                    <a:pt x="470" y="3350"/>
                  </a:lnTo>
                  <a:lnTo>
                    <a:pt x="476" y="3342"/>
                  </a:lnTo>
                  <a:lnTo>
                    <a:pt x="480" y="3340"/>
                  </a:lnTo>
                  <a:lnTo>
                    <a:pt x="486" y="3340"/>
                  </a:lnTo>
                  <a:lnTo>
                    <a:pt x="496" y="3342"/>
                  </a:lnTo>
                  <a:lnTo>
                    <a:pt x="510" y="3344"/>
                  </a:lnTo>
                  <a:lnTo>
                    <a:pt x="518" y="3348"/>
                  </a:lnTo>
                  <a:lnTo>
                    <a:pt x="520" y="3346"/>
                  </a:lnTo>
                  <a:lnTo>
                    <a:pt x="518" y="3342"/>
                  </a:lnTo>
                  <a:lnTo>
                    <a:pt x="510" y="3328"/>
                  </a:lnTo>
                  <a:lnTo>
                    <a:pt x="500" y="3308"/>
                  </a:lnTo>
                  <a:lnTo>
                    <a:pt x="496" y="3296"/>
                  </a:lnTo>
                  <a:lnTo>
                    <a:pt x="492" y="3282"/>
                  </a:lnTo>
                  <a:lnTo>
                    <a:pt x="490" y="3266"/>
                  </a:lnTo>
                  <a:lnTo>
                    <a:pt x="490" y="3256"/>
                  </a:lnTo>
                  <a:lnTo>
                    <a:pt x="490" y="3246"/>
                  </a:lnTo>
                  <a:lnTo>
                    <a:pt x="494" y="3238"/>
                  </a:lnTo>
                  <a:lnTo>
                    <a:pt x="498" y="3228"/>
                  </a:lnTo>
                  <a:lnTo>
                    <a:pt x="506" y="3222"/>
                  </a:lnTo>
                  <a:lnTo>
                    <a:pt x="518" y="3216"/>
                  </a:lnTo>
                  <a:lnTo>
                    <a:pt x="528" y="3212"/>
                  </a:lnTo>
                  <a:lnTo>
                    <a:pt x="536" y="3208"/>
                  </a:lnTo>
                  <a:lnTo>
                    <a:pt x="542" y="3202"/>
                  </a:lnTo>
                  <a:lnTo>
                    <a:pt x="546" y="3196"/>
                  </a:lnTo>
                  <a:lnTo>
                    <a:pt x="550" y="3180"/>
                  </a:lnTo>
                  <a:lnTo>
                    <a:pt x="552" y="3156"/>
                  </a:lnTo>
                  <a:lnTo>
                    <a:pt x="556" y="3144"/>
                  </a:lnTo>
                  <a:lnTo>
                    <a:pt x="564" y="3134"/>
                  </a:lnTo>
                  <a:lnTo>
                    <a:pt x="572" y="3126"/>
                  </a:lnTo>
                  <a:lnTo>
                    <a:pt x="580" y="3122"/>
                  </a:lnTo>
                  <a:lnTo>
                    <a:pt x="596" y="3112"/>
                  </a:lnTo>
                  <a:lnTo>
                    <a:pt x="602" y="3108"/>
                  </a:lnTo>
                  <a:lnTo>
                    <a:pt x="604" y="3104"/>
                  </a:lnTo>
                  <a:lnTo>
                    <a:pt x="606" y="3100"/>
                  </a:lnTo>
                  <a:lnTo>
                    <a:pt x="610" y="3096"/>
                  </a:lnTo>
                  <a:lnTo>
                    <a:pt x="616" y="3092"/>
                  </a:lnTo>
                  <a:lnTo>
                    <a:pt x="622" y="3086"/>
                  </a:lnTo>
                  <a:lnTo>
                    <a:pt x="624" y="3082"/>
                  </a:lnTo>
                  <a:lnTo>
                    <a:pt x="622" y="3078"/>
                  </a:lnTo>
                  <a:lnTo>
                    <a:pt x="620" y="3074"/>
                  </a:lnTo>
                  <a:lnTo>
                    <a:pt x="620" y="3072"/>
                  </a:lnTo>
                  <a:lnTo>
                    <a:pt x="624" y="3066"/>
                  </a:lnTo>
                  <a:lnTo>
                    <a:pt x="626" y="3060"/>
                  </a:lnTo>
                  <a:lnTo>
                    <a:pt x="626" y="3054"/>
                  </a:lnTo>
                  <a:lnTo>
                    <a:pt x="626" y="3044"/>
                  </a:lnTo>
                  <a:lnTo>
                    <a:pt x="624" y="3038"/>
                  </a:lnTo>
                  <a:lnTo>
                    <a:pt x="620" y="3036"/>
                  </a:lnTo>
                  <a:lnTo>
                    <a:pt x="608" y="3036"/>
                  </a:lnTo>
                  <a:lnTo>
                    <a:pt x="600" y="3034"/>
                  </a:lnTo>
                  <a:lnTo>
                    <a:pt x="590" y="3032"/>
                  </a:lnTo>
                  <a:lnTo>
                    <a:pt x="580" y="3026"/>
                  </a:lnTo>
                  <a:lnTo>
                    <a:pt x="570" y="3016"/>
                  </a:lnTo>
                  <a:lnTo>
                    <a:pt x="554" y="2996"/>
                  </a:lnTo>
                  <a:lnTo>
                    <a:pt x="550" y="2988"/>
                  </a:lnTo>
                  <a:lnTo>
                    <a:pt x="550" y="2982"/>
                  </a:lnTo>
                  <a:lnTo>
                    <a:pt x="550" y="2976"/>
                  </a:lnTo>
                  <a:lnTo>
                    <a:pt x="554" y="2968"/>
                  </a:lnTo>
                  <a:lnTo>
                    <a:pt x="564" y="2948"/>
                  </a:lnTo>
                  <a:lnTo>
                    <a:pt x="570" y="2938"/>
                  </a:lnTo>
                  <a:lnTo>
                    <a:pt x="576" y="2930"/>
                  </a:lnTo>
                  <a:lnTo>
                    <a:pt x="580" y="2928"/>
                  </a:lnTo>
                  <a:lnTo>
                    <a:pt x="584" y="2926"/>
                  </a:lnTo>
                  <a:lnTo>
                    <a:pt x="592" y="2926"/>
                  </a:lnTo>
                  <a:lnTo>
                    <a:pt x="594" y="2924"/>
                  </a:lnTo>
                  <a:lnTo>
                    <a:pt x="598" y="2922"/>
                  </a:lnTo>
                  <a:lnTo>
                    <a:pt x="602" y="2918"/>
                  </a:lnTo>
                  <a:lnTo>
                    <a:pt x="608" y="2916"/>
                  </a:lnTo>
                  <a:lnTo>
                    <a:pt x="622" y="2916"/>
                  </a:lnTo>
                  <a:lnTo>
                    <a:pt x="628" y="2916"/>
                  </a:lnTo>
                  <a:lnTo>
                    <a:pt x="632" y="2914"/>
                  </a:lnTo>
                  <a:lnTo>
                    <a:pt x="634" y="2912"/>
                  </a:lnTo>
                  <a:lnTo>
                    <a:pt x="630" y="2908"/>
                  </a:lnTo>
                  <a:lnTo>
                    <a:pt x="628" y="2902"/>
                  </a:lnTo>
                  <a:lnTo>
                    <a:pt x="630" y="2898"/>
                  </a:lnTo>
                  <a:lnTo>
                    <a:pt x="638" y="2890"/>
                  </a:lnTo>
                  <a:lnTo>
                    <a:pt x="642" y="2886"/>
                  </a:lnTo>
                  <a:lnTo>
                    <a:pt x="646" y="2878"/>
                  </a:lnTo>
                  <a:lnTo>
                    <a:pt x="648" y="2868"/>
                  </a:lnTo>
                  <a:lnTo>
                    <a:pt x="644" y="2856"/>
                  </a:lnTo>
                  <a:lnTo>
                    <a:pt x="644" y="2850"/>
                  </a:lnTo>
                  <a:lnTo>
                    <a:pt x="644" y="2844"/>
                  </a:lnTo>
                  <a:lnTo>
                    <a:pt x="646" y="2836"/>
                  </a:lnTo>
                  <a:lnTo>
                    <a:pt x="648" y="2830"/>
                  </a:lnTo>
                  <a:lnTo>
                    <a:pt x="652" y="2822"/>
                  </a:lnTo>
                  <a:lnTo>
                    <a:pt x="660" y="2816"/>
                  </a:lnTo>
                  <a:lnTo>
                    <a:pt x="668" y="2810"/>
                  </a:lnTo>
                  <a:lnTo>
                    <a:pt x="678" y="2806"/>
                  </a:lnTo>
                  <a:lnTo>
                    <a:pt x="684" y="2802"/>
                  </a:lnTo>
                  <a:lnTo>
                    <a:pt x="682" y="2800"/>
                  </a:lnTo>
                  <a:lnTo>
                    <a:pt x="674" y="2798"/>
                  </a:lnTo>
                  <a:lnTo>
                    <a:pt x="662" y="2794"/>
                  </a:lnTo>
                  <a:lnTo>
                    <a:pt x="658" y="2790"/>
                  </a:lnTo>
                  <a:lnTo>
                    <a:pt x="658" y="2786"/>
                  </a:lnTo>
                  <a:lnTo>
                    <a:pt x="660" y="2782"/>
                  </a:lnTo>
                  <a:lnTo>
                    <a:pt x="664" y="2780"/>
                  </a:lnTo>
                  <a:lnTo>
                    <a:pt x="670" y="2780"/>
                  </a:lnTo>
                  <a:lnTo>
                    <a:pt x="676" y="2780"/>
                  </a:lnTo>
                  <a:lnTo>
                    <a:pt x="682" y="2782"/>
                  </a:lnTo>
                  <a:lnTo>
                    <a:pt x="686" y="2788"/>
                  </a:lnTo>
                  <a:lnTo>
                    <a:pt x="690" y="2792"/>
                  </a:lnTo>
                  <a:lnTo>
                    <a:pt x="692" y="2796"/>
                  </a:lnTo>
                  <a:lnTo>
                    <a:pt x="696" y="2798"/>
                  </a:lnTo>
                  <a:lnTo>
                    <a:pt x="700" y="2798"/>
                  </a:lnTo>
                  <a:lnTo>
                    <a:pt x="704" y="2796"/>
                  </a:lnTo>
                  <a:lnTo>
                    <a:pt x="708" y="2792"/>
                  </a:lnTo>
                  <a:lnTo>
                    <a:pt x="712" y="2786"/>
                  </a:lnTo>
                  <a:lnTo>
                    <a:pt x="714" y="2778"/>
                  </a:lnTo>
                  <a:lnTo>
                    <a:pt x="716" y="2770"/>
                  </a:lnTo>
                  <a:lnTo>
                    <a:pt x="714" y="2762"/>
                  </a:lnTo>
                  <a:lnTo>
                    <a:pt x="708" y="2754"/>
                  </a:lnTo>
                  <a:lnTo>
                    <a:pt x="706" y="2752"/>
                  </a:lnTo>
                  <a:lnTo>
                    <a:pt x="702" y="2752"/>
                  </a:lnTo>
                  <a:lnTo>
                    <a:pt x="678" y="2758"/>
                  </a:lnTo>
                  <a:lnTo>
                    <a:pt x="670" y="2760"/>
                  </a:lnTo>
                  <a:lnTo>
                    <a:pt x="662" y="2758"/>
                  </a:lnTo>
                  <a:lnTo>
                    <a:pt x="658" y="2756"/>
                  </a:lnTo>
                  <a:lnTo>
                    <a:pt x="656" y="2750"/>
                  </a:lnTo>
                  <a:lnTo>
                    <a:pt x="654" y="2744"/>
                  </a:lnTo>
                  <a:lnTo>
                    <a:pt x="656" y="2734"/>
                  </a:lnTo>
                  <a:lnTo>
                    <a:pt x="656" y="2726"/>
                  </a:lnTo>
                  <a:lnTo>
                    <a:pt x="654" y="2716"/>
                  </a:lnTo>
                  <a:lnTo>
                    <a:pt x="650" y="2700"/>
                  </a:lnTo>
                  <a:lnTo>
                    <a:pt x="648" y="2694"/>
                  </a:lnTo>
                  <a:lnTo>
                    <a:pt x="646" y="2690"/>
                  </a:lnTo>
                  <a:lnTo>
                    <a:pt x="648" y="2684"/>
                  </a:lnTo>
                  <a:lnTo>
                    <a:pt x="654" y="2682"/>
                  </a:lnTo>
                  <a:lnTo>
                    <a:pt x="662" y="2680"/>
                  </a:lnTo>
                  <a:lnTo>
                    <a:pt x="668" y="2682"/>
                  </a:lnTo>
                  <a:lnTo>
                    <a:pt x="684" y="2688"/>
                  </a:lnTo>
                  <a:lnTo>
                    <a:pt x="700" y="2696"/>
                  </a:lnTo>
                  <a:lnTo>
                    <a:pt x="708" y="2698"/>
                  </a:lnTo>
                  <a:lnTo>
                    <a:pt x="714" y="2700"/>
                  </a:lnTo>
                  <a:lnTo>
                    <a:pt x="724" y="2700"/>
                  </a:lnTo>
                  <a:lnTo>
                    <a:pt x="728" y="2700"/>
                  </a:lnTo>
                  <a:lnTo>
                    <a:pt x="734" y="2700"/>
                  </a:lnTo>
                  <a:lnTo>
                    <a:pt x="748" y="2694"/>
                  </a:lnTo>
                  <a:lnTo>
                    <a:pt x="762" y="2684"/>
                  </a:lnTo>
                  <a:lnTo>
                    <a:pt x="768" y="2680"/>
                  </a:lnTo>
                  <a:lnTo>
                    <a:pt x="770" y="2676"/>
                  </a:lnTo>
                  <a:lnTo>
                    <a:pt x="770" y="2672"/>
                  </a:lnTo>
                  <a:lnTo>
                    <a:pt x="770" y="2670"/>
                  </a:lnTo>
                  <a:lnTo>
                    <a:pt x="764" y="2664"/>
                  </a:lnTo>
                  <a:lnTo>
                    <a:pt x="762" y="2660"/>
                  </a:lnTo>
                  <a:lnTo>
                    <a:pt x="760" y="2658"/>
                  </a:lnTo>
                  <a:lnTo>
                    <a:pt x="758" y="2650"/>
                  </a:lnTo>
                  <a:lnTo>
                    <a:pt x="762" y="2642"/>
                  </a:lnTo>
                  <a:lnTo>
                    <a:pt x="770" y="2632"/>
                  </a:lnTo>
                  <a:lnTo>
                    <a:pt x="776" y="2622"/>
                  </a:lnTo>
                  <a:lnTo>
                    <a:pt x="778" y="2612"/>
                  </a:lnTo>
                  <a:lnTo>
                    <a:pt x="776" y="2602"/>
                  </a:lnTo>
                  <a:lnTo>
                    <a:pt x="772" y="2598"/>
                  </a:lnTo>
                  <a:lnTo>
                    <a:pt x="770" y="2596"/>
                  </a:lnTo>
                  <a:lnTo>
                    <a:pt x="766" y="2592"/>
                  </a:lnTo>
                  <a:lnTo>
                    <a:pt x="762" y="2588"/>
                  </a:lnTo>
                  <a:lnTo>
                    <a:pt x="760" y="2578"/>
                  </a:lnTo>
                  <a:lnTo>
                    <a:pt x="760" y="2574"/>
                  </a:lnTo>
                  <a:lnTo>
                    <a:pt x="762" y="2572"/>
                  </a:lnTo>
                  <a:lnTo>
                    <a:pt x="768" y="2572"/>
                  </a:lnTo>
                  <a:lnTo>
                    <a:pt x="774" y="2576"/>
                  </a:lnTo>
                  <a:lnTo>
                    <a:pt x="784" y="2582"/>
                  </a:lnTo>
                  <a:lnTo>
                    <a:pt x="792" y="2582"/>
                  </a:lnTo>
                  <a:lnTo>
                    <a:pt x="824" y="2578"/>
                  </a:lnTo>
                  <a:lnTo>
                    <a:pt x="856" y="2574"/>
                  </a:lnTo>
                  <a:lnTo>
                    <a:pt x="890" y="2566"/>
                  </a:lnTo>
                  <a:lnTo>
                    <a:pt x="920" y="2556"/>
                  </a:lnTo>
                  <a:lnTo>
                    <a:pt x="934" y="2550"/>
                  </a:lnTo>
                  <a:lnTo>
                    <a:pt x="944" y="2544"/>
                  </a:lnTo>
                  <a:lnTo>
                    <a:pt x="952" y="2538"/>
                  </a:lnTo>
                  <a:lnTo>
                    <a:pt x="956" y="2534"/>
                  </a:lnTo>
                  <a:lnTo>
                    <a:pt x="958" y="2528"/>
                  </a:lnTo>
                  <a:lnTo>
                    <a:pt x="960" y="2524"/>
                  </a:lnTo>
                  <a:lnTo>
                    <a:pt x="962" y="2516"/>
                  </a:lnTo>
                  <a:lnTo>
                    <a:pt x="966" y="2510"/>
                  </a:lnTo>
                  <a:lnTo>
                    <a:pt x="970" y="2504"/>
                  </a:lnTo>
                  <a:lnTo>
                    <a:pt x="980" y="2492"/>
                  </a:lnTo>
                  <a:lnTo>
                    <a:pt x="986" y="2478"/>
                  </a:lnTo>
                  <a:lnTo>
                    <a:pt x="990" y="2464"/>
                  </a:lnTo>
                  <a:lnTo>
                    <a:pt x="990" y="2444"/>
                  </a:lnTo>
                  <a:lnTo>
                    <a:pt x="990" y="2436"/>
                  </a:lnTo>
                  <a:lnTo>
                    <a:pt x="990" y="2432"/>
                  </a:lnTo>
                  <a:lnTo>
                    <a:pt x="986" y="2432"/>
                  </a:lnTo>
                  <a:lnTo>
                    <a:pt x="984" y="2432"/>
                  </a:lnTo>
                  <a:lnTo>
                    <a:pt x="980" y="2432"/>
                  </a:lnTo>
                  <a:lnTo>
                    <a:pt x="976" y="2432"/>
                  </a:lnTo>
                  <a:lnTo>
                    <a:pt x="970" y="2428"/>
                  </a:lnTo>
                  <a:lnTo>
                    <a:pt x="964" y="2420"/>
                  </a:lnTo>
                  <a:lnTo>
                    <a:pt x="962" y="2410"/>
                  </a:lnTo>
                  <a:lnTo>
                    <a:pt x="962" y="2404"/>
                  </a:lnTo>
                  <a:lnTo>
                    <a:pt x="964" y="2400"/>
                  </a:lnTo>
                  <a:lnTo>
                    <a:pt x="968" y="2396"/>
                  </a:lnTo>
                  <a:lnTo>
                    <a:pt x="970" y="2392"/>
                  </a:lnTo>
                  <a:lnTo>
                    <a:pt x="970" y="2388"/>
                  </a:lnTo>
                  <a:lnTo>
                    <a:pt x="968" y="2380"/>
                  </a:lnTo>
                  <a:lnTo>
                    <a:pt x="962" y="2368"/>
                  </a:lnTo>
                  <a:lnTo>
                    <a:pt x="954" y="2360"/>
                  </a:lnTo>
                  <a:lnTo>
                    <a:pt x="946" y="2354"/>
                  </a:lnTo>
                  <a:lnTo>
                    <a:pt x="928" y="2344"/>
                  </a:lnTo>
                  <a:lnTo>
                    <a:pt x="922" y="2338"/>
                  </a:lnTo>
                  <a:lnTo>
                    <a:pt x="918" y="2332"/>
                  </a:lnTo>
                  <a:lnTo>
                    <a:pt x="918" y="2330"/>
                  </a:lnTo>
                  <a:lnTo>
                    <a:pt x="920" y="2326"/>
                  </a:lnTo>
                  <a:lnTo>
                    <a:pt x="926" y="2316"/>
                  </a:lnTo>
                  <a:lnTo>
                    <a:pt x="928" y="2320"/>
                  </a:lnTo>
                  <a:lnTo>
                    <a:pt x="934" y="2326"/>
                  </a:lnTo>
                  <a:lnTo>
                    <a:pt x="946" y="2332"/>
                  </a:lnTo>
                  <a:lnTo>
                    <a:pt x="952" y="2334"/>
                  </a:lnTo>
                  <a:lnTo>
                    <a:pt x="958" y="2334"/>
                  </a:lnTo>
                  <a:lnTo>
                    <a:pt x="966" y="2336"/>
                  </a:lnTo>
                  <a:lnTo>
                    <a:pt x="976" y="2338"/>
                  </a:lnTo>
                  <a:lnTo>
                    <a:pt x="992" y="2348"/>
                  </a:lnTo>
                  <a:lnTo>
                    <a:pt x="1002" y="2352"/>
                  </a:lnTo>
                  <a:lnTo>
                    <a:pt x="1010" y="2356"/>
                  </a:lnTo>
                  <a:lnTo>
                    <a:pt x="1018" y="2358"/>
                  </a:lnTo>
                  <a:lnTo>
                    <a:pt x="1026" y="2356"/>
                  </a:lnTo>
                  <a:lnTo>
                    <a:pt x="1032" y="2354"/>
                  </a:lnTo>
                  <a:lnTo>
                    <a:pt x="1038" y="2352"/>
                  </a:lnTo>
                  <a:lnTo>
                    <a:pt x="1050" y="2356"/>
                  </a:lnTo>
                  <a:lnTo>
                    <a:pt x="1056" y="2358"/>
                  </a:lnTo>
                  <a:lnTo>
                    <a:pt x="1062" y="2358"/>
                  </a:lnTo>
                  <a:lnTo>
                    <a:pt x="1068" y="2358"/>
                  </a:lnTo>
                  <a:lnTo>
                    <a:pt x="1076" y="2354"/>
                  </a:lnTo>
                  <a:lnTo>
                    <a:pt x="1090" y="2344"/>
                  </a:lnTo>
                  <a:lnTo>
                    <a:pt x="1100" y="2334"/>
                  </a:lnTo>
                  <a:lnTo>
                    <a:pt x="1110" y="2320"/>
                  </a:lnTo>
                  <a:lnTo>
                    <a:pt x="1122" y="2300"/>
                  </a:lnTo>
                  <a:lnTo>
                    <a:pt x="1120" y="2294"/>
                  </a:lnTo>
                  <a:lnTo>
                    <a:pt x="1124" y="2288"/>
                  </a:lnTo>
                  <a:lnTo>
                    <a:pt x="1130" y="2282"/>
                  </a:lnTo>
                  <a:lnTo>
                    <a:pt x="1140" y="2276"/>
                  </a:lnTo>
                  <a:lnTo>
                    <a:pt x="1150" y="2270"/>
                  </a:lnTo>
                  <a:lnTo>
                    <a:pt x="1154" y="2264"/>
                  </a:lnTo>
                  <a:lnTo>
                    <a:pt x="1158" y="2256"/>
                  </a:lnTo>
                  <a:lnTo>
                    <a:pt x="1166" y="2232"/>
                  </a:lnTo>
                  <a:lnTo>
                    <a:pt x="1170" y="2224"/>
                  </a:lnTo>
                  <a:lnTo>
                    <a:pt x="1174" y="2218"/>
                  </a:lnTo>
                  <a:lnTo>
                    <a:pt x="1188" y="2204"/>
                  </a:lnTo>
                  <a:lnTo>
                    <a:pt x="1210" y="2184"/>
                  </a:lnTo>
                  <a:lnTo>
                    <a:pt x="1220" y="2174"/>
                  </a:lnTo>
                  <a:lnTo>
                    <a:pt x="1228" y="2164"/>
                  </a:lnTo>
                  <a:lnTo>
                    <a:pt x="1240" y="2140"/>
                  </a:lnTo>
                  <a:lnTo>
                    <a:pt x="1254" y="2110"/>
                  </a:lnTo>
                  <a:lnTo>
                    <a:pt x="1270" y="2074"/>
                  </a:lnTo>
                  <a:lnTo>
                    <a:pt x="1278" y="2058"/>
                  </a:lnTo>
                  <a:lnTo>
                    <a:pt x="1284" y="2048"/>
                  </a:lnTo>
                  <a:lnTo>
                    <a:pt x="1290" y="2042"/>
                  </a:lnTo>
                  <a:lnTo>
                    <a:pt x="1294" y="2038"/>
                  </a:lnTo>
                  <a:lnTo>
                    <a:pt x="1304" y="2030"/>
                  </a:lnTo>
                  <a:lnTo>
                    <a:pt x="1308" y="2022"/>
                  </a:lnTo>
                  <a:lnTo>
                    <a:pt x="1314" y="2012"/>
                  </a:lnTo>
                  <a:lnTo>
                    <a:pt x="1320" y="1998"/>
                  </a:lnTo>
                  <a:lnTo>
                    <a:pt x="1322" y="1984"/>
                  </a:lnTo>
                  <a:lnTo>
                    <a:pt x="1322" y="1970"/>
                  </a:lnTo>
                  <a:lnTo>
                    <a:pt x="1322" y="1956"/>
                  </a:lnTo>
                  <a:lnTo>
                    <a:pt x="1322" y="1926"/>
                  </a:lnTo>
                  <a:lnTo>
                    <a:pt x="1320" y="1910"/>
                  </a:lnTo>
                  <a:lnTo>
                    <a:pt x="1322" y="1894"/>
                  </a:lnTo>
                  <a:lnTo>
                    <a:pt x="1324" y="1878"/>
                  </a:lnTo>
                  <a:lnTo>
                    <a:pt x="1332" y="1862"/>
                  </a:lnTo>
                  <a:lnTo>
                    <a:pt x="1340" y="1848"/>
                  </a:lnTo>
                  <a:lnTo>
                    <a:pt x="1352" y="1836"/>
                  </a:lnTo>
                  <a:lnTo>
                    <a:pt x="1364" y="1824"/>
                  </a:lnTo>
                  <a:lnTo>
                    <a:pt x="1376" y="1816"/>
                  </a:lnTo>
                  <a:lnTo>
                    <a:pt x="1388" y="1808"/>
                  </a:lnTo>
                  <a:lnTo>
                    <a:pt x="1398" y="1802"/>
                  </a:lnTo>
                  <a:lnTo>
                    <a:pt x="1422" y="1792"/>
                  </a:lnTo>
                  <a:lnTo>
                    <a:pt x="1438" y="1782"/>
                  </a:lnTo>
                  <a:lnTo>
                    <a:pt x="1452" y="1772"/>
                  </a:lnTo>
                  <a:lnTo>
                    <a:pt x="1462" y="1764"/>
                  </a:lnTo>
                  <a:lnTo>
                    <a:pt x="1476" y="1750"/>
                  </a:lnTo>
                  <a:lnTo>
                    <a:pt x="1482" y="1744"/>
                  </a:lnTo>
                  <a:lnTo>
                    <a:pt x="1490" y="1740"/>
                  </a:lnTo>
                  <a:lnTo>
                    <a:pt x="1498" y="1738"/>
                  </a:lnTo>
                  <a:lnTo>
                    <a:pt x="1502" y="1738"/>
                  </a:lnTo>
                  <a:lnTo>
                    <a:pt x="1506" y="1740"/>
                  </a:lnTo>
                  <a:lnTo>
                    <a:pt x="1508" y="1742"/>
                  </a:lnTo>
                  <a:lnTo>
                    <a:pt x="1514" y="1742"/>
                  </a:lnTo>
                  <a:lnTo>
                    <a:pt x="1520" y="1742"/>
                  </a:lnTo>
                  <a:lnTo>
                    <a:pt x="1530" y="1740"/>
                  </a:lnTo>
                  <a:lnTo>
                    <a:pt x="1544" y="1738"/>
                  </a:lnTo>
                  <a:lnTo>
                    <a:pt x="1556" y="1738"/>
                  </a:lnTo>
                  <a:lnTo>
                    <a:pt x="1576" y="1738"/>
                  </a:lnTo>
                  <a:lnTo>
                    <a:pt x="1584" y="1738"/>
                  </a:lnTo>
                  <a:lnTo>
                    <a:pt x="1588" y="1736"/>
                  </a:lnTo>
                  <a:lnTo>
                    <a:pt x="1592" y="1734"/>
                  </a:lnTo>
                  <a:lnTo>
                    <a:pt x="1590" y="1728"/>
                  </a:lnTo>
                  <a:lnTo>
                    <a:pt x="1590" y="1724"/>
                  </a:lnTo>
                  <a:lnTo>
                    <a:pt x="1590" y="1722"/>
                  </a:lnTo>
                  <a:lnTo>
                    <a:pt x="1594" y="1716"/>
                  </a:lnTo>
                  <a:lnTo>
                    <a:pt x="1608" y="1702"/>
                  </a:lnTo>
                  <a:lnTo>
                    <a:pt x="1616" y="1696"/>
                  </a:lnTo>
                  <a:lnTo>
                    <a:pt x="1622" y="1690"/>
                  </a:lnTo>
                  <a:lnTo>
                    <a:pt x="1626" y="1682"/>
                  </a:lnTo>
                  <a:lnTo>
                    <a:pt x="1626" y="1676"/>
                  </a:lnTo>
                  <a:lnTo>
                    <a:pt x="1624" y="1672"/>
                  </a:lnTo>
                  <a:lnTo>
                    <a:pt x="1622" y="1662"/>
                  </a:lnTo>
                  <a:lnTo>
                    <a:pt x="1624" y="1654"/>
                  </a:lnTo>
                  <a:lnTo>
                    <a:pt x="1628" y="1644"/>
                  </a:lnTo>
                  <a:lnTo>
                    <a:pt x="1634" y="1634"/>
                  </a:lnTo>
                  <a:lnTo>
                    <a:pt x="1650" y="1610"/>
                  </a:lnTo>
                  <a:lnTo>
                    <a:pt x="1668" y="1580"/>
                  </a:lnTo>
                  <a:lnTo>
                    <a:pt x="1674" y="1564"/>
                  </a:lnTo>
                  <a:lnTo>
                    <a:pt x="1678" y="1550"/>
                  </a:lnTo>
                  <a:lnTo>
                    <a:pt x="1678" y="1536"/>
                  </a:lnTo>
                  <a:lnTo>
                    <a:pt x="1678" y="1524"/>
                  </a:lnTo>
                  <a:lnTo>
                    <a:pt x="1678" y="1514"/>
                  </a:lnTo>
                  <a:lnTo>
                    <a:pt x="1680" y="1506"/>
                  </a:lnTo>
                  <a:lnTo>
                    <a:pt x="1682" y="1498"/>
                  </a:lnTo>
                  <a:lnTo>
                    <a:pt x="1688" y="1494"/>
                  </a:lnTo>
                  <a:lnTo>
                    <a:pt x="1694" y="1488"/>
                  </a:lnTo>
                  <a:lnTo>
                    <a:pt x="1698" y="1480"/>
                  </a:lnTo>
                  <a:lnTo>
                    <a:pt x="1698" y="1470"/>
                  </a:lnTo>
                  <a:lnTo>
                    <a:pt x="1700" y="1460"/>
                  </a:lnTo>
                  <a:lnTo>
                    <a:pt x="1700" y="1434"/>
                  </a:lnTo>
                  <a:lnTo>
                    <a:pt x="1702" y="1418"/>
                  </a:lnTo>
                  <a:lnTo>
                    <a:pt x="1704" y="1404"/>
                  </a:lnTo>
                  <a:lnTo>
                    <a:pt x="1708" y="1390"/>
                  </a:lnTo>
                  <a:lnTo>
                    <a:pt x="1708" y="1378"/>
                  </a:lnTo>
                  <a:lnTo>
                    <a:pt x="1708" y="1368"/>
                  </a:lnTo>
                  <a:lnTo>
                    <a:pt x="1706" y="1360"/>
                  </a:lnTo>
                  <a:lnTo>
                    <a:pt x="1702" y="1342"/>
                  </a:lnTo>
                  <a:lnTo>
                    <a:pt x="1702" y="1334"/>
                  </a:lnTo>
                  <a:lnTo>
                    <a:pt x="1702" y="1324"/>
                  </a:lnTo>
                  <a:lnTo>
                    <a:pt x="1706" y="1252"/>
                  </a:lnTo>
                  <a:lnTo>
                    <a:pt x="1708" y="1234"/>
                  </a:lnTo>
                  <a:lnTo>
                    <a:pt x="1710" y="1224"/>
                  </a:lnTo>
                  <a:lnTo>
                    <a:pt x="1712" y="1220"/>
                  </a:lnTo>
                  <a:lnTo>
                    <a:pt x="1714" y="1220"/>
                  </a:lnTo>
                  <a:lnTo>
                    <a:pt x="1718" y="1222"/>
                  </a:lnTo>
                  <a:lnTo>
                    <a:pt x="1720" y="1226"/>
                  </a:lnTo>
                  <a:lnTo>
                    <a:pt x="1726" y="1234"/>
                  </a:lnTo>
                  <a:lnTo>
                    <a:pt x="1730" y="1238"/>
                  </a:lnTo>
                  <a:lnTo>
                    <a:pt x="1736" y="1238"/>
                  </a:lnTo>
                  <a:lnTo>
                    <a:pt x="1740" y="1234"/>
                  </a:lnTo>
                  <a:lnTo>
                    <a:pt x="1746" y="1224"/>
                  </a:lnTo>
                  <a:lnTo>
                    <a:pt x="1752" y="1212"/>
                  </a:lnTo>
                  <a:lnTo>
                    <a:pt x="1766" y="1176"/>
                  </a:lnTo>
                  <a:lnTo>
                    <a:pt x="1774" y="1158"/>
                  </a:lnTo>
                  <a:lnTo>
                    <a:pt x="1780" y="1146"/>
                  </a:lnTo>
                  <a:lnTo>
                    <a:pt x="1788" y="1136"/>
                  </a:lnTo>
                  <a:lnTo>
                    <a:pt x="1794" y="1128"/>
                  </a:lnTo>
                  <a:lnTo>
                    <a:pt x="1810" y="1112"/>
                  </a:lnTo>
                  <a:lnTo>
                    <a:pt x="1820" y="1100"/>
                  </a:lnTo>
                  <a:lnTo>
                    <a:pt x="1830" y="1082"/>
                  </a:lnTo>
                  <a:lnTo>
                    <a:pt x="1852" y="1044"/>
                  </a:lnTo>
                  <a:lnTo>
                    <a:pt x="1860" y="1030"/>
                  </a:lnTo>
                  <a:lnTo>
                    <a:pt x="1866" y="1016"/>
                  </a:lnTo>
                  <a:lnTo>
                    <a:pt x="1872" y="1002"/>
                  </a:lnTo>
                  <a:lnTo>
                    <a:pt x="1874" y="988"/>
                  </a:lnTo>
                  <a:lnTo>
                    <a:pt x="1874" y="972"/>
                  </a:lnTo>
                  <a:lnTo>
                    <a:pt x="1872" y="956"/>
                  </a:lnTo>
                  <a:close/>
                  <a:moveTo>
                    <a:pt x="1128" y="2234"/>
                  </a:moveTo>
                  <a:lnTo>
                    <a:pt x="1128" y="2234"/>
                  </a:lnTo>
                  <a:lnTo>
                    <a:pt x="1132" y="2242"/>
                  </a:lnTo>
                  <a:lnTo>
                    <a:pt x="1128" y="2234"/>
                  </a:lnTo>
                  <a:close/>
                  <a:moveTo>
                    <a:pt x="698" y="3490"/>
                  </a:moveTo>
                  <a:lnTo>
                    <a:pt x="698" y="3490"/>
                  </a:lnTo>
                  <a:lnTo>
                    <a:pt x="692" y="3492"/>
                  </a:lnTo>
                  <a:lnTo>
                    <a:pt x="688" y="3490"/>
                  </a:lnTo>
                  <a:lnTo>
                    <a:pt x="684" y="3490"/>
                  </a:lnTo>
                  <a:lnTo>
                    <a:pt x="678" y="3492"/>
                  </a:lnTo>
                  <a:lnTo>
                    <a:pt x="670" y="3496"/>
                  </a:lnTo>
                  <a:lnTo>
                    <a:pt x="666" y="3498"/>
                  </a:lnTo>
                  <a:lnTo>
                    <a:pt x="670" y="3500"/>
                  </a:lnTo>
                  <a:lnTo>
                    <a:pt x="672" y="3500"/>
                  </a:lnTo>
                  <a:lnTo>
                    <a:pt x="678" y="3498"/>
                  </a:lnTo>
                  <a:lnTo>
                    <a:pt x="682" y="3494"/>
                  </a:lnTo>
                  <a:lnTo>
                    <a:pt x="684" y="3496"/>
                  </a:lnTo>
                  <a:lnTo>
                    <a:pt x="686" y="3498"/>
                  </a:lnTo>
                  <a:lnTo>
                    <a:pt x="690" y="3496"/>
                  </a:lnTo>
                  <a:lnTo>
                    <a:pt x="694" y="3496"/>
                  </a:lnTo>
                  <a:lnTo>
                    <a:pt x="696" y="3496"/>
                  </a:lnTo>
                  <a:lnTo>
                    <a:pt x="700" y="3496"/>
                  </a:lnTo>
                  <a:lnTo>
                    <a:pt x="702" y="3494"/>
                  </a:lnTo>
                  <a:lnTo>
                    <a:pt x="704" y="3492"/>
                  </a:lnTo>
                  <a:lnTo>
                    <a:pt x="702" y="3490"/>
                  </a:lnTo>
                  <a:lnTo>
                    <a:pt x="698" y="3490"/>
                  </a:lnTo>
                  <a:close/>
                  <a:moveTo>
                    <a:pt x="294" y="3084"/>
                  </a:moveTo>
                  <a:lnTo>
                    <a:pt x="294" y="3084"/>
                  </a:lnTo>
                  <a:lnTo>
                    <a:pt x="298" y="3086"/>
                  </a:lnTo>
                  <a:lnTo>
                    <a:pt x="300" y="3084"/>
                  </a:lnTo>
                  <a:lnTo>
                    <a:pt x="300" y="3082"/>
                  </a:lnTo>
                  <a:lnTo>
                    <a:pt x="298" y="3080"/>
                  </a:lnTo>
                  <a:lnTo>
                    <a:pt x="292" y="3078"/>
                  </a:lnTo>
                  <a:lnTo>
                    <a:pt x="286" y="3078"/>
                  </a:lnTo>
                  <a:lnTo>
                    <a:pt x="282" y="3078"/>
                  </a:lnTo>
                  <a:lnTo>
                    <a:pt x="276" y="3080"/>
                  </a:lnTo>
                  <a:lnTo>
                    <a:pt x="274" y="3082"/>
                  </a:lnTo>
                  <a:lnTo>
                    <a:pt x="274" y="3084"/>
                  </a:lnTo>
                  <a:lnTo>
                    <a:pt x="280" y="3084"/>
                  </a:lnTo>
                  <a:lnTo>
                    <a:pt x="288" y="3084"/>
                  </a:lnTo>
                  <a:lnTo>
                    <a:pt x="294" y="3084"/>
                  </a:lnTo>
                  <a:close/>
                  <a:moveTo>
                    <a:pt x="338" y="3318"/>
                  </a:moveTo>
                  <a:lnTo>
                    <a:pt x="338" y="3318"/>
                  </a:lnTo>
                  <a:lnTo>
                    <a:pt x="330" y="3322"/>
                  </a:lnTo>
                  <a:lnTo>
                    <a:pt x="328" y="3324"/>
                  </a:lnTo>
                  <a:lnTo>
                    <a:pt x="330" y="3326"/>
                  </a:lnTo>
                  <a:lnTo>
                    <a:pt x="334" y="3326"/>
                  </a:lnTo>
                  <a:lnTo>
                    <a:pt x="338" y="3322"/>
                  </a:lnTo>
                  <a:lnTo>
                    <a:pt x="338" y="3318"/>
                  </a:lnTo>
                  <a:close/>
                  <a:moveTo>
                    <a:pt x="292" y="3034"/>
                  </a:moveTo>
                  <a:lnTo>
                    <a:pt x="292" y="3034"/>
                  </a:lnTo>
                  <a:lnTo>
                    <a:pt x="290" y="3032"/>
                  </a:lnTo>
                  <a:lnTo>
                    <a:pt x="288" y="3030"/>
                  </a:lnTo>
                  <a:lnTo>
                    <a:pt x="284" y="3030"/>
                  </a:lnTo>
                  <a:lnTo>
                    <a:pt x="282" y="3034"/>
                  </a:lnTo>
                  <a:lnTo>
                    <a:pt x="284" y="3036"/>
                  </a:lnTo>
                  <a:lnTo>
                    <a:pt x="286" y="3038"/>
                  </a:lnTo>
                  <a:lnTo>
                    <a:pt x="290" y="3036"/>
                  </a:lnTo>
                  <a:lnTo>
                    <a:pt x="292" y="3034"/>
                  </a:lnTo>
                  <a:close/>
                  <a:moveTo>
                    <a:pt x="420" y="3442"/>
                  </a:moveTo>
                  <a:lnTo>
                    <a:pt x="420" y="3442"/>
                  </a:lnTo>
                  <a:lnTo>
                    <a:pt x="420" y="3446"/>
                  </a:lnTo>
                  <a:lnTo>
                    <a:pt x="424" y="3452"/>
                  </a:lnTo>
                  <a:lnTo>
                    <a:pt x="440" y="3462"/>
                  </a:lnTo>
                  <a:lnTo>
                    <a:pt x="444" y="3464"/>
                  </a:lnTo>
                  <a:lnTo>
                    <a:pt x="444" y="3462"/>
                  </a:lnTo>
                  <a:lnTo>
                    <a:pt x="442" y="3458"/>
                  </a:lnTo>
                  <a:lnTo>
                    <a:pt x="438" y="3454"/>
                  </a:lnTo>
                  <a:lnTo>
                    <a:pt x="430" y="3446"/>
                  </a:lnTo>
                  <a:lnTo>
                    <a:pt x="434" y="3448"/>
                  </a:lnTo>
                  <a:lnTo>
                    <a:pt x="438" y="3450"/>
                  </a:lnTo>
                  <a:lnTo>
                    <a:pt x="442" y="3450"/>
                  </a:lnTo>
                  <a:lnTo>
                    <a:pt x="442" y="3448"/>
                  </a:lnTo>
                  <a:lnTo>
                    <a:pt x="440" y="3444"/>
                  </a:lnTo>
                  <a:lnTo>
                    <a:pt x="436" y="3438"/>
                  </a:lnTo>
                  <a:lnTo>
                    <a:pt x="434" y="3432"/>
                  </a:lnTo>
                  <a:lnTo>
                    <a:pt x="434" y="3420"/>
                  </a:lnTo>
                  <a:lnTo>
                    <a:pt x="434" y="3418"/>
                  </a:lnTo>
                  <a:lnTo>
                    <a:pt x="434" y="3420"/>
                  </a:lnTo>
                  <a:lnTo>
                    <a:pt x="430" y="3422"/>
                  </a:lnTo>
                  <a:lnTo>
                    <a:pt x="426" y="3428"/>
                  </a:lnTo>
                  <a:lnTo>
                    <a:pt x="426" y="3432"/>
                  </a:lnTo>
                  <a:lnTo>
                    <a:pt x="426" y="3436"/>
                  </a:lnTo>
                  <a:lnTo>
                    <a:pt x="424" y="3436"/>
                  </a:lnTo>
                  <a:lnTo>
                    <a:pt x="422" y="3436"/>
                  </a:lnTo>
                  <a:lnTo>
                    <a:pt x="420" y="3442"/>
                  </a:lnTo>
                  <a:close/>
                  <a:moveTo>
                    <a:pt x="272" y="3186"/>
                  </a:moveTo>
                  <a:lnTo>
                    <a:pt x="272" y="3186"/>
                  </a:lnTo>
                  <a:lnTo>
                    <a:pt x="270" y="3186"/>
                  </a:lnTo>
                  <a:lnTo>
                    <a:pt x="272" y="3180"/>
                  </a:lnTo>
                  <a:lnTo>
                    <a:pt x="274" y="3174"/>
                  </a:lnTo>
                  <a:lnTo>
                    <a:pt x="274" y="3168"/>
                  </a:lnTo>
                  <a:lnTo>
                    <a:pt x="274" y="3150"/>
                  </a:lnTo>
                  <a:lnTo>
                    <a:pt x="272" y="3136"/>
                  </a:lnTo>
                  <a:lnTo>
                    <a:pt x="272" y="3132"/>
                  </a:lnTo>
                  <a:lnTo>
                    <a:pt x="270" y="3132"/>
                  </a:lnTo>
                  <a:lnTo>
                    <a:pt x="266" y="3132"/>
                  </a:lnTo>
                  <a:lnTo>
                    <a:pt x="264" y="3130"/>
                  </a:lnTo>
                  <a:lnTo>
                    <a:pt x="262" y="3130"/>
                  </a:lnTo>
                  <a:lnTo>
                    <a:pt x="258" y="3132"/>
                  </a:lnTo>
                  <a:lnTo>
                    <a:pt x="252" y="3136"/>
                  </a:lnTo>
                  <a:lnTo>
                    <a:pt x="250" y="3138"/>
                  </a:lnTo>
                  <a:lnTo>
                    <a:pt x="252" y="3140"/>
                  </a:lnTo>
                  <a:lnTo>
                    <a:pt x="254" y="3142"/>
                  </a:lnTo>
                  <a:lnTo>
                    <a:pt x="254" y="3144"/>
                  </a:lnTo>
                  <a:lnTo>
                    <a:pt x="254" y="3146"/>
                  </a:lnTo>
                  <a:lnTo>
                    <a:pt x="256" y="3148"/>
                  </a:lnTo>
                  <a:lnTo>
                    <a:pt x="258" y="3150"/>
                  </a:lnTo>
                  <a:lnTo>
                    <a:pt x="260" y="3154"/>
                  </a:lnTo>
                  <a:lnTo>
                    <a:pt x="258" y="3164"/>
                  </a:lnTo>
                  <a:lnTo>
                    <a:pt x="256" y="3166"/>
                  </a:lnTo>
                  <a:lnTo>
                    <a:pt x="252" y="3164"/>
                  </a:lnTo>
                  <a:lnTo>
                    <a:pt x="250" y="3162"/>
                  </a:lnTo>
                  <a:lnTo>
                    <a:pt x="246" y="3162"/>
                  </a:lnTo>
                  <a:lnTo>
                    <a:pt x="244" y="3164"/>
                  </a:lnTo>
                  <a:lnTo>
                    <a:pt x="242" y="3162"/>
                  </a:lnTo>
                  <a:lnTo>
                    <a:pt x="238" y="3162"/>
                  </a:lnTo>
                  <a:lnTo>
                    <a:pt x="236" y="3164"/>
                  </a:lnTo>
                  <a:lnTo>
                    <a:pt x="234" y="3168"/>
                  </a:lnTo>
                  <a:lnTo>
                    <a:pt x="236" y="3172"/>
                  </a:lnTo>
                  <a:lnTo>
                    <a:pt x="238" y="3178"/>
                  </a:lnTo>
                  <a:lnTo>
                    <a:pt x="242" y="3184"/>
                  </a:lnTo>
                  <a:lnTo>
                    <a:pt x="244" y="3190"/>
                  </a:lnTo>
                  <a:lnTo>
                    <a:pt x="246" y="3194"/>
                  </a:lnTo>
                  <a:lnTo>
                    <a:pt x="248" y="3200"/>
                  </a:lnTo>
                  <a:lnTo>
                    <a:pt x="250" y="3200"/>
                  </a:lnTo>
                  <a:lnTo>
                    <a:pt x="252" y="3200"/>
                  </a:lnTo>
                  <a:lnTo>
                    <a:pt x="254" y="3196"/>
                  </a:lnTo>
                  <a:lnTo>
                    <a:pt x="254" y="3190"/>
                  </a:lnTo>
                  <a:lnTo>
                    <a:pt x="252" y="3184"/>
                  </a:lnTo>
                  <a:lnTo>
                    <a:pt x="250" y="3180"/>
                  </a:lnTo>
                  <a:lnTo>
                    <a:pt x="252" y="3178"/>
                  </a:lnTo>
                  <a:lnTo>
                    <a:pt x="254" y="3178"/>
                  </a:lnTo>
                  <a:lnTo>
                    <a:pt x="258" y="3182"/>
                  </a:lnTo>
                  <a:lnTo>
                    <a:pt x="262" y="3184"/>
                  </a:lnTo>
                  <a:lnTo>
                    <a:pt x="262" y="3186"/>
                  </a:lnTo>
                  <a:lnTo>
                    <a:pt x="260" y="3186"/>
                  </a:lnTo>
                  <a:lnTo>
                    <a:pt x="258" y="3190"/>
                  </a:lnTo>
                  <a:lnTo>
                    <a:pt x="258" y="3192"/>
                  </a:lnTo>
                  <a:lnTo>
                    <a:pt x="258" y="3194"/>
                  </a:lnTo>
                  <a:lnTo>
                    <a:pt x="258" y="3198"/>
                  </a:lnTo>
                  <a:lnTo>
                    <a:pt x="258" y="3202"/>
                  </a:lnTo>
                  <a:lnTo>
                    <a:pt x="258" y="3206"/>
                  </a:lnTo>
                  <a:lnTo>
                    <a:pt x="260" y="3208"/>
                  </a:lnTo>
                  <a:lnTo>
                    <a:pt x="266" y="3208"/>
                  </a:lnTo>
                  <a:lnTo>
                    <a:pt x="270" y="3208"/>
                  </a:lnTo>
                  <a:lnTo>
                    <a:pt x="272" y="3206"/>
                  </a:lnTo>
                  <a:lnTo>
                    <a:pt x="274" y="3200"/>
                  </a:lnTo>
                  <a:lnTo>
                    <a:pt x="274" y="3194"/>
                  </a:lnTo>
                  <a:lnTo>
                    <a:pt x="276" y="3192"/>
                  </a:lnTo>
                  <a:lnTo>
                    <a:pt x="276" y="3190"/>
                  </a:lnTo>
                  <a:lnTo>
                    <a:pt x="276" y="3188"/>
                  </a:lnTo>
                  <a:lnTo>
                    <a:pt x="276" y="3186"/>
                  </a:lnTo>
                  <a:lnTo>
                    <a:pt x="272" y="3186"/>
                  </a:lnTo>
                  <a:close/>
                </a:path>
              </a:pathLst>
            </a:custGeom>
            <a:grpFill/>
            <a:ln w="6350">
              <a:noFill/>
              <a:round/>
              <a:headEnd/>
              <a:tailEnd/>
            </a:ln>
          </p:spPr>
          <p:txBody>
            <a:bodyPr/>
            <a:lstStyle/>
            <a:p>
              <a:endParaRPr lang="en-US" sz="2800" b="1" dirty="0"/>
            </a:p>
          </p:txBody>
        </p:sp>
        <p:sp>
          <p:nvSpPr>
            <p:cNvPr id="26" name="Freeform 6151">
              <a:extLst>
                <a:ext uri="{FF2B5EF4-FFF2-40B4-BE49-F238E27FC236}">
                  <a16:creationId xmlns:a16="http://schemas.microsoft.com/office/drawing/2014/main" id="{673D88F9-867D-47AF-8BC6-24EF42B8C08F}"/>
                </a:ext>
              </a:extLst>
            </p:cNvPr>
            <p:cNvSpPr>
              <a:spLocks noEditPoints="1"/>
            </p:cNvSpPr>
            <p:nvPr/>
          </p:nvSpPr>
          <p:spPr bwMode="auto">
            <a:xfrm>
              <a:off x="6834182" y="3952882"/>
              <a:ext cx="1708155" cy="1525582"/>
            </a:xfrm>
            <a:custGeom>
              <a:avLst/>
              <a:gdLst>
                <a:gd name="T0" fmla="*/ 441960 w 2690"/>
                <a:gd name="T1" fmla="*/ 349032 h 2404"/>
                <a:gd name="T2" fmla="*/ 1037590 w 2690"/>
                <a:gd name="T3" fmla="*/ 357917 h 2404"/>
                <a:gd name="T4" fmla="*/ 979170 w 2690"/>
                <a:gd name="T5" fmla="*/ 750102 h 2404"/>
                <a:gd name="T6" fmla="*/ 911860 w 2690"/>
                <a:gd name="T7" fmla="*/ 630796 h 2404"/>
                <a:gd name="T8" fmla="*/ 789940 w 2690"/>
                <a:gd name="T9" fmla="*/ 445492 h 2404"/>
                <a:gd name="T10" fmla="*/ 726440 w 2690"/>
                <a:gd name="T11" fmla="*/ 403608 h 2404"/>
                <a:gd name="T12" fmla="*/ 579120 w 2690"/>
                <a:gd name="T13" fmla="*/ 472145 h 2404"/>
                <a:gd name="T14" fmla="*/ 584200 w 2690"/>
                <a:gd name="T15" fmla="*/ 383301 h 2404"/>
                <a:gd name="T16" fmla="*/ 478790 w 2690"/>
                <a:gd name="T17" fmla="*/ 352840 h 2404"/>
                <a:gd name="T18" fmla="*/ 388620 w 2690"/>
                <a:gd name="T19" fmla="*/ 458184 h 2404"/>
                <a:gd name="T20" fmla="*/ 262890 w 2690"/>
                <a:gd name="T21" fmla="*/ 533067 h 2404"/>
                <a:gd name="T22" fmla="*/ 69850 w 2690"/>
                <a:gd name="T23" fmla="*/ 656181 h 2404"/>
                <a:gd name="T24" fmla="*/ 5080 w 2690"/>
                <a:gd name="T25" fmla="*/ 802139 h 2404"/>
                <a:gd name="T26" fmla="*/ 60960 w 2690"/>
                <a:gd name="T27" fmla="*/ 1055981 h 2404"/>
                <a:gd name="T28" fmla="*/ 218440 w 2690"/>
                <a:gd name="T29" fmla="*/ 1077558 h 2404"/>
                <a:gd name="T30" fmla="*/ 490220 w 2690"/>
                <a:gd name="T31" fmla="*/ 1012828 h 2404"/>
                <a:gd name="T32" fmla="*/ 628650 w 2690"/>
                <a:gd name="T33" fmla="*/ 1040751 h 2404"/>
                <a:gd name="T34" fmla="*/ 647700 w 2690"/>
                <a:gd name="T35" fmla="*/ 1137210 h 2404"/>
                <a:gd name="T36" fmla="*/ 810260 w 2690"/>
                <a:gd name="T37" fmla="*/ 1215901 h 2404"/>
                <a:gd name="T38" fmla="*/ 938530 w 2690"/>
                <a:gd name="T39" fmla="*/ 1189248 h 2404"/>
                <a:gd name="T40" fmla="*/ 1033780 w 2690"/>
                <a:gd name="T41" fmla="*/ 896061 h 2404"/>
                <a:gd name="T42" fmla="*/ 1059180 w 2690"/>
                <a:gd name="T43" fmla="*/ 154843 h 2404"/>
                <a:gd name="T44" fmla="*/ 788670 w 2690"/>
                <a:gd name="T45" fmla="*/ 1289515 h 2404"/>
                <a:gd name="T46" fmla="*/ 810260 w 2690"/>
                <a:gd name="T47" fmla="*/ 1344091 h 2404"/>
                <a:gd name="T48" fmla="*/ 881380 w 2690"/>
                <a:gd name="T49" fmla="*/ 1394860 h 2404"/>
                <a:gd name="T50" fmla="*/ 623570 w 2690"/>
                <a:gd name="T51" fmla="*/ 1148633 h 2404"/>
                <a:gd name="T52" fmla="*/ 1405890 w 2690"/>
                <a:gd name="T53" fmla="*/ 516568 h 2404"/>
                <a:gd name="T54" fmla="*/ 1370330 w 2690"/>
                <a:gd name="T55" fmla="*/ 696795 h 2404"/>
                <a:gd name="T56" fmla="*/ 1367790 w 2690"/>
                <a:gd name="T57" fmla="*/ 455646 h 2404"/>
                <a:gd name="T58" fmla="*/ 1125220 w 2690"/>
                <a:gd name="T59" fmla="*/ 244957 h 2404"/>
                <a:gd name="T60" fmla="*/ 1106170 w 2690"/>
                <a:gd name="T61" fmla="*/ 201804 h 2404"/>
                <a:gd name="T62" fmla="*/ 1162050 w 2690"/>
                <a:gd name="T63" fmla="*/ 242419 h 2404"/>
                <a:gd name="T64" fmla="*/ 1210310 w 2690"/>
                <a:gd name="T65" fmla="*/ 365532 h 2404"/>
                <a:gd name="T66" fmla="*/ 1394460 w 2690"/>
                <a:gd name="T67" fmla="*/ 512760 h 2404"/>
                <a:gd name="T68" fmla="*/ 1545590 w 2690"/>
                <a:gd name="T69" fmla="*/ 1325053 h 2404"/>
                <a:gd name="T70" fmla="*/ 1426210 w 2690"/>
                <a:gd name="T71" fmla="*/ 1426590 h 2404"/>
                <a:gd name="T72" fmla="*/ 1432560 w 2690"/>
                <a:gd name="T73" fmla="*/ 1525588 h 2404"/>
                <a:gd name="T74" fmla="*/ 1534160 w 2690"/>
                <a:gd name="T75" fmla="*/ 1393590 h 2404"/>
                <a:gd name="T76" fmla="*/ 1692910 w 2690"/>
                <a:gd name="T77" fmla="*/ 521644 h 2404"/>
                <a:gd name="T78" fmla="*/ 1576070 w 2690"/>
                <a:gd name="T79" fmla="*/ 1165133 h 2404"/>
                <a:gd name="T80" fmla="*/ 1564640 w 2690"/>
                <a:gd name="T81" fmla="*/ 1161325 h 2404"/>
                <a:gd name="T82" fmla="*/ 1588770 w 2690"/>
                <a:gd name="T83" fmla="*/ 1345360 h 2404"/>
                <a:gd name="T84" fmla="*/ 1651000 w 2690"/>
                <a:gd name="T85" fmla="*/ 1208286 h 2404"/>
                <a:gd name="T86" fmla="*/ 1428750 w 2690"/>
                <a:gd name="T87" fmla="*/ 587643 h 2404"/>
                <a:gd name="T88" fmla="*/ 966470 w 2690"/>
                <a:gd name="T89" fmla="*/ 312225 h 2404"/>
                <a:gd name="T90" fmla="*/ 867410 w 2690"/>
                <a:gd name="T91" fmla="*/ 159920 h 2404"/>
                <a:gd name="T92" fmla="*/ 584200 w 2690"/>
                <a:gd name="T93" fmla="*/ 49499 h 2404"/>
                <a:gd name="T94" fmla="*/ 539750 w 2690"/>
                <a:gd name="T95" fmla="*/ 182766 h 2404"/>
                <a:gd name="T96" fmla="*/ 631190 w 2690"/>
                <a:gd name="T97" fmla="*/ 243688 h 2404"/>
                <a:gd name="T98" fmla="*/ 673100 w 2690"/>
                <a:gd name="T99" fmla="*/ 510222 h 2404"/>
                <a:gd name="T100" fmla="*/ 769620 w 2690"/>
                <a:gd name="T101" fmla="*/ 279226 h 2404"/>
                <a:gd name="T102" fmla="*/ 889000 w 2690"/>
                <a:gd name="T103" fmla="*/ 312225 h 2404"/>
                <a:gd name="T104" fmla="*/ 885190 w 2690"/>
                <a:gd name="T105" fmla="*/ 244957 h 2404"/>
                <a:gd name="T106" fmla="*/ 774700 w 2690"/>
                <a:gd name="T107" fmla="*/ 107883 h 2404"/>
                <a:gd name="T108" fmla="*/ 922020 w 2690"/>
                <a:gd name="T109" fmla="*/ 187843 h 2404"/>
                <a:gd name="T110" fmla="*/ 971550 w 2690"/>
                <a:gd name="T111" fmla="*/ 153574 h 2404"/>
                <a:gd name="T112" fmla="*/ 1008380 w 2690"/>
                <a:gd name="T113" fmla="*/ 128190 h 2404"/>
                <a:gd name="T114" fmla="*/ 952500 w 2690"/>
                <a:gd name="T115" fmla="*/ 81229 h 2404"/>
                <a:gd name="T116" fmla="*/ 487680 w 2690"/>
                <a:gd name="T117" fmla="*/ 92652 h 2404"/>
                <a:gd name="T118" fmla="*/ 637540 w 2690"/>
                <a:gd name="T119" fmla="*/ 180228 h 2404"/>
                <a:gd name="T120" fmla="*/ 613410 w 2690"/>
                <a:gd name="T121" fmla="*/ 60922 h 2404"/>
                <a:gd name="T122" fmla="*/ 499110 w 2690"/>
                <a:gd name="T123" fmla="*/ 11423 h 2404"/>
                <a:gd name="T124" fmla="*/ 1026160 w 2690"/>
                <a:gd name="T125" fmla="*/ 776755 h 24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90"/>
                <a:gd name="T190" fmla="*/ 0 h 2404"/>
                <a:gd name="T191" fmla="*/ 2690 w 2690"/>
                <a:gd name="T192" fmla="*/ 2404 h 24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90" h="2404">
                  <a:moveTo>
                    <a:pt x="692" y="12"/>
                  </a:moveTo>
                  <a:lnTo>
                    <a:pt x="692" y="12"/>
                  </a:lnTo>
                  <a:lnTo>
                    <a:pt x="698" y="14"/>
                  </a:lnTo>
                  <a:lnTo>
                    <a:pt x="702" y="18"/>
                  </a:lnTo>
                  <a:lnTo>
                    <a:pt x="708" y="20"/>
                  </a:lnTo>
                  <a:lnTo>
                    <a:pt x="714" y="20"/>
                  </a:lnTo>
                  <a:lnTo>
                    <a:pt x="716" y="20"/>
                  </a:lnTo>
                  <a:lnTo>
                    <a:pt x="714" y="18"/>
                  </a:lnTo>
                  <a:lnTo>
                    <a:pt x="712" y="16"/>
                  </a:lnTo>
                  <a:lnTo>
                    <a:pt x="710" y="12"/>
                  </a:lnTo>
                  <a:lnTo>
                    <a:pt x="708" y="12"/>
                  </a:lnTo>
                  <a:lnTo>
                    <a:pt x="710" y="12"/>
                  </a:lnTo>
                  <a:lnTo>
                    <a:pt x="714" y="12"/>
                  </a:lnTo>
                  <a:lnTo>
                    <a:pt x="718" y="16"/>
                  </a:lnTo>
                  <a:lnTo>
                    <a:pt x="722" y="18"/>
                  </a:lnTo>
                  <a:lnTo>
                    <a:pt x="728" y="18"/>
                  </a:lnTo>
                  <a:lnTo>
                    <a:pt x="730" y="16"/>
                  </a:lnTo>
                  <a:lnTo>
                    <a:pt x="730" y="12"/>
                  </a:lnTo>
                  <a:lnTo>
                    <a:pt x="724" y="6"/>
                  </a:lnTo>
                  <a:lnTo>
                    <a:pt x="714" y="2"/>
                  </a:lnTo>
                  <a:lnTo>
                    <a:pt x="708" y="0"/>
                  </a:lnTo>
                  <a:lnTo>
                    <a:pt x="702" y="2"/>
                  </a:lnTo>
                  <a:lnTo>
                    <a:pt x="694" y="4"/>
                  </a:lnTo>
                  <a:lnTo>
                    <a:pt x="688" y="8"/>
                  </a:lnTo>
                  <a:lnTo>
                    <a:pt x="688" y="10"/>
                  </a:lnTo>
                  <a:lnTo>
                    <a:pt x="692" y="12"/>
                  </a:lnTo>
                  <a:close/>
                  <a:moveTo>
                    <a:pt x="742" y="352"/>
                  </a:moveTo>
                  <a:lnTo>
                    <a:pt x="742" y="352"/>
                  </a:lnTo>
                  <a:lnTo>
                    <a:pt x="740" y="350"/>
                  </a:lnTo>
                  <a:lnTo>
                    <a:pt x="736" y="352"/>
                  </a:lnTo>
                  <a:lnTo>
                    <a:pt x="732" y="358"/>
                  </a:lnTo>
                  <a:lnTo>
                    <a:pt x="728" y="366"/>
                  </a:lnTo>
                  <a:lnTo>
                    <a:pt x="724" y="382"/>
                  </a:lnTo>
                  <a:lnTo>
                    <a:pt x="724" y="386"/>
                  </a:lnTo>
                  <a:lnTo>
                    <a:pt x="724" y="388"/>
                  </a:lnTo>
                  <a:lnTo>
                    <a:pt x="726" y="388"/>
                  </a:lnTo>
                  <a:lnTo>
                    <a:pt x="736" y="382"/>
                  </a:lnTo>
                  <a:lnTo>
                    <a:pt x="742" y="374"/>
                  </a:lnTo>
                  <a:lnTo>
                    <a:pt x="744" y="364"/>
                  </a:lnTo>
                  <a:lnTo>
                    <a:pt x="742" y="352"/>
                  </a:lnTo>
                  <a:close/>
                  <a:moveTo>
                    <a:pt x="696" y="550"/>
                  </a:moveTo>
                  <a:lnTo>
                    <a:pt x="696" y="550"/>
                  </a:lnTo>
                  <a:lnTo>
                    <a:pt x="692" y="548"/>
                  </a:lnTo>
                  <a:lnTo>
                    <a:pt x="690" y="548"/>
                  </a:lnTo>
                  <a:lnTo>
                    <a:pt x="690" y="552"/>
                  </a:lnTo>
                  <a:lnTo>
                    <a:pt x="692" y="556"/>
                  </a:lnTo>
                  <a:lnTo>
                    <a:pt x="700" y="566"/>
                  </a:lnTo>
                  <a:lnTo>
                    <a:pt x="710" y="578"/>
                  </a:lnTo>
                  <a:lnTo>
                    <a:pt x="714" y="580"/>
                  </a:lnTo>
                  <a:lnTo>
                    <a:pt x="718" y="578"/>
                  </a:lnTo>
                  <a:lnTo>
                    <a:pt x="724" y="576"/>
                  </a:lnTo>
                  <a:lnTo>
                    <a:pt x="728" y="574"/>
                  </a:lnTo>
                  <a:lnTo>
                    <a:pt x="734" y="568"/>
                  </a:lnTo>
                  <a:lnTo>
                    <a:pt x="736" y="564"/>
                  </a:lnTo>
                  <a:lnTo>
                    <a:pt x="738" y="558"/>
                  </a:lnTo>
                  <a:lnTo>
                    <a:pt x="736" y="552"/>
                  </a:lnTo>
                  <a:lnTo>
                    <a:pt x="730" y="546"/>
                  </a:lnTo>
                  <a:lnTo>
                    <a:pt x="728" y="544"/>
                  </a:lnTo>
                  <a:lnTo>
                    <a:pt x="724" y="546"/>
                  </a:lnTo>
                  <a:lnTo>
                    <a:pt x="722" y="548"/>
                  </a:lnTo>
                  <a:lnTo>
                    <a:pt x="718" y="552"/>
                  </a:lnTo>
                  <a:lnTo>
                    <a:pt x="712" y="554"/>
                  </a:lnTo>
                  <a:lnTo>
                    <a:pt x="706" y="554"/>
                  </a:lnTo>
                  <a:lnTo>
                    <a:pt x="696" y="550"/>
                  </a:lnTo>
                  <a:close/>
                  <a:moveTo>
                    <a:pt x="936" y="688"/>
                  </a:moveTo>
                  <a:lnTo>
                    <a:pt x="936" y="688"/>
                  </a:lnTo>
                  <a:lnTo>
                    <a:pt x="938" y="696"/>
                  </a:lnTo>
                  <a:lnTo>
                    <a:pt x="940" y="696"/>
                  </a:lnTo>
                  <a:lnTo>
                    <a:pt x="942" y="696"/>
                  </a:lnTo>
                  <a:lnTo>
                    <a:pt x="946" y="692"/>
                  </a:lnTo>
                  <a:lnTo>
                    <a:pt x="950" y="684"/>
                  </a:lnTo>
                  <a:lnTo>
                    <a:pt x="950" y="680"/>
                  </a:lnTo>
                  <a:lnTo>
                    <a:pt x="950" y="678"/>
                  </a:lnTo>
                  <a:lnTo>
                    <a:pt x="946" y="676"/>
                  </a:lnTo>
                  <a:lnTo>
                    <a:pt x="942" y="676"/>
                  </a:lnTo>
                  <a:lnTo>
                    <a:pt x="940" y="676"/>
                  </a:lnTo>
                  <a:lnTo>
                    <a:pt x="936" y="680"/>
                  </a:lnTo>
                  <a:lnTo>
                    <a:pt x="934" y="684"/>
                  </a:lnTo>
                  <a:lnTo>
                    <a:pt x="936" y="688"/>
                  </a:lnTo>
                  <a:close/>
                  <a:moveTo>
                    <a:pt x="1610" y="556"/>
                  </a:moveTo>
                  <a:lnTo>
                    <a:pt x="1610" y="556"/>
                  </a:lnTo>
                  <a:lnTo>
                    <a:pt x="1616" y="560"/>
                  </a:lnTo>
                  <a:lnTo>
                    <a:pt x="1624" y="562"/>
                  </a:lnTo>
                  <a:lnTo>
                    <a:pt x="1632" y="564"/>
                  </a:lnTo>
                  <a:lnTo>
                    <a:pt x="1634" y="564"/>
                  </a:lnTo>
                  <a:lnTo>
                    <a:pt x="1634" y="562"/>
                  </a:lnTo>
                  <a:lnTo>
                    <a:pt x="1628" y="558"/>
                  </a:lnTo>
                  <a:lnTo>
                    <a:pt x="1618" y="552"/>
                  </a:lnTo>
                  <a:lnTo>
                    <a:pt x="1610" y="550"/>
                  </a:lnTo>
                  <a:lnTo>
                    <a:pt x="1610" y="552"/>
                  </a:lnTo>
                  <a:lnTo>
                    <a:pt x="1610" y="556"/>
                  </a:lnTo>
                  <a:close/>
                  <a:moveTo>
                    <a:pt x="1402" y="2052"/>
                  </a:moveTo>
                  <a:lnTo>
                    <a:pt x="1402" y="2052"/>
                  </a:lnTo>
                  <a:lnTo>
                    <a:pt x="1404" y="2054"/>
                  </a:lnTo>
                  <a:lnTo>
                    <a:pt x="1410" y="2056"/>
                  </a:lnTo>
                  <a:lnTo>
                    <a:pt x="1416" y="2056"/>
                  </a:lnTo>
                  <a:lnTo>
                    <a:pt x="1420" y="2054"/>
                  </a:lnTo>
                  <a:lnTo>
                    <a:pt x="1420" y="2052"/>
                  </a:lnTo>
                  <a:lnTo>
                    <a:pt x="1418" y="2048"/>
                  </a:lnTo>
                  <a:lnTo>
                    <a:pt x="1412" y="2048"/>
                  </a:lnTo>
                  <a:lnTo>
                    <a:pt x="1404" y="2048"/>
                  </a:lnTo>
                  <a:lnTo>
                    <a:pt x="1402" y="2050"/>
                  </a:lnTo>
                  <a:lnTo>
                    <a:pt x="1402" y="2052"/>
                  </a:lnTo>
                  <a:close/>
                  <a:moveTo>
                    <a:pt x="1610" y="1344"/>
                  </a:moveTo>
                  <a:lnTo>
                    <a:pt x="1610" y="1344"/>
                  </a:lnTo>
                  <a:lnTo>
                    <a:pt x="1612" y="1338"/>
                  </a:lnTo>
                  <a:lnTo>
                    <a:pt x="1614" y="1334"/>
                  </a:lnTo>
                  <a:lnTo>
                    <a:pt x="1612" y="1324"/>
                  </a:lnTo>
                  <a:lnTo>
                    <a:pt x="1610" y="1312"/>
                  </a:lnTo>
                  <a:lnTo>
                    <a:pt x="1608" y="1304"/>
                  </a:lnTo>
                  <a:lnTo>
                    <a:pt x="1610" y="1294"/>
                  </a:lnTo>
                  <a:lnTo>
                    <a:pt x="1610" y="1280"/>
                  </a:lnTo>
                  <a:lnTo>
                    <a:pt x="1608" y="1276"/>
                  </a:lnTo>
                  <a:lnTo>
                    <a:pt x="1606" y="1276"/>
                  </a:lnTo>
                  <a:lnTo>
                    <a:pt x="1604" y="1274"/>
                  </a:lnTo>
                  <a:lnTo>
                    <a:pt x="1600" y="1270"/>
                  </a:lnTo>
                  <a:lnTo>
                    <a:pt x="1598" y="1266"/>
                  </a:lnTo>
                  <a:lnTo>
                    <a:pt x="1596" y="1256"/>
                  </a:lnTo>
                  <a:lnTo>
                    <a:pt x="1594" y="1246"/>
                  </a:lnTo>
                  <a:lnTo>
                    <a:pt x="1590" y="1238"/>
                  </a:lnTo>
                  <a:lnTo>
                    <a:pt x="1582" y="1226"/>
                  </a:lnTo>
                  <a:lnTo>
                    <a:pt x="1570" y="1214"/>
                  </a:lnTo>
                  <a:lnTo>
                    <a:pt x="1560" y="1198"/>
                  </a:lnTo>
                  <a:lnTo>
                    <a:pt x="1550" y="1184"/>
                  </a:lnTo>
                  <a:lnTo>
                    <a:pt x="1548" y="1182"/>
                  </a:lnTo>
                  <a:lnTo>
                    <a:pt x="1546" y="1182"/>
                  </a:lnTo>
                  <a:lnTo>
                    <a:pt x="1542" y="1182"/>
                  </a:lnTo>
                  <a:lnTo>
                    <a:pt x="1538" y="1180"/>
                  </a:lnTo>
                  <a:lnTo>
                    <a:pt x="1534" y="1176"/>
                  </a:lnTo>
                  <a:lnTo>
                    <a:pt x="1526" y="1166"/>
                  </a:lnTo>
                  <a:lnTo>
                    <a:pt x="1518" y="1156"/>
                  </a:lnTo>
                  <a:lnTo>
                    <a:pt x="1514" y="1146"/>
                  </a:lnTo>
                  <a:lnTo>
                    <a:pt x="1514" y="1136"/>
                  </a:lnTo>
                  <a:lnTo>
                    <a:pt x="1514" y="1126"/>
                  </a:lnTo>
                  <a:lnTo>
                    <a:pt x="1514" y="1110"/>
                  </a:lnTo>
                  <a:lnTo>
                    <a:pt x="1514" y="1104"/>
                  </a:lnTo>
                  <a:lnTo>
                    <a:pt x="1510" y="1098"/>
                  </a:lnTo>
                  <a:lnTo>
                    <a:pt x="1508" y="1096"/>
                  </a:lnTo>
                  <a:lnTo>
                    <a:pt x="1506" y="1096"/>
                  </a:lnTo>
                  <a:lnTo>
                    <a:pt x="1502" y="1102"/>
                  </a:lnTo>
                  <a:lnTo>
                    <a:pt x="1502" y="1104"/>
                  </a:lnTo>
                  <a:lnTo>
                    <a:pt x="1498" y="1104"/>
                  </a:lnTo>
                  <a:lnTo>
                    <a:pt x="1494" y="1102"/>
                  </a:lnTo>
                  <a:lnTo>
                    <a:pt x="1490" y="1096"/>
                  </a:lnTo>
                  <a:lnTo>
                    <a:pt x="1484" y="1090"/>
                  </a:lnTo>
                  <a:lnTo>
                    <a:pt x="1480" y="1090"/>
                  </a:lnTo>
                  <a:lnTo>
                    <a:pt x="1480" y="1092"/>
                  </a:lnTo>
                  <a:lnTo>
                    <a:pt x="1480" y="1098"/>
                  </a:lnTo>
                  <a:lnTo>
                    <a:pt x="1478" y="1102"/>
                  </a:lnTo>
                  <a:lnTo>
                    <a:pt x="1478" y="1106"/>
                  </a:lnTo>
                  <a:lnTo>
                    <a:pt x="1474" y="1104"/>
                  </a:lnTo>
                  <a:lnTo>
                    <a:pt x="1470" y="1100"/>
                  </a:lnTo>
                  <a:lnTo>
                    <a:pt x="1464" y="1092"/>
                  </a:lnTo>
                  <a:lnTo>
                    <a:pt x="1462" y="1086"/>
                  </a:lnTo>
                  <a:lnTo>
                    <a:pt x="1462" y="1080"/>
                  </a:lnTo>
                  <a:lnTo>
                    <a:pt x="1462" y="1076"/>
                  </a:lnTo>
                  <a:lnTo>
                    <a:pt x="1464" y="1066"/>
                  </a:lnTo>
                  <a:lnTo>
                    <a:pt x="1462" y="1060"/>
                  </a:lnTo>
                  <a:lnTo>
                    <a:pt x="1462" y="1054"/>
                  </a:lnTo>
                  <a:lnTo>
                    <a:pt x="1458" y="1046"/>
                  </a:lnTo>
                  <a:lnTo>
                    <a:pt x="1452" y="1038"/>
                  </a:lnTo>
                  <a:lnTo>
                    <a:pt x="1440" y="1022"/>
                  </a:lnTo>
                  <a:lnTo>
                    <a:pt x="1430" y="1012"/>
                  </a:lnTo>
                  <a:lnTo>
                    <a:pt x="1428" y="1008"/>
                  </a:lnTo>
                  <a:lnTo>
                    <a:pt x="1432" y="1008"/>
                  </a:lnTo>
                  <a:lnTo>
                    <a:pt x="1436" y="1008"/>
                  </a:lnTo>
                  <a:lnTo>
                    <a:pt x="1438" y="1006"/>
                  </a:lnTo>
                  <a:lnTo>
                    <a:pt x="1440" y="1002"/>
                  </a:lnTo>
                  <a:lnTo>
                    <a:pt x="1438" y="998"/>
                  </a:lnTo>
                  <a:lnTo>
                    <a:pt x="1436" y="994"/>
                  </a:lnTo>
                  <a:lnTo>
                    <a:pt x="1430" y="988"/>
                  </a:lnTo>
                  <a:lnTo>
                    <a:pt x="1422" y="984"/>
                  </a:lnTo>
                  <a:lnTo>
                    <a:pt x="1410" y="978"/>
                  </a:lnTo>
                  <a:lnTo>
                    <a:pt x="1398" y="974"/>
                  </a:lnTo>
                  <a:lnTo>
                    <a:pt x="1392" y="968"/>
                  </a:lnTo>
                  <a:lnTo>
                    <a:pt x="1388" y="964"/>
                  </a:lnTo>
                  <a:lnTo>
                    <a:pt x="1386" y="960"/>
                  </a:lnTo>
                  <a:lnTo>
                    <a:pt x="1384" y="956"/>
                  </a:lnTo>
                  <a:lnTo>
                    <a:pt x="1380" y="952"/>
                  </a:lnTo>
                  <a:lnTo>
                    <a:pt x="1374" y="950"/>
                  </a:lnTo>
                  <a:lnTo>
                    <a:pt x="1364" y="946"/>
                  </a:lnTo>
                  <a:lnTo>
                    <a:pt x="1354" y="942"/>
                  </a:lnTo>
                  <a:lnTo>
                    <a:pt x="1346" y="938"/>
                  </a:lnTo>
                  <a:lnTo>
                    <a:pt x="1340" y="934"/>
                  </a:lnTo>
                  <a:lnTo>
                    <a:pt x="1338" y="928"/>
                  </a:lnTo>
                  <a:lnTo>
                    <a:pt x="1334" y="916"/>
                  </a:lnTo>
                  <a:lnTo>
                    <a:pt x="1332" y="908"/>
                  </a:lnTo>
                  <a:lnTo>
                    <a:pt x="1328" y="902"/>
                  </a:lnTo>
                  <a:lnTo>
                    <a:pt x="1324" y="896"/>
                  </a:lnTo>
                  <a:lnTo>
                    <a:pt x="1324" y="886"/>
                  </a:lnTo>
                  <a:lnTo>
                    <a:pt x="1322" y="864"/>
                  </a:lnTo>
                  <a:lnTo>
                    <a:pt x="1322" y="852"/>
                  </a:lnTo>
                  <a:lnTo>
                    <a:pt x="1320" y="840"/>
                  </a:lnTo>
                  <a:lnTo>
                    <a:pt x="1316" y="828"/>
                  </a:lnTo>
                  <a:lnTo>
                    <a:pt x="1308" y="818"/>
                  </a:lnTo>
                  <a:lnTo>
                    <a:pt x="1304" y="812"/>
                  </a:lnTo>
                  <a:lnTo>
                    <a:pt x="1302" y="806"/>
                  </a:lnTo>
                  <a:lnTo>
                    <a:pt x="1298" y="794"/>
                  </a:lnTo>
                  <a:lnTo>
                    <a:pt x="1296" y="780"/>
                  </a:lnTo>
                  <a:lnTo>
                    <a:pt x="1296" y="764"/>
                  </a:lnTo>
                  <a:lnTo>
                    <a:pt x="1296" y="750"/>
                  </a:lnTo>
                  <a:lnTo>
                    <a:pt x="1294" y="736"/>
                  </a:lnTo>
                  <a:lnTo>
                    <a:pt x="1290" y="726"/>
                  </a:lnTo>
                  <a:lnTo>
                    <a:pt x="1286" y="722"/>
                  </a:lnTo>
                  <a:lnTo>
                    <a:pt x="1282" y="718"/>
                  </a:lnTo>
                  <a:lnTo>
                    <a:pt x="1274" y="712"/>
                  </a:lnTo>
                  <a:lnTo>
                    <a:pt x="1268" y="704"/>
                  </a:lnTo>
                  <a:lnTo>
                    <a:pt x="1262" y="692"/>
                  </a:lnTo>
                  <a:lnTo>
                    <a:pt x="1258" y="690"/>
                  </a:lnTo>
                  <a:lnTo>
                    <a:pt x="1256" y="688"/>
                  </a:lnTo>
                  <a:lnTo>
                    <a:pt x="1254" y="690"/>
                  </a:lnTo>
                  <a:lnTo>
                    <a:pt x="1250" y="698"/>
                  </a:lnTo>
                  <a:lnTo>
                    <a:pt x="1244" y="702"/>
                  </a:lnTo>
                  <a:lnTo>
                    <a:pt x="1240" y="704"/>
                  </a:lnTo>
                  <a:lnTo>
                    <a:pt x="1236" y="702"/>
                  </a:lnTo>
                  <a:lnTo>
                    <a:pt x="1232" y="696"/>
                  </a:lnTo>
                  <a:lnTo>
                    <a:pt x="1228" y="690"/>
                  </a:lnTo>
                  <a:lnTo>
                    <a:pt x="1226" y="682"/>
                  </a:lnTo>
                  <a:lnTo>
                    <a:pt x="1224" y="664"/>
                  </a:lnTo>
                  <a:lnTo>
                    <a:pt x="1224" y="650"/>
                  </a:lnTo>
                  <a:lnTo>
                    <a:pt x="1224" y="634"/>
                  </a:lnTo>
                  <a:lnTo>
                    <a:pt x="1220" y="620"/>
                  </a:lnTo>
                  <a:lnTo>
                    <a:pt x="1216" y="614"/>
                  </a:lnTo>
                  <a:lnTo>
                    <a:pt x="1212" y="606"/>
                  </a:lnTo>
                  <a:lnTo>
                    <a:pt x="1208" y="600"/>
                  </a:lnTo>
                  <a:lnTo>
                    <a:pt x="1206" y="596"/>
                  </a:lnTo>
                  <a:lnTo>
                    <a:pt x="1206" y="588"/>
                  </a:lnTo>
                  <a:lnTo>
                    <a:pt x="1208" y="584"/>
                  </a:lnTo>
                  <a:lnTo>
                    <a:pt x="1206" y="582"/>
                  </a:lnTo>
                  <a:lnTo>
                    <a:pt x="1204" y="578"/>
                  </a:lnTo>
                  <a:lnTo>
                    <a:pt x="1200" y="576"/>
                  </a:lnTo>
                  <a:lnTo>
                    <a:pt x="1196" y="572"/>
                  </a:lnTo>
                  <a:lnTo>
                    <a:pt x="1194" y="562"/>
                  </a:lnTo>
                  <a:lnTo>
                    <a:pt x="1192" y="548"/>
                  </a:lnTo>
                  <a:lnTo>
                    <a:pt x="1190" y="534"/>
                  </a:lnTo>
                  <a:lnTo>
                    <a:pt x="1188" y="526"/>
                  </a:lnTo>
                  <a:lnTo>
                    <a:pt x="1184" y="522"/>
                  </a:lnTo>
                  <a:lnTo>
                    <a:pt x="1180" y="520"/>
                  </a:lnTo>
                  <a:lnTo>
                    <a:pt x="1176" y="520"/>
                  </a:lnTo>
                  <a:lnTo>
                    <a:pt x="1172" y="522"/>
                  </a:lnTo>
                  <a:lnTo>
                    <a:pt x="1170" y="526"/>
                  </a:lnTo>
                  <a:lnTo>
                    <a:pt x="1166" y="532"/>
                  </a:lnTo>
                  <a:lnTo>
                    <a:pt x="1166" y="538"/>
                  </a:lnTo>
                  <a:lnTo>
                    <a:pt x="1164" y="552"/>
                  </a:lnTo>
                  <a:lnTo>
                    <a:pt x="1162" y="564"/>
                  </a:lnTo>
                  <a:lnTo>
                    <a:pt x="1150" y="594"/>
                  </a:lnTo>
                  <a:lnTo>
                    <a:pt x="1146" y="602"/>
                  </a:lnTo>
                  <a:lnTo>
                    <a:pt x="1146" y="608"/>
                  </a:lnTo>
                  <a:lnTo>
                    <a:pt x="1146" y="612"/>
                  </a:lnTo>
                  <a:lnTo>
                    <a:pt x="1150" y="614"/>
                  </a:lnTo>
                  <a:lnTo>
                    <a:pt x="1152" y="616"/>
                  </a:lnTo>
                  <a:lnTo>
                    <a:pt x="1152" y="618"/>
                  </a:lnTo>
                  <a:lnTo>
                    <a:pt x="1150" y="622"/>
                  </a:lnTo>
                  <a:lnTo>
                    <a:pt x="1144" y="630"/>
                  </a:lnTo>
                  <a:lnTo>
                    <a:pt x="1144" y="636"/>
                  </a:lnTo>
                  <a:lnTo>
                    <a:pt x="1144" y="646"/>
                  </a:lnTo>
                  <a:lnTo>
                    <a:pt x="1138" y="658"/>
                  </a:lnTo>
                  <a:lnTo>
                    <a:pt x="1136" y="668"/>
                  </a:lnTo>
                  <a:lnTo>
                    <a:pt x="1136" y="676"/>
                  </a:lnTo>
                  <a:lnTo>
                    <a:pt x="1140" y="700"/>
                  </a:lnTo>
                  <a:lnTo>
                    <a:pt x="1144" y="724"/>
                  </a:lnTo>
                  <a:lnTo>
                    <a:pt x="1144" y="736"/>
                  </a:lnTo>
                  <a:lnTo>
                    <a:pt x="1142" y="748"/>
                  </a:lnTo>
                  <a:lnTo>
                    <a:pt x="1136" y="768"/>
                  </a:lnTo>
                  <a:lnTo>
                    <a:pt x="1136" y="780"/>
                  </a:lnTo>
                  <a:lnTo>
                    <a:pt x="1136" y="792"/>
                  </a:lnTo>
                  <a:lnTo>
                    <a:pt x="1130" y="806"/>
                  </a:lnTo>
                  <a:lnTo>
                    <a:pt x="1124" y="816"/>
                  </a:lnTo>
                  <a:lnTo>
                    <a:pt x="1120" y="826"/>
                  </a:lnTo>
                  <a:lnTo>
                    <a:pt x="1116" y="840"/>
                  </a:lnTo>
                  <a:lnTo>
                    <a:pt x="1114" y="850"/>
                  </a:lnTo>
                  <a:lnTo>
                    <a:pt x="1110" y="856"/>
                  </a:lnTo>
                  <a:lnTo>
                    <a:pt x="1102" y="862"/>
                  </a:lnTo>
                  <a:lnTo>
                    <a:pt x="1096" y="866"/>
                  </a:lnTo>
                  <a:lnTo>
                    <a:pt x="1088" y="866"/>
                  </a:lnTo>
                  <a:lnTo>
                    <a:pt x="1078" y="864"/>
                  </a:lnTo>
                  <a:lnTo>
                    <a:pt x="1068" y="860"/>
                  </a:lnTo>
                  <a:lnTo>
                    <a:pt x="1060" y="854"/>
                  </a:lnTo>
                  <a:lnTo>
                    <a:pt x="1052" y="848"/>
                  </a:lnTo>
                  <a:lnTo>
                    <a:pt x="1046" y="842"/>
                  </a:lnTo>
                  <a:lnTo>
                    <a:pt x="1044" y="836"/>
                  </a:lnTo>
                  <a:lnTo>
                    <a:pt x="1040" y="830"/>
                  </a:lnTo>
                  <a:lnTo>
                    <a:pt x="1036" y="826"/>
                  </a:lnTo>
                  <a:lnTo>
                    <a:pt x="1028" y="824"/>
                  </a:lnTo>
                  <a:lnTo>
                    <a:pt x="1022" y="822"/>
                  </a:lnTo>
                  <a:lnTo>
                    <a:pt x="1014" y="818"/>
                  </a:lnTo>
                  <a:lnTo>
                    <a:pt x="1004" y="812"/>
                  </a:lnTo>
                  <a:lnTo>
                    <a:pt x="990" y="800"/>
                  </a:lnTo>
                  <a:lnTo>
                    <a:pt x="978" y="788"/>
                  </a:lnTo>
                  <a:lnTo>
                    <a:pt x="968" y="782"/>
                  </a:lnTo>
                  <a:lnTo>
                    <a:pt x="962" y="780"/>
                  </a:lnTo>
                  <a:lnTo>
                    <a:pt x="956" y="778"/>
                  </a:lnTo>
                  <a:lnTo>
                    <a:pt x="948" y="776"/>
                  </a:lnTo>
                  <a:lnTo>
                    <a:pt x="942" y="772"/>
                  </a:lnTo>
                  <a:lnTo>
                    <a:pt x="934" y="764"/>
                  </a:lnTo>
                  <a:lnTo>
                    <a:pt x="922" y="752"/>
                  </a:lnTo>
                  <a:lnTo>
                    <a:pt x="912" y="744"/>
                  </a:lnTo>
                  <a:lnTo>
                    <a:pt x="898" y="732"/>
                  </a:lnTo>
                  <a:lnTo>
                    <a:pt x="896" y="728"/>
                  </a:lnTo>
                  <a:lnTo>
                    <a:pt x="896" y="722"/>
                  </a:lnTo>
                  <a:lnTo>
                    <a:pt x="900" y="712"/>
                  </a:lnTo>
                  <a:lnTo>
                    <a:pt x="908" y="700"/>
                  </a:lnTo>
                  <a:lnTo>
                    <a:pt x="916" y="684"/>
                  </a:lnTo>
                  <a:lnTo>
                    <a:pt x="920" y="674"/>
                  </a:lnTo>
                  <a:lnTo>
                    <a:pt x="920" y="670"/>
                  </a:lnTo>
                  <a:lnTo>
                    <a:pt x="918" y="670"/>
                  </a:lnTo>
                  <a:lnTo>
                    <a:pt x="916" y="668"/>
                  </a:lnTo>
                  <a:lnTo>
                    <a:pt x="914" y="666"/>
                  </a:lnTo>
                  <a:lnTo>
                    <a:pt x="914" y="662"/>
                  </a:lnTo>
                  <a:lnTo>
                    <a:pt x="918" y="652"/>
                  </a:lnTo>
                  <a:lnTo>
                    <a:pt x="924" y="644"/>
                  </a:lnTo>
                  <a:lnTo>
                    <a:pt x="928" y="640"/>
                  </a:lnTo>
                  <a:lnTo>
                    <a:pt x="930" y="642"/>
                  </a:lnTo>
                  <a:lnTo>
                    <a:pt x="934" y="646"/>
                  </a:lnTo>
                  <a:lnTo>
                    <a:pt x="936" y="648"/>
                  </a:lnTo>
                  <a:lnTo>
                    <a:pt x="936" y="650"/>
                  </a:lnTo>
                  <a:lnTo>
                    <a:pt x="938" y="646"/>
                  </a:lnTo>
                  <a:lnTo>
                    <a:pt x="940" y="638"/>
                  </a:lnTo>
                  <a:lnTo>
                    <a:pt x="942" y="626"/>
                  </a:lnTo>
                  <a:lnTo>
                    <a:pt x="946" y="618"/>
                  </a:lnTo>
                  <a:lnTo>
                    <a:pt x="950" y="612"/>
                  </a:lnTo>
                  <a:lnTo>
                    <a:pt x="956" y="606"/>
                  </a:lnTo>
                  <a:lnTo>
                    <a:pt x="958" y="604"/>
                  </a:lnTo>
                  <a:lnTo>
                    <a:pt x="960" y="602"/>
                  </a:lnTo>
                  <a:lnTo>
                    <a:pt x="960" y="598"/>
                  </a:lnTo>
                  <a:lnTo>
                    <a:pt x="956" y="596"/>
                  </a:lnTo>
                  <a:lnTo>
                    <a:pt x="950" y="590"/>
                  </a:lnTo>
                  <a:lnTo>
                    <a:pt x="946" y="586"/>
                  </a:lnTo>
                  <a:lnTo>
                    <a:pt x="942" y="580"/>
                  </a:lnTo>
                  <a:lnTo>
                    <a:pt x="942" y="578"/>
                  </a:lnTo>
                  <a:lnTo>
                    <a:pt x="940" y="578"/>
                  </a:lnTo>
                  <a:lnTo>
                    <a:pt x="934" y="582"/>
                  </a:lnTo>
                  <a:lnTo>
                    <a:pt x="930" y="584"/>
                  </a:lnTo>
                  <a:lnTo>
                    <a:pt x="928" y="588"/>
                  </a:lnTo>
                  <a:lnTo>
                    <a:pt x="928" y="594"/>
                  </a:lnTo>
                  <a:lnTo>
                    <a:pt x="930" y="598"/>
                  </a:lnTo>
                  <a:lnTo>
                    <a:pt x="928" y="600"/>
                  </a:lnTo>
                  <a:lnTo>
                    <a:pt x="926" y="602"/>
                  </a:lnTo>
                  <a:lnTo>
                    <a:pt x="922" y="604"/>
                  </a:lnTo>
                  <a:lnTo>
                    <a:pt x="920" y="604"/>
                  </a:lnTo>
                  <a:lnTo>
                    <a:pt x="918" y="598"/>
                  </a:lnTo>
                  <a:lnTo>
                    <a:pt x="918" y="592"/>
                  </a:lnTo>
                  <a:lnTo>
                    <a:pt x="918" y="590"/>
                  </a:lnTo>
                  <a:lnTo>
                    <a:pt x="916" y="590"/>
                  </a:lnTo>
                  <a:lnTo>
                    <a:pt x="914" y="588"/>
                  </a:lnTo>
                  <a:lnTo>
                    <a:pt x="914" y="586"/>
                  </a:lnTo>
                  <a:lnTo>
                    <a:pt x="914" y="578"/>
                  </a:lnTo>
                  <a:lnTo>
                    <a:pt x="914" y="574"/>
                  </a:lnTo>
                  <a:lnTo>
                    <a:pt x="912" y="574"/>
                  </a:lnTo>
                  <a:lnTo>
                    <a:pt x="906" y="576"/>
                  </a:lnTo>
                  <a:lnTo>
                    <a:pt x="898" y="584"/>
                  </a:lnTo>
                  <a:lnTo>
                    <a:pt x="888" y="590"/>
                  </a:lnTo>
                  <a:lnTo>
                    <a:pt x="882" y="594"/>
                  </a:lnTo>
                  <a:lnTo>
                    <a:pt x="878" y="594"/>
                  </a:lnTo>
                  <a:lnTo>
                    <a:pt x="874" y="592"/>
                  </a:lnTo>
                  <a:lnTo>
                    <a:pt x="870" y="586"/>
                  </a:lnTo>
                  <a:lnTo>
                    <a:pt x="866" y="584"/>
                  </a:lnTo>
                  <a:lnTo>
                    <a:pt x="860" y="584"/>
                  </a:lnTo>
                  <a:lnTo>
                    <a:pt x="854" y="586"/>
                  </a:lnTo>
                  <a:lnTo>
                    <a:pt x="848" y="586"/>
                  </a:lnTo>
                  <a:lnTo>
                    <a:pt x="844" y="584"/>
                  </a:lnTo>
                  <a:lnTo>
                    <a:pt x="842" y="580"/>
                  </a:lnTo>
                  <a:lnTo>
                    <a:pt x="834" y="572"/>
                  </a:lnTo>
                  <a:lnTo>
                    <a:pt x="830" y="570"/>
                  </a:lnTo>
                  <a:lnTo>
                    <a:pt x="822" y="570"/>
                  </a:lnTo>
                  <a:lnTo>
                    <a:pt x="814" y="570"/>
                  </a:lnTo>
                  <a:lnTo>
                    <a:pt x="808" y="568"/>
                  </a:lnTo>
                  <a:lnTo>
                    <a:pt x="804" y="564"/>
                  </a:lnTo>
                  <a:lnTo>
                    <a:pt x="802" y="560"/>
                  </a:lnTo>
                  <a:lnTo>
                    <a:pt x="798" y="554"/>
                  </a:lnTo>
                  <a:lnTo>
                    <a:pt x="796" y="554"/>
                  </a:lnTo>
                  <a:lnTo>
                    <a:pt x="792" y="554"/>
                  </a:lnTo>
                  <a:lnTo>
                    <a:pt x="788" y="554"/>
                  </a:lnTo>
                  <a:lnTo>
                    <a:pt x="784" y="554"/>
                  </a:lnTo>
                  <a:lnTo>
                    <a:pt x="782" y="550"/>
                  </a:lnTo>
                  <a:lnTo>
                    <a:pt x="776" y="546"/>
                  </a:lnTo>
                  <a:lnTo>
                    <a:pt x="774" y="544"/>
                  </a:lnTo>
                  <a:lnTo>
                    <a:pt x="768" y="542"/>
                  </a:lnTo>
                  <a:lnTo>
                    <a:pt x="758" y="542"/>
                  </a:lnTo>
                  <a:lnTo>
                    <a:pt x="752" y="544"/>
                  </a:lnTo>
                  <a:lnTo>
                    <a:pt x="750" y="546"/>
                  </a:lnTo>
                  <a:lnTo>
                    <a:pt x="750" y="548"/>
                  </a:lnTo>
                  <a:lnTo>
                    <a:pt x="754" y="556"/>
                  </a:lnTo>
                  <a:lnTo>
                    <a:pt x="756" y="558"/>
                  </a:lnTo>
                  <a:lnTo>
                    <a:pt x="762" y="560"/>
                  </a:lnTo>
                  <a:lnTo>
                    <a:pt x="774" y="560"/>
                  </a:lnTo>
                  <a:lnTo>
                    <a:pt x="778" y="560"/>
                  </a:lnTo>
                  <a:lnTo>
                    <a:pt x="782" y="564"/>
                  </a:lnTo>
                  <a:lnTo>
                    <a:pt x="784" y="570"/>
                  </a:lnTo>
                  <a:lnTo>
                    <a:pt x="782" y="580"/>
                  </a:lnTo>
                  <a:lnTo>
                    <a:pt x="778" y="594"/>
                  </a:lnTo>
                  <a:lnTo>
                    <a:pt x="778" y="596"/>
                  </a:lnTo>
                  <a:lnTo>
                    <a:pt x="776" y="596"/>
                  </a:lnTo>
                  <a:lnTo>
                    <a:pt x="768" y="594"/>
                  </a:lnTo>
                  <a:lnTo>
                    <a:pt x="760" y="594"/>
                  </a:lnTo>
                  <a:lnTo>
                    <a:pt x="750" y="596"/>
                  </a:lnTo>
                  <a:lnTo>
                    <a:pt x="742" y="596"/>
                  </a:lnTo>
                  <a:lnTo>
                    <a:pt x="736" y="596"/>
                  </a:lnTo>
                  <a:lnTo>
                    <a:pt x="728" y="592"/>
                  </a:lnTo>
                  <a:lnTo>
                    <a:pt x="726" y="592"/>
                  </a:lnTo>
                  <a:lnTo>
                    <a:pt x="720" y="594"/>
                  </a:lnTo>
                  <a:lnTo>
                    <a:pt x="700" y="608"/>
                  </a:lnTo>
                  <a:lnTo>
                    <a:pt x="688" y="620"/>
                  </a:lnTo>
                  <a:lnTo>
                    <a:pt x="680" y="628"/>
                  </a:lnTo>
                  <a:lnTo>
                    <a:pt x="678" y="634"/>
                  </a:lnTo>
                  <a:lnTo>
                    <a:pt x="676" y="638"/>
                  </a:lnTo>
                  <a:lnTo>
                    <a:pt x="676" y="644"/>
                  </a:lnTo>
                  <a:lnTo>
                    <a:pt x="674" y="652"/>
                  </a:lnTo>
                  <a:lnTo>
                    <a:pt x="670" y="662"/>
                  </a:lnTo>
                  <a:lnTo>
                    <a:pt x="662" y="674"/>
                  </a:lnTo>
                  <a:lnTo>
                    <a:pt x="654" y="688"/>
                  </a:lnTo>
                  <a:lnTo>
                    <a:pt x="650" y="698"/>
                  </a:lnTo>
                  <a:lnTo>
                    <a:pt x="652" y="706"/>
                  </a:lnTo>
                  <a:lnTo>
                    <a:pt x="654" y="710"/>
                  </a:lnTo>
                  <a:lnTo>
                    <a:pt x="662" y="716"/>
                  </a:lnTo>
                  <a:lnTo>
                    <a:pt x="662" y="720"/>
                  </a:lnTo>
                  <a:lnTo>
                    <a:pt x="658" y="724"/>
                  </a:lnTo>
                  <a:lnTo>
                    <a:pt x="652" y="728"/>
                  </a:lnTo>
                  <a:lnTo>
                    <a:pt x="648" y="730"/>
                  </a:lnTo>
                  <a:lnTo>
                    <a:pt x="644" y="730"/>
                  </a:lnTo>
                  <a:lnTo>
                    <a:pt x="640" y="728"/>
                  </a:lnTo>
                  <a:lnTo>
                    <a:pt x="630" y="722"/>
                  </a:lnTo>
                  <a:lnTo>
                    <a:pt x="626" y="722"/>
                  </a:lnTo>
                  <a:lnTo>
                    <a:pt x="618" y="722"/>
                  </a:lnTo>
                  <a:lnTo>
                    <a:pt x="612" y="722"/>
                  </a:lnTo>
                  <a:lnTo>
                    <a:pt x="608" y="718"/>
                  </a:lnTo>
                  <a:lnTo>
                    <a:pt x="596" y="712"/>
                  </a:lnTo>
                  <a:lnTo>
                    <a:pt x="574" y="688"/>
                  </a:lnTo>
                  <a:lnTo>
                    <a:pt x="562" y="676"/>
                  </a:lnTo>
                  <a:lnTo>
                    <a:pt x="554" y="670"/>
                  </a:lnTo>
                  <a:lnTo>
                    <a:pt x="550" y="668"/>
                  </a:lnTo>
                  <a:lnTo>
                    <a:pt x="548" y="668"/>
                  </a:lnTo>
                  <a:lnTo>
                    <a:pt x="546" y="670"/>
                  </a:lnTo>
                  <a:lnTo>
                    <a:pt x="544" y="674"/>
                  </a:lnTo>
                  <a:lnTo>
                    <a:pt x="542" y="682"/>
                  </a:lnTo>
                  <a:lnTo>
                    <a:pt x="540" y="684"/>
                  </a:lnTo>
                  <a:lnTo>
                    <a:pt x="536" y="684"/>
                  </a:lnTo>
                  <a:lnTo>
                    <a:pt x="532" y="682"/>
                  </a:lnTo>
                  <a:lnTo>
                    <a:pt x="526" y="678"/>
                  </a:lnTo>
                  <a:lnTo>
                    <a:pt x="522" y="678"/>
                  </a:lnTo>
                  <a:lnTo>
                    <a:pt x="518" y="682"/>
                  </a:lnTo>
                  <a:lnTo>
                    <a:pt x="516" y="690"/>
                  </a:lnTo>
                  <a:lnTo>
                    <a:pt x="516" y="698"/>
                  </a:lnTo>
                  <a:lnTo>
                    <a:pt x="514" y="700"/>
                  </a:lnTo>
                  <a:lnTo>
                    <a:pt x="510" y="700"/>
                  </a:lnTo>
                  <a:lnTo>
                    <a:pt x="508" y="698"/>
                  </a:lnTo>
                  <a:lnTo>
                    <a:pt x="502" y="696"/>
                  </a:lnTo>
                  <a:lnTo>
                    <a:pt x="498" y="698"/>
                  </a:lnTo>
                  <a:lnTo>
                    <a:pt x="490" y="704"/>
                  </a:lnTo>
                  <a:lnTo>
                    <a:pt x="482" y="718"/>
                  </a:lnTo>
                  <a:lnTo>
                    <a:pt x="474" y="732"/>
                  </a:lnTo>
                  <a:lnTo>
                    <a:pt x="468" y="742"/>
                  </a:lnTo>
                  <a:lnTo>
                    <a:pt x="458" y="752"/>
                  </a:lnTo>
                  <a:lnTo>
                    <a:pt x="454" y="756"/>
                  </a:lnTo>
                  <a:lnTo>
                    <a:pt x="452" y="762"/>
                  </a:lnTo>
                  <a:lnTo>
                    <a:pt x="450" y="768"/>
                  </a:lnTo>
                  <a:lnTo>
                    <a:pt x="448" y="780"/>
                  </a:lnTo>
                  <a:lnTo>
                    <a:pt x="448" y="794"/>
                  </a:lnTo>
                  <a:lnTo>
                    <a:pt x="446" y="798"/>
                  </a:lnTo>
                  <a:lnTo>
                    <a:pt x="444" y="800"/>
                  </a:lnTo>
                  <a:lnTo>
                    <a:pt x="440" y="798"/>
                  </a:lnTo>
                  <a:lnTo>
                    <a:pt x="434" y="794"/>
                  </a:lnTo>
                  <a:lnTo>
                    <a:pt x="428" y="792"/>
                  </a:lnTo>
                  <a:lnTo>
                    <a:pt x="426" y="792"/>
                  </a:lnTo>
                  <a:lnTo>
                    <a:pt x="422" y="794"/>
                  </a:lnTo>
                  <a:lnTo>
                    <a:pt x="420" y="798"/>
                  </a:lnTo>
                  <a:lnTo>
                    <a:pt x="418" y="804"/>
                  </a:lnTo>
                  <a:lnTo>
                    <a:pt x="416" y="824"/>
                  </a:lnTo>
                  <a:lnTo>
                    <a:pt x="414" y="840"/>
                  </a:lnTo>
                  <a:lnTo>
                    <a:pt x="414" y="842"/>
                  </a:lnTo>
                  <a:lnTo>
                    <a:pt x="412" y="842"/>
                  </a:lnTo>
                  <a:lnTo>
                    <a:pt x="408" y="828"/>
                  </a:lnTo>
                  <a:lnTo>
                    <a:pt x="402" y="818"/>
                  </a:lnTo>
                  <a:lnTo>
                    <a:pt x="400" y="812"/>
                  </a:lnTo>
                  <a:lnTo>
                    <a:pt x="396" y="810"/>
                  </a:lnTo>
                  <a:lnTo>
                    <a:pt x="392" y="810"/>
                  </a:lnTo>
                  <a:lnTo>
                    <a:pt x="386" y="812"/>
                  </a:lnTo>
                  <a:lnTo>
                    <a:pt x="382" y="816"/>
                  </a:lnTo>
                  <a:lnTo>
                    <a:pt x="376" y="822"/>
                  </a:lnTo>
                  <a:lnTo>
                    <a:pt x="366" y="840"/>
                  </a:lnTo>
                  <a:lnTo>
                    <a:pt x="360" y="852"/>
                  </a:lnTo>
                  <a:lnTo>
                    <a:pt x="360" y="864"/>
                  </a:lnTo>
                  <a:lnTo>
                    <a:pt x="362" y="872"/>
                  </a:lnTo>
                  <a:lnTo>
                    <a:pt x="362" y="880"/>
                  </a:lnTo>
                  <a:lnTo>
                    <a:pt x="362" y="886"/>
                  </a:lnTo>
                  <a:lnTo>
                    <a:pt x="358" y="894"/>
                  </a:lnTo>
                  <a:lnTo>
                    <a:pt x="350" y="902"/>
                  </a:lnTo>
                  <a:lnTo>
                    <a:pt x="344" y="908"/>
                  </a:lnTo>
                  <a:lnTo>
                    <a:pt x="338" y="916"/>
                  </a:lnTo>
                  <a:lnTo>
                    <a:pt x="334" y="930"/>
                  </a:lnTo>
                  <a:lnTo>
                    <a:pt x="330" y="940"/>
                  </a:lnTo>
                  <a:lnTo>
                    <a:pt x="324" y="948"/>
                  </a:lnTo>
                  <a:lnTo>
                    <a:pt x="316" y="958"/>
                  </a:lnTo>
                  <a:lnTo>
                    <a:pt x="304" y="968"/>
                  </a:lnTo>
                  <a:lnTo>
                    <a:pt x="290" y="976"/>
                  </a:lnTo>
                  <a:lnTo>
                    <a:pt x="276" y="980"/>
                  </a:lnTo>
                  <a:lnTo>
                    <a:pt x="266" y="982"/>
                  </a:lnTo>
                  <a:lnTo>
                    <a:pt x="256" y="980"/>
                  </a:lnTo>
                  <a:lnTo>
                    <a:pt x="240" y="980"/>
                  </a:lnTo>
                  <a:lnTo>
                    <a:pt x="234" y="982"/>
                  </a:lnTo>
                  <a:lnTo>
                    <a:pt x="232" y="986"/>
                  </a:lnTo>
                  <a:lnTo>
                    <a:pt x="228" y="990"/>
                  </a:lnTo>
                  <a:lnTo>
                    <a:pt x="224" y="994"/>
                  </a:lnTo>
                  <a:lnTo>
                    <a:pt x="212" y="998"/>
                  </a:lnTo>
                  <a:lnTo>
                    <a:pt x="198" y="1002"/>
                  </a:lnTo>
                  <a:lnTo>
                    <a:pt x="180" y="1012"/>
                  </a:lnTo>
                  <a:lnTo>
                    <a:pt x="170" y="1016"/>
                  </a:lnTo>
                  <a:lnTo>
                    <a:pt x="162" y="1016"/>
                  </a:lnTo>
                  <a:lnTo>
                    <a:pt x="150" y="1012"/>
                  </a:lnTo>
                  <a:lnTo>
                    <a:pt x="142" y="1012"/>
                  </a:lnTo>
                  <a:lnTo>
                    <a:pt x="134" y="1014"/>
                  </a:lnTo>
                  <a:lnTo>
                    <a:pt x="124" y="1020"/>
                  </a:lnTo>
                  <a:lnTo>
                    <a:pt x="110" y="1034"/>
                  </a:lnTo>
                  <a:lnTo>
                    <a:pt x="98" y="1048"/>
                  </a:lnTo>
                  <a:lnTo>
                    <a:pt x="86" y="1058"/>
                  </a:lnTo>
                  <a:lnTo>
                    <a:pt x="78" y="1062"/>
                  </a:lnTo>
                  <a:lnTo>
                    <a:pt x="72" y="1066"/>
                  </a:lnTo>
                  <a:lnTo>
                    <a:pt x="66" y="1068"/>
                  </a:lnTo>
                  <a:lnTo>
                    <a:pt x="60" y="1074"/>
                  </a:lnTo>
                  <a:lnTo>
                    <a:pt x="54" y="1082"/>
                  </a:lnTo>
                  <a:lnTo>
                    <a:pt x="50" y="1094"/>
                  </a:lnTo>
                  <a:lnTo>
                    <a:pt x="44" y="1104"/>
                  </a:lnTo>
                  <a:lnTo>
                    <a:pt x="42" y="1106"/>
                  </a:lnTo>
                  <a:lnTo>
                    <a:pt x="42" y="1104"/>
                  </a:lnTo>
                  <a:lnTo>
                    <a:pt x="40" y="1100"/>
                  </a:lnTo>
                  <a:lnTo>
                    <a:pt x="38" y="1092"/>
                  </a:lnTo>
                  <a:lnTo>
                    <a:pt x="38" y="1084"/>
                  </a:lnTo>
                  <a:lnTo>
                    <a:pt x="36" y="1078"/>
                  </a:lnTo>
                  <a:lnTo>
                    <a:pt x="34" y="1078"/>
                  </a:lnTo>
                  <a:lnTo>
                    <a:pt x="30" y="1078"/>
                  </a:lnTo>
                  <a:lnTo>
                    <a:pt x="24" y="1088"/>
                  </a:lnTo>
                  <a:lnTo>
                    <a:pt x="18" y="1100"/>
                  </a:lnTo>
                  <a:lnTo>
                    <a:pt x="16" y="1110"/>
                  </a:lnTo>
                  <a:lnTo>
                    <a:pt x="18" y="1118"/>
                  </a:lnTo>
                  <a:lnTo>
                    <a:pt x="20" y="1126"/>
                  </a:lnTo>
                  <a:lnTo>
                    <a:pt x="22" y="1134"/>
                  </a:lnTo>
                  <a:lnTo>
                    <a:pt x="22" y="1144"/>
                  </a:lnTo>
                  <a:lnTo>
                    <a:pt x="20" y="1154"/>
                  </a:lnTo>
                  <a:lnTo>
                    <a:pt x="12" y="1170"/>
                  </a:lnTo>
                  <a:lnTo>
                    <a:pt x="8" y="1180"/>
                  </a:lnTo>
                  <a:lnTo>
                    <a:pt x="4" y="1188"/>
                  </a:lnTo>
                  <a:lnTo>
                    <a:pt x="4" y="1196"/>
                  </a:lnTo>
                  <a:lnTo>
                    <a:pt x="4" y="1204"/>
                  </a:lnTo>
                  <a:lnTo>
                    <a:pt x="8" y="1220"/>
                  </a:lnTo>
                  <a:lnTo>
                    <a:pt x="16" y="1236"/>
                  </a:lnTo>
                  <a:lnTo>
                    <a:pt x="34" y="1266"/>
                  </a:lnTo>
                  <a:lnTo>
                    <a:pt x="40" y="1280"/>
                  </a:lnTo>
                  <a:lnTo>
                    <a:pt x="40" y="1288"/>
                  </a:lnTo>
                  <a:lnTo>
                    <a:pt x="42" y="1294"/>
                  </a:lnTo>
                  <a:lnTo>
                    <a:pt x="40" y="1304"/>
                  </a:lnTo>
                  <a:lnTo>
                    <a:pt x="38" y="1304"/>
                  </a:lnTo>
                  <a:lnTo>
                    <a:pt x="36" y="1304"/>
                  </a:lnTo>
                  <a:lnTo>
                    <a:pt x="32" y="1298"/>
                  </a:lnTo>
                  <a:lnTo>
                    <a:pt x="26" y="1288"/>
                  </a:lnTo>
                  <a:lnTo>
                    <a:pt x="14" y="1268"/>
                  </a:lnTo>
                  <a:lnTo>
                    <a:pt x="10" y="1264"/>
                  </a:lnTo>
                  <a:lnTo>
                    <a:pt x="8" y="1264"/>
                  </a:lnTo>
                  <a:lnTo>
                    <a:pt x="6" y="1270"/>
                  </a:lnTo>
                  <a:lnTo>
                    <a:pt x="8" y="1276"/>
                  </a:lnTo>
                  <a:lnTo>
                    <a:pt x="14" y="1290"/>
                  </a:lnTo>
                  <a:lnTo>
                    <a:pt x="20" y="1304"/>
                  </a:lnTo>
                  <a:lnTo>
                    <a:pt x="22" y="1310"/>
                  </a:lnTo>
                  <a:lnTo>
                    <a:pt x="22" y="1316"/>
                  </a:lnTo>
                  <a:lnTo>
                    <a:pt x="20" y="1316"/>
                  </a:lnTo>
                  <a:lnTo>
                    <a:pt x="16" y="1312"/>
                  </a:lnTo>
                  <a:lnTo>
                    <a:pt x="10" y="1298"/>
                  </a:lnTo>
                  <a:lnTo>
                    <a:pt x="6" y="1292"/>
                  </a:lnTo>
                  <a:lnTo>
                    <a:pt x="2" y="1288"/>
                  </a:lnTo>
                  <a:lnTo>
                    <a:pt x="0" y="1290"/>
                  </a:lnTo>
                  <a:lnTo>
                    <a:pt x="0" y="1298"/>
                  </a:lnTo>
                  <a:lnTo>
                    <a:pt x="0" y="1306"/>
                  </a:lnTo>
                  <a:lnTo>
                    <a:pt x="4" y="1316"/>
                  </a:lnTo>
                  <a:lnTo>
                    <a:pt x="18" y="1334"/>
                  </a:lnTo>
                  <a:lnTo>
                    <a:pt x="30" y="1354"/>
                  </a:lnTo>
                  <a:lnTo>
                    <a:pt x="34" y="1364"/>
                  </a:lnTo>
                  <a:lnTo>
                    <a:pt x="36" y="1374"/>
                  </a:lnTo>
                  <a:lnTo>
                    <a:pt x="36" y="1390"/>
                  </a:lnTo>
                  <a:lnTo>
                    <a:pt x="40" y="1402"/>
                  </a:lnTo>
                  <a:lnTo>
                    <a:pt x="48" y="1414"/>
                  </a:lnTo>
                  <a:lnTo>
                    <a:pt x="60" y="1438"/>
                  </a:lnTo>
                  <a:lnTo>
                    <a:pt x="66" y="1452"/>
                  </a:lnTo>
                  <a:lnTo>
                    <a:pt x="68" y="1462"/>
                  </a:lnTo>
                  <a:lnTo>
                    <a:pt x="68" y="1482"/>
                  </a:lnTo>
                  <a:lnTo>
                    <a:pt x="70" y="1494"/>
                  </a:lnTo>
                  <a:lnTo>
                    <a:pt x="72" y="1510"/>
                  </a:lnTo>
                  <a:lnTo>
                    <a:pt x="76" y="1530"/>
                  </a:lnTo>
                  <a:lnTo>
                    <a:pt x="86" y="1556"/>
                  </a:lnTo>
                  <a:lnTo>
                    <a:pt x="96" y="1580"/>
                  </a:lnTo>
                  <a:lnTo>
                    <a:pt x="100" y="1598"/>
                  </a:lnTo>
                  <a:lnTo>
                    <a:pt x="102" y="1610"/>
                  </a:lnTo>
                  <a:lnTo>
                    <a:pt x="100" y="1620"/>
                  </a:lnTo>
                  <a:lnTo>
                    <a:pt x="96" y="1632"/>
                  </a:lnTo>
                  <a:lnTo>
                    <a:pt x="94" y="1638"/>
                  </a:lnTo>
                  <a:lnTo>
                    <a:pt x="94" y="1646"/>
                  </a:lnTo>
                  <a:lnTo>
                    <a:pt x="96" y="1656"/>
                  </a:lnTo>
                  <a:lnTo>
                    <a:pt x="96" y="1664"/>
                  </a:lnTo>
                  <a:lnTo>
                    <a:pt x="94" y="1672"/>
                  </a:lnTo>
                  <a:lnTo>
                    <a:pt x="92" y="1678"/>
                  </a:lnTo>
                  <a:lnTo>
                    <a:pt x="88" y="1682"/>
                  </a:lnTo>
                  <a:lnTo>
                    <a:pt x="84" y="1684"/>
                  </a:lnTo>
                  <a:lnTo>
                    <a:pt x="80" y="1684"/>
                  </a:lnTo>
                  <a:lnTo>
                    <a:pt x="74" y="1684"/>
                  </a:lnTo>
                  <a:lnTo>
                    <a:pt x="70" y="1684"/>
                  </a:lnTo>
                  <a:lnTo>
                    <a:pt x="68" y="1688"/>
                  </a:lnTo>
                  <a:lnTo>
                    <a:pt x="66" y="1694"/>
                  </a:lnTo>
                  <a:lnTo>
                    <a:pt x="66" y="1702"/>
                  </a:lnTo>
                  <a:lnTo>
                    <a:pt x="68" y="1710"/>
                  </a:lnTo>
                  <a:lnTo>
                    <a:pt x="70" y="1716"/>
                  </a:lnTo>
                  <a:lnTo>
                    <a:pt x="76" y="1722"/>
                  </a:lnTo>
                  <a:lnTo>
                    <a:pt x="82" y="1722"/>
                  </a:lnTo>
                  <a:lnTo>
                    <a:pt x="88" y="1722"/>
                  </a:lnTo>
                  <a:lnTo>
                    <a:pt x="92" y="1726"/>
                  </a:lnTo>
                  <a:lnTo>
                    <a:pt x="104" y="1738"/>
                  </a:lnTo>
                  <a:lnTo>
                    <a:pt x="114" y="1746"/>
                  </a:lnTo>
                  <a:lnTo>
                    <a:pt x="124" y="1754"/>
                  </a:lnTo>
                  <a:lnTo>
                    <a:pt x="138" y="1760"/>
                  </a:lnTo>
                  <a:lnTo>
                    <a:pt x="156" y="1762"/>
                  </a:lnTo>
                  <a:lnTo>
                    <a:pt x="174" y="1764"/>
                  </a:lnTo>
                  <a:lnTo>
                    <a:pt x="188" y="1760"/>
                  </a:lnTo>
                  <a:lnTo>
                    <a:pt x="200" y="1756"/>
                  </a:lnTo>
                  <a:lnTo>
                    <a:pt x="208" y="1750"/>
                  </a:lnTo>
                  <a:lnTo>
                    <a:pt x="222" y="1736"/>
                  </a:lnTo>
                  <a:lnTo>
                    <a:pt x="230" y="1732"/>
                  </a:lnTo>
                  <a:lnTo>
                    <a:pt x="238" y="1730"/>
                  </a:lnTo>
                  <a:lnTo>
                    <a:pt x="246" y="1728"/>
                  </a:lnTo>
                  <a:lnTo>
                    <a:pt x="252" y="1724"/>
                  </a:lnTo>
                  <a:lnTo>
                    <a:pt x="254" y="1720"/>
                  </a:lnTo>
                  <a:lnTo>
                    <a:pt x="258" y="1714"/>
                  </a:lnTo>
                  <a:lnTo>
                    <a:pt x="260" y="1708"/>
                  </a:lnTo>
                  <a:lnTo>
                    <a:pt x="264" y="1704"/>
                  </a:lnTo>
                  <a:lnTo>
                    <a:pt x="270" y="1702"/>
                  </a:lnTo>
                  <a:lnTo>
                    <a:pt x="278" y="1700"/>
                  </a:lnTo>
                  <a:lnTo>
                    <a:pt x="290" y="1700"/>
                  </a:lnTo>
                  <a:lnTo>
                    <a:pt x="300" y="1700"/>
                  </a:lnTo>
                  <a:lnTo>
                    <a:pt x="316" y="1696"/>
                  </a:lnTo>
                  <a:lnTo>
                    <a:pt x="322" y="1694"/>
                  </a:lnTo>
                  <a:lnTo>
                    <a:pt x="328" y="1694"/>
                  </a:lnTo>
                  <a:lnTo>
                    <a:pt x="336" y="1694"/>
                  </a:lnTo>
                  <a:lnTo>
                    <a:pt x="344" y="1698"/>
                  </a:lnTo>
                  <a:lnTo>
                    <a:pt x="354" y="1702"/>
                  </a:lnTo>
                  <a:lnTo>
                    <a:pt x="360" y="1704"/>
                  </a:lnTo>
                  <a:lnTo>
                    <a:pt x="364" y="1704"/>
                  </a:lnTo>
                  <a:lnTo>
                    <a:pt x="368" y="1702"/>
                  </a:lnTo>
                  <a:lnTo>
                    <a:pt x="372" y="1698"/>
                  </a:lnTo>
                  <a:lnTo>
                    <a:pt x="378" y="1698"/>
                  </a:lnTo>
                  <a:lnTo>
                    <a:pt x="386" y="1698"/>
                  </a:lnTo>
                  <a:lnTo>
                    <a:pt x="398" y="1702"/>
                  </a:lnTo>
                  <a:lnTo>
                    <a:pt x="406" y="1702"/>
                  </a:lnTo>
                  <a:lnTo>
                    <a:pt x="410" y="1702"/>
                  </a:lnTo>
                  <a:lnTo>
                    <a:pt x="416" y="1702"/>
                  </a:lnTo>
                  <a:lnTo>
                    <a:pt x="420" y="1698"/>
                  </a:lnTo>
                  <a:lnTo>
                    <a:pt x="426" y="1690"/>
                  </a:lnTo>
                  <a:lnTo>
                    <a:pt x="430" y="1678"/>
                  </a:lnTo>
                  <a:lnTo>
                    <a:pt x="434" y="1668"/>
                  </a:lnTo>
                  <a:lnTo>
                    <a:pt x="438" y="1656"/>
                  </a:lnTo>
                  <a:lnTo>
                    <a:pt x="446" y="1650"/>
                  </a:lnTo>
                  <a:lnTo>
                    <a:pt x="450" y="1646"/>
                  </a:lnTo>
                  <a:lnTo>
                    <a:pt x="454" y="1646"/>
                  </a:lnTo>
                  <a:lnTo>
                    <a:pt x="464" y="1644"/>
                  </a:lnTo>
                  <a:lnTo>
                    <a:pt x="472" y="1640"/>
                  </a:lnTo>
                  <a:lnTo>
                    <a:pt x="484" y="1628"/>
                  </a:lnTo>
                  <a:lnTo>
                    <a:pt x="492" y="1622"/>
                  </a:lnTo>
                  <a:lnTo>
                    <a:pt x="502" y="1616"/>
                  </a:lnTo>
                  <a:lnTo>
                    <a:pt x="514" y="1614"/>
                  </a:lnTo>
                  <a:lnTo>
                    <a:pt x="530" y="1614"/>
                  </a:lnTo>
                  <a:lnTo>
                    <a:pt x="544" y="1614"/>
                  </a:lnTo>
                  <a:lnTo>
                    <a:pt x="556" y="1614"/>
                  </a:lnTo>
                  <a:lnTo>
                    <a:pt x="578" y="1610"/>
                  </a:lnTo>
                  <a:lnTo>
                    <a:pt x="596" y="1602"/>
                  </a:lnTo>
                  <a:lnTo>
                    <a:pt x="614" y="1594"/>
                  </a:lnTo>
                  <a:lnTo>
                    <a:pt x="630" y="1586"/>
                  </a:lnTo>
                  <a:lnTo>
                    <a:pt x="644" y="1580"/>
                  </a:lnTo>
                  <a:lnTo>
                    <a:pt x="660" y="1574"/>
                  </a:lnTo>
                  <a:lnTo>
                    <a:pt x="668" y="1574"/>
                  </a:lnTo>
                  <a:lnTo>
                    <a:pt x="676" y="1574"/>
                  </a:lnTo>
                  <a:lnTo>
                    <a:pt x="696" y="1578"/>
                  </a:lnTo>
                  <a:lnTo>
                    <a:pt x="706" y="1576"/>
                  </a:lnTo>
                  <a:lnTo>
                    <a:pt x="712" y="1574"/>
                  </a:lnTo>
                  <a:lnTo>
                    <a:pt x="716" y="1572"/>
                  </a:lnTo>
                  <a:lnTo>
                    <a:pt x="718" y="1570"/>
                  </a:lnTo>
                  <a:lnTo>
                    <a:pt x="724" y="1572"/>
                  </a:lnTo>
                  <a:lnTo>
                    <a:pt x="752" y="1586"/>
                  </a:lnTo>
                  <a:lnTo>
                    <a:pt x="772" y="1596"/>
                  </a:lnTo>
                  <a:lnTo>
                    <a:pt x="786" y="1602"/>
                  </a:lnTo>
                  <a:lnTo>
                    <a:pt x="798" y="1606"/>
                  </a:lnTo>
                  <a:lnTo>
                    <a:pt x="806" y="1606"/>
                  </a:lnTo>
                  <a:lnTo>
                    <a:pt x="822" y="1608"/>
                  </a:lnTo>
                  <a:lnTo>
                    <a:pt x="828" y="1612"/>
                  </a:lnTo>
                  <a:lnTo>
                    <a:pt x="838" y="1618"/>
                  </a:lnTo>
                  <a:lnTo>
                    <a:pt x="846" y="1626"/>
                  </a:lnTo>
                  <a:lnTo>
                    <a:pt x="848" y="1632"/>
                  </a:lnTo>
                  <a:lnTo>
                    <a:pt x="848" y="1636"/>
                  </a:lnTo>
                  <a:lnTo>
                    <a:pt x="846" y="1642"/>
                  </a:lnTo>
                  <a:lnTo>
                    <a:pt x="844" y="1646"/>
                  </a:lnTo>
                  <a:lnTo>
                    <a:pt x="844" y="1650"/>
                  </a:lnTo>
                  <a:lnTo>
                    <a:pt x="848" y="1656"/>
                  </a:lnTo>
                  <a:lnTo>
                    <a:pt x="860" y="1662"/>
                  </a:lnTo>
                  <a:lnTo>
                    <a:pt x="866" y="1666"/>
                  </a:lnTo>
                  <a:lnTo>
                    <a:pt x="870" y="1672"/>
                  </a:lnTo>
                  <a:lnTo>
                    <a:pt x="876" y="1682"/>
                  </a:lnTo>
                  <a:lnTo>
                    <a:pt x="880" y="1694"/>
                  </a:lnTo>
                  <a:lnTo>
                    <a:pt x="882" y="1708"/>
                  </a:lnTo>
                  <a:lnTo>
                    <a:pt x="884" y="1722"/>
                  </a:lnTo>
                  <a:lnTo>
                    <a:pt x="886" y="1732"/>
                  </a:lnTo>
                  <a:lnTo>
                    <a:pt x="892" y="1742"/>
                  </a:lnTo>
                  <a:lnTo>
                    <a:pt x="894" y="1746"/>
                  </a:lnTo>
                  <a:lnTo>
                    <a:pt x="900" y="1748"/>
                  </a:lnTo>
                  <a:lnTo>
                    <a:pt x="914" y="1756"/>
                  </a:lnTo>
                  <a:lnTo>
                    <a:pt x="914" y="1758"/>
                  </a:lnTo>
                  <a:lnTo>
                    <a:pt x="914" y="1756"/>
                  </a:lnTo>
                  <a:lnTo>
                    <a:pt x="914" y="1750"/>
                  </a:lnTo>
                  <a:lnTo>
                    <a:pt x="916" y="1742"/>
                  </a:lnTo>
                  <a:lnTo>
                    <a:pt x="920" y="1730"/>
                  </a:lnTo>
                  <a:lnTo>
                    <a:pt x="932" y="1716"/>
                  </a:lnTo>
                  <a:lnTo>
                    <a:pt x="944" y="1702"/>
                  </a:lnTo>
                  <a:lnTo>
                    <a:pt x="952" y="1694"/>
                  </a:lnTo>
                  <a:lnTo>
                    <a:pt x="958" y="1690"/>
                  </a:lnTo>
                  <a:lnTo>
                    <a:pt x="962" y="1690"/>
                  </a:lnTo>
                  <a:lnTo>
                    <a:pt x="964" y="1690"/>
                  </a:lnTo>
                  <a:lnTo>
                    <a:pt x="966" y="1680"/>
                  </a:lnTo>
                  <a:lnTo>
                    <a:pt x="968" y="1672"/>
                  </a:lnTo>
                  <a:lnTo>
                    <a:pt x="972" y="1666"/>
                  </a:lnTo>
                  <a:lnTo>
                    <a:pt x="980" y="1658"/>
                  </a:lnTo>
                  <a:lnTo>
                    <a:pt x="986" y="1650"/>
                  </a:lnTo>
                  <a:lnTo>
                    <a:pt x="988" y="1646"/>
                  </a:lnTo>
                  <a:lnTo>
                    <a:pt x="990" y="1640"/>
                  </a:lnTo>
                  <a:lnTo>
                    <a:pt x="990" y="1632"/>
                  </a:lnTo>
                  <a:lnTo>
                    <a:pt x="990" y="1630"/>
                  </a:lnTo>
                  <a:lnTo>
                    <a:pt x="990" y="1632"/>
                  </a:lnTo>
                  <a:lnTo>
                    <a:pt x="998" y="1646"/>
                  </a:lnTo>
                  <a:lnTo>
                    <a:pt x="998" y="1654"/>
                  </a:lnTo>
                  <a:lnTo>
                    <a:pt x="996" y="1664"/>
                  </a:lnTo>
                  <a:lnTo>
                    <a:pt x="988" y="1686"/>
                  </a:lnTo>
                  <a:lnTo>
                    <a:pt x="980" y="1710"/>
                  </a:lnTo>
                  <a:lnTo>
                    <a:pt x="978" y="1718"/>
                  </a:lnTo>
                  <a:lnTo>
                    <a:pt x="978" y="1726"/>
                  </a:lnTo>
                  <a:lnTo>
                    <a:pt x="980" y="1736"/>
                  </a:lnTo>
                  <a:lnTo>
                    <a:pt x="980" y="1746"/>
                  </a:lnTo>
                  <a:lnTo>
                    <a:pt x="976" y="1750"/>
                  </a:lnTo>
                  <a:lnTo>
                    <a:pt x="972" y="1752"/>
                  </a:lnTo>
                  <a:lnTo>
                    <a:pt x="968" y="1752"/>
                  </a:lnTo>
                  <a:lnTo>
                    <a:pt x="964" y="1754"/>
                  </a:lnTo>
                  <a:lnTo>
                    <a:pt x="960" y="1756"/>
                  </a:lnTo>
                  <a:lnTo>
                    <a:pt x="956" y="1758"/>
                  </a:lnTo>
                  <a:lnTo>
                    <a:pt x="954" y="1762"/>
                  </a:lnTo>
                  <a:lnTo>
                    <a:pt x="954" y="1766"/>
                  </a:lnTo>
                  <a:lnTo>
                    <a:pt x="958" y="1770"/>
                  </a:lnTo>
                  <a:lnTo>
                    <a:pt x="962" y="1770"/>
                  </a:lnTo>
                  <a:lnTo>
                    <a:pt x="972" y="1770"/>
                  </a:lnTo>
                  <a:lnTo>
                    <a:pt x="978" y="1770"/>
                  </a:lnTo>
                  <a:lnTo>
                    <a:pt x="982" y="1766"/>
                  </a:lnTo>
                  <a:lnTo>
                    <a:pt x="990" y="1758"/>
                  </a:lnTo>
                  <a:lnTo>
                    <a:pt x="994" y="1750"/>
                  </a:lnTo>
                  <a:lnTo>
                    <a:pt x="996" y="1740"/>
                  </a:lnTo>
                  <a:lnTo>
                    <a:pt x="1000" y="1730"/>
                  </a:lnTo>
                  <a:lnTo>
                    <a:pt x="1002" y="1726"/>
                  </a:lnTo>
                  <a:lnTo>
                    <a:pt x="1004" y="1726"/>
                  </a:lnTo>
                  <a:lnTo>
                    <a:pt x="1006" y="1726"/>
                  </a:lnTo>
                  <a:lnTo>
                    <a:pt x="1012" y="1734"/>
                  </a:lnTo>
                  <a:lnTo>
                    <a:pt x="1016" y="1744"/>
                  </a:lnTo>
                  <a:lnTo>
                    <a:pt x="1018" y="1754"/>
                  </a:lnTo>
                  <a:lnTo>
                    <a:pt x="1016" y="1762"/>
                  </a:lnTo>
                  <a:lnTo>
                    <a:pt x="1014" y="1770"/>
                  </a:lnTo>
                  <a:lnTo>
                    <a:pt x="1006" y="1784"/>
                  </a:lnTo>
                  <a:lnTo>
                    <a:pt x="1004" y="1788"/>
                  </a:lnTo>
                  <a:lnTo>
                    <a:pt x="1006" y="1792"/>
                  </a:lnTo>
                  <a:lnTo>
                    <a:pt x="1008" y="1794"/>
                  </a:lnTo>
                  <a:lnTo>
                    <a:pt x="1012" y="1794"/>
                  </a:lnTo>
                  <a:lnTo>
                    <a:pt x="1020" y="1792"/>
                  </a:lnTo>
                  <a:lnTo>
                    <a:pt x="1030" y="1792"/>
                  </a:lnTo>
                  <a:lnTo>
                    <a:pt x="1036" y="1792"/>
                  </a:lnTo>
                  <a:lnTo>
                    <a:pt x="1042" y="1794"/>
                  </a:lnTo>
                  <a:lnTo>
                    <a:pt x="1048" y="1800"/>
                  </a:lnTo>
                  <a:lnTo>
                    <a:pt x="1054" y="1806"/>
                  </a:lnTo>
                  <a:lnTo>
                    <a:pt x="1060" y="1814"/>
                  </a:lnTo>
                  <a:lnTo>
                    <a:pt x="1066" y="1824"/>
                  </a:lnTo>
                  <a:lnTo>
                    <a:pt x="1070" y="1832"/>
                  </a:lnTo>
                  <a:lnTo>
                    <a:pt x="1072" y="1842"/>
                  </a:lnTo>
                  <a:lnTo>
                    <a:pt x="1072" y="1850"/>
                  </a:lnTo>
                  <a:lnTo>
                    <a:pt x="1070" y="1858"/>
                  </a:lnTo>
                  <a:lnTo>
                    <a:pt x="1068" y="1866"/>
                  </a:lnTo>
                  <a:lnTo>
                    <a:pt x="1068" y="1874"/>
                  </a:lnTo>
                  <a:lnTo>
                    <a:pt x="1074" y="1886"/>
                  </a:lnTo>
                  <a:lnTo>
                    <a:pt x="1080" y="1896"/>
                  </a:lnTo>
                  <a:lnTo>
                    <a:pt x="1088" y="1904"/>
                  </a:lnTo>
                  <a:lnTo>
                    <a:pt x="1098" y="1914"/>
                  </a:lnTo>
                  <a:lnTo>
                    <a:pt x="1106" y="1920"/>
                  </a:lnTo>
                  <a:lnTo>
                    <a:pt x="1114" y="1924"/>
                  </a:lnTo>
                  <a:lnTo>
                    <a:pt x="1120" y="1926"/>
                  </a:lnTo>
                  <a:lnTo>
                    <a:pt x="1126" y="1930"/>
                  </a:lnTo>
                  <a:lnTo>
                    <a:pt x="1134" y="1938"/>
                  </a:lnTo>
                  <a:lnTo>
                    <a:pt x="1138" y="1944"/>
                  </a:lnTo>
                  <a:lnTo>
                    <a:pt x="1142" y="1944"/>
                  </a:lnTo>
                  <a:lnTo>
                    <a:pt x="1146" y="1942"/>
                  </a:lnTo>
                  <a:lnTo>
                    <a:pt x="1152" y="1936"/>
                  </a:lnTo>
                  <a:lnTo>
                    <a:pt x="1156" y="1936"/>
                  </a:lnTo>
                  <a:lnTo>
                    <a:pt x="1160" y="1936"/>
                  </a:lnTo>
                  <a:lnTo>
                    <a:pt x="1176" y="1942"/>
                  </a:lnTo>
                  <a:lnTo>
                    <a:pt x="1198" y="1956"/>
                  </a:lnTo>
                  <a:lnTo>
                    <a:pt x="1210" y="1962"/>
                  </a:lnTo>
                  <a:lnTo>
                    <a:pt x="1218" y="1964"/>
                  </a:lnTo>
                  <a:lnTo>
                    <a:pt x="1224" y="1964"/>
                  </a:lnTo>
                  <a:lnTo>
                    <a:pt x="1230" y="1960"/>
                  </a:lnTo>
                  <a:lnTo>
                    <a:pt x="1238" y="1952"/>
                  </a:lnTo>
                  <a:lnTo>
                    <a:pt x="1244" y="1946"/>
                  </a:lnTo>
                  <a:lnTo>
                    <a:pt x="1252" y="1940"/>
                  </a:lnTo>
                  <a:lnTo>
                    <a:pt x="1260" y="1936"/>
                  </a:lnTo>
                  <a:lnTo>
                    <a:pt x="1264" y="1930"/>
                  </a:lnTo>
                  <a:lnTo>
                    <a:pt x="1270" y="1920"/>
                  </a:lnTo>
                  <a:lnTo>
                    <a:pt x="1270" y="1918"/>
                  </a:lnTo>
                  <a:lnTo>
                    <a:pt x="1272" y="1916"/>
                  </a:lnTo>
                  <a:lnTo>
                    <a:pt x="1276" y="1916"/>
                  </a:lnTo>
                  <a:lnTo>
                    <a:pt x="1282" y="1918"/>
                  </a:lnTo>
                  <a:lnTo>
                    <a:pt x="1286" y="1924"/>
                  </a:lnTo>
                  <a:lnTo>
                    <a:pt x="1288" y="1928"/>
                  </a:lnTo>
                  <a:lnTo>
                    <a:pt x="1284" y="1930"/>
                  </a:lnTo>
                  <a:lnTo>
                    <a:pt x="1280" y="1934"/>
                  </a:lnTo>
                  <a:lnTo>
                    <a:pt x="1274" y="1940"/>
                  </a:lnTo>
                  <a:lnTo>
                    <a:pt x="1274" y="1944"/>
                  </a:lnTo>
                  <a:lnTo>
                    <a:pt x="1278" y="1946"/>
                  </a:lnTo>
                  <a:lnTo>
                    <a:pt x="1282" y="1948"/>
                  </a:lnTo>
                  <a:lnTo>
                    <a:pt x="1288" y="1948"/>
                  </a:lnTo>
                  <a:lnTo>
                    <a:pt x="1290" y="1944"/>
                  </a:lnTo>
                  <a:lnTo>
                    <a:pt x="1292" y="1942"/>
                  </a:lnTo>
                  <a:lnTo>
                    <a:pt x="1296" y="1936"/>
                  </a:lnTo>
                  <a:lnTo>
                    <a:pt x="1296" y="1942"/>
                  </a:lnTo>
                  <a:lnTo>
                    <a:pt x="1298" y="1948"/>
                  </a:lnTo>
                  <a:lnTo>
                    <a:pt x="1300" y="1952"/>
                  </a:lnTo>
                  <a:lnTo>
                    <a:pt x="1306" y="1956"/>
                  </a:lnTo>
                  <a:lnTo>
                    <a:pt x="1316" y="1964"/>
                  </a:lnTo>
                  <a:lnTo>
                    <a:pt x="1324" y="1970"/>
                  </a:lnTo>
                  <a:lnTo>
                    <a:pt x="1334" y="1982"/>
                  </a:lnTo>
                  <a:lnTo>
                    <a:pt x="1338" y="1988"/>
                  </a:lnTo>
                  <a:lnTo>
                    <a:pt x="1340" y="1988"/>
                  </a:lnTo>
                  <a:lnTo>
                    <a:pt x="1340" y="1980"/>
                  </a:lnTo>
                  <a:lnTo>
                    <a:pt x="1340" y="1974"/>
                  </a:lnTo>
                  <a:lnTo>
                    <a:pt x="1340" y="1968"/>
                  </a:lnTo>
                  <a:lnTo>
                    <a:pt x="1342" y="1962"/>
                  </a:lnTo>
                  <a:lnTo>
                    <a:pt x="1346" y="1960"/>
                  </a:lnTo>
                  <a:lnTo>
                    <a:pt x="1354" y="1956"/>
                  </a:lnTo>
                  <a:lnTo>
                    <a:pt x="1362" y="1950"/>
                  </a:lnTo>
                  <a:lnTo>
                    <a:pt x="1386" y="1930"/>
                  </a:lnTo>
                  <a:lnTo>
                    <a:pt x="1398" y="1920"/>
                  </a:lnTo>
                  <a:lnTo>
                    <a:pt x="1412" y="1912"/>
                  </a:lnTo>
                  <a:lnTo>
                    <a:pt x="1428" y="1908"/>
                  </a:lnTo>
                  <a:lnTo>
                    <a:pt x="1434" y="1908"/>
                  </a:lnTo>
                  <a:lnTo>
                    <a:pt x="1442" y="1908"/>
                  </a:lnTo>
                  <a:lnTo>
                    <a:pt x="1456" y="1910"/>
                  </a:lnTo>
                  <a:lnTo>
                    <a:pt x="1466" y="1906"/>
                  </a:lnTo>
                  <a:lnTo>
                    <a:pt x="1474" y="1902"/>
                  </a:lnTo>
                  <a:lnTo>
                    <a:pt x="1478" y="1896"/>
                  </a:lnTo>
                  <a:lnTo>
                    <a:pt x="1482" y="1890"/>
                  </a:lnTo>
                  <a:lnTo>
                    <a:pt x="1482" y="1884"/>
                  </a:lnTo>
                  <a:lnTo>
                    <a:pt x="1482" y="1878"/>
                  </a:lnTo>
                  <a:lnTo>
                    <a:pt x="1478" y="1874"/>
                  </a:lnTo>
                  <a:lnTo>
                    <a:pt x="1476" y="1870"/>
                  </a:lnTo>
                  <a:lnTo>
                    <a:pt x="1476" y="1866"/>
                  </a:lnTo>
                  <a:lnTo>
                    <a:pt x="1480" y="1856"/>
                  </a:lnTo>
                  <a:lnTo>
                    <a:pt x="1486" y="1842"/>
                  </a:lnTo>
                  <a:lnTo>
                    <a:pt x="1488" y="1836"/>
                  </a:lnTo>
                  <a:lnTo>
                    <a:pt x="1488" y="1828"/>
                  </a:lnTo>
                  <a:lnTo>
                    <a:pt x="1490" y="1812"/>
                  </a:lnTo>
                  <a:lnTo>
                    <a:pt x="1494" y="1794"/>
                  </a:lnTo>
                  <a:lnTo>
                    <a:pt x="1502" y="1776"/>
                  </a:lnTo>
                  <a:lnTo>
                    <a:pt x="1506" y="1770"/>
                  </a:lnTo>
                  <a:lnTo>
                    <a:pt x="1510" y="1766"/>
                  </a:lnTo>
                  <a:lnTo>
                    <a:pt x="1514" y="1760"/>
                  </a:lnTo>
                  <a:lnTo>
                    <a:pt x="1518" y="1750"/>
                  </a:lnTo>
                  <a:lnTo>
                    <a:pt x="1526" y="1718"/>
                  </a:lnTo>
                  <a:lnTo>
                    <a:pt x="1530" y="1700"/>
                  </a:lnTo>
                  <a:lnTo>
                    <a:pt x="1538" y="1680"/>
                  </a:lnTo>
                  <a:lnTo>
                    <a:pt x="1548" y="1662"/>
                  </a:lnTo>
                  <a:lnTo>
                    <a:pt x="1554" y="1654"/>
                  </a:lnTo>
                  <a:lnTo>
                    <a:pt x="1562" y="1646"/>
                  </a:lnTo>
                  <a:lnTo>
                    <a:pt x="1574" y="1634"/>
                  </a:lnTo>
                  <a:lnTo>
                    <a:pt x="1582" y="1626"/>
                  </a:lnTo>
                  <a:lnTo>
                    <a:pt x="1586" y="1618"/>
                  </a:lnTo>
                  <a:lnTo>
                    <a:pt x="1588" y="1612"/>
                  </a:lnTo>
                  <a:lnTo>
                    <a:pt x="1588" y="1604"/>
                  </a:lnTo>
                  <a:lnTo>
                    <a:pt x="1590" y="1598"/>
                  </a:lnTo>
                  <a:lnTo>
                    <a:pt x="1594" y="1590"/>
                  </a:lnTo>
                  <a:lnTo>
                    <a:pt x="1598" y="1576"/>
                  </a:lnTo>
                  <a:lnTo>
                    <a:pt x="1602" y="1566"/>
                  </a:lnTo>
                  <a:lnTo>
                    <a:pt x="1602" y="1556"/>
                  </a:lnTo>
                  <a:lnTo>
                    <a:pt x="1602" y="1546"/>
                  </a:lnTo>
                  <a:lnTo>
                    <a:pt x="1602" y="1532"/>
                  </a:lnTo>
                  <a:lnTo>
                    <a:pt x="1604" y="1524"/>
                  </a:lnTo>
                  <a:lnTo>
                    <a:pt x="1606" y="1516"/>
                  </a:lnTo>
                  <a:lnTo>
                    <a:pt x="1612" y="1504"/>
                  </a:lnTo>
                  <a:lnTo>
                    <a:pt x="1614" y="1494"/>
                  </a:lnTo>
                  <a:lnTo>
                    <a:pt x="1616" y="1476"/>
                  </a:lnTo>
                  <a:lnTo>
                    <a:pt x="1618" y="1458"/>
                  </a:lnTo>
                  <a:lnTo>
                    <a:pt x="1620" y="1448"/>
                  </a:lnTo>
                  <a:lnTo>
                    <a:pt x="1626" y="1438"/>
                  </a:lnTo>
                  <a:lnTo>
                    <a:pt x="1628" y="1432"/>
                  </a:lnTo>
                  <a:lnTo>
                    <a:pt x="1630" y="1426"/>
                  </a:lnTo>
                  <a:lnTo>
                    <a:pt x="1628" y="1412"/>
                  </a:lnTo>
                  <a:lnTo>
                    <a:pt x="1626" y="1398"/>
                  </a:lnTo>
                  <a:lnTo>
                    <a:pt x="1622" y="1384"/>
                  </a:lnTo>
                  <a:lnTo>
                    <a:pt x="1612" y="1358"/>
                  </a:lnTo>
                  <a:lnTo>
                    <a:pt x="1610" y="1350"/>
                  </a:lnTo>
                  <a:lnTo>
                    <a:pt x="1610" y="1344"/>
                  </a:lnTo>
                  <a:close/>
                  <a:moveTo>
                    <a:pt x="1412" y="2026"/>
                  </a:moveTo>
                  <a:lnTo>
                    <a:pt x="1412" y="2026"/>
                  </a:lnTo>
                  <a:lnTo>
                    <a:pt x="1408" y="2024"/>
                  </a:lnTo>
                  <a:lnTo>
                    <a:pt x="1406" y="2020"/>
                  </a:lnTo>
                  <a:lnTo>
                    <a:pt x="1404" y="2016"/>
                  </a:lnTo>
                  <a:lnTo>
                    <a:pt x="1402" y="2014"/>
                  </a:lnTo>
                  <a:lnTo>
                    <a:pt x="1400" y="2014"/>
                  </a:lnTo>
                  <a:lnTo>
                    <a:pt x="1396" y="2018"/>
                  </a:lnTo>
                  <a:lnTo>
                    <a:pt x="1392" y="2022"/>
                  </a:lnTo>
                  <a:lnTo>
                    <a:pt x="1392" y="2024"/>
                  </a:lnTo>
                  <a:lnTo>
                    <a:pt x="1394" y="2024"/>
                  </a:lnTo>
                  <a:lnTo>
                    <a:pt x="1396" y="2026"/>
                  </a:lnTo>
                  <a:lnTo>
                    <a:pt x="1398" y="2028"/>
                  </a:lnTo>
                  <a:lnTo>
                    <a:pt x="1400" y="2038"/>
                  </a:lnTo>
                  <a:lnTo>
                    <a:pt x="1402" y="2040"/>
                  </a:lnTo>
                  <a:lnTo>
                    <a:pt x="1404" y="2042"/>
                  </a:lnTo>
                  <a:lnTo>
                    <a:pt x="1410" y="2044"/>
                  </a:lnTo>
                  <a:lnTo>
                    <a:pt x="1414" y="2042"/>
                  </a:lnTo>
                  <a:lnTo>
                    <a:pt x="1414" y="2040"/>
                  </a:lnTo>
                  <a:lnTo>
                    <a:pt x="1414" y="2036"/>
                  </a:lnTo>
                  <a:lnTo>
                    <a:pt x="1412" y="2034"/>
                  </a:lnTo>
                  <a:lnTo>
                    <a:pt x="1412" y="2032"/>
                  </a:lnTo>
                  <a:lnTo>
                    <a:pt x="1414" y="2030"/>
                  </a:lnTo>
                  <a:lnTo>
                    <a:pt x="1416" y="2028"/>
                  </a:lnTo>
                  <a:lnTo>
                    <a:pt x="1412" y="2026"/>
                  </a:lnTo>
                  <a:close/>
                  <a:moveTo>
                    <a:pt x="1708" y="300"/>
                  </a:moveTo>
                  <a:lnTo>
                    <a:pt x="1708" y="300"/>
                  </a:lnTo>
                  <a:lnTo>
                    <a:pt x="1704" y="298"/>
                  </a:lnTo>
                  <a:lnTo>
                    <a:pt x="1700" y="294"/>
                  </a:lnTo>
                  <a:lnTo>
                    <a:pt x="1694" y="284"/>
                  </a:lnTo>
                  <a:lnTo>
                    <a:pt x="1688" y="274"/>
                  </a:lnTo>
                  <a:lnTo>
                    <a:pt x="1686" y="272"/>
                  </a:lnTo>
                  <a:lnTo>
                    <a:pt x="1682" y="268"/>
                  </a:lnTo>
                  <a:lnTo>
                    <a:pt x="1678" y="266"/>
                  </a:lnTo>
                  <a:lnTo>
                    <a:pt x="1676" y="262"/>
                  </a:lnTo>
                  <a:lnTo>
                    <a:pt x="1672" y="252"/>
                  </a:lnTo>
                  <a:lnTo>
                    <a:pt x="1668" y="244"/>
                  </a:lnTo>
                  <a:lnTo>
                    <a:pt x="1668" y="242"/>
                  </a:lnTo>
                  <a:lnTo>
                    <a:pt x="1664" y="244"/>
                  </a:lnTo>
                  <a:lnTo>
                    <a:pt x="1662" y="248"/>
                  </a:lnTo>
                  <a:lnTo>
                    <a:pt x="1662" y="250"/>
                  </a:lnTo>
                  <a:lnTo>
                    <a:pt x="1666" y="256"/>
                  </a:lnTo>
                  <a:lnTo>
                    <a:pt x="1670" y="264"/>
                  </a:lnTo>
                  <a:lnTo>
                    <a:pt x="1672" y="268"/>
                  </a:lnTo>
                  <a:lnTo>
                    <a:pt x="1672" y="276"/>
                  </a:lnTo>
                  <a:lnTo>
                    <a:pt x="1672" y="282"/>
                  </a:lnTo>
                  <a:lnTo>
                    <a:pt x="1672" y="288"/>
                  </a:lnTo>
                  <a:lnTo>
                    <a:pt x="1680" y="298"/>
                  </a:lnTo>
                  <a:lnTo>
                    <a:pt x="1688" y="306"/>
                  </a:lnTo>
                  <a:lnTo>
                    <a:pt x="1690" y="310"/>
                  </a:lnTo>
                  <a:lnTo>
                    <a:pt x="1692" y="316"/>
                  </a:lnTo>
                  <a:lnTo>
                    <a:pt x="1694" y="324"/>
                  </a:lnTo>
                  <a:lnTo>
                    <a:pt x="1700" y="330"/>
                  </a:lnTo>
                  <a:lnTo>
                    <a:pt x="1708" y="332"/>
                  </a:lnTo>
                  <a:lnTo>
                    <a:pt x="1716" y="330"/>
                  </a:lnTo>
                  <a:lnTo>
                    <a:pt x="1720" y="328"/>
                  </a:lnTo>
                  <a:lnTo>
                    <a:pt x="1722" y="326"/>
                  </a:lnTo>
                  <a:lnTo>
                    <a:pt x="1722" y="322"/>
                  </a:lnTo>
                  <a:lnTo>
                    <a:pt x="1720" y="316"/>
                  </a:lnTo>
                  <a:lnTo>
                    <a:pt x="1716" y="306"/>
                  </a:lnTo>
                  <a:lnTo>
                    <a:pt x="1712" y="304"/>
                  </a:lnTo>
                  <a:lnTo>
                    <a:pt x="1708" y="300"/>
                  </a:lnTo>
                  <a:close/>
                  <a:moveTo>
                    <a:pt x="1712" y="342"/>
                  </a:moveTo>
                  <a:lnTo>
                    <a:pt x="1712" y="342"/>
                  </a:lnTo>
                  <a:lnTo>
                    <a:pt x="1712" y="346"/>
                  </a:lnTo>
                  <a:lnTo>
                    <a:pt x="1716" y="346"/>
                  </a:lnTo>
                  <a:lnTo>
                    <a:pt x="1718" y="346"/>
                  </a:lnTo>
                  <a:lnTo>
                    <a:pt x="1720" y="344"/>
                  </a:lnTo>
                  <a:lnTo>
                    <a:pt x="1718" y="340"/>
                  </a:lnTo>
                  <a:lnTo>
                    <a:pt x="1716" y="338"/>
                  </a:lnTo>
                  <a:lnTo>
                    <a:pt x="1712" y="340"/>
                  </a:lnTo>
                  <a:lnTo>
                    <a:pt x="1712" y="342"/>
                  </a:lnTo>
                  <a:close/>
                  <a:moveTo>
                    <a:pt x="1238" y="2006"/>
                  </a:moveTo>
                  <a:lnTo>
                    <a:pt x="1238" y="2006"/>
                  </a:lnTo>
                  <a:lnTo>
                    <a:pt x="1236" y="2012"/>
                  </a:lnTo>
                  <a:lnTo>
                    <a:pt x="1234" y="2024"/>
                  </a:lnTo>
                  <a:lnTo>
                    <a:pt x="1236" y="2032"/>
                  </a:lnTo>
                  <a:lnTo>
                    <a:pt x="1240" y="2034"/>
                  </a:lnTo>
                  <a:lnTo>
                    <a:pt x="1242" y="2032"/>
                  </a:lnTo>
                  <a:lnTo>
                    <a:pt x="1244" y="2028"/>
                  </a:lnTo>
                  <a:lnTo>
                    <a:pt x="1246" y="2024"/>
                  </a:lnTo>
                  <a:lnTo>
                    <a:pt x="1246" y="2014"/>
                  </a:lnTo>
                  <a:lnTo>
                    <a:pt x="1242" y="2006"/>
                  </a:lnTo>
                  <a:lnTo>
                    <a:pt x="1240" y="2004"/>
                  </a:lnTo>
                  <a:lnTo>
                    <a:pt x="1238" y="2006"/>
                  </a:lnTo>
                  <a:close/>
                  <a:moveTo>
                    <a:pt x="1414" y="2116"/>
                  </a:moveTo>
                  <a:lnTo>
                    <a:pt x="1414" y="2116"/>
                  </a:lnTo>
                  <a:lnTo>
                    <a:pt x="1414" y="2106"/>
                  </a:lnTo>
                  <a:lnTo>
                    <a:pt x="1414" y="2096"/>
                  </a:lnTo>
                  <a:lnTo>
                    <a:pt x="1414" y="2088"/>
                  </a:lnTo>
                  <a:lnTo>
                    <a:pt x="1412" y="2082"/>
                  </a:lnTo>
                  <a:lnTo>
                    <a:pt x="1408" y="2076"/>
                  </a:lnTo>
                  <a:lnTo>
                    <a:pt x="1406" y="2072"/>
                  </a:lnTo>
                  <a:lnTo>
                    <a:pt x="1402" y="2072"/>
                  </a:lnTo>
                  <a:lnTo>
                    <a:pt x="1400" y="2074"/>
                  </a:lnTo>
                  <a:lnTo>
                    <a:pt x="1398" y="2078"/>
                  </a:lnTo>
                  <a:lnTo>
                    <a:pt x="1396" y="2078"/>
                  </a:lnTo>
                  <a:lnTo>
                    <a:pt x="1392" y="2076"/>
                  </a:lnTo>
                  <a:lnTo>
                    <a:pt x="1388" y="2076"/>
                  </a:lnTo>
                  <a:lnTo>
                    <a:pt x="1386" y="2078"/>
                  </a:lnTo>
                  <a:lnTo>
                    <a:pt x="1382" y="2080"/>
                  </a:lnTo>
                  <a:lnTo>
                    <a:pt x="1380" y="2082"/>
                  </a:lnTo>
                  <a:lnTo>
                    <a:pt x="1378" y="2082"/>
                  </a:lnTo>
                  <a:lnTo>
                    <a:pt x="1370" y="2082"/>
                  </a:lnTo>
                  <a:lnTo>
                    <a:pt x="1352" y="2088"/>
                  </a:lnTo>
                  <a:lnTo>
                    <a:pt x="1340" y="2092"/>
                  </a:lnTo>
                  <a:lnTo>
                    <a:pt x="1332" y="2094"/>
                  </a:lnTo>
                  <a:lnTo>
                    <a:pt x="1324" y="2092"/>
                  </a:lnTo>
                  <a:lnTo>
                    <a:pt x="1320" y="2088"/>
                  </a:lnTo>
                  <a:lnTo>
                    <a:pt x="1310" y="2080"/>
                  </a:lnTo>
                  <a:lnTo>
                    <a:pt x="1304" y="2076"/>
                  </a:lnTo>
                  <a:lnTo>
                    <a:pt x="1296" y="2076"/>
                  </a:lnTo>
                  <a:lnTo>
                    <a:pt x="1288" y="2074"/>
                  </a:lnTo>
                  <a:lnTo>
                    <a:pt x="1282" y="2072"/>
                  </a:lnTo>
                  <a:lnTo>
                    <a:pt x="1274" y="2066"/>
                  </a:lnTo>
                  <a:lnTo>
                    <a:pt x="1272" y="2064"/>
                  </a:lnTo>
                  <a:lnTo>
                    <a:pt x="1270" y="2064"/>
                  </a:lnTo>
                  <a:lnTo>
                    <a:pt x="1266" y="2078"/>
                  </a:lnTo>
                  <a:lnTo>
                    <a:pt x="1264" y="2086"/>
                  </a:lnTo>
                  <a:lnTo>
                    <a:pt x="1266" y="2094"/>
                  </a:lnTo>
                  <a:lnTo>
                    <a:pt x="1276" y="2118"/>
                  </a:lnTo>
                  <a:lnTo>
                    <a:pt x="1280" y="2130"/>
                  </a:lnTo>
                  <a:lnTo>
                    <a:pt x="1284" y="2134"/>
                  </a:lnTo>
                  <a:lnTo>
                    <a:pt x="1288" y="2136"/>
                  </a:lnTo>
                  <a:lnTo>
                    <a:pt x="1288" y="2144"/>
                  </a:lnTo>
                  <a:lnTo>
                    <a:pt x="1288" y="2158"/>
                  </a:lnTo>
                  <a:lnTo>
                    <a:pt x="1292" y="2174"/>
                  </a:lnTo>
                  <a:lnTo>
                    <a:pt x="1296" y="2186"/>
                  </a:lnTo>
                  <a:lnTo>
                    <a:pt x="1300" y="2192"/>
                  </a:lnTo>
                  <a:lnTo>
                    <a:pt x="1304" y="2198"/>
                  </a:lnTo>
                  <a:lnTo>
                    <a:pt x="1310" y="2202"/>
                  </a:lnTo>
                  <a:lnTo>
                    <a:pt x="1312" y="2206"/>
                  </a:lnTo>
                  <a:lnTo>
                    <a:pt x="1318" y="2216"/>
                  </a:lnTo>
                  <a:lnTo>
                    <a:pt x="1322" y="2224"/>
                  </a:lnTo>
                  <a:lnTo>
                    <a:pt x="1324" y="2226"/>
                  </a:lnTo>
                  <a:lnTo>
                    <a:pt x="1328" y="2226"/>
                  </a:lnTo>
                  <a:lnTo>
                    <a:pt x="1332" y="2226"/>
                  </a:lnTo>
                  <a:lnTo>
                    <a:pt x="1338" y="2226"/>
                  </a:lnTo>
                  <a:lnTo>
                    <a:pt x="1352" y="2230"/>
                  </a:lnTo>
                  <a:lnTo>
                    <a:pt x="1356" y="2232"/>
                  </a:lnTo>
                  <a:lnTo>
                    <a:pt x="1358" y="2230"/>
                  </a:lnTo>
                  <a:lnTo>
                    <a:pt x="1360" y="2226"/>
                  </a:lnTo>
                  <a:lnTo>
                    <a:pt x="1362" y="2220"/>
                  </a:lnTo>
                  <a:lnTo>
                    <a:pt x="1366" y="2214"/>
                  </a:lnTo>
                  <a:lnTo>
                    <a:pt x="1370" y="2212"/>
                  </a:lnTo>
                  <a:lnTo>
                    <a:pt x="1372" y="2208"/>
                  </a:lnTo>
                  <a:lnTo>
                    <a:pt x="1374" y="2200"/>
                  </a:lnTo>
                  <a:lnTo>
                    <a:pt x="1376" y="2194"/>
                  </a:lnTo>
                  <a:lnTo>
                    <a:pt x="1378" y="2194"/>
                  </a:lnTo>
                  <a:lnTo>
                    <a:pt x="1378" y="2196"/>
                  </a:lnTo>
                  <a:lnTo>
                    <a:pt x="1380" y="2198"/>
                  </a:lnTo>
                  <a:lnTo>
                    <a:pt x="1382" y="2198"/>
                  </a:lnTo>
                  <a:lnTo>
                    <a:pt x="1382" y="2194"/>
                  </a:lnTo>
                  <a:lnTo>
                    <a:pt x="1384" y="2190"/>
                  </a:lnTo>
                  <a:lnTo>
                    <a:pt x="1386" y="2188"/>
                  </a:lnTo>
                  <a:lnTo>
                    <a:pt x="1388" y="2188"/>
                  </a:lnTo>
                  <a:lnTo>
                    <a:pt x="1392" y="2192"/>
                  </a:lnTo>
                  <a:lnTo>
                    <a:pt x="1394" y="2194"/>
                  </a:lnTo>
                  <a:lnTo>
                    <a:pt x="1394" y="2196"/>
                  </a:lnTo>
                  <a:lnTo>
                    <a:pt x="1392" y="2196"/>
                  </a:lnTo>
                  <a:lnTo>
                    <a:pt x="1388" y="2198"/>
                  </a:lnTo>
                  <a:lnTo>
                    <a:pt x="1388" y="2202"/>
                  </a:lnTo>
                  <a:lnTo>
                    <a:pt x="1390" y="2206"/>
                  </a:lnTo>
                  <a:lnTo>
                    <a:pt x="1398" y="2210"/>
                  </a:lnTo>
                  <a:lnTo>
                    <a:pt x="1402" y="2208"/>
                  </a:lnTo>
                  <a:lnTo>
                    <a:pt x="1404" y="2206"/>
                  </a:lnTo>
                  <a:lnTo>
                    <a:pt x="1402" y="2194"/>
                  </a:lnTo>
                  <a:lnTo>
                    <a:pt x="1400" y="2180"/>
                  </a:lnTo>
                  <a:lnTo>
                    <a:pt x="1400" y="2174"/>
                  </a:lnTo>
                  <a:lnTo>
                    <a:pt x="1402" y="2170"/>
                  </a:lnTo>
                  <a:lnTo>
                    <a:pt x="1404" y="2168"/>
                  </a:lnTo>
                  <a:lnTo>
                    <a:pt x="1404" y="2166"/>
                  </a:lnTo>
                  <a:lnTo>
                    <a:pt x="1402" y="2160"/>
                  </a:lnTo>
                  <a:lnTo>
                    <a:pt x="1402" y="2152"/>
                  </a:lnTo>
                  <a:lnTo>
                    <a:pt x="1402" y="2150"/>
                  </a:lnTo>
                  <a:lnTo>
                    <a:pt x="1404" y="2146"/>
                  </a:lnTo>
                  <a:lnTo>
                    <a:pt x="1408" y="2144"/>
                  </a:lnTo>
                  <a:lnTo>
                    <a:pt x="1410" y="2144"/>
                  </a:lnTo>
                  <a:lnTo>
                    <a:pt x="1410" y="2150"/>
                  </a:lnTo>
                  <a:lnTo>
                    <a:pt x="1412" y="2154"/>
                  </a:lnTo>
                  <a:lnTo>
                    <a:pt x="1414" y="2152"/>
                  </a:lnTo>
                  <a:lnTo>
                    <a:pt x="1416" y="2148"/>
                  </a:lnTo>
                  <a:lnTo>
                    <a:pt x="1416" y="2146"/>
                  </a:lnTo>
                  <a:lnTo>
                    <a:pt x="1414" y="2140"/>
                  </a:lnTo>
                  <a:lnTo>
                    <a:pt x="1412" y="2132"/>
                  </a:lnTo>
                  <a:lnTo>
                    <a:pt x="1412" y="2124"/>
                  </a:lnTo>
                  <a:lnTo>
                    <a:pt x="1414" y="2116"/>
                  </a:lnTo>
                  <a:close/>
                  <a:moveTo>
                    <a:pt x="984" y="1792"/>
                  </a:moveTo>
                  <a:lnTo>
                    <a:pt x="984" y="1792"/>
                  </a:lnTo>
                  <a:lnTo>
                    <a:pt x="980" y="1788"/>
                  </a:lnTo>
                  <a:lnTo>
                    <a:pt x="974" y="1788"/>
                  </a:lnTo>
                  <a:lnTo>
                    <a:pt x="966" y="1788"/>
                  </a:lnTo>
                  <a:lnTo>
                    <a:pt x="958" y="1792"/>
                  </a:lnTo>
                  <a:lnTo>
                    <a:pt x="950" y="1794"/>
                  </a:lnTo>
                  <a:lnTo>
                    <a:pt x="944" y="1798"/>
                  </a:lnTo>
                  <a:lnTo>
                    <a:pt x="942" y="1804"/>
                  </a:lnTo>
                  <a:lnTo>
                    <a:pt x="940" y="1808"/>
                  </a:lnTo>
                  <a:lnTo>
                    <a:pt x="942" y="1810"/>
                  </a:lnTo>
                  <a:lnTo>
                    <a:pt x="948" y="1812"/>
                  </a:lnTo>
                  <a:lnTo>
                    <a:pt x="960" y="1814"/>
                  </a:lnTo>
                  <a:lnTo>
                    <a:pt x="974" y="1812"/>
                  </a:lnTo>
                  <a:lnTo>
                    <a:pt x="982" y="1810"/>
                  </a:lnTo>
                  <a:lnTo>
                    <a:pt x="990" y="1808"/>
                  </a:lnTo>
                  <a:lnTo>
                    <a:pt x="998" y="1808"/>
                  </a:lnTo>
                  <a:lnTo>
                    <a:pt x="1004" y="1806"/>
                  </a:lnTo>
                  <a:lnTo>
                    <a:pt x="1004" y="1804"/>
                  </a:lnTo>
                  <a:lnTo>
                    <a:pt x="1002" y="1800"/>
                  </a:lnTo>
                  <a:lnTo>
                    <a:pt x="1000" y="1798"/>
                  </a:lnTo>
                  <a:lnTo>
                    <a:pt x="994" y="1798"/>
                  </a:lnTo>
                  <a:lnTo>
                    <a:pt x="990" y="1796"/>
                  </a:lnTo>
                  <a:lnTo>
                    <a:pt x="984" y="1792"/>
                  </a:lnTo>
                  <a:close/>
                  <a:moveTo>
                    <a:pt x="2204" y="1064"/>
                  </a:moveTo>
                  <a:lnTo>
                    <a:pt x="2204" y="1064"/>
                  </a:lnTo>
                  <a:lnTo>
                    <a:pt x="2206" y="1066"/>
                  </a:lnTo>
                  <a:lnTo>
                    <a:pt x="2208" y="1066"/>
                  </a:lnTo>
                  <a:lnTo>
                    <a:pt x="2212" y="1066"/>
                  </a:lnTo>
                  <a:lnTo>
                    <a:pt x="2214" y="1060"/>
                  </a:lnTo>
                  <a:lnTo>
                    <a:pt x="2214" y="1058"/>
                  </a:lnTo>
                  <a:lnTo>
                    <a:pt x="2212" y="1054"/>
                  </a:lnTo>
                  <a:lnTo>
                    <a:pt x="2210" y="1050"/>
                  </a:lnTo>
                  <a:lnTo>
                    <a:pt x="2208" y="1048"/>
                  </a:lnTo>
                  <a:lnTo>
                    <a:pt x="2206" y="1048"/>
                  </a:lnTo>
                  <a:lnTo>
                    <a:pt x="2204" y="1050"/>
                  </a:lnTo>
                  <a:lnTo>
                    <a:pt x="2202" y="1054"/>
                  </a:lnTo>
                  <a:lnTo>
                    <a:pt x="2204" y="1064"/>
                  </a:lnTo>
                  <a:close/>
                  <a:moveTo>
                    <a:pt x="2218" y="862"/>
                  </a:moveTo>
                  <a:lnTo>
                    <a:pt x="2218" y="862"/>
                  </a:lnTo>
                  <a:lnTo>
                    <a:pt x="2216" y="866"/>
                  </a:lnTo>
                  <a:lnTo>
                    <a:pt x="2218" y="870"/>
                  </a:lnTo>
                  <a:lnTo>
                    <a:pt x="2222" y="872"/>
                  </a:lnTo>
                  <a:lnTo>
                    <a:pt x="2228" y="874"/>
                  </a:lnTo>
                  <a:lnTo>
                    <a:pt x="2230" y="872"/>
                  </a:lnTo>
                  <a:lnTo>
                    <a:pt x="2230" y="870"/>
                  </a:lnTo>
                  <a:lnTo>
                    <a:pt x="2228" y="864"/>
                  </a:lnTo>
                  <a:lnTo>
                    <a:pt x="2222" y="860"/>
                  </a:lnTo>
                  <a:lnTo>
                    <a:pt x="2220" y="860"/>
                  </a:lnTo>
                  <a:lnTo>
                    <a:pt x="2218" y="862"/>
                  </a:lnTo>
                  <a:close/>
                  <a:moveTo>
                    <a:pt x="2220" y="824"/>
                  </a:moveTo>
                  <a:lnTo>
                    <a:pt x="2220" y="824"/>
                  </a:lnTo>
                  <a:lnTo>
                    <a:pt x="2222" y="824"/>
                  </a:lnTo>
                  <a:lnTo>
                    <a:pt x="2222" y="822"/>
                  </a:lnTo>
                  <a:lnTo>
                    <a:pt x="2216" y="814"/>
                  </a:lnTo>
                  <a:lnTo>
                    <a:pt x="2216" y="812"/>
                  </a:lnTo>
                  <a:lnTo>
                    <a:pt x="2214" y="814"/>
                  </a:lnTo>
                  <a:lnTo>
                    <a:pt x="2212" y="816"/>
                  </a:lnTo>
                  <a:lnTo>
                    <a:pt x="2214" y="822"/>
                  </a:lnTo>
                  <a:lnTo>
                    <a:pt x="2216" y="822"/>
                  </a:lnTo>
                  <a:lnTo>
                    <a:pt x="2220" y="824"/>
                  </a:lnTo>
                  <a:close/>
                  <a:moveTo>
                    <a:pt x="2124" y="1064"/>
                  </a:moveTo>
                  <a:lnTo>
                    <a:pt x="2124" y="1064"/>
                  </a:lnTo>
                  <a:lnTo>
                    <a:pt x="2118" y="1060"/>
                  </a:lnTo>
                  <a:lnTo>
                    <a:pt x="2116" y="1060"/>
                  </a:lnTo>
                  <a:lnTo>
                    <a:pt x="2114" y="1062"/>
                  </a:lnTo>
                  <a:lnTo>
                    <a:pt x="2096" y="1042"/>
                  </a:lnTo>
                  <a:lnTo>
                    <a:pt x="2094" y="1038"/>
                  </a:lnTo>
                  <a:lnTo>
                    <a:pt x="2090" y="1032"/>
                  </a:lnTo>
                  <a:lnTo>
                    <a:pt x="2076" y="1018"/>
                  </a:lnTo>
                  <a:lnTo>
                    <a:pt x="2060" y="1008"/>
                  </a:lnTo>
                  <a:lnTo>
                    <a:pt x="2050" y="1000"/>
                  </a:lnTo>
                  <a:lnTo>
                    <a:pt x="2050" y="1004"/>
                  </a:lnTo>
                  <a:lnTo>
                    <a:pt x="2044" y="998"/>
                  </a:lnTo>
                  <a:lnTo>
                    <a:pt x="2040" y="994"/>
                  </a:lnTo>
                  <a:lnTo>
                    <a:pt x="2036" y="992"/>
                  </a:lnTo>
                  <a:lnTo>
                    <a:pt x="2040" y="1000"/>
                  </a:lnTo>
                  <a:lnTo>
                    <a:pt x="2050" y="1020"/>
                  </a:lnTo>
                  <a:lnTo>
                    <a:pt x="2052" y="1024"/>
                  </a:lnTo>
                  <a:lnTo>
                    <a:pt x="2052" y="1026"/>
                  </a:lnTo>
                  <a:lnTo>
                    <a:pt x="2064" y="1036"/>
                  </a:lnTo>
                  <a:lnTo>
                    <a:pt x="2070" y="1042"/>
                  </a:lnTo>
                  <a:lnTo>
                    <a:pt x="2076" y="1056"/>
                  </a:lnTo>
                  <a:lnTo>
                    <a:pt x="2076" y="1054"/>
                  </a:lnTo>
                  <a:lnTo>
                    <a:pt x="2078" y="1058"/>
                  </a:lnTo>
                  <a:lnTo>
                    <a:pt x="2082" y="1058"/>
                  </a:lnTo>
                  <a:lnTo>
                    <a:pt x="2088" y="1064"/>
                  </a:lnTo>
                  <a:lnTo>
                    <a:pt x="2094" y="1070"/>
                  </a:lnTo>
                  <a:lnTo>
                    <a:pt x="2102" y="1074"/>
                  </a:lnTo>
                  <a:lnTo>
                    <a:pt x="2110" y="1080"/>
                  </a:lnTo>
                  <a:lnTo>
                    <a:pt x="2116" y="1086"/>
                  </a:lnTo>
                  <a:lnTo>
                    <a:pt x="2136" y="1098"/>
                  </a:lnTo>
                  <a:lnTo>
                    <a:pt x="2136" y="1102"/>
                  </a:lnTo>
                  <a:lnTo>
                    <a:pt x="2136" y="1104"/>
                  </a:lnTo>
                  <a:lnTo>
                    <a:pt x="2154" y="1100"/>
                  </a:lnTo>
                  <a:lnTo>
                    <a:pt x="2158" y="1098"/>
                  </a:lnTo>
                  <a:lnTo>
                    <a:pt x="2158" y="1096"/>
                  </a:lnTo>
                  <a:lnTo>
                    <a:pt x="2148" y="1086"/>
                  </a:lnTo>
                  <a:lnTo>
                    <a:pt x="2124" y="1064"/>
                  </a:lnTo>
                  <a:close/>
                  <a:moveTo>
                    <a:pt x="2172" y="1036"/>
                  </a:moveTo>
                  <a:lnTo>
                    <a:pt x="2172" y="1036"/>
                  </a:lnTo>
                  <a:lnTo>
                    <a:pt x="2178" y="1038"/>
                  </a:lnTo>
                  <a:lnTo>
                    <a:pt x="2182" y="1040"/>
                  </a:lnTo>
                  <a:lnTo>
                    <a:pt x="2184" y="1038"/>
                  </a:lnTo>
                  <a:lnTo>
                    <a:pt x="2186" y="1036"/>
                  </a:lnTo>
                  <a:lnTo>
                    <a:pt x="2186" y="1030"/>
                  </a:lnTo>
                  <a:lnTo>
                    <a:pt x="2182" y="1024"/>
                  </a:lnTo>
                  <a:lnTo>
                    <a:pt x="2176" y="1018"/>
                  </a:lnTo>
                  <a:lnTo>
                    <a:pt x="2172" y="1016"/>
                  </a:lnTo>
                  <a:lnTo>
                    <a:pt x="2168" y="1018"/>
                  </a:lnTo>
                  <a:lnTo>
                    <a:pt x="2168" y="1020"/>
                  </a:lnTo>
                  <a:lnTo>
                    <a:pt x="2170" y="1020"/>
                  </a:lnTo>
                  <a:lnTo>
                    <a:pt x="2172" y="1022"/>
                  </a:lnTo>
                  <a:lnTo>
                    <a:pt x="2172" y="1024"/>
                  </a:lnTo>
                  <a:lnTo>
                    <a:pt x="2170" y="1028"/>
                  </a:lnTo>
                  <a:lnTo>
                    <a:pt x="2168" y="1032"/>
                  </a:lnTo>
                  <a:lnTo>
                    <a:pt x="2170" y="1034"/>
                  </a:lnTo>
                  <a:lnTo>
                    <a:pt x="2172" y="1036"/>
                  </a:lnTo>
                  <a:close/>
                  <a:moveTo>
                    <a:pt x="2152" y="752"/>
                  </a:moveTo>
                  <a:lnTo>
                    <a:pt x="2152" y="752"/>
                  </a:lnTo>
                  <a:lnTo>
                    <a:pt x="2154" y="760"/>
                  </a:lnTo>
                  <a:lnTo>
                    <a:pt x="2156" y="764"/>
                  </a:lnTo>
                  <a:lnTo>
                    <a:pt x="2160" y="766"/>
                  </a:lnTo>
                  <a:lnTo>
                    <a:pt x="2168" y="764"/>
                  </a:lnTo>
                  <a:lnTo>
                    <a:pt x="2172" y="762"/>
                  </a:lnTo>
                  <a:lnTo>
                    <a:pt x="2174" y="760"/>
                  </a:lnTo>
                  <a:lnTo>
                    <a:pt x="2176" y="758"/>
                  </a:lnTo>
                  <a:lnTo>
                    <a:pt x="2176" y="754"/>
                  </a:lnTo>
                  <a:lnTo>
                    <a:pt x="2174" y="746"/>
                  </a:lnTo>
                  <a:lnTo>
                    <a:pt x="2170" y="736"/>
                  </a:lnTo>
                  <a:lnTo>
                    <a:pt x="2168" y="732"/>
                  </a:lnTo>
                  <a:lnTo>
                    <a:pt x="2166" y="732"/>
                  </a:lnTo>
                  <a:lnTo>
                    <a:pt x="2164" y="734"/>
                  </a:lnTo>
                  <a:lnTo>
                    <a:pt x="2162" y="736"/>
                  </a:lnTo>
                  <a:lnTo>
                    <a:pt x="2158" y="730"/>
                  </a:lnTo>
                  <a:lnTo>
                    <a:pt x="2156" y="724"/>
                  </a:lnTo>
                  <a:lnTo>
                    <a:pt x="2154" y="718"/>
                  </a:lnTo>
                  <a:lnTo>
                    <a:pt x="2152" y="716"/>
                  </a:lnTo>
                  <a:lnTo>
                    <a:pt x="2148" y="716"/>
                  </a:lnTo>
                  <a:lnTo>
                    <a:pt x="2146" y="718"/>
                  </a:lnTo>
                  <a:lnTo>
                    <a:pt x="2146" y="722"/>
                  </a:lnTo>
                  <a:lnTo>
                    <a:pt x="2148" y="726"/>
                  </a:lnTo>
                  <a:lnTo>
                    <a:pt x="2152" y="736"/>
                  </a:lnTo>
                  <a:lnTo>
                    <a:pt x="2152" y="742"/>
                  </a:lnTo>
                  <a:lnTo>
                    <a:pt x="2152" y="746"/>
                  </a:lnTo>
                  <a:lnTo>
                    <a:pt x="2152" y="752"/>
                  </a:lnTo>
                  <a:close/>
                  <a:moveTo>
                    <a:pt x="2196" y="758"/>
                  </a:moveTo>
                  <a:lnTo>
                    <a:pt x="2196" y="758"/>
                  </a:lnTo>
                  <a:lnTo>
                    <a:pt x="2202" y="754"/>
                  </a:lnTo>
                  <a:lnTo>
                    <a:pt x="2206" y="750"/>
                  </a:lnTo>
                  <a:lnTo>
                    <a:pt x="2208" y="748"/>
                  </a:lnTo>
                  <a:lnTo>
                    <a:pt x="2206" y="746"/>
                  </a:lnTo>
                  <a:lnTo>
                    <a:pt x="2202" y="746"/>
                  </a:lnTo>
                  <a:lnTo>
                    <a:pt x="2198" y="748"/>
                  </a:lnTo>
                  <a:lnTo>
                    <a:pt x="2194" y="752"/>
                  </a:lnTo>
                  <a:lnTo>
                    <a:pt x="2194" y="754"/>
                  </a:lnTo>
                  <a:lnTo>
                    <a:pt x="2196" y="758"/>
                  </a:lnTo>
                  <a:close/>
                  <a:moveTo>
                    <a:pt x="2206" y="798"/>
                  </a:moveTo>
                  <a:lnTo>
                    <a:pt x="2206" y="798"/>
                  </a:lnTo>
                  <a:lnTo>
                    <a:pt x="2210" y="800"/>
                  </a:lnTo>
                  <a:lnTo>
                    <a:pt x="2214" y="800"/>
                  </a:lnTo>
                  <a:lnTo>
                    <a:pt x="2216" y="798"/>
                  </a:lnTo>
                  <a:lnTo>
                    <a:pt x="2216" y="792"/>
                  </a:lnTo>
                  <a:lnTo>
                    <a:pt x="2216" y="790"/>
                  </a:lnTo>
                  <a:lnTo>
                    <a:pt x="2214" y="788"/>
                  </a:lnTo>
                  <a:lnTo>
                    <a:pt x="2208" y="790"/>
                  </a:lnTo>
                  <a:lnTo>
                    <a:pt x="2204" y="794"/>
                  </a:lnTo>
                  <a:lnTo>
                    <a:pt x="2204" y="796"/>
                  </a:lnTo>
                  <a:lnTo>
                    <a:pt x="2206" y="798"/>
                  </a:lnTo>
                  <a:close/>
                  <a:moveTo>
                    <a:pt x="1762" y="382"/>
                  </a:moveTo>
                  <a:lnTo>
                    <a:pt x="1762" y="382"/>
                  </a:lnTo>
                  <a:lnTo>
                    <a:pt x="1762" y="386"/>
                  </a:lnTo>
                  <a:lnTo>
                    <a:pt x="1764" y="392"/>
                  </a:lnTo>
                  <a:lnTo>
                    <a:pt x="1768" y="394"/>
                  </a:lnTo>
                  <a:lnTo>
                    <a:pt x="1770" y="394"/>
                  </a:lnTo>
                  <a:lnTo>
                    <a:pt x="1772" y="392"/>
                  </a:lnTo>
                  <a:lnTo>
                    <a:pt x="1774" y="390"/>
                  </a:lnTo>
                  <a:lnTo>
                    <a:pt x="1772" y="386"/>
                  </a:lnTo>
                  <a:lnTo>
                    <a:pt x="1770" y="382"/>
                  </a:lnTo>
                  <a:lnTo>
                    <a:pt x="1766" y="378"/>
                  </a:lnTo>
                  <a:lnTo>
                    <a:pt x="1764" y="380"/>
                  </a:lnTo>
                  <a:lnTo>
                    <a:pt x="1762" y="382"/>
                  </a:lnTo>
                  <a:close/>
                  <a:moveTo>
                    <a:pt x="1786" y="386"/>
                  </a:moveTo>
                  <a:lnTo>
                    <a:pt x="1786" y="386"/>
                  </a:lnTo>
                  <a:lnTo>
                    <a:pt x="1784" y="386"/>
                  </a:lnTo>
                  <a:lnTo>
                    <a:pt x="1780" y="388"/>
                  </a:lnTo>
                  <a:lnTo>
                    <a:pt x="1776" y="396"/>
                  </a:lnTo>
                  <a:lnTo>
                    <a:pt x="1776" y="402"/>
                  </a:lnTo>
                  <a:lnTo>
                    <a:pt x="1778" y="404"/>
                  </a:lnTo>
                  <a:lnTo>
                    <a:pt x="1780" y="404"/>
                  </a:lnTo>
                  <a:lnTo>
                    <a:pt x="1784" y="402"/>
                  </a:lnTo>
                  <a:lnTo>
                    <a:pt x="1788" y="404"/>
                  </a:lnTo>
                  <a:lnTo>
                    <a:pt x="1790" y="410"/>
                  </a:lnTo>
                  <a:lnTo>
                    <a:pt x="1794" y="414"/>
                  </a:lnTo>
                  <a:lnTo>
                    <a:pt x="1796" y="416"/>
                  </a:lnTo>
                  <a:lnTo>
                    <a:pt x="1800" y="412"/>
                  </a:lnTo>
                  <a:lnTo>
                    <a:pt x="1798" y="408"/>
                  </a:lnTo>
                  <a:lnTo>
                    <a:pt x="1794" y="402"/>
                  </a:lnTo>
                  <a:lnTo>
                    <a:pt x="1790" y="396"/>
                  </a:lnTo>
                  <a:lnTo>
                    <a:pt x="1790" y="392"/>
                  </a:lnTo>
                  <a:lnTo>
                    <a:pt x="1790" y="390"/>
                  </a:lnTo>
                  <a:lnTo>
                    <a:pt x="1786" y="386"/>
                  </a:lnTo>
                  <a:close/>
                  <a:moveTo>
                    <a:pt x="1754" y="340"/>
                  </a:moveTo>
                  <a:lnTo>
                    <a:pt x="1754" y="340"/>
                  </a:lnTo>
                  <a:lnTo>
                    <a:pt x="1758" y="346"/>
                  </a:lnTo>
                  <a:lnTo>
                    <a:pt x="1766" y="354"/>
                  </a:lnTo>
                  <a:lnTo>
                    <a:pt x="1776" y="360"/>
                  </a:lnTo>
                  <a:lnTo>
                    <a:pt x="1780" y="360"/>
                  </a:lnTo>
                  <a:lnTo>
                    <a:pt x="1784" y="360"/>
                  </a:lnTo>
                  <a:lnTo>
                    <a:pt x="1788" y="358"/>
                  </a:lnTo>
                  <a:lnTo>
                    <a:pt x="1784" y="356"/>
                  </a:lnTo>
                  <a:lnTo>
                    <a:pt x="1776" y="352"/>
                  </a:lnTo>
                  <a:lnTo>
                    <a:pt x="1774" y="348"/>
                  </a:lnTo>
                  <a:lnTo>
                    <a:pt x="1772" y="344"/>
                  </a:lnTo>
                  <a:lnTo>
                    <a:pt x="1768" y="336"/>
                  </a:lnTo>
                  <a:lnTo>
                    <a:pt x="1764" y="332"/>
                  </a:lnTo>
                  <a:lnTo>
                    <a:pt x="1746" y="320"/>
                  </a:lnTo>
                  <a:lnTo>
                    <a:pt x="1742" y="318"/>
                  </a:lnTo>
                  <a:lnTo>
                    <a:pt x="1740" y="320"/>
                  </a:lnTo>
                  <a:lnTo>
                    <a:pt x="1742" y="328"/>
                  </a:lnTo>
                  <a:lnTo>
                    <a:pt x="1744" y="332"/>
                  </a:lnTo>
                  <a:lnTo>
                    <a:pt x="1748" y="334"/>
                  </a:lnTo>
                  <a:lnTo>
                    <a:pt x="1752" y="336"/>
                  </a:lnTo>
                  <a:lnTo>
                    <a:pt x="1754" y="340"/>
                  </a:lnTo>
                  <a:close/>
                  <a:moveTo>
                    <a:pt x="1744" y="368"/>
                  </a:moveTo>
                  <a:lnTo>
                    <a:pt x="1744" y="368"/>
                  </a:lnTo>
                  <a:lnTo>
                    <a:pt x="1744" y="374"/>
                  </a:lnTo>
                  <a:lnTo>
                    <a:pt x="1748" y="378"/>
                  </a:lnTo>
                  <a:lnTo>
                    <a:pt x="1752" y="382"/>
                  </a:lnTo>
                  <a:lnTo>
                    <a:pt x="1754" y="380"/>
                  </a:lnTo>
                  <a:lnTo>
                    <a:pt x="1756" y="380"/>
                  </a:lnTo>
                  <a:lnTo>
                    <a:pt x="1758" y="376"/>
                  </a:lnTo>
                  <a:lnTo>
                    <a:pt x="1758" y="374"/>
                  </a:lnTo>
                  <a:lnTo>
                    <a:pt x="1752" y="368"/>
                  </a:lnTo>
                  <a:lnTo>
                    <a:pt x="1746" y="366"/>
                  </a:lnTo>
                  <a:lnTo>
                    <a:pt x="1744" y="366"/>
                  </a:lnTo>
                  <a:lnTo>
                    <a:pt x="1744" y="368"/>
                  </a:lnTo>
                  <a:close/>
                  <a:moveTo>
                    <a:pt x="1802" y="416"/>
                  </a:moveTo>
                  <a:lnTo>
                    <a:pt x="1802" y="416"/>
                  </a:lnTo>
                  <a:lnTo>
                    <a:pt x="1800" y="420"/>
                  </a:lnTo>
                  <a:lnTo>
                    <a:pt x="1800" y="424"/>
                  </a:lnTo>
                  <a:lnTo>
                    <a:pt x="1804" y="426"/>
                  </a:lnTo>
                  <a:lnTo>
                    <a:pt x="1810" y="424"/>
                  </a:lnTo>
                  <a:lnTo>
                    <a:pt x="1810" y="422"/>
                  </a:lnTo>
                  <a:lnTo>
                    <a:pt x="1812" y="420"/>
                  </a:lnTo>
                  <a:lnTo>
                    <a:pt x="1810" y="416"/>
                  </a:lnTo>
                  <a:lnTo>
                    <a:pt x="1806" y="414"/>
                  </a:lnTo>
                  <a:lnTo>
                    <a:pt x="1804" y="414"/>
                  </a:lnTo>
                  <a:lnTo>
                    <a:pt x="1802" y="416"/>
                  </a:lnTo>
                  <a:close/>
                  <a:moveTo>
                    <a:pt x="1858" y="386"/>
                  </a:moveTo>
                  <a:lnTo>
                    <a:pt x="1858" y="386"/>
                  </a:lnTo>
                  <a:lnTo>
                    <a:pt x="1848" y="382"/>
                  </a:lnTo>
                  <a:lnTo>
                    <a:pt x="1844" y="378"/>
                  </a:lnTo>
                  <a:lnTo>
                    <a:pt x="1840" y="374"/>
                  </a:lnTo>
                  <a:lnTo>
                    <a:pt x="1832" y="368"/>
                  </a:lnTo>
                  <a:lnTo>
                    <a:pt x="1828" y="366"/>
                  </a:lnTo>
                  <a:lnTo>
                    <a:pt x="1826" y="368"/>
                  </a:lnTo>
                  <a:lnTo>
                    <a:pt x="1828" y="378"/>
                  </a:lnTo>
                  <a:lnTo>
                    <a:pt x="1830" y="382"/>
                  </a:lnTo>
                  <a:lnTo>
                    <a:pt x="1834" y="386"/>
                  </a:lnTo>
                  <a:lnTo>
                    <a:pt x="1848" y="394"/>
                  </a:lnTo>
                  <a:lnTo>
                    <a:pt x="1864" y="404"/>
                  </a:lnTo>
                  <a:lnTo>
                    <a:pt x="1878" y="414"/>
                  </a:lnTo>
                  <a:lnTo>
                    <a:pt x="1880" y="416"/>
                  </a:lnTo>
                  <a:lnTo>
                    <a:pt x="1882" y="416"/>
                  </a:lnTo>
                  <a:lnTo>
                    <a:pt x="1878" y="408"/>
                  </a:lnTo>
                  <a:lnTo>
                    <a:pt x="1870" y="396"/>
                  </a:lnTo>
                  <a:lnTo>
                    <a:pt x="1864" y="390"/>
                  </a:lnTo>
                  <a:lnTo>
                    <a:pt x="1858" y="386"/>
                  </a:lnTo>
                  <a:close/>
                  <a:moveTo>
                    <a:pt x="1882" y="456"/>
                  </a:moveTo>
                  <a:lnTo>
                    <a:pt x="1882" y="456"/>
                  </a:lnTo>
                  <a:lnTo>
                    <a:pt x="1876" y="450"/>
                  </a:lnTo>
                  <a:lnTo>
                    <a:pt x="1872" y="450"/>
                  </a:lnTo>
                  <a:lnTo>
                    <a:pt x="1870" y="454"/>
                  </a:lnTo>
                  <a:lnTo>
                    <a:pt x="1870" y="462"/>
                  </a:lnTo>
                  <a:lnTo>
                    <a:pt x="1870" y="468"/>
                  </a:lnTo>
                  <a:lnTo>
                    <a:pt x="1876" y="474"/>
                  </a:lnTo>
                  <a:lnTo>
                    <a:pt x="1882" y="478"/>
                  </a:lnTo>
                  <a:lnTo>
                    <a:pt x="1892" y="478"/>
                  </a:lnTo>
                  <a:lnTo>
                    <a:pt x="1900" y="476"/>
                  </a:lnTo>
                  <a:lnTo>
                    <a:pt x="1900" y="478"/>
                  </a:lnTo>
                  <a:lnTo>
                    <a:pt x="1902" y="480"/>
                  </a:lnTo>
                  <a:lnTo>
                    <a:pt x="1912" y="482"/>
                  </a:lnTo>
                  <a:lnTo>
                    <a:pt x="1916" y="482"/>
                  </a:lnTo>
                  <a:lnTo>
                    <a:pt x="1920" y="482"/>
                  </a:lnTo>
                  <a:lnTo>
                    <a:pt x="1920" y="480"/>
                  </a:lnTo>
                  <a:lnTo>
                    <a:pt x="1918" y="476"/>
                  </a:lnTo>
                  <a:lnTo>
                    <a:pt x="1914" y="468"/>
                  </a:lnTo>
                  <a:lnTo>
                    <a:pt x="1906" y="460"/>
                  </a:lnTo>
                  <a:lnTo>
                    <a:pt x="1902" y="458"/>
                  </a:lnTo>
                  <a:lnTo>
                    <a:pt x="1900" y="456"/>
                  </a:lnTo>
                  <a:lnTo>
                    <a:pt x="1892" y="456"/>
                  </a:lnTo>
                  <a:lnTo>
                    <a:pt x="1886" y="458"/>
                  </a:lnTo>
                  <a:lnTo>
                    <a:pt x="1884" y="456"/>
                  </a:lnTo>
                  <a:lnTo>
                    <a:pt x="1882" y="456"/>
                  </a:lnTo>
                  <a:close/>
                  <a:moveTo>
                    <a:pt x="1884" y="560"/>
                  </a:moveTo>
                  <a:lnTo>
                    <a:pt x="1884" y="560"/>
                  </a:lnTo>
                  <a:lnTo>
                    <a:pt x="1886" y="564"/>
                  </a:lnTo>
                  <a:lnTo>
                    <a:pt x="1894" y="570"/>
                  </a:lnTo>
                  <a:lnTo>
                    <a:pt x="1902" y="576"/>
                  </a:lnTo>
                  <a:lnTo>
                    <a:pt x="1906" y="576"/>
                  </a:lnTo>
                  <a:lnTo>
                    <a:pt x="1910" y="576"/>
                  </a:lnTo>
                  <a:lnTo>
                    <a:pt x="1910" y="574"/>
                  </a:lnTo>
                  <a:lnTo>
                    <a:pt x="1908" y="570"/>
                  </a:lnTo>
                  <a:lnTo>
                    <a:pt x="1900" y="562"/>
                  </a:lnTo>
                  <a:lnTo>
                    <a:pt x="1890" y="558"/>
                  </a:lnTo>
                  <a:lnTo>
                    <a:pt x="1886" y="558"/>
                  </a:lnTo>
                  <a:lnTo>
                    <a:pt x="1884" y="560"/>
                  </a:lnTo>
                  <a:close/>
                  <a:moveTo>
                    <a:pt x="1966" y="508"/>
                  </a:moveTo>
                  <a:lnTo>
                    <a:pt x="1966" y="508"/>
                  </a:lnTo>
                  <a:lnTo>
                    <a:pt x="1958" y="506"/>
                  </a:lnTo>
                  <a:lnTo>
                    <a:pt x="1950" y="502"/>
                  </a:lnTo>
                  <a:lnTo>
                    <a:pt x="1942" y="498"/>
                  </a:lnTo>
                  <a:lnTo>
                    <a:pt x="1938" y="498"/>
                  </a:lnTo>
                  <a:lnTo>
                    <a:pt x="1936" y="500"/>
                  </a:lnTo>
                  <a:lnTo>
                    <a:pt x="1934" y="500"/>
                  </a:lnTo>
                  <a:lnTo>
                    <a:pt x="1934" y="502"/>
                  </a:lnTo>
                  <a:lnTo>
                    <a:pt x="1938" y="504"/>
                  </a:lnTo>
                  <a:lnTo>
                    <a:pt x="1942" y="506"/>
                  </a:lnTo>
                  <a:lnTo>
                    <a:pt x="1944" y="510"/>
                  </a:lnTo>
                  <a:lnTo>
                    <a:pt x="1944" y="512"/>
                  </a:lnTo>
                  <a:lnTo>
                    <a:pt x="1946" y="516"/>
                  </a:lnTo>
                  <a:lnTo>
                    <a:pt x="1948" y="518"/>
                  </a:lnTo>
                  <a:lnTo>
                    <a:pt x="1956" y="524"/>
                  </a:lnTo>
                  <a:lnTo>
                    <a:pt x="1966" y="528"/>
                  </a:lnTo>
                  <a:lnTo>
                    <a:pt x="1974" y="528"/>
                  </a:lnTo>
                  <a:lnTo>
                    <a:pt x="1976" y="528"/>
                  </a:lnTo>
                  <a:lnTo>
                    <a:pt x="1978" y="526"/>
                  </a:lnTo>
                  <a:lnTo>
                    <a:pt x="1976" y="518"/>
                  </a:lnTo>
                  <a:lnTo>
                    <a:pt x="1972" y="512"/>
                  </a:lnTo>
                  <a:lnTo>
                    <a:pt x="1968" y="510"/>
                  </a:lnTo>
                  <a:lnTo>
                    <a:pt x="1966" y="508"/>
                  </a:lnTo>
                  <a:close/>
                  <a:moveTo>
                    <a:pt x="2174" y="784"/>
                  </a:moveTo>
                  <a:lnTo>
                    <a:pt x="2174" y="784"/>
                  </a:lnTo>
                  <a:lnTo>
                    <a:pt x="2174" y="788"/>
                  </a:lnTo>
                  <a:lnTo>
                    <a:pt x="2180" y="792"/>
                  </a:lnTo>
                  <a:lnTo>
                    <a:pt x="2182" y="794"/>
                  </a:lnTo>
                  <a:lnTo>
                    <a:pt x="2184" y="798"/>
                  </a:lnTo>
                  <a:lnTo>
                    <a:pt x="2186" y="804"/>
                  </a:lnTo>
                  <a:lnTo>
                    <a:pt x="2188" y="808"/>
                  </a:lnTo>
                  <a:lnTo>
                    <a:pt x="2192" y="808"/>
                  </a:lnTo>
                  <a:lnTo>
                    <a:pt x="2196" y="808"/>
                  </a:lnTo>
                  <a:lnTo>
                    <a:pt x="2198" y="806"/>
                  </a:lnTo>
                  <a:lnTo>
                    <a:pt x="2198" y="800"/>
                  </a:lnTo>
                  <a:lnTo>
                    <a:pt x="2196" y="794"/>
                  </a:lnTo>
                  <a:lnTo>
                    <a:pt x="2190" y="788"/>
                  </a:lnTo>
                  <a:lnTo>
                    <a:pt x="2186" y="784"/>
                  </a:lnTo>
                  <a:lnTo>
                    <a:pt x="2180" y="780"/>
                  </a:lnTo>
                  <a:lnTo>
                    <a:pt x="2176" y="780"/>
                  </a:lnTo>
                  <a:lnTo>
                    <a:pt x="2174" y="784"/>
                  </a:lnTo>
                  <a:close/>
                  <a:moveTo>
                    <a:pt x="1938" y="458"/>
                  </a:moveTo>
                  <a:lnTo>
                    <a:pt x="1938" y="458"/>
                  </a:lnTo>
                  <a:lnTo>
                    <a:pt x="1938" y="454"/>
                  </a:lnTo>
                  <a:lnTo>
                    <a:pt x="1938" y="448"/>
                  </a:lnTo>
                  <a:lnTo>
                    <a:pt x="1936" y="444"/>
                  </a:lnTo>
                  <a:lnTo>
                    <a:pt x="1930" y="438"/>
                  </a:lnTo>
                  <a:lnTo>
                    <a:pt x="1928" y="434"/>
                  </a:lnTo>
                  <a:lnTo>
                    <a:pt x="1926" y="428"/>
                  </a:lnTo>
                  <a:lnTo>
                    <a:pt x="1922" y="420"/>
                  </a:lnTo>
                  <a:lnTo>
                    <a:pt x="1920" y="410"/>
                  </a:lnTo>
                  <a:lnTo>
                    <a:pt x="1916" y="408"/>
                  </a:lnTo>
                  <a:lnTo>
                    <a:pt x="1910" y="406"/>
                  </a:lnTo>
                  <a:lnTo>
                    <a:pt x="1908" y="404"/>
                  </a:lnTo>
                  <a:lnTo>
                    <a:pt x="1906" y="406"/>
                  </a:lnTo>
                  <a:lnTo>
                    <a:pt x="1906" y="412"/>
                  </a:lnTo>
                  <a:lnTo>
                    <a:pt x="1912" y="422"/>
                  </a:lnTo>
                  <a:lnTo>
                    <a:pt x="1916" y="440"/>
                  </a:lnTo>
                  <a:lnTo>
                    <a:pt x="1918" y="446"/>
                  </a:lnTo>
                  <a:lnTo>
                    <a:pt x="1920" y="448"/>
                  </a:lnTo>
                  <a:lnTo>
                    <a:pt x="1926" y="452"/>
                  </a:lnTo>
                  <a:lnTo>
                    <a:pt x="1930" y="460"/>
                  </a:lnTo>
                  <a:lnTo>
                    <a:pt x="1936" y="466"/>
                  </a:lnTo>
                  <a:lnTo>
                    <a:pt x="1940" y="470"/>
                  </a:lnTo>
                  <a:lnTo>
                    <a:pt x="1942" y="468"/>
                  </a:lnTo>
                  <a:lnTo>
                    <a:pt x="1938" y="458"/>
                  </a:lnTo>
                  <a:close/>
                  <a:moveTo>
                    <a:pt x="2456" y="2102"/>
                  </a:moveTo>
                  <a:lnTo>
                    <a:pt x="2456" y="2102"/>
                  </a:lnTo>
                  <a:lnTo>
                    <a:pt x="2460" y="2096"/>
                  </a:lnTo>
                  <a:lnTo>
                    <a:pt x="2460" y="2090"/>
                  </a:lnTo>
                  <a:lnTo>
                    <a:pt x="2458" y="2084"/>
                  </a:lnTo>
                  <a:lnTo>
                    <a:pt x="2456" y="2082"/>
                  </a:lnTo>
                  <a:lnTo>
                    <a:pt x="2450" y="2082"/>
                  </a:lnTo>
                  <a:lnTo>
                    <a:pt x="2442" y="2084"/>
                  </a:lnTo>
                  <a:lnTo>
                    <a:pt x="2434" y="2088"/>
                  </a:lnTo>
                  <a:lnTo>
                    <a:pt x="2426" y="2094"/>
                  </a:lnTo>
                  <a:lnTo>
                    <a:pt x="2418" y="2100"/>
                  </a:lnTo>
                  <a:lnTo>
                    <a:pt x="2412" y="2100"/>
                  </a:lnTo>
                  <a:lnTo>
                    <a:pt x="2410" y="2098"/>
                  </a:lnTo>
                  <a:lnTo>
                    <a:pt x="2410" y="2094"/>
                  </a:lnTo>
                  <a:lnTo>
                    <a:pt x="2410" y="2080"/>
                  </a:lnTo>
                  <a:lnTo>
                    <a:pt x="2410" y="2076"/>
                  </a:lnTo>
                  <a:lnTo>
                    <a:pt x="2408" y="2074"/>
                  </a:lnTo>
                  <a:lnTo>
                    <a:pt x="2400" y="2072"/>
                  </a:lnTo>
                  <a:lnTo>
                    <a:pt x="2398" y="2070"/>
                  </a:lnTo>
                  <a:lnTo>
                    <a:pt x="2398" y="2068"/>
                  </a:lnTo>
                  <a:lnTo>
                    <a:pt x="2404" y="2064"/>
                  </a:lnTo>
                  <a:lnTo>
                    <a:pt x="2408" y="2062"/>
                  </a:lnTo>
                  <a:lnTo>
                    <a:pt x="2408" y="2058"/>
                  </a:lnTo>
                  <a:lnTo>
                    <a:pt x="2408" y="2056"/>
                  </a:lnTo>
                  <a:lnTo>
                    <a:pt x="2404" y="2054"/>
                  </a:lnTo>
                  <a:lnTo>
                    <a:pt x="2400" y="2054"/>
                  </a:lnTo>
                  <a:lnTo>
                    <a:pt x="2396" y="2056"/>
                  </a:lnTo>
                  <a:lnTo>
                    <a:pt x="2388" y="2060"/>
                  </a:lnTo>
                  <a:lnTo>
                    <a:pt x="2380" y="2068"/>
                  </a:lnTo>
                  <a:lnTo>
                    <a:pt x="2376" y="2074"/>
                  </a:lnTo>
                  <a:lnTo>
                    <a:pt x="2374" y="2080"/>
                  </a:lnTo>
                  <a:lnTo>
                    <a:pt x="2374" y="2096"/>
                  </a:lnTo>
                  <a:lnTo>
                    <a:pt x="2372" y="2104"/>
                  </a:lnTo>
                  <a:lnTo>
                    <a:pt x="2370" y="2110"/>
                  </a:lnTo>
                  <a:lnTo>
                    <a:pt x="2366" y="2116"/>
                  </a:lnTo>
                  <a:lnTo>
                    <a:pt x="2358" y="2120"/>
                  </a:lnTo>
                  <a:lnTo>
                    <a:pt x="2352" y="2126"/>
                  </a:lnTo>
                  <a:lnTo>
                    <a:pt x="2346" y="2134"/>
                  </a:lnTo>
                  <a:lnTo>
                    <a:pt x="2336" y="2156"/>
                  </a:lnTo>
                  <a:lnTo>
                    <a:pt x="2324" y="2180"/>
                  </a:lnTo>
                  <a:lnTo>
                    <a:pt x="2318" y="2190"/>
                  </a:lnTo>
                  <a:lnTo>
                    <a:pt x="2310" y="2196"/>
                  </a:lnTo>
                  <a:lnTo>
                    <a:pt x="2298" y="2206"/>
                  </a:lnTo>
                  <a:lnTo>
                    <a:pt x="2286" y="2218"/>
                  </a:lnTo>
                  <a:lnTo>
                    <a:pt x="2274" y="2228"/>
                  </a:lnTo>
                  <a:lnTo>
                    <a:pt x="2270" y="2230"/>
                  </a:lnTo>
                  <a:lnTo>
                    <a:pt x="2264" y="2232"/>
                  </a:lnTo>
                  <a:lnTo>
                    <a:pt x="2260" y="2234"/>
                  </a:lnTo>
                  <a:lnTo>
                    <a:pt x="2256" y="2236"/>
                  </a:lnTo>
                  <a:lnTo>
                    <a:pt x="2250" y="2242"/>
                  </a:lnTo>
                  <a:lnTo>
                    <a:pt x="2246" y="2248"/>
                  </a:lnTo>
                  <a:lnTo>
                    <a:pt x="2242" y="2250"/>
                  </a:lnTo>
                  <a:lnTo>
                    <a:pt x="2236" y="2250"/>
                  </a:lnTo>
                  <a:lnTo>
                    <a:pt x="2228" y="2250"/>
                  </a:lnTo>
                  <a:lnTo>
                    <a:pt x="2222" y="2254"/>
                  </a:lnTo>
                  <a:lnTo>
                    <a:pt x="2216" y="2260"/>
                  </a:lnTo>
                  <a:lnTo>
                    <a:pt x="2210" y="2266"/>
                  </a:lnTo>
                  <a:lnTo>
                    <a:pt x="2200" y="2282"/>
                  </a:lnTo>
                  <a:lnTo>
                    <a:pt x="2186" y="2298"/>
                  </a:lnTo>
                  <a:lnTo>
                    <a:pt x="2174" y="2310"/>
                  </a:lnTo>
                  <a:lnTo>
                    <a:pt x="2162" y="2322"/>
                  </a:lnTo>
                  <a:lnTo>
                    <a:pt x="2160" y="2328"/>
                  </a:lnTo>
                  <a:lnTo>
                    <a:pt x="2156" y="2334"/>
                  </a:lnTo>
                  <a:lnTo>
                    <a:pt x="2156" y="2338"/>
                  </a:lnTo>
                  <a:lnTo>
                    <a:pt x="2158" y="2344"/>
                  </a:lnTo>
                  <a:lnTo>
                    <a:pt x="2160" y="2348"/>
                  </a:lnTo>
                  <a:lnTo>
                    <a:pt x="2158" y="2352"/>
                  </a:lnTo>
                  <a:lnTo>
                    <a:pt x="2152" y="2356"/>
                  </a:lnTo>
                  <a:lnTo>
                    <a:pt x="2146" y="2360"/>
                  </a:lnTo>
                  <a:lnTo>
                    <a:pt x="2146" y="2362"/>
                  </a:lnTo>
                  <a:lnTo>
                    <a:pt x="2146" y="2368"/>
                  </a:lnTo>
                  <a:lnTo>
                    <a:pt x="2152" y="2376"/>
                  </a:lnTo>
                  <a:lnTo>
                    <a:pt x="2162" y="2382"/>
                  </a:lnTo>
                  <a:lnTo>
                    <a:pt x="2168" y="2384"/>
                  </a:lnTo>
                  <a:lnTo>
                    <a:pt x="2172" y="2384"/>
                  </a:lnTo>
                  <a:lnTo>
                    <a:pt x="2178" y="2382"/>
                  </a:lnTo>
                  <a:lnTo>
                    <a:pt x="2184" y="2378"/>
                  </a:lnTo>
                  <a:lnTo>
                    <a:pt x="2190" y="2376"/>
                  </a:lnTo>
                  <a:lnTo>
                    <a:pt x="2192" y="2374"/>
                  </a:lnTo>
                  <a:lnTo>
                    <a:pt x="2194" y="2376"/>
                  </a:lnTo>
                  <a:lnTo>
                    <a:pt x="2196" y="2378"/>
                  </a:lnTo>
                  <a:lnTo>
                    <a:pt x="2200" y="2384"/>
                  </a:lnTo>
                  <a:lnTo>
                    <a:pt x="2202" y="2386"/>
                  </a:lnTo>
                  <a:lnTo>
                    <a:pt x="2208" y="2386"/>
                  </a:lnTo>
                  <a:lnTo>
                    <a:pt x="2212" y="2386"/>
                  </a:lnTo>
                  <a:lnTo>
                    <a:pt x="2216" y="2388"/>
                  </a:lnTo>
                  <a:lnTo>
                    <a:pt x="2218" y="2392"/>
                  </a:lnTo>
                  <a:lnTo>
                    <a:pt x="2218" y="2396"/>
                  </a:lnTo>
                  <a:lnTo>
                    <a:pt x="2220" y="2398"/>
                  </a:lnTo>
                  <a:lnTo>
                    <a:pt x="2224" y="2402"/>
                  </a:lnTo>
                  <a:lnTo>
                    <a:pt x="2232" y="2402"/>
                  </a:lnTo>
                  <a:lnTo>
                    <a:pt x="2248" y="2404"/>
                  </a:lnTo>
                  <a:lnTo>
                    <a:pt x="2256" y="2404"/>
                  </a:lnTo>
                  <a:lnTo>
                    <a:pt x="2262" y="2404"/>
                  </a:lnTo>
                  <a:lnTo>
                    <a:pt x="2268" y="2402"/>
                  </a:lnTo>
                  <a:lnTo>
                    <a:pt x="2276" y="2398"/>
                  </a:lnTo>
                  <a:lnTo>
                    <a:pt x="2282" y="2390"/>
                  </a:lnTo>
                  <a:lnTo>
                    <a:pt x="2288" y="2380"/>
                  </a:lnTo>
                  <a:lnTo>
                    <a:pt x="2296" y="2372"/>
                  </a:lnTo>
                  <a:lnTo>
                    <a:pt x="2302" y="2366"/>
                  </a:lnTo>
                  <a:lnTo>
                    <a:pt x="2308" y="2362"/>
                  </a:lnTo>
                  <a:lnTo>
                    <a:pt x="2314" y="2360"/>
                  </a:lnTo>
                  <a:lnTo>
                    <a:pt x="2320" y="2358"/>
                  </a:lnTo>
                  <a:lnTo>
                    <a:pt x="2320" y="2356"/>
                  </a:lnTo>
                  <a:lnTo>
                    <a:pt x="2318" y="2352"/>
                  </a:lnTo>
                  <a:lnTo>
                    <a:pt x="2318" y="2346"/>
                  </a:lnTo>
                  <a:lnTo>
                    <a:pt x="2318" y="2340"/>
                  </a:lnTo>
                  <a:lnTo>
                    <a:pt x="2324" y="2328"/>
                  </a:lnTo>
                  <a:lnTo>
                    <a:pt x="2332" y="2312"/>
                  </a:lnTo>
                  <a:lnTo>
                    <a:pt x="2336" y="2300"/>
                  </a:lnTo>
                  <a:lnTo>
                    <a:pt x="2336" y="2288"/>
                  </a:lnTo>
                  <a:lnTo>
                    <a:pt x="2340" y="2276"/>
                  </a:lnTo>
                  <a:lnTo>
                    <a:pt x="2346" y="2266"/>
                  </a:lnTo>
                  <a:lnTo>
                    <a:pt x="2354" y="2258"/>
                  </a:lnTo>
                  <a:lnTo>
                    <a:pt x="2364" y="2252"/>
                  </a:lnTo>
                  <a:lnTo>
                    <a:pt x="2376" y="2248"/>
                  </a:lnTo>
                  <a:lnTo>
                    <a:pt x="2386" y="2246"/>
                  </a:lnTo>
                  <a:lnTo>
                    <a:pt x="2394" y="2244"/>
                  </a:lnTo>
                  <a:lnTo>
                    <a:pt x="2400" y="2246"/>
                  </a:lnTo>
                  <a:lnTo>
                    <a:pt x="2406" y="2246"/>
                  </a:lnTo>
                  <a:lnTo>
                    <a:pt x="2410" y="2246"/>
                  </a:lnTo>
                  <a:lnTo>
                    <a:pt x="2414" y="2244"/>
                  </a:lnTo>
                  <a:lnTo>
                    <a:pt x="2416" y="2242"/>
                  </a:lnTo>
                  <a:lnTo>
                    <a:pt x="2418" y="2238"/>
                  </a:lnTo>
                  <a:lnTo>
                    <a:pt x="2418" y="2236"/>
                  </a:lnTo>
                  <a:lnTo>
                    <a:pt x="2416" y="2232"/>
                  </a:lnTo>
                  <a:lnTo>
                    <a:pt x="2410" y="2230"/>
                  </a:lnTo>
                  <a:lnTo>
                    <a:pt x="2404" y="2228"/>
                  </a:lnTo>
                  <a:lnTo>
                    <a:pt x="2402" y="2224"/>
                  </a:lnTo>
                  <a:lnTo>
                    <a:pt x="2400" y="2218"/>
                  </a:lnTo>
                  <a:lnTo>
                    <a:pt x="2400" y="2214"/>
                  </a:lnTo>
                  <a:lnTo>
                    <a:pt x="2400" y="2208"/>
                  </a:lnTo>
                  <a:lnTo>
                    <a:pt x="2402" y="2204"/>
                  </a:lnTo>
                  <a:lnTo>
                    <a:pt x="2406" y="2200"/>
                  </a:lnTo>
                  <a:lnTo>
                    <a:pt x="2410" y="2198"/>
                  </a:lnTo>
                  <a:lnTo>
                    <a:pt x="2416" y="2196"/>
                  </a:lnTo>
                  <a:lnTo>
                    <a:pt x="2420" y="2192"/>
                  </a:lnTo>
                  <a:lnTo>
                    <a:pt x="2430" y="2178"/>
                  </a:lnTo>
                  <a:lnTo>
                    <a:pt x="2440" y="2160"/>
                  </a:lnTo>
                  <a:lnTo>
                    <a:pt x="2454" y="2138"/>
                  </a:lnTo>
                  <a:lnTo>
                    <a:pt x="2460" y="2130"/>
                  </a:lnTo>
                  <a:lnTo>
                    <a:pt x="2462" y="2124"/>
                  </a:lnTo>
                  <a:lnTo>
                    <a:pt x="2462" y="2120"/>
                  </a:lnTo>
                  <a:lnTo>
                    <a:pt x="2460" y="2118"/>
                  </a:lnTo>
                  <a:lnTo>
                    <a:pt x="2456" y="2116"/>
                  </a:lnTo>
                  <a:lnTo>
                    <a:pt x="2454" y="2114"/>
                  </a:lnTo>
                  <a:lnTo>
                    <a:pt x="2454" y="2110"/>
                  </a:lnTo>
                  <a:lnTo>
                    <a:pt x="2456" y="2102"/>
                  </a:lnTo>
                  <a:close/>
                  <a:moveTo>
                    <a:pt x="2684" y="808"/>
                  </a:moveTo>
                  <a:lnTo>
                    <a:pt x="2684" y="808"/>
                  </a:lnTo>
                  <a:lnTo>
                    <a:pt x="2680" y="812"/>
                  </a:lnTo>
                  <a:lnTo>
                    <a:pt x="2678" y="810"/>
                  </a:lnTo>
                  <a:lnTo>
                    <a:pt x="2682" y="802"/>
                  </a:lnTo>
                  <a:lnTo>
                    <a:pt x="2688" y="794"/>
                  </a:lnTo>
                  <a:lnTo>
                    <a:pt x="2690" y="792"/>
                  </a:lnTo>
                  <a:lnTo>
                    <a:pt x="2690" y="790"/>
                  </a:lnTo>
                  <a:lnTo>
                    <a:pt x="2688" y="788"/>
                  </a:lnTo>
                  <a:lnTo>
                    <a:pt x="2684" y="790"/>
                  </a:lnTo>
                  <a:lnTo>
                    <a:pt x="2676" y="794"/>
                  </a:lnTo>
                  <a:lnTo>
                    <a:pt x="2664" y="800"/>
                  </a:lnTo>
                  <a:lnTo>
                    <a:pt x="2658" y="804"/>
                  </a:lnTo>
                  <a:lnTo>
                    <a:pt x="2652" y="806"/>
                  </a:lnTo>
                  <a:lnTo>
                    <a:pt x="2648" y="806"/>
                  </a:lnTo>
                  <a:lnTo>
                    <a:pt x="2646" y="812"/>
                  </a:lnTo>
                  <a:lnTo>
                    <a:pt x="2644" y="814"/>
                  </a:lnTo>
                  <a:lnTo>
                    <a:pt x="2642" y="816"/>
                  </a:lnTo>
                  <a:lnTo>
                    <a:pt x="2636" y="814"/>
                  </a:lnTo>
                  <a:lnTo>
                    <a:pt x="2634" y="814"/>
                  </a:lnTo>
                  <a:lnTo>
                    <a:pt x="2634" y="816"/>
                  </a:lnTo>
                  <a:lnTo>
                    <a:pt x="2636" y="826"/>
                  </a:lnTo>
                  <a:lnTo>
                    <a:pt x="2640" y="832"/>
                  </a:lnTo>
                  <a:lnTo>
                    <a:pt x="2642" y="832"/>
                  </a:lnTo>
                  <a:lnTo>
                    <a:pt x="2656" y="822"/>
                  </a:lnTo>
                  <a:lnTo>
                    <a:pt x="2660" y="820"/>
                  </a:lnTo>
                  <a:lnTo>
                    <a:pt x="2662" y="820"/>
                  </a:lnTo>
                  <a:lnTo>
                    <a:pt x="2664" y="820"/>
                  </a:lnTo>
                  <a:lnTo>
                    <a:pt x="2666" y="822"/>
                  </a:lnTo>
                  <a:lnTo>
                    <a:pt x="2666" y="824"/>
                  </a:lnTo>
                  <a:lnTo>
                    <a:pt x="2668" y="824"/>
                  </a:lnTo>
                  <a:lnTo>
                    <a:pt x="2670" y="824"/>
                  </a:lnTo>
                  <a:lnTo>
                    <a:pt x="2678" y="820"/>
                  </a:lnTo>
                  <a:lnTo>
                    <a:pt x="2684" y="820"/>
                  </a:lnTo>
                  <a:lnTo>
                    <a:pt x="2690" y="820"/>
                  </a:lnTo>
                  <a:lnTo>
                    <a:pt x="2688" y="816"/>
                  </a:lnTo>
                  <a:lnTo>
                    <a:pt x="2688" y="810"/>
                  </a:lnTo>
                  <a:lnTo>
                    <a:pt x="2688" y="806"/>
                  </a:lnTo>
                  <a:lnTo>
                    <a:pt x="2684" y="808"/>
                  </a:lnTo>
                  <a:close/>
                  <a:moveTo>
                    <a:pt x="2600" y="1904"/>
                  </a:moveTo>
                  <a:lnTo>
                    <a:pt x="2600" y="1904"/>
                  </a:lnTo>
                  <a:lnTo>
                    <a:pt x="2596" y="1910"/>
                  </a:lnTo>
                  <a:lnTo>
                    <a:pt x="2592" y="1916"/>
                  </a:lnTo>
                  <a:lnTo>
                    <a:pt x="2586" y="1918"/>
                  </a:lnTo>
                  <a:lnTo>
                    <a:pt x="2580" y="1918"/>
                  </a:lnTo>
                  <a:lnTo>
                    <a:pt x="2574" y="1918"/>
                  </a:lnTo>
                  <a:lnTo>
                    <a:pt x="2566" y="1914"/>
                  </a:lnTo>
                  <a:lnTo>
                    <a:pt x="2548" y="1906"/>
                  </a:lnTo>
                  <a:lnTo>
                    <a:pt x="2540" y="1900"/>
                  </a:lnTo>
                  <a:lnTo>
                    <a:pt x="2534" y="1892"/>
                  </a:lnTo>
                  <a:lnTo>
                    <a:pt x="2530" y="1884"/>
                  </a:lnTo>
                  <a:lnTo>
                    <a:pt x="2528" y="1876"/>
                  </a:lnTo>
                  <a:lnTo>
                    <a:pt x="2522" y="1856"/>
                  </a:lnTo>
                  <a:lnTo>
                    <a:pt x="2518" y="1848"/>
                  </a:lnTo>
                  <a:lnTo>
                    <a:pt x="2514" y="1840"/>
                  </a:lnTo>
                  <a:lnTo>
                    <a:pt x="2508" y="1834"/>
                  </a:lnTo>
                  <a:lnTo>
                    <a:pt x="2504" y="1832"/>
                  </a:lnTo>
                  <a:lnTo>
                    <a:pt x="2504" y="1834"/>
                  </a:lnTo>
                  <a:lnTo>
                    <a:pt x="2504" y="1838"/>
                  </a:lnTo>
                  <a:lnTo>
                    <a:pt x="2506" y="1850"/>
                  </a:lnTo>
                  <a:lnTo>
                    <a:pt x="2512" y="1868"/>
                  </a:lnTo>
                  <a:lnTo>
                    <a:pt x="2514" y="1874"/>
                  </a:lnTo>
                  <a:lnTo>
                    <a:pt x="2512" y="1876"/>
                  </a:lnTo>
                  <a:lnTo>
                    <a:pt x="2506" y="1874"/>
                  </a:lnTo>
                  <a:lnTo>
                    <a:pt x="2498" y="1868"/>
                  </a:lnTo>
                  <a:lnTo>
                    <a:pt x="2490" y="1862"/>
                  </a:lnTo>
                  <a:lnTo>
                    <a:pt x="2484" y="1854"/>
                  </a:lnTo>
                  <a:lnTo>
                    <a:pt x="2482" y="1844"/>
                  </a:lnTo>
                  <a:lnTo>
                    <a:pt x="2482" y="1836"/>
                  </a:lnTo>
                  <a:lnTo>
                    <a:pt x="2482" y="1830"/>
                  </a:lnTo>
                  <a:lnTo>
                    <a:pt x="2482" y="1826"/>
                  </a:lnTo>
                  <a:lnTo>
                    <a:pt x="2478" y="1818"/>
                  </a:lnTo>
                  <a:lnTo>
                    <a:pt x="2474" y="1810"/>
                  </a:lnTo>
                  <a:lnTo>
                    <a:pt x="2472" y="1806"/>
                  </a:lnTo>
                  <a:lnTo>
                    <a:pt x="2472" y="1802"/>
                  </a:lnTo>
                  <a:lnTo>
                    <a:pt x="2472" y="1792"/>
                  </a:lnTo>
                  <a:lnTo>
                    <a:pt x="2470" y="1786"/>
                  </a:lnTo>
                  <a:lnTo>
                    <a:pt x="2466" y="1780"/>
                  </a:lnTo>
                  <a:lnTo>
                    <a:pt x="2462" y="1770"/>
                  </a:lnTo>
                  <a:lnTo>
                    <a:pt x="2454" y="1762"/>
                  </a:lnTo>
                  <a:lnTo>
                    <a:pt x="2448" y="1758"/>
                  </a:lnTo>
                  <a:lnTo>
                    <a:pt x="2440" y="1754"/>
                  </a:lnTo>
                  <a:lnTo>
                    <a:pt x="2428" y="1752"/>
                  </a:lnTo>
                  <a:lnTo>
                    <a:pt x="2424" y="1750"/>
                  </a:lnTo>
                  <a:lnTo>
                    <a:pt x="2422" y="1748"/>
                  </a:lnTo>
                  <a:lnTo>
                    <a:pt x="2418" y="1738"/>
                  </a:lnTo>
                  <a:lnTo>
                    <a:pt x="2412" y="1730"/>
                  </a:lnTo>
                  <a:lnTo>
                    <a:pt x="2408" y="1726"/>
                  </a:lnTo>
                  <a:lnTo>
                    <a:pt x="2402" y="1726"/>
                  </a:lnTo>
                  <a:lnTo>
                    <a:pt x="2394" y="1726"/>
                  </a:lnTo>
                  <a:lnTo>
                    <a:pt x="2394" y="1728"/>
                  </a:lnTo>
                  <a:lnTo>
                    <a:pt x="2394" y="1730"/>
                  </a:lnTo>
                  <a:lnTo>
                    <a:pt x="2400" y="1736"/>
                  </a:lnTo>
                  <a:lnTo>
                    <a:pt x="2410" y="1748"/>
                  </a:lnTo>
                  <a:lnTo>
                    <a:pt x="2414" y="1754"/>
                  </a:lnTo>
                  <a:lnTo>
                    <a:pt x="2416" y="1758"/>
                  </a:lnTo>
                  <a:lnTo>
                    <a:pt x="2416" y="1762"/>
                  </a:lnTo>
                  <a:lnTo>
                    <a:pt x="2416" y="1764"/>
                  </a:lnTo>
                  <a:lnTo>
                    <a:pt x="2414" y="1768"/>
                  </a:lnTo>
                  <a:lnTo>
                    <a:pt x="2420" y="1776"/>
                  </a:lnTo>
                  <a:lnTo>
                    <a:pt x="2426" y="1784"/>
                  </a:lnTo>
                  <a:lnTo>
                    <a:pt x="2430" y="1794"/>
                  </a:lnTo>
                  <a:lnTo>
                    <a:pt x="2440" y="1814"/>
                  </a:lnTo>
                  <a:lnTo>
                    <a:pt x="2444" y="1822"/>
                  </a:lnTo>
                  <a:lnTo>
                    <a:pt x="2448" y="1828"/>
                  </a:lnTo>
                  <a:lnTo>
                    <a:pt x="2452" y="1830"/>
                  </a:lnTo>
                  <a:lnTo>
                    <a:pt x="2454" y="1826"/>
                  </a:lnTo>
                  <a:lnTo>
                    <a:pt x="2456" y="1822"/>
                  </a:lnTo>
                  <a:lnTo>
                    <a:pt x="2460" y="1822"/>
                  </a:lnTo>
                  <a:lnTo>
                    <a:pt x="2464" y="1830"/>
                  </a:lnTo>
                  <a:lnTo>
                    <a:pt x="2466" y="1840"/>
                  </a:lnTo>
                  <a:lnTo>
                    <a:pt x="2466" y="1842"/>
                  </a:lnTo>
                  <a:lnTo>
                    <a:pt x="2464" y="1842"/>
                  </a:lnTo>
                  <a:lnTo>
                    <a:pt x="2458" y="1838"/>
                  </a:lnTo>
                  <a:lnTo>
                    <a:pt x="2458" y="1842"/>
                  </a:lnTo>
                  <a:lnTo>
                    <a:pt x="2474" y="1878"/>
                  </a:lnTo>
                  <a:lnTo>
                    <a:pt x="2480" y="1892"/>
                  </a:lnTo>
                  <a:lnTo>
                    <a:pt x="2482" y="1902"/>
                  </a:lnTo>
                  <a:lnTo>
                    <a:pt x="2482" y="1910"/>
                  </a:lnTo>
                  <a:lnTo>
                    <a:pt x="2482" y="1916"/>
                  </a:lnTo>
                  <a:lnTo>
                    <a:pt x="2478" y="1928"/>
                  </a:lnTo>
                  <a:lnTo>
                    <a:pt x="2476" y="1936"/>
                  </a:lnTo>
                  <a:lnTo>
                    <a:pt x="2476" y="1946"/>
                  </a:lnTo>
                  <a:lnTo>
                    <a:pt x="2476" y="1954"/>
                  </a:lnTo>
                  <a:lnTo>
                    <a:pt x="2472" y="1962"/>
                  </a:lnTo>
                  <a:lnTo>
                    <a:pt x="2466" y="1968"/>
                  </a:lnTo>
                  <a:lnTo>
                    <a:pt x="2460" y="1972"/>
                  </a:lnTo>
                  <a:lnTo>
                    <a:pt x="2446" y="1980"/>
                  </a:lnTo>
                  <a:lnTo>
                    <a:pt x="2442" y="1984"/>
                  </a:lnTo>
                  <a:lnTo>
                    <a:pt x="2440" y="1988"/>
                  </a:lnTo>
                  <a:lnTo>
                    <a:pt x="2440" y="1994"/>
                  </a:lnTo>
                  <a:lnTo>
                    <a:pt x="2444" y="2000"/>
                  </a:lnTo>
                  <a:lnTo>
                    <a:pt x="2456" y="2010"/>
                  </a:lnTo>
                  <a:lnTo>
                    <a:pt x="2474" y="2020"/>
                  </a:lnTo>
                  <a:lnTo>
                    <a:pt x="2488" y="2028"/>
                  </a:lnTo>
                  <a:lnTo>
                    <a:pt x="2494" y="2032"/>
                  </a:lnTo>
                  <a:lnTo>
                    <a:pt x="2496" y="2040"/>
                  </a:lnTo>
                  <a:lnTo>
                    <a:pt x="2498" y="2048"/>
                  </a:lnTo>
                  <a:lnTo>
                    <a:pt x="2496" y="2058"/>
                  </a:lnTo>
                  <a:lnTo>
                    <a:pt x="2492" y="2076"/>
                  </a:lnTo>
                  <a:lnTo>
                    <a:pt x="2488" y="2082"/>
                  </a:lnTo>
                  <a:lnTo>
                    <a:pt x="2484" y="2088"/>
                  </a:lnTo>
                  <a:lnTo>
                    <a:pt x="2478" y="2092"/>
                  </a:lnTo>
                  <a:lnTo>
                    <a:pt x="2474" y="2098"/>
                  </a:lnTo>
                  <a:lnTo>
                    <a:pt x="2474" y="2100"/>
                  </a:lnTo>
                  <a:lnTo>
                    <a:pt x="2476" y="2100"/>
                  </a:lnTo>
                  <a:lnTo>
                    <a:pt x="2488" y="2106"/>
                  </a:lnTo>
                  <a:lnTo>
                    <a:pt x="2492" y="2108"/>
                  </a:lnTo>
                  <a:lnTo>
                    <a:pt x="2494" y="2110"/>
                  </a:lnTo>
                  <a:lnTo>
                    <a:pt x="2498" y="2116"/>
                  </a:lnTo>
                  <a:lnTo>
                    <a:pt x="2498" y="2120"/>
                  </a:lnTo>
                  <a:lnTo>
                    <a:pt x="2502" y="2120"/>
                  </a:lnTo>
                  <a:lnTo>
                    <a:pt x="2506" y="2118"/>
                  </a:lnTo>
                  <a:lnTo>
                    <a:pt x="2512" y="2114"/>
                  </a:lnTo>
                  <a:lnTo>
                    <a:pt x="2520" y="2108"/>
                  </a:lnTo>
                  <a:lnTo>
                    <a:pt x="2530" y="2094"/>
                  </a:lnTo>
                  <a:lnTo>
                    <a:pt x="2552" y="2062"/>
                  </a:lnTo>
                  <a:lnTo>
                    <a:pt x="2560" y="2044"/>
                  </a:lnTo>
                  <a:lnTo>
                    <a:pt x="2568" y="2028"/>
                  </a:lnTo>
                  <a:lnTo>
                    <a:pt x="2570" y="2016"/>
                  </a:lnTo>
                  <a:lnTo>
                    <a:pt x="2570" y="2010"/>
                  </a:lnTo>
                  <a:lnTo>
                    <a:pt x="2568" y="2006"/>
                  </a:lnTo>
                  <a:lnTo>
                    <a:pt x="2566" y="2002"/>
                  </a:lnTo>
                  <a:lnTo>
                    <a:pt x="2568" y="1998"/>
                  </a:lnTo>
                  <a:lnTo>
                    <a:pt x="2570" y="1992"/>
                  </a:lnTo>
                  <a:lnTo>
                    <a:pt x="2574" y="1986"/>
                  </a:lnTo>
                  <a:lnTo>
                    <a:pt x="2580" y="1982"/>
                  </a:lnTo>
                  <a:lnTo>
                    <a:pt x="2586" y="1980"/>
                  </a:lnTo>
                  <a:lnTo>
                    <a:pt x="2594" y="1982"/>
                  </a:lnTo>
                  <a:lnTo>
                    <a:pt x="2602" y="1986"/>
                  </a:lnTo>
                  <a:lnTo>
                    <a:pt x="2608" y="1990"/>
                  </a:lnTo>
                  <a:lnTo>
                    <a:pt x="2610" y="1990"/>
                  </a:lnTo>
                  <a:lnTo>
                    <a:pt x="2612" y="1988"/>
                  </a:lnTo>
                  <a:lnTo>
                    <a:pt x="2612" y="1984"/>
                  </a:lnTo>
                  <a:lnTo>
                    <a:pt x="2610" y="1978"/>
                  </a:lnTo>
                  <a:lnTo>
                    <a:pt x="2608" y="1970"/>
                  </a:lnTo>
                  <a:lnTo>
                    <a:pt x="2608" y="1964"/>
                  </a:lnTo>
                  <a:lnTo>
                    <a:pt x="2610" y="1958"/>
                  </a:lnTo>
                  <a:lnTo>
                    <a:pt x="2612" y="1956"/>
                  </a:lnTo>
                  <a:lnTo>
                    <a:pt x="2614" y="1954"/>
                  </a:lnTo>
                  <a:lnTo>
                    <a:pt x="2620" y="1952"/>
                  </a:lnTo>
                  <a:lnTo>
                    <a:pt x="2624" y="1948"/>
                  </a:lnTo>
                  <a:lnTo>
                    <a:pt x="2626" y="1942"/>
                  </a:lnTo>
                  <a:lnTo>
                    <a:pt x="2626" y="1934"/>
                  </a:lnTo>
                  <a:lnTo>
                    <a:pt x="2628" y="1920"/>
                  </a:lnTo>
                  <a:lnTo>
                    <a:pt x="2628" y="1912"/>
                  </a:lnTo>
                  <a:lnTo>
                    <a:pt x="2630" y="1908"/>
                  </a:lnTo>
                  <a:lnTo>
                    <a:pt x="2632" y="1904"/>
                  </a:lnTo>
                  <a:lnTo>
                    <a:pt x="2630" y="1900"/>
                  </a:lnTo>
                  <a:lnTo>
                    <a:pt x="2626" y="1896"/>
                  </a:lnTo>
                  <a:lnTo>
                    <a:pt x="2620" y="1894"/>
                  </a:lnTo>
                  <a:lnTo>
                    <a:pt x="2614" y="1894"/>
                  </a:lnTo>
                  <a:lnTo>
                    <a:pt x="2608" y="1896"/>
                  </a:lnTo>
                  <a:lnTo>
                    <a:pt x="2604" y="1900"/>
                  </a:lnTo>
                  <a:lnTo>
                    <a:pt x="2600" y="1904"/>
                  </a:lnTo>
                  <a:close/>
                  <a:moveTo>
                    <a:pt x="2636" y="868"/>
                  </a:moveTo>
                  <a:lnTo>
                    <a:pt x="2636" y="868"/>
                  </a:lnTo>
                  <a:lnTo>
                    <a:pt x="2636" y="864"/>
                  </a:lnTo>
                  <a:lnTo>
                    <a:pt x="2634" y="860"/>
                  </a:lnTo>
                  <a:lnTo>
                    <a:pt x="2630" y="856"/>
                  </a:lnTo>
                  <a:lnTo>
                    <a:pt x="2626" y="854"/>
                  </a:lnTo>
                  <a:lnTo>
                    <a:pt x="2616" y="850"/>
                  </a:lnTo>
                  <a:lnTo>
                    <a:pt x="2606" y="852"/>
                  </a:lnTo>
                  <a:lnTo>
                    <a:pt x="2596" y="858"/>
                  </a:lnTo>
                  <a:lnTo>
                    <a:pt x="2588" y="864"/>
                  </a:lnTo>
                  <a:lnTo>
                    <a:pt x="2582" y="870"/>
                  </a:lnTo>
                  <a:lnTo>
                    <a:pt x="2580" y="876"/>
                  </a:lnTo>
                  <a:lnTo>
                    <a:pt x="2580" y="880"/>
                  </a:lnTo>
                  <a:lnTo>
                    <a:pt x="2580" y="882"/>
                  </a:lnTo>
                  <a:lnTo>
                    <a:pt x="2582" y="886"/>
                  </a:lnTo>
                  <a:lnTo>
                    <a:pt x="2586" y="888"/>
                  </a:lnTo>
                  <a:lnTo>
                    <a:pt x="2600" y="892"/>
                  </a:lnTo>
                  <a:lnTo>
                    <a:pt x="2610" y="896"/>
                  </a:lnTo>
                  <a:lnTo>
                    <a:pt x="2616" y="894"/>
                  </a:lnTo>
                  <a:lnTo>
                    <a:pt x="2620" y="890"/>
                  </a:lnTo>
                  <a:lnTo>
                    <a:pt x="2624" y="888"/>
                  </a:lnTo>
                  <a:lnTo>
                    <a:pt x="2626" y="886"/>
                  </a:lnTo>
                  <a:lnTo>
                    <a:pt x="2630" y="888"/>
                  </a:lnTo>
                  <a:lnTo>
                    <a:pt x="2636" y="890"/>
                  </a:lnTo>
                  <a:lnTo>
                    <a:pt x="2638" y="890"/>
                  </a:lnTo>
                  <a:lnTo>
                    <a:pt x="2640" y="888"/>
                  </a:lnTo>
                  <a:lnTo>
                    <a:pt x="2642" y="886"/>
                  </a:lnTo>
                  <a:lnTo>
                    <a:pt x="2640" y="882"/>
                  </a:lnTo>
                  <a:lnTo>
                    <a:pt x="2636" y="876"/>
                  </a:lnTo>
                  <a:lnTo>
                    <a:pt x="2636" y="872"/>
                  </a:lnTo>
                  <a:lnTo>
                    <a:pt x="2636" y="868"/>
                  </a:lnTo>
                  <a:close/>
                  <a:moveTo>
                    <a:pt x="2260" y="930"/>
                  </a:moveTo>
                  <a:lnTo>
                    <a:pt x="2260" y="930"/>
                  </a:lnTo>
                  <a:lnTo>
                    <a:pt x="2260" y="928"/>
                  </a:lnTo>
                  <a:lnTo>
                    <a:pt x="2262" y="924"/>
                  </a:lnTo>
                  <a:lnTo>
                    <a:pt x="2258" y="918"/>
                  </a:lnTo>
                  <a:lnTo>
                    <a:pt x="2254" y="912"/>
                  </a:lnTo>
                  <a:lnTo>
                    <a:pt x="2252" y="912"/>
                  </a:lnTo>
                  <a:lnTo>
                    <a:pt x="2248" y="914"/>
                  </a:lnTo>
                  <a:lnTo>
                    <a:pt x="2248" y="918"/>
                  </a:lnTo>
                  <a:lnTo>
                    <a:pt x="2248" y="920"/>
                  </a:lnTo>
                  <a:lnTo>
                    <a:pt x="2250" y="926"/>
                  </a:lnTo>
                  <a:lnTo>
                    <a:pt x="2256" y="930"/>
                  </a:lnTo>
                  <a:lnTo>
                    <a:pt x="2258" y="930"/>
                  </a:lnTo>
                  <a:lnTo>
                    <a:pt x="2260" y="930"/>
                  </a:lnTo>
                  <a:close/>
                  <a:moveTo>
                    <a:pt x="2258" y="948"/>
                  </a:moveTo>
                  <a:lnTo>
                    <a:pt x="2258" y="948"/>
                  </a:lnTo>
                  <a:lnTo>
                    <a:pt x="2256" y="950"/>
                  </a:lnTo>
                  <a:lnTo>
                    <a:pt x="2256" y="954"/>
                  </a:lnTo>
                  <a:lnTo>
                    <a:pt x="2258" y="960"/>
                  </a:lnTo>
                  <a:lnTo>
                    <a:pt x="2262" y="964"/>
                  </a:lnTo>
                  <a:lnTo>
                    <a:pt x="2266" y="966"/>
                  </a:lnTo>
                  <a:lnTo>
                    <a:pt x="2268" y="964"/>
                  </a:lnTo>
                  <a:lnTo>
                    <a:pt x="2268" y="962"/>
                  </a:lnTo>
                  <a:lnTo>
                    <a:pt x="2266" y="954"/>
                  </a:lnTo>
                  <a:lnTo>
                    <a:pt x="2262" y="948"/>
                  </a:lnTo>
                  <a:lnTo>
                    <a:pt x="2260" y="948"/>
                  </a:lnTo>
                  <a:lnTo>
                    <a:pt x="2258" y="948"/>
                  </a:lnTo>
                  <a:close/>
                  <a:moveTo>
                    <a:pt x="1490" y="460"/>
                  </a:moveTo>
                  <a:lnTo>
                    <a:pt x="1490" y="460"/>
                  </a:lnTo>
                  <a:lnTo>
                    <a:pt x="1492" y="462"/>
                  </a:lnTo>
                  <a:lnTo>
                    <a:pt x="1494" y="464"/>
                  </a:lnTo>
                  <a:lnTo>
                    <a:pt x="1496" y="462"/>
                  </a:lnTo>
                  <a:lnTo>
                    <a:pt x="1496" y="460"/>
                  </a:lnTo>
                  <a:lnTo>
                    <a:pt x="1496" y="454"/>
                  </a:lnTo>
                  <a:lnTo>
                    <a:pt x="1494" y="448"/>
                  </a:lnTo>
                  <a:lnTo>
                    <a:pt x="1490" y="446"/>
                  </a:lnTo>
                  <a:lnTo>
                    <a:pt x="1486" y="448"/>
                  </a:lnTo>
                  <a:lnTo>
                    <a:pt x="1486" y="452"/>
                  </a:lnTo>
                  <a:lnTo>
                    <a:pt x="1490" y="460"/>
                  </a:lnTo>
                  <a:close/>
                  <a:moveTo>
                    <a:pt x="1532" y="492"/>
                  </a:moveTo>
                  <a:lnTo>
                    <a:pt x="1532" y="492"/>
                  </a:lnTo>
                  <a:lnTo>
                    <a:pt x="1534" y="486"/>
                  </a:lnTo>
                  <a:lnTo>
                    <a:pt x="1534" y="482"/>
                  </a:lnTo>
                  <a:lnTo>
                    <a:pt x="1532" y="482"/>
                  </a:lnTo>
                  <a:lnTo>
                    <a:pt x="1530" y="482"/>
                  </a:lnTo>
                  <a:lnTo>
                    <a:pt x="1528" y="484"/>
                  </a:lnTo>
                  <a:lnTo>
                    <a:pt x="1526" y="484"/>
                  </a:lnTo>
                  <a:lnTo>
                    <a:pt x="1522" y="480"/>
                  </a:lnTo>
                  <a:lnTo>
                    <a:pt x="1518" y="478"/>
                  </a:lnTo>
                  <a:lnTo>
                    <a:pt x="1516" y="478"/>
                  </a:lnTo>
                  <a:lnTo>
                    <a:pt x="1518" y="486"/>
                  </a:lnTo>
                  <a:lnTo>
                    <a:pt x="1522" y="492"/>
                  </a:lnTo>
                  <a:lnTo>
                    <a:pt x="1528" y="496"/>
                  </a:lnTo>
                  <a:lnTo>
                    <a:pt x="1532" y="496"/>
                  </a:lnTo>
                  <a:lnTo>
                    <a:pt x="1532" y="492"/>
                  </a:lnTo>
                  <a:close/>
                  <a:moveTo>
                    <a:pt x="1520" y="466"/>
                  </a:moveTo>
                  <a:lnTo>
                    <a:pt x="1520" y="466"/>
                  </a:lnTo>
                  <a:lnTo>
                    <a:pt x="1516" y="458"/>
                  </a:lnTo>
                  <a:lnTo>
                    <a:pt x="1512" y="454"/>
                  </a:lnTo>
                  <a:lnTo>
                    <a:pt x="1508" y="454"/>
                  </a:lnTo>
                  <a:lnTo>
                    <a:pt x="1506" y="454"/>
                  </a:lnTo>
                  <a:lnTo>
                    <a:pt x="1504" y="456"/>
                  </a:lnTo>
                  <a:lnTo>
                    <a:pt x="1502" y="460"/>
                  </a:lnTo>
                  <a:lnTo>
                    <a:pt x="1500" y="468"/>
                  </a:lnTo>
                  <a:lnTo>
                    <a:pt x="1500" y="470"/>
                  </a:lnTo>
                  <a:lnTo>
                    <a:pt x="1504" y="470"/>
                  </a:lnTo>
                  <a:lnTo>
                    <a:pt x="1514" y="472"/>
                  </a:lnTo>
                  <a:lnTo>
                    <a:pt x="1518" y="470"/>
                  </a:lnTo>
                  <a:lnTo>
                    <a:pt x="1520" y="466"/>
                  </a:lnTo>
                  <a:close/>
                  <a:moveTo>
                    <a:pt x="1400" y="268"/>
                  </a:moveTo>
                  <a:lnTo>
                    <a:pt x="1400" y="268"/>
                  </a:lnTo>
                  <a:lnTo>
                    <a:pt x="1394" y="264"/>
                  </a:lnTo>
                  <a:lnTo>
                    <a:pt x="1392" y="264"/>
                  </a:lnTo>
                  <a:lnTo>
                    <a:pt x="1390" y="266"/>
                  </a:lnTo>
                  <a:lnTo>
                    <a:pt x="1392" y="272"/>
                  </a:lnTo>
                  <a:lnTo>
                    <a:pt x="1396" y="280"/>
                  </a:lnTo>
                  <a:lnTo>
                    <a:pt x="1398" y="282"/>
                  </a:lnTo>
                  <a:lnTo>
                    <a:pt x="1400" y="284"/>
                  </a:lnTo>
                  <a:lnTo>
                    <a:pt x="1402" y="282"/>
                  </a:lnTo>
                  <a:lnTo>
                    <a:pt x="1404" y="280"/>
                  </a:lnTo>
                  <a:lnTo>
                    <a:pt x="1404" y="274"/>
                  </a:lnTo>
                  <a:lnTo>
                    <a:pt x="1402" y="272"/>
                  </a:lnTo>
                  <a:lnTo>
                    <a:pt x="1400" y="268"/>
                  </a:lnTo>
                  <a:close/>
                  <a:moveTo>
                    <a:pt x="1360" y="254"/>
                  </a:moveTo>
                  <a:lnTo>
                    <a:pt x="1360" y="254"/>
                  </a:lnTo>
                  <a:lnTo>
                    <a:pt x="1360" y="256"/>
                  </a:lnTo>
                  <a:lnTo>
                    <a:pt x="1360" y="260"/>
                  </a:lnTo>
                  <a:lnTo>
                    <a:pt x="1362" y="264"/>
                  </a:lnTo>
                  <a:lnTo>
                    <a:pt x="1368" y="266"/>
                  </a:lnTo>
                  <a:lnTo>
                    <a:pt x="1372" y="264"/>
                  </a:lnTo>
                  <a:lnTo>
                    <a:pt x="1372" y="262"/>
                  </a:lnTo>
                  <a:lnTo>
                    <a:pt x="1372" y="260"/>
                  </a:lnTo>
                  <a:lnTo>
                    <a:pt x="1370" y="254"/>
                  </a:lnTo>
                  <a:lnTo>
                    <a:pt x="1366" y="252"/>
                  </a:lnTo>
                  <a:lnTo>
                    <a:pt x="1364" y="252"/>
                  </a:lnTo>
                  <a:lnTo>
                    <a:pt x="1360" y="254"/>
                  </a:lnTo>
                  <a:close/>
                  <a:moveTo>
                    <a:pt x="1320" y="218"/>
                  </a:moveTo>
                  <a:lnTo>
                    <a:pt x="1320" y="218"/>
                  </a:lnTo>
                  <a:lnTo>
                    <a:pt x="1318" y="216"/>
                  </a:lnTo>
                  <a:lnTo>
                    <a:pt x="1316" y="218"/>
                  </a:lnTo>
                  <a:lnTo>
                    <a:pt x="1314" y="220"/>
                  </a:lnTo>
                  <a:lnTo>
                    <a:pt x="1314" y="226"/>
                  </a:lnTo>
                  <a:lnTo>
                    <a:pt x="1316" y="232"/>
                  </a:lnTo>
                  <a:lnTo>
                    <a:pt x="1318" y="232"/>
                  </a:lnTo>
                  <a:lnTo>
                    <a:pt x="1320" y="232"/>
                  </a:lnTo>
                  <a:lnTo>
                    <a:pt x="1324" y="228"/>
                  </a:lnTo>
                  <a:lnTo>
                    <a:pt x="1324" y="224"/>
                  </a:lnTo>
                  <a:lnTo>
                    <a:pt x="1324" y="220"/>
                  </a:lnTo>
                  <a:lnTo>
                    <a:pt x="1320" y="218"/>
                  </a:lnTo>
                  <a:close/>
                  <a:moveTo>
                    <a:pt x="1360" y="106"/>
                  </a:moveTo>
                  <a:lnTo>
                    <a:pt x="1360" y="106"/>
                  </a:lnTo>
                  <a:lnTo>
                    <a:pt x="1370" y="106"/>
                  </a:lnTo>
                  <a:lnTo>
                    <a:pt x="1376" y="102"/>
                  </a:lnTo>
                  <a:lnTo>
                    <a:pt x="1376" y="100"/>
                  </a:lnTo>
                  <a:lnTo>
                    <a:pt x="1376" y="98"/>
                  </a:lnTo>
                  <a:lnTo>
                    <a:pt x="1374" y="98"/>
                  </a:lnTo>
                  <a:lnTo>
                    <a:pt x="1370" y="96"/>
                  </a:lnTo>
                  <a:lnTo>
                    <a:pt x="1362" y="94"/>
                  </a:lnTo>
                  <a:lnTo>
                    <a:pt x="1352" y="94"/>
                  </a:lnTo>
                  <a:lnTo>
                    <a:pt x="1344" y="96"/>
                  </a:lnTo>
                  <a:lnTo>
                    <a:pt x="1342" y="100"/>
                  </a:lnTo>
                  <a:lnTo>
                    <a:pt x="1340" y="102"/>
                  </a:lnTo>
                  <a:lnTo>
                    <a:pt x="1340" y="108"/>
                  </a:lnTo>
                  <a:lnTo>
                    <a:pt x="1344" y="108"/>
                  </a:lnTo>
                  <a:lnTo>
                    <a:pt x="1352" y="108"/>
                  </a:lnTo>
                  <a:lnTo>
                    <a:pt x="1360" y="106"/>
                  </a:lnTo>
                  <a:close/>
                  <a:moveTo>
                    <a:pt x="918" y="88"/>
                  </a:moveTo>
                  <a:lnTo>
                    <a:pt x="918" y="88"/>
                  </a:lnTo>
                  <a:lnTo>
                    <a:pt x="922" y="90"/>
                  </a:lnTo>
                  <a:lnTo>
                    <a:pt x="926" y="92"/>
                  </a:lnTo>
                  <a:lnTo>
                    <a:pt x="948" y="88"/>
                  </a:lnTo>
                  <a:lnTo>
                    <a:pt x="958" y="84"/>
                  </a:lnTo>
                  <a:lnTo>
                    <a:pt x="954" y="82"/>
                  </a:lnTo>
                  <a:lnTo>
                    <a:pt x="920" y="78"/>
                  </a:lnTo>
                  <a:lnTo>
                    <a:pt x="906" y="76"/>
                  </a:lnTo>
                  <a:lnTo>
                    <a:pt x="902" y="78"/>
                  </a:lnTo>
                  <a:lnTo>
                    <a:pt x="908" y="80"/>
                  </a:lnTo>
                  <a:lnTo>
                    <a:pt x="918" y="88"/>
                  </a:lnTo>
                  <a:close/>
                  <a:moveTo>
                    <a:pt x="910" y="44"/>
                  </a:moveTo>
                  <a:lnTo>
                    <a:pt x="910" y="44"/>
                  </a:lnTo>
                  <a:lnTo>
                    <a:pt x="912" y="46"/>
                  </a:lnTo>
                  <a:lnTo>
                    <a:pt x="914" y="48"/>
                  </a:lnTo>
                  <a:lnTo>
                    <a:pt x="914" y="54"/>
                  </a:lnTo>
                  <a:lnTo>
                    <a:pt x="916" y="56"/>
                  </a:lnTo>
                  <a:lnTo>
                    <a:pt x="918" y="56"/>
                  </a:lnTo>
                  <a:lnTo>
                    <a:pt x="922" y="58"/>
                  </a:lnTo>
                  <a:lnTo>
                    <a:pt x="930" y="56"/>
                  </a:lnTo>
                  <a:lnTo>
                    <a:pt x="936" y="54"/>
                  </a:lnTo>
                  <a:lnTo>
                    <a:pt x="938" y="52"/>
                  </a:lnTo>
                  <a:lnTo>
                    <a:pt x="936" y="50"/>
                  </a:lnTo>
                  <a:lnTo>
                    <a:pt x="928" y="46"/>
                  </a:lnTo>
                  <a:lnTo>
                    <a:pt x="924" y="44"/>
                  </a:lnTo>
                  <a:lnTo>
                    <a:pt x="920" y="38"/>
                  </a:lnTo>
                  <a:lnTo>
                    <a:pt x="916" y="34"/>
                  </a:lnTo>
                  <a:lnTo>
                    <a:pt x="906" y="30"/>
                  </a:lnTo>
                  <a:lnTo>
                    <a:pt x="896" y="30"/>
                  </a:lnTo>
                  <a:lnTo>
                    <a:pt x="894" y="30"/>
                  </a:lnTo>
                  <a:lnTo>
                    <a:pt x="896" y="32"/>
                  </a:lnTo>
                  <a:lnTo>
                    <a:pt x="902" y="38"/>
                  </a:lnTo>
                  <a:lnTo>
                    <a:pt x="910" y="44"/>
                  </a:lnTo>
                  <a:close/>
                  <a:moveTo>
                    <a:pt x="868" y="284"/>
                  </a:moveTo>
                  <a:lnTo>
                    <a:pt x="868" y="284"/>
                  </a:lnTo>
                  <a:lnTo>
                    <a:pt x="866" y="272"/>
                  </a:lnTo>
                  <a:lnTo>
                    <a:pt x="862" y="266"/>
                  </a:lnTo>
                  <a:lnTo>
                    <a:pt x="860" y="264"/>
                  </a:lnTo>
                  <a:lnTo>
                    <a:pt x="858" y="264"/>
                  </a:lnTo>
                  <a:lnTo>
                    <a:pt x="856" y="270"/>
                  </a:lnTo>
                  <a:lnTo>
                    <a:pt x="852" y="276"/>
                  </a:lnTo>
                  <a:lnTo>
                    <a:pt x="850" y="276"/>
                  </a:lnTo>
                  <a:lnTo>
                    <a:pt x="848" y="276"/>
                  </a:lnTo>
                  <a:lnTo>
                    <a:pt x="846" y="278"/>
                  </a:lnTo>
                  <a:lnTo>
                    <a:pt x="848" y="280"/>
                  </a:lnTo>
                  <a:lnTo>
                    <a:pt x="848" y="282"/>
                  </a:lnTo>
                  <a:lnTo>
                    <a:pt x="850" y="284"/>
                  </a:lnTo>
                  <a:lnTo>
                    <a:pt x="850" y="288"/>
                  </a:lnTo>
                  <a:lnTo>
                    <a:pt x="850" y="296"/>
                  </a:lnTo>
                  <a:lnTo>
                    <a:pt x="852" y="300"/>
                  </a:lnTo>
                  <a:lnTo>
                    <a:pt x="860" y="308"/>
                  </a:lnTo>
                  <a:lnTo>
                    <a:pt x="864" y="310"/>
                  </a:lnTo>
                  <a:lnTo>
                    <a:pt x="866" y="306"/>
                  </a:lnTo>
                  <a:lnTo>
                    <a:pt x="868" y="298"/>
                  </a:lnTo>
                  <a:lnTo>
                    <a:pt x="868" y="284"/>
                  </a:lnTo>
                  <a:close/>
                  <a:moveTo>
                    <a:pt x="852" y="306"/>
                  </a:moveTo>
                  <a:lnTo>
                    <a:pt x="852" y="306"/>
                  </a:lnTo>
                  <a:lnTo>
                    <a:pt x="848" y="302"/>
                  </a:lnTo>
                  <a:lnTo>
                    <a:pt x="846" y="298"/>
                  </a:lnTo>
                  <a:lnTo>
                    <a:pt x="844" y="296"/>
                  </a:lnTo>
                  <a:lnTo>
                    <a:pt x="844" y="302"/>
                  </a:lnTo>
                  <a:lnTo>
                    <a:pt x="846" y="304"/>
                  </a:lnTo>
                  <a:lnTo>
                    <a:pt x="852" y="310"/>
                  </a:lnTo>
                  <a:lnTo>
                    <a:pt x="858" y="318"/>
                  </a:lnTo>
                  <a:lnTo>
                    <a:pt x="858" y="314"/>
                  </a:lnTo>
                  <a:lnTo>
                    <a:pt x="856" y="310"/>
                  </a:lnTo>
                  <a:lnTo>
                    <a:pt x="852" y="306"/>
                  </a:lnTo>
                  <a:close/>
                  <a:moveTo>
                    <a:pt x="1028" y="396"/>
                  </a:moveTo>
                  <a:lnTo>
                    <a:pt x="1028" y="396"/>
                  </a:lnTo>
                  <a:lnTo>
                    <a:pt x="1032" y="394"/>
                  </a:lnTo>
                  <a:lnTo>
                    <a:pt x="1032" y="392"/>
                  </a:lnTo>
                  <a:lnTo>
                    <a:pt x="1036" y="380"/>
                  </a:lnTo>
                  <a:lnTo>
                    <a:pt x="1040" y="372"/>
                  </a:lnTo>
                  <a:lnTo>
                    <a:pt x="1040" y="370"/>
                  </a:lnTo>
                  <a:lnTo>
                    <a:pt x="1036" y="368"/>
                  </a:lnTo>
                  <a:lnTo>
                    <a:pt x="1034" y="366"/>
                  </a:lnTo>
                  <a:lnTo>
                    <a:pt x="1032" y="364"/>
                  </a:lnTo>
                  <a:lnTo>
                    <a:pt x="1032" y="362"/>
                  </a:lnTo>
                  <a:lnTo>
                    <a:pt x="1028" y="360"/>
                  </a:lnTo>
                  <a:lnTo>
                    <a:pt x="1024" y="358"/>
                  </a:lnTo>
                  <a:lnTo>
                    <a:pt x="1018" y="360"/>
                  </a:lnTo>
                  <a:lnTo>
                    <a:pt x="1008" y="366"/>
                  </a:lnTo>
                  <a:lnTo>
                    <a:pt x="998" y="374"/>
                  </a:lnTo>
                  <a:lnTo>
                    <a:pt x="994" y="378"/>
                  </a:lnTo>
                  <a:lnTo>
                    <a:pt x="994" y="384"/>
                  </a:lnTo>
                  <a:lnTo>
                    <a:pt x="992" y="388"/>
                  </a:lnTo>
                  <a:lnTo>
                    <a:pt x="988" y="396"/>
                  </a:lnTo>
                  <a:lnTo>
                    <a:pt x="984" y="402"/>
                  </a:lnTo>
                  <a:lnTo>
                    <a:pt x="984" y="408"/>
                  </a:lnTo>
                  <a:lnTo>
                    <a:pt x="984" y="410"/>
                  </a:lnTo>
                  <a:lnTo>
                    <a:pt x="984" y="412"/>
                  </a:lnTo>
                  <a:lnTo>
                    <a:pt x="988" y="410"/>
                  </a:lnTo>
                  <a:lnTo>
                    <a:pt x="996" y="408"/>
                  </a:lnTo>
                  <a:lnTo>
                    <a:pt x="1000" y="408"/>
                  </a:lnTo>
                  <a:lnTo>
                    <a:pt x="1006" y="410"/>
                  </a:lnTo>
                  <a:lnTo>
                    <a:pt x="1012" y="410"/>
                  </a:lnTo>
                  <a:lnTo>
                    <a:pt x="1016" y="410"/>
                  </a:lnTo>
                  <a:lnTo>
                    <a:pt x="1020" y="406"/>
                  </a:lnTo>
                  <a:lnTo>
                    <a:pt x="1024" y="400"/>
                  </a:lnTo>
                  <a:lnTo>
                    <a:pt x="1028" y="396"/>
                  </a:lnTo>
                  <a:close/>
                  <a:moveTo>
                    <a:pt x="1032" y="410"/>
                  </a:moveTo>
                  <a:lnTo>
                    <a:pt x="1032" y="410"/>
                  </a:lnTo>
                  <a:lnTo>
                    <a:pt x="1036" y="410"/>
                  </a:lnTo>
                  <a:lnTo>
                    <a:pt x="1036" y="406"/>
                  </a:lnTo>
                  <a:lnTo>
                    <a:pt x="1034" y="402"/>
                  </a:lnTo>
                  <a:lnTo>
                    <a:pt x="1032" y="400"/>
                  </a:lnTo>
                  <a:lnTo>
                    <a:pt x="1032" y="398"/>
                  </a:lnTo>
                  <a:lnTo>
                    <a:pt x="1030" y="398"/>
                  </a:lnTo>
                  <a:lnTo>
                    <a:pt x="1026" y="400"/>
                  </a:lnTo>
                  <a:lnTo>
                    <a:pt x="1024" y="404"/>
                  </a:lnTo>
                  <a:lnTo>
                    <a:pt x="1024" y="408"/>
                  </a:lnTo>
                  <a:lnTo>
                    <a:pt x="1024" y="410"/>
                  </a:lnTo>
                  <a:lnTo>
                    <a:pt x="1032" y="410"/>
                  </a:lnTo>
                  <a:close/>
                  <a:moveTo>
                    <a:pt x="1044" y="820"/>
                  </a:moveTo>
                  <a:lnTo>
                    <a:pt x="1044" y="820"/>
                  </a:lnTo>
                  <a:lnTo>
                    <a:pt x="1046" y="820"/>
                  </a:lnTo>
                  <a:lnTo>
                    <a:pt x="1050" y="820"/>
                  </a:lnTo>
                  <a:lnTo>
                    <a:pt x="1054" y="816"/>
                  </a:lnTo>
                  <a:lnTo>
                    <a:pt x="1056" y="812"/>
                  </a:lnTo>
                  <a:lnTo>
                    <a:pt x="1060" y="812"/>
                  </a:lnTo>
                  <a:lnTo>
                    <a:pt x="1064" y="810"/>
                  </a:lnTo>
                  <a:lnTo>
                    <a:pt x="1068" y="808"/>
                  </a:lnTo>
                  <a:lnTo>
                    <a:pt x="1068" y="806"/>
                  </a:lnTo>
                  <a:lnTo>
                    <a:pt x="1066" y="804"/>
                  </a:lnTo>
                  <a:lnTo>
                    <a:pt x="1064" y="802"/>
                  </a:lnTo>
                  <a:lnTo>
                    <a:pt x="1060" y="804"/>
                  </a:lnTo>
                  <a:lnTo>
                    <a:pt x="1052" y="808"/>
                  </a:lnTo>
                  <a:lnTo>
                    <a:pt x="1046" y="814"/>
                  </a:lnTo>
                  <a:lnTo>
                    <a:pt x="1044" y="818"/>
                  </a:lnTo>
                  <a:lnTo>
                    <a:pt x="1044" y="820"/>
                  </a:lnTo>
                  <a:close/>
                  <a:moveTo>
                    <a:pt x="844" y="336"/>
                  </a:moveTo>
                  <a:lnTo>
                    <a:pt x="844" y="336"/>
                  </a:lnTo>
                  <a:lnTo>
                    <a:pt x="852" y="332"/>
                  </a:lnTo>
                  <a:lnTo>
                    <a:pt x="856" y="326"/>
                  </a:lnTo>
                  <a:lnTo>
                    <a:pt x="854" y="320"/>
                  </a:lnTo>
                  <a:lnTo>
                    <a:pt x="850" y="312"/>
                  </a:lnTo>
                  <a:lnTo>
                    <a:pt x="846" y="306"/>
                  </a:lnTo>
                  <a:lnTo>
                    <a:pt x="842" y="306"/>
                  </a:lnTo>
                  <a:lnTo>
                    <a:pt x="840" y="310"/>
                  </a:lnTo>
                  <a:lnTo>
                    <a:pt x="840" y="316"/>
                  </a:lnTo>
                  <a:lnTo>
                    <a:pt x="840" y="330"/>
                  </a:lnTo>
                  <a:lnTo>
                    <a:pt x="842" y="336"/>
                  </a:lnTo>
                  <a:lnTo>
                    <a:pt x="844" y="336"/>
                  </a:lnTo>
                  <a:close/>
                  <a:moveTo>
                    <a:pt x="794" y="292"/>
                  </a:moveTo>
                  <a:lnTo>
                    <a:pt x="794" y="292"/>
                  </a:lnTo>
                  <a:lnTo>
                    <a:pt x="800" y="276"/>
                  </a:lnTo>
                  <a:lnTo>
                    <a:pt x="804" y="264"/>
                  </a:lnTo>
                  <a:lnTo>
                    <a:pt x="806" y="256"/>
                  </a:lnTo>
                  <a:lnTo>
                    <a:pt x="804" y="256"/>
                  </a:lnTo>
                  <a:lnTo>
                    <a:pt x="798" y="264"/>
                  </a:lnTo>
                  <a:lnTo>
                    <a:pt x="794" y="278"/>
                  </a:lnTo>
                  <a:lnTo>
                    <a:pt x="794" y="292"/>
                  </a:lnTo>
                  <a:close/>
                  <a:moveTo>
                    <a:pt x="1118" y="446"/>
                  </a:moveTo>
                  <a:lnTo>
                    <a:pt x="1118" y="446"/>
                  </a:lnTo>
                  <a:lnTo>
                    <a:pt x="1122" y="448"/>
                  </a:lnTo>
                  <a:lnTo>
                    <a:pt x="1128" y="450"/>
                  </a:lnTo>
                  <a:lnTo>
                    <a:pt x="1142" y="448"/>
                  </a:lnTo>
                  <a:lnTo>
                    <a:pt x="1158" y="448"/>
                  </a:lnTo>
                  <a:lnTo>
                    <a:pt x="1166" y="450"/>
                  </a:lnTo>
                  <a:lnTo>
                    <a:pt x="1172" y="452"/>
                  </a:lnTo>
                  <a:lnTo>
                    <a:pt x="1180" y="454"/>
                  </a:lnTo>
                  <a:lnTo>
                    <a:pt x="1186" y="454"/>
                  </a:lnTo>
                  <a:lnTo>
                    <a:pt x="1190" y="452"/>
                  </a:lnTo>
                  <a:lnTo>
                    <a:pt x="1194" y="450"/>
                  </a:lnTo>
                  <a:lnTo>
                    <a:pt x="1204" y="442"/>
                  </a:lnTo>
                  <a:lnTo>
                    <a:pt x="1208" y="440"/>
                  </a:lnTo>
                  <a:lnTo>
                    <a:pt x="1212" y="440"/>
                  </a:lnTo>
                  <a:lnTo>
                    <a:pt x="1216" y="440"/>
                  </a:lnTo>
                  <a:lnTo>
                    <a:pt x="1218" y="438"/>
                  </a:lnTo>
                  <a:lnTo>
                    <a:pt x="1218" y="434"/>
                  </a:lnTo>
                  <a:lnTo>
                    <a:pt x="1218" y="430"/>
                  </a:lnTo>
                  <a:lnTo>
                    <a:pt x="1214" y="420"/>
                  </a:lnTo>
                  <a:lnTo>
                    <a:pt x="1206" y="414"/>
                  </a:lnTo>
                  <a:lnTo>
                    <a:pt x="1200" y="410"/>
                  </a:lnTo>
                  <a:lnTo>
                    <a:pt x="1198" y="406"/>
                  </a:lnTo>
                  <a:lnTo>
                    <a:pt x="1200" y="406"/>
                  </a:lnTo>
                  <a:lnTo>
                    <a:pt x="1206" y="404"/>
                  </a:lnTo>
                  <a:lnTo>
                    <a:pt x="1218" y="402"/>
                  </a:lnTo>
                  <a:lnTo>
                    <a:pt x="1222" y="398"/>
                  </a:lnTo>
                  <a:lnTo>
                    <a:pt x="1222" y="394"/>
                  </a:lnTo>
                  <a:lnTo>
                    <a:pt x="1222" y="392"/>
                  </a:lnTo>
                  <a:lnTo>
                    <a:pt x="1224" y="390"/>
                  </a:lnTo>
                  <a:lnTo>
                    <a:pt x="1230" y="388"/>
                  </a:lnTo>
                  <a:lnTo>
                    <a:pt x="1232" y="388"/>
                  </a:lnTo>
                  <a:lnTo>
                    <a:pt x="1232" y="384"/>
                  </a:lnTo>
                  <a:lnTo>
                    <a:pt x="1232" y="376"/>
                  </a:lnTo>
                  <a:lnTo>
                    <a:pt x="1228" y="364"/>
                  </a:lnTo>
                  <a:lnTo>
                    <a:pt x="1234" y="372"/>
                  </a:lnTo>
                  <a:lnTo>
                    <a:pt x="1240" y="376"/>
                  </a:lnTo>
                  <a:lnTo>
                    <a:pt x="1246" y="378"/>
                  </a:lnTo>
                  <a:lnTo>
                    <a:pt x="1256" y="376"/>
                  </a:lnTo>
                  <a:lnTo>
                    <a:pt x="1268" y="372"/>
                  </a:lnTo>
                  <a:lnTo>
                    <a:pt x="1272" y="374"/>
                  </a:lnTo>
                  <a:lnTo>
                    <a:pt x="1272" y="376"/>
                  </a:lnTo>
                  <a:lnTo>
                    <a:pt x="1274" y="378"/>
                  </a:lnTo>
                  <a:lnTo>
                    <a:pt x="1278" y="382"/>
                  </a:lnTo>
                  <a:lnTo>
                    <a:pt x="1284" y="384"/>
                  </a:lnTo>
                  <a:lnTo>
                    <a:pt x="1296" y="386"/>
                  </a:lnTo>
                  <a:lnTo>
                    <a:pt x="1308" y="388"/>
                  </a:lnTo>
                  <a:lnTo>
                    <a:pt x="1316" y="392"/>
                  </a:lnTo>
                  <a:lnTo>
                    <a:pt x="1324" y="398"/>
                  </a:lnTo>
                  <a:lnTo>
                    <a:pt x="1330" y="406"/>
                  </a:lnTo>
                  <a:lnTo>
                    <a:pt x="1340" y="426"/>
                  </a:lnTo>
                  <a:lnTo>
                    <a:pt x="1348" y="438"/>
                  </a:lnTo>
                  <a:lnTo>
                    <a:pt x="1358" y="450"/>
                  </a:lnTo>
                  <a:lnTo>
                    <a:pt x="1374" y="472"/>
                  </a:lnTo>
                  <a:lnTo>
                    <a:pt x="1380" y="480"/>
                  </a:lnTo>
                  <a:lnTo>
                    <a:pt x="1384" y="486"/>
                  </a:lnTo>
                  <a:lnTo>
                    <a:pt x="1392" y="488"/>
                  </a:lnTo>
                  <a:lnTo>
                    <a:pt x="1400" y="492"/>
                  </a:lnTo>
                  <a:lnTo>
                    <a:pt x="1432" y="498"/>
                  </a:lnTo>
                  <a:lnTo>
                    <a:pt x="1450" y="502"/>
                  </a:lnTo>
                  <a:lnTo>
                    <a:pt x="1462" y="506"/>
                  </a:lnTo>
                  <a:lnTo>
                    <a:pt x="1470" y="510"/>
                  </a:lnTo>
                  <a:lnTo>
                    <a:pt x="1476" y="512"/>
                  </a:lnTo>
                  <a:lnTo>
                    <a:pt x="1482" y="518"/>
                  </a:lnTo>
                  <a:lnTo>
                    <a:pt x="1488" y="520"/>
                  </a:lnTo>
                  <a:lnTo>
                    <a:pt x="1492" y="520"/>
                  </a:lnTo>
                  <a:lnTo>
                    <a:pt x="1500" y="520"/>
                  </a:lnTo>
                  <a:lnTo>
                    <a:pt x="1506" y="518"/>
                  </a:lnTo>
                  <a:lnTo>
                    <a:pt x="1512" y="514"/>
                  </a:lnTo>
                  <a:lnTo>
                    <a:pt x="1514" y="510"/>
                  </a:lnTo>
                  <a:lnTo>
                    <a:pt x="1514" y="506"/>
                  </a:lnTo>
                  <a:lnTo>
                    <a:pt x="1512" y="502"/>
                  </a:lnTo>
                  <a:lnTo>
                    <a:pt x="1508" y="498"/>
                  </a:lnTo>
                  <a:lnTo>
                    <a:pt x="1498" y="494"/>
                  </a:lnTo>
                  <a:lnTo>
                    <a:pt x="1482" y="490"/>
                  </a:lnTo>
                  <a:lnTo>
                    <a:pt x="1474" y="484"/>
                  </a:lnTo>
                  <a:lnTo>
                    <a:pt x="1472" y="482"/>
                  </a:lnTo>
                  <a:lnTo>
                    <a:pt x="1472" y="480"/>
                  </a:lnTo>
                  <a:lnTo>
                    <a:pt x="1474" y="476"/>
                  </a:lnTo>
                  <a:lnTo>
                    <a:pt x="1478" y="472"/>
                  </a:lnTo>
                  <a:lnTo>
                    <a:pt x="1478" y="470"/>
                  </a:lnTo>
                  <a:lnTo>
                    <a:pt x="1476" y="468"/>
                  </a:lnTo>
                  <a:lnTo>
                    <a:pt x="1464" y="466"/>
                  </a:lnTo>
                  <a:lnTo>
                    <a:pt x="1454" y="464"/>
                  </a:lnTo>
                  <a:lnTo>
                    <a:pt x="1450" y="462"/>
                  </a:lnTo>
                  <a:lnTo>
                    <a:pt x="1448" y="458"/>
                  </a:lnTo>
                  <a:lnTo>
                    <a:pt x="1448" y="454"/>
                  </a:lnTo>
                  <a:lnTo>
                    <a:pt x="1450" y="448"/>
                  </a:lnTo>
                  <a:lnTo>
                    <a:pt x="1454" y="442"/>
                  </a:lnTo>
                  <a:lnTo>
                    <a:pt x="1454" y="438"/>
                  </a:lnTo>
                  <a:lnTo>
                    <a:pt x="1448" y="438"/>
                  </a:lnTo>
                  <a:lnTo>
                    <a:pt x="1436" y="440"/>
                  </a:lnTo>
                  <a:lnTo>
                    <a:pt x="1432" y="440"/>
                  </a:lnTo>
                  <a:lnTo>
                    <a:pt x="1428" y="440"/>
                  </a:lnTo>
                  <a:lnTo>
                    <a:pt x="1422" y="436"/>
                  </a:lnTo>
                  <a:lnTo>
                    <a:pt x="1416" y="428"/>
                  </a:lnTo>
                  <a:lnTo>
                    <a:pt x="1412" y="420"/>
                  </a:lnTo>
                  <a:lnTo>
                    <a:pt x="1408" y="400"/>
                  </a:lnTo>
                  <a:lnTo>
                    <a:pt x="1404" y="394"/>
                  </a:lnTo>
                  <a:lnTo>
                    <a:pt x="1400" y="390"/>
                  </a:lnTo>
                  <a:lnTo>
                    <a:pt x="1394" y="386"/>
                  </a:lnTo>
                  <a:lnTo>
                    <a:pt x="1386" y="378"/>
                  </a:lnTo>
                  <a:lnTo>
                    <a:pt x="1370" y="360"/>
                  </a:lnTo>
                  <a:lnTo>
                    <a:pt x="1364" y="350"/>
                  </a:lnTo>
                  <a:lnTo>
                    <a:pt x="1358" y="340"/>
                  </a:lnTo>
                  <a:lnTo>
                    <a:pt x="1356" y="334"/>
                  </a:lnTo>
                  <a:lnTo>
                    <a:pt x="1356" y="332"/>
                  </a:lnTo>
                  <a:lnTo>
                    <a:pt x="1358" y="330"/>
                  </a:lnTo>
                  <a:lnTo>
                    <a:pt x="1362" y="328"/>
                  </a:lnTo>
                  <a:lnTo>
                    <a:pt x="1366" y="326"/>
                  </a:lnTo>
                  <a:lnTo>
                    <a:pt x="1376" y="328"/>
                  </a:lnTo>
                  <a:lnTo>
                    <a:pt x="1388" y="328"/>
                  </a:lnTo>
                  <a:lnTo>
                    <a:pt x="1392" y="326"/>
                  </a:lnTo>
                  <a:lnTo>
                    <a:pt x="1394" y="324"/>
                  </a:lnTo>
                  <a:lnTo>
                    <a:pt x="1396" y="320"/>
                  </a:lnTo>
                  <a:lnTo>
                    <a:pt x="1396" y="314"/>
                  </a:lnTo>
                  <a:lnTo>
                    <a:pt x="1390" y="302"/>
                  </a:lnTo>
                  <a:lnTo>
                    <a:pt x="1386" y="296"/>
                  </a:lnTo>
                  <a:lnTo>
                    <a:pt x="1380" y="292"/>
                  </a:lnTo>
                  <a:lnTo>
                    <a:pt x="1374" y="290"/>
                  </a:lnTo>
                  <a:lnTo>
                    <a:pt x="1370" y="290"/>
                  </a:lnTo>
                  <a:lnTo>
                    <a:pt x="1364" y="290"/>
                  </a:lnTo>
                  <a:lnTo>
                    <a:pt x="1360" y="290"/>
                  </a:lnTo>
                  <a:lnTo>
                    <a:pt x="1354" y="284"/>
                  </a:lnTo>
                  <a:lnTo>
                    <a:pt x="1344" y="276"/>
                  </a:lnTo>
                  <a:lnTo>
                    <a:pt x="1338" y="272"/>
                  </a:lnTo>
                  <a:lnTo>
                    <a:pt x="1328" y="270"/>
                  </a:lnTo>
                  <a:lnTo>
                    <a:pt x="1312" y="264"/>
                  </a:lnTo>
                  <a:lnTo>
                    <a:pt x="1310" y="262"/>
                  </a:lnTo>
                  <a:lnTo>
                    <a:pt x="1308" y="260"/>
                  </a:lnTo>
                  <a:lnTo>
                    <a:pt x="1310" y="256"/>
                  </a:lnTo>
                  <a:lnTo>
                    <a:pt x="1312" y="246"/>
                  </a:lnTo>
                  <a:lnTo>
                    <a:pt x="1312" y="238"/>
                  </a:lnTo>
                  <a:lnTo>
                    <a:pt x="1306" y="230"/>
                  </a:lnTo>
                  <a:lnTo>
                    <a:pt x="1298" y="220"/>
                  </a:lnTo>
                  <a:lnTo>
                    <a:pt x="1288" y="210"/>
                  </a:lnTo>
                  <a:lnTo>
                    <a:pt x="1278" y="200"/>
                  </a:lnTo>
                  <a:lnTo>
                    <a:pt x="1266" y="192"/>
                  </a:lnTo>
                  <a:lnTo>
                    <a:pt x="1256" y="188"/>
                  </a:lnTo>
                  <a:lnTo>
                    <a:pt x="1248" y="186"/>
                  </a:lnTo>
                  <a:lnTo>
                    <a:pt x="1242" y="186"/>
                  </a:lnTo>
                  <a:lnTo>
                    <a:pt x="1238" y="184"/>
                  </a:lnTo>
                  <a:lnTo>
                    <a:pt x="1230" y="178"/>
                  </a:lnTo>
                  <a:lnTo>
                    <a:pt x="1220" y="170"/>
                  </a:lnTo>
                  <a:lnTo>
                    <a:pt x="1214" y="166"/>
                  </a:lnTo>
                  <a:lnTo>
                    <a:pt x="1202" y="162"/>
                  </a:lnTo>
                  <a:lnTo>
                    <a:pt x="1190" y="158"/>
                  </a:lnTo>
                  <a:lnTo>
                    <a:pt x="1174" y="152"/>
                  </a:lnTo>
                  <a:lnTo>
                    <a:pt x="1140" y="134"/>
                  </a:lnTo>
                  <a:lnTo>
                    <a:pt x="1106" y="120"/>
                  </a:lnTo>
                  <a:lnTo>
                    <a:pt x="1092" y="116"/>
                  </a:lnTo>
                  <a:lnTo>
                    <a:pt x="1078" y="116"/>
                  </a:lnTo>
                  <a:lnTo>
                    <a:pt x="1080" y="404"/>
                  </a:lnTo>
                  <a:lnTo>
                    <a:pt x="1094" y="414"/>
                  </a:lnTo>
                  <a:lnTo>
                    <a:pt x="1104" y="426"/>
                  </a:lnTo>
                  <a:lnTo>
                    <a:pt x="1118" y="446"/>
                  </a:lnTo>
                  <a:close/>
                  <a:moveTo>
                    <a:pt x="784" y="288"/>
                  </a:moveTo>
                  <a:lnTo>
                    <a:pt x="784" y="288"/>
                  </a:lnTo>
                  <a:lnTo>
                    <a:pt x="786" y="290"/>
                  </a:lnTo>
                  <a:lnTo>
                    <a:pt x="788" y="288"/>
                  </a:lnTo>
                  <a:lnTo>
                    <a:pt x="790" y="286"/>
                  </a:lnTo>
                  <a:lnTo>
                    <a:pt x="790" y="282"/>
                  </a:lnTo>
                  <a:lnTo>
                    <a:pt x="788" y="278"/>
                  </a:lnTo>
                  <a:lnTo>
                    <a:pt x="784" y="274"/>
                  </a:lnTo>
                  <a:lnTo>
                    <a:pt x="782" y="276"/>
                  </a:lnTo>
                  <a:lnTo>
                    <a:pt x="784" y="288"/>
                  </a:lnTo>
                  <a:close/>
                  <a:moveTo>
                    <a:pt x="1474" y="80"/>
                  </a:moveTo>
                  <a:lnTo>
                    <a:pt x="1474" y="80"/>
                  </a:lnTo>
                  <a:lnTo>
                    <a:pt x="1476" y="80"/>
                  </a:lnTo>
                  <a:lnTo>
                    <a:pt x="1476" y="78"/>
                  </a:lnTo>
                  <a:lnTo>
                    <a:pt x="1474" y="72"/>
                  </a:lnTo>
                  <a:lnTo>
                    <a:pt x="1468" y="68"/>
                  </a:lnTo>
                  <a:lnTo>
                    <a:pt x="1466" y="68"/>
                  </a:lnTo>
                  <a:lnTo>
                    <a:pt x="1464" y="68"/>
                  </a:lnTo>
                  <a:lnTo>
                    <a:pt x="1464" y="72"/>
                  </a:lnTo>
                  <a:lnTo>
                    <a:pt x="1464" y="76"/>
                  </a:lnTo>
                  <a:lnTo>
                    <a:pt x="1468" y="78"/>
                  </a:lnTo>
                  <a:lnTo>
                    <a:pt x="1474" y="80"/>
                  </a:lnTo>
                  <a:close/>
                  <a:moveTo>
                    <a:pt x="1436" y="292"/>
                  </a:moveTo>
                  <a:lnTo>
                    <a:pt x="1436" y="292"/>
                  </a:lnTo>
                  <a:lnTo>
                    <a:pt x="1442" y="296"/>
                  </a:lnTo>
                  <a:lnTo>
                    <a:pt x="1446" y="298"/>
                  </a:lnTo>
                  <a:lnTo>
                    <a:pt x="1448" y="298"/>
                  </a:lnTo>
                  <a:lnTo>
                    <a:pt x="1450" y="298"/>
                  </a:lnTo>
                  <a:lnTo>
                    <a:pt x="1452" y="296"/>
                  </a:lnTo>
                  <a:lnTo>
                    <a:pt x="1454" y="296"/>
                  </a:lnTo>
                  <a:lnTo>
                    <a:pt x="1458" y="298"/>
                  </a:lnTo>
                  <a:lnTo>
                    <a:pt x="1462" y="302"/>
                  </a:lnTo>
                  <a:lnTo>
                    <a:pt x="1468" y="306"/>
                  </a:lnTo>
                  <a:lnTo>
                    <a:pt x="1478" y="308"/>
                  </a:lnTo>
                  <a:lnTo>
                    <a:pt x="1490" y="306"/>
                  </a:lnTo>
                  <a:lnTo>
                    <a:pt x="1502" y="302"/>
                  </a:lnTo>
                  <a:lnTo>
                    <a:pt x="1514" y="298"/>
                  </a:lnTo>
                  <a:lnTo>
                    <a:pt x="1524" y="292"/>
                  </a:lnTo>
                  <a:lnTo>
                    <a:pt x="1534" y="284"/>
                  </a:lnTo>
                  <a:lnTo>
                    <a:pt x="1538" y="278"/>
                  </a:lnTo>
                  <a:lnTo>
                    <a:pt x="1542" y="272"/>
                  </a:lnTo>
                  <a:lnTo>
                    <a:pt x="1544" y="270"/>
                  </a:lnTo>
                  <a:lnTo>
                    <a:pt x="1548" y="270"/>
                  </a:lnTo>
                  <a:lnTo>
                    <a:pt x="1550" y="270"/>
                  </a:lnTo>
                  <a:lnTo>
                    <a:pt x="1556" y="272"/>
                  </a:lnTo>
                  <a:lnTo>
                    <a:pt x="1560" y="270"/>
                  </a:lnTo>
                  <a:lnTo>
                    <a:pt x="1566" y="268"/>
                  </a:lnTo>
                  <a:lnTo>
                    <a:pt x="1568" y="264"/>
                  </a:lnTo>
                  <a:lnTo>
                    <a:pt x="1570" y="260"/>
                  </a:lnTo>
                  <a:lnTo>
                    <a:pt x="1566" y="252"/>
                  </a:lnTo>
                  <a:lnTo>
                    <a:pt x="1564" y="246"/>
                  </a:lnTo>
                  <a:lnTo>
                    <a:pt x="1564" y="244"/>
                  </a:lnTo>
                  <a:lnTo>
                    <a:pt x="1566" y="242"/>
                  </a:lnTo>
                  <a:lnTo>
                    <a:pt x="1572" y="240"/>
                  </a:lnTo>
                  <a:lnTo>
                    <a:pt x="1574" y="238"/>
                  </a:lnTo>
                  <a:lnTo>
                    <a:pt x="1580" y="228"/>
                  </a:lnTo>
                  <a:lnTo>
                    <a:pt x="1580" y="216"/>
                  </a:lnTo>
                  <a:lnTo>
                    <a:pt x="1578" y="212"/>
                  </a:lnTo>
                  <a:lnTo>
                    <a:pt x="1576" y="208"/>
                  </a:lnTo>
                  <a:lnTo>
                    <a:pt x="1572" y="202"/>
                  </a:lnTo>
                  <a:lnTo>
                    <a:pt x="1566" y="202"/>
                  </a:lnTo>
                  <a:lnTo>
                    <a:pt x="1548" y="202"/>
                  </a:lnTo>
                  <a:lnTo>
                    <a:pt x="1546" y="204"/>
                  </a:lnTo>
                  <a:lnTo>
                    <a:pt x="1544" y="206"/>
                  </a:lnTo>
                  <a:lnTo>
                    <a:pt x="1542" y="210"/>
                  </a:lnTo>
                  <a:lnTo>
                    <a:pt x="1546" y="224"/>
                  </a:lnTo>
                  <a:lnTo>
                    <a:pt x="1550" y="236"/>
                  </a:lnTo>
                  <a:lnTo>
                    <a:pt x="1548" y="240"/>
                  </a:lnTo>
                  <a:lnTo>
                    <a:pt x="1542" y="240"/>
                  </a:lnTo>
                  <a:lnTo>
                    <a:pt x="1536" y="238"/>
                  </a:lnTo>
                  <a:lnTo>
                    <a:pt x="1530" y="242"/>
                  </a:lnTo>
                  <a:lnTo>
                    <a:pt x="1526" y="248"/>
                  </a:lnTo>
                  <a:lnTo>
                    <a:pt x="1522" y="254"/>
                  </a:lnTo>
                  <a:lnTo>
                    <a:pt x="1518" y="262"/>
                  </a:lnTo>
                  <a:lnTo>
                    <a:pt x="1514" y="266"/>
                  </a:lnTo>
                  <a:lnTo>
                    <a:pt x="1510" y="268"/>
                  </a:lnTo>
                  <a:lnTo>
                    <a:pt x="1504" y="266"/>
                  </a:lnTo>
                  <a:lnTo>
                    <a:pt x="1500" y="264"/>
                  </a:lnTo>
                  <a:lnTo>
                    <a:pt x="1498" y="264"/>
                  </a:lnTo>
                  <a:lnTo>
                    <a:pt x="1494" y="268"/>
                  </a:lnTo>
                  <a:lnTo>
                    <a:pt x="1490" y="270"/>
                  </a:lnTo>
                  <a:lnTo>
                    <a:pt x="1488" y="264"/>
                  </a:lnTo>
                  <a:lnTo>
                    <a:pt x="1486" y="256"/>
                  </a:lnTo>
                  <a:lnTo>
                    <a:pt x="1488" y="250"/>
                  </a:lnTo>
                  <a:lnTo>
                    <a:pt x="1490" y="248"/>
                  </a:lnTo>
                  <a:lnTo>
                    <a:pt x="1490" y="244"/>
                  </a:lnTo>
                  <a:lnTo>
                    <a:pt x="1488" y="242"/>
                  </a:lnTo>
                  <a:lnTo>
                    <a:pt x="1484" y="244"/>
                  </a:lnTo>
                  <a:lnTo>
                    <a:pt x="1480" y="250"/>
                  </a:lnTo>
                  <a:lnTo>
                    <a:pt x="1480" y="262"/>
                  </a:lnTo>
                  <a:lnTo>
                    <a:pt x="1478" y="266"/>
                  </a:lnTo>
                  <a:lnTo>
                    <a:pt x="1476" y="268"/>
                  </a:lnTo>
                  <a:lnTo>
                    <a:pt x="1470" y="270"/>
                  </a:lnTo>
                  <a:lnTo>
                    <a:pt x="1460" y="268"/>
                  </a:lnTo>
                  <a:lnTo>
                    <a:pt x="1448" y="266"/>
                  </a:lnTo>
                  <a:lnTo>
                    <a:pt x="1434" y="266"/>
                  </a:lnTo>
                  <a:lnTo>
                    <a:pt x="1424" y="264"/>
                  </a:lnTo>
                  <a:lnTo>
                    <a:pt x="1416" y="266"/>
                  </a:lnTo>
                  <a:lnTo>
                    <a:pt x="1414" y="268"/>
                  </a:lnTo>
                  <a:lnTo>
                    <a:pt x="1414" y="270"/>
                  </a:lnTo>
                  <a:lnTo>
                    <a:pt x="1416" y="278"/>
                  </a:lnTo>
                  <a:lnTo>
                    <a:pt x="1420" y="280"/>
                  </a:lnTo>
                  <a:lnTo>
                    <a:pt x="1428" y="284"/>
                  </a:lnTo>
                  <a:lnTo>
                    <a:pt x="1436" y="292"/>
                  </a:lnTo>
                  <a:close/>
                  <a:moveTo>
                    <a:pt x="1546" y="156"/>
                  </a:moveTo>
                  <a:lnTo>
                    <a:pt x="1546" y="156"/>
                  </a:lnTo>
                  <a:lnTo>
                    <a:pt x="1552" y="162"/>
                  </a:lnTo>
                  <a:lnTo>
                    <a:pt x="1562" y="170"/>
                  </a:lnTo>
                  <a:lnTo>
                    <a:pt x="1572" y="178"/>
                  </a:lnTo>
                  <a:lnTo>
                    <a:pt x="1582" y="190"/>
                  </a:lnTo>
                  <a:lnTo>
                    <a:pt x="1586" y="196"/>
                  </a:lnTo>
                  <a:lnTo>
                    <a:pt x="1588" y="202"/>
                  </a:lnTo>
                  <a:lnTo>
                    <a:pt x="1590" y="210"/>
                  </a:lnTo>
                  <a:lnTo>
                    <a:pt x="1590" y="220"/>
                  </a:lnTo>
                  <a:lnTo>
                    <a:pt x="1592" y="224"/>
                  </a:lnTo>
                  <a:lnTo>
                    <a:pt x="1594" y="232"/>
                  </a:lnTo>
                  <a:lnTo>
                    <a:pt x="1598" y="236"/>
                  </a:lnTo>
                  <a:lnTo>
                    <a:pt x="1602" y="234"/>
                  </a:lnTo>
                  <a:lnTo>
                    <a:pt x="1604" y="230"/>
                  </a:lnTo>
                  <a:lnTo>
                    <a:pt x="1608" y="222"/>
                  </a:lnTo>
                  <a:lnTo>
                    <a:pt x="1608" y="214"/>
                  </a:lnTo>
                  <a:lnTo>
                    <a:pt x="1608" y="206"/>
                  </a:lnTo>
                  <a:lnTo>
                    <a:pt x="1604" y="196"/>
                  </a:lnTo>
                  <a:lnTo>
                    <a:pt x="1596" y="190"/>
                  </a:lnTo>
                  <a:lnTo>
                    <a:pt x="1582" y="178"/>
                  </a:lnTo>
                  <a:lnTo>
                    <a:pt x="1574" y="168"/>
                  </a:lnTo>
                  <a:lnTo>
                    <a:pt x="1566" y="160"/>
                  </a:lnTo>
                  <a:lnTo>
                    <a:pt x="1556" y="154"/>
                  </a:lnTo>
                  <a:lnTo>
                    <a:pt x="1538" y="142"/>
                  </a:lnTo>
                  <a:lnTo>
                    <a:pt x="1526" y="132"/>
                  </a:lnTo>
                  <a:lnTo>
                    <a:pt x="1518" y="126"/>
                  </a:lnTo>
                  <a:lnTo>
                    <a:pt x="1516" y="126"/>
                  </a:lnTo>
                  <a:lnTo>
                    <a:pt x="1514" y="128"/>
                  </a:lnTo>
                  <a:lnTo>
                    <a:pt x="1510" y="132"/>
                  </a:lnTo>
                  <a:lnTo>
                    <a:pt x="1508" y="134"/>
                  </a:lnTo>
                  <a:lnTo>
                    <a:pt x="1510" y="136"/>
                  </a:lnTo>
                  <a:lnTo>
                    <a:pt x="1516" y="138"/>
                  </a:lnTo>
                  <a:lnTo>
                    <a:pt x="1530" y="144"/>
                  </a:lnTo>
                  <a:lnTo>
                    <a:pt x="1538" y="150"/>
                  </a:lnTo>
                  <a:lnTo>
                    <a:pt x="1546" y="156"/>
                  </a:lnTo>
                  <a:close/>
                  <a:moveTo>
                    <a:pt x="1500" y="128"/>
                  </a:moveTo>
                  <a:lnTo>
                    <a:pt x="1500" y="128"/>
                  </a:lnTo>
                  <a:lnTo>
                    <a:pt x="1502" y="126"/>
                  </a:lnTo>
                  <a:lnTo>
                    <a:pt x="1502" y="122"/>
                  </a:lnTo>
                  <a:lnTo>
                    <a:pt x="1496" y="116"/>
                  </a:lnTo>
                  <a:lnTo>
                    <a:pt x="1492" y="114"/>
                  </a:lnTo>
                  <a:lnTo>
                    <a:pt x="1490" y="114"/>
                  </a:lnTo>
                  <a:lnTo>
                    <a:pt x="1486" y="114"/>
                  </a:lnTo>
                  <a:lnTo>
                    <a:pt x="1484" y="118"/>
                  </a:lnTo>
                  <a:lnTo>
                    <a:pt x="1484" y="120"/>
                  </a:lnTo>
                  <a:lnTo>
                    <a:pt x="1484" y="124"/>
                  </a:lnTo>
                  <a:lnTo>
                    <a:pt x="1488" y="128"/>
                  </a:lnTo>
                  <a:lnTo>
                    <a:pt x="1494" y="130"/>
                  </a:lnTo>
                  <a:lnTo>
                    <a:pt x="1498" y="130"/>
                  </a:lnTo>
                  <a:lnTo>
                    <a:pt x="1500" y="128"/>
                  </a:lnTo>
                  <a:close/>
                  <a:moveTo>
                    <a:pt x="726" y="46"/>
                  </a:moveTo>
                  <a:lnTo>
                    <a:pt x="726" y="46"/>
                  </a:lnTo>
                  <a:lnTo>
                    <a:pt x="726" y="50"/>
                  </a:lnTo>
                  <a:lnTo>
                    <a:pt x="724" y="54"/>
                  </a:lnTo>
                  <a:lnTo>
                    <a:pt x="716" y="62"/>
                  </a:lnTo>
                  <a:lnTo>
                    <a:pt x="714" y="66"/>
                  </a:lnTo>
                  <a:lnTo>
                    <a:pt x="716" y="70"/>
                  </a:lnTo>
                  <a:lnTo>
                    <a:pt x="718" y="72"/>
                  </a:lnTo>
                  <a:lnTo>
                    <a:pt x="726" y="72"/>
                  </a:lnTo>
                  <a:lnTo>
                    <a:pt x="738" y="72"/>
                  </a:lnTo>
                  <a:lnTo>
                    <a:pt x="742" y="74"/>
                  </a:lnTo>
                  <a:lnTo>
                    <a:pt x="746" y="78"/>
                  </a:lnTo>
                  <a:lnTo>
                    <a:pt x="752" y="88"/>
                  </a:lnTo>
                  <a:lnTo>
                    <a:pt x="758" y="104"/>
                  </a:lnTo>
                  <a:lnTo>
                    <a:pt x="762" y="106"/>
                  </a:lnTo>
                  <a:lnTo>
                    <a:pt x="764" y="108"/>
                  </a:lnTo>
                  <a:lnTo>
                    <a:pt x="774" y="110"/>
                  </a:lnTo>
                  <a:lnTo>
                    <a:pt x="786" y="110"/>
                  </a:lnTo>
                  <a:lnTo>
                    <a:pt x="798" y="110"/>
                  </a:lnTo>
                  <a:lnTo>
                    <a:pt x="810" y="108"/>
                  </a:lnTo>
                  <a:lnTo>
                    <a:pt x="820" y="108"/>
                  </a:lnTo>
                  <a:lnTo>
                    <a:pt x="828" y="110"/>
                  </a:lnTo>
                  <a:lnTo>
                    <a:pt x="830" y="112"/>
                  </a:lnTo>
                  <a:lnTo>
                    <a:pt x="830" y="114"/>
                  </a:lnTo>
                  <a:lnTo>
                    <a:pt x="830" y="120"/>
                  </a:lnTo>
                  <a:lnTo>
                    <a:pt x="826" y="122"/>
                  </a:lnTo>
                  <a:lnTo>
                    <a:pt x="822" y="122"/>
                  </a:lnTo>
                  <a:lnTo>
                    <a:pt x="816" y="120"/>
                  </a:lnTo>
                  <a:lnTo>
                    <a:pt x="808" y="120"/>
                  </a:lnTo>
                  <a:lnTo>
                    <a:pt x="802" y="118"/>
                  </a:lnTo>
                  <a:lnTo>
                    <a:pt x="798" y="120"/>
                  </a:lnTo>
                  <a:lnTo>
                    <a:pt x="794" y="124"/>
                  </a:lnTo>
                  <a:lnTo>
                    <a:pt x="790" y="130"/>
                  </a:lnTo>
                  <a:lnTo>
                    <a:pt x="784" y="134"/>
                  </a:lnTo>
                  <a:lnTo>
                    <a:pt x="778" y="134"/>
                  </a:lnTo>
                  <a:lnTo>
                    <a:pt x="772" y="132"/>
                  </a:lnTo>
                  <a:lnTo>
                    <a:pt x="766" y="130"/>
                  </a:lnTo>
                  <a:lnTo>
                    <a:pt x="760" y="130"/>
                  </a:lnTo>
                  <a:lnTo>
                    <a:pt x="756" y="132"/>
                  </a:lnTo>
                  <a:lnTo>
                    <a:pt x="756" y="138"/>
                  </a:lnTo>
                  <a:lnTo>
                    <a:pt x="756" y="142"/>
                  </a:lnTo>
                  <a:lnTo>
                    <a:pt x="760" y="144"/>
                  </a:lnTo>
                  <a:lnTo>
                    <a:pt x="768" y="146"/>
                  </a:lnTo>
                  <a:lnTo>
                    <a:pt x="780" y="156"/>
                  </a:lnTo>
                  <a:lnTo>
                    <a:pt x="786" y="164"/>
                  </a:lnTo>
                  <a:lnTo>
                    <a:pt x="790" y="170"/>
                  </a:lnTo>
                  <a:lnTo>
                    <a:pt x="790" y="174"/>
                  </a:lnTo>
                  <a:lnTo>
                    <a:pt x="788" y="176"/>
                  </a:lnTo>
                  <a:lnTo>
                    <a:pt x="784" y="180"/>
                  </a:lnTo>
                  <a:lnTo>
                    <a:pt x="784" y="184"/>
                  </a:lnTo>
                  <a:lnTo>
                    <a:pt x="784" y="188"/>
                  </a:lnTo>
                  <a:lnTo>
                    <a:pt x="788" y="194"/>
                  </a:lnTo>
                  <a:lnTo>
                    <a:pt x="792" y="196"/>
                  </a:lnTo>
                  <a:lnTo>
                    <a:pt x="796" y="198"/>
                  </a:lnTo>
                  <a:lnTo>
                    <a:pt x="802" y="198"/>
                  </a:lnTo>
                  <a:lnTo>
                    <a:pt x="806" y="196"/>
                  </a:lnTo>
                  <a:lnTo>
                    <a:pt x="810" y="192"/>
                  </a:lnTo>
                  <a:lnTo>
                    <a:pt x="814" y="186"/>
                  </a:lnTo>
                  <a:lnTo>
                    <a:pt x="816" y="178"/>
                  </a:lnTo>
                  <a:lnTo>
                    <a:pt x="822" y="158"/>
                  </a:lnTo>
                  <a:lnTo>
                    <a:pt x="826" y="150"/>
                  </a:lnTo>
                  <a:lnTo>
                    <a:pt x="828" y="150"/>
                  </a:lnTo>
                  <a:lnTo>
                    <a:pt x="828" y="154"/>
                  </a:lnTo>
                  <a:lnTo>
                    <a:pt x="824" y="168"/>
                  </a:lnTo>
                  <a:lnTo>
                    <a:pt x="824" y="174"/>
                  </a:lnTo>
                  <a:lnTo>
                    <a:pt x="824" y="178"/>
                  </a:lnTo>
                  <a:lnTo>
                    <a:pt x="828" y="180"/>
                  </a:lnTo>
                  <a:lnTo>
                    <a:pt x="832" y="184"/>
                  </a:lnTo>
                  <a:lnTo>
                    <a:pt x="844" y="188"/>
                  </a:lnTo>
                  <a:lnTo>
                    <a:pt x="852" y="192"/>
                  </a:lnTo>
                  <a:lnTo>
                    <a:pt x="860" y="198"/>
                  </a:lnTo>
                  <a:lnTo>
                    <a:pt x="870" y="206"/>
                  </a:lnTo>
                  <a:lnTo>
                    <a:pt x="878" y="212"/>
                  </a:lnTo>
                  <a:lnTo>
                    <a:pt x="886" y="214"/>
                  </a:lnTo>
                  <a:lnTo>
                    <a:pt x="892" y="216"/>
                  </a:lnTo>
                  <a:lnTo>
                    <a:pt x="906" y="218"/>
                  </a:lnTo>
                  <a:lnTo>
                    <a:pt x="916" y="220"/>
                  </a:lnTo>
                  <a:lnTo>
                    <a:pt x="926" y="226"/>
                  </a:lnTo>
                  <a:lnTo>
                    <a:pt x="940" y="232"/>
                  </a:lnTo>
                  <a:lnTo>
                    <a:pt x="954" y="238"/>
                  </a:lnTo>
                  <a:lnTo>
                    <a:pt x="966" y="242"/>
                  </a:lnTo>
                  <a:lnTo>
                    <a:pt x="980" y="252"/>
                  </a:lnTo>
                  <a:lnTo>
                    <a:pt x="988" y="258"/>
                  </a:lnTo>
                  <a:lnTo>
                    <a:pt x="994" y="266"/>
                  </a:lnTo>
                  <a:lnTo>
                    <a:pt x="1004" y="284"/>
                  </a:lnTo>
                  <a:lnTo>
                    <a:pt x="1014" y="302"/>
                  </a:lnTo>
                  <a:lnTo>
                    <a:pt x="1024" y="318"/>
                  </a:lnTo>
                  <a:lnTo>
                    <a:pt x="1028" y="324"/>
                  </a:lnTo>
                  <a:lnTo>
                    <a:pt x="1030" y="328"/>
                  </a:lnTo>
                  <a:lnTo>
                    <a:pt x="1028" y="330"/>
                  </a:lnTo>
                  <a:lnTo>
                    <a:pt x="1026" y="332"/>
                  </a:lnTo>
                  <a:lnTo>
                    <a:pt x="1022" y="336"/>
                  </a:lnTo>
                  <a:lnTo>
                    <a:pt x="1020" y="338"/>
                  </a:lnTo>
                  <a:lnTo>
                    <a:pt x="1020" y="344"/>
                  </a:lnTo>
                  <a:lnTo>
                    <a:pt x="1024" y="350"/>
                  </a:lnTo>
                  <a:lnTo>
                    <a:pt x="1028" y="354"/>
                  </a:lnTo>
                  <a:lnTo>
                    <a:pt x="1036" y="360"/>
                  </a:lnTo>
                  <a:lnTo>
                    <a:pt x="1040" y="364"/>
                  </a:lnTo>
                  <a:lnTo>
                    <a:pt x="1044" y="368"/>
                  </a:lnTo>
                  <a:lnTo>
                    <a:pt x="1044" y="372"/>
                  </a:lnTo>
                  <a:lnTo>
                    <a:pt x="1040" y="380"/>
                  </a:lnTo>
                  <a:lnTo>
                    <a:pt x="1036" y="394"/>
                  </a:lnTo>
                  <a:lnTo>
                    <a:pt x="1036" y="396"/>
                  </a:lnTo>
                  <a:lnTo>
                    <a:pt x="1038" y="398"/>
                  </a:lnTo>
                  <a:lnTo>
                    <a:pt x="1044" y="396"/>
                  </a:lnTo>
                  <a:lnTo>
                    <a:pt x="1046" y="396"/>
                  </a:lnTo>
                  <a:lnTo>
                    <a:pt x="1050" y="396"/>
                  </a:lnTo>
                  <a:lnTo>
                    <a:pt x="1052" y="398"/>
                  </a:lnTo>
                  <a:lnTo>
                    <a:pt x="1054" y="398"/>
                  </a:lnTo>
                  <a:lnTo>
                    <a:pt x="1060" y="398"/>
                  </a:lnTo>
                  <a:lnTo>
                    <a:pt x="1068" y="398"/>
                  </a:lnTo>
                  <a:lnTo>
                    <a:pt x="1074" y="400"/>
                  </a:lnTo>
                  <a:lnTo>
                    <a:pt x="1080" y="404"/>
                  </a:lnTo>
                  <a:lnTo>
                    <a:pt x="1078" y="116"/>
                  </a:lnTo>
                  <a:lnTo>
                    <a:pt x="1070" y="114"/>
                  </a:lnTo>
                  <a:lnTo>
                    <a:pt x="1060" y="110"/>
                  </a:lnTo>
                  <a:lnTo>
                    <a:pt x="1038" y="100"/>
                  </a:lnTo>
                  <a:lnTo>
                    <a:pt x="1002" y="76"/>
                  </a:lnTo>
                  <a:lnTo>
                    <a:pt x="996" y="72"/>
                  </a:lnTo>
                  <a:lnTo>
                    <a:pt x="988" y="72"/>
                  </a:lnTo>
                  <a:lnTo>
                    <a:pt x="982" y="74"/>
                  </a:lnTo>
                  <a:lnTo>
                    <a:pt x="976" y="76"/>
                  </a:lnTo>
                  <a:lnTo>
                    <a:pt x="970" y="80"/>
                  </a:lnTo>
                  <a:lnTo>
                    <a:pt x="966" y="84"/>
                  </a:lnTo>
                  <a:lnTo>
                    <a:pt x="964" y="88"/>
                  </a:lnTo>
                  <a:lnTo>
                    <a:pt x="964" y="92"/>
                  </a:lnTo>
                  <a:lnTo>
                    <a:pt x="966" y="96"/>
                  </a:lnTo>
                  <a:lnTo>
                    <a:pt x="964" y="100"/>
                  </a:lnTo>
                  <a:lnTo>
                    <a:pt x="956" y="106"/>
                  </a:lnTo>
                  <a:lnTo>
                    <a:pt x="946" y="110"/>
                  </a:lnTo>
                  <a:lnTo>
                    <a:pt x="942" y="110"/>
                  </a:lnTo>
                  <a:lnTo>
                    <a:pt x="938" y="108"/>
                  </a:lnTo>
                  <a:lnTo>
                    <a:pt x="936" y="108"/>
                  </a:lnTo>
                  <a:lnTo>
                    <a:pt x="934" y="110"/>
                  </a:lnTo>
                  <a:lnTo>
                    <a:pt x="928" y="116"/>
                  </a:lnTo>
                  <a:lnTo>
                    <a:pt x="914" y="138"/>
                  </a:lnTo>
                  <a:lnTo>
                    <a:pt x="906" y="148"/>
                  </a:lnTo>
                  <a:lnTo>
                    <a:pt x="898" y="158"/>
                  </a:lnTo>
                  <a:lnTo>
                    <a:pt x="890" y="164"/>
                  </a:lnTo>
                  <a:lnTo>
                    <a:pt x="886" y="164"/>
                  </a:lnTo>
                  <a:lnTo>
                    <a:pt x="882" y="164"/>
                  </a:lnTo>
                  <a:lnTo>
                    <a:pt x="876" y="160"/>
                  </a:lnTo>
                  <a:lnTo>
                    <a:pt x="872" y="156"/>
                  </a:lnTo>
                  <a:lnTo>
                    <a:pt x="870" y="150"/>
                  </a:lnTo>
                  <a:lnTo>
                    <a:pt x="868" y="144"/>
                  </a:lnTo>
                  <a:lnTo>
                    <a:pt x="864" y="132"/>
                  </a:lnTo>
                  <a:lnTo>
                    <a:pt x="862" y="126"/>
                  </a:lnTo>
                  <a:lnTo>
                    <a:pt x="860" y="120"/>
                  </a:lnTo>
                  <a:lnTo>
                    <a:pt x="856" y="118"/>
                  </a:lnTo>
                  <a:lnTo>
                    <a:pt x="854" y="118"/>
                  </a:lnTo>
                  <a:lnTo>
                    <a:pt x="852" y="124"/>
                  </a:lnTo>
                  <a:lnTo>
                    <a:pt x="852" y="126"/>
                  </a:lnTo>
                  <a:lnTo>
                    <a:pt x="846" y="114"/>
                  </a:lnTo>
                  <a:lnTo>
                    <a:pt x="842" y="102"/>
                  </a:lnTo>
                  <a:lnTo>
                    <a:pt x="842" y="94"/>
                  </a:lnTo>
                  <a:lnTo>
                    <a:pt x="842" y="86"/>
                  </a:lnTo>
                  <a:lnTo>
                    <a:pt x="844" y="80"/>
                  </a:lnTo>
                  <a:lnTo>
                    <a:pt x="846" y="66"/>
                  </a:lnTo>
                  <a:lnTo>
                    <a:pt x="846" y="58"/>
                  </a:lnTo>
                  <a:lnTo>
                    <a:pt x="844" y="48"/>
                  </a:lnTo>
                  <a:lnTo>
                    <a:pt x="840" y="40"/>
                  </a:lnTo>
                  <a:lnTo>
                    <a:pt x="838" y="36"/>
                  </a:lnTo>
                  <a:lnTo>
                    <a:pt x="834" y="36"/>
                  </a:lnTo>
                  <a:lnTo>
                    <a:pt x="830" y="36"/>
                  </a:lnTo>
                  <a:lnTo>
                    <a:pt x="826" y="36"/>
                  </a:lnTo>
                  <a:lnTo>
                    <a:pt x="818" y="36"/>
                  </a:lnTo>
                  <a:lnTo>
                    <a:pt x="810" y="32"/>
                  </a:lnTo>
                  <a:lnTo>
                    <a:pt x="798" y="26"/>
                  </a:lnTo>
                  <a:lnTo>
                    <a:pt x="786" y="18"/>
                  </a:lnTo>
                  <a:lnTo>
                    <a:pt x="776" y="16"/>
                  </a:lnTo>
                  <a:lnTo>
                    <a:pt x="770" y="16"/>
                  </a:lnTo>
                  <a:lnTo>
                    <a:pt x="764" y="20"/>
                  </a:lnTo>
                  <a:lnTo>
                    <a:pt x="756" y="28"/>
                  </a:lnTo>
                  <a:lnTo>
                    <a:pt x="752" y="32"/>
                  </a:lnTo>
                  <a:lnTo>
                    <a:pt x="748" y="34"/>
                  </a:lnTo>
                  <a:lnTo>
                    <a:pt x="740" y="36"/>
                  </a:lnTo>
                  <a:lnTo>
                    <a:pt x="732" y="38"/>
                  </a:lnTo>
                  <a:lnTo>
                    <a:pt x="728" y="40"/>
                  </a:lnTo>
                  <a:lnTo>
                    <a:pt x="726" y="42"/>
                  </a:lnTo>
                  <a:lnTo>
                    <a:pt x="726" y="46"/>
                  </a:lnTo>
                  <a:close/>
                  <a:moveTo>
                    <a:pt x="1600" y="438"/>
                  </a:moveTo>
                  <a:lnTo>
                    <a:pt x="1600" y="438"/>
                  </a:lnTo>
                  <a:lnTo>
                    <a:pt x="1594" y="436"/>
                  </a:lnTo>
                  <a:lnTo>
                    <a:pt x="1588" y="434"/>
                  </a:lnTo>
                  <a:lnTo>
                    <a:pt x="1586" y="436"/>
                  </a:lnTo>
                  <a:lnTo>
                    <a:pt x="1588" y="438"/>
                  </a:lnTo>
                  <a:lnTo>
                    <a:pt x="1590" y="442"/>
                  </a:lnTo>
                  <a:lnTo>
                    <a:pt x="1590" y="444"/>
                  </a:lnTo>
                  <a:lnTo>
                    <a:pt x="1592" y="446"/>
                  </a:lnTo>
                  <a:lnTo>
                    <a:pt x="1596" y="448"/>
                  </a:lnTo>
                  <a:lnTo>
                    <a:pt x="1600" y="448"/>
                  </a:lnTo>
                  <a:lnTo>
                    <a:pt x="1604" y="446"/>
                  </a:lnTo>
                  <a:lnTo>
                    <a:pt x="1604" y="444"/>
                  </a:lnTo>
                  <a:lnTo>
                    <a:pt x="1600" y="438"/>
                  </a:lnTo>
                  <a:close/>
                  <a:moveTo>
                    <a:pt x="1606" y="1248"/>
                  </a:moveTo>
                  <a:lnTo>
                    <a:pt x="1606" y="1248"/>
                  </a:lnTo>
                  <a:lnTo>
                    <a:pt x="1606" y="1252"/>
                  </a:lnTo>
                  <a:lnTo>
                    <a:pt x="1604" y="1260"/>
                  </a:lnTo>
                  <a:lnTo>
                    <a:pt x="1604" y="1268"/>
                  </a:lnTo>
                  <a:lnTo>
                    <a:pt x="1604" y="1272"/>
                  </a:lnTo>
                  <a:lnTo>
                    <a:pt x="1606" y="1274"/>
                  </a:lnTo>
                  <a:lnTo>
                    <a:pt x="1608" y="1274"/>
                  </a:lnTo>
                  <a:lnTo>
                    <a:pt x="1610" y="1270"/>
                  </a:lnTo>
                  <a:lnTo>
                    <a:pt x="1610" y="1260"/>
                  </a:lnTo>
                  <a:lnTo>
                    <a:pt x="1614" y="1250"/>
                  </a:lnTo>
                  <a:lnTo>
                    <a:pt x="1620" y="1240"/>
                  </a:lnTo>
                  <a:lnTo>
                    <a:pt x="1620" y="1236"/>
                  </a:lnTo>
                  <a:lnTo>
                    <a:pt x="1618" y="1232"/>
                  </a:lnTo>
                  <a:lnTo>
                    <a:pt x="1618" y="1228"/>
                  </a:lnTo>
                  <a:lnTo>
                    <a:pt x="1616" y="1224"/>
                  </a:lnTo>
                  <a:lnTo>
                    <a:pt x="1616" y="1220"/>
                  </a:lnTo>
                  <a:lnTo>
                    <a:pt x="1614" y="1220"/>
                  </a:lnTo>
                  <a:lnTo>
                    <a:pt x="1612" y="1224"/>
                  </a:lnTo>
                  <a:lnTo>
                    <a:pt x="1612" y="1230"/>
                  </a:lnTo>
                  <a:lnTo>
                    <a:pt x="1612" y="1234"/>
                  </a:lnTo>
                  <a:lnTo>
                    <a:pt x="1612" y="1236"/>
                  </a:lnTo>
                  <a:lnTo>
                    <a:pt x="1608" y="1240"/>
                  </a:lnTo>
                  <a:lnTo>
                    <a:pt x="1606" y="1244"/>
                  </a:lnTo>
                  <a:lnTo>
                    <a:pt x="1604" y="1246"/>
                  </a:lnTo>
                  <a:lnTo>
                    <a:pt x="1606" y="1248"/>
                  </a:lnTo>
                  <a:close/>
                </a:path>
              </a:pathLst>
            </a:custGeom>
            <a:grpFill/>
            <a:ln w="6350">
              <a:noFill/>
              <a:round/>
              <a:headEnd/>
              <a:tailEnd/>
            </a:ln>
          </p:spPr>
          <p:txBody>
            <a:bodyPr/>
            <a:lstStyle/>
            <a:p>
              <a:endParaRPr lang="en-US" sz="2800" b="1" dirty="0"/>
            </a:p>
          </p:txBody>
        </p:sp>
        <p:sp>
          <p:nvSpPr>
            <p:cNvPr id="28" name="Freeform 6153">
              <a:extLst>
                <a:ext uri="{FF2B5EF4-FFF2-40B4-BE49-F238E27FC236}">
                  <a16:creationId xmlns:a16="http://schemas.microsoft.com/office/drawing/2014/main" id="{9408D3EE-AABD-48EA-9C5C-010465283F40}"/>
                </a:ext>
              </a:extLst>
            </p:cNvPr>
            <p:cNvSpPr>
              <a:spLocks noEditPoints="1"/>
            </p:cNvSpPr>
            <p:nvPr/>
          </p:nvSpPr>
          <p:spPr bwMode="auto">
            <a:xfrm>
              <a:off x="3490913" y="2755900"/>
              <a:ext cx="1762125" cy="2303463"/>
            </a:xfrm>
            <a:custGeom>
              <a:avLst/>
              <a:gdLst>
                <a:gd name="T0" fmla="*/ 1666909 w 2776"/>
                <a:gd name="T1" fmla="*/ 1643154 h 3628"/>
                <a:gd name="T2" fmla="*/ 1572963 w 2776"/>
                <a:gd name="T3" fmla="*/ 1734581 h 3628"/>
                <a:gd name="T4" fmla="*/ 1567885 w 2776"/>
                <a:gd name="T5" fmla="*/ 1859024 h 3628"/>
                <a:gd name="T6" fmla="*/ 1595815 w 2776"/>
                <a:gd name="T7" fmla="*/ 1991086 h 3628"/>
                <a:gd name="T8" fmla="*/ 1712613 w 2776"/>
                <a:gd name="T9" fmla="*/ 1728232 h 3628"/>
                <a:gd name="T10" fmla="*/ 1736734 w 2776"/>
                <a:gd name="T11" fmla="*/ 1666011 h 3628"/>
                <a:gd name="T12" fmla="*/ 1698648 w 2776"/>
                <a:gd name="T13" fmla="*/ 844434 h 3628"/>
                <a:gd name="T14" fmla="*/ 1576772 w 2776"/>
                <a:gd name="T15" fmla="*/ 868560 h 3628"/>
                <a:gd name="T16" fmla="*/ 1533607 w 2776"/>
                <a:gd name="T17" fmla="*/ 784752 h 3628"/>
                <a:gd name="T18" fmla="*/ 1484095 w 2776"/>
                <a:gd name="T19" fmla="*/ 730150 h 3628"/>
                <a:gd name="T20" fmla="*/ 1434583 w 2776"/>
                <a:gd name="T21" fmla="*/ 633643 h 3628"/>
                <a:gd name="T22" fmla="*/ 1401575 w 2776"/>
                <a:gd name="T23" fmla="*/ 539676 h 3628"/>
                <a:gd name="T24" fmla="*/ 1353332 w 2776"/>
                <a:gd name="T25" fmla="*/ 454597 h 3628"/>
                <a:gd name="T26" fmla="*/ 1301281 w 2776"/>
                <a:gd name="T27" fmla="*/ 313647 h 3628"/>
                <a:gd name="T28" fmla="*/ 1263195 w 2776"/>
                <a:gd name="T29" fmla="*/ 199363 h 3628"/>
                <a:gd name="T30" fmla="*/ 1197179 w 2776"/>
                <a:gd name="T31" fmla="*/ 219680 h 3628"/>
                <a:gd name="T32" fmla="*/ 1090537 w 2776"/>
                <a:gd name="T33" fmla="*/ 195553 h 3628"/>
                <a:gd name="T34" fmla="*/ 983895 w 2776"/>
                <a:gd name="T35" fmla="*/ 156189 h 3628"/>
                <a:gd name="T36" fmla="*/ 873445 w 2776"/>
                <a:gd name="T37" fmla="*/ 208251 h 3628"/>
                <a:gd name="T38" fmla="*/ 743952 w 2776"/>
                <a:gd name="T39" fmla="*/ 142220 h 3628"/>
                <a:gd name="T40" fmla="*/ 731256 w 2776"/>
                <a:gd name="T41" fmla="*/ 69840 h 3628"/>
                <a:gd name="T42" fmla="*/ 712213 w 2776"/>
                <a:gd name="T43" fmla="*/ 20317 h 3628"/>
                <a:gd name="T44" fmla="*/ 633502 w 2776"/>
                <a:gd name="T45" fmla="*/ 8889 h 3628"/>
                <a:gd name="T46" fmla="*/ 534477 w 2776"/>
                <a:gd name="T47" fmla="*/ 17778 h 3628"/>
                <a:gd name="T48" fmla="*/ 424027 w 2776"/>
                <a:gd name="T49" fmla="*/ 54602 h 3628"/>
                <a:gd name="T50" fmla="*/ 344046 w 2776"/>
                <a:gd name="T51" fmla="*/ 72380 h 3628"/>
                <a:gd name="T52" fmla="*/ 210744 w 2776"/>
                <a:gd name="T53" fmla="*/ 162538 h 3628"/>
                <a:gd name="T54" fmla="*/ 124415 w 2776"/>
                <a:gd name="T55" fmla="*/ 312377 h 3628"/>
                <a:gd name="T56" fmla="*/ 38086 w 2776"/>
                <a:gd name="T57" fmla="*/ 453328 h 3628"/>
                <a:gd name="T58" fmla="*/ 15235 w 2776"/>
                <a:gd name="T59" fmla="*/ 537136 h 3628"/>
                <a:gd name="T60" fmla="*/ 38086 w 2776"/>
                <a:gd name="T61" fmla="*/ 626024 h 3628"/>
                <a:gd name="T62" fmla="*/ 25391 w 2776"/>
                <a:gd name="T63" fmla="*/ 775863 h 3628"/>
                <a:gd name="T64" fmla="*/ 34278 w 2776"/>
                <a:gd name="T65" fmla="*/ 802530 h 3628"/>
                <a:gd name="T66" fmla="*/ 34278 w 2776"/>
                <a:gd name="T67" fmla="*/ 825386 h 3628"/>
                <a:gd name="T68" fmla="*/ 54590 w 2776"/>
                <a:gd name="T69" fmla="*/ 848243 h 3628"/>
                <a:gd name="T70" fmla="*/ 71094 w 2776"/>
                <a:gd name="T71" fmla="*/ 863481 h 3628"/>
                <a:gd name="T72" fmla="*/ 106642 w 2776"/>
                <a:gd name="T73" fmla="*/ 909195 h 3628"/>
                <a:gd name="T74" fmla="*/ 115528 w 2776"/>
                <a:gd name="T75" fmla="*/ 940941 h 3628"/>
                <a:gd name="T76" fmla="*/ 171388 w 2776"/>
                <a:gd name="T77" fmla="*/ 996813 h 3628"/>
                <a:gd name="T78" fmla="*/ 319925 w 2776"/>
                <a:gd name="T79" fmla="*/ 1036177 h 3628"/>
                <a:gd name="T80" fmla="*/ 411332 w 2776"/>
                <a:gd name="T81" fmla="*/ 1038717 h 3628"/>
                <a:gd name="T82" fmla="*/ 535747 w 2776"/>
                <a:gd name="T83" fmla="*/ 993003 h 3628"/>
                <a:gd name="T84" fmla="*/ 632232 w 2776"/>
                <a:gd name="T85" fmla="*/ 1052685 h 3628"/>
                <a:gd name="T86" fmla="*/ 690631 w 2776"/>
                <a:gd name="T87" fmla="*/ 1069193 h 3628"/>
                <a:gd name="T88" fmla="*/ 686822 w 2776"/>
                <a:gd name="T89" fmla="*/ 1158081 h 3628"/>
                <a:gd name="T90" fmla="*/ 700787 w 2776"/>
                <a:gd name="T91" fmla="*/ 1193636 h 3628"/>
                <a:gd name="T92" fmla="*/ 690631 w 2776"/>
                <a:gd name="T93" fmla="*/ 1262206 h 3628"/>
                <a:gd name="T94" fmla="*/ 766804 w 2776"/>
                <a:gd name="T95" fmla="*/ 1376491 h 3628"/>
                <a:gd name="T96" fmla="*/ 797273 w 2776"/>
                <a:gd name="T97" fmla="*/ 1521251 h 3628"/>
                <a:gd name="T98" fmla="*/ 746491 w 2776"/>
                <a:gd name="T99" fmla="*/ 1737121 h 3628"/>
                <a:gd name="T100" fmla="*/ 846785 w 2776"/>
                <a:gd name="T101" fmla="*/ 2073625 h 3628"/>
                <a:gd name="T102" fmla="*/ 903914 w 2776"/>
                <a:gd name="T103" fmla="*/ 2242511 h 3628"/>
                <a:gd name="T104" fmla="*/ 934383 w 2776"/>
                <a:gd name="T105" fmla="*/ 2289495 h 3628"/>
                <a:gd name="T106" fmla="*/ 1009286 w 2776"/>
                <a:gd name="T107" fmla="*/ 2284416 h 3628"/>
                <a:gd name="T108" fmla="*/ 1104502 w 2776"/>
                <a:gd name="T109" fmla="*/ 2269178 h 3628"/>
                <a:gd name="T110" fmla="*/ 1280968 w 2776"/>
                <a:gd name="T111" fmla="*/ 2079974 h 3628"/>
                <a:gd name="T112" fmla="*/ 1354602 w 2776"/>
                <a:gd name="T113" fmla="*/ 1940293 h 3628"/>
                <a:gd name="T114" fmla="*/ 1338098 w 2776"/>
                <a:gd name="T115" fmla="*/ 1812041 h 3628"/>
                <a:gd name="T116" fmla="*/ 1482826 w 2776"/>
                <a:gd name="T117" fmla="*/ 1673630 h 3628"/>
                <a:gd name="T118" fmla="*/ 1475208 w 2776"/>
                <a:gd name="T119" fmla="*/ 1513632 h 3628"/>
                <a:gd name="T120" fmla="*/ 1448548 w 2776"/>
                <a:gd name="T121" fmla="*/ 1400617 h 3628"/>
                <a:gd name="T122" fmla="*/ 1491712 w 2776"/>
                <a:gd name="T123" fmla="*/ 1268555 h 3628"/>
                <a:gd name="T124" fmla="*/ 1679605 w 2776"/>
                <a:gd name="T125" fmla="*/ 1045066 h 36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76"/>
                <a:gd name="T190" fmla="*/ 0 h 3628"/>
                <a:gd name="T191" fmla="*/ 2776 w 2776"/>
                <a:gd name="T192" fmla="*/ 3628 h 362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76" h="3628">
                  <a:moveTo>
                    <a:pt x="2710" y="2504"/>
                  </a:moveTo>
                  <a:lnTo>
                    <a:pt x="2710" y="2504"/>
                  </a:lnTo>
                  <a:lnTo>
                    <a:pt x="2706" y="2498"/>
                  </a:lnTo>
                  <a:lnTo>
                    <a:pt x="2702" y="2492"/>
                  </a:lnTo>
                  <a:lnTo>
                    <a:pt x="2698" y="2476"/>
                  </a:lnTo>
                  <a:lnTo>
                    <a:pt x="2696" y="2470"/>
                  </a:lnTo>
                  <a:lnTo>
                    <a:pt x="2692" y="2466"/>
                  </a:lnTo>
                  <a:lnTo>
                    <a:pt x="2690" y="2468"/>
                  </a:lnTo>
                  <a:lnTo>
                    <a:pt x="2684" y="2472"/>
                  </a:lnTo>
                  <a:lnTo>
                    <a:pt x="2680" y="2480"/>
                  </a:lnTo>
                  <a:lnTo>
                    <a:pt x="2678" y="2486"/>
                  </a:lnTo>
                  <a:lnTo>
                    <a:pt x="2676" y="2508"/>
                  </a:lnTo>
                  <a:lnTo>
                    <a:pt x="2674" y="2518"/>
                  </a:lnTo>
                  <a:lnTo>
                    <a:pt x="2672" y="2526"/>
                  </a:lnTo>
                  <a:lnTo>
                    <a:pt x="2668" y="2532"/>
                  </a:lnTo>
                  <a:lnTo>
                    <a:pt x="2664" y="2536"/>
                  </a:lnTo>
                  <a:lnTo>
                    <a:pt x="2656" y="2542"/>
                  </a:lnTo>
                  <a:lnTo>
                    <a:pt x="2648" y="2544"/>
                  </a:lnTo>
                  <a:lnTo>
                    <a:pt x="2634" y="2546"/>
                  </a:lnTo>
                  <a:lnTo>
                    <a:pt x="2632" y="2548"/>
                  </a:lnTo>
                  <a:lnTo>
                    <a:pt x="2632" y="2554"/>
                  </a:lnTo>
                  <a:lnTo>
                    <a:pt x="2638" y="2566"/>
                  </a:lnTo>
                  <a:lnTo>
                    <a:pt x="2636" y="2572"/>
                  </a:lnTo>
                  <a:lnTo>
                    <a:pt x="2636" y="2576"/>
                  </a:lnTo>
                  <a:lnTo>
                    <a:pt x="2626" y="2588"/>
                  </a:lnTo>
                  <a:lnTo>
                    <a:pt x="2606" y="2608"/>
                  </a:lnTo>
                  <a:lnTo>
                    <a:pt x="2596" y="2618"/>
                  </a:lnTo>
                  <a:lnTo>
                    <a:pt x="2588" y="2628"/>
                  </a:lnTo>
                  <a:lnTo>
                    <a:pt x="2578" y="2640"/>
                  </a:lnTo>
                  <a:lnTo>
                    <a:pt x="2572" y="2646"/>
                  </a:lnTo>
                  <a:lnTo>
                    <a:pt x="2564" y="2650"/>
                  </a:lnTo>
                  <a:lnTo>
                    <a:pt x="2554" y="2652"/>
                  </a:lnTo>
                  <a:lnTo>
                    <a:pt x="2538" y="2656"/>
                  </a:lnTo>
                  <a:lnTo>
                    <a:pt x="2530" y="2658"/>
                  </a:lnTo>
                  <a:lnTo>
                    <a:pt x="2526" y="2660"/>
                  </a:lnTo>
                  <a:lnTo>
                    <a:pt x="2522" y="2664"/>
                  </a:lnTo>
                  <a:lnTo>
                    <a:pt x="2520" y="2668"/>
                  </a:lnTo>
                  <a:lnTo>
                    <a:pt x="2516" y="2670"/>
                  </a:lnTo>
                  <a:lnTo>
                    <a:pt x="2512" y="2670"/>
                  </a:lnTo>
                  <a:lnTo>
                    <a:pt x="2506" y="2670"/>
                  </a:lnTo>
                  <a:lnTo>
                    <a:pt x="2500" y="2670"/>
                  </a:lnTo>
                  <a:lnTo>
                    <a:pt x="2496" y="2670"/>
                  </a:lnTo>
                  <a:lnTo>
                    <a:pt x="2496" y="2672"/>
                  </a:lnTo>
                  <a:lnTo>
                    <a:pt x="2496" y="2676"/>
                  </a:lnTo>
                  <a:lnTo>
                    <a:pt x="2494" y="2690"/>
                  </a:lnTo>
                  <a:lnTo>
                    <a:pt x="2492" y="2700"/>
                  </a:lnTo>
                  <a:lnTo>
                    <a:pt x="2486" y="2712"/>
                  </a:lnTo>
                  <a:lnTo>
                    <a:pt x="2480" y="2724"/>
                  </a:lnTo>
                  <a:lnTo>
                    <a:pt x="2478" y="2732"/>
                  </a:lnTo>
                  <a:lnTo>
                    <a:pt x="2478" y="2738"/>
                  </a:lnTo>
                  <a:lnTo>
                    <a:pt x="2478" y="2742"/>
                  </a:lnTo>
                  <a:lnTo>
                    <a:pt x="2482" y="2750"/>
                  </a:lnTo>
                  <a:lnTo>
                    <a:pt x="2482" y="2754"/>
                  </a:lnTo>
                  <a:lnTo>
                    <a:pt x="2482" y="2762"/>
                  </a:lnTo>
                  <a:lnTo>
                    <a:pt x="2480" y="2772"/>
                  </a:lnTo>
                  <a:lnTo>
                    <a:pt x="2480" y="2778"/>
                  </a:lnTo>
                  <a:lnTo>
                    <a:pt x="2484" y="2790"/>
                  </a:lnTo>
                  <a:lnTo>
                    <a:pt x="2488" y="2798"/>
                  </a:lnTo>
                  <a:lnTo>
                    <a:pt x="2488" y="2802"/>
                  </a:lnTo>
                  <a:lnTo>
                    <a:pt x="2488" y="2806"/>
                  </a:lnTo>
                  <a:lnTo>
                    <a:pt x="2488" y="2814"/>
                  </a:lnTo>
                  <a:lnTo>
                    <a:pt x="2490" y="2820"/>
                  </a:lnTo>
                  <a:lnTo>
                    <a:pt x="2494" y="2832"/>
                  </a:lnTo>
                  <a:lnTo>
                    <a:pt x="2498" y="2848"/>
                  </a:lnTo>
                  <a:lnTo>
                    <a:pt x="2498" y="2860"/>
                  </a:lnTo>
                  <a:lnTo>
                    <a:pt x="2496" y="2868"/>
                  </a:lnTo>
                  <a:lnTo>
                    <a:pt x="2492" y="2876"/>
                  </a:lnTo>
                  <a:lnTo>
                    <a:pt x="2488" y="2884"/>
                  </a:lnTo>
                  <a:lnTo>
                    <a:pt x="2480" y="2900"/>
                  </a:lnTo>
                  <a:lnTo>
                    <a:pt x="2476" y="2908"/>
                  </a:lnTo>
                  <a:lnTo>
                    <a:pt x="2474" y="2916"/>
                  </a:lnTo>
                  <a:lnTo>
                    <a:pt x="2472" y="2924"/>
                  </a:lnTo>
                  <a:lnTo>
                    <a:pt x="2470" y="2928"/>
                  </a:lnTo>
                  <a:lnTo>
                    <a:pt x="2466" y="2928"/>
                  </a:lnTo>
                  <a:lnTo>
                    <a:pt x="2464" y="2928"/>
                  </a:lnTo>
                  <a:lnTo>
                    <a:pt x="2462" y="2930"/>
                  </a:lnTo>
                  <a:lnTo>
                    <a:pt x="2458" y="2934"/>
                  </a:lnTo>
                  <a:lnTo>
                    <a:pt x="2454" y="2942"/>
                  </a:lnTo>
                  <a:lnTo>
                    <a:pt x="2450" y="2954"/>
                  </a:lnTo>
                  <a:lnTo>
                    <a:pt x="2448" y="2968"/>
                  </a:lnTo>
                  <a:lnTo>
                    <a:pt x="2446" y="2980"/>
                  </a:lnTo>
                  <a:lnTo>
                    <a:pt x="2448" y="2990"/>
                  </a:lnTo>
                  <a:lnTo>
                    <a:pt x="2448" y="2998"/>
                  </a:lnTo>
                  <a:lnTo>
                    <a:pt x="2456" y="3012"/>
                  </a:lnTo>
                  <a:lnTo>
                    <a:pt x="2464" y="3026"/>
                  </a:lnTo>
                  <a:lnTo>
                    <a:pt x="2466" y="3034"/>
                  </a:lnTo>
                  <a:lnTo>
                    <a:pt x="2466" y="3040"/>
                  </a:lnTo>
                  <a:lnTo>
                    <a:pt x="2466" y="3054"/>
                  </a:lnTo>
                  <a:lnTo>
                    <a:pt x="2464" y="3062"/>
                  </a:lnTo>
                  <a:lnTo>
                    <a:pt x="2466" y="3072"/>
                  </a:lnTo>
                  <a:lnTo>
                    <a:pt x="2468" y="3084"/>
                  </a:lnTo>
                  <a:lnTo>
                    <a:pt x="2474" y="3100"/>
                  </a:lnTo>
                  <a:lnTo>
                    <a:pt x="2480" y="3114"/>
                  </a:lnTo>
                  <a:lnTo>
                    <a:pt x="2486" y="3122"/>
                  </a:lnTo>
                  <a:lnTo>
                    <a:pt x="2492" y="3126"/>
                  </a:lnTo>
                  <a:lnTo>
                    <a:pt x="2498" y="3130"/>
                  </a:lnTo>
                  <a:lnTo>
                    <a:pt x="2510" y="3134"/>
                  </a:lnTo>
                  <a:lnTo>
                    <a:pt x="2514" y="3136"/>
                  </a:lnTo>
                  <a:lnTo>
                    <a:pt x="2520" y="3142"/>
                  </a:lnTo>
                  <a:lnTo>
                    <a:pt x="2522" y="3144"/>
                  </a:lnTo>
                  <a:lnTo>
                    <a:pt x="2526" y="3146"/>
                  </a:lnTo>
                  <a:lnTo>
                    <a:pt x="2534" y="3146"/>
                  </a:lnTo>
                  <a:lnTo>
                    <a:pt x="2544" y="3144"/>
                  </a:lnTo>
                  <a:lnTo>
                    <a:pt x="2554" y="3140"/>
                  </a:lnTo>
                  <a:lnTo>
                    <a:pt x="2574" y="3128"/>
                  </a:lnTo>
                  <a:lnTo>
                    <a:pt x="2584" y="3124"/>
                  </a:lnTo>
                  <a:lnTo>
                    <a:pt x="2594" y="3122"/>
                  </a:lnTo>
                  <a:lnTo>
                    <a:pt x="2598" y="3120"/>
                  </a:lnTo>
                  <a:lnTo>
                    <a:pt x="2602" y="3116"/>
                  </a:lnTo>
                  <a:lnTo>
                    <a:pt x="2610" y="3096"/>
                  </a:lnTo>
                  <a:lnTo>
                    <a:pt x="2620" y="3068"/>
                  </a:lnTo>
                  <a:lnTo>
                    <a:pt x="2628" y="3034"/>
                  </a:lnTo>
                  <a:lnTo>
                    <a:pt x="2648" y="2952"/>
                  </a:lnTo>
                  <a:lnTo>
                    <a:pt x="2668" y="2870"/>
                  </a:lnTo>
                  <a:lnTo>
                    <a:pt x="2682" y="2822"/>
                  </a:lnTo>
                  <a:lnTo>
                    <a:pt x="2694" y="2792"/>
                  </a:lnTo>
                  <a:lnTo>
                    <a:pt x="2696" y="2780"/>
                  </a:lnTo>
                  <a:lnTo>
                    <a:pt x="2700" y="2768"/>
                  </a:lnTo>
                  <a:lnTo>
                    <a:pt x="2700" y="2756"/>
                  </a:lnTo>
                  <a:lnTo>
                    <a:pt x="2698" y="2742"/>
                  </a:lnTo>
                  <a:lnTo>
                    <a:pt x="2698" y="2730"/>
                  </a:lnTo>
                  <a:lnTo>
                    <a:pt x="2698" y="2722"/>
                  </a:lnTo>
                  <a:lnTo>
                    <a:pt x="2700" y="2718"/>
                  </a:lnTo>
                  <a:lnTo>
                    <a:pt x="2704" y="2714"/>
                  </a:lnTo>
                  <a:lnTo>
                    <a:pt x="2710" y="2710"/>
                  </a:lnTo>
                  <a:lnTo>
                    <a:pt x="2712" y="2706"/>
                  </a:lnTo>
                  <a:lnTo>
                    <a:pt x="2710" y="2700"/>
                  </a:lnTo>
                  <a:lnTo>
                    <a:pt x="2710" y="2690"/>
                  </a:lnTo>
                  <a:lnTo>
                    <a:pt x="2712" y="2684"/>
                  </a:lnTo>
                  <a:lnTo>
                    <a:pt x="2712" y="2674"/>
                  </a:lnTo>
                  <a:lnTo>
                    <a:pt x="2712" y="2670"/>
                  </a:lnTo>
                  <a:lnTo>
                    <a:pt x="2710" y="2662"/>
                  </a:lnTo>
                  <a:lnTo>
                    <a:pt x="2706" y="2654"/>
                  </a:lnTo>
                  <a:lnTo>
                    <a:pt x="2706" y="2648"/>
                  </a:lnTo>
                  <a:lnTo>
                    <a:pt x="2706" y="2642"/>
                  </a:lnTo>
                  <a:lnTo>
                    <a:pt x="2708" y="2638"/>
                  </a:lnTo>
                  <a:lnTo>
                    <a:pt x="2710" y="2636"/>
                  </a:lnTo>
                  <a:lnTo>
                    <a:pt x="2714" y="2640"/>
                  </a:lnTo>
                  <a:lnTo>
                    <a:pt x="2718" y="2646"/>
                  </a:lnTo>
                  <a:lnTo>
                    <a:pt x="2722" y="2658"/>
                  </a:lnTo>
                  <a:lnTo>
                    <a:pt x="2724" y="2662"/>
                  </a:lnTo>
                  <a:lnTo>
                    <a:pt x="2728" y="2662"/>
                  </a:lnTo>
                  <a:lnTo>
                    <a:pt x="2732" y="2658"/>
                  </a:lnTo>
                  <a:lnTo>
                    <a:pt x="2734" y="2652"/>
                  </a:lnTo>
                  <a:lnTo>
                    <a:pt x="2736" y="2644"/>
                  </a:lnTo>
                  <a:lnTo>
                    <a:pt x="2738" y="2634"/>
                  </a:lnTo>
                  <a:lnTo>
                    <a:pt x="2736" y="2624"/>
                  </a:lnTo>
                  <a:lnTo>
                    <a:pt x="2734" y="2614"/>
                  </a:lnTo>
                  <a:lnTo>
                    <a:pt x="2732" y="2604"/>
                  </a:lnTo>
                  <a:lnTo>
                    <a:pt x="2730" y="2590"/>
                  </a:lnTo>
                  <a:lnTo>
                    <a:pt x="2724" y="2556"/>
                  </a:lnTo>
                  <a:lnTo>
                    <a:pt x="2720" y="2522"/>
                  </a:lnTo>
                  <a:lnTo>
                    <a:pt x="2716" y="2510"/>
                  </a:lnTo>
                  <a:lnTo>
                    <a:pt x="2710" y="2504"/>
                  </a:lnTo>
                  <a:close/>
                  <a:moveTo>
                    <a:pt x="2770" y="1364"/>
                  </a:moveTo>
                  <a:lnTo>
                    <a:pt x="2770" y="1364"/>
                  </a:lnTo>
                  <a:lnTo>
                    <a:pt x="2764" y="1352"/>
                  </a:lnTo>
                  <a:lnTo>
                    <a:pt x="2762" y="1342"/>
                  </a:lnTo>
                  <a:lnTo>
                    <a:pt x="2764" y="1332"/>
                  </a:lnTo>
                  <a:lnTo>
                    <a:pt x="2766" y="1322"/>
                  </a:lnTo>
                  <a:lnTo>
                    <a:pt x="2770" y="1316"/>
                  </a:lnTo>
                  <a:lnTo>
                    <a:pt x="2770" y="1308"/>
                  </a:lnTo>
                  <a:lnTo>
                    <a:pt x="2768" y="1304"/>
                  </a:lnTo>
                  <a:lnTo>
                    <a:pt x="2762" y="1300"/>
                  </a:lnTo>
                  <a:lnTo>
                    <a:pt x="2752" y="1300"/>
                  </a:lnTo>
                  <a:lnTo>
                    <a:pt x="2746" y="1302"/>
                  </a:lnTo>
                  <a:lnTo>
                    <a:pt x="2730" y="1314"/>
                  </a:lnTo>
                  <a:lnTo>
                    <a:pt x="2720" y="1320"/>
                  </a:lnTo>
                  <a:lnTo>
                    <a:pt x="2708" y="1326"/>
                  </a:lnTo>
                  <a:lnTo>
                    <a:pt x="2694" y="1330"/>
                  </a:lnTo>
                  <a:lnTo>
                    <a:pt x="2676" y="1330"/>
                  </a:lnTo>
                  <a:lnTo>
                    <a:pt x="2660" y="1332"/>
                  </a:lnTo>
                  <a:lnTo>
                    <a:pt x="2650" y="1332"/>
                  </a:lnTo>
                  <a:lnTo>
                    <a:pt x="2646" y="1334"/>
                  </a:lnTo>
                  <a:lnTo>
                    <a:pt x="2646" y="1336"/>
                  </a:lnTo>
                  <a:lnTo>
                    <a:pt x="2646" y="1338"/>
                  </a:lnTo>
                  <a:lnTo>
                    <a:pt x="2644" y="1340"/>
                  </a:lnTo>
                  <a:lnTo>
                    <a:pt x="2640" y="1340"/>
                  </a:lnTo>
                  <a:lnTo>
                    <a:pt x="2630" y="1340"/>
                  </a:lnTo>
                  <a:lnTo>
                    <a:pt x="2618" y="1340"/>
                  </a:lnTo>
                  <a:lnTo>
                    <a:pt x="2608" y="1342"/>
                  </a:lnTo>
                  <a:lnTo>
                    <a:pt x="2602" y="1346"/>
                  </a:lnTo>
                  <a:lnTo>
                    <a:pt x="2596" y="1352"/>
                  </a:lnTo>
                  <a:lnTo>
                    <a:pt x="2590" y="1356"/>
                  </a:lnTo>
                  <a:lnTo>
                    <a:pt x="2584" y="1360"/>
                  </a:lnTo>
                  <a:lnTo>
                    <a:pt x="2574" y="1360"/>
                  </a:lnTo>
                  <a:lnTo>
                    <a:pt x="2564" y="1358"/>
                  </a:lnTo>
                  <a:lnTo>
                    <a:pt x="2552" y="1356"/>
                  </a:lnTo>
                  <a:lnTo>
                    <a:pt x="2542" y="1356"/>
                  </a:lnTo>
                  <a:lnTo>
                    <a:pt x="2534" y="1360"/>
                  </a:lnTo>
                  <a:lnTo>
                    <a:pt x="2528" y="1366"/>
                  </a:lnTo>
                  <a:lnTo>
                    <a:pt x="2520" y="1370"/>
                  </a:lnTo>
                  <a:lnTo>
                    <a:pt x="2512" y="1374"/>
                  </a:lnTo>
                  <a:lnTo>
                    <a:pt x="2504" y="1376"/>
                  </a:lnTo>
                  <a:lnTo>
                    <a:pt x="2494" y="1374"/>
                  </a:lnTo>
                  <a:lnTo>
                    <a:pt x="2484" y="1368"/>
                  </a:lnTo>
                  <a:lnTo>
                    <a:pt x="2476" y="1362"/>
                  </a:lnTo>
                  <a:lnTo>
                    <a:pt x="2470" y="1356"/>
                  </a:lnTo>
                  <a:lnTo>
                    <a:pt x="2466" y="1350"/>
                  </a:lnTo>
                  <a:lnTo>
                    <a:pt x="2458" y="1334"/>
                  </a:lnTo>
                  <a:lnTo>
                    <a:pt x="2454" y="1328"/>
                  </a:lnTo>
                  <a:lnTo>
                    <a:pt x="2448" y="1320"/>
                  </a:lnTo>
                  <a:lnTo>
                    <a:pt x="2444" y="1318"/>
                  </a:lnTo>
                  <a:lnTo>
                    <a:pt x="2438" y="1316"/>
                  </a:lnTo>
                  <a:lnTo>
                    <a:pt x="2428" y="1316"/>
                  </a:lnTo>
                  <a:lnTo>
                    <a:pt x="2426" y="1316"/>
                  </a:lnTo>
                  <a:lnTo>
                    <a:pt x="2428" y="1314"/>
                  </a:lnTo>
                  <a:lnTo>
                    <a:pt x="2444" y="1302"/>
                  </a:lnTo>
                  <a:lnTo>
                    <a:pt x="2450" y="1298"/>
                  </a:lnTo>
                  <a:lnTo>
                    <a:pt x="2452" y="1294"/>
                  </a:lnTo>
                  <a:lnTo>
                    <a:pt x="2452" y="1288"/>
                  </a:lnTo>
                  <a:lnTo>
                    <a:pt x="2452" y="1284"/>
                  </a:lnTo>
                  <a:lnTo>
                    <a:pt x="2448" y="1272"/>
                  </a:lnTo>
                  <a:lnTo>
                    <a:pt x="2440" y="1260"/>
                  </a:lnTo>
                  <a:lnTo>
                    <a:pt x="2436" y="1256"/>
                  </a:lnTo>
                  <a:lnTo>
                    <a:pt x="2432" y="1254"/>
                  </a:lnTo>
                  <a:lnTo>
                    <a:pt x="2426" y="1252"/>
                  </a:lnTo>
                  <a:lnTo>
                    <a:pt x="2422" y="1244"/>
                  </a:lnTo>
                  <a:lnTo>
                    <a:pt x="2418" y="1238"/>
                  </a:lnTo>
                  <a:lnTo>
                    <a:pt x="2416" y="1236"/>
                  </a:lnTo>
                  <a:lnTo>
                    <a:pt x="2414" y="1232"/>
                  </a:lnTo>
                  <a:lnTo>
                    <a:pt x="2410" y="1224"/>
                  </a:lnTo>
                  <a:lnTo>
                    <a:pt x="2404" y="1214"/>
                  </a:lnTo>
                  <a:lnTo>
                    <a:pt x="2402" y="1214"/>
                  </a:lnTo>
                  <a:lnTo>
                    <a:pt x="2402" y="1216"/>
                  </a:lnTo>
                  <a:lnTo>
                    <a:pt x="2396" y="1208"/>
                  </a:lnTo>
                  <a:lnTo>
                    <a:pt x="2394" y="1204"/>
                  </a:lnTo>
                  <a:lnTo>
                    <a:pt x="2392" y="1202"/>
                  </a:lnTo>
                  <a:lnTo>
                    <a:pt x="2388" y="1202"/>
                  </a:lnTo>
                  <a:lnTo>
                    <a:pt x="2384" y="1202"/>
                  </a:lnTo>
                  <a:lnTo>
                    <a:pt x="2382" y="1198"/>
                  </a:lnTo>
                  <a:lnTo>
                    <a:pt x="2378" y="1192"/>
                  </a:lnTo>
                  <a:lnTo>
                    <a:pt x="2372" y="1182"/>
                  </a:lnTo>
                  <a:lnTo>
                    <a:pt x="2366" y="1172"/>
                  </a:lnTo>
                  <a:lnTo>
                    <a:pt x="2362" y="1166"/>
                  </a:lnTo>
                  <a:lnTo>
                    <a:pt x="2358" y="1164"/>
                  </a:lnTo>
                  <a:lnTo>
                    <a:pt x="2356" y="1164"/>
                  </a:lnTo>
                  <a:lnTo>
                    <a:pt x="2354" y="1166"/>
                  </a:lnTo>
                  <a:lnTo>
                    <a:pt x="2352" y="1166"/>
                  </a:lnTo>
                  <a:lnTo>
                    <a:pt x="2348" y="1162"/>
                  </a:lnTo>
                  <a:lnTo>
                    <a:pt x="2344" y="1156"/>
                  </a:lnTo>
                  <a:lnTo>
                    <a:pt x="2340" y="1150"/>
                  </a:lnTo>
                  <a:lnTo>
                    <a:pt x="2338" y="1150"/>
                  </a:lnTo>
                  <a:lnTo>
                    <a:pt x="2334" y="1150"/>
                  </a:lnTo>
                  <a:lnTo>
                    <a:pt x="2332" y="1152"/>
                  </a:lnTo>
                  <a:lnTo>
                    <a:pt x="2330" y="1152"/>
                  </a:lnTo>
                  <a:lnTo>
                    <a:pt x="2326" y="1150"/>
                  </a:lnTo>
                  <a:lnTo>
                    <a:pt x="2322" y="1144"/>
                  </a:lnTo>
                  <a:lnTo>
                    <a:pt x="2316" y="1132"/>
                  </a:lnTo>
                  <a:lnTo>
                    <a:pt x="2312" y="1124"/>
                  </a:lnTo>
                  <a:lnTo>
                    <a:pt x="2310" y="1122"/>
                  </a:lnTo>
                  <a:lnTo>
                    <a:pt x="2308" y="1124"/>
                  </a:lnTo>
                  <a:lnTo>
                    <a:pt x="2308" y="1128"/>
                  </a:lnTo>
                  <a:lnTo>
                    <a:pt x="2308" y="1140"/>
                  </a:lnTo>
                  <a:lnTo>
                    <a:pt x="2308" y="1144"/>
                  </a:lnTo>
                  <a:lnTo>
                    <a:pt x="2306" y="1146"/>
                  </a:lnTo>
                  <a:lnTo>
                    <a:pt x="2304" y="1142"/>
                  </a:lnTo>
                  <a:lnTo>
                    <a:pt x="2300" y="1136"/>
                  </a:lnTo>
                  <a:lnTo>
                    <a:pt x="2298" y="1126"/>
                  </a:lnTo>
                  <a:lnTo>
                    <a:pt x="2290" y="1110"/>
                  </a:lnTo>
                  <a:lnTo>
                    <a:pt x="2286" y="1100"/>
                  </a:lnTo>
                  <a:lnTo>
                    <a:pt x="2284" y="1086"/>
                  </a:lnTo>
                  <a:lnTo>
                    <a:pt x="2280" y="1058"/>
                  </a:lnTo>
                  <a:lnTo>
                    <a:pt x="2276" y="1042"/>
                  </a:lnTo>
                  <a:lnTo>
                    <a:pt x="2272" y="1026"/>
                  </a:lnTo>
                  <a:lnTo>
                    <a:pt x="2268" y="1012"/>
                  </a:lnTo>
                  <a:lnTo>
                    <a:pt x="2260" y="998"/>
                  </a:lnTo>
                  <a:lnTo>
                    <a:pt x="2252" y="988"/>
                  </a:lnTo>
                  <a:lnTo>
                    <a:pt x="2248" y="984"/>
                  </a:lnTo>
                  <a:lnTo>
                    <a:pt x="2244" y="986"/>
                  </a:lnTo>
                  <a:lnTo>
                    <a:pt x="2242" y="986"/>
                  </a:lnTo>
                  <a:lnTo>
                    <a:pt x="2240" y="984"/>
                  </a:lnTo>
                  <a:lnTo>
                    <a:pt x="2236" y="976"/>
                  </a:lnTo>
                  <a:lnTo>
                    <a:pt x="2230" y="968"/>
                  </a:lnTo>
                  <a:lnTo>
                    <a:pt x="2226" y="966"/>
                  </a:lnTo>
                  <a:lnTo>
                    <a:pt x="2222" y="966"/>
                  </a:lnTo>
                  <a:lnTo>
                    <a:pt x="2220" y="966"/>
                  </a:lnTo>
                  <a:lnTo>
                    <a:pt x="2218" y="964"/>
                  </a:lnTo>
                  <a:lnTo>
                    <a:pt x="2212" y="956"/>
                  </a:lnTo>
                  <a:lnTo>
                    <a:pt x="2208" y="944"/>
                  </a:lnTo>
                  <a:lnTo>
                    <a:pt x="2206" y="928"/>
                  </a:lnTo>
                  <a:lnTo>
                    <a:pt x="2202" y="900"/>
                  </a:lnTo>
                  <a:lnTo>
                    <a:pt x="2200" y="890"/>
                  </a:lnTo>
                  <a:lnTo>
                    <a:pt x="2202" y="884"/>
                  </a:lnTo>
                  <a:lnTo>
                    <a:pt x="2204" y="876"/>
                  </a:lnTo>
                  <a:lnTo>
                    <a:pt x="2204" y="870"/>
                  </a:lnTo>
                  <a:lnTo>
                    <a:pt x="2200" y="858"/>
                  </a:lnTo>
                  <a:lnTo>
                    <a:pt x="2198" y="850"/>
                  </a:lnTo>
                  <a:lnTo>
                    <a:pt x="2200" y="848"/>
                  </a:lnTo>
                  <a:lnTo>
                    <a:pt x="2204" y="850"/>
                  </a:lnTo>
                  <a:lnTo>
                    <a:pt x="2208" y="850"/>
                  </a:lnTo>
                  <a:lnTo>
                    <a:pt x="2210" y="848"/>
                  </a:lnTo>
                  <a:lnTo>
                    <a:pt x="2204" y="842"/>
                  </a:lnTo>
                  <a:lnTo>
                    <a:pt x="2198" y="826"/>
                  </a:lnTo>
                  <a:lnTo>
                    <a:pt x="2194" y="816"/>
                  </a:lnTo>
                  <a:lnTo>
                    <a:pt x="2192" y="802"/>
                  </a:lnTo>
                  <a:lnTo>
                    <a:pt x="2190" y="794"/>
                  </a:lnTo>
                  <a:lnTo>
                    <a:pt x="2188" y="790"/>
                  </a:lnTo>
                  <a:lnTo>
                    <a:pt x="2184" y="786"/>
                  </a:lnTo>
                  <a:lnTo>
                    <a:pt x="2176" y="784"/>
                  </a:lnTo>
                  <a:lnTo>
                    <a:pt x="2174" y="782"/>
                  </a:lnTo>
                  <a:lnTo>
                    <a:pt x="2170" y="780"/>
                  </a:lnTo>
                  <a:lnTo>
                    <a:pt x="2166" y="772"/>
                  </a:lnTo>
                  <a:lnTo>
                    <a:pt x="2162" y="766"/>
                  </a:lnTo>
                  <a:lnTo>
                    <a:pt x="2160" y="764"/>
                  </a:lnTo>
                  <a:lnTo>
                    <a:pt x="2154" y="764"/>
                  </a:lnTo>
                  <a:lnTo>
                    <a:pt x="2150" y="762"/>
                  </a:lnTo>
                  <a:lnTo>
                    <a:pt x="2146" y="758"/>
                  </a:lnTo>
                  <a:lnTo>
                    <a:pt x="2138" y="746"/>
                  </a:lnTo>
                  <a:lnTo>
                    <a:pt x="2134" y="752"/>
                  </a:lnTo>
                  <a:lnTo>
                    <a:pt x="2138" y="746"/>
                  </a:lnTo>
                  <a:lnTo>
                    <a:pt x="2134" y="732"/>
                  </a:lnTo>
                  <a:lnTo>
                    <a:pt x="2132" y="716"/>
                  </a:lnTo>
                  <a:lnTo>
                    <a:pt x="2132" y="710"/>
                  </a:lnTo>
                  <a:lnTo>
                    <a:pt x="2134" y="706"/>
                  </a:lnTo>
                  <a:lnTo>
                    <a:pt x="2136" y="702"/>
                  </a:lnTo>
                  <a:lnTo>
                    <a:pt x="2142" y="702"/>
                  </a:lnTo>
                  <a:lnTo>
                    <a:pt x="2144" y="702"/>
                  </a:lnTo>
                  <a:lnTo>
                    <a:pt x="2138" y="698"/>
                  </a:lnTo>
                  <a:lnTo>
                    <a:pt x="2134" y="692"/>
                  </a:lnTo>
                  <a:lnTo>
                    <a:pt x="2128" y="684"/>
                  </a:lnTo>
                  <a:lnTo>
                    <a:pt x="2120" y="674"/>
                  </a:lnTo>
                  <a:lnTo>
                    <a:pt x="2116" y="662"/>
                  </a:lnTo>
                  <a:lnTo>
                    <a:pt x="2108" y="642"/>
                  </a:lnTo>
                  <a:lnTo>
                    <a:pt x="2098" y="624"/>
                  </a:lnTo>
                  <a:lnTo>
                    <a:pt x="2082" y="594"/>
                  </a:lnTo>
                  <a:lnTo>
                    <a:pt x="2072" y="572"/>
                  </a:lnTo>
                  <a:lnTo>
                    <a:pt x="2070" y="564"/>
                  </a:lnTo>
                  <a:lnTo>
                    <a:pt x="2070" y="556"/>
                  </a:lnTo>
                  <a:lnTo>
                    <a:pt x="2070" y="550"/>
                  </a:lnTo>
                  <a:lnTo>
                    <a:pt x="2070" y="544"/>
                  </a:lnTo>
                  <a:lnTo>
                    <a:pt x="2064" y="534"/>
                  </a:lnTo>
                  <a:lnTo>
                    <a:pt x="2058" y="526"/>
                  </a:lnTo>
                  <a:lnTo>
                    <a:pt x="2056" y="520"/>
                  </a:lnTo>
                  <a:lnTo>
                    <a:pt x="2056" y="512"/>
                  </a:lnTo>
                  <a:lnTo>
                    <a:pt x="2054" y="504"/>
                  </a:lnTo>
                  <a:lnTo>
                    <a:pt x="2050" y="494"/>
                  </a:lnTo>
                  <a:lnTo>
                    <a:pt x="2036" y="474"/>
                  </a:lnTo>
                  <a:lnTo>
                    <a:pt x="2022" y="452"/>
                  </a:lnTo>
                  <a:lnTo>
                    <a:pt x="2018" y="442"/>
                  </a:lnTo>
                  <a:lnTo>
                    <a:pt x="2016" y="434"/>
                  </a:lnTo>
                  <a:lnTo>
                    <a:pt x="2016" y="426"/>
                  </a:lnTo>
                  <a:lnTo>
                    <a:pt x="2014" y="422"/>
                  </a:lnTo>
                  <a:lnTo>
                    <a:pt x="2010" y="416"/>
                  </a:lnTo>
                  <a:lnTo>
                    <a:pt x="2008" y="412"/>
                  </a:lnTo>
                  <a:lnTo>
                    <a:pt x="2008" y="408"/>
                  </a:lnTo>
                  <a:lnTo>
                    <a:pt x="2010" y="402"/>
                  </a:lnTo>
                  <a:lnTo>
                    <a:pt x="2014" y="394"/>
                  </a:lnTo>
                  <a:lnTo>
                    <a:pt x="2000" y="332"/>
                  </a:lnTo>
                  <a:lnTo>
                    <a:pt x="1998" y="332"/>
                  </a:lnTo>
                  <a:lnTo>
                    <a:pt x="1996" y="328"/>
                  </a:lnTo>
                  <a:lnTo>
                    <a:pt x="1992" y="326"/>
                  </a:lnTo>
                  <a:lnTo>
                    <a:pt x="1990" y="326"/>
                  </a:lnTo>
                  <a:lnTo>
                    <a:pt x="1986" y="326"/>
                  </a:lnTo>
                  <a:lnTo>
                    <a:pt x="1984" y="324"/>
                  </a:lnTo>
                  <a:lnTo>
                    <a:pt x="1984" y="322"/>
                  </a:lnTo>
                  <a:lnTo>
                    <a:pt x="1984" y="320"/>
                  </a:lnTo>
                  <a:lnTo>
                    <a:pt x="1986" y="318"/>
                  </a:lnTo>
                  <a:lnTo>
                    <a:pt x="1988" y="316"/>
                  </a:lnTo>
                  <a:lnTo>
                    <a:pt x="1990" y="314"/>
                  </a:lnTo>
                  <a:lnTo>
                    <a:pt x="1992" y="316"/>
                  </a:lnTo>
                  <a:lnTo>
                    <a:pt x="1998" y="320"/>
                  </a:lnTo>
                  <a:lnTo>
                    <a:pt x="1996" y="316"/>
                  </a:lnTo>
                  <a:lnTo>
                    <a:pt x="1990" y="310"/>
                  </a:lnTo>
                  <a:lnTo>
                    <a:pt x="1988" y="308"/>
                  </a:lnTo>
                  <a:lnTo>
                    <a:pt x="1986" y="308"/>
                  </a:lnTo>
                  <a:lnTo>
                    <a:pt x="1980" y="312"/>
                  </a:lnTo>
                  <a:lnTo>
                    <a:pt x="1976" y="314"/>
                  </a:lnTo>
                  <a:lnTo>
                    <a:pt x="1974" y="314"/>
                  </a:lnTo>
                  <a:lnTo>
                    <a:pt x="1966" y="310"/>
                  </a:lnTo>
                  <a:lnTo>
                    <a:pt x="1958" y="306"/>
                  </a:lnTo>
                  <a:lnTo>
                    <a:pt x="1954" y="306"/>
                  </a:lnTo>
                  <a:lnTo>
                    <a:pt x="1948" y="308"/>
                  </a:lnTo>
                  <a:lnTo>
                    <a:pt x="1938" y="312"/>
                  </a:lnTo>
                  <a:lnTo>
                    <a:pt x="1932" y="312"/>
                  </a:lnTo>
                  <a:lnTo>
                    <a:pt x="1928" y="312"/>
                  </a:lnTo>
                  <a:lnTo>
                    <a:pt x="1922" y="318"/>
                  </a:lnTo>
                  <a:lnTo>
                    <a:pt x="1920" y="320"/>
                  </a:lnTo>
                  <a:lnTo>
                    <a:pt x="1916" y="322"/>
                  </a:lnTo>
                  <a:lnTo>
                    <a:pt x="1908" y="326"/>
                  </a:lnTo>
                  <a:lnTo>
                    <a:pt x="1892" y="340"/>
                  </a:lnTo>
                  <a:lnTo>
                    <a:pt x="1886" y="346"/>
                  </a:lnTo>
                  <a:lnTo>
                    <a:pt x="1880" y="346"/>
                  </a:lnTo>
                  <a:lnTo>
                    <a:pt x="1874" y="346"/>
                  </a:lnTo>
                  <a:lnTo>
                    <a:pt x="1866" y="344"/>
                  </a:lnTo>
                  <a:lnTo>
                    <a:pt x="1854" y="336"/>
                  </a:lnTo>
                  <a:lnTo>
                    <a:pt x="1848" y="334"/>
                  </a:lnTo>
                  <a:lnTo>
                    <a:pt x="1844" y="334"/>
                  </a:lnTo>
                  <a:lnTo>
                    <a:pt x="1836" y="332"/>
                  </a:lnTo>
                  <a:lnTo>
                    <a:pt x="1830" y="330"/>
                  </a:lnTo>
                  <a:lnTo>
                    <a:pt x="1826" y="326"/>
                  </a:lnTo>
                  <a:lnTo>
                    <a:pt x="1822" y="326"/>
                  </a:lnTo>
                  <a:lnTo>
                    <a:pt x="1818" y="326"/>
                  </a:lnTo>
                  <a:lnTo>
                    <a:pt x="1812" y="326"/>
                  </a:lnTo>
                  <a:lnTo>
                    <a:pt x="1812" y="324"/>
                  </a:lnTo>
                  <a:lnTo>
                    <a:pt x="1808" y="322"/>
                  </a:lnTo>
                  <a:lnTo>
                    <a:pt x="1804" y="318"/>
                  </a:lnTo>
                  <a:lnTo>
                    <a:pt x="1794" y="314"/>
                  </a:lnTo>
                  <a:lnTo>
                    <a:pt x="1778" y="310"/>
                  </a:lnTo>
                  <a:lnTo>
                    <a:pt x="1762" y="308"/>
                  </a:lnTo>
                  <a:lnTo>
                    <a:pt x="1750" y="306"/>
                  </a:lnTo>
                  <a:lnTo>
                    <a:pt x="1734" y="308"/>
                  </a:lnTo>
                  <a:lnTo>
                    <a:pt x="1724" y="310"/>
                  </a:lnTo>
                  <a:lnTo>
                    <a:pt x="1718" y="310"/>
                  </a:lnTo>
                  <a:lnTo>
                    <a:pt x="1718" y="308"/>
                  </a:lnTo>
                  <a:lnTo>
                    <a:pt x="1716" y="302"/>
                  </a:lnTo>
                  <a:lnTo>
                    <a:pt x="1714" y="292"/>
                  </a:lnTo>
                  <a:lnTo>
                    <a:pt x="1710" y="288"/>
                  </a:lnTo>
                  <a:lnTo>
                    <a:pt x="1706" y="286"/>
                  </a:lnTo>
                  <a:lnTo>
                    <a:pt x="1700" y="284"/>
                  </a:lnTo>
                  <a:lnTo>
                    <a:pt x="1692" y="284"/>
                  </a:lnTo>
                  <a:lnTo>
                    <a:pt x="1678" y="284"/>
                  </a:lnTo>
                  <a:lnTo>
                    <a:pt x="1672" y="282"/>
                  </a:lnTo>
                  <a:lnTo>
                    <a:pt x="1666" y="280"/>
                  </a:lnTo>
                  <a:lnTo>
                    <a:pt x="1654" y="278"/>
                  </a:lnTo>
                  <a:lnTo>
                    <a:pt x="1648" y="276"/>
                  </a:lnTo>
                  <a:lnTo>
                    <a:pt x="1644" y="274"/>
                  </a:lnTo>
                  <a:lnTo>
                    <a:pt x="1640" y="266"/>
                  </a:lnTo>
                  <a:lnTo>
                    <a:pt x="1638" y="262"/>
                  </a:lnTo>
                  <a:lnTo>
                    <a:pt x="1632" y="256"/>
                  </a:lnTo>
                  <a:lnTo>
                    <a:pt x="1624" y="250"/>
                  </a:lnTo>
                  <a:lnTo>
                    <a:pt x="1612" y="242"/>
                  </a:lnTo>
                  <a:lnTo>
                    <a:pt x="1596" y="236"/>
                  </a:lnTo>
                  <a:lnTo>
                    <a:pt x="1584" y="236"/>
                  </a:lnTo>
                  <a:lnTo>
                    <a:pt x="1574" y="238"/>
                  </a:lnTo>
                  <a:lnTo>
                    <a:pt x="1568" y="242"/>
                  </a:lnTo>
                  <a:lnTo>
                    <a:pt x="1564" y="244"/>
                  </a:lnTo>
                  <a:lnTo>
                    <a:pt x="1560" y="246"/>
                  </a:lnTo>
                  <a:lnTo>
                    <a:pt x="1550" y="246"/>
                  </a:lnTo>
                  <a:lnTo>
                    <a:pt x="1544" y="248"/>
                  </a:lnTo>
                  <a:lnTo>
                    <a:pt x="1536" y="252"/>
                  </a:lnTo>
                  <a:lnTo>
                    <a:pt x="1528" y="260"/>
                  </a:lnTo>
                  <a:lnTo>
                    <a:pt x="1516" y="274"/>
                  </a:lnTo>
                  <a:lnTo>
                    <a:pt x="1510" y="284"/>
                  </a:lnTo>
                  <a:lnTo>
                    <a:pt x="1508" y="292"/>
                  </a:lnTo>
                  <a:lnTo>
                    <a:pt x="1508" y="302"/>
                  </a:lnTo>
                  <a:lnTo>
                    <a:pt x="1510" y="314"/>
                  </a:lnTo>
                  <a:lnTo>
                    <a:pt x="1512" y="324"/>
                  </a:lnTo>
                  <a:lnTo>
                    <a:pt x="1514" y="334"/>
                  </a:lnTo>
                  <a:lnTo>
                    <a:pt x="1512" y="344"/>
                  </a:lnTo>
                  <a:lnTo>
                    <a:pt x="1506" y="354"/>
                  </a:lnTo>
                  <a:lnTo>
                    <a:pt x="1498" y="362"/>
                  </a:lnTo>
                  <a:lnTo>
                    <a:pt x="1492" y="368"/>
                  </a:lnTo>
                  <a:lnTo>
                    <a:pt x="1484" y="374"/>
                  </a:lnTo>
                  <a:lnTo>
                    <a:pt x="1478" y="376"/>
                  </a:lnTo>
                  <a:lnTo>
                    <a:pt x="1470" y="376"/>
                  </a:lnTo>
                  <a:lnTo>
                    <a:pt x="1464" y="374"/>
                  </a:lnTo>
                  <a:lnTo>
                    <a:pt x="1458" y="368"/>
                  </a:lnTo>
                  <a:lnTo>
                    <a:pt x="1452" y="362"/>
                  </a:lnTo>
                  <a:lnTo>
                    <a:pt x="1446" y="356"/>
                  </a:lnTo>
                  <a:lnTo>
                    <a:pt x="1438" y="350"/>
                  </a:lnTo>
                  <a:lnTo>
                    <a:pt x="1418" y="338"/>
                  </a:lnTo>
                  <a:lnTo>
                    <a:pt x="1398" y="330"/>
                  </a:lnTo>
                  <a:lnTo>
                    <a:pt x="1376" y="328"/>
                  </a:lnTo>
                  <a:lnTo>
                    <a:pt x="1358" y="326"/>
                  </a:lnTo>
                  <a:lnTo>
                    <a:pt x="1350" y="324"/>
                  </a:lnTo>
                  <a:lnTo>
                    <a:pt x="1344" y="320"/>
                  </a:lnTo>
                  <a:lnTo>
                    <a:pt x="1338" y="316"/>
                  </a:lnTo>
                  <a:lnTo>
                    <a:pt x="1334" y="310"/>
                  </a:lnTo>
                  <a:lnTo>
                    <a:pt x="1330" y="300"/>
                  </a:lnTo>
                  <a:lnTo>
                    <a:pt x="1326" y="288"/>
                  </a:lnTo>
                  <a:lnTo>
                    <a:pt x="1324" y="276"/>
                  </a:lnTo>
                  <a:lnTo>
                    <a:pt x="1320" y="268"/>
                  </a:lnTo>
                  <a:lnTo>
                    <a:pt x="1314" y="262"/>
                  </a:lnTo>
                  <a:lnTo>
                    <a:pt x="1306" y="260"/>
                  </a:lnTo>
                  <a:lnTo>
                    <a:pt x="1294" y="258"/>
                  </a:lnTo>
                  <a:lnTo>
                    <a:pt x="1288" y="256"/>
                  </a:lnTo>
                  <a:lnTo>
                    <a:pt x="1284" y="254"/>
                  </a:lnTo>
                  <a:lnTo>
                    <a:pt x="1272" y="248"/>
                  </a:lnTo>
                  <a:lnTo>
                    <a:pt x="1256" y="242"/>
                  </a:lnTo>
                  <a:lnTo>
                    <a:pt x="1238" y="240"/>
                  </a:lnTo>
                  <a:lnTo>
                    <a:pt x="1230" y="240"/>
                  </a:lnTo>
                  <a:lnTo>
                    <a:pt x="1224" y="240"/>
                  </a:lnTo>
                  <a:lnTo>
                    <a:pt x="1216" y="242"/>
                  </a:lnTo>
                  <a:lnTo>
                    <a:pt x="1210" y="242"/>
                  </a:lnTo>
                  <a:lnTo>
                    <a:pt x="1196" y="236"/>
                  </a:lnTo>
                  <a:lnTo>
                    <a:pt x="1182" y="230"/>
                  </a:lnTo>
                  <a:lnTo>
                    <a:pt x="1172" y="224"/>
                  </a:lnTo>
                  <a:lnTo>
                    <a:pt x="1160" y="218"/>
                  </a:lnTo>
                  <a:lnTo>
                    <a:pt x="1156" y="214"/>
                  </a:lnTo>
                  <a:lnTo>
                    <a:pt x="1154" y="206"/>
                  </a:lnTo>
                  <a:lnTo>
                    <a:pt x="1152" y="198"/>
                  </a:lnTo>
                  <a:lnTo>
                    <a:pt x="1150" y="198"/>
                  </a:lnTo>
                  <a:lnTo>
                    <a:pt x="1148" y="198"/>
                  </a:lnTo>
                  <a:lnTo>
                    <a:pt x="1144" y="200"/>
                  </a:lnTo>
                  <a:lnTo>
                    <a:pt x="1142" y="200"/>
                  </a:lnTo>
                  <a:lnTo>
                    <a:pt x="1140" y="198"/>
                  </a:lnTo>
                  <a:lnTo>
                    <a:pt x="1132" y="196"/>
                  </a:lnTo>
                  <a:lnTo>
                    <a:pt x="1124" y="194"/>
                  </a:lnTo>
                  <a:lnTo>
                    <a:pt x="1118" y="194"/>
                  </a:lnTo>
                  <a:lnTo>
                    <a:pt x="1114" y="190"/>
                  </a:lnTo>
                  <a:lnTo>
                    <a:pt x="1110" y="184"/>
                  </a:lnTo>
                  <a:lnTo>
                    <a:pt x="1108" y="176"/>
                  </a:lnTo>
                  <a:lnTo>
                    <a:pt x="1110" y="170"/>
                  </a:lnTo>
                  <a:lnTo>
                    <a:pt x="1116" y="162"/>
                  </a:lnTo>
                  <a:lnTo>
                    <a:pt x="1134" y="144"/>
                  </a:lnTo>
                  <a:lnTo>
                    <a:pt x="1142" y="134"/>
                  </a:lnTo>
                  <a:lnTo>
                    <a:pt x="1150" y="124"/>
                  </a:lnTo>
                  <a:lnTo>
                    <a:pt x="1154" y="116"/>
                  </a:lnTo>
                  <a:lnTo>
                    <a:pt x="1154" y="114"/>
                  </a:lnTo>
                  <a:lnTo>
                    <a:pt x="1152" y="110"/>
                  </a:lnTo>
                  <a:lnTo>
                    <a:pt x="1150" y="106"/>
                  </a:lnTo>
                  <a:lnTo>
                    <a:pt x="1148" y="102"/>
                  </a:lnTo>
                  <a:lnTo>
                    <a:pt x="1148" y="96"/>
                  </a:lnTo>
                  <a:lnTo>
                    <a:pt x="1148" y="92"/>
                  </a:lnTo>
                  <a:lnTo>
                    <a:pt x="1146" y="90"/>
                  </a:lnTo>
                  <a:lnTo>
                    <a:pt x="1142" y="86"/>
                  </a:lnTo>
                  <a:lnTo>
                    <a:pt x="1136" y="82"/>
                  </a:lnTo>
                  <a:lnTo>
                    <a:pt x="1132" y="78"/>
                  </a:lnTo>
                  <a:lnTo>
                    <a:pt x="1128" y="74"/>
                  </a:lnTo>
                  <a:lnTo>
                    <a:pt x="1124" y="64"/>
                  </a:lnTo>
                  <a:lnTo>
                    <a:pt x="1124" y="60"/>
                  </a:lnTo>
                  <a:lnTo>
                    <a:pt x="1124" y="56"/>
                  </a:lnTo>
                  <a:lnTo>
                    <a:pt x="1126" y="52"/>
                  </a:lnTo>
                  <a:lnTo>
                    <a:pt x="1130" y="50"/>
                  </a:lnTo>
                  <a:lnTo>
                    <a:pt x="1140" y="42"/>
                  </a:lnTo>
                  <a:lnTo>
                    <a:pt x="1148" y="34"/>
                  </a:lnTo>
                  <a:lnTo>
                    <a:pt x="1152" y="26"/>
                  </a:lnTo>
                  <a:lnTo>
                    <a:pt x="1152" y="20"/>
                  </a:lnTo>
                  <a:lnTo>
                    <a:pt x="1152" y="16"/>
                  </a:lnTo>
                  <a:lnTo>
                    <a:pt x="1148" y="14"/>
                  </a:lnTo>
                  <a:lnTo>
                    <a:pt x="1146" y="16"/>
                  </a:lnTo>
                  <a:lnTo>
                    <a:pt x="1136" y="22"/>
                  </a:lnTo>
                  <a:lnTo>
                    <a:pt x="1128" y="30"/>
                  </a:lnTo>
                  <a:lnTo>
                    <a:pt x="1124" y="32"/>
                  </a:lnTo>
                  <a:lnTo>
                    <a:pt x="1122" y="32"/>
                  </a:lnTo>
                  <a:lnTo>
                    <a:pt x="1120" y="30"/>
                  </a:lnTo>
                  <a:lnTo>
                    <a:pt x="1118" y="26"/>
                  </a:lnTo>
                  <a:lnTo>
                    <a:pt x="1118" y="18"/>
                  </a:lnTo>
                  <a:lnTo>
                    <a:pt x="1116" y="10"/>
                  </a:lnTo>
                  <a:lnTo>
                    <a:pt x="1112" y="6"/>
                  </a:lnTo>
                  <a:lnTo>
                    <a:pt x="1108" y="4"/>
                  </a:lnTo>
                  <a:lnTo>
                    <a:pt x="1096" y="0"/>
                  </a:lnTo>
                  <a:lnTo>
                    <a:pt x="1088" y="2"/>
                  </a:lnTo>
                  <a:lnTo>
                    <a:pt x="1080" y="4"/>
                  </a:lnTo>
                  <a:lnTo>
                    <a:pt x="1074" y="6"/>
                  </a:lnTo>
                  <a:lnTo>
                    <a:pt x="1064" y="16"/>
                  </a:lnTo>
                  <a:lnTo>
                    <a:pt x="1058" y="22"/>
                  </a:lnTo>
                  <a:lnTo>
                    <a:pt x="1052" y="22"/>
                  </a:lnTo>
                  <a:lnTo>
                    <a:pt x="1040" y="22"/>
                  </a:lnTo>
                  <a:lnTo>
                    <a:pt x="1034" y="22"/>
                  </a:lnTo>
                  <a:lnTo>
                    <a:pt x="1026" y="24"/>
                  </a:lnTo>
                  <a:lnTo>
                    <a:pt x="1022" y="28"/>
                  </a:lnTo>
                  <a:lnTo>
                    <a:pt x="1018" y="24"/>
                  </a:lnTo>
                  <a:lnTo>
                    <a:pt x="1014" y="20"/>
                  </a:lnTo>
                  <a:lnTo>
                    <a:pt x="1006" y="14"/>
                  </a:lnTo>
                  <a:lnTo>
                    <a:pt x="1002" y="12"/>
                  </a:lnTo>
                  <a:lnTo>
                    <a:pt x="998" y="14"/>
                  </a:lnTo>
                  <a:lnTo>
                    <a:pt x="994" y="18"/>
                  </a:lnTo>
                  <a:lnTo>
                    <a:pt x="992" y="20"/>
                  </a:lnTo>
                  <a:lnTo>
                    <a:pt x="988" y="22"/>
                  </a:lnTo>
                  <a:lnTo>
                    <a:pt x="984" y="22"/>
                  </a:lnTo>
                  <a:lnTo>
                    <a:pt x="978" y="20"/>
                  </a:lnTo>
                  <a:lnTo>
                    <a:pt x="966" y="16"/>
                  </a:lnTo>
                  <a:lnTo>
                    <a:pt x="962" y="16"/>
                  </a:lnTo>
                  <a:lnTo>
                    <a:pt x="960" y="18"/>
                  </a:lnTo>
                  <a:lnTo>
                    <a:pt x="954" y="22"/>
                  </a:lnTo>
                  <a:lnTo>
                    <a:pt x="942" y="26"/>
                  </a:lnTo>
                  <a:lnTo>
                    <a:pt x="936" y="28"/>
                  </a:lnTo>
                  <a:lnTo>
                    <a:pt x="930" y="30"/>
                  </a:lnTo>
                  <a:lnTo>
                    <a:pt x="924" y="36"/>
                  </a:lnTo>
                  <a:lnTo>
                    <a:pt x="920" y="38"/>
                  </a:lnTo>
                  <a:lnTo>
                    <a:pt x="918" y="38"/>
                  </a:lnTo>
                  <a:lnTo>
                    <a:pt x="914" y="36"/>
                  </a:lnTo>
                  <a:lnTo>
                    <a:pt x="910" y="32"/>
                  </a:lnTo>
                  <a:lnTo>
                    <a:pt x="906" y="28"/>
                  </a:lnTo>
                  <a:lnTo>
                    <a:pt x="900" y="26"/>
                  </a:lnTo>
                  <a:lnTo>
                    <a:pt x="886" y="22"/>
                  </a:lnTo>
                  <a:lnTo>
                    <a:pt x="870" y="24"/>
                  </a:lnTo>
                  <a:lnTo>
                    <a:pt x="854" y="26"/>
                  </a:lnTo>
                  <a:lnTo>
                    <a:pt x="848" y="28"/>
                  </a:lnTo>
                  <a:lnTo>
                    <a:pt x="842" y="28"/>
                  </a:lnTo>
                  <a:lnTo>
                    <a:pt x="832" y="28"/>
                  </a:lnTo>
                  <a:lnTo>
                    <a:pt x="822" y="28"/>
                  </a:lnTo>
                  <a:lnTo>
                    <a:pt x="820" y="30"/>
                  </a:lnTo>
                  <a:lnTo>
                    <a:pt x="816" y="32"/>
                  </a:lnTo>
                  <a:lnTo>
                    <a:pt x="812" y="38"/>
                  </a:lnTo>
                  <a:lnTo>
                    <a:pt x="804" y="40"/>
                  </a:lnTo>
                  <a:lnTo>
                    <a:pt x="776" y="42"/>
                  </a:lnTo>
                  <a:lnTo>
                    <a:pt x="754" y="46"/>
                  </a:lnTo>
                  <a:lnTo>
                    <a:pt x="732" y="52"/>
                  </a:lnTo>
                  <a:lnTo>
                    <a:pt x="724" y="58"/>
                  </a:lnTo>
                  <a:lnTo>
                    <a:pt x="716" y="64"/>
                  </a:lnTo>
                  <a:lnTo>
                    <a:pt x="710" y="70"/>
                  </a:lnTo>
                  <a:lnTo>
                    <a:pt x="706" y="76"/>
                  </a:lnTo>
                  <a:lnTo>
                    <a:pt x="704" y="82"/>
                  </a:lnTo>
                  <a:lnTo>
                    <a:pt x="700" y="86"/>
                  </a:lnTo>
                  <a:lnTo>
                    <a:pt x="698" y="86"/>
                  </a:lnTo>
                  <a:lnTo>
                    <a:pt x="696" y="84"/>
                  </a:lnTo>
                  <a:lnTo>
                    <a:pt x="690" y="80"/>
                  </a:lnTo>
                  <a:lnTo>
                    <a:pt x="686" y="82"/>
                  </a:lnTo>
                  <a:lnTo>
                    <a:pt x="682" y="84"/>
                  </a:lnTo>
                  <a:lnTo>
                    <a:pt x="680" y="86"/>
                  </a:lnTo>
                  <a:lnTo>
                    <a:pt x="676" y="88"/>
                  </a:lnTo>
                  <a:lnTo>
                    <a:pt x="670" y="86"/>
                  </a:lnTo>
                  <a:lnTo>
                    <a:pt x="668" y="86"/>
                  </a:lnTo>
                  <a:lnTo>
                    <a:pt x="664" y="88"/>
                  </a:lnTo>
                  <a:lnTo>
                    <a:pt x="662" y="90"/>
                  </a:lnTo>
                  <a:lnTo>
                    <a:pt x="656" y="96"/>
                  </a:lnTo>
                  <a:lnTo>
                    <a:pt x="650" y="104"/>
                  </a:lnTo>
                  <a:lnTo>
                    <a:pt x="640" y="114"/>
                  </a:lnTo>
                  <a:lnTo>
                    <a:pt x="634" y="118"/>
                  </a:lnTo>
                  <a:lnTo>
                    <a:pt x="628" y="120"/>
                  </a:lnTo>
                  <a:lnTo>
                    <a:pt x="622" y="120"/>
                  </a:lnTo>
                  <a:lnTo>
                    <a:pt x="616" y="120"/>
                  </a:lnTo>
                  <a:lnTo>
                    <a:pt x="600" y="120"/>
                  </a:lnTo>
                  <a:lnTo>
                    <a:pt x="596" y="118"/>
                  </a:lnTo>
                  <a:lnTo>
                    <a:pt x="592" y="116"/>
                  </a:lnTo>
                  <a:lnTo>
                    <a:pt x="588" y="112"/>
                  </a:lnTo>
                  <a:lnTo>
                    <a:pt x="586" y="108"/>
                  </a:lnTo>
                  <a:lnTo>
                    <a:pt x="586" y="104"/>
                  </a:lnTo>
                  <a:lnTo>
                    <a:pt x="584" y="104"/>
                  </a:lnTo>
                  <a:lnTo>
                    <a:pt x="580" y="108"/>
                  </a:lnTo>
                  <a:lnTo>
                    <a:pt x="578" y="110"/>
                  </a:lnTo>
                  <a:lnTo>
                    <a:pt x="574" y="112"/>
                  </a:lnTo>
                  <a:lnTo>
                    <a:pt x="570" y="114"/>
                  </a:lnTo>
                  <a:lnTo>
                    <a:pt x="562" y="112"/>
                  </a:lnTo>
                  <a:lnTo>
                    <a:pt x="558" y="110"/>
                  </a:lnTo>
                  <a:lnTo>
                    <a:pt x="552" y="110"/>
                  </a:lnTo>
                  <a:lnTo>
                    <a:pt x="542" y="114"/>
                  </a:lnTo>
                  <a:lnTo>
                    <a:pt x="536" y="116"/>
                  </a:lnTo>
                  <a:lnTo>
                    <a:pt x="530" y="118"/>
                  </a:lnTo>
                  <a:lnTo>
                    <a:pt x="520" y="116"/>
                  </a:lnTo>
                  <a:lnTo>
                    <a:pt x="510" y="112"/>
                  </a:lnTo>
                  <a:lnTo>
                    <a:pt x="502" y="108"/>
                  </a:lnTo>
                  <a:lnTo>
                    <a:pt x="498" y="102"/>
                  </a:lnTo>
                  <a:lnTo>
                    <a:pt x="494" y="98"/>
                  </a:lnTo>
                  <a:lnTo>
                    <a:pt x="492" y="94"/>
                  </a:lnTo>
                  <a:lnTo>
                    <a:pt x="464" y="96"/>
                  </a:lnTo>
                  <a:lnTo>
                    <a:pt x="454" y="122"/>
                  </a:lnTo>
                  <a:lnTo>
                    <a:pt x="444" y="152"/>
                  </a:lnTo>
                  <a:lnTo>
                    <a:pt x="436" y="166"/>
                  </a:lnTo>
                  <a:lnTo>
                    <a:pt x="426" y="180"/>
                  </a:lnTo>
                  <a:lnTo>
                    <a:pt x="414" y="190"/>
                  </a:lnTo>
                  <a:lnTo>
                    <a:pt x="400" y="200"/>
                  </a:lnTo>
                  <a:lnTo>
                    <a:pt x="380" y="206"/>
                  </a:lnTo>
                  <a:lnTo>
                    <a:pt x="368" y="212"/>
                  </a:lnTo>
                  <a:lnTo>
                    <a:pt x="360" y="218"/>
                  </a:lnTo>
                  <a:lnTo>
                    <a:pt x="356" y="222"/>
                  </a:lnTo>
                  <a:lnTo>
                    <a:pt x="352" y="232"/>
                  </a:lnTo>
                  <a:lnTo>
                    <a:pt x="348" y="238"/>
                  </a:lnTo>
                  <a:lnTo>
                    <a:pt x="342" y="244"/>
                  </a:lnTo>
                  <a:lnTo>
                    <a:pt x="334" y="252"/>
                  </a:lnTo>
                  <a:lnTo>
                    <a:pt x="332" y="256"/>
                  </a:lnTo>
                  <a:lnTo>
                    <a:pt x="330" y="260"/>
                  </a:lnTo>
                  <a:lnTo>
                    <a:pt x="330" y="264"/>
                  </a:lnTo>
                  <a:lnTo>
                    <a:pt x="330" y="270"/>
                  </a:lnTo>
                  <a:lnTo>
                    <a:pt x="330" y="274"/>
                  </a:lnTo>
                  <a:lnTo>
                    <a:pt x="326" y="282"/>
                  </a:lnTo>
                  <a:lnTo>
                    <a:pt x="320" y="292"/>
                  </a:lnTo>
                  <a:lnTo>
                    <a:pt x="312" y="306"/>
                  </a:lnTo>
                  <a:lnTo>
                    <a:pt x="308" y="320"/>
                  </a:lnTo>
                  <a:lnTo>
                    <a:pt x="308" y="336"/>
                  </a:lnTo>
                  <a:lnTo>
                    <a:pt x="310" y="350"/>
                  </a:lnTo>
                  <a:lnTo>
                    <a:pt x="314" y="376"/>
                  </a:lnTo>
                  <a:lnTo>
                    <a:pt x="314" y="388"/>
                  </a:lnTo>
                  <a:lnTo>
                    <a:pt x="310" y="398"/>
                  </a:lnTo>
                  <a:lnTo>
                    <a:pt x="298" y="420"/>
                  </a:lnTo>
                  <a:lnTo>
                    <a:pt x="288" y="434"/>
                  </a:lnTo>
                  <a:lnTo>
                    <a:pt x="282" y="442"/>
                  </a:lnTo>
                  <a:lnTo>
                    <a:pt x="276" y="446"/>
                  </a:lnTo>
                  <a:lnTo>
                    <a:pt x="264" y="452"/>
                  </a:lnTo>
                  <a:lnTo>
                    <a:pt x="258" y="456"/>
                  </a:lnTo>
                  <a:lnTo>
                    <a:pt x="250" y="466"/>
                  </a:lnTo>
                  <a:lnTo>
                    <a:pt x="240" y="478"/>
                  </a:lnTo>
                  <a:lnTo>
                    <a:pt x="228" y="484"/>
                  </a:lnTo>
                  <a:lnTo>
                    <a:pt x="218" y="488"/>
                  </a:lnTo>
                  <a:lnTo>
                    <a:pt x="206" y="490"/>
                  </a:lnTo>
                  <a:lnTo>
                    <a:pt x="196" y="492"/>
                  </a:lnTo>
                  <a:lnTo>
                    <a:pt x="188" y="496"/>
                  </a:lnTo>
                  <a:lnTo>
                    <a:pt x="180" y="500"/>
                  </a:lnTo>
                  <a:lnTo>
                    <a:pt x="174" y="510"/>
                  </a:lnTo>
                  <a:lnTo>
                    <a:pt x="164" y="538"/>
                  </a:lnTo>
                  <a:lnTo>
                    <a:pt x="156" y="556"/>
                  </a:lnTo>
                  <a:lnTo>
                    <a:pt x="148" y="566"/>
                  </a:lnTo>
                  <a:lnTo>
                    <a:pt x="140" y="572"/>
                  </a:lnTo>
                  <a:lnTo>
                    <a:pt x="134" y="574"/>
                  </a:lnTo>
                  <a:lnTo>
                    <a:pt x="128" y="578"/>
                  </a:lnTo>
                  <a:lnTo>
                    <a:pt x="124" y="584"/>
                  </a:lnTo>
                  <a:lnTo>
                    <a:pt x="120" y="596"/>
                  </a:lnTo>
                  <a:lnTo>
                    <a:pt x="116" y="610"/>
                  </a:lnTo>
                  <a:lnTo>
                    <a:pt x="114" y="614"/>
                  </a:lnTo>
                  <a:lnTo>
                    <a:pt x="110" y="620"/>
                  </a:lnTo>
                  <a:lnTo>
                    <a:pt x="108" y="640"/>
                  </a:lnTo>
                  <a:lnTo>
                    <a:pt x="104" y="660"/>
                  </a:lnTo>
                  <a:lnTo>
                    <a:pt x="102" y="666"/>
                  </a:lnTo>
                  <a:lnTo>
                    <a:pt x="98" y="670"/>
                  </a:lnTo>
                  <a:lnTo>
                    <a:pt x="90" y="678"/>
                  </a:lnTo>
                  <a:lnTo>
                    <a:pt x="78" y="692"/>
                  </a:lnTo>
                  <a:lnTo>
                    <a:pt x="64" y="706"/>
                  </a:lnTo>
                  <a:lnTo>
                    <a:pt x="58" y="712"/>
                  </a:lnTo>
                  <a:lnTo>
                    <a:pt x="58" y="714"/>
                  </a:lnTo>
                  <a:lnTo>
                    <a:pt x="60" y="714"/>
                  </a:lnTo>
                  <a:lnTo>
                    <a:pt x="64" y="714"/>
                  </a:lnTo>
                  <a:lnTo>
                    <a:pt x="66" y="714"/>
                  </a:lnTo>
                  <a:lnTo>
                    <a:pt x="66" y="716"/>
                  </a:lnTo>
                  <a:lnTo>
                    <a:pt x="60" y="726"/>
                  </a:lnTo>
                  <a:lnTo>
                    <a:pt x="54" y="740"/>
                  </a:lnTo>
                  <a:lnTo>
                    <a:pt x="52" y="750"/>
                  </a:lnTo>
                  <a:lnTo>
                    <a:pt x="50" y="762"/>
                  </a:lnTo>
                  <a:lnTo>
                    <a:pt x="48" y="772"/>
                  </a:lnTo>
                  <a:lnTo>
                    <a:pt x="46" y="778"/>
                  </a:lnTo>
                  <a:lnTo>
                    <a:pt x="42" y="782"/>
                  </a:lnTo>
                  <a:lnTo>
                    <a:pt x="36" y="786"/>
                  </a:lnTo>
                  <a:lnTo>
                    <a:pt x="32" y="788"/>
                  </a:lnTo>
                  <a:lnTo>
                    <a:pt x="28" y="794"/>
                  </a:lnTo>
                  <a:lnTo>
                    <a:pt x="24" y="800"/>
                  </a:lnTo>
                  <a:lnTo>
                    <a:pt x="20" y="812"/>
                  </a:lnTo>
                  <a:lnTo>
                    <a:pt x="16" y="834"/>
                  </a:lnTo>
                  <a:lnTo>
                    <a:pt x="14" y="850"/>
                  </a:lnTo>
                  <a:lnTo>
                    <a:pt x="16" y="858"/>
                  </a:lnTo>
                  <a:lnTo>
                    <a:pt x="16" y="860"/>
                  </a:lnTo>
                  <a:lnTo>
                    <a:pt x="18" y="860"/>
                  </a:lnTo>
                  <a:lnTo>
                    <a:pt x="20" y="860"/>
                  </a:lnTo>
                  <a:lnTo>
                    <a:pt x="22" y="858"/>
                  </a:lnTo>
                  <a:lnTo>
                    <a:pt x="22" y="852"/>
                  </a:lnTo>
                  <a:lnTo>
                    <a:pt x="24" y="846"/>
                  </a:lnTo>
                  <a:lnTo>
                    <a:pt x="24" y="844"/>
                  </a:lnTo>
                  <a:lnTo>
                    <a:pt x="26" y="844"/>
                  </a:lnTo>
                  <a:lnTo>
                    <a:pt x="30" y="846"/>
                  </a:lnTo>
                  <a:lnTo>
                    <a:pt x="30" y="850"/>
                  </a:lnTo>
                  <a:lnTo>
                    <a:pt x="32" y="860"/>
                  </a:lnTo>
                  <a:lnTo>
                    <a:pt x="34" y="868"/>
                  </a:lnTo>
                  <a:lnTo>
                    <a:pt x="36" y="868"/>
                  </a:lnTo>
                  <a:lnTo>
                    <a:pt x="38" y="868"/>
                  </a:lnTo>
                  <a:lnTo>
                    <a:pt x="42" y="868"/>
                  </a:lnTo>
                  <a:lnTo>
                    <a:pt x="44" y="868"/>
                  </a:lnTo>
                  <a:lnTo>
                    <a:pt x="48" y="878"/>
                  </a:lnTo>
                  <a:lnTo>
                    <a:pt x="50" y="890"/>
                  </a:lnTo>
                  <a:lnTo>
                    <a:pt x="50" y="902"/>
                  </a:lnTo>
                  <a:lnTo>
                    <a:pt x="50" y="910"/>
                  </a:lnTo>
                  <a:lnTo>
                    <a:pt x="46" y="918"/>
                  </a:lnTo>
                  <a:lnTo>
                    <a:pt x="42" y="926"/>
                  </a:lnTo>
                  <a:lnTo>
                    <a:pt x="38" y="930"/>
                  </a:lnTo>
                  <a:lnTo>
                    <a:pt x="40" y="932"/>
                  </a:lnTo>
                  <a:lnTo>
                    <a:pt x="42" y="936"/>
                  </a:lnTo>
                  <a:lnTo>
                    <a:pt x="46" y="940"/>
                  </a:lnTo>
                  <a:lnTo>
                    <a:pt x="50" y="948"/>
                  </a:lnTo>
                  <a:lnTo>
                    <a:pt x="54" y="958"/>
                  </a:lnTo>
                  <a:lnTo>
                    <a:pt x="58" y="972"/>
                  </a:lnTo>
                  <a:lnTo>
                    <a:pt x="60" y="986"/>
                  </a:lnTo>
                  <a:lnTo>
                    <a:pt x="60" y="1002"/>
                  </a:lnTo>
                  <a:lnTo>
                    <a:pt x="58" y="1016"/>
                  </a:lnTo>
                  <a:lnTo>
                    <a:pt x="54" y="1030"/>
                  </a:lnTo>
                  <a:lnTo>
                    <a:pt x="42" y="1066"/>
                  </a:lnTo>
                  <a:lnTo>
                    <a:pt x="40" y="1076"/>
                  </a:lnTo>
                  <a:lnTo>
                    <a:pt x="40" y="1086"/>
                  </a:lnTo>
                  <a:lnTo>
                    <a:pt x="40" y="1102"/>
                  </a:lnTo>
                  <a:lnTo>
                    <a:pt x="34" y="1122"/>
                  </a:lnTo>
                  <a:lnTo>
                    <a:pt x="28" y="1132"/>
                  </a:lnTo>
                  <a:lnTo>
                    <a:pt x="22" y="1142"/>
                  </a:lnTo>
                  <a:lnTo>
                    <a:pt x="16" y="1150"/>
                  </a:lnTo>
                  <a:lnTo>
                    <a:pt x="6" y="1156"/>
                  </a:lnTo>
                  <a:lnTo>
                    <a:pt x="2" y="1160"/>
                  </a:lnTo>
                  <a:lnTo>
                    <a:pt x="0" y="1162"/>
                  </a:lnTo>
                  <a:lnTo>
                    <a:pt x="2" y="1164"/>
                  </a:lnTo>
                  <a:lnTo>
                    <a:pt x="10" y="1164"/>
                  </a:lnTo>
                  <a:lnTo>
                    <a:pt x="14" y="1164"/>
                  </a:lnTo>
                  <a:lnTo>
                    <a:pt x="16" y="1168"/>
                  </a:lnTo>
                  <a:lnTo>
                    <a:pt x="22" y="1184"/>
                  </a:lnTo>
                  <a:lnTo>
                    <a:pt x="30" y="1202"/>
                  </a:lnTo>
                  <a:lnTo>
                    <a:pt x="34" y="1210"/>
                  </a:lnTo>
                  <a:lnTo>
                    <a:pt x="38" y="1218"/>
                  </a:lnTo>
                  <a:lnTo>
                    <a:pt x="40" y="1222"/>
                  </a:lnTo>
                  <a:lnTo>
                    <a:pt x="44" y="1224"/>
                  </a:lnTo>
                  <a:lnTo>
                    <a:pt x="46" y="1226"/>
                  </a:lnTo>
                  <a:lnTo>
                    <a:pt x="52" y="1226"/>
                  </a:lnTo>
                  <a:lnTo>
                    <a:pt x="64" y="1224"/>
                  </a:lnTo>
                  <a:lnTo>
                    <a:pt x="80" y="1224"/>
                  </a:lnTo>
                  <a:lnTo>
                    <a:pt x="62" y="1228"/>
                  </a:lnTo>
                  <a:lnTo>
                    <a:pt x="50" y="1232"/>
                  </a:lnTo>
                  <a:lnTo>
                    <a:pt x="40" y="1232"/>
                  </a:lnTo>
                  <a:lnTo>
                    <a:pt x="38" y="1232"/>
                  </a:lnTo>
                  <a:lnTo>
                    <a:pt x="36" y="1228"/>
                  </a:lnTo>
                  <a:lnTo>
                    <a:pt x="34" y="1226"/>
                  </a:lnTo>
                  <a:lnTo>
                    <a:pt x="32" y="1224"/>
                  </a:lnTo>
                  <a:lnTo>
                    <a:pt x="28" y="1228"/>
                  </a:lnTo>
                  <a:lnTo>
                    <a:pt x="26" y="1234"/>
                  </a:lnTo>
                  <a:lnTo>
                    <a:pt x="28" y="1242"/>
                  </a:lnTo>
                  <a:lnTo>
                    <a:pt x="30" y="1252"/>
                  </a:lnTo>
                  <a:lnTo>
                    <a:pt x="30" y="1260"/>
                  </a:lnTo>
                  <a:lnTo>
                    <a:pt x="30" y="1264"/>
                  </a:lnTo>
                  <a:lnTo>
                    <a:pt x="32" y="1264"/>
                  </a:lnTo>
                  <a:lnTo>
                    <a:pt x="34" y="1264"/>
                  </a:lnTo>
                  <a:lnTo>
                    <a:pt x="40" y="1262"/>
                  </a:lnTo>
                  <a:lnTo>
                    <a:pt x="44" y="1264"/>
                  </a:lnTo>
                  <a:lnTo>
                    <a:pt x="48" y="1266"/>
                  </a:lnTo>
                  <a:lnTo>
                    <a:pt x="54" y="1264"/>
                  </a:lnTo>
                  <a:lnTo>
                    <a:pt x="60" y="1264"/>
                  </a:lnTo>
                  <a:lnTo>
                    <a:pt x="64" y="1264"/>
                  </a:lnTo>
                  <a:lnTo>
                    <a:pt x="70" y="1268"/>
                  </a:lnTo>
                  <a:lnTo>
                    <a:pt x="76" y="1268"/>
                  </a:lnTo>
                  <a:lnTo>
                    <a:pt x="64" y="1270"/>
                  </a:lnTo>
                  <a:lnTo>
                    <a:pt x="54" y="1270"/>
                  </a:lnTo>
                  <a:lnTo>
                    <a:pt x="44" y="1268"/>
                  </a:lnTo>
                  <a:lnTo>
                    <a:pt x="38" y="1266"/>
                  </a:lnTo>
                  <a:lnTo>
                    <a:pt x="36" y="1268"/>
                  </a:lnTo>
                  <a:lnTo>
                    <a:pt x="32" y="1270"/>
                  </a:lnTo>
                  <a:lnTo>
                    <a:pt x="30" y="1274"/>
                  </a:lnTo>
                  <a:lnTo>
                    <a:pt x="30" y="1276"/>
                  </a:lnTo>
                  <a:lnTo>
                    <a:pt x="34" y="1278"/>
                  </a:lnTo>
                  <a:lnTo>
                    <a:pt x="38" y="1282"/>
                  </a:lnTo>
                  <a:lnTo>
                    <a:pt x="40" y="1286"/>
                  </a:lnTo>
                  <a:lnTo>
                    <a:pt x="42" y="1286"/>
                  </a:lnTo>
                  <a:lnTo>
                    <a:pt x="48" y="1284"/>
                  </a:lnTo>
                  <a:lnTo>
                    <a:pt x="52" y="1284"/>
                  </a:lnTo>
                  <a:lnTo>
                    <a:pt x="50" y="1290"/>
                  </a:lnTo>
                  <a:lnTo>
                    <a:pt x="46" y="1296"/>
                  </a:lnTo>
                  <a:lnTo>
                    <a:pt x="48" y="1298"/>
                  </a:lnTo>
                  <a:lnTo>
                    <a:pt x="48" y="1300"/>
                  </a:lnTo>
                  <a:lnTo>
                    <a:pt x="54" y="1300"/>
                  </a:lnTo>
                  <a:lnTo>
                    <a:pt x="60" y="1300"/>
                  </a:lnTo>
                  <a:lnTo>
                    <a:pt x="64" y="1298"/>
                  </a:lnTo>
                  <a:lnTo>
                    <a:pt x="64" y="1300"/>
                  </a:lnTo>
                  <a:lnTo>
                    <a:pt x="64" y="1306"/>
                  </a:lnTo>
                  <a:lnTo>
                    <a:pt x="64" y="1312"/>
                  </a:lnTo>
                  <a:lnTo>
                    <a:pt x="66" y="1312"/>
                  </a:lnTo>
                  <a:lnTo>
                    <a:pt x="70" y="1310"/>
                  </a:lnTo>
                  <a:lnTo>
                    <a:pt x="78" y="1304"/>
                  </a:lnTo>
                  <a:lnTo>
                    <a:pt x="86" y="1300"/>
                  </a:lnTo>
                  <a:lnTo>
                    <a:pt x="88" y="1300"/>
                  </a:lnTo>
                  <a:lnTo>
                    <a:pt x="88" y="1302"/>
                  </a:lnTo>
                  <a:lnTo>
                    <a:pt x="82" y="1304"/>
                  </a:lnTo>
                  <a:lnTo>
                    <a:pt x="80" y="1306"/>
                  </a:lnTo>
                  <a:lnTo>
                    <a:pt x="78" y="1308"/>
                  </a:lnTo>
                  <a:lnTo>
                    <a:pt x="80" y="1312"/>
                  </a:lnTo>
                  <a:lnTo>
                    <a:pt x="82" y="1318"/>
                  </a:lnTo>
                  <a:lnTo>
                    <a:pt x="84" y="1320"/>
                  </a:lnTo>
                  <a:lnTo>
                    <a:pt x="82" y="1324"/>
                  </a:lnTo>
                  <a:lnTo>
                    <a:pt x="80" y="1328"/>
                  </a:lnTo>
                  <a:lnTo>
                    <a:pt x="82" y="1328"/>
                  </a:lnTo>
                  <a:lnTo>
                    <a:pt x="84" y="1328"/>
                  </a:lnTo>
                  <a:lnTo>
                    <a:pt x="86" y="1332"/>
                  </a:lnTo>
                  <a:lnTo>
                    <a:pt x="86" y="1336"/>
                  </a:lnTo>
                  <a:lnTo>
                    <a:pt x="88" y="1336"/>
                  </a:lnTo>
                  <a:lnTo>
                    <a:pt x="90" y="1338"/>
                  </a:lnTo>
                  <a:lnTo>
                    <a:pt x="90" y="1342"/>
                  </a:lnTo>
                  <a:lnTo>
                    <a:pt x="92" y="1346"/>
                  </a:lnTo>
                  <a:lnTo>
                    <a:pt x="94" y="1344"/>
                  </a:lnTo>
                  <a:lnTo>
                    <a:pt x="100" y="1336"/>
                  </a:lnTo>
                  <a:lnTo>
                    <a:pt x="98" y="1344"/>
                  </a:lnTo>
                  <a:lnTo>
                    <a:pt x="100" y="1348"/>
                  </a:lnTo>
                  <a:lnTo>
                    <a:pt x="98" y="1352"/>
                  </a:lnTo>
                  <a:lnTo>
                    <a:pt x="100" y="1356"/>
                  </a:lnTo>
                  <a:lnTo>
                    <a:pt x="102" y="1356"/>
                  </a:lnTo>
                  <a:lnTo>
                    <a:pt x="104" y="1352"/>
                  </a:lnTo>
                  <a:lnTo>
                    <a:pt x="108" y="1346"/>
                  </a:lnTo>
                  <a:lnTo>
                    <a:pt x="110" y="1344"/>
                  </a:lnTo>
                  <a:lnTo>
                    <a:pt x="114" y="1344"/>
                  </a:lnTo>
                  <a:lnTo>
                    <a:pt x="116" y="1344"/>
                  </a:lnTo>
                  <a:lnTo>
                    <a:pt x="112" y="1346"/>
                  </a:lnTo>
                  <a:lnTo>
                    <a:pt x="110" y="1350"/>
                  </a:lnTo>
                  <a:lnTo>
                    <a:pt x="110" y="1354"/>
                  </a:lnTo>
                  <a:lnTo>
                    <a:pt x="110" y="1358"/>
                  </a:lnTo>
                  <a:lnTo>
                    <a:pt x="112" y="1360"/>
                  </a:lnTo>
                  <a:lnTo>
                    <a:pt x="114" y="1360"/>
                  </a:lnTo>
                  <a:lnTo>
                    <a:pt x="118" y="1356"/>
                  </a:lnTo>
                  <a:lnTo>
                    <a:pt x="118" y="1354"/>
                  </a:lnTo>
                  <a:lnTo>
                    <a:pt x="118" y="1362"/>
                  </a:lnTo>
                  <a:lnTo>
                    <a:pt x="118" y="1372"/>
                  </a:lnTo>
                  <a:lnTo>
                    <a:pt x="120" y="1378"/>
                  </a:lnTo>
                  <a:lnTo>
                    <a:pt x="124" y="1384"/>
                  </a:lnTo>
                  <a:lnTo>
                    <a:pt x="128" y="1386"/>
                  </a:lnTo>
                  <a:lnTo>
                    <a:pt x="134" y="1388"/>
                  </a:lnTo>
                  <a:lnTo>
                    <a:pt x="140" y="1392"/>
                  </a:lnTo>
                  <a:lnTo>
                    <a:pt x="146" y="1398"/>
                  </a:lnTo>
                  <a:lnTo>
                    <a:pt x="154" y="1402"/>
                  </a:lnTo>
                  <a:lnTo>
                    <a:pt x="158" y="1404"/>
                  </a:lnTo>
                  <a:lnTo>
                    <a:pt x="158" y="1406"/>
                  </a:lnTo>
                  <a:lnTo>
                    <a:pt x="158" y="1408"/>
                  </a:lnTo>
                  <a:lnTo>
                    <a:pt x="156" y="1414"/>
                  </a:lnTo>
                  <a:lnTo>
                    <a:pt x="154" y="1418"/>
                  </a:lnTo>
                  <a:lnTo>
                    <a:pt x="156" y="1420"/>
                  </a:lnTo>
                  <a:lnTo>
                    <a:pt x="162" y="1424"/>
                  </a:lnTo>
                  <a:lnTo>
                    <a:pt x="166" y="1426"/>
                  </a:lnTo>
                  <a:lnTo>
                    <a:pt x="166" y="1430"/>
                  </a:lnTo>
                  <a:lnTo>
                    <a:pt x="168" y="1432"/>
                  </a:lnTo>
                  <a:lnTo>
                    <a:pt x="170" y="1434"/>
                  </a:lnTo>
                  <a:lnTo>
                    <a:pt x="172" y="1436"/>
                  </a:lnTo>
                  <a:lnTo>
                    <a:pt x="170" y="1438"/>
                  </a:lnTo>
                  <a:lnTo>
                    <a:pt x="170" y="1440"/>
                  </a:lnTo>
                  <a:lnTo>
                    <a:pt x="170" y="1442"/>
                  </a:lnTo>
                  <a:lnTo>
                    <a:pt x="176" y="1448"/>
                  </a:lnTo>
                  <a:lnTo>
                    <a:pt x="176" y="1450"/>
                  </a:lnTo>
                  <a:lnTo>
                    <a:pt x="174" y="1450"/>
                  </a:lnTo>
                  <a:lnTo>
                    <a:pt x="172" y="1452"/>
                  </a:lnTo>
                  <a:lnTo>
                    <a:pt x="170" y="1454"/>
                  </a:lnTo>
                  <a:lnTo>
                    <a:pt x="172" y="1458"/>
                  </a:lnTo>
                  <a:lnTo>
                    <a:pt x="174" y="1462"/>
                  </a:lnTo>
                  <a:lnTo>
                    <a:pt x="176" y="1462"/>
                  </a:lnTo>
                  <a:lnTo>
                    <a:pt x="180" y="1462"/>
                  </a:lnTo>
                  <a:lnTo>
                    <a:pt x="186" y="1464"/>
                  </a:lnTo>
                  <a:lnTo>
                    <a:pt x="182" y="1468"/>
                  </a:lnTo>
                  <a:lnTo>
                    <a:pt x="178" y="1470"/>
                  </a:lnTo>
                  <a:lnTo>
                    <a:pt x="172" y="1470"/>
                  </a:lnTo>
                  <a:lnTo>
                    <a:pt x="170" y="1468"/>
                  </a:lnTo>
                  <a:lnTo>
                    <a:pt x="170" y="1472"/>
                  </a:lnTo>
                  <a:lnTo>
                    <a:pt x="174" y="1480"/>
                  </a:lnTo>
                  <a:lnTo>
                    <a:pt x="178" y="1482"/>
                  </a:lnTo>
                  <a:lnTo>
                    <a:pt x="182" y="1482"/>
                  </a:lnTo>
                  <a:lnTo>
                    <a:pt x="184" y="1486"/>
                  </a:lnTo>
                  <a:lnTo>
                    <a:pt x="186" y="1492"/>
                  </a:lnTo>
                  <a:lnTo>
                    <a:pt x="184" y="1494"/>
                  </a:lnTo>
                  <a:lnTo>
                    <a:pt x="182" y="1496"/>
                  </a:lnTo>
                  <a:lnTo>
                    <a:pt x="182" y="1498"/>
                  </a:lnTo>
                  <a:lnTo>
                    <a:pt x="186" y="1502"/>
                  </a:lnTo>
                  <a:lnTo>
                    <a:pt x="192" y="1504"/>
                  </a:lnTo>
                  <a:lnTo>
                    <a:pt x="196" y="1506"/>
                  </a:lnTo>
                  <a:lnTo>
                    <a:pt x="202" y="1510"/>
                  </a:lnTo>
                  <a:lnTo>
                    <a:pt x="204" y="1512"/>
                  </a:lnTo>
                  <a:lnTo>
                    <a:pt x="204" y="1514"/>
                  </a:lnTo>
                  <a:lnTo>
                    <a:pt x="202" y="1518"/>
                  </a:lnTo>
                  <a:lnTo>
                    <a:pt x="200" y="1520"/>
                  </a:lnTo>
                  <a:lnTo>
                    <a:pt x="202" y="1520"/>
                  </a:lnTo>
                  <a:lnTo>
                    <a:pt x="208" y="1524"/>
                  </a:lnTo>
                  <a:lnTo>
                    <a:pt x="228" y="1534"/>
                  </a:lnTo>
                  <a:lnTo>
                    <a:pt x="236" y="1538"/>
                  </a:lnTo>
                  <a:lnTo>
                    <a:pt x="242" y="1546"/>
                  </a:lnTo>
                  <a:lnTo>
                    <a:pt x="246" y="1552"/>
                  </a:lnTo>
                  <a:lnTo>
                    <a:pt x="250" y="1556"/>
                  </a:lnTo>
                  <a:lnTo>
                    <a:pt x="260" y="1562"/>
                  </a:lnTo>
                  <a:lnTo>
                    <a:pt x="268" y="1566"/>
                  </a:lnTo>
                  <a:lnTo>
                    <a:pt x="270" y="1570"/>
                  </a:lnTo>
                  <a:lnTo>
                    <a:pt x="272" y="1574"/>
                  </a:lnTo>
                  <a:lnTo>
                    <a:pt x="272" y="1576"/>
                  </a:lnTo>
                  <a:lnTo>
                    <a:pt x="274" y="1578"/>
                  </a:lnTo>
                  <a:lnTo>
                    <a:pt x="282" y="1582"/>
                  </a:lnTo>
                  <a:lnTo>
                    <a:pt x="294" y="1590"/>
                  </a:lnTo>
                  <a:lnTo>
                    <a:pt x="302" y="1596"/>
                  </a:lnTo>
                  <a:lnTo>
                    <a:pt x="310" y="1606"/>
                  </a:lnTo>
                  <a:lnTo>
                    <a:pt x="328" y="1626"/>
                  </a:lnTo>
                  <a:lnTo>
                    <a:pt x="346" y="1644"/>
                  </a:lnTo>
                  <a:lnTo>
                    <a:pt x="364" y="1654"/>
                  </a:lnTo>
                  <a:lnTo>
                    <a:pt x="380" y="1660"/>
                  </a:lnTo>
                  <a:lnTo>
                    <a:pt x="388" y="1664"/>
                  </a:lnTo>
                  <a:lnTo>
                    <a:pt x="392" y="1668"/>
                  </a:lnTo>
                  <a:lnTo>
                    <a:pt x="396" y="1670"/>
                  </a:lnTo>
                  <a:lnTo>
                    <a:pt x="402" y="1672"/>
                  </a:lnTo>
                  <a:lnTo>
                    <a:pt x="408" y="1670"/>
                  </a:lnTo>
                  <a:lnTo>
                    <a:pt x="412" y="1666"/>
                  </a:lnTo>
                  <a:lnTo>
                    <a:pt x="422" y="1658"/>
                  </a:lnTo>
                  <a:lnTo>
                    <a:pt x="436" y="1648"/>
                  </a:lnTo>
                  <a:lnTo>
                    <a:pt x="448" y="1642"/>
                  </a:lnTo>
                  <a:lnTo>
                    <a:pt x="462" y="1638"/>
                  </a:lnTo>
                  <a:lnTo>
                    <a:pt x="488" y="1634"/>
                  </a:lnTo>
                  <a:lnTo>
                    <a:pt x="504" y="1632"/>
                  </a:lnTo>
                  <a:lnTo>
                    <a:pt x="516" y="1632"/>
                  </a:lnTo>
                  <a:lnTo>
                    <a:pt x="530" y="1630"/>
                  </a:lnTo>
                  <a:lnTo>
                    <a:pt x="540" y="1628"/>
                  </a:lnTo>
                  <a:lnTo>
                    <a:pt x="554" y="1630"/>
                  </a:lnTo>
                  <a:lnTo>
                    <a:pt x="566" y="1630"/>
                  </a:lnTo>
                  <a:lnTo>
                    <a:pt x="572" y="1630"/>
                  </a:lnTo>
                  <a:lnTo>
                    <a:pt x="576" y="1630"/>
                  </a:lnTo>
                  <a:lnTo>
                    <a:pt x="580" y="1630"/>
                  </a:lnTo>
                  <a:lnTo>
                    <a:pt x="590" y="1632"/>
                  </a:lnTo>
                  <a:lnTo>
                    <a:pt x="592" y="1632"/>
                  </a:lnTo>
                  <a:lnTo>
                    <a:pt x="590" y="1632"/>
                  </a:lnTo>
                  <a:lnTo>
                    <a:pt x="582" y="1634"/>
                  </a:lnTo>
                  <a:lnTo>
                    <a:pt x="578" y="1634"/>
                  </a:lnTo>
                  <a:lnTo>
                    <a:pt x="576" y="1636"/>
                  </a:lnTo>
                  <a:lnTo>
                    <a:pt x="578" y="1636"/>
                  </a:lnTo>
                  <a:lnTo>
                    <a:pt x="594" y="1640"/>
                  </a:lnTo>
                  <a:lnTo>
                    <a:pt x="606" y="1644"/>
                  </a:lnTo>
                  <a:lnTo>
                    <a:pt x="618" y="1650"/>
                  </a:lnTo>
                  <a:lnTo>
                    <a:pt x="622" y="1652"/>
                  </a:lnTo>
                  <a:lnTo>
                    <a:pt x="626" y="1652"/>
                  </a:lnTo>
                  <a:lnTo>
                    <a:pt x="636" y="1644"/>
                  </a:lnTo>
                  <a:lnTo>
                    <a:pt x="648" y="1636"/>
                  </a:lnTo>
                  <a:lnTo>
                    <a:pt x="656" y="1632"/>
                  </a:lnTo>
                  <a:lnTo>
                    <a:pt x="664" y="1630"/>
                  </a:lnTo>
                  <a:lnTo>
                    <a:pt x="674" y="1628"/>
                  </a:lnTo>
                  <a:lnTo>
                    <a:pt x="680" y="1624"/>
                  </a:lnTo>
                  <a:lnTo>
                    <a:pt x="690" y="1614"/>
                  </a:lnTo>
                  <a:lnTo>
                    <a:pt x="698" y="1610"/>
                  </a:lnTo>
                  <a:lnTo>
                    <a:pt x="706" y="1606"/>
                  </a:lnTo>
                  <a:lnTo>
                    <a:pt x="716" y="1602"/>
                  </a:lnTo>
                  <a:lnTo>
                    <a:pt x="730" y="1600"/>
                  </a:lnTo>
                  <a:lnTo>
                    <a:pt x="742" y="1598"/>
                  </a:lnTo>
                  <a:lnTo>
                    <a:pt x="746" y="1596"/>
                  </a:lnTo>
                  <a:lnTo>
                    <a:pt x="746" y="1594"/>
                  </a:lnTo>
                  <a:lnTo>
                    <a:pt x="748" y="1590"/>
                  </a:lnTo>
                  <a:lnTo>
                    <a:pt x="754" y="1586"/>
                  </a:lnTo>
                  <a:lnTo>
                    <a:pt x="760" y="1582"/>
                  </a:lnTo>
                  <a:lnTo>
                    <a:pt x="774" y="1578"/>
                  </a:lnTo>
                  <a:lnTo>
                    <a:pt x="796" y="1574"/>
                  </a:lnTo>
                  <a:lnTo>
                    <a:pt x="814" y="1572"/>
                  </a:lnTo>
                  <a:lnTo>
                    <a:pt x="832" y="1572"/>
                  </a:lnTo>
                  <a:lnTo>
                    <a:pt x="838" y="1570"/>
                  </a:lnTo>
                  <a:lnTo>
                    <a:pt x="840" y="1568"/>
                  </a:lnTo>
                  <a:lnTo>
                    <a:pt x="844" y="1564"/>
                  </a:lnTo>
                  <a:lnTo>
                    <a:pt x="846" y="1566"/>
                  </a:lnTo>
                  <a:lnTo>
                    <a:pt x="850" y="1570"/>
                  </a:lnTo>
                  <a:lnTo>
                    <a:pt x="860" y="1570"/>
                  </a:lnTo>
                  <a:lnTo>
                    <a:pt x="874" y="1570"/>
                  </a:lnTo>
                  <a:lnTo>
                    <a:pt x="884" y="1574"/>
                  </a:lnTo>
                  <a:lnTo>
                    <a:pt x="890" y="1578"/>
                  </a:lnTo>
                  <a:lnTo>
                    <a:pt x="896" y="1584"/>
                  </a:lnTo>
                  <a:lnTo>
                    <a:pt x="908" y="1600"/>
                  </a:lnTo>
                  <a:lnTo>
                    <a:pt x="916" y="1616"/>
                  </a:lnTo>
                  <a:lnTo>
                    <a:pt x="924" y="1642"/>
                  </a:lnTo>
                  <a:lnTo>
                    <a:pt x="930" y="1654"/>
                  </a:lnTo>
                  <a:lnTo>
                    <a:pt x="936" y="1664"/>
                  </a:lnTo>
                  <a:lnTo>
                    <a:pt x="944" y="1670"/>
                  </a:lnTo>
                  <a:lnTo>
                    <a:pt x="948" y="1672"/>
                  </a:lnTo>
                  <a:lnTo>
                    <a:pt x="954" y="1672"/>
                  </a:lnTo>
                  <a:lnTo>
                    <a:pt x="970" y="1672"/>
                  </a:lnTo>
                  <a:lnTo>
                    <a:pt x="976" y="1672"/>
                  </a:lnTo>
                  <a:lnTo>
                    <a:pt x="984" y="1670"/>
                  </a:lnTo>
                  <a:lnTo>
                    <a:pt x="990" y="1668"/>
                  </a:lnTo>
                  <a:lnTo>
                    <a:pt x="992" y="1664"/>
                  </a:lnTo>
                  <a:lnTo>
                    <a:pt x="992" y="1662"/>
                  </a:lnTo>
                  <a:lnTo>
                    <a:pt x="992" y="1658"/>
                  </a:lnTo>
                  <a:lnTo>
                    <a:pt x="992" y="1656"/>
                  </a:lnTo>
                  <a:lnTo>
                    <a:pt x="996" y="1658"/>
                  </a:lnTo>
                  <a:lnTo>
                    <a:pt x="1002" y="1660"/>
                  </a:lnTo>
                  <a:lnTo>
                    <a:pt x="1008" y="1662"/>
                  </a:lnTo>
                  <a:lnTo>
                    <a:pt x="1018" y="1662"/>
                  </a:lnTo>
                  <a:lnTo>
                    <a:pt x="1028" y="1662"/>
                  </a:lnTo>
                  <a:lnTo>
                    <a:pt x="1036" y="1660"/>
                  </a:lnTo>
                  <a:lnTo>
                    <a:pt x="1040" y="1656"/>
                  </a:lnTo>
                  <a:lnTo>
                    <a:pt x="1042" y="1654"/>
                  </a:lnTo>
                  <a:lnTo>
                    <a:pt x="1042" y="1650"/>
                  </a:lnTo>
                  <a:lnTo>
                    <a:pt x="1036" y="1640"/>
                  </a:lnTo>
                  <a:lnTo>
                    <a:pt x="1048" y="1650"/>
                  </a:lnTo>
                  <a:lnTo>
                    <a:pt x="1048" y="1658"/>
                  </a:lnTo>
                  <a:lnTo>
                    <a:pt x="1050" y="1662"/>
                  </a:lnTo>
                  <a:lnTo>
                    <a:pt x="1052" y="1662"/>
                  </a:lnTo>
                  <a:lnTo>
                    <a:pt x="1056" y="1662"/>
                  </a:lnTo>
                  <a:lnTo>
                    <a:pt x="1060" y="1660"/>
                  </a:lnTo>
                  <a:lnTo>
                    <a:pt x="1062" y="1662"/>
                  </a:lnTo>
                  <a:lnTo>
                    <a:pt x="1064" y="1666"/>
                  </a:lnTo>
                  <a:lnTo>
                    <a:pt x="1066" y="1682"/>
                  </a:lnTo>
                  <a:lnTo>
                    <a:pt x="1070" y="1684"/>
                  </a:lnTo>
                  <a:lnTo>
                    <a:pt x="1076" y="1688"/>
                  </a:lnTo>
                  <a:lnTo>
                    <a:pt x="1082" y="1690"/>
                  </a:lnTo>
                  <a:lnTo>
                    <a:pt x="1084" y="1690"/>
                  </a:lnTo>
                  <a:lnTo>
                    <a:pt x="1086" y="1686"/>
                  </a:lnTo>
                  <a:lnTo>
                    <a:pt x="1088" y="1684"/>
                  </a:lnTo>
                  <a:lnTo>
                    <a:pt x="1090" y="1684"/>
                  </a:lnTo>
                  <a:lnTo>
                    <a:pt x="1094" y="1684"/>
                  </a:lnTo>
                  <a:lnTo>
                    <a:pt x="1096" y="1688"/>
                  </a:lnTo>
                  <a:lnTo>
                    <a:pt x="1096" y="1690"/>
                  </a:lnTo>
                  <a:lnTo>
                    <a:pt x="1094" y="1694"/>
                  </a:lnTo>
                  <a:lnTo>
                    <a:pt x="1090" y="1698"/>
                  </a:lnTo>
                  <a:lnTo>
                    <a:pt x="1090" y="1700"/>
                  </a:lnTo>
                  <a:lnTo>
                    <a:pt x="1092" y="1704"/>
                  </a:lnTo>
                  <a:lnTo>
                    <a:pt x="1096" y="1708"/>
                  </a:lnTo>
                  <a:lnTo>
                    <a:pt x="1094" y="1708"/>
                  </a:lnTo>
                  <a:lnTo>
                    <a:pt x="1094" y="1712"/>
                  </a:lnTo>
                  <a:lnTo>
                    <a:pt x="1100" y="1718"/>
                  </a:lnTo>
                  <a:lnTo>
                    <a:pt x="1102" y="1724"/>
                  </a:lnTo>
                  <a:lnTo>
                    <a:pt x="1104" y="1730"/>
                  </a:lnTo>
                  <a:lnTo>
                    <a:pt x="1104" y="1742"/>
                  </a:lnTo>
                  <a:lnTo>
                    <a:pt x="1100" y="1756"/>
                  </a:lnTo>
                  <a:lnTo>
                    <a:pt x="1100" y="1770"/>
                  </a:lnTo>
                  <a:lnTo>
                    <a:pt x="1100" y="1782"/>
                  </a:lnTo>
                  <a:lnTo>
                    <a:pt x="1098" y="1790"/>
                  </a:lnTo>
                  <a:lnTo>
                    <a:pt x="1094" y="1798"/>
                  </a:lnTo>
                  <a:lnTo>
                    <a:pt x="1090" y="1804"/>
                  </a:lnTo>
                  <a:lnTo>
                    <a:pt x="1084" y="1814"/>
                  </a:lnTo>
                  <a:lnTo>
                    <a:pt x="1082" y="1820"/>
                  </a:lnTo>
                  <a:lnTo>
                    <a:pt x="1082" y="1824"/>
                  </a:lnTo>
                  <a:lnTo>
                    <a:pt x="1082" y="1828"/>
                  </a:lnTo>
                  <a:lnTo>
                    <a:pt x="1084" y="1828"/>
                  </a:lnTo>
                  <a:lnTo>
                    <a:pt x="1088" y="1828"/>
                  </a:lnTo>
                  <a:lnTo>
                    <a:pt x="1092" y="1828"/>
                  </a:lnTo>
                  <a:lnTo>
                    <a:pt x="1090" y="1834"/>
                  </a:lnTo>
                  <a:lnTo>
                    <a:pt x="1090" y="1838"/>
                  </a:lnTo>
                  <a:lnTo>
                    <a:pt x="1092" y="1844"/>
                  </a:lnTo>
                  <a:lnTo>
                    <a:pt x="1094" y="1848"/>
                  </a:lnTo>
                  <a:lnTo>
                    <a:pt x="1092" y="1852"/>
                  </a:lnTo>
                  <a:lnTo>
                    <a:pt x="1090" y="1852"/>
                  </a:lnTo>
                  <a:lnTo>
                    <a:pt x="1088" y="1850"/>
                  </a:lnTo>
                  <a:lnTo>
                    <a:pt x="1086" y="1848"/>
                  </a:lnTo>
                  <a:lnTo>
                    <a:pt x="1082" y="1852"/>
                  </a:lnTo>
                  <a:lnTo>
                    <a:pt x="1082" y="1854"/>
                  </a:lnTo>
                  <a:lnTo>
                    <a:pt x="1082" y="1858"/>
                  </a:lnTo>
                  <a:lnTo>
                    <a:pt x="1086" y="1864"/>
                  </a:lnTo>
                  <a:lnTo>
                    <a:pt x="1094" y="1868"/>
                  </a:lnTo>
                  <a:lnTo>
                    <a:pt x="1106" y="1872"/>
                  </a:lnTo>
                  <a:lnTo>
                    <a:pt x="1110" y="1872"/>
                  </a:lnTo>
                  <a:lnTo>
                    <a:pt x="1110" y="1874"/>
                  </a:lnTo>
                  <a:lnTo>
                    <a:pt x="1110" y="1876"/>
                  </a:lnTo>
                  <a:lnTo>
                    <a:pt x="1106" y="1878"/>
                  </a:lnTo>
                  <a:lnTo>
                    <a:pt x="1104" y="1880"/>
                  </a:lnTo>
                  <a:lnTo>
                    <a:pt x="1098" y="1880"/>
                  </a:lnTo>
                  <a:lnTo>
                    <a:pt x="1094" y="1878"/>
                  </a:lnTo>
                  <a:lnTo>
                    <a:pt x="1090" y="1874"/>
                  </a:lnTo>
                  <a:lnTo>
                    <a:pt x="1084" y="1868"/>
                  </a:lnTo>
                  <a:lnTo>
                    <a:pt x="1082" y="1866"/>
                  </a:lnTo>
                  <a:lnTo>
                    <a:pt x="1080" y="1866"/>
                  </a:lnTo>
                  <a:lnTo>
                    <a:pt x="1080" y="1872"/>
                  </a:lnTo>
                  <a:lnTo>
                    <a:pt x="1080" y="1882"/>
                  </a:lnTo>
                  <a:lnTo>
                    <a:pt x="1078" y="1898"/>
                  </a:lnTo>
                  <a:lnTo>
                    <a:pt x="1074" y="1910"/>
                  </a:lnTo>
                  <a:lnTo>
                    <a:pt x="1072" y="1914"/>
                  </a:lnTo>
                  <a:lnTo>
                    <a:pt x="1068" y="1918"/>
                  </a:lnTo>
                  <a:lnTo>
                    <a:pt x="1066" y="1918"/>
                  </a:lnTo>
                  <a:lnTo>
                    <a:pt x="1062" y="1914"/>
                  </a:lnTo>
                  <a:lnTo>
                    <a:pt x="1056" y="1910"/>
                  </a:lnTo>
                  <a:lnTo>
                    <a:pt x="1056" y="1912"/>
                  </a:lnTo>
                  <a:lnTo>
                    <a:pt x="1058" y="1922"/>
                  </a:lnTo>
                  <a:lnTo>
                    <a:pt x="1064" y="1936"/>
                  </a:lnTo>
                  <a:lnTo>
                    <a:pt x="1076" y="1964"/>
                  </a:lnTo>
                  <a:lnTo>
                    <a:pt x="1080" y="1974"/>
                  </a:lnTo>
                  <a:lnTo>
                    <a:pt x="1084" y="1982"/>
                  </a:lnTo>
                  <a:lnTo>
                    <a:pt x="1088" y="1988"/>
                  </a:lnTo>
                  <a:lnTo>
                    <a:pt x="1094" y="1996"/>
                  </a:lnTo>
                  <a:lnTo>
                    <a:pt x="1100" y="2006"/>
                  </a:lnTo>
                  <a:lnTo>
                    <a:pt x="1110" y="2018"/>
                  </a:lnTo>
                  <a:lnTo>
                    <a:pt x="1132" y="2042"/>
                  </a:lnTo>
                  <a:lnTo>
                    <a:pt x="1140" y="2052"/>
                  </a:lnTo>
                  <a:lnTo>
                    <a:pt x="1142" y="2058"/>
                  </a:lnTo>
                  <a:lnTo>
                    <a:pt x="1150" y="2070"/>
                  </a:lnTo>
                  <a:lnTo>
                    <a:pt x="1172" y="2092"/>
                  </a:lnTo>
                  <a:lnTo>
                    <a:pt x="1178" y="2100"/>
                  </a:lnTo>
                  <a:lnTo>
                    <a:pt x="1180" y="2110"/>
                  </a:lnTo>
                  <a:lnTo>
                    <a:pt x="1184" y="2118"/>
                  </a:lnTo>
                  <a:lnTo>
                    <a:pt x="1190" y="2128"/>
                  </a:lnTo>
                  <a:lnTo>
                    <a:pt x="1194" y="2136"/>
                  </a:lnTo>
                  <a:lnTo>
                    <a:pt x="1196" y="2142"/>
                  </a:lnTo>
                  <a:lnTo>
                    <a:pt x="1194" y="2148"/>
                  </a:lnTo>
                  <a:lnTo>
                    <a:pt x="1194" y="2156"/>
                  </a:lnTo>
                  <a:lnTo>
                    <a:pt x="1194" y="2158"/>
                  </a:lnTo>
                  <a:lnTo>
                    <a:pt x="1196" y="2160"/>
                  </a:lnTo>
                  <a:lnTo>
                    <a:pt x="1198" y="2164"/>
                  </a:lnTo>
                  <a:lnTo>
                    <a:pt x="1200" y="2168"/>
                  </a:lnTo>
                  <a:lnTo>
                    <a:pt x="1204" y="2170"/>
                  </a:lnTo>
                  <a:lnTo>
                    <a:pt x="1208" y="2168"/>
                  </a:lnTo>
                  <a:lnTo>
                    <a:pt x="1216" y="2164"/>
                  </a:lnTo>
                  <a:lnTo>
                    <a:pt x="1222" y="2162"/>
                  </a:lnTo>
                  <a:lnTo>
                    <a:pt x="1226" y="2162"/>
                  </a:lnTo>
                  <a:lnTo>
                    <a:pt x="1234" y="2162"/>
                  </a:lnTo>
                  <a:lnTo>
                    <a:pt x="1226" y="2168"/>
                  </a:lnTo>
                  <a:lnTo>
                    <a:pt x="1220" y="2172"/>
                  </a:lnTo>
                  <a:lnTo>
                    <a:pt x="1208" y="2174"/>
                  </a:lnTo>
                  <a:lnTo>
                    <a:pt x="1202" y="2176"/>
                  </a:lnTo>
                  <a:lnTo>
                    <a:pt x="1200" y="2178"/>
                  </a:lnTo>
                  <a:lnTo>
                    <a:pt x="1202" y="2182"/>
                  </a:lnTo>
                  <a:lnTo>
                    <a:pt x="1212" y="2202"/>
                  </a:lnTo>
                  <a:lnTo>
                    <a:pt x="1226" y="2240"/>
                  </a:lnTo>
                  <a:lnTo>
                    <a:pt x="1232" y="2260"/>
                  </a:lnTo>
                  <a:lnTo>
                    <a:pt x="1238" y="2278"/>
                  </a:lnTo>
                  <a:lnTo>
                    <a:pt x="1238" y="2294"/>
                  </a:lnTo>
                  <a:lnTo>
                    <a:pt x="1236" y="2300"/>
                  </a:lnTo>
                  <a:lnTo>
                    <a:pt x="1234" y="2306"/>
                  </a:lnTo>
                  <a:lnTo>
                    <a:pt x="1230" y="2314"/>
                  </a:lnTo>
                  <a:lnTo>
                    <a:pt x="1230" y="2324"/>
                  </a:lnTo>
                  <a:lnTo>
                    <a:pt x="1230" y="2336"/>
                  </a:lnTo>
                  <a:lnTo>
                    <a:pt x="1234" y="2346"/>
                  </a:lnTo>
                  <a:lnTo>
                    <a:pt x="1246" y="2372"/>
                  </a:lnTo>
                  <a:lnTo>
                    <a:pt x="1256" y="2396"/>
                  </a:lnTo>
                  <a:lnTo>
                    <a:pt x="1260" y="2408"/>
                  </a:lnTo>
                  <a:lnTo>
                    <a:pt x="1262" y="2422"/>
                  </a:lnTo>
                  <a:lnTo>
                    <a:pt x="1262" y="2436"/>
                  </a:lnTo>
                  <a:lnTo>
                    <a:pt x="1262" y="2450"/>
                  </a:lnTo>
                  <a:lnTo>
                    <a:pt x="1258" y="2464"/>
                  </a:lnTo>
                  <a:lnTo>
                    <a:pt x="1254" y="2476"/>
                  </a:lnTo>
                  <a:lnTo>
                    <a:pt x="1246" y="2486"/>
                  </a:lnTo>
                  <a:lnTo>
                    <a:pt x="1238" y="2494"/>
                  </a:lnTo>
                  <a:lnTo>
                    <a:pt x="1230" y="2502"/>
                  </a:lnTo>
                  <a:lnTo>
                    <a:pt x="1222" y="2510"/>
                  </a:lnTo>
                  <a:lnTo>
                    <a:pt x="1218" y="2518"/>
                  </a:lnTo>
                  <a:lnTo>
                    <a:pt x="1212" y="2528"/>
                  </a:lnTo>
                  <a:lnTo>
                    <a:pt x="1206" y="2548"/>
                  </a:lnTo>
                  <a:lnTo>
                    <a:pt x="1202" y="2570"/>
                  </a:lnTo>
                  <a:lnTo>
                    <a:pt x="1196" y="2610"/>
                  </a:lnTo>
                  <a:lnTo>
                    <a:pt x="1192" y="2626"/>
                  </a:lnTo>
                  <a:lnTo>
                    <a:pt x="1188" y="2640"/>
                  </a:lnTo>
                  <a:lnTo>
                    <a:pt x="1182" y="2652"/>
                  </a:lnTo>
                  <a:lnTo>
                    <a:pt x="1178" y="2662"/>
                  </a:lnTo>
                  <a:lnTo>
                    <a:pt x="1176" y="2670"/>
                  </a:lnTo>
                  <a:lnTo>
                    <a:pt x="1176" y="2680"/>
                  </a:lnTo>
                  <a:lnTo>
                    <a:pt x="1178" y="2700"/>
                  </a:lnTo>
                  <a:lnTo>
                    <a:pt x="1178" y="2712"/>
                  </a:lnTo>
                  <a:lnTo>
                    <a:pt x="1178" y="2726"/>
                  </a:lnTo>
                  <a:lnTo>
                    <a:pt x="1176" y="2736"/>
                  </a:lnTo>
                  <a:lnTo>
                    <a:pt x="1176" y="2746"/>
                  </a:lnTo>
                  <a:lnTo>
                    <a:pt x="1180" y="2764"/>
                  </a:lnTo>
                  <a:lnTo>
                    <a:pt x="1188" y="2784"/>
                  </a:lnTo>
                  <a:lnTo>
                    <a:pt x="1200" y="2804"/>
                  </a:lnTo>
                  <a:lnTo>
                    <a:pt x="1222" y="2850"/>
                  </a:lnTo>
                  <a:lnTo>
                    <a:pt x="1234" y="2876"/>
                  </a:lnTo>
                  <a:lnTo>
                    <a:pt x="1242" y="2904"/>
                  </a:lnTo>
                  <a:lnTo>
                    <a:pt x="1250" y="2930"/>
                  </a:lnTo>
                  <a:lnTo>
                    <a:pt x="1260" y="2946"/>
                  </a:lnTo>
                  <a:lnTo>
                    <a:pt x="1268" y="2958"/>
                  </a:lnTo>
                  <a:lnTo>
                    <a:pt x="1276" y="2966"/>
                  </a:lnTo>
                  <a:lnTo>
                    <a:pt x="1284" y="2976"/>
                  </a:lnTo>
                  <a:lnTo>
                    <a:pt x="1288" y="2990"/>
                  </a:lnTo>
                  <a:lnTo>
                    <a:pt x="1288" y="3008"/>
                  </a:lnTo>
                  <a:lnTo>
                    <a:pt x="1286" y="3038"/>
                  </a:lnTo>
                  <a:lnTo>
                    <a:pt x="1284" y="3052"/>
                  </a:lnTo>
                  <a:lnTo>
                    <a:pt x="1286" y="3070"/>
                  </a:lnTo>
                  <a:lnTo>
                    <a:pt x="1294" y="3112"/>
                  </a:lnTo>
                  <a:lnTo>
                    <a:pt x="1304" y="3156"/>
                  </a:lnTo>
                  <a:lnTo>
                    <a:pt x="1308" y="3178"/>
                  </a:lnTo>
                  <a:lnTo>
                    <a:pt x="1310" y="3200"/>
                  </a:lnTo>
                  <a:lnTo>
                    <a:pt x="1312" y="3220"/>
                  </a:lnTo>
                  <a:lnTo>
                    <a:pt x="1318" y="3238"/>
                  </a:lnTo>
                  <a:lnTo>
                    <a:pt x="1326" y="3254"/>
                  </a:lnTo>
                  <a:lnTo>
                    <a:pt x="1334" y="3266"/>
                  </a:lnTo>
                  <a:lnTo>
                    <a:pt x="1342" y="3278"/>
                  </a:lnTo>
                  <a:lnTo>
                    <a:pt x="1352" y="3286"/>
                  </a:lnTo>
                  <a:lnTo>
                    <a:pt x="1366" y="3302"/>
                  </a:lnTo>
                  <a:lnTo>
                    <a:pt x="1376" y="3316"/>
                  </a:lnTo>
                  <a:lnTo>
                    <a:pt x="1384" y="3330"/>
                  </a:lnTo>
                  <a:lnTo>
                    <a:pt x="1388" y="3344"/>
                  </a:lnTo>
                  <a:lnTo>
                    <a:pt x="1392" y="3358"/>
                  </a:lnTo>
                  <a:lnTo>
                    <a:pt x="1396" y="3374"/>
                  </a:lnTo>
                  <a:lnTo>
                    <a:pt x="1402" y="3392"/>
                  </a:lnTo>
                  <a:lnTo>
                    <a:pt x="1410" y="3414"/>
                  </a:lnTo>
                  <a:lnTo>
                    <a:pt x="1424" y="3436"/>
                  </a:lnTo>
                  <a:lnTo>
                    <a:pt x="1436" y="3458"/>
                  </a:lnTo>
                  <a:lnTo>
                    <a:pt x="1444" y="3474"/>
                  </a:lnTo>
                  <a:lnTo>
                    <a:pt x="1446" y="3490"/>
                  </a:lnTo>
                  <a:lnTo>
                    <a:pt x="1446" y="3502"/>
                  </a:lnTo>
                  <a:lnTo>
                    <a:pt x="1442" y="3510"/>
                  </a:lnTo>
                  <a:lnTo>
                    <a:pt x="1438" y="3516"/>
                  </a:lnTo>
                  <a:lnTo>
                    <a:pt x="1434" y="3518"/>
                  </a:lnTo>
                  <a:lnTo>
                    <a:pt x="1432" y="3518"/>
                  </a:lnTo>
                  <a:lnTo>
                    <a:pt x="1430" y="3516"/>
                  </a:lnTo>
                  <a:lnTo>
                    <a:pt x="1426" y="3518"/>
                  </a:lnTo>
                  <a:lnTo>
                    <a:pt x="1424" y="3518"/>
                  </a:lnTo>
                  <a:lnTo>
                    <a:pt x="1424" y="3522"/>
                  </a:lnTo>
                  <a:lnTo>
                    <a:pt x="1424" y="3526"/>
                  </a:lnTo>
                  <a:lnTo>
                    <a:pt x="1424" y="3532"/>
                  </a:lnTo>
                  <a:lnTo>
                    <a:pt x="1428" y="3538"/>
                  </a:lnTo>
                  <a:lnTo>
                    <a:pt x="1432" y="3546"/>
                  </a:lnTo>
                  <a:lnTo>
                    <a:pt x="1442" y="3558"/>
                  </a:lnTo>
                  <a:lnTo>
                    <a:pt x="1446" y="3568"/>
                  </a:lnTo>
                  <a:lnTo>
                    <a:pt x="1448" y="3574"/>
                  </a:lnTo>
                  <a:lnTo>
                    <a:pt x="1444" y="3580"/>
                  </a:lnTo>
                  <a:lnTo>
                    <a:pt x="1442" y="3582"/>
                  </a:lnTo>
                  <a:lnTo>
                    <a:pt x="1442" y="3588"/>
                  </a:lnTo>
                  <a:lnTo>
                    <a:pt x="1442" y="3596"/>
                  </a:lnTo>
                  <a:lnTo>
                    <a:pt x="1446" y="3602"/>
                  </a:lnTo>
                  <a:lnTo>
                    <a:pt x="1448" y="3602"/>
                  </a:lnTo>
                  <a:lnTo>
                    <a:pt x="1448" y="3598"/>
                  </a:lnTo>
                  <a:lnTo>
                    <a:pt x="1450" y="3594"/>
                  </a:lnTo>
                  <a:lnTo>
                    <a:pt x="1452" y="3590"/>
                  </a:lnTo>
                  <a:lnTo>
                    <a:pt x="1454" y="3588"/>
                  </a:lnTo>
                  <a:lnTo>
                    <a:pt x="1458" y="3588"/>
                  </a:lnTo>
                  <a:lnTo>
                    <a:pt x="1460" y="3588"/>
                  </a:lnTo>
                  <a:lnTo>
                    <a:pt x="1462" y="3590"/>
                  </a:lnTo>
                  <a:lnTo>
                    <a:pt x="1464" y="3592"/>
                  </a:lnTo>
                  <a:lnTo>
                    <a:pt x="1464" y="3596"/>
                  </a:lnTo>
                  <a:lnTo>
                    <a:pt x="1464" y="3602"/>
                  </a:lnTo>
                  <a:lnTo>
                    <a:pt x="1466" y="3604"/>
                  </a:lnTo>
                  <a:lnTo>
                    <a:pt x="1470" y="3606"/>
                  </a:lnTo>
                  <a:lnTo>
                    <a:pt x="1472" y="3606"/>
                  </a:lnTo>
                  <a:lnTo>
                    <a:pt x="1478" y="3606"/>
                  </a:lnTo>
                  <a:lnTo>
                    <a:pt x="1480" y="3608"/>
                  </a:lnTo>
                  <a:lnTo>
                    <a:pt x="1482" y="3612"/>
                  </a:lnTo>
                  <a:lnTo>
                    <a:pt x="1484" y="3618"/>
                  </a:lnTo>
                  <a:lnTo>
                    <a:pt x="1486" y="3620"/>
                  </a:lnTo>
                  <a:lnTo>
                    <a:pt x="1490" y="3620"/>
                  </a:lnTo>
                  <a:lnTo>
                    <a:pt x="1494" y="3624"/>
                  </a:lnTo>
                  <a:lnTo>
                    <a:pt x="1496" y="3628"/>
                  </a:lnTo>
                  <a:lnTo>
                    <a:pt x="1500" y="3626"/>
                  </a:lnTo>
                  <a:lnTo>
                    <a:pt x="1506" y="3626"/>
                  </a:lnTo>
                  <a:lnTo>
                    <a:pt x="1510" y="3626"/>
                  </a:lnTo>
                  <a:lnTo>
                    <a:pt x="1514" y="3628"/>
                  </a:lnTo>
                  <a:lnTo>
                    <a:pt x="1516" y="3626"/>
                  </a:lnTo>
                  <a:lnTo>
                    <a:pt x="1520" y="3620"/>
                  </a:lnTo>
                  <a:lnTo>
                    <a:pt x="1526" y="3612"/>
                  </a:lnTo>
                  <a:lnTo>
                    <a:pt x="1532" y="3610"/>
                  </a:lnTo>
                  <a:lnTo>
                    <a:pt x="1540" y="3608"/>
                  </a:lnTo>
                  <a:lnTo>
                    <a:pt x="1552" y="3606"/>
                  </a:lnTo>
                  <a:lnTo>
                    <a:pt x="1558" y="3608"/>
                  </a:lnTo>
                  <a:lnTo>
                    <a:pt x="1564" y="3608"/>
                  </a:lnTo>
                  <a:lnTo>
                    <a:pt x="1576" y="3604"/>
                  </a:lnTo>
                  <a:lnTo>
                    <a:pt x="1584" y="3602"/>
                  </a:lnTo>
                  <a:lnTo>
                    <a:pt x="1590" y="3598"/>
                  </a:lnTo>
                  <a:lnTo>
                    <a:pt x="1594" y="3592"/>
                  </a:lnTo>
                  <a:lnTo>
                    <a:pt x="1600" y="3586"/>
                  </a:lnTo>
                  <a:lnTo>
                    <a:pt x="1602" y="3586"/>
                  </a:lnTo>
                  <a:lnTo>
                    <a:pt x="1608" y="3584"/>
                  </a:lnTo>
                  <a:lnTo>
                    <a:pt x="1620" y="3584"/>
                  </a:lnTo>
                  <a:lnTo>
                    <a:pt x="1632" y="3588"/>
                  </a:lnTo>
                  <a:lnTo>
                    <a:pt x="1642" y="3590"/>
                  </a:lnTo>
                  <a:lnTo>
                    <a:pt x="1648" y="3590"/>
                  </a:lnTo>
                  <a:lnTo>
                    <a:pt x="1652" y="3586"/>
                  </a:lnTo>
                  <a:lnTo>
                    <a:pt x="1656" y="3586"/>
                  </a:lnTo>
                  <a:lnTo>
                    <a:pt x="1664" y="3586"/>
                  </a:lnTo>
                  <a:lnTo>
                    <a:pt x="1678" y="3592"/>
                  </a:lnTo>
                  <a:lnTo>
                    <a:pt x="1686" y="3594"/>
                  </a:lnTo>
                  <a:lnTo>
                    <a:pt x="1694" y="3594"/>
                  </a:lnTo>
                  <a:lnTo>
                    <a:pt x="1702" y="3594"/>
                  </a:lnTo>
                  <a:lnTo>
                    <a:pt x="1706" y="3590"/>
                  </a:lnTo>
                  <a:lnTo>
                    <a:pt x="1712" y="3584"/>
                  </a:lnTo>
                  <a:lnTo>
                    <a:pt x="1718" y="3582"/>
                  </a:lnTo>
                  <a:lnTo>
                    <a:pt x="1724" y="3584"/>
                  </a:lnTo>
                  <a:lnTo>
                    <a:pt x="1730" y="3584"/>
                  </a:lnTo>
                  <a:lnTo>
                    <a:pt x="1738" y="3586"/>
                  </a:lnTo>
                  <a:lnTo>
                    <a:pt x="1740" y="3584"/>
                  </a:lnTo>
                  <a:lnTo>
                    <a:pt x="1740" y="3580"/>
                  </a:lnTo>
                  <a:lnTo>
                    <a:pt x="1740" y="3574"/>
                  </a:lnTo>
                  <a:lnTo>
                    <a:pt x="1742" y="3572"/>
                  </a:lnTo>
                  <a:lnTo>
                    <a:pt x="1748" y="3572"/>
                  </a:lnTo>
                  <a:lnTo>
                    <a:pt x="1756" y="3572"/>
                  </a:lnTo>
                  <a:lnTo>
                    <a:pt x="1764" y="3572"/>
                  </a:lnTo>
                  <a:lnTo>
                    <a:pt x="1774" y="3570"/>
                  </a:lnTo>
                  <a:lnTo>
                    <a:pt x="1782" y="3568"/>
                  </a:lnTo>
                  <a:lnTo>
                    <a:pt x="1792" y="3562"/>
                  </a:lnTo>
                  <a:lnTo>
                    <a:pt x="1810" y="3550"/>
                  </a:lnTo>
                  <a:lnTo>
                    <a:pt x="1832" y="3532"/>
                  </a:lnTo>
                  <a:lnTo>
                    <a:pt x="1858" y="3506"/>
                  </a:lnTo>
                  <a:lnTo>
                    <a:pt x="1870" y="3490"/>
                  </a:lnTo>
                  <a:lnTo>
                    <a:pt x="1884" y="3472"/>
                  </a:lnTo>
                  <a:lnTo>
                    <a:pt x="1892" y="3462"/>
                  </a:lnTo>
                  <a:lnTo>
                    <a:pt x="1898" y="3456"/>
                  </a:lnTo>
                  <a:lnTo>
                    <a:pt x="1912" y="3442"/>
                  </a:lnTo>
                  <a:lnTo>
                    <a:pt x="1920" y="3432"/>
                  </a:lnTo>
                  <a:lnTo>
                    <a:pt x="1930" y="3418"/>
                  </a:lnTo>
                  <a:lnTo>
                    <a:pt x="1940" y="3398"/>
                  </a:lnTo>
                  <a:lnTo>
                    <a:pt x="1952" y="3372"/>
                  </a:lnTo>
                  <a:lnTo>
                    <a:pt x="1968" y="3344"/>
                  </a:lnTo>
                  <a:lnTo>
                    <a:pt x="1980" y="3324"/>
                  </a:lnTo>
                  <a:lnTo>
                    <a:pt x="1992" y="3314"/>
                  </a:lnTo>
                  <a:lnTo>
                    <a:pt x="2002" y="3304"/>
                  </a:lnTo>
                  <a:lnTo>
                    <a:pt x="2010" y="3294"/>
                  </a:lnTo>
                  <a:lnTo>
                    <a:pt x="2018" y="3276"/>
                  </a:lnTo>
                  <a:lnTo>
                    <a:pt x="2026" y="3250"/>
                  </a:lnTo>
                  <a:lnTo>
                    <a:pt x="2030" y="3210"/>
                  </a:lnTo>
                  <a:lnTo>
                    <a:pt x="2034" y="3182"/>
                  </a:lnTo>
                  <a:lnTo>
                    <a:pt x="2032" y="3176"/>
                  </a:lnTo>
                  <a:lnTo>
                    <a:pt x="2030" y="3176"/>
                  </a:lnTo>
                  <a:lnTo>
                    <a:pt x="2026" y="3176"/>
                  </a:lnTo>
                  <a:lnTo>
                    <a:pt x="2024" y="3176"/>
                  </a:lnTo>
                  <a:lnTo>
                    <a:pt x="2022" y="3170"/>
                  </a:lnTo>
                  <a:lnTo>
                    <a:pt x="2020" y="3164"/>
                  </a:lnTo>
                  <a:lnTo>
                    <a:pt x="2024" y="3156"/>
                  </a:lnTo>
                  <a:lnTo>
                    <a:pt x="2028" y="3148"/>
                  </a:lnTo>
                  <a:lnTo>
                    <a:pt x="2036" y="3140"/>
                  </a:lnTo>
                  <a:lnTo>
                    <a:pt x="2046" y="3132"/>
                  </a:lnTo>
                  <a:lnTo>
                    <a:pt x="2056" y="3126"/>
                  </a:lnTo>
                  <a:lnTo>
                    <a:pt x="2070" y="3118"/>
                  </a:lnTo>
                  <a:lnTo>
                    <a:pt x="2084" y="3114"/>
                  </a:lnTo>
                  <a:lnTo>
                    <a:pt x="2096" y="3108"/>
                  </a:lnTo>
                  <a:lnTo>
                    <a:pt x="2108" y="3100"/>
                  </a:lnTo>
                  <a:lnTo>
                    <a:pt x="2118" y="3094"/>
                  </a:lnTo>
                  <a:lnTo>
                    <a:pt x="2126" y="3086"/>
                  </a:lnTo>
                  <a:lnTo>
                    <a:pt x="2132" y="3078"/>
                  </a:lnTo>
                  <a:lnTo>
                    <a:pt x="2136" y="3070"/>
                  </a:lnTo>
                  <a:lnTo>
                    <a:pt x="2136" y="3062"/>
                  </a:lnTo>
                  <a:lnTo>
                    <a:pt x="2134" y="3056"/>
                  </a:lnTo>
                  <a:lnTo>
                    <a:pt x="2130" y="3050"/>
                  </a:lnTo>
                  <a:lnTo>
                    <a:pt x="2130" y="3044"/>
                  </a:lnTo>
                  <a:lnTo>
                    <a:pt x="2132" y="3034"/>
                  </a:lnTo>
                  <a:lnTo>
                    <a:pt x="2136" y="3016"/>
                  </a:lnTo>
                  <a:lnTo>
                    <a:pt x="2138" y="3006"/>
                  </a:lnTo>
                  <a:lnTo>
                    <a:pt x="2138" y="2990"/>
                  </a:lnTo>
                  <a:lnTo>
                    <a:pt x="2136" y="2972"/>
                  </a:lnTo>
                  <a:lnTo>
                    <a:pt x="2136" y="2970"/>
                  </a:lnTo>
                  <a:lnTo>
                    <a:pt x="2134" y="2972"/>
                  </a:lnTo>
                  <a:lnTo>
                    <a:pt x="2132" y="2974"/>
                  </a:lnTo>
                  <a:lnTo>
                    <a:pt x="2130" y="2974"/>
                  </a:lnTo>
                  <a:lnTo>
                    <a:pt x="2128" y="2972"/>
                  </a:lnTo>
                  <a:lnTo>
                    <a:pt x="2126" y="2962"/>
                  </a:lnTo>
                  <a:lnTo>
                    <a:pt x="2120" y="2934"/>
                  </a:lnTo>
                  <a:lnTo>
                    <a:pt x="2120" y="2920"/>
                  </a:lnTo>
                  <a:lnTo>
                    <a:pt x="2118" y="2910"/>
                  </a:lnTo>
                  <a:lnTo>
                    <a:pt x="2108" y="2896"/>
                  </a:lnTo>
                  <a:lnTo>
                    <a:pt x="2104" y="2890"/>
                  </a:lnTo>
                  <a:lnTo>
                    <a:pt x="2102" y="2886"/>
                  </a:lnTo>
                  <a:lnTo>
                    <a:pt x="2102" y="2878"/>
                  </a:lnTo>
                  <a:lnTo>
                    <a:pt x="2104" y="2870"/>
                  </a:lnTo>
                  <a:lnTo>
                    <a:pt x="2104" y="2860"/>
                  </a:lnTo>
                  <a:lnTo>
                    <a:pt x="2104" y="2854"/>
                  </a:lnTo>
                  <a:lnTo>
                    <a:pt x="2108" y="2854"/>
                  </a:lnTo>
                  <a:lnTo>
                    <a:pt x="2114" y="2852"/>
                  </a:lnTo>
                  <a:lnTo>
                    <a:pt x="2120" y="2848"/>
                  </a:lnTo>
                  <a:lnTo>
                    <a:pt x="2126" y="2842"/>
                  </a:lnTo>
                  <a:lnTo>
                    <a:pt x="2136" y="2832"/>
                  </a:lnTo>
                  <a:lnTo>
                    <a:pt x="2144" y="2822"/>
                  </a:lnTo>
                  <a:lnTo>
                    <a:pt x="2150" y="2816"/>
                  </a:lnTo>
                  <a:lnTo>
                    <a:pt x="2160" y="2812"/>
                  </a:lnTo>
                  <a:lnTo>
                    <a:pt x="2166" y="2808"/>
                  </a:lnTo>
                  <a:lnTo>
                    <a:pt x="2170" y="2804"/>
                  </a:lnTo>
                  <a:lnTo>
                    <a:pt x="2178" y="2794"/>
                  </a:lnTo>
                  <a:lnTo>
                    <a:pt x="2186" y="2780"/>
                  </a:lnTo>
                  <a:lnTo>
                    <a:pt x="2196" y="2764"/>
                  </a:lnTo>
                  <a:lnTo>
                    <a:pt x="2206" y="2750"/>
                  </a:lnTo>
                  <a:lnTo>
                    <a:pt x="2216" y="2740"/>
                  </a:lnTo>
                  <a:lnTo>
                    <a:pt x="2226" y="2734"/>
                  </a:lnTo>
                  <a:lnTo>
                    <a:pt x="2236" y="2728"/>
                  </a:lnTo>
                  <a:lnTo>
                    <a:pt x="2246" y="2724"/>
                  </a:lnTo>
                  <a:lnTo>
                    <a:pt x="2266" y="2718"/>
                  </a:lnTo>
                  <a:lnTo>
                    <a:pt x="2276" y="2714"/>
                  </a:lnTo>
                  <a:lnTo>
                    <a:pt x="2284" y="2708"/>
                  </a:lnTo>
                  <a:lnTo>
                    <a:pt x="2294" y="2700"/>
                  </a:lnTo>
                  <a:lnTo>
                    <a:pt x="2302" y="2690"/>
                  </a:lnTo>
                  <a:lnTo>
                    <a:pt x="2320" y="2666"/>
                  </a:lnTo>
                  <a:lnTo>
                    <a:pt x="2336" y="2636"/>
                  </a:lnTo>
                  <a:lnTo>
                    <a:pt x="2344" y="2622"/>
                  </a:lnTo>
                  <a:lnTo>
                    <a:pt x="2344" y="2620"/>
                  </a:lnTo>
                  <a:lnTo>
                    <a:pt x="2344" y="2616"/>
                  </a:lnTo>
                  <a:lnTo>
                    <a:pt x="2348" y="2606"/>
                  </a:lnTo>
                  <a:lnTo>
                    <a:pt x="2350" y="2598"/>
                  </a:lnTo>
                  <a:lnTo>
                    <a:pt x="2352" y="2594"/>
                  </a:lnTo>
                  <a:lnTo>
                    <a:pt x="2350" y="2590"/>
                  </a:lnTo>
                  <a:lnTo>
                    <a:pt x="2348" y="2586"/>
                  </a:lnTo>
                  <a:lnTo>
                    <a:pt x="2344" y="2582"/>
                  </a:lnTo>
                  <a:lnTo>
                    <a:pt x="2340" y="2576"/>
                  </a:lnTo>
                  <a:lnTo>
                    <a:pt x="2338" y="2566"/>
                  </a:lnTo>
                  <a:lnTo>
                    <a:pt x="2338" y="2552"/>
                  </a:lnTo>
                  <a:lnTo>
                    <a:pt x="2338" y="2500"/>
                  </a:lnTo>
                  <a:lnTo>
                    <a:pt x="2338" y="2478"/>
                  </a:lnTo>
                  <a:lnTo>
                    <a:pt x="2334" y="2454"/>
                  </a:lnTo>
                  <a:lnTo>
                    <a:pt x="2334" y="2440"/>
                  </a:lnTo>
                  <a:lnTo>
                    <a:pt x="2334" y="2432"/>
                  </a:lnTo>
                  <a:lnTo>
                    <a:pt x="2338" y="2426"/>
                  </a:lnTo>
                  <a:lnTo>
                    <a:pt x="2342" y="2424"/>
                  </a:lnTo>
                  <a:lnTo>
                    <a:pt x="2344" y="2420"/>
                  </a:lnTo>
                  <a:lnTo>
                    <a:pt x="2344" y="2414"/>
                  </a:lnTo>
                  <a:lnTo>
                    <a:pt x="2340" y="2406"/>
                  </a:lnTo>
                  <a:lnTo>
                    <a:pt x="2334" y="2394"/>
                  </a:lnTo>
                  <a:lnTo>
                    <a:pt x="2324" y="2384"/>
                  </a:lnTo>
                  <a:lnTo>
                    <a:pt x="2318" y="2380"/>
                  </a:lnTo>
                  <a:lnTo>
                    <a:pt x="2312" y="2376"/>
                  </a:lnTo>
                  <a:lnTo>
                    <a:pt x="2308" y="2368"/>
                  </a:lnTo>
                  <a:lnTo>
                    <a:pt x="2304" y="2358"/>
                  </a:lnTo>
                  <a:lnTo>
                    <a:pt x="2302" y="2348"/>
                  </a:lnTo>
                  <a:lnTo>
                    <a:pt x="2300" y="2334"/>
                  </a:lnTo>
                  <a:lnTo>
                    <a:pt x="2292" y="2310"/>
                  </a:lnTo>
                  <a:lnTo>
                    <a:pt x="2288" y="2298"/>
                  </a:lnTo>
                  <a:lnTo>
                    <a:pt x="2288" y="2290"/>
                  </a:lnTo>
                  <a:lnTo>
                    <a:pt x="2288" y="2286"/>
                  </a:lnTo>
                  <a:lnTo>
                    <a:pt x="2290" y="2280"/>
                  </a:lnTo>
                  <a:lnTo>
                    <a:pt x="2292" y="2278"/>
                  </a:lnTo>
                  <a:lnTo>
                    <a:pt x="2294" y="2274"/>
                  </a:lnTo>
                  <a:lnTo>
                    <a:pt x="2294" y="2268"/>
                  </a:lnTo>
                  <a:lnTo>
                    <a:pt x="2292" y="2258"/>
                  </a:lnTo>
                  <a:lnTo>
                    <a:pt x="2288" y="2248"/>
                  </a:lnTo>
                  <a:lnTo>
                    <a:pt x="2288" y="2240"/>
                  </a:lnTo>
                  <a:lnTo>
                    <a:pt x="2290" y="2236"/>
                  </a:lnTo>
                  <a:lnTo>
                    <a:pt x="2292" y="2232"/>
                  </a:lnTo>
                  <a:lnTo>
                    <a:pt x="2294" y="2230"/>
                  </a:lnTo>
                  <a:lnTo>
                    <a:pt x="2296" y="2228"/>
                  </a:lnTo>
                  <a:lnTo>
                    <a:pt x="2296" y="2226"/>
                  </a:lnTo>
                  <a:lnTo>
                    <a:pt x="2294" y="2220"/>
                  </a:lnTo>
                  <a:lnTo>
                    <a:pt x="2282" y="2206"/>
                  </a:lnTo>
                  <a:lnTo>
                    <a:pt x="2272" y="2192"/>
                  </a:lnTo>
                  <a:lnTo>
                    <a:pt x="2268" y="2184"/>
                  </a:lnTo>
                  <a:lnTo>
                    <a:pt x="2266" y="2174"/>
                  </a:lnTo>
                  <a:lnTo>
                    <a:pt x="2268" y="2164"/>
                  </a:lnTo>
                  <a:lnTo>
                    <a:pt x="2272" y="2150"/>
                  </a:lnTo>
                  <a:lnTo>
                    <a:pt x="2276" y="2138"/>
                  </a:lnTo>
                  <a:lnTo>
                    <a:pt x="2278" y="2130"/>
                  </a:lnTo>
                  <a:lnTo>
                    <a:pt x="2282" y="2122"/>
                  </a:lnTo>
                  <a:lnTo>
                    <a:pt x="2288" y="2108"/>
                  </a:lnTo>
                  <a:lnTo>
                    <a:pt x="2304" y="2084"/>
                  </a:lnTo>
                  <a:lnTo>
                    <a:pt x="2308" y="2074"/>
                  </a:lnTo>
                  <a:lnTo>
                    <a:pt x="2310" y="2058"/>
                  </a:lnTo>
                  <a:lnTo>
                    <a:pt x="2312" y="2052"/>
                  </a:lnTo>
                  <a:lnTo>
                    <a:pt x="2314" y="2048"/>
                  </a:lnTo>
                  <a:lnTo>
                    <a:pt x="2320" y="2046"/>
                  </a:lnTo>
                  <a:lnTo>
                    <a:pt x="2322" y="2044"/>
                  </a:lnTo>
                  <a:lnTo>
                    <a:pt x="2324" y="2042"/>
                  </a:lnTo>
                  <a:lnTo>
                    <a:pt x="2324" y="2036"/>
                  </a:lnTo>
                  <a:lnTo>
                    <a:pt x="2322" y="2026"/>
                  </a:lnTo>
                  <a:lnTo>
                    <a:pt x="2324" y="2016"/>
                  </a:lnTo>
                  <a:lnTo>
                    <a:pt x="2326" y="2008"/>
                  </a:lnTo>
                  <a:lnTo>
                    <a:pt x="2332" y="2004"/>
                  </a:lnTo>
                  <a:lnTo>
                    <a:pt x="2338" y="2002"/>
                  </a:lnTo>
                  <a:lnTo>
                    <a:pt x="2350" y="1998"/>
                  </a:lnTo>
                  <a:lnTo>
                    <a:pt x="2354" y="1994"/>
                  </a:lnTo>
                  <a:lnTo>
                    <a:pt x="2354" y="1988"/>
                  </a:lnTo>
                  <a:lnTo>
                    <a:pt x="2352" y="1980"/>
                  </a:lnTo>
                  <a:lnTo>
                    <a:pt x="2356" y="1980"/>
                  </a:lnTo>
                  <a:lnTo>
                    <a:pt x="2360" y="1980"/>
                  </a:lnTo>
                  <a:lnTo>
                    <a:pt x="2366" y="1978"/>
                  </a:lnTo>
                  <a:lnTo>
                    <a:pt x="2372" y="1972"/>
                  </a:lnTo>
                  <a:lnTo>
                    <a:pt x="2380" y="1962"/>
                  </a:lnTo>
                  <a:lnTo>
                    <a:pt x="2388" y="1950"/>
                  </a:lnTo>
                  <a:lnTo>
                    <a:pt x="2390" y="1944"/>
                  </a:lnTo>
                  <a:lnTo>
                    <a:pt x="2394" y="1932"/>
                  </a:lnTo>
                  <a:lnTo>
                    <a:pt x="2396" y="1926"/>
                  </a:lnTo>
                  <a:lnTo>
                    <a:pt x="2400" y="1918"/>
                  </a:lnTo>
                  <a:lnTo>
                    <a:pt x="2408" y="1908"/>
                  </a:lnTo>
                  <a:lnTo>
                    <a:pt x="2422" y="1892"/>
                  </a:lnTo>
                  <a:lnTo>
                    <a:pt x="2450" y="1860"/>
                  </a:lnTo>
                  <a:lnTo>
                    <a:pt x="2470" y="1836"/>
                  </a:lnTo>
                  <a:lnTo>
                    <a:pt x="2494" y="1812"/>
                  </a:lnTo>
                  <a:lnTo>
                    <a:pt x="2532" y="1780"/>
                  </a:lnTo>
                  <a:lnTo>
                    <a:pt x="2556" y="1760"/>
                  </a:lnTo>
                  <a:lnTo>
                    <a:pt x="2580" y="1736"/>
                  </a:lnTo>
                  <a:lnTo>
                    <a:pt x="2604" y="1710"/>
                  </a:lnTo>
                  <a:lnTo>
                    <a:pt x="2626" y="1680"/>
                  </a:lnTo>
                  <a:lnTo>
                    <a:pt x="2646" y="1646"/>
                  </a:lnTo>
                  <a:lnTo>
                    <a:pt x="2666" y="1610"/>
                  </a:lnTo>
                  <a:lnTo>
                    <a:pt x="2686" y="1570"/>
                  </a:lnTo>
                  <a:lnTo>
                    <a:pt x="2702" y="1526"/>
                  </a:lnTo>
                  <a:lnTo>
                    <a:pt x="2712" y="1502"/>
                  </a:lnTo>
                  <a:lnTo>
                    <a:pt x="2722" y="1482"/>
                  </a:lnTo>
                  <a:lnTo>
                    <a:pt x="2738" y="1452"/>
                  </a:lnTo>
                  <a:lnTo>
                    <a:pt x="2750" y="1426"/>
                  </a:lnTo>
                  <a:lnTo>
                    <a:pt x="2752" y="1416"/>
                  </a:lnTo>
                  <a:lnTo>
                    <a:pt x="2754" y="1404"/>
                  </a:lnTo>
                  <a:lnTo>
                    <a:pt x="2758" y="1388"/>
                  </a:lnTo>
                  <a:lnTo>
                    <a:pt x="2762" y="1378"/>
                  </a:lnTo>
                  <a:lnTo>
                    <a:pt x="2768" y="1376"/>
                  </a:lnTo>
                  <a:lnTo>
                    <a:pt x="2772" y="1376"/>
                  </a:lnTo>
                  <a:lnTo>
                    <a:pt x="2776" y="1376"/>
                  </a:lnTo>
                  <a:lnTo>
                    <a:pt x="2770" y="1364"/>
                  </a:lnTo>
                  <a:close/>
                </a:path>
              </a:pathLst>
            </a:custGeom>
            <a:grpFill/>
            <a:ln w="6350">
              <a:noFill/>
              <a:round/>
              <a:headEnd/>
              <a:tailEnd/>
            </a:ln>
          </p:spPr>
          <p:txBody>
            <a:bodyPr/>
            <a:lstStyle/>
            <a:p>
              <a:endParaRPr lang="en-US" sz="2800" b="1" dirty="0"/>
            </a:p>
          </p:txBody>
        </p:sp>
        <p:sp>
          <p:nvSpPr>
            <p:cNvPr id="29" name="Freeform 6155">
              <a:extLst>
                <a:ext uri="{FF2B5EF4-FFF2-40B4-BE49-F238E27FC236}">
                  <a16:creationId xmlns:a16="http://schemas.microsoft.com/office/drawing/2014/main" id="{CEC1F5F2-6B5F-41FA-8FFC-4636DB576137}"/>
                </a:ext>
              </a:extLst>
            </p:cNvPr>
            <p:cNvSpPr>
              <a:spLocks noEditPoints="1"/>
            </p:cNvSpPr>
            <p:nvPr/>
          </p:nvSpPr>
          <p:spPr bwMode="auto">
            <a:xfrm>
              <a:off x="3668697" y="954107"/>
              <a:ext cx="1798643" cy="2608252"/>
            </a:xfrm>
            <a:custGeom>
              <a:avLst/>
              <a:gdLst>
                <a:gd name="T0" fmla="*/ 794599 w 2834"/>
                <a:gd name="T1" fmla="*/ 115556 h 4108"/>
                <a:gd name="T2" fmla="*/ 750173 w 2834"/>
                <a:gd name="T3" fmla="*/ 64762 h 4108"/>
                <a:gd name="T4" fmla="*/ 742557 w 2834"/>
                <a:gd name="T5" fmla="*/ 528256 h 4108"/>
                <a:gd name="T6" fmla="*/ 842833 w 2834"/>
                <a:gd name="T7" fmla="*/ 165080 h 4108"/>
                <a:gd name="T8" fmla="*/ 708285 w 2834"/>
                <a:gd name="T9" fmla="*/ 563811 h 4108"/>
                <a:gd name="T10" fmla="*/ 635933 w 2834"/>
                <a:gd name="T11" fmla="*/ 595557 h 4108"/>
                <a:gd name="T12" fmla="*/ 684167 w 2834"/>
                <a:gd name="T13" fmla="*/ 565081 h 4108"/>
                <a:gd name="T14" fmla="*/ 836487 w 2834"/>
                <a:gd name="T15" fmla="*/ 25397 h 4108"/>
                <a:gd name="T16" fmla="*/ 91392 w 2834"/>
                <a:gd name="T17" fmla="*/ 1043813 h 4108"/>
                <a:gd name="T18" fmla="*/ 44426 w 2834"/>
                <a:gd name="T19" fmla="*/ 1184766 h 4108"/>
                <a:gd name="T20" fmla="*/ 107893 w 2834"/>
                <a:gd name="T21" fmla="*/ 1048892 h 4108"/>
                <a:gd name="T22" fmla="*/ 119317 w 2834"/>
                <a:gd name="T23" fmla="*/ 1116194 h 4108"/>
                <a:gd name="T24" fmla="*/ 171359 w 2834"/>
                <a:gd name="T25" fmla="*/ 1036194 h 4108"/>
                <a:gd name="T26" fmla="*/ 129471 w 2834"/>
                <a:gd name="T27" fmla="*/ 1116194 h 4108"/>
                <a:gd name="T28" fmla="*/ 148511 w 2834"/>
                <a:gd name="T29" fmla="*/ 1240639 h 4108"/>
                <a:gd name="T30" fmla="*/ 200554 w 2834"/>
                <a:gd name="T31" fmla="*/ 1323179 h 4108"/>
                <a:gd name="T32" fmla="*/ 397299 w 2834"/>
                <a:gd name="T33" fmla="*/ 877463 h 4108"/>
                <a:gd name="T34" fmla="*/ 224671 w 2834"/>
                <a:gd name="T35" fmla="*/ 943495 h 4108"/>
                <a:gd name="T36" fmla="*/ 331294 w 2834"/>
                <a:gd name="T37" fmla="*/ 721272 h 4108"/>
                <a:gd name="T38" fmla="*/ 114239 w 2834"/>
                <a:gd name="T39" fmla="*/ 665399 h 4108"/>
                <a:gd name="T40" fmla="*/ 151050 w 2834"/>
                <a:gd name="T41" fmla="*/ 1219051 h 4108"/>
                <a:gd name="T42" fmla="*/ 576275 w 2834"/>
                <a:gd name="T43" fmla="*/ 1158099 h 4108"/>
                <a:gd name="T44" fmla="*/ 580083 w 2834"/>
                <a:gd name="T45" fmla="*/ 1159369 h 4108"/>
                <a:gd name="T46" fmla="*/ 694322 w 2834"/>
                <a:gd name="T47" fmla="*/ 1079368 h 4108"/>
                <a:gd name="T48" fmla="*/ 401107 w 2834"/>
                <a:gd name="T49" fmla="*/ 961273 h 4108"/>
                <a:gd name="T50" fmla="*/ 840295 w 2834"/>
                <a:gd name="T51" fmla="*/ 1010797 h 4108"/>
                <a:gd name="T52" fmla="*/ 605469 w 2834"/>
                <a:gd name="T53" fmla="*/ 1771434 h 4108"/>
                <a:gd name="T54" fmla="*/ 799676 w 2834"/>
                <a:gd name="T55" fmla="*/ 1789212 h 4108"/>
                <a:gd name="T56" fmla="*/ 858065 w 2834"/>
                <a:gd name="T57" fmla="*/ 1842545 h 4108"/>
                <a:gd name="T58" fmla="*/ 1586659 w 2834"/>
                <a:gd name="T59" fmla="*/ 2201912 h 4108"/>
                <a:gd name="T60" fmla="*/ 1488921 w 2834"/>
                <a:gd name="T61" fmla="*/ 2069848 h 4108"/>
                <a:gd name="T62" fmla="*/ 1391183 w 2834"/>
                <a:gd name="T63" fmla="*/ 620954 h 4108"/>
                <a:gd name="T64" fmla="*/ 1212208 w 2834"/>
                <a:gd name="T65" fmla="*/ 568891 h 4108"/>
                <a:gd name="T66" fmla="*/ 974843 w 2834"/>
                <a:gd name="T67" fmla="*/ 468573 h 4108"/>
                <a:gd name="T68" fmla="*/ 856796 w 2834"/>
                <a:gd name="T69" fmla="*/ 514287 h 4108"/>
                <a:gd name="T70" fmla="*/ 732402 w 2834"/>
                <a:gd name="T71" fmla="*/ 544764 h 4108"/>
                <a:gd name="T72" fmla="*/ 657512 w 2834"/>
                <a:gd name="T73" fmla="*/ 642542 h 4108"/>
                <a:gd name="T74" fmla="*/ 562312 w 2834"/>
                <a:gd name="T75" fmla="*/ 758098 h 4108"/>
                <a:gd name="T76" fmla="*/ 446803 w 2834"/>
                <a:gd name="T77" fmla="*/ 830479 h 4108"/>
                <a:gd name="T78" fmla="*/ 396030 w 2834"/>
                <a:gd name="T79" fmla="*/ 911749 h 4108"/>
                <a:gd name="T80" fmla="*/ 482344 w 2834"/>
                <a:gd name="T81" fmla="*/ 1027305 h 4108"/>
                <a:gd name="T82" fmla="*/ 679090 w 2834"/>
                <a:gd name="T83" fmla="*/ 1102226 h 4108"/>
                <a:gd name="T84" fmla="*/ 728594 w 2834"/>
                <a:gd name="T85" fmla="*/ 845717 h 4108"/>
                <a:gd name="T86" fmla="*/ 818716 w 2834"/>
                <a:gd name="T87" fmla="*/ 825399 h 4108"/>
                <a:gd name="T88" fmla="*/ 984998 w 2834"/>
                <a:gd name="T89" fmla="*/ 975241 h 4108"/>
                <a:gd name="T90" fmla="*/ 748903 w 2834"/>
                <a:gd name="T91" fmla="*/ 1168258 h 4108"/>
                <a:gd name="T92" fmla="*/ 514078 w 2834"/>
                <a:gd name="T93" fmla="*/ 1158099 h 4108"/>
                <a:gd name="T94" fmla="*/ 486152 w 2834"/>
                <a:gd name="T95" fmla="*/ 1146670 h 4108"/>
                <a:gd name="T96" fmla="*/ 392222 w 2834"/>
                <a:gd name="T97" fmla="*/ 1235559 h 4108"/>
                <a:gd name="T98" fmla="*/ 185322 w 2834"/>
                <a:gd name="T99" fmla="*/ 1389211 h 4108"/>
                <a:gd name="T100" fmla="*/ 171359 w 2834"/>
                <a:gd name="T101" fmla="*/ 1584767 h 4108"/>
                <a:gd name="T102" fmla="*/ 180244 w 2834"/>
                <a:gd name="T103" fmla="*/ 1823498 h 4108"/>
                <a:gd name="T104" fmla="*/ 542003 w 2834"/>
                <a:gd name="T105" fmla="*/ 1610164 h 4108"/>
                <a:gd name="T106" fmla="*/ 628317 w 2834"/>
                <a:gd name="T107" fmla="*/ 1615243 h 4108"/>
                <a:gd name="T108" fmla="*/ 786983 w 2834"/>
                <a:gd name="T109" fmla="*/ 1730799 h 4108"/>
                <a:gd name="T110" fmla="*/ 884721 w 2834"/>
                <a:gd name="T111" fmla="*/ 1789212 h 4108"/>
                <a:gd name="T112" fmla="*/ 972305 w 2834"/>
                <a:gd name="T113" fmla="*/ 1674926 h 4108"/>
                <a:gd name="T114" fmla="*/ 1124624 w 2834"/>
                <a:gd name="T115" fmla="*/ 1530163 h 4108"/>
                <a:gd name="T116" fmla="*/ 1213477 w 2834"/>
                <a:gd name="T117" fmla="*/ 1530163 h 4108"/>
                <a:gd name="T118" fmla="*/ 976113 w 2834"/>
                <a:gd name="T119" fmla="*/ 1692704 h 4108"/>
                <a:gd name="T120" fmla="*/ 1042118 w 2834"/>
                <a:gd name="T121" fmla="*/ 1838736 h 4108"/>
                <a:gd name="T122" fmla="*/ 1153819 w 2834"/>
                <a:gd name="T123" fmla="*/ 2114292 h 4108"/>
                <a:gd name="T124" fmla="*/ 1426724 w 2834"/>
                <a:gd name="T125" fmla="*/ 2595564 h 41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34"/>
                <a:gd name="T190" fmla="*/ 0 h 4108"/>
                <a:gd name="T191" fmla="*/ 2834 w 2834"/>
                <a:gd name="T192" fmla="*/ 4108 h 410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34" h="4108">
                  <a:moveTo>
                    <a:pt x="1216" y="808"/>
                  </a:moveTo>
                  <a:lnTo>
                    <a:pt x="1216" y="808"/>
                  </a:lnTo>
                  <a:lnTo>
                    <a:pt x="1216" y="806"/>
                  </a:lnTo>
                  <a:lnTo>
                    <a:pt x="1212" y="804"/>
                  </a:lnTo>
                  <a:lnTo>
                    <a:pt x="1208" y="804"/>
                  </a:lnTo>
                  <a:lnTo>
                    <a:pt x="1206" y="804"/>
                  </a:lnTo>
                  <a:lnTo>
                    <a:pt x="1206" y="806"/>
                  </a:lnTo>
                  <a:lnTo>
                    <a:pt x="1210" y="808"/>
                  </a:lnTo>
                  <a:lnTo>
                    <a:pt x="1214" y="808"/>
                  </a:lnTo>
                  <a:lnTo>
                    <a:pt x="1216" y="808"/>
                  </a:lnTo>
                  <a:close/>
                  <a:moveTo>
                    <a:pt x="1202" y="798"/>
                  </a:moveTo>
                  <a:lnTo>
                    <a:pt x="1202" y="798"/>
                  </a:lnTo>
                  <a:lnTo>
                    <a:pt x="1198" y="798"/>
                  </a:lnTo>
                  <a:lnTo>
                    <a:pt x="1194" y="802"/>
                  </a:lnTo>
                  <a:lnTo>
                    <a:pt x="1194" y="806"/>
                  </a:lnTo>
                  <a:lnTo>
                    <a:pt x="1196" y="806"/>
                  </a:lnTo>
                  <a:lnTo>
                    <a:pt x="1200" y="806"/>
                  </a:lnTo>
                  <a:lnTo>
                    <a:pt x="1202" y="802"/>
                  </a:lnTo>
                  <a:lnTo>
                    <a:pt x="1202" y="800"/>
                  </a:lnTo>
                  <a:lnTo>
                    <a:pt x="1202" y="798"/>
                  </a:lnTo>
                  <a:close/>
                  <a:moveTo>
                    <a:pt x="1082" y="898"/>
                  </a:moveTo>
                  <a:lnTo>
                    <a:pt x="1082" y="898"/>
                  </a:lnTo>
                  <a:lnTo>
                    <a:pt x="1078" y="896"/>
                  </a:lnTo>
                  <a:lnTo>
                    <a:pt x="1074" y="900"/>
                  </a:lnTo>
                  <a:lnTo>
                    <a:pt x="1072" y="902"/>
                  </a:lnTo>
                  <a:lnTo>
                    <a:pt x="1072" y="906"/>
                  </a:lnTo>
                  <a:lnTo>
                    <a:pt x="1072" y="910"/>
                  </a:lnTo>
                  <a:lnTo>
                    <a:pt x="1066" y="914"/>
                  </a:lnTo>
                  <a:lnTo>
                    <a:pt x="1062" y="916"/>
                  </a:lnTo>
                  <a:lnTo>
                    <a:pt x="1064" y="914"/>
                  </a:lnTo>
                  <a:lnTo>
                    <a:pt x="1066" y="910"/>
                  </a:lnTo>
                  <a:lnTo>
                    <a:pt x="1064" y="908"/>
                  </a:lnTo>
                  <a:lnTo>
                    <a:pt x="1062" y="908"/>
                  </a:lnTo>
                  <a:lnTo>
                    <a:pt x="1060" y="908"/>
                  </a:lnTo>
                  <a:lnTo>
                    <a:pt x="1060" y="906"/>
                  </a:lnTo>
                  <a:lnTo>
                    <a:pt x="1062" y="902"/>
                  </a:lnTo>
                  <a:lnTo>
                    <a:pt x="1066" y="896"/>
                  </a:lnTo>
                  <a:lnTo>
                    <a:pt x="1066" y="894"/>
                  </a:lnTo>
                  <a:lnTo>
                    <a:pt x="1064" y="892"/>
                  </a:lnTo>
                  <a:lnTo>
                    <a:pt x="1058" y="892"/>
                  </a:lnTo>
                  <a:lnTo>
                    <a:pt x="1054" y="896"/>
                  </a:lnTo>
                  <a:lnTo>
                    <a:pt x="1048" y="900"/>
                  </a:lnTo>
                  <a:lnTo>
                    <a:pt x="1046" y="906"/>
                  </a:lnTo>
                  <a:lnTo>
                    <a:pt x="1046" y="912"/>
                  </a:lnTo>
                  <a:lnTo>
                    <a:pt x="1046" y="916"/>
                  </a:lnTo>
                  <a:lnTo>
                    <a:pt x="1046" y="918"/>
                  </a:lnTo>
                  <a:lnTo>
                    <a:pt x="1042" y="920"/>
                  </a:lnTo>
                  <a:lnTo>
                    <a:pt x="1036" y="922"/>
                  </a:lnTo>
                  <a:lnTo>
                    <a:pt x="1036" y="924"/>
                  </a:lnTo>
                  <a:lnTo>
                    <a:pt x="1036" y="928"/>
                  </a:lnTo>
                  <a:lnTo>
                    <a:pt x="1032" y="938"/>
                  </a:lnTo>
                  <a:lnTo>
                    <a:pt x="1030" y="942"/>
                  </a:lnTo>
                  <a:lnTo>
                    <a:pt x="1034" y="940"/>
                  </a:lnTo>
                  <a:lnTo>
                    <a:pt x="1040" y="938"/>
                  </a:lnTo>
                  <a:lnTo>
                    <a:pt x="1044" y="938"/>
                  </a:lnTo>
                  <a:lnTo>
                    <a:pt x="1048" y="940"/>
                  </a:lnTo>
                  <a:lnTo>
                    <a:pt x="1050" y="940"/>
                  </a:lnTo>
                  <a:lnTo>
                    <a:pt x="1052" y="940"/>
                  </a:lnTo>
                  <a:lnTo>
                    <a:pt x="1054" y="936"/>
                  </a:lnTo>
                  <a:lnTo>
                    <a:pt x="1056" y="934"/>
                  </a:lnTo>
                  <a:lnTo>
                    <a:pt x="1058" y="932"/>
                  </a:lnTo>
                  <a:lnTo>
                    <a:pt x="1060" y="934"/>
                  </a:lnTo>
                  <a:lnTo>
                    <a:pt x="1062" y="936"/>
                  </a:lnTo>
                  <a:lnTo>
                    <a:pt x="1064" y="936"/>
                  </a:lnTo>
                  <a:lnTo>
                    <a:pt x="1068" y="930"/>
                  </a:lnTo>
                  <a:lnTo>
                    <a:pt x="1070" y="926"/>
                  </a:lnTo>
                  <a:lnTo>
                    <a:pt x="1072" y="924"/>
                  </a:lnTo>
                  <a:lnTo>
                    <a:pt x="1076" y="920"/>
                  </a:lnTo>
                  <a:lnTo>
                    <a:pt x="1084" y="920"/>
                  </a:lnTo>
                  <a:lnTo>
                    <a:pt x="1088" y="918"/>
                  </a:lnTo>
                  <a:lnTo>
                    <a:pt x="1090" y="916"/>
                  </a:lnTo>
                  <a:lnTo>
                    <a:pt x="1090" y="914"/>
                  </a:lnTo>
                  <a:lnTo>
                    <a:pt x="1090" y="910"/>
                  </a:lnTo>
                  <a:lnTo>
                    <a:pt x="1086" y="904"/>
                  </a:lnTo>
                  <a:lnTo>
                    <a:pt x="1082" y="898"/>
                  </a:lnTo>
                  <a:close/>
                  <a:moveTo>
                    <a:pt x="1190" y="808"/>
                  </a:moveTo>
                  <a:lnTo>
                    <a:pt x="1190" y="808"/>
                  </a:lnTo>
                  <a:lnTo>
                    <a:pt x="1188" y="808"/>
                  </a:lnTo>
                  <a:lnTo>
                    <a:pt x="1186" y="808"/>
                  </a:lnTo>
                  <a:lnTo>
                    <a:pt x="1184" y="808"/>
                  </a:lnTo>
                  <a:lnTo>
                    <a:pt x="1182" y="808"/>
                  </a:lnTo>
                  <a:lnTo>
                    <a:pt x="1180" y="808"/>
                  </a:lnTo>
                  <a:lnTo>
                    <a:pt x="1178" y="810"/>
                  </a:lnTo>
                  <a:lnTo>
                    <a:pt x="1176" y="814"/>
                  </a:lnTo>
                  <a:lnTo>
                    <a:pt x="1178" y="814"/>
                  </a:lnTo>
                  <a:lnTo>
                    <a:pt x="1178" y="816"/>
                  </a:lnTo>
                  <a:lnTo>
                    <a:pt x="1184" y="814"/>
                  </a:lnTo>
                  <a:lnTo>
                    <a:pt x="1188" y="810"/>
                  </a:lnTo>
                  <a:lnTo>
                    <a:pt x="1190" y="808"/>
                  </a:lnTo>
                  <a:close/>
                  <a:moveTo>
                    <a:pt x="1400" y="746"/>
                  </a:moveTo>
                  <a:lnTo>
                    <a:pt x="1400" y="746"/>
                  </a:lnTo>
                  <a:lnTo>
                    <a:pt x="1394" y="744"/>
                  </a:lnTo>
                  <a:lnTo>
                    <a:pt x="1390" y="744"/>
                  </a:lnTo>
                  <a:lnTo>
                    <a:pt x="1388" y="744"/>
                  </a:lnTo>
                  <a:lnTo>
                    <a:pt x="1390" y="748"/>
                  </a:lnTo>
                  <a:lnTo>
                    <a:pt x="1394" y="750"/>
                  </a:lnTo>
                  <a:lnTo>
                    <a:pt x="1398" y="750"/>
                  </a:lnTo>
                  <a:lnTo>
                    <a:pt x="1400" y="748"/>
                  </a:lnTo>
                  <a:lnTo>
                    <a:pt x="1400" y="746"/>
                  </a:lnTo>
                  <a:close/>
                  <a:moveTo>
                    <a:pt x="1252" y="182"/>
                  </a:moveTo>
                  <a:lnTo>
                    <a:pt x="1252" y="182"/>
                  </a:lnTo>
                  <a:lnTo>
                    <a:pt x="1256" y="186"/>
                  </a:lnTo>
                  <a:lnTo>
                    <a:pt x="1256" y="188"/>
                  </a:lnTo>
                  <a:lnTo>
                    <a:pt x="1258" y="190"/>
                  </a:lnTo>
                  <a:lnTo>
                    <a:pt x="1258" y="192"/>
                  </a:lnTo>
                  <a:lnTo>
                    <a:pt x="1262" y="192"/>
                  </a:lnTo>
                  <a:lnTo>
                    <a:pt x="1272" y="190"/>
                  </a:lnTo>
                  <a:lnTo>
                    <a:pt x="1290" y="186"/>
                  </a:lnTo>
                  <a:lnTo>
                    <a:pt x="1306" y="186"/>
                  </a:lnTo>
                  <a:lnTo>
                    <a:pt x="1312" y="184"/>
                  </a:lnTo>
                  <a:lnTo>
                    <a:pt x="1316" y="182"/>
                  </a:lnTo>
                  <a:lnTo>
                    <a:pt x="1318" y="178"/>
                  </a:lnTo>
                  <a:lnTo>
                    <a:pt x="1318" y="172"/>
                  </a:lnTo>
                  <a:lnTo>
                    <a:pt x="1316" y="166"/>
                  </a:lnTo>
                  <a:lnTo>
                    <a:pt x="1312" y="162"/>
                  </a:lnTo>
                  <a:lnTo>
                    <a:pt x="1306" y="160"/>
                  </a:lnTo>
                  <a:lnTo>
                    <a:pt x="1300" y="158"/>
                  </a:lnTo>
                  <a:lnTo>
                    <a:pt x="1284" y="158"/>
                  </a:lnTo>
                  <a:lnTo>
                    <a:pt x="1266" y="162"/>
                  </a:lnTo>
                  <a:lnTo>
                    <a:pt x="1250" y="166"/>
                  </a:lnTo>
                  <a:lnTo>
                    <a:pt x="1238" y="168"/>
                  </a:lnTo>
                  <a:lnTo>
                    <a:pt x="1238" y="170"/>
                  </a:lnTo>
                  <a:lnTo>
                    <a:pt x="1238" y="174"/>
                  </a:lnTo>
                  <a:lnTo>
                    <a:pt x="1252" y="182"/>
                  </a:lnTo>
                  <a:close/>
                  <a:moveTo>
                    <a:pt x="1236" y="808"/>
                  </a:moveTo>
                  <a:lnTo>
                    <a:pt x="1236" y="808"/>
                  </a:lnTo>
                  <a:lnTo>
                    <a:pt x="1238" y="806"/>
                  </a:lnTo>
                  <a:lnTo>
                    <a:pt x="1236" y="804"/>
                  </a:lnTo>
                  <a:lnTo>
                    <a:pt x="1228" y="802"/>
                  </a:lnTo>
                  <a:lnTo>
                    <a:pt x="1224" y="798"/>
                  </a:lnTo>
                  <a:lnTo>
                    <a:pt x="1220" y="796"/>
                  </a:lnTo>
                  <a:lnTo>
                    <a:pt x="1216" y="794"/>
                  </a:lnTo>
                  <a:lnTo>
                    <a:pt x="1216" y="798"/>
                  </a:lnTo>
                  <a:lnTo>
                    <a:pt x="1216" y="802"/>
                  </a:lnTo>
                  <a:lnTo>
                    <a:pt x="1220" y="806"/>
                  </a:lnTo>
                  <a:lnTo>
                    <a:pt x="1228" y="810"/>
                  </a:lnTo>
                  <a:lnTo>
                    <a:pt x="1236" y="808"/>
                  </a:lnTo>
                  <a:close/>
                  <a:moveTo>
                    <a:pt x="902" y="108"/>
                  </a:moveTo>
                  <a:lnTo>
                    <a:pt x="902" y="108"/>
                  </a:lnTo>
                  <a:lnTo>
                    <a:pt x="902" y="114"/>
                  </a:lnTo>
                  <a:lnTo>
                    <a:pt x="904" y="120"/>
                  </a:lnTo>
                  <a:lnTo>
                    <a:pt x="906" y="124"/>
                  </a:lnTo>
                  <a:lnTo>
                    <a:pt x="910" y="126"/>
                  </a:lnTo>
                  <a:lnTo>
                    <a:pt x="912" y="128"/>
                  </a:lnTo>
                  <a:lnTo>
                    <a:pt x="910" y="128"/>
                  </a:lnTo>
                  <a:lnTo>
                    <a:pt x="900" y="130"/>
                  </a:lnTo>
                  <a:lnTo>
                    <a:pt x="886" y="130"/>
                  </a:lnTo>
                  <a:lnTo>
                    <a:pt x="884" y="132"/>
                  </a:lnTo>
                  <a:lnTo>
                    <a:pt x="886" y="136"/>
                  </a:lnTo>
                  <a:lnTo>
                    <a:pt x="898" y="148"/>
                  </a:lnTo>
                  <a:lnTo>
                    <a:pt x="922" y="172"/>
                  </a:lnTo>
                  <a:lnTo>
                    <a:pt x="936" y="184"/>
                  </a:lnTo>
                  <a:lnTo>
                    <a:pt x="948" y="192"/>
                  </a:lnTo>
                  <a:lnTo>
                    <a:pt x="960" y="194"/>
                  </a:lnTo>
                  <a:lnTo>
                    <a:pt x="970" y="192"/>
                  </a:lnTo>
                  <a:lnTo>
                    <a:pt x="980" y="188"/>
                  </a:lnTo>
                  <a:lnTo>
                    <a:pt x="990" y="182"/>
                  </a:lnTo>
                  <a:lnTo>
                    <a:pt x="1018" y="164"/>
                  </a:lnTo>
                  <a:lnTo>
                    <a:pt x="1038" y="152"/>
                  </a:lnTo>
                  <a:lnTo>
                    <a:pt x="1040" y="152"/>
                  </a:lnTo>
                  <a:lnTo>
                    <a:pt x="1042" y="154"/>
                  </a:lnTo>
                  <a:lnTo>
                    <a:pt x="1042" y="158"/>
                  </a:lnTo>
                  <a:lnTo>
                    <a:pt x="1048" y="160"/>
                  </a:lnTo>
                  <a:lnTo>
                    <a:pt x="1056" y="164"/>
                  </a:lnTo>
                  <a:lnTo>
                    <a:pt x="1072" y="166"/>
                  </a:lnTo>
                  <a:lnTo>
                    <a:pt x="1088" y="168"/>
                  </a:lnTo>
                  <a:lnTo>
                    <a:pt x="1096" y="170"/>
                  </a:lnTo>
                  <a:lnTo>
                    <a:pt x="1094" y="172"/>
                  </a:lnTo>
                  <a:lnTo>
                    <a:pt x="1088" y="176"/>
                  </a:lnTo>
                  <a:lnTo>
                    <a:pt x="1058" y="186"/>
                  </a:lnTo>
                  <a:lnTo>
                    <a:pt x="1014" y="198"/>
                  </a:lnTo>
                  <a:lnTo>
                    <a:pt x="994" y="206"/>
                  </a:lnTo>
                  <a:lnTo>
                    <a:pt x="980" y="210"/>
                  </a:lnTo>
                  <a:lnTo>
                    <a:pt x="972" y="216"/>
                  </a:lnTo>
                  <a:lnTo>
                    <a:pt x="970" y="218"/>
                  </a:lnTo>
                  <a:lnTo>
                    <a:pt x="970" y="220"/>
                  </a:lnTo>
                  <a:lnTo>
                    <a:pt x="976" y="222"/>
                  </a:lnTo>
                  <a:lnTo>
                    <a:pt x="988" y="224"/>
                  </a:lnTo>
                  <a:lnTo>
                    <a:pt x="1008" y="224"/>
                  </a:lnTo>
                  <a:lnTo>
                    <a:pt x="1034" y="222"/>
                  </a:lnTo>
                  <a:lnTo>
                    <a:pt x="1058" y="220"/>
                  </a:lnTo>
                  <a:lnTo>
                    <a:pt x="1072" y="220"/>
                  </a:lnTo>
                  <a:lnTo>
                    <a:pt x="1074" y="222"/>
                  </a:lnTo>
                  <a:lnTo>
                    <a:pt x="1076" y="222"/>
                  </a:lnTo>
                  <a:lnTo>
                    <a:pt x="1072" y="226"/>
                  </a:lnTo>
                  <a:lnTo>
                    <a:pt x="1064" y="232"/>
                  </a:lnTo>
                  <a:lnTo>
                    <a:pt x="1050" y="236"/>
                  </a:lnTo>
                  <a:lnTo>
                    <a:pt x="1036" y="242"/>
                  </a:lnTo>
                  <a:lnTo>
                    <a:pt x="1018" y="244"/>
                  </a:lnTo>
                  <a:lnTo>
                    <a:pt x="994" y="250"/>
                  </a:lnTo>
                  <a:lnTo>
                    <a:pt x="988" y="252"/>
                  </a:lnTo>
                  <a:lnTo>
                    <a:pt x="984" y="256"/>
                  </a:lnTo>
                  <a:lnTo>
                    <a:pt x="986" y="260"/>
                  </a:lnTo>
                  <a:lnTo>
                    <a:pt x="990" y="264"/>
                  </a:lnTo>
                  <a:lnTo>
                    <a:pt x="1014" y="274"/>
                  </a:lnTo>
                  <a:lnTo>
                    <a:pt x="1028" y="280"/>
                  </a:lnTo>
                  <a:lnTo>
                    <a:pt x="1036" y="286"/>
                  </a:lnTo>
                  <a:lnTo>
                    <a:pt x="1048" y="296"/>
                  </a:lnTo>
                  <a:lnTo>
                    <a:pt x="1052" y="302"/>
                  </a:lnTo>
                  <a:lnTo>
                    <a:pt x="1060" y="308"/>
                  </a:lnTo>
                  <a:lnTo>
                    <a:pt x="1072" y="312"/>
                  </a:lnTo>
                  <a:lnTo>
                    <a:pt x="1090" y="318"/>
                  </a:lnTo>
                  <a:lnTo>
                    <a:pt x="1098" y="320"/>
                  </a:lnTo>
                  <a:lnTo>
                    <a:pt x="1104" y="320"/>
                  </a:lnTo>
                  <a:lnTo>
                    <a:pt x="1110" y="318"/>
                  </a:lnTo>
                  <a:lnTo>
                    <a:pt x="1114" y="316"/>
                  </a:lnTo>
                  <a:lnTo>
                    <a:pt x="1116" y="312"/>
                  </a:lnTo>
                  <a:lnTo>
                    <a:pt x="1116" y="306"/>
                  </a:lnTo>
                  <a:lnTo>
                    <a:pt x="1118" y="294"/>
                  </a:lnTo>
                  <a:lnTo>
                    <a:pt x="1120" y="282"/>
                  </a:lnTo>
                  <a:lnTo>
                    <a:pt x="1124" y="268"/>
                  </a:lnTo>
                  <a:lnTo>
                    <a:pt x="1128" y="262"/>
                  </a:lnTo>
                  <a:lnTo>
                    <a:pt x="1132" y="256"/>
                  </a:lnTo>
                  <a:lnTo>
                    <a:pt x="1138" y="252"/>
                  </a:lnTo>
                  <a:lnTo>
                    <a:pt x="1146" y="248"/>
                  </a:lnTo>
                  <a:lnTo>
                    <a:pt x="1160" y="242"/>
                  </a:lnTo>
                  <a:lnTo>
                    <a:pt x="1166" y="236"/>
                  </a:lnTo>
                  <a:lnTo>
                    <a:pt x="1166" y="230"/>
                  </a:lnTo>
                  <a:lnTo>
                    <a:pt x="1164" y="224"/>
                  </a:lnTo>
                  <a:lnTo>
                    <a:pt x="1162" y="218"/>
                  </a:lnTo>
                  <a:lnTo>
                    <a:pt x="1162" y="214"/>
                  </a:lnTo>
                  <a:lnTo>
                    <a:pt x="1162" y="212"/>
                  </a:lnTo>
                  <a:lnTo>
                    <a:pt x="1166" y="208"/>
                  </a:lnTo>
                  <a:lnTo>
                    <a:pt x="1176" y="204"/>
                  </a:lnTo>
                  <a:lnTo>
                    <a:pt x="1182" y="202"/>
                  </a:lnTo>
                  <a:lnTo>
                    <a:pt x="1188" y="200"/>
                  </a:lnTo>
                  <a:lnTo>
                    <a:pt x="1190" y="196"/>
                  </a:lnTo>
                  <a:lnTo>
                    <a:pt x="1192" y="192"/>
                  </a:lnTo>
                  <a:lnTo>
                    <a:pt x="1194" y="186"/>
                  </a:lnTo>
                  <a:lnTo>
                    <a:pt x="1194" y="178"/>
                  </a:lnTo>
                  <a:lnTo>
                    <a:pt x="1196" y="170"/>
                  </a:lnTo>
                  <a:lnTo>
                    <a:pt x="1198" y="166"/>
                  </a:lnTo>
                  <a:lnTo>
                    <a:pt x="1202" y="164"/>
                  </a:lnTo>
                  <a:lnTo>
                    <a:pt x="1206" y="160"/>
                  </a:lnTo>
                  <a:lnTo>
                    <a:pt x="1212" y="158"/>
                  </a:lnTo>
                  <a:lnTo>
                    <a:pt x="1234" y="156"/>
                  </a:lnTo>
                  <a:lnTo>
                    <a:pt x="1272" y="152"/>
                  </a:lnTo>
                  <a:lnTo>
                    <a:pt x="1284" y="148"/>
                  </a:lnTo>
                  <a:lnTo>
                    <a:pt x="1290" y="146"/>
                  </a:lnTo>
                  <a:lnTo>
                    <a:pt x="1290" y="144"/>
                  </a:lnTo>
                  <a:lnTo>
                    <a:pt x="1290" y="142"/>
                  </a:lnTo>
                  <a:lnTo>
                    <a:pt x="1284" y="138"/>
                  </a:lnTo>
                  <a:lnTo>
                    <a:pt x="1274" y="136"/>
                  </a:lnTo>
                  <a:lnTo>
                    <a:pt x="1260" y="130"/>
                  </a:lnTo>
                  <a:lnTo>
                    <a:pt x="1244" y="126"/>
                  </a:lnTo>
                  <a:lnTo>
                    <a:pt x="1236" y="124"/>
                  </a:lnTo>
                  <a:lnTo>
                    <a:pt x="1226" y="118"/>
                  </a:lnTo>
                  <a:lnTo>
                    <a:pt x="1224" y="116"/>
                  </a:lnTo>
                  <a:lnTo>
                    <a:pt x="1220" y="114"/>
                  </a:lnTo>
                  <a:lnTo>
                    <a:pt x="1202" y="114"/>
                  </a:lnTo>
                  <a:lnTo>
                    <a:pt x="1190" y="112"/>
                  </a:lnTo>
                  <a:lnTo>
                    <a:pt x="1186" y="110"/>
                  </a:lnTo>
                  <a:lnTo>
                    <a:pt x="1184" y="106"/>
                  </a:lnTo>
                  <a:lnTo>
                    <a:pt x="1182" y="102"/>
                  </a:lnTo>
                  <a:lnTo>
                    <a:pt x="1182" y="96"/>
                  </a:lnTo>
                  <a:lnTo>
                    <a:pt x="1182" y="90"/>
                  </a:lnTo>
                  <a:lnTo>
                    <a:pt x="1178" y="84"/>
                  </a:lnTo>
                  <a:lnTo>
                    <a:pt x="1170" y="78"/>
                  </a:lnTo>
                  <a:lnTo>
                    <a:pt x="1162" y="74"/>
                  </a:lnTo>
                  <a:lnTo>
                    <a:pt x="1156" y="76"/>
                  </a:lnTo>
                  <a:lnTo>
                    <a:pt x="1152" y="82"/>
                  </a:lnTo>
                  <a:lnTo>
                    <a:pt x="1148" y="88"/>
                  </a:lnTo>
                  <a:lnTo>
                    <a:pt x="1144" y="96"/>
                  </a:lnTo>
                  <a:lnTo>
                    <a:pt x="1144" y="98"/>
                  </a:lnTo>
                  <a:lnTo>
                    <a:pt x="1142" y="94"/>
                  </a:lnTo>
                  <a:lnTo>
                    <a:pt x="1140" y="84"/>
                  </a:lnTo>
                  <a:lnTo>
                    <a:pt x="1140" y="78"/>
                  </a:lnTo>
                  <a:lnTo>
                    <a:pt x="1142" y="74"/>
                  </a:lnTo>
                  <a:lnTo>
                    <a:pt x="1144" y="70"/>
                  </a:lnTo>
                  <a:lnTo>
                    <a:pt x="1150" y="66"/>
                  </a:lnTo>
                  <a:lnTo>
                    <a:pt x="1152" y="64"/>
                  </a:lnTo>
                  <a:lnTo>
                    <a:pt x="1132" y="54"/>
                  </a:lnTo>
                  <a:lnTo>
                    <a:pt x="1124" y="50"/>
                  </a:lnTo>
                  <a:lnTo>
                    <a:pt x="1108" y="50"/>
                  </a:lnTo>
                  <a:lnTo>
                    <a:pt x="1100" y="50"/>
                  </a:lnTo>
                  <a:lnTo>
                    <a:pt x="1092" y="48"/>
                  </a:lnTo>
                  <a:lnTo>
                    <a:pt x="1084" y="42"/>
                  </a:lnTo>
                  <a:lnTo>
                    <a:pt x="1080" y="40"/>
                  </a:lnTo>
                  <a:lnTo>
                    <a:pt x="1076" y="40"/>
                  </a:lnTo>
                  <a:lnTo>
                    <a:pt x="1070" y="40"/>
                  </a:lnTo>
                  <a:lnTo>
                    <a:pt x="1062" y="44"/>
                  </a:lnTo>
                  <a:lnTo>
                    <a:pt x="1058" y="48"/>
                  </a:lnTo>
                  <a:lnTo>
                    <a:pt x="1056" y="54"/>
                  </a:lnTo>
                  <a:lnTo>
                    <a:pt x="1054" y="58"/>
                  </a:lnTo>
                  <a:lnTo>
                    <a:pt x="1056" y="66"/>
                  </a:lnTo>
                  <a:lnTo>
                    <a:pt x="1060" y="80"/>
                  </a:lnTo>
                  <a:lnTo>
                    <a:pt x="1068" y="94"/>
                  </a:lnTo>
                  <a:lnTo>
                    <a:pt x="1084" y="120"/>
                  </a:lnTo>
                  <a:lnTo>
                    <a:pt x="1086" y="130"/>
                  </a:lnTo>
                  <a:lnTo>
                    <a:pt x="1086" y="132"/>
                  </a:lnTo>
                  <a:lnTo>
                    <a:pt x="1084" y="132"/>
                  </a:lnTo>
                  <a:lnTo>
                    <a:pt x="1080" y="132"/>
                  </a:lnTo>
                  <a:lnTo>
                    <a:pt x="1076" y="130"/>
                  </a:lnTo>
                  <a:lnTo>
                    <a:pt x="1068" y="122"/>
                  </a:lnTo>
                  <a:lnTo>
                    <a:pt x="1048" y="96"/>
                  </a:lnTo>
                  <a:lnTo>
                    <a:pt x="1036" y="82"/>
                  </a:lnTo>
                  <a:lnTo>
                    <a:pt x="1026" y="72"/>
                  </a:lnTo>
                  <a:lnTo>
                    <a:pt x="1020" y="68"/>
                  </a:lnTo>
                  <a:lnTo>
                    <a:pt x="1014" y="66"/>
                  </a:lnTo>
                  <a:lnTo>
                    <a:pt x="1008" y="64"/>
                  </a:lnTo>
                  <a:lnTo>
                    <a:pt x="1004" y="66"/>
                  </a:lnTo>
                  <a:lnTo>
                    <a:pt x="998" y="68"/>
                  </a:lnTo>
                  <a:lnTo>
                    <a:pt x="994" y="70"/>
                  </a:lnTo>
                  <a:lnTo>
                    <a:pt x="990" y="78"/>
                  </a:lnTo>
                  <a:lnTo>
                    <a:pt x="988" y="88"/>
                  </a:lnTo>
                  <a:lnTo>
                    <a:pt x="986" y="96"/>
                  </a:lnTo>
                  <a:lnTo>
                    <a:pt x="986" y="108"/>
                  </a:lnTo>
                  <a:lnTo>
                    <a:pt x="984" y="106"/>
                  </a:lnTo>
                  <a:lnTo>
                    <a:pt x="980" y="100"/>
                  </a:lnTo>
                  <a:lnTo>
                    <a:pt x="974" y="90"/>
                  </a:lnTo>
                  <a:lnTo>
                    <a:pt x="968" y="84"/>
                  </a:lnTo>
                  <a:lnTo>
                    <a:pt x="960" y="80"/>
                  </a:lnTo>
                  <a:lnTo>
                    <a:pt x="954" y="78"/>
                  </a:lnTo>
                  <a:lnTo>
                    <a:pt x="950" y="76"/>
                  </a:lnTo>
                  <a:lnTo>
                    <a:pt x="948" y="76"/>
                  </a:lnTo>
                  <a:lnTo>
                    <a:pt x="960" y="72"/>
                  </a:lnTo>
                  <a:lnTo>
                    <a:pt x="972" y="70"/>
                  </a:lnTo>
                  <a:lnTo>
                    <a:pt x="978" y="66"/>
                  </a:lnTo>
                  <a:lnTo>
                    <a:pt x="984" y="62"/>
                  </a:lnTo>
                  <a:lnTo>
                    <a:pt x="984" y="60"/>
                  </a:lnTo>
                  <a:lnTo>
                    <a:pt x="982" y="56"/>
                  </a:lnTo>
                  <a:lnTo>
                    <a:pt x="978" y="56"/>
                  </a:lnTo>
                  <a:lnTo>
                    <a:pt x="970" y="56"/>
                  </a:lnTo>
                  <a:lnTo>
                    <a:pt x="958" y="60"/>
                  </a:lnTo>
                  <a:lnTo>
                    <a:pt x="946" y="62"/>
                  </a:lnTo>
                  <a:lnTo>
                    <a:pt x="938" y="62"/>
                  </a:lnTo>
                  <a:lnTo>
                    <a:pt x="934" y="62"/>
                  </a:lnTo>
                  <a:lnTo>
                    <a:pt x="930" y="58"/>
                  </a:lnTo>
                  <a:lnTo>
                    <a:pt x="928" y="56"/>
                  </a:lnTo>
                  <a:lnTo>
                    <a:pt x="926" y="56"/>
                  </a:lnTo>
                  <a:lnTo>
                    <a:pt x="922" y="58"/>
                  </a:lnTo>
                  <a:lnTo>
                    <a:pt x="916" y="60"/>
                  </a:lnTo>
                  <a:lnTo>
                    <a:pt x="908" y="64"/>
                  </a:lnTo>
                  <a:lnTo>
                    <a:pt x="904" y="64"/>
                  </a:lnTo>
                  <a:lnTo>
                    <a:pt x="902" y="64"/>
                  </a:lnTo>
                  <a:lnTo>
                    <a:pt x="900" y="60"/>
                  </a:lnTo>
                  <a:lnTo>
                    <a:pt x="896" y="58"/>
                  </a:lnTo>
                  <a:lnTo>
                    <a:pt x="892" y="58"/>
                  </a:lnTo>
                  <a:lnTo>
                    <a:pt x="884" y="60"/>
                  </a:lnTo>
                  <a:lnTo>
                    <a:pt x="874" y="64"/>
                  </a:lnTo>
                  <a:lnTo>
                    <a:pt x="862" y="72"/>
                  </a:lnTo>
                  <a:lnTo>
                    <a:pt x="856" y="78"/>
                  </a:lnTo>
                  <a:lnTo>
                    <a:pt x="854" y="82"/>
                  </a:lnTo>
                  <a:lnTo>
                    <a:pt x="854" y="88"/>
                  </a:lnTo>
                  <a:lnTo>
                    <a:pt x="858" y="92"/>
                  </a:lnTo>
                  <a:lnTo>
                    <a:pt x="862" y="98"/>
                  </a:lnTo>
                  <a:lnTo>
                    <a:pt x="872" y="112"/>
                  </a:lnTo>
                  <a:lnTo>
                    <a:pt x="878" y="116"/>
                  </a:lnTo>
                  <a:lnTo>
                    <a:pt x="884" y="118"/>
                  </a:lnTo>
                  <a:lnTo>
                    <a:pt x="890" y="114"/>
                  </a:lnTo>
                  <a:lnTo>
                    <a:pt x="894" y="110"/>
                  </a:lnTo>
                  <a:lnTo>
                    <a:pt x="902" y="104"/>
                  </a:lnTo>
                  <a:lnTo>
                    <a:pt x="902" y="108"/>
                  </a:lnTo>
                  <a:close/>
                  <a:moveTo>
                    <a:pt x="1272" y="818"/>
                  </a:moveTo>
                  <a:lnTo>
                    <a:pt x="1272" y="818"/>
                  </a:lnTo>
                  <a:lnTo>
                    <a:pt x="1272" y="816"/>
                  </a:lnTo>
                  <a:lnTo>
                    <a:pt x="1270" y="814"/>
                  </a:lnTo>
                  <a:lnTo>
                    <a:pt x="1266" y="812"/>
                  </a:lnTo>
                  <a:lnTo>
                    <a:pt x="1264" y="814"/>
                  </a:lnTo>
                  <a:lnTo>
                    <a:pt x="1264" y="818"/>
                  </a:lnTo>
                  <a:lnTo>
                    <a:pt x="1264" y="820"/>
                  </a:lnTo>
                  <a:lnTo>
                    <a:pt x="1272" y="818"/>
                  </a:lnTo>
                  <a:close/>
                  <a:moveTo>
                    <a:pt x="1168" y="848"/>
                  </a:moveTo>
                  <a:lnTo>
                    <a:pt x="1168" y="848"/>
                  </a:lnTo>
                  <a:lnTo>
                    <a:pt x="1176" y="848"/>
                  </a:lnTo>
                  <a:lnTo>
                    <a:pt x="1180" y="848"/>
                  </a:lnTo>
                  <a:lnTo>
                    <a:pt x="1182" y="844"/>
                  </a:lnTo>
                  <a:lnTo>
                    <a:pt x="1184" y="840"/>
                  </a:lnTo>
                  <a:lnTo>
                    <a:pt x="1190" y="836"/>
                  </a:lnTo>
                  <a:lnTo>
                    <a:pt x="1192" y="834"/>
                  </a:lnTo>
                  <a:lnTo>
                    <a:pt x="1192" y="832"/>
                  </a:lnTo>
                  <a:lnTo>
                    <a:pt x="1192" y="830"/>
                  </a:lnTo>
                  <a:lnTo>
                    <a:pt x="1188" y="828"/>
                  </a:lnTo>
                  <a:lnTo>
                    <a:pt x="1182" y="826"/>
                  </a:lnTo>
                  <a:lnTo>
                    <a:pt x="1180" y="826"/>
                  </a:lnTo>
                  <a:lnTo>
                    <a:pt x="1180" y="828"/>
                  </a:lnTo>
                  <a:lnTo>
                    <a:pt x="1176" y="830"/>
                  </a:lnTo>
                  <a:lnTo>
                    <a:pt x="1174" y="830"/>
                  </a:lnTo>
                  <a:lnTo>
                    <a:pt x="1172" y="832"/>
                  </a:lnTo>
                  <a:lnTo>
                    <a:pt x="1170" y="832"/>
                  </a:lnTo>
                  <a:lnTo>
                    <a:pt x="1166" y="832"/>
                  </a:lnTo>
                  <a:lnTo>
                    <a:pt x="1164" y="832"/>
                  </a:lnTo>
                  <a:lnTo>
                    <a:pt x="1162" y="834"/>
                  </a:lnTo>
                  <a:lnTo>
                    <a:pt x="1162" y="838"/>
                  </a:lnTo>
                  <a:lnTo>
                    <a:pt x="1160" y="842"/>
                  </a:lnTo>
                  <a:lnTo>
                    <a:pt x="1156" y="842"/>
                  </a:lnTo>
                  <a:lnTo>
                    <a:pt x="1154" y="842"/>
                  </a:lnTo>
                  <a:lnTo>
                    <a:pt x="1152" y="844"/>
                  </a:lnTo>
                  <a:lnTo>
                    <a:pt x="1152" y="846"/>
                  </a:lnTo>
                  <a:lnTo>
                    <a:pt x="1154" y="848"/>
                  </a:lnTo>
                  <a:lnTo>
                    <a:pt x="1168" y="848"/>
                  </a:lnTo>
                  <a:close/>
                  <a:moveTo>
                    <a:pt x="1214" y="822"/>
                  </a:moveTo>
                  <a:lnTo>
                    <a:pt x="1214" y="822"/>
                  </a:lnTo>
                  <a:lnTo>
                    <a:pt x="1218" y="816"/>
                  </a:lnTo>
                  <a:lnTo>
                    <a:pt x="1218" y="814"/>
                  </a:lnTo>
                  <a:lnTo>
                    <a:pt x="1216" y="814"/>
                  </a:lnTo>
                  <a:lnTo>
                    <a:pt x="1212" y="812"/>
                  </a:lnTo>
                  <a:lnTo>
                    <a:pt x="1208" y="814"/>
                  </a:lnTo>
                  <a:lnTo>
                    <a:pt x="1206" y="814"/>
                  </a:lnTo>
                  <a:lnTo>
                    <a:pt x="1202" y="812"/>
                  </a:lnTo>
                  <a:lnTo>
                    <a:pt x="1198" y="810"/>
                  </a:lnTo>
                  <a:lnTo>
                    <a:pt x="1196" y="812"/>
                  </a:lnTo>
                  <a:lnTo>
                    <a:pt x="1192" y="814"/>
                  </a:lnTo>
                  <a:lnTo>
                    <a:pt x="1190" y="814"/>
                  </a:lnTo>
                  <a:lnTo>
                    <a:pt x="1188" y="814"/>
                  </a:lnTo>
                  <a:lnTo>
                    <a:pt x="1188" y="816"/>
                  </a:lnTo>
                  <a:lnTo>
                    <a:pt x="1184" y="820"/>
                  </a:lnTo>
                  <a:lnTo>
                    <a:pt x="1182" y="822"/>
                  </a:lnTo>
                  <a:lnTo>
                    <a:pt x="1184" y="824"/>
                  </a:lnTo>
                  <a:lnTo>
                    <a:pt x="1190" y="824"/>
                  </a:lnTo>
                  <a:lnTo>
                    <a:pt x="1196" y="828"/>
                  </a:lnTo>
                  <a:lnTo>
                    <a:pt x="1200" y="830"/>
                  </a:lnTo>
                  <a:lnTo>
                    <a:pt x="1204" y="830"/>
                  </a:lnTo>
                  <a:lnTo>
                    <a:pt x="1214" y="822"/>
                  </a:lnTo>
                  <a:close/>
                  <a:moveTo>
                    <a:pt x="1352" y="792"/>
                  </a:moveTo>
                  <a:lnTo>
                    <a:pt x="1352" y="792"/>
                  </a:lnTo>
                  <a:lnTo>
                    <a:pt x="1348" y="790"/>
                  </a:lnTo>
                  <a:lnTo>
                    <a:pt x="1344" y="788"/>
                  </a:lnTo>
                  <a:lnTo>
                    <a:pt x="1338" y="788"/>
                  </a:lnTo>
                  <a:lnTo>
                    <a:pt x="1330" y="790"/>
                  </a:lnTo>
                  <a:lnTo>
                    <a:pt x="1328" y="792"/>
                  </a:lnTo>
                  <a:lnTo>
                    <a:pt x="1330" y="794"/>
                  </a:lnTo>
                  <a:lnTo>
                    <a:pt x="1340" y="798"/>
                  </a:lnTo>
                  <a:lnTo>
                    <a:pt x="1350" y="796"/>
                  </a:lnTo>
                  <a:lnTo>
                    <a:pt x="1352" y="796"/>
                  </a:lnTo>
                  <a:lnTo>
                    <a:pt x="1352" y="792"/>
                  </a:lnTo>
                  <a:close/>
                  <a:moveTo>
                    <a:pt x="1326" y="780"/>
                  </a:moveTo>
                  <a:lnTo>
                    <a:pt x="1326" y="780"/>
                  </a:lnTo>
                  <a:lnTo>
                    <a:pt x="1330" y="778"/>
                  </a:lnTo>
                  <a:lnTo>
                    <a:pt x="1334" y="776"/>
                  </a:lnTo>
                  <a:lnTo>
                    <a:pt x="1338" y="776"/>
                  </a:lnTo>
                  <a:lnTo>
                    <a:pt x="1342" y="776"/>
                  </a:lnTo>
                  <a:lnTo>
                    <a:pt x="1346" y="778"/>
                  </a:lnTo>
                  <a:lnTo>
                    <a:pt x="1350" y="776"/>
                  </a:lnTo>
                  <a:lnTo>
                    <a:pt x="1364" y="766"/>
                  </a:lnTo>
                  <a:lnTo>
                    <a:pt x="1372" y="760"/>
                  </a:lnTo>
                  <a:lnTo>
                    <a:pt x="1372" y="758"/>
                  </a:lnTo>
                  <a:lnTo>
                    <a:pt x="1372" y="756"/>
                  </a:lnTo>
                  <a:lnTo>
                    <a:pt x="1368" y="756"/>
                  </a:lnTo>
                  <a:lnTo>
                    <a:pt x="1362" y="756"/>
                  </a:lnTo>
                  <a:lnTo>
                    <a:pt x="1356" y="758"/>
                  </a:lnTo>
                  <a:lnTo>
                    <a:pt x="1358" y="760"/>
                  </a:lnTo>
                  <a:lnTo>
                    <a:pt x="1358" y="762"/>
                  </a:lnTo>
                  <a:lnTo>
                    <a:pt x="1356" y="764"/>
                  </a:lnTo>
                  <a:lnTo>
                    <a:pt x="1350" y="762"/>
                  </a:lnTo>
                  <a:lnTo>
                    <a:pt x="1348" y="762"/>
                  </a:lnTo>
                  <a:lnTo>
                    <a:pt x="1346" y="762"/>
                  </a:lnTo>
                  <a:lnTo>
                    <a:pt x="1342" y="766"/>
                  </a:lnTo>
                  <a:lnTo>
                    <a:pt x="1342" y="770"/>
                  </a:lnTo>
                  <a:lnTo>
                    <a:pt x="1340" y="768"/>
                  </a:lnTo>
                  <a:lnTo>
                    <a:pt x="1338" y="766"/>
                  </a:lnTo>
                  <a:lnTo>
                    <a:pt x="1332" y="766"/>
                  </a:lnTo>
                  <a:lnTo>
                    <a:pt x="1318" y="770"/>
                  </a:lnTo>
                  <a:lnTo>
                    <a:pt x="1314" y="774"/>
                  </a:lnTo>
                  <a:lnTo>
                    <a:pt x="1318" y="776"/>
                  </a:lnTo>
                  <a:lnTo>
                    <a:pt x="1320" y="776"/>
                  </a:lnTo>
                  <a:lnTo>
                    <a:pt x="1322" y="778"/>
                  </a:lnTo>
                  <a:lnTo>
                    <a:pt x="1320" y="780"/>
                  </a:lnTo>
                  <a:lnTo>
                    <a:pt x="1326" y="780"/>
                  </a:lnTo>
                  <a:close/>
                  <a:moveTo>
                    <a:pt x="1414" y="220"/>
                  </a:moveTo>
                  <a:lnTo>
                    <a:pt x="1414" y="220"/>
                  </a:lnTo>
                  <a:lnTo>
                    <a:pt x="1408" y="216"/>
                  </a:lnTo>
                  <a:lnTo>
                    <a:pt x="1402" y="216"/>
                  </a:lnTo>
                  <a:lnTo>
                    <a:pt x="1392" y="218"/>
                  </a:lnTo>
                  <a:lnTo>
                    <a:pt x="1388" y="220"/>
                  </a:lnTo>
                  <a:lnTo>
                    <a:pt x="1382" y="220"/>
                  </a:lnTo>
                  <a:lnTo>
                    <a:pt x="1374" y="218"/>
                  </a:lnTo>
                  <a:lnTo>
                    <a:pt x="1364" y="214"/>
                  </a:lnTo>
                  <a:lnTo>
                    <a:pt x="1356" y="208"/>
                  </a:lnTo>
                  <a:lnTo>
                    <a:pt x="1354" y="204"/>
                  </a:lnTo>
                  <a:lnTo>
                    <a:pt x="1356" y="200"/>
                  </a:lnTo>
                  <a:lnTo>
                    <a:pt x="1360" y="198"/>
                  </a:lnTo>
                  <a:lnTo>
                    <a:pt x="1370" y="194"/>
                  </a:lnTo>
                  <a:lnTo>
                    <a:pt x="1370" y="192"/>
                  </a:lnTo>
                  <a:lnTo>
                    <a:pt x="1366" y="190"/>
                  </a:lnTo>
                  <a:lnTo>
                    <a:pt x="1354" y="188"/>
                  </a:lnTo>
                  <a:lnTo>
                    <a:pt x="1336" y="188"/>
                  </a:lnTo>
                  <a:lnTo>
                    <a:pt x="1316" y="188"/>
                  </a:lnTo>
                  <a:lnTo>
                    <a:pt x="1296" y="190"/>
                  </a:lnTo>
                  <a:lnTo>
                    <a:pt x="1280" y="194"/>
                  </a:lnTo>
                  <a:lnTo>
                    <a:pt x="1274" y="196"/>
                  </a:lnTo>
                  <a:lnTo>
                    <a:pt x="1270" y="198"/>
                  </a:lnTo>
                  <a:lnTo>
                    <a:pt x="1270" y="202"/>
                  </a:lnTo>
                  <a:lnTo>
                    <a:pt x="1272" y="204"/>
                  </a:lnTo>
                  <a:lnTo>
                    <a:pt x="1276" y="208"/>
                  </a:lnTo>
                  <a:lnTo>
                    <a:pt x="1286" y="212"/>
                  </a:lnTo>
                  <a:lnTo>
                    <a:pt x="1292" y="214"/>
                  </a:lnTo>
                  <a:lnTo>
                    <a:pt x="1292" y="216"/>
                  </a:lnTo>
                  <a:lnTo>
                    <a:pt x="1292" y="218"/>
                  </a:lnTo>
                  <a:lnTo>
                    <a:pt x="1286" y="224"/>
                  </a:lnTo>
                  <a:lnTo>
                    <a:pt x="1272" y="236"/>
                  </a:lnTo>
                  <a:lnTo>
                    <a:pt x="1264" y="242"/>
                  </a:lnTo>
                  <a:lnTo>
                    <a:pt x="1262" y="246"/>
                  </a:lnTo>
                  <a:lnTo>
                    <a:pt x="1264" y="248"/>
                  </a:lnTo>
                  <a:lnTo>
                    <a:pt x="1270" y="250"/>
                  </a:lnTo>
                  <a:lnTo>
                    <a:pt x="1288" y="250"/>
                  </a:lnTo>
                  <a:lnTo>
                    <a:pt x="1314" y="246"/>
                  </a:lnTo>
                  <a:lnTo>
                    <a:pt x="1324" y="248"/>
                  </a:lnTo>
                  <a:lnTo>
                    <a:pt x="1328" y="248"/>
                  </a:lnTo>
                  <a:lnTo>
                    <a:pt x="1328" y="250"/>
                  </a:lnTo>
                  <a:lnTo>
                    <a:pt x="1328" y="256"/>
                  </a:lnTo>
                  <a:lnTo>
                    <a:pt x="1328" y="260"/>
                  </a:lnTo>
                  <a:lnTo>
                    <a:pt x="1326" y="264"/>
                  </a:lnTo>
                  <a:lnTo>
                    <a:pt x="1326" y="266"/>
                  </a:lnTo>
                  <a:lnTo>
                    <a:pt x="1328" y="266"/>
                  </a:lnTo>
                  <a:lnTo>
                    <a:pt x="1336" y="266"/>
                  </a:lnTo>
                  <a:lnTo>
                    <a:pt x="1350" y="260"/>
                  </a:lnTo>
                  <a:lnTo>
                    <a:pt x="1376" y="250"/>
                  </a:lnTo>
                  <a:lnTo>
                    <a:pt x="1402" y="238"/>
                  </a:lnTo>
                  <a:lnTo>
                    <a:pt x="1412" y="234"/>
                  </a:lnTo>
                  <a:lnTo>
                    <a:pt x="1418" y="228"/>
                  </a:lnTo>
                  <a:lnTo>
                    <a:pt x="1420" y="226"/>
                  </a:lnTo>
                  <a:lnTo>
                    <a:pt x="1420" y="224"/>
                  </a:lnTo>
                  <a:lnTo>
                    <a:pt x="1418" y="222"/>
                  </a:lnTo>
                  <a:lnTo>
                    <a:pt x="1414" y="220"/>
                  </a:lnTo>
                  <a:close/>
                  <a:moveTo>
                    <a:pt x="1370" y="792"/>
                  </a:moveTo>
                  <a:lnTo>
                    <a:pt x="1370" y="792"/>
                  </a:lnTo>
                  <a:lnTo>
                    <a:pt x="1378" y="782"/>
                  </a:lnTo>
                  <a:lnTo>
                    <a:pt x="1380" y="776"/>
                  </a:lnTo>
                  <a:lnTo>
                    <a:pt x="1378" y="774"/>
                  </a:lnTo>
                  <a:lnTo>
                    <a:pt x="1376" y="772"/>
                  </a:lnTo>
                  <a:lnTo>
                    <a:pt x="1372" y="770"/>
                  </a:lnTo>
                  <a:lnTo>
                    <a:pt x="1370" y="774"/>
                  </a:lnTo>
                  <a:lnTo>
                    <a:pt x="1362" y="776"/>
                  </a:lnTo>
                  <a:lnTo>
                    <a:pt x="1354" y="780"/>
                  </a:lnTo>
                  <a:lnTo>
                    <a:pt x="1350" y="784"/>
                  </a:lnTo>
                  <a:lnTo>
                    <a:pt x="1350" y="786"/>
                  </a:lnTo>
                  <a:lnTo>
                    <a:pt x="1350" y="788"/>
                  </a:lnTo>
                  <a:lnTo>
                    <a:pt x="1356" y="792"/>
                  </a:lnTo>
                  <a:lnTo>
                    <a:pt x="1364" y="794"/>
                  </a:lnTo>
                  <a:lnTo>
                    <a:pt x="1366" y="794"/>
                  </a:lnTo>
                  <a:lnTo>
                    <a:pt x="1370" y="792"/>
                  </a:lnTo>
                  <a:close/>
                  <a:moveTo>
                    <a:pt x="1388" y="762"/>
                  </a:moveTo>
                  <a:lnTo>
                    <a:pt x="1388" y="762"/>
                  </a:lnTo>
                  <a:lnTo>
                    <a:pt x="1384" y="762"/>
                  </a:lnTo>
                  <a:lnTo>
                    <a:pt x="1380" y="764"/>
                  </a:lnTo>
                  <a:lnTo>
                    <a:pt x="1380" y="766"/>
                  </a:lnTo>
                  <a:lnTo>
                    <a:pt x="1380" y="770"/>
                  </a:lnTo>
                  <a:lnTo>
                    <a:pt x="1384" y="776"/>
                  </a:lnTo>
                  <a:lnTo>
                    <a:pt x="1386" y="778"/>
                  </a:lnTo>
                  <a:lnTo>
                    <a:pt x="1388" y="778"/>
                  </a:lnTo>
                  <a:lnTo>
                    <a:pt x="1394" y="776"/>
                  </a:lnTo>
                  <a:lnTo>
                    <a:pt x="1396" y="772"/>
                  </a:lnTo>
                  <a:lnTo>
                    <a:pt x="1396" y="770"/>
                  </a:lnTo>
                  <a:lnTo>
                    <a:pt x="1396" y="766"/>
                  </a:lnTo>
                  <a:lnTo>
                    <a:pt x="1392" y="764"/>
                  </a:lnTo>
                  <a:lnTo>
                    <a:pt x="1388" y="762"/>
                  </a:lnTo>
                  <a:close/>
                  <a:moveTo>
                    <a:pt x="1264" y="804"/>
                  </a:moveTo>
                  <a:lnTo>
                    <a:pt x="1264" y="804"/>
                  </a:lnTo>
                  <a:lnTo>
                    <a:pt x="1264" y="800"/>
                  </a:lnTo>
                  <a:lnTo>
                    <a:pt x="1262" y="798"/>
                  </a:lnTo>
                  <a:lnTo>
                    <a:pt x="1258" y="798"/>
                  </a:lnTo>
                  <a:lnTo>
                    <a:pt x="1252" y="802"/>
                  </a:lnTo>
                  <a:lnTo>
                    <a:pt x="1248" y="804"/>
                  </a:lnTo>
                  <a:lnTo>
                    <a:pt x="1248" y="808"/>
                  </a:lnTo>
                  <a:lnTo>
                    <a:pt x="1250" y="810"/>
                  </a:lnTo>
                  <a:lnTo>
                    <a:pt x="1254" y="812"/>
                  </a:lnTo>
                  <a:lnTo>
                    <a:pt x="1260" y="814"/>
                  </a:lnTo>
                  <a:lnTo>
                    <a:pt x="1262" y="812"/>
                  </a:lnTo>
                  <a:lnTo>
                    <a:pt x="1264" y="804"/>
                  </a:lnTo>
                  <a:close/>
                  <a:moveTo>
                    <a:pt x="1102" y="904"/>
                  </a:moveTo>
                  <a:lnTo>
                    <a:pt x="1102" y="904"/>
                  </a:lnTo>
                  <a:lnTo>
                    <a:pt x="1102" y="908"/>
                  </a:lnTo>
                  <a:lnTo>
                    <a:pt x="1104" y="908"/>
                  </a:lnTo>
                  <a:lnTo>
                    <a:pt x="1112" y="908"/>
                  </a:lnTo>
                  <a:lnTo>
                    <a:pt x="1114" y="906"/>
                  </a:lnTo>
                  <a:lnTo>
                    <a:pt x="1112" y="902"/>
                  </a:lnTo>
                  <a:lnTo>
                    <a:pt x="1106" y="902"/>
                  </a:lnTo>
                  <a:lnTo>
                    <a:pt x="1104" y="902"/>
                  </a:lnTo>
                  <a:lnTo>
                    <a:pt x="1102" y="904"/>
                  </a:lnTo>
                  <a:close/>
                  <a:moveTo>
                    <a:pt x="1116" y="898"/>
                  </a:moveTo>
                  <a:lnTo>
                    <a:pt x="1116" y="898"/>
                  </a:lnTo>
                  <a:lnTo>
                    <a:pt x="1120" y="900"/>
                  </a:lnTo>
                  <a:lnTo>
                    <a:pt x="1122" y="898"/>
                  </a:lnTo>
                  <a:lnTo>
                    <a:pt x="1124" y="896"/>
                  </a:lnTo>
                  <a:lnTo>
                    <a:pt x="1124" y="894"/>
                  </a:lnTo>
                  <a:lnTo>
                    <a:pt x="1120" y="892"/>
                  </a:lnTo>
                  <a:lnTo>
                    <a:pt x="1116" y="894"/>
                  </a:lnTo>
                  <a:lnTo>
                    <a:pt x="1114" y="896"/>
                  </a:lnTo>
                  <a:lnTo>
                    <a:pt x="1116" y="898"/>
                  </a:lnTo>
                  <a:close/>
                  <a:moveTo>
                    <a:pt x="1150" y="850"/>
                  </a:moveTo>
                  <a:lnTo>
                    <a:pt x="1150" y="850"/>
                  </a:lnTo>
                  <a:lnTo>
                    <a:pt x="1148" y="850"/>
                  </a:lnTo>
                  <a:lnTo>
                    <a:pt x="1148" y="848"/>
                  </a:lnTo>
                  <a:lnTo>
                    <a:pt x="1146" y="846"/>
                  </a:lnTo>
                  <a:lnTo>
                    <a:pt x="1144" y="846"/>
                  </a:lnTo>
                  <a:lnTo>
                    <a:pt x="1142" y="848"/>
                  </a:lnTo>
                  <a:lnTo>
                    <a:pt x="1140" y="846"/>
                  </a:lnTo>
                  <a:lnTo>
                    <a:pt x="1138" y="844"/>
                  </a:lnTo>
                  <a:lnTo>
                    <a:pt x="1136" y="846"/>
                  </a:lnTo>
                  <a:lnTo>
                    <a:pt x="1136" y="848"/>
                  </a:lnTo>
                  <a:lnTo>
                    <a:pt x="1132" y="848"/>
                  </a:lnTo>
                  <a:lnTo>
                    <a:pt x="1130" y="846"/>
                  </a:lnTo>
                  <a:lnTo>
                    <a:pt x="1130" y="850"/>
                  </a:lnTo>
                  <a:lnTo>
                    <a:pt x="1130" y="852"/>
                  </a:lnTo>
                  <a:lnTo>
                    <a:pt x="1128" y="850"/>
                  </a:lnTo>
                  <a:lnTo>
                    <a:pt x="1124" y="850"/>
                  </a:lnTo>
                  <a:lnTo>
                    <a:pt x="1120" y="850"/>
                  </a:lnTo>
                  <a:lnTo>
                    <a:pt x="1118" y="854"/>
                  </a:lnTo>
                  <a:lnTo>
                    <a:pt x="1120" y="856"/>
                  </a:lnTo>
                  <a:lnTo>
                    <a:pt x="1124" y="856"/>
                  </a:lnTo>
                  <a:lnTo>
                    <a:pt x="1124" y="858"/>
                  </a:lnTo>
                  <a:lnTo>
                    <a:pt x="1120" y="860"/>
                  </a:lnTo>
                  <a:lnTo>
                    <a:pt x="1114" y="860"/>
                  </a:lnTo>
                  <a:lnTo>
                    <a:pt x="1108" y="860"/>
                  </a:lnTo>
                  <a:lnTo>
                    <a:pt x="1108" y="862"/>
                  </a:lnTo>
                  <a:lnTo>
                    <a:pt x="1110" y="862"/>
                  </a:lnTo>
                  <a:lnTo>
                    <a:pt x="1110" y="864"/>
                  </a:lnTo>
                  <a:lnTo>
                    <a:pt x="1108" y="866"/>
                  </a:lnTo>
                  <a:lnTo>
                    <a:pt x="1106" y="866"/>
                  </a:lnTo>
                  <a:lnTo>
                    <a:pt x="1108" y="868"/>
                  </a:lnTo>
                  <a:lnTo>
                    <a:pt x="1110" y="870"/>
                  </a:lnTo>
                  <a:lnTo>
                    <a:pt x="1108" y="870"/>
                  </a:lnTo>
                  <a:lnTo>
                    <a:pt x="1108" y="872"/>
                  </a:lnTo>
                  <a:lnTo>
                    <a:pt x="1108" y="874"/>
                  </a:lnTo>
                  <a:lnTo>
                    <a:pt x="1108" y="876"/>
                  </a:lnTo>
                  <a:lnTo>
                    <a:pt x="1108" y="878"/>
                  </a:lnTo>
                  <a:lnTo>
                    <a:pt x="1106" y="880"/>
                  </a:lnTo>
                  <a:lnTo>
                    <a:pt x="1104" y="882"/>
                  </a:lnTo>
                  <a:lnTo>
                    <a:pt x="1108" y="884"/>
                  </a:lnTo>
                  <a:lnTo>
                    <a:pt x="1114" y="884"/>
                  </a:lnTo>
                  <a:lnTo>
                    <a:pt x="1114" y="886"/>
                  </a:lnTo>
                  <a:lnTo>
                    <a:pt x="1114" y="888"/>
                  </a:lnTo>
                  <a:lnTo>
                    <a:pt x="1116" y="888"/>
                  </a:lnTo>
                  <a:lnTo>
                    <a:pt x="1120" y="884"/>
                  </a:lnTo>
                  <a:lnTo>
                    <a:pt x="1122" y="880"/>
                  </a:lnTo>
                  <a:lnTo>
                    <a:pt x="1126" y="876"/>
                  </a:lnTo>
                  <a:lnTo>
                    <a:pt x="1130" y="874"/>
                  </a:lnTo>
                  <a:lnTo>
                    <a:pt x="1132" y="876"/>
                  </a:lnTo>
                  <a:lnTo>
                    <a:pt x="1132" y="878"/>
                  </a:lnTo>
                  <a:lnTo>
                    <a:pt x="1134" y="878"/>
                  </a:lnTo>
                  <a:lnTo>
                    <a:pt x="1142" y="878"/>
                  </a:lnTo>
                  <a:lnTo>
                    <a:pt x="1146" y="876"/>
                  </a:lnTo>
                  <a:lnTo>
                    <a:pt x="1148" y="874"/>
                  </a:lnTo>
                  <a:lnTo>
                    <a:pt x="1146" y="870"/>
                  </a:lnTo>
                  <a:lnTo>
                    <a:pt x="1146" y="866"/>
                  </a:lnTo>
                  <a:lnTo>
                    <a:pt x="1148" y="864"/>
                  </a:lnTo>
                  <a:lnTo>
                    <a:pt x="1150" y="862"/>
                  </a:lnTo>
                  <a:lnTo>
                    <a:pt x="1150" y="860"/>
                  </a:lnTo>
                  <a:lnTo>
                    <a:pt x="1152" y="852"/>
                  </a:lnTo>
                  <a:lnTo>
                    <a:pt x="1152" y="850"/>
                  </a:lnTo>
                  <a:lnTo>
                    <a:pt x="1150" y="850"/>
                  </a:lnTo>
                  <a:close/>
                  <a:moveTo>
                    <a:pt x="1254" y="830"/>
                  </a:moveTo>
                  <a:lnTo>
                    <a:pt x="1254" y="830"/>
                  </a:lnTo>
                  <a:lnTo>
                    <a:pt x="1260" y="826"/>
                  </a:lnTo>
                  <a:lnTo>
                    <a:pt x="1262" y="824"/>
                  </a:lnTo>
                  <a:lnTo>
                    <a:pt x="1260" y="820"/>
                  </a:lnTo>
                  <a:lnTo>
                    <a:pt x="1258" y="822"/>
                  </a:lnTo>
                  <a:lnTo>
                    <a:pt x="1256" y="826"/>
                  </a:lnTo>
                  <a:lnTo>
                    <a:pt x="1254" y="830"/>
                  </a:lnTo>
                  <a:close/>
                  <a:moveTo>
                    <a:pt x="1226" y="818"/>
                  </a:moveTo>
                  <a:lnTo>
                    <a:pt x="1226" y="818"/>
                  </a:lnTo>
                  <a:lnTo>
                    <a:pt x="1222" y="818"/>
                  </a:lnTo>
                  <a:lnTo>
                    <a:pt x="1218" y="820"/>
                  </a:lnTo>
                  <a:lnTo>
                    <a:pt x="1214" y="826"/>
                  </a:lnTo>
                  <a:lnTo>
                    <a:pt x="1216" y="826"/>
                  </a:lnTo>
                  <a:lnTo>
                    <a:pt x="1220" y="824"/>
                  </a:lnTo>
                  <a:lnTo>
                    <a:pt x="1224" y="822"/>
                  </a:lnTo>
                  <a:lnTo>
                    <a:pt x="1226" y="818"/>
                  </a:lnTo>
                  <a:close/>
                  <a:moveTo>
                    <a:pt x="1074" y="928"/>
                  </a:moveTo>
                  <a:lnTo>
                    <a:pt x="1074" y="928"/>
                  </a:lnTo>
                  <a:lnTo>
                    <a:pt x="1074" y="930"/>
                  </a:lnTo>
                  <a:lnTo>
                    <a:pt x="1074" y="932"/>
                  </a:lnTo>
                  <a:lnTo>
                    <a:pt x="1078" y="932"/>
                  </a:lnTo>
                  <a:lnTo>
                    <a:pt x="1082" y="930"/>
                  </a:lnTo>
                  <a:lnTo>
                    <a:pt x="1084" y="926"/>
                  </a:lnTo>
                  <a:lnTo>
                    <a:pt x="1084" y="924"/>
                  </a:lnTo>
                  <a:lnTo>
                    <a:pt x="1080" y="924"/>
                  </a:lnTo>
                  <a:lnTo>
                    <a:pt x="1076" y="924"/>
                  </a:lnTo>
                  <a:lnTo>
                    <a:pt x="1074" y="928"/>
                  </a:lnTo>
                  <a:close/>
                  <a:moveTo>
                    <a:pt x="772" y="1274"/>
                  </a:moveTo>
                  <a:lnTo>
                    <a:pt x="772" y="1274"/>
                  </a:lnTo>
                  <a:lnTo>
                    <a:pt x="784" y="1270"/>
                  </a:lnTo>
                  <a:lnTo>
                    <a:pt x="788" y="1270"/>
                  </a:lnTo>
                  <a:lnTo>
                    <a:pt x="790" y="1268"/>
                  </a:lnTo>
                  <a:lnTo>
                    <a:pt x="790" y="1266"/>
                  </a:lnTo>
                  <a:lnTo>
                    <a:pt x="788" y="1264"/>
                  </a:lnTo>
                  <a:lnTo>
                    <a:pt x="786" y="1264"/>
                  </a:lnTo>
                  <a:lnTo>
                    <a:pt x="784" y="1262"/>
                  </a:lnTo>
                  <a:lnTo>
                    <a:pt x="784" y="1260"/>
                  </a:lnTo>
                  <a:lnTo>
                    <a:pt x="778" y="1262"/>
                  </a:lnTo>
                  <a:lnTo>
                    <a:pt x="768" y="1266"/>
                  </a:lnTo>
                  <a:lnTo>
                    <a:pt x="760" y="1268"/>
                  </a:lnTo>
                  <a:lnTo>
                    <a:pt x="758" y="1270"/>
                  </a:lnTo>
                  <a:lnTo>
                    <a:pt x="756" y="1274"/>
                  </a:lnTo>
                  <a:lnTo>
                    <a:pt x="758" y="1276"/>
                  </a:lnTo>
                  <a:lnTo>
                    <a:pt x="760" y="1276"/>
                  </a:lnTo>
                  <a:lnTo>
                    <a:pt x="772" y="1274"/>
                  </a:lnTo>
                  <a:close/>
                  <a:moveTo>
                    <a:pt x="776" y="1258"/>
                  </a:moveTo>
                  <a:lnTo>
                    <a:pt x="776" y="1258"/>
                  </a:lnTo>
                  <a:lnTo>
                    <a:pt x="780" y="1256"/>
                  </a:lnTo>
                  <a:lnTo>
                    <a:pt x="778" y="1252"/>
                  </a:lnTo>
                  <a:lnTo>
                    <a:pt x="776" y="1250"/>
                  </a:lnTo>
                  <a:lnTo>
                    <a:pt x="774" y="1252"/>
                  </a:lnTo>
                  <a:lnTo>
                    <a:pt x="772" y="1254"/>
                  </a:lnTo>
                  <a:lnTo>
                    <a:pt x="764" y="1256"/>
                  </a:lnTo>
                  <a:lnTo>
                    <a:pt x="760" y="1258"/>
                  </a:lnTo>
                  <a:lnTo>
                    <a:pt x="758" y="1258"/>
                  </a:lnTo>
                  <a:lnTo>
                    <a:pt x="758" y="1260"/>
                  </a:lnTo>
                  <a:lnTo>
                    <a:pt x="764" y="1260"/>
                  </a:lnTo>
                  <a:lnTo>
                    <a:pt x="776" y="1258"/>
                  </a:lnTo>
                  <a:close/>
                  <a:moveTo>
                    <a:pt x="892" y="180"/>
                  </a:moveTo>
                  <a:lnTo>
                    <a:pt x="892" y="180"/>
                  </a:lnTo>
                  <a:lnTo>
                    <a:pt x="904" y="186"/>
                  </a:lnTo>
                  <a:lnTo>
                    <a:pt x="912" y="188"/>
                  </a:lnTo>
                  <a:lnTo>
                    <a:pt x="912" y="186"/>
                  </a:lnTo>
                  <a:lnTo>
                    <a:pt x="910" y="182"/>
                  </a:lnTo>
                  <a:lnTo>
                    <a:pt x="906" y="176"/>
                  </a:lnTo>
                  <a:lnTo>
                    <a:pt x="900" y="170"/>
                  </a:lnTo>
                  <a:lnTo>
                    <a:pt x="894" y="164"/>
                  </a:lnTo>
                  <a:lnTo>
                    <a:pt x="888" y="164"/>
                  </a:lnTo>
                  <a:lnTo>
                    <a:pt x="882" y="162"/>
                  </a:lnTo>
                  <a:lnTo>
                    <a:pt x="878" y="158"/>
                  </a:lnTo>
                  <a:lnTo>
                    <a:pt x="870" y="144"/>
                  </a:lnTo>
                  <a:lnTo>
                    <a:pt x="866" y="138"/>
                  </a:lnTo>
                  <a:lnTo>
                    <a:pt x="860" y="134"/>
                  </a:lnTo>
                  <a:lnTo>
                    <a:pt x="856" y="132"/>
                  </a:lnTo>
                  <a:lnTo>
                    <a:pt x="850" y="132"/>
                  </a:lnTo>
                  <a:lnTo>
                    <a:pt x="846" y="136"/>
                  </a:lnTo>
                  <a:lnTo>
                    <a:pt x="846" y="142"/>
                  </a:lnTo>
                  <a:lnTo>
                    <a:pt x="860" y="164"/>
                  </a:lnTo>
                  <a:lnTo>
                    <a:pt x="866" y="174"/>
                  </a:lnTo>
                  <a:lnTo>
                    <a:pt x="868" y="174"/>
                  </a:lnTo>
                  <a:lnTo>
                    <a:pt x="870" y="174"/>
                  </a:lnTo>
                  <a:lnTo>
                    <a:pt x="872" y="172"/>
                  </a:lnTo>
                  <a:lnTo>
                    <a:pt x="876" y="172"/>
                  </a:lnTo>
                  <a:lnTo>
                    <a:pt x="884" y="174"/>
                  </a:lnTo>
                  <a:lnTo>
                    <a:pt x="892" y="180"/>
                  </a:lnTo>
                  <a:close/>
                  <a:moveTo>
                    <a:pt x="1006" y="948"/>
                  </a:moveTo>
                  <a:lnTo>
                    <a:pt x="1006" y="948"/>
                  </a:lnTo>
                  <a:lnTo>
                    <a:pt x="1016" y="944"/>
                  </a:lnTo>
                  <a:lnTo>
                    <a:pt x="1026" y="934"/>
                  </a:lnTo>
                  <a:lnTo>
                    <a:pt x="1030" y="932"/>
                  </a:lnTo>
                  <a:lnTo>
                    <a:pt x="1030" y="930"/>
                  </a:lnTo>
                  <a:lnTo>
                    <a:pt x="1026" y="930"/>
                  </a:lnTo>
                  <a:lnTo>
                    <a:pt x="1018" y="930"/>
                  </a:lnTo>
                  <a:lnTo>
                    <a:pt x="1008" y="932"/>
                  </a:lnTo>
                  <a:lnTo>
                    <a:pt x="1004" y="934"/>
                  </a:lnTo>
                  <a:lnTo>
                    <a:pt x="1006" y="936"/>
                  </a:lnTo>
                  <a:lnTo>
                    <a:pt x="1006" y="938"/>
                  </a:lnTo>
                  <a:lnTo>
                    <a:pt x="1002" y="938"/>
                  </a:lnTo>
                  <a:lnTo>
                    <a:pt x="998" y="938"/>
                  </a:lnTo>
                  <a:lnTo>
                    <a:pt x="998" y="940"/>
                  </a:lnTo>
                  <a:lnTo>
                    <a:pt x="1000" y="942"/>
                  </a:lnTo>
                  <a:lnTo>
                    <a:pt x="998" y="946"/>
                  </a:lnTo>
                  <a:lnTo>
                    <a:pt x="996" y="948"/>
                  </a:lnTo>
                  <a:lnTo>
                    <a:pt x="1000" y="948"/>
                  </a:lnTo>
                  <a:lnTo>
                    <a:pt x="1006" y="948"/>
                  </a:lnTo>
                  <a:close/>
                  <a:moveTo>
                    <a:pt x="1028" y="900"/>
                  </a:moveTo>
                  <a:lnTo>
                    <a:pt x="1028" y="900"/>
                  </a:lnTo>
                  <a:lnTo>
                    <a:pt x="1024" y="900"/>
                  </a:lnTo>
                  <a:lnTo>
                    <a:pt x="1022" y="902"/>
                  </a:lnTo>
                  <a:lnTo>
                    <a:pt x="1022" y="904"/>
                  </a:lnTo>
                  <a:lnTo>
                    <a:pt x="1018" y="906"/>
                  </a:lnTo>
                  <a:lnTo>
                    <a:pt x="1016" y="904"/>
                  </a:lnTo>
                  <a:lnTo>
                    <a:pt x="1014" y="902"/>
                  </a:lnTo>
                  <a:lnTo>
                    <a:pt x="1012" y="902"/>
                  </a:lnTo>
                  <a:lnTo>
                    <a:pt x="1010" y="904"/>
                  </a:lnTo>
                  <a:lnTo>
                    <a:pt x="1008" y="904"/>
                  </a:lnTo>
                  <a:lnTo>
                    <a:pt x="1006" y="904"/>
                  </a:lnTo>
                  <a:lnTo>
                    <a:pt x="1004" y="906"/>
                  </a:lnTo>
                  <a:lnTo>
                    <a:pt x="1004" y="910"/>
                  </a:lnTo>
                  <a:lnTo>
                    <a:pt x="1002" y="912"/>
                  </a:lnTo>
                  <a:lnTo>
                    <a:pt x="1002" y="914"/>
                  </a:lnTo>
                  <a:lnTo>
                    <a:pt x="1004" y="916"/>
                  </a:lnTo>
                  <a:lnTo>
                    <a:pt x="1008" y="918"/>
                  </a:lnTo>
                  <a:lnTo>
                    <a:pt x="1012" y="916"/>
                  </a:lnTo>
                  <a:lnTo>
                    <a:pt x="1016" y="914"/>
                  </a:lnTo>
                  <a:lnTo>
                    <a:pt x="1026" y="910"/>
                  </a:lnTo>
                  <a:lnTo>
                    <a:pt x="1030" y="910"/>
                  </a:lnTo>
                  <a:lnTo>
                    <a:pt x="1026" y="914"/>
                  </a:lnTo>
                  <a:lnTo>
                    <a:pt x="1020" y="918"/>
                  </a:lnTo>
                  <a:lnTo>
                    <a:pt x="1020" y="920"/>
                  </a:lnTo>
                  <a:lnTo>
                    <a:pt x="1030" y="918"/>
                  </a:lnTo>
                  <a:lnTo>
                    <a:pt x="1040" y="916"/>
                  </a:lnTo>
                  <a:lnTo>
                    <a:pt x="1042" y="914"/>
                  </a:lnTo>
                  <a:lnTo>
                    <a:pt x="1042" y="912"/>
                  </a:lnTo>
                  <a:lnTo>
                    <a:pt x="1042" y="910"/>
                  </a:lnTo>
                  <a:lnTo>
                    <a:pt x="1040" y="906"/>
                  </a:lnTo>
                  <a:lnTo>
                    <a:pt x="1040" y="904"/>
                  </a:lnTo>
                  <a:lnTo>
                    <a:pt x="1042" y="902"/>
                  </a:lnTo>
                  <a:lnTo>
                    <a:pt x="1042" y="900"/>
                  </a:lnTo>
                  <a:lnTo>
                    <a:pt x="1038" y="896"/>
                  </a:lnTo>
                  <a:lnTo>
                    <a:pt x="1034" y="890"/>
                  </a:lnTo>
                  <a:lnTo>
                    <a:pt x="1032" y="890"/>
                  </a:lnTo>
                  <a:lnTo>
                    <a:pt x="1030" y="890"/>
                  </a:lnTo>
                  <a:lnTo>
                    <a:pt x="1028" y="890"/>
                  </a:lnTo>
                  <a:lnTo>
                    <a:pt x="1028" y="892"/>
                  </a:lnTo>
                  <a:lnTo>
                    <a:pt x="1030" y="896"/>
                  </a:lnTo>
                  <a:lnTo>
                    <a:pt x="1032" y="900"/>
                  </a:lnTo>
                  <a:lnTo>
                    <a:pt x="1028" y="900"/>
                  </a:lnTo>
                  <a:close/>
                  <a:moveTo>
                    <a:pt x="996" y="942"/>
                  </a:moveTo>
                  <a:lnTo>
                    <a:pt x="996" y="942"/>
                  </a:lnTo>
                  <a:lnTo>
                    <a:pt x="996" y="940"/>
                  </a:lnTo>
                  <a:lnTo>
                    <a:pt x="994" y="938"/>
                  </a:lnTo>
                  <a:lnTo>
                    <a:pt x="990" y="938"/>
                  </a:lnTo>
                  <a:lnTo>
                    <a:pt x="988" y="938"/>
                  </a:lnTo>
                  <a:lnTo>
                    <a:pt x="990" y="940"/>
                  </a:lnTo>
                  <a:lnTo>
                    <a:pt x="992" y="942"/>
                  </a:lnTo>
                  <a:lnTo>
                    <a:pt x="994" y="942"/>
                  </a:lnTo>
                  <a:lnTo>
                    <a:pt x="996" y="942"/>
                  </a:lnTo>
                  <a:close/>
                  <a:moveTo>
                    <a:pt x="942" y="966"/>
                  </a:moveTo>
                  <a:lnTo>
                    <a:pt x="942" y="966"/>
                  </a:lnTo>
                  <a:lnTo>
                    <a:pt x="940" y="974"/>
                  </a:lnTo>
                  <a:lnTo>
                    <a:pt x="946" y="970"/>
                  </a:lnTo>
                  <a:lnTo>
                    <a:pt x="948" y="968"/>
                  </a:lnTo>
                  <a:lnTo>
                    <a:pt x="950" y="964"/>
                  </a:lnTo>
                  <a:lnTo>
                    <a:pt x="950" y="958"/>
                  </a:lnTo>
                  <a:lnTo>
                    <a:pt x="950" y="956"/>
                  </a:lnTo>
                  <a:lnTo>
                    <a:pt x="948" y="956"/>
                  </a:lnTo>
                  <a:lnTo>
                    <a:pt x="942" y="966"/>
                  </a:lnTo>
                  <a:close/>
                  <a:moveTo>
                    <a:pt x="970" y="956"/>
                  </a:moveTo>
                  <a:lnTo>
                    <a:pt x="970" y="956"/>
                  </a:lnTo>
                  <a:lnTo>
                    <a:pt x="972" y="956"/>
                  </a:lnTo>
                  <a:lnTo>
                    <a:pt x="974" y="956"/>
                  </a:lnTo>
                  <a:lnTo>
                    <a:pt x="976" y="956"/>
                  </a:lnTo>
                  <a:lnTo>
                    <a:pt x="978" y="954"/>
                  </a:lnTo>
                  <a:lnTo>
                    <a:pt x="982" y="952"/>
                  </a:lnTo>
                  <a:lnTo>
                    <a:pt x="984" y="950"/>
                  </a:lnTo>
                  <a:lnTo>
                    <a:pt x="988" y="946"/>
                  </a:lnTo>
                  <a:lnTo>
                    <a:pt x="992" y="946"/>
                  </a:lnTo>
                  <a:lnTo>
                    <a:pt x="990" y="944"/>
                  </a:lnTo>
                  <a:lnTo>
                    <a:pt x="980" y="942"/>
                  </a:lnTo>
                  <a:lnTo>
                    <a:pt x="976" y="940"/>
                  </a:lnTo>
                  <a:lnTo>
                    <a:pt x="972" y="942"/>
                  </a:lnTo>
                  <a:lnTo>
                    <a:pt x="970" y="944"/>
                  </a:lnTo>
                  <a:lnTo>
                    <a:pt x="966" y="948"/>
                  </a:lnTo>
                  <a:lnTo>
                    <a:pt x="966" y="952"/>
                  </a:lnTo>
                  <a:lnTo>
                    <a:pt x="966" y="954"/>
                  </a:lnTo>
                  <a:lnTo>
                    <a:pt x="964" y="956"/>
                  </a:lnTo>
                  <a:lnTo>
                    <a:pt x="966" y="958"/>
                  </a:lnTo>
                  <a:lnTo>
                    <a:pt x="968" y="958"/>
                  </a:lnTo>
                  <a:lnTo>
                    <a:pt x="970" y="956"/>
                  </a:lnTo>
                  <a:close/>
                  <a:moveTo>
                    <a:pt x="958" y="954"/>
                  </a:moveTo>
                  <a:lnTo>
                    <a:pt x="958" y="954"/>
                  </a:lnTo>
                  <a:lnTo>
                    <a:pt x="958" y="956"/>
                  </a:lnTo>
                  <a:lnTo>
                    <a:pt x="956" y="956"/>
                  </a:lnTo>
                  <a:lnTo>
                    <a:pt x="954" y="956"/>
                  </a:lnTo>
                  <a:lnTo>
                    <a:pt x="954" y="960"/>
                  </a:lnTo>
                  <a:lnTo>
                    <a:pt x="956" y="962"/>
                  </a:lnTo>
                  <a:lnTo>
                    <a:pt x="962" y="958"/>
                  </a:lnTo>
                  <a:lnTo>
                    <a:pt x="964" y="954"/>
                  </a:lnTo>
                  <a:lnTo>
                    <a:pt x="962" y="950"/>
                  </a:lnTo>
                  <a:lnTo>
                    <a:pt x="960" y="950"/>
                  </a:lnTo>
                  <a:lnTo>
                    <a:pt x="958" y="954"/>
                  </a:lnTo>
                  <a:close/>
                  <a:moveTo>
                    <a:pt x="1028" y="966"/>
                  </a:moveTo>
                  <a:lnTo>
                    <a:pt x="1028" y="966"/>
                  </a:lnTo>
                  <a:lnTo>
                    <a:pt x="1032" y="966"/>
                  </a:lnTo>
                  <a:lnTo>
                    <a:pt x="1034" y="964"/>
                  </a:lnTo>
                  <a:lnTo>
                    <a:pt x="1030" y="962"/>
                  </a:lnTo>
                  <a:lnTo>
                    <a:pt x="1028" y="962"/>
                  </a:lnTo>
                  <a:lnTo>
                    <a:pt x="1026" y="964"/>
                  </a:lnTo>
                  <a:lnTo>
                    <a:pt x="1026" y="966"/>
                  </a:lnTo>
                  <a:lnTo>
                    <a:pt x="1028" y="966"/>
                  </a:lnTo>
                  <a:close/>
                  <a:moveTo>
                    <a:pt x="1078" y="890"/>
                  </a:moveTo>
                  <a:lnTo>
                    <a:pt x="1078" y="890"/>
                  </a:lnTo>
                  <a:lnTo>
                    <a:pt x="1080" y="892"/>
                  </a:lnTo>
                  <a:lnTo>
                    <a:pt x="1082" y="894"/>
                  </a:lnTo>
                  <a:lnTo>
                    <a:pt x="1088" y="896"/>
                  </a:lnTo>
                  <a:lnTo>
                    <a:pt x="1092" y="896"/>
                  </a:lnTo>
                  <a:lnTo>
                    <a:pt x="1092" y="894"/>
                  </a:lnTo>
                  <a:lnTo>
                    <a:pt x="1088" y="892"/>
                  </a:lnTo>
                  <a:lnTo>
                    <a:pt x="1082" y="890"/>
                  </a:lnTo>
                  <a:lnTo>
                    <a:pt x="1078" y="890"/>
                  </a:lnTo>
                  <a:close/>
                  <a:moveTo>
                    <a:pt x="1054" y="890"/>
                  </a:moveTo>
                  <a:lnTo>
                    <a:pt x="1054" y="890"/>
                  </a:lnTo>
                  <a:lnTo>
                    <a:pt x="1060" y="890"/>
                  </a:lnTo>
                  <a:lnTo>
                    <a:pt x="1062" y="888"/>
                  </a:lnTo>
                  <a:lnTo>
                    <a:pt x="1068" y="878"/>
                  </a:lnTo>
                  <a:lnTo>
                    <a:pt x="1072" y="872"/>
                  </a:lnTo>
                  <a:lnTo>
                    <a:pt x="1074" y="868"/>
                  </a:lnTo>
                  <a:lnTo>
                    <a:pt x="1072" y="868"/>
                  </a:lnTo>
                  <a:lnTo>
                    <a:pt x="1066" y="870"/>
                  </a:lnTo>
                  <a:lnTo>
                    <a:pt x="1054" y="878"/>
                  </a:lnTo>
                  <a:lnTo>
                    <a:pt x="1050" y="882"/>
                  </a:lnTo>
                  <a:lnTo>
                    <a:pt x="1046" y="890"/>
                  </a:lnTo>
                  <a:lnTo>
                    <a:pt x="1044" y="894"/>
                  </a:lnTo>
                  <a:lnTo>
                    <a:pt x="1044" y="896"/>
                  </a:lnTo>
                  <a:lnTo>
                    <a:pt x="1046" y="898"/>
                  </a:lnTo>
                  <a:lnTo>
                    <a:pt x="1048" y="898"/>
                  </a:lnTo>
                  <a:lnTo>
                    <a:pt x="1048" y="894"/>
                  </a:lnTo>
                  <a:lnTo>
                    <a:pt x="1050" y="892"/>
                  </a:lnTo>
                  <a:lnTo>
                    <a:pt x="1054" y="890"/>
                  </a:lnTo>
                  <a:close/>
                  <a:moveTo>
                    <a:pt x="752" y="1276"/>
                  </a:moveTo>
                  <a:lnTo>
                    <a:pt x="752" y="1276"/>
                  </a:lnTo>
                  <a:lnTo>
                    <a:pt x="750" y="1274"/>
                  </a:lnTo>
                  <a:lnTo>
                    <a:pt x="742" y="1274"/>
                  </a:lnTo>
                  <a:lnTo>
                    <a:pt x="738" y="1276"/>
                  </a:lnTo>
                  <a:lnTo>
                    <a:pt x="736" y="1278"/>
                  </a:lnTo>
                  <a:lnTo>
                    <a:pt x="742" y="1282"/>
                  </a:lnTo>
                  <a:lnTo>
                    <a:pt x="748" y="1282"/>
                  </a:lnTo>
                  <a:lnTo>
                    <a:pt x="750" y="1278"/>
                  </a:lnTo>
                  <a:lnTo>
                    <a:pt x="752" y="1276"/>
                  </a:lnTo>
                  <a:close/>
                  <a:moveTo>
                    <a:pt x="1156" y="42"/>
                  </a:moveTo>
                  <a:lnTo>
                    <a:pt x="1156" y="42"/>
                  </a:lnTo>
                  <a:lnTo>
                    <a:pt x="1164" y="44"/>
                  </a:lnTo>
                  <a:lnTo>
                    <a:pt x="1166" y="46"/>
                  </a:lnTo>
                  <a:lnTo>
                    <a:pt x="1164" y="48"/>
                  </a:lnTo>
                  <a:lnTo>
                    <a:pt x="1162" y="48"/>
                  </a:lnTo>
                  <a:lnTo>
                    <a:pt x="1160" y="50"/>
                  </a:lnTo>
                  <a:lnTo>
                    <a:pt x="1162" y="52"/>
                  </a:lnTo>
                  <a:lnTo>
                    <a:pt x="1166" y="56"/>
                  </a:lnTo>
                  <a:lnTo>
                    <a:pt x="1176" y="62"/>
                  </a:lnTo>
                  <a:lnTo>
                    <a:pt x="1186" y="66"/>
                  </a:lnTo>
                  <a:lnTo>
                    <a:pt x="1194" y="68"/>
                  </a:lnTo>
                  <a:lnTo>
                    <a:pt x="1204" y="68"/>
                  </a:lnTo>
                  <a:lnTo>
                    <a:pt x="1214" y="66"/>
                  </a:lnTo>
                  <a:lnTo>
                    <a:pt x="1238" y="62"/>
                  </a:lnTo>
                  <a:lnTo>
                    <a:pt x="1252" y="60"/>
                  </a:lnTo>
                  <a:lnTo>
                    <a:pt x="1270" y="58"/>
                  </a:lnTo>
                  <a:lnTo>
                    <a:pt x="1296" y="58"/>
                  </a:lnTo>
                  <a:lnTo>
                    <a:pt x="1298" y="60"/>
                  </a:lnTo>
                  <a:lnTo>
                    <a:pt x="1294" y="62"/>
                  </a:lnTo>
                  <a:lnTo>
                    <a:pt x="1274" y="66"/>
                  </a:lnTo>
                  <a:lnTo>
                    <a:pt x="1236" y="74"/>
                  </a:lnTo>
                  <a:lnTo>
                    <a:pt x="1220" y="78"/>
                  </a:lnTo>
                  <a:lnTo>
                    <a:pt x="1216" y="80"/>
                  </a:lnTo>
                  <a:lnTo>
                    <a:pt x="1216" y="82"/>
                  </a:lnTo>
                  <a:lnTo>
                    <a:pt x="1216" y="84"/>
                  </a:lnTo>
                  <a:lnTo>
                    <a:pt x="1220" y="86"/>
                  </a:lnTo>
                  <a:lnTo>
                    <a:pt x="1232" y="88"/>
                  </a:lnTo>
                  <a:lnTo>
                    <a:pt x="1270" y="92"/>
                  </a:lnTo>
                  <a:lnTo>
                    <a:pt x="1308" y="94"/>
                  </a:lnTo>
                  <a:lnTo>
                    <a:pt x="1324" y="96"/>
                  </a:lnTo>
                  <a:lnTo>
                    <a:pt x="1336" y="100"/>
                  </a:lnTo>
                  <a:lnTo>
                    <a:pt x="1360" y="110"/>
                  </a:lnTo>
                  <a:lnTo>
                    <a:pt x="1370" y="114"/>
                  </a:lnTo>
                  <a:lnTo>
                    <a:pt x="1380" y="114"/>
                  </a:lnTo>
                  <a:lnTo>
                    <a:pt x="1390" y="112"/>
                  </a:lnTo>
                  <a:lnTo>
                    <a:pt x="1402" y="106"/>
                  </a:lnTo>
                  <a:lnTo>
                    <a:pt x="1412" y="98"/>
                  </a:lnTo>
                  <a:lnTo>
                    <a:pt x="1420" y="96"/>
                  </a:lnTo>
                  <a:lnTo>
                    <a:pt x="1424" y="94"/>
                  </a:lnTo>
                  <a:lnTo>
                    <a:pt x="1430" y="96"/>
                  </a:lnTo>
                  <a:lnTo>
                    <a:pt x="1438" y="98"/>
                  </a:lnTo>
                  <a:lnTo>
                    <a:pt x="1446" y="98"/>
                  </a:lnTo>
                  <a:lnTo>
                    <a:pt x="1456" y="96"/>
                  </a:lnTo>
                  <a:lnTo>
                    <a:pt x="1464" y="92"/>
                  </a:lnTo>
                  <a:lnTo>
                    <a:pt x="1468" y="88"/>
                  </a:lnTo>
                  <a:lnTo>
                    <a:pt x="1468" y="84"/>
                  </a:lnTo>
                  <a:lnTo>
                    <a:pt x="1468" y="80"/>
                  </a:lnTo>
                  <a:lnTo>
                    <a:pt x="1470" y="76"/>
                  </a:lnTo>
                  <a:lnTo>
                    <a:pt x="1476" y="72"/>
                  </a:lnTo>
                  <a:lnTo>
                    <a:pt x="1488" y="66"/>
                  </a:lnTo>
                  <a:lnTo>
                    <a:pt x="1506" y="58"/>
                  </a:lnTo>
                  <a:lnTo>
                    <a:pt x="1516" y="54"/>
                  </a:lnTo>
                  <a:lnTo>
                    <a:pt x="1522" y="48"/>
                  </a:lnTo>
                  <a:lnTo>
                    <a:pt x="1520" y="42"/>
                  </a:lnTo>
                  <a:lnTo>
                    <a:pt x="1516" y="38"/>
                  </a:lnTo>
                  <a:lnTo>
                    <a:pt x="1510" y="34"/>
                  </a:lnTo>
                  <a:lnTo>
                    <a:pt x="1502" y="30"/>
                  </a:lnTo>
                  <a:lnTo>
                    <a:pt x="1492" y="28"/>
                  </a:lnTo>
                  <a:lnTo>
                    <a:pt x="1484" y="28"/>
                  </a:lnTo>
                  <a:lnTo>
                    <a:pt x="1468" y="28"/>
                  </a:lnTo>
                  <a:lnTo>
                    <a:pt x="1450" y="24"/>
                  </a:lnTo>
                  <a:lnTo>
                    <a:pt x="1430" y="18"/>
                  </a:lnTo>
                  <a:lnTo>
                    <a:pt x="1406" y="14"/>
                  </a:lnTo>
                  <a:lnTo>
                    <a:pt x="1394" y="12"/>
                  </a:lnTo>
                  <a:lnTo>
                    <a:pt x="1388" y="14"/>
                  </a:lnTo>
                  <a:lnTo>
                    <a:pt x="1384" y="16"/>
                  </a:lnTo>
                  <a:lnTo>
                    <a:pt x="1382" y="20"/>
                  </a:lnTo>
                  <a:lnTo>
                    <a:pt x="1378" y="28"/>
                  </a:lnTo>
                  <a:lnTo>
                    <a:pt x="1374" y="30"/>
                  </a:lnTo>
                  <a:lnTo>
                    <a:pt x="1366" y="30"/>
                  </a:lnTo>
                  <a:lnTo>
                    <a:pt x="1360" y="28"/>
                  </a:lnTo>
                  <a:lnTo>
                    <a:pt x="1358" y="24"/>
                  </a:lnTo>
                  <a:lnTo>
                    <a:pt x="1358" y="20"/>
                  </a:lnTo>
                  <a:lnTo>
                    <a:pt x="1360" y="16"/>
                  </a:lnTo>
                  <a:lnTo>
                    <a:pt x="1362" y="10"/>
                  </a:lnTo>
                  <a:lnTo>
                    <a:pt x="1362" y="6"/>
                  </a:lnTo>
                  <a:lnTo>
                    <a:pt x="1360" y="4"/>
                  </a:lnTo>
                  <a:lnTo>
                    <a:pt x="1350" y="0"/>
                  </a:lnTo>
                  <a:lnTo>
                    <a:pt x="1344" y="0"/>
                  </a:lnTo>
                  <a:lnTo>
                    <a:pt x="1340" y="2"/>
                  </a:lnTo>
                  <a:lnTo>
                    <a:pt x="1334" y="4"/>
                  </a:lnTo>
                  <a:lnTo>
                    <a:pt x="1332" y="8"/>
                  </a:lnTo>
                  <a:lnTo>
                    <a:pt x="1328" y="14"/>
                  </a:lnTo>
                  <a:lnTo>
                    <a:pt x="1326" y="22"/>
                  </a:lnTo>
                  <a:lnTo>
                    <a:pt x="1324" y="36"/>
                  </a:lnTo>
                  <a:lnTo>
                    <a:pt x="1322" y="40"/>
                  </a:lnTo>
                  <a:lnTo>
                    <a:pt x="1320" y="40"/>
                  </a:lnTo>
                  <a:lnTo>
                    <a:pt x="1318" y="40"/>
                  </a:lnTo>
                  <a:lnTo>
                    <a:pt x="1314" y="36"/>
                  </a:lnTo>
                  <a:lnTo>
                    <a:pt x="1306" y="24"/>
                  </a:lnTo>
                  <a:lnTo>
                    <a:pt x="1300" y="20"/>
                  </a:lnTo>
                  <a:lnTo>
                    <a:pt x="1296" y="18"/>
                  </a:lnTo>
                  <a:lnTo>
                    <a:pt x="1292" y="18"/>
                  </a:lnTo>
                  <a:lnTo>
                    <a:pt x="1286" y="18"/>
                  </a:lnTo>
                  <a:lnTo>
                    <a:pt x="1278" y="20"/>
                  </a:lnTo>
                  <a:lnTo>
                    <a:pt x="1268" y="18"/>
                  </a:lnTo>
                  <a:lnTo>
                    <a:pt x="1252" y="16"/>
                  </a:lnTo>
                  <a:lnTo>
                    <a:pt x="1232" y="8"/>
                  </a:lnTo>
                  <a:lnTo>
                    <a:pt x="1216" y="2"/>
                  </a:lnTo>
                  <a:lnTo>
                    <a:pt x="1208" y="2"/>
                  </a:lnTo>
                  <a:lnTo>
                    <a:pt x="1208" y="4"/>
                  </a:lnTo>
                  <a:lnTo>
                    <a:pt x="1212" y="10"/>
                  </a:lnTo>
                  <a:lnTo>
                    <a:pt x="1216" y="16"/>
                  </a:lnTo>
                  <a:lnTo>
                    <a:pt x="1216" y="20"/>
                  </a:lnTo>
                  <a:lnTo>
                    <a:pt x="1216" y="22"/>
                  </a:lnTo>
                  <a:lnTo>
                    <a:pt x="1212" y="22"/>
                  </a:lnTo>
                  <a:lnTo>
                    <a:pt x="1200" y="16"/>
                  </a:lnTo>
                  <a:lnTo>
                    <a:pt x="1188" y="12"/>
                  </a:lnTo>
                  <a:lnTo>
                    <a:pt x="1182" y="12"/>
                  </a:lnTo>
                  <a:lnTo>
                    <a:pt x="1184" y="14"/>
                  </a:lnTo>
                  <a:lnTo>
                    <a:pt x="1188" y="18"/>
                  </a:lnTo>
                  <a:lnTo>
                    <a:pt x="1192" y="24"/>
                  </a:lnTo>
                  <a:lnTo>
                    <a:pt x="1194" y="28"/>
                  </a:lnTo>
                  <a:lnTo>
                    <a:pt x="1194" y="30"/>
                  </a:lnTo>
                  <a:lnTo>
                    <a:pt x="1190" y="30"/>
                  </a:lnTo>
                  <a:lnTo>
                    <a:pt x="1180" y="28"/>
                  </a:lnTo>
                  <a:lnTo>
                    <a:pt x="1166" y="26"/>
                  </a:lnTo>
                  <a:lnTo>
                    <a:pt x="1154" y="24"/>
                  </a:lnTo>
                  <a:lnTo>
                    <a:pt x="1148" y="24"/>
                  </a:lnTo>
                  <a:lnTo>
                    <a:pt x="1142" y="26"/>
                  </a:lnTo>
                  <a:lnTo>
                    <a:pt x="1142" y="30"/>
                  </a:lnTo>
                  <a:lnTo>
                    <a:pt x="1144" y="34"/>
                  </a:lnTo>
                  <a:lnTo>
                    <a:pt x="1148" y="38"/>
                  </a:lnTo>
                  <a:lnTo>
                    <a:pt x="1156" y="42"/>
                  </a:lnTo>
                  <a:close/>
                  <a:moveTo>
                    <a:pt x="388" y="1446"/>
                  </a:moveTo>
                  <a:lnTo>
                    <a:pt x="388" y="1446"/>
                  </a:lnTo>
                  <a:lnTo>
                    <a:pt x="384" y="1448"/>
                  </a:lnTo>
                  <a:lnTo>
                    <a:pt x="384" y="1450"/>
                  </a:lnTo>
                  <a:lnTo>
                    <a:pt x="384" y="1452"/>
                  </a:lnTo>
                  <a:lnTo>
                    <a:pt x="386" y="1456"/>
                  </a:lnTo>
                  <a:lnTo>
                    <a:pt x="388" y="1454"/>
                  </a:lnTo>
                  <a:lnTo>
                    <a:pt x="390" y="1452"/>
                  </a:lnTo>
                  <a:lnTo>
                    <a:pt x="390" y="1448"/>
                  </a:lnTo>
                  <a:lnTo>
                    <a:pt x="388" y="1446"/>
                  </a:lnTo>
                  <a:close/>
                  <a:moveTo>
                    <a:pt x="164" y="1358"/>
                  </a:moveTo>
                  <a:lnTo>
                    <a:pt x="164" y="1358"/>
                  </a:lnTo>
                  <a:lnTo>
                    <a:pt x="166" y="1356"/>
                  </a:lnTo>
                  <a:lnTo>
                    <a:pt x="168" y="1358"/>
                  </a:lnTo>
                  <a:lnTo>
                    <a:pt x="170" y="1356"/>
                  </a:lnTo>
                  <a:lnTo>
                    <a:pt x="172" y="1354"/>
                  </a:lnTo>
                  <a:lnTo>
                    <a:pt x="170" y="1354"/>
                  </a:lnTo>
                  <a:lnTo>
                    <a:pt x="168" y="1350"/>
                  </a:lnTo>
                  <a:lnTo>
                    <a:pt x="164" y="1346"/>
                  </a:lnTo>
                  <a:lnTo>
                    <a:pt x="164" y="1348"/>
                  </a:lnTo>
                  <a:lnTo>
                    <a:pt x="164" y="1350"/>
                  </a:lnTo>
                  <a:lnTo>
                    <a:pt x="164" y="1352"/>
                  </a:lnTo>
                  <a:lnTo>
                    <a:pt x="164" y="1354"/>
                  </a:lnTo>
                  <a:lnTo>
                    <a:pt x="164" y="1358"/>
                  </a:lnTo>
                  <a:close/>
                  <a:moveTo>
                    <a:pt x="148" y="1644"/>
                  </a:moveTo>
                  <a:lnTo>
                    <a:pt x="148" y="1644"/>
                  </a:lnTo>
                  <a:lnTo>
                    <a:pt x="150" y="1642"/>
                  </a:lnTo>
                  <a:lnTo>
                    <a:pt x="150" y="1640"/>
                  </a:lnTo>
                  <a:lnTo>
                    <a:pt x="152" y="1636"/>
                  </a:lnTo>
                  <a:lnTo>
                    <a:pt x="156" y="1634"/>
                  </a:lnTo>
                  <a:lnTo>
                    <a:pt x="160" y="1634"/>
                  </a:lnTo>
                  <a:lnTo>
                    <a:pt x="162" y="1634"/>
                  </a:lnTo>
                  <a:lnTo>
                    <a:pt x="162" y="1632"/>
                  </a:lnTo>
                  <a:lnTo>
                    <a:pt x="162" y="1630"/>
                  </a:lnTo>
                  <a:lnTo>
                    <a:pt x="164" y="1630"/>
                  </a:lnTo>
                  <a:lnTo>
                    <a:pt x="166" y="1628"/>
                  </a:lnTo>
                  <a:lnTo>
                    <a:pt x="166" y="1626"/>
                  </a:lnTo>
                  <a:lnTo>
                    <a:pt x="164" y="1624"/>
                  </a:lnTo>
                  <a:lnTo>
                    <a:pt x="166" y="1622"/>
                  </a:lnTo>
                  <a:lnTo>
                    <a:pt x="164" y="1620"/>
                  </a:lnTo>
                  <a:lnTo>
                    <a:pt x="166" y="1618"/>
                  </a:lnTo>
                  <a:lnTo>
                    <a:pt x="168" y="1618"/>
                  </a:lnTo>
                  <a:lnTo>
                    <a:pt x="170" y="1618"/>
                  </a:lnTo>
                  <a:lnTo>
                    <a:pt x="174" y="1616"/>
                  </a:lnTo>
                  <a:lnTo>
                    <a:pt x="176" y="1614"/>
                  </a:lnTo>
                  <a:lnTo>
                    <a:pt x="172" y="1614"/>
                  </a:lnTo>
                  <a:lnTo>
                    <a:pt x="168" y="1614"/>
                  </a:lnTo>
                  <a:lnTo>
                    <a:pt x="172" y="1610"/>
                  </a:lnTo>
                  <a:lnTo>
                    <a:pt x="174" y="1606"/>
                  </a:lnTo>
                  <a:lnTo>
                    <a:pt x="174" y="1600"/>
                  </a:lnTo>
                  <a:lnTo>
                    <a:pt x="172" y="1598"/>
                  </a:lnTo>
                  <a:lnTo>
                    <a:pt x="170" y="1598"/>
                  </a:lnTo>
                  <a:lnTo>
                    <a:pt x="164" y="1602"/>
                  </a:lnTo>
                  <a:lnTo>
                    <a:pt x="158" y="1606"/>
                  </a:lnTo>
                  <a:lnTo>
                    <a:pt x="150" y="1610"/>
                  </a:lnTo>
                  <a:lnTo>
                    <a:pt x="148" y="1612"/>
                  </a:lnTo>
                  <a:lnTo>
                    <a:pt x="148" y="1614"/>
                  </a:lnTo>
                  <a:lnTo>
                    <a:pt x="148" y="1616"/>
                  </a:lnTo>
                  <a:lnTo>
                    <a:pt x="148" y="1620"/>
                  </a:lnTo>
                  <a:lnTo>
                    <a:pt x="146" y="1620"/>
                  </a:lnTo>
                  <a:lnTo>
                    <a:pt x="144" y="1618"/>
                  </a:lnTo>
                  <a:lnTo>
                    <a:pt x="142" y="1616"/>
                  </a:lnTo>
                  <a:lnTo>
                    <a:pt x="140" y="1616"/>
                  </a:lnTo>
                  <a:lnTo>
                    <a:pt x="136" y="1622"/>
                  </a:lnTo>
                  <a:lnTo>
                    <a:pt x="136" y="1624"/>
                  </a:lnTo>
                  <a:lnTo>
                    <a:pt x="138" y="1628"/>
                  </a:lnTo>
                  <a:lnTo>
                    <a:pt x="140" y="1630"/>
                  </a:lnTo>
                  <a:lnTo>
                    <a:pt x="138" y="1632"/>
                  </a:lnTo>
                  <a:lnTo>
                    <a:pt x="144" y="1636"/>
                  </a:lnTo>
                  <a:lnTo>
                    <a:pt x="146" y="1636"/>
                  </a:lnTo>
                  <a:lnTo>
                    <a:pt x="142" y="1638"/>
                  </a:lnTo>
                  <a:lnTo>
                    <a:pt x="138" y="1642"/>
                  </a:lnTo>
                  <a:lnTo>
                    <a:pt x="136" y="1644"/>
                  </a:lnTo>
                  <a:lnTo>
                    <a:pt x="138" y="1646"/>
                  </a:lnTo>
                  <a:lnTo>
                    <a:pt x="140" y="1648"/>
                  </a:lnTo>
                  <a:lnTo>
                    <a:pt x="142" y="1648"/>
                  </a:lnTo>
                  <a:lnTo>
                    <a:pt x="144" y="1644"/>
                  </a:lnTo>
                  <a:lnTo>
                    <a:pt x="148" y="1644"/>
                  </a:lnTo>
                  <a:close/>
                  <a:moveTo>
                    <a:pt x="84" y="2020"/>
                  </a:moveTo>
                  <a:lnTo>
                    <a:pt x="84" y="2020"/>
                  </a:lnTo>
                  <a:lnTo>
                    <a:pt x="88" y="2008"/>
                  </a:lnTo>
                  <a:lnTo>
                    <a:pt x="90" y="2008"/>
                  </a:lnTo>
                  <a:lnTo>
                    <a:pt x="92" y="2012"/>
                  </a:lnTo>
                  <a:lnTo>
                    <a:pt x="94" y="2014"/>
                  </a:lnTo>
                  <a:lnTo>
                    <a:pt x="96" y="2014"/>
                  </a:lnTo>
                  <a:lnTo>
                    <a:pt x="106" y="2008"/>
                  </a:lnTo>
                  <a:lnTo>
                    <a:pt x="120" y="2000"/>
                  </a:lnTo>
                  <a:lnTo>
                    <a:pt x="126" y="1996"/>
                  </a:lnTo>
                  <a:lnTo>
                    <a:pt x="132" y="1994"/>
                  </a:lnTo>
                  <a:lnTo>
                    <a:pt x="142" y="1992"/>
                  </a:lnTo>
                  <a:lnTo>
                    <a:pt x="148" y="1990"/>
                  </a:lnTo>
                  <a:lnTo>
                    <a:pt x="152" y="1990"/>
                  </a:lnTo>
                  <a:lnTo>
                    <a:pt x="160" y="1990"/>
                  </a:lnTo>
                  <a:lnTo>
                    <a:pt x="166" y="1992"/>
                  </a:lnTo>
                  <a:lnTo>
                    <a:pt x="168" y="1988"/>
                  </a:lnTo>
                  <a:lnTo>
                    <a:pt x="168" y="1980"/>
                  </a:lnTo>
                  <a:lnTo>
                    <a:pt x="168" y="1974"/>
                  </a:lnTo>
                  <a:lnTo>
                    <a:pt x="172" y="1966"/>
                  </a:lnTo>
                  <a:lnTo>
                    <a:pt x="176" y="1958"/>
                  </a:lnTo>
                  <a:lnTo>
                    <a:pt x="178" y="1950"/>
                  </a:lnTo>
                  <a:lnTo>
                    <a:pt x="180" y="1934"/>
                  </a:lnTo>
                  <a:lnTo>
                    <a:pt x="178" y="1920"/>
                  </a:lnTo>
                  <a:lnTo>
                    <a:pt x="174" y="1906"/>
                  </a:lnTo>
                  <a:lnTo>
                    <a:pt x="168" y="1888"/>
                  </a:lnTo>
                  <a:lnTo>
                    <a:pt x="166" y="1884"/>
                  </a:lnTo>
                  <a:lnTo>
                    <a:pt x="170" y="1884"/>
                  </a:lnTo>
                  <a:lnTo>
                    <a:pt x="172" y="1882"/>
                  </a:lnTo>
                  <a:lnTo>
                    <a:pt x="172" y="1880"/>
                  </a:lnTo>
                  <a:lnTo>
                    <a:pt x="168" y="1874"/>
                  </a:lnTo>
                  <a:lnTo>
                    <a:pt x="172" y="1874"/>
                  </a:lnTo>
                  <a:lnTo>
                    <a:pt x="176" y="1876"/>
                  </a:lnTo>
                  <a:lnTo>
                    <a:pt x="178" y="1878"/>
                  </a:lnTo>
                  <a:lnTo>
                    <a:pt x="180" y="1878"/>
                  </a:lnTo>
                  <a:lnTo>
                    <a:pt x="186" y="1870"/>
                  </a:lnTo>
                  <a:lnTo>
                    <a:pt x="190" y="1866"/>
                  </a:lnTo>
                  <a:lnTo>
                    <a:pt x="194" y="1866"/>
                  </a:lnTo>
                  <a:lnTo>
                    <a:pt x="196" y="1864"/>
                  </a:lnTo>
                  <a:lnTo>
                    <a:pt x="198" y="1862"/>
                  </a:lnTo>
                  <a:lnTo>
                    <a:pt x="196" y="1858"/>
                  </a:lnTo>
                  <a:lnTo>
                    <a:pt x="194" y="1858"/>
                  </a:lnTo>
                  <a:lnTo>
                    <a:pt x="192" y="1858"/>
                  </a:lnTo>
                  <a:lnTo>
                    <a:pt x="194" y="1854"/>
                  </a:lnTo>
                  <a:lnTo>
                    <a:pt x="196" y="1850"/>
                  </a:lnTo>
                  <a:lnTo>
                    <a:pt x="196" y="1848"/>
                  </a:lnTo>
                  <a:lnTo>
                    <a:pt x="196" y="1850"/>
                  </a:lnTo>
                  <a:lnTo>
                    <a:pt x="200" y="1858"/>
                  </a:lnTo>
                  <a:lnTo>
                    <a:pt x="202" y="1858"/>
                  </a:lnTo>
                  <a:lnTo>
                    <a:pt x="204" y="1856"/>
                  </a:lnTo>
                  <a:lnTo>
                    <a:pt x="204" y="1850"/>
                  </a:lnTo>
                  <a:lnTo>
                    <a:pt x="202" y="1844"/>
                  </a:lnTo>
                  <a:lnTo>
                    <a:pt x="198" y="1840"/>
                  </a:lnTo>
                  <a:lnTo>
                    <a:pt x="196" y="1838"/>
                  </a:lnTo>
                  <a:lnTo>
                    <a:pt x="194" y="1838"/>
                  </a:lnTo>
                  <a:lnTo>
                    <a:pt x="186" y="1840"/>
                  </a:lnTo>
                  <a:lnTo>
                    <a:pt x="184" y="1840"/>
                  </a:lnTo>
                  <a:lnTo>
                    <a:pt x="186" y="1838"/>
                  </a:lnTo>
                  <a:lnTo>
                    <a:pt x="192" y="1834"/>
                  </a:lnTo>
                  <a:lnTo>
                    <a:pt x="194" y="1832"/>
                  </a:lnTo>
                  <a:lnTo>
                    <a:pt x="192" y="1828"/>
                  </a:lnTo>
                  <a:lnTo>
                    <a:pt x="190" y="1828"/>
                  </a:lnTo>
                  <a:lnTo>
                    <a:pt x="186" y="1826"/>
                  </a:lnTo>
                  <a:lnTo>
                    <a:pt x="182" y="1820"/>
                  </a:lnTo>
                  <a:lnTo>
                    <a:pt x="176" y="1808"/>
                  </a:lnTo>
                  <a:lnTo>
                    <a:pt x="174" y="1806"/>
                  </a:lnTo>
                  <a:lnTo>
                    <a:pt x="172" y="1804"/>
                  </a:lnTo>
                  <a:lnTo>
                    <a:pt x="164" y="1806"/>
                  </a:lnTo>
                  <a:lnTo>
                    <a:pt x="156" y="1808"/>
                  </a:lnTo>
                  <a:lnTo>
                    <a:pt x="148" y="1808"/>
                  </a:lnTo>
                  <a:lnTo>
                    <a:pt x="142" y="1810"/>
                  </a:lnTo>
                  <a:lnTo>
                    <a:pt x="140" y="1812"/>
                  </a:lnTo>
                  <a:lnTo>
                    <a:pt x="138" y="1814"/>
                  </a:lnTo>
                  <a:lnTo>
                    <a:pt x="130" y="1816"/>
                  </a:lnTo>
                  <a:lnTo>
                    <a:pt x="126" y="1818"/>
                  </a:lnTo>
                  <a:lnTo>
                    <a:pt x="124" y="1822"/>
                  </a:lnTo>
                  <a:lnTo>
                    <a:pt x="122" y="1828"/>
                  </a:lnTo>
                  <a:lnTo>
                    <a:pt x="120" y="1834"/>
                  </a:lnTo>
                  <a:lnTo>
                    <a:pt x="116" y="1836"/>
                  </a:lnTo>
                  <a:lnTo>
                    <a:pt x="112" y="1836"/>
                  </a:lnTo>
                  <a:lnTo>
                    <a:pt x="116" y="1836"/>
                  </a:lnTo>
                  <a:lnTo>
                    <a:pt x="120" y="1832"/>
                  </a:lnTo>
                  <a:lnTo>
                    <a:pt x="122" y="1826"/>
                  </a:lnTo>
                  <a:lnTo>
                    <a:pt x="124" y="1818"/>
                  </a:lnTo>
                  <a:lnTo>
                    <a:pt x="128" y="1816"/>
                  </a:lnTo>
                  <a:lnTo>
                    <a:pt x="132" y="1814"/>
                  </a:lnTo>
                  <a:lnTo>
                    <a:pt x="132" y="1810"/>
                  </a:lnTo>
                  <a:lnTo>
                    <a:pt x="134" y="1808"/>
                  </a:lnTo>
                  <a:lnTo>
                    <a:pt x="138" y="1806"/>
                  </a:lnTo>
                  <a:lnTo>
                    <a:pt x="140" y="1804"/>
                  </a:lnTo>
                  <a:lnTo>
                    <a:pt x="134" y="1798"/>
                  </a:lnTo>
                  <a:lnTo>
                    <a:pt x="130" y="1796"/>
                  </a:lnTo>
                  <a:lnTo>
                    <a:pt x="126" y="1796"/>
                  </a:lnTo>
                  <a:lnTo>
                    <a:pt x="124" y="1798"/>
                  </a:lnTo>
                  <a:lnTo>
                    <a:pt x="122" y="1800"/>
                  </a:lnTo>
                  <a:lnTo>
                    <a:pt x="118" y="1804"/>
                  </a:lnTo>
                  <a:lnTo>
                    <a:pt x="116" y="1804"/>
                  </a:lnTo>
                  <a:lnTo>
                    <a:pt x="112" y="1804"/>
                  </a:lnTo>
                  <a:lnTo>
                    <a:pt x="104" y="1806"/>
                  </a:lnTo>
                  <a:lnTo>
                    <a:pt x="94" y="1810"/>
                  </a:lnTo>
                  <a:lnTo>
                    <a:pt x="86" y="1816"/>
                  </a:lnTo>
                  <a:lnTo>
                    <a:pt x="84" y="1820"/>
                  </a:lnTo>
                  <a:lnTo>
                    <a:pt x="84" y="1824"/>
                  </a:lnTo>
                  <a:lnTo>
                    <a:pt x="84" y="1828"/>
                  </a:lnTo>
                  <a:lnTo>
                    <a:pt x="82" y="1830"/>
                  </a:lnTo>
                  <a:lnTo>
                    <a:pt x="76" y="1834"/>
                  </a:lnTo>
                  <a:lnTo>
                    <a:pt x="70" y="1836"/>
                  </a:lnTo>
                  <a:lnTo>
                    <a:pt x="68" y="1838"/>
                  </a:lnTo>
                  <a:lnTo>
                    <a:pt x="68" y="1840"/>
                  </a:lnTo>
                  <a:lnTo>
                    <a:pt x="70" y="1842"/>
                  </a:lnTo>
                  <a:lnTo>
                    <a:pt x="76" y="1842"/>
                  </a:lnTo>
                  <a:lnTo>
                    <a:pt x="86" y="1842"/>
                  </a:lnTo>
                  <a:lnTo>
                    <a:pt x="94" y="1844"/>
                  </a:lnTo>
                  <a:lnTo>
                    <a:pt x="94" y="1846"/>
                  </a:lnTo>
                  <a:lnTo>
                    <a:pt x="90" y="1848"/>
                  </a:lnTo>
                  <a:lnTo>
                    <a:pt x="82" y="1856"/>
                  </a:lnTo>
                  <a:lnTo>
                    <a:pt x="78" y="1862"/>
                  </a:lnTo>
                  <a:lnTo>
                    <a:pt x="74" y="1866"/>
                  </a:lnTo>
                  <a:lnTo>
                    <a:pt x="70" y="1866"/>
                  </a:lnTo>
                  <a:lnTo>
                    <a:pt x="62" y="1864"/>
                  </a:lnTo>
                  <a:lnTo>
                    <a:pt x="58" y="1866"/>
                  </a:lnTo>
                  <a:lnTo>
                    <a:pt x="54" y="1866"/>
                  </a:lnTo>
                  <a:lnTo>
                    <a:pt x="48" y="1864"/>
                  </a:lnTo>
                  <a:lnTo>
                    <a:pt x="40" y="1860"/>
                  </a:lnTo>
                  <a:lnTo>
                    <a:pt x="30" y="1860"/>
                  </a:lnTo>
                  <a:lnTo>
                    <a:pt x="22" y="1862"/>
                  </a:lnTo>
                  <a:lnTo>
                    <a:pt x="14" y="1868"/>
                  </a:lnTo>
                  <a:lnTo>
                    <a:pt x="14" y="1870"/>
                  </a:lnTo>
                  <a:lnTo>
                    <a:pt x="18" y="1870"/>
                  </a:lnTo>
                  <a:lnTo>
                    <a:pt x="20" y="1870"/>
                  </a:lnTo>
                  <a:lnTo>
                    <a:pt x="20" y="1872"/>
                  </a:lnTo>
                  <a:lnTo>
                    <a:pt x="20" y="1874"/>
                  </a:lnTo>
                  <a:lnTo>
                    <a:pt x="18" y="1878"/>
                  </a:lnTo>
                  <a:lnTo>
                    <a:pt x="16" y="1884"/>
                  </a:lnTo>
                  <a:lnTo>
                    <a:pt x="18" y="1886"/>
                  </a:lnTo>
                  <a:lnTo>
                    <a:pt x="22" y="1888"/>
                  </a:lnTo>
                  <a:lnTo>
                    <a:pt x="28" y="1888"/>
                  </a:lnTo>
                  <a:lnTo>
                    <a:pt x="38" y="1888"/>
                  </a:lnTo>
                  <a:lnTo>
                    <a:pt x="38" y="1890"/>
                  </a:lnTo>
                  <a:lnTo>
                    <a:pt x="34" y="1892"/>
                  </a:lnTo>
                  <a:lnTo>
                    <a:pt x="24" y="1898"/>
                  </a:lnTo>
                  <a:lnTo>
                    <a:pt x="22" y="1900"/>
                  </a:lnTo>
                  <a:lnTo>
                    <a:pt x="20" y="1904"/>
                  </a:lnTo>
                  <a:lnTo>
                    <a:pt x="16" y="1908"/>
                  </a:lnTo>
                  <a:lnTo>
                    <a:pt x="14" y="1912"/>
                  </a:lnTo>
                  <a:lnTo>
                    <a:pt x="16" y="1914"/>
                  </a:lnTo>
                  <a:lnTo>
                    <a:pt x="24" y="1922"/>
                  </a:lnTo>
                  <a:lnTo>
                    <a:pt x="36" y="1928"/>
                  </a:lnTo>
                  <a:lnTo>
                    <a:pt x="40" y="1928"/>
                  </a:lnTo>
                  <a:lnTo>
                    <a:pt x="44" y="1928"/>
                  </a:lnTo>
                  <a:lnTo>
                    <a:pt x="52" y="1926"/>
                  </a:lnTo>
                  <a:lnTo>
                    <a:pt x="58" y="1928"/>
                  </a:lnTo>
                  <a:lnTo>
                    <a:pt x="60" y="1928"/>
                  </a:lnTo>
                  <a:lnTo>
                    <a:pt x="60" y="1930"/>
                  </a:lnTo>
                  <a:lnTo>
                    <a:pt x="50" y="1934"/>
                  </a:lnTo>
                  <a:lnTo>
                    <a:pt x="44" y="1936"/>
                  </a:lnTo>
                  <a:lnTo>
                    <a:pt x="42" y="1938"/>
                  </a:lnTo>
                  <a:lnTo>
                    <a:pt x="42" y="1940"/>
                  </a:lnTo>
                  <a:lnTo>
                    <a:pt x="42" y="1944"/>
                  </a:lnTo>
                  <a:lnTo>
                    <a:pt x="42" y="1948"/>
                  </a:lnTo>
                  <a:lnTo>
                    <a:pt x="40" y="1952"/>
                  </a:lnTo>
                  <a:lnTo>
                    <a:pt x="36" y="1956"/>
                  </a:lnTo>
                  <a:lnTo>
                    <a:pt x="28" y="1962"/>
                  </a:lnTo>
                  <a:lnTo>
                    <a:pt x="22" y="1966"/>
                  </a:lnTo>
                  <a:lnTo>
                    <a:pt x="22" y="1968"/>
                  </a:lnTo>
                  <a:lnTo>
                    <a:pt x="26" y="1968"/>
                  </a:lnTo>
                  <a:lnTo>
                    <a:pt x="30" y="1968"/>
                  </a:lnTo>
                  <a:lnTo>
                    <a:pt x="58" y="1960"/>
                  </a:lnTo>
                  <a:lnTo>
                    <a:pt x="64" y="1960"/>
                  </a:lnTo>
                  <a:lnTo>
                    <a:pt x="66" y="1960"/>
                  </a:lnTo>
                  <a:lnTo>
                    <a:pt x="66" y="1962"/>
                  </a:lnTo>
                  <a:lnTo>
                    <a:pt x="66" y="1964"/>
                  </a:lnTo>
                  <a:lnTo>
                    <a:pt x="62" y="1966"/>
                  </a:lnTo>
                  <a:lnTo>
                    <a:pt x="50" y="1968"/>
                  </a:lnTo>
                  <a:lnTo>
                    <a:pt x="36" y="1970"/>
                  </a:lnTo>
                  <a:lnTo>
                    <a:pt x="28" y="1974"/>
                  </a:lnTo>
                  <a:lnTo>
                    <a:pt x="24" y="1978"/>
                  </a:lnTo>
                  <a:lnTo>
                    <a:pt x="26" y="1982"/>
                  </a:lnTo>
                  <a:lnTo>
                    <a:pt x="28" y="1984"/>
                  </a:lnTo>
                  <a:lnTo>
                    <a:pt x="26" y="1986"/>
                  </a:lnTo>
                  <a:lnTo>
                    <a:pt x="22" y="1984"/>
                  </a:lnTo>
                  <a:lnTo>
                    <a:pt x="14" y="1984"/>
                  </a:lnTo>
                  <a:lnTo>
                    <a:pt x="10" y="1986"/>
                  </a:lnTo>
                  <a:lnTo>
                    <a:pt x="4" y="1988"/>
                  </a:lnTo>
                  <a:lnTo>
                    <a:pt x="0" y="1994"/>
                  </a:lnTo>
                  <a:lnTo>
                    <a:pt x="0" y="1996"/>
                  </a:lnTo>
                  <a:lnTo>
                    <a:pt x="2" y="1996"/>
                  </a:lnTo>
                  <a:lnTo>
                    <a:pt x="6" y="1996"/>
                  </a:lnTo>
                  <a:lnTo>
                    <a:pt x="10" y="1996"/>
                  </a:lnTo>
                  <a:lnTo>
                    <a:pt x="14" y="1996"/>
                  </a:lnTo>
                  <a:lnTo>
                    <a:pt x="14" y="2000"/>
                  </a:lnTo>
                  <a:lnTo>
                    <a:pt x="10" y="2004"/>
                  </a:lnTo>
                  <a:lnTo>
                    <a:pt x="6" y="2010"/>
                  </a:lnTo>
                  <a:lnTo>
                    <a:pt x="4" y="2012"/>
                  </a:lnTo>
                  <a:lnTo>
                    <a:pt x="8" y="2014"/>
                  </a:lnTo>
                  <a:lnTo>
                    <a:pt x="12" y="2016"/>
                  </a:lnTo>
                  <a:lnTo>
                    <a:pt x="18" y="2018"/>
                  </a:lnTo>
                  <a:lnTo>
                    <a:pt x="20" y="2020"/>
                  </a:lnTo>
                  <a:lnTo>
                    <a:pt x="16" y="2024"/>
                  </a:lnTo>
                  <a:lnTo>
                    <a:pt x="14" y="2026"/>
                  </a:lnTo>
                  <a:lnTo>
                    <a:pt x="16" y="2026"/>
                  </a:lnTo>
                  <a:lnTo>
                    <a:pt x="28" y="2022"/>
                  </a:lnTo>
                  <a:lnTo>
                    <a:pt x="36" y="2020"/>
                  </a:lnTo>
                  <a:lnTo>
                    <a:pt x="36" y="2022"/>
                  </a:lnTo>
                  <a:lnTo>
                    <a:pt x="30" y="2026"/>
                  </a:lnTo>
                  <a:lnTo>
                    <a:pt x="28" y="2030"/>
                  </a:lnTo>
                  <a:lnTo>
                    <a:pt x="28" y="2032"/>
                  </a:lnTo>
                  <a:lnTo>
                    <a:pt x="30" y="2034"/>
                  </a:lnTo>
                  <a:lnTo>
                    <a:pt x="38" y="2034"/>
                  </a:lnTo>
                  <a:lnTo>
                    <a:pt x="48" y="2032"/>
                  </a:lnTo>
                  <a:lnTo>
                    <a:pt x="70" y="2028"/>
                  </a:lnTo>
                  <a:lnTo>
                    <a:pt x="78" y="2024"/>
                  </a:lnTo>
                  <a:lnTo>
                    <a:pt x="84" y="2020"/>
                  </a:lnTo>
                  <a:close/>
                  <a:moveTo>
                    <a:pt x="154" y="1672"/>
                  </a:moveTo>
                  <a:lnTo>
                    <a:pt x="154" y="1672"/>
                  </a:lnTo>
                  <a:lnTo>
                    <a:pt x="156" y="1672"/>
                  </a:lnTo>
                  <a:lnTo>
                    <a:pt x="158" y="1670"/>
                  </a:lnTo>
                  <a:lnTo>
                    <a:pt x="162" y="1672"/>
                  </a:lnTo>
                  <a:lnTo>
                    <a:pt x="162" y="1674"/>
                  </a:lnTo>
                  <a:lnTo>
                    <a:pt x="162" y="1676"/>
                  </a:lnTo>
                  <a:lnTo>
                    <a:pt x="162" y="1678"/>
                  </a:lnTo>
                  <a:lnTo>
                    <a:pt x="164" y="1682"/>
                  </a:lnTo>
                  <a:lnTo>
                    <a:pt x="168" y="1684"/>
                  </a:lnTo>
                  <a:lnTo>
                    <a:pt x="170" y="1684"/>
                  </a:lnTo>
                  <a:lnTo>
                    <a:pt x="174" y="1682"/>
                  </a:lnTo>
                  <a:lnTo>
                    <a:pt x="180" y="1682"/>
                  </a:lnTo>
                  <a:lnTo>
                    <a:pt x="182" y="1684"/>
                  </a:lnTo>
                  <a:lnTo>
                    <a:pt x="182" y="1688"/>
                  </a:lnTo>
                  <a:lnTo>
                    <a:pt x="180" y="1692"/>
                  </a:lnTo>
                  <a:lnTo>
                    <a:pt x="180" y="1694"/>
                  </a:lnTo>
                  <a:lnTo>
                    <a:pt x="182" y="1692"/>
                  </a:lnTo>
                  <a:lnTo>
                    <a:pt x="186" y="1688"/>
                  </a:lnTo>
                  <a:lnTo>
                    <a:pt x="192" y="1678"/>
                  </a:lnTo>
                  <a:lnTo>
                    <a:pt x="192" y="1676"/>
                  </a:lnTo>
                  <a:lnTo>
                    <a:pt x="190" y="1676"/>
                  </a:lnTo>
                  <a:lnTo>
                    <a:pt x="184" y="1678"/>
                  </a:lnTo>
                  <a:lnTo>
                    <a:pt x="180" y="1676"/>
                  </a:lnTo>
                  <a:lnTo>
                    <a:pt x="178" y="1674"/>
                  </a:lnTo>
                  <a:lnTo>
                    <a:pt x="176" y="1672"/>
                  </a:lnTo>
                  <a:lnTo>
                    <a:pt x="174" y="1662"/>
                  </a:lnTo>
                  <a:lnTo>
                    <a:pt x="172" y="1654"/>
                  </a:lnTo>
                  <a:lnTo>
                    <a:pt x="170" y="1652"/>
                  </a:lnTo>
                  <a:lnTo>
                    <a:pt x="168" y="1650"/>
                  </a:lnTo>
                  <a:lnTo>
                    <a:pt x="166" y="1650"/>
                  </a:lnTo>
                  <a:lnTo>
                    <a:pt x="166" y="1652"/>
                  </a:lnTo>
                  <a:lnTo>
                    <a:pt x="166" y="1656"/>
                  </a:lnTo>
                  <a:lnTo>
                    <a:pt x="166" y="1662"/>
                  </a:lnTo>
                  <a:lnTo>
                    <a:pt x="166" y="1664"/>
                  </a:lnTo>
                  <a:lnTo>
                    <a:pt x="162" y="1664"/>
                  </a:lnTo>
                  <a:lnTo>
                    <a:pt x="160" y="1660"/>
                  </a:lnTo>
                  <a:lnTo>
                    <a:pt x="158" y="1658"/>
                  </a:lnTo>
                  <a:lnTo>
                    <a:pt x="154" y="1656"/>
                  </a:lnTo>
                  <a:lnTo>
                    <a:pt x="154" y="1658"/>
                  </a:lnTo>
                  <a:lnTo>
                    <a:pt x="154" y="1660"/>
                  </a:lnTo>
                  <a:lnTo>
                    <a:pt x="156" y="1664"/>
                  </a:lnTo>
                  <a:lnTo>
                    <a:pt x="154" y="1666"/>
                  </a:lnTo>
                  <a:lnTo>
                    <a:pt x="150" y="1666"/>
                  </a:lnTo>
                  <a:lnTo>
                    <a:pt x="150" y="1668"/>
                  </a:lnTo>
                  <a:lnTo>
                    <a:pt x="154" y="1672"/>
                  </a:lnTo>
                  <a:close/>
                  <a:moveTo>
                    <a:pt x="146" y="1346"/>
                  </a:moveTo>
                  <a:lnTo>
                    <a:pt x="146" y="1346"/>
                  </a:lnTo>
                  <a:lnTo>
                    <a:pt x="142" y="1346"/>
                  </a:lnTo>
                  <a:lnTo>
                    <a:pt x="144" y="1352"/>
                  </a:lnTo>
                  <a:lnTo>
                    <a:pt x="148" y="1358"/>
                  </a:lnTo>
                  <a:lnTo>
                    <a:pt x="154" y="1362"/>
                  </a:lnTo>
                  <a:lnTo>
                    <a:pt x="158" y="1364"/>
                  </a:lnTo>
                  <a:lnTo>
                    <a:pt x="160" y="1364"/>
                  </a:lnTo>
                  <a:lnTo>
                    <a:pt x="162" y="1362"/>
                  </a:lnTo>
                  <a:lnTo>
                    <a:pt x="160" y="1360"/>
                  </a:lnTo>
                  <a:lnTo>
                    <a:pt x="158" y="1358"/>
                  </a:lnTo>
                  <a:lnTo>
                    <a:pt x="160" y="1358"/>
                  </a:lnTo>
                  <a:lnTo>
                    <a:pt x="160" y="1356"/>
                  </a:lnTo>
                  <a:lnTo>
                    <a:pt x="158" y="1356"/>
                  </a:lnTo>
                  <a:lnTo>
                    <a:pt x="154" y="1354"/>
                  </a:lnTo>
                  <a:lnTo>
                    <a:pt x="154" y="1352"/>
                  </a:lnTo>
                  <a:lnTo>
                    <a:pt x="154" y="1350"/>
                  </a:lnTo>
                  <a:lnTo>
                    <a:pt x="152" y="1350"/>
                  </a:lnTo>
                  <a:lnTo>
                    <a:pt x="148" y="1350"/>
                  </a:lnTo>
                  <a:lnTo>
                    <a:pt x="148" y="1348"/>
                  </a:lnTo>
                  <a:lnTo>
                    <a:pt x="148" y="1346"/>
                  </a:lnTo>
                  <a:lnTo>
                    <a:pt x="146" y="1346"/>
                  </a:lnTo>
                  <a:close/>
                  <a:moveTo>
                    <a:pt x="166" y="1740"/>
                  </a:moveTo>
                  <a:lnTo>
                    <a:pt x="166" y="1740"/>
                  </a:lnTo>
                  <a:lnTo>
                    <a:pt x="166" y="1742"/>
                  </a:lnTo>
                  <a:lnTo>
                    <a:pt x="168" y="1742"/>
                  </a:lnTo>
                  <a:lnTo>
                    <a:pt x="174" y="1740"/>
                  </a:lnTo>
                  <a:lnTo>
                    <a:pt x="188" y="1736"/>
                  </a:lnTo>
                  <a:lnTo>
                    <a:pt x="194" y="1734"/>
                  </a:lnTo>
                  <a:lnTo>
                    <a:pt x="192" y="1732"/>
                  </a:lnTo>
                  <a:lnTo>
                    <a:pt x="190" y="1728"/>
                  </a:lnTo>
                  <a:lnTo>
                    <a:pt x="184" y="1724"/>
                  </a:lnTo>
                  <a:lnTo>
                    <a:pt x="178" y="1722"/>
                  </a:lnTo>
                  <a:lnTo>
                    <a:pt x="176" y="1718"/>
                  </a:lnTo>
                  <a:lnTo>
                    <a:pt x="174" y="1718"/>
                  </a:lnTo>
                  <a:lnTo>
                    <a:pt x="170" y="1720"/>
                  </a:lnTo>
                  <a:lnTo>
                    <a:pt x="168" y="1722"/>
                  </a:lnTo>
                  <a:lnTo>
                    <a:pt x="166" y="1724"/>
                  </a:lnTo>
                  <a:lnTo>
                    <a:pt x="174" y="1728"/>
                  </a:lnTo>
                  <a:lnTo>
                    <a:pt x="176" y="1730"/>
                  </a:lnTo>
                  <a:lnTo>
                    <a:pt x="174" y="1730"/>
                  </a:lnTo>
                  <a:lnTo>
                    <a:pt x="172" y="1732"/>
                  </a:lnTo>
                  <a:lnTo>
                    <a:pt x="172" y="1734"/>
                  </a:lnTo>
                  <a:lnTo>
                    <a:pt x="172" y="1736"/>
                  </a:lnTo>
                  <a:lnTo>
                    <a:pt x="170" y="1736"/>
                  </a:lnTo>
                  <a:lnTo>
                    <a:pt x="168" y="1738"/>
                  </a:lnTo>
                  <a:lnTo>
                    <a:pt x="166" y="1740"/>
                  </a:lnTo>
                  <a:close/>
                  <a:moveTo>
                    <a:pt x="362" y="2084"/>
                  </a:moveTo>
                  <a:lnTo>
                    <a:pt x="362" y="2084"/>
                  </a:lnTo>
                  <a:lnTo>
                    <a:pt x="370" y="2088"/>
                  </a:lnTo>
                  <a:lnTo>
                    <a:pt x="376" y="2088"/>
                  </a:lnTo>
                  <a:lnTo>
                    <a:pt x="380" y="2086"/>
                  </a:lnTo>
                  <a:lnTo>
                    <a:pt x="378" y="2082"/>
                  </a:lnTo>
                  <a:lnTo>
                    <a:pt x="376" y="2080"/>
                  </a:lnTo>
                  <a:lnTo>
                    <a:pt x="372" y="2078"/>
                  </a:lnTo>
                  <a:lnTo>
                    <a:pt x="366" y="2080"/>
                  </a:lnTo>
                  <a:lnTo>
                    <a:pt x="362" y="2084"/>
                  </a:lnTo>
                  <a:close/>
                  <a:moveTo>
                    <a:pt x="174" y="1354"/>
                  </a:moveTo>
                  <a:lnTo>
                    <a:pt x="174" y="1354"/>
                  </a:lnTo>
                  <a:lnTo>
                    <a:pt x="176" y="1352"/>
                  </a:lnTo>
                  <a:lnTo>
                    <a:pt x="176" y="1350"/>
                  </a:lnTo>
                  <a:lnTo>
                    <a:pt x="174" y="1348"/>
                  </a:lnTo>
                  <a:lnTo>
                    <a:pt x="174" y="1350"/>
                  </a:lnTo>
                  <a:lnTo>
                    <a:pt x="172" y="1350"/>
                  </a:lnTo>
                  <a:lnTo>
                    <a:pt x="172" y="1352"/>
                  </a:lnTo>
                  <a:lnTo>
                    <a:pt x="174" y="1354"/>
                  </a:lnTo>
                  <a:close/>
                  <a:moveTo>
                    <a:pt x="168" y="1784"/>
                  </a:moveTo>
                  <a:lnTo>
                    <a:pt x="168" y="1784"/>
                  </a:lnTo>
                  <a:lnTo>
                    <a:pt x="170" y="1784"/>
                  </a:lnTo>
                  <a:lnTo>
                    <a:pt x="176" y="1780"/>
                  </a:lnTo>
                  <a:lnTo>
                    <a:pt x="178" y="1776"/>
                  </a:lnTo>
                  <a:lnTo>
                    <a:pt x="178" y="1772"/>
                  </a:lnTo>
                  <a:lnTo>
                    <a:pt x="176" y="1768"/>
                  </a:lnTo>
                  <a:lnTo>
                    <a:pt x="176" y="1764"/>
                  </a:lnTo>
                  <a:lnTo>
                    <a:pt x="176" y="1762"/>
                  </a:lnTo>
                  <a:lnTo>
                    <a:pt x="174" y="1762"/>
                  </a:lnTo>
                  <a:lnTo>
                    <a:pt x="172" y="1764"/>
                  </a:lnTo>
                  <a:lnTo>
                    <a:pt x="170" y="1766"/>
                  </a:lnTo>
                  <a:lnTo>
                    <a:pt x="168" y="1766"/>
                  </a:lnTo>
                  <a:lnTo>
                    <a:pt x="166" y="1764"/>
                  </a:lnTo>
                  <a:lnTo>
                    <a:pt x="166" y="1766"/>
                  </a:lnTo>
                  <a:lnTo>
                    <a:pt x="162" y="1768"/>
                  </a:lnTo>
                  <a:lnTo>
                    <a:pt x="158" y="1772"/>
                  </a:lnTo>
                  <a:lnTo>
                    <a:pt x="158" y="1774"/>
                  </a:lnTo>
                  <a:lnTo>
                    <a:pt x="160" y="1776"/>
                  </a:lnTo>
                  <a:lnTo>
                    <a:pt x="162" y="1776"/>
                  </a:lnTo>
                  <a:lnTo>
                    <a:pt x="166" y="1774"/>
                  </a:lnTo>
                  <a:lnTo>
                    <a:pt x="168" y="1774"/>
                  </a:lnTo>
                  <a:lnTo>
                    <a:pt x="170" y="1776"/>
                  </a:lnTo>
                  <a:lnTo>
                    <a:pt x="170" y="1778"/>
                  </a:lnTo>
                  <a:lnTo>
                    <a:pt x="168" y="1780"/>
                  </a:lnTo>
                  <a:lnTo>
                    <a:pt x="166" y="1782"/>
                  </a:lnTo>
                  <a:lnTo>
                    <a:pt x="168" y="1784"/>
                  </a:lnTo>
                  <a:close/>
                  <a:moveTo>
                    <a:pt x="190" y="1748"/>
                  </a:moveTo>
                  <a:lnTo>
                    <a:pt x="190" y="1748"/>
                  </a:lnTo>
                  <a:lnTo>
                    <a:pt x="186" y="1752"/>
                  </a:lnTo>
                  <a:lnTo>
                    <a:pt x="182" y="1756"/>
                  </a:lnTo>
                  <a:lnTo>
                    <a:pt x="178" y="1762"/>
                  </a:lnTo>
                  <a:lnTo>
                    <a:pt x="178" y="1768"/>
                  </a:lnTo>
                  <a:lnTo>
                    <a:pt x="180" y="1768"/>
                  </a:lnTo>
                  <a:lnTo>
                    <a:pt x="182" y="1766"/>
                  </a:lnTo>
                  <a:lnTo>
                    <a:pt x="188" y="1758"/>
                  </a:lnTo>
                  <a:lnTo>
                    <a:pt x="192" y="1750"/>
                  </a:lnTo>
                  <a:lnTo>
                    <a:pt x="192" y="1748"/>
                  </a:lnTo>
                  <a:lnTo>
                    <a:pt x="190" y="1748"/>
                  </a:lnTo>
                  <a:close/>
                  <a:moveTo>
                    <a:pt x="700" y="1324"/>
                  </a:moveTo>
                  <a:lnTo>
                    <a:pt x="700" y="1324"/>
                  </a:lnTo>
                  <a:lnTo>
                    <a:pt x="698" y="1322"/>
                  </a:lnTo>
                  <a:lnTo>
                    <a:pt x="694" y="1322"/>
                  </a:lnTo>
                  <a:lnTo>
                    <a:pt x="690" y="1324"/>
                  </a:lnTo>
                  <a:lnTo>
                    <a:pt x="690" y="1326"/>
                  </a:lnTo>
                  <a:lnTo>
                    <a:pt x="692" y="1326"/>
                  </a:lnTo>
                  <a:lnTo>
                    <a:pt x="696" y="1326"/>
                  </a:lnTo>
                  <a:lnTo>
                    <a:pt x="700" y="1326"/>
                  </a:lnTo>
                  <a:lnTo>
                    <a:pt x="700" y="1324"/>
                  </a:lnTo>
                  <a:close/>
                  <a:moveTo>
                    <a:pt x="494" y="1970"/>
                  </a:moveTo>
                  <a:lnTo>
                    <a:pt x="494" y="1970"/>
                  </a:lnTo>
                  <a:lnTo>
                    <a:pt x="492" y="1962"/>
                  </a:lnTo>
                  <a:lnTo>
                    <a:pt x="486" y="1954"/>
                  </a:lnTo>
                  <a:lnTo>
                    <a:pt x="478" y="1948"/>
                  </a:lnTo>
                  <a:lnTo>
                    <a:pt x="470" y="1944"/>
                  </a:lnTo>
                  <a:lnTo>
                    <a:pt x="460" y="1942"/>
                  </a:lnTo>
                  <a:lnTo>
                    <a:pt x="452" y="1942"/>
                  </a:lnTo>
                  <a:lnTo>
                    <a:pt x="446" y="1944"/>
                  </a:lnTo>
                  <a:lnTo>
                    <a:pt x="442" y="1948"/>
                  </a:lnTo>
                  <a:lnTo>
                    <a:pt x="438" y="1954"/>
                  </a:lnTo>
                  <a:lnTo>
                    <a:pt x="434" y="1954"/>
                  </a:lnTo>
                  <a:lnTo>
                    <a:pt x="432" y="1952"/>
                  </a:lnTo>
                  <a:lnTo>
                    <a:pt x="428" y="1950"/>
                  </a:lnTo>
                  <a:lnTo>
                    <a:pt x="424" y="1948"/>
                  </a:lnTo>
                  <a:lnTo>
                    <a:pt x="424" y="1946"/>
                  </a:lnTo>
                  <a:lnTo>
                    <a:pt x="428" y="1942"/>
                  </a:lnTo>
                  <a:lnTo>
                    <a:pt x="434" y="1938"/>
                  </a:lnTo>
                  <a:lnTo>
                    <a:pt x="436" y="1936"/>
                  </a:lnTo>
                  <a:lnTo>
                    <a:pt x="438" y="1932"/>
                  </a:lnTo>
                  <a:lnTo>
                    <a:pt x="434" y="1924"/>
                  </a:lnTo>
                  <a:lnTo>
                    <a:pt x="428" y="1914"/>
                  </a:lnTo>
                  <a:lnTo>
                    <a:pt x="418" y="1906"/>
                  </a:lnTo>
                  <a:lnTo>
                    <a:pt x="410" y="1902"/>
                  </a:lnTo>
                  <a:lnTo>
                    <a:pt x="408" y="1898"/>
                  </a:lnTo>
                  <a:lnTo>
                    <a:pt x="410" y="1898"/>
                  </a:lnTo>
                  <a:lnTo>
                    <a:pt x="418" y="1902"/>
                  </a:lnTo>
                  <a:lnTo>
                    <a:pt x="424" y="1906"/>
                  </a:lnTo>
                  <a:lnTo>
                    <a:pt x="428" y="1906"/>
                  </a:lnTo>
                  <a:lnTo>
                    <a:pt x="430" y="1904"/>
                  </a:lnTo>
                  <a:lnTo>
                    <a:pt x="428" y="1902"/>
                  </a:lnTo>
                  <a:lnTo>
                    <a:pt x="422" y="1894"/>
                  </a:lnTo>
                  <a:lnTo>
                    <a:pt x="418" y="1888"/>
                  </a:lnTo>
                  <a:lnTo>
                    <a:pt x="416" y="1884"/>
                  </a:lnTo>
                  <a:lnTo>
                    <a:pt x="416" y="1876"/>
                  </a:lnTo>
                  <a:lnTo>
                    <a:pt x="416" y="1872"/>
                  </a:lnTo>
                  <a:lnTo>
                    <a:pt x="416" y="1870"/>
                  </a:lnTo>
                  <a:lnTo>
                    <a:pt x="412" y="1868"/>
                  </a:lnTo>
                  <a:lnTo>
                    <a:pt x="408" y="1866"/>
                  </a:lnTo>
                  <a:lnTo>
                    <a:pt x="406" y="1864"/>
                  </a:lnTo>
                  <a:lnTo>
                    <a:pt x="404" y="1858"/>
                  </a:lnTo>
                  <a:lnTo>
                    <a:pt x="400" y="1852"/>
                  </a:lnTo>
                  <a:lnTo>
                    <a:pt x="396" y="1850"/>
                  </a:lnTo>
                  <a:lnTo>
                    <a:pt x="390" y="1848"/>
                  </a:lnTo>
                  <a:lnTo>
                    <a:pt x="380" y="1844"/>
                  </a:lnTo>
                  <a:lnTo>
                    <a:pt x="376" y="1842"/>
                  </a:lnTo>
                  <a:lnTo>
                    <a:pt x="372" y="1836"/>
                  </a:lnTo>
                  <a:lnTo>
                    <a:pt x="366" y="1822"/>
                  </a:lnTo>
                  <a:lnTo>
                    <a:pt x="360" y="1806"/>
                  </a:lnTo>
                  <a:lnTo>
                    <a:pt x="358" y="1794"/>
                  </a:lnTo>
                  <a:lnTo>
                    <a:pt x="356" y="1786"/>
                  </a:lnTo>
                  <a:lnTo>
                    <a:pt x="354" y="1782"/>
                  </a:lnTo>
                  <a:lnTo>
                    <a:pt x="352" y="1780"/>
                  </a:lnTo>
                  <a:lnTo>
                    <a:pt x="346" y="1774"/>
                  </a:lnTo>
                  <a:lnTo>
                    <a:pt x="342" y="1768"/>
                  </a:lnTo>
                  <a:lnTo>
                    <a:pt x="336" y="1762"/>
                  </a:lnTo>
                  <a:lnTo>
                    <a:pt x="322" y="1756"/>
                  </a:lnTo>
                  <a:lnTo>
                    <a:pt x="314" y="1754"/>
                  </a:lnTo>
                  <a:lnTo>
                    <a:pt x="310" y="1754"/>
                  </a:lnTo>
                  <a:lnTo>
                    <a:pt x="308" y="1754"/>
                  </a:lnTo>
                  <a:lnTo>
                    <a:pt x="306" y="1756"/>
                  </a:lnTo>
                  <a:lnTo>
                    <a:pt x="302" y="1758"/>
                  </a:lnTo>
                  <a:lnTo>
                    <a:pt x="298" y="1760"/>
                  </a:lnTo>
                  <a:lnTo>
                    <a:pt x="290" y="1758"/>
                  </a:lnTo>
                  <a:lnTo>
                    <a:pt x="286" y="1758"/>
                  </a:lnTo>
                  <a:lnTo>
                    <a:pt x="288" y="1756"/>
                  </a:lnTo>
                  <a:lnTo>
                    <a:pt x="294" y="1754"/>
                  </a:lnTo>
                  <a:lnTo>
                    <a:pt x="300" y="1748"/>
                  </a:lnTo>
                  <a:lnTo>
                    <a:pt x="302" y="1746"/>
                  </a:lnTo>
                  <a:lnTo>
                    <a:pt x="304" y="1746"/>
                  </a:lnTo>
                  <a:lnTo>
                    <a:pt x="308" y="1746"/>
                  </a:lnTo>
                  <a:lnTo>
                    <a:pt x="316" y="1742"/>
                  </a:lnTo>
                  <a:lnTo>
                    <a:pt x="318" y="1742"/>
                  </a:lnTo>
                  <a:lnTo>
                    <a:pt x="318" y="1740"/>
                  </a:lnTo>
                  <a:lnTo>
                    <a:pt x="316" y="1738"/>
                  </a:lnTo>
                  <a:lnTo>
                    <a:pt x="310" y="1736"/>
                  </a:lnTo>
                  <a:lnTo>
                    <a:pt x="308" y="1734"/>
                  </a:lnTo>
                  <a:lnTo>
                    <a:pt x="308" y="1730"/>
                  </a:lnTo>
                  <a:lnTo>
                    <a:pt x="304" y="1728"/>
                  </a:lnTo>
                  <a:lnTo>
                    <a:pt x="304" y="1726"/>
                  </a:lnTo>
                  <a:lnTo>
                    <a:pt x="306" y="1728"/>
                  </a:lnTo>
                  <a:lnTo>
                    <a:pt x="312" y="1728"/>
                  </a:lnTo>
                  <a:lnTo>
                    <a:pt x="314" y="1728"/>
                  </a:lnTo>
                  <a:lnTo>
                    <a:pt x="318" y="1726"/>
                  </a:lnTo>
                  <a:lnTo>
                    <a:pt x="326" y="1716"/>
                  </a:lnTo>
                  <a:lnTo>
                    <a:pt x="334" y="1696"/>
                  </a:lnTo>
                  <a:lnTo>
                    <a:pt x="342" y="1678"/>
                  </a:lnTo>
                  <a:lnTo>
                    <a:pt x="348" y="1668"/>
                  </a:lnTo>
                  <a:lnTo>
                    <a:pt x="350" y="1664"/>
                  </a:lnTo>
                  <a:lnTo>
                    <a:pt x="348" y="1656"/>
                  </a:lnTo>
                  <a:lnTo>
                    <a:pt x="346" y="1652"/>
                  </a:lnTo>
                  <a:lnTo>
                    <a:pt x="342" y="1650"/>
                  </a:lnTo>
                  <a:lnTo>
                    <a:pt x="332" y="1650"/>
                  </a:lnTo>
                  <a:lnTo>
                    <a:pt x="320" y="1650"/>
                  </a:lnTo>
                  <a:lnTo>
                    <a:pt x="302" y="1650"/>
                  </a:lnTo>
                  <a:lnTo>
                    <a:pt x="286" y="1650"/>
                  </a:lnTo>
                  <a:lnTo>
                    <a:pt x="274" y="1652"/>
                  </a:lnTo>
                  <a:lnTo>
                    <a:pt x="268" y="1656"/>
                  </a:lnTo>
                  <a:lnTo>
                    <a:pt x="262" y="1658"/>
                  </a:lnTo>
                  <a:lnTo>
                    <a:pt x="258" y="1658"/>
                  </a:lnTo>
                  <a:lnTo>
                    <a:pt x="258" y="1654"/>
                  </a:lnTo>
                  <a:lnTo>
                    <a:pt x="268" y="1644"/>
                  </a:lnTo>
                  <a:lnTo>
                    <a:pt x="270" y="1642"/>
                  </a:lnTo>
                  <a:lnTo>
                    <a:pt x="268" y="1642"/>
                  </a:lnTo>
                  <a:lnTo>
                    <a:pt x="264" y="1642"/>
                  </a:lnTo>
                  <a:lnTo>
                    <a:pt x="258" y="1642"/>
                  </a:lnTo>
                  <a:lnTo>
                    <a:pt x="260" y="1640"/>
                  </a:lnTo>
                  <a:lnTo>
                    <a:pt x="270" y="1632"/>
                  </a:lnTo>
                  <a:lnTo>
                    <a:pt x="284" y="1620"/>
                  </a:lnTo>
                  <a:lnTo>
                    <a:pt x="296" y="1608"/>
                  </a:lnTo>
                  <a:lnTo>
                    <a:pt x="300" y="1604"/>
                  </a:lnTo>
                  <a:lnTo>
                    <a:pt x="300" y="1600"/>
                  </a:lnTo>
                  <a:lnTo>
                    <a:pt x="298" y="1598"/>
                  </a:lnTo>
                  <a:lnTo>
                    <a:pt x="298" y="1596"/>
                  </a:lnTo>
                  <a:lnTo>
                    <a:pt x="300" y="1592"/>
                  </a:lnTo>
                  <a:lnTo>
                    <a:pt x="300" y="1590"/>
                  </a:lnTo>
                  <a:lnTo>
                    <a:pt x="292" y="1588"/>
                  </a:lnTo>
                  <a:lnTo>
                    <a:pt x="286" y="1588"/>
                  </a:lnTo>
                  <a:lnTo>
                    <a:pt x="284" y="1590"/>
                  </a:lnTo>
                  <a:lnTo>
                    <a:pt x="284" y="1592"/>
                  </a:lnTo>
                  <a:lnTo>
                    <a:pt x="280" y="1592"/>
                  </a:lnTo>
                  <a:lnTo>
                    <a:pt x="272" y="1592"/>
                  </a:lnTo>
                  <a:lnTo>
                    <a:pt x="262" y="1594"/>
                  </a:lnTo>
                  <a:lnTo>
                    <a:pt x="254" y="1596"/>
                  </a:lnTo>
                  <a:lnTo>
                    <a:pt x="246" y="1596"/>
                  </a:lnTo>
                  <a:lnTo>
                    <a:pt x="242" y="1594"/>
                  </a:lnTo>
                  <a:lnTo>
                    <a:pt x="238" y="1596"/>
                  </a:lnTo>
                  <a:lnTo>
                    <a:pt x="236" y="1596"/>
                  </a:lnTo>
                  <a:lnTo>
                    <a:pt x="232" y="1594"/>
                  </a:lnTo>
                  <a:lnTo>
                    <a:pt x="226" y="1592"/>
                  </a:lnTo>
                  <a:lnTo>
                    <a:pt x="222" y="1590"/>
                  </a:lnTo>
                  <a:lnTo>
                    <a:pt x="218" y="1594"/>
                  </a:lnTo>
                  <a:lnTo>
                    <a:pt x="218" y="1600"/>
                  </a:lnTo>
                  <a:lnTo>
                    <a:pt x="218" y="1602"/>
                  </a:lnTo>
                  <a:lnTo>
                    <a:pt x="218" y="1604"/>
                  </a:lnTo>
                  <a:lnTo>
                    <a:pt x="214" y="1606"/>
                  </a:lnTo>
                  <a:lnTo>
                    <a:pt x="212" y="1606"/>
                  </a:lnTo>
                  <a:lnTo>
                    <a:pt x="216" y="1612"/>
                  </a:lnTo>
                  <a:lnTo>
                    <a:pt x="218" y="1616"/>
                  </a:lnTo>
                  <a:lnTo>
                    <a:pt x="212" y="1616"/>
                  </a:lnTo>
                  <a:lnTo>
                    <a:pt x="206" y="1614"/>
                  </a:lnTo>
                  <a:lnTo>
                    <a:pt x="206" y="1618"/>
                  </a:lnTo>
                  <a:lnTo>
                    <a:pt x="210" y="1622"/>
                  </a:lnTo>
                  <a:lnTo>
                    <a:pt x="210" y="1624"/>
                  </a:lnTo>
                  <a:lnTo>
                    <a:pt x="210" y="1626"/>
                  </a:lnTo>
                  <a:lnTo>
                    <a:pt x="208" y="1626"/>
                  </a:lnTo>
                  <a:lnTo>
                    <a:pt x="204" y="1626"/>
                  </a:lnTo>
                  <a:lnTo>
                    <a:pt x="202" y="1626"/>
                  </a:lnTo>
                  <a:lnTo>
                    <a:pt x="204" y="1628"/>
                  </a:lnTo>
                  <a:lnTo>
                    <a:pt x="206" y="1632"/>
                  </a:lnTo>
                  <a:lnTo>
                    <a:pt x="206" y="1636"/>
                  </a:lnTo>
                  <a:lnTo>
                    <a:pt x="206" y="1638"/>
                  </a:lnTo>
                  <a:lnTo>
                    <a:pt x="202" y="1638"/>
                  </a:lnTo>
                  <a:lnTo>
                    <a:pt x="190" y="1638"/>
                  </a:lnTo>
                  <a:lnTo>
                    <a:pt x="188" y="1640"/>
                  </a:lnTo>
                  <a:lnTo>
                    <a:pt x="188" y="1646"/>
                  </a:lnTo>
                  <a:lnTo>
                    <a:pt x="190" y="1650"/>
                  </a:lnTo>
                  <a:lnTo>
                    <a:pt x="190" y="1654"/>
                  </a:lnTo>
                  <a:lnTo>
                    <a:pt x="188" y="1660"/>
                  </a:lnTo>
                  <a:lnTo>
                    <a:pt x="188" y="1668"/>
                  </a:lnTo>
                  <a:lnTo>
                    <a:pt x="188" y="1672"/>
                  </a:lnTo>
                  <a:lnTo>
                    <a:pt x="190" y="1674"/>
                  </a:lnTo>
                  <a:lnTo>
                    <a:pt x="194" y="1674"/>
                  </a:lnTo>
                  <a:lnTo>
                    <a:pt x="196" y="1676"/>
                  </a:lnTo>
                  <a:lnTo>
                    <a:pt x="194" y="1682"/>
                  </a:lnTo>
                  <a:lnTo>
                    <a:pt x="192" y="1686"/>
                  </a:lnTo>
                  <a:lnTo>
                    <a:pt x="190" y="1690"/>
                  </a:lnTo>
                  <a:lnTo>
                    <a:pt x="188" y="1690"/>
                  </a:lnTo>
                  <a:lnTo>
                    <a:pt x="190" y="1692"/>
                  </a:lnTo>
                  <a:lnTo>
                    <a:pt x="190" y="1694"/>
                  </a:lnTo>
                  <a:lnTo>
                    <a:pt x="190" y="1696"/>
                  </a:lnTo>
                  <a:lnTo>
                    <a:pt x="186" y="1698"/>
                  </a:lnTo>
                  <a:lnTo>
                    <a:pt x="184" y="1700"/>
                  </a:lnTo>
                  <a:lnTo>
                    <a:pt x="188" y="1702"/>
                  </a:lnTo>
                  <a:lnTo>
                    <a:pt x="188" y="1704"/>
                  </a:lnTo>
                  <a:lnTo>
                    <a:pt x="186" y="1706"/>
                  </a:lnTo>
                  <a:lnTo>
                    <a:pt x="182" y="1708"/>
                  </a:lnTo>
                  <a:lnTo>
                    <a:pt x="178" y="1708"/>
                  </a:lnTo>
                  <a:lnTo>
                    <a:pt x="174" y="1708"/>
                  </a:lnTo>
                  <a:lnTo>
                    <a:pt x="172" y="1710"/>
                  </a:lnTo>
                  <a:lnTo>
                    <a:pt x="172" y="1712"/>
                  </a:lnTo>
                  <a:lnTo>
                    <a:pt x="174" y="1714"/>
                  </a:lnTo>
                  <a:lnTo>
                    <a:pt x="182" y="1714"/>
                  </a:lnTo>
                  <a:lnTo>
                    <a:pt x="190" y="1712"/>
                  </a:lnTo>
                  <a:lnTo>
                    <a:pt x="192" y="1714"/>
                  </a:lnTo>
                  <a:lnTo>
                    <a:pt x="184" y="1716"/>
                  </a:lnTo>
                  <a:lnTo>
                    <a:pt x="180" y="1718"/>
                  </a:lnTo>
                  <a:lnTo>
                    <a:pt x="180" y="1720"/>
                  </a:lnTo>
                  <a:lnTo>
                    <a:pt x="184" y="1722"/>
                  </a:lnTo>
                  <a:lnTo>
                    <a:pt x="188" y="1722"/>
                  </a:lnTo>
                  <a:lnTo>
                    <a:pt x="190" y="1722"/>
                  </a:lnTo>
                  <a:lnTo>
                    <a:pt x="192" y="1724"/>
                  </a:lnTo>
                  <a:lnTo>
                    <a:pt x="196" y="1724"/>
                  </a:lnTo>
                  <a:lnTo>
                    <a:pt x="200" y="1720"/>
                  </a:lnTo>
                  <a:lnTo>
                    <a:pt x="208" y="1714"/>
                  </a:lnTo>
                  <a:lnTo>
                    <a:pt x="206" y="1720"/>
                  </a:lnTo>
                  <a:lnTo>
                    <a:pt x="202" y="1726"/>
                  </a:lnTo>
                  <a:lnTo>
                    <a:pt x="202" y="1730"/>
                  </a:lnTo>
                  <a:lnTo>
                    <a:pt x="202" y="1734"/>
                  </a:lnTo>
                  <a:lnTo>
                    <a:pt x="198" y="1738"/>
                  </a:lnTo>
                  <a:lnTo>
                    <a:pt x="196" y="1740"/>
                  </a:lnTo>
                  <a:lnTo>
                    <a:pt x="196" y="1744"/>
                  </a:lnTo>
                  <a:lnTo>
                    <a:pt x="198" y="1748"/>
                  </a:lnTo>
                  <a:lnTo>
                    <a:pt x="194" y="1754"/>
                  </a:lnTo>
                  <a:lnTo>
                    <a:pt x="192" y="1758"/>
                  </a:lnTo>
                  <a:lnTo>
                    <a:pt x="192" y="1762"/>
                  </a:lnTo>
                  <a:lnTo>
                    <a:pt x="194" y="1764"/>
                  </a:lnTo>
                  <a:lnTo>
                    <a:pt x="194" y="1768"/>
                  </a:lnTo>
                  <a:lnTo>
                    <a:pt x="194" y="1772"/>
                  </a:lnTo>
                  <a:lnTo>
                    <a:pt x="194" y="1774"/>
                  </a:lnTo>
                  <a:lnTo>
                    <a:pt x="200" y="1770"/>
                  </a:lnTo>
                  <a:lnTo>
                    <a:pt x="198" y="1774"/>
                  </a:lnTo>
                  <a:lnTo>
                    <a:pt x="194" y="1784"/>
                  </a:lnTo>
                  <a:lnTo>
                    <a:pt x="188" y="1794"/>
                  </a:lnTo>
                  <a:lnTo>
                    <a:pt x="188" y="1800"/>
                  </a:lnTo>
                  <a:lnTo>
                    <a:pt x="192" y="1802"/>
                  </a:lnTo>
                  <a:lnTo>
                    <a:pt x="194" y="1802"/>
                  </a:lnTo>
                  <a:lnTo>
                    <a:pt x="196" y="1800"/>
                  </a:lnTo>
                  <a:lnTo>
                    <a:pt x="198" y="1792"/>
                  </a:lnTo>
                  <a:lnTo>
                    <a:pt x="202" y="1780"/>
                  </a:lnTo>
                  <a:lnTo>
                    <a:pt x="204" y="1776"/>
                  </a:lnTo>
                  <a:lnTo>
                    <a:pt x="206" y="1772"/>
                  </a:lnTo>
                  <a:lnTo>
                    <a:pt x="208" y="1770"/>
                  </a:lnTo>
                  <a:lnTo>
                    <a:pt x="208" y="1768"/>
                  </a:lnTo>
                  <a:lnTo>
                    <a:pt x="204" y="1764"/>
                  </a:lnTo>
                  <a:lnTo>
                    <a:pt x="202" y="1760"/>
                  </a:lnTo>
                  <a:lnTo>
                    <a:pt x="204" y="1758"/>
                  </a:lnTo>
                  <a:lnTo>
                    <a:pt x="206" y="1756"/>
                  </a:lnTo>
                  <a:lnTo>
                    <a:pt x="210" y="1754"/>
                  </a:lnTo>
                  <a:lnTo>
                    <a:pt x="208" y="1756"/>
                  </a:lnTo>
                  <a:lnTo>
                    <a:pt x="208" y="1762"/>
                  </a:lnTo>
                  <a:lnTo>
                    <a:pt x="208" y="1764"/>
                  </a:lnTo>
                  <a:lnTo>
                    <a:pt x="210" y="1766"/>
                  </a:lnTo>
                  <a:lnTo>
                    <a:pt x="214" y="1766"/>
                  </a:lnTo>
                  <a:lnTo>
                    <a:pt x="216" y="1764"/>
                  </a:lnTo>
                  <a:lnTo>
                    <a:pt x="216" y="1762"/>
                  </a:lnTo>
                  <a:lnTo>
                    <a:pt x="220" y="1764"/>
                  </a:lnTo>
                  <a:lnTo>
                    <a:pt x="222" y="1764"/>
                  </a:lnTo>
                  <a:lnTo>
                    <a:pt x="224" y="1758"/>
                  </a:lnTo>
                  <a:lnTo>
                    <a:pt x="224" y="1756"/>
                  </a:lnTo>
                  <a:lnTo>
                    <a:pt x="228" y="1756"/>
                  </a:lnTo>
                  <a:lnTo>
                    <a:pt x="232" y="1758"/>
                  </a:lnTo>
                  <a:lnTo>
                    <a:pt x="238" y="1762"/>
                  </a:lnTo>
                  <a:lnTo>
                    <a:pt x="230" y="1764"/>
                  </a:lnTo>
                  <a:lnTo>
                    <a:pt x="224" y="1766"/>
                  </a:lnTo>
                  <a:lnTo>
                    <a:pt x="224" y="1768"/>
                  </a:lnTo>
                  <a:lnTo>
                    <a:pt x="224" y="1772"/>
                  </a:lnTo>
                  <a:lnTo>
                    <a:pt x="230" y="1780"/>
                  </a:lnTo>
                  <a:lnTo>
                    <a:pt x="234" y="1786"/>
                  </a:lnTo>
                  <a:lnTo>
                    <a:pt x="234" y="1790"/>
                  </a:lnTo>
                  <a:lnTo>
                    <a:pt x="234" y="1794"/>
                  </a:lnTo>
                  <a:lnTo>
                    <a:pt x="230" y="1798"/>
                  </a:lnTo>
                  <a:lnTo>
                    <a:pt x="224" y="1806"/>
                  </a:lnTo>
                  <a:lnTo>
                    <a:pt x="222" y="1810"/>
                  </a:lnTo>
                  <a:lnTo>
                    <a:pt x="220" y="1816"/>
                  </a:lnTo>
                  <a:lnTo>
                    <a:pt x="222" y="1822"/>
                  </a:lnTo>
                  <a:lnTo>
                    <a:pt x="220" y="1822"/>
                  </a:lnTo>
                  <a:lnTo>
                    <a:pt x="216" y="1818"/>
                  </a:lnTo>
                  <a:lnTo>
                    <a:pt x="214" y="1820"/>
                  </a:lnTo>
                  <a:lnTo>
                    <a:pt x="214" y="1822"/>
                  </a:lnTo>
                  <a:lnTo>
                    <a:pt x="214" y="1826"/>
                  </a:lnTo>
                  <a:lnTo>
                    <a:pt x="220" y="1834"/>
                  </a:lnTo>
                  <a:lnTo>
                    <a:pt x="224" y="1840"/>
                  </a:lnTo>
                  <a:lnTo>
                    <a:pt x="224" y="1838"/>
                  </a:lnTo>
                  <a:lnTo>
                    <a:pt x="224" y="1836"/>
                  </a:lnTo>
                  <a:lnTo>
                    <a:pt x="222" y="1830"/>
                  </a:lnTo>
                  <a:lnTo>
                    <a:pt x="224" y="1828"/>
                  </a:lnTo>
                  <a:lnTo>
                    <a:pt x="228" y="1828"/>
                  </a:lnTo>
                  <a:lnTo>
                    <a:pt x="234" y="1832"/>
                  </a:lnTo>
                  <a:lnTo>
                    <a:pt x="240" y="1838"/>
                  </a:lnTo>
                  <a:lnTo>
                    <a:pt x="244" y="1840"/>
                  </a:lnTo>
                  <a:lnTo>
                    <a:pt x="246" y="1838"/>
                  </a:lnTo>
                  <a:lnTo>
                    <a:pt x="246" y="1834"/>
                  </a:lnTo>
                  <a:lnTo>
                    <a:pt x="246" y="1828"/>
                  </a:lnTo>
                  <a:lnTo>
                    <a:pt x="246" y="1826"/>
                  </a:lnTo>
                  <a:lnTo>
                    <a:pt x="246" y="1828"/>
                  </a:lnTo>
                  <a:lnTo>
                    <a:pt x="252" y="1830"/>
                  </a:lnTo>
                  <a:lnTo>
                    <a:pt x="260" y="1834"/>
                  </a:lnTo>
                  <a:lnTo>
                    <a:pt x="264" y="1834"/>
                  </a:lnTo>
                  <a:lnTo>
                    <a:pt x="266" y="1830"/>
                  </a:lnTo>
                  <a:lnTo>
                    <a:pt x="270" y="1826"/>
                  </a:lnTo>
                  <a:lnTo>
                    <a:pt x="274" y="1826"/>
                  </a:lnTo>
                  <a:lnTo>
                    <a:pt x="276" y="1828"/>
                  </a:lnTo>
                  <a:lnTo>
                    <a:pt x="278" y="1824"/>
                  </a:lnTo>
                  <a:lnTo>
                    <a:pt x="282" y="1822"/>
                  </a:lnTo>
                  <a:lnTo>
                    <a:pt x="286" y="1820"/>
                  </a:lnTo>
                  <a:lnTo>
                    <a:pt x="292" y="1820"/>
                  </a:lnTo>
                  <a:lnTo>
                    <a:pt x="292" y="1822"/>
                  </a:lnTo>
                  <a:lnTo>
                    <a:pt x="288" y="1826"/>
                  </a:lnTo>
                  <a:lnTo>
                    <a:pt x="280" y="1838"/>
                  </a:lnTo>
                  <a:lnTo>
                    <a:pt x="276" y="1844"/>
                  </a:lnTo>
                  <a:lnTo>
                    <a:pt x="276" y="1850"/>
                  </a:lnTo>
                  <a:lnTo>
                    <a:pt x="276" y="1854"/>
                  </a:lnTo>
                  <a:lnTo>
                    <a:pt x="278" y="1858"/>
                  </a:lnTo>
                  <a:lnTo>
                    <a:pt x="286" y="1866"/>
                  </a:lnTo>
                  <a:lnTo>
                    <a:pt x="292" y="1872"/>
                  </a:lnTo>
                  <a:lnTo>
                    <a:pt x="294" y="1876"/>
                  </a:lnTo>
                  <a:lnTo>
                    <a:pt x="296" y="1874"/>
                  </a:lnTo>
                  <a:lnTo>
                    <a:pt x="300" y="1872"/>
                  </a:lnTo>
                  <a:lnTo>
                    <a:pt x="302" y="1870"/>
                  </a:lnTo>
                  <a:lnTo>
                    <a:pt x="304" y="1870"/>
                  </a:lnTo>
                  <a:lnTo>
                    <a:pt x="308" y="1870"/>
                  </a:lnTo>
                  <a:lnTo>
                    <a:pt x="308" y="1872"/>
                  </a:lnTo>
                  <a:lnTo>
                    <a:pt x="308" y="1874"/>
                  </a:lnTo>
                  <a:lnTo>
                    <a:pt x="306" y="1878"/>
                  </a:lnTo>
                  <a:lnTo>
                    <a:pt x="306" y="1880"/>
                  </a:lnTo>
                  <a:lnTo>
                    <a:pt x="306" y="1882"/>
                  </a:lnTo>
                  <a:lnTo>
                    <a:pt x="308" y="1882"/>
                  </a:lnTo>
                  <a:lnTo>
                    <a:pt x="306" y="1884"/>
                  </a:lnTo>
                  <a:lnTo>
                    <a:pt x="300" y="1888"/>
                  </a:lnTo>
                  <a:lnTo>
                    <a:pt x="298" y="1890"/>
                  </a:lnTo>
                  <a:lnTo>
                    <a:pt x="298" y="1892"/>
                  </a:lnTo>
                  <a:lnTo>
                    <a:pt x="298" y="1894"/>
                  </a:lnTo>
                  <a:lnTo>
                    <a:pt x="302" y="1896"/>
                  </a:lnTo>
                  <a:lnTo>
                    <a:pt x="304" y="1898"/>
                  </a:lnTo>
                  <a:lnTo>
                    <a:pt x="302" y="1900"/>
                  </a:lnTo>
                  <a:lnTo>
                    <a:pt x="300" y="1902"/>
                  </a:lnTo>
                  <a:lnTo>
                    <a:pt x="300" y="1906"/>
                  </a:lnTo>
                  <a:lnTo>
                    <a:pt x="300" y="1910"/>
                  </a:lnTo>
                  <a:lnTo>
                    <a:pt x="302" y="1916"/>
                  </a:lnTo>
                  <a:lnTo>
                    <a:pt x="308" y="1924"/>
                  </a:lnTo>
                  <a:lnTo>
                    <a:pt x="304" y="1922"/>
                  </a:lnTo>
                  <a:lnTo>
                    <a:pt x="300" y="1918"/>
                  </a:lnTo>
                  <a:lnTo>
                    <a:pt x="296" y="1916"/>
                  </a:lnTo>
                  <a:lnTo>
                    <a:pt x="294" y="1918"/>
                  </a:lnTo>
                  <a:lnTo>
                    <a:pt x="296" y="1922"/>
                  </a:lnTo>
                  <a:lnTo>
                    <a:pt x="298" y="1926"/>
                  </a:lnTo>
                  <a:lnTo>
                    <a:pt x="294" y="1924"/>
                  </a:lnTo>
                  <a:lnTo>
                    <a:pt x="290" y="1922"/>
                  </a:lnTo>
                  <a:lnTo>
                    <a:pt x="286" y="1922"/>
                  </a:lnTo>
                  <a:lnTo>
                    <a:pt x="282" y="1922"/>
                  </a:lnTo>
                  <a:lnTo>
                    <a:pt x="276" y="1924"/>
                  </a:lnTo>
                  <a:lnTo>
                    <a:pt x="272" y="1924"/>
                  </a:lnTo>
                  <a:lnTo>
                    <a:pt x="270" y="1922"/>
                  </a:lnTo>
                  <a:lnTo>
                    <a:pt x="266" y="1924"/>
                  </a:lnTo>
                  <a:lnTo>
                    <a:pt x="264" y="1926"/>
                  </a:lnTo>
                  <a:lnTo>
                    <a:pt x="260" y="1926"/>
                  </a:lnTo>
                  <a:lnTo>
                    <a:pt x="256" y="1928"/>
                  </a:lnTo>
                  <a:lnTo>
                    <a:pt x="252" y="1932"/>
                  </a:lnTo>
                  <a:lnTo>
                    <a:pt x="246" y="1940"/>
                  </a:lnTo>
                  <a:lnTo>
                    <a:pt x="240" y="1944"/>
                  </a:lnTo>
                  <a:lnTo>
                    <a:pt x="236" y="1946"/>
                  </a:lnTo>
                  <a:lnTo>
                    <a:pt x="232" y="1950"/>
                  </a:lnTo>
                  <a:lnTo>
                    <a:pt x="230" y="1956"/>
                  </a:lnTo>
                  <a:lnTo>
                    <a:pt x="234" y="1954"/>
                  </a:lnTo>
                  <a:lnTo>
                    <a:pt x="238" y="1954"/>
                  </a:lnTo>
                  <a:lnTo>
                    <a:pt x="240" y="1954"/>
                  </a:lnTo>
                  <a:lnTo>
                    <a:pt x="244" y="1952"/>
                  </a:lnTo>
                  <a:lnTo>
                    <a:pt x="252" y="1948"/>
                  </a:lnTo>
                  <a:lnTo>
                    <a:pt x="256" y="1946"/>
                  </a:lnTo>
                  <a:lnTo>
                    <a:pt x="258" y="1946"/>
                  </a:lnTo>
                  <a:lnTo>
                    <a:pt x="256" y="1948"/>
                  </a:lnTo>
                  <a:lnTo>
                    <a:pt x="256" y="1954"/>
                  </a:lnTo>
                  <a:lnTo>
                    <a:pt x="258" y="1954"/>
                  </a:lnTo>
                  <a:lnTo>
                    <a:pt x="260" y="1956"/>
                  </a:lnTo>
                  <a:lnTo>
                    <a:pt x="258" y="1960"/>
                  </a:lnTo>
                  <a:lnTo>
                    <a:pt x="256" y="1964"/>
                  </a:lnTo>
                  <a:lnTo>
                    <a:pt x="256" y="1968"/>
                  </a:lnTo>
                  <a:lnTo>
                    <a:pt x="258" y="1974"/>
                  </a:lnTo>
                  <a:lnTo>
                    <a:pt x="258" y="1978"/>
                  </a:lnTo>
                  <a:lnTo>
                    <a:pt x="256" y="1982"/>
                  </a:lnTo>
                  <a:lnTo>
                    <a:pt x="252" y="1986"/>
                  </a:lnTo>
                  <a:lnTo>
                    <a:pt x="246" y="1990"/>
                  </a:lnTo>
                  <a:lnTo>
                    <a:pt x="232" y="1998"/>
                  </a:lnTo>
                  <a:lnTo>
                    <a:pt x="222" y="2000"/>
                  </a:lnTo>
                  <a:lnTo>
                    <a:pt x="216" y="2000"/>
                  </a:lnTo>
                  <a:lnTo>
                    <a:pt x="210" y="2006"/>
                  </a:lnTo>
                  <a:lnTo>
                    <a:pt x="208" y="2008"/>
                  </a:lnTo>
                  <a:lnTo>
                    <a:pt x="208" y="2010"/>
                  </a:lnTo>
                  <a:lnTo>
                    <a:pt x="212" y="2012"/>
                  </a:lnTo>
                  <a:lnTo>
                    <a:pt x="216" y="2012"/>
                  </a:lnTo>
                  <a:lnTo>
                    <a:pt x="216" y="2014"/>
                  </a:lnTo>
                  <a:lnTo>
                    <a:pt x="214" y="2016"/>
                  </a:lnTo>
                  <a:lnTo>
                    <a:pt x="214" y="2020"/>
                  </a:lnTo>
                  <a:lnTo>
                    <a:pt x="216" y="2024"/>
                  </a:lnTo>
                  <a:lnTo>
                    <a:pt x="224" y="2024"/>
                  </a:lnTo>
                  <a:lnTo>
                    <a:pt x="232" y="2022"/>
                  </a:lnTo>
                  <a:lnTo>
                    <a:pt x="240" y="2018"/>
                  </a:lnTo>
                  <a:lnTo>
                    <a:pt x="246" y="2018"/>
                  </a:lnTo>
                  <a:lnTo>
                    <a:pt x="250" y="2022"/>
                  </a:lnTo>
                  <a:lnTo>
                    <a:pt x="250" y="2026"/>
                  </a:lnTo>
                  <a:lnTo>
                    <a:pt x="248" y="2028"/>
                  </a:lnTo>
                  <a:lnTo>
                    <a:pt x="250" y="2030"/>
                  </a:lnTo>
                  <a:lnTo>
                    <a:pt x="256" y="2028"/>
                  </a:lnTo>
                  <a:lnTo>
                    <a:pt x="260" y="2028"/>
                  </a:lnTo>
                  <a:lnTo>
                    <a:pt x="264" y="2028"/>
                  </a:lnTo>
                  <a:lnTo>
                    <a:pt x="270" y="2030"/>
                  </a:lnTo>
                  <a:lnTo>
                    <a:pt x="274" y="2034"/>
                  </a:lnTo>
                  <a:lnTo>
                    <a:pt x="280" y="2038"/>
                  </a:lnTo>
                  <a:lnTo>
                    <a:pt x="284" y="2040"/>
                  </a:lnTo>
                  <a:lnTo>
                    <a:pt x="288" y="2040"/>
                  </a:lnTo>
                  <a:lnTo>
                    <a:pt x="292" y="2038"/>
                  </a:lnTo>
                  <a:lnTo>
                    <a:pt x="298" y="2032"/>
                  </a:lnTo>
                  <a:lnTo>
                    <a:pt x="302" y="2030"/>
                  </a:lnTo>
                  <a:lnTo>
                    <a:pt x="304" y="2028"/>
                  </a:lnTo>
                  <a:lnTo>
                    <a:pt x="310" y="2026"/>
                  </a:lnTo>
                  <a:lnTo>
                    <a:pt x="314" y="2024"/>
                  </a:lnTo>
                  <a:lnTo>
                    <a:pt x="320" y="2020"/>
                  </a:lnTo>
                  <a:lnTo>
                    <a:pt x="326" y="2016"/>
                  </a:lnTo>
                  <a:lnTo>
                    <a:pt x="322" y="2022"/>
                  </a:lnTo>
                  <a:lnTo>
                    <a:pt x="318" y="2026"/>
                  </a:lnTo>
                  <a:lnTo>
                    <a:pt x="312" y="2032"/>
                  </a:lnTo>
                  <a:lnTo>
                    <a:pt x="306" y="2036"/>
                  </a:lnTo>
                  <a:lnTo>
                    <a:pt x="304" y="2044"/>
                  </a:lnTo>
                  <a:lnTo>
                    <a:pt x="302" y="2048"/>
                  </a:lnTo>
                  <a:lnTo>
                    <a:pt x="294" y="2050"/>
                  </a:lnTo>
                  <a:lnTo>
                    <a:pt x="284" y="2050"/>
                  </a:lnTo>
                  <a:lnTo>
                    <a:pt x="280" y="2050"/>
                  </a:lnTo>
                  <a:lnTo>
                    <a:pt x="274" y="2048"/>
                  </a:lnTo>
                  <a:lnTo>
                    <a:pt x="262" y="2048"/>
                  </a:lnTo>
                  <a:lnTo>
                    <a:pt x="256" y="2048"/>
                  </a:lnTo>
                  <a:lnTo>
                    <a:pt x="252" y="2050"/>
                  </a:lnTo>
                  <a:lnTo>
                    <a:pt x="252" y="2052"/>
                  </a:lnTo>
                  <a:lnTo>
                    <a:pt x="252" y="2054"/>
                  </a:lnTo>
                  <a:lnTo>
                    <a:pt x="252" y="2058"/>
                  </a:lnTo>
                  <a:lnTo>
                    <a:pt x="250" y="2058"/>
                  </a:lnTo>
                  <a:lnTo>
                    <a:pt x="246" y="2060"/>
                  </a:lnTo>
                  <a:lnTo>
                    <a:pt x="242" y="2060"/>
                  </a:lnTo>
                  <a:lnTo>
                    <a:pt x="238" y="2062"/>
                  </a:lnTo>
                  <a:lnTo>
                    <a:pt x="238" y="2066"/>
                  </a:lnTo>
                  <a:lnTo>
                    <a:pt x="238" y="2070"/>
                  </a:lnTo>
                  <a:lnTo>
                    <a:pt x="238" y="2074"/>
                  </a:lnTo>
                  <a:lnTo>
                    <a:pt x="236" y="2076"/>
                  </a:lnTo>
                  <a:lnTo>
                    <a:pt x="232" y="2078"/>
                  </a:lnTo>
                  <a:lnTo>
                    <a:pt x="230" y="2082"/>
                  </a:lnTo>
                  <a:lnTo>
                    <a:pt x="230" y="2084"/>
                  </a:lnTo>
                  <a:lnTo>
                    <a:pt x="226" y="2086"/>
                  </a:lnTo>
                  <a:lnTo>
                    <a:pt x="220" y="2092"/>
                  </a:lnTo>
                  <a:lnTo>
                    <a:pt x="214" y="2100"/>
                  </a:lnTo>
                  <a:lnTo>
                    <a:pt x="210" y="2106"/>
                  </a:lnTo>
                  <a:lnTo>
                    <a:pt x="206" y="2106"/>
                  </a:lnTo>
                  <a:lnTo>
                    <a:pt x="202" y="2108"/>
                  </a:lnTo>
                  <a:lnTo>
                    <a:pt x="198" y="2108"/>
                  </a:lnTo>
                  <a:lnTo>
                    <a:pt x="194" y="2108"/>
                  </a:lnTo>
                  <a:lnTo>
                    <a:pt x="192" y="2112"/>
                  </a:lnTo>
                  <a:lnTo>
                    <a:pt x="192" y="2114"/>
                  </a:lnTo>
                  <a:lnTo>
                    <a:pt x="192" y="2118"/>
                  </a:lnTo>
                  <a:lnTo>
                    <a:pt x="194" y="2118"/>
                  </a:lnTo>
                  <a:lnTo>
                    <a:pt x="196" y="2118"/>
                  </a:lnTo>
                  <a:lnTo>
                    <a:pt x="200" y="2116"/>
                  </a:lnTo>
                  <a:lnTo>
                    <a:pt x="202" y="2116"/>
                  </a:lnTo>
                  <a:lnTo>
                    <a:pt x="206" y="2118"/>
                  </a:lnTo>
                  <a:lnTo>
                    <a:pt x="210" y="2122"/>
                  </a:lnTo>
                  <a:lnTo>
                    <a:pt x="212" y="2122"/>
                  </a:lnTo>
                  <a:lnTo>
                    <a:pt x="214" y="2122"/>
                  </a:lnTo>
                  <a:lnTo>
                    <a:pt x="216" y="2120"/>
                  </a:lnTo>
                  <a:lnTo>
                    <a:pt x="216" y="2118"/>
                  </a:lnTo>
                  <a:lnTo>
                    <a:pt x="218" y="2116"/>
                  </a:lnTo>
                  <a:lnTo>
                    <a:pt x="222" y="2112"/>
                  </a:lnTo>
                  <a:lnTo>
                    <a:pt x="226" y="2110"/>
                  </a:lnTo>
                  <a:lnTo>
                    <a:pt x="230" y="2106"/>
                  </a:lnTo>
                  <a:lnTo>
                    <a:pt x="234" y="2102"/>
                  </a:lnTo>
                  <a:lnTo>
                    <a:pt x="244" y="2100"/>
                  </a:lnTo>
                  <a:lnTo>
                    <a:pt x="252" y="2100"/>
                  </a:lnTo>
                  <a:lnTo>
                    <a:pt x="258" y="2102"/>
                  </a:lnTo>
                  <a:lnTo>
                    <a:pt x="270" y="2108"/>
                  </a:lnTo>
                  <a:lnTo>
                    <a:pt x="274" y="2110"/>
                  </a:lnTo>
                  <a:lnTo>
                    <a:pt x="276" y="2108"/>
                  </a:lnTo>
                  <a:lnTo>
                    <a:pt x="280" y="2098"/>
                  </a:lnTo>
                  <a:lnTo>
                    <a:pt x="282" y="2088"/>
                  </a:lnTo>
                  <a:lnTo>
                    <a:pt x="284" y="2086"/>
                  </a:lnTo>
                  <a:lnTo>
                    <a:pt x="286" y="2084"/>
                  </a:lnTo>
                  <a:lnTo>
                    <a:pt x="288" y="2086"/>
                  </a:lnTo>
                  <a:lnTo>
                    <a:pt x="290" y="2084"/>
                  </a:lnTo>
                  <a:lnTo>
                    <a:pt x="298" y="2080"/>
                  </a:lnTo>
                  <a:lnTo>
                    <a:pt x="302" y="2078"/>
                  </a:lnTo>
                  <a:lnTo>
                    <a:pt x="306" y="2078"/>
                  </a:lnTo>
                  <a:lnTo>
                    <a:pt x="312" y="2080"/>
                  </a:lnTo>
                  <a:lnTo>
                    <a:pt x="316" y="2084"/>
                  </a:lnTo>
                  <a:lnTo>
                    <a:pt x="322" y="2088"/>
                  </a:lnTo>
                  <a:lnTo>
                    <a:pt x="324" y="2088"/>
                  </a:lnTo>
                  <a:lnTo>
                    <a:pt x="328" y="2086"/>
                  </a:lnTo>
                  <a:lnTo>
                    <a:pt x="330" y="2086"/>
                  </a:lnTo>
                  <a:lnTo>
                    <a:pt x="334" y="2086"/>
                  </a:lnTo>
                  <a:lnTo>
                    <a:pt x="342" y="2086"/>
                  </a:lnTo>
                  <a:lnTo>
                    <a:pt x="344" y="2084"/>
                  </a:lnTo>
                  <a:lnTo>
                    <a:pt x="346" y="2082"/>
                  </a:lnTo>
                  <a:lnTo>
                    <a:pt x="356" y="2078"/>
                  </a:lnTo>
                  <a:lnTo>
                    <a:pt x="366" y="2076"/>
                  </a:lnTo>
                  <a:lnTo>
                    <a:pt x="368" y="2074"/>
                  </a:lnTo>
                  <a:lnTo>
                    <a:pt x="368" y="2072"/>
                  </a:lnTo>
                  <a:lnTo>
                    <a:pt x="374" y="2074"/>
                  </a:lnTo>
                  <a:lnTo>
                    <a:pt x="380" y="2076"/>
                  </a:lnTo>
                  <a:lnTo>
                    <a:pt x="382" y="2076"/>
                  </a:lnTo>
                  <a:lnTo>
                    <a:pt x="384" y="2074"/>
                  </a:lnTo>
                  <a:lnTo>
                    <a:pt x="386" y="2076"/>
                  </a:lnTo>
                  <a:lnTo>
                    <a:pt x="388" y="2078"/>
                  </a:lnTo>
                  <a:lnTo>
                    <a:pt x="392" y="2078"/>
                  </a:lnTo>
                  <a:lnTo>
                    <a:pt x="400" y="2074"/>
                  </a:lnTo>
                  <a:lnTo>
                    <a:pt x="410" y="2072"/>
                  </a:lnTo>
                  <a:lnTo>
                    <a:pt x="416" y="2074"/>
                  </a:lnTo>
                  <a:lnTo>
                    <a:pt x="422" y="2074"/>
                  </a:lnTo>
                  <a:lnTo>
                    <a:pt x="428" y="2076"/>
                  </a:lnTo>
                  <a:lnTo>
                    <a:pt x="432" y="2076"/>
                  </a:lnTo>
                  <a:lnTo>
                    <a:pt x="440" y="2074"/>
                  </a:lnTo>
                  <a:lnTo>
                    <a:pt x="448" y="2070"/>
                  </a:lnTo>
                  <a:lnTo>
                    <a:pt x="456" y="2068"/>
                  </a:lnTo>
                  <a:lnTo>
                    <a:pt x="460" y="2068"/>
                  </a:lnTo>
                  <a:lnTo>
                    <a:pt x="462" y="2064"/>
                  </a:lnTo>
                  <a:lnTo>
                    <a:pt x="464" y="2060"/>
                  </a:lnTo>
                  <a:lnTo>
                    <a:pt x="470" y="2056"/>
                  </a:lnTo>
                  <a:lnTo>
                    <a:pt x="478" y="2052"/>
                  </a:lnTo>
                  <a:lnTo>
                    <a:pt x="480" y="2048"/>
                  </a:lnTo>
                  <a:lnTo>
                    <a:pt x="480" y="2044"/>
                  </a:lnTo>
                  <a:lnTo>
                    <a:pt x="480" y="2040"/>
                  </a:lnTo>
                  <a:lnTo>
                    <a:pt x="480" y="2038"/>
                  </a:lnTo>
                  <a:lnTo>
                    <a:pt x="478" y="2038"/>
                  </a:lnTo>
                  <a:lnTo>
                    <a:pt x="472" y="2038"/>
                  </a:lnTo>
                  <a:lnTo>
                    <a:pt x="462" y="2040"/>
                  </a:lnTo>
                  <a:lnTo>
                    <a:pt x="456" y="2040"/>
                  </a:lnTo>
                  <a:lnTo>
                    <a:pt x="450" y="2038"/>
                  </a:lnTo>
                  <a:lnTo>
                    <a:pt x="448" y="2036"/>
                  </a:lnTo>
                  <a:lnTo>
                    <a:pt x="450" y="2036"/>
                  </a:lnTo>
                  <a:lnTo>
                    <a:pt x="446" y="2034"/>
                  </a:lnTo>
                  <a:lnTo>
                    <a:pt x="444" y="2032"/>
                  </a:lnTo>
                  <a:lnTo>
                    <a:pt x="448" y="2030"/>
                  </a:lnTo>
                  <a:lnTo>
                    <a:pt x="456" y="2030"/>
                  </a:lnTo>
                  <a:lnTo>
                    <a:pt x="458" y="2028"/>
                  </a:lnTo>
                  <a:lnTo>
                    <a:pt x="460" y="2026"/>
                  </a:lnTo>
                  <a:lnTo>
                    <a:pt x="460" y="2020"/>
                  </a:lnTo>
                  <a:lnTo>
                    <a:pt x="458" y="2020"/>
                  </a:lnTo>
                  <a:lnTo>
                    <a:pt x="456" y="2020"/>
                  </a:lnTo>
                  <a:lnTo>
                    <a:pt x="458" y="2016"/>
                  </a:lnTo>
                  <a:lnTo>
                    <a:pt x="462" y="2014"/>
                  </a:lnTo>
                  <a:lnTo>
                    <a:pt x="464" y="2014"/>
                  </a:lnTo>
                  <a:lnTo>
                    <a:pt x="472" y="2014"/>
                  </a:lnTo>
                  <a:lnTo>
                    <a:pt x="476" y="2014"/>
                  </a:lnTo>
                  <a:lnTo>
                    <a:pt x="476" y="2012"/>
                  </a:lnTo>
                  <a:lnTo>
                    <a:pt x="474" y="2010"/>
                  </a:lnTo>
                  <a:lnTo>
                    <a:pt x="474" y="2008"/>
                  </a:lnTo>
                  <a:lnTo>
                    <a:pt x="474" y="2006"/>
                  </a:lnTo>
                  <a:lnTo>
                    <a:pt x="482" y="2000"/>
                  </a:lnTo>
                  <a:lnTo>
                    <a:pt x="486" y="1996"/>
                  </a:lnTo>
                  <a:lnTo>
                    <a:pt x="490" y="1990"/>
                  </a:lnTo>
                  <a:lnTo>
                    <a:pt x="494" y="1982"/>
                  </a:lnTo>
                  <a:lnTo>
                    <a:pt x="494" y="1970"/>
                  </a:lnTo>
                  <a:close/>
                  <a:moveTo>
                    <a:pt x="662" y="1344"/>
                  </a:moveTo>
                  <a:lnTo>
                    <a:pt x="662" y="1344"/>
                  </a:lnTo>
                  <a:lnTo>
                    <a:pt x="660" y="1344"/>
                  </a:lnTo>
                  <a:lnTo>
                    <a:pt x="656" y="1346"/>
                  </a:lnTo>
                  <a:lnTo>
                    <a:pt x="656" y="1350"/>
                  </a:lnTo>
                  <a:lnTo>
                    <a:pt x="656" y="1354"/>
                  </a:lnTo>
                  <a:lnTo>
                    <a:pt x="660" y="1354"/>
                  </a:lnTo>
                  <a:lnTo>
                    <a:pt x="662" y="1352"/>
                  </a:lnTo>
                  <a:lnTo>
                    <a:pt x="664" y="1348"/>
                  </a:lnTo>
                  <a:lnTo>
                    <a:pt x="664" y="1346"/>
                  </a:lnTo>
                  <a:lnTo>
                    <a:pt x="662" y="1344"/>
                  </a:lnTo>
                  <a:close/>
                  <a:moveTo>
                    <a:pt x="652" y="1354"/>
                  </a:moveTo>
                  <a:lnTo>
                    <a:pt x="652" y="1354"/>
                  </a:lnTo>
                  <a:lnTo>
                    <a:pt x="650" y="1352"/>
                  </a:lnTo>
                  <a:lnTo>
                    <a:pt x="648" y="1352"/>
                  </a:lnTo>
                  <a:lnTo>
                    <a:pt x="646" y="1352"/>
                  </a:lnTo>
                  <a:lnTo>
                    <a:pt x="644" y="1356"/>
                  </a:lnTo>
                  <a:lnTo>
                    <a:pt x="646" y="1358"/>
                  </a:lnTo>
                  <a:lnTo>
                    <a:pt x="648" y="1358"/>
                  </a:lnTo>
                  <a:lnTo>
                    <a:pt x="652" y="1356"/>
                  </a:lnTo>
                  <a:lnTo>
                    <a:pt x="652" y="1354"/>
                  </a:lnTo>
                  <a:close/>
                  <a:moveTo>
                    <a:pt x="150" y="1398"/>
                  </a:moveTo>
                  <a:lnTo>
                    <a:pt x="150" y="1398"/>
                  </a:lnTo>
                  <a:lnTo>
                    <a:pt x="148" y="1396"/>
                  </a:lnTo>
                  <a:lnTo>
                    <a:pt x="146" y="1394"/>
                  </a:lnTo>
                  <a:lnTo>
                    <a:pt x="146" y="1396"/>
                  </a:lnTo>
                  <a:lnTo>
                    <a:pt x="144" y="1398"/>
                  </a:lnTo>
                  <a:lnTo>
                    <a:pt x="146" y="1402"/>
                  </a:lnTo>
                  <a:lnTo>
                    <a:pt x="152" y="1410"/>
                  </a:lnTo>
                  <a:lnTo>
                    <a:pt x="154" y="1412"/>
                  </a:lnTo>
                  <a:lnTo>
                    <a:pt x="156" y="1412"/>
                  </a:lnTo>
                  <a:lnTo>
                    <a:pt x="158" y="1412"/>
                  </a:lnTo>
                  <a:lnTo>
                    <a:pt x="156" y="1410"/>
                  </a:lnTo>
                  <a:lnTo>
                    <a:pt x="154" y="1404"/>
                  </a:lnTo>
                  <a:lnTo>
                    <a:pt x="154" y="1400"/>
                  </a:lnTo>
                  <a:lnTo>
                    <a:pt x="150" y="1398"/>
                  </a:lnTo>
                  <a:close/>
                  <a:moveTo>
                    <a:pt x="732" y="1304"/>
                  </a:moveTo>
                  <a:lnTo>
                    <a:pt x="732" y="1304"/>
                  </a:lnTo>
                  <a:lnTo>
                    <a:pt x="734" y="1302"/>
                  </a:lnTo>
                  <a:lnTo>
                    <a:pt x="732" y="1300"/>
                  </a:lnTo>
                  <a:lnTo>
                    <a:pt x="730" y="1298"/>
                  </a:lnTo>
                  <a:lnTo>
                    <a:pt x="728" y="1300"/>
                  </a:lnTo>
                  <a:lnTo>
                    <a:pt x="726" y="1302"/>
                  </a:lnTo>
                  <a:lnTo>
                    <a:pt x="724" y="1302"/>
                  </a:lnTo>
                  <a:lnTo>
                    <a:pt x="722" y="1300"/>
                  </a:lnTo>
                  <a:lnTo>
                    <a:pt x="720" y="1302"/>
                  </a:lnTo>
                  <a:lnTo>
                    <a:pt x="720" y="1304"/>
                  </a:lnTo>
                  <a:lnTo>
                    <a:pt x="724" y="1306"/>
                  </a:lnTo>
                  <a:lnTo>
                    <a:pt x="732" y="1304"/>
                  </a:lnTo>
                  <a:close/>
                  <a:moveTo>
                    <a:pt x="618" y="1384"/>
                  </a:moveTo>
                  <a:lnTo>
                    <a:pt x="618" y="1384"/>
                  </a:lnTo>
                  <a:lnTo>
                    <a:pt x="622" y="1384"/>
                  </a:lnTo>
                  <a:lnTo>
                    <a:pt x="626" y="1382"/>
                  </a:lnTo>
                  <a:lnTo>
                    <a:pt x="628" y="1380"/>
                  </a:lnTo>
                  <a:lnTo>
                    <a:pt x="628" y="1378"/>
                  </a:lnTo>
                  <a:lnTo>
                    <a:pt x="622" y="1378"/>
                  </a:lnTo>
                  <a:lnTo>
                    <a:pt x="618" y="1378"/>
                  </a:lnTo>
                  <a:lnTo>
                    <a:pt x="616" y="1380"/>
                  </a:lnTo>
                  <a:lnTo>
                    <a:pt x="618" y="1384"/>
                  </a:lnTo>
                  <a:close/>
                  <a:moveTo>
                    <a:pt x="620" y="1456"/>
                  </a:moveTo>
                  <a:lnTo>
                    <a:pt x="620" y="1456"/>
                  </a:lnTo>
                  <a:lnTo>
                    <a:pt x="616" y="1454"/>
                  </a:lnTo>
                  <a:lnTo>
                    <a:pt x="618" y="1456"/>
                  </a:lnTo>
                  <a:lnTo>
                    <a:pt x="622" y="1462"/>
                  </a:lnTo>
                  <a:lnTo>
                    <a:pt x="624" y="1462"/>
                  </a:lnTo>
                  <a:lnTo>
                    <a:pt x="626" y="1464"/>
                  </a:lnTo>
                  <a:lnTo>
                    <a:pt x="624" y="1462"/>
                  </a:lnTo>
                  <a:lnTo>
                    <a:pt x="622" y="1458"/>
                  </a:lnTo>
                  <a:lnTo>
                    <a:pt x="620" y="1456"/>
                  </a:lnTo>
                  <a:close/>
                  <a:moveTo>
                    <a:pt x="630" y="1474"/>
                  </a:moveTo>
                  <a:lnTo>
                    <a:pt x="630" y="1474"/>
                  </a:lnTo>
                  <a:lnTo>
                    <a:pt x="626" y="1468"/>
                  </a:lnTo>
                  <a:lnTo>
                    <a:pt x="622" y="1466"/>
                  </a:lnTo>
                  <a:lnTo>
                    <a:pt x="622" y="1468"/>
                  </a:lnTo>
                  <a:lnTo>
                    <a:pt x="626" y="1474"/>
                  </a:lnTo>
                  <a:lnTo>
                    <a:pt x="628" y="1476"/>
                  </a:lnTo>
                  <a:lnTo>
                    <a:pt x="630" y="1474"/>
                  </a:lnTo>
                  <a:close/>
                  <a:moveTo>
                    <a:pt x="624" y="1490"/>
                  </a:moveTo>
                  <a:lnTo>
                    <a:pt x="624" y="1490"/>
                  </a:lnTo>
                  <a:lnTo>
                    <a:pt x="626" y="1490"/>
                  </a:lnTo>
                  <a:lnTo>
                    <a:pt x="626" y="1486"/>
                  </a:lnTo>
                  <a:lnTo>
                    <a:pt x="624" y="1476"/>
                  </a:lnTo>
                  <a:lnTo>
                    <a:pt x="622" y="1474"/>
                  </a:lnTo>
                  <a:lnTo>
                    <a:pt x="622" y="1476"/>
                  </a:lnTo>
                  <a:lnTo>
                    <a:pt x="622" y="1480"/>
                  </a:lnTo>
                  <a:lnTo>
                    <a:pt x="622" y="1486"/>
                  </a:lnTo>
                  <a:lnTo>
                    <a:pt x="622" y="1490"/>
                  </a:lnTo>
                  <a:lnTo>
                    <a:pt x="624" y="1490"/>
                  </a:lnTo>
                  <a:close/>
                  <a:moveTo>
                    <a:pt x="302" y="1578"/>
                  </a:moveTo>
                  <a:lnTo>
                    <a:pt x="302" y="1578"/>
                  </a:lnTo>
                  <a:lnTo>
                    <a:pt x="300" y="1580"/>
                  </a:lnTo>
                  <a:lnTo>
                    <a:pt x="300" y="1582"/>
                  </a:lnTo>
                  <a:lnTo>
                    <a:pt x="302" y="1582"/>
                  </a:lnTo>
                  <a:lnTo>
                    <a:pt x="304" y="1584"/>
                  </a:lnTo>
                  <a:lnTo>
                    <a:pt x="306" y="1582"/>
                  </a:lnTo>
                  <a:lnTo>
                    <a:pt x="306" y="1580"/>
                  </a:lnTo>
                  <a:lnTo>
                    <a:pt x="304" y="1578"/>
                  </a:lnTo>
                  <a:lnTo>
                    <a:pt x="302" y="1578"/>
                  </a:lnTo>
                  <a:close/>
                  <a:moveTo>
                    <a:pt x="160" y="1386"/>
                  </a:moveTo>
                  <a:lnTo>
                    <a:pt x="160" y="1386"/>
                  </a:lnTo>
                  <a:lnTo>
                    <a:pt x="158" y="1382"/>
                  </a:lnTo>
                  <a:lnTo>
                    <a:pt x="154" y="1378"/>
                  </a:lnTo>
                  <a:lnTo>
                    <a:pt x="150" y="1378"/>
                  </a:lnTo>
                  <a:lnTo>
                    <a:pt x="148" y="1378"/>
                  </a:lnTo>
                  <a:lnTo>
                    <a:pt x="148" y="1380"/>
                  </a:lnTo>
                  <a:lnTo>
                    <a:pt x="148" y="1382"/>
                  </a:lnTo>
                  <a:lnTo>
                    <a:pt x="152" y="1384"/>
                  </a:lnTo>
                  <a:lnTo>
                    <a:pt x="156" y="1386"/>
                  </a:lnTo>
                  <a:lnTo>
                    <a:pt x="160" y="1386"/>
                  </a:lnTo>
                  <a:close/>
                  <a:moveTo>
                    <a:pt x="320" y="1546"/>
                  </a:moveTo>
                  <a:lnTo>
                    <a:pt x="320" y="1546"/>
                  </a:lnTo>
                  <a:lnTo>
                    <a:pt x="318" y="1546"/>
                  </a:lnTo>
                  <a:lnTo>
                    <a:pt x="316" y="1546"/>
                  </a:lnTo>
                  <a:lnTo>
                    <a:pt x="314" y="1548"/>
                  </a:lnTo>
                  <a:lnTo>
                    <a:pt x="312" y="1552"/>
                  </a:lnTo>
                  <a:lnTo>
                    <a:pt x="314" y="1552"/>
                  </a:lnTo>
                  <a:lnTo>
                    <a:pt x="318" y="1552"/>
                  </a:lnTo>
                  <a:lnTo>
                    <a:pt x="318" y="1550"/>
                  </a:lnTo>
                  <a:lnTo>
                    <a:pt x="320" y="1548"/>
                  </a:lnTo>
                  <a:lnTo>
                    <a:pt x="322" y="1546"/>
                  </a:lnTo>
                  <a:lnTo>
                    <a:pt x="320" y="1546"/>
                  </a:lnTo>
                  <a:close/>
                  <a:moveTo>
                    <a:pt x="354" y="1486"/>
                  </a:moveTo>
                  <a:lnTo>
                    <a:pt x="354" y="1486"/>
                  </a:lnTo>
                  <a:lnTo>
                    <a:pt x="356" y="1488"/>
                  </a:lnTo>
                  <a:lnTo>
                    <a:pt x="356" y="1490"/>
                  </a:lnTo>
                  <a:lnTo>
                    <a:pt x="358" y="1488"/>
                  </a:lnTo>
                  <a:lnTo>
                    <a:pt x="362" y="1490"/>
                  </a:lnTo>
                  <a:lnTo>
                    <a:pt x="364" y="1492"/>
                  </a:lnTo>
                  <a:lnTo>
                    <a:pt x="364" y="1490"/>
                  </a:lnTo>
                  <a:lnTo>
                    <a:pt x="366" y="1488"/>
                  </a:lnTo>
                  <a:lnTo>
                    <a:pt x="370" y="1490"/>
                  </a:lnTo>
                  <a:lnTo>
                    <a:pt x="372" y="1492"/>
                  </a:lnTo>
                  <a:lnTo>
                    <a:pt x="372" y="1494"/>
                  </a:lnTo>
                  <a:lnTo>
                    <a:pt x="370" y="1500"/>
                  </a:lnTo>
                  <a:lnTo>
                    <a:pt x="368" y="1506"/>
                  </a:lnTo>
                  <a:lnTo>
                    <a:pt x="368" y="1508"/>
                  </a:lnTo>
                  <a:lnTo>
                    <a:pt x="370" y="1512"/>
                  </a:lnTo>
                  <a:lnTo>
                    <a:pt x="372" y="1512"/>
                  </a:lnTo>
                  <a:lnTo>
                    <a:pt x="372" y="1510"/>
                  </a:lnTo>
                  <a:lnTo>
                    <a:pt x="374" y="1502"/>
                  </a:lnTo>
                  <a:lnTo>
                    <a:pt x="376" y="1496"/>
                  </a:lnTo>
                  <a:lnTo>
                    <a:pt x="374" y="1490"/>
                  </a:lnTo>
                  <a:lnTo>
                    <a:pt x="374" y="1488"/>
                  </a:lnTo>
                  <a:lnTo>
                    <a:pt x="376" y="1484"/>
                  </a:lnTo>
                  <a:lnTo>
                    <a:pt x="380" y="1476"/>
                  </a:lnTo>
                  <a:lnTo>
                    <a:pt x="380" y="1472"/>
                  </a:lnTo>
                  <a:lnTo>
                    <a:pt x="378" y="1474"/>
                  </a:lnTo>
                  <a:lnTo>
                    <a:pt x="376" y="1476"/>
                  </a:lnTo>
                  <a:lnTo>
                    <a:pt x="376" y="1474"/>
                  </a:lnTo>
                  <a:lnTo>
                    <a:pt x="376" y="1472"/>
                  </a:lnTo>
                  <a:lnTo>
                    <a:pt x="374" y="1470"/>
                  </a:lnTo>
                  <a:lnTo>
                    <a:pt x="372" y="1470"/>
                  </a:lnTo>
                  <a:lnTo>
                    <a:pt x="372" y="1472"/>
                  </a:lnTo>
                  <a:lnTo>
                    <a:pt x="370" y="1474"/>
                  </a:lnTo>
                  <a:lnTo>
                    <a:pt x="370" y="1472"/>
                  </a:lnTo>
                  <a:lnTo>
                    <a:pt x="370" y="1462"/>
                  </a:lnTo>
                  <a:lnTo>
                    <a:pt x="370" y="1460"/>
                  </a:lnTo>
                  <a:lnTo>
                    <a:pt x="368" y="1460"/>
                  </a:lnTo>
                  <a:lnTo>
                    <a:pt x="364" y="1464"/>
                  </a:lnTo>
                  <a:lnTo>
                    <a:pt x="358" y="1468"/>
                  </a:lnTo>
                  <a:lnTo>
                    <a:pt x="358" y="1470"/>
                  </a:lnTo>
                  <a:lnTo>
                    <a:pt x="364" y="1474"/>
                  </a:lnTo>
                  <a:lnTo>
                    <a:pt x="368" y="1476"/>
                  </a:lnTo>
                  <a:lnTo>
                    <a:pt x="368" y="1480"/>
                  </a:lnTo>
                  <a:lnTo>
                    <a:pt x="366" y="1482"/>
                  </a:lnTo>
                  <a:lnTo>
                    <a:pt x="360" y="1482"/>
                  </a:lnTo>
                  <a:lnTo>
                    <a:pt x="356" y="1482"/>
                  </a:lnTo>
                  <a:lnTo>
                    <a:pt x="356" y="1484"/>
                  </a:lnTo>
                  <a:lnTo>
                    <a:pt x="354" y="1486"/>
                  </a:lnTo>
                  <a:close/>
                  <a:moveTo>
                    <a:pt x="312" y="1560"/>
                  </a:moveTo>
                  <a:lnTo>
                    <a:pt x="312" y="1560"/>
                  </a:lnTo>
                  <a:lnTo>
                    <a:pt x="312" y="1562"/>
                  </a:lnTo>
                  <a:lnTo>
                    <a:pt x="314" y="1562"/>
                  </a:lnTo>
                  <a:lnTo>
                    <a:pt x="318" y="1560"/>
                  </a:lnTo>
                  <a:lnTo>
                    <a:pt x="316" y="1558"/>
                  </a:lnTo>
                  <a:lnTo>
                    <a:pt x="314" y="1556"/>
                  </a:lnTo>
                  <a:lnTo>
                    <a:pt x="312" y="1560"/>
                  </a:lnTo>
                  <a:close/>
                  <a:moveTo>
                    <a:pt x="744" y="1294"/>
                  </a:moveTo>
                  <a:lnTo>
                    <a:pt x="744" y="1294"/>
                  </a:lnTo>
                  <a:lnTo>
                    <a:pt x="746" y="1296"/>
                  </a:lnTo>
                  <a:lnTo>
                    <a:pt x="748" y="1296"/>
                  </a:lnTo>
                  <a:lnTo>
                    <a:pt x="750" y="1294"/>
                  </a:lnTo>
                  <a:lnTo>
                    <a:pt x="752" y="1292"/>
                  </a:lnTo>
                  <a:lnTo>
                    <a:pt x="748" y="1288"/>
                  </a:lnTo>
                  <a:lnTo>
                    <a:pt x="746" y="1288"/>
                  </a:lnTo>
                  <a:lnTo>
                    <a:pt x="744" y="1290"/>
                  </a:lnTo>
                  <a:lnTo>
                    <a:pt x="744" y="1294"/>
                  </a:lnTo>
                  <a:close/>
                  <a:moveTo>
                    <a:pt x="380" y="1462"/>
                  </a:moveTo>
                  <a:lnTo>
                    <a:pt x="380" y="1462"/>
                  </a:lnTo>
                  <a:lnTo>
                    <a:pt x="382" y="1460"/>
                  </a:lnTo>
                  <a:lnTo>
                    <a:pt x="382" y="1456"/>
                  </a:lnTo>
                  <a:lnTo>
                    <a:pt x="382" y="1454"/>
                  </a:lnTo>
                  <a:lnTo>
                    <a:pt x="380" y="1454"/>
                  </a:lnTo>
                  <a:lnTo>
                    <a:pt x="378" y="1454"/>
                  </a:lnTo>
                  <a:lnTo>
                    <a:pt x="378" y="1456"/>
                  </a:lnTo>
                  <a:lnTo>
                    <a:pt x="376" y="1460"/>
                  </a:lnTo>
                  <a:lnTo>
                    <a:pt x="374" y="1462"/>
                  </a:lnTo>
                  <a:lnTo>
                    <a:pt x="376" y="1468"/>
                  </a:lnTo>
                  <a:lnTo>
                    <a:pt x="378" y="1468"/>
                  </a:lnTo>
                  <a:lnTo>
                    <a:pt x="378" y="1466"/>
                  </a:lnTo>
                  <a:lnTo>
                    <a:pt x="380" y="1464"/>
                  </a:lnTo>
                  <a:lnTo>
                    <a:pt x="380" y="1462"/>
                  </a:lnTo>
                  <a:close/>
                  <a:moveTo>
                    <a:pt x="134" y="1090"/>
                  </a:moveTo>
                  <a:lnTo>
                    <a:pt x="134" y="1090"/>
                  </a:lnTo>
                  <a:lnTo>
                    <a:pt x="148" y="1086"/>
                  </a:lnTo>
                  <a:lnTo>
                    <a:pt x="158" y="1086"/>
                  </a:lnTo>
                  <a:lnTo>
                    <a:pt x="190" y="1088"/>
                  </a:lnTo>
                  <a:lnTo>
                    <a:pt x="200" y="1088"/>
                  </a:lnTo>
                  <a:lnTo>
                    <a:pt x="202" y="1090"/>
                  </a:lnTo>
                  <a:lnTo>
                    <a:pt x="202" y="1092"/>
                  </a:lnTo>
                  <a:lnTo>
                    <a:pt x="198" y="1094"/>
                  </a:lnTo>
                  <a:lnTo>
                    <a:pt x="186" y="1100"/>
                  </a:lnTo>
                  <a:lnTo>
                    <a:pt x="182" y="1104"/>
                  </a:lnTo>
                  <a:lnTo>
                    <a:pt x="180" y="1108"/>
                  </a:lnTo>
                  <a:lnTo>
                    <a:pt x="182" y="1110"/>
                  </a:lnTo>
                  <a:lnTo>
                    <a:pt x="186" y="1112"/>
                  </a:lnTo>
                  <a:lnTo>
                    <a:pt x="196" y="1112"/>
                  </a:lnTo>
                  <a:lnTo>
                    <a:pt x="204" y="1114"/>
                  </a:lnTo>
                  <a:lnTo>
                    <a:pt x="198" y="1118"/>
                  </a:lnTo>
                  <a:lnTo>
                    <a:pt x="190" y="1120"/>
                  </a:lnTo>
                  <a:lnTo>
                    <a:pt x="182" y="1120"/>
                  </a:lnTo>
                  <a:lnTo>
                    <a:pt x="174" y="1118"/>
                  </a:lnTo>
                  <a:lnTo>
                    <a:pt x="166" y="1116"/>
                  </a:lnTo>
                  <a:lnTo>
                    <a:pt x="162" y="1116"/>
                  </a:lnTo>
                  <a:lnTo>
                    <a:pt x="156" y="1120"/>
                  </a:lnTo>
                  <a:lnTo>
                    <a:pt x="150" y="1122"/>
                  </a:lnTo>
                  <a:lnTo>
                    <a:pt x="144" y="1124"/>
                  </a:lnTo>
                  <a:lnTo>
                    <a:pt x="132" y="1124"/>
                  </a:lnTo>
                  <a:lnTo>
                    <a:pt x="122" y="1126"/>
                  </a:lnTo>
                  <a:lnTo>
                    <a:pt x="120" y="1130"/>
                  </a:lnTo>
                  <a:lnTo>
                    <a:pt x="120" y="1132"/>
                  </a:lnTo>
                  <a:lnTo>
                    <a:pt x="122" y="1136"/>
                  </a:lnTo>
                  <a:lnTo>
                    <a:pt x="124" y="1138"/>
                  </a:lnTo>
                  <a:lnTo>
                    <a:pt x="134" y="1136"/>
                  </a:lnTo>
                  <a:lnTo>
                    <a:pt x="152" y="1134"/>
                  </a:lnTo>
                  <a:lnTo>
                    <a:pt x="162" y="1134"/>
                  </a:lnTo>
                  <a:lnTo>
                    <a:pt x="174" y="1136"/>
                  </a:lnTo>
                  <a:lnTo>
                    <a:pt x="180" y="1138"/>
                  </a:lnTo>
                  <a:lnTo>
                    <a:pt x="184" y="1140"/>
                  </a:lnTo>
                  <a:lnTo>
                    <a:pt x="186" y="1142"/>
                  </a:lnTo>
                  <a:lnTo>
                    <a:pt x="186" y="1146"/>
                  </a:lnTo>
                  <a:lnTo>
                    <a:pt x="186" y="1152"/>
                  </a:lnTo>
                  <a:lnTo>
                    <a:pt x="188" y="1154"/>
                  </a:lnTo>
                  <a:lnTo>
                    <a:pt x="190" y="1156"/>
                  </a:lnTo>
                  <a:lnTo>
                    <a:pt x="198" y="1160"/>
                  </a:lnTo>
                  <a:lnTo>
                    <a:pt x="202" y="1166"/>
                  </a:lnTo>
                  <a:lnTo>
                    <a:pt x="202" y="1174"/>
                  </a:lnTo>
                  <a:lnTo>
                    <a:pt x="198" y="1184"/>
                  </a:lnTo>
                  <a:lnTo>
                    <a:pt x="196" y="1186"/>
                  </a:lnTo>
                  <a:lnTo>
                    <a:pt x="190" y="1186"/>
                  </a:lnTo>
                  <a:lnTo>
                    <a:pt x="180" y="1184"/>
                  </a:lnTo>
                  <a:lnTo>
                    <a:pt x="172" y="1184"/>
                  </a:lnTo>
                  <a:lnTo>
                    <a:pt x="170" y="1186"/>
                  </a:lnTo>
                  <a:lnTo>
                    <a:pt x="170" y="1190"/>
                  </a:lnTo>
                  <a:lnTo>
                    <a:pt x="172" y="1196"/>
                  </a:lnTo>
                  <a:lnTo>
                    <a:pt x="174" y="1198"/>
                  </a:lnTo>
                  <a:lnTo>
                    <a:pt x="176" y="1200"/>
                  </a:lnTo>
                  <a:lnTo>
                    <a:pt x="182" y="1202"/>
                  </a:lnTo>
                  <a:lnTo>
                    <a:pt x="196" y="1202"/>
                  </a:lnTo>
                  <a:lnTo>
                    <a:pt x="220" y="1200"/>
                  </a:lnTo>
                  <a:lnTo>
                    <a:pt x="232" y="1200"/>
                  </a:lnTo>
                  <a:lnTo>
                    <a:pt x="242" y="1202"/>
                  </a:lnTo>
                  <a:lnTo>
                    <a:pt x="252" y="1206"/>
                  </a:lnTo>
                  <a:lnTo>
                    <a:pt x="260" y="1208"/>
                  </a:lnTo>
                  <a:lnTo>
                    <a:pt x="274" y="1216"/>
                  </a:lnTo>
                  <a:lnTo>
                    <a:pt x="282" y="1218"/>
                  </a:lnTo>
                  <a:lnTo>
                    <a:pt x="292" y="1220"/>
                  </a:lnTo>
                  <a:lnTo>
                    <a:pt x="300" y="1220"/>
                  </a:lnTo>
                  <a:lnTo>
                    <a:pt x="308" y="1224"/>
                  </a:lnTo>
                  <a:lnTo>
                    <a:pt x="318" y="1228"/>
                  </a:lnTo>
                  <a:lnTo>
                    <a:pt x="322" y="1230"/>
                  </a:lnTo>
                  <a:lnTo>
                    <a:pt x="328" y="1232"/>
                  </a:lnTo>
                  <a:lnTo>
                    <a:pt x="336" y="1232"/>
                  </a:lnTo>
                  <a:lnTo>
                    <a:pt x="346" y="1230"/>
                  </a:lnTo>
                  <a:lnTo>
                    <a:pt x="356" y="1226"/>
                  </a:lnTo>
                  <a:lnTo>
                    <a:pt x="362" y="1222"/>
                  </a:lnTo>
                  <a:lnTo>
                    <a:pt x="368" y="1214"/>
                  </a:lnTo>
                  <a:lnTo>
                    <a:pt x="370" y="1210"/>
                  </a:lnTo>
                  <a:lnTo>
                    <a:pt x="374" y="1206"/>
                  </a:lnTo>
                  <a:lnTo>
                    <a:pt x="380" y="1206"/>
                  </a:lnTo>
                  <a:lnTo>
                    <a:pt x="388" y="1206"/>
                  </a:lnTo>
                  <a:lnTo>
                    <a:pt x="396" y="1204"/>
                  </a:lnTo>
                  <a:lnTo>
                    <a:pt x="404" y="1204"/>
                  </a:lnTo>
                  <a:lnTo>
                    <a:pt x="418" y="1198"/>
                  </a:lnTo>
                  <a:lnTo>
                    <a:pt x="452" y="1176"/>
                  </a:lnTo>
                  <a:lnTo>
                    <a:pt x="462" y="1172"/>
                  </a:lnTo>
                  <a:lnTo>
                    <a:pt x="470" y="1170"/>
                  </a:lnTo>
                  <a:lnTo>
                    <a:pt x="484" y="1168"/>
                  </a:lnTo>
                  <a:lnTo>
                    <a:pt x="488" y="1166"/>
                  </a:lnTo>
                  <a:lnTo>
                    <a:pt x="494" y="1164"/>
                  </a:lnTo>
                  <a:lnTo>
                    <a:pt x="500" y="1160"/>
                  </a:lnTo>
                  <a:lnTo>
                    <a:pt x="504" y="1154"/>
                  </a:lnTo>
                  <a:lnTo>
                    <a:pt x="514" y="1142"/>
                  </a:lnTo>
                  <a:lnTo>
                    <a:pt x="522" y="1136"/>
                  </a:lnTo>
                  <a:lnTo>
                    <a:pt x="528" y="1134"/>
                  </a:lnTo>
                  <a:lnTo>
                    <a:pt x="534" y="1126"/>
                  </a:lnTo>
                  <a:lnTo>
                    <a:pt x="540" y="1112"/>
                  </a:lnTo>
                  <a:lnTo>
                    <a:pt x="542" y="1104"/>
                  </a:lnTo>
                  <a:lnTo>
                    <a:pt x="542" y="1098"/>
                  </a:lnTo>
                  <a:lnTo>
                    <a:pt x="542" y="1090"/>
                  </a:lnTo>
                  <a:lnTo>
                    <a:pt x="538" y="1086"/>
                  </a:lnTo>
                  <a:lnTo>
                    <a:pt x="532" y="1082"/>
                  </a:lnTo>
                  <a:lnTo>
                    <a:pt x="526" y="1080"/>
                  </a:lnTo>
                  <a:lnTo>
                    <a:pt x="518" y="1078"/>
                  </a:lnTo>
                  <a:lnTo>
                    <a:pt x="514" y="1076"/>
                  </a:lnTo>
                  <a:lnTo>
                    <a:pt x="510" y="1072"/>
                  </a:lnTo>
                  <a:lnTo>
                    <a:pt x="506" y="1068"/>
                  </a:lnTo>
                  <a:lnTo>
                    <a:pt x="502" y="1066"/>
                  </a:lnTo>
                  <a:lnTo>
                    <a:pt x="496" y="1068"/>
                  </a:lnTo>
                  <a:lnTo>
                    <a:pt x="494" y="1066"/>
                  </a:lnTo>
                  <a:lnTo>
                    <a:pt x="492" y="1064"/>
                  </a:lnTo>
                  <a:lnTo>
                    <a:pt x="496" y="1058"/>
                  </a:lnTo>
                  <a:lnTo>
                    <a:pt x="500" y="1052"/>
                  </a:lnTo>
                  <a:lnTo>
                    <a:pt x="500" y="1048"/>
                  </a:lnTo>
                  <a:lnTo>
                    <a:pt x="496" y="1046"/>
                  </a:lnTo>
                  <a:lnTo>
                    <a:pt x="492" y="1046"/>
                  </a:lnTo>
                  <a:lnTo>
                    <a:pt x="486" y="1044"/>
                  </a:lnTo>
                  <a:lnTo>
                    <a:pt x="484" y="1044"/>
                  </a:lnTo>
                  <a:lnTo>
                    <a:pt x="484" y="1040"/>
                  </a:lnTo>
                  <a:lnTo>
                    <a:pt x="488" y="1036"/>
                  </a:lnTo>
                  <a:lnTo>
                    <a:pt x="500" y="1028"/>
                  </a:lnTo>
                  <a:lnTo>
                    <a:pt x="500" y="1024"/>
                  </a:lnTo>
                  <a:lnTo>
                    <a:pt x="500" y="1022"/>
                  </a:lnTo>
                  <a:lnTo>
                    <a:pt x="494" y="1022"/>
                  </a:lnTo>
                  <a:lnTo>
                    <a:pt x="484" y="1026"/>
                  </a:lnTo>
                  <a:lnTo>
                    <a:pt x="474" y="1032"/>
                  </a:lnTo>
                  <a:lnTo>
                    <a:pt x="466" y="1036"/>
                  </a:lnTo>
                  <a:lnTo>
                    <a:pt x="462" y="1036"/>
                  </a:lnTo>
                  <a:lnTo>
                    <a:pt x="460" y="1034"/>
                  </a:lnTo>
                  <a:lnTo>
                    <a:pt x="456" y="1028"/>
                  </a:lnTo>
                  <a:lnTo>
                    <a:pt x="450" y="1020"/>
                  </a:lnTo>
                  <a:lnTo>
                    <a:pt x="446" y="1016"/>
                  </a:lnTo>
                  <a:lnTo>
                    <a:pt x="442" y="1012"/>
                  </a:lnTo>
                  <a:lnTo>
                    <a:pt x="436" y="1012"/>
                  </a:lnTo>
                  <a:lnTo>
                    <a:pt x="430" y="1012"/>
                  </a:lnTo>
                  <a:lnTo>
                    <a:pt x="424" y="1014"/>
                  </a:lnTo>
                  <a:lnTo>
                    <a:pt x="420" y="1018"/>
                  </a:lnTo>
                  <a:lnTo>
                    <a:pt x="418" y="1022"/>
                  </a:lnTo>
                  <a:lnTo>
                    <a:pt x="420" y="1026"/>
                  </a:lnTo>
                  <a:lnTo>
                    <a:pt x="424" y="1034"/>
                  </a:lnTo>
                  <a:lnTo>
                    <a:pt x="424" y="1038"/>
                  </a:lnTo>
                  <a:lnTo>
                    <a:pt x="424" y="1040"/>
                  </a:lnTo>
                  <a:lnTo>
                    <a:pt x="420" y="1042"/>
                  </a:lnTo>
                  <a:lnTo>
                    <a:pt x="418" y="1042"/>
                  </a:lnTo>
                  <a:lnTo>
                    <a:pt x="406" y="1038"/>
                  </a:lnTo>
                  <a:lnTo>
                    <a:pt x="402" y="1036"/>
                  </a:lnTo>
                  <a:lnTo>
                    <a:pt x="396" y="1038"/>
                  </a:lnTo>
                  <a:lnTo>
                    <a:pt x="390" y="1046"/>
                  </a:lnTo>
                  <a:lnTo>
                    <a:pt x="386" y="1050"/>
                  </a:lnTo>
                  <a:lnTo>
                    <a:pt x="382" y="1052"/>
                  </a:lnTo>
                  <a:lnTo>
                    <a:pt x="378" y="1052"/>
                  </a:lnTo>
                  <a:lnTo>
                    <a:pt x="374" y="1048"/>
                  </a:lnTo>
                  <a:lnTo>
                    <a:pt x="362" y="1038"/>
                  </a:lnTo>
                  <a:lnTo>
                    <a:pt x="358" y="1038"/>
                  </a:lnTo>
                  <a:lnTo>
                    <a:pt x="356" y="1038"/>
                  </a:lnTo>
                  <a:lnTo>
                    <a:pt x="354" y="1038"/>
                  </a:lnTo>
                  <a:lnTo>
                    <a:pt x="352" y="1042"/>
                  </a:lnTo>
                  <a:lnTo>
                    <a:pt x="352" y="1052"/>
                  </a:lnTo>
                  <a:lnTo>
                    <a:pt x="352" y="1056"/>
                  </a:lnTo>
                  <a:lnTo>
                    <a:pt x="350" y="1058"/>
                  </a:lnTo>
                  <a:lnTo>
                    <a:pt x="350" y="1060"/>
                  </a:lnTo>
                  <a:lnTo>
                    <a:pt x="346" y="1058"/>
                  </a:lnTo>
                  <a:lnTo>
                    <a:pt x="342" y="1052"/>
                  </a:lnTo>
                  <a:lnTo>
                    <a:pt x="338" y="1042"/>
                  </a:lnTo>
                  <a:lnTo>
                    <a:pt x="336" y="1038"/>
                  </a:lnTo>
                  <a:lnTo>
                    <a:pt x="330" y="1036"/>
                  </a:lnTo>
                  <a:lnTo>
                    <a:pt x="326" y="1036"/>
                  </a:lnTo>
                  <a:lnTo>
                    <a:pt x="320" y="1038"/>
                  </a:lnTo>
                  <a:lnTo>
                    <a:pt x="314" y="1042"/>
                  </a:lnTo>
                  <a:lnTo>
                    <a:pt x="308" y="1048"/>
                  </a:lnTo>
                  <a:lnTo>
                    <a:pt x="306" y="1054"/>
                  </a:lnTo>
                  <a:lnTo>
                    <a:pt x="306" y="1060"/>
                  </a:lnTo>
                  <a:lnTo>
                    <a:pt x="304" y="1070"/>
                  </a:lnTo>
                  <a:lnTo>
                    <a:pt x="304" y="1072"/>
                  </a:lnTo>
                  <a:lnTo>
                    <a:pt x="302" y="1072"/>
                  </a:lnTo>
                  <a:lnTo>
                    <a:pt x="294" y="1066"/>
                  </a:lnTo>
                  <a:lnTo>
                    <a:pt x="286" y="1052"/>
                  </a:lnTo>
                  <a:lnTo>
                    <a:pt x="280" y="1044"/>
                  </a:lnTo>
                  <a:lnTo>
                    <a:pt x="276" y="1042"/>
                  </a:lnTo>
                  <a:lnTo>
                    <a:pt x="272" y="1040"/>
                  </a:lnTo>
                  <a:lnTo>
                    <a:pt x="268" y="1042"/>
                  </a:lnTo>
                  <a:lnTo>
                    <a:pt x="266" y="1046"/>
                  </a:lnTo>
                  <a:lnTo>
                    <a:pt x="266" y="1052"/>
                  </a:lnTo>
                  <a:lnTo>
                    <a:pt x="266" y="1056"/>
                  </a:lnTo>
                  <a:lnTo>
                    <a:pt x="268" y="1062"/>
                  </a:lnTo>
                  <a:lnTo>
                    <a:pt x="270" y="1074"/>
                  </a:lnTo>
                  <a:lnTo>
                    <a:pt x="270" y="1078"/>
                  </a:lnTo>
                  <a:lnTo>
                    <a:pt x="270" y="1080"/>
                  </a:lnTo>
                  <a:lnTo>
                    <a:pt x="266" y="1082"/>
                  </a:lnTo>
                  <a:lnTo>
                    <a:pt x="264" y="1082"/>
                  </a:lnTo>
                  <a:lnTo>
                    <a:pt x="260" y="1080"/>
                  </a:lnTo>
                  <a:lnTo>
                    <a:pt x="256" y="1074"/>
                  </a:lnTo>
                  <a:lnTo>
                    <a:pt x="252" y="1070"/>
                  </a:lnTo>
                  <a:lnTo>
                    <a:pt x="248" y="1072"/>
                  </a:lnTo>
                  <a:lnTo>
                    <a:pt x="246" y="1076"/>
                  </a:lnTo>
                  <a:lnTo>
                    <a:pt x="242" y="1082"/>
                  </a:lnTo>
                  <a:lnTo>
                    <a:pt x="240" y="1088"/>
                  </a:lnTo>
                  <a:lnTo>
                    <a:pt x="236" y="1090"/>
                  </a:lnTo>
                  <a:lnTo>
                    <a:pt x="234" y="1092"/>
                  </a:lnTo>
                  <a:lnTo>
                    <a:pt x="232" y="1090"/>
                  </a:lnTo>
                  <a:lnTo>
                    <a:pt x="228" y="1084"/>
                  </a:lnTo>
                  <a:lnTo>
                    <a:pt x="226" y="1076"/>
                  </a:lnTo>
                  <a:lnTo>
                    <a:pt x="226" y="1070"/>
                  </a:lnTo>
                  <a:lnTo>
                    <a:pt x="228" y="1060"/>
                  </a:lnTo>
                  <a:lnTo>
                    <a:pt x="228" y="1058"/>
                  </a:lnTo>
                  <a:lnTo>
                    <a:pt x="228" y="1054"/>
                  </a:lnTo>
                  <a:lnTo>
                    <a:pt x="224" y="1050"/>
                  </a:lnTo>
                  <a:lnTo>
                    <a:pt x="216" y="1046"/>
                  </a:lnTo>
                  <a:lnTo>
                    <a:pt x="204" y="1036"/>
                  </a:lnTo>
                  <a:lnTo>
                    <a:pt x="200" y="1030"/>
                  </a:lnTo>
                  <a:lnTo>
                    <a:pt x="194" y="1026"/>
                  </a:lnTo>
                  <a:lnTo>
                    <a:pt x="184" y="1020"/>
                  </a:lnTo>
                  <a:lnTo>
                    <a:pt x="174" y="1018"/>
                  </a:lnTo>
                  <a:lnTo>
                    <a:pt x="168" y="1018"/>
                  </a:lnTo>
                  <a:lnTo>
                    <a:pt x="162" y="1018"/>
                  </a:lnTo>
                  <a:lnTo>
                    <a:pt x="158" y="1020"/>
                  </a:lnTo>
                  <a:lnTo>
                    <a:pt x="154" y="1024"/>
                  </a:lnTo>
                  <a:lnTo>
                    <a:pt x="152" y="1026"/>
                  </a:lnTo>
                  <a:lnTo>
                    <a:pt x="152" y="1030"/>
                  </a:lnTo>
                  <a:lnTo>
                    <a:pt x="154" y="1032"/>
                  </a:lnTo>
                  <a:lnTo>
                    <a:pt x="162" y="1038"/>
                  </a:lnTo>
                  <a:lnTo>
                    <a:pt x="170" y="1042"/>
                  </a:lnTo>
                  <a:lnTo>
                    <a:pt x="180" y="1048"/>
                  </a:lnTo>
                  <a:lnTo>
                    <a:pt x="186" y="1054"/>
                  </a:lnTo>
                  <a:lnTo>
                    <a:pt x="188" y="1058"/>
                  </a:lnTo>
                  <a:lnTo>
                    <a:pt x="186" y="1058"/>
                  </a:lnTo>
                  <a:lnTo>
                    <a:pt x="178" y="1056"/>
                  </a:lnTo>
                  <a:lnTo>
                    <a:pt x="166" y="1048"/>
                  </a:lnTo>
                  <a:lnTo>
                    <a:pt x="154" y="1040"/>
                  </a:lnTo>
                  <a:lnTo>
                    <a:pt x="148" y="1038"/>
                  </a:lnTo>
                  <a:lnTo>
                    <a:pt x="144" y="1036"/>
                  </a:lnTo>
                  <a:lnTo>
                    <a:pt x="140" y="1038"/>
                  </a:lnTo>
                  <a:lnTo>
                    <a:pt x="136" y="1040"/>
                  </a:lnTo>
                  <a:lnTo>
                    <a:pt x="130" y="1048"/>
                  </a:lnTo>
                  <a:lnTo>
                    <a:pt x="128" y="1058"/>
                  </a:lnTo>
                  <a:lnTo>
                    <a:pt x="128" y="1064"/>
                  </a:lnTo>
                  <a:lnTo>
                    <a:pt x="126" y="1066"/>
                  </a:lnTo>
                  <a:lnTo>
                    <a:pt x="122" y="1068"/>
                  </a:lnTo>
                  <a:lnTo>
                    <a:pt x="118" y="1068"/>
                  </a:lnTo>
                  <a:lnTo>
                    <a:pt x="116" y="1070"/>
                  </a:lnTo>
                  <a:lnTo>
                    <a:pt x="116" y="1074"/>
                  </a:lnTo>
                  <a:lnTo>
                    <a:pt x="114" y="1080"/>
                  </a:lnTo>
                  <a:lnTo>
                    <a:pt x="112" y="1080"/>
                  </a:lnTo>
                  <a:lnTo>
                    <a:pt x="106" y="1078"/>
                  </a:lnTo>
                  <a:lnTo>
                    <a:pt x="102" y="1078"/>
                  </a:lnTo>
                  <a:lnTo>
                    <a:pt x="98" y="1080"/>
                  </a:lnTo>
                  <a:lnTo>
                    <a:pt x="96" y="1082"/>
                  </a:lnTo>
                  <a:lnTo>
                    <a:pt x="96" y="1084"/>
                  </a:lnTo>
                  <a:lnTo>
                    <a:pt x="100" y="1086"/>
                  </a:lnTo>
                  <a:lnTo>
                    <a:pt x="104" y="1090"/>
                  </a:lnTo>
                  <a:lnTo>
                    <a:pt x="118" y="1092"/>
                  </a:lnTo>
                  <a:lnTo>
                    <a:pt x="126" y="1092"/>
                  </a:lnTo>
                  <a:lnTo>
                    <a:pt x="134" y="1090"/>
                  </a:lnTo>
                  <a:close/>
                  <a:moveTo>
                    <a:pt x="306" y="1550"/>
                  </a:moveTo>
                  <a:lnTo>
                    <a:pt x="306" y="1550"/>
                  </a:lnTo>
                  <a:lnTo>
                    <a:pt x="304" y="1546"/>
                  </a:lnTo>
                  <a:lnTo>
                    <a:pt x="302" y="1544"/>
                  </a:lnTo>
                  <a:lnTo>
                    <a:pt x="300" y="1544"/>
                  </a:lnTo>
                  <a:lnTo>
                    <a:pt x="300" y="1546"/>
                  </a:lnTo>
                  <a:lnTo>
                    <a:pt x="302" y="1548"/>
                  </a:lnTo>
                  <a:lnTo>
                    <a:pt x="306" y="1550"/>
                  </a:lnTo>
                  <a:close/>
                  <a:moveTo>
                    <a:pt x="294" y="1582"/>
                  </a:moveTo>
                  <a:lnTo>
                    <a:pt x="294" y="1582"/>
                  </a:lnTo>
                  <a:lnTo>
                    <a:pt x="296" y="1580"/>
                  </a:lnTo>
                  <a:lnTo>
                    <a:pt x="294" y="1576"/>
                  </a:lnTo>
                  <a:lnTo>
                    <a:pt x="290" y="1572"/>
                  </a:lnTo>
                  <a:lnTo>
                    <a:pt x="288" y="1572"/>
                  </a:lnTo>
                  <a:lnTo>
                    <a:pt x="286" y="1574"/>
                  </a:lnTo>
                  <a:lnTo>
                    <a:pt x="286" y="1576"/>
                  </a:lnTo>
                  <a:lnTo>
                    <a:pt x="290" y="1580"/>
                  </a:lnTo>
                  <a:lnTo>
                    <a:pt x="294" y="1582"/>
                  </a:lnTo>
                  <a:close/>
                  <a:moveTo>
                    <a:pt x="134" y="1350"/>
                  </a:moveTo>
                  <a:lnTo>
                    <a:pt x="134" y="1350"/>
                  </a:lnTo>
                  <a:lnTo>
                    <a:pt x="134" y="1354"/>
                  </a:lnTo>
                  <a:lnTo>
                    <a:pt x="134" y="1356"/>
                  </a:lnTo>
                  <a:lnTo>
                    <a:pt x="138" y="1360"/>
                  </a:lnTo>
                  <a:lnTo>
                    <a:pt x="140" y="1362"/>
                  </a:lnTo>
                  <a:lnTo>
                    <a:pt x="144" y="1364"/>
                  </a:lnTo>
                  <a:lnTo>
                    <a:pt x="150" y="1372"/>
                  </a:lnTo>
                  <a:lnTo>
                    <a:pt x="154" y="1374"/>
                  </a:lnTo>
                  <a:lnTo>
                    <a:pt x="154" y="1370"/>
                  </a:lnTo>
                  <a:lnTo>
                    <a:pt x="152" y="1364"/>
                  </a:lnTo>
                  <a:lnTo>
                    <a:pt x="148" y="1360"/>
                  </a:lnTo>
                  <a:lnTo>
                    <a:pt x="146" y="1358"/>
                  </a:lnTo>
                  <a:lnTo>
                    <a:pt x="144" y="1358"/>
                  </a:lnTo>
                  <a:lnTo>
                    <a:pt x="142" y="1354"/>
                  </a:lnTo>
                  <a:lnTo>
                    <a:pt x="140" y="1350"/>
                  </a:lnTo>
                  <a:lnTo>
                    <a:pt x="136" y="1348"/>
                  </a:lnTo>
                  <a:lnTo>
                    <a:pt x="134" y="1348"/>
                  </a:lnTo>
                  <a:lnTo>
                    <a:pt x="134" y="1350"/>
                  </a:lnTo>
                  <a:close/>
                  <a:moveTo>
                    <a:pt x="138" y="1658"/>
                  </a:moveTo>
                  <a:lnTo>
                    <a:pt x="138" y="1658"/>
                  </a:lnTo>
                  <a:lnTo>
                    <a:pt x="140" y="1652"/>
                  </a:lnTo>
                  <a:lnTo>
                    <a:pt x="138" y="1650"/>
                  </a:lnTo>
                  <a:lnTo>
                    <a:pt x="136" y="1650"/>
                  </a:lnTo>
                  <a:lnTo>
                    <a:pt x="132" y="1652"/>
                  </a:lnTo>
                  <a:lnTo>
                    <a:pt x="128" y="1652"/>
                  </a:lnTo>
                  <a:lnTo>
                    <a:pt x="124" y="1652"/>
                  </a:lnTo>
                  <a:lnTo>
                    <a:pt x="122" y="1654"/>
                  </a:lnTo>
                  <a:lnTo>
                    <a:pt x="120" y="1656"/>
                  </a:lnTo>
                  <a:lnTo>
                    <a:pt x="122" y="1656"/>
                  </a:lnTo>
                  <a:lnTo>
                    <a:pt x="126" y="1660"/>
                  </a:lnTo>
                  <a:lnTo>
                    <a:pt x="134" y="1660"/>
                  </a:lnTo>
                  <a:lnTo>
                    <a:pt x="136" y="1660"/>
                  </a:lnTo>
                  <a:lnTo>
                    <a:pt x="138" y="1658"/>
                  </a:lnTo>
                  <a:close/>
                  <a:moveTo>
                    <a:pt x="124" y="1360"/>
                  </a:moveTo>
                  <a:lnTo>
                    <a:pt x="124" y="1360"/>
                  </a:lnTo>
                  <a:lnTo>
                    <a:pt x="122" y="1360"/>
                  </a:lnTo>
                  <a:lnTo>
                    <a:pt x="124" y="1362"/>
                  </a:lnTo>
                  <a:lnTo>
                    <a:pt x="132" y="1368"/>
                  </a:lnTo>
                  <a:lnTo>
                    <a:pt x="134" y="1370"/>
                  </a:lnTo>
                  <a:lnTo>
                    <a:pt x="138" y="1368"/>
                  </a:lnTo>
                  <a:lnTo>
                    <a:pt x="138" y="1366"/>
                  </a:lnTo>
                  <a:lnTo>
                    <a:pt x="136" y="1362"/>
                  </a:lnTo>
                  <a:lnTo>
                    <a:pt x="132" y="1358"/>
                  </a:lnTo>
                  <a:lnTo>
                    <a:pt x="130" y="1358"/>
                  </a:lnTo>
                  <a:lnTo>
                    <a:pt x="124" y="1360"/>
                  </a:lnTo>
                  <a:close/>
                  <a:moveTo>
                    <a:pt x="162" y="1352"/>
                  </a:moveTo>
                  <a:lnTo>
                    <a:pt x="162" y="1352"/>
                  </a:lnTo>
                  <a:lnTo>
                    <a:pt x="162" y="1348"/>
                  </a:lnTo>
                  <a:lnTo>
                    <a:pt x="160" y="1344"/>
                  </a:lnTo>
                  <a:lnTo>
                    <a:pt x="160" y="1350"/>
                  </a:lnTo>
                  <a:lnTo>
                    <a:pt x="160" y="1352"/>
                  </a:lnTo>
                  <a:lnTo>
                    <a:pt x="162" y="1352"/>
                  </a:lnTo>
                  <a:close/>
                  <a:moveTo>
                    <a:pt x="128" y="1670"/>
                  </a:moveTo>
                  <a:lnTo>
                    <a:pt x="128" y="1670"/>
                  </a:lnTo>
                  <a:lnTo>
                    <a:pt x="126" y="1670"/>
                  </a:lnTo>
                  <a:lnTo>
                    <a:pt x="124" y="1672"/>
                  </a:lnTo>
                  <a:lnTo>
                    <a:pt x="122" y="1678"/>
                  </a:lnTo>
                  <a:lnTo>
                    <a:pt x="124" y="1686"/>
                  </a:lnTo>
                  <a:lnTo>
                    <a:pt x="126" y="1688"/>
                  </a:lnTo>
                  <a:lnTo>
                    <a:pt x="128" y="1688"/>
                  </a:lnTo>
                  <a:lnTo>
                    <a:pt x="130" y="1688"/>
                  </a:lnTo>
                  <a:lnTo>
                    <a:pt x="130" y="1684"/>
                  </a:lnTo>
                  <a:lnTo>
                    <a:pt x="128" y="1682"/>
                  </a:lnTo>
                  <a:lnTo>
                    <a:pt x="128" y="1680"/>
                  </a:lnTo>
                  <a:lnTo>
                    <a:pt x="130" y="1678"/>
                  </a:lnTo>
                  <a:lnTo>
                    <a:pt x="132" y="1674"/>
                  </a:lnTo>
                  <a:lnTo>
                    <a:pt x="130" y="1672"/>
                  </a:lnTo>
                  <a:lnTo>
                    <a:pt x="128" y="1670"/>
                  </a:lnTo>
                  <a:close/>
                  <a:moveTo>
                    <a:pt x="238" y="1920"/>
                  </a:moveTo>
                  <a:lnTo>
                    <a:pt x="238" y="1920"/>
                  </a:lnTo>
                  <a:lnTo>
                    <a:pt x="236" y="1924"/>
                  </a:lnTo>
                  <a:lnTo>
                    <a:pt x="238" y="1926"/>
                  </a:lnTo>
                  <a:lnTo>
                    <a:pt x="240" y="1930"/>
                  </a:lnTo>
                  <a:lnTo>
                    <a:pt x="246" y="1930"/>
                  </a:lnTo>
                  <a:lnTo>
                    <a:pt x="248" y="1930"/>
                  </a:lnTo>
                  <a:lnTo>
                    <a:pt x="252" y="1926"/>
                  </a:lnTo>
                  <a:lnTo>
                    <a:pt x="252" y="1924"/>
                  </a:lnTo>
                  <a:lnTo>
                    <a:pt x="254" y="1920"/>
                  </a:lnTo>
                  <a:lnTo>
                    <a:pt x="252" y="1918"/>
                  </a:lnTo>
                  <a:lnTo>
                    <a:pt x="250" y="1916"/>
                  </a:lnTo>
                  <a:lnTo>
                    <a:pt x="248" y="1914"/>
                  </a:lnTo>
                  <a:lnTo>
                    <a:pt x="244" y="1916"/>
                  </a:lnTo>
                  <a:lnTo>
                    <a:pt x="240" y="1916"/>
                  </a:lnTo>
                  <a:lnTo>
                    <a:pt x="238" y="1920"/>
                  </a:lnTo>
                  <a:close/>
                  <a:moveTo>
                    <a:pt x="232" y="1878"/>
                  </a:moveTo>
                  <a:lnTo>
                    <a:pt x="232" y="1878"/>
                  </a:lnTo>
                  <a:lnTo>
                    <a:pt x="236" y="1878"/>
                  </a:lnTo>
                  <a:lnTo>
                    <a:pt x="240" y="1876"/>
                  </a:lnTo>
                  <a:lnTo>
                    <a:pt x="246" y="1870"/>
                  </a:lnTo>
                  <a:lnTo>
                    <a:pt x="248" y="1862"/>
                  </a:lnTo>
                  <a:lnTo>
                    <a:pt x="246" y="1858"/>
                  </a:lnTo>
                  <a:lnTo>
                    <a:pt x="244" y="1856"/>
                  </a:lnTo>
                  <a:lnTo>
                    <a:pt x="240" y="1858"/>
                  </a:lnTo>
                  <a:lnTo>
                    <a:pt x="234" y="1866"/>
                  </a:lnTo>
                  <a:lnTo>
                    <a:pt x="230" y="1874"/>
                  </a:lnTo>
                  <a:lnTo>
                    <a:pt x="230" y="1876"/>
                  </a:lnTo>
                  <a:lnTo>
                    <a:pt x="232" y="1878"/>
                  </a:lnTo>
                  <a:close/>
                  <a:moveTo>
                    <a:pt x="290" y="1568"/>
                  </a:moveTo>
                  <a:lnTo>
                    <a:pt x="290" y="1568"/>
                  </a:lnTo>
                  <a:lnTo>
                    <a:pt x="294" y="1572"/>
                  </a:lnTo>
                  <a:lnTo>
                    <a:pt x="298" y="1572"/>
                  </a:lnTo>
                  <a:lnTo>
                    <a:pt x="302" y="1572"/>
                  </a:lnTo>
                  <a:lnTo>
                    <a:pt x="304" y="1572"/>
                  </a:lnTo>
                  <a:lnTo>
                    <a:pt x="306" y="1574"/>
                  </a:lnTo>
                  <a:lnTo>
                    <a:pt x="310" y="1574"/>
                  </a:lnTo>
                  <a:lnTo>
                    <a:pt x="312" y="1572"/>
                  </a:lnTo>
                  <a:lnTo>
                    <a:pt x="312" y="1570"/>
                  </a:lnTo>
                  <a:lnTo>
                    <a:pt x="310" y="1568"/>
                  </a:lnTo>
                  <a:lnTo>
                    <a:pt x="310" y="1570"/>
                  </a:lnTo>
                  <a:lnTo>
                    <a:pt x="308" y="1570"/>
                  </a:lnTo>
                  <a:lnTo>
                    <a:pt x="308" y="1568"/>
                  </a:lnTo>
                  <a:lnTo>
                    <a:pt x="304" y="1566"/>
                  </a:lnTo>
                  <a:lnTo>
                    <a:pt x="302" y="1566"/>
                  </a:lnTo>
                  <a:lnTo>
                    <a:pt x="300" y="1566"/>
                  </a:lnTo>
                  <a:lnTo>
                    <a:pt x="300" y="1564"/>
                  </a:lnTo>
                  <a:lnTo>
                    <a:pt x="302" y="1560"/>
                  </a:lnTo>
                  <a:lnTo>
                    <a:pt x="300" y="1560"/>
                  </a:lnTo>
                  <a:lnTo>
                    <a:pt x="296" y="1556"/>
                  </a:lnTo>
                  <a:lnTo>
                    <a:pt x="292" y="1556"/>
                  </a:lnTo>
                  <a:lnTo>
                    <a:pt x="290" y="1560"/>
                  </a:lnTo>
                  <a:lnTo>
                    <a:pt x="288" y="1564"/>
                  </a:lnTo>
                  <a:lnTo>
                    <a:pt x="290" y="1568"/>
                  </a:lnTo>
                  <a:close/>
                  <a:moveTo>
                    <a:pt x="208" y="1778"/>
                  </a:moveTo>
                  <a:lnTo>
                    <a:pt x="208" y="1778"/>
                  </a:lnTo>
                  <a:lnTo>
                    <a:pt x="206" y="1784"/>
                  </a:lnTo>
                  <a:lnTo>
                    <a:pt x="206" y="1788"/>
                  </a:lnTo>
                  <a:lnTo>
                    <a:pt x="210" y="1792"/>
                  </a:lnTo>
                  <a:lnTo>
                    <a:pt x="214" y="1792"/>
                  </a:lnTo>
                  <a:lnTo>
                    <a:pt x="216" y="1792"/>
                  </a:lnTo>
                  <a:lnTo>
                    <a:pt x="218" y="1788"/>
                  </a:lnTo>
                  <a:lnTo>
                    <a:pt x="216" y="1782"/>
                  </a:lnTo>
                  <a:lnTo>
                    <a:pt x="212" y="1776"/>
                  </a:lnTo>
                  <a:lnTo>
                    <a:pt x="210" y="1776"/>
                  </a:lnTo>
                  <a:lnTo>
                    <a:pt x="208" y="1778"/>
                  </a:lnTo>
                  <a:close/>
                  <a:moveTo>
                    <a:pt x="618" y="1434"/>
                  </a:moveTo>
                  <a:lnTo>
                    <a:pt x="618" y="1434"/>
                  </a:lnTo>
                  <a:lnTo>
                    <a:pt x="620" y="1434"/>
                  </a:lnTo>
                  <a:lnTo>
                    <a:pt x="622" y="1430"/>
                  </a:lnTo>
                  <a:lnTo>
                    <a:pt x="622" y="1428"/>
                  </a:lnTo>
                  <a:lnTo>
                    <a:pt x="620" y="1426"/>
                  </a:lnTo>
                  <a:lnTo>
                    <a:pt x="616" y="1430"/>
                  </a:lnTo>
                  <a:lnTo>
                    <a:pt x="616" y="1432"/>
                  </a:lnTo>
                  <a:lnTo>
                    <a:pt x="618" y="1434"/>
                  </a:lnTo>
                  <a:close/>
                  <a:moveTo>
                    <a:pt x="882" y="1770"/>
                  </a:moveTo>
                  <a:lnTo>
                    <a:pt x="882" y="1770"/>
                  </a:lnTo>
                  <a:lnTo>
                    <a:pt x="876" y="1774"/>
                  </a:lnTo>
                  <a:lnTo>
                    <a:pt x="870" y="1774"/>
                  </a:lnTo>
                  <a:lnTo>
                    <a:pt x="866" y="1772"/>
                  </a:lnTo>
                  <a:lnTo>
                    <a:pt x="860" y="1774"/>
                  </a:lnTo>
                  <a:lnTo>
                    <a:pt x="860" y="1776"/>
                  </a:lnTo>
                  <a:lnTo>
                    <a:pt x="864" y="1778"/>
                  </a:lnTo>
                  <a:lnTo>
                    <a:pt x="870" y="1782"/>
                  </a:lnTo>
                  <a:lnTo>
                    <a:pt x="870" y="1784"/>
                  </a:lnTo>
                  <a:lnTo>
                    <a:pt x="870" y="1786"/>
                  </a:lnTo>
                  <a:lnTo>
                    <a:pt x="870" y="1788"/>
                  </a:lnTo>
                  <a:lnTo>
                    <a:pt x="872" y="1790"/>
                  </a:lnTo>
                  <a:lnTo>
                    <a:pt x="874" y="1792"/>
                  </a:lnTo>
                  <a:lnTo>
                    <a:pt x="872" y="1796"/>
                  </a:lnTo>
                  <a:lnTo>
                    <a:pt x="870" y="1798"/>
                  </a:lnTo>
                  <a:lnTo>
                    <a:pt x="872" y="1800"/>
                  </a:lnTo>
                  <a:lnTo>
                    <a:pt x="874" y="1800"/>
                  </a:lnTo>
                  <a:lnTo>
                    <a:pt x="876" y="1804"/>
                  </a:lnTo>
                  <a:lnTo>
                    <a:pt x="876" y="1806"/>
                  </a:lnTo>
                  <a:lnTo>
                    <a:pt x="878" y="1806"/>
                  </a:lnTo>
                  <a:lnTo>
                    <a:pt x="882" y="1806"/>
                  </a:lnTo>
                  <a:lnTo>
                    <a:pt x="886" y="1806"/>
                  </a:lnTo>
                  <a:lnTo>
                    <a:pt x="888" y="1808"/>
                  </a:lnTo>
                  <a:lnTo>
                    <a:pt x="892" y="1806"/>
                  </a:lnTo>
                  <a:lnTo>
                    <a:pt x="894" y="1808"/>
                  </a:lnTo>
                  <a:lnTo>
                    <a:pt x="896" y="1810"/>
                  </a:lnTo>
                  <a:lnTo>
                    <a:pt x="896" y="1814"/>
                  </a:lnTo>
                  <a:lnTo>
                    <a:pt x="894" y="1814"/>
                  </a:lnTo>
                  <a:lnTo>
                    <a:pt x="892" y="1814"/>
                  </a:lnTo>
                  <a:lnTo>
                    <a:pt x="890" y="1816"/>
                  </a:lnTo>
                  <a:lnTo>
                    <a:pt x="892" y="1816"/>
                  </a:lnTo>
                  <a:lnTo>
                    <a:pt x="894" y="1818"/>
                  </a:lnTo>
                  <a:lnTo>
                    <a:pt x="898" y="1820"/>
                  </a:lnTo>
                  <a:lnTo>
                    <a:pt x="898" y="1822"/>
                  </a:lnTo>
                  <a:lnTo>
                    <a:pt x="896" y="1824"/>
                  </a:lnTo>
                  <a:lnTo>
                    <a:pt x="896" y="1826"/>
                  </a:lnTo>
                  <a:lnTo>
                    <a:pt x="900" y="1832"/>
                  </a:lnTo>
                  <a:lnTo>
                    <a:pt x="902" y="1836"/>
                  </a:lnTo>
                  <a:lnTo>
                    <a:pt x="904" y="1840"/>
                  </a:lnTo>
                  <a:lnTo>
                    <a:pt x="904" y="1844"/>
                  </a:lnTo>
                  <a:lnTo>
                    <a:pt x="906" y="1846"/>
                  </a:lnTo>
                  <a:lnTo>
                    <a:pt x="906" y="1848"/>
                  </a:lnTo>
                  <a:lnTo>
                    <a:pt x="908" y="1848"/>
                  </a:lnTo>
                  <a:lnTo>
                    <a:pt x="908" y="1844"/>
                  </a:lnTo>
                  <a:lnTo>
                    <a:pt x="908" y="1838"/>
                  </a:lnTo>
                  <a:lnTo>
                    <a:pt x="910" y="1834"/>
                  </a:lnTo>
                  <a:lnTo>
                    <a:pt x="912" y="1832"/>
                  </a:lnTo>
                  <a:lnTo>
                    <a:pt x="912" y="1828"/>
                  </a:lnTo>
                  <a:lnTo>
                    <a:pt x="908" y="1824"/>
                  </a:lnTo>
                  <a:lnTo>
                    <a:pt x="902" y="1822"/>
                  </a:lnTo>
                  <a:lnTo>
                    <a:pt x="904" y="1822"/>
                  </a:lnTo>
                  <a:lnTo>
                    <a:pt x="906" y="1820"/>
                  </a:lnTo>
                  <a:lnTo>
                    <a:pt x="910" y="1820"/>
                  </a:lnTo>
                  <a:lnTo>
                    <a:pt x="912" y="1818"/>
                  </a:lnTo>
                  <a:lnTo>
                    <a:pt x="912" y="1816"/>
                  </a:lnTo>
                  <a:lnTo>
                    <a:pt x="912" y="1812"/>
                  </a:lnTo>
                  <a:lnTo>
                    <a:pt x="912" y="1810"/>
                  </a:lnTo>
                  <a:lnTo>
                    <a:pt x="912" y="1808"/>
                  </a:lnTo>
                  <a:lnTo>
                    <a:pt x="918" y="1804"/>
                  </a:lnTo>
                  <a:lnTo>
                    <a:pt x="924" y="1802"/>
                  </a:lnTo>
                  <a:lnTo>
                    <a:pt x="926" y="1800"/>
                  </a:lnTo>
                  <a:lnTo>
                    <a:pt x="924" y="1798"/>
                  </a:lnTo>
                  <a:lnTo>
                    <a:pt x="918" y="1794"/>
                  </a:lnTo>
                  <a:lnTo>
                    <a:pt x="914" y="1790"/>
                  </a:lnTo>
                  <a:lnTo>
                    <a:pt x="914" y="1788"/>
                  </a:lnTo>
                  <a:lnTo>
                    <a:pt x="916" y="1784"/>
                  </a:lnTo>
                  <a:lnTo>
                    <a:pt x="922" y="1782"/>
                  </a:lnTo>
                  <a:lnTo>
                    <a:pt x="926" y="1782"/>
                  </a:lnTo>
                  <a:lnTo>
                    <a:pt x="928" y="1778"/>
                  </a:lnTo>
                  <a:lnTo>
                    <a:pt x="928" y="1772"/>
                  </a:lnTo>
                  <a:lnTo>
                    <a:pt x="928" y="1764"/>
                  </a:lnTo>
                  <a:lnTo>
                    <a:pt x="930" y="1758"/>
                  </a:lnTo>
                  <a:lnTo>
                    <a:pt x="932" y="1754"/>
                  </a:lnTo>
                  <a:lnTo>
                    <a:pt x="930" y="1752"/>
                  </a:lnTo>
                  <a:lnTo>
                    <a:pt x="920" y="1750"/>
                  </a:lnTo>
                  <a:lnTo>
                    <a:pt x="914" y="1750"/>
                  </a:lnTo>
                  <a:lnTo>
                    <a:pt x="908" y="1752"/>
                  </a:lnTo>
                  <a:lnTo>
                    <a:pt x="904" y="1756"/>
                  </a:lnTo>
                  <a:lnTo>
                    <a:pt x="902" y="1760"/>
                  </a:lnTo>
                  <a:lnTo>
                    <a:pt x="904" y="1762"/>
                  </a:lnTo>
                  <a:lnTo>
                    <a:pt x="904" y="1764"/>
                  </a:lnTo>
                  <a:lnTo>
                    <a:pt x="900" y="1772"/>
                  </a:lnTo>
                  <a:lnTo>
                    <a:pt x="898" y="1776"/>
                  </a:lnTo>
                  <a:lnTo>
                    <a:pt x="896" y="1774"/>
                  </a:lnTo>
                  <a:lnTo>
                    <a:pt x="896" y="1770"/>
                  </a:lnTo>
                  <a:lnTo>
                    <a:pt x="898" y="1762"/>
                  </a:lnTo>
                  <a:lnTo>
                    <a:pt x="896" y="1760"/>
                  </a:lnTo>
                  <a:lnTo>
                    <a:pt x="894" y="1760"/>
                  </a:lnTo>
                  <a:lnTo>
                    <a:pt x="890" y="1760"/>
                  </a:lnTo>
                  <a:lnTo>
                    <a:pt x="884" y="1758"/>
                  </a:lnTo>
                  <a:lnTo>
                    <a:pt x="880" y="1758"/>
                  </a:lnTo>
                  <a:lnTo>
                    <a:pt x="876" y="1758"/>
                  </a:lnTo>
                  <a:lnTo>
                    <a:pt x="878" y="1760"/>
                  </a:lnTo>
                  <a:lnTo>
                    <a:pt x="882" y="1762"/>
                  </a:lnTo>
                  <a:lnTo>
                    <a:pt x="886" y="1764"/>
                  </a:lnTo>
                  <a:lnTo>
                    <a:pt x="884" y="1768"/>
                  </a:lnTo>
                  <a:lnTo>
                    <a:pt x="882" y="1770"/>
                  </a:lnTo>
                  <a:close/>
                  <a:moveTo>
                    <a:pt x="850" y="1762"/>
                  </a:moveTo>
                  <a:lnTo>
                    <a:pt x="850" y="1762"/>
                  </a:lnTo>
                  <a:lnTo>
                    <a:pt x="848" y="1760"/>
                  </a:lnTo>
                  <a:lnTo>
                    <a:pt x="846" y="1764"/>
                  </a:lnTo>
                  <a:lnTo>
                    <a:pt x="848" y="1768"/>
                  </a:lnTo>
                  <a:lnTo>
                    <a:pt x="848" y="1772"/>
                  </a:lnTo>
                  <a:lnTo>
                    <a:pt x="850" y="1772"/>
                  </a:lnTo>
                  <a:lnTo>
                    <a:pt x="850" y="1770"/>
                  </a:lnTo>
                  <a:lnTo>
                    <a:pt x="852" y="1766"/>
                  </a:lnTo>
                  <a:lnTo>
                    <a:pt x="850" y="1762"/>
                  </a:lnTo>
                  <a:close/>
                  <a:moveTo>
                    <a:pt x="834" y="1814"/>
                  </a:moveTo>
                  <a:lnTo>
                    <a:pt x="834" y="1814"/>
                  </a:lnTo>
                  <a:lnTo>
                    <a:pt x="846" y="1816"/>
                  </a:lnTo>
                  <a:lnTo>
                    <a:pt x="852" y="1814"/>
                  </a:lnTo>
                  <a:lnTo>
                    <a:pt x="856" y="1812"/>
                  </a:lnTo>
                  <a:lnTo>
                    <a:pt x="858" y="1808"/>
                  </a:lnTo>
                  <a:lnTo>
                    <a:pt x="858" y="1806"/>
                  </a:lnTo>
                  <a:lnTo>
                    <a:pt x="858" y="1800"/>
                  </a:lnTo>
                  <a:lnTo>
                    <a:pt x="856" y="1794"/>
                  </a:lnTo>
                  <a:lnTo>
                    <a:pt x="856" y="1790"/>
                  </a:lnTo>
                  <a:lnTo>
                    <a:pt x="856" y="1788"/>
                  </a:lnTo>
                  <a:lnTo>
                    <a:pt x="852" y="1784"/>
                  </a:lnTo>
                  <a:lnTo>
                    <a:pt x="850" y="1782"/>
                  </a:lnTo>
                  <a:lnTo>
                    <a:pt x="850" y="1784"/>
                  </a:lnTo>
                  <a:lnTo>
                    <a:pt x="848" y="1786"/>
                  </a:lnTo>
                  <a:lnTo>
                    <a:pt x="840" y="1782"/>
                  </a:lnTo>
                  <a:lnTo>
                    <a:pt x="836" y="1782"/>
                  </a:lnTo>
                  <a:lnTo>
                    <a:pt x="830" y="1784"/>
                  </a:lnTo>
                  <a:lnTo>
                    <a:pt x="824" y="1786"/>
                  </a:lnTo>
                  <a:lnTo>
                    <a:pt x="818" y="1786"/>
                  </a:lnTo>
                  <a:lnTo>
                    <a:pt x="816" y="1786"/>
                  </a:lnTo>
                  <a:lnTo>
                    <a:pt x="814" y="1788"/>
                  </a:lnTo>
                  <a:lnTo>
                    <a:pt x="814" y="1790"/>
                  </a:lnTo>
                  <a:lnTo>
                    <a:pt x="816" y="1792"/>
                  </a:lnTo>
                  <a:lnTo>
                    <a:pt x="820" y="1798"/>
                  </a:lnTo>
                  <a:lnTo>
                    <a:pt x="824" y="1806"/>
                  </a:lnTo>
                  <a:lnTo>
                    <a:pt x="824" y="1810"/>
                  </a:lnTo>
                  <a:lnTo>
                    <a:pt x="826" y="1808"/>
                  </a:lnTo>
                  <a:lnTo>
                    <a:pt x="828" y="1808"/>
                  </a:lnTo>
                  <a:lnTo>
                    <a:pt x="830" y="1808"/>
                  </a:lnTo>
                  <a:lnTo>
                    <a:pt x="830" y="1810"/>
                  </a:lnTo>
                  <a:lnTo>
                    <a:pt x="830" y="1812"/>
                  </a:lnTo>
                  <a:lnTo>
                    <a:pt x="830" y="1814"/>
                  </a:lnTo>
                  <a:lnTo>
                    <a:pt x="834" y="1814"/>
                  </a:lnTo>
                  <a:close/>
                  <a:moveTo>
                    <a:pt x="898" y="1832"/>
                  </a:moveTo>
                  <a:lnTo>
                    <a:pt x="898" y="1832"/>
                  </a:lnTo>
                  <a:lnTo>
                    <a:pt x="894" y="1826"/>
                  </a:lnTo>
                  <a:lnTo>
                    <a:pt x="892" y="1826"/>
                  </a:lnTo>
                  <a:lnTo>
                    <a:pt x="890" y="1828"/>
                  </a:lnTo>
                  <a:lnTo>
                    <a:pt x="890" y="1830"/>
                  </a:lnTo>
                  <a:lnTo>
                    <a:pt x="888" y="1830"/>
                  </a:lnTo>
                  <a:lnTo>
                    <a:pt x="878" y="1824"/>
                  </a:lnTo>
                  <a:lnTo>
                    <a:pt x="872" y="1822"/>
                  </a:lnTo>
                  <a:lnTo>
                    <a:pt x="868" y="1822"/>
                  </a:lnTo>
                  <a:lnTo>
                    <a:pt x="866" y="1826"/>
                  </a:lnTo>
                  <a:lnTo>
                    <a:pt x="866" y="1830"/>
                  </a:lnTo>
                  <a:lnTo>
                    <a:pt x="870" y="1834"/>
                  </a:lnTo>
                  <a:lnTo>
                    <a:pt x="876" y="1838"/>
                  </a:lnTo>
                  <a:lnTo>
                    <a:pt x="886" y="1840"/>
                  </a:lnTo>
                  <a:lnTo>
                    <a:pt x="894" y="1842"/>
                  </a:lnTo>
                  <a:lnTo>
                    <a:pt x="898" y="1842"/>
                  </a:lnTo>
                  <a:lnTo>
                    <a:pt x="900" y="1840"/>
                  </a:lnTo>
                  <a:lnTo>
                    <a:pt x="898" y="1832"/>
                  </a:lnTo>
                  <a:close/>
                  <a:moveTo>
                    <a:pt x="914" y="1822"/>
                  </a:moveTo>
                  <a:lnTo>
                    <a:pt x="914" y="1822"/>
                  </a:lnTo>
                  <a:lnTo>
                    <a:pt x="912" y="1824"/>
                  </a:lnTo>
                  <a:lnTo>
                    <a:pt x="914" y="1826"/>
                  </a:lnTo>
                  <a:lnTo>
                    <a:pt x="918" y="1824"/>
                  </a:lnTo>
                  <a:lnTo>
                    <a:pt x="924" y="1820"/>
                  </a:lnTo>
                  <a:lnTo>
                    <a:pt x="926" y="1820"/>
                  </a:lnTo>
                  <a:lnTo>
                    <a:pt x="926" y="1818"/>
                  </a:lnTo>
                  <a:lnTo>
                    <a:pt x="922" y="1816"/>
                  </a:lnTo>
                  <a:lnTo>
                    <a:pt x="918" y="1816"/>
                  </a:lnTo>
                  <a:lnTo>
                    <a:pt x="914" y="1822"/>
                  </a:lnTo>
                  <a:close/>
                  <a:moveTo>
                    <a:pt x="868" y="1848"/>
                  </a:moveTo>
                  <a:lnTo>
                    <a:pt x="868" y="1848"/>
                  </a:lnTo>
                  <a:lnTo>
                    <a:pt x="866" y="1850"/>
                  </a:lnTo>
                  <a:lnTo>
                    <a:pt x="868" y="1852"/>
                  </a:lnTo>
                  <a:lnTo>
                    <a:pt x="872" y="1854"/>
                  </a:lnTo>
                  <a:lnTo>
                    <a:pt x="876" y="1854"/>
                  </a:lnTo>
                  <a:lnTo>
                    <a:pt x="880" y="1854"/>
                  </a:lnTo>
                  <a:lnTo>
                    <a:pt x="878" y="1852"/>
                  </a:lnTo>
                  <a:lnTo>
                    <a:pt x="876" y="1848"/>
                  </a:lnTo>
                  <a:lnTo>
                    <a:pt x="872" y="1848"/>
                  </a:lnTo>
                  <a:lnTo>
                    <a:pt x="868" y="1848"/>
                  </a:lnTo>
                  <a:close/>
                  <a:moveTo>
                    <a:pt x="1030" y="1820"/>
                  </a:moveTo>
                  <a:lnTo>
                    <a:pt x="1030" y="1820"/>
                  </a:lnTo>
                  <a:lnTo>
                    <a:pt x="1032" y="1818"/>
                  </a:lnTo>
                  <a:lnTo>
                    <a:pt x="1034" y="1814"/>
                  </a:lnTo>
                  <a:lnTo>
                    <a:pt x="1032" y="1810"/>
                  </a:lnTo>
                  <a:lnTo>
                    <a:pt x="1030" y="1808"/>
                  </a:lnTo>
                  <a:lnTo>
                    <a:pt x="1022" y="1802"/>
                  </a:lnTo>
                  <a:lnTo>
                    <a:pt x="1018" y="1800"/>
                  </a:lnTo>
                  <a:lnTo>
                    <a:pt x="1016" y="1802"/>
                  </a:lnTo>
                  <a:lnTo>
                    <a:pt x="1014" y="1806"/>
                  </a:lnTo>
                  <a:lnTo>
                    <a:pt x="1016" y="1812"/>
                  </a:lnTo>
                  <a:lnTo>
                    <a:pt x="1022" y="1818"/>
                  </a:lnTo>
                  <a:lnTo>
                    <a:pt x="1026" y="1820"/>
                  </a:lnTo>
                  <a:lnTo>
                    <a:pt x="1030" y="1820"/>
                  </a:lnTo>
                  <a:close/>
                  <a:moveTo>
                    <a:pt x="952" y="1846"/>
                  </a:moveTo>
                  <a:lnTo>
                    <a:pt x="952" y="1846"/>
                  </a:lnTo>
                  <a:lnTo>
                    <a:pt x="952" y="1848"/>
                  </a:lnTo>
                  <a:lnTo>
                    <a:pt x="954" y="1850"/>
                  </a:lnTo>
                  <a:lnTo>
                    <a:pt x="954" y="1854"/>
                  </a:lnTo>
                  <a:lnTo>
                    <a:pt x="954" y="1856"/>
                  </a:lnTo>
                  <a:lnTo>
                    <a:pt x="952" y="1858"/>
                  </a:lnTo>
                  <a:lnTo>
                    <a:pt x="952" y="1860"/>
                  </a:lnTo>
                  <a:lnTo>
                    <a:pt x="960" y="1866"/>
                  </a:lnTo>
                  <a:lnTo>
                    <a:pt x="962" y="1866"/>
                  </a:lnTo>
                  <a:lnTo>
                    <a:pt x="964" y="1866"/>
                  </a:lnTo>
                  <a:lnTo>
                    <a:pt x="964" y="1864"/>
                  </a:lnTo>
                  <a:lnTo>
                    <a:pt x="964" y="1862"/>
                  </a:lnTo>
                  <a:lnTo>
                    <a:pt x="966" y="1860"/>
                  </a:lnTo>
                  <a:lnTo>
                    <a:pt x="968" y="1858"/>
                  </a:lnTo>
                  <a:lnTo>
                    <a:pt x="972" y="1862"/>
                  </a:lnTo>
                  <a:lnTo>
                    <a:pt x="976" y="1864"/>
                  </a:lnTo>
                  <a:lnTo>
                    <a:pt x="976" y="1862"/>
                  </a:lnTo>
                  <a:lnTo>
                    <a:pt x="976" y="1860"/>
                  </a:lnTo>
                  <a:lnTo>
                    <a:pt x="972" y="1858"/>
                  </a:lnTo>
                  <a:lnTo>
                    <a:pt x="972" y="1856"/>
                  </a:lnTo>
                  <a:lnTo>
                    <a:pt x="972" y="1854"/>
                  </a:lnTo>
                  <a:lnTo>
                    <a:pt x="974" y="1850"/>
                  </a:lnTo>
                  <a:lnTo>
                    <a:pt x="974" y="1846"/>
                  </a:lnTo>
                  <a:lnTo>
                    <a:pt x="972" y="1846"/>
                  </a:lnTo>
                  <a:lnTo>
                    <a:pt x="970" y="1844"/>
                  </a:lnTo>
                  <a:lnTo>
                    <a:pt x="966" y="1842"/>
                  </a:lnTo>
                  <a:lnTo>
                    <a:pt x="964" y="1840"/>
                  </a:lnTo>
                  <a:lnTo>
                    <a:pt x="960" y="1838"/>
                  </a:lnTo>
                  <a:lnTo>
                    <a:pt x="956" y="1840"/>
                  </a:lnTo>
                  <a:lnTo>
                    <a:pt x="954" y="1842"/>
                  </a:lnTo>
                  <a:lnTo>
                    <a:pt x="958" y="1844"/>
                  </a:lnTo>
                  <a:lnTo>
                    <a:pt x="964" y="1846"/>
                  </a:lnTo>
                  <a:lnTo>
                    <a:pt x="966" y="1848"/>
                  </a:lnTo>
                  <a:lnTo>
                    <a:pt x="964" y="1850"/>
                  </a:lnTo>
                  <a:lnTo>
                    <a:pt x="960" y="1850"/>
                  </a:lnTo>
                  <a:lnTo>
                    <a:pt x="952" y="1846"/>
                  </a:lnTo>
                  <a:close/>
                  <a:moveTo>
                    <a:pt x="862" y="1678"/>
                  </a:moveTo>
                  <a:lnTo>
                    <a:pt x="862" y="1678"/>
                  </a:lnTo>
                  <a:lnTo>
                    <a:pt x="864" y="1678"/>
                  </a:lnTo>
                  <a:lnTo>
                    <a:pt x="868" y="1678"/>
                  </a:lnTo>
                  <a:lnTo>
                    <a:pt x="872" y="1674"/>
                  </a:lnTo>
                  <a:lnTo>
                    <a:pt x="872" y="1672"/>
                  </a:lnTo>
                  <a:lnTo>
                    <a:pt x="868" y="1672"/>
                  </a:lnTo>
                  <a:lnTo>
                    <a:pt x="864" y="1674"/>
                  </a:lnTo>
                  <a:lnTo>
                    <a:pt x="862" y="1678"/>
                  </a:lnTo>
                  <a:close/>
                  <a:moveTo>
                    <a:pt x="860" y="1816"/>
                  </a:moveTo>
                  <a:lnTo>
                    <a:pt x="860" y="1816"/>
                  </a:lnTo>
                  <a:lnTo>
                    <a:pt x="860" y="1814"/>
                  </a:lnTo>
                  <a:lnTo>
                    <a:pt x="860" y="1812"/>
                  </a:lnTo>
                  <a:lnTo>
                    <a:pt x="858" y="1814"/>
                  </a:lnTo>
                  <a:lnTo>
                    <a:pt x="856" y="1818"/>
                  </a:lnTo>
                  <a:lnTo>
                    <a:pt x="850" y="1826"/>
                  </a:lnTo>
                  <a:lnTo>
                    <a:pt x="848" y="1830"/>
                  </a:lnTo>
                  <a:lnTo>
                    <a:pt x="848" y="1834"/>
                  </a:lnTo>
                  <a:lnTo>
                    <a:pt x="850" y="1836"/>
                  </a:lnTo>
                  <a:lnTo>
                    <a:pt x="852" y="1836"/>
                  </a:lnTo>
                  <a:lnTo>
                    <a:pt x="854" y="1830"/>
                  </a:lnTo>
                  <a:lnTo>
                    <a:pt x="860" y="1816"/>
                  </a:lnTo>
                  <a:close/>
                  <a:moveTo>
                    <a:pt x="1100" y="2508"/>
                  </a:moveTo>
                  <a:lnTo>
                    <a:pt x="1100" y="2508"/>
                  </a:lnTo>
                  <a:lnTo>
                    <a:pt x="1102" y="2508"/>
                  </a:lnTo>
                  <a:lnTo>
                    <a:pt x="1100" y="2506"/>
                  </a:lnTo>
                  <a:lnTo>
                    <a:pt x="1094" y="2504"/>
                  </a:lnTo>
                  <a:lnTo>
                    <a:pt x="1086" y="2504"/>
                  </a:lnTo>
                  <a:lnTo>
                    <a:pt x="1084" y="2504"/>
                  </a:lnTo>
                  <a:lnTo>
                    <a:pt x="1084" y="2506"/>
                  </a:lnTo>
                  <a:lnTo>
                    <a:pt x="1086" y="2508"/>
                  </a:lnTo>
                  <a:lnTo>
                    <a:pt x="1092" y="2510"/>
                  </a:lnTo>
                  <a:lnTo>
                    <a:pt x="1096" y="2510"/>
                  </a:lnTo>
                  <a:lnTo>
                    <a:pt x="1100" y="2508"/>
                  </a:lnTo>
                  <a:close/>
                  <a:moveTo>
                    <a:pt x="1092" y="2518"/>
                  </a:moveTo>
                  <a:lnTo>
                    <a:pt x="1092" y="2518"/>
                  </a:lnTo>
                  <a:lnTo>
                    <a:pt x="1108" y="2520"/>
                  </a:lnTo>
                  <a:lnTo>
                    <a:pt x="1110" y="2518"/>
                  </a:lnTo>
                  <a:lnTo>
                    <a:pt x="1108" y="2516"/>
                  </a:lnTo>
                  <a:lnTo>
                    <a:pt x="1100" y="2514"/>
                  </a:lnTo>
                  <a:lnTo>
                    <a:pt x="1086" y="2514"/>
                  </a:lnTo>
                  <a:lnTo>
                    <a:pt x="1084" y="2514"/>
                  </a:lnTo>
                  <a:lnTo>
                    <a:pt x="1082" y="2516"/>
                  </a:lnTo>
                  <a:lnTo>
                    <a:pt x="1092" y="2518"/>
                  </a:lnTo>
                  <a:close/>
                  <a:moveTo>
                    <a:pt x="1108" y="1672"/>
                  </a:moveTo>
                  <a:lnTo>
                    <a:pt x="1108" y="1672"/>
                  </a:lnTo>
                  <a:lnTo>
                    <a:pt x="1106" y="1672"/>
                  </a:lnTo>
                  <a:lnTo>
                    <a:pt x="1104" y="1674"/>
                  </a:lnTo>
                  <a:lnTo>
                    <a:pt x="1102" y="1682"/>
                  </a:lnTo>
                  <a:lnTo>
                    <a:pt x="1100" y="1692"/>
                  </a:lnTo>
                  <a:lnTo>
                    <a:pt x="1094" y="1700"/>
                  </a:lnTo>
                  <a:lnTo>
                    <a:pt x="1090" y="1710"/>
                  </a:lnTo>
                  <a:lnTo>
                    <a:pt x="1086" y="1722"/>
                  </a:lnTo>
                  <a:lnTo>
                    <a:pt x="1084" y="1734"/>
                  </a:lnTo>
                  <a:lnTo>
                    <a:pt x="1084" y="1740"/>
                  </a:lnTo>
                  <a:lnTo>
                    <a:pt x="1086" y="1744"/>
                  </a:lnTo>
                  <a:lnTo>
                    <a:pt x="1090" y="1734"/>
                  </a:lnTo>
                  <a:lnTo>
                    <a:pt x="1100" y="1708"/>
                  </a:lnTo>
                  <a:lnTo>
                    <a:pt x="1108" y="1684"/>
                  </a:lnTo>
                  <a:lnTo>
                    <a:pt x="1110" y="1676"/>
                  </a:lnTo>
                  <a:lnTo>
                    <a:pt x="1110" y="1674"/>
                  </a:lnTo>
                  <a:lnTo>
                    <a:pt x="1108" y="1672"/>
                  </a:lnTo>
                  <a:close/>
                  <a:moveTo>
                    <a:pt x="1804" y="2938"/>
                  </a:moveTo>
                  <a:lnTo>
                    <a:pt x="1804" y="2938"/>
                  </a:lnTo>
                  <a:lnTo>
                    <a:pt x="1810" y="2932"/>
                  </a:lnTo>
                  <a:lnTo>
                    <a:pt x="1812" y="2928"/>
                  </a:lnTo>
                  <a:lnTo>
                    <a:pt x="1808" y="2930"/>
                  </a:lnTo>
                  <a:lnTo>
                    <a:pt x="1800" y="2934"/>
                  </a:lnTo>
                  <a:lnTo>
                    <a:pt x="1790" y="2940"/>
                  </a:lnTo>
                  <a:lnTo>
                    <a:pt x="1776" y="2946"/>
                  </a:lnTo>
                  <a:lnTo>
                    <a:pt x="1768" y="2946"/>
                  </a:lnTo>
                  <a:lnTo>
                    <a:pt x="1760" y="2944"/>
                  </a:lnTo>
                  <a:lnTo>
                    <a:pt x="1754" y="2944"/>
                  </a:lnTo>
                  <a:lnTo>
                    <a:pt x="1750" y="2944"/>
                  </a:lnTo>
                  <a:lnTo>
                    <a:pt x="1748" y="2946"/>
                  </a:lnTo>
                  <a:lnTo>
                    <a:pt x="1748" y="2948"/>
                  </a:lnTo>
                  <a:lnTo>
                    <a:pt x="1748" y="2954"/>
                  </a:lnTo>
                  <a:lnTo>
                    <a:pt x="1746" y="2954"/>
                  </a:lnTo>
                  <a:lnTo>
                    <a:pt x="1742" y="2954"/>
                  </a:lnTo>
                  <a:lnTo>
                    <a:pt x="1736" y="2954"/>
                  </a:lnTo>
                  <a:lnTo>
                    <a:pt x="1732" y="2958"/>
                  </a:lnTo>
                  <a:lnTo>
                    <a:pt x="1730" y="2960"/>
                  </a:lnTo>
                  <a:lnTo>
                    <a:pt x="1726" y="2960"/>
                  </a:lnTo>
                  <a:lnTo>
                    <a:pt x="1722" y="2960"/>
                  </a:lnTo>
                  <a:lnTo>
                    <a:pt x="1722" y="2962"/>
                  </a:lnTo>
                  <a:lnTo>
                    <a:pt x="1726" y="2974"/>
                  </a:lnTo>
                  <a:lnTo>
                    <a:pt x="1728" y="2978"/>
                  </a:lnTo>
                  <a:lnTo>
                    <a:pt x="1732" y="2980"/>
                  </a:lnTo>
                  <a:lnTo>
                    <a:pt x="1736" y="2982"/>
                  </a:lnTo>
                  <a:lnTo>
                    <a:pt x="1742" y="2982"/>
                  </a:lnTo>
                  <a:lnTo>
                    <a:pt x="1748" y="2982"/>
                  </a:lnTo>
                  <a:lnTo>
                    <a:pt x="1750" y="2984"/>
                  </a:lnTo>
                  <a:lnTo>
                    <a:pt x="1752" y="2986"/>
                  </a:lnTo>
                  <a:lnTo>
                    <a:pt x="1754" y="2984"/>
                  </a:lnTo>
                  <a:lnTo>
                    <a:pt x="1754" y="2982"/>
                  </a:lnTo>
                  <a:lnTo>
                    <a:pt x="1756" y="2980"/>
                  </a:lnTo>
                  <a:lnTo>
                    <a:pt x="1764" y="2978"/>
                  </a:lnTo>
                  <a:lnTo>
                    <a:pt x="1770" y="2976"/>
                  </a:lnTo>
                  <a:lnTo>
                    <a:pt x="1774" y="2974"/>
                  </a:lnTo>
                  <a:lnTo>
                    <a:pt x="1776" y="2970"/>
                  </a:lnTo>
                  <a:lnTo>
                    <a:pt x="1780" y="2966"/>
                  </a:lnTo>
                  <a:lnTo>
                    <a:pt x="1782" y="2964"/>
                  </a:lnTo>
                  <a:lnTo>
                    <a:pt x="1790" y="2964"/>
                  </a:lnTo>
                  <a:lnTo>
                    <a:pt x="1794" y="2964"/>
                  </a:lnTo>
                  <a:lnTo>
                    <a:pt x="1796" y="2962"/>
                  </a:lnTo>
                  <a:lnTo>
                    <a:pt x="1794" y="2960"/>
                  </a:lnTo>
                  <a:lnTo>
                    <a:pt x="1790" y="2954"/>
                  </a:lnTo>
                  <a:lnTo>
                    <a:pt x="1790" y="2950"/>
                  </a:lnTo>
                  <a:lnTo>
                    <a:pt x="1796" y="2944"/>
                  </a:lnTo>
                  <a:lnTo>
                    <a:pt x="1804" y="2938"/>
                  </a:lnTo>
                  <a:close/>
                  <a:moveTo>
                    <a:pt x="1538" y="2902"/>
                  </a:moveTo>
                  <a:lnTo>
                    <a:pt x="1538" y="2902"/>
                  </a:lnTo>
                  <a:lnTo>
                    <a:pt x="1540" y="2906"/>
                  </a:lnTo>
                  <a:lnTo>
                    <a:pt x="1538" y="2910"/>
                  </a:lnTo>
                  <a:lnTo>
                    <a:pt x="1538" y="2914"/>
                  </a:lnTo>
                  <a:lnTo>
                    <a:pt x="1542" y="2918"/>
                  </a:lnTo>
                  <a:lnTo>
                    <a:pt x="1544" y="2918"/>
                  </a:lnTo>
                  <a:lnTo>
                    <a:pt x="1548" y="2914"/>
                  </a:lnTo>
                  <a:lnTo>
                    <a:pt x="1554" y="2904"/>
                  </a:lnTo>
                  <a:lnTo>
                    <a:pt x="1558" y="2894"/>
                  </a:lnTo>
                  <a:lnTo>
                    <a:pt x="1560" y="2888"/>
                  </a:lnTo>
                  <a:lnTo>
                    <a:pt x="1560" y="2886"/>
                  </a:lnTo>
                  <a:lnTo>
                    <a:pt x="1558" y="2886"/>
                  </a:lnTo>
                  <a:lnTo>
                    <a:pt x="1554" y="2886"/>
                  </a:lnTo>
                  <a:lnTo>
                    <a:pt x="1546" y="2892"/>
                  </a:lnTo>
                  <a:lnTo>
                    <a:pt x="1540" y="2898"/>
                  </a:lnTo>
                  <a:lnTo>
                    <a:pt x="1538" y="2900"/>
                  </a:lnTo>
                  <a:lnTo>
                    <a:pt x="1538" y="2902"/>
                  </a:lnTo>
                  <a:close/>
                  <a:moveTo>
                    <a:pt x="644" y="1508"/>
                  </a:moveTo>
                  <a:lnTo>
                    <a:pt x="644" y="1508"/>
                  </a:lnTo>
                  <a:lnTo>
                    <a:pt x="646" y="1510"/>
                  </a:lnTo>
                  <a:lnTo>
                    <a:pt x="648" y="1508"/>
                  </a:lnTo>
                  <a:lnTo>
                    <a:pt x="650" y="1500"/>
                  </a:lnTo>
                  <a:lnTo>
                    <a:pt x="650" y="1498"/>
                  </a:lnTo>
                  <a:lnTo>
                    <a:pt x="646" y="1498"/>
                  </a:lnTo>
                  <a:lnTo>
                    <a:pt x="640" y="1500"/>
                  </a:lnTo>
                  <a:lnTo>
                    <a:pt x="636" y="1504"/>
                  </a:lnTo>
                  <a:lnTo>
                    <a:pt x="634" y="1510"/>
                  </a:lnTo>
                  <a:lnTo>
                    <a:pt x="636" y="1514"/>
                  </a:lnTo>
                  <a:lnTo>
                    <a:pt x="638" y="1516"/>
                  </a:lnTo>
                  <a:lnTo>
                    <a:pt x="642" y="1518"/>
                  </a:lnTo>
                  <a:lnTo>
                    <a:pt x="644" y="1516"/>
                  </a:lnTo>
                  <a:lnTo>
                    <a:pt x="644" y="1514"/>
                  </a:lnTo>
                  <a:lnTo>
                    <a:pt x="642" y="1508"/>
                  </a:lnTo>
                  <a:lnTo>
                    <a:pt x="640" y="1506"/>
                  </a:lnTo>
                  <a:lnTo>
                    <a:pt x="644" y="1508"/>
                  </a:lnTo>
                  <a:close/>
                  <a:moveTo>
                    <a:pt x="632" y="1558"/>
                  </a:moveTo>
                  <a:lnTo>
                    <a:pt x="632" y="1558"/>
                  </a:lnTo>
                  <a:lnTo>
                    <a:pt x="634" y="1556"/>
                  </a:lnTo>
                  <a:lnTo>
                    <a:pt x="634" y="1554"/>
                  </a:lnTo>
                  <a:lnTo>
                    <a:pt x="634" y="1548"/>
                  </a:lnTo>
                  <a:lnTo>
                    <a:pt x="630" y="1544"/>
                  </a:lnTo>
                  <a:lnTo>
                    <a:pt x="630" y="1546"/>
                  </a:lnTo>
                  <a:lnTo>
                    <a:pt x="630" y="1554"/>
                  </a:lnTo>
                  <a:lnTo>
                    <a:pt x="630" y="1558"/>
                  </a:lnTo>
                  <a:lnTo>
                    <a:pt x="632" y="1558"/>
                  </a:lnTo>
                  <a:close/>
                  <a:moveTo>
                    <a:pt x="628" y="1528"/>
                  </a:moveTo>
                  <a:lnTo>
                    <a:pt x="628" y="1528"/>
                  </a:lnTo>
                  <a:lnTo>
                    <a:pt x="630" y="1528"/>
                  </a:lnTo>
                  <a:lnTo>
                    <a:pt x="630" y="1526"/>
                  </a:lnTo>
                  <a:lnTo>
                    <a:pt x="632" y="1522"/>
                  </a:lnTo>
                  <a:lnTo>
                    <a:pt x="632" y="1520"/>
                  </a:lnTo>
                  <a:lnTo>
                    <a:pt x="634" y="1520"/>
                  </a:lnTo>
                  <a:lnTo>
                    <a:pt x="634" y="1522"/>
                  </a:lnTo>
                  <a:lnTo>
                    <a:pt x="636" y="1522"/>
                  </a:lnTo>
                  <a:lnTo>
                    <a:pt x="638" y="1522"/>
                  </a:lnTo>
                  <a:lnTo>
                    <a:pt x="638" y="1520"/>
                  </a:lnTo>
                  <a:lnTo>
                    <a:pt x="636" y="1518"/>
                  </a:lnTo>
                  <a:lnTo>
                    <a:pt x="632" y="1514"/>
                  </a:lnTo>
                  <a:lnTo>
                    <a:pt x="628" y="1512"/>
                  </a:lnTo>
                  <a:lnTo>
                    <a:pt x="628" y="1516"/>
                  </a:lnTo>
                  <a:lnTo>
                    <a:pt x="628" y="1528"/>
                  </a:lnTo>
                  <a:close/>
                  <a:moveTo>
                    <a:pt x="1186" y="1636"/>
                  </a:moveTo>
                  <a:lnTo>
                    <a:pt x="1186" y="1636"/>
                  </a:lnTo>
                  <a:lnTo>
                    <a:pt x="1180" y="1640"/>
                  </a:lnTo>
                  <a:lnTo>
                    <a:pt x="1176" y="1638"/>
                  </a:lnTo>
                  <a:lnTo>
                    <a:pt x="1174" y="1638"/>
                  </a:lnTo>
                  <a:lnTo>
                    <a:pt x="1164" y="1646"/>
                  </a:lnTo>
                  <a:lnTo>
                    <a:pt x="1156" y="1656"/>
                  </a:lnTo>
                  <a:lnTo>
                    <a:pt x="1150" y="1666"/>
                  </a:lnTo>
                  <a:lnTo>
                    <a:pt x="1150" y="1676"/>
                  </a:lnTo>
                  <a:lnTo>
                    <a:pt x="1154" y="1682"/>
                  </a:lnTo>
                  <a:lnTo>
                    <a:pt x="1154" y="1686"/>
                  </a:lnTo>
                  <a:lnTo>
                    <a:pt x="1154" y="1690"/>
                  </a:lnTo>
                  <a:lnTo>
                    <a:pt x="1154" y="1696"/>
                  </a:lnTo>
                  <a:lnTo>
                    <a:pt x="1154" y="1700"/>
                  </a:lnTo>
                  <a:lnTo>
                    <a:pt x="1158" y="1700"/>
                  </a:lnTo>
                  <a:lnTo>
                    <a:pt x="1162" y="1696"/>
                  </a:lnTo>
                  <a:lnTo>
                    <a:pt x="1166" y="1690"/>
                  </a:lnTo>
                  <a:lnTo>
                    <a:pt x="1170" y="1682"/>
                  </a:lnTo>
                  <a:lnTo>
                    <a:pt x="1178" y="1674"/>
                  </a:lnTo>
                  <a:lnTo>
                    <a:pt x="1182" y="1670"/>
                  </a:lnTo>
                  <a:lnTo>
                    <a:pt x="1184" y="1666"/>
                  </a:lnTo>
                  <a:lnTo>
                    <a:pt x="1182" y="1662"/>
                  </a:lnTo>
                  <a:lnTo>
                    <a:pt x="1180" y="1658"/>
                  </a:lnTo>
                  <a:lnTo>
                    <a:pt x="1180" y="1656"/>
                  </a:lnTo>
                  <a:lnTo>
                    <a:pt x="1182" y="1652"/>
                  </a:lnTo>
                  <a:lnTo>
                    <a:pt x="1186" y="1646"/>
                  </a:lnTo>
                  <a:lnTo>
                    <a:pt x="1194" y="1638"/>
                  </a:lnTo>
                  <a:lnTo>
                    <a:pt x="1198" y="1632"/>
                  </a:lnTo>
                  <a:lnTo>
                    <a:pt x="1196" y="1630"/>
                  </a:lnTo>
                  <a:lnTo>
                    <a:pt x="1194" y="1632"/>
                  </a:lnTo>
                  <a:lnTo>
                    <a:pt x="1186" y="1636"/>
                  </a:lnTo>
                  <a:close/>
                  <a:moveTo>
                    <a:pt x="1058" y="962"/>
                  </a:moveTo>
                  <a:lnTo>
                    <a:pt x="1058" y="962"/>
                  </a:lnTo>
                  <a:lnTo>
                    <a:pt x="1050" y="960"/>
                  </a:lnTo>
                  <a:lnTo>
                    <a:pt x="1048" y="962"/>
                  </a:lnTo>
                  <a:lnTo>
                    <a:pt x="1046" y="964"/>
                  </a:lnTo>
                  <a:lnTo>
                    <a:pt x="1048" y="964"/>
                  </a:lnTo>
                  <a:lnTo>
                    <a:pt x="1054" y="964"/>
                  </a:lnTo>
                  <a:lnTo>
                    <a:pt x="1058" y="962"/>
                  </a:lnTo>
                  <a:close/>
                  <a:moveTo>
                    <a:pt x="1366" y="1568"/>
                  </a:moveTo>
                  <a:lnTo>
                    <a:pt x="1366" y="1568"/>
                  </a:lnTo>
                  <a:lnTo>
                    <a:pt x="1364" y="1566"/>
                  </a:lnTo>
                  <a:lnTo>
                    <a:pt x="1360" y="1564"/>
                  </a:lnTo>
                  <a:lnTo>
                    <a:pt x="1356" y="1564"/>
                  </a:lnTo>
                  <a:lnTo>
                    <a:pt x="1354" y="1566"/>
                  </a:lnTo>
                  <a:lnTo>
                    <a:pt x="1356" y="1568"/>
                  </a:lnTo>
                  <a:lnTo>
                    <a:pt x="1360" y="1570"/>
                  </a:lnTo>
                  <a:lnTo>
                    <a:pt x="1364" y="1570"/>
                  </a:lnTo>
                  <a:lnTo>
                    <a:pt x="1366" y="1568"/>
                  </a:lnTo>
                  <a:close/>
                  <a:moveTo>
                    <a:pt x="1332" y="1588"/>
                  </a:moveTo>
                  <a:lnTo>
                    <a:pt x="1332" y="1588"/>
                  </a:lnTo>
                  <a:lnTo>
                    <a:pt x="1336" y="1586"/>
                  </a:lnTo>
                  <a:lnTo>
                    <a:pt x="1338" y="1584"/>
                  </a:lnTo>
                  <a:lnTo>
                    <a:pt x="1338" y="1582"/>
                  </a:lnTo>
                  <a:lnTo>
                    <a:pt x="1342" y="1580"/>
                  </a:lnTo>
                  <a:lnTo>
                    <a:pt x="1344" y="1582"/>
                  </a:lnTo>
                  <a:lnTo>
                    <a:pt x="1346" y="1580"/>
                  </a:lnTo>
                  <a:lnTo>
                    <a:pt x="1346" y="1578"/>
                  </a:lnTo>
                  <a:lnTo>
                    <a:pt x="1348" y="1578"/>
                  </a:lnTo>
                  <a:lnTo>
                    <a:pt x="1350" y="1578"/>
                  </a:lnTo>
                  <a:lnTo>
                    <a:pt x="1352" y="1576"/>
                  </a:lnTo>
                  <a:lnTo>
                    <a:pt x="1350" y="1574"/>
                  </a:lnTo>
                  <a:lnTo>
                    <a:pt x="1346" y="1570"/>
                  </a:lnTo>
                  <a:lnTo>
                    <a:pt x="1336" y="1562"/>
                  </a:lnTo>
                  <a:lnTo>
                    <a:pt x="1334" y="1562"/>
                  </a:lnTo>
                  <a:lnTo>
                    <a:pt x="1330" y="1566"/>
                  </a:lnTo>
                  <a:lnTo>
                    <a:pt x="1326" y="1568"/>
                  </a:lnTo>
                  <a:lnTo>
                    <a:pt x="1320" y="1570"/>
                  </a:lnTo>
                  <a:lnTo>
                    <a:pt x="1316" y="1570"/>
                  </a:lnTo>
                  <a:lnTo>
                    <a:pt x="1312" y="1570"/>
                  </a:lnTo>
                  <a:lnTo>
                    <a:pt x="1310" y="1572"/>
                  </a:lnTo>
                  <a:lnTo>
                    <a:pt x="1312" y="1574"/>
                  </a:lnTo>
                  <a:lnTo>
                    <a:pt x="1322" y="1574"/>
                  </a:lnTo>
                  <a:lnTo>
                    <a:pt x="1324" y="1574"/>
                  </a:lnTo>
                  <a:lnTo>
                    <a:pt x="1326" y="1576"/>
                  </a:lnTo>
                  <a:lnTo>
                    <a:pt x="1326" y="1580"/>
                  </a:lnTo>
                  <a:lnTo>
                    <a:pt x="1328" y="1584"/>
                  </a:lnTo>
                  <a:lnTo>
                    <a:pt x="1330" y="1586"/>
                  </a:lnTo>
                  <a:lnTo>
                    <a:pt x="1332" y="1588"/>
                  </a:lnTo>
                  <a:close/>
                  <a:moveTo>
                    <a:pt x="1306" y="1608"/>
                  </a:moveTo>
                  <a:lnTo>
                    <a:pt x="1306" y="1608"/>
                  </a:lnTo>
                  <a:lnTo>
                    <a:pt x="1304" y="1610"/>
                  </a:lnTo>
                  <a:lnTo>
                    <a:pt x="1302" y="1612"/>
                  </a:lnTo>
                  <a:lnTo>
                    <a:pt x="1304" y="1616"/>
                  </a:lnTo>
                  <a:lnTo>
                    <a:pt x="1310" y="1618"/>
                  </a:lnTo>
                  <a:lnTo>
                    <a:pt x="1316" y="1622"/>
                  </a:lnTo>
                  <a:lnTo>
                    <a:pt x="1316" y="1624"/>
                  </a:lnTo>
                  <a:lnTo>
                    <a:pt x="1312" y="1628"/>
                  </a:lnTo>
                  <a:lnTo>
                    <a:pt x="1308" y="1630"/>
                  </a:lnTo>
                  <a:lnTo>
                    <a:pt x="1308" y="1634"/>
                  </a:lnTo>
                  <a:lnTo>
                    <a:pt x="1308" y="1636"/>
                  </a:lnTo>
                  <a:lnTo>
                    <a:pt x="1314" y="1636"/>
                  </a:lnTo>
                  <a:lnTo>
                    <a:pt x="1316" y="1634"/>
                  </a:lnTo>
                  <a:lnTo>
                    <a:pt x="1318" y="1630"/>
                  </a:lnTo>
                  <a:lnTo>
                    <a:pt x="1322" y="1620"/>
                  </a:lnTo>
                  <a:lnTo>
                    <a:pt x="1326" y="1618"/>
                  </a:lnTo>
                  <a:lnTo>
                    <a:pt x="1328" y="1616"/>
                  </a:lnTo>
                  <a:lnTo>
                    <a:pt x="1330" y="1616"/>
                  </a:lnTo>
                  <a:lnTo>
                    <a:pt x="1334" y="1618"/>
                  </a:lnTo>
                  <a:lnTo>
                    <a:pt x="1340" y="1614"/>
                  </a:lnTo>
                  <a:lnTo>
                    <a:pt x="1348" y="1610"/>
                  </a:lnTo>
                  <a:lnTo>
                    <a:pt x="1352" y="1604"/>
                  </a:lnTo>
                  <a:lnTo>
                    <a:pt x="1356" y="1602"/>
                  </a:lnTo>
                  <a:lnTo>
                    <a:pt x="1358" y="1602"/>
                  </a:lnTo>
                  <a:lnTo>
                    <a:pt x="1358" y="1604"/>
                  </a:lnTo>
                  <a:lnTo>
                    <a:pt x="1362" y="1604"/>
                  </a:lnTo>
                  <a:lnTo>
                    <a:pt x="1364" y="1602"/>
                  </a:lnTo>
                  <a:lnTo>
                    <a:pt x="1362" y="1602"/>
                  </a:lnTo>
                  <a:lnTo>
                    <a:pt x="1354" y="1596"/>
                  </a:lnTo>
                  <a:lnTo>
                    <a:pt x="1348" y="1594"/>
                  </a:lnTo>
                  <a:lnTo>
                    <a:pt x="1342" y="1594"/>
                  </a:lnTo>
                  <a:lnTo>
                    <a:pt x="1338" y="1594"/>
                  </a:lnTo>
                  <a:lnTo>
                    <a:pt x="1334" y="1592"/>
                  </a:lnTo>
                  <a:lnTo>
                    <a:pt x="1330" y="1590"/>
                  </a:lnTo>
                  <a:lnTo>
                    <a:pt x="1324" y="1592"/>
                  </a:lnTo>
                  <a:lnTo>
                    <a:pt x="1318" y="1594"/>
                  </a:lnTo>
                  <a:lnTo>
                    <a:pt x="1314" y="1600"/>
                  </a:lnTo>
                  <a:lnTo>
                    <a:pt x="1312" y="1602"/>
                  </a:lnTo>
                  <a:lnTo>
                    <a:pt x="1310" y="1602"/>
                  </a:lnTo>
                  <a:lnTo>
                    <a:pt x="1308" y="1598"/>
                  </a:lnTo>
                  <a:lnTo>
                    <a:pt x="1304" y="1598"/>
                  </a:lnTo>
                  <a:lnTo>
                    <a:pt x="1304" y="1600"/>
                  </a:lnTo>
                  <a:lnTo>
                    <a:pt x="1306" y="1604"/>
                  </a:lnTo>
                  <a:lnTo>
                    <a:pt x="1308" y="1606"/>
                  </a:lnTo>
                  <a:lnTo>
                    <a:pt x="1308" y="1608"/>
                  </a:lnTo>
                  <a:lnTo>
                    <a:pt x="1306" y="1608"/>
                  </a:lnTo>
                  <a:close/>
                  <a:moveTo>
                    <a:pt x="1364" y="1596"/>
                  </a:moveTo>
                  <a:lnTo>
                    <a:pt x="1364" y="1596"/>
                  </a:lnTo>
                  <a:lnTo>
                    <a:pt x="1364" y="1592"/>
                  </a:lnTo>
                  <a:lnTo>
                    <a:pt x="1360" y="1590"/>
                  </a:lnTo>
                  <a:lnTo>
                    <a:pt x="1356" y="1588"/>
                  </a:lnTo>
                  <a:lnTo>
                    <a:pt x="1354" y="1588"/>
                  </a:lnTo>
                  <a:lnTo>
                    <a:pt x="1354" y="1592"/>
                  </a:lnTo>
                  <a:lnTo>
                    <a:pt x="1356" y="1596"/>
                  </a:lnTo>
                  <a:lnTo>
                    <a:pt x="1360" y="1598"/>
                  </a:lnTo>
                  <a:lnTo>
                    <a:pt x="1364" y="1596"/>
                  </a:lnTo>
                  <a:close/>
                  <a:moveTo>
                    <a:pt x="1102" y="2532"/>
                  </a:moveTo>
                  <a:lnTo>
                    <a:pt x="1102" y="2532"/>
                  </a:lnTo>
                  <a:lnTo>
                    <a:pt x="1110" y="2530"/>
                  </a:lnTo>
                  <a:lnTo>
                    <a:pt x="1112" y="2530"/>
                  </a:lnTo>
                  <a:lnTo>
                    <a:pt x="1110" y="2528"/>
                  </a:lnTo>
                  <a:lnTo>
                    <a:pt x="1098" y="2526"/>
                  </a:lnTo>
                  <a:lnTo>
                    <a:pt x="1092" y="2528"/>
                  </a:lnTo>
                  <a:lnTo>
                    <a:pt x="1094" y="2530"/>
                  </a:lnTo>
                  <a:lnTo>
                    <a:pt x="1096" y="2532"/>
                  </a:lnTo>
                  <a:lnTo>
                    <a:pt x="1102" y="2532"/>
                  </a:lnTo>
                  <a:close/>
                  <a:moveTo>
                    <a:pt x="470" y="2754"/>
                  </a:moveTo>
                  <a:lnTo>
                    <a:pt x="470" y="2754"/>
                  </a:lnTo>
                  <a:lnTo>
                    <a:pt x="472" y="2756"/>
                  </a:lnTo>
                  <a:lnTo>
                    <a:pt x="476" y="2756"/>
                  </a:lnTo>
                  <a:lnTo>
                    <a:pt x="482" y="2752"/>
                  </a:lnTo>
                  <a:lnTo>
                    <a:pt x="486" y="2746"/>
                  </a:lnTo>
                  <a:lnTo>
                    <a:pt x="486" y="2744"/>
                  </a:lnTo>
                  <a:lnTo>
                    <a:pt x="484" y="2740"/>
                  </a:lnTo>
                  <a:lnTo>
                    <a:pt x="482" y="2740"/>
                  </a:lnTo>
                  <a:lnTo>
                    <a:pt x="480" y="2740"/>
                  </a:lnTo>
                  <a:lnTo>
                    <a:pt x="474" y="2744"/>
                  </a:lnTo>
                  <a:lnTo>
                    <a:pt x="470" y="2750"/>
                  </a:lnTo>
                  <a:lnTo>
                    <a:pt x="470" y="2752"/>
                  </a:lnTo>
                  <a:lnTo>
                    <a:pt x="470" y="2754"/>
                  </a:lnTo>
                  <a:close/>
                  <a:moveTo>
                    <a:pt x="808" y="2632"/>
                  </a:moveTo>
                  <a:lnTo>
                    <a:pt x="808" y="2632"/>
                  </a:lnTo>
                  <a:lnTo>
                    <a:pt x="804" y="2628"/>
                  </a:lnTo>
                  <a:lnTo>
                    <a:pt x="802" y="2626"/>
                  </a:lnTo>
                  <a:lnTo>
                    <a:pt x="798" y="2624"/>
                  </a:lnTo>
                  <a:lnTo>
                    <a:pt x="794" y="2626"/>
                  </a:lnTo>
                  <a:lnTo>
                    <a:pt x="790" y="2628"/>
                  </a:lnTo>
                  <a:lnTo>
                    <a:pt x="776" y="2638"/>
                  </a:lnTo>
                  <a:lnTo>
                    <a:pt x="768" y="2644"/>
                  </a:lnTo>
                  <a:lnTo>
                    <a:pt x="762" y="2646"/>
                  </a:lnTo>
                  <a:lnTo>
                    <a:pt x="758" y="2644"/>
                  </a:lnTo>
                  <a:lnTo>
                    <a:pt x="756" y="2642"/>
                  </a:lnTo>
                  <a:lnTo>
                    <a:pt x="752" y="2640"/>
                  </a:lnTo>
                  <a:lnTo>
                    <a:pt x="750" y="2650"/>
                  </a:lnTo>
                  <a:lnTo>
                    <a:pt x="752" y="2654"/>
                  </a:lnTo>
                  <a:lnTo>
                    <a:pt x="752" y="2658"/>
                  </a:lnTo>
                  <a:lnTo>
                    <a:pt x="756" y="2664"/>
                  </a:lnTo>
                  <a:lnTo>
                    <a:pt x="760" y="2672"/>
                  </a:lnTo>
                  <a:lnTo>
                    <a:pt x="762" y="2678"/>
                  </a:lnTo>
                  <a:lnTo>
                    <a:pt x="762" y="2686"/>
                  </a:lnTo>
                  <a:lnTo>
                    <a:pt x="762" y="2694"/>
                  </a:lnTo>
                  <a:lnTo>
                    <a:pt x="764" y="2698"/>
                  </a:lnTo>
                  <a:lnTo>
                    <a:pt x="764" y="2702"/>
                  </a:lnTo>
                  <a:lnTo>
                    <a:pt x="762" y="2714"/>
                  </a:lnTo>
                  <a:lnTo>
                    <a:pt x="760" y="2728"/>
                  </a:lnTo>
                  <a:lnTo>
                    <a:pt x="764" y="2742"/>
                  </a:lnTo>
                  <a:lnTo>
                    <a:pt x="766" y="2746"/>
                  </a:lnTo>
                  <a:lnTo>
                    <a:pt x="770" y="2750"/>
                  </a:lnTo>
                  <a:lnTo>
                    <a:pt x="774" y="2752"/>
                  </a:lnTo>
                  <a:lnTo>
                    <a:pt x="778" y="2752"/>
                  </a:lnTo>
                  <a:lnTo>
                    <a:pt x="782" y="2752"/>
                  </a:lnTo>
                  <a:lnTo>
                    <a:pt x="784" y="2748"/>
                  </a:lnTo>
                  <a:lnTo>
                    <a:pt x="788" y="2742"/>
                  </a:lnTo>
                  <a:lnTo>
                    <a:pt x="790" y="2738"/>
                  </a:lnTo>
                  <a:lnTo>
                    <a:pt x="792" y="2736"/>
                  </a:lnTo>
                  <a:lnTo>
                    <a:pt x="796" y="2738"/>
                  </a:lnTo>
                  <a:lnTo>
                    <a:pt x="802" y="2740"/>
                  </a:lnTo>
                  <a:lnTo>
                    <a:pt x="806" y="2740"/>
                  </a:lnTo>
                  <a:lnTo>
                    <a:pt x="808" y="2736"/>
                  </a:lnTo>
                  <a:lnTo>
                    <a:pt x="810" y="2726"/>
                  </a:lnTo>
                  <a:lnTo>
                    <a:pt x="814" y="2708"/>
                  </a:lnTo>
                  <a:lnTo>
                    <a:pt x="816" y="2698"/>
                  </a:lnTo>
                  <a:lnTo>
                    <a:pt x="814" y="2690"/>
                  </a:lnTo>
                  <a:lnTo>
                    <a:pt x="812" y="2682"/>
                  </a:lnTo>
                  <a:lnTo>
                    <a:pt x="810" y="2678"/>
                  </a:lnTo>
                  <a:lnTo>
                    <a:pt x="814" y="2672"/>
                  </a:lnTo>
                  <a:lnTo>
                    <a:pt x="818" y="2668"/>
                  </a:lnTo>
                  <a:lnTo>
                    <a:pt x="818" y="2662"/>
                  </a:lnTo>
                  <a:lnTo>
                    <a:pt x="818" y="2652"/>
                  </a:lnTo>
                  <a:lnTo>
                    <a:pt x="814" y="2642"/>
                  </a:lnTo>
                  <a:lnTo>
                    <a:pt x="808" y="2632"/>
                  </a:lnTo>
                  <a:close/>
                  <a:moveTo>
                    <a:pt x="576" y="2694"/>
                  </a:moveTo>
                  <a:lnTo>
                    <a:pt x="576" y="2694"/>
                  </a:lnTo>
                  <a:lnTo>
                    <a:pt x="578" y="2696"/>
                  </a:lnTo>
                  <a:lnTo>
                    <a:pt x="580" y="2696"/>
                  </a:lnTo>
                  <a:lnTo>
                    <a:pt x="584" y="2696"/>
                  </a:lnTo>
                  <a:lnTo>
                    <a:pt x="588" y="2698"/>
                  </a:lnTo>
                  <a:lnTo>
                    <a:pt x="592" y="2702"/>
                  </a:lnTo>
                  <a:lnTo>
                    <a:pt x="594" y="2700"/>
                  </a:lnTo>
                  <a:lnTo>
                    <a:pt x="596" y="2698"/>
                  </a:lnTo>
                  <a:lnTo>
                    <a:pt x="594" y="2692"/>
                  </a:lnTo>
                  <a:lnTo>
                    <a:pt x="594" y="2690"/>
                  </a:lnTo>
                  <a:lnTo>
                    <a:pt x="590" y="2688"/>
                  </a:lnTo>
                  <a:lnTo>
                    <a:pt x="584" y="2686"/>
                  </a:lnTo>
                  <a:lnTo>
                    <a:pt x="578" y="2688"/>
                  </a:lnTo>
                  <a:lnTo>
                    <a:pt x="576" y="2690"/>
                  </a:lnTo>
                  <a:lnTo>
                    <a:pt x="576" y="2694"/>
                  </a:lnTo>
                  <a:close/>
                  <a:moveTo>
                    <a:pt x="1022" y="2792"/>
                  </a:moveTo>
                  <a:lnTo>
                    <a:pt x="1022" y="2792"/>
                  </a:lnTo>
                  <a:lnTo>
                    <a:pt x="1016" y="2792"/>
                  </a:lnTo>
                  <a:lnTo>
                    <a:pt x="1010" y="2794"/>
                  </a:lnTo>
                  <a:lnTo>
                    <a:pt x="998" y="2800"/>
                  </a:lnTo>
                  <a:lnTo>
                    <a:pt x="990" y="2802"/>
                  </a:lnTo>
                  <a:lnTo>
                    <a:pt x="982" y="2802"/>
                  </a:lnTo>
                  <a:lnTo>
                    <a:pt x="974" y="2800"/>
                  </a:lnTo>
                  <a:lnTo>
                    <a:pt x="966" y="2796"/>
                  </a:lnTo>
                  <a:lnTo>
                    <a:pt x="960" y="2790"/>
                  </a:lnTo>
                  <a:lnTo>
                    <a:pt x="954" y="2790"/>
                  </a:lnTo>
                  <a:lnTo>
                    <a:pt x="950" y="2792"/>
                  </a:lnTo>
                  <a:lnTo>
                    <a:pt x="948" y="2794"/>
                  </a:lnTo>
                  <a:lnTo>
                    <a:pt x="944" y="2800"/>
                  </a:lnTo>
                  <a:lnTo>
                    <a:pt x="942" y="2800"/>
                  </a:lnTo>
                  <a:lnTo>
                    <a:pt x="938" y="2794"/>
                  </a:lnTo>
                  <a:lnTo>
                    <a:pt x="936" y="2794"/>
                  </a:lnTo>
                  <a:lnTo>
                    <a:pt x="934" y="2792"/>
                  </a:lnTo>
                  <a:lnTo>
                    <a:pt x="930" y="2796"/>
                  </a:lnTo>
                  <a:lnTo>
                    <a:pt x="926" y="2802"/>
                  </a:lnTo>
                  <a:lnTo>
                    <a:pt x="924" y="2814"/>
                  </a:lnTo>
                  <a:lnTo>
                    <a:pt x="926" y="2820"/>
                  </a:lnTo>
                  <a:lnTo>
                    <a:pt x="930" y="2822"/>
                  </a:lnTo>
                  <a:lnTo>
                    <a:pt x="944" y="2828"/>
                  </a:lnTo>
                  <a:lnTo>
                    <a:pt x="954" y="2832"/>
                  </a:lnTo>
                  <a:lnTo>
                    <a:pt x="966" y="2840"/>
                  </a:lnTo>
                  <a:lnTo>
                    <a:pt x="976" y="2848"/>
                  </a:lnTo>
                  <a:lnTo>
                    <a:pt x="982" y="2850"/>
                  </a:lnTo>
                  <a:lnTo>
                    <a:pt x="986" y="2850"/>
                  </a:lnTo>
                  <a:lnTo>
                    <a:pt x="994" y="2852"/>
                  </a:lnTo>
                  <a:lnTo>
                    <a:pt x="1000" y="2858"/>
                  </a:lnTo>
                  <a:lnTo>
                    <a:pt x="1008" y="2864"/>
                  </a:lnTo>
                  <a:lnTo>
                    <a:pt x="1016" y="2870"/>
                  </a:lnTo>
                  <a:lnTo>
                    <a:pt x="1030" y="2874"/>
                  </a:lnTo>
                  <a:lnTo>
                    <a:pt x="1032" y="2874"/>
                  </a:lnTo>
                  <a:lnTo>
                    <a:pt x="1032" y="2870"/>
                  </a:lnTo>
                  <a:lnTo>
                    <a:pt x="1034" y="2862"/>
                  </a:lnTo>
                  <a:lnTo>
                    <a:pt x="1036" y="2852"/>
                  </a:lnTo>
                  <a:lnTo>
                    <a:pt x="1036" y="2844"/>
                  </a:lnTo>
                  <a:lnTo>
                    <a:pt x="1034" y="2840"/>
                  </a:lnTo>
                  <a:lnTo>
                    <a:pt x="1032" y="2838"/>
                  </a:lnTo>
                  <a:lnTo>
                    <a:pt x="1030" y="2834"/>
                  </a:lnTo>
                  <a:lnTo>
                    <a:pt x="1030" y="2828"/>
                  </a:lnTo>
                  <a:lnTo>
                    <a:pt x="1036" y="2814"/>
                  </a:lnTo>
                  <a:lnTo>
                    <a:pt x="1050" y="2788"/>
                  </a:lnTo>
                  <a:lnTo>
                    <a:pt x="1052" y="2786"/>
                  </a:lnTo>
                  <a:lnTo>
                    <a:pt x="1050" y="2784"/>
                  </a:lnTo>
                  <a:lnTo>
                    <a:pt x="1042" y="2788"/>
                  </a:lnTo>
                  <a:lnTo>
                    <a:pt x="1032" y="2792"/>
                  </a:lnTo>
                  <a:lnTo>
                    <a:pt x="1026" y="2792"/>
                  </a:lnTo>
                  <a:lnTo>
                    <a:pt x="1022" y="2792"/>
                  </a:lnTo>
                  <a:close/>
                  <a:moveTo>
                    <a:pt x="802" y="2526"/>
                  </a:moveTo>
                  <a:lnTo>
                    <a:pt x="802" y="2526"/>
                  </a:lnTo>
                  <a:lnTo>
                    <a:pt x="800" y="2524"/>
                  </a:lnTo>
                  <a:lnTo>
                    <a:pt x="800" y="2526"/>
                  </a:lnTo>
                  <a:lnTo>
                    <a:pt x="798" y="2534"/>
                  </a:lnTo>
                  <a:lnTo>
                    <a:pt x="798" y="2540"/>
                  </a:lnTo>
                  <a:lnTo>
                    <a:pt x="798" y="2542"/>
                  </a:lnTo>
                  <a:lnTo>
                    <a:pt x="794" y="2542"/>
                  </a:lnTo>
                  <a:lnTo>
                    <a:pt x="790" y="2542"/>
                  </a:lnTo>
                  <a:lnTo>
                    <a:pt x="788" y="2542"/>
                  </a:lnTo>
                  <a:lnTo>
                    <a:pt x="782" y="2546"/>
                  </a:lnTo>
                  <a:lnTo>
                    <a:pt x="778" y="2548"/>
                  </a:lnTo>
                  <a:lnTo>
                    <a:pt x="774" y="2550"/>
                  </a:lnTo>
                  <a:lnTo>
                    <a:pt x="772" y="2550"/>
                  </a:lnTo>
                  <a:lnTo>
                    <a:pt x="772" y="2554"/>
                  </a:lnTo>
                  <a:lnTo>
                    <a:pt x="770" y="2568"/>
                  </a:lnTo>
                  <a:lnTo>
                    <a:pt x="770" y="2580"/>
                  </a:lnTo>
                  <a:lnTo>
                    <a:pt x="770" y="2584"/>
                  </a:lnTo>
                  <a:lnTo>
                    <a:pt x="772" y="2586"/>
                  </a:lnTo>
                  <a:lnTo>
                    <a:pt x="776" y="2586"/>
                  </a:lnTo>
                  <a:lnTo>
                    <a:pt x="776" y="2588"/>
                  </a:lnTo>
                  <a:lnTo>
                    <a:pt x="774" y="2592"/>
                  </a:lnTo>
                  <a:lnTo>
                    <a:pt x="772" y="2594"/>
                  </a:lnTo>
                  <a:lnTo>
                    <a:pt x="772" y="2596"/>
                  </a:lnTo>
                  <a:lnTo>
                    <a:pt x="778" y="2596"/>
                  </a:lnTo>
                  <a:lnTo>
                    <a:pt x="780" y="2598"/>
                  </a:lnTo>
                  <a:lnTo>
                    <a:pt x="778" y="2602"/>
                  </a:lnTo>
                  <a:lnTo>
                    <a:pt x="776" y="2604"/>
                  </a:lnTo>
                  <a:lnTo>
                    <a:pt x="776" y="2606"/>
                  </a:lnTo>
                  <a:lnTo>
                    <a:pt x="778" y="2608"/>
                  </a:lnTo>
                  <a:lnTo>
                    <a:pt x="786" y="2612"/>
                  </a:lnTo>
                  <a:lnTo>
                    <a:pt x="788" y="2614"/>
                  </a:lnTo>
                  <a:lnTo>
                    <a:pt x="790" y="2616"/>
                  </a:lnTo>
                  <a:lnTo>
                    <a:pt x="792" y="2616"/>
                  </a:lnTo>
                  <a:lnTo>
                    <a:pt x="794" y="2616"/>
                  </a:lnTo>
                  <a:lnTo>
                    <a:pt x="794" y="2612"/>
                  </a:lnTo>
                  <a:lnTo>
                    <a:pt x="794" y="2610"/>
                  </a:lnTo>
                  <a:lnTo>
                    <a:pt x="796" y="2606"/>
                  </a:lnTo>
                  <a:lnTo>
                    <a:pt x="800" y="2604"/>
                  </a:lnTo>
                  <a:lnTo>
                    <a:pt x="800" y="2600"/>
                  </a:lnTo>
                  <a:lnTo>
                    <a:pt x="802" y="2588"/>
                  </a:lnTo>
                  <a:lnTo>
                    <a:pt x="802" y="2582"/>
                  </a:lnTo>
                  <a:lnTo>
                    <a:pt x="804" y="2578"/>
                  </a:lnTo>
                  <a:lnTo>
                    <a:pt x="808" y="2574"/>
                  </a:lnTo>
                  <a:lnTo>
                    <a:pt x="808" y="2562"/>
                  </a:lnTo>
                  <a:lnTo>
                    <a:pt x="806" y="2552"/>
                  </a:lnTo>
                  <a:lnTo>
                    <a:pt x="804" y="2546"/>
                  </a:lnTo>
                  <a:lnTo>
                    <a:pt x="804" y="2544"/>
                  </a:lnTo>
                  <a:lnTo>
                    <a:pt x="804" y="2540"/>
                  </a:lnTo>
                  <a:lnTo>
                    <a:pt x="804" y="2530"/>
                  </a:lnTo>
                  <a:lnTo>
                    <a:pt x="804" y="2528"/>
                  </a:lnTo>
                  <a:lnTo>
                    <a:pt x="802" y="2526"/>
                  </a:lnTo>
                  <a:close/>
                  <a:moveTo>
                    <a:pt x="550" y="2700"/>
                  </a:moveTo>
                  <a:lnTo>
                    <a:pt x="550" y="2700"/>
                  </a:lnTo>
                  <a:lnTo>
                    <a:pt x="548" y="2696"/>
                  </a:lnTo>
                  <a:lnTo>
                    <a:pt x="544" y="2696"/>
                  </a:lnTo>
                  <a:lnTo>
                    <a:pt x="538" y="2698"/>
                  </a:lnTo>
                  <a:lnTo>
                    <a:pt x="532" y="2702"/>
                  </a:lnTo>
                  <a:lnTo>
                    <a:pt x="520" y="2712"/>
                  </a:lnTo>
                  <a:lnTo>
                    <a:pt x="518" y="2716"/>
                  </a:lnTo>
                  <a:lnTo>
                    <a:pt x="520" y="2718"/>
                  </a:lnTo>
                  <a:lnTo>
                    <a:pt x="520" y="2720"/>
                  </a:lnTo>
                  <a:lnTo>
                    <a:pt x="526" y="2718"/>
                  </a:lnTo>
                  <a:lnTo>
                    <a:pt x="530" y="2718"/>
                  </a:lnTo>
                  <a:lnTo>
                    <a:pt x="532" y="2720"/>
                  </a:lnTo>
                  <a:lnTo>
                    <a:pt x="536" y="2726"/>
                  </a:lnTo>
                  <a:lnTo>
                    <a:pt x="542" y="2730"/>
                  </a:lnTo>
                  <a:lnTo>
                    <a:pt x="546" y="2732"/>
                  </a:lnTo>
                  <a:lnTo>
                    <a:pt x="548" y="2732"/>
                  </a:lnTo>
                  <a:lnTo>
                    <a:pt x="554" y="2726"/>
                  </a:lnTo>
                  <a:lnTo>
                    <a:pt x="562" y="2708"/>
                  </a:lnTo>
                  <a:lnTo>
                    <a:pt x="564" y="2706"/>
                  </a:lnTo>
                  <a:lnTo>
                    <a:pt x="564" y="2704"/>
                  </a:lnTo>
                  <a:lnTo>
                    <a:pt x="558" y="2704"/>
                  </a:lnTo>
                  <a:lnTo>
                    <a:pt x="552" y="2706"/>
                  </a:lnTo>
                  <a:lnTo>
                    <a:pt x="550" y="2704"/>
                  </a:lnTo>
                  <a:lnTo>
                    <a:pt x="550" y="2700"/>
                  </a:lnTo>
                  <a:close/>
                  <a:moveTo>
                    <a:pt x="1254" y="2806"/>
                  </a:moveTo>
                  <a:lnTo>
                    <a:pt x="1254" y="2806"/>
                  </a:lnTo>
                  <a:lnTo>
                    <a:pt x="1252" y="2810"/>
                  </a:lnTo>
                  <a:lnTo>
                    <a:pt x="1254" y="2814"/>
                  </a:lnTo>
                  <a:lnTo>
                    <a:pt x="1260" y="2818"/>
                  </a:lnTo>
                  <a:lnTo>
                    <a:pt x="1264" y="2820"/>
                  </a:lnTo>
                  <a:lnTo>
                    <a:pt x="1266" y="2818"/>
                  </a:lnTo>
                  <a:lnTo>
                    <a:pt x="1266" y="2816"/>
                  </a:lnTo>
                  <a:lnTo>
                    <a:pt x="1264" y="2812"/>
                  </a:lnTo>
                  <a:lnTo>
                    <a:pt x="1258" y="2808"/>
                  </a:lnTo>
                  <a:lnTo>
                    <a:pt x="1254" y="2806"/>
                  </a:lnTo>
                  <a:close/>
                  <a:moveTo>
                    <a:pt x="1410" y="2874"/>
                  </a:moveTo>
                  <a:lnTo>
                    <a:pt x="1410" y="2874"/>
                  </a:lnTo>
                  <a:lnTo>
                    <a:pt x="1412" y="2870"/>
                  </a:lnTo>
                  <a:lnTo>
                    <a:pt x="1410" y="2868"/>
                  </a:lnTo>
                  <a:lnTo>
                    <a:pt x="1408" y="2868"/>
                  </a:lnTo>
                  <a:lnTo>
                    <a:pt x="1402" y="2870"/>
                  </a:lnTo>
                  <a:lnTo>
                    <a:pt x="1402" y="2872"/>
                  </a:lnTo>
                  <a:lnTo>
                    <a:pt x="1400" y="2874"/>
                  </a:lnTo>
                  <a:lnTo>
                    <a:pt x="1402" y="2876"/>
                  </a:lnTo>
                  <a:lnTo>
                    <a:pt x="1406" y="2876"/>
                  </a:lnTo>
                  <a:lnTo>
                    <a:pt x="1410" y="2874"/>
                  </a:lnTo>
                  <a:close/>
                  <a:moveTo>
                    <a:pt x="1214" y="2706"/>
                  </a:moveTo>
                  <a:lnTo>
                    <a:pt x="1214" y="2706"/>
                  </a:lnTo>
                  <a:lnTo>
                    <a:pt x="1214" y="2712"/>
                  </a:lnTo>
                  <a:lnTo>
                    <a:pt x="1218" y="2718"/>
                  </a:lnTo>
                  <a:lnTo>
                    <a:pt x="1224" y="2722"/>
                  </a:lnTo>
                  <a:lnTo>
                    <a:pt x="1230" y="2726"/>
                  </a:lnTo>
                  <a:lnTo>
                    <a:pt x="1232" y="2726"/>
                  </a:lnTo>
                  <a:lnTo>
                    <a:pt x="1230" y="2724"/>
                  </a:lnTo>
                  <a:lnTo>
                    <a:pt x="1228" y="2720"/>
                  </a:lnTo>
                  <a:lnTo>
                    <a:pt x="1224" y="2714"/>
                  </a:lnTo>
                  <a:lnTo>
                    <a:pt x="1222" y="2708"/>
                  </a:lnTo>
                  <a:lnTo>
                    <a:pt x="1222" y="2704"/>
                  </a:lnTo>
                  <a:lnTo>
                    <a:pt x="1218" y="2702"/>
                  </a:lnTo>
                  <a:lnTo>
                    <a:pt x="1216" y="2702"/>
                  </a:lnTo>
                  <a:lnTo>
                    <a:pt x="1214" y="2706"/>
                  </a:lnTo>
                  <a:close/>
                  <a:moveTo>
                    <a:pt x="1468" y="2954"/>
                  </a:moveTo>
                  <a:lnTo>
                    <a:pt x="1468" y="2954"/>
                  </a:lnTo>
                  <a:lnTo>
                    <a:pt x="1464" y="2956"/>
                  </a:lnTo>
                  <a:lnTo>
                    <a:pt x="1462" y="2956"/>
                  </a:lnTo>
                  <a:lnTo>
                    <a:pt x="1460" y="2952"/>
                  </a:lnTo>
                  <a:lnTo>
                    <a:pt x="1460" y="2948"/>
                  </a:lnTo>
                  <a:lnTo>
                    <a:pt x="1456" y="2946"/>
                  </a:lnTo>
                  <a:lnTo>
                    <a:pt x="1452" y="2946"/>
                  </a:lnTo>
                  <a:lnTo>
                    <a:pt x="1446" y="2948"/>
                  </a:lnTo>
                  <a:lnTo>
                    <a:pt x="1442" y="2946"/>
                  </a:lnTo>
                  <a:lnTo>
                    <a:pt x="1434" y="2944"/>
                  </a:lnTo>
                  <a:lnTo>
                    <a:pt x="1424" y="2942"/>
                  </a:lnTo>
                  <a:lnTo>
                    <a:pt x="1418" y="2942"/>
                  </a:lnTo>
                  <a:lnTo>
                    <a:pt x="1410" y="2944"/>
                  </a:lnTo>
                  <a:lnTo>
                    <a:pt x="1406" y="2944"/>
                  </a:lnTo>
                  <a:lnTo>
                    <a:pt x="1402" y="2942"/>
                  </a:lnTo>
                  <a:lnTo>
                    <a:pt x="1398" y="2938"/>
                  </a:lnTo>
                  <a:lnTo>
                    <a:pt x="1396" y="2934"/>
                  </a:lnTo>
                  <a:lnTo>
                    <a:pt x="1394" y="2932"/>
                  </a:lnTo>
                  <a:lnTo>
                    <a:pt x="1392" y="2934"/>
                  </a:lnTo>
                  <a:lnTo>
                    <a:pt x="1390" y="2934"/>
                  </a:lnTo>
                  <a:lnTo>
                    <a:pt x="1386" y="2934"/>
                  </a:lnTo>
                  <a:lnTo>
                    <a:pt x="1382" y="2932"/>
                  </a:lnTo>
                  <a:lnTo>
                    <a:pt x="1380" y="2928"/>
                  </a:lnTo>
                  <a:lnTo>
                    <a:pt x="1378" y="2928"/>
                  </a:lnTo>
                  <a:lnTo>
                    <a:pt x="1378" y="2930"/>
                  </a:lnTo>
                  <a:lnTo>
                    <a:pt x="1376" y="2934"/>
                  </a:lnTo>
                  <a:lnTo>
                    <a:pt x="1374" y="2936"/>
                  </a:lnTo>
                  <a:lnTo>
                    <a:pt x="1372" y="2938"/>
                  </a:lnTo>
                  <a:lnTo>
                    <a:pt x="1372" y="2946"/>
                  </a:lnTo>
                  <a:lnTo>
                    <a:pt x="1372" y="2950"/>
                  </a:lnTo>
                  <a:lnTo>
                    <a:pt x="1376" y="2952"/>
                  </a:lnTo>
                  <a:lnTo>
                    <a:pt x="1388" y="2952"/>
                  </a:lnTo>
                  <a:lnTo>
                    <a:pt x="1402" y="2954"/>
                  </a:lnTo>
                  <a:lnTo>
                    <a:pt x="1410" y="2958"/>
                  </a:lnTo>
                  <a:lnTo>
                    <a:pt x="1418" y="2962"/>
                  </a:lnTo>
                  <a:lnTo>
                    <a:pt x="1422" y="2964"/>
                  </a:lnTo>
                  <a:lnTo>
                    <a:pt x="1428" y="2966"/>
                  </a:lnTo>
                  <a:lnTo>
                    <a:pt x="1440" y="2966"/>
                  </a:lnTo>
                  <a:lnTo>
                    <a:pt x="1452" y="2964"/>
                  </a:lnTo>
                  <a:lnTo>
                    <a:pt x="1468" y="2964"/>
                  </a:lnTo>
                  <a:lnTo>
                    <a:pt x="1476" y="2962"/>
                  </a:lnTo>
                  <a:lnTo>
                    <a:pt x="1480" y="2960"/>
                  </a:lnTo>
                  <a:lnTo>
                    <a:pt x="1482" y="2958"/>
                  </a:lnTo>
                  <a:lnTo>
                    <a:pt x="1484" y="2954"/>
                  </a:lnTo>
                  <a:lnTo>
                    <a:pt x="1482" y="2952"/>
                  </a:lnTo>
                  <a:lnTo>
                    <a:pt x="1478" y="2950"/>
                  </a:lnTo>
                  <a:lnTo>
                    <a:pt x="1474" y="2950"/>
                  </a:lnTo>
                  <a:lnTo>
                    <a:pt x="1468" y="2954"/>
                  </a:lnTo>
                  <a:close/>
                  <a:moveTo>
                    <a:pt x="1518" y="2942"/>
                  </a:moveTo>
                  <a:lnTo>
                    <a:pt x="1518" y="2942"/>
                  </a:lnTo>
                  <a:lnTo>
                    <a:pt x="1520" y="2940"/>
                  </a:lnTo>
                  <a:lnTo>
                    <a:pt x="1520" y="2938"/>
                  </a:lnTo>
                  <a:lnTo>
                    <a:pt x="1518" y="2926"/>
                  </a:lnTo>
                  <a:lnTo>
                    <a:pt x="1516" y="2924"/>
                  </a:lnTo>
                  <a:lnTo>
                    <a:pt x="1516" y="2926"/>
                  </a:lnTo>
                  <a:lnTo>
                    <a:pt x="1514" y="2932"/>
                  </a:lnTo>
                  <a:lnTo>
                    <a:pt x="1514" y="2938"/>
                  </a:lnTo>
                  <a:lnTo>
                    <a:pt x="1516" y="2940"/>
                  </a:lnTo>
                  <a:lnTo>
                    <a:pt x="1518" y="2942"/>
                  </a:lnTo>
                  <a:close/>
                  <a:moveTo>
                    <a:pt x="1252" y="2768"/>
                  </a:moveTo>
                  <a:lnTo>
                    <a:pt x="1252" y="2768"/>
                  </a:lnTo>
                  <a:lnTo>
                    <a:pt x="1254" y="2768"/>
                  </a:lnTo>
                  <a:lnTo>
                    <a:pt x="1256" y="2766"/>
                  </a:lnTo>
                  <a:lnTo>
                    <a:pt x="1256" y="2764"/>
                  </a:lnTo>
                  <a:lnTo>
                    <a:pt x="1254" y="2760"/>
                  </a:lnTo>
                  <a:lnTo>
                    <a:pt x="1254" y="2758"/>
                  </a:lnTo>
                  <a:lnTo>
                    <a:pt x="1252" y="2758"/>
                  </a:lnTo>
                  <a:lnTo>
                    <a:pt x="1250" y="2762"/>
                  </a:lnTo>
                  <a:lnTo>
                    <a:pt x="1248" y="2766"/>
                  </a:lnTo>
                  <a:lnTo>
                    <a:pt x="1250" y="2768"/>
                  </a:lnTo>
                  <a:lnTo>
                    <a:pt x="1252" y="2768"/>
                  </a:lnTo>
                  <a:close/>
                  <a:moveTo>
                    <a:pt x="1256" y="2790"/>
                  </a:moveTo>
                  <a:lnTo>
                    <a:pt x="1256" y="2790"/>
                  </a:lnTo>
                  <a:lnTo>
                    <a:pt x="1254" y="2786"/>
                  </a:lnTo>
                  <a:lnTo>
                    <a:pt x="1252" y="2782"/>
                  </a:lnTo>
                  <a:lnTo>
                    <a:pt x="1252" y="2780"/>
                  </a:lnTo>
                  <a:lnTo>
                    <a:pt x="1250" y="2780"/>
                  </a:lnTo>
                  <a:lnTo>
                    <a:pt x="1248" y="2782"/>
                  </a:lnTo>
                  <a:lnTo>
                    <a:pt x="1244" y="2782"/>
                  </a:lnTo>
                  <a:lnTo>
                    <a:pt x="1242" y="2784"/>
                  </a:lnTo>
                  <a:lnTo>
                    <a:pt x="1242" y="2790"/>
                  </a:lnTo>
                  <a:lnTo>
                    <a:pt x="1244" y="2794"/>
                  </a:lnTo>
                  <a:lnTo>
                    <a:pt x="1246" y="2794"/>
                  </a:lnTo>
                  <a:lnTo>
                    <a:pt x="1250" y="2794"/>
                  </a:lnTo>
                  <a:lnTo>
                    <a:pt x="1256" y="2796"/>
                  </a:lnTo>
                  <a:lnTo>
                    <a:pt x="1260" y="2798"/>
                  </a:lnTo>
                  <a:lnTo>
                    <a:pt x="1260" y="2794"/>
                  </a:lnTo>
                  <a:lnTo>
                    <a:pt x="1256" y="2790"/>
                  </a:lnTo>
                  <a:close/>
                  <a:moveTo>
                    <a:pt x="1348" y="2902"/>
                  </a:moveTo>
                  <a:lnTo>
                    <a:pt x="1348" y="2902"/>
                  </a:lnTo>
                  <a:lnTo>
                    <a:pt x="1352" y="2904"/>
                  </a:lnTo>
                  <a:lnTo>
                    <a:pt x="1352" y="2902"/>
                  </a:lnTo>
                  <a:lnTo>
                    <a:pt x="1352" y="2898"/>
                  </a:lnTo>
                  <a:lnTo>
                    <a:pt x="1350" y="2892"/>
                  </a:lnTo>
                  <a:lnTo>
                    <a:pt x="1346" y="2890"/>
                  </a:lnTo>
                  <a:lnTo>
                    <a:pt x="1344" y="2892"/>
                  </a:lnTo>
                  <a:lnTo>
                    <a:pt x="1346" y="2896"/>
                  </a:lnTo>
                  <a:lnTo>
                    <a:pt x="1348" y="2902"/>
                  </a:lnTo>
                  <a:close/>
                  <a:moveTo>
                    <a:pt x="1448" y="2860"/>
                  </a:moveTo>
                  <a:lnTo>
                    <a:pt x="1448" y="2860"/>
                  </a:lnTo>
                  <a:lnTo>
                    <a:pt x="1450" y="2860"/>
                  </a:lnTo>
                  <a:lnTo>
                    <a:pt x="1452" y="2860"/>
                  </a:lnTo>
                  <a:lnTo>
                    <a:pt x="1454" y="2854"/>
                  </a:lnTo>
                  <a:lnTo>
                    <a:pt x="1452" y="2848"/>
                  </a:lnTo>
                  <a:lnTo>
                    <a:pt x="1452" y="2846"/>
                  </a:lnTo>
                  <a:lnTo>
                    <a:pt x="1448" y="2846"/>
                  </a:lnTo>
                  <a:lnTo>
                    <a:pt x="1446" y="2850"/>
                  </a:lnTo>
                  <a:lnTo>
                    <a:pt x="1444" y="2852"/>
                  </a:lnTo>
                  <a:lnTo>
                    <a:pt x="1446" y="2856"/>
                  </a:lnTo>
                  <a:lnTo>
                    <a:pt x="1448" y="2860"/>
                  </a:lnTo>
                  <a:close/>
                  <a:moveTo>
                    <a:pt x="1440" y="2848"/>
                  </a:moveTo>
                  <a:lnTo>
                    <a:pt x="1440" y="2848"/>
                  </a:lnTo>
                  <a:lnTo>
                    <a:pt x="1438" y="2848"/>
                  </a:lnTo>
                  <a:lnTo>
                    <a:pt x="1434" y="2850"/>
                  </a:lnTo>
                  <a:lnTo>
                    <a:pt x="1434" y="2854"/>
                  </a:lnTo>
                  <a:lnTo>
                    <a:pt x="1436" y="2856"/>
                  </a:lnTo>
                  <a:lnTo>
                    <a:pt x="1438" y="2856"/>
                  </a:lnTo>
                  <a:lnTo>
                    <a:pt x="1440" y="2854"/>
                  </a:lnTo>
                  <a:lnTo>
                    <a:pt x="1440" y="2850"/>
                  </a:lnTo>
                  <a:lnTo>
                    <a:pt x="1440" y="2848"/>
                  </a:lnTo>
                  <a:close/>
                  <a:moveTo>
                    <a:pt x="2822" y="3608"/>
                  </a:moveTo>
                  <a:lnTo>
                    <a:pt x="2822" y="3608"/>
                  </a:lnTo>
                  <a:lnTo>
                    <a:pt x="2818" y="3606"/>
                  </a:lnTo>
                  <a:lnTo>
                    <a:pt x="2814" y="3598"/>
                  </a:lnTo>
                  <a:lnTo>
                    <a:pt x="2802" y="3578"/>
                  </a:lnTo>
                  <a:lnTo>
                    <a:pt x="2798" y="3570"/>
                  </a:lnTo>
                  <a:lnTo>
                    <a:pt x="2792" y="3562"/>
                  </a:lnTo>
                  <a:lnTo>
                    <a:pt x="2786" y="3558"/>
                  </a:lnTo>
                  <a:lnTo>
                    <a:pt x="2782" y="3556"/>
                  </a:lnTo>
                  <a:lnTo>
                    <a:pt x="2780" y="3558"/>
                  </a:lnTo>
                  <a:lnTo>
                    <a:pt x="2776" y="3558"/>
                  </a:lnTo>
                  <a:lnTo>
                    <a:pt x="2774" y="3558"/>
                  </a:lnTo>
                  <a:lnTo>
                    <a:pt x="2768" y="3554"/>
                  </a:lnTo>
                  <a:lnTo>
                    <a:pt x="2762" y="3550"/>
                  </a:lnTo>
                  <a:lnTo>
                    <a:pt x="2756" y="3548"/>
                  </a:lnTo>
                  <a:lnTo>
                    <a:pt x="2746" y="3546"/>
                  </a:lnTo>
                  <a:lnTo>
                    <a:pt x="2738" y="3544"/>
                  </a:lnTo>
                  <a:lnTo>
                    <a:pt x="2728" y="3540"/>
                  </a:lnTo>
                  <a:lnTo>
                    <a:pt x="2720" y="3532"/>
                  </a:lnTo>
                  <a:lnTo>
                    <a:pt x="2712" y="3524"/>
                  </a:lnTo>
                  <a:lnTo>
                    <a:pt x="2706" y="3516"/>
                  </a:lnTo>
                  <a:lnTo>
                    <a:pt x="2700" y="3506"/>
                  </a:lnTo>
                  <a:lnTo>
                    <a:pt x="2696" y="3496"/>
                  </a:lnTo>
                  <a:lnTo>
                    <a:pt x="2694" y="3488"/>
                  </a:lnTo>
                  <a:lnTo>
                    <a:pt x="2694" y="3464"/>
                  </a:lnTo>
                  <a:lnTo>
                    <a:pt x="2694" y="3458"/>
                  </a:lnTo>
                  <a:lnTo>
                    <a:pt x="2692" y="3454"/>
                  </a:lnTo>
                  <a:lnTo>
                    <a:pt x="2692" y="3448"/>
                  </a:lnTo>
                  <a:lnTo>
                    <a:pt x="2694" y="3442"/>
                  </a:lnTo>
                  <a:lnTo>
                    <a:pt x="2696" y="3438"/>
                  </a:lnTo>
                  <a:lnTo>
                    <a:pt x="2696" y="3434"/>
                  </a:lnTo>
                  <a:lnTo>
                    <a:pt x="2696" y="3430"/>
                  </a:lnTo>
                  <a:lnTo>
                    <a:pt x="2698" y="3422"/>
                  </a:lnTo>
                  <a:lnTo>
                    <a:pt x="2700" y="3418"/>
                  </a:lnTo>
                  <a:lnTo>
                    <a:pt x="2698" y="3416"/>
                  </a:lnTo>
                  <a:lnTo>
                    <a:pt x="2696" y="3414"/>
                  </a:lnTo>
                  <a:lnTo>
                    <a:pt x="2694" y="3416"/>
                  </a:lnTo>
                  <a:lnTo>
                    <a:pt x="2692" y="3416"/>
                  </a:lnTo>
                  <a:lnTo>
                    <a:pt x="2692" y="3420"/>
                  </a:lnTo>
                  <a:lnTo>
                    <a:pt x="2694" y="3424"/>
                  </a:lnTo>
                  <a:lnTo>
                    <a:pt x="2692" y="3424"/>
                  </a:lnTo>
                  <a:lnTo>
                    <a:pt x="2688" y="3422"/>
                  </a:lnTo>
                  <a:lnTo>
                    <a:pt x="2686" y="3422"/>
                  </a:lnTo>
                  <a:lnTo>
                    <a:pt x="2684" y="3432"/>
                  </a:lnTo>
                  <a:lnTo>
                    <a:pt x="2680" y="3444"/>
                  </a:lnTo>
                  <a:lnTo>
                    <a:pt x="2678" y="3444"/>
                  </a:lnTo>
                  <a:lnTo>
                    <a:pt x="2676" y="3444"/>
                  </a:lnTo>
                  <a:lnTo>
                    <a:pt x="2674" y="3444"/>
                  </a:lnTo>
                  <a:lnTo>
                    <a:pt x="2670" y="3452"/>
                  </a:lnTo>
                  <a:lnTo>
                    <a:pt x="2666" y="3458"/>
                  </a:lnTo>
                  <a:lnTo>
                    <a:pt x="2660" y="3462"/>
                  </a:lnTo>
                  <a:lnTo>
                    <a:pt x="2654" y="3468"/>
                  </a:lnTo>
                  <a:lnTo>
                    <a:pt x="2646" y="3476"/>
                  </a:lnTo>
                  <a:lnTo>
                    <a:pt x="2638" y="3488"/>
                  </a:lnTo>
                  <a:lnTo>
                    <a:pt x="2628" y="3496"/>
                  </a:lnTo>
                  <a:lnTo>
                    <a:pt x="2614" y="3508"/>
                  </a:lnTo>
                  <a:lnTo>
                    <a:pt x="2616" y="3510"/>
                  </a:lnTo>
                  <a:lnTo>
                    <a:pt x="2618" y="3512"/>
                  </a:lnTo>
                  <a:lnTo>
                    <a:pt x="2618" y="3516"/>
                  </a:lnTo>
                  <a:lnTo>
                    <a:pt x="2614" y="3524"/>
                  </a:lnTo>
                  <a:lnTo>
                    <a:pt x="2606" y="3530"/>
                  </a:lnTo>
                  <a:lnTo>
                    <a:pt x="2598" y="3532"/>
                  </a:lnTo>
                  <a:lnTo>
                    <a:pt x="2588" y="3534"/>
                  </a:lnTo>
                  <a:lnTo>
                    <a:pt x="2578" y="3532"/>
                  </a:lnTo>
                  <a:lnTo>
                    <a:pt x="2558" y="3528"/>
                  </a:lnTo>
                  <a:lnTo>
                    <a:pt x="2546" y="3528"/>
                  </a:lnTo>
                  <a:lnTo>
                    <a:pt x="2538" y="3532"/>
                  </a:lnTo>
                  <a:lnTo>
                    <a:pt x="2522" y="3538"/>
                  </a:lnTo>
                  <a:lnTo>
                    <a:pt x="2514" y="3538"/>
                  </a:lnTo>
                  <a:lnTo>
                    <a:pt x="2512" y="3538"/>
                  </a:lnTo>
                  <a:lnTo>
                    <a:pt x="2510" y="3536"/>
                  </a:lnTo>
                  <a:lnTo>
                    <a:pt x="2510" y="3528"/>
                  </a:lnTo>
                  <a:lnTo>
                    <a:pt x="2510" y="3522"/>
                  </a:lnTo>
                  <a:lnTo>
                    <a:pt x="2506" y="3522"/>
                  </a:lnTo>
                  <a:lnTo>
                    <a:pt x="2502" y="3522"/>
                  </a:lnTo>
                  <a:lnTo>
                    <a:pt x="2496" y="3522"/>
                  </a:lnTo>
                  <a:lnTo>
                    <a:pt x="2492" y="3520"/>
                  </a:lnTo>
                  <a:lnTo>
                    <a:pt x="2490" y="3518"/>
                  </a:lnTo>
                  <a:lnTo>
                    <a:pt x="2492" y="3514"/>
                  </a:lnTo>
                  <a:lnTo>
                    <a:pt x="2496" y="3510"/>
                  </a:lnTo>
                  <a:lnTo>
                    <a:pt x="2496" y="3506"/>
                  </a:lnTo>
                  <a:lnTo>
                    <a:pt x="2492" y="3508"/>
                  </a:lnTo>
                  <a:lnTo>
                    <a:pt x="2490" y="3508"/>
                  </a:lnTo>
                  <a:lnTo>
                    <a:pt x="2488" y="3508"/>
                  </a:lnTo>
                  <a:lnTo>
                    <a:pt x="2486" y="3506"/>
                  </a:lnTo>
                  <a:lnTo>
                    <a:pt x="2488" y="3504"/>
                  </a:lnTo>
                  <a:lnTo>
                    <a:pt x="2490" y="3504"/>
                  </a:lnTo>
                  <a:lnTo>
                    <a:pt x="2494" y="3504"/>
                  </a:lnTo>
                  <a:lnTo>
                    <a:pt x="2496" y="3502"/>
                  </a:lnTo>
                  <a:lnTo>
                    <a:pt x="2498" y="3496"/>
                  </a:lnTo>
                  <a:lnTo>
                    <a:pt x="2502" y="3480"/>
                  </a:lnTo>
                  <a:lnTo>
                    <a:pt x="2502" y="3474"/>
                  </a:lnTo>
                  <a:lnTo>
                    <a:pt x="2500" y="3468"/>
                  </a:lnTo>
                  <a:lnTo>
                    <a:pt x="2496" y="3462"/>
                  </a:lnTo>
                  <a:lnTo>
                    <a:pt x="2496" y="3458"/>
                  </a:lnTo>
                  <a:lnTo>
                    <a:pt x="2498" y="3454"/>
                  </a:lnTo>
                  <a:lnTo>
                    <a:pt x="2500" y="3448"/>
                  </a:lnTo>
                  <a:lnTo>
                    <a:pt x="2498" y="3440"/>
                  </a:lnTo>
                  <a:lnTo>
                    <a:pt x="2494" y="3434"/>
                  </a:lnTo>
                  <a:lnTo>
                    <a:pt x="2490" y="3428"/>
                  </a:lnTo>
                  <a:lnTo>
                    <a:pt x="2486" y="3426"/>
                  </a:lnTo>
                  <a:lnTo>
                    <a:pt x="2484" y="3426"/>
                  </a:lnTo>
                  <a:lnTo>
                    <a:pt x="2480" y="3430"/>
                  </a:lnTo>
                  <a:lnTo>
                    <a:pt x="2476" y="3444"/>
                  </a:lnTo>
                  <a:lnTo>
                    <a:pt x="2470" y="3456"/>
                  </a:lnTo>
                  <a:lnTo>
                    <a:pt x="2470" y="3466"/>
                  </a:lnTo>
                  <a:lnTo>
                    <a:pt x="2468" y="3498"/>
                  </a:lnTo>
                  <a:lnTo>
                    <a:pt x="2464" y="3486"/>
                  </a:lnTo>
                  <a:lnTo>
                    <a:pt x="2460" y="3478"/>
                  </a:lnTo>
                  <a:lnTo>
                    <a:pt x="2458" y="3468"/>
                  </a:lnTo>
                  <a:lnTo>
                    <a:pt x="2452" y="3462"/>
                  </a:lnTo>
                  <a:lnTo>
                    <a:pt x="2448" y="3456"/>
                  </a:lnTo>
                  <a:lnTo>
                    <a:pt x="2448" y="3454"/>
                  </a:lnTo>
                  <a:lnTo>
                    <a:pt x="2448" y="3450"/>
                  </a:lnTo>
                  <a:lnTo>
                    <a:pt x="2444" y="3444"/>
                  </a:lnTo>
                  <a:lnTo>
                    <a:pt x="2442" y="3438"/>
                  </a:lnTo>
                  <a:lnTo>
                    <a:pt x="2442" y="3434"/>
                  </a:lnTo>
                  <a:lnTo>
                    <a:pt x="2442" y="3428"/>
                  </a:lnTo>
                  <a:lnTo>
                    <a:pt x="2444" y="3420"/>
                  </a:lnTo>
                  <a:lnTo>
                    <a:pt x="2442" y="3414"/>
                  </a:lnTo>
                  <a:lnTo>
                    <a:pt x="2440" y="3408"/>
                  </a:lnTo>
                  <a:lnTo>
                    <a:pt x="2438" y="3402"/>
                  </a:lnTo>
                  <a:lnTo>
                    <a:pt x="2438" y="3400"/>
                  </a:lnTo>
                  <a:lnTo>
                    <a:pt x="2442" y="3400"/>
                  </a:lnTo>
                  <a:lnTo>
                    <a:pt x="2444" y="3404"/>
                  </a:lnTo>
                  <a:lnTo>
                    <a:pt x="2448" y="3404"/>
                  </a:lnTo>
                  <a:lnTo>
                    <a:pt x="2448" y="3406"/>
                  </a:lnTo>
                  <a:lnTo>
                    <a:pt x="2446" y="3408"/>
                  </a:lnTo>
                  <a:lnTo>
                    <a:pt x="2444" y="3410"/>
                  </a:lnTo>
                  <a:lnTo>
                    <a:pt x="2448" y="3410"/>
                  </a:lnTo>
                  <a:lnTo>
                    <a:pt x="2450" y="3412"/>
                  </a:lnTo>
                  <a:lnTo>
                    <a:pt x="2448" y="3414"/>
                  </a:lnTo>
                  <a:lnTo>
                    <a:pt x="2450" y="3416"/>
                  </a:lnTo>
                  <a:lnTo>
                    <a:pt x="2454" y="3420"/>
                  </a:lnTo>
                  <a:lnTo>
                    <a:pt x="2456" y="3422"/>
                  </a:lnTo>
                  <a:lnTo>
                    <a:pt x="2458" y="3422"/>
                  </a:lnTo>
                  <a:lnTo>
                    <a:pt x="2460" y="3422"/>
                  </a:lnTo>
                  <a:lnTo>
                    <a:pt x="2460" y="3420"/>
                  </a:lnTo>
                  <a:lnTo>
                    <a:pt x="2460" y="3418"/>
                  </a:lnTo>
                  <a:lnTo>
                    <a:pt x="2462" y="3416"/>
                  </a:lnTo>
                  <a:lnTo>
                    <a:pt x="2464" y="3412"/>
                  </a:lnTo>
                  <a:lnTo>
                    <a:pt x="2466" y="3406"/>
                  </a:lnTo>
                  <a:lnTo>
                    <a:pt x="2466" y="3402"/>
                  </a:lnTo>
                  <a:lnTo>
                    <a:pt x="2468" y="3400"/>
                  </a:lnTo>
                  <a:lnTo>
                    <a:pt x="2468" y="3402"/>
                  </a:lnTo>
                  <a:lnTo>
                    <a:pt x="2474" y="3404"/>
                  </a:lnTo>
                  <a:lnTo>
                    <a:pt x="2476" y="3404"/>
                  </a:lnTo>
                  <a:lnTo>
                    <a:pt x="2476" y="3402"/>
                  </a:lnTo>
                  <a:lnTo>
                    <a:pt x="2478" y="3402"/>
                  </a:lnTo>
                  <a:lnTo>
                    <a:pt x="2480" y="3400"/>
                  </a:lnTo>
                  <a:lnTo>
                    <a:pt x="2480" y="3398"/>
                  </a:lnTo>
                  <a:lnTo>
                    <a:pt x="2482" y="3396"/>
                  </a:lnTo>
                  <a:lnTo>
                    <a:pt x="2482" y="3394"/>
                  </a:lnTo>
                  <a:lnTo>
                    <a:pt x="2482" y="3392"/>
                  </a:lnTo>
                  <a:lnTo>
                    <a:pt x="2482" y="3388"/>
                  </a:lnTo>
                  <a:lnTo>
                    <a:pt x="2480" y="3386"/>
                  </a:lnTo>
                  <a:lnTo>
                    <a:pt x="2482" y="3384"/>
                  </a:lnTo>
                  <a:lnTo>
                    <a:pt x="2480" y="3384"/>
                  </a:lnTo>
                  <a:lnTo>
                    <a:pt x="2478" y="3384"/>
                  </a:lnTo>
                  <a:lnTo>
                    <a:pt x="2478" y="3386"/>
                  </a:lnTo>
                  <a:lnTo>
                    <a:pt x="2476" y="3388"/>
                  </a:lnTo>
                  <a:lnTo>
                    <a:pt x="2472" y="3388"/>
                  </a:lnTo>
                  <a:lnTo>
                    <a:pt x="2470" y="3388"/>
                  </a:lnTo>
                  <a:lnTo>
                    <a:pt x="2468" y="3382"/>
                  </a:lnTo>
                  <a:lnTo>
                    <a:pt x="2466" y="3378"/>
                  </a:lnTo>
                  <a:lnTo>
                    <a:pt x="2468" y="3374"/>
                  </a:lnTo>
                  <a:lnTo>
                    <a:pt x="2468" y="3372"/>
                  </a:lnTo>
                  <a:lnTo>
                    <a:pt x="2466" y="3370"/>
                  </a:lnTo>
                  <a:lnTo>
                    <a:pt x="2464" y="3370"/>
                  </a:lnTo>
                  <a:lnTo>
                    <a:pt x="2464" y="3374"/>
                  </a:lnTo>
                  <a:lnTo>
                    <a:pt x="2462" y="3378"/>
                  </a:lnTo>
                  <a:lnTo>
                    <a:pt x="2462" y="3380"/>
                  </a:lnTo>
                  <a:lnTo>
                    <a:pt x="2460" y="3380"/>
                  </a:lnTo>
                  <a:lnTo>
                    <a:pt x="2456" y="3380"/>
                  </a:lnTo>
                  <a:lnTo>
                    <a:pt x="2452" y="3382"/>
                  </a:lnTo>
                  <a:lnTo>
                    <a:pt x="2450" y="3384"/>
                  </a:lnTo>
                  <a:lnTo>
                    <a:pt x="2446" y="3384"/>
                  </a:lnTo>
                  <a:lnTo>
                    <a:pt x="2444" y="3384"/>
                  </a:lnTo>
                  <a:lnTo>
                    <a:pt x="2444" y="3388"/>
                  </a:lnTo>
                  <a:lnTo>
                    <a:pt x="2442" y="3394"/>
                  </a:lnTo>
                  <a:lnTo>
                    <a:pt x="2434" y="3388"/>
                  </a:lnTo>
                  <a:lnTo>
                    <a:pt x="2422" y="3378"/>
                  </a:lnTo>
                  <a:lnTo>
                    <a:pt x="2414" y="3368"/>
                  </a:lnTo>
                  <a:lnTo>
                    <a:pt x="2410" y="3364"/>
                  </a:lnTo>
                  <a:lnTo>
                    <a:pt x="2410" y="3358"/>
                  </a:lnTo>
                  <a:lnTo>
                    <a:pt x="2410" y="3354"/>
                  </a:lnTo>
                  <a:lnTo>
                    <a:pt x="2408" y="3352"/>
                  </a:lnTo>
                  <a:lnTo>
                    <a:pt x="2402" y="3350"/>
                  </a:lnTo>
                  <a:lnTo>
                    <a:pt x="2394" y="3350"/>
                  </a:lnTo>
                  <a:lnTo>
                    <a:pt x="2392" y="3348"/>
                  </a:lnTo>
                  <a:lnTo>
                    <a:pt x="2392" y="3344"/>
                  </a:lnTo>
                  <a:lnTo>
                    <a:pt x="2390" y="3338"/>
                  </a:lnTo>
                  <a:lnTo>
                    <a:pt x="2386" y="3330"/>
                  </a:lnTo>
                  <a:lnTo>
                    <a:pt x="2382" y="3320"/>
                  </a:lnTo>
                  <a:lnTo>
                    <a:pt x="2376" y="3302"/>
                  </a:lnTo>
                  <a:lnTo>
                    <a:pt x="2370" y="3290"/>
                  </a:lnTo>
                  <a:lnTo>
                    <a:pt x="2366" y="3284"/>
                  </a:lnTo>
                  <a:lnTo>
                    <a:pt x="2364" y="3280"/>
                  </a:lnTo>
                  <a:lnTo>
                    <a:pt x="2362" y="3270"/>
                  </a:lnTo>
                  <a:lnTo>
                    <a:pt x="2360" y="3266"/>
                  </a:lnTo>
                  <a:lnTo>
                    <a:pt x="2358" y="3264"/>
                  </a:lnTo>
                  <a:lnTo>
                    <a:pt x="2352" y="3262"/>
                  </a:lnTo>
                  <a:lnTo>
                    <a:pt x="2346" y="3260"/>
                  </a:lnTo>
                  <a:lnTo>
                    <a:pt x="2346" y="3258"/>
                  </a:lnTo>
                  <a:lnTo>
                    <a:pt x="2346" y="3254"/>
                  </a:lnTo>
                  <a:lnTo>
                    <a:pt x="2350" y="3250"/>
                  </a:lnTo>
                  <a:lnTo>
                    <a:pt x="2354" y="3248"/>
                  </a:lnTo>
                  <a:lnTo>
                    <a:pt x="2360" y="3250"/>
                  </a:lnTo>
                  <a:lnTo>
                    <a:pt x="2362" y="3248"/>
                  </a:lnTo>
                  <a:lnTo>
                    <a:pt x="2362" y="3246"/>
                  </a:lnTo>
                  <a:lnTo>
                    <a:pt x="2354" y="3228"/>
                  </a:lnTo>
                  <a:lnTo>
                    <a:pt x="2354" y="3224"/>
                  </a:lnTo>
                  <a:lnTo>
                    <a:pt x="2356" y="3224"/>
                  </a:lnTo>
                  <a:lnTo>
                    <a:pt x="2364" y="3226"/>
                  </a:lnTo>
                  <a:lnTo>
                    <a:pt x="2372" y="3230"/>
                  </a:lnTo>
                  <a:lnTo>
                    <a:pt x="2376" y="3232"/>
                  </a:lnTo>
                  <a:lnTo>
                    <a:pt x="2378" y="3230"/>
                  </a:lnTo>
                  <a:lnTo>
                    <a:pt x="2384" y="3226"/>
                  </a:lnTo>
                  <a:lnTo>
                    <a:pt x="2390" y="3226"/>
                  </a:lnTo>
                  <a:lnTo>
                    <a:pt x="2392" y="3224"/>
                  </a:lnTo>
                  <a:lnTo>
                    <a:pt x="2394" y="3216"/>
                  </a:lnTo>
                  <a:lnTo>
                    <a:pt x="2396" y="3212"/>
                  </a:lnTo>
                  <a:lnTo>
                    <a:pt x="2398" y="3212"/>
                  </a:lnTo>
                  <a:lnTo>
                    <a:pt x="2406" y="3218"/>
                  </a:lnTo>
                  <a:lnTo>
                    <a:pt x="2412" y="3222"/>
                  </a:lnTo>
                  <a:lnTo>
                    <a:pt x="2416" y="3224"/>
                  </a:lnTo>
                  <a:lnTo>
                    <a:pt x="2424" y="3224"/>
                  </a:lnTo>
                  <a:lnTo>
                    <a:pt x="2430" y="3222"/>
                  </a:lnTo>
                  <a:lnTo>
                    <a:pt x="2436" y="3218"/>
                  </a:lnTo>
                  <a:lnTo>
                    <a:pt x="2438" y="3218"/>
                  </a:lnTo>
                  <a:lnTo>
                    <a:pt x="2440" y="3220"/>
                  </a:lnTo>
                  <a:lnTo>
                    <a:pt x="2442" y="3222"/>
                  </a:lnTo>
                  <a:lnTo>
                    <a:pt x="2444" y="3232"/>
                  </a:lnTo>
                  <a:lnTo>
                    <a:pt x="2448" y="3238"/>
                  </a:lnTo>
                  <a:lnTo>
                    <a:pt x="2452" y="3244"/>
                  </a:lnTo>
                  <a:lnTo>
                    <a:pt x="2452" y="3220"/>
                  </a:lnTo>
                  <a:lnTo>
                    <a:pt x="2414" y="3146"/>
                  </a:lnTo>
                  <a:lnTo>
                    <a:pt x="2378" y="3050"/>
                  </a:lnTo>
                  <a:lnTo>
                    <a:pt x="2372" y="3006"/>
                  </a:lnTo>
                  <a:lnTo>
                    <a:pt x="2378" y="2910"/>
                  </a:lnTo>
                  <a:lnTo>
                    <a:pt x="2378" y="2868"/>
                  </a:lnTo>
                  <a:lnTo>
                    <a:pt x="2392" y="2778"/>
                  </a:lnTo>
                  <a:lnTo>
                    <a:pt x="2386" y="2780"/>
                  </a:lnTo>
                  <a:lnTo>
                    <a:pt x="2382" y="2780"/>
                  </a:lnTo>
                  <a:lnTo>
                    <a:pt x="2380" y="2778"/>
                  </a:lnTo>
                  <a:lnTo>
                    <a:pt x="2380" y="2776"/>
                  </a:lnTo>
                  <a:lnTo>
                    <a:pt x="2378" y="2770"/>
                  </a:lnTo>
                  <a:lnTo>
                    <a:pt x="2376" y="2768"/>
                  </a:lnTo>
                  <a:lnTo>
                    <a:pt x="2374" y="2768"/>
                  </a:lnTo>
                  <a:lnTo>
                    <a:pt x="2376" y="2768"/>
                  </a:lnTo>
                  <a:lnTo>
                    <a:pt x="2378" y="2770"/>
                  </a:lnTo>
                  <a:lnTo>
                    <a:pt x="2380" y="2776"/>
                  </a:lnTo>
                  <a:lnTo>
                    <a:pt x="2380" y="2778"/>
                  </a:lnTo>
                  <a:lnTo>
                    <a:pt x="2382" y="2780"/>
                  </a:lnTo>
                  <a:lnTo>
                    <a:pt x="2386" y="2780"/>
                  </a:lnTo>
                  <a:lnTo>
                    <a:pt x="2392" y="2778"/>
                  </a:lnTo>
                  <a:lnTo>
                    <a:pt x="2390" y="2764"/>
                  </a:lnTo>
                  <a:lnTo>
                    <a:pt x="2394" y="2746"/>
                  </a:lnTo>
                  <a:lnTo>
                    <a:pt x="2390" y="2726"/>
                  </a:lnTo>
                  <a:lnTo>
                    <a:pt x="2386" y="2674"/>
                  </a:lnTo>
                  <a:lnTo>
                    <a:pt x="2384" y="2658"/>
                  </a:lnTo>
                  <a:lnTo>
                    <a:pt x="2386" y="2626"/>
                  </a:lnTo>
                  <a:lnTo>
                    <a:pt x="2360" y="2586"/>
                  </a:lnTo>
                  <a:lnTo>
                    <a:pt x="2336" y="2534"/>
                  </a:lnTo>
                  <a:lnTo>
                    <a:pt x="2284" y="2470"/>
                  </a:lnTo>
                  <a:lnTo>
                    <a:pt x="2274" y="2434"/>
                  </a:lnTo>
                  <a:lnTo>
                    <a:pt x="2302" y="2390"/>
                  </a:lnTo>
                  <a:lnTo>
                    <a:pt x="2334" y="2368"/>
                  </a:lnTo>
                  <a:lnTo>
                    <a:pt x="2352" y="2336"/>
                  </a:lnTo>
                  <a:lnTo>
                    <a:pt x="2346" y="2304"/>
                  </a:lnTo>
                  <a:lnTo>
                    <a:pt x="2318" y="2270"/>
                  </a:lnTo>
                  <a:lnTo>
                    <a:pt x="2280" y="2246"/>
                  </a:lnTo>
                  <a:lnTo>
                    <a:pt x="2264" y="2186"/>
                  </a:lnTo>
                  <a:lnTo>
                    <a:pt x="2274" y="2140"/>
                  </a:lnTo>
                  <a:lnTo>
                    <a:pt x="2288" y="2090"/>
                  </a:lnTo>
                  <a:lnTo>
                    <a:pt x="2290" y="2086"/>
                  </a:lnTo>
                  <a:lnTo>
                    <a:pt x="2296" y="2086"/>
                  </a:lnTo>
                  <a:lnTo>
                    <a:pt x="2308" y="2088"/>
                  </a:lnTo>
                  <a:lnTo>
                    <a:pt x="2328" y="2096"/>
                  </a:lnTo>
                  <a:lnTo>
                    <a:pt x="2370" y="2082"/>
                  </a:lnTo>
                  <a:lnTo>
                    <a:pt x="2376" y="2058"/>
                  </a:lnTo>
                  <a:lnTo>
                    <a:pt x="2440" y="2024"/>
                  </a:lnTo>
                  <a:lnTo>
                    <a:pt x="2384" y="1780"/>
                  </a:lnTo>
                  <a:lnTo>
                    <a:pt x="2264" y="1588"/>
                  </a:lnTo>
                  <a:lnTo>
                    <a:pt x="2204" y="1444"/>
                  </a:lnTo>
                  <a:lnTo>
                    <a:pt x="2204" y="1264"/>
                  </a:lnTo>
                  <a:lnTo>
                    <a:pt x="2212" y="1228"/>
                  </a:lnTo>
                  <a:lnTo>
                    <a:pt x="2224" y="1194"/>
                  </a:lnTo>
                  <a:lnTo>
                    <a:pt x="2232" y="1174"/>
                  </a:lnTo>
                  <a:lnTo>
                    <a:pt x="2240" y="1156"/>
                  </a:lnTo>
                  <a:lnTo>
                    <a:pt x="2248" y="1138"/>
                  </a:lnTo>
                  <a:lnTo>
                    <a:pt x="2258" y="1112"/>
                  </a:lnTo>
                  <a:lnTo>
                    <a:pt x="2282" y="1046"/>
                  </a:lnTo>
                  <a:lnTo>
                    <a:pt x="2276" y="1048"/>
                  </a:lnTo>
                  <a:lnTo>
                    <a:pt x="2274" y="1046"/>
                  </a:lnTo>
                  <a:lnTo>
                    <a:pt x="2270" y="1038"/>
                  </a:lnTo>
                  <a:lnTo>
                    <a:pt x="2266" y="1032"/>
                  </a:lnTo>
                  <a:lnTo>
                    <a:pt x="2262" y="1026"/>
                  </a:lnTo>
                  <a:lnTo>
                    <a:pt x="2256" y="1018"/>
                  </a:lnTo>
                  <a:lnTo>
                    <a:pt x="2246" y="1014"/>
                  </a:lnTo>
                  <a:lnTo>
                    <a:pt x="2236" y="1006"/>
                  </a:lnTo>
                  <a:lnTo>
                    <a:pt x="2234" y="1004"/>
                  </a:lnTo>
                  <a:lnTo>
                    <a:pt x="2232" y="1000"/>
                  </a:lnTo>
                  <a:lnTo>
                    <a:pt x="2234" y="998"/>
                  </a:lnTo>
                  <a:lnTo>
                    <a:pt x="2234" y="994"/>
                  </a:lnTo>
                  <a:lnTo>
                    <a:pt x="2242" y="988"/>
                  </a:lnTo>
                  <a:lnTo>
                    <a:pt x="2250" y="982"/>
                  </a:lnTo>
                  <a:lnTo>
                    <a:pt x="2262" y="978"/>
                  </a:lnTo>
                  <a:lnTo>
                    <a:pt x="2274" y="974"/>
                  </a:lnTo>
                  <a:lnTo>
                    <a:pt x="2286" y="974"/>
                  </a:lnTo>
                  <a:lnTo>
                    <a:pt x="2292" y="974"/>
                  </a:lnTo>
                  <a:lnTo>
                    <a:pt x="2296" y="972"/>
                  </a:lnTo>
                  <a:lnTo>
                    <a:pt x="2298" y="968"/>
                  </a:lnTo>
                  <a:lnTo>
                    <a:pt x="2300" y="966"/>
                  </a:lnTo>
                  <a:lnTo>
                    <a:pt x="2298" y="956"/>
                  </a:lnTo>
                  <a:lnTo>
                    <a:pt x="2294" y="946"/>
                  </a:lnTo>
                  <a:lnTo>
                    <a:pt x="2284" y="936"/>
                  </a:lnTo>
                  <a:lnTo>
                    <a:pt x="2272" y="928"/>
                  </a:lnTo>
                  <a:lnTo>
                    <a:pt x="2258" y="922"/>
                  </a:lnTo>
                  <a:lnTo>
                    <a:pt x="2250" y="922"/>
                  </a:lnTo>
                  <a:lnTo>
                    <a:pt x="2242" y="920"/>
                  </a:lnTo>
                  <a:lnTo>
                    <a:pt x="2224" y="920"/>
                  </a:lnTo>
                  <a:lnTo>
                    <a:pt x="2208" y="918"/>
                  </a:lnTo>
                  <a:lnTo>
                    <a:pt x="2182" y="912"/>
                  </a:lnTo>
                  <a:lnTo>
                    <a:pt x="2174" y="912"/>
                  </a:lnTo>
                  <a:lnTo>
                    <a:pt x="2172" y="912"/>
                  </a:lnTo>
                  <a:lnTo>
                    <a:pt x="2172" y="914"/>
                  </a:lnTo>
                  <a:lnTo>
                    <a:pt x="2174" y="918"/>
                  </a:lnTo>
                  <a:lnTo>
                    <a:pt x="2186" y="928"/>
                  </a:lnTo>
                  <a:lnTo>
                    <a:pt x="2192" y="934"/>
                  </a:lnTo>
                  <a:lnTo>
                    <a:pt x="2196" y="942"/>
                  </a:lnTo>
                  <a:lnTo>
                    <a:pt x="2198" y="948"/>
                  </a:lnTo>
                  <a:lnTo>
                    <a:pt x="2200" y="954"/>
                  </a:lnTo>
                  <a:lnTo>
                    <a:pt x="2196" y="966"/>
                  </a:lnTo>
                  <a:lnTo>
                    <a:pt x="2192" y="978"/>
                  </a:lnTo>
                  <a:lnTo>
                    <a:pt x="2188" y="990"/>
                  </a:lnTo>
                  <a:lnTo>
                    <a:pt x="2186" y="1000"/>
                  </a:lnTo>
                  <a:lnTo>
                    <a:pt x="2186" y="1006"/>
                  </a:lnTo>
                  <a:lnTo>
                    <a:pt x="2188" y="1012"/>
                  </a:lnTo>
                  <a:lnTo>
                    <a:pt x="2194" y="1016"/>
                  </a:lnTo>
                  <a:lnTo>
                    <a:pt x="2200" y="1022"/>
                  </a:lnTo>
                  <a:lnTo>
                    <a:pt x="2212" y="1032"/>
                  </a:lnTo>
                  <a:lnTo>
                    <a:pt x="2216" y="1036"/>
                  </a:lnTo>
                  <a:lnTo>
                    <a:pt x="2218" y="1040"/>
                  </a:lnTo>
                  <a:lnTo>
                    <a:pt x="2216" y="1046"/>
                  </a:lnTo>
                  <a:lnTo>
                    <a:pt x="2214" y="1054"/>
                  </a:lnTo>
                  <a:lnTo>
                    <a:pt x="2208" y="1062"/>
                  </a:lnTo>
                  <a:lnTo>
                    <a:pt x="2204" y="1072"/>
                  </a:lnTo>
                  <a:lnTo>
                    <a:pt x="2200" y="1084"/>
                  </a:lnTo>
                  <a:lnTo>
                    <a:pt x="2202" y="1098"/>
                  </a:lnTo>
                  <a:lnTo>
                    <a:pt x="2202" y="1106"/>
                  </a:lnTo>
                  <a:lnTo>
                    <a:pt x="2200" y="1104"/>
                  </a:lnTo>
                  <a:lnTo>
                    <a:pt x="2192" y="1096"/>
                  </a:lnTo>
                  <a:lnTo>
                    <a:pt x="2180" y="1084"/>
                  </a:lnTo>
                  <a:lnTo>
                    <a:pt x="2166" y="1072"/>
                  </a:lnTo>
                  <a:lnTo>
                    <a:pt x="2156" y="1068"/>
                  </a:lnTo>
                  <a:lnTo>
                    <a:pt x="2148" y="1066"/>
                  </a:lnTo>
                  <a:lnTo>
                    <a:pt x="2136" y="1064"/>
                  </a:lnTo>
                  <a:lnTo>
                    <a:pt x="2126" y="1066"/>
                  </a:lnTo>
                  <a:lnTo>
                    <a:pt x="2114" y="1070"/>
                  </a:lnTo>
                  <a:lnTo>
                    <a:pt x="2102" y="1076"/>
                  </a:lnTo>
                  <a:lnTo>
                    <a:pt x="2078" y="1092"/>
                  </a:lnTo>
                  <a:lnTo>
                    <a:pt x="2056" y="1104"/>
                  </a:lnTo>
                  <a:lnTo>
                    <a:pt x="2040" y="1114"/>
                  </a:lnTo>
                  <a:lnTo>
                    <a:pt x="2028" y="1122"/>
                  </a:lnTo>
                  <a:lnTo>
                    <a:pt x="2022" y="1130"/>
                  </a:lnTo>
                  <a:lnTo>
                    <a:pt x="2020" y="1134"/>
                  </a:lnTo>
                  <a:lnTo>
                    <a:pt x="2022" y="1140"/>
                  </a:lnTo>
                  <a:lnTo>
                    <a:pt x="2026" y="1150"/>
                  </a:lnTo>
                  <a:lnTo>
                    <a:pt x="2040" y="1166"/>
                  </a:lnTo>
                  <a:lnTo>
                    <a:pt x="2052" y="1180"/>
                  </a:lnTo>
                  <a:lnTo>
                    <a:pt x="2054" y="1186"/>
                  </a:lnTo>
                  <a:lnTo>
                    <a:pt x="2054" y="1192"/>
                  </a:lnTo>
                  <a:lnTo>
                    <a:pt x="2054" y="1196"/>
                  </a:lnTo>
                  <a:lnTo>
                    <a:pt x="2050" y="1198"/>
                  </a:lnTo>
                  <a:lnTo>
                    <a:pt x="2046" y="1200"/>
                  </a:lnTo>
                  <a:lnTo>
                    <a:pt x="2040" y="1202"/>
                  </a:lnTo>
                  <a:lnTo>
                    <a:pt x="2026" y="1202"/>
                  </a:lnTo>
                  <a:lnTo>
                    <a:pt x="2006" y="1198"/>
                  </a:lnTo>
                  <a:lnTo>
                    <a:pt x="1984" y="1190"/>
                  </a:lnTo>
                  <a:lnTo>
                    <a:pt x="1958" y="1180"/>
                  </a:lnTo>
                  <a:lnTo>
                    <a:pt x="1934" y="1170"/>
                  </a:lnTo>
                  <a:lnTo>
                    <a:pt x="1916" y="1164"/>
                  </a:lnTo>
                  <a:lnTo>
                    <a:pt x="1900" y="1162"/>
                  </a:lnTo>
                  <a:lnTo>
                    <a:pt x="1892" y="1164"/>
                  </a:lnTo>
                  <a:lnTo>
                    <a:pt x="1888" y="1166"/>
                  </a:lnTo>
                  <a:lnTo>
                    <a:pt x="1886" y="1170"/>
                  </a:lnTo>
                  <a:lnTo>
                    <a:pt x="1886" y="1176"/>
                  </a:lnTo>
                  <a:lnTo>
                    <a:pt x="1892" y="1186"/>
                  </a:lnTo>
                  <a:lnTo>
                    <a:pt x="1900" y="1196"/>
                  </a:lnTo>
                  <a:lnTo>
                    <a:pt x="1912" y="1206"/>
                  </a:lnTo>
                  <a:lnTo>
                    <a:pt x="1924" y="1214"/>
                  </a:lnTo>
                  <a:lnTo>
                    <a:pt x="1946" y="1222"/>
                  </a:lnTo>
                  <a:lnTo>
                    <a:pt x="1954" y="1226"/>
                  </a:lnTo>
                  <a:lnTo>
                    <a:pt x="1956" y="1228"/>
                  </a:lnTo>
                  <a:lnTo>
                    <a:pt x="1956" y="1232"/>
                  </a:lnTo>
                  <a:lnTo>
                    <a:pt x="1952" y="1238"/>
                  </a:lnTo>
                  <a:lnTo>
                    <a:pt x="1940" y="1246"/>
                  </a:lnTo>
                  <a:lnTo>
                    <a:pt x="1926" y="1252"/>
                  </a:lnTo>
                  <a:lnTo>
                    <a:pt x="1920" y="1252"/>
                  </a:lnTo>
                  <a:lnTo>
                    <a:pt x="1916" y="1252"/>
                  </a:lnTo>
                  <a:lnTo>
                    <a:pt x="1908" y="1248"/>
                  </a:lnTo>
                  <a:lnTo>
                    <a:pt x="1902" y="1240"/>
                  </a:lnTo>
                  <a:lnTo>
                    <a:pt x="1894" y="1232"/>
                  </a:lnTo>
                  <a:lnTo>
                    <a:pt x="1886" y="1224"/>
                  </a:lnTo>
                  <a:lnTo>
                    <a:pt x="1874" y="1216"/>
                  </a:lnTo>
                  <a:lnTo>
                    <a:pt x="1868" y="1212"/>
                  </a:lnTo>
                  <a:lnTo>
                    <a:pt x="1858" y="1210"/>
                  </a:lnTo>
                  <a:lnTo>
                    <a:pt x="1844" y="1206"/>
                  </a:lnTo>
                  <a:lnTo>
                    <a:pt x="1836" y="1202"/>
                  </a:lnTo>
                  <a:lnTo>
                    <a:pt x="1832" y="1196"/>
                  </a:lnTo>
                  <a:lnTo>
                    <a:pt x="1832" y="1188"/>
                  </a:lnTo>
                  <a:lnTo>
                    <a:pt x="1832" y="1182"/>
                  </a:lnTo>
                  <a:lnTo>
                    <a:pt x="1830" y="1174"/>
                  </a:lnTo>
                  <a:lnTo>
                    <a:pt x="1826" y="1164"/>
                  </a:lnTo>
                  <a:lnTo>
                    <a:pt x="1818" y="1156"/>
                  </a:lnTo>
                  <a:lnTo>
                    <a:pt x="1814" y="1152"/>
                  </a:lnTo>
                  <a:lnTo>
                    <a:pt x="1812" y="1148"/>
                  </a:lnTo>
                  <a:lnTo>
                    <a:pt x="1812" y="1144"/>
                  </a:lnTo>
                  <a:lnTo>
                    <a:pt x="1812" y="1140"/>
                  </a:lnTo>
                  <a:lnTo>
                    <a:pt x="1816" y="1134"/>
                  </a:lnTo>
                  <a:lnTo>
                    <a:pt x="1822" y="1128"/>
                  </a:lnTo>
                  <a:lnTo>
                    <a:pt x="1826" y="1122"/>
                  </a:lnTo>
                  <a:lnTo>
                    <a:pt x="1830" y="1114"/>
                  </a:lnTo>
                  <a:lnTo>
                    <a:pt x="1828" y="1110"/>
                  </a:lnTo>
                  <a:lnTo>
                    <a:pt x="1826" y="1106"/>
                  </a:lnTo>
                  <a:lnTo>
                    <a:pt x="1822" y="1100"/>
                  </a:lnTo>
                  <a:lnTo>
                    <a:pt x="1816" y="1096"/>
                  </a:lnTo>
                  <a:lnTo>
                    <a:pt x="1800" y="1084"/>
                  </a:lnTo>
                  <a:lnTo>
                    <a:pt x="1784" y="1076"/>
                  </a:lnTo>
                  <a:lnTo>
                    <a:pt x="1758" y="1060"/>
                  </a:lnTo>
                  <a:lnTo>
                    <a:pt x="1746" y="1054"/>
                  </a:lnTo>
                  <a:lnTo>
                    <a:pt x="1738" y="1046"/>
                  </a:lnTo>
                  <a:lnTo>
                    <a:pt x="1730" y="1036"/>
                  </a:lnTo>
                  <a:lnTo>
                    <a:pt x="1726" y="1026"/>
                  </a:lnTo>
                  <a:lnTo>
                    <a:pt x="1724" y="1018"/>
                  </a:lnTo>
                  <a:lnTo>
                    <a:pt x="1726" y="1016"/>
                  </a:lnTo>
                  <a:lnTo>
                    <a:pt x="1736" y="1026"/>
                  </a:lnTo>
                  <a:lnTo>
                    <a:pt x="1746" y="1036"/>
                  </a:lnTo>
                  <a:lnTo>
                    <a:pt x="1762" y="1044"/>
                  </a:lnTo>
                  <a:lnTo>
                    <a:pt x="1782" y="1054"/>
                  </a:lnTo>
                  <a:lnTo>
                    <a:pt x="1808" y="1060"/>
                  </a:lnTo>
                  <a:lnTo>
                    <a:pt x="1836" y="1066"/>
                  </a:lnTo>
                  <a:lnTo>
                    <a:pt x="1864" y="1074"/>
                  </a:lnTo>
                  <a:lnTo>
                    <a:pt x="1920" y="1092"/>
                  </a:lnTo>
                  <a:lnTo>
                    <a:pt x="1948" y="1098"/>
                  </a:lnTo>
                  <a:lnTo>
                    <a:pt x="1962" y="1100"/>
                  </a:lnTo>
                  <a:lnTo>
                    <a:pt x="1976" y="1100"/>
                  </a:lnTo>
                  <a:lnTo>
                    <a:pt x="1990" y="1098"/>
                  </a:lnTo>
                  <a:lnTo>
                    <a:pt x="2002" y="1096"/>
                  </a:lnTo>
                  <a:lnTo>
                    <a:pt x="2016" y="1092"/>
                  </a:lnTo>
                  <a:lnTo>
                    <a:pt x="2030" y="1084"/>
                  </a:lnTo>
                  <a:lnTo>
                    <a:pt x="2052" y="1070"/>
                  </a:lnTo>
                  <a:lnTo>
                    <a:pt x="2072" y="1056"/>
                  </a:lnTo>
                  <a:lnTo>
                    <a:pt x="2084" y="1042"/>
                  </a:lnTo>
                  <a:lnTo>
                    <a:pt x="2090" y="1036"/>
                  </a:lnTo>
                  <a:lnTo>
                    <a:pt x="2092" y="1030"/>
                  </a:lnTo>
                  <a:lnTo>
                    <a:pt x="2094" y="1022"/>
                  </a:lnTo>
                  <a:lnTo>
                    <a:pt x="2092" y="1016"/>
                  </a:lnTo>
                  <a:lnTo>
                    <a:pt x="2090" y="1010"/>
                  </a:lnTo>
                  <a:lnTo>
                    <a:pt x="2086" y="1002"/>
                  </a:lnTo>
                  <a:lnTo>
                    <a:pt x="2080" y="994"/>
                  </a:lnTo>
                  <a:lnTo>
                    <a:pt x="2072" y="988"/>
                  </a:lnTo>
                  <a:lnTo>
                    <a:pt x="2050" y="970"/>
                  </a:lnTo>
                  <a:lnTo>
                    <a:pt x="2010" y="946"/>
                  </a:lnTo>
                  <a:lnTo>
                    <a:pt x="1982" y="934"/>
                  </a:lnTo>
                  <a:lnTo>
                    <a:pt x="1954" y="920"/>
                  </a:lnTo>
                  <a:lnTo>
                    <a:pt x="1910" y="896"/>
                  </a:lnTo>
                  <a:lnTo>
                    <a:pt x="1884" y="882"/>
                  </a:lnTo>
                  <a:lnTo>
                    <a:pt x="1868" y="874"/>
                  </a:lnTo>
                  <a:lnTo>
                    <a:pt x="1854" y="870"/>
                  </a:lnTo>
                  <a:lnTo>
                    <a:pt x="1844" y="870"/>
                  </a:lnTo>
                  <a:lnTo>
                    <a:pt x="1834" y="872"/>
                  </a:lnTo>
                  <a:lnTo>
                    <a:pt x="1822" y="872"/>
                  </a:lnTo>
                  <a:lnTo>
                    <a:pt x="1808" y="870"/>
                  </a:lnTo>
                  <a:lnTo>
                    <a:pt x="1786" y="866"/>
                  </a:lnTo>
                  <a:lnTo>
                    <a:pt x="1768" y="858"/>
                  </a:lnTo>
                  <a:lnTo>
                    <a:pt x="1758" y="852"/>
                  </a:lnTo>
                  <a:lnTo>
                    <a:pt x="1756" y="850"/>
                  </a:lnTo>
                  <a:lnTo>
                    <a:pt x="1756" y="846"/>
                  </a:lnTo>
                  <a:lnTo>
                    <a:pt x="1758" y="844"/>
                  </a:lnTo>
                  <a:lnTo>
                    <a:pt x="1758" y="840"/>
                  </a:lnTo>
                  <a:lnTo>
                    <a:pt x="1752" y="834"/>
                  </a:lnTo>
                  <a:lnTo>
                    <a:pt x="1740" y="828"/>
                  </a:lnTo>
                  <a:lnTo>
                    <a:pt x="1726" y="824"/>
                  </a:lnTo>
                  <a:lnTo>
                    <a:pt x="1718" y="824"/>
                  </a:lnTo>
                  <a:lnTo>
                    <a:pt x="1712" y="826"/>
                  </a:lnTo>
                  <a:lnTo>
                    <a:pt x="1710" y="830"/>
                  </a:lnTo>
                  <a:lnTo>
                    <a:pt x="1706" y="834"/>
                  </a:lnTo>
                  <a:lnTo>
                    <a:pt x="1698" y="838"/>
                  </a:lnTo>
                  <a:lnTo>
                    <a:pt x="1686" y="838"/>
                  </a:lnTo>
                  <a:lnTo>
                    <a:pt x="1666" y="834"/>
                  </a:lnTo>
                  <a:lnTo>
                    <a:pt x="1658" y="832"/>
                  </a:lnTo>
                  <a:lnTo>
                    <a:pt x="1652" y="832"/>
                  </a:lnTo>
                  <a:lnTo>
                    <a:pt x="1648" y="832"/>
                  </a:lnTo>
                  <a:lnTo>
                    <a:pt x="1644" y="828"/>
                  </a:lnTo>
                  <a:lnTo>
                    <a:pt x="1640" y="828"/>
                  </a:lnTo>
                  <a:lnTo>
                    <a:pt x="1638" y="830"/>
                  </a:lnTo>
                  <a:lnTo>
                    <a:pt x="1636" y="834"/>
                  </a:lnTo>
                  <a:lnTo>
                    <a:pt x="1630" y="836"/>
                  </a:lnTo>
                  <a:lnTo>
                    <a:pt x="1620" y="838"/>
                  </a:lnTo>
                  <a:lnTo>
                    <a:pt x="1618" y="838"/>
                  </a:lnTo>
                  <a:lnTo>
                    <a:pt x="1618" y="834"/>
                  </a:lnTo>
                  <a:lnTo>
                    <a:pt x="1622" y="830"/>
                  </a:lnTo>
                  <a:lnTo>
                    <a:pt x="1622" y="826"/>
                  </a:lnTo>
                  <a:lnTo>
                    <a:pt x="1620" y="822"/>
                  </a:lnTo>
                  <a:lnTo>
                    <a:pt x="1618" y="820"/>
                  </a:lnTo>
                  <a:lnTo>
                    <a:pt x="1614" y="818"/>
                  </a:lnTo>
                  <a:lnTo>
                    <a:pt x="1608" y="818"/>
                  </a:lnTo>
                  <a:lnTo>
                    <a:pt x="1598" y="816"/>
                  </a:lnTo>
                  <a:lnTo>
                    <a:pt x="1590" y="814"/>
                  </a:lnTo>
                  <a:lnTo>
                    <a:pt x="1586" y="812"/>
                  </a:lnTo>
                  <a:lnTo>
                    <a:pt x="1580" y="810"/>
                  </a:lnTo>
                  <a:lnTo>
                    <a:pt x="1576" y="810"/>
                  </a:lnTo>
                  <a:lnTo>
                    <a:pt x="1580" y="808"/>
                  </a:lnTo>
                  <a:lnTo>
                    <a:pt x="1592" y="808"/>
                  </a:lnTo>
                  <a:lnTo>
                    <a:pt x="1612" y="812"/>
                  </a:lnTo>
                  <a:lnTo>
                    <a:pt x="1624" y="812"/>
                  </a:lnTo>
                  <a:lnTo>
                    <a:pt x="1634" y="812"/>
                  </a:lnTo>
                  <a:lnTo>
                    <a:pt x="1640" y="810"/>
                  </a:lnTo>
                  <a:lnTo>
                    <a:pt x="1646" y="808"/>
                  </a:lnTo>
                  <a:lnTo>
                    <a:pt x="1654" y="800"/>
                  </a:lnTo>
                  <a:lnTo>
                    <a:pt x="1658" y="800"/>
                  </a:lnTo>
                  <a:lnTo>
                    <a:pt x="1662" y="800"/>
                  </a:lnTo>
                  <a:lnTo>
                    <a:pt x="1668" y="800"/>
                  </a:lnTo>
                  <a:lnTo>
                    <a:pt x="1672" y="798"/>
                  </a:lnTo>
                  <a:lnTo>
                    <a:pt x="1674" y="796"/>
                  </a:lnTo>
                  <a:lnTo>
                    <a:pt x="1676" y="794"/>
                  </a:lnTo>
                  <a:lnTo>
                    <a:pt x="1676" y="790"/>
                  </a:lnTo>
                  <a:lnTo>
                    <a:pt x="1674" y="788"/>
                  </a:lnTo>
                  <a:lnTo>
                    <a:pt x="1672" y="786"/>
                  </a:lnTo>
                  <a:lnTo>
                    <a:pt x="1668" y="786"/>
                  </a:lnTo>
                  <a:lnTo>
                    <a:pt x="1660" y="786"/>
                  </a:lnTo>
                  <a:lnTo>
                    <a:pt x="1658" y="782"/>
                  </a:lnTo>
                  <a:lnTo>
                    <a:pt x="1656" y="780"/>
                  </a:lnTo>
                  <a:lnTo>
                    <a:pt x="1650" y="778"/>
                  </a:lnTo>
                  <a:lnTo>
                    <a:pt x="1648" y="776"/>
                  </a:lnTo>
                  <a:lnTo>
                    <a:pt x="1644" y="774"/>
                  </a:lnTo>
                  <a:lnTo>
                    <a:pt x="1640" y="770"/>
                  </a:lnTo>
                  <a:lnTo>
                    <a:pt x="1636" y="766"/>
                  </a:lnTo>
                  <a:lnTo>
                    <a:pt x="1634" y="766"/>
                  </a:lnTo>
                  <a:lnTo>
                    <a:pt x="1630" y="768"/>
                  </a:lnTo>
                  <a:lnTo>
                    <a:pt x="1624" y="768"/>
                  </a:lnTo>
                  <a:lnTo>
                    <a:pt x="1624" y="766"/>
                  </a:lnTo>
                  <a:lnTo>
                    <a:pt x="1620" y="764"/>
                  </a:lnTo>
                  <a:lnTo>
                    <a:pt x="1614" y="766"/>
                  </a:lnTo>
                  <a:lnTo>
                    <a:pt x="1606" y="768"/>
                  </a:lnTo>
                  <a:lnTo>
                    <a:pt x="1606" y="764"/>
                  </a:lnTo>
                  <a:lnTo>
                    <a:pt x="1606" y="762"/>
                  </a:lnTo>
                  <a:lnTo>
                    <a:pt x="1606" y="760"/>
                  </a:lnTo>
                  <a:lnTo>
                    <a:pt x="1602" y="758"/>
                  </a:lnTo>
                  <a:lnTo>
                    <a:pt x="1596" y="756"/>
                  </a:lnTo>
                  <a:lnTo>
                    <a:pt x="1588" y="754"/>
                  </a:lnTo>
                  <a:lnTo>
                    <a:pt x="1582" y="754"/>
                  </a:lnTo>
                  <a:lnTo>
                    <a:pt x="1578" y="758"/>
                  </a:lnTo>
                  <a:lnTo>
                    <a:pt x="1574" y="760"/>
                  </a:lnTo>
                  <a:lnTo>
                    <a:pt x="1572" y="766"/>
                  </a:lnTo>
                  <a:lnTo>
                    <a:pt x="1570" y="770"/>
                  </a:lnTo>
                  <a:lnTo>
                    <a:pt x="1570" y="780"/>
                  </a:lnTo>
                  <a:lnTo>
                    <a:pt x="1572" y="786"/>
                  </a:lnTo>
                  <a:lnTo>
                    <a:pt x="1568" y="786"/>
                  </a:lnTo>
                  <a:lnTo>
                    <a:pt x="1564" y="782"/>
                  </a:lnTo>
                  <a:lnTo>
                    <a:pt x="1560" y="782"/>
                  </a:lnTo>
                  <a:lnTo>
                    <a:pt x="1558" y="782"/>
                  </a:lnTo>
                  <a:lnTo>
                    <a:pt x="1550" y="784"/>
                  </a:lnTo>
                  <a:lnTo>
                    <a:pt x="1548" y="784"/>
                  </a:lnTo>
                  <a:lnTo>
                    <a:pt x="1548" y="782"/>
                  </a:lnTo>
                  <a:lnTo>
                    <a:pt x="1554" y="778"/>
                  </a:lnTo>
                  <a:lnTo>
                    <a:pt x="1560" y="772"/>
                  </a:lnTo>
                  <a:lnTo>
                    <a:pt x="1564" y="768"/>
                  </a:lnTo>
                  <a:lnTo>
                    <a:pt x="1564" y="766"/>
                  </a:lnTo>
                  <a:lnTo>
                    <a:pt x="1562" y="766"/>
                  </a:lnTo>
                  <a:lnTo>
                    <a:pt x="1556" y="766"/>
                  </a:lnTo>
                  <a:lnTo>
                    <a:pt x="1554" y="766"/>
                  </a:lnTo>
                  <a:lnTo>
                    <a:pt x="1554" y="762"/>
                  </a:lnTo>
                  <a:lnTo>
                    <a:pt x="1558" y="758"/>
                  </a:lnTo>
                  <a:lnTo>
                    <a:pt x="1564" y="756"/>
                  </a:lnTo>
                  <a:lnTo>
                    <a:pt x="1572" y="752"/>
                  </a:lnTo>
                  <a:lnTo>
                    <a:pt x="1574" y="750"/>
                  </a:lnTo>
                  <a:lnTo>
                    <a:pt x="1574" y="748"/>
                  </a:lnTo>
                  <a:lnTo>
                    <a:pt x="1572" y="746"/>
                  </a:lnTo>
                  <a:lnTo>
                    <a:pt x="1570" y="746"/>
                  </a:lnTo>
                  <a:lnTo>
                    <a:pt x="1566" y="746"/>
                  </a:lnTo>
                  <a:lnTo>
                    <a:pt x="1562" y="746"/>
                  </a:lnTo>
                  <a:lnTo>
                    <a:pt x="1560" y="746"/>
                  </a:lnTo>
                  <a:lnTo>
                    <a:pt x="1560" y="742"/>
                  </a:lnTo>
                  <a:lnTo>
                    <a:pt x="1560" y="740"/>
                  </a:lnTo>
                  <a:lnTo>
                    <a:pt x="1558" y="740"/>
                  </a:lnTo>
                  <a:lnTo>
                    <a:pt x="1554" y="740"/>
                  </a:lnTo>
                  <a:lnTo>
                    <a:pt x="1548" y="742"/>
                  </a:lnTo>
                  <a:lnTo>
                    <a:pt x="1544" y="742"/>
                  </a:lnTo>
                  <a:lnTo>
                    <a:pt x="1540" y="740"/>
                  </a:lnTo>
                  <a:lnTo>
                    <a:pt x="1538" y="738"/>
                  </a:lnTo>
                  <a:lnTo>
                    <a:pt x="1536" y="738"/>
                  </a:lnTo>
                  <a:lnTo>
                    <a:pt x="1534" y="740"/>
                  </a:lnTo>
                  <a:lnTo>
                    <a:pt x="1532" y="744"/>
                  </a:lnTo>
                  <a:lnTo>
                    <a:pt x="1530" y="744"/>
                  </a:lnTo>
                  <a:lnTo>
                    <a:pt x="1528" y="744"/>
                  </a:lnTo>
                  <a:lnTo>
                    <a:pt x="1524" y="742"/>
                  </a:lnTo>
                  <a:lnTo>
                    <a:pt x="1522" y="744"/>
                  </a:lnTo>
                  <a:lnTo>
                    <a:pt x="1518" y="746"/>
                  </a:lnTo>
                  <a:lnTo>
                    <a:pt x="1518" y="750"/>
                  </a:lnTo>
                  <a:lnTo>
                    <a:pt x="1518" y="752"/>
                  </a:lnTo>
                  <a:lnTo>
                    <a:pt x="1520" y="752"/>
                  </a:lnTo>
                  <a:lnTo>
                    <a:pt x="1524" y="754"/>
                  </a:lnTo>
                  <a:lnTo>
                    <a:pt x="1530" y="754"/>
                  </a:lnTo>
                  <a:lnTo>
                    <a:pt x="1528" y="756"/>
                  </a:lnTo>
                  <a:lnTo>
                    <a:pt x="1522" y="760"/>
                  </a:lnTo>
                  <a:lnTo>
                    <a:pt x="1522" y="762"/>
                  </a:lnTo>
                  <a:lnTo>
                    <a:pt x="1520" y="764"/>
                  </a:lnTo>
                  <a:lnTo>
                    <a:pt x="1516" y="766"/>
                  </a:lnTo>
                  <a:lnTo>
                    <a:pt x="1516" y="768"/>
                  </a:lnTo>
                  <a:lnTo>
                    <a:pt x="1514" y="772"/>
                  </a:lnTo>
                  <a:lnTo>
                    <a:pt x="1512" y="772"/>
                  </a:lnTo>
                  <a:lnTo>
                    <a:pt x="1510" y="774"/>
                  </a:lnTo>
                  <a:lnTo>
                    <a:pt x="1510" y="780"/>
                  </a:lnTo>
                  <a:lnTo>
                    <a:pt x="1510" y="782"/>
                  </a:lnTo>
                  <a:lnTo>
                    <a:pt x="1510" y="784"/>
                  </a:lnTo>
                  <a:lnTo>
                    <a:pt x="1504" y="786"/>
                  </a:lnTo>
                  <a:lnTo>
                    <a:pt x="1496" y="790"/>
                  </a:lnTo>
                  <a:lnTo>
                    <a:pt x="1492" y="792"/>
                  </a:lnTo>
                  <a:lnTo>
                    <a:pt x="1490" y="790"/>
                  </a:lnTo>
                  <a:lnTo>
                    <a:pt x="1492" y="784"/>
                  </a:lnTo>
                  <a:lnTo>
                    <a:pt x="1494" y="776"/>
                  </a:lnTo>
                  <a:lnTo>
                    <a:pt x="1496" y="770"/>
                  </a:lnTo>
                  <a:lnTo>
                    <a:pt x="1496" y="766"/>
                  </a:lnTo>
                  <a:lnTo>
                    <a:pt x="1498" y="760"/>
                  </a:lnTo>
                  <a:lnTo>
                    <a:pt x="1500" y="754"/>
                  </a:lnTo>
                  <a:lnTo>
                    <a:pt x="1498" y="750"/>
                  </a:lnTo>
                  <a:lnTo>
                    <a:pt x="1494" y="750"/>
                  </a:lnTo>
                  <a:lnTo>
                    <a:pt x="1490" y="752"/>
                  </a:lnTo>
                  <a:lnTo>
                    <a:pt x="1480" y="762"/>
                  </a:lnTo>
                  <a:lnTo>
                    <a:pt x="1456" y="784"/>
                  </a:lnTo>
                  <a:lnTo>
                    <a:pt x="1450" y="790"/>
                  </a:lnTo>
                  <a:lnTo>
                    <a:pt x="1450" y="794"/>
                  </a:lnTo>
                  <a:lnTo>
                    <a:pt x="1450" y="798"/>
                  </a:lnTo>
                  <a:lnTo>
                    <a:pt x="1446" y="804"/>
                  </a:lnTo>
                  <a:lnTo>
                    <a:pt x="1440" y="810"/>
                  </a:lnTo>
                  <a:lnTo>
                    <a:pt x="1436" y="810"/>
                  </a:lnTo>
                  <a:lnTo>
                    <a:pt x="1434" y="810"/>
                  </a:lnTo>
                  <a:lnTo>
                    <a:pt x="1432" y="810"/>
                  </a:lnTo>
                  <a:lnTo>
                    <a:pt x="1428" y="812"/>
                  </a:lnTo>
                  <a:lnTo>
                    <a:pt x="1426" y="812"/>
                  </a:lnTo>
                  <a:lnTo>
                    <a:pt x="1428" y="808"/>
                  </a:lnTo>
                  <a:lnTo>
                    <a:pt x="1432" y="802"/>
                  </a:lnTo>
                  <a:lnTo>
                    <a:pt x="1436" y="798"/>
                  </a:lnTo>
                  <a:lnTo>
                    <a:pt x="1436" y="794"/>
                  </a:lnTo>
                  <a:lnTo>
                    <a:pt x="1436" y="792"/>
                  </a:lnTo>
                  <a:lnTo>
                    <a:pt x="1438" y="790"/>
                  </a:lnTo>
                  <a:lnTo>
                    <a:pt x="1442" y="784"/>
                  </a:lnTo>
                  <a:lnTo>
                    <a:pt x="1440" y="782"/>
                  </a:lnTo>
                  <a:lnTo>
                    <a:pt x="1440" y="778"/>
                  </a:lnTo>
                  <a:lnTo>
                    <a:pt x="1448" y="770"/>
                  </a:lnTo>
                  <a:lnTo>
                    <a:pt x="1466" y="756"/>
                  </a:lnTo>
                  <a:lnTo>
                    <a:pt x="1466" y="754"/>
                  </a:lnTo>
                  <a:lnTo>
                    <a:pt x="1458" y="754"/>
                  </a:lnTo>
                  <a:lnTo>
                    <a:pt x="1454" y="752"/>
                  </a:lnTo>
                  <a:lnTo>
                    <a:pt x="1450" y="752"/>
                  </a:lnTo>
                  <a:lnTo>
                    <a:pt x="1446" y="748"/>
                  </a:lnTo>
                  <a:lnTo>
                    <a:pt x="1446" y="746"/>
                  </a:lnTo>
                  <a:lnTo>
                    <a:pt x="1444" y="752"/>
                  </a:lnTo>
                  <a:lnTo>
                    <a:pt x="1442" y="758"/>
                  </a:lnTo>
                  <a:lnTo>
                    <a:pt x="1442" y="760"/>
                  </a:lnTo>
                  <a:lnTo>
                    <a:pt x="1440" y="758"/>
                  </a:lnTo>
                  <a:lnTo>
                    <a:pt x="1438" y="754"/>
                  </a:lnTo>
                  <a:lnTo>
                    <a:pt x="1434" y="750"/>
                  </a:lnTo>
                  <a:lnTo>
                    <a:pt x="1430" y="748"/>
                  </a:lnTo>
                  <a:lnTo>
                    <a:pt x="1426" y="750"/>
                  </a:lnTo>
                  <a:lnTo>
                    <a:pt x="1424" y="750"/>
                  </a:lnTo>
                  <a:lnTo>
                    <a:pt x="1420" y="748"/>
                  </a:lnTo>
                  <a:lnTo>
                    <a:pt x="1418" y="746"/>
                  </a:lnTo>
                  <a:lnTo>
                    <a:pt x="1414" y="746"/>
                  </a:lnTo>
                  <a:lnTo>
                    <a:pt x="1412" y="748"/>
                  </a:lnTo>
                  <a:lnTo>
                    <a:pt x="1414" y="752"/>
                  </a:lnTo>
                  <a:lnTo>
                    <a:pt x="1416" y="754"/>
                  </a:lnTo>
                  <a:lnTo>
                    <a:pt x="1416" y="758"/>
                  </a:lnTo>
                  <a:lnTo>
                    <a:pt x="1414" y="760"/>
                  </a:lnTo>
                  <a:lnTo>
                    <a:pt x="1408" y="758"/>
                  </a:lnTo>
                  <a:lnTo>
                    <a:pt x="1402" y="754"/>
                  </a:lnTo>
                  <a:lnTo>
                    <a:pt x="1400" y="756"/>
                  </a:lnTo>
                  <a:lnTo>
                    <a:pt x="1402" y="760"/>
                  </a:lnTo>
                  <a:lnTo>
                    <a:pt x="1410" y="764"/>
                  </a:lnTo>
                  <a:lnTo>
                    <a:pt x="1418" y="768"/>
                  </a:lnTo>
                  <a:lnTo>
                    <a:pt x="1422" y="770"/>
                  </a:lnTo>
                  <a:lnTo>
                    <a:pt x="1418" y="772"/>
                  </a:lnTo>
                  <a:lnTo>
                    <a:pt x="1410" y="770"/>
                  </a:lnTo>
                  <a:lnTo>
                    <a:pt x="1404" y="768"/>
                  </a:lnTo>
                  <a:lnTo>
                    <a:pt x="1402" y="768"/>
                  </a:lnTo>
                  <a:lnTo>
                    <a:pt x="1402" y="770"/>
                  </a:lnTo>
                  <a:lnTo>
                    <a:pt x="1400" y="774"/>
                  </a:lnTo>
                  <a:lnTo>
                    <a:pt x="1396" y="778"/>
                  </a:lnTo>
                  <a:lnTo>
                    <a:pt x="1388" y="782"/>
                  </a:lnTo>
                  <a:lnTo>
                    <a:pt x="1376" y="790"/>
                  </a:lnTo>
                  <a:lnTo>
                    <a:pt x="1372" y="792"/>
                  </a:lnTo>
                  <a:lnTo>
                    <a:pt x="1372" y="794"/>
                  </a:lnTo>
                  <a:lnTo>
                    <a:pt x="1366" y="798"/>
                  </a:lnTo>
                  <a:lnTo>
                    <a:pt x="1362" y="800"/>
                  </a:lnTo>
                  <a:lnTo>
                    <a:pt x="1360" y="802"/>
                  </a:lnTo>
                  <a:lnTo>
                    <a:pt x="1360" y="804"/>
                  </a:lnTo>
                  <a:lnTo>
                    <a:pt x="1362" y="808"/>
                  </a:lnTo>
                  <a:lnTo>
                    <a:pt x="1360" y="810"/>
                  </a:lnTo>
                  <a:lnTo>
                    <a:pt x="1358" y="810"/>
                  </a:lnTo>
                  <a:lnTo>
                    <a:pt x="1358" y="812"/>
                  </a:lnTo>
                  <a:lnTo>
                    <a:pt x="1362" y="816"/>
                  </a:lnTo>
                  <a:lnTo>
                    <a:pt x="1368" y="818"/>
                  </a:lnTo>
                  <a:lnTo>
                    <a:pt x="1370" y="818"/>
                  </a:lnTo>
                  <a:lnTo>
                    <a:pt x="1368" y="818"/>
                  </a:lnTo>
                  <a:lnTo>
                    <a:pt x="1362" y="818"/>
                  </a:lnTo>
                  <a:lnTo>
                    <a:pt x="1356" y="818"/>
                  </a:lnTo>
                  <a:lnTo>
                    <a:pt x="1350" y="816"/>
                  </a:lnTo>
                  <a:lnTo>
                    <a:pt x="1350" y="814"/>
                  </a:lnTo>
                  <a:lnTo>
                    <a:pt x="1350" y="810"/>
                  </a:lnTo>
                  <a:lnTo>
                    <a:pt x="1350" y="806"/>
                  </a:lnTo>
                  <a:lnTo>
                    <a:pt x="1350" y="804"/>
                  </a:lnTo>
                  <a:lnTo>
                    <a:pt x="1342" y="802"/>
                  </a:lnTo>
                  <a:lnTo>
                    <a:pt x="1334" y="800"/>
                  </a:lnTo>
                  <a:lnTo>
                    <a:pt x="1326" y="800"/>
                  </a:lnTo>
                  <a:lnTo>
                    <a:pt x="1324" y="798"/>
                  </a:lnTo>
                  <a:lnTo>
                    <a:pt x="1322" y="798"/>
                  </a:lnTo>
                  <a:lnTo>
                    <a:pt x="1320" y="796"/>
                  </a:lnTo>
                  <a:lnTo>
                    <a:pt x="1318" y="798"/>
                  </a:lnTo>
                  <a:lnTo>
                    <a:pt x="1312" y="796"/>
                  </a:lnTo>
                  <a:lnTo>
                    <a:pt x="1308" y="794"/>
                  </a:lnTo>
                  <a:lnTo>
                    <a:pt x="1306" y="794"/>
                  </a:lnTo>
                  <a:lnTo>
                    <a:pt x="1306" y="796"/>
                  </a:lnTo>
                  <a:lnTo>
                    <a:pt x="1304" y="802"/>
                  </a:lnTo>
                  <a:lnTo>
                    <a:pt x="1302" y="808"/>
                  </a:lnTo>
                  <a:lnTo>
                    <a:pt x="1300" y="802"/>
                  </a:lnTo>
                  <a:lnTo>
                    <a:pt x="1298" y="800"/>
                  </a:lnTo>
                  <a:lnTo>
                    <a:pt x="1294" y="796"/>
                  </a:lnTo>
                  <a:lnTo>
                    <a:pt x="1290" y="796"/>
                  </a:lnTo>
                  <a:lnTo>
                    <a:pt x="1284" y="798"/>
                  </a:lnTo>
                  <a:lnTo>
                    <a:pt x="1278" y="802"/>
                  </a:lnTo>
                  <a:lnTo>
                    <a:pt x="1280" y="804"/>
                  </a:lnTo>
                  <a:lnTo>
                    <a:pt x="1286" y="806"/>
                  </a:lnTo>
                  <a:lnTo>
                    <a:pt x="1288" y="808"/>
                  </a:lnTo>
                  <a:lnTo>
                    <a:pt x="1290" y="810"/>
                  </a:lnTo>
                  <a:lnTo>
                    <a:pt x="1294" y="812"/>
                  </a:lnTo>
                  <a:lnTo>
                    <a:pt x="1298" y="812"/>
                  </a:lnTo>
                  <a:lnTo>
                    <a:pt x="1302" y="814"/>
                  </a:lnTo>
                  <a:lnTo>
                    <a:pt x="1304" y="816"/>
                  </a:lnTo>
                  <a:lnTo>
                    <a:pt x="1308" y="816"/>
                  </a:lnTo>
                  <a:lnTo>
                    <a:pt x="1310" y="818"/>
                  </a:lnTo>
                  <a:lnTo>
                    <a:pt x="1308" y="820"/>
                  </a:lnTo>
                  <a:lnTo>
                    <a:pt x="1306" y="822"/>
                  </a:lnTo>
                  <a:lnTo>
                    <a:pt x="1306" y="824"/>
                  </a:lnTo>
                  <a:lnTo>
                    <a:pt x="1312" y="832"/>
                  </a:lnTo>
                  <a:lnTo>
                    <a:pt x="1314" y="836"/>
                  </a:lnTo>
                  <a:lnTo>
                    <a:pt x="1312" y="836"/>
                  </a:lnTo>
                  <a:lnTo>
                    <a:pt x="1296" y="824"/>
                  </a:lnTo>
                  <a:lnTo>
                    <a:pt x="1286" y="818"/>
                  </a:lnTo>
                  <a:lnTo>
                    <a:pt x="1280" y="816"/>
                  </a:lnTo>
                  <a:lnTo>
                    <a:pt x="1278" y="818"/>
                  </a:lnTo>
                  <a:lnTo>
                    <a:pt x="1278" y="822"/>
                  </a:lnTo>
                  <a:lnTo>
                    <a:pt x="1280" y="822"/>
                  </a:lnTo>
                  <a:lnTo>
                    <a:pt x="1280" y="824"/>
                  </a:lnTo>
                  <a:lnTo>
                    <a:pt x="1276" y="826"/>
                  </a:lnTo>
                  <a:lnTo>
                    <a:pt x="1274" y="826"/>
                  </a:lnTo>
                  <a:lnTo>
                    <a:pt x="1272" y="826"/>
                  </a:lnTo>
                  <a:lnTo>
                    <a:pt x="1272" y="824"/>
                  </a:lnTo>
                  <a:lnTo>
                    <a:pt x="1274" y="822"/>
                  </a:lnTo>
                  <a:lnTo>
                    <a:pt x="1272" y="822"/>
                  </a:lnTo>
                  <a:lnTo>
                    <a:pt x="1266" y="824"/>
                  </a:lnTo>
                  <a:lnTo>
                    <a:pt x="1252" y="834"/>
                  </a:lnTo>
                  <a:lnTo>
                    <a:pt x="1252" y="836"/>
                  </a:lnTo>
                  <a:lnTo>
                    <a:pt x="1250" y="838"/>
                  </a:lnTo>
                  <a:lnTo>
                    <a:pt x="1248" y="846"/>
                  </a:lnTo>
                  <a:lnTo>
                    <a:pt x="1246" y="850"/>
                  </a:lnTo>
                  <a:lnTo>
                    <a:pt x="1244" y="856"/>
                  </a:lnTo>
                  <a:lnTo>
                    <a:pt x="1238" y="862"/>
                  </a:lnTo>
                  <a:lnTo>
                    <a:pt x="1228" y="868"/>
                  </a:lnTo>
                  <a:lnTo>
                    <a:pt x="1238" y="856"/>
                  </a:lnTo>
                  <a:lnTo>
                    <a:pt x="1242" y="844"/>
                  </a:lnTo>
                  <a:lnTo>
                    <a:pt x="1244" y="832"/>
                  </a:lnTo>
                  <a:lnTo>
                    <a:pt x="1244" y="824"/>
                  </a:lnTo>
                  <a:lnTo>
                    <a:pt x="1242" y="820"/>
                  </a:lnTo>
                  <a:lnTo>
                    <a:pt x="1240" y="822"/>
                  </a:lnTo>
                  <a:lnTo>
                    <a:pt x="1238" y="824"/>
                  </a:lnTo>
                  <a:lnTo>
                    <a:pt x="1236" y="826"/>
                  </a:lnTo>
                  <a:lnTo>
                    <a:pt x="1236" y="824"/>
                  </a:lnTo>
                  <a:lnTo>
                    <a:pt x="1232" y="822"/>
                  </a:lnTo>
                  <a:lnTo>
                    <a:pt x="1230" y="822"/>
                  </a:lnTo>
                  <a:lnTo>
                    <a:pt x="1224" y="834"/>
                  </a:lnTo>
                  <a:lnTo>
                    <a:pt x="1222" y="840"/>
                  </a:lnTo>
                  <a:lnTo>
                    <a:pt x="1222" y="842"/>
                  </a:lnTo>
                  <a:lnTo>
                    <a:pt x="1222" y="844"/>
                  </a:lnTo>
                  <a:lnTo>
                    <a:pt x="1220" y="846"/>
                  </a:lnTo>
                  <a:lnTo>
                    <a:pt x="1216" y="848"/>
                  </a:lnTo>
                  <a:lnTo>
                    <a:pt x="1214" y="848"/>
                  </a:lnTo>
                  <a:lnTo>
                    <a:pt x="1214" y="846"/>
                  </a:lnTo>
                  <a:lnTo>
                    <a:pt x="1216" y="840"/>
                  </a:lnTo>
                  <a:lnTo>
                    <a:pt x="1218" y="836"/>
                  </a:lnTo>
                  <a:lnTo>
                    <a:pt x="1216" y="832"/>
                  </a:lnTo>
                  <a:lnTo>
                    <a:pt x="1214" y="830"/>
                  </a:lnTo>
                  <a:lnTo>
                    <a:pt x="1212" y="830"/>
                  </a:lnTo>
                  <a:lnTo>
                    <a:pt x="1204" y="832"/>
                  </a:lnTo>
                  <a:lnTo>
                    <a:pt x="1198" y="836"/>
                  </a:lnTo>
                  <a:lnTo>
                    <a:pt x="1186" y="844"/>
                  </a:lnTo>
                  <a:lnTo>
                    <a:pt x="1184" y="846"/>
                  </a:lnTo>
                  <a:lnTo>
                    <a:pt x="1188" y="848"/>
                  </a:lnTo>
                  <a:lnTo>
                    <a:pt x="1188" y="850"/>
                  </a:lnTo>
                  <a:lnTo>
                    <a:pt x="1188" y="854"/>
                  </a:lnTo>
                  <a:lnTo>
                    <a:pt x="1188" y="856"/>
                  </a:lnTo>
                  <a:lnTo>
                    <a:pt x="1190" y="858"/>
                  </a:lnTo>
                  <a:lnTo>
                    <a:pt x="1196" y="860"/>
                  </a:lnTo>
                  <a:lnTo>
                    <a:pt x="1200" y="862"/>
                  </a:lnTo>
                  <a:lnTo>
                    <a:pt x="1204" y="864"/>
                  </a:lnTo>
                  <a:lnTo>
                    <a:pt x="1208" y="868"/>
                  </a:lnTo>
                  <a:lnTo>
                    <a:pt x="1210" y="876"/>
                  </a:lnTo>
                  <a:lnTo>
                    <a:pt x="1200" y="872"/>
                  </a:lnTo>
                  <a:lnTo>
                    <a:pt x="1198" y="870"/>
                  </a:lnTo>
                  <a:lnTo>
                    <a:pt x="1200" y="868"/>
                  </a:lnTo>
                  <a:lnTo>
                    <a:pt x="1202" y="868"/>
                  </a:lnTo>
                  <a:lnTo>
                    <a:pt x="1196" y="864"/>
                  </a:lnTo>
                  <a:lnTo>
                    <a:pt x="1190" y="862"/>
                  </a:lnTo>
                  <a:lnTo>
                    <a:pt x="1186" y="860"/>
                  </a:lnTo>
                  <a:lnTo>
                    <a:pt x="1182" y="854"/>
                  </a:lnTo>
                  <a:lnTo>
                    <a:pt x="1180" y="852"/>
                  </a:lnTo>
                  <a:lnTo>
                    <a:pt x="1174" y="852"/>
                  </a:lnTo>
                  <a:lnTo>
                    <a:pt x="1166" y="854"/>
                  </a:lnTo>
                  <a:lnTo>
                    <a:pt x="1166" y="856"/>
                  </a:lnTo>
                  <a:lnTo>
                    <a:pt x="1174" y="862"/>
                  </a:lnTo>
                  <a:lnTo>
                    <a:pt x="1178" y="866"/>
                  </a:lnTo>
                  <a:lnTo>
                    <a:pt x="1176" y="868"/>
                  </a:lnTo>
                  <a:lnTo>
                    <a:pt x="1172" y="868"/>
                  </a:lnTo>
                  <a:lnTo>
                    <a:pt x="1168" y="862"/>
                  </a:lnTo>
                  <a:lnTo>
                    <a:pt x="1158" y="854"/>
                  </a:lnTo>
                  <a:lnTo>
                    <a:pt x="1154" y="854"/>
                  </a:lnTo>
                  <a:lnTo>
                    <a:pt x="1154" y="858"/>
                  </a:lnTo>
                  <a:lnTo>
                    <a:pt x="1154" y="860"/>
                  </a:lnTo>
                  <a:lnTo>
                    <a:pt x="1154" y="862"/>
                  </a:lnTo>
                  <a:lnTo>
                    <a:pt x="1152" y="864"/>
                  </a:lnTo>
                  <a:lnTo>
                    <a:pt x="1150" y="868"/>
                  </a:lnTo>
                  <a:lnTo>
                    <a:pt x="1150" y="872"/>
                  </a:lnTo>
                  <a:lnTo>
                    <a:pt x="1152" y="876"/>
                  </a:lnTo>
                  <a:lnTo>
                    <a:pt x="1152" y="878"/>
                  </a:lnTo>
                  <a:lnTo>
                    <a:pt x="1146" y="880"/>
                  </a:lnTo>
                  <a:lnTo>
                    <a:pt x="1138" y="884"/>
                  </a:lnTo>
                  <a:lnTo>
                    <a:pt x="1134" y="886"/>
                  </a:lnTo>
                  <a:lnTo>
                    <a:pt x="1130" y="888"/>
                  </a:lnTo>
                  <a:lnTo>
                    <a:pt x="1128" y="892"/>
                  </a:lnTo>
                  <a:lnTo>
                    <a:pt x="1128" y="894"/>
                  </a:lnTo>
                  <a:lnTo>
                    <a:pt x="1134" y="896"/>
                  </a:lnTo>
                  <a:lnTo>
                    <a:pt x="1138" y="898"/>
                  </a:lnTo>
                  <a:lnTo>
                    <a:pt x="1132" y="900"/>
                  </a:lnTo>
                  <a:lnTo>
                    <a:pt x="1122" y="902"/>
                  </a:lnTo>
                  <a:lnTo>
                    <a:pt x="1120" y="906"/>
                  </a:lnTo>
                  <a:lnTo>
                    <a:pt x="1118" y="908"/>
                  </a:lnTo>
                  <a:lnTo>
                    <a:pt x="1114" y="912"/>
                  </a:lnTo>
                  <a:lnTo>
                    <a:pt x="1108" y="912"/>
                  </a:lnTo>
                  <a:lnTo>
                    <a:pt x="1102" y="912"/>
                  </a:lnTo>
                  <a:lnTo>
                    <a:pt x="1096" y="916"/>
                  </a:lnTo>
                  <a:lnTo>
                    <a:pt x="1090" y="924"/>
                  </a:lnTo>
                  <a:lnTo>
                    <a:pt x="1088" y="928"/>
                  </a:lnTo>
                  <a:lnTo>
                    <a:pt x="1088" y="930"/>
                  </a:lnTo>
                  <a:lnTo>
                    <a:pt x="1092" y="930"/>
                  </a:lnTo>
                  <a:lnTo>
                    <a:pt x="1096" y="928"/>
                  </a:lnTo>
                  <a:lnTo>
                    <a:pt x="1106" y="926"/>
                  </a:lnTo>
                  <a:lnTo>
                    <a:pt x="1108" y="926"/>
                  </a:lnTo>
                  <a:lnTo>
                    <a:pt x="1108" y="930"/>
                  </a:lnTo>
                  <a:lnTo>
                    <a:pt x="1112" y="930"/>
                  </a:lnTo>
                  <a:lnTo>
                    <a:pt x="1124" y="924"/>
                  </a:lnTo>
                  <a:lnTo>
                    <a:pt x="1128" y="924"/>
                  </a:lnTo>
                  <a:lnTo>
                    <a:pt x="1130" y="924"/>
                  </a:lnTo>
                  <a:lnTo>
                    <a:pt x="1128" y="928"/>
                  </a:lnTo>
                  <a:lnTo>
                    <a:pt x="1120" y="932"/>
                  </a:lnTo>
                  <a:lnTo>
                    <a:pt x="1110" y="936"/>
                  </a:lnTo>
                  <a:lnTo>
                    <a:pt x="1102" y="936"/>
                  </a:lnTo>
                  <a:lnTo>
                    <a:pt x="1100" y="936"/>
                  </a:lnTo>
                  <a:lnTo>
                    <a:pt x="1096" y="934"/>
                  </a:lnTo>
                  <a:lnTo>
                    <a:pt x="1088" y="934"/>
                  </a:lnTo>
                  <a:lnTo>
                    <a:pt x="1078" y="936"/>
                  </a:lnTo>
                  <a:lnTo>
                    <a:pt x="1072" y="938"/>
                  </a:lnTo>
                  <a:lnTo>
                    <a:pt x="1070" y="940"/>
                  </a:lnTo>
                  <a:lnTo>
                    <a:pt x="1074" y="942"/>
                  </a:lnTo>
                  <a:lnTo>
                    <a:pt x="1076" y="944"/>
                  </a:lnTo>
                  <a:lnTo>
                    <a:pt x="1076" y="946"/>
                  </a:lnTo>
                  <a:lnTo>
                    <a:pt x="1080" y="948"/>
                  </a:lnTo>
                  <a:lnTo>
                    <a:pt x="1086" y="948"/>
                  </a:lnTo>
                  <a:lnTo>
                    <a:pt x="1084" y="952"/>
                  </a:lnTo>
                  <a:lnTo>
                    <a:pt x="1080" y="958"/>
                  </a:lnTo>
                  <a:lnTo>
                    <a:pt x="1078" y="960"/>
                  </a:lnTo>
                  <a:lnTo>
                    <a:pt x="1076" y="964"/>
                  </a:lnTo>
                  <a:lnTo>
                    <a:pt x="1076" y="968"/>
                  </a:lnTo>
                  <a:lnTo>
                    <a:pt x="1074" y="966"/>
                  </a:lnTo>
                  <a:lnTo>
                    <a:pt x="1070" y="960"/>
                  </a:lnTo>
                  <a:lnTo>
                    <a:pt x="1070" y="954"/>
                  </a:lnTo>
                  <a:lnTo>
                    <a:pt x="1070" y="948"/>
                  </a:lnTo>
                  <a:lnTo>
                    <a:pt x="1068" y="944"/>
                  </a:lnTo>
                  <a:lnTo>
                    <a:pt x="1066" y="944"/>
                  </a:lnTo>
                  <a:lnTo>
                    <a:pt x="1064" y="948"/>
                  </a:lnTo>
                  <a:lnTo>
                    <a:pt x="1060" y="954"/>
                  </a:lnTo>
                  <a:lnTo>
                    <a:pt x="1058" y="954"/>
                  </a:lnTo>
                  <a:lnTo>
                    <a:pt x="1056" y="954"/>
                  </a:lnTo>
                  <a:lnTo>
                    <a:pt x="1056" y="952"/>
                  </a:lnTo>
                  <a:lnTo>
                    <a:pt x="1052" y="950"/>
                  </a:lnTo>
                  <a:lnTo>
                    <a:pt x="1046" y="952"/>
                  </a:lnTo>
                  <a:lnTo>
                    <a:pt x="1042" y="956"/>
                  </a:lnTo>
                  <a:lnTo>
                    <a:pt x="1040" y="956"/>
                  </a:lnTo>
                  <a:lnTo>
                    <a:pt x="1040" y="958"/>
                  </a:lnTo>
                  <a:lnTo>
                    <a:pt x="1042" y="960"/>
                  </a:lnTo>
                  <a:lnTo>
                    <a:pt x="1044" y="960"/>
                  </a:lnTo>
                  <a:lnTo>
                    <a:pt x="1048" y="958"/>
                  </a:lnTo>
                  <a:lnTo>
                    <a:pt x="1054" y="958"/>
                  </a:lnTo>
                  <a:lnTo>
                    <a:pt x="1062" y="960"/>
                  </a:lnTo>
                  <a:lnTo>
                    <a:pt x="1064" y="962"/>
                  </a:lnTo>
                  <a:lnTo>
                    <a:pt x="1064" y="964"/>
                  </a:lnTo>
                  <a:lnTo>
                    <a:pt x="1060" y="966"/>
                  </a:lnTo>
                  <a:lnTo>
                    <a:pt x="1050" y="966"/>
                  </a:lnTo>
                  <a:lnTo>
                    <a:pt x="1032" y="970"/>
                  </a:lnTo>
                  <a:lnTo>
                    <a:pt x="1020" y="974"/>
                  </a:lnTo>
                  <a:lnTo>
                    <a:pt x="1018" y="976"/>
                  </a:lnTo>
                  <a:lnTo>
                    <a:pt x="1020" y="978"/>
                  </a:lnTo>
                  <a:lnTo>
                    <a:pt x="1022" y="980"/>
                  </a:lnTo>
                  <a:lnTo>
                    <a:pt x="1018" y="984"/>
                  </a:lnTo>
                  <a:lnTo>
                    <a:pt x="1016" y="986"/>
                  </a:lnTo>
                  <a:lnTo>
                    <a:pt x="1020" y="988"/>
                  </a:lnTo>
                  <a:lnTo>
                    <a:pt x="1026" y="988"/>
                  </a:lnTo>
                  <a:lnTo>
                    <a:pt x="1030" y="986"/>
                  </a:lnTo>
                  <a:lnTo>
                    <a:pt x="1036" y="980"/>
                  </a:lnTo>
                  <a:lnTo>
                    <a:pt x="1042" y="976"/>
                  </a:lnTo>
                  <a:lnTo>
                    <a:pt x="1046" y="976"/>
                  </a:lnTo>
                  <a:lnTo>
                    <a:pt x="1052" y="976"/>
                  </a:lnTo>
                  <a:lnTo>
                    <a:pt x="1060" y="980"/>
                  </a:lnTo>
                  <a:lnTo>
                    <a:pt x="1058" y="980"/>
                  </a:lnTo>
                  <a:lnTo>
                    <a:pt x="1050" y="980"/>
                  </a:lnTo>
                  <a:lnTo>
                    <a:pt x="1040" y="982"/>
                  </a:lnTo>
                  <a:lnTo>
                    <a:pt x="1034" y="986"/>
                  </a:lnTo>
                  <a:lnTo>
                    <a:pt x="1034" y="988"/>
                  </a:lnTo>
                  <a:lnTo>
                    <a:pt x="1036" y="990"/>
                  </a:lnTo>
                  <a:lnTo>
                    <a:pt x="1034" y="990"/>
                  </a:lnTo>
                  <a:lnTo>
                    <a:pt x="1026" y="992"/>
                  </a:lnTo>
                  <a:lnTo>
                    <a:pt x="1016" y="996"/>
                  </a:lnTo>
                  <a:lnTo>
                    <a:pt x="1016" y="998"/>
                  </a:lnTo>
                  <a:lnTo>
                    <a:pt x="1020" y="1002"/>
                  </a:lnTo>
                  <a:lnTo>
                    <a:pt x="1022" y="1002"/>
                  </a:lnTo>
                  <a:lnTo>
                    <a:pt x="1022" y="1004"/>
                  </a:lnTo>
                  <a:lnTo>
                    <a:pt x="1020" y="1006"/>
                  </a:lnTo>
                  <a:lnTo>
                    <a:pt x="1016" y="1004"/>
                  </a:lnTo>
                  <a:lnTo>
                    <a:pt x="1014" y="1002"/>
                  </a:lnTo>
                  <a:lnTo>
                    <a:pt x="1010" y="1004"/>
                  </a:lnTo>
                  <a:lnTo>
                    <a:pt x="1004" y="1012"/>
                  </a:lnTo>
                  <a:lnTo>
                    <a:pt x="1008" y="1014"/>
                  </a:lnTo>
                  <a:lnTo>
                    <a:pt x="1012" y="1014"/>
                  </a:lnTo>
                  <a:lnTo>
                    <a:pt x="1016" y="1012"/>
                  </a:lnTo>
                  <a:lnTo>
                    <a:pt x="1024" y="1012"/>
                  </a:lnTo>
                  <a:lnTo>
                    <a:pt x="1036" y="1012"/>
                  </a:lnTo>
                  <a:lnTo>
                    <a:pt x="1050" y="1016"/>
                  </a:lnTo>
                  <a:lnTo>
                    <a:pt x="1048" y="1016"/>
                  </a:lnTo>
                  <a:lnTo>
                    <a:pt x="1046" y="1018"/>
                  </a:lnTo>
                  <a:lnTo>
                    <a:pt x="1046" y="1022"/>
                  </a:lnTo>
                  <a:lnTo>
                    <a:pt x="1046" y="1024"/>
                  </a:lnTo>
                  <a:lnTo>
                    <a:pt x="1044" y="1022"/>
                  </a:lnTo>
                  <a:lnTo>
                    <a:pt x="1038" y="1018"/>
                  </a:lnTo>
                  <a:lnTo>
                    <a:pt x="1034" y="1016"/>
                  </a:lnTo>
                  <a:lnTo>
                    <a:pt x="1028" y="1016"/>
                  </a:lnTo>
                  <a:lnTo>
                    <a:pt x="1020" y="1016"/>
                  </a:lnTo>
                  <a:lnTo>
                    <a:pt x="1014" y="1018"/>
                  </a:lnTo>
                  <a:lnTo>
                    <a:pt x="1008" y="1020"/>
                  </a:lnTo>
                  <a:lnTo>
                    <a:pt x="1002" y="1020"/>
                  </a:lnTo>
                  <a:lnTo>
                    <a:pt x="998" y="1020"/>
                  </a:lnTo>
                  <a:lnTo>
                    <a:pt x="996" y="1020"/>
                  </a:lnTo>
                  <a:lnTo>
                    <a:pt x="994" y="1022"/>
                  </a:lnTo>
                  <a:lnTo>
                    <a:pt x="990" y="1022"/>
                  </a:lnTo>
                  <a:lnTo>
                    <a:pt x="988" y="1024"/>
                  </a:lnTo>
                  <a:lnTo>
                    <a:pt x="988" y="1026"/>
                  </a:lnTo>
                  <a:lnTo>
                    <a:pt x="988" y="1028"/>
                  </a:lnTo>
                  <a:lnTo>
                    <a:pt x="988" y="1030"/>
                  </a:lnTo>
                  <a:lnTo>
                    <a:pt x="986" y="1032"/>
                  </a:lnTo>
                  <a:lnTo>
                    <a:pt x="982" y="1034"/>
                  </a:lnTo>
                  <a:lnTo>
                    <a:pt x="976" y="1034"/>
                  </a:lnTo>
                  <a:lnTo>
                    <a:pt x="968" y="1036"/>
                  </a:lnTo>
                  <a:lnTo>
                    <a:pt x="970" y="1038"/>
                  </a:lnTo>
                  <a:lnTo>
                    <a:pt x="974" y="1042"/>
                  </a:lnTo>
                  <a:lnTo>
                    <a:pt x="974" y="1044"/>
                  </a:lnTo>
                  <a:lnTo>
                    <a:pt x="972" y="1046"/>
                  </a:lnTo>
                  <a:lnTo>
                    <a:pt x="966" y="1050"/>
                  </a:lnTo>
                  <a:lnTo>
                    <a:pt x="964" y="1050"/>
                  </a:lnTo>
                  <a:lnTo>
                    <a:pt x="962" y="1050"/>
                  </a:lnTo>
                  <a:lnTo>
                    <a:pt x="956" y="1052"/>
                  </a:lnTo>
                  <a:lnTo>
                    <a:pt x="954" y="1056"/>
                  </a:lnTo>
                  <a:lnTo>
                    <a:pt x="956" y="1058"/>
                  </a:lnTo>
                  <a:lnTo>
                    <a:pt x="958" y="1058"/>
                  </a:lnTo>
                  <a:lnTo>
                    <a:pt x="958" y="1060"/>
                  </a:lnTo>
                  <a:lnTo>
                    <a:pt x="954" y="1062"/>
                  </a:lnTo>
                  <a:lnTo>
                    <a:pt x="954" y="1064"/>
                  </a:lnTo>
                  <a:lnTo>
                    <a:pt x="956" y="1066"/>
                  </a:lnTo>
                  <a:lnTo>
                    <a:pt x="954" y="1064"/>
                  </a:lnTo>
                  <a:lnTo>
                    <a:pt x="950" y="1064"/>
                  </a:lnTo>
                  <a:lnTo>
                    <a:pt x="946" y="1064"/>
                  </a:lnTo>
                  <a:lnTo>
                    <a:pt x="946" y="1066"/>
                  </a:lnTo>
                  <a:lnTo>
                    <a:pt x="948" y="1068"/>
                  </a:lnTo>
                  <a:lnTo>
                    <a:pt x="950" y="1070"/>
                  </a:lnTo>
                  <a:lnTo>
                    <a:pt x="950" y="1072"/>
                  </a:lnTo>
                  <a:lnTo>
                    <a:pt x="948" y="1076"/>
                  </a:lnTo>
                  <a:lnTo>
                    <a:pt x="948" y="1080"/>
                  </a:lnTo>
                  <a:lnTo>
                    <a:pt x="954" y="1080"/>
                  </a:lnTo>
                  <a:lnTo>
                    <a:pt x="958" y="1080"/>
                  </a:lnTo>
                  <a:lnTo>
                    <a:pt x="954" y="1082"/>
                  </a:lnTo>
                  <a:lnTo>
                    <a:pt x="948" y="1084"/>
                  </a:lnTo>
                  <a:lnTo>
                    <a:pt x="946" y="1086"/>
                  </a:lnTo>
                  <a:lnTo>
                    <a:pt x="954" y="1086"/>
                  </a:lnTo>
                  <a:lnTo>
                    <a:pt x="964" y="1084"/>
                  </a:lnTo>
                  <a:lnTo>
                    <a:pt x="988" y="1078"/>
                  </a:lnTo>
                  <a:lnTo>
                    <a:pt x="994" y="1078"/>
                  </a:lnTo>
                  <a:lnTo>
                    <a:pt x="990" y="1080"/>
                  </a:lnTo>
                  <a:lnTo>
                    <a:pt x="982" y="1084"/>
                  </a:lnTo>
                  <a:lnTo>
                    <a:pt x="972" y="1086"/>
                  </a:lnTo>
                  <a:lnTo>
                    <a:pt x="954" y="1090"/>
                  </a:lnTo>
                  <a:lnTo>
                    <a:pt x="946" y="1092"/>
                  </a:lnTo>
                  <a:lnTo>
                    <a:pt x="936" y="1094"/>
                  </a:lnTo>
                  <a:lnTo>
                    <a:pt x="932" y="1096"/>
                  </a:lnTo>
                  <a:lnTo>
                    <a:pt x="936" y="1096"/>
                  </a:lnTo>
                  <a:lnTo>
                    <a:pt x="942" y="1098"/>
                  </a:lnTo>
                  <a:lnTo>
                    <a:pt x="944" y="1098"/>
                  </a:lnTo>
                  <a:lnTo>
                    <a:pt x="946" y="1100"/>
                  </a:lnTo>
                  <a:lnTo>
                    <a:pt x="944" y="1104"/>
                  </a:lnTo>
                  <a:lnTo>
                    <a:pt x="940" y="1106"/>
                  </a:lnTo>
                  <a:lnTo>
                    <a:pt x="934" y="1108"/>
                  </a:lnTo>
                  <a:lnTo>
                    <a:pt x="932" y="1114"/>
                  </a:lnTo>
                  <a:lnTo>
                    <a:pt x="930" y="1118"/>
                  </a:lnTo>
                  <a:lnTo>
                    <a:pt x="928" y="1120"/>
                  </a:lnTo>
                  <a:lnTo>
                    <a:pt x="924" y="1122"/>
                  </a:lnTo>
                  <a:lnTo>
                    <a:pt x="920" y="1122"/>
                  </a:lnTo>
                  <a:lnTo>
                    <a:pt x="920" y="1128"/>
                  </a:lnTo>
                  <a:lnTo>
                    <a:pt x="922" y="1132"/>
                  </a:lnTo>
                  <a:lnTo>
                    <a:pt x="924" y="1134"/>
                  </a:lnTo>
                  <a:lnTo>
                    <a:pt x="926" y="1134"/>
                  </a:lnTo>
                  <a:lnTo>
                    <a:pt x="928" y="1138"/>
                  </a:lnTo>
                  <a:lnTo>
                    <a:pt x="928" y="1140"/>
                  </a:lnTo>
                  <a:lnTo>
                    <a:pt x="928" y="1142"/>
                  </a:lnTo>
                  <a:lnTo>
                    <a:pt x="922" y="1146"/>
                  </a:lnTo>
                  <a:lnTo>
                    <a:pt x="918" y="1150"/>
                  </a:lnTo>
                  <a:lnTo>
                    <a:pt x="918" y="1152"/>
                  </a:lnTo>
                  <a:lnTo>
                    <a:pt x="920" y="1152"/>
                  </a:lnTo>
                  <a:lnTo>
                    <a:pt x="922" y="1156"/>
                  </a:lnTo>
                  <a:lnTo>
                    <a:pt x="922" y="1160"/>
                  </a:lnTo>
                  <a:lnTo>
                    <a:pt x="918" y="1164"/>
                  </a:lnTo>
                  <a:lnTo>
                    <a:pt x="910" y="1166"/>
                  </a:lnTo>
                  <a:lnTo>
                    <a:pt x="904" y="1168"/>
                  </a:lnTo>
                  <a:lnTo>
                    <a:pt x="900" y="1168"/>
                  </a:lnTo>
                  <a:lnTo>
                    <a:pt x="898" y="1170"/>
                  </a:lnTo>
                  <a:lnTo>
                    <a:pt x="892" y="1172"/>
                  </a:lnTo>
                  <a:lnTo>
                    <a:pt x="888" y="1174"/>
                  </a:lnTo>
                  <a:lnTo>
                    <a:pt x="884" y="1174"/>
                  </a:lnTo>
                  <a:lnTo>
                    <a:pt x="880" y="1176"/>
                  </a:lnTo>
                  <a:lnTo>
                    <a:pt x="876" y="1176"/>
                  </a:lnTo>
                  <a:lnTo>
                    <a:pt x="866" y="1176"/>
                  </a:lnTo>
                  <a:lnTo>
                    <a:pt x="862" y="1176"/>
                  </a:lnTo>
                  <a:lnTo>
                    <a:pt x="860" y="1178"/>
                  </a:lnTo>
                  <a:lnTo>
                    <a:pt x="860" y="1180"/>
                  </a:lnTo>
                  <a:lnTo>
                    <a:pt x="864" y="1180"/>
                  </a:lnTo>
                  <a:lnTo>
                    <a:pt x="868" y="1180"/>
                  </a:lnTo>
                  <a:lnTo>
                    <a:pt x="876" y="1180"/>
                  </a:lnTo>
                  <a:lnTo>
                    <a:pt x="878" y="1182"/>
                  </a:lnTo>
                  <a:lnTo>
                    <a:pt x="880" y="1184"/>
                  </a:lnTo>
                  <a:lnTo>
                    <a:pt x="878" y="1186"/>
                  </a:lnTo>
                  <a:lnTo>
                    <a:pt x="878" y="1188"/>
                  </a:lnTo>
                  <a:lnTo>
                    <a:pt x="886" y="1184"/>
                  </a:lnTo>
                  <a:lnTo>
                    <a:pt x="892" y="1182"/>
                  </a:lnTo>
                  <a:lnTo>
                    <a:pt x="892" y="1184"/>
                  </a:lnTo>
                  <a:lnTo>
                    <a:pt x="890" y="1186"/>
                  </a:lnTo>
                  <a:lnTo>
                    <a:pt x="886" y="1190"/>
                  </a:lnTo>
                  <a:lnTo>
                    <a:pt x="884" y="1190"/>
                  </a:lnTo>
                  <a:lnTo>
                    <a:pt x="882" y="1192"/>
                  </a:lnTo>
                  <a:lnTo>
                    <a:pt x="886" y="1194"/>
                  </a:lnTo>
                  <a:lnTo>
                    <a:pt x="890" y="1196"/>
                  </a:lnTo>
                  <a:lnTo>
                    <a:pt x="890" y="1198"/>
                  </a:lnTo>
                  <a:lnTo>
                    <a:pt x="890" y="1200"/>
                  </a:lnTo>
                  <a:lnTo>
                    <a:pt x="886" y="1204"/>
                  </a:lnTo>
                  <a:lnTo>
                    <a:pt x="886" y="1206"/>
                  </a:lnTo>
                  <a:lnTo>
                    <a:pt x="884" y="1208"/>
                  </a:lnTo>
                  <a:lnTo>
                    <a:pt x="878" y="1208"/>
                  </a:lnTo>
                  <a:lnTo>
                    <a:pt x="874" y="1208"/>
                  </a:lnTo>
                  <a:lnTo>
                    <a:pt x="872" y="1208"/>
                  </a:lnTo>
                  <a:lnTo>
                    <a:pt x="870" y="1204"/>
                  </a:lnTo>
                  <a:lnTo>
                    <a:pt x="868" y="1198"/>
                  </a:lnTo>
                  <a:lnTo>
                    <a:pt x="866" y="1198"/>
                  </a:lnTo>
                  <a:lnTo>
                    <a:pt x="864" y="1198"/>
                  </a:lnTo>
                  <a:lnTo>
                    <a:pt x="862" y="1198"/>
                  </a:lnTo>
                  <a:lnTo>
                    <a:pt x="862" y="1200"/>
                  </a:lnTo>
                  <a:lnTo>
                    <a:pt x="862" y="1202"/>
                  </a:lnTo>
                  <a:lnTo>
                    <a:pt x="860" y="1204"/>
                  </a:lnTo>
                  <a:lnTo>
                    <a:pt x="852" y="1204"/>
                  </a:lnTo>
                  <a:lnTo>
                    <a:pt x="848" y="1208"/>
                  </a:lnTo>
                  <a:lnTo>
                    <a:pt x="846" y="1210"/>
                  </a:lnTo>
                  <a:lnTo>
                    <a:pt x="846" y="1214"/>
                  </a:lnTo>
                  <a:lnTo>
                    <a:pt x="846" y="1216"/>
                  </a:lnTo>
                  <a:lnTo>
                    <a:pt x="844" y="1218"/>
                  </a:lnTo>
                  <a:lnTo>
                    <a:pt x="840" y="1220"/>
                  </a:lnTo>
                  <a:lnTo>
                    <a:pt x="834" y="1222"/>
                  </a:lnTo>
                  <a:lnTo>
                    <a:pt x="832" y="1224"/>
                  </a:lnTo>
                  <a:lnTo>
                    <a:pt x="830" y="1228"/>
                  </a:lnTo>
                  <a:lnTo>
                    <a:pt x="828" y="1234"/>
                  </a:lnTo>
                  <a:lnTo>
                    <a:pt x="824" y="1240"/>
                  </a:lnTo>
                  <a:lnTo>
                    <a:pt x="818" y="1246"/>
                  </a:lnTo>
                  <a:lnTo>
                    <a:pt x="812" y="1250"/>
                  </a:lnTo>
                  <a:lnTo>
                    <a:pt x="808" y="1252"/>
                  </a:lnTo>
                  <a:lnTo>
                    <a:pt x="806" y="1256"/>
                  </a:lnTo>
                  <a:lnTo>
                    <a:pt x="806" y="1258"/>
                  </a:lnTo>
                  <a:lnTo>
                    <a:pt x="806" y="1260"/>
                  </a:lnTo>
                  <a:lnTo>
                    <a:pt x="810" y="1260"/>
                  </a:lnTo>
                  <a:lnTo>
                    <a:pt x="816" y="1258"/>
                  </a:lnTo>
                  <a:lnTo>
                    <a:pt x="818" y="1258"/>
                  </a:lnTo>
                  <a:lnTo>
                    <a:pt x="818" y="1262"/>
                  </a:lnTo>
                  <a:lnTo>
                    <a:pt x="820" y="1262"/>
                  </a:lnTo>
                  <a:lnTo>
                    <a:pt x="822" y="1264"/>
                  </a:lnTo>
                  <a:lnTo>
                    <a:pt x="822" y="1268"/>
                  </a:lnTo>
                  <a:lnTo>
                    <a:pt x="824" y="1270"/>
                  </a:lnTo>
                  <a:lnTo>
                    <a:pt x="826" y="1270"/>
                  </a:lnTo>
                  <a:lnTo>
                    <a:pt x="834" y="1270"/>
                  </a:lnTo>
                  <a:lnTo>
                    <a:pt x="848" y="1264"/>
                  </a:lnTo>
                  <a:lnTo>
                    <a:pt x="862" y="1254"/>
                  </a:lnTo>
                  <a:lnTo>
                    <a:pt x="868" y="1250"/>
                  </a:lnTo>
                  <a:lnTo>
                    <a:pt x="868" y="1246"/>
                  </a:lnTo>
                  <a:lnTo>
                    <a:pt x="864" y="1244"/>
                  </a:lnTo>
                  <a:lnTo>
                    <a:pt x="858" y="1244"/>
                  </a:lnTo>
                  <a:lnTo>
                    <a:pt x="862" y="1242"/>
                  </a:lnTo>
                  <a:lnTo>
                    <a:pt x="870" y="1238"/>
                  </a:lnTo>
                  <a:lnTo>
                    <a:pt x="874" y="1236"/>
                  </a:lnTo>
                  <a:lnTo>
                    <a:pt x="876" y="1234"/>
                  </a:lnTo>
                  <a:lnTo>
                    <a:pt x="880" y="1236"/>
                  </a:lnTo>
                  <a:lnTo>
                    <a:pt x="884" y="1236"/>
                  </a:lnTo>
                  <a:lnTo>
                    <a:pt x="884" y="1238"/>
                  </a:lnTo>
                  <a:lnTo>
                    <a:pt x="878" y="1240"/>
                  </a:lnTo>
                  <a:lnTo>
                    <a:pt x="874" y="1242"/>
                  </a:lnTo>
                  <a:lnTo>
                    <a:pt x="872" y="1244"/>
                  </a:lnTo>
                  <a:lnTo>
                    <a:pt x="874" y="1246"/>
                  </a:lnTo>
                  <a:lnTo>
                    <a:pt x="880" y="1248"/>
                  </a:lnTo>
                  <a:lnTo>
                    <a:pt x="884" y="1250"/>
                  </a:lnTo>
                  <a:lnTo>
                    <a:pt x="880" y="1254"/>
                  </a:lnTo>
                  <a:lnTo>
                    <a:pt x="860" y="1262"/>
                  </a:lnTo>
                  <a:lnTo>
                    <a:pt x="854" y="1266"/>
                  </a:lnTo>
                  <a:lnTo>
                    <a:pt x="858" y="1268"/>
                  </a:lnTo>
                  <a:lnTo>
                    <a:pt x="856" y="1268"/>
                  </a:lnTo>
                  <a:lnTo>
                    <a:pt x="856" y="1270"/>
                  </a:lnTo>
                  <a:lnTo>
                    <a:pt x="856" y="1272"/>
                  </a:lnTo>
                  <a:lnTo>
                    <a:pt x="858" y="1272"/>
                  </a:lnTo>
                  <a:lnTo>
                    <a:pt x="862" y="1274"/>
                  </a:lnTo>
                  <a:lnTo>
                    <a:pt x="860" y="1276"/>
                  </a:lnTo>
                  <a:lnTo>
                    <a:pt x="856" y="1276"/>
                  </a:lnTo>
                  <a:lnTo>
                    <a:pt x="852" y="1276"/>
                  </a:lnTo>
                  <a:lnTo>
                    <a:pt x="844" y="1276"/>
                  </a:lnTo>
                  <a:lnTo>
                    <a:pt x="836" y="1276"/>
                  </a:lnTo>
                  <a:lnTo>
                    <a:pt x="830" y="1276"/>
                  </a:lnTo>
                  <a:lnTo>
                    <a:pt x="826" y="1280"/>
                  </a:lnTo>
                  <a:lnTo>
                    <a:pt x="822" y="1282"/>
                  </a:lnTo>
                  <a:lnTo>
                    <a:pt x="822" y="1276"/>
                  </a:lnTo>
                  <a:lnTo>
                    <a:pt x="818" y="1268"/>
                  </a:lnTo>
                  <a:lnTo>
                    <a:pt x="814" y="1262"/>
                  </a:lnTo>
                  <a:lnTo>
                    <a:pt x="810" y="1262"/>
                  </a:lnTo>
                  <a:lnTo>
                    <a:pt x="806" y="1266"/>
                  </a:lnTo>
                  <a:lnTo>
                    <a:pt x="798" y="1268"/>
                  </a:lnTo>
                  <a:lnTo>
                    <a:pt x="796" y="1268"/>
                  </a:lnTo>
                  <a:lnTo>
                    <a:pt x="794" y="1270"/>
                  </a:lnTo>
                  <a:lnTo>
                    <a:pt x="792" y="1274"/>
                  </a:lnTo>
                  <a:lnTo>
                    <a:pt x="792" y="1276"/>
                  </a:lnTo>
                  <a:lnTo>
                    <a:pt x="790" y="1274"/>
                  </a:lnTo>
                  <a:lnTo>
                    <a:pt x="784" y="1274"/>
                  </a:lnTo>
                  <a:lnTo>
                    <a:pt x="778" y="1274"/>
                  </a:lnTo>
                  <a:lnTo>
                    <a:pt x="762" y="1280"/>
                  </a:lnTo>
                  <a:lnTo>
                    <a:pt x="760" y="1282"/>
                  </a:lnTo>
                  <a:lnTo>
                    <a:pt x="760" y="1284"/>
                  </a:lnTo>
                  <a:lnTo>
                    <a:pt x="766" y="1288"/>
                  </a:lnTo>
                  <a:lnTo>
                    <a:pt x="768" y="1290"/>
                  </a:lnTo>
                  <a:lnTo>
                    <a:pt x="768" y="1292"/>
                  </a:lnTo>
                  <a:lnTo>
                    <a:pt x="766" y="1294"/>
                  </a:lnTo>
                  <a:lnTo>
                    <a:pt x="760" y="1294"/>
                  </a:lnTo>
                  <a:lnTo>
                    <a:pt x="754" y="1296"/>
                  </a:lnTo>
                  <a:lnTo>
                    <a:pt x="752" y="1298"/>
                  </a:lnTo>
                  <a:lnTo>
                    <a:pt x="752" y="1300"/>
                  </a:lnTo>
                  <a:lnTo>
                    <a:pt x="756" y="1302"/>
                  </a:lnTo>
                  <a:lnTo>
                    <a:pt x="746" y="1300"/>
                  </a:lnTo>
                  <a:lnTo>
                    <a:pt x="738" y="1298"/>
                  </a:lnTo>
                  <a:lnTo>
                    <a:pt x="742" y="1300"/>
                  </a:lnTo>
                  <a:lnTo>
                    <a:pt x="744" y="1304"/>
                  </a:lnTo>
                  <a:lnTo>
                    <a:pt x="744" y="1306"/>
                  </a:lnTo>
                  <a:lnTo>
                    <a:pt x="740" y="1308"/>
                  </a:lnTo>
                  <a:lnTo>
                    <a:pt x="728" y="1308"/>
                  </a:lnTo>
                  <a:lnTo>
                    <a:pt x="716" y="1308"/>
                  </a:lnTo>
                  <a:lnTo>
                    <a:pt x="708" y="1306"/>
                  </a:lnTo>
                  <a:lnTo>
                    <a:pt x="704" y="1308"/>
                  </a:lnTo>
                  <a:lnTo>
                    <a:pt x="702" y="1310"/>
                  </a:lnTo>
                  <a:lnTo>
                    <a:pt x="702" y="1316"/>
                  </a:lnTo>
                  <a:lnTo>
                    <a:pt x="704" y="1318"/>
                  </a:lnTo>
                  <a:lnTo>
                    <a:pt x="708" y="1320"/>
                  </a:lnTo>
                  <a:lnTo>
                    <a:pt x="712" y="1320"/>
                  </a:lnTo>
                  <a:lnTo>
                    <a:pt x="718" y="1320"/>
                  </a:lnTo>
                  <a:lnTo>
                    <a:pt x="726" y="1318"/>
                  </a:lnTo>
                  <a:lnTo>
                    <a:pt x="724" y="1320"/>
                  </a:lnTo>
                  <a:lnTo>
                    <a:pt x="720" y="1324"/>
                  </a:lnTo>
                  <a:lnTo>
                    <a:pt x="720" y="1328"/>
                  </a:lnTo>
                  <a:lnTo>
                    <a:pt x="722" y="1332"/>
                  </a:lnTo>
                  <a:lnTo>
                    <a:pt x="724" y="1334"/>
                  </a:lnTo>
                  <a:lnTo>
                    <a:pt x="718" y="1332"/>
                  </a:lnTo>
                  <a:lnTo>
                    <a:pt x="704" y="1328"/>
                  </a:lnTo>
                  <a:lnTo>
                    <a:pt x="696" y="1328"/>
                  </a:lnTo>
                  <a:lnTo>
                    <a:pt x="686" y="1330"/>
                  </a:lnTo>
                  <a:lnTo>
                    <a:pt x="678" y="1334"/>
                  </a:lnTo>
                  <a:lnTo>
                    <a:pt x="676" y="1336"/>
                  </a:lnTo>
                  <a:lnTo>
                    <a:pt x="678" y="1336"/>
                  </a:lnTo>
                  <a:lnTo>
                    <a:pt x="682" y="1338"/>
                  </a:lnTo>
                  <a:lnTo>
                    <a:pt x="694" y="1340"/>
                  </a:lnTo>
                  <a:lnTo>
                    <a:pt x="698" y="1342"/>
                  </a:lnTo>
                  <a:lnTo>
                    <a:pt x="702" y="1344"/>
                  </a:lnTo>
                  <a:lnTo>
                    <a:pt x="704" y="1348"/>
                  </a:lnTo>
                  <a:lnTo>
                    <a:pt x="700" y="1346"/>
                  </a:lnTo>
                  <a:lnTo>
                    <a:pt x="696" y="1344"/>
                  </a:lnTo>
                  <a:lnTo>
                    <a:pt x="692" y="1344"/>
                  </a:lnTo>
                  <a:lnTo>
                    <a:pt x="684" y="1344"/>
                  </a:lnTo>
                  <a:lnTo>
                    <a:pt x="676" y="1346"/>
                  </a:lnTo>
                  <a:lnTo>
                    <a:pt x="668" y="1350"/>
                  </a:lnTo>
                  <a:lnTo>
                    <a:pt x="664" y="1354"/>
                  </a:lnTo>
                  <a:lnTo>
                    <a:pt x="662" y="1356"/>
                  </a:lnTo>
                  <a:lnTo>
                    <a:pt x="662" y="1358"/>
                  </a:lnTo>
                  <a:lnTo>
                    <a:pt x="664" y="1358"/>
                  </a:lnTo>
                  <a:lnTo>
                    <a:pt x="658" y="1358"/>
                  </a:lnTo>
                  <a:lnTo>
                    <a:pt x="654" y="1358"/>
                  </a:lnTo>
                  <a:lnTo>
                    <a:pt x="652" y="1358"/>
                  </a:lnTo>
                  <a:lnTo>
                    <a:pt x="652" y="1360"/>
                  </a:lnTo>
                  <a:lnTo>
                    <a:pt x="654" y="1362"/>
                  </a:lnTo>
                  <a:lnTo>
                    <a:pt x="652" y="1364"/>
                  </a:lnTo>
                  <a:lnTo>
                    <a:pt x="646" y="1362"/>
                  </a:lnTo>
                  <a:lnTo>
                    <a:pt x="628" y="1360"/>
                  </a:lnTo>
                  <a:lnTo>
                    <a:pt x="628" y="1362"/>
                  </a:lnTo>
                  <a:lnTo>
                    <a:pt x="632" y="1366"/>
                  </a:lnTo>
                  <a:lnTo>
                    <a:pt x="632" y="1368"/>
                  </a:lnTo>
                  <a:lnTo>
                    <a:pt x="626" y="1370"/>
                  </a:lnTo>
                  <a:lnTo>
                    <a:pt x="622" y="1370"/>
                  </a:lnTo>
                  <a:lnTo>
                    <a:pt x="624" y="1372"/>
                  </a:lnTo>
                  <a:lnTo>
                    <a:pt x="628" y="1374"/>
                  </a:lnTo>
                  <a:lnTo>
                    <a:pt x="632" y="1376"/>
                  </a:lnTo>
                  <a:lnTo>
                    <a:pt x="644" y="1376"/>
                  </a:lnTo>
                  <a:lnTo>
                    <a:pt x="660" y="1378"/>
                  </a:lnTo>
                  <a:lnTo>
                    <a:pt x="666" y="1378"/>
                  </a:lnTo>
                  <a:lnTo>
                    <a:pt x="674" y="1382"/>
                  </a:lnTo>
                  <a:lnTo>
                    <a:pt x="682" y="1386"/>
                  </a:lnTo>
                  <a:lnTo>
                    <a:pt x="680" y="1386"/>
                  </a:lnTo>
                  <a:lnTo>
                    <a:pt x="672" y="1384"/>
                  </a:lnTo>
                  <a:lnTo>
                    <a:pt x="668" y="1384"/>
                  </a:lnTo>
                  <a:lnTo>
                    <a:pt x="664" y="1386"/>
                  </a:lnTo>
                  <a:lnTo>
                    <a:pt x="662" y="1386"/>
                  </a:lnTo>
                  <a:lnTo>
                    <a:pt x="660" y="1386"/>
                  </a:lnTo>
                  <a:lnTo>
                    <a:pt x="654" y="1382"/>
                  </a:lnTo>
                  <a:lnTo>
                    <a:pt x="648" y="1380"/>
                  </a:lnTo>
                  <a:lnTo>
                    <a:pt x="644" y="1378"/>
                  </a:lnTo>
                  <a:lnTo>
                    <a:pt x="638" y="1380"/>
                  </a:lnTo>
                  <a:lnTo>
                    <a:pt x="630" y="1384"/>
                  </a:lnTo>
                  <a:lnTo>
                    <a:pt x="624" y="1390"/>
                  </a:lnTo>
                  <a:lnTo>
                    <a:pt x="622" y="1394"/>
                  </a:lnTo>
                  <a:lnTo>
                    <a:pt x="624" y="1396"/>
                  </a:lnTo>
                  <a:lnTo>
                    <a:pt x="626" y="1398"/>
                  </a:lnTo>
                  <a:lnTo>
                    <a:pt x="632" y="1404"/>
                  </a:lnTo>
                  <a:lnTo>
                    <a:pt x="628" y="1406"/>
                  </a:lnTo>
                  <a:lnTo>
                    <a:pt x="622" y="1410"/>
                  </a:lnTo>
                  <a:lnTo>
                    <a:pt x="622" y="1412"/>
                  </a:lnTo>
                  <a:lnTo>
                    <a:pt x="624" y="1412"/>
                  </a:lnTo>
                  <a:lnTo>
                    <a:pt x="628" y="1416"/>
                  </a:lnTo>
                  <a:lnTo>
                    <a:pt x="626" y="1418"/>
                  </a:lnTo>
                  <a:lnTo>
                    <a:pt x="626" y="1420"/>
                  </a:lnTo>
                  <a:lnTo>
                    <a:pt x="624" y="1424"/>
                  </a:lnTo>
                  <a:lnTo>
                    <a:pt x="626" y="1426"/>
                  </a:lnTo>
                  <a:lnTo>
                    <a:pt x="628" y="1428"/>
                  </a:lnTo>
                  <a:lnTo>
                    <a:pt x="632" y="1430"/>
                  </a:lnTo>
                  <a:lnTo>
                    <a:pt x="636" y="1430"/>
                  </a:lnTo>
                  <a:lnTo>
                    <a:pt x="642" y="1430"/>
                  </a:lnTo>
                  <a:lnTo>
                    <a:pt x="648" y="1428"/>
                  </a:lnTo>
                  <a:lnTo>
                    <a:pt x="654" y="1424"/>
                  </a:lnTo>
                  <a:lnTo>
                    <a:pt x="660" y="1424"/>
                  </a:lnTo>
                  <a:lnTo>
                    <a:pt x="670" y="1426"/>
                  </a:lnTo>
                  <a:lnTo>
                    <a:pt x="678" y="1428"/>
                  </a:lnTo>
                  <a:lnTo>
                    <a:pt x="680" y="1426"/>
                  </a:lnTo>
                  <a:lnTo>
                    <a:pt x="684" y="1422"/>
                  </a:lnTo>
                  <a:lnTo>
                    <a:pt x="686" y="1420"/>
                  </a:lnTo>
                  <a:lnTo>
                    <a:pt x="688" y="1418"/>
                  </a:lnTo>
                  <a:lnTo>
                    <a:pt x="692" y="1420"/>
                  </a:lnTo>
                  <a:lnTo>
                    <a:pt x="700" y="1424"/>
                  </a:lnTo>
                  <a:lnTo>
                    <a:pt x="704" y="1426"/>
                  </a:lnTo>
                  <a:lnTo>
                    <a:pt x="710" y="1426"/>
                  </a:lnTo>
                  <a:lnTo>
                    <a:pt x="720" y="1424"/>
                  </a:lnTo>
                  <a:lnTo>
                    <a:pt x="726" y="1424"/>
                  </a:lnTo>
                  <a:lnTo>
                    <a:pt x="726" y="1426"/>
                  </a:lnTo>
                  <a:lnTo>
                    <a:pt x="724" y="1426"/>
                  </a:lnTo>
                  <a:lnTo>
                    <a:pt x="716" y="1430"/>
                  </a:lnTo>
                  <a:lnTo>
                    <a:pt x="710" y="1432"/>
                  </a:lnTo>
                  <a:lnTo>
                    <a:pt x="708" y="1434"/>
                  </a:lnTo>
                  <a:lnTo>
                    <a:pt x="708" y="1436"/>
                  </a:lnTo>
                  <a:lnTo>
                    <a:pt x="708" y="1438"/>
                  </a:lnTo>
                  <a:lnTo>
                    <a:pt x="708" y="1440"/>
                  </a:lnTo>
                  <a:lnTo>
                    <a:pt x="700" y="1434"/>
                  </a:lnTo>
                  <a:lnTo>
                    <a:pt x="694" y="1428"/>
                  </a:lnTo>
                  <a:lnTo>
                    <a:pt x="690" y="1428"/>
                  </a:lnTo>
                  <a:lnTo>
                    <a:pt x="688" y="1428"/>
                  </a:lnTo>
                  <a:lnTo>
                    <a:pt x="686" y="1430"/>
                  </a:lnTo>
                  <a:lnTo>
                    <a:pt x="682" y="1434"/>
                  </a:lnTo>
                  <a:lnTo>
                    <a:pt x="680" y="1434"/>
                  </a:lnTo>
                  <a:lnTo>
                    <a:pt x="676" y="1432"/>
                  </a:lnTo>
                  <a:lnTo>
                    <a:pt x="672" y="1430"/>
                  </a:lnTo>
                  <a:lnTo>
                    <a:pt x="666" y="1430"/>
                  </a:lnTo>
                  <a:lnTo>
                    <a:pt x="656" y="1432"/>
                  </a:lnTo>
                  <a:lnTo>
                    <a:pt x="646" y="1436"/>
                  </a:lnTo>
                  <a:lnTo>
                    <a:pt x="640" y="1436"/>
                  </a:lnTo>
                  <a:lnTo>
                    <a:pt x="636" y="1436"/>
                  </a:lnTo>
                  <a:lnTo>
                    <a:pt x="626" y="1434"/>
                  </a:lnTo>
                  <a:lnTo>
                    <a:pt x="624" y="1436"/>
                  </a:lnTo>
                  <a:lnTo>
                    <a:pt x="626" y="1442"/>
                  </a:lnTo>
                  <a:lnTo>
                    <a:pt x="626" y="1446"/>
                  </a:lnTo>
                  <a:lnTo>
                    <a:pt x="626" y="1448"/>
                  </a:lnTo>
                  <a:lnTo>
                    <a:pt x="632" y="1448"/>
                  </a:lnTo>
                  <a:lnTo>
                    <a:pt x="636" y="1448"/>
                  </a:lnTo>
                  <a:lnTo>
                    <a:pt x="636" y="1450"/>
                  </a:lnTo>
                  <a:lnTo>
                    <a:pt x="638" y="1454"/>
                  </a:lnTo>
                  <a:lnTo>
                    <a:pt x="636" y="1456"/>
                  </a:lnTo>
                  <a:lnTo>
                    <a:pt x="630" y="1454"/>
                  </a:lnTo>
                  <a:lnTo>
                    <a:pt x="626" y="1454"/>
                  </a:lnTo>
                  <a:lnTo>
                    <a:pt x="624" y="1454"/>
                  </a:lnTo>
                  <a:lnTo>
                    <a:pt x="626" y="1458"/>
                  </a:lnTo>
                  <a:lnTo>
                    <a:pt x="628" y="1460"/>
                  </a:lnTo>
                  <a:lnTo>
                    <a:pt x="630" y="1462"/>
                  </a:lnTo>
                  <a:lnTo>
                    <a:pt x="634" y="1462"/>
                  </a:lnTo>
                  <a:lnTo>
                    <a:pt x="638" y="1462"/>
                  </a:lnTo>
                  <a:lnTo>
                    <a:pt x="640" y="1464"/>
                  </a:lnTo>
                  <a:lnTo>
                    <a:pt x="638" y="1468"/>
                  </a:lnTo>
                  <a:lnTo>
                    <a:pt x="638" y="1472"/>
                  </a:lnTo>
                  <a:lnTo>
                    <a:pt x="636" y="1476"/>
                  </a:lnTo>
                  <a:lnTo>
                    <a:pt x="630" y="1478"/>
                  </a:lnTo>
                  <a:lnTo>
                    <a:pt x="626" y="1480"/>
                  </a:lnTo>
                  <a:lnTo>
                    <a:pt x="626" y="1482"/>
                  </a:lnTo>
                  <a:lnTo>
                    <a:pt x="636" y="1490"/>
                  </a:lnTo>
                  <a:lnTo>
                    <a:pt x="638" y="1492"/>
                  </a:lnTo>
                  <a:lnTo>
                    <a:pt x="642" y="1490"/>
                  </a:lnTo>
                  <a:lnTo>
                    <a:pt x="646" y="1488"/>
                  </a:lnTo>
                  <a:lnTo>
                    <a:pt x="648" y="1490"/>
                  </a:lnTo>
                  <a:lnTo>
                    <a:pt x="650" y="1494"/>
                  </a:lnTo>
                  <a:lnTo>
                    <a:pt x="652" y="1492"/>
                  </a:lnTo>
                  <a:lnTo>
                    <a:pt x="654" y="1492"/>
                  </a:lnTo>
                  <a:lnTo>
                    <a:pt x="654" y="1496"/>
                  </a:lnTo>
                  <a:lnTo>
                    <a:pt x="654" y="1500"/>
                  </a:lnTo>
                  <a:lnTo>
                    <a:pt x="654" y="1502"/>
                  </a:lnTo>
                  <a:lnTo>
                    <a:pt x="656" y="1502"/>
                  </a:lnTo>
                  <a:lnTo>
                    <a:pt x="658" y="1502"/>
                  </a:lnTo>
                  <a:lnTo>
                    <a:pt x="658" y="1500"/>
                  </a:lnTo>
                  <a:lnTo>
                    <a:pt x="660" y="1494"/>
                  </a:lnTo>
                  <a:lnTo>
                    <a:pt x="662" y="1488"/>
                  </a:lnTo>
                  <a:lnTo>
                    <a:pt x="662" y="1486"/>
                  </a:lnTo>
                  <a:lnTo>
                    <a:pt x="666" y="1486"/>
                  </a:lnTo>
                  <a:lnTo>
                    <a:pt x="668" y="1486"/>
                  </a:lnTo>
                  <a:lnTo>
                    <a:pt x="670" y="1488"/>
                  </a:lnTo>
                  <a:lnTo>
                    <a:pt x="666" y="1496"/>
                  </a:lnTo>
                  <a:lnTo>
                    <a:pt x="660" y="1504"/>
                  </a:lnTo>
                  <a:lnTo>
                    <a:pt x="654" y="1508"/>
                  </a:lnTo>
                  <a:lnTo>
                    <a:pt x="652" y="1510"/>
                  </a:lnTo>
                  <a:lnTo>
                    <a:pt x="650" y="1512"/>
                  </a:lnTo>
                  <a:lnTo>
                    <a:pt x="654" y="1514"/>
                  </a:lnTo>
                  <a:lnTo>
                    <a:pt x="658" y="1518"/>
                  </a:lnTo>
                  <a:lnTo>
                    <a:pt x="658" y="1520"/>
                  </a:lnTo>
                  <a:lnTo>
                    <a:pt x="656" y="1522"/>
                  </a:lnTo>
                  <a:lnTo>
                    <a:pt x="650" y="1524"/>
                  </a:lnTo>
                  <a:lnTo>
                    <a:pt x="648" y="1522"/>
                  </a:lnTo>
                  <a:lnTo>
                    <a:pt x="644" y="1522"/>
                  </a:lnTo>
                  <a:lnTo>
                    <a:pt x="636" y="1526"/>
                  </a:lnTo>
                  <a:lnTo>
                    <a:pt x="632" y="1530"/>
                  </a:lnTo>
                  <a:lnTo>
                    <a:pt x="632" y="1536"/>
                  </a:lnTo>
                  <a:lnTo>
                    <a:pt x="632" y="1540"/>
                  </a:lnTo>
                  <a:lnTo>
                    <a:pt x="634" y="1544"/>
                  </a:lnTo>
                  <a:lnTo>
                    <a:pt x="640" y="1548"/>
                  </a:lnTo>
                  <a:lnTo>
                    <a:pt x="644" y="1548"/>
                  </a:lnTo>
                  <a:lnTo>
                    <a:pt x="646" y="1548"/>
                  </a:lnTo>
                  <a:lnTo>
                    <a:pt x="646" y="1546"/>
                  </a:lnTo>
                  <a:lnTo>
                    <a:pt x="648" y="1546"/>
                  </a:lnTo>
                  <a:lnTo>
                    <a:pt x="650" y="1546"/>
                  </a:lnTo>
                  <a:lnTo>
                    <a:pt x="654" y="1548"/>
                  </a:lnTo>
                  <a:lnTo>
                    <a:pt x="656" y="1544"/>
                  </a:lnTo>
                  <a:lnTo>
                    <a:pt x="658" y="1542"/>
                  </a:lnTo>
                  <a:lnTo>
                    <a:pt x="660" y="1540"/>
                  </a:lnTo>
                  <a:lnTo>
                    <a:pt x="664" y="1542"/>
                  </a:lnTo>
                  <a:lnTo>
                    <a:pt x="666" y="1544"/>
                  </a:lnTo>
                  <a:lnTo>
                    <a:pt x="664" y="1548"/>
                  </a:lnTo>
                  <a:lnTo>
                    <a:pt x="662" y="1548"/>
                  </a:lnTo>
                  <a:lnTo>
                    <a:pt x="660" y="1550"/>
                  </a:lnTo>
                  <a:lnTo>
                    <a:pt x="660" y="1552"/>
                  </a:lnTo>
                  <a:lnTo>
                    <a:pt x="662" y="1554"/>
                  </a:lnTo>
                  <a:lnTo>
                    <a:pt x="664" y="1556"/>
                  </a:lnTo>
                  <a:lnTo>
                    <a:pt x="662" y="1558"/>
                  </a:lnTo>
                  <a:lnTo>
                    <a:pt x="660" y="1560"/>
                  </a:lnTo>
                  <a:lnTo>
                    <a:pt x="660" y="1562"/>
                  </a:lnTo>
                  <a:lnTo>
                    <a:pt x="662" y="1564"/>
                  </a:lnTo>
                  <a:lnTo>
                    <a:pt x="662" y="1568"/>
                  </a:lnTo>
                  <a:lnTo>
                    <a:pt x="658" y="1570"/>
                  </a:lnTo>
                  <a:lnTo>
                    <a:pt x="654" y="1572"/>
                  </a:lnTo>
                  <a:lnTo>
                    <a:pt x="652" y="1570"/>
                  </a:lnTo>
                  <a:lnTo>
                    <a:pt x="648" y="1568"/>
                  </a:lnTo>
                  <a:lnTo>
                    <a:pt x="646" y="1566"/>
                  </a:lnTo>
                  <a:lnTo>
                    <a:pt x="644" y="1576"/>
                  </a:lnTo>
                  <a:lnTo>
                    <a:pt x="642" y="1586"/>
                  </a:lnTo>
                  <a:lnTo>
                    <a:pt x="646" y="1592"/>
                  </a:lnTo>
                  <a:lnTo>
                    <a:pt x="652" y="1598"/>
                  </a:lnTo>
                  <a:lnTo>
                    <a:pt x="658" y="1600"/>
                  </a:lnTo>
                  <a:lnTo>
                    <a:pt x="662" y="1600"/>
                  </a:lnTo>
                  <a:lnTo>
                    <a:pt x="664" y="1604"/>
                  </a:lnTo>
                  <a:lnTo>
                    <a:pt x="668" y="1608"/>
                  </a:lnTo>
                  <a:lnTo>
                    <a:pt x="674" y="1612"/>
                  </a:lnTo>
                  <a:lnTo>
                    <a:pt x="688" y="1616"/>
                  </a:lnTo>
                  <a:lnTo>
                    <a:pt x="690" y="1618"/>
                  </a:lnTo>
                  <a:lnTo>
                    <a:pt x="688" y="1620"/>
                  </a:lnTo>
                  <a:lnTo>
                    <a:pt x="688" y="1624"/>
                  </a:lnTo>
                  <a:lnTo>
                    <a:pt x="690" y="1626"/>
                  </a:lnTo>
                  <a:lnTo>
                    <a:pt x="692" y="1628"/>
                  </a:lnTo>
                  <a:lnTo>
                    <a:pt x="694" y="1628"/>
                  </a:lnTo>
                  <a:lnTo>
                    <a:pt x="696" y="1626"/>
                  </a:lnTo>
                  <a:lnTo>
                    <a:pt x="700" y="1626"/>
                  </a:lnTo>
                  <a:lnTo>
                    <a:pt x="704" y="1630"/>
                  </a:lnTo>
                  <a:lnTo>
                    <a:pt x="706" y="1632"/>
                  </a:lnTo>
                  <a:lnTo>
                    <a:pt x="710" y="1630"/>
                  </a:lnTo>
                  <a:lnTo>
                    <a:pt x="720" y="1628"/>
                  </a:lnTo>
                  <a:lnTo>
                    <a:pt x="734" y="1628"/>
                  </a:lnTo>
                  <a:lnTo>
                    <a:pt x="746" y="1626"/>
                  </a:lnTo>
                  <a:lnTo>
                    <a:pt x="752" y="1624"/>
                  </a:lnTo>
                  <a:lnTo>
                    <a:pt x="756" y="1620"/>
                  </a:lnTo>
                  <a:lnTo>
                    <a:pt x="760" y="1618"/>
                  </a:lnTo>
                  <a:lnTo>
                    <a:pt x="766" y="1614"/>
                  </a:lnTo>
                  <a:lnTo>
                    <a:pt x="774" y="1608"/>
                  </a:lnTo>
                  <a:lnTo>
                    <a:pt x="780" y="1600"/>
                  </a:lnTo>
                  <a:lnTo>
                    <a:pt x="782" y="1596"/>
                  </a:lnTo>
                  <a:lnTo>
                    <a:pt x="784" y="1594"/>
                  </a:lnTo>
                  <a:lnTo>
                    <a:pt x="790" y="1592"/>
                  </a:lnTo>
                  <a:lnTo>
                    <a:pt x="792" y="1592"/>
                  </a:lnTo>
                  <a:lnTo>
                    <a:pt x="794" y="1588"/>
                  </a:lnTo>
                  <a:lnTo>
                    <a:pt x="794" y="1586"/>
                  </a:lnTo>
                  <a:lnTo>
                    <a:pt x="796" y="1586"/>
                  </a:lnTo>
                  <a:lnTo>
                    <a:pt x="800" y="1584"/>
                  </a:lnTo>
                  <a:lnTo>
                    <a:pt x="804" y="1582"/>
                  </a:lnTo>
                  <a:lnTo>
                    <a:pt x="800" y="1578"/>
                  </a:lnTo>
                  <a:lnTo>
                    <a:pt x="798" y="1576"/>
                  </a:lnTo>
                  <a:lnTo>
                    <a:pt x="802" y="1574"/>
                  </a:lnTo>
                  <a:lnTo>
                    <a:pt x="810" y="1572"/>
                  </a:lnTo>
                  <a:lnTo>
                    <a:pt x="812" y="1570"/>
                  </a:lnTo>
                  <a:lnTo>
                    <a:pt x="812" y="1566"/>
                  </a:lnTo>
                  <a:lnTo>
                    <a:pt x="812" y="1562"/>
                  </a:lnTo>
                  <a:lnTo>
                    <a:pt x="816" y="1564"/>
                  </a:lnTo>
                  <a:lnTo>
                    <a:pt x="820" y="1568"/>
                  </a:lnTo>
                  <a:lnTo>
                    <a:pt x="822" y="1570"/>
                  </a:lnTo>
                  <a:lnTo>
                    <a:pt x="824" y="1568"/>
                  </a:lnTo>
                  <a:lnTo>
                    <a:pt x="828" y="1566"/>
                  </a:lnTo>
                  <a:lnTo>
                    <a:pt x="834" y="1566"/>
                  </a:lnTo>
                  <a:lnTo>
                    <a:pt x="838" y="1564"/>
                  </a:lnTo>
                  <a:lnTo>
                    <a:pt x="838" y="1558"/>
                  </a:lnTo>
                  <a:lnTo>
                    <a:pt x="838" y="1554"/>
                  </a:lnTo>
                  <a:lnTo>
                    <a:pt x="840" y="1552"/>
                  </a:lnTo>
                  <a:lnTo>
                    <a:pt x="844" y="1550"/>
                  </a:lnTo>
                  <a:lnTo>
                    <a:pt x="846" y="1548"/>
                  </a:lnTo>
                  <a:lnTo>
                    <a:pt x="842" y="1540"/>
                  </a:lnTo>
                  <a:lnTo>
                    <a:pt x="840" y="1536"/>
                  </a:lnTo>
                  <a:lnTo>
                    <a:pt x="838" y="1532"/>
                  </a:lnTo>
                  <a:lnTo>
                    <a:pt x="840" y="1528"/>
                  </a:lnTo>
                  <a:lnTo>
                    <a:pt x="844" y="1532"/>
                  </a:lnTo>
                  <a:lnTo>
                    <a:pt x="846" y="1534"/>
                  </a:lnTo>
                  <a:lnTo>
                    <a:pt x="848" y="1534"/>
                  </a:lnTo>
                  <a:lnTo>
                    <a:pt x="850" y="1530"/>
                  </a:lnTo>
                  <a:lnTo>
                    <a:pt x="850" y="1528"/>
                  </a:lnTo>
                  <a:lnTo>
                    <a:pt x="852" y="1530"/>
                  </a:lnTo>
                  <a:lnTo>
                    <a:pt x="852" y="1536"/>
                  </a:lnTo>
                  <a:lnTo>
                    <a:pt x="850" y="1538"/>
                  </a:lnTo>
                  <a:lnTo>
                    <a:pt x="850" y="1540"/>
                  </a:lnTo>
                  <a:lnTo>
                    <a:pt x="852" y="1542"/>
                  </a:lnTo>
                  <a:lnTo>
                    <a:pt x="854" y="1548"/>
                  </a:lnTo>
                  <a:lnTo>
                    <a:pt x="854" y="1552"/>
                  </a:lnTo>
                  <a:lnTo>
                    <a:pt x="856" y="1554"/>
                  </a:lnTo>
                  <a:lnTo>
                    <a:pt x="862" y="1556"/>
                  </a:lnTo>
                  <a:lnTo>
                    <a:pt x="866" y="1556"/>
                  </a:lnTo>
                  <a:lnTo>
                    <a:pt x="866" y="1558"/>
                  </a:lnTo>
                  <a:lnTo>
                    <a:pt x="868" y="1558"/>
                  </a:lnTo>
                  <a:lnTo>
                    <a:pt x="876" y="1560"/>
                  </a:lnTo>
                  <a:lnTo>
                    <a:pt x="874" y="1564"/>
                  </a:lnTo>
                  <a:lnTo>
                    <a:pt x="872" y="1566"/>
                  </a:lnTo>
                  <a:lnTo>
                    <a:pt x="872" y="1570"/>
                  </a:lnTo>
                  <a:lnTo>
                    <a:pt x="874" y="1576"/>
                  </a:lnTo>
                  <a:lnTo>
                    <a:pt x="876" y="1584"/>
                  </a:lnTo>
                  <a:lnTo>
                    <a:pt x="876" y="1594"/>
                  </a:lnTo>
                  <a:lnTo>
                    <a:pt x="876" y="1602"/>
                  </a:lnTo>
                  <a:lnTo>
                    <a:pt x="876" y="1608"/>
                  </a:lnTo>
                  <a:lnTo>
                    <a:pt x="878" y="1612"/>
                  </a:lnTo>
                  <a:lnTo>
                    <a:pt x="882" y="1616"/>
                  </a:lnTo>
                  <a:lnTo>
                    <a:pt x="886" y="1616"/>
                  </a:lnTo>
                  <a:lnTo>
                    <a:pt x="890" y="1614"/>
                  </a:lnTo>
                  <a:lnTo>
                    <a:pt x="896" y="1610"/>
                  </a:lnTo>
                  <a:lnTo>
                    <a:pt x="898" y="1612"/>
                  </a:lnTo>
                  <a:lnTo>
                    <a:pt x="900" y="1614"/>
                  </a:lnTo>
                  <a:lnTo>
                    <a:pt x="902" y="1618"/>
                  </a:lnTo>
                  <a:lnTo>
                    <a:pt x="902" y="1622"/>
                  </a:lnTo>
                  <a:lnTo>
                    <a:pt x="900" y="1628"/>
                  </a:lnTo>
                  <a:lnTo>
                    <a:pt x="896" y="1638"/>
                  </a:lnTo>
                  <a:lnTo>
                    <a:pt x="898" y="1644"/>
                  </a:lnTo>
                  <a:lnTo>
                    <a:pt x="900" y="1652"/>
                  </a:lnTo>
                  <a:lnTo>
                    <a:pt x="906" y="1672"/>
                  </a:lnTo>
                  <a:lnTo>
                    <a:pt x="916" y="1694"/>
                  </a:lnTo>
                  <a:lnTo>
                    <a:pt x="928" y="1710"/>
                  </a:lnTo>
                  <a:lnTo>
                    <a:pt x="932" y="1716"/>
                  </a:lnTo>
                  <a:lnTo>
                    <a:pt x="936" y="1716"/>
                  </a:lnTo>
                  <a:lnTo>
                    <a:pt x="942" y="1716"/>
                  </a:lnTo>
                  <a:lnTo>
                    <a:pt x="944" y="1718"/>
                  </a:lnTo>
                  <a:lnTo>
                    <a:pt x="944" y="1720"/>
                  </a:lnTo>
                  <a:lnTo>
                    <a:pt x="942" y="1726"/>
                  </a:lnTo>
                  <a:lnTo>
                    <a:pt x="934" y="1728"/>
                  </a:lnTo>
                  <a:lnTo>
                    <a:pt x="932" y="1730"/>
                  </a:lnTo>
                  <a:lnTo>
                    <a:pt x="934" y="1732"/>
                  </a:lnTo>
                  <a:lnTo>
                    <a:pt x="936" y="1738"/>
                  </a:lnTo>
                  <a:lnTo>
                    <a:pt x="938" y="1742"/>
                  </a:lnTo>
                  <a:lnTo>
                    <a:pt x="932" y="1740"/>
                  </a:lnTo>
                  <a:lnTo>
                    <a:pt x="926" y="1740"/>
                  </a:lnTo>
                  <a:lnTo>
                    <a:pt x="934" y="1752"/>
                  </a:lnTo>
                  <a:lnTo>
                    <a:pt x="940" y="1760"/>
                  </a:lnTo>
                  <a:lnTo>
                    <a:pt x="944" y="1768"/>
                  </a:lnTo>
                  <a:lnTo>
                    <a:pt x="946" y="1778"/>
                  </a:lnTo>
                  <a:lnTo>
                    <a:pt x="946" y="1782"/>
                  </a:lnTo>
                  <a:lnTo>
                    <a:pt x="944" y="1786"/>
                  </a:lnTo>
                  <a:lnTo>
                    <a:pt x="940" y="1792"/>
                  </a:lnTo>
                  <a:lnTo>
                    <a:pt x="942" y="1796"/>
                  </a:lnTo>
                  <a:lnTo>
                    <a:pt x="946" y="1798"/>
                  </a:lnTo>
                  <a:lnTo>
                    <a:pt x="954" y="1798"/>
                  </a:lnTo>
                  <a:lnTo>
                    <a:pt x="972" y="1796"/>
                  </a:lnTo>
                  <a:lnTo>
                    <a:pt x="982" y="1794"/>
                  </a:lnTo>
                  <a:lnTo>
                    <a:pt x="990" y="1794"/>
                  </a:lnTo>
                  <a:lnTo>
                    <a:pt x="996" y="1794"/>
                  </a:lnTo>
                  <a:lnTo>
                    <a:pt x="998" y="1788"/>
                  </a:lnTo>
                  <a:lnTo>
                    <a:pt x="1000" y="1774"/>
                  </a:lnTo>
                  <a:lnTo>
                    <a:pt x="1000" y="1768"/>
                  </a:lnTo>
                  <a:lnTo>
                    <a:pt x="1002" y="1760"/>
                  </a:lnTo>
                  <a:lnTo>
                    <a:pt x="1004" y="1756"/>
                  </a:lnTo>
                  <a:lnTo>
                    <a:pt x="1010" y="1756"/>
                  </a:lnTo>
                  <a:lnTo>
                    <a:pt x="1018" y="1756"/>
                  </a:lnTo>
                  <a:lnTo>
                    <a:pt x="1018" y="1754"/>
                  </a:lnTo>
                  <a:lnTo>
                    <a:pt x="1018" y="1752"/>
                  </a:lnTo>
                  <a:lnTo>
                    <a:pt x="1020" y="1750"/>
                  </a:lnTo>
                  <a:lnTo>
                    <a:pt x="1024" y="1748"/>
                  </a:lnTo>
                  <a:lnTo>
                    <a:pt x="1034" y="1746"/>
                  </a:lnTo>
                  <a:lnTo>
                    <a:pt x="1042" y="1746"/>
                  </a:lnTo>
                  <a:lnTo>
                    <a:pt x="1050" y="1746"/>
                  </a:lnTo>
                  <a:lnTo>
                    <a:pt x="1058" y="1750"/>
                  </a:lnTo>
                  <a:lnTo>
                    <a:pt x="1062" y="1750"/>
                  </a:lnTo>
                  <a:lnTo>
                    <a:pt x="1064" y="1750"/>
                  </a:lnTo>
                  <a:lnTo>
                    <a:pt x="1070" y="1736"/>
                  </a:lnTo>
                  <a:lnTo>
                    <a:pt x="1076" y="1720"/>
                  </a:lnTo>
                  <a:lnTo>
                    <a:pt x="1082" y="1708"/>
                  </a:lnTo>
                  <a:lnTo>
                    <a:pt x="1086" y="1700"/>
                  </a:lnTo>
                  <a:lnTo>
                    <a:pt x="1088" y="1692"/>
                  </a:lnTo>
                  <a:lnTo>
                    <a:pt x="1088" y="1684"/>
                  </a:lnTo>
                  <a:lnTo>
                    <a:pt x="1090" y="1676"/>
                  </a:lnTo>
                  <a:lnTo>
                    <a:pt x="1092" y="1666"/>
                  </a:lnTo>
                  <a:lnTo>
                    <a:pt x="1092" y="1658"/>
                  </a:lnTo>
                  <a:lnTo>
                    <a:pt x="1090" y="1654"/>
                  </a:lnTo>
                  <a:lnTo>
                    <a:pt x="1092" y="1650"/>
                  </a:lnTo>
                  <a:lnTo>
                    <a:pt x="1094" y="1644"/>
                  </a:lnTo>
                  <a:lnTo>
                    <a:pt x="1098" y="1638"/>
                  </a:lnTo>
                  <a:lnTo>
                    <a:pt x="1098" y="1634"/>
                  </a:lnTo>
                  <a:lnTo>
                    <a:pt x="1098" y="1632"/>
                  </a:lnTo>
                  <a:lnTo>
                    <a:pt x="1096" y="1626"/>
                  </a:lnTo>
                  <a:lnTo>
                    <a:pt x="1098" y="1622"/>
                  </a:lnTo>
                  <a:lnTo>
                    <a:pt x="1100" y="1618"/>
                  </a:lnTo>
                  <a:lnTo>
                    <a:pt x="1098" y="1610"/>
                  </a:lnTo>
                  <a:lnTo>
                    <a:pt x="1096" y="1606"/>
                  </a:lnTo>
                  <a:lnTo>
                    <a:pt x="1096" y="1604"/>
                  </a:lnTo>
                  <a:lnTo>
                    <a:pt x="1098" y="1604"/>
                  </a:lnTo>
                  <a:lnTo>
                    <a:pt x="1100" y="1602"/>
                  </a:lnTo>
                  <a:lnTo>
                    <a:pt x="1102" y="1600"/>
                  </a:lnTo>
                  <a:lnTo>
                    <a:pt x="1100" y="1598"/>
                  </a:lnTo>
                  <a:lnTo>
                    <a:pt x="1100" y="1596"/>
                  </a:lnTo>
                  <a:lnTo>
                    <a:pt x="1102" y="1592"/>
                  </a:lnTo>
                  <a:lnTo>
                    <a:pt x="1112" y="1588"/>
                  </a:lnTo>
                  <a:lnTo>
                    <a:pt x="1124" y="1582"/>
                  </a:lnTo>
                  <a:lnTo>
                    <a:pt x="1130" y="1578"/>
                  </a:lnTo>
                  <a:lnTo>
                    <a:pt x="1132" y="1574"/>
                  </a:lnTo>
                  <a:lnTo>
                    <a:pt x="1134" y="1570"/>
                  </a:lnTo>
                  <a:lnTo>
                    <a:pt x="1134" y="1568"/>
                  </a:lnTo>
                  <a:lnTo>
                    <a:pt x="1138" y="1572"/>
                  </a:lnTo>
                  <a:lnTo>
                    <a:pt x="1142" y="1576"/>
                  </a:lnTo>
                  <a:lnTo>
                    <a:pt x="1144" y="1574"/>
                  </a:lnTo>
                  <a:lnTo>
                    <a:pt x="1146" y="1572"/>
                  </a:lnTo>
                  <a:lnTo>
                    <a:pt x="1152" y="1566"/>
                  </a:lnTo>
                  <a:lnTo>
                    <a:pt x="1158" y="1562"/>
                  </a:lnTo>
                  <a:lnTo>
                    <a:pt x="1164" y="1560"/>
                  </a:lnTo>
                  <a:lnTo>
                    <a:pt x="1164" y="1558"/>
                  </a:lnTo>
                  <a:lnTo>
                    <a:pt x="1164" y="1556"/>
                  </a:lnTo>
                  <a:lnTo>
                    <a:pt x="1166" y="1554"/>
                  </a:lnTo>
                  <a:lnTo>
                    <a:pt x="1170" y="1552"/>
                  </a:lnTo>
                  <a:lnTo>
                    <a:pt x="1172" y="1550"/>
                  </a:lnTo>
                  <a:lnTo>
                    <a:pt x="1172" y="1548"/>
                  </a:lnTo>
                  <a:lnTo>
                    <a:pt x="1172" y="1546"/>
                  </a:lnTo>
                  <a:lnTo>
                    <a:pt x="1170" y="1542"/>
                  </a:lnTo>
                  <a:lnTo>
                    <a:pt x="1168" y="1540"/>
                  </a:lnTo>
                  <a:lnTo>
                    <a:pt x="1164" y="1540"/>
                  </a:lnTo>
                  <a:lnTo>
                    <a:pt x="1152" y="1546"/>
                  </a:lnTo>
                  <a:lnTo>
                    <a:pt x="1144" y="1550"/>
                  </a:lnTo>
                  <a:lnTo>
                    <a:pt x="1136" y="1550"/>
                  </a:lnTo>
                  <a:lnTo>
                    <a:pt x="1128" y="1550"/>
                  </a:lnTo>
                  <a:lnTo>
                    <a:pt x="1122" y="1546"/>
                  </a:lnTo>
                  <a:lnTo>
                    <a:pt x="1112" y="1540"/>
                  </a:lnTo>
                  <a:lnTo>
                    <a:pt x="1104" y="1538"/>
                  </a:lnTo>
                  <a:lnTo>
                    <a:pt x="1094" y="1538"/>
                  </a:lnTo>
                  <a:lnTo>
                    <a:pt x="1086" y="1538"/>
                  </a:lnTo>
                  <a:lnTo>
                    <a:pt x="1076" y="1538"/>
                  </a:lnTo>
                  <a:lnTo>
                    <a:pt x="1084" y="1534"/>
                  </a:lnTo>
                  <a:lnTo>
                    <a:pt x="1092" y="1530"/>
                  </a:lnTo>
                  <a:lnTo>
                    <a:pt x="1098" y="1530"/>
                  </a:lnTo>
                  <a:lnTo>
                    <a:pt x="1110" y="1530"/>
                  </a:lnTo>
                  <a:lnTo>
                    <a:pt x="1118" y="1534"/>
                  </a:lnTo>
                  <a:lnTo>
                    <a:pt x="1122" y="1534"/>
                  </a:lnTo>
                  <a:lnTo>
                    <a:pt x="1124" y="1532"/>
                  </a:lnTo>
                  <a:lnTo>
                    <a:pt x="1126" y="1532"/>
                  </a:lnTo>
                  <a:lnTo>
                    <a:pt x="1128" y="1532"/>
                  </a:lnTo>
                  <a:lnTo>
                    <a:pt x="1134" y="1538"/>
                  </a:lnTo>
                  <a:lnTo>
                    <a:pt x="1142" y="1544"/>
                  </a:lnTo>
                  <a:lnTo>
                    <a:pt x="1146" y="1544"/>
                  </a:lnTo>
                  <a:lnTo>
                    <a:pt x="1150" y="1542"/>
                  </a:lnTo>
                  <a:lnTo>
                    <a:pt x="1178" y="1528"/>
                  </a:lnTo>
                  <a:lnTo>
                    <a:pt x="1190" y="1518"/>
                  </a:lnTo>
                  <a:lnTo>
                    <a:pt x="1192" y="1516"/>
                  </a:lnTo>
                  <a:lnTo>
                    <a:pt x="1192" y="1512"/>
                  </a:lnTo>
                  <a:lnTo>
                    <a:pt x="1184" y="1500"/>
                  </a:lnTo>
                  <a:lnTo>
                    <a:pt x="1178" y="1496"/>
                  </a:lnTo>
                  <a:lnTo>
                    <a:pt x="1172" y="1496"/>
                  </a:lnTo>
                  <a:lnTo>
                    <a:pt x="1168" y="1496"/>
                  </a:lnTo>
                  <a:lnTo>
                    <a:pt x="1168" y="1494"/>
                  </a:lnTo>
                  <a:lnTo>
                    <a:pt x="1168" y="1490"/>
                  </a:lnTo>
                  <a:lnTo>
                    <a:pt x="1170" y="1484"/>
                  </a:lnTo>
                  <a:lnTo>
                    <a:pt x="1168" y="1482"/>
                  </a:lnTo>
                  <a:lnTo>
                    <a:pt x="1164" y="1480"/>
                  </a:lnTo>
                  <a:lnTo>
                    <a:pt x="1158" y="1476"/>
                  </a:lnTo>
                  <a:lnTo>
                    <a:pt x="1154" y="1472"/>
                  </a:lnTo>
                  <a:lnTo>
                    <a:pt x="1148" y="1468"/>
                  </a:lnTo>
                  <a:lnTo>
                    <a:pt x="1144" y="1466"/>
                  </a:lnTo>
                  <a:lnTo>
                    <a:pt x="1138" y="1468"/>
                  </a:lnTo>
                  <a:lnTo>
                    <a:pt x="1132" y="1468"/>
                  </a:lnTo>
                  <a:lnTo>
                    <a:pt x="1132" y="1466"/>
                  </a:lnTo>
                  <a:lnTo>
                    <a:pt x="1132" y="1462"/>
                  </a:lnTo>
                  <a:lnTo>
                    <a:pt x="1130" y="1462"/>
                  </a:lnTo>
                  <a:lnTo>
                    <a:pt x="1126" y="1460"/>
                  </a:lnTo>
                  <a:lnTo>
                    <a:pt x="1124" y="1460"/>
                  </a:lnTo>
                  <a:lnTo>
                    <a:pt x="1122" y="1458"/>
                  </a:lnTo>
                  <a:lnTo>
                    <a:pt x="1118" y="1450"/>
                  </a:lnTo>
                  <a:lnTo>
                    <a:pt x="1116" y="1440"/>
                  </a:lnTo>
                  <a:lnTo>
                    <a:pt x="1116" y="1428"/>
                  </a:lnTo>
                  <a:lnTo>
                    <a:pt x="1116" y="1416"/>
                  </a:lnTo>
                  <a:lnTo>
                    <a:pt x="1116" y="1406"/>
                  </a:lnTo>
                  <a:lnTo>
                    <a:pt x="1120" y="1398"/>
                  </a:lnTo>
                  <a:lnTo>
                    <a:pt x="1120" y="1396"/>
                  </a:lnTo>
                  <a:lnTo>
                    <a:pt x="1124" y="1396"/>
                  </a:lnTo>
                  <a:lnTo>
                    <a:pt x="1126" y="1394"/>
                  </a:lnTo>
                  <a:lnTo>
                    <a:pt x="1128" y="1392"/>
                  </a:lnTo>
                  <a:lnTo>
                    <a:pt x="1126" y="1386"/>
                  </a:lnTo>
                  <a:lnTo>
                    <a:pt x="1126" y="1374"/>
                  </a:lnTo>
                  <a:lnTo>
                    <a:pt x="1126" y="1368"/>
                  </a:lnTo>
                  <a:lnTo>
                    <a:pt x="1128" y="1360"/>
                  </a:lnTo>
                  <a:lnTo>
                    <a:pt x="1132" y="1356"/>
                  </a:lnTo>
                  <a:lnTo>
                    <a:pt x="1132" y="1352"/>
                  </a:lnTo>
                  <a:lnTo>
                    <a:pt x="1130" y="1352"/>
                  </a:lnTo>
                  <a:lnTo>
                    <a:pt x="1128" y="1350"/>
                  </a:lnTo>
                  <a:lnTo>
                    <a:pt x="1124" y="1350"/>
                  </a:lnTo>
                  <a:lnTo>
                    <a:pt x="1122" y="1348"/>
                  </a:lnTo>
                  <a:lnTo>
                    <a:pt x="1122" y="1342"/>
                  </a:lnTo>
                  <a:lnTo>
                    <a:pt x="1122" y="1336"/>
                  </a:lnTo>
                  <a:lnTo>
                    <a:pt x="1124" y="1338"/>
                  </a:lnTo>
                  <a:lnTo>
                    <a:pt x="1130" y="1340"/>
                  </a:lnTo>
                  <a:lnTo>
                    <a:pt x="1136" y="1340"/>
                  </a:lnTo>
                  <a:lnTo>
                    <a:pt x="1142" y="1338"/>
                  </a:lnTo>
                  <a:lnTo>
                    <a:pt x="1148" y="1334"/>
                  </a:lnTo>
                  <a:lnTo>
                    <a:pt x="1148" y="1332"/>
                  </a:lnTo>
                  <a:lnTo>
                    <a:pt x="1148" y="1330"/>
                  </a:lnTo>
                  <a:lnTo>
                    <a:pt x="1146" y="1326"/>
                  </a:lnTo>
                  <a:lnTo>
                    <a:pt x="1144" y="1324"/>
                  </a:lnTo>
                  <a:lnTo>
                    <a:pt x="1142" y="1322"/>
                  </a:lnTo>
                  <a:lnTo>
                    <a:pt x="1144" y="1322"/>
                  </a:lnTo>
                  <a:lnTo>
                    <a:pt x="1152" y="1320"/>
                  </a:lnTo>
                  <a:lnTo>
                    <a:pt x="1160" y="1318"/>
                  </a:lnTo>
                  <a:lnTo>
                    <a:pt x="1166" y="1312"/>
                  </a:lnTo>
                  <a:lnTo>
                    <a:pt x="1170" y="1308"/>
                  </a:lnTo>
                  <a:lnTo>
                    <a:pt x="1172" y="1302"/>
                  </a:lnTo>
                  <a:lnTo>
                    <a:pt x="1178" y="1294"/>
                  </a:lnTo>
                  <a:lnTo>
                    <a:pt x="1180" y="1292"/>
                  </a:lnTo>
                  <a:lnTo>
                    <a:pt x="1186" y="1292"/>
                  </a:lnTo>
                  <a:lnTo>
                    <a:pt x="1190" y="1294"/>
                  </a:lnTo>
                  <a:lnTo>
                    <a:pt x="1194" y="1292"/>
                  </a:lnTo>
                  <a:lnTo>
                    <a:pt x="1196" y="1286"/>
                  </a:lnTo>
                  <a:lnTo>
                    <a:pt x="1200" y="1278"/>
                  </a:lnTo>
                  <a:lnTo>
                    <a:pt x="1204" y="1274"/>
                  </a:lnTo>
                  <a:lnTo>
                    <a:pt x="1208" y="1274"/>
                  </a:lnTo>
                  <a:lnTo>
                    <a:pt x="1214" y="1274"/>
                  </a:lnTo>
                  <a:lnTo>
                    <a:pt x="1218" y="1274"/>
                  </a:lnTo>
                  <a:lnTo>
                    <a:pt x="1222" y="1268"/>
                  </a:lnTo>
                  <a:lnTo>
                    <a:pt x="1226" y="1264"/>
                  </a:lnTo>
                  <a:lnTo>
                    <a:pt x="1228" y="1264"/>
                  </a:lnTo>
                  <a:lnTo>
                    <a:pt x="1232" y="1264"/>
                  </a:lnTo>
                  <a:lnTo>
                    <a:pt x="1236" y="1264"/>
                  </a:lnTo>
                  <a:lnTo>
                    <a:pt x="1238" y="1264"/>
                  </a:lnTo>
                  <a:lnTo>
                    <a:pt x="1240" y="1260"/>
                  </a:lnTo>
                  <a:lnTo>
                    <a:pt x="1244" y="1254"/>
                  </a:lnTo>
                  <a:lnTo>
                    <a:pt x="1246" y="1254"/>
                  </a:lnTo>
                  <a:lnTo>
                    <a:pt x="1250" y="1254"/>
                  </a:lnTo>
                  <a:lnTo>
                    <a:pt x="1254" y="1252"/>
                  </a:lnTo>
                  <a:lnTo>
                    <a:pt x="1258" y="1250"/>
                  </a:lnTo>
                  <a:lnTo>
                    <a:pt x="1262" y="1240"/>
                  </a:lnTo>
                  <a:lnTo>
                    <a:pt x="1268" y="1226"/>
                  </a:lnTo>
                  <a:lnTo>
                    <a:pt x="1274" y="1220"/>
                  </a:lnTo>
                  <a:lnTo>
                    <a:pt x="1284" y="1214"/>
                  </a:lnTo>
                  <a:lnTo>
                    <a:pt x="1290" y="1208"/>
                  </a:lnTo>
                  <a:lnTo>
                    <a:pt x="1292" y="1206"/>
                  </a:lnTo>
                  <a:lnTo>
                    <a:pt x="1292" y="1204"/>
                  </a:lnTo>
                  <a:lnTo>
                    <a:pt x="1290" y="1202"/>
                  </a:lnTo>
                  <a:lnTo>
                    <a:pt x="1284" y="1198"/>
                  </a:lnTo>
                  <a:lnTo>
                    <a:pt x="1280" y="1194"/>
                  </a:lnTo>
                  <a:lnTo>
                    <a:pt x="1276" y="1190"/>
                  </a:lnTo>
                  <a:lnTo>
                    <a:pt x="1276" y="1184"/>
                  </a:lnTo>
                  <a:lnTo>
                    <a:pt x="1276" y="1180"/>
                  </a:lnTo>
                  <a:lnTo>
                    <a:pt x="1282" y="1174"/>
                  </a:lnTo>
                  <a:lnTo>
                    <a:pt x="1288" y="1168"/>
                  </a:lnTo>
                  <a:lnTo>
                    <a:pt x="1290" y="1164"/>
                  </a:lnTo>
                  <a:lnTo>
                    <a:pt x="1292" y="1156"/>
                  </a:lnTo>
                  <a:lnTo>
                    <a:pt x="1292" y="1150"/>
                  </a:lnTo>
                  <a:lnTo>
                    <a:pt x="1294" y="1146"/>
                  </a:lnTo>
                  <a:lnTo>
                    <a:pt x="1298" y="1144"/>
                  </a:lnTo>
                  <a:lnTo>
                    <a:pt x="1300" y="1144"/>
                  </a:lnTo>
                  <a:lnTo>
                    <a:pt x="1306" y="1142"/>
                  </a:lnTo>
                  <a:lnTo>
                    <a:pt x="1310" y="1140"/>
                  </a:lnTo>
                  <a:lnTo>
                    <a:pt x="1310" y="1138"/>
                  </a:lnTo>
                  <a:lnTo>
                    <a:pt x="1314" y="1132"/>
                  </a:lnTo>
                  <a:lnTo>
                    <a:pt x="1320" y="1126"/>
                  </a:lnTo>
                  <a:lnTo>
                    <a:pt x="1338" y="1114"/>
                  </a:lnTo>
                  <a:lnTo>
                    <a:pt x="1340" y="1112"/>
                  </a:lnTo>
                  <a:lnTo>
                    <a:pt x="1344" y="1112"/>
                  </a:lnTo>
                  <a:lnTo>
                    <a:pt x="1346" y="1116"/>
                  </a:lnTo>
                  <a:lnTo>
                    <a:pt x="1348" y="1118"/>
                  </a:lnTo>
                  <a:lnTo>
                    <a:pt x="1350" y="1120"/>
                  </a:lnTo>
                  <a:lnTo>
                    <a:pt x="1354" y="1120"/>
                  </a:lnTo>
                  <a:lnTo>
                    <a:pt x="1358" y="1118"/>
                  </a:lnTo>
                  <a:lnTo>
                    <a:pt x="1364" y="1116"/>
                  </a:lnTo>
                  <a:lnTo>
                    <a:pt x="1368" y="1116"/>
                  </a:lnTo>
                  <a:lnTo>
                    <a:pt x="1378" y="1116"/>
                  </a:lnTo>
                  <a:lnTo>
                    <a:pt x="1386" y="1116"/>
                  </a:lnTo>
                  <a:lnTo>
                    <a:pt x="1392" y="1116"/>
                  </a:lnTo>
                  <a:lnTo>
                    <a:pt x="1396" y="1114"/>
                  </a:lnTo>
                  <a:lnTo>
                    <a:pt x="1408" y="1116"/>
                  </a:lnTo>
                  <a:lnTo>
                    <a:pt x="1414" y="1120"/>
                  </a:lnTo>
                  <a:lnTo>
                    <a:pt x="1418" y="1124"/>
                  </a:lnTo>
                  <a:lnTo>
                    <a:pt x="1428" y="1126"/>
                  </a:lnTo>
                  <a:lnTo>
                    <a:pt x="1438" y="1130"/>
                  </a:lnTo>
                  <a:lnTo>
                    <a:pt x="1440" y="1134"/>
                  </a:lnTo>
                  <a:lnTo>
                    <a:pt x="1442" y="1136"/>
                  </a:lnTo>
                  <a:lnTo>
                    <a:pt x="1442" y="1144"/>
                  </a:lnTo>
                  <a:lnTo>
                    <a:pt x="1440" y="1154"/>
                  </a:lnTo>
                  <a:lnTo>
                    <a:pt x="1440" y="1162"/>
                  </a:lnTo>
                  <a:lnTo>
                    <a:pt x="1442" y="1166"/>
                  </a:lnTo>
                  <a:lnTo>
                    <a:pt x="1446" y="1168"/>
                  </a:lnTo>
                  <a:lnTo>
                    <a:pt x="1444" y="1174"/>
                  </a:lnTo>
                  <a:lnTo>
                    <a:pt x="1442" y="1176"/>
                  </a:lnTo>
                  <a:lnTo>
                    <a:pt x="1440" y="1176"/>
                  </a:lnTo>
                  <a:lnTo>
                    <a:pt x="1434" y="1176"/>
                  </a:lnTo>
                  <a:lnTo>
                    <a:pt x="1422" y="1178"/>
                  </a:lnTo>
                  <a:lnTo>
                    <a:pt x="1416" y="1180"/>
                  </a:lnTo>
                  <a:lnTo>
                    <a:pt x="1412" y="1184"/>
                  </a:lnTo>
                  <a:lnTo>
                    <a:pt x="1406" y="1196"/>
                  </a:lnTo>
                  <a:lnTo>
                    <a:pt x="1398" y="1208"/>
                  </a:lnTo>
                  <a:lnTo>
                    <a:pt x="1390" y="1216"/>
                  </a:lnTo>
                  <a:lnTo>
                    <a:pt x="1382" y="1222"/>
                  </a:lnTo>
                  <a:lnTo>
                    <a:pt x="1372" y="1228"/>
                  </a:lnTo>
                  <a:lnTo>
                    <a:pt x="1368" y="1232"/>
                  </a:lnTo>
                  <a:lnTo>
                    <a:pt x="1366" y="1236"/>
                  </a:lnTo>
                  <a:lnTo>
                    <a:pt x="1366" y="1238"/>
                  </a:lnTo>
                  <a:lnTo>
                    <a:pt x="1366" y="1242"/>
                  </a:lnTo>
                  <a:lnTo>
                    <a:pt x="1358" y="1244"/>
                  </a:lnTo>
                  <a:lnTo>
                    <a:pt x="1354" y="1246"/>
                  </a:lnTo>
                  <a:lnTo>
                    <a:pt x="1350" y="1248"/>
                  </a:lnTo>
                  <a:lnTo>
                    <a:pt x="1346" y="1254"/>
                  </a:lnTo>
                  <a:lnTo>
                    <a:pt x="1344" y="1258"/>
                  </a:lnTo>
                  <a:lnTo>
                    <a:pt x="1342" y="1260"/>
                  </a:lnTo>
                  <a:lnTo>
                    <a:pt x="1338" y="1260"/>
                  </a:lnTo>
                  <a:lnTo>
                    <a:pt x="1334" y="1260"/>
                  </a:lnTo>
                  <a:lnTo>
                    <a:pt x="1332" y="1260"/>
                  </a:lnTo>
                  <a:lnTo>
                    <a:pt x="1328" y="1264"/>
                  </a:lnTo>
                  <a:lnTo>
                    <a:pt x="1326" y="1268"/>
                  </a:lnTo>
                  <a:lnTo>
                    <a:pt x="1324" y="1270"/>
                  </a:lnTo>
                  <a:lnTo>
                    <a:pt x="1322" y="1270"/>
                  </a:lnTo>
                  <a:lnTo>
                    <a:pt x="1320" y="1272"/>
                  </a:lnTo>
                  <a:lnTo>
                    <a:pt x="1318" y="1272"/>
                  </a:lnTo>
                  <a:lnTo>
                    <a:pt x="1318" y="1278"/>
                  </a:lnTo>
                  <a:lnTo>
                    <a:pt x="1318" y="1286"/>
                  </a:lnTo>
                  <a:lnTo>
                    <a:pt x="1318" y="1288"/>
                  </a:lnTo>
                  <a:lnTo>
                    <a:pt x="1314" y="1292"/>
                  </a:lnTo>
                  <a:lnTo>
                    <a:pt x="1310" y="1294"/>
                  </a:lnTo>
                  <a:lnTo>
                    <a:pt x="1308" y="1294"/>
                  </a:lnTo>
                  <a:lnTo>
                    <a:pt x="1300" y="1292"/>
                  </a:lnTo>
                  <a:lnTo>
                    <a:pt x="1294" y="1290"/>
                  </a:lnTo>
                  <a:lnTo>
                    <a:pt x="1292" y="1292"/>
                  </a:lnTo>
                  <a:lnTo>
                    <a:pt x="1290" y="1296"/>
                  </a:lnTo>
                  <a:lnTo>
                    <a:pt x="1290" y="1300"/>
                  </a:lnTo>
                  <a:lnTo>
                    <a:pt x="1286" y="1304"/>
                  </a:lnTo>
                  <a:lnTo>
                    <a:pt x="1278" y="1314"/>
                  </a:lnTo>
                  <a:lnTo>
                    <a:pt x="1276" y="1322"/>
                  </a:lnTo>
                  <a:lnTo>
                    <a:pt x="1274" y="1328"/>
                  </a:lnTo>
                  <a:lnTo>
                    <a:pt x="1274" y="1338"/>
                  </a:lnTo>
                  <a:lnTo>
                    <a:pt x="1278" y="1346"/>
                  </a:lnTo>
                  <a:lnTo>
                    <a:pt x="1282" y="1354"/>
                  </a:lnTo>
                  <a:lnTo>
                    <a:pt x="1282" y="1360"/>
                  </a:lnTo>
                  <a:lnTo>
                    <a:pt x="1282" y="1364"/>
                  </a:lnTo>
                  <a:lnTo>
                    <a:pt x="1280" y="1366"/>
                  </a:lnTo>
                  <a:lnTo>
                    <a:pt x="1278" y="1368"/>
                  </a:lnTo>
                  <a:lnTo>
                    <a:pt x="1278" y="1372"/>
                  </a:lnTo>
                  <a:lnTo>
                    <a:pt x="1280" y="1378"/>
                  </a:lnTo>
                  <a:lnTo>
                    <a:pt x="1288" y="1388"/>
                  </a:lnTo>
                  <a:lnTo>
                    <a:pt x="1292" y="1394"/>
                  </a:lnTo>
                  <a:lnTo>
                    <a:pt x="1294" y="1396"/>
                  </a:lnTo>
                  <a:lnTo>
                    <a:pt x="1294" y="1398"/>
                  </a:lnTo>
                  <a:lnTo>
                    <a:pt x="1292" y="1400"/>
                  </a:lnTo>
                  <a:lnTo>
                    <a:pt x="1288" y="1402"/>
                  </a:lnTo>
                  <a:lnTo>
                    <a:pt x="1286" y="1404"/>
                  </a:lnTo>
                  <a:lnTo>
                    <a:pt x="1286" y="1406"/>
                  </a:lnTo>
                  <a:lnTo>
                    <a:pt x="1288" y="1416"/>
                  </a:lnTo>
                  <a:lnTo>
                    <a:pt x="1288" y="1424"/>
                  </a:lnTo>
                  <a:lnTo>
                    <a:pt x="1282" y="1444"/>
                  </a:lnTo>
                  <a:lnTo>
                    <a:pt x="1280" y="1456"/>
                  </a:lnTo>
                  <a:lnTo>
                    <a:pt x="1280" y="1462"/>
                  </a:lnTo>
                  <a:lnTo>
                    <a:pt x="1282" y="1464"/>
                  </a:lnTo>
                  <a:lnTo>
                    <a:pt x="1286" y="1466"/>
                  </a:lnTo>
                  <a:lnTo>
                    <a:pt x="1298" y="1470"/>
                  </a:lnTo>
                  <a:lnTo>
                    <a:pt x="1322" y="1476"/>
                  </a:lnTo>
                  <a:lnTo>
                    <a:pt x="1328" y="1478"/>
                  </a:lnTo>
                  <a:lnTo>
                    <a:pt x="1330" y="1480"/>
                  </a:lnTo>
                  <a:lnTo>
                    <a:pt x="1328" y="1484"/>
                  </a:lnTo>
                  <a:lnTo>
                    <a:pt x="1328" y="1492"/>
                  </a:lnTo>
                  <a:lnTo>
                    <a:pt x="1328" y="1500"/>
                  </a:lnTo>
                  <a:lnTo>
                    <a:pt x="1330" y="1504"/>
                  </a:lnTo>
                  <a:lnTo>
                    <a:pt x="1334" y="1504"/>
                  </a:lnTo>
                  <a:lnTo>
                    <a:pt x="1336" y="1504"/>
                  </a:lnTo>
                  <a:lnTo>
                    <a:pt x="1340" y="1500"/>
                  </a:lnTo>
                  <a:lnTo>
                    <a:pt x="1346" y="1494"/>
                  </a:lnTo>
                  <a:lnTo>
                    <a:pt x="1352" y="1494"/>
                  </a:lnTo>
                  <a:lnTo>
                    <a:pt x="1354" y="1496"/>
                  </a:lnTo>
                  <a:lnTo>
                    <a:pt x="1354" y="1498"/>
                  </a:lnTo>
                  <a:lnTo>
                    <a:pt x="1354" y="1500"/>
                  </a:lnTo>
                  <a:lnTo>
                    <a:pt x="1352" y="1506"/>
                  </a:lnTo>
                  <a:lnTo>
                    <a:pt x="1346" y="1512"/>
                  </a:lnTo>
                  <a:lnTo>
                    <a:pt x="1346" y="1516"/>
                  </a:lnTo>
                  <a:lnTo>
                    <a:pt x="1352" y="1514"/>
                  </a:lnTo>
                  <a:lnTo>
                    <a:pt x="1366" y="1508"/>
                  </a:lnTo>
                  <a:lnTo>
                    <a:pt x="1376" y="1504"/>
                  </a:lnTo>
                  <a:lnTo>
                    <a:pt x="1390" y="1504"/>
                  </a:lnTo>
                  <a:lnTo>
                    <a:pt x="1408" y="1500"/>
                  </a:lnTo>
                  <a:lnTo>
                    <a:pt x="1436" y="1488"/>
                  </a:lnTo>
                  <a:lnTo>
                    <a:pt x="1448" y="1484"/>
                  </a:lnTo>
                  <a:lnTo>
                    <a:pt x="1454" y="1484"/>
                  </a:lnTo>
                  <a:lnTo>
                    <a:pt x="1458" y="1484"/>
                  </a:lnTo>
                  <a:lnTo>
                    <a:pt x="1462" y="1484"/>
                  </a:lnTo>
                  <a:lnTo>
                    <a:pt x="1466" y="1486"/>
                  </a:lnTo>
                  <a:lnTo>
                    <a:pt x="1470" y="1482"/>
                  </a:lnTo>
                  <a:lnTo>
                    <a:pt x="1476" y="1476"/>
                  </a:lnTo>
                  <a:lnTo>
                    <a:pt x="1478" y="1476"/>
                  </a:lnTo>
                  <a:lnTo>
                    <a:pt x="1484" y="1478"/>
                  </a:lnTo>
                  <a:lnTo>
                    <a:pt x="1490" y="1476"/>
                  </a:lnTo>
                  <a:lnTo>
                    <a:pt x="1498" y="1474"/>
                  </a:lnTo>
                  <a:lnTo>
                    <a:pt x="1506" y="1472"/>
                  </a:lnTo>
                  <a:lnTo>
                    <a:pt x="1512" y="1470"/>
                  </a:lnTo>
                  <a:lnTo>
                    <a:pt x="1522" y="1470"/>
                  </a:lnTo>
                  <a:lnTo>
                    <a:pt x="1532" y="1470"/>
                  </a:lnTo>
                  <a:lnTo>
                    <a:pt x="1538" y="1470"/>
                  </a:lnTo>
                  <a:lnTo>
                    <a:pt x="1546" y="1466"/>
                  </a:lnTo>
                  <a:lnTo>
                    <a:pt x="1550" y="1468"/>
                  </a:lnTo>
                  <a:lnTo>
                    <a:pt x="1556" y="1468"/>
                  </a:lnTo>
                  <a:lnTo>
                    <a:pt x="1566" y="1462"/>
                  </a:lnTo>
                  <a:lnTo>
                    <a:pt x="1574" y="1456"/>
                  </a:lnTo>
                  <a:lnTo>
                    <a:pt x="1578" y="1454"/>
                  </a:lnTo>
                  <a:lnTo>
                    <a:pt x="1580" y="1456"/>
                  </a:lnTo>
                  <a:lnTo>
                    <a:pt x="1582" y="1458"/>
                  </a:lnTo>
                  <a:lnTo>
                    <a:pt x="1578" y="1458"/>
                  </a:lnTo>
                  <a:lnTo>
                    <a:pt x="1576" y="1462"/>
                  </a:lnTo>
                  <a:lnTo>
                    <a:pt x="1578" y="1466"/>
                  </a:lnTo>
                  <a:lnTo>
                    <a:pt x="1580" y="1470"/>
                  </a:lnTo>
                  <a:lnTo>
                    <a:pt x="1578" y="1472"/>
                  </a:lnTo>
                  <a:lnTo>
                    <a:pt x="1572" y="1470"/>
                  </a:lnTo>
                  <a:lnTo>
                    <a:pt x="1568" y="1468"/>
                  </a:lnTo>
                  <a:lnTo>
                    <a:pt x="1572" y="1474"/>
                  </a:lnTo>
                  <a:lnTo>
                    <a:pt x="1578" y="1480"/>
                  </a:lnTo>
                  <a:lnTo>
                    <a:pt x="1582" y="1480"/>
                  </a:lnTo>
                  <a:lnTo>
                    <a:pt x="1584" y="1482"/>
                  </a:lnTo>
                  <a:lnTo>
                    <a:pt x="1588" y="1486"/>
                  </a:lnTo>
                  <a:lnTo>
                    <a:pt x="1592" y="1490"/>
                  </a:lnTo>
                  <a:lnTo>
                    <a:pt x="1596" y="1490"/>
                  </a:lnTo>
                  <a:lnTo>
                    <a:pt x="1608" y="1490"/>
                  </a:lnTo>
                  <a:lnTo>
                    <a:pt x="1618" y="1490"/>
                  </a:lnTo>
                  <a:lnTo>
                    <a:pt x="1622" y="1492"/>
                  </a:lnTo>
                  <a:lnTo>
                    <a:pt x="1626" y="1494"/>
                  </a:lnTo>
                  <a:lnTo>
                    <a:pt x="1628" y="1498"/>
                  </a:lnTo>
                  <a:lnTo>
                    <a:pt x="1632" y="1500"/>
                  </a:lnTo>
                  <a:lnTo>
                    <a:pt x="1638" y="1502"/>
                  </a:lnTo>
                  <a:lnTo>
                    <a:pt x="1642" y="1504"/>
                  </a:lnTo>
                  <a:lnTo>
                    <a:pt x="1642" y="1508"/>
                  </a:lnTo>
                  <a:lnTo>
                    <a:pt x="1638" y="1510"/>
                  </a:lnTo>
                  <a:lnTo>
                    <a:pt x="1634" y="1510"/>
                  </a:lnTo>
                  <a:lnTo>
                    <a:pt x="1610" y="1504"/>
                  </a:lnTo>
                  <a:lnTo>
                    <a:pt x="1602" y="1502"/>
                  </a:lnTo>
                  <a:lnTo>
                    <a:pt x="1596" y="1504"/>
                  </a:lnTo>
                  <a:lnTo>
                    <a:pt x="1594" y="1506"/>
                  </a:lnTo>
                  <a:lnTo>
                    <a:pt x="1592" y="1510"/>
                  </a:lnTo>
                  <a:lnTo>
                    <a:pt x="1590" y="1512"/>
                  </a:lnTo>
                  <a:lnTo>
                    <a:pt x="1588" y="1516"/>
                  </a:lnTo>
                  <a:lnTo>
                    <a:pt x="1584" y="1516"/>
                  </a:lnTo>
                  <a:lnTo>
                    <a:pt x="1578" y="1514"/>
                  </a:lnTo>
                  <a:lnTo>
                    <a:pt x="1574" y="1512"/>
                  </a:lnTo>
                  <a:lnTo>
                    <a:pt x="1570" y="1514"/>
                  </a:lnTo>
                  <a:lnTo>
                    <a:pt x="1568" y="1516"/>
                  </a:lnTo>
                  <a:lnTo>
                    <a:pt x="1568" y="1518"/>
                  </a:lnTo>
                  <a:lnTo>
                    <a:pt x="1568" y="1522"/>
                  </a:lnTo>
                  <a:lnTo>
                    <a:pt x="1568" y="1524"/>
                  </a:lnTo>
                  <a:lnTo>
                    <a:pt x="1564" y="1524"/>
                  </a:lnTo>
                  <a:lnTo>
                    <a:pt x="1560" y="1520"/>
                  </a:lnTo>
                  <a:lnTo>
                    <a:pt x="1556" y="1518"/>
                  </a:lnTo>
                  <a:lnTo>
                    <a:pt x="1552" y="1516"/>
                  </a:lnTo>
                  <a:lnTo>
                    <a:pt x="1552" y="1518"/>
                  </a:lnTo>
                  <a:lnTo>
                    <a:pt x="1552" y="1520"/>
                  </a:lnTo>
                  <a:lnTo>
                    <a:pt x="1554" y="1530"/>
                  </a:lnTo>
                  <a:lnTo>
                    <a:pt x="1554" y="1534"/>
                  </a:lnTo>
                  <a:lnTo>
                    <a:pt x="1552" y="1536"/>
                  </a:lnTo>
                  <a:lnTo>
                    <a:pt x="1540" y="1540"/>
                  </a:lnTo>
                  <a:lnTo>
                    <a:pt x="1530" y="1542"/>
                  </a:lnTo>
                  <a:lnTo>
                    <a:pt x="1518" y="1540"/>
                  </a:lnTo>
                  <a:lnTo>
                    <a:pt x="1508" y="1536"/>
                  </a:lnTo>
                  <a:lnTo>
                    <a:pt x="1498" y="1532"/>
                  </a:lnTo>
                  <a:lnTo>
                    <a:pt x="1488" y="1530"/>
                  </a:lnTo>
                  <a:lnTo>
                    <a:pt x="1476" y="1528"/>
                  </a:lnTo>
                  <a:lnTo>
                    <a:pt x="1460" y="1526"/>
                  </a:lnTo>
                  <a:lnTo>
                    <a:pt x="1454" y="1524"/>
                  </a:lnTo>
                  <a:lnTo>
                    <a:pt x="1450" y="1524"/>
                  </a:lnTo>
                  <a:lnTo>
                    <a:pt x="1448" y="1526"/>
                  </a:lnTo>
                  <a:lnTo>
                    <a:pt x="1448" y="1528"/>
                  </a:lnTo>
                  <a:lnTo>
                    <a:pt x="1446" y="1532"/>
                  </a:lnTo>
                  <a:lnTo>
                    <a:pt x="1442" y="1534"/>
                  </a:lnTo>
                  <a:lnTo>
                    <a:pt x="1436" y="1534"/>
                  </a:lnTo>
                  <a:lnTo>
                    <a:pt x="1422" y="1534"/>
                  </a:lnTo>
                  <a:lnTo>
                    <a:pt x="1408" y="1534"/>
                  </a:lnTo>
                  <a:lnTo>
                    <a:pt x="1398" y="1538"/>
                  </a:lnTo>
                  <a:lnTo>
                    <a:pt x="1394" y="1542"/>
                  </a:lnTo>
                  <a:lnTo>
                    <a:pt x="1392" y="1544"/>
                  </a:lnTo>
                  <a:lnTo>
                    <a:pt x="1390" y="1548"/>
                  </a:lnTo>
                  <a:lnTo>
                    <a:pt x="1388" y="1550"/>
                  </a:lnTo>
                  <a:lnTo>
                    <a:pt x="1380" y="1552"/>
                  </a:lnTo>
                  <a:lnTo>
                    <a:pt x="1374" y="1554"/>
                  </a:lnTo>
                  <a:lnTo>
                    <a:pt x="1372" y="1558"/>
                  </a:lnTo>
                  <a:lnTo>
                    <a:pt x="1370" y="1562"/>
                  </a:lnTo>
                  <a:lnTo>
                    <a:pt x="1368" y="1572"/>
                  </a:lnTo>
                  <a:lnTo>
                    <a:pt x="1368" y="1580"/>
                  </a:lnTo>
                  <a:lnTo>
                    <a:pt x="1370" y="1588"/>
                  </a:lnTo>
                  <a:lnTo>
                    <a:pt x="1372" y="1594"/>
                  </a:lnTo>
                  <a:lnTo>
                    <a:pt x="1378" y="1604"/>
                  </a:lnTo>
                  <a:lnTo>
                    <a:pt x="1382" y="1610"/>
                  </a:lnTo>
                  <a:lnTo>
                    <a:pt x="1386" y="1614"/>
                  </a:lnTo>
                  <a:lnTo>
                    <a:pt x="1390" y="1614"/>
                  </a:lnTo>
                  <a:lnTo>
                    <a:pt x="1396" y="1614"/>
                  </a:lnTo>
                  <a:lnTo>
                    <a:pt x="1402" y="1610"/>
                  </a:lnTo>
                  <a:lnTo>
                    <a:pt x="1410" y="1606"/>
                  </a:lnTo>
                  <a:lnTo>
                    <a:pt x="1410" y="1608"/>
                  </a:lnTo>
                  <a:lnTo>
                    <a:pt x="1410" y="1610"/>
                  </a:lnTo>
                  <a:lnTo>
                    <a:pt x="1402" y="1640"/>
                  </a:lnTo>
                  <a:lnTo>
                    <a:pt x="1402" y="1646"/>
                  </a:lnTo>
                  <a:lnTo>
                    <a:pt x="1404" y="1654"/>
                  </a:lnTo>
                  <a:lnTo>
                    <a:pt x="1406" y="1668"/>
                  </a:lnTo>
                  <a:lnTo>
                    <a:pt x="1408" y="1676"/>
                  </a:lnTo>
                  <a:lnTo>
                    <a:pt x="1406" y="1682"/>
                  </a:lnTo>
                  <a:lnTo>
                    <a:pt x="1402" y="1686"/>
                  </a:lnTo>
                  <a:lnTo>
                    <a:pt x="1392" y="1692"/>
                  </a:lnTo>
                  <a:lnTo>
                    <a:pt x="1380" y="1694"/>
                  </a:lnTo>
                  <a:lnTo>
                    <a:pt x="1370" y="1694"/>
                  </a:lnTo>
                  <a:lnTo>
                    <a:pt x="1364" y="1690"/>
                  </a:lnTo>
                  <a:lnTo>
                    <a:pt x="1360" y="1684"/>
                  </a:lnTo>
                  <a:lnTo>
                    <a:pt x="1354" y="1672"/>
                  </a:lnTo>
                  <a:lnTo>
                    <a:pt x="1348" y="1666"/>
                  </a:lnTo>
                  <a:lnTo>
                    <a:pt x="1342" y="1662"/>
                  </a:lnTo>
                  <a:lnTo>
                    <a:pt x="1336" y="1660"/>
                  </a:lnTo>
                  <a:lnTo>
                    <a:pt x="1334" y="1656"/>
                  </a:lnTo>
                  <a:lnTo>
                    <a:pt x="1332" y="1652"/>
                  </a:lnTo>
                  <a:lnTo>
                    <a:pt x="1332" y="1650"/>
                  </a:lnTo>
                  <a:lnTo>
                    <a:pt x="1332" y="1648"/>
                  </a:lnTo>
                  <a:lnTo>
                    <a:pt x="1324" y="1648"/>
                  </a:lnTo>
                  <a:lnTo>
                    <a:pt x="1302" y="1656"/>
                  </a:lnTo>
                  <a:lnTo>
                    <a:pt x="1294" y="1660"/>
                  </a:lnTo>
                  <a:lnTo>
                    <a:pt x="1292" y="1664"/>
                  </a:lnTo>
                  <a:lnTo>
                    <a:pt x="1286" y="1674"/>
                  </a:lnTo>
                  <a:lnTo>
                    <a:pt x="1284" y="1678"/>
                  </a:lnTo>
                  <a:lnTo>
                    <a:pt x="1286" y="1684"/>
                  </a:lnTo>
                  <a:lnTo>
                    <a:pt x="1286" y="1688"/>
                  </a:lnTo>
                  <a:lnTo>
                    <a:pt x="1286" y="1690"/>
                  </a:lnTo>
                  <a:lnTo>
                    <a:pt x="1280" y="1694"/>
                  </a:lnTo>
                  <a:lnTo>
                    <a:pt x="1274" y="1700"/>
                  </a:lnTo>
                  <a:lnTo>
                    <a:pt x="1272" y="1704"/>
                  </a:lnTo>
                  <a:lnTo>
                    <a:pt x="1270" y="1710"/>
                  </a:lnTo>
                  <a:lnTo>
                    <a:pt x="1266" y="1720"/>
                  </a:lnTo>
                  <a:lnTo>
                    <a:pt x="1266" y="1732"/>
                  </a:lnTo>
                  <a:lnTo>
                    <a:pt x="1268" y="1752"/>
                  </a:lnTo>
                  <a:lnTo>
                    <a:pt x="1268" y="1766"/>
                  </a:lnTo>
                  <a:lnTo>
                    <a:pt x="1270" y="1772"/>
                  </a:lnTo>
                  <a:lnTo>
                    <a:pt x="1274" y="1776"/>
                  </a:lnTo>
                  <a:lnTo>
                    <a:pt x="1278" y="1782"/>
                  </a:lnTo>
                  <a:lnTo>
                    <a:pt x="1280" y="1790"/>
                  </a:lnTo>
                  <a:lnTo>
                    <a:pt x="1280" y="1804"/>
                  </a:lnTo>
                  <a:lnTo>
                    <a:pt x="1278" y="1806"/>
                  </a:lnTo>
                  <a:lnTo>
                    <a:pt x="1276" y="1808"/>
                  </a:lnTo>
                  <a:lnTo>
                    <a:pt x="1276" y="1816"/>
                  </a:lnTo>
                  <a:lnTo>
                    <a:pt x="1278" y="1818"/>
                  </a:lnTo>
                  <a:lnTo>
                    <a:pt x="1276" y="1822"/>
                  </a:lnTo>
                  <a:lnTo>
                    <a:pt x="1270" y="1824"/>
                  </a:lnTo>
                  <a:lnTo>
                    <a:pt x="1264" y="1826"/>
                  </a:lnTo>
                  <a:lnTo>
                    <a:pt x="1258" y="1824"/>
                  </a:lnTo>
                  <a:lnTo>
                    <a:pt x="1256" y="1824"/>
                  </a:lnTo>
                  <a:lnTo>
                    <a:pt x="1256" y="1822"/>
                  </a:lnTo>
                  <a:lnTo>
                    <a:pt x="1258" y="1816"/>
                  </a:lnTo>
                  <a:lnTo>
                    <a:pt x="1268" y="1804"/>
                  </a:lnTo>
                  <a:lnTo>
                    <a:pt x="1270" y="1800"/>
                  </a:lnTo>
                  <a:lnTo>
                    <a:pt x="1268" y="1800"/>
                  </a:lnTo>
                  <a:lnTo>
                    <a:pt x="1256" y="1814"/>
                  </a:lnTo>
                  <a:lnTo>
                    <a:pt x="1248" y="1820"/>
                  </a:lnTo>
                  <a:lnTo>
                    <a:pt x="1246" y="1822"/>
                  </a:lnTo>
                  <a:lnTo>
                    <a:pt x="1240" y="1820"/>
                  </a:lnTo>
                  <a:lnTo>
                    <a:pt x="1232" y="1820"/>
                  </a:lnTo>
                  <a:lnTo>
                    <a:pt x="1226" y="1822"/>
                  </a:lnTo>
                  <a:lnTo>
                    <a:pt x="1224" y="1824"/>
                  </a:lnTo>
                  <a:lnTo>
                    <a:pt x="1224" y="1830"/>
                  </a:lnTo>
                  <a:lnTo>
                    <a:pt x="1224" y="1836"/>
                  </a:lnTo>
                  <a:lnTo>
                    <a:pt x="1224" y="1840"/>
                  </a:lnTo>
                  <a:lnTo>
                    <a:pt x="1220" y="1846"/>
                  </a:lnTo>
                  <a:lnTo>
                    <a:pt x="1214" y="1852"/>
                  </a:lnTo>
                  <a:lnTo>
                    <a:pt x="1202" y="1858"/>
                  </a:lnTo>
                  <a:lnTo>
                    <a:pt x="1188" y="1860"/>
                  </a:lnTo>
                  <a:lnTo>
                    <a:pt x="1182" y="1858"/>
                  </a:lnTo>
                  <a:lnTo>
                    <a:pt x="1176" y="1856"/>
                  </a:lnTo>
                  <a:lnTo>
                    <a:pt x="1172" y="1854"/>
                  </a:lnTo>
                  <a:lnTo>
                    <a:pt x="1170" y="1848"/>
                  </a:lnTo>
                  <a:lnTo>
                    <a:pt x="1166" y="1836"/>
                  </a:lnTo>
                  <a:lnTo>
                    <a:pt x="1172" y="1840"/>
                  </a:lnTo>
                  <a:lnTo>
                    <a:pt x="1180" y="1844"/>
                  </a:lnTo>
                  <a:lnTo>
                    <a:pt x="1184" y="1844"/>
                  </a:lnTo>
                  <a:lnTo>
                    <a:pt x="1184" y="1842"/>
                  </a:lnTo>
                  <a:lnTo>
                    <a:pt x="1180" y="1840"/>
                  </a:lnTo>
                  <a:lnTo>
                    <a:pt x="1168" y="1832"/>
                  </a:lnTo>
                  <a:lnTo>
                    <a:pt x="1160" y="1828"/>
                  </a:lnTo>
                  <a:lnTo>
                    <a:pt x="1152" y="1828"/>
                  </a:lnTo>
                  <a:lnTo>
                    <a:pt x="1136" y="1832"/>
                  </a:lnTo>
                  <a:lnTo>
                    <a:pt x="1118" y="1836"/>
                  </a:lnTo>
                  <a:lnTo>
                    <a:pt x="1112" y="1838"/>
                  </a:lnTo>
                  <a:lnTo>
                    <a:pt x="1110" y="1840"/>
                  </a:lnTo>
                  <a:lnTo>
                    <a:pt x="1098" y="1844"/>
                  </a:lnTo>
                  <a:lnTo>
                    <a:pt x="1090" y="1848"/>
                  </a:lnTo>
                  <a:lnTo>
                    <a:pt x="1086" y="1850"/>
                  </a:lnTo>
                  <a:lnTo>
                    <a:pt x="1082" y="1856"/>
                  </a:lnTo>
                  <a:lnTo>
                    <a:pt x="1080" y="1858"/>
                  </a:lnTo>
                  <a:lnTo>
                    <a:pt x="1074" y="1862"/>
                  </a:lnTo>
                  <a:lnTo>
                    <a:pt x="1066" y="1864"/>
                  </a:lnTo>
                  <a:lnTo>
                    <a:pt x="1054" y="1868"/>
                  </a:lnTo>
                  <a:lnTo>
                    <a:pt x="1034" y="1874"/>
                  </a:lnTo>
                  <a:lnTo>
                    <a:pt x="1020" y="1880"/>
                  </a:lnTo>
                  <a:lnTo>
                    <a:pt x="1008" y="1884"/>
                  </a:lnTo>
                  <a:lnTo>
                    <a:pt x="1002" y="1884"/>
                  </a:lnTo>
                  <a:lnTo>
                    <a:pt x="996" y="1884"/>
                  </a:lnTo>
                  <a:lnTo>
                    <a:pt x="992" y="1882"/>
                  </a:lnTo>
                  <a:lnTo>
                    <a:pt x="986" y="1878"/>
                  </a:lnTo>
                  <a:lnTo>
                    <a:pt x="980" y="1870"/>
                  </a:lnTo>
                  <a:lnTo>
                    <a:pt x="978" y="1870"/>
                  </a:lnTo>
                  <a:lnTo>
                    <a:pt x="980" y="1874"/>
                  </a:lnTo>
                  <a:lnTo>
                    <a:pt x="984" y="1884"/>
                  </a:lnTo>
                  <a:lnTo>
                    <a:pt x="984" y="1886"/>
                  </a:lnTo>
                  <a:lnTo>
                    <a:pt x="984" y="1888"/>
                  </a:lnTo>
                  <a:lnTo>
                    <a:pt x="982" y="1888"/>
                  </a:lnTo>
                  <a:lnTo>
                    <a:pt x="982" y="1890"/>
                  </a:lnTo>
                  <a:lnTo>
                    <a:pt x="984" y="1890"/>
                  </a:lnTo>
                  <a:lnTo>
                    <a:pt x="988" y="1890"/>
                  </a:lnTo>
                  <a:lnTo>
                    <a:pt x="992" y="1888"/>
                  </a:lnTo>
                  <a:lnTo>
                    <a:pt x="996" y="1890"/>
                  </a:lnTo>
                  <a:lnTo>
                    <a:pt x="998" y="1892"/>
                  </a:lnTo>
                  <a:lnTo>
                    <a:pt x="1002" y="1892"/>
                  </a:lnTo>
                  <a:lnTo>
                    <a:pt x="1004" y="1890"/>
                  </a:lnTo>
                  <a:lnTo>
                    <a:pt x="1008" y="1890"/>
                  </a:lnTo>
                  <a:lnTo>
                    <a:pt x="1010" y="1894"/>
                  </a:lnTo>
                  <a:lnTo>
                    <a:pt x="1010" y="1900"/>
                  </a:lnTo>
                  <a:lnTo>
                    <a:pt x="1010" y="1902"/>
                  </a:lnTo>
                  <a:lnTo>
                    <a:pt x="1008" y="1902"/>
                  </a:lnTo>
                  <a:lnTo>
                    <a:pt x="1004" y="1900"/>
                  </a:lnTo>
                  <a:lnTo>
                    <a:pt x="998" y="1898"/>
                  </a:lnTo>
                  <a:lnTo>
                    <a:pt x="996" y="1898"/>
                  </a:lnTo>
                  <a:lnTo>
                    <a:pt x="986" y="1896"/>
                  </a:lnTo>
                  <a:lnTo>
                    <a:pt x="980" y="1892"/>
                  </a:lnTo>
                  <a:lnTo>
                    <a:pt x="980" y="1890"/>
                  </a:lnTo>
                  <a:lnTo>
                    <a:pt x="980" y="1886"/>
                  </a:lnTo>
                  <a:lnTo>
                    <a:pt x="980" y="1884"/>
                  </a:lnTo>
                  <a:lnTo>
                    <a:pt x="978" y="1882"/>
                  </a:lnTo>
                  <a:lnTo>
                    <a:pt x="976" y="1878"/>
                  </a:lnTo>
                  <a:lnTo>
                    <a:pt x="976" y="1872"/>
                  </a:lnTo>
                  <a:lnTo>
                    <a:pt x="976" y="1870"/>
                  </a:lnTo>
                  <a:lnTo>
                    <a:pt x="974" y="1870"/>
                  </a:lnTo>
                  <a:lnTo>
                    <a:pt x="970" y="1872"/>
                  </a:lnTo>
                  <a:lnTo>
                    <a:pt x="962" y="1872"/>
                  </a:lnTo>
                  <a:lnTo>
                    <a:pt x="958" y="1870"/>
                  </a:lnTo>
                  <a:lnTo>
                    <a:pt x="954" y="1868"/>
                  </a:lnTo>
                  <a:lnTo>
                    <a:pt x="950" y="1860"/>
                  </a:lnTo>
                  <a:lnTo>
                    <a:pt x="948" y="1856"/>
                  </a:lnTo>
                  <a:lnTo>
                    <a:pt x="946" y="1854"/>
                  </a:lnTo>
                  <a:lnTo>
                    <a:pt x="944" y="1854"/>
                  </a:lnTo>
                  <a:lnTo>
                    <a:pt x="938" y="1854"/>
                  </a:lnTo>
                  <a:lnTo>
                    <a:pt x="932" y="1852"/>
                  </a:lnTo>
                  <a:lnTo>
                    <a:pt x="930" y="1850"/>
                  </a:lnTo>
                  <a:lnTo>
                    <a:pt x="926" y="1850"/>
                  </a:lnTo>
                  <a:lnTo>
                    <a:pt x="924" y="1854"/>
                  </a:lnTo>
                  <a:lnTo>
                    <a:pt x="920" y="1862"/>
                  </a:lnTo>
                  <a:lnTo>
                    <a:pt x="912" y="1868"/>
                  </a:lnTo>
                  <a:lnTo>
                    <a:pt x="908" y="1870"/>
                  </a:lnTo>
                  <a:lnTo>
                    <a:pt x="900" y="1870"/>
                  </a:lnTo>
                  <a:lnTo>
                    <a:pt x="894" y="1872"/>
                  </a:lnTo>
                  <a:lnTo>
                    <a:pt x="890" y="1874"/>
                  </a:lnTo>
                  <a:lnTo>
                    <a:pt x="886" y="1880"/>
                  </a:lnTo>
                  <a:lnTo>
                    <a:pt x="884" y="1884"/>
                  </a:lnTo>
                  <a:lnTo>
                    <a:pt x="882" y="1884"/>
                  </a:lnTo>
                  <a:lnTo>
                    <a:pt x="878" y="1882"/>
                  </a:lnTo>
                  <a:lnTo>
                    <a:pt x="874" y="1880"/>
                  </a:lnTo>
                  <a:lnTo>
                    <a:pt x="870" y="1880"/>
                  </a:lnTo>
                  <a:lnTo>
                    <a:pt x="864" y="1882"/>
                  </a:lnTo>
                  <a:lnTo>
                    <a:pt x="860" y="1882"/>
                  </a:lnTo>
                  <a:lnTo>
                    <a:pt x="858" y="1882"/>
                  </a:lnTo>
                  <a:lnTo>
                    <a:pt x="856" y="1880"/>
                  </a:lnTo>
                  <a:lnTo>
                    <a:pt x="856" y="1878"/>
                  </a:lnTo>
                  <a:lnTo>
                    <a:pt x="858" y="1876"/>
                  </a:lnTo>
                  <a:lnTo>
                    <a:pt x="864" y="1872"/>
                  </a:lnTo>
                  <a:lnTo>
                    <a:pt x="870" y="1870"/>
                  </a:lnTo>
                  <a:lnTo>
                    <a:pt x="870" y="1868"/>
                  </a:lnTo>
                  <a:lnTo>
                    <a:pt x="870" y="1864"/>
                  </a:lnTo>
                  <a:lnTo>
                    <a:pt x="870" y="1862"/>
                  </a:lnTo>
                  <a:lnTo>
                    <a:pt x="870" y="1858"/>
                  </a:lnTo>
                  <a:lnTo>
                    <a:pt x="870" y="1856"/>
                  </a:lnTo>
                  <a:lnTo>
                    <a:pt x="862" y="1858"/>
                  </a:lnTo>
                  <a:lnTo>
                    <a:pt x="856" y="1860"/>
                  </a:lnTo>
                  <a:lnTo>
                    <a:pt x="852" y="1860"/>
                  </a:lnTo>
                  <a:lnTo>
                    <a:pt x="848" y="1860"/>
                  </a:lnTo>
                  <a:lnTo>
                    <a:pt x="846" y="1858"/>
                  </a:lnTo>
                  <a:lnTo>
                    <a:pt x="842" y="1854"/>
                  </a:lnTo>
                  <a:lnTo>
                    <a:pt x="840" y="1854"/>
                  </a:lnTo>
                  <a:lnTo>
                    <a:pt x="838" y="1854"/>
                  </a:lnTo>
                  <a:lnTo>
                    <a:pt x="834" y="1856"/>
                  </a:lnTo>
                  <a:lnTo>
                    <a:pt x="832" y="1854"/>
                  </a:lnTo>
                  <a:lnTo>
                    <a:pt x="830" y="1852"/>
                  </a:lnTo>
                  <a:lnTo>
                    <a:pt x="826" y="1850"/>
                  </a:lnTo>
                  <a:lnTo>
                    <a:pt x="822" y="1850"/>
                  </a:lnTo>
                  <a:lnTo>
                    <a:pt x="824" y="1848"/>
                  </a:lnTo>
                  <a:lnTo>
                    <a:pt x="826" y="1844"/>
                  </a:lnTo>
                  <a:lnTo>
                    <a:pt x="828" y="1842"/>
                  </a:lnTo>
                  <a:lnTo>
                    <a:pt x="826" y="1838"/>
                  </a:lnTo>
                  <a:lnTo>
                    <a:pt x="824" y="1834"/>
                  </a:lnTo>
                  <a:lnTo>
                    <a:pt x="822" y="1832"/>
                  </a:lnTo>
                  <a:lnTo>
                    <a:pt x="820" y="1834"/>
                  </a:lnTo>
                  <a:lnTo>
                    <a:pt x="816" y="1832"/>
                  </a:lnTo>
                  <a:lnTo>
                    <a:pt x="812" y="1830"/>
                  </a:lnTo>
                  <a:lnTo>
                    <a:pt x="808" y="1830"/>
                  </a:lnTo>
                  <a:lnTo>
                    <a:pt x="806" y="1832"/>
                  </a:lnTo>
                  <a:lnTo>
                    <a:pt x="802" y="1830"/>
                  </a:lnTo>
                  <a:lnTo>
                    <a:pt x="808" y="1826"/>
                  </a:lnTo>
                  <a:lnTo>
                    <a:pt x="810" y="1824"/>
                  </a:lnTo>
                  <a:lnTo>
                    <a:pt x="810" y="1826"/>
                  </a:lnTo>
                  <a:lnTo>
                    <a:pt x="812" y="1828"/>
                  </a:lnTo>
                  <a:lnTo>
                    <a:pt x="816" y="1828"/>
                  </a:lnTo>
                  <a:lnTo>
                    <a:pt x="818" y="1826"/>
                  </a:lnTo>
                  <a:lnTo>
                    <a:pt x="820" y="1826"/>
                  </a:lnTo>
                  <a:lnTo>
                    <a:pt x="824" y="1828"/>
                  </a:lnTo>
                  <a:lnTo>
                    <a:pt x="826" y="1826"/>
                  </a:lnTo>
                  <a:lnTo>
                    <a:pt x="828" y="1824"/>
                  </a:lnTo>
                  <a:lnTo>
                    <a:pt x="828" y="1822"/>
                  </a:lnTo>
                  <a:lnTo>
                    <a:pt x="822" y="1818"/>
                  </a:lnTo>
                  <a:lnTo>
                    <a:pt x="816" y="1814"/>
                  </a:lnTo>
                  <a:lnTo>
                    <a:pt x="812" y="1816"/>
                  </a:lnTo>
                  <a:lnTo>
                    <a:pt x="810" y="1818"/>
                  </a:lnTo>
                  <a:lnTo>
                    <a:pt x="806" y="1814"/>
                  </a:lnTo>
                  <a:lnTo>
                    <a:pt x="806" y="1812"/>
                  </a:lnTo>
                  <a:lnTo>
                    <a:pt x="806" y="1810"/>
                  </a:lnTo>
                  <a:lnTo>
                    <a:pt x="810" y="1808"/>
                  </a:lnTo>
                  <a:lnTo>
                    <a:pt x="812" y="1804"/>
                  </a:lnTo>
                  <a:lnTo>
                    <a:pt x="814" y="1804"/>
                  </a:lnTo>
                  <a:lnTo>
                    <a:pt x="812" y="1802"/>
                  </a:lnTo>
                  <a:lnTo>
                    <a:pt x="810" y="1798"/>
                  </a:lnTo>
                  <a:lnTo>
                    <a:pt x="810" y="1794"/>
                  </a:lnTo>
                  <a:lnTo>
                    <a:pt x="810" y="1792"/>
                  </a:lnTo>
                  <a:lnTo>
                    <a:pt x="808" y="1790"/>
                  </a:lnTo>
                  <a:lnTo>
                    <a:pt x="808" y="1788"/>
                  </a:lnTo>
                  <a:lnTo>
                    <a:pt x="808" y="1786"/>
                  </a:lnTo>
                  <a:lnTo>
                    <a:pt x="814" y="1784"/>
                  </a:lnTo>
                  <a:lnTo>
                    <a:pt x="818" y="1782"/>
                  </a:lnTo>
                  <a:lnTo>
                    <a:pt x="818" y="1780"/>
                  </a:lnTo>
                  <a:lnTo>
                    <a:pt x="818" y="1778"/>
                  </a:lnTo>
                  <a:lnTo>
                    <a:pt x="818" y="1776"/>
                  </a:lnTo>
                  <a:lnTo>
                    <a:pt x="822" y="1776"/>
                  </a:lnTo>
                  <a:lnTo>
                    <a:pt x="826" y="1774"/>
                  </a:lnTo>
                  <a:lnTo>
                    <a:pt x="826" y="1772"/>
                  </a:lnTo>
                  <a:lnTo>
                    <a:pt x="824" y="1768"/>
                  </a:lnTo>
                  <a:lnTo>
                    <a:pt x="820" y="1764"/>
                  </a:lnTo>
                  <a:lnTo>
                    <a:pt x="824" y="1766"/>
                  </a:lnTo>
                  <a:lnTo>
                    <a:pt x="828" y="1768"/>
                  </a:lnTo>
                  <a:lnTo>
                    <a:pt x="832" y="1768"/>
                  </a:lnTo>
                  <a:lnTo>
                    <a:pt x="834" y="1766"/>
                  </a:lnTo>
                  <a:lnTo>
                    <a:pt x="834" y="1764"/>
                  </a:lnTo>
                  <a:lnTo>
                    <a:pt x="834" y="1760"/>
                  </a:lnTo>
                  <a:lnTo>
                    <a:pt x="834" y="1750"/>
                  </a:lnTo>
                  <a:lnTo>
                    <a:pt x="836" y="1742"/>
                  </a:lnTo>
                  <a:lnTo>
                    <a:pt x="836" y="1740"/>
                  </a:lnTo>
                  <a:lnTo>
                    <a:pt x="840" y="1738"/>
                  </a:lnTo>
                  <a:lnTo>
                    <a:pt x="844" y="1738"/>
                  </a:lnTo>
                  <a:lnTo>
                    <a:pt x="844" y="1742"/>
                  </a:lnTo>
                  <a:lnTo>
                    <a:pt x="842" y="1744"/>
                  </a:lnTo>
                  <a:lnTo>
                    <a:pt x="842" y="1746"/>
                  </a:lnTo>
                  <a:lnTo>
                    <a:pt x="844" y="1748"/>
                  </a:lnTo>
                  <a:lnTo>
                    <a:pt x="848" y="1750"/>
                  </a:lnTo>
                  <a:lnTo>
                    <a:pt x="848" y="1748"/>
                  </a:lnTo>
                  <a:lnTo>
                    <a:pt x="850" y="1746"/>
                  </a:lnTo>
                  <a:lnTo>
                    <a:pt x="852" y="1746"/>
                  </a:lnTo>
                  <a:lnTo>
                    <a:pt x="854" y="1748"/>
                  </a:lnTo>
                  <a:lnTo>
                    <a:pt x="856" y="1746"/>
                  </a:lnTo>
                  <a:lnTo>
                    <a:pt x="858" y="1744"/>
                  </a:lnTo>
                  <a:lnTo>
                    <a:pt x="864" y="1732"/>
                  </a:lnTo>
                  <a:lnTo>
                    <a:pt x="864" y="1730"/>
                  </a:lnTo>
                  <a:lnTo>
                    <a:pt x="864" y="1728"/>
                  </a:lnTo>
                  <a:lnTo>
                    <a:pt x="858" y="1726"/>
                  </a:lnTo>
                  <a:lnTo>
                    <a:pt x="844" y="1724"/>
                  </a:lnTo>
                  <a:lnTo>
                    <a:pt x="840" y="1722"/>
                  </a:lnTo>
                  <a:lnTo>
                    <a:pt x="838" y="1722"/>
                  </a:lnTo>
                  <a:lnTo>
                    <a:pt x="840" y="1718"/>
                  </a:lnTo>
                  <a:lnTo>
                    <a:pt x="842" y="1714"/>
                  </a:lnTo>
                  <a:lnTo>
                    <a:pt x="840" y="1710"/>
                  </a:lnTo>
                  <a:lnTo>
                    <a:pt x="838" y="1706"/>
                  </a:lnTo>
                  <a:lnTo>
                    <a:pt x="838" y="1700"/>
                  </a:lnTo>
                  <a:lnTo>
                    <a:pt x="840" y="1690"/>
                  </a:lnTo>
                  <a:lnTo>
                    <a:pt x="842" y="1686"/>
                  </a:lnTo>
                  <a:lnTo>
                    <a:pt x="844" y="1684"/>
                  </a:lnTo>
                  <a:lnTo>
                    <a:pt x="846" y="1680"/>
                  </a:lnTo>
                  <a:lnTo>
                    <a:pt x="848" y="1676"/>
                  </a:lnTo>
                  <a:lnTo>
                    <a:pt x="848" y="1670"/>
                  </a:lnTo>
                  <a:lnTo>
                    <a:pt x="846" y="1662"/>
                  </a:lnTo>
                  <a:lnTo>
                    <a:pt x="844" y="1658"/>
                  </a:lnTo>
                  <a:lnTo>
                    <a:pt x="844" y="1656"/>
                  </a:lnTo>
                  <a:lnTo>
                    <a:pt x="846" y="1652"/>
                  </a:lnTo>
                  <a:lnTo>
                    <a:pt x="850" y="1648"/>
                  </a:lnTo>
                  <a:lnTo>
                    <a:pt x="850" y="1646"/>
                  </a:lnTo>
                  <a:lnTo>
                    <a:pt x="846" y="1646"/>
                  </a:lnTo>
                  <a:lnTo>
                    <a:pt x="844" y="1650"/>
                  </a:lnTo>
                  <a:lnTo>
                    <a:pt x="838" y="1654"/>
                  </a:lnTo>
                  <a:lnTo>
                    <a:pt x="830" y="1656"/>
                  </a:lnTo>
                  <a:lnTo>
                    <a:pt x="824" y="1658"/>
                  </a:lnTo>
                  <a:lnTo>
                    <a:pt x="822" y="1660"/>
                  </a:lnTo>
                  <a:lnTo>
                    <a:pt x="814" y="1672"/>
                  </a:lnTo>
                  <a:lnTo>
                    <a:pt x="810" y="1676"/>
                  </a:lnTo>
                  <a:lnTo>
                    <a:pt x="804" y="1680"/>
                  </a:lnTo>
                  <a:lnTo>
                    <a:pt x="796" y="1684"/>
                  </a:lnTo>
                  <a:lnTo>
                    <a:pt x="786" y="1686"/>
                  </a:lnTo>
                  <a:lnTo>
                    <a:pt x="776" y="1686"/>
                  </a:lnTo>
                  <a:lnTo>
                    <a:pt x="768" y="1690"/>
                  </a:lnTo>
                  <a:lnTo>
                    <a:pt x="762" y="1694"/>
                  </a:lnTo>
                  <a:lnTo>
                    <a:pt x="758" y="1700"/>
                  </a:lnTo>
                  <a:lnTo>
                    <a:pt x="754" y="1708"/>
                  </a:lnTo>
                  <a:lnTo>
                    <a:pt x="752" y="1718"/>
                  </a:lnTo>
                  <a:lnTo>
                    <a:pt x="748" y="1736"/>
                  </a:lnTo>
                  <a:lnTo>
                    <a:pt x="748" y="1752"/>
                  </a:lnTo>
                  <a:lnTo>
                    <a:pt x="750" y="1762"/>
                  </a:lnTo>
                  <a:lnTo>
                    <a:pt x="752" y="1770"/>
                  </a:lnTo>
                  <a:lnTo>
                    <a:pt x="750" y="1778"/>
                  </a:lnTo>
                  <a:lnTo>
                    <a:pt x="746" y="1784"/>
                  </a:lnTo>
                  <a:lnTo>
                    <a:pt x="748" y="1786"/>
                  </a:lnTo>
                  <a:lnTo>
                    <a:pt x="750" y="1786"/>
                  </a:lnTo>
                  <a:lnTo>
                    <a:pt x="754" y="1790"/>
                  </a:lnTo>
                  <a:lnTo>
                    <a:pt x="758" y="1792"/>
                  </a:lnTo>
                  <a:lnTo>
                    <a:pt x="758" y="1790"/>
                  </a:lnTo>
                  <a:lnTo>
                    <a:pt x="758" y="1788"/>
                  </a:lnTo>
                  <a:lnTo>
                    <a:pt x="762" y="1790"/>
                  </a:lnTo>
                  <a:lnTo>
                    <a:pt x="764" y="1792"/>
                  </a:lnTo>
                  <a:lnTo>
                    <a:pt x="768" y="1792"/>
                  </a:lnTo>
                  <a:lnTo>
                    <a:pt x="772" y="1796"/>
                  </a:lnTo>
                  <a:lnTo>
                    <a:pt x="772" y="1804"/>
                  </a:lnTo>
                  <a:lnTo>
                    <a:pt x="770" y="1810"/>
                  </a:lnTo>
                  <a:lnTo>
                    <a:pt x="768" y="1808"/>
                  </a:lnTo>
                  <a:lnTo>
                    <a:pt x="766" y="1806"/>
                  </a:lnTo>
                  <a:lnTo>
                    <a:pt x="764" y="1806"/>
                  </a:lnTo>
                  <a:lnTo>
                    <a:pt x="764" y="1810"/>
                  </a:lnTo>
                  <a:lnTo>
                    <a:pt x="764" y="1814"/>
                  </a:lnTo>
                  <a:lnTo>
                    <a:pt x="768" y="1812"/>
                  </a:lnTo>
                  <a:lnTo>
                    <a:pt x="770" y="1812"/>
                  </a:lnTo>
                  <a:lnTo>
                    <a:pt x="770" y="1814"/>
                  </a:lnTo>
                  <a:lnTo>
                    <a:pt x="770" y="1826"/>
                  </a:lnTo>
                  <a:lnTo>
                    <a:pt x="770" y="1830"/>
                  </a:lnTo>
                  <a:lnTo>
                    <a:pt x="774" y="1836"/>
                  </a:lnTo>
                  <a:lnTo>
                    <a:pt x="784" y="1848"/>
                  </a:lnTo>
                  <a:lnTo>
                    <a:pt x="786" y="1850"/>
                  </a:lnTo>
                  <a:lnTo>
                    <a:pt x="786" y="1852"/>
                  </a:lnTo>
                  <a:lnTo>
                    <a:pt x="782" y="1854"/>
                  </a:lnTo>
                  <a:lnTo>
                    <a:pt x="774" y="1856"/>
                  </a:lnTo>
                  <a:lnTo>
                    <a:pt x="772" y="1858"/>
                  </a:lnTo>
                  <a:lnTo>
                    <a:pt x="770" y="1860"/>
                  </a:lnTo>
                  <a:lnTo>
                    <a:pt x="770" y="1864"/>
                  </a:lnTo>
                  <a:lnTo>
                    <a:pt x="776" y="1864"/>
                  </a:lnTo>
                  <a:lnTo>
                    <a:pt x="780" y="1862"/>
                  </a:lnTo>
                  <a:lnTo>
                    <a:pt x="780" y="1864"/>
                  </a:lnTo>
                  <a:lnTo>
                    <a:pt x="778" y="1866"/>
                  </a:lnTo>
                  <a:lnTo>
                    <a:pt x="778" y="1870"/>
                  </a:lnTo>
                  <a:lnTo>
                    <a:pt x="778" y="1872"/>
                  </a:lnTo>
                  <a:lnTo>
                    <a:pt x="782" y="1874"/>
                  </a:lnTo>
                  <a:lnTo>
                    <a:pt x="786" y="1876"/>
                  </a:lnTo>
                  <a:lnTo>
                    <a:pt x="784" y="1878"/>
                  </a:lnTo>
                  <a:lnTo>
                    <a:pt x="780" y="1880"/>
                  </a:lnTo>
                  <a:lnTo>
                    <a:pt x="780" y="1882"/>
                  </a:lnTo>
                  <a:lnTo>
                    <a:pt x="782" y="1886"/>
                  </a:lnTo>
                  <a:lnTo>
                    <a:pt x="790" y="1886"/>
                  </a:lnTo>
                  <a:lnTo>
                    <a:pt x="798" y="1890"/>
                  </a:lnTo>
                  <a:lnTo>
                    <a:pt x="804" y="1894"/>
                  </a:lnTo>
                  <a:lnTo>
                    <a:pt x="804" y="1898"/>
                  </a:lnTo>
                  <a:lnTo>
                    <a:pt x="800" y="1896"/>
                  </a:lnTo>
                  <a:lnTo>
                    <a:pt x="794" y="1892"/>
                  </a:lnTo>
                  <a:lnTo>
                    <a:pt x="786" y="1890"/>
                  </a:lnTo>
                  <a:lnTo>
                    <a:pt x="780" y="1890"/>
                  </a:lnTo>
                  <a:lnTo>
                    <a:pt x="772" y="1888"/>
                  </a:lnTo>
                  <a:lnTo>
                    <a:pt x="770" y="1888"/>
                  </a:lnTo>
                  <a:lnTo>
                    <a:pt x="768" y="1890"/>
                  </a:lnTo>
                  <a:lnTo>
                    <a:pt x="768" y="1900"/>
                  </a:lnTo>
                  <a:lnTo>
                    <a:pt x="770" y="1910"/>
                  </a:lnTo>
                  <a:lnTo>
                    <a:pt x="768" y="1916"/>
                  </a:lnTo>
                  <a:lnTo>
                    <a:pt x="766" y="1918"/>
                  </a:lnTo>
                  <a:lnTo>
                    <a:pt x="764" y="1920"/>
                  </a:lnTo>
                  <a:lnTo>
                    <a:pt x="764" y="1918"/>
                  </a:lnTo>
                  <a:lnTo>
                    <a:pt x="764" y="1914"/>
                  </a:lnTo>
                  <a:lnTo>
                    <a:pt x="764" y="1908"/>
                  </a:lnTo>
                  <a:lnTo>
                    <a:pt x="764" y="1906"/>
                  </a:lnTo>
                  <a:lnTo>
                    <a:pt x="762" y="1904"/>
                  </a:lnTo>
                  <a:lnTo>
                    <a:pt x="758" y="1904"/>
                  </a:lnTo>
                  <a:lnTo>
                    <a:pt x="756" y="1906"/>
                  </a:lnTo>
                  <a:lnTo>
                    <a:pt x="756" y="1912"/>
                  </a:lnTo>
                  <a:lnTo>
                    <a:pt x="754" y="1916"/>
                  </a:lnTo>
                  <a:lnTo>
                    <a:pt x="750" y="1914"/>
                  </a:lnTo>
                  <a:lnTo>
                    <a:pt x="748" y="1912"/>
                  </a:lnTo>
                  <a:lnTo>
                    <a:pt x="748" y="1910"/>
                  </a:lnTo>
                  <a:lnTo>
                    <a:pt x="750" y="1904"/>
                  </a:lnTo>
                  <a:lnTo>
                    <a:pt x="748" y="1902"/>
                  </a:lnTo>
                  <a:lnTo>
                    <a:pt x="746" y="1900"/>
                  </a:lnTo>
                  <a:lnTo>
                    <a:pt x="742" y="1898"/>
                  </a:lnTo>
                  <a:lnTo>
                    <a:pt x="734" y="1898"/>
                  </a:lnTo>
                  <a:lnTo>
                    <a:pt x="720" y="1898"/>
                  </a:lnTo>
                  <a:lnTo>
                    <a:pt x="714" y="1900"/>
                  </a:lnTo>
                  <a:lnTo>
                    <a:pt x="710" y="1906"/>
                  </a:lnTo>
                  <a:lnTo>
                    <a:pt x="708" y="1914"/>
                  </a:lnTo>
                  <a:lnTo>
                    <a:pt x="706" y="1916"/>
                  </a:lnTo>
                  <a:lnTo>
                    <a:pt x="706" y="1920"/>
                  </a:lnTo>
                  <a:lnTo>
                    <a:pt x="710" y="1922"/>
                  </a:lnTo>
                  <a:lnTo>
                    <a:pt x="714" y="1922"/>
                  </a:lnTo>
                  <a:lnTo>
                    <a:pt x="714" y="1924"/>
                  </a:lnTo>
                  <a:lnTo>
                    <a:pt x="712" y="1926"/>
                  </a:lnTo>
                  <a:lnTo>
                    <a:pt x="708" y="1926"/>
                  </a:lnTo>
                  <a:lnTo>
                    <a:pt x="706" y="1926"/>
                  </a:lnTo>
                  <a:lnTo>
                    <a:pt x="700" y="1918"/>
                  </a:lnTo>
                  <a:lnTo>
                    <a:pt x="696" y="1914"/>
                  </a:lnTo>
                  <a:lnTo>
                    <a:pt x="688" y="1914"/>
                  </a:lnTo>
                  <a:lnTo>
                    <a:pt x="664" y="1918"/>
                  </a:lnTo>
                  <a:lnTo>
                    <a:pt x="654" y="1920"/>
                  </a:lnTo>
                  <a:lnTo>
                    <a:pt x="646" y="1924"/>
                  </a:lnTo>
                  <a:lnTo>
                    <a:pt x="640" y="1926"/>
                  </a:lnTo>
                  <a:lnTo>
                    <a:pt x="636" y="1930"/>
                  </a:lnTo>
                  <a:lnTo>
                    <a:pt x="634" y="1934"/>
                  </a:lnTo>
                  <a:lnTo>
                    <a:pt x="634" y="1938"/>
                  </a:lnTo>
                  <a:lnTo>
                    <a:pt x="634" y="1940"/>
                  </a:lnTo>
                  <a:lnTo>
                    <a:pt x="636" y="1940"/>
                  </a:lnTo>
                  <a:lnTo>
                    <a:pt x="638" y="1940"/>
                  </a:lnTo>
                  <a:lnTo>
                    <a:pt x="640" y="1942"/>
                  </a:lnTo>
                  <a:lnTo>
                    <a:pt x="640" y="1946"/>
                  </a:lnTo>
                  <a:lnTo>
                    <a:pt x="640" y="1950"/>
                  </a:lnTo>
                  <a:lnTo>
                    <a:pt x="642" y="1950"/>
                  </a:lnTo>
                  <a:lnTo>
                    <a:pt x="644" y="1952"/>
                  </a:lnTo>
                  <a:lnTo>
                    <a:pt x="646" y="1952"/>
                  </a:lnTo>
                  <a:lnTo>
                    <a:pt x="646" y="1954"/>
                  </a:lnTo>
                  <a:lnTo>
                    <a:pt x="646" y="1958"/>
                  </a:lnTo>
                  <a:lnTo>
                    <a:pt x="646" y="1962"/>
                  </a:lnTo>
                  <a:lnTo>
                    <a:pt x="648" y="1964"/>
                  </a:lnTo>
                  <a:lnTo>
                    <a:pt x="650" y="1966"/>
                  </a:lnTo>
                  <a:lnTo>
                    <a:pt x="654" y="1968"/>
                  </a:lnTo>
                  <a:lnTo>
                    <a:pt x="656" y="1972"/>
                  </a:lnTo>
                  <a:lnTo>
                    <a:pt x="654" y="1976"/>
                  </a:lnTo>
                  <a:lnTo>
                    <a:pt x="652" y="1980"/>
                  </a:lnTo>
                  <a:lnTo>
                    <a:pt x="648" y="1984"/>
                  </a:lnTo>
                  <a:lnTo>
                    <a:pt x="644" y="1986"/>
                  </a:lnTo>
                  <a:lnTo>
                    <a:pt x="638" y="1988"/>
                  </a:lnTo>
                  <a:lnTo>
                    <a:pt x="634" y="1986"/>
                  </a:lnTo>
                  <a:lnTo>
                    <a:pt x="628" y="1980"/>
                  </a:lnTo>
                  <a:lnTo>
                    <a:pt x="624" y="1974"/>
                  </a:lnTo>
                  <a:lnTo>
                    <a:pt x="624" y="1970"/>
                  </a:lnTo>
                  <a:lnTo>
                    <a:pt x="624" y="1968"/>
                  </a:lnTo>
                  <a:lnTo>
                    <a:pt x="626" y="1966"/>
                  </a:lnTo>
                  <a:lnTo>
                    <a:pt x="630" y="1964"/>
                  </a:lnTo>
                  <a:lnTo>
                    <a:pt x="634" y="1960"/>
                  </a:lnTo>
                  <a:lnTo>
                    <a:pt x="632" y="1958"/>
                  </a:lnTo>
                  <a:lnTo>
                    <a:pt x="628" y="1956"/>
                  </a:lnTo>
                  <a:lnTo>
                    <a:pt x="626" y="1952"/>
                  </a:lnTo>
                  <a:lnTo>
                    <a:pt x="626" y="1946"/>
                  </a:lnTo>
                  <a:lnTo>
                    <a:pt x="630" y="1942"/>
                  </a:lnTo>
                  <a:lnTo>
                    <a:pt x="630" y="1940"/>
                  </a:lnTo>
                  <a:lnTo>
                    <a:pt x="628" y="1940"/>
                  </a:lnTo>
                  <a:lnTo>
                    <a:pt x="618" y="1946"/>
                  </a:lnTo>
                  <a:lnTo>
                    <a:pt x="614" y="1944"/>
                  </a:lnTo>
                  <a:lnTo>
                    <a:pt x="612" y="1946"/>
                  </a:lnTo>
                  <a:lnTo>
                    <a:pt x="610" y="1954"/>
                  </a:lnTo>
                  <a:lnTo>
                    <a:pt x="606" y="1968"/>
                  </a:lnTo>
                  <a:lnTo>
                    <a:pt x="604" y="1978"/>
                  </a:lnTo>
                  <a:lnTo>
                    <a:pt x="600" y="1986"/>
                  </a:lnTo>
                  <a:lnTo>
                    <a:pt x="592" y="2000"/>
                  </a:lnTo>
                  <a:lnTo>
                    <a:pt x="588" y="2004"/>
                  </a:lnTo>
                  <a:lnTo>
                    <a:pt x="586" y="2004"/>
                  </a:lnTo>
                  <a:lnTo>
                    <a:pt x="586" y="2008"/>
                  </a:lnTo>
                  <a:lnTo>
                    <a:pt x="586" y="2010"/>
                  </a:lnTo>
                  <a:lnTo>
                    <a:pt x="584" y="2012"/>
                  </a:lnTo>
                  <a:lnTo>
                    <a:pt x="578" y="2014"/>
                  </a:lnTo>
                  <a:lnTo>
                    <a:pt x="572" y="2016"/>
                  </a:lnTo>
                  <a:lnTo>
                    <a:pt x="570" y="2018"/>
                  </a:lnTo>
                  <a:lnTo>
                    <a:pt x="572" y="2020"/>
                  </a:lnTo>
                  <a:lnTo>
                    <a:pt x="578" y="2024"/>
                  </a:lnTo>
                  <a:lnTo>
                    <a:pt x="586" y="2024"/>
                  </a:lnTo>
                  <a:lnTo>
                    <a:pt x="590" y="2026"/>
                  </a:lnTo>
                  <a:lnTo>
                    <a:pt x="584" y="2030"/>
                  </a:lnTo>
                  <a:lnTo>
                    <a:pt x="570" y="2026"/>
                  </a:lnTo>
                  <a:lnTo>
                    <a:pt x="564" y="2026"/>
                  </a:lnTo>
                  <a:lnTo>
                    <a:pt x="562" y="2028"/>
                  </a:lnTo>
                  <a:lnTo>
                    <a:pt x="562" y="2030"/>
                  </a:lnTo>
                  <a:lnTo>
                    <a:pt x="562" y="2032"/>
                  </a:lnTo>
                  <a:lnTo>
                    <a:pt x="568" y="2034"/>
                  </a:lnTo>
                  <a:lnTo>
                    <a:pt x="574" y="2036"/>
                  </a:lnTo>
                  <a:lnTo>
                    <a:pt x="580" y="2036"/>
                  </a:lnTo>
                  <a:lnTo>
                    <a:pt x="586" y="2036"/>
                  </a:lnTo>
                  <a:lnTo>
                    <a:pt x="588" y="2036"/>
                  </a:lnTo>
                  <a:lnTo>
                    <a:pt x="588" y="2038"/>
                  </a:lnTo>
                  <a:lnTo>
                    <a:pt x="588" y="2040"/>
                  </a:lnTo>
                  <a:lnTo>
                    <a:pt x="580" y="2042"/>
                  </a:lnTo>
                  <a:lnTo>
                    <a:pt x="576" y="2042"/>
                  </a:lnTo>
                  <a:lnTo>
                    <a:pt x="572" y="2042"/>
                  </a:lnTo>
                  <a:lnTo>
                    <a:pt x="566" y="2038"/>
                  </a:lnTo>
                  <a:lnTo>
                    <a:pt x="564" y="2038"/>
                  </a:lnTo>
                  <a:lnTo>
                    <a:pt x="558" y="2040"/>
                  </a:lnTo>
                  <a:lnTo>
                    <a:pt x="550" y="2044"/>
                  </a:lnTo>
                  <a:lnTo>
                    <a:pt x="540" y="2048"/>
                  </a:lnTo>
                  <a:lnTo>
                    <a:pt x="532" y="2054"/>
                  </a:lnTo>
                  <a:lnTo>
                    <a:pt x="524" y="2058"/>
                  </a:lnTo>
                  <a:lnTo>
                    <a:pt x="504" y="2060"/>
                  </a:lnTo>
                  <a:lnTo>
                    <a:pt x="492" y="2064"/>
                  </a:lnTo>
                  <a:lnTo>
                    <a:pt x="488" y="2068"/>
                  </a:lnTo>
                  <a:lnTo>
                    <a:pt x="486" y="2070"/>
                  </a:lnTo>
                  <a:lnTo>
                    <a:pt x="484" y="2074"/>
                  </a:lnTo>
                  <a:lnTo>
                    <a:pt x="484" y="2078"/>
                  </a:lnTo>
                  <a:lnTo>
                    <a:pt x="486" y="2086"/>
                  </a:lnTo>
                  <a:lnTo>
                    <a:pt x="484" y="2090"/>
                  </a:lnTo>
                  <a:lnTo>
                    <a:pt x="484" y="2094"/>
                  </a:lnTo>
                  <a:lnTo>
                    <a:pt x="486" y="2098"/>
                  </a:lnTo>
                  <a:lnTo>
                    <a:pt x="486" y="2100"/>
                  </a:lnTo>
                  <a:lnTo>
                    <a:pt x="484" y="2100"/>
                  </a:lnTo>
                  <a:lnTo>
                    <a:pt x="484" y="2102"/>
                  </a:lnTo>
                  <a:lnTo>
                    <a:pt x="486" y="2106"/>
                  </a:lnTo>
                  <a:lnTo>
                    <a:pt x="488" y="2108"/>
                  </a:lnTo>
                  <a:lnTo>
                    <a:pt x="486" y="2110"/>
                  </a:lnTo>
                  <a:lnTo>
                    <a:pt x="482" y="2112"/>
                  </a:lnTo>
                  <a:lnTo>
                    <a:pt x="480" y="2114"/>
                  </a:lnTo>
                  <a:lnTo>
                    <a:pt x="478" y="2118"/>
                  </a:lnTo>
                  <a:lnTo>
                    <a:pt x="472" y="2120"/>
                  </a:lnTo>
                  <a:lnTo>
                    <a:pt x="444" y="2132"/>
                  </a:lnTo>
                  <a:lnTo>
                    <a:pt x="434" y="2136"/>
                  </a:lnTo>
                  <a:lnTo>
                    <a:pt x="428" y="2140"/>
                  </a:lnTo>
                  <a:lnTo>
                    <a:pt x="426" y="2144"/>
                  </a:lnTo>
                  <a:lnTo>
                    <a:pt x="426" y="2146"/>
                  </a:lnTo>
                  <a:lnTo>
                    <a:pt x="426" y="2150"/>
                  </a:lnTo>
                  <a:lnTo>
                    <a:pt x="428" y="2152"/>
                  </a:lnTo>
                  <a:lnTo>
                    <a:pt x="432" y="2154"/>
                  </a:lnTo>
                  <a:lnTo>
                    <a:pt x="434" y="2154"/>
                  </a:lnTo>
                  <a:lnTo>
                    <a:pt x="432" y="2156"/>
                  </a:lnTo>
                  <a:lnTo>
                    <a:pt x="420" y="2162"/>
                  </a:lnTo>
                  <a:lnTo>
                    <a:pt x="416" y="2164"/>
                  </a:lnTo>
                  <a:lnTo>
                    <a:pt x="412" y="2164"/>
                  </a:lnTo>
                  <a:lnTo>
                    <a:pt x="402" y="2162"/>
                  </a:lnTo>
                  <a:lnTo>
                    <a:pt x="392" y="2158"/>
                  </a:lnTo>
                  <a:lnTo>
                    <a:pt x="384" y="2158"/>
                  </a:lnTo>
                  <a:lnTo>
                    <a:pt x="376" y="2160"/>
                  </a:lnTo>
                  <a:lnTo>
                    <a:pt x="374" y="2160"/>
                  </a:lnTo>
                  <a:lnTo>
                    <a:pt x="372" y="2156"/>
                  </a:lnTo>
                  <a:lnTo>
                    <a:pt x="372" y="2148"/>
                  </a:lnTo>
                  <a:lnTo>
                    <a:pt x="370" y="2142"/>
                  </a:lnTo>
                  <a:lnTo>
                    <a:pt x="368" y="2140"/>
                  </a:lnTo>
                  <a:lnTo>
                    <a:pt x="364" y="2140"/>
                  </a:lnTo>
                  <a:lnTo>
                    <a:pt x="356" y="2140"/>
                  </a:lnTo>
                  <a:lnTo>
                    <a:pt x="348" y="2140"/>
                  </a:lnTo>
                  <a:lnTo>
                    <a:pt x="346" y="2138"/>
                  </a:lnTo>
                  <a:lnTo>
                    <a:pt x="346" y="2142"/>
                  </a:lnTo>
                  <a:lnTo>
                    <a:pt x="348" y="2148"/>
                  </a:lnTo>
                  <a:lnTo>
                    <a:pt x="348" y="2152"/>
                  </a:lnTo>
                  <a:lnTo>
                    <a:pt x="348" y="2156"/>
                  </a:lnTo>
                  <a:lnTo>
                    <a:pt x="352" y="2160"/>
                  </a:lnTo>
                  <a:lnTo>
                    <a:pt x="356" y="2164"/>
                  </a:lnTo>
                  <a:lnTo>
                    <a:pt x="358" y="2172"/>
                  </a:lnTo>
                  <a:lnTo>
                    <a:pt x="360" y="2180"/>
                  </a:lnTo>
                  <a:lnTo>
                    <a:pt x="360" y="2188"/>
                  </a:lnTo>
                  <a:lnTo>
                    <a:pt x="360" y="2192"/>
                  </a:lnTo>
                  <a:lnTo>
                    <a:pt x="360" y="2194"/>
                  </a:lnTo>
                  <a:lnTo>
                    <a:pt x="362" y="2200"/>
                  </a:lnTo>
                  <a:lnTo>
                    <a:pt x="364" y="2202"/>
                  </a:lnTo>
                  <a:lnTo>
                    <a:pt x="358" y="2204"/>
                  </a:lnTo>
                  <a:lnTo>
                    <a:pt x="352" y="2204"/>
                  </a:lnTo>
                  <a:lnTo>
                    <a:pt x="350" y="2202"/>
                  </a:lnTo>
                  <a:lnTo>
                    <a:pt x="348" y="2198"/>
                  </a:lnTo>
                  <a:lnTo>
                    <a:pt x="346" y="2198"/>
                  </a:lnTo>
                  <a:lnTo>
                    <a:pt x="344" y="2198"/>
                  </a:lnTo>
                  <a:lnTo>
                    <a:pt x="344" y="2200"/>
                  </a:lnTo>
                  <a:lnTo>
                    <a:pt x="342" y="2202"/>
                  </a:lnTo>
                  <a:lnTo>
                    <a:pt x="338" y="2202"/>
                  </a:lnTo>
                  <a:lnTo>
                    <a:pt x="334" y="2202"/>
                  </a:lnTo>
                  <a:lnTo>
                    <a:pt x="332" y="2200"/>
                  </a:lnTo>
                  <a:lnTo>
                    <a:pt x="330" y="2198"/>
                  </a:lnTo>
                  <a:lnTo>
                    <a:pt x="326" y="2200"/>
                  </a:lnTo>
                  <a:lnTo>
                    <a:pt x="318" y="2206"/>
                  </a:lnTo>
                  <a:lnTo>
                    <a:pt x="314" y="2208"/>
                  </a:lnTo>
                  <a:lnTo>
                    <a:pt x="310" y="2206"/>
                  </a:lnTo>
                  <a:lnTo>
                    <a:pt x="302" y="2192"/>
                  </a:lnTo>
                  <a:lnTo>
                    <a:pt x="298" y="2186"/>
                  </a:lnTo>
                  <a:lnTo>
                    <a:pt x="296" y="2186"/>
                  </a:lnTo>
                  <a:lnTo>
                    <a:pt x="292" y="2188"/>
                  </a:lnTo>
                  <a:lnTo>
                    <a:pt x="286" y="2190"/>
                  </a:lnTo>
                  <a:lnTo>
                    <a:pt x="282" y="2190"/>
                  </a:lnTo>
                  <a:lnTo>
                    <a:pt x="280" y="2190"/>
                  </a:lnTo>
                  <a:lnTo>
                    <a:pt x="278" y="2194"/>
                  </a:lnTo>
                  <a:lnTo>
                    <a:pt x="278" y="2198"/>
                  </a:lnTo>
                  <a:lnTo>
                    <a:pt x="276" y="2200"/>
                  </a:lnTo>
                  <a:lnTo>
                    <a:pt x="270" y="2200"/>
                  </a:lnTo>
                  <a:lnTo>
                    <a:pt x="264" y="2198"/>
                  </a:lnTo>
                  <a:lnTo>
                    <a:pt x="260" y="2196"/>
                  </a:lnTo>
                  <a:lnTo>
                    <a:pt x="258" y="2198"/>
                  </a:lnTo>
                  <a:lnTo>
                    <a:pt x="250" y="2200"/>
                  </a:lnTo>
                  <a:lnTo>
                    <a:pt x="240" y="2202"/>
                  </a:lnTo>
                  <a:lnTo>
                    <a:pt x="234" y="2206"/>
                  </a:lnTo>
                  <a:lnTo>
                    <a:pt x="230" y="2212"/>
                  </a:lnTo>
                  <a:lnTo>
                    <a:pt x="230" y="2216"/>
                  </a:lnTo>
                  <a:lnTo>
                    <a:pt x="232" y="2218"/>
                  </a:lnTo>
                  <a:lnTo>
                    <a:pt x="236" y="2218"/>
                  </a:lnTo>
                  <a:lnTo>
                    <a:pt x="240" y="2218"/>
                  </a:lnTo>
                  <a:lnTo>
                    <a:pt x="244" y="2218"/>
                  </a:lnTo>
                  <a:lnTo>
                    <a:pt x="246" y="2220"/>
                  </a:lnTo>
                  <a:lnTo>
                    <a:pt x="242" y="2220"/>
                  </a:lnTo>
                  <a:lnTo>
                    <a:pt x="238" y="2222"/>
                  </a:lnTo>
                  <a:lnTo>
                    <a:pt x="238" y="2224"/>
                  </a:lnTo>
                  <a:lnTo>
                    <a:pt x="236" y="2226"/>
                  </a:lnTo>
                  <a:lnTo>
                    <a:pt x="238" y="2228"/>
                  </a:lnTo>
                  <a:lnTo>
                    <a:pt x="242" y="2228"/>
                  </a:lnTo>
                  <a:lnTo>
                    <a:pt x="246" y="2228"/>
                  </a:lnTo>
                  <a:lnTo>
                    <a:pt x="250" y="2230"/>
                  </a:lnTo>
                  <a:lnTo>
                    <a:pt x="246" y="2232"/>
                  </a:lnTo>
                  <a:lnTo>
                    <a:pt x="240" y="2234"/>
                  </a:lnTo>
                  <a:lnTo>
                    <a:pt x="234" y="2234"/>
                  </a:lnTo>
                  <a:lnTo>
                    <a:pt x="234" y="2236"/>
                  </a:lnTo>
                  <a:lnTo>
                    <a:pt x="236" y="2238"/>
                  </a:lnTo>
                  <a:lnTo>
                    <a:pt x="242" y="2244"/>
                  </a:lnTo>
                  <a:lnTo>
                    <a:pt x="244" y="2248"/>
                  </a:lnTo>
                  <a:lnTo>
                    <a:pt x="248" y="2250"/>
                  </a:lnTo>
                  <a:lnTo>
                    <a:pt x="252" y="2250"/>
                  </a:lnTo>
                  <a:lnTo>
                    <a:pt x="258" y="2248"/>
                  </a:lnTo>
                  <a:lnTo>
                    <a:pt x="264" y="2248"/>
                  </a:lnTo>
                  <a:lnTo>
                    <a:pt x="280" y="2254"/>
                  </a:lnTo>
                  <a:lnTo>
                    <a:pt x="286" y="2258"/>
                  </a:lnTo>
                  <a:lnTo>
                    <a:pt x="292" y="2260"/>
                  </a:lnTo>
                  <a:lnTo>
                    <a:pt x="296" y="2262"/>
                  </a:lnTo>
                  <a:lnTo>
                    <a:pt x="302" y="2262"/>
                  </a:lnTo>
                  <a:lnTo>
                    <a:pt x="306" y="2262"/>
                  </a:lnTo>
                  <a:lnTo>
                    <a:pt x="306" y="2266"/>
                  </a:lnTo>
                  <a:lnTo>
                    <a:pt x="306" y="2268"/>
                  </a:lnTo>
                  <a:lnTo>
                    <a:pt x="314" y="2268"/>
                  </a:lnTo>
                  <a:lnTo>
                    <a:pt x="318" y="2268"/>
                  </a:lnTo>
                  <a:lnTo>
                    <a:pt x="322" y="2268"/>
                  </a:lnTo>
                  <a:lnTo>
                    <a:pt x="324" y="2270"/>
                  </a:lnTo>
                  <a:lnTo>
                    <a:pt x="322" y="2272"/>
                  </a:lnTo>
                  <a:lnTo>
                    <a:pt x="320" y="2276"/>
                  </a:lnTo>
                  <a:lnTo>
                    <a:pt x="320" y="2280"/>
                  </a:lnTo>
                  <a:lnTo>
                    <a:pt x="322" y="2282"/>
                  </a:lnTo>
                  <a:lnTo>
                    <a:pt x="330" y="2282"/>
                  </a:lnTo>
                  <a:lnTo>
                    <a:pt x="334" y="2282"/>
                  </a:lnTo>
                  <a:lnTo>
                    <a:pt x="334" y="2286"/>
                  </a:lnTo>
                  <a:lnTo>
                    <a:pt x="332" y="2290"/>
                  </a:lnTo>
                  <a:lnTo>
                    <a:pt x="334" y="2290"/>
                  </a:lnTo>
                  <a:lnTo>
                    <a:pt x="336" y="2292"/>
                  </a:lnTo>
                  <a:lnTo>
                    <a:pt x="340" y="2292"/>
                  </a:lnTo>
                  <a:lnTo>
                    <a:pt x="342" y="2294"/>
                  </a:lnTo>
                  <a:lnTo>
                    <a:pt x="342" y="2298"/>
                  </a:lnTo>
                  <a:lnTo>
                    <a:pt x="338" y="2300"/>
                  </a:lnTo>
                  <a:lnTo>
                    <a:pt x="336" y="2302"/>
                  </a:lnTo>
                  <a:lnTo>
                    <a:pt x="336" y="2306"/>
                  </a:lnTo>
                  <a:lnTo>
                    <a:pt x="340" y="2314"/>
                  </a:lnTo>
                  <a:lnTo>
                    <a:pt x="348" y="2324"/>
                  </a:lnTo>
                  <a:lnTo>
                    <a:pt x="358" y="2332"/>
                  </a:lnTo>
                  <a:lnTo>
                    <a:pt x="368" y="2336"/>
                  </a:lnTo>
                  <a:lnTo>
                    <a:pt x="374" y="2338"/>
                  </a:lnTo>
                  <a:lnTo>
                    <a:pt x="376" y="2338"/>
                  </a:lnTo>
                  <a:lnTo>
                    <a:pt x="374" y="2342"/>
                  </a:lnTo>
                  <a:lnTo>
                    <a:pt x="374" y="2346"/>
                  </a:lnTo>
                  <a:lnTo>
                    <a:pt x="376" y="2348"/>
                  </a:lnTo>
                  <a:lnTo>
                    <a:pt x="378" y="2352"/>
                  </a:lnTo>
                  <a:lnTo>
                    <a:pt x="378" y="2360"/>
                  </a:lnTo>
                  <a:lnTo>
                    <a:pt x="376" y="2364"/>
                  </a:lnTo>
                  <a:lnTo>
                    <a:pt x="374" y="2366"/>
                  </a:lnTo>
                  <a:lnTo>
                    <a:pt x="370" y="2368"/>
                  </a:lnTo>
                  <a:lnTo>
                    <a:pt x="370" y="2370"/>
                  </a:lnTo>
                  <a:lnTo>
                    <a:pt x="378" y="2376"/>
                  </a:lnTo>
                  <a:lnTo>
                    <a:pt x="388" y="2382"/>
                  </a:lnTo>
                  <a:lnTo>
                    <a:pt x="392" y="2388"/>
                  </a:lnTo>
                  <a:lnTo>
                    <a:pt x="394" y="2396"/>
                  </a:lnTo>
                  <a:lnTo>
                    <a:pt x="394" y="2402"/>
                  </a:lnTo>
                  <a:lnTo>
                    <a:pt x="394" y="2404"/>
                  </a:lnTo>
                  <a:lnTo>
                    <a:pt x="392" y="2398"/>
                  </a:lnTo>
                  <a:lnTo>
                    <a:pt x="388" y="2388"/>
                  </a:lnTo>
                  <a:lnTo>
                    <a:pt x="384" y="2384"/>
                  </a:lnTo>
                  <a:lnTo>
                    <a:pt x="380" y="2382"/>
                  </a:lnTo>
                  <a:lnTo>
                    <a:pt x="378" y="2390"/>
                  </a:lnTo>
                  <a:lnTo>
                    <a:pt x="372" y="2410"/>
                  </a:lnTo>
                  <a:lnTo>
                    <a:pt x="370" y="2426"/>
                  </a:lnTo>
                  <a:lnTo>
                    <a:pt x="372" y="2428"/>
                  </a:lnTo>
                  <a:lnTo>
                    <a:pt x="374" y="2426"/>
                  </a:lnTo>
                  <a:lnTo>
                    <a:pt x="376" y="2426"/>
                  </a:lnTo>
                  <a:lnTo>
                    <a:pt x="378" y="2426"/>
                  </a:lnTo>
                  <a:lnTo>
                    <a:pt x="378" y="2430"/>
                  </a:lnTo>
                  <a:lnTo>
                    <a:pt x="376" y="2432"/>
                  </a:lnTo>
                  <a:lnTo>
                    <a:pt x="374" y="2432"/>
                  </a:lnTo>
                  <a:lnTo>
                    <a:pt x="372" y="2436"/>
                  </a:lnTo>
                  <a:lnTo>
                    <a:pt x="370" y="2460"/>
                  </a:lnTo>
                  <a:lnTo>
                    <a:pt x="366" y="2480"/>
                  </a:lnTo>
                  <a:lnTo>
                    <a:pt x="362" y="2492"/>
                  </a:lnTo>
                  <a:lnTo>
                    <a:pt x="358" y="2500"/>
                  </a:lnTo>
                  <a:lnTo>
                    <a:pt x="352" y="2502"/>
                  </a:lnTo>
                  <a:lnTo>
                    <a:pt x="342" y="2506"/>
                  </a:lnTo>
                  <a:lnTo>
                    <a:pt x="334" y="2506"/>
                  </a:lnTo>
                  <a:lnTo>
                    <a:pt x="326" y="2504"/>
                  </a:lnTo>
                  <a:lnTo>
                    <a:pt x="314" y="2500"/>
                  </a:lnTo>
                  <a:lnTo>
                    <a:pt x="308" y="2500"/>
                  </a:lnTo>
                  <a:lnTo>
                    <a:pt x="300" y="2502"/>
                  </a:lnTo>
                  <a:lnTo>
                    <a:pt x="286" y="2498"/>
                  </a:lnTo>
                  <a:lnTo>
                    <a:pt x="278" y="2496"/>
                  </a:lnTo>
                  <a:lnTo>
                    <a:pt x="270" y="2496"/>
                  </a:lnTo>
                  <a:lnTo>
                    <a:pt x="252" y="2498"/>
                  </a:lnTo>
                  <a:lnTo>
                    <a:pt x="232" y="2498"/>
                  </a:lnTo>
                  <a:lnTo>
                    <a:pt x="220" y="2498"/>
                  </a:lnTo>
                  <a:lnTo>
                    <a:pt x="206" y="2494"/>
                  </a:lnTo>
                  <a:lnTo>
                    <a:pt x="192" y="2490"/>
                  </a:lnTo>
                  <a:lnTo>
                    <a:pt x="182" y="2490"/>
                  </a:lnTo>
                  <a:lnTo>
                    <a:pt x="172" y="2492"/>
                  </a:lnTo>
                  <a:lnTo>
                    <a:pt x="154" y="2492"/>
                  </a:lnTo>
                  <a:lnTo>
                    <a:pt x="142" y="2492"/>
                  </a:lnTo>
                  <a:lnTo>
                    <a:pt x="134" y="2490"/>
                  </a:lnTo>
                  <a:lnTo>
                    <a:pt x="120" y="2486"/>
                  </a:lnTo>
                  <a:lnTo>
                    <a:pt x="110" y="2482"/>
                  </a:lnTo>
                  <a:lnTo>
                    <a:pt x="104" y="2484"/>
                  </a:lnTo>
                  <a:lnTo>
                    <a:pt x="98" y="2486"/>
                  </a:lnTo>
                  <a:lnTo>
                    <a:pt x="92" y="2490"/>
                  </a:lnTo>
                  <a:lnTo>
                    <a:pt x="88" y="2492"/>
                  </a:lnTo>
                  <a:lnTo>
                    <a:pt x="86" y="2500"/>
                  </a:lnTo>
                  <a:lnTo>
                    <a:pt x="86" y="2504"/>
                  </a:lnTo>
                  <a:lnTo>
                    <a:pt x="82" y="2506"/>
                  </a:lnTo>
                  <a:lnTo>
                    <a:pt x="78" y="2506"/>
                  </a:lnTo>
                  <a:lnTo>
                    <a:pt x="72" y="2506"/>
                  </a:lnTo>
                  <a:lnTo>
                    <a:pt x="66" y="2508"/>
                  </a:lnTo>
                  <a:lnTo>
                    <a:pt x="54" y="2516"/>
                  </a:lnTo>
                  <a:lnTo>
                    <a:pt x="50" y="2520"/>
                  </a:lnTo>
                  <a:lnTo>
                    <a:pt x="48" y="2524"/>
                  </a:lnTo>
                  <a:lnTo>
                    <a:pt x="48" y="2528"/>
                  </a:lnTo>
                  <a:lnTo>
                    <a:pt x="50" y="2530"/>
                  </a:lnTo>
                  <a:lnTo>
                    <a:pt x="54" y="2534"/>
                  </a:lnTo>
                  <a:lnTo>
                    <a:pt x="56" y="2540"/>
                  </a:lnTo>
                  <a:lnTo>
                    <a:pt x="58" y="2546"/>
                  </a:lnTo>
                  <a:lnTo>
                    <a:pt x="60" y="2552"/>
                  </a:lnTo>
                  <a:lnTo>
                    <a:pt x="64" y="2560"/>
                  </a:lnTo>
                  <a:lnTo>
                    <a:pt x="64" y="2570"/>
                  </a:lnTo>
                  <a:lnTo>
                    <a:pt x="64" y="2578"/>
                  </a:lnTo>
                  <a:lnTo>
                    <a:pt x="66" y="2588"/>
                  </a:lnTo>
                  <a:lnTo>
                    <a:pt x="64" y="2594"/>
                  </a:lnTo>
                  <a:lnTo>
                    <a:pt x="66" y="2596"/>
                  </a:lnTo>
                  <a:lnTo>
                    <a:pt x="68" y="2600"/>
                  </a:lnTo>
                  <a:lnTo>
                    <a:pt x="66" y="2602"/>
                  </a:lnTo>
                  <a:lnTo>
                    <a:pt x="66" y="2606"/>
                  </a:lnTo>
                  <a:lnTo>
                    <a:pt x="66" y="2612"/>
                  </a:lnTo>
                  <a:lnTo>
                    <a:pt x="74" y="2628"/>
                  </a:lnTo>
                  <a:lnTo>
                    <a:pt x="74" y="2632"/>
                  </a:lnTo>
                  <a:lnTo>
                    <a:pt x="74" y="2640"/>
                  </a:lnTo>
                  <a:lnTo>
                    <a:pt x="70" y="2654"/>
                  </a:lnTo>
                  <a:lnTo>
                    <a:pt x="66" y="2670"/>
                  </a:lnTo>
                  <a:lnTo>
                    <a:pt x="64" y="2680"/>
                  </a:lnTo>
                  <a:lnTo>
                    <a:pt x="66" y="2684"/>
                  </a:lnTo>
                  <a:lnTo>
                    <a:pt x="64" y="2688"/>
                  </a:lnTo>
                  <a:lnTo>
                    <a:pt x="60" y="2694"/>
                  </a:lnTo>
                  <a:lnTo>
                    <a:pt x="56" y="2708"/>
                  </a:lnTo>
                  <a:lnTo>
                    <a:pt x="54" y="2716"/>
                  </a:lnTo>
                  <a:lnTo>
                    <a:pt x="50" y="2720"/>
                  </a:lnTo>
                  <a:lnTo>
                    <a:pt x="46" y="2724"/>
                  </a:lnTo>
                  <a:lnTo>
                    <a:pt x="44" y="2726"/>
                  </a:lnTo>
                  <a:lnTo>
                    <a:pt x="44" y="2730"/>
                  </a:lnTo>
                  <a:lnTo>
                    <a:pt x="44" y="2734"/>
                  </a:lnTo>
                  <a:lnTo>
                    <a:pt x="44" y="2740"/>
                  </a:lnTo>
                  <a:lnTo>
                    <a:pt x="40" y="2750"/>
                  </a:lnTo>
                  <a:lnTo>
                    <a:pt x="38" y="2756"/>
                  </a:lnTo>
                  <a:lnTo>
                    <a:pt x="38" y="2760"/>
                  </a:lnTo>
                  <a:lnTo>
                    <a:pt x="40" y="2762"/>
                  </a:lnTo>
                  <a:lnTo>
                    <a:pt x="44" y="2764"/>
                  </a:lnTo>
                  <a:lnTo>
                    <a:pt x="52" y="2764"/>
                  </a:lnTo>
                  <a:lnTo>
                    <a:pt x="50" y="2766"/>
                  </a:lnTo>
                  <a:lnTo>
                    <a:pt x="50" y="2770"/>
                  </a:lnTo>
                  <a:lnTo>
                    <a:pt x="50" y="2772"/>
                  </a:lnTo>
                  <a:lnTo>
                    <a:pt x="50" y="2776"/>
                  </a:lnTo>
                  <a:lnTo>
                    <a:pt x="50" y="2778"/>
                  </a:lnTo>
                  <a:lnTo>
                    <a:pt x="52" y="2778"/>
                  </a:lnTo>
                  <a:lnTo>
                    <a:pt x="58" y="2776"/>
                  </a:lnTo>
                  <a:lnTo>
                    <a:pt x="64" y="2778"/>
                  </a:lnTo>
                  <a:lnTo>
                    <a:pt x="66" y="2780"/>
                  </a:lnTo>
                  <a:lnTo>
                    <a:pt x="66" y="2782"/>
                  </a:lnTo>
                  <a:lnTo>
                    <a:pt x="68" y="2788"/>
                  </a:lnTo>
                  <a:lnTo>
                    <a:pt x="66" y="2794"/>
                  </a:lnTo>
                  <a:lnTo>
                    <a:pt x="64" y="2804"/>
                  </a:lnTo>
                  <a:lnTo>
                    <a:pt x="66" y="2810"/>
                  </a:lnTo>
                  <a:lnTo>
                    <a:pt x="66" y="2820"/>
                  </a:lnTo>
                  <a:lnTo>
                    <a:pt x="62" y="2842"/>
                  </a:lnTo>
                  <a:lnTo>
                    <a:pt x="60" y="2856"/>
                  </a:lnTo>
                  <a:lnTo>
                    <a:pt x="62" y="2856"/>
                  </a:lnTo>
                  <a:lnTo>
                    <a:pt x="64" y="2856"/>
                  </a:lnTo>
                  <a:lnTo>
                    <a:pt x="68" y="2852"/>
                  </a:lnTo>
                  <a:lnTo>
                    <a:pt x="72" y="2850"/>
                  </a:lnTo>
                  <a:lnTo>
                    <a:pt x="80" y="2850"/>
                  </a:lnTo>
                  <a:lnTo>
                    <a:pt x="92" y="2854"/>
                  </a:lnTo>
                  <a:lnTo>
                    <a:pt x="104" y="2858"/>
                  </a:lnTo>
                  <a:lnTo>
                    <a:pt x="110" y="2856"/>
                  </a:lnTo>
                  <a:lnTo>
                    <a:pt x="114" y="2852"/>
                  </a:lnTo>
                  <a:lnTo>
                    <a:pt x="124" y="2846"/>
                  </a:lnTo>
                  <a:lnTo>
                    <a:pt x="130" y="2844"/>
                  </a:lnTo>
                  <a:lnTo>
                    <a:pt x="136" y="2844"/>
                  </a:lnTo>
                  <a:lnTo>
                    <a:pt x="142" y="2846"/>
                  </a:lnTo>
                  <a:lnTo>
                    <a:pt x="148" y="2850"/>
                  </a:lnTo>
                  <a:lnTo>
                    <a:pt x="158" y="2858"/>
                  </a:lnTo>
                  <a:lnTo>
                    <a:pt x="160" y="2862"/>
                  </a:lnTo>
                  <a:lnTo>
                    <a:pt x="162" y="2866"/>
                  </a:lnTo>
                  <a:lnTo>
                    <a:pt x="162" y="2874"/>
                  </a:lnTo>
                  <a:lnTo>
                    <a:pt x="166" y="2882"/>
                  </a:lnTo>
                  <a:lnTo>
                    <a:pt x="174" y="2892"/>
                  </a:lnTo>
                  <a:lnTo>
                    <a:pt x="182" y="2902"/>
                  </a:lnTo>
                  <a:lnTo>
                    <a:pt x="190" y="2908"/>
                  </a:lnTo>
                  <a:lnTo>
                    <a:pt x="196" y="2910"/>
                  </a:lnTo>
                  <a:lnTo>
                    <a:pt x="198" y="2910"/>
                  </a:lnTo>
                  <a:lnTo>
                    <a:pt x="202" y="2906"/>
                  </a:lnTo>
                  <a:lnTo>
                    <a:pt x="206" y="2902"/>
                  </a:lnTo>
                  <a:lnTo>
                    <a:pt x="208" y="2898"/>
                  </a:lnTo>
                  <a:lnTo>
                    <a:pt x="212" y="2892"/>
                  </a:lnTo>
                  <a:lnTo>
                    <a:pt x="214" y="2888"/>
                  </a:lnTo>
                  <a:lnTo>
                    <a:pt x="218" y="2886"/>
                  </a:lnTo>
                  <a:lnTo>
                    <a:pt x="228" y="2884"/>
                  </a:lnTo>
                  <a:lnTo>
                    <a:pt x="236" y="2884"/>
                  </a:lnTo>
                  <a:lnTo>
                    <a:pt x="238" y="2882"/>
                  </a:lnTo>
                  <a:lnTo>
                    <a:pt x="240" y="2880"/>
                  </a:lnTo>
                  <a:lnTo>
                    <a:pt x="246" y="2874"/>
                  </a:lnTo>
                  <a:lnTo>
                    <a:pt x="254" y="2868"/>
                  </a:lnTo>
                  <a:lnTo>
                    <a:pt x="264" y="2868"/>
                  </a:lnTo>
                  <a:lnTo>
                    <a:pt x="270" y="2868"/>
                  </a:lnTo>
                  <a:lnTo>
                    <a:pt x="276" y="2870"/>
                  </a:lnTo>
                  <a:lnTo>
                    <a:pt x="284" y="2872"/>
                  </a:lnTo>
                  <a:lnTo>
                    <a:pt x="292" y="2874"/>
                  </a:lnTo>
                  <a:lnTo>
                    <a:pt x="310" y="2870"/>
                  </a:lnTo>
                  <a:lnTo>
                    <a:pt x="322" y="2868"/>
                  </a:lnTo>
                  <a:lnTo>
                    <a:pt x="328" y="2866"/>
                  </a:lnTo>
                  <a:lnTo>
                    <a:pt x="332" y="2868"/>
                  </a:lnTo>
                  <a:lnTo>
                    <a:pt x="336" y="2870"/>
                  </a:lnTo>
                  <a:lnTo>
                    <a:pt x="340" y="2866"/>
                  </a:lnTo>
                  <a:lnTo>
                    <a:pt x="346" y="2852"/>
                  </a:lnTo>
                  <a:lnTo>
                    <a:pt x="350" y="2844"/>
                  </a:lnTo>
                  <a:lnTo>
                    <a:pt x="356" y="2836"/>
                  </a:lnTo>
                  <a:lnTo>
                    <a:pt x="364" y="2830"/>
                  </a:lnTo>
                  <a:lnTo>
                    <a:pt x="374" y="2828"/>
                  </a:lnTo>
                  <a:lnTo>
                    <a:pt x="390" y="2826"/>
                  </a:lnTo>
                  <a:lnTo>
                    <a:pt x="392" y="2824"/>
                  </a:lnTo>
                  <a:lnTo>
                    <a:pt x="390" y="2818"/>
                  </a:lnTo>
                  <a:lnTo>
                    <a:pt x="392" y="2808"/>
                  </a:lnTo>
                  <a:lnTo>
                    <a:pt x="396" y="2798"/>
                  </a:lnTo>
                  <a:lnTo>
                    <a:pt x="402" y="2788"/>
                  </a:lnTo>
                  <a:lnTo>
                    <a:pt x="410" y="2780"/>
                  </a:lnTo>
                  <a:lnTo>
                    <a:pt x="424" y="2768"/>
                  </a:lnTo>
                  <a:lnTo>
                    <a:pt x="428" y="2764"/>
                  </a:lnTo>
                  <a:lnTo>
                    <a:pt x="430" y="2760"/>
                  </a:lnTo>
                  <a:lnTo>
                    <a:pt x="428" y="2756"/>
                  </a:lnTo>
                  <a:lnTo>
                    <a:pt x="422" y="2752"/>
                  </a:lnTo>
                  <a:lnTo>
                    <a:pt x="416" y="2746"/>
                  </a:lnTo>
                  <a:lnTo>
                    <a:pt x="412" y="2740"/>
                  </a:lnTo>
                  <a:lnTo>
                    <a:pt x="410" y="2734"/>
                  </a:lnTo>
                  <a:lnTo>
                    <a:pt x="410" y="2724"/>
                  </a:lnTo>
                  <a:lnTo>
                    <a:pt x="412" y="2714"/>
                  </a:lnTo>
                  <a:lnTo>
                    <a:pt x="418" y="2702"/>
                  </a:lnTo>
                  <a:lnTo>
                    <a:pt x="424" y="2690"/>
                  </a:lnTo>
                  <a:lnTo>
                    <a:pt x="438" y="2670"/>
                  </a:lnTo>
                  <a:lnTo>
                    <a:pt x="446" y="2664"/>
                  </a:lnTo>
                  <a:lnTo>
                    <a:pt x="450" y="2660"/>
                  </a:lnTo>
                  <a:lnTo>
                    <a:pt x="460" y="2656"/>
                  </a:lnTo>
                  <a:lnTo>
                    <a:pt x="460" y="2654"/>
                  </a:lnTo>
                  <a:lnTo>
                    <a:pt x="460" y="2652"/>
                  </a:lnTo>
                  <a:lnTo>
                    <a:pt x="454" y="2648"/>
                  </a:lnTo>
                  <a:lnTo>
                    <a:pt x="454" y="2646"/>
                  </a:lnTo>
                  <a:lnTo>
                    <a:pt x="454" y="2642"/>
                  </a:lnTo>
                  <a:lnTo>
                    <a:pt x="458" y="2638"/>
                  </a:lnTo>
                  <a:lnTo>
                    <a:pt x="466" y="2634"/>
                  </a:lnTo>
                  <a:lnTo>
                    <a:pt x="484" y="2628"/>
                  </a:lnTo>
                  <a:lnTo>
                    <a:pt x="502" y="2624"/>
                  </a:lnTo>
                  <a:lnTo>
                    <a:pt x="508" y="2620"/>
                  </a:lnTo>
                  <a:lnTo>
                    <a:pt x="510" y="2616"/>
                  </a:lnTo>
                  <a:lnTo>
                    <a:pt x="514" y="2612"/>
                  </a:lnTo>
                  <a:lnTo>
                    <a:pt x="520" y="2608"/>
                  </a:lnTo>
                  <a:lnTo>
                    <a:pt x="536" y="2600"/>
                  </a:lnTo>
                  <a:lnTo>
                    <a:pt x="544" y="2596"/>
                  </a:lnTo>
                  <a:lnTo>
                    <a:pt x="550" y="2590"/>
                  </a:lnTo>
                  <a:lnTo>
                    <a:pt x="552" y="2584"/>
                  </a:lnTo>
                  <a:lnTo>
                    <a:pt x="552" y="2580"/>
                  </a:lnTo>
                  <a:lnTo>
                    <a:pt x="550" y="2576"/>
                  </a:lnTo>
                  <a:lnTo>
                    <a:pt x="550" y="2572"/>
                  </a:lnTo>
                  <a:lnTo>
                    <a:pt x="550" y="2570"/>
                  </a:lnTo>
                  <a:lnTo>
                    <a:pt x="554" y="2566"/>
                  </a:lnTo>
                  <a:lnTo>
                    <a:pt x="556" y="2566"/>
                  </a:lnTo>
                  <a:lnTo>
                    <a:pt x="556" y="2562"/>
                  </a:lnTo>
                  <a:lnTo>
                    <a:pt x="554" y="2560"/>
                  </a:lnTo>
                  <a:lnTo>
                    <a:pt x="548" y="2554"/>
                  </a:lnTo>
                  <a:lnTo>
                    <a:pt x="548" y="2542"/>
                  </a:lnTo>
                  <a:lnTo>
                    <a:pt x="548" y="2536"/>
                  </a:lnTo>
                  <a:lnTo>
                    <a:pt x="548" y="2532"/>
                  </a:lnTo>
                  <a:lnTo>
                    <a:pt x="548" y="2524"/>
                  </a:lnTo>
                  <a:lnTo>
                    <a:pt x="548" y="2518"/>
                  </a:lnTo>
                  <a:lnTo>
                    <a:pt x="550" y="2514"/>
                  </a:lnTo>
                  <a:lnTo>
                    <a:pt x="556" y="2510"/>
                  </a:lnTo>
                  <a:lnTo>
                    <a:pt x="564" y="2508"/>
                  </a:lnTo>
                  <a:lnTo>
                    <a:pt x="572" y="2502"/>
                  </a:lnTo>
                  <a:lnTo>
                    <a:pt x="584" y="2494"/>
                  </a:lnTo>
                  <a:lnTo>
                    <a:pt x="586" y="2494"/>
                  </a:lnTo>
                  <a:lnTo>
                    <a:pt x="588" y="2494"/>
                  </a:lnTo>
                  <a:lnTo>
                    <a:pt x="590" y="2498"/>
                  </a:lnTo>
                  <a:lnTo>
                    <a:pt x="592" y="2500"/>
                  </a:lnTo>
                  <a:lnTo>
                    <a:pt x="598" y="2502"/>
                  </a:lnTo>
                  <a:lnTo>
                    <a:pt x="604" y="2502"/>
                  </a:lnTo>
                  <a:lnTo>
                    <a:pt x="608" y="2504"/>
                  </a:lnTo>
                  <a:lnTo>
                    <a:pt x="610" y="2506"/>
                  </a:lnTo>
                  <a:lnTo>
                    <a:pt x="616" y="2506"/>
                  </a:lnTo>
                  <a:lnTo>
                    <a:pt x="626" y="2504"/>
                  </a:lnTo>
                  <a:lnTo>
                    <a:pt x="630" y="2504"/>
                  </a:lnTo>
                  <a:lnTo>
                    <a:pt x="634" y="2506"/>
                  </a:lnTo>
                  <a:lnTo>
                    <a:pt x="640" y="2512"/>
                  </a:lnTo>
                  <a:lnTo>
                    <a:pt x="644" y="2516"/>
                  </a:lnTo>
                  <a:lnTo>
                    <a:pt x="646" y="2516"/>
                  </a:lnTo>
                  <a:lnTo>
                    <a:pt x="650" y="2514"/>
                  </a:lnTo>
                  <a:lnTo>
                    <a:pt x="654" y="2516"/>
                  </a:lnTo>
                  <a:lnTo>
                    <a:pt x="656" y="2518"/>
                  </a:lnTo>
                  <a:lnTo>
                    <a:pt x="660" y="2520"/>
                  </a:lnTo>
                  <a:lnTo>
                    <a:pt x="664" y="2520"/>
                  </a:lnTo>
                  <a:lnTo>
                    <a:pt x="678" y="2518"/>
                  </a:lnTo>
                  <a:lnTo>
                    <a:pt x="690" y="2512"/>
                  </a:lnTo>
                  <a:lnTo>
                    <a:pt x="692" y="2508"/>
                  </a:lnTo>
                  <a:lnTo>
                    <a:pt x="694" y="2506"/>
                  </a:lnTo>
                  <a:lnTo>
                    <a:pt x="694" y="2502"/>
                  </a:lnTo>
                  <a:lnTo>
                    <a:pt x="696" y="2500"/>
                  </a:lnTo>
                  <a:lnTo>
                    <a:pt x="704" y="2494"/>
                  </a:lnTo>
                  <a:lnTo>
                    <a:pt x="726" y="2482"/>
                  </a:lnTo>
                  <a:lnTo>
                    <a:pt x="738" y="2476"/>
                  </a:lnTo>
                  <a:lnTo>
                    <a:pt x="748" y="2472"/>
                  </a:lnTo>
                  <a:lnTo>
                    <a:pt x="754" y="2466"/>
                  </a:lnTo>
                  <a:lnTo>
                    <a:pt x="758" y="2462"/>
                  </a:lnTo>
                  <a:lnTo>
                    <a:pt x="762" y="2452"/>
                  </a:lnTo>
                  <a:lnTo>
                    <a:pt x="766" y="2448"/>
                  </a:lnTo>
                  <a:lnTo>
                    <a:pt x="774" y="2444"/>
                  </a:lnTo>
                  <a:lnTo>
                    <a:pt x="780" y="2444"/>
                  </a:lnTo>
                  <a:lnTo>
                    <a:pt x="786" y="2444"/>
                  </a:lnTo>
                  <a:lnTo>
                    <a:pt x="792" y="2448"/>
                  </a:lnTo>
                  <a:lnTo>
                    <a:pt x="798" y="2454"/>
                  </a:lnTo>
                  <a:lnTo>
                    <a:pt x="808" y="2462"/>
                  </a:lnTo>
                  <a:lnTo>
                    <a:pt x="814" y="2466"/>
                  </a:lnTo>
                  <a:lnTo>
                    <a:pt x="820" y="2466"/>
                  </a:lnTo>
                  <a:lnTo>
                    <a:pt x="826" y="2466"/>
                  </a:lnTo>
                  <a:lnTo>
                    <a:pt x="830" y="2468"/>
                  </a:lnTo>
                  <a:lnTo>
                    <a:pt x="832" y="2474"/>
                  </a:lnTo>
                  <a:lnTo>
                    <a:pt x="834" y="2480"/>
                  </a:lnTo>
                  <a:lnTo>
                    <a:pt x="836" y="2494"/>
                  </a:lnTo>
                  <a:lnTo>
                    <a:pt x="838" y="2500"/>
                  </a:lnTo>
                  <a:lnTo>
                    <a:pt x="842" y="2504"/>
                  </a:lnTo>
                  <a:lnTo>
                    <a:pt x="844" y="2508"/>
                  </a:lnTo>
                  <a:lnTo>
                    <a:pt x="846" y="2512"/>
                  </a:lnTo>
                  <a:lnTo>
                    <a:pt x="846" y="2518"/>
                  </a:lnTo>
                  <a:lnTo>
                    <a:pt x="846" y="2522"/>
                  </a:lnTo>
                  <a:lnTo>
                    <a:pt x="846" y="2526"/>
                  </a:lnTo>
                  <a:lnTo>
                    <a:pt x="848" y="2530"/>
                  </a:lnTo>
                  <a:lnTo>
                    <a:pt x="854" y="2536"/>
                  </a:lnTo>
                  <a:lnTo>
                    <a:pt x="870" y="2546"/>
                  </a:lnTo>
                  <a:lnTo>
                    <a:pt x="872" y="2550"/>
                  </a:lnTo>
                  <a:lnTo>
                    <a:pt x="872" y="2556"/>
                  </a:lnTo>
                  <a:lnTo>
                    <a:pt x="872" y="2560"/>
                  </a:lnTo>
                  <a:lnTo>
                    <a:pt x="874" y="2562"/>
                  </a:lnTo>
                  <a:lnTo>
                    <a:pt x="882" y="2564"/>
                  </a:lnTo>
                  <a:lnTo>
                    <a:pt x="890" y="2566"/>
                  </a:lnTo>
                  <a:lnTo>
                    <a:pt x="894" y="2570"/>
                  </a:lnTo>
                  <a:lnTo>
                    <a:pt x="898" y="2576"/>
                  </a:lnTo>
                  <a:lnTo>
                    <a:pt x="902" y="2584"/>
                  </a:lnTo>
                  <a:lnTo>
                    <a:pt x="906" y="2586"/>
                  </a:lnTo>
                  <a:lnTo>
                    <a:pt x="910" y="2588"/>
                  </a:lnTo>
                  <a:lnTo>
                    <a:pt x="920" y="2598"/>
                  </a:lnTo>
                  <a:lnTo>
                    <a:pt x="932" y="2612"/>
                  </a:lnTo>
                  <a:lnTo>
                    <a:pt x="944" y="2620"/>
                  </a:lnTo>
                  <a:lnTo>
                    <a:pt x="956" y="2624"/>
                  </a:lnTo>
                  <a:lnTo>
                    <a:pt x="970" y="2624"/>
                  </a:lnTo>
                  <a:lnTo>
                    <a:pt x="974" y="2626"/>
                  </a:lnTo>
                  <a:lnTo>
                    <a:pt x="978" y="2628"/>
                  </a:lnTo>
                  <a:lnTo>
                    <a:pt x="982" y="2638"/>
                  </a:lnTo>
                  <a:lnTo>
                    <a:pt x="988" y="2646"/>
                  </a:lnTo>
                  <a:lnTo>
                    <a:pt x="990" y="2650"/>
                  </a:lnTo>
                  <a:lnTo>
                    <a:pt x="996" y="2650"/>
                  </a:lnTo>
                  <a:lnTo>
                    <a:pt x="1002" y="2650"/>
                  </a:lnTo>
                  <a:lnTo>
                    <a:pt x="1004" y="2650"/>
                  </a:lnTo>
                  <a:lnTo>
                    <a:pt x="1004" y="2656"/>
                  </a:lnTo>
                  <a:lnTo>
                    <a:pt x="1002" y="2658"/>
                  </a:lnTo>
                  <a:lnTo>
                    <a:pt x="1004" y="2658"/>
                  </a:lnTo>
                  <a:lnTo>
                    <a:pt x="1006" y="2660"/>
                  </a:lnTo>
                  <a:lnTo>
                    <a:pt x="1012" y="2658"/>
                  </a:lnTo>
                  <a:lnTo>
                    <a:pt x="1018" y="2658"/>
                  </a:lnTo>
                  <a:lnTo>
                    <a:pt x="1020" y="2660"/>
                  </a:lnTo>
                  <a:lnTo>
                    <a:pt x="1022" y="2662"/>
                  </a:lnTo>
                  <a:lnTo>
                    <a:pt x="1022" y="2666"/>
                  </a:lnTo>
                  <a:lnTo>
                    <a:pt x="1022" y="2674"/>
                  </a:lnTo>
                  <a:lnTo>
                    <a:pt x="1024" y="2680"/>
                  </a:lnTo>
                  <a:lnTo>
                    <a:pt x="1030" y="2684"/>
                  </a:lnTo>
                  <a:lnTo>
                    <a:pt x="1040" y="2690"/>
                  </a:lnTo>
                  <a:lnTo>
                    <a:pt x="1050" y="2694"/>
                  </a:lnTo>
                  <a:lnTo>
                    <a:pt x="1054" y="2698"/>
                  </a:lnTo>
                  <a:lnTo>
                    <a:pt x="1058" y="2702"/>
                  </a:lnTo>
                  <a:lnTo>
                    <a:pt x="1062" y="2710"/>
                  </a:lnTo>
                  <a:lnTo>
                    <a:pt x="1066" y="2720"/>
                  </a:lnTo>
                  <a:lnTo>
                    <a:pt x="1070" y="2740"/>
                  </a:lnTo>
                  <a:lnTo>
                    <a:pt x="1072" y="2752"/>
                  </a:lnTo>
                  <a:lnTo>
                    <a:pt x="1072" y="2758"/>
                  </a:lnTo>
                  <a:lnTo>
                    <a:pt x="1066" y="2762"/>
                  </a:lnTo>
                  <a:lnTo>
                    <a:pt x="1064" y="2768"/>
                  </a:lnTo>
                  <a:lnTo>
                    <a:pt x="1064" y="2772"/>
                  </a:lnTo>
                  <a:lnTo>
                    <a:pt x="1062" y="2776"/>
                  </a:lnTo>
                  <a:lnTo>
                    <a:pt x="1060" y="2784"/>
                  </a:lnTo>
                  <a:lnTo>
                    <a:pt x="1054" y="2790"/>
                  </a:lnTo>
                  <a:lnTo>
                    <a:pt x="1052" y="2796"/>
                  </a:lnTo>
                  <a:lnTo>
                    <a:pt x="1054" y="2802"/>
                  </a:lnTo>
                  <a:lnTo>
                    <a:pt x="1058" y="2806"/>
                  </a:lnTo>
                  <a:lnTo>
                    <a:pt x="1064" y="2808"/>
                  </a:lnTo>
                  <a:lnTo>
                    <a:pt x="1068" y="2808"/>
                  </a:lnTo>
                  <a:lnTo>
                    <a:pt x="1070" y="2806"/>
                  </a:lnTo>
                  <a:lnTo>
                    <a:pt x="1072" y="2804"/>
                  </a:lnTo>
                  <a:lnTo>
                    <a:pt x="1076" y="2794"/>
                  </a:lnTo>
                  <a:lnTo>
                    <a:pt x="1084" y="2784"/>
                  </a:lnTo>
                  <a:lnTo>
                    <a:pt x="1088" y="2780"/>
                  </a:lnTo>
                  <a:lnTo>
                    <a:pt x="1090" y="2776"/>
                  </a:lnTo>
                  <a:lnTo>
                    <a:pt x="1092" y="2768"/>
                  </a:lnTo>
                  <a:lnTo>
                    <a:pt x="1096" y="2760"/>
                  </a:lnTo>
                  <a:lnTo>
                    <a:pt x="1098" y="2756"/>
                  </a:lnTo>
                  <a:lnTo>
                    <a:pt x="1104" y="2752"/>
                  </a:lnTo>
                  <a:lnTo>
                    <a:pt x="1110" y="2748"/>
                  </a:lnTo>
                  <a:lnTo>
                    <a:pt x="1114" y="2742"/>
                  </a:lnTo>
                  <a:lnTo>
                    <a:pt x="1116" y="2738"/>
                  </a:lnTo>
                  <a:lnTo>
                    <a:pt x="1114" y="2732"/>
                  </a:lnTo>
                  <a:lnTo>
                    <a:pt x="1112" y="2726"/>
                  </a:lnTo>
                  <a:lnTo>
                    <a:pt x="1108" y="2722"/>
                  </a:lnTo>
                  <a:lnTo>
                    <a:pt x="1104" y="2718"/>
                  </a:lnTo>
                  <a:lnTo>
                    <a:pt x="1098" y="2716"/>
                  </a:lnTo>
                  <a:lnTo>
                    <a:pt x="1090" y="2712"/>
                  </a:lnTo>
                  <a:lnTo>
                    <a:pt x="1086" y="2708"/>
                  </a:lnTo>
                  <a:lnTo>
                    <a:pt x="1086" y="2704"/>
                  </a:lnTo>
                  <a:lnTo>
                    <a:pt x="1090" y="2698"/>
                  </a:lnTo>
                  <a:lnTo>
                    <a:pt x="1092" y="2692"/>
                  </a:lnTo>
                  <a:lnTo>
                    <a:pt x="1094" y="2684"/>
                  </a:lnTo>
                  <a:lnTo>
                    <a:pt x="1096" y="2676"/>
                  </a:lnTo>
                  <a:lnTo>
                    <a:pt x="1100" y="2672"/>
                  </a:lnTo>
                  <a:lnTo>
                    <a:pt x="1104" y="2670"/>
                  </a:lnTo>
                  <a:lnTo>
                    <a:pt x="1112" y="2666"/>
                  </a:lnTo>
                  <a:lnTo>
                    <a:pt x="1116" y="2668"/>
                  </a:lnTo>
                  <a:lnTo>
                    <a:pt x="1124" y="2670"/>
                  </a:lnTo>
                  <a:lnTo>
                    <a:pt x="1134" y="2672"/>
                  </a:lnTo>
                  <a:lnTo>
                    <a:pt x="1140" y="2674"/>
                  </a:lnTo>
                  <a:lnTo>
                    <a:pt x="1144" y="2678"/>
                  </a:lnTo>
                  <a:lnTo>
                    <a:pt x="1148" y="2688"/>
                  </a:lnTo>
                  <a:lnTo>
                    <a:pt x="1150" y="2696"/>
                  </a:lnTo>
                  <a:lnTo>
                    <a:pt x="1154" y="2700"/>
                  </a:lnTo>
                  <a:lnTo>
                    <a:pt x="1158" y="2702"/>
                  </a:lnTo>
                  <a:lnTo>
                    <a:pt x="1166" y="2702"/>
                  </a:lnTo>
                  <a:lnTo>
                    <a:pt x="1166" y="2700"/>
                  </a:lnTo>
                  <a:lnTo>
                    <a:pt x="1166" y="2696"/>
                  </a:lnTo>
                  <a:lnTo>
                    <a:pt x="1168" y="2688"/>
                  </a:lnTo>
                  <a:lnTo>
                    <a:pt x="1168" y="2684"/>
                  </a:lnTo>
                  <a:lnTo>
                    <a:pt x="1168" y="2678"/>
                  </a:lnTo>
                  <a:lnTo>
                    <a:pt x="1166" y="2674"/>
                  </a:lnTo>
                  <a:lnTo>
                    <a:pt x="1162" y="2670"/>
                  </a:lnTo>
                  <a:lnTo>
                    <a:pt x="1152" y="2662"/>
                  </a:lnTo>
                  <a:lnTo>
                    <a:pt x="1142" y="2654"/>
                  </a:lnTo>
                  <a:lnTo>
                    <a:pt x="1126" y="2646"/>
                  </a:lnTo>
                  <a:lnTo>
                    <a:pt x="1120" y="2642"/>
                  </a:lnTo>
                  <a:lnTo>
                    <a:pt x="1114" y="2636"/>
                  </a:lnTo>
                  <a:lnTo>
                    <a:pt x="1110" y="2632"/>
                  </a:lnTo>
                  <a:lnTo>
                    <a:pt x="1102" y="2628"/>
                  </a:lnTo>
                  <a:lnTo>
                    <a:pt x="1082" y="2620"/>
                  </a:lnTo>
                  <a:lnTo>
                    <a:pt x="1074" y="2616"/>
                  </a:lnTo>
                  <a:lnTo>
                    <a:pt x="1068" y="2610"/>
                  </a:lnTo>
                  <a:lnTo>
                    <a:pt x="1066" y="2606"/>
                  </a:lnTo>
                  <a:lnTo>
                    <a:pt x="1066" y="2602"/>
                  </a:lnTo>
                  <a:lnTo>
                    <a:pt x="1070" y="2600"/>
                  </a:lnTo>
                  <a:lnTo>
                    <a:pt x="1074" y="2594"/>
                  </a:lnTo>
                  <a:lnTo>
                    <a:pt x="1076" y="2592"/>
                  </a:lnTo>
                  <a:lnTo>
                    <a:pt x="1074" y="2590"/>
                  </a:lnTo>
                  <a:lnTo>
                    <a:pt x="1068" y="2588"/>
                  </a:lnTo>
                  <a:lnTo>
                    <a:pt x="1060" y="2586"/>
                  </a:lnTo>
                  <a:lnTo>
                    <a:pt x="1036" y="2584"/>
                  </a:lnTo>
                  <a:lnTo>
                    <a:pt x="1026" y="2580"/>
                  </a:lnTo>
                  <a:lnTo>
                    <a:pt x="1016" y="2576"/>
                  </a:lnTo>
                  <a:lnTo>
                    <a:pt x="1002" y="2560"/>
                  </a:lnTo>
                  <a:lnTo>
                    <a:pt x="990" y="2544"/>
                  </a:lnTo>
                  <a:lnTo>
                    <a:pt x="984" y="2530"/>
                  </a:lnTo>
                  <a:lnTo>
                    <a:pt x="978" y="2518"/>
                  </a:lnTo>
                  <a:lnTo>
                    <a:pt x="974" y="2498"/>
                  </a:lnTo>
                  <a:lnTo>
                    <a:pt x="970" y="2492"/>
                  </a:lnTo>
                  <a:lnTo>
                    <a:pt x="966" y="2490"/>
                  </a:lnTo>
                  <a:lnTo>
                    <a:pt x="958" y="2488"/>
                  </a:lnTo>
                  <a:lnTo>
                    <a:pt x="950" y="2484"/>
                  </a:lnTo>
                  <a:lnTo>
                    <a:pt x="944" y="2476"/>
                  </a:lnTo>
                  <a:lnTo>
                    <a:pt x="934" y="2468"/>
                  </a:lnTo>
                  <a:lnTo>
                    <a:pt x="928" y="2462"/>
                  </a:lnTo>
                  <a:lnTo>
                    <a:pt x="922" y="2456"/>
                  </a:lnTo>
                  <a:lnTo>
                    <a:pt x="920" y="2448"/>
                  </a:lnTo>
                  <a:lnTo>
                    <a:pt x="918" y="2442"/>
                  </a:lnTo>
                  <a:lnTo>
                    <a:pt x="916" y="2434"/>
                  </a:lnTo>
                  <a:lnTo>
                    <a:pt x="918" y="2428"/>
                  </a:lnTo>
                  <a:lnTo>
                    <a:pt x="920" y="2424"/>
                  </a:lnTo>
                  <a:lnTo>
                    <a:pt x="922" y="2422"/>
                  </a:lnTo>
                  <a:lnTo>
                    <a:pt x="926" y="2420"/>
                  </a:lnTo>
                  <a:lnTo>
                    <a:pt x="928" y="2418"/>
                  </a:lnTo>
                  <a:lnTo>
                    <a:pt x="926" y="2414"/>
                  </a:lnTo>
                  <a:lnTo>
                    <a:pt x="918" y="2400"/>
                  </a:lnTo>
                  <a:lnTo>
                    <a:pt x="914" y="2394"/>
                  </a:lnTo>
                  <a:lnTo>
                    <a:pt x="916" y="2388"/>
                  </a:lnTo>
                  <a:lnTo>
                    <a:pt x="920" y="2384"/>
                  </a:lnTo>
                  <a:lnTo>
                    <a:pt x="924" y="2386"/>
                  </a:lnTo>
                  <a:lnTo>
                    <a:pt x="926" y="2388"/>
                  </a:lnTo>
                  <a:lnTo>
                    <a:pt x="930" y="2388"/>
                  </a:lnTo>
                  <a:lnTo>
                    <a:pt x="934" y="2384"/>
                  </a:lnTo>
                  <a:lnTo>
                    <a:pt x="940" y="2378"/>
                  </a:lnTo>
                  <a:lnTo>
                    <a:pt x="950" y="2372"/>
                  </a:lnTo>
                  <a:lnTo>
                    <a:pt x="956" y="2370"/>
                  </a:lnTo>
                  <a:lnTo>
                    <a:pt x="958" y="2372"/>
                  </a:lnTo>
                  <a:lnTo>
                    <a:pt x="960" y="2374"/>
                  </a:lnTo>
                  <a:lnTo>
                    <a:pt x="966" y="2374"/>
                  </a:lnTo>
                  <a:lnTo>
                    <a:pt x="972" y="2372"/>
                  </a:lnTo>
                  <a:lnTo>
                    <a:pt x="974" y="2374"/>
                  </a:lnTo>
                  <a:lnTo>
                    <a:pt x="974" y="2378"/>
                  </a:lnTo>
                  <a:lnTo>
                    <a:pt x="974" y="2380"/>
                  </a:lnTo>
                  <a:lnTo>
                    <a:pt x="972" y="2382"/>
                  </a:lnTo>
                  <a:lnTo>
                    <a:pt x="970" y="2382"/>
                  </a:lnTo>
                  <a:lnTo>
                    <a:pt x="968" y="2384"/>
                  </a:lnTo>
                  <a:lnTo>
                    <a:pt x="968" y="2386"/>
                  </a:lnTo>
                  <a:lnTo>
                    <a:pt x="970" y="2398"/>
                  </a:lnTo>
                  <a:lnTo>
                    <a:pt x="976" y="2414"/>
                  </a:lnTo>
                  <a:lnTo>
                    <a:pt x="982" y="2426"/>
                  </a:lnTo>
                  <a:lnTo>
                    <a:pt x="986" y="2428"/>
                  </a:lnTo>
                  <a:lnTo>
                    <a:pt x="988" y="2424"/>
                  </a:lnTo>
                  <a:lnTo>
                    <a:pt x="994" y="2402"/>
                  </a:lnTo>
                  <a:lnTo>
                    <a:pt x="996" y="2398"/>
                  </a:lnTo>
                  <a:lnTo>
                    <a:pt x="1000" y="2394"/>
                  </a:lnTo>
                  <a:lnTo>
                    <a:pt x="1004" y="2394"/>
                  </a:lnTo>
                  <a:lnTo>
                    <a:pt x="1008" y="2398"/>
                  </a:lnTo>
                  <a:lnTo>
                    <a:pt x="1016" y="2404"/>
                  </a:lnTo>
                  <a:lnTo>
                    <a:pt x="1020" y="2410"/>
                  </a:lnTo>
                  <a:lnTo>
                    <a:pt x="1022" y="2414"/>
                  </a:lnTo>
                  <a:lnTo>
                    <a:pt x="1022" y="2420"/>
                  </a:lnTo>
                  <a:lnTo>
                    <a:pt x="1024" y="2428"/>
                  </a:lnTo>
                  <a:lnTo>
                    <a:pt x="1026" y="2434"/>
                  </a:lnTo>
                  <a:lnTo>
                    <a:pt x="1030" y="2440"/>
                  </a:lnTo>
                  <a:lnTo>
                    <a:pt x="1034" y="2446"/>
                  </a:lnTo>
                  <a:lnTo>
                    <a:pt x="1036" y="2450"/>
                  </a:lnTo>
                  <a:lnTo>
                    <a:pt x="1036" y="2452"/>
                  </a:lnTo>
                  <a:lnTo>
                    <a:pt x="1034" y="2454"/>
                  </a:lnTo>
                  <a:lnTo>
                    <a:pt x="1034" y="2456"/>
                  </a:lnTo>
                  <a:lnTo>
                    <a:pt x="1034" y="2460"/>
                  </a:lnTo>
                  <a:lnTo>
                    <a:pt x="1038" y="2464"/>
                  </a:lnTo>
                  <a:lnTo>
                    <a:pt x="1046" y="2472"/>
                  </a:lnTo>
                  <a:lnTo>
                    <a:pt x="1056" y="2480"/>
                  </a:lnTo>
                  <a:lnTo>
                    <a:pt x="1062" y="2486"/>
                  </a:lnTo>
                  <a:lnTo>
                    <a:pt x="1066" y="2494"/>
                  </a:lnTo>
                  <a:lnTo>
                    <a:pt x="1066" y="2496"/>
                  </a:lnTo>
                  <a:lnTo>
                    <a:pt x="1068" y="2496"/>
                  </a:lnTo>
                  <a:lnTo>
                    <a:pt x="1076" y="2496"/>
                  </a:lnTo>
                  <a:lnTo>
                    <a:pt x="1084" y="2496"/>
                  </a:lnTo>
                  <a:lnTo>
                    <a:pt x="1090" y="2498"/>
                  </a:lnTo>
                  <a:lnTo>
                    <a:pt x="1102" y="2504"/>
                  </a:lnTo>
                  <a:lnTo>
                    <a:pt x="1114" y="2516"/>
                  </a:lnTo>
                  <a:lnTo>
                    <a:pt x="1128" y="2528"/>
                  </a:lnTo>
                  <a:lnTo>
                    <a:pt x="1114" y="2524"/>
                  </a:lnTo>
                  <a:lnTo>
                    <a:pt x="1110" y="2524"/>
                  </a:lnTo>
                  <a:lnTo>
                    <a:pt x="1110" y="2526"/>
                  </a:lnTo>
                  <a:lnTo>
                    <a:pt x="1116" y="2530"/>
                  </a:lnTo>
                  <a:lnTo>
                    <a:pt x="1134" y="2536"/>
                  </a:lnTo>
                  <a:lnTo>
                    <a:pt x="1144" y="2540"/>
                  </a:lnTo>
                  <a:lnTo>
                    <a:pt x="1152" y="2544"/>
                  </a:lnTo>
                  <a:lnTo>
                    <a:pt x="1160" y="2552"/>
                  </a:lnTo>
                  <a:lnTo>
                    <a:pt x="1162" y="2558"/>
                  </a:lnTo>
                  <a:lnTo>
                    <a:pt x="1164" y="2560"/>
                  </a:lnTo>
                  <a:lnTo>
                    <a:pt x="1166" y="2560"/>
                  </a:lnTo>
                  <a:lnTo>
                    <a:pt x="1174" y="2560"/>
                  </a:lnTo>
                  <a:lnTo>
                    <a:pt x="1176" y="2562"/>
                  </a:lnTo>
                  <a:lnTo>
                    <a:pt x="1184" y="2566"/>
                  </a:lnTo>
                  <a:lnTo>
                    <a:pt x="1188" y="2568"/>
                  </a:lnTo>
                  <a:lnTo>
                    <a:pt x="1190" y="2574"/>
                  </a:lnTo>
                  <a:lnTo>
                    <a:pt x="1190" y="2582"/>
                  </a:lnTo>
                  <a:lnTo>
                    <a:pt x="1192" y="2584"/>
                  </a:lnTo>
                  <a:lnTo>
                    <a:pt x="1196" y="2586"/>
                  </a:lnTo>
                  <a:lnTo>
                    <a:pt x="1204" y="2588"/>
                  </a:lnTo>
                  <a:lnTo>
                    <a:pt x="1208" y="2590"/>
                  </a:lnTo>
                  <a:lnTo>
                    <a:pt x="1208" y="2596"/>
                  </a:lnTo>
                  <a:lnTo>
                    <a:pt x="1208" y="2610"/>
                  </a:lnTo>
                  <a:lnTo>
                    <a:pt x="1206" y="2626"/>
                  </a:lnTo>
                  <a:lnTo>
                    <a:pt x="1206" y="2632"/>
                  </a:lnTo>
                  <a:lnTo>
                    <a:pt x="1206" y="2636"/>
                  </a:lnTo>
                  <a:lnTo>
                    <a:pt x="1206" y="2638"/>
                  </a:lnTo>
                  <a:lnTo>
                    <a:pt x="1206" y="2640"/>
                  </a:lnTo>
                  <a:lnTo>
                    <a:pt x="1204" y="2646"/>
                  </a:lnTo>
                  <a:lnTo>
                    <a:pt x="1200" y="2652"/>
                  </a:lnTo>
                  <a:lnTo>
                    <a:pt x="1200" y="2656"/>
                  </a:lnTo>
                  <a:lnTo>
                    <a:pt x="1202" y="2662"/>
                  </a:lnTo>
                  <a:lnTo>
                    <a:pt x="1202" y="2666"/>
                  </a:lnTo>
                  <a:lnTo>
                    <a:pt x="1202" y="2670"/>
                  </a:lnTo>
                  <a:lnTo>
                    <a:pt x="1202" y="2672"/>
                  </a:lnTo>
                  <a:lnTo>
                    <a:pt x="1200" y="2674"/>
                  </a:lnTo>
                  <a:lnTo>
                    <a:pt x="1202" y="2674"/>
                  </a:lnTo>
                  <a:lnTo>
                    <a:pt x="1208" y="2680"/>
                  </a:lnTo>
                  <a:lnTo>
                    <a:pt x="1216" y="2686"/>
                  </a:lnTo>
                  <a:lnTo>
                    <a:pt x="1222" y="2690"/>
                  </a:lnTo>
                  <a:lnTo>
                    <a:pt x="1224" y="2696"/>
                  </a:lnTo>
                  <a:lnTo>
                    <a:pt x="1224" y="2700"/>
                  </a:lnTo>
                  <a:lnTo>
                    <a:pt x="1226" y="2706"/>
                  </a:lnTo>
                  <a:lnTo>
                    <a:pt x="1228" y="2708"/>
                  </a:lnTo>
                  <a:lnTo>
                    <a:pt x="1230" y="2710"/>
                  </a:lnTo>
                  <a:lnTo>
                    <a:pt x="1240" y="2726"/>
                  </a:lnTo>
                  <a:lnTo>
                    <a:pt x="1246" y="2736"/>
                  </a:lnTo>
                  <a:lnTo>
                    <a:pt x="1250" y="2740"/>
                  </a:lnTo>
                  <a:lnTo>
                    <a:pt x="1254" y="2744"/>
                  </a:lnTo>
                  <a:lnTo>
                    <a:pt x="1258" y="2748"/>
                  </a:lnTo>
                  <a:lnTo>
                    <a:pt x="1260" y="2748"/>
                  </a:lnTo>
                  <a:lnTo>
                    <a:pt x="1260" y="2746"/>
                  </a:lnTo>
                  <a:lnTo>
                    <a:pt x="1262" y="2746"/>
                  </a:lnTo>
                  <a:lnTo>
                    <a:pt x="1266" y="2746"/>
                  </a:lnTo>
                  <a:lnTo>
                    <a:pt x="1272" y="2750"/>
                  </a:lnTo>
                  <a:lnTo>
                    <a:pt x="1274" y="2752"/>
                  </a:lnTo>
                  <a:lnTo>
                    <a:pt x="1266" y="2754"/>
                  </a:lnTo>
                  <a:lnTo>
                    <a:pt x="1258" y="2754"/>
                  </a:lnTo>
                  <a:lnTo>
                    <a:pt x="1258" y="2758"/>
                  </a:lnTo>
                  <a:lnTo>
                    <a:pt x="1260" y="2762"/>
                  </a:lnTo>
                  <a:lnTo>
                    <a:pt x="1268" y="2772"/>
                  </a:lnTo>
                  <a:lnTo>
                    <a:pt x="1272" y="2780"/>
                  </a:lnTo>
                  <a:lnTo>
                    <a:pt x="1274" y="2786"/>
                  </a:lnTo>
                  <a:lnTo>
                    <a:pt x="1276" y="2786"/>
                  </a:lnTo>
                  <a:lnTo>
                    <a:pt x="1280" y="2784"/>
                  </a:lnTo>
                  <a:lnTo>
                    <a:pt x="1284" y="2780"/>
                  </a:lnTo>
                  <a:lnTo>
                    <a:pt x="1286" y="2782"/>
                  </a:lnTo>
                  <a:lnTo>
                    <a:pt x="1290" y="2782"/>
                  </a:lnTo>
                  <a:lnTo>
                    <a:pt x="1300" y="2782"/>
                  </a:lnTo>
                  <a:lnTo>
                    <a:pt x="1312" y="2780"/>
                  </a:lnTo>
                  <a:lnTo>
                    <a:pt x="1316" y="2782"/>
                  </a:lnTo>
                  <a:lnTo>
                    <a:pt x="1318" y="2784"/>
                  </a:lnTo>
                  <a:lnTo>
                    <a:pt x="1324" y="2784"/>
                  </a:lnTo>
                  <a:lnTo>
                    <a:pt x="1330" y="2782"/>
                  </a:lnTo>
                  <a:lnTo>
                    <a:pt x="1336" y="2786"/>
                  </a:lnTo>
                  <a:lnTo>
                    <a:pt x="1342" y="2790"/>
                  </a:lnTo>
                  <a:lnTo>
                    <a:pt x="1348" y="2790"/>
                  </a:lnTo>
                  <a:lnTo>
                    <a:pt x="1354" y="2790"/>
                  </a:lnTo>
                  <a:lnTo>
                    <a:pt x="1358" y="2792"/>
                  </a:lnTo>
                  <a:lnTo>
                    <a:pt x="1358" y="2794"/>
                  </a:lnTo>
                  <a:lnTo>
                    <a:pt x="1358" y="2796"/>
                  </a:lnTo>
                  <a:lnTo>
                    <a:pt x="1350" y="2800"/>
                  </a:lnTo>
                  <a:lnTo>
                    <a:pt x="1342" y="2802"/>
                  </a:lnTo>
                  <a:lnTo>
                    <a:pt x="1336" y="2800"/>
                  </a:lnTo>
                  <a:lnTo>
                    <a:pt x="1322" y="2792"/>
                  </a:lnTo>
                  <a:lnTo>
                    <a:pt x="1312" y="2788"/>
                  </a:lnTo>
                  <a:lnTo>
                    <a:pt x="1306" y="2786"/>
                  </a:lnTo>
                  <a:lnTo>
                    <a:pt x="1302" y="2786"/>
                  </a:lnTo>
                  <a:lnTo>
                    <a:pt x="1298" y="2792"/>
                  </a:lnTo>
                  <a:lnTo>
                    <a:pt x="1296" y="2794"/>
                  </a:lnTo>
                  <a:lnTo>
                    <a:pt x="1292" y="2794"/>
                  </a:lnTo>
                  <a:lnTo>
                    <a:pt x="1288" y="2792"/>
                  </a:lnTo>
                  <a:lnTo>
                    <a:pt x="1282" y="2792"/>
                  </a:lnTo>
                  <a:lnTo>
                    <a:pt x="1282" y="2794"/>
                  </a:lnTo>
                  <a:lnTo>
                    <a:pt x="1280" y="2798"/>
                  </a:lnTo>
                  <a:lnTo>
                    <a:pt x="1280" y="2802"/>
                  </a:lnTo>
                  <a:lnTo>
                    <a:pt x="1278" y="2804"/>
                  </a:lnTo>
                  <a:lnTo>
                    <a:pt x="1274" y="2808"/>
                  </a:lnTo>
                  <a:lnTo>
                    <a:pt x="1272" y="2808"/>
                  </a:lnTo>
                  <a:lnTo>
                    <a:pt x="1276" y="2812"/>
                  </a:lnTo>
                  <a:lnTo>
                    <a:pt x="1280" y="2816"/>
                  </a:lnTo>
                  <a:lnTo>
                    <a:pt x="1280" y="2820"/>
                  </a:lnTo>
                  <a:lnTo>
                    <a:pt x="1280" y="2824"/>
                  </a:lnTo>
                  <a:lnTo>
                    <a:pt x="1286" y="2824"/>
                  </a:lnTo>
                  <a:lnTo>
                    <a:pt x="1288" y="2824"/>
                  </a:lnTo>
                  <a:lnTo>
                    <a:pt x="1292" y="2826"/>
                  </a:lnTo>
                  <a:lnTo>
                    <a:pt x="1294" y="2832"/>
                  </a:lnTo>
                  <a:lnTo>
                    <a:pt x="1294" y="2838"/>
                  </a:lnTo>
                  <a:lnTo>
                    <a:pt x="1292" y="2844"/>
                  </a:lnTo>
                  <a:lnTo>
                    <a:pt x="1292" y="2848"/>
                  </a:lnTo>
                  <a:lnTo>
                    <a:pt x="1292" y="2854"/>
                  </a:lnTo>
                  <a:lnTo>
                    <a:pt x="1298" y="2864"/>
                  </a:lnTo>
                  <a:lnTo>
                    <a:pt x="1300" y="2866"/>
                  </a:lnTo>
                  <a:lnTo>
                    <a:pt x="1304" y="2868"/>
                  </a:lnTo>
                  <a:lnTo>
                    <a:pt x="1306" y="2866"/>
                  </a:lnTo>
                  <a:lnTo>
                    <a:pt x="1308" y="2862"/>
                  </a:lnTo>
                  <a:lnTo>
                    <a:pt x="1308" y="2856"/>
                  </a:lnTo>
                  <a:lnTo>
                    <a:pt x="1310" y="2854"/>
                  </a:lnTo>
                  <a:lnTo>
                    <a:pt x="1314" y="2854"/>
                  </a:lnTo>
                  <a:lnTo>
                    <a:pt x="1316" y="2856"/>
                  </a:lnTo>
                  <a:lnTo>
                    <a:pt x="1320" y="2866"/>
                  </a:lnTo>
                  <a:lnTo>
                    <a:pt x="1322" y="2880"/>
                  </a:lnTo>
                  <a:lnTo>
                    <a:pt x="1324" y="2888"/>
                  </a:lnTo>
                  <a:lnTo>
                    <a:pt x="1326" y="2888"/>
                  </a:lnTo>
                  <a:lnTo>
                    <a:pt x="1328" y="2888"/>
                  </a:lnTo>
                  <a:lnTo>
                    <a:pt x="1330" y="2882"/>
                  </a:lnTo>
                  <a:lnTo>
                    <a:pt x="1332" y="2874"/>
                  </a:lnTo>
                  <a:lnTo>
                    <a:pt x="1334" y="2866"/>
                  </a:lnTo>
                  <a:lnTo>
                    <a:pt x="1336" y="2866"/>
                  </a:lnTo>
                  <a:lnTo>
                    <a:pt x="1338" y="2868"/>
                  </a:lnTo>
                  <a:lnTo>
                    <a:pt x="1342" y="2872"/>
                  </a:lnTo>
                  <a:lnTo>
                    <a:pt x="1348" y="2882"/>
                  </a:lnTo>
                  <a:lnTo>
                    <a:pt x="1350" y="2886"/>
                  </a:lnTo>
                  <a:lnTo>
                    <a:pt x="1354" y="2888"/>
                  </a:lnTo>
                  <a:lnTo>
                    <a:pt x="1356" y="2886"/>
                  </a:lnTo>
                  <a:lnTo>
                    <a:pt x="1356" y="2884"/>
                  </a:lnTo>
                  <a:lnTo>
                    <a:pt x="1356" y="2876"/>
                  </a:lnTo>
                  <a:lnTo>
                    <a:pt x="1348" y="2854"/>
                  </a:lnTo>
                  <a:lnTo>
                    <a:pt x="1340" y="2834"/>
                  </a:lnTo>
                  <a:lnTo>
                    <a:pt x="1338" y="2828"/>
                  </a:lnTo>
                  <a:lnTo>
                    <a:pt x="1338" y="2826"/>
                  </a:lnTo>
                  <a:lnTo>
                    <a:pt x="1340" y="2824"/>
                  </a:lnTo>
                  <a:lnTo>
                    <a:pt x="1346" y="2826"/>
                  </a:lnTo>
                  <a:lnTo>
                    <a:pt x="1350" y="2828"/>
                  </a:lnTo>
                  <a:lnTo>
                    <a:pt x="1352" y="2832"/>
                  </a:lnTo>
                  <a:lnTo>
                    <a:pt x="1354" y="2838"/>
                  </a:lnTo>
                  <a:lnTo>
                    <a:pt x="1356" y="2840"/>
                  </a:lnTo>
                  <a:lnTo>
                    <a:pt x="1358" y="2840"/>
                  </a:lnTo>
                  <a:lnTo>
                    <a:pt x="1368" y="2836"/>
                  </a:lnTo>
                  <a:lnTo>
                    <a:pt x="1370" y="2834"/>
                  </a:lnTo>
                  <a:lnTo>
                    <a:pt x="1372" y="2832"/>
                  </a:lnTo>
                  <a:lnTo>
                    <a:pt x="1370" y="2828"/>
                  </a:lnTo>
                  <a:lnTo>
                    <a:pt x="1366" y="2824"/>
                  </a:lnTo>
                  <a:lnTo>
                    <a:pt x="1360" y="2822"/>
                  </a:lnTo>
                  <a:lnTo>
                    <a:pt x="1356" y="2822"/>
                  </a:lnTo>
                  <a:lnTo>
                    <a:pt x="1356" y="2820"/>
                  </a:lnTo>
                  <a:lnTo>
                    <a:pt x="1356" y="2816"/>
                  </a:lnTo>
                  <a:lnTo>
                    <a:pt x="1354" y="2812"/>
                  </a:lnTo>
                  <a:lnTo>
                    <a:pt x="1352" y="2810"/>
                  </a:lnTo>
                  <a:lnTo>
                    <a:pt x="1354" y="2808"/>
                  </a:lnTo>
                  <a:lnTo>
                    <a:pt x="1360" y="2802"/>
                  </a:lnTo>
                  <a:lnTo>
                    <a:pt x="1368" y="2800"/>
                  </a:lnTo>
                  <a:lnTo>
                    <a:pt x="1370" y="2800"/>
                  </a:lnTo>
                  <a:lnTo>
                    <a:pt x="1374" y="2802"/>
                  </a:lnTo>
                  <a:lnTo>
                    <a:pt x="1382" y="2816"/>
                  </a:lnTo>
                  <a:lnTo>
                    <a:pt x="1388" y="2820"/>
                  </a:lnTo>
                  <a:lnTo>
                    <a:pt x="1390" y="2820"/>
                  </a:lnTo>
                  <a:lnTo>
                    <a:pt x="1392" y="2820"/>
                  </a:lnTo>
                  <a:lnTo>
                    <a:pt x="1394" y="2818"/>
                  </a:lnTo>
                  <a:lnTo>
                    <a:pt x="1394" y="2816"/>
                  </a:lnTo>
                  <a:lnTo>
                    <a:pt x="1394" y="2810"/>
                  </a:lnTo>
                  <a:lnTo>
                    <a:pt x="1392" y="2804"/>
                  </a:lnTo>
                  <a:lnTo>
                    <a:pt x="1392" y="2796"/>
                  </a:lnTo>
                  <a:lnTo>
                    <a:pt x="1392" y="2794"/>
                  </a:lnTo>
                  <a:lnTo>
                    <a:pt x="1390" y="2790"/>
                  </a:lnTo>
                  <a:lnTo>
                    <a:pt x="1386" y="2788"/>
                  </a:lnTo>
                  <a:lnTo>
                    <a:pt x="1378" y="2784"/>
                  </a:lnTo>
                  <a:lnTo>
                    <a:pt x="1376" y="2782"/>
                  </a:lnTo>
                  <a:lnTo>
                    <a:pt x="1374" y="2780"/>
                  </a:lnTo>
                  <a:lnTo>
                    <a:pt x="1370" y="2774"/>
                  </a:lnTo>
                  <a:lnTo>
                    <a:pt x="1366" y="2774"/>
                  </a:lnTo>
                  <a:lnTo>
                    <a:pt x="1364" y="2772"/>
                  </a:lnTo>
                  <a:lnTo>
                    <a:pt x="1360" y="2768"/>
                  </a:lnTo>
                  <a:lnTo>
                    <a:pt x="1358" y="2764"/>
                  </a:lnTo>
                  <a:lnTo>
                    <a:pt x="1352" y="2762"/>
                  </a:lnTo>
                  <a:lnTo>
                    <a:pt x="1340" y="2758"/>
                  </a:lnTo>
                  <a:lnTo>
                    <a:pt x="1332" y="2754"/>
                  </a:lnTo>
                  <a:lnTo>
                    <a:pt x="1332" y="2752"/>
                  </a:lnTo>
                  <a:lnTo>
                    <a:pt x="1338" y="2752"/>
                  </a:lnTo>
                  <a:lnTo>
                    <a:pt x="1346" y="2750"/>
                  </a:lnTo>
                  <a:lnTo>
                    <a:pt x="1348" y="2746"/>
                  </a:lnTo>
                  <a:lnTo>
                    <a:pt x="1348" y="2744"/>
                  </a:lnTo>
                  <a:lnTo>
                    <a:pt x="1346" y="2740"/>
                  </a:lnTo>
                  <a:lnTo>
                    <a:pt x="1344" y="2732"/>
                  </a:lnTo>
                  <a:lnTo>
                    <a:pt x="1344" y="2730"/>
                  </a:lnTo>
                  <a:lnTo>
                    <a:pt x="1348" y="2730"/>
                  </a:lnTo>
                  <a:lnTo>
                    <a:pt x="1352" y="2730"/>
                  </a:lnTo>
                  <a:lnTo>
                    <a:pt x="1354" y="2732"/>
                  </a:lnTo>
                  <a:lnTo>
                    <a:pt x="1354" y="2738"/>
                  </a:lnTo>
                  <a:lnTo>
                    <a:pt x="1354" y="2742"/>
                  </a:lnTo>
                  <a:lnTo>
                    <a:pt x="1356" y="2742"/>
                  </a:lnTo>
                  <a:lnTo>
                    <a:pt x="1358" y="2742"/>
                  </a:lnTo>
                  <a:lnTo>
                    <a:pt x="1360" y="2738"/>
                  </a:lnTo>
                  <a:lnTo>
                    <a:pt x="1360" y="2736"/>
                  </a:lnTo>
                  <a:lnTo>
                    <a:pt x="1360" y="2728"/>
                  </a:lnTo>
                  <a:lnTo>
                    <a:pt x="1354" y="2720"/>
                  </a:lnTo>
                  <a:lnTo>
                    <a:pt x="1348" y="2710"/>
                  </a:lnTo>
                  <a:lnTo>
                    <a:pt x="1340" y="2702"/>
                  </a:lnTo>
                  <a:lnTo>
                    <a:pt x="1334" y="2692"/>
                  </a:lnTo>
                  <a:lnTo>
                    <a:pt x="1330" y="2682"/>
                  </a:lnTo>
                  <a:lnTo>
                    <a:pt x="1330" y="2678"/>
                  </a:lnTo>
                  <a:lnTo>
                    <a:pt x="1332" y="2674"/>
                  </a:lnTo>
                  <a:lnTo>
                    <a:pt x="1336" y="2666"/>
                  </a:lnTo>
                  <a:lnTo>
                    <a:pt x="1340" y="2660"/>
                  </a:lnTo>
                  <a:lnTo>
                    <a:pt x="1344" y="2660"/>
                  </a:lnTo>
                  <a:lnTo>
                    <a:pt x="1346" y="2660"/>
                  </a:lnTo>
                  <a:lnTo>
                    <a:pt x="1346" y="2662"/>
                  </a:lnTo>
                  <a:lnTo>
                    <a:pt x="1346" y="2668"/>
                  </a:lnTo>
                  <a:lnTo>
                    <a:pt x="1346" y="2670"/>
                  </a:lnTo>
                  <a:lnTo>
                    <a:pt x="1346" y="2672"/>
                  </a:lnTo>
                  <a:lnTo>
                    <a:pt x="1352" y="2674"/>
                  </a:lnTo>
                  <a:lnTo>
                    <a:pt x="1358" y="2676"/>
                  </a:lnTo>
                  <a:lnTo>
                    <a:pt x="1360" y="2680"/>
                  </a:lnTo>
                  <a:lnTo>
                    <a:pt x="1362" y="2686"/>
                  </a:lnTo>
                  <a:lnTo>
                    <a:pt x="1362" y="2690"/>
                  </a:lnTo>
                  <a:lnTo>
                    <a:pt x="1366" y="2694"/>
                  </a:lnTo>
                  <a:lnTo>
                    <a:pt x="1372" y="2696"/>
                  </a:lnTo>
                  <a:lnTo>
                    <a:pt x="1374" y="2696"/>
                  </a:lnTo>
                  <a:lnTo>
                    <a:pt x="1376" y="2696"/>
                  </a:lnTo>
                  <a:lnTo>
                    <a:pt x="1376" y="2694"/>
                  </a:lnTo>
                  <a:lnTo>
                    <a:pt x="1374" y="2690"/>
                  </a:lnTo>
                  <a:lnTo>
                    <a:pt x="1368" y="2684"/>
                  </a:lnTo>
                  <a:lnTo>
                    <a:pt x="1368" y="2678"/>
                  </a:lnTo>
                  <a:lnTo>
                    <a:pt x="1370" y="2678"/>
                  </a:lnTo>
                  <a:lnTo>
                    <a:pt x="1378" y="2684"/>
                  </a:lnTo>
                  <a:lnTo>
                    <a:pt x="1386" y="2692"/>
                  </a:lnTo>
                  <a:lnTo>
                    <a:pt x="1390" y="2694"/>
                  </a:lnTo>
                  <a:lnTo>
                    <a:pt x="1392" y="2694"/>
                  </a:lnTo>
                  <a:lnTo>
                    <a:pt x="1390" y="2692"/>
                  </a:lnTo>
                  <a:lnTo>
                    <a:pt x="1386" y="2684"/>
                  </a:lnTo>
                  <a:lnTo>
                    <a:pt x="1380" y="2676"/>
                  </a:lnTo>
                  <a:lnTo>
                    <a:pt x="1380" y="2674"/>
                  </a:lnTo>
                  <a:lnTo>
                    <a:pt x="1382" y="2674"/>
                  </a:lnTo>
                  <a:lnTo>
                    <a:pt x="1394" y="2680"/>
                  </a:lnTo>
                  <a:lnTo>
                    <a:pt x="1402" y="2684"/>
                  </a:lnTo>
                  <a:lnTo>
                    <a:pt x="1406" y="2684"/>
                  </a:lnTo>
                  <a:lnTo>
                    <a:pt x="1404" y="2682"/>
                  </a:lnTo>
                  <a:lnTo>
                    <a:pt x="1400" y="2676"/>
                  </a:lnTo>
                  <a:lnTo>
                    <a:pt x="1392" y="2670"/>
                  </a:lnTo>
                  <a:lnTo>
                    <a:pt x="1386" y="2668"/>
                  </a:lnTo>
                  <a:lnTo>
                    <a:pt x="1384" y="2668"/>
                  </a:lnTo>
                  <a:lnTo>
                    <a:pt x="1384" y="2664"/>
                  </a:lnTo>
                  <a:lnTo>
                    <a:pt x="1384" y="2662"/>
                  </a:lnTo>
                  <a:lnTo>
                    <a:pt x="1384" y="2660"/>
                  </a:lnTo>
                  <a:lnTo>
                    <a:pt x="1380" y="2656"/>
                  </a:lnTo>
                  <a:lnTo>
                    <a:pt x="1380" y="2654"/>
                  </a:lnTo>
                  <a:lnTo>
                    <a:pt x="1388" y="2652"/>
                  </a:lnTo>
                  <a:lnTo>
                    <a:pt x="1392" y="2652"/>
                  </a:lnTo>
                  <a:lnTo>
                    <a:pt x="1398" y="2650"/>
                  </a:lnTo>
                  <a:lnTo>
                    <a:pt x="1404" y="2644"/>
                  </a:lnTo>
                  <a:lnTo>
                    <a:pt x="1408" y="2642"/>
                  </a:lnTo>
                  <a:lnTo>
                    <a:pt x="1412" y="2640"/>
                  </a:lnTo>
                  <a:lnTo>
                    <a:pt x="1418" y="2642"/>
                  </a:lnTo>
                  <a:lnTo>
                    <a:pt x="1422" y="2644"/>
                  </a:lnTo>
                  <a:lnTo>
                    <a:pt x="1426" y="2644"/>
                  </a:lnTo>
                  <a:lnTo>
                    <a:pt x="1430" y="2640"/>
                  </a:lnTo>
                  <a:lnTo>
                    <a:pt x="1436" y="2638"/>
                  </a:lnTo>
                  <a:lnTo>
                    <a:pt x="1438" y="2638"/>
                  </a:lnTo>
                  <a:lnTo>
                    <a:pt x="1444" y="2640"/>
                  </a:lnTo>
                  <a:lnTo>
                    <a:pt x="1450" y="2644"/>
                  </a:lnTo>
                  <a:lnTo>
                    <a:pt x="1454" y="2644"/>
                  </a:lnTo>
                  <a:lnTo>
                    <a:pt x="1464" y="2644"/>
                  </a:lnTo>
                  <a:lnTo>
                    <a:pt x="1470" y="2644"/>
                  </a:lnTo>
                  <a:lnTo>
                    <a:pt x="1472" y="2646"/>
                  </a:lnTo>
                  <a:lnTo>
                    <a:pt x="1472" y="2650"/>
                  </a:lnTo>
                  <a:lnTo>
                    <a:pt x="1474" y="2656"/>
                  </a:lnTo>
                  <a:lnTo>
                    <a:pt x="1480" y="2660"/>
                  </a:lnTo>
                  <a:lnTo>
                    <a:pt x="1486" y="2660"/>
                  </a:lnTo>
                  <a:lnTo>
                    <a:pt x="1492" y="2658"/>
                  </a:lnTo>
                  <a:lnTo>
                    <a:pt x="1504" y="2656"/>
                  </a:lnTo>
                  <a:lnTo>
                    <a:pt x="1504" y="2658"/>
                  </a:lnTo>
                  <a:lnTo>
                    <a:pt x="1502" y="2660"/>
                  </a:lnTo>
                  <a:lnTo>
                    <a:pt x="1484" y="2668"/>
                  </a:lnTo>
                  <a:lnTo>
                    <a:pt x="1480" y="2672"/>
                  </a:lnTo>
                  <a:lnTo>
                    <a:pt x="1478" y="2680"/>
                  </a:lnTo>
                  <a:lnTo>
                    <a:pt x="1480" y="2684"/>
                  </a:lnTo>
                  <a:lnTo>
                    <a:pt x="1482" y="2682"/>
                  </a:lnTo>
                  <a:lnTo>
                    <a:pt x="1494" y="2670"/>
                  </a:lnTo>
                  <a:lnTo>
                    <a:pt x="1506" y="2662"/>
                  </a:lnTo>
                  <a:lnTo>
                    <a:pt x="1514" y="2658"/>
                  </a:lnTo>
                  <a:lnTo>
                    <a:pt x="1522" y="2654"/>
                  </a:lnTo>
                  <a:lnTo>
                    <a:pt x="1528" y="2646"/>
                  </a:lnTo>
                  <a:lnTo>
                    <a:pt x="1532" y="2638"/>
                  </a:lnTo>
                  <a:lnTo>
                    <a:pt x="1536" y="2636"/>
                  </a:lnTo>
                  <a:lnTo>
                    <a:pt x="1538" y="2634"/>
                  </a:lnTo>
                  <a:lnTo>
                    <a:pt x="1540" y="2636"/>
                  </a:lnTo>
                  <a:lnTo>
                    <a:pt x="1544" y="2640"/>
                  </a:lnTo>
                  <a:lnTo>
                    <a:pt x="1548" y="2640"/>
                  </a:lnTo>
                  <a:lnTo>
                    <a:pt x="1552" y="2638"/>
                  </a:lnTo>
                  <a:lnTo>
                    <a:pt x="1556" y="2634"/>
                  </a:lnTo>
                  <a:lnTo>
                    <a:pt x="1562" y="2634"/>
                  </a:lnTo>
                  <a:lnTo>
                    <a:pt x="1572" y="2638"/>
                  </a:lnTo>
                  <a:lnTo>
                    <a:pt x="1580" y="2638"/>
                  </a:lnTo>
                  <a:lnTo>
                    <a:pt x="1586" y="2638"/>
                  </a:lnTo>
                  <a:lnTo>
                    <a:pt x="1590" y="2634"/>
                  </a:lnTo>
                  <a:lnTo>
                    <a:pt x="1594" y="2626"/>
                  </a:lnTo>
                  <a:lnTo>
                    <a:pt x="1594" y="2624"/>
                  </a:lnTo>
                  <a:lnTo>
                    <a:pt x="1592" y="2624"/>
                  </a:lnTo>
                  <a:lnTo>
                    <a:pt x="1584" y="2622"/>
                  </a:lnTo>
                  <a:lnTo>
                    <a:pt x="1572" y="2616"/>
                  </a:lnTo>
                  <a:lnTo>
                    <a:pt x="1560" y="2608"/>
                  </a:lnTo>
                  <a:lnTo>
                    <a:pt x="1554" y="2600"/>
                  </a:lnTo>
                  <a:lnTo>
                    <a:pt x="1552" y="2592"/>
                  </a:lnTo>
                  <a:lnTo>
                    <a:pt x="1552" y="2582"/>
                  </a:lnTo>
                  <a:lnTo>
                    <a:pt x="1552" y="2578"/>
                  </a:lnTo>
                  <a:lnTo>
                    <a:pt x="1550" y="2576"/>
                  </a:lnTo>
                  <a:lnTo>
                    <a:pt x="1546" y="2572"/>
                  </a:lnTo>
                  <a:lnTo>
                    <a:pt x="1542" y="2570"/>
                  </a:lnTo>
                  <a:lnTo>
                    <a:pt x="1540" y="2568"/>
                  </a:lnTo>
                  <a:lnTo>
                    <a:pt x="1540" y="2564"/>
                  </a:lnTo>
                  <a:lnTo>
                    <a:pt x="1540" y="2560"/>
                  </a:lnTo>
                  <a:lnTo>
                    <a:pt x="1538" y="2558"/>
                  </a:lnTo>
                  <a:lnTo>
                    <a:pt x="1530" y="2556"/>
                  </a:lnTo>
                  <a:lnTo>
                    <a:pt x="1528" y="2556"/>
                  </a:lnTo>
                  <a:lnTo>
                    <a:pt x="1528" y="2554"/>
                  </a:lnTo>
                  <a:lnTo>
                    <a:pt x="1536" y="2546"/>
                  </a:lnTo>
                  <a:lnTo>
                    <a:pt x="1542" y="2542"/>
                  </a:lnTo>
                  <a:lnTo>
                    <a:pt x="1546" y="2538"/>
                  </a:lnTo>
                  <a:lnTo>
                    <a:pt x="1546" y="2534"/>
                  </a:lnTo>
                  <a:lnTo>
                    <a:pt x="1546" y="2530"/>
                  </a:lnTo>
                  <a:lnTo>
                    <a:pt x="1546" y="2522"/>
                  </a:lnTo>
                  <a:lnTo>
                    <a:pt x="1546" y="2516"/>
                  </a:lnTo>
                  <a:lnTo>
                    <a:pt x="1550" y="2510"/>
                  </a:lnTo>
                  <a:lnTo>
                    <a:pt x="1554" y="2504"/>
                  </a:lnTo>
                  <a:lnTo>
                    <a:pt x="1560" y="2502"/>
                  </a:lnTo>
                  <a:lnTo>
                    <a:pt x="1566" y="2504"/>
                  </a:lnTo>
                  <a:lnTo>
                    <a:pt x="1570" y="2504"/>
                  </a:lnTo>
                  <a:lnTo>
                    <a:pt x="1572" y="2502"/>
                  </a:lnTo>
                  <a:lnTo>
                    <a:pt x="1574" y="2496"/>
                  </a:lnTo>
                  <a:lnTo>
                    <a:pt x="1574" y="2484"/>
                  </a:lnTo>
                  <a:lnTo>
                    <a:pt x="1578" y="2458"/>
                  </a:lnTo>
                  <a:lnTo>
                    <a:pt x="1580" y="2448"/>
                  </a:lnTo>
                  <a:lnTo>
                    <a:pt x="1584" y="2440"/>
                  </a:lnTo>
                  <a:lnTo>
                    <a:pt x="1588" y="2434"/>
                  </a:lnTo>
                  <a:lnTo>
                    <a:pt x="1594" y="2428"/>
                  </a:lnTo>
                  <a:lnTo>
                    <a:pt x="1600" y="2426"/>
                  </a:lnTo>
                  <a:lnTo>
                    <a:pt x="1608" y="2422"/>
                  </a:lnTo>
                  <a:lnTo>
                    <a:pt x="1614" y="2418"/>
                  </a:lnTo>
                  <a:lnTo>
                    <a:pt x="1618" y="2414"/>
                  </a:lnTo>
                  <a:lnTo>
                    <a:pt x="1620" y="2406"/>
                  </a:lnTo>
                  <a:lnTo>
                    <a:pt x="1620" y="2398"/>
                  </a:lnTo>
                  <a:lnTo>
                    <a:pt x="1620" y="2390"/>
                  </a:lnTo>
                  <a:lnTo>
                    <a:pt x="1620" y="2386"/>
                  </a:lnTo>
                  <a:lnTo>
                    <a:pt x="1618" y="2384"/>
                  </a:lnTo>
                  <a:lnTo>
                    <a:pt x="1616" y="2378"/>
                  </a:lnTo>
                  <a:lnTo>
                    <a:pt x="1616" y="2372"/>
                  </a:lnTo>
                  <a:lnTo>
                    <a:pt x="1620" y="2372"/>
                  </a:lnTo>
                  <a:lnTo>
                    <a:pt x="1626" y="2372"/>
                  </a:lnTo>
                  <a:lnTo>
                    <a:pt x="1630" y="2370"/>
                  </a:lnTo>
                  <a:lnTo>
                    <a:pt x="1636" y="2366"/>
                  </a:lnTo>
                  <a:lnTo>
                    <a:pt x="1646" y="2358"/>
                  </a:lnTo>
                  <a:lnTo>
                    <a:pt x="1654" y="2348"/>
                  </a:lnTo>
                  <a:lnTo>
                    <a:pt x="1660" y="2340"/>
                  </a:lnTo>
                  <a:lnTo>
                    <a:pt x="1662" y="2330"/>
                  </a:lnTo>
                  <a:lnTo>
                    <a:pt x="1662" y="2326"/>
                  </a:lnTo>
                  <a:lnTo>
                    <a:pt x="1664" y="2324"/>
                  </a:lnTo>
                  <a:lnTo>
                    <a:pt x="1668" y="2322"/>
                  </a:lnTo>
                  <a:lnTo>
                    <a:pt x="1672" y="2320"/>
                  </a:lnTo>
                  <a:lnTo>
                    <a:pt x="1682" y="2320"/>
                  </a:lnTo>
                  <a:lnTo>
                    <a:pt x="1690" y="2318"/>
                  </a:lnTo>
                  <a:lnTo>
                    <a:pt x="1698" y="2318"/>
                  </a:lnTo>
                  <a:lnTo>
                    <a:pt x="1702" y="2318"/>
                  </a:lnTo>
                  <a:lnTo>
                    <a:pt x="1704" y="2318"/>
                  </a:lnTo>
                  <a:lnTo>
                    <a:pt x="1706" y="2312"/>
                  </a:lnTo>
                  <a:lnTo>
                    <a:pt x="1708" y="2296"/>
                  </a:lnTo>
                  <a:lnTo>
                    <a:pt x="1708" y="2294"/>
                  </a:lnTo>
                  <a:lnTo>
                    <a:pt x="1710" y="2298"/>
                  </a:lnTo>
                  <a:lnTo>
                    <a:pt x="1712" y="2308"/>
                  </a:lnTo>
                  <a:lnTo>
                    <a:pt x="1712" y="2316"/>
                  </a:lnTo>
                  <a:lnTo>
                    <a:pt x="1714" y="2320"/>
                  </a:lnTo>
                  <a:lnTo>
                    <a:pt x="1718" y="2322"/>
                  </a:lnTo>
                  <a:lnTo>
                    <a:pt x="1724" y="2322"/>
                  </a:lnTo>
                  <a:lnTo>
                    <a:pt x="1732" y="2322"/>
                  </a:lnTo>
                  <a:lnTo>
                    <a:pt x="1726" y="2324"/>
                  </a:lnTo>
                  <a:lnTo>
                    <a:pt x="1720" y="2326"/>
                  </a:lnTo>
                  <a:lnTo>
                    <a:pt x="1708" y="2324"/>
                  </a:lnTo>
                  <a:lnTo>
                    <a:pt x="1700" y="2322"/>
                  </a:lnTo>
                  <a:lnTo>
                    <a:pt x="1696" y="2322"/>
                  </a:lnTo>
                  <a:lnTo>
                    <a:pt x="1696" y="2324"/>
                  </a:lnTo>
                  <a:lnTo>
                    <a:pt x="1696" y="2326"/>
                  </a:lnTo>
                  <a:lnTo>
                    <a:pt x="1700" y="2330"/>
                  </a:lnTo>
                  <a:lnTo>
                    <a:pt x="1708" y="2336"/>
                  </a:lnTo>
                  <a:lnTo>
                    <a:pt x="1718" y="2342"/>
                  </a:lnTo>
                  <a:lnTo>
                    <a:pt x="1722" y="2346"/>
                  </a:lnTo>
                  <a:lnTo>
                    <a:pt x="1722" y="2348"/>
                  </a:lnTo>
                  <a:lnTo>
                    <a:pt x="1724" y="2350"/>
                  </a:lnTo>
                  <a:lnTo>
                    <a:pt x="1728" y="2350"/>
                  </a:lnTo>
                  <a:lnTo>
                    <a:pt x="1740" y="2350"/>
                  </a:lnTo>
                  <a:lnTo>
                    <a:pt x="1754" y="2348"/>
                  </a:lnTo>
                  <a:lnTo>
                    <a:pt x="1760" y="2348"/>
                  </a:lnTo>
                  <a:lnTo>
                    <a:pt x="1764" y="2350"/>
                  </a:lnTo>
                  <a:lnTo>
                    <a:pt x="1766" y="2352"/>
                  </a:lnTo>
                  <a:lnTo>
                    <a:pt x="1768" y="2352"/>
                  </a:lnTo>
                  <a:lnTo>
                    <a:pt x="1772" y="2350"/>
                  </a:lnTo>
                  <a:lnTo>
                    <a:pt x="1776" y="2350"/>
                  </a:lnTo>
                  <a:lnTo>
                    <a:pt x="1780" y="2356"/>
                  </a:lnTo>
                  <a:lnTo>
                    <a:pt x="1780" y="2358"/>
                  </a:lnTo>
                  <a:lnTo>
                    <a:pt x="1778" y="2360"/>
                  </a:lnTo>
                  <a:lnTo>
                    <a:pt x="1774" y="2364"/>
                  </a:lnTo>
                  <a:lnTo>
                    <a:pt x="1756" y="2374"/>
                  </a:lnTo>
                  <a:lnTo>
                    <a:pt x="1738" y="2382"/>
                  </a:lnTo>
                  <a:lnTo>
                    <a:pt x="1732" y="2386"/>
                  </a:lnTo>
                  <a:lnTo>
                    <a:pt x="1732" y="2388"/>
                  </a:lnTo>
                  <a:lnTo>
                    <a:pt x="1732" y="2390"/>
                  </a:lnTo>
                  <a:lnTo>
                    <a:pt x="1736" y="2392"/>
                  </a:lnTo>
                  <a:lnTo>
                    <a:pt x="1742" y="2394"/>
                  </a:lnTo>
                  <a:lnTo>
                    <a:pt x="1756" y="2398"/>
                  </a:lnTo>
                  <a:lnTo>
                    <a:pt x="1762" y="2400"/>
                  </a:lnTo>
                  <a:lnTo>
                    <a:pt x="1768" y="2404"/>
                  </a:lnTo>
                  <a:lnTo>
                    <a:pt x="1772" y="2410"/>
                  </a:lnTo>
                  <a:lnTo>
                    <a:pt x="1774" y="2416"/>
                  </a:lnTo>
                  <a:lnTo>
                    <a:pt x="1774" y="2424"/>
                  </a:lnTo>
                  <a:lnTo>
                    <a:pt x="1772" y="2428"/>
                  </a:lnTo>
                  <a:lnTo>
                    <a:pt x="1768" y="2432"/>
                  </a:lnTo>
                  <a:lnTo>
                    <a:pt x="1766" y="2434"/>
                  </a:lnTo>
                  <a:lnTo>
                    <a:pt x="1768" y="2434"/>
                  </a:lnTo>
                  <a:lnTo>
                    <a:pt x="1774" y="2442"/>
                  </a:lnTo>
                  <a:lnTo>
                    <a:pt x="1780" y="2446"/>
                  </a:lnTo>
                  <a:lnTo>
                    <a:pt x="1788" y="2448"/>
                  </a:lnTo>
                  <a:lnTo>
                    <a:pt x="1794" y="2446"/>
                  </a:lnTo>
                  <a:lnTo>
                    <a:pt x="1800" y="2442"/>
                  </a:lnTo>
                  <a:lnTo>
                    <a:pt x="1810" y="2432"/>
                  </a:lnTo>
                  <a:lnTo>
                    <a:pt x="1822" y="2422"/>
                  </a:lnTo>
                  <a:lnTo>
                    <a:pt x="1826" y="2420"/>
                  </a:lnTo>
                  <a:lnTo>
                    <a:pt x="1830" y="2420"/>
                  </a:lnTo>
                  <a:lnTo>
                    <a:pt x="1832" y="2422"/>
                  </a:lnTo>
                  <a:lnTo>
                    <a:pt x="1836" y="2422"/>
                  </a:lnTo>
                  <a:lnTo>
                    <a:pt x="1844" y="2416"/>
                  </a:lnTo>
                  <a:lnTo>
                    <a:pt x="1850" y="2410"/>
                  </a:lnTo>
                  <a:lnTo>
                    <a:pt x="1856" y="2408"/>
                  </a:lnTo>
                  <a:lnTo>
                    <a:pt x="1860" y="2408"/>
                  </a:lnTo>
                  <a:lnTo>
                    <a:pt x="1862" y="2408"/>
                  </a:lnTo>
                  <a:lnTo>
                    <a:pt x="1870" y="2412"/>
                  </a:lnTo>
                  <a:lnTo>
                    <a:pt x="1876" y="2414"/>
                  </a:lnTo>
                  <a:lnTo>
                    <a:pt x="1882" y="2412"/>
                  </a:lnTo>
                  <a:lnTo>
                    <a:pt x="1892" y="2408"/>
                  </a:lnTo>
                  <a:lnTo>
                    <a:pt x="1894" y="2406"/>
                  </a:lnTo>
                  <a:lnTo>
                    <a:pt x="1892" y="2404"/>
                  </a:lnTo>
                  <a:lnTo>
                    <a:pt x="1892" y="2400"/>
                  </a:lnTo>
                  <a:lnTo>
                    <a:pt x="1892" y="2398"/>
                  </a:lnTo>
                  <a:lnTo>
                    <a:pt x="1894" y="2394"/>
                  </a:lnTo>
                  <a:lnTo>
                    <a:pt x="1896" y="2390"/>
                  </a:lnTo>
                  <a:lnTo>
                    <a:pt x="1894" y="2386"/>
                  </a:lnTo>
                  <a:lnTo>
                    <a:pt x="1886" y="2384"/>
                  </a:lnTo>
                  <a:lnTo>
                    <a:pt x="1874" y="2386"/>
                  </a:lnTo>
                  <a:lnTo>
                    <a:pt x="1868" y="2388"/>
                  </a:lnTo>
                  <a:lnTo>
                    <a:pt x="1862" y="2392"/>
                  </a:lnTo>
                  <a:lnTo>
                    <a:pt x="1854" y="2396"/>
                  </a:lnTo>
                  <a:lnTo>
                    <a:pt x="1852" y="2396"/>
                  </a:lnTo>
                  <a:lnTo>
                    <a:pt x="1848" y="2392"/>
                  </a:lnTo>
                  <a:lnTo>
                    <a:pt x="1842" y="2386"/>
                  </a:lnTo>
                  <a:lnTo>
                    <a:pt x="1836" y="2376"/>
                  </a:lnTo>
                  <a:lnTo>
                    <a:pt x="1826" y="2358"/>
                  </a:lnTo>
                  <a:lnTo>
                    <a:pt x="1824" y="2348"/>
                  </a:lnTo>
                  <a:lnTo>
                    <a:pt x="1824" y="2346"/>
                  </a:lnTo>
                  <a:lnTo>
                    <a:pt x="1824" y="2344"/>
                  </a:lnTo>
                  <a:lnTo>
                    <a:pt x="1830" y="2342"/>
                  </a:lnTo>
                  <a:lnTo>
                    <a:pt x="1836" y="2340"/>
                  </a:lnTo>
                  <a:lnTo>
                    <a:pt x="1838" y="2340"/>
                  </a:lnTo>
                  <a:lnTo>
                    <a:pt x="1838" y="2342"/>
                  </a:lnTo>
                  <a:lnTo>
                    <a:pt x="1838" y="2344"/>
                  </a:lnTo>
                  <a:lnTo>
                    <a:pt x="1838" y="2348"/>
                  </a:lnTo>
                  <a:lnTo>
                    <a:pt x="1842" y="2346"/>
                  </a:lnTo>
                  <a:lnTo>
                    <a:pt x="1852" y="2336"/>
                  </a:lnTo>
                  <a:lnTo>
                    <a:pt x="1862" y="2326"/>
                  </a:lnTo>
                  <a:lnTo>
                    <a:pt x="1872" y="2318"/>
                  </a:lnTo>
                  <a:lnTo>
                    <a:pt x="1876" y="2316"/>
                  </a:lnTo>
                  <a:lnTo>
                    <a:pt x="1880" y="2316"/>
                  </a:lnTo>
                  <a:lnTo>
                    <a:pt x="1886" y="2318"/>
                  </a:lnTo>
                  <a:lnTo>
                    <a:pt x="1896" y="2316"/>
                  </a:lnTo>
                  <a:lnTo>
                    <a:pt x="1906" y="2312"/>
                  </a:lnTo>
                  <a:lnTo>
                    <a:pt x="1916" y="2308"/>
                  </a:lnTo>
                  <a:lnTo>
                    <a:pt x="1934" y="2296"/>
                  </a:lnTo>
                  <a:lnTo>
                    <a:pt x="1944" y="2292"/>
                  </a:lnTo>
                  <a:lnTo>
                    <a:pt x="1952" y="2292"/>
                  </a:lnTo>
                  <a:lnTo>
                    <a:pt x="1956" y="2294"/>
                  </a:lnTo>
                  <a:lnTo>
                    <a:pt x="1960" y="2296"/>
                  </a:lnTo>
                  <a:lnTo>
                    <a:pt x="1964" y="2294"/>
                  </a:lnTo>
                  <a:lnTo>
                    <a:pt x="1972" y="2288"/>
                  </a:lnTo>
                  <a:lnTo>
                    <a:pt x="1976" y="2288"/>
                  </a:lnTo>
                  <a:lnTo>
                    <a:pt x="1980" y="2290"/>
                  </a:lnTo>
                  <a:lnTo>
                    <a:pt x="1986" y="2288"/>
                  </a:lnTo>
                  <a:lnTo>
                    <a:pt x="1992" y="2286"/>
                  </a:lnTo>
                  <a:lnTo>
                    <a:pt x="1998" y="2284"/>
                  </a:lnTo>
                  <a:lnTo>
                    <a:pt x="2002" y="2284"/>
                  </a:lnTo>
                  <a:lnTo>
                    <a:pt x="2004" y="2286"/>
                  </a:lnTo>
                  <a:lnTo>
                    <a:pt x="2004" y="2288"/>
                  </a:lnTo>
                  <a:lnTo>
                    <a:pt x="2004" y="2290"/>
                  </a:lnTo>
                  <a:lnTo>
                    <a:pt x="2000" y="2294"/>
                  </a:lnTo>
                  <a:lnTo>
                    <a:pt x="1996" y="2298"/>
                  </a:lnTo>
                  <a:lnTo>
                    <a:pt x="1988" y="2300"/>
                  </a:lnTo>
                  <a:lnTo>
                    <a:pt x="1980" y="2302"/>
                  </a:lnTo>
                  <a:lnTo>
                    <a:pt x="1974" y="2306"/>
                  </a:lnTo>
                  <a:lnTo>
                    <a:pt x="1968" y="2312"/>
                  </a:lnTo>
                  <a:lnTo>
                    <a:pt x="1962" y="2316"/>
                  </a:lnTo>
                  <a:lnTo>
                    <a:pt x="1948" y="2318"/>
                  </a:lnTo>
                  <a:lnTo>
                    <a:pt x="1944" y="2318"/>
                  </a:lnTo>
                  <a:lnTo>
                    <a:pt x="1944" y="2320"/>
                  </a:lnTo>
                  <a:lnTo>
                    <a:pt x="1944" y="2324"/>
                  </a:lnTo>
                  <a:lnTo>
                    <a:pt x="1946" y="2326"/>
                  </a:lnTo>
                  <a:lnTo>
                    <a:pt x="1952" y="2332"/>
                  </a:lnTo>
                  <a:lnTo>
                    <a:pt x="1956" y="2334"/>
                  </a:lnTo>
                  <a:lnTo>
                    <a:pt x="1958" y="2334"/>
                  </a:lnTo>
                  <a:lnTo>
                    <a:pt x="1962" y="2334"/>
                  </a:lnTo>
                  <a:lnTo>
                    <a:pt x="1968" y="2338"/>
                  </a:lnTo>
                  <a:lnTo>
                    <a:pt x="1974" y="2344"/>
                  </a:lnTo>
                  <a:lnTo>
                    <a:pt x="1978" y="2352"/>
                  </a:lnTo>
                  <a:lnTo>
                    <a:pt x="1976" y="2354"/>
                  </a:lnTo>
                  <a:lnTo>
                    <a:pt x="1972" y="2352"/>
                  </a:lnTo>
                  <a:lnTo>
                    <a:pt x="1964" y="2350"/>
                  </a:lnTo>
                  <a:lnTo>
                    <a:pt x="1958" y="2350"/>
                  </a:lnTo>
                  <a:lnTo>
                    <a:pt x="1952" y="2354"/>
                  </a:lnTo>
                  <a:lnTo>
                    <a:pt x="1948" y="2362"/>
                  </a:lnTo>
                  <a:lnTo>
                    <a:pt x="1942" y="2376"/>
                  </a:lnTo>
                  <a:lnTo>
                    <a:pt x="1940" y="2382"/>
                  </a:lnTo>
                  <a:lnTo>
                    <a:pt x="1942" y="2388"/>
                  </a:lnTo>
                  <a:lnTo>
                    <a:pt x="1944" y="2396"/>
                  </a:lnTo>
                  <a:lnTo>
                    <a:pt x="1942" y="2396"/>
                  </a:lnTo>
                  <a:lnTo>
                    <a:pt x="1940" y="2396"/>
                  </a:lnTo>
                  <a:lnTo>
                    <a:pt x="1934" y="2394"/>
                  </a:lnTo>
                  <a:lnTo>
                    <a:pt x="1930" y="2392"/>
                  </a:lnTo>
                  <a:lnTo>
                    <a:pt x="1926" y="2394"/>
                  </a:lnTo>
                  <a:lnTo>
                    <a:pt x="1922" y="2394"/>
                  </a:lnTo>
                  <a:lnTo>
                    <a:pt x="1918" y="2392"/>
                  </a:lnTo>
                  <a:lnTo>
                    <a:pt x="1910" y="2390"/>
                  </a:lnTo>
                  <a:lnTo>
                    <a:pt x="1904" y="2388"/>
                  </a:lnTo>
                  <a:lnTo>
                    <a:pt x="1904" y="2390"/>
                  </a:lnTo>
                  <a:lnTo>
                    <a:pt x="1904" y="2392"/>
                  </a:lnTo>
                  <a:lnTo>
                    <a:pt x="1904" y="2396"/>
                  </a:lnTo>
                  <a:lnTo>
                    <a:pt x="1904" y="2398"/>
                  </a:lnTo>
                  <a:lnTo>
                    <a:pt x="1900" y="2402"/>
                  </a:lnTo>
                  <a:lnTo>
                    <a:pt x="1900" y="2404"/>
                  </a:lnTo>
                  <a:lnTo>
                    <a:pt x="1912" y="2410"/>
                  </a:lnTo>
                  <a:lnTo>
                    <a:pt x="1918" y="2414"/>
                  </a:lnTo>
                  <a:lnTo>
                    <a:pt x="1924" y="2418"/>
                  </a:lnTo>
                  <a:lnTo>
                    <a:pt x="1928" y="2424"/>
                  </a:lnTo>
                  <a:lnTo>
                    <a:pt x="1934" y="2430"/>
                  </a:lnTo>
                  <a:lnTo>
                    <a:pt x="1938" y="2432"/>
                  </a:lnTo>
                  <a:lnTo>
                    <a:pt x="1944" y="2434"/>
                  </a:lnTo>
                  <a:lnTo>
                    <a:pt x="1950" y="2434"/>
                  </a:lnTo>
                  <a:lnTo>
                    <a:pt x="1954" y="2436"/>
                  </a:lnTo>
                  <a:lnTo>
                    <a:pt x="1956" y="2440"/>
                  </a:lnTo>
                  <a:lnTo>
                    <a:pt x="1958" y="2442"/>
                  </a:lnTo>
                  <a:lnTo>
                    <a:pt x="1960" y="2446"/>
                  </a:lnTo>
                  <a:lnTo>
                    <a:pt x="1966" y="2448"/>
                  </a:lnTo>
                  <a:lnTo>
                    <a:pt x="1976" y="2452"/>
                  </a:lnTo>
                  <a:lnTo>
                    <a:pt x="1990" y="2456"/>
                  </a:lnTo>
                  <a:lnTo>
                    <a:pt x="1994" y="2458"/>
                  </a:lnTo>
                  <a:lnTo>
                    <a:pt x="1996" y="2462"/>
                  </a:lnTo>
                  <a:lnTo>
                    <a:pt x="2006" y="2474"/>
                  </a:lnTo>
                  <a:lnTo>
                    <a:pt x="2034" y="2504"/>
                  </a:lnTo>
                  <a:lnTo>
                    <a:pt x="2042" y="2510"/>
                  </a:lnTo>
                  <a:lnTo>
                    <a:pt x="2050" y="2516"/>
                  </a:lnTo>
                  <a:lnTo>
                    <a:pt x="2062" y="2520"/>
                  </a:lnTo>
                  <a:lnTo>
                    <a:pt x="2070" y="2522"/>
                  </a:lnTo>
                  <a:lnTo>
                    <a:pt x="2074" y="2526"/>
                  </a:lnTo>
                  <a:lnTo>
                    <a:pt x="2076" y="2530"/>
                  </a:lnTo>
                  <a:lnTo>
                    <a:pt x="2080" y="2534"/>
                  </a:lnTo>
                  <a:lnTo>
                    <a:pt x="2082" y="2538"/>
                  </a:lnTo>
                  <a:lnTo>
                    <a:pt x="2088" y="2538"/>
                  </a:lnTo>
                  <a:lnTo>
                    <a:pt x="2092" y="2540"/>
                  </a:lnTo>
                  <a:lnTo>
                    <a:pt x="2094" y="2544"/>
                  </a:lnTo>
                  <a:lnTo>
                    <a:pt x="2098" y="2552"/>
                  </a:lnTo>
                  <a:lnTo>
                    <a:pt x="2100" y="2562"/>
                  </a:lnTo>
                  <a:lnTo>
                    <a:pt x="2104" y="2584"/>
                  </a:lnTo>
                  <a:lnTo>
                    <a:pt x="2104" y="2598"/>
                  </a:lnTo>
                  <a:lnTo>
                    <a:pt x="2100" y="2606"/>
                  </a:lnTo>
                  <a:lnTo>
                    <a:pt x="2096" y="2610"/>
                  </a:lnTo>
                  <a:lnTo>
                    <a:pt x="2086" y="2618"/>
                  </a:lnTo>
                  <a:lnTo>
                    <a:pt x="2066" y="2630"/>
                  </a:lnTo>
                  <a:lnTo>
                    <a:pt x="2054" y="2636"/>
                  </a:lnTo>
                  <a:lnTo>
                    <a:pt x="2044" y="2640"/>
                  </a:lnTo>
                  <a:lnTo>
                    <a:pt x="2032" y="2638"/>
                  </a:lnTo>
                  <a:lnTo>
                    <a:pt x="2028" y="2638"/>
                  </a:lnTo>
                  <a:lnTo>
                    <a:pt x="2024" y="2634"/>
                  </a:lnTo>
                  <a:lnTo>
                    <a:pt x="2014" y="2630"/>
                  </a:lnTo>
                  <a:lnTo>
                    <a:pt x="2006" y="2630"/>
                  </a:lnTo>
                  <a:lnTo>
                    <a:pt x="1996" y="2632"/>
                  </a:lnTo>
                  <a:lnTo>
                    <a:pt x="1986" y="2636"/>
                  </a:lnTo>
                  <a:lnTo>
                    <a:pt x="1976" y="2640"/>
                  </a:lnTo>
                  <a:lnTo>
                    <a:pt x="1968" y="2642"/>
                  </a:lnTo>
                  <a:lnTo>
                    <a:pt x="1960" y="2642"/>
                  </a:lnTo>
                  <a:lnTo>
                    <a:pt x="1956" y="2640"/>
                  </a:lnTo>
                  <a:lnTo>
                    <a:pt x="1952" y="2636"/>
                  </a:lnTo>
                  <a:lnTo>
                    <a:pt x="1942" y="2630"/>
                  </a:lnTo>
                  <a:lnTo>
                    <a:pt x="1940" y="2630"/>
                  </a:lnTo>
                  <a:lnTo>
                    <a:pt x="1938" y="2632"/>
                  </a:lnTo>
                  <a:lnTo>
                    <a:pt x="1936" y="2634"/>
                  </a:lnTo>
                  <a:lnTo>
                    <a:pt x="1932" y="2634"/>
                  </a:lnTo>
                  <a:lnTo>
                    <a:pt x="1924" y="2630"/>
                  </a:lnTo>
                  <a:lnTo>
                    <a:pt x="1918" y="2626"/>
                  </a:lnTo>
                  <a:lnTo>
                    <a:pt x="1914" y="2622"/>
                  </a:lnTo>
                  <a:lnTo>
                    <a:pt x="1910" y="2618"/>
                  </a:lnTo>
                  <a:lnTo>
                    <a:pt x="1908" y="2616"/>
                  </a:lnTo>
                  <a:lnTo>
                    <a:pt x="1906" y="2616"/>
                  </a:lnTo>
                  <a:lnTo>
                    <a:pt x="1896" y="2620"/>
                  </a:lnTo>
                  <a:lnTo>
                    <a:pt x="1890" y="2620"/>
                  </a:lnTo>
                  <a:lnTo>
                    <a:pt x="1886" y="2618"/>
                  </a:lnTo>
                  <a:lnTo>
                    <a:pt x="1884" y="2614"/>
                  </a:lnTo>
                  <a:lnTo>
                    <a:pt x="1882" y="2608"/>
                  </a:lnTo>
                  <a:lnTo>
                    <a:pt x="1880" y="2602"/>
                  </a:lnTo>
                  <a:lnTo>
                    <a:pt x="1876" y="2598"/>
                  </a:lnTo>
                  <a:lnTo>
                    <a:pt x="1870" y="2596"/>
                  </a:lnTo>
                  <a:lnTo>
                    <a:pt x="1860" y="2598"/>
                  </a:lnTo>
                  <a:lnTo>
                    <a:pt x="1850" y="2600"/>
                  </a:lnTo>
                  <a:lnTo>
                    <a:pt x="1844" y="2596"/>
                  </a:lnTo>
                  <a:lnTo>
                    <a:pt x="1842" y="2592"/>
                  </a:lnTo>
                  <a:lnTo>
                    <a:pt x="1840" y="2586"/>
                  </a:lnTo>
                  <a:lnTo>
                    <a:pt x="1840" y="2582"/>
                  </a:lnTo>
                  <a:lnTo>
                    <a:pt x="1838" y="2578"/>
                  </a:lnTo>
                  <a:lnTo>
                    <a:pt x="1836" y="2576"/>
                  </a:lnTo>
                  <a:lnTo>
                    <a:pt x="1830" y="2580"/>
                  </a:lnTo>
                  <a:lnTo>
                    <a:pt x="1822" y="2582"/>
                  </a:lnTo>
                  <a:lnTo>
                    <a:pt x="1814" y="2584"/>
                  </a:lnTo>
                  <a:lnTo>
                    <a:pt x="1798" y="2582"/>
                  </a:lnTo>
                  <a:lnTo>
                    <a:pt x="1788" y="2580"/>
                  </a:lnTo>
                  <a:lnTo>
                    <a:pt x="1778" y="2580"/>
                  </a:lnTo>
                  <a:lnTo>
                    <a:pt x="1766" y="2582"/>
                  </a:lnTo>
                  <a:lnTo>
                    <a:pt x="1752" y="2586"/>
                  </a:lnTo>
                  <a:lnTo>
                    <a:pt x="1724" y="2596"/>
                  </a:lnTo>
                  <a:lnTo>
                    <a:pt x="1706" y="2608"/>
                  </a:lnTo>
                  <a:lnTo>
                    <a:pt x="1694" y="2618"/>
                  </a:lnTo>
                  <a:lnTo>
                    <a:pt x="1688" y="2624"/>
                  </a:lnTo>
                  <a:lnTo>
                    <a:pt x="1684" y="2630"/>
                  </a:lnTo>
                  <a:lnTo>
                    <a:pt x="1678" y="2632"/>
                  </a:lnTo>
                  <a:lnTo>
                    <a:pt x="1668" y="2632"/>
                  </a:lnTo>
                  <a:lnTo>
                    <a:pt x="1656" y="2628"/>
                  </a:lnTo>
                  <a:lnTo>
                    <a:pt x="1646" y="2626"/>
                  </a:lnTo>
                  <a:lnTo>
                    <a:pt x="1638" y="2626"/>
                  </a:lnTo>
                  <a:lnTo>
                    <a:pt x="1630" y="2628"/>
                  </a:lnTo>
                  <a:lnTo>
                    <a:pt x="1618" y="2628"/>
                  </a:lnTo>
                  <a:lnTo>
                    <a:pt x="1608" y="2624"/>
                  </a:lnTo>
                  <a:lnTo>
                    <a:pt x="1602" y="2626"/>
                  </a:lnTo>
                  <a:lnTo>
                    <a:pt x="1598" y="2628"/>
                  </a:lnTo>
                  <a:lnTo>
                    <a:pt x="1596" y="2634"/>
                  </a:lnTo>
                  <a:lnTo>
                    <a:pt x="1594" y="2638"/>
                  </a:lnTo>
                  <a:lnTo>
                    <a:pt x="1596" y="2640"/>
                  </a:lnTo>
                  <a:lnTo>
                    <a:pt x="1600" y="2642"/>
                  </a:lnTo>
                  <a:lnTo>
                    <a:pt x="1604" y="2646"/>
                  </a:lnTo>
                  <a:lnTo>
                    <a:pt x="1608" y="2650"/>
                  </a:lnTo>
                  <a:lnTo>
                    <a:pt x="1612" y="2650"/>
                  </a:lnTo>
                  <a:lnTo>
                    <a:pt x="1620" y="2652"/>
                  </a:lnTo>
                  <a:lnTo>
                    <a:pt x="1622" y="2652"/>
                  </a:lnTo>
                  <a:lnTo>
                    <a:pt x="1620" y="2652"/>
                  </a:lnTo>
                  <a:lnTo>
                    <a:pt x="1606" y="2656"/>
                  </a:lnTo>
                  <a:lnTo>
                    <a:pt x="1584" y="2660"/>
                  </a:lnTo>
                  <a:lnTo>
                    <a:pt x="1584" y="2662"/>
                  </a:lnTo>
                  <a:lnTo>
                    <a:pt x="1584" y="2664"/>
                  </a:lnTo>
                  <a:lnTo>
                    <a:pt x="1592" y="2666"/>
                  </a:lnTo>
                  <a:lnTo>
                    <a:pt x="1594" y="2668"/>
                  </a:lnTo>
                  <a:lnTo>
                    <a:pt x="1594" y="2672"/>
                  </a:lnTo>
                  <a:lnTo>
                    <a:pt x="1586" y="2674"/>
                  </a:lnTo>
                  <a:lnTo>
                    <a:pt x="1570" y="2674"/>
                  </a:lnTo>
                  <a:lnTo>
                    <a:pt x="1558" y="2672"/>
                  </a:lnTo>
                  <a:lnTo>
                    <a:pt x="1554" y="2670"/>
                  </a:lnTo>
                  <a:lnTo>
                    <a:pt x="1552" y="2666"/>
                  </a:lnTo>
                  <a:lnTo>
                    <a:pt x="1552" y="2664"/>
                  </a:lnTo>
                  <a:lnTo>
                    <a:pt x="1550" y="2662"/>
                  </a:lnTo>
                  <a:lnTo>
                    <a:pt x="1544" y="2662"/>
                  </a:lnTo>
                  <a:lnTo>
                    <a:pt x="1538" y="2666"/>
                  </a:lnTo>
                  <a:lnTo>
                    <a:pt x="1536" y="2668"/>
                  </a:lnTo>
                  <a:lnTo>
                    <a:pt x="1538" y="2670"/>
                  </a:lnTo>
                  <a:lnTo>
                    <a:pt x="1540" y="2672"/>
                  </a:lnTo>
                  <a:lnTo>
                    <a:pt x="1540" y="2674"/>
                  </a:lnTo>
                  <a:lnTo>
                    <a:pt x="1536" y="2676"/>
                  </a:lnTo>
                  <a:lnTo>
                    <a:pt x="1530" y="2676"/>
                  </a:lnTo>
                  <a:lnTo>
                    <a:pt x="1528" y="2674"/>
                  </a:lnTo>
                  <a:lnTo>
                    <a:pt x="1526" y="2672"/>
                  </a:lnTo>
                  <a:lnTo>
                    <a:pt x="1524" y="2670"/>
                  </a:lnTo>
                  <a:lnTo>
                    <a:pt x="1520" y="2668"/>
                  </a:lnTo>
                  <a:lnTo>
                    <a:pt x="1516" y="2666"/>
                  </a:lnTo>
                  <a:lnTo>
                    <a:pt x="1510" y="2668"/>
                  </a:lnTo>
                  <a:lnTo>
                    <a:pt x="1506" y="2670"/>
                  </a:lnTo>
                  <a:lnTo>
                    <a:pt x="1500" y="2672"/>
                  </a:lnTo>
                  <a:lnTo>
                    <a:pt x="1494" y="2678"/>
                  </a:lnTo>
                  <a:lnTo>
                    <a:pt x="1488" y="2686"/>
                  </a:lnTo>
                  <a:lnTo>
                    <a:pt x="1482" y="2692"/>
                  </a:lnTo>
                  <a:lnTo>
                    <a:pt x="1480" y="2694"/>
                  </a:lnTo>
                  <a:lnTo>
                    <a:pt x="1478" y="2696"/>
                  </a:lnTo>
                  <a:lnTo>
                    <a:pt x="1476" y="2706"/>
                  </a:lnTo>
                  <a:lnTo>
                    <a:pt x="1474" y="2716"/>
                  </a:lnTo>
                  <a:lnTo>
                    <a:pt x="1474" y="2718"/>
                  </a:lnTo>
                  <a:lnTo>
                    <a:pt x="1476" y="2720"/>
                  </a:lnTo>
                  <a:lnTo>
                    <a:pt x="1482" y="2720"/>
                  </a:lnTo>
                  <a:lnTo>
                    <a:pt x="1496" y="2716"/>
                  </a:lnTo>
                  <a:lnTo>
                    <a:pt x="1504" y="2716"/>
                  </a:lnTo>
                  <a:lnTo>
                    <a:pt x="1506" y="2716"/>
                  </a:lnTo>
                  <a:lnTo>
                    <a:pt x="1506" y="2718"/>
                  </a:lnTo>
                  <a:lnTo>
                    <a:pt x="1504" y="2720"/>
                  </a:lnTo>
                  <a:lnTo>
                    <a:pt x="1500" y="2728"/>
                  </a:lnTo>
                  <a:lnTo>
                    <a:pt x="1498" y="2732"/>
                  </a:lnTo>
                  <a:lnTo>
                    <a:pt x="1502" y="2734"/>
                  </a:lnTo>
                  <a:lnTo>
                    <a:pt x="1504" y="2738"/>
                  </a:lnTo>
                  <a:lnTo>
                    <a:pt x="1504" y="2740"/>
                  </a:lnTo>
                  <a:lnTo>
                    <a:pt x="1502" y="2746"/>
                  </a:lnTo>
                  <a:lnTo>
                    <a:pt x="1502" y="2750"/>
                  </a:lnTo>
                  <a:lnTo>
                    <a:pt x="1504" y="2752"/>
                  </a:lnTo>
                  <a:lnTo>
                    <a:pt x="1506" y="2752"/>
                  </a:lnTo>
                  <a:lnTo>
                    <a:pt x="1510" y="2754"/>
                  </a:lnTo>
                  <a:lnTo>
                    <a:pt x="1510" y="2756"/>
                  </a:lnTo>
                  <a:lnTo>
                    <a:pt x="1504" y="2760"/>
                  </a:lnTo>
                  <a:lnTo>
                    <a:pt x="1498" y="2766"/>
                  </a:lnTo>
                  <a:lnTo>
                    <a:pt x="1498" y="2768"/>
                  </a:lnTo>
                  <a:lnTo>
                    <a:pt x="1502" y="2770"/>
                  </a:lnTo>
                  <a:lnTo>
                    <a:pt x="1508" y="2774"/>
                  </a:lnTo>
                  <a:lnTo>
                    <a:pt x="1510" y="2778"/>
                  </a:lnTo>
                  <a:lnTo>
                    <a:pt x="1510" y="2780"/>
                  </a:lnTo>
                  <a:lnTo>
                    <a:pt x="1508" y="2782"/>
                  </a:lnTo>
                  <a:lnTo>
                    <a:pt x="1504" y="2782"/>
                  </a:lnTo>
                  <a:lnTo>
                    <a:pt x="1500" y="2782"/>
                  </a:lnTo>
                  <a:lnTo>
                    <a:pt x="1496" y="2780"/>
                  </a:lnTo>
                  <a:lnTo>
                    <a:pt x="1494" y="2774"/>
                  </a:lnTo>
                  <a:lnTo>
                    <a:pt x="1492" y="2768"/>
                  </a:lnTo>
                  <a:lnTo>
                    <a:pt x="1488" y="2768"/>
                  </a:lnTo>
                  <a:lnTo>
                    <a:pt x="1486" y="2768"/>
                  </a:lnTo>
                  <a:lnTo>
                    <a:pt x="1486" y="2772"/>
                  </a:lnTo>
                  <a:lnTo>
                    <a:pt x="1484" y="2782"/>
                  </a:lnTo>
                  <a:lnTo>
                    <a:pt x="1486" y="2788"/>
                  </a:lnTo>
                  <a:lnTo>
                    <a:pt x="1490" y="2792"/>
                  </a:lnTo>
                  <a:lnTo>
                    <a:pt x="1494" y="2794"/>
                  </a:lnTo>
                  <a:lnTo>
                    <a:pt x="1498" y="2794"/>
                  </a:lnTo>
                  <a:lnTo>
                    <a:pt x="1500" y="2794"/>
                  </a:lnTo>
                  <a:lnTo>
                    <a:pt x="1504" y="2796"/>
                  </a:lnTo>
                  <a:lnTo>
                    <a:pt x="1508" y="2800"/>
                  </a:lnTo>
                  <a:lnTo>
                    <a:pt x="1510" y="2800"/>
                  </a:lnTo>
                  <a:lnTo>
                    <a:pt x="1518" y="2802"/>
                  </a:lnTo>
                  <a:lnTo>
                    <a:pt x="1520" y="2802"/>
                  </a:lnTo>
                  <a:lnTo>
                    <a:pt x="1522" y="2804"/>
                  </a:lnTo>
                  <a:lnTo>
                    <a:pt x="1522" y="2806"/>
                  </a:lnTo>
                  <a:lnTo>
                    <a:pt x="1520" y="2810"/>
                  </a:lnTo>
                  <a:lnTo>
                    <a:pt x="1516" y="2818"/>
                  </a:lnTo>
                  <a:lnTo>
                    <a:pt x="1516" y="2822"/>
                  </a:lnTo>
                  <a:lnTo>
                    <a:pt x="1520" y="2826"/>
                  </a:lnTo>
                  <a:lnTo>
                    <a:pt x="1520" y="2832"/>
                  </a:lnTo>
                  <a:lnTo>
                    <a:pt x="1520" y="2836"/>
                  </a:lnTo>
                  <a:lnTo>
                    <a:pt x="1522" y="2838"/>
                  </a:lnTo>
                  <a:lnTo>
                    <a:pt x="1526" y="2838"/>
                  </a:lnTo>
                  <a:lnTo>
                    <a:pt x="1528" y="2840"/>
                  </a:lnTo>
                  <a:lnTo>
                    <a:pt x="1530" y="2844"/>
                  </a:lnTo>
                  <a:lnTo>
                    <a:pt x="1530" y="2848"/>
                  </a:lnTo>
                  <a:lnTo>
                    <a:pt x="1530" y="2850"/>
                  </a:lnTo>
                  <a:lnTo>
                    <a:pt x="1524" y="2850"/>
                  </a:lnTo>
                  <a:lnTo>
                    <a:pt x="1518" y="2850"/>
                  </a:lnTo>
                  <a:lnTo>
                    <a:pt x="1520" y="2854"/>
                  </a:lnTo>
                  <a:lnTo>
                    <a:pt x="1522" y="2856"/>
                  </a:lnTo>
                  <a:lnTo>
                    <a:pt x="1528" y="2858"/>
                  </a:lnTo>
                  <a:lnTo>
                    <a:pt x="1542" y="2856"/>
                  </a:lnTo>
                  <a:lnTo>
                    <a:pt x="1552" y="2856"/>
                  </a:lnTo>
                  <a:lnTo>
                    <a:pt x="1556" y="2858"/>
                  </a:lnTo>
                  <a:lnTo>
                    <a:pt x="1554" y="2860"/>
                  </a:lnTo>
                  <a:lnTo>
                    <a:pt x="1550" y="2864"/>
                  </a:lnTo>
                  <a:lnTo>
                    <a:pt x="1546" y="2866"/>
                  </a:lnTo>
                  <a:lnTo>
                    <a:pt x="1534" y="2868"/>
                  </a:lnTo>
                  <a:lnTo>
                    <a:pt x="1526" y="2870"/>
                  </a:lnTo>
                  <a:lnTo>
                    <a:pt x="1524" y="2870"/>
                  </a:lnTo>
                  <a:lnTo>
                    <a:pt x="1526" y="2872"/>
                  </a:lnTo>
                  <a:lnTo>
                    <a:pt x="1528" y="2876"/>
                  </a:lnTo>
                  <a:lnTo>
                    <a:pt x="1532" y="2876"/>
                  </a:lnTo>
                  <a:lnTo>
                    <a:pt x="1540" y="2874"/>
                  </a:lnTo>
                  <a:lnTo>
                    <a:pt x="1548" y="2872"/>
                  </a:lnTo>
                  <a:lnTo>
                    <a:pt x="1550" y="2872"/>
                  </a:lnTo>
                  <a:lnTo>
                    <a:pt x="1552" y="2876"/>
                  </a:lnTo>
                  <a:lnTo>
                    <a:pt x="1552" y="2878"/>
                  </a:lnTo>
                  <a:lnTo>
                    <a:pt x="1554" y="2878"/>
                  </a:lnTo>
                  <a:lnTo>
                    <a:pt x="1560" y="2872"/>
                  </a:lnTo>
                  <a:lnTo>
                    <a:pt x="1564" y="2870"/>
                  </a:lnTo>
                  <a:lnTo>
                    <a:pt x="1568" y="2868"/>
                  </a:lnTo>
                  <a:lnTo>
                    <a:pt x="1572" y="2868"/>
                  </a:lnTo>
                  <a:lnTo>
                    <a:pt x="1576" y="2870"/>
                  </a:lnTo>
                  <a:lnTo>
                    <a:pt x="1580" y="2874"/>
                  </a:lnTo>
                  <a:lnTo>
                    <a:pt x="1582" y="2874"/>
                  </a:lnTo>
                  <a:lnTo>
                    <a:pt x="1588" y="2874"/>
                  </a:lnTo>
                  <a:lnTo>
                    <a:pt x="1590" y="2872"/>
                  </a:lnTo>
                  <a:lnTo>
                    <a:pt x="1592" y="2874"/>
                  </a:lnTo>
                  <a:lnTo>
                    <a:pt x="1594" y="2880"/>
                  </a:lnTo>
                  <a:lnTo>
                    <a:pt x="1598" y="2886"/>
                  </a:lnTo>
                  <a:lnTo>
                    <a:pt x="1602" y="2892"/>
                  </a:lnTo>
                  <a:lnTo>
                    <a:pt x="1610" y="2900"/>
                  </a:lnTo>
                  <a:lnTo>
                    <a:pt x="1616" y="2902"/>
                  </a:lnTo>
                  <a:lnTo>
                    <a:pt x="1620" y="2904"/>
                  </a:lnTo>
                  <a:lnTo>
                    <a:pt x="1624" y="2904"/>
                  </a:lnTo>
                  <a:lnTo>
                    <a:pt x="1628" y="2902"/>
                  </a:lnTo>
                  <a:lnTo>
                    <a:pt x="1634" y="2896"/>
                  </a:lnTo>
                  <a:lnTo>
                    <a:pt x="1638" y="2894"/>
                  </a:lnTo>
                  <a:lnTo>
                    <a:pt x="1640" y="2894"/>
                  </a:lnTo>
                  <a:lnTo>
                    <a:pt x="1642" y="2896"/>
                  </a:lnTo>
                  <a:lnTo>
                    <a:pt x="1646" y="2898"/>
                  </a:lnTo>
                  <a:lnTo>
                    <a:pt x="1648" y="2896"/>
                  </a:lnTo>
                  <a:lnTo>
                    <a:pt x="1652" y="2894"/>
                  </a:lnTo>
                  <a:lnTo>
                    <a:pt x="1654" y="2890"/>
                  </a:lnTo>
                  <a:lnTo>
                    <a:pt x="1654" y="2884"/>
                  </a:lnTo>
                  <a:lnTo>
                    <a:pt x="1654" y="2872"/>
                  </a:lnTo>
                  <a:lnTo>
                    <a:pt x="1656" y="2866"/>
                  </a:lnTo>
                  <a:lnTo>
                    <a:pt x="1662" y="2864"/>
                  </a:lnTo>
                  <a:lnTo>
                    <a:pt x="1670" y="2864"/>
                  </a:lnTo>
                  <a:lnTo>
                    <a:pt x="1686" y="2868"/>
                  </a:lnTo>
                  <a:lnTo>
                    <a:pt x="1700" y="2874"/>
                  </a:lnTo>
                  <a:lnTo>
                    <a:pt x="1712" y="2882"/>
                  </a:lnTo>
                  <a:lnTo>
                    <a:pt x="1720" y="2890"/>
                  </a:lnTo>
                  <a:lnTo>
                    <a:pt x="1728" y="2898"/>
                  </a:lnTo>
                  <a:lnTo>
                    <a:pt x="1732" y="2904"/>
                  </a:lnTo>
                  <a:lnTo>
                    <a:pt x="1738" y="2908"/>
                  </a:lnTo>
                  <a:lnTo>
                    <a:pt x="1744" y="2910"/>
                  </a:lnTo>
                  <a:lnTo>
                    <a:pt x="1752" y="2908"/>
                  </a:lnTo>
                  <a:lnTo>
                    <a:pt x="1766" y="2904"/>
                  </a:lnTo>
                  <a:lnTo>
                    <a:pt x="1778" y="2902"/>
                  </a:lnTo>
                  <a:lnTo>
                    <a:pt x="1782" y="2900"/>
                  </a:lnTo>
                  <a:lnTo>
                    <a:pt x="1788" y="2898"/>
                  </a:lnTo>
                  <a:lnTo>
                    <a:pt x="1794" y="2892"/>
                  </a:lnTo>
                  <a:lnTo>
                    <a:pt x="1802" y="2884"/>
                  </a:lnTo>
                  <a:lnTo>
                    <a:pt x="1814" y="2872"/>
                  </a:lnTo>
                  <a:lnTo>
                    <a:pt x="1822" y="2868"/>
                  </a:lnTo>
                  <a:lnTo>
                    <a:pt x="1828" y="2868"/>
                  </a:lnTo>
                  <a:lnTo>
                    <a:pt x="1834" y="2872"/>
                  </a:lnTo>
                  <a:lnTo>
                    <a:pt x="1838" y="2876"/>
                  </a:lnTo>
                  <a:lnTo>
                    <a:pt x="1844" y="2880"/>
                  </a:lnTo>
                  <a:lnTo>
                    <a:pt x="1848" y="2880"/>
                  </a:lnTo>
                  <a:lnTo>
                    <a:pt x="1856" y="2876"/>
                  </a:lnTo>
                  <a:lnTo>
                    <a:pt x="1868" y="2864"/>
                  </a:lnTo>
                  <a:lnTo>
                    <a:pt x="1876" y="2860"/>
                  </a:lnTo>
                  <a:lnTo>
                    <a:pt x="1878" y="2860"/>
                  </a:lnTo>
                  <a:lnTo>
                    <a:pt x="1880" y="2862"/>
                  </a:lnTo>
                  <a:lnTo>
                    <a:pt x="1882" y="2870"/>
                  </a:lnTo>
                  <a:lnTo>
                    <a:pt x="1882" y="2874"/>
                  </a:lnTo>
                  <a:lnTo>
                    <a:pt x="1880" y="2878"/>
                  </a:lnTo>
                  <a:lnTo>
                    <a:pt x="1872" y="2886"/>
                  </a:lnTo>
                  <a:lnTo>
                    <a:pt x="1866" y="2892"/>
                  </a:lnTo>
                  <a:lnTo>
                    <a:pt x="1864" y="2894"/>
                  </a:lnTo>
                  <a:lnTo>
                    <a:pt x="1866" y="2896"/>
                  </a:lnTo>
                  <a:lnTo>
                    <a:pt x="1872" y="2906"/>
                  </a:lnTo>
                  <a:lnTo>
                    <a:pt x="1872" y="2910"/>
                  </a:lnTo>
                  <a:lnTo>
                    <a:pt x="1872" y="2914"/>
                  </a:lnTo>
                  <a:lnTo>
                    <a:pt x="1868" y="2918"/>
                  </a:lnTo>
                  <a:lnTo>
                    <a:pt x="1864" y="2924"/>
                  </a:lnTo>
                  <a:lnTo>
                    <a:pt x="1862" y="2930"/>
                  </a:lnTo>
                  <a:lnTo>
                    <a:pt x="1866" y="2940"/>
                  </a:lnTo>
                  <a:lnTo>
                    <a:pt x="1870" y="2948"/>
                  </a:lnTo>
                  <a:lnTo>
                    <a:pt x="1870" y="2956"/>
                  </a:lnTo>
                  <a:lnTo>
                    <a:pt x="1870" y="2966"/>
                  </a:lnTo>
                  <a:lnTo>
                    <a:pt x="1872" y="2980"/>
                  </a:lnTo>
                  <a:lnTo>
                    <a:pt x="1872" y="2986"/>
                  </a:lnTo>
                  <a:lnTo>
                    <a:pt x="1870" y="2990"/>
                  </a:lnTo>
                  <a:lnTo>
                    <a:pt x="1866" y="2996"/>
                  </a:lnTo>
                  <a:lnTo>
                    <a:pt x="1860" y="3000"/>
                  </a:lnTo>
                  <a:lnTo>
                    <a:pt x="1858" y="3006"/>
                  </a:lnTo>
                  <a:lnTo>
                    <a:pt x="1858" y="3012"/>
                  </a:lnTo>
                  <a:lnTo>
                    <a:pt x="1858" y="3020"/>
                  </a:lnTo>
                  <a:lnTo>
                    <a:pt x="1856" y="3020"/>
                  </a:lnTo>
                  <a:lnTo>
                    <a:pt x="1854" y="3024"/>
                  </a:lnTo>
                  <a:lnTo>
                    <a:pt x="1850" y="3034"/>
                  </a:lnTo>
                  <a:lnTo>
                    <a:pt x="1848" y="3044"/>
                  </a:lnTo>
                  <a:lnTo>
                    <a:pt x="1846" y="3050"/>
                  </a:lnTo>
                  <a:lnTo>
                    <a:pt x="1842" y="3054"/>
                  </a:lnTo>
                  <a:lnTo>
                    <a:pt x="1838" y="3064"/>
                  </a:lnTo>
                  <a:lnTo>
                    <a:pt x="1824" y="3108"/>
                  </a:lnTo>
                  <a:lnTo>
                    <a:pt x="1818" y="3130"/>
                  </a:lnTo>
                  <a:lnTo>
                    <a:pt x="1814" y="3144"/>
                  </a:lnTo>
                  <a:lnTo>
                    <a:pt x="1806" y="3154"/>
                  </a:lnTo>
                  <a:lnTo>
                    <a:pt x="1800" y="3160"/>
                  </a:lnTo>
                  <a:lnTo>
                    <a:pt x="1768" y="3170"/>
                  </a:lnTo>
                  <a:lnTo>
                    <a:pt x="1764" y="3170"/>
                  </a:lnTo>
                  <a:lnTo>
                    <a:pt x="1760" y="3166"/>
                  </a:lnTo>
                  <a:lnTo>
                    <a:pt x="1756" y="3164"/>
                  </a:lnTo>
                  <a:lnTo>
                    <a:pt x="1754" y="3166"/>
                  </a:lnTo>
                  <a:lnTo>
                    <a:pt x="1748" y="3168"/>
                  </a:lnTo>
                  <a:lnTo>
                    <a:pt x="1744" y="3170"/>
                  </a:lnTo>
                  <a:lnTo>
                    <a:pt x="1740" y="3170"/>
                  </a:lnTo>
                  <a:lnTo>
                    <a:pt x="1734" y="3168"/>
                  </a:lnTo>
                  <a:lnTo>
                    <a:pt x="1728" y="3164"/>
                  </a:lnTo>
                  <a:lnTo>
                    <a:pt x="1726" y="3162"/>
                  </a:lnTo>
                  <a:lnTo>
                    <a:pt x="1724" y="3162"/>
                  </a:lnTo>
                  <a:lnTo>
                    <a:pt x="1724" y="3164"/>
                  </a:lnTo>
                  <a:lnTo>
                    <a:pt x="1724" y="3168"/>
                  </a:lnTo>
                  <a:lnTo>
                    <a:pt x="1720" y="3170"/>
                  </a:lnTo>
                  <a:lnTo>
                    <a:pt x="1734" y="3232"/>
                  </a:lnTo>
                  <a:lnTo>
                    <a:pt x="1734" y="3230"/>
                  </a:lnTo>
                  <a:lnTo>
                    <a:pt x="1738" y="3232"/>
                  </a:lnTo>
                  <a:lnTo>
                    <a:pt x="1738" y="3236"/>
                  </a:lnTo>
                  <a:lnTo>
                    <a:pt x="1738" y="3242"/>
                  </a:lnTo>
                  <a:lnTo>
                    <a:pt x="1740" y="3252"/>
                  </a:lnTo>
                  <a:lnTo>
                    <a:pt x="1744" y="3260"/>
                  </a:lnTo>
                  <a:lnTo>
                    <a:pt x="1750" y="3266"/>
                  </a:lnTo>
                  <a:lnTo>
                    <a:pt x="1754" y="3272"/>
                  </a:lnTo>
                  <a:lnTo>
                    <a:pt x="1758" y="3278"/>
                  </a:lnTo>
                  <a:lnTo>
                    <a:pt x="1760" y="3288"/>
                  </a:lnTo>
                  <a:lnTo>
                    <a:pt x="1762" y="3300"/>
                  </a:lnTo>
                  <a:lnTo>
                    <a:pt x="1766" y="3306"/>
                  </a:lnTo>
                  <a:lnTo>
                    <a:pt x="1770" y="3312"/>
                  </a:lnTo>
                  <a:lnTo>
                    <a:pt x="1784" y="3328"/>
                  </a:lnTo>
                  <a:lnTo>
                    <a:pt x="1792" y="3340"/>
                  </a:lnTo>
                  <a:lnTo>
                    <a:pt x="1796" y="3344"/>
                  </a:lnTo>
                  <a:lnTo>
                    <a:pt x="1800" y="3346"/>
                  </a:lnTo>
                  <a:lnTo>
                    <a:pt x="1802" y="3344"/>
                  </a:lnTo>
                  <a:lnTo>
                    <a:pt x="1804" y="3340"/>
                  </a:lnTo>
                  <a:lnTo>
                    <a:pt x="1810" y="3328"/>
                  </a:lnTo>
                  <a:lnTo>
                    <a:pt x="1812" y="3314"/>
                  </a:lnTo>
                  <a:lnTo>
                    <a:pt x="1816" y="3292"/>
                  </a:lnTo>
                  <a:lnTo>
                    <a:pt x="1830" y="3254"/>
                  </a:lnTo>
                  <a:lnTo>
                    <a:pt x="1832" y="3250"/>
                  </a:lnTo>
                  <a:lnTo>
                    <a:pt x="1832" y="3256"/>
                  </a:lnTo>
                  <a:lnTo>
                    <a:pt x="1832" y="3260"/>
                  </a:lnTo>
                  <a:lnTo>
                    <a:pt x="1826" y="3286"/>
                  </a:lnTo>
                  <a:lnTo>
                    <a:pt x="1826" y="3296"/>
                  </a:lnTo>
                  <a:lnTo>
                    <a:pt x="1826" y="3302"/>
                  </a:lnTo>
                  <a:lnTo>
                    <a:pt x="1822" y="3312"/>
                  </a:lnTo>
                  <a:lnTo>
                    <a:pt x="1818" y="3328"/>
                  </a:lnTo>
                  <a:lnTo>
                    <a:pt x="1818" y="3330"/>
                  </a:lnTo>
                  <a:lnTo>
                    <a:pt x="1824" y="3328"/>
                  </a:lnTo>
                  <a:lnTo>
                    <a:pt x="1828" y="3326"/>
                  </a:lnTo>
                  <a:lnTo>
                    <a:pt x="1834" y="3326"/>
                  </a:lnTo>
                  <a:lnTo>
                    <a:pt x="1838" y="3328"/>
                  </a:lnTo>
                  <a:lnTo>
                    <a:pt x="1840" y="3330"/>
                  </a:lnTo>
                  <a:lnTo>
                    <a:pt x="1848" y="3340"/>
                  </a:lnTo>
                  <a:lnTo>
                    <a:pt x="1864" y="3372"/>
                  </a:lnTo>
                  <a:lnTo>
                    <a:pt x="1880" y="3406"/>
                  </a:lnTo>
                  <a:lnTo>
                    <a:pt x="1888" y="3418"/>
                  </a:lnTo>
                  <a:lnTo>
                    <a:pt x="1896" y="3428"/>
                  </a:lnTo>
                  <a:lnTo>
                    <a:pt x="1900" y="3434"/>
                  </a:lnTo>
                  <a:lnTo>
                    <a:pt x="1900" y="3440"/>
                  </a:lnTo>
                  <a:lnTo>
                    <a:pt x="1902" y="3444"/>
                  </a:lnTo>
                  <a:lnTo>
                    <a:pt x="1908" y="3450"/>
                  </a:lnTo>
                  <a:lnTo>
                    <a:pt x="1916" y="3458"/>
                  </a:lnTo>
                  <a:lnTo>
                    <a:pt x="1922" y="3470"/>
                  </a:lnTo>
                  <a:lnTo>
                    <a:pt x="1926" y="3482"/>
                  </a:lnTo>
                  <a:lnTo>
                    <a:pt x="1926" y="3486"/>
                  </a:lnTo>
                  <a:lnTo>
                    <a:pt x="1924" y="3492"/>
                  </a:lnTo>
                  <a:lnTo>
                    <a:pt x="1922" y="3496"/>
                  </a:lnTo>
                  <a:lnTo>
                    <a:pt x="1924" y="3502"/>
                  </a:lnTo>
                  <a:lnTo>
                    <a:pt x="1926" y="3506"/>
                  </a:lnTo>
                  <a:lnTo>
                    <a:pt x="1928" y="3512"/>
                  </a:lnTo>
                  <a:lnTo>
                    <a:pt x="1938" y="3522"/>
                  </a:lnTo>
                  <a:lnTo>
                    <a:pt x="1944" y="3526"/>
                  </a:lnTo>
                  <a:lnTo>
                    <a:pt x="1952" y="3528"/>
                  </a:lnTo>
                  <a:lnTo>
                    <a:pt x="1958" y="3532"/>
                  </a:lnTo>
                  <a:lnTo>
                    <a:pt x="1964" y="3538"/>
                  </a:lnTo>
                  <a:lnTo>
                    <a:pt x="1970" y="3548"/>
                  </a:lnTo>
                  <a:lnTo>
                    <a:pt x="1976" y="3560"/>
                  </a:lnTo>
                  <a:lnTo>
                    <a:pt x="1988" y="3586"/>
                  </a:lnTo>
                  <a:lnTo>
                    <a:pt x="1996" y="3610"/>
                  </a:lnTo>
                  <a:lnTo>
                    <a:pt x="1998" y="3620"/>
                  </a:lnTo>
                  <a:lnTo>
                    <a:pt x="1998" y="3626"/>
                  </a:lnTo>
                  <a:lnTo>
                    <a:pt x="1998" y="3632"/>
                  </a:lnTo>
                  <a:lnTo>
                    <a:pt x="1996" y="3636"/>
                  </a:lnTo>
                  <a:lnTo>
                    <a:pt x="1994" y="3638"/>
                  </a:lnTo>
                  <a:lnTo>
                    <a:pt x="1992" y="3642"/>
                  </a:lnTo>
                  <a:lnTo>
                    <a:pt x="1994" y="3648"/>
                  </a:lnTo>
                  <a:lnTo>
                    <a:pt x="1996" y="3656"/>
                  </a:lnTo>
                  <a:lnTo>
                    <a:pt x="2000" y="3664"/>
                  </a:lnTo>
                  <a:lnTo>
                    <a:pt x="2000" y="3668"/>
                  </a:lnTo>
                  <a:lnTo>
                    <a:pt x="1998" y="3670"/>
                  </a:lnTo>
                  <a:lnTo>
                    <a:pt x="1998" y="3672"/>
                  </a:lnTo>
                  <a:lnTo>
                    <a:pt x="1996" y="3674"/>
                  </a:lnTo>
                  <a:lnTo>
                    <a:pt x="1996" y="3676"/>
                  </a:lnTo>
                  <a:lnTo>
                    <a:pt x="2004" y="3690"/>
                  </a:lnTo>
                  <a:lnTo>
                    <a:pt x="2014" y="3706"/>
                  </a:lnTo>
                  <a:lnTo>
                    <a:pt x="2020" y="3716"/>
                  </a:lnTo>
                  <a:lnTo>
                    <a:pt x="2026" y="3722"/>
                  </a:lnTo>
                  <a:lnTo>
                    <a:pt x="2036" y="3726"/>
                  </a:lnTo>
                  <a:lnTo>
                    <a:pt x="2042" y="3730"/>
                  </a:lnTo>
                  <a:lnTo>
                    <a:pt x="2048" y="3734"/>
                  </a:lnTo>
                  <a:lnTo>
                    <a:pt x="2058" y="3744"/>
                  </a:lnTo>
                  <a:lnTo>
                    <a:pt x="2064" y="3758"/>
                  </a:lnTo>
                  <a:lnTo>
                    <a:pt x="2072" y="3770"/>
                  </a:lnTo>
                  <a:lnTo>
                    <a:pt x="2078" y="3778"/>
                  </a:lnTo>
                  <a:lnTo>
                    <a:pt x="2082" y="3782"/>
                  </a:lnTo>
                  <a:lnTo>
                    <a:pt x="2084" y="3786"/>
                  </a:lnTo>
                  <a:lnTo>
                    <a:pt x="2084" y="3796"/>
                  </a:lnTo>
                  <a:lnTo>
                    <a:pt x="2086" y="3804"/>
                  </a:lnTo>
                  <a:lnTo>
                    <a:pt x="2088" y="3810"/>
                  </a:lnTo>
                  <a:lnTo>
                    <a:pt x="2092" y="3816"/>
                  </a:lnTo>
                  <a:lnTo>
                    <a:pt x="2094" y="3824"/>
                  </a:lnTo>
                  <a:lnTo>
                    <a:pt x="2096" y="3830"/>
                  </a:lnTo>
                  <a:lnTo>
                    <a:pt x="2098" y="3836"/>
                  </a:lnTo>
                  <a:lnTo>
                    <a:pt x="2108" y="3848"/>
                  </a:lnTo>
                  <a:lnTo>
                    <a:pt x="2120" y="3862"/>
                  </a:lnTo>
                  <a:lnTo>
                    <a:pt x="2124" y="3870"/>
                  </a:lnTo>
                  <a:lnTo>
                    <a:pt x="2126" y="3878"/>
                  </a:lnTo>
                  <a:lnTo>
                    <a:pt x="2128" y="3884"/>
                  </a:lnTo>
                  <a:lnTo>
                    <a:pt x="2130" y="3886"/>
                  </a:lnTo>
                  <a:lnTo>
                    <a:pt x="2134" y="3886"/>
                  </a:lnTo>
                  <a:lnTo>
                    <a:pt x="2138" y="3888"/>
                  </a:lnTo>
                  <a:lnTo>
                    <a:pt x="2140" y="3892"/>
                  </a:lnTo>
                  <a:lnTo>
                    <a:pt x="2144" y="3902"/>
                  </a:lnTo>
                  <a:lnTo>
                    <a:pt x="2146" y="3918"/>
                  </a:lnTo>
                  <a:lnTo>
                    <a:pt x="2148" y="3936"/>
                  </a:lnTo>
                  <a:lnTo>
                    <a:pt x="2146" y="3944"/>
                  </a:lnTo>
                  <a:lnTo>
                    <a:pt x="2142" y="3952"/>
                  </a:lnTo>
                  <a:lnTo>
                    <a:pt x="2142" y="3954"/>
                  </a:lnTo>
                  <a:lnTo>
                    <a:pt x="2142" y="3958"/>
                  </a:lnTo>
                  <a:lnTo>
                    <a:pt x="2144" y="3964"/>
                  </a:lnTo>
                  <a:lnTo>
                    <a:pt x="2146" y="3968"/>
                  </a:lnTo>
                  <a:lnTo>
                    <a:pt x="2146" y="3972"/>
                  </a:lnTo>
                  <a:lnTo>
                    <a:pt x="2144" y="3974"/>
                  </a:lnTo>
                  <a:lnTo>
                    <a:pt x="2140" y="3976"/>
                  </a:lnTo>
                  <a:lnTo>
                    <a:pt x="2142" y="3980"/>
                  </a:lnTo>
                  <a:lnTo>
                    <a:pt x="2146" y="3982"/>
                  </a:lnTo>
                  <a:lnTo>
                    <a:pt x="2148" y="3986"/>
                  </a:lnTo>
                  <a:lnTo>
                    <a:pt x="2150" y="3988"/>
                  </a:lnTo>
                  <a:lnTo>
                    <a:pt x="2150" y="3996"/>
                  </a:lnTo>
                  <a:lnTo>
                    <a:pt x="2152" y="4000"/>
                  </a:lnTo>
                  <a:lnTo>
                    <a:pt x="2154" y="4008"/>
                  </a:lnTo>
                  <a:lnTo>
                    <a:pt x="2156" y="4020"/>
                  </a:lnTo>
                  <a:lnTo>
                    <a:pt x="2158" y="4034"/>
                  </a:lnTo>
                  <a:lnTo>
                    <a:pt x="2162" y="4044"/>
                  </a:lnTo>
                  <a:lnTo>
                    <a:pt x="2166" y="4054"/>
                  </a:lnTo>
                  <a:lnTo>
                    <a:pt x="2166" y="4058"/>
                  </a:lnTo>
                  <a:lnTo>
                    <a:pt x="2166" y="4064"/>
                  </a:lnTo>
                  <a:lnTo>
                    <a:pt x="2164" y="4072"/>
                  </a:lnTo>
                  <a:lnTo>
                    <a:pt x="2166" y="4076"/>
                  </a:lnTo>
                  <a:lnTo>
                    <a:pt x="2168" y="4082"/>
                  </a:lnTo>
                  <a:lnTo>
                    <a:pt x="2172" y="4092"/>
                  </a:lnTo>
                  <a:lnTo>
                    <a:pt x="2176" y="4100"/>
                  </a:lnTo>
                  <a:lnTo>
                    <a:pt x="2178" y="4102"/>
                  </a:lnTo>
                  <a:lnTo>
                    <a:pt x="2180" y="4102"/>
                  </a:lnTo>
                  <a:lnTo>
                    <a:pt x="2184" y="4100"/>
                  </a:lnTo>
                  <a:lnTo>
                    <a:pt x="2186" y="4102"/>
                  </a:lnTo>
                  <a:lnTo>
                    <a:pt x="2190" y="4104"/>
                  </a:lnTo>
                  <a:lnTo>
                    <a:pt x="2196" y="4108"/>
                  </a:lnTo>
                  <a:lnTo>
                    <a:pt x="2200" y="4106"/>
                  </a:lnTo>
                  <a:lnTo>
                    <a:pt x="2204" y="4104"/>
                  </a:lnTo>
                  <a:lnTo>
                    <a:pt x="2208" y="4104"/>
                  </a:lnTo>
                  <a:lnTo>
                    <a:pt x="2212" y="4104"/>
                  </a:lnTo>
                  <a:lnTo>
                    <a:pt x="2214" y="4102"/>
                  </a:lnTo>
                  <a:lnTo>
                    <a:pt x="2218" y="4098"/>
                  </a:lnTo>
                  <a:lnTo>
                    <a:pt x="2226" y="4098"/>
                  </a:lnTo>
                  <a:lnTo>
                    <a:pt x="2232" y="4100"/>
                  </a:lnTo>
                  <a:lnTo>
                    <a:pt x="2236" y="4098"/>
                  </a:lnTo>
                  <a:lnTo>
                    <a:pt x="2238" y="4096"/>
                  </a:lnTo>
                  <a:lnTo>
                    <a:pt x="2240" y="4094"/>
                  </a:lnTo>
                  <a:lnTo>
                    <a:pt x="2242" y="4090"/>
                  </a:lnTo>
                  <a:lnTo>
                    <a:pt x="2244" y="4088"/>
                  </a:lnTo>
                  <a:lnTo>
                    <a:pt x="2248" y="4088"/>
                  </a:lnTo>
                  <a:lnTo>
                    <a:pt x="2252" y="4086"/>
                  </a:lnTo>
                  <a:lnTo>
                    <a:pt x="2254" y="4084"/>
                  </a:lnTo>
                  <a:lnTo>
                    <a:pt x="2258" y="4074"/>
                  </a:lnTo>
                  <a:lnTo>
                    <a:pt x="2262" y="4070"/>
                  </a:lnTo>
                  <a:lnTo>
                    <a:pt x="2266" y="4068"/>
                  </a:lnTo>
                  <a:lnTo>
                    <a:pt x="2274" y="4066"/>
                  </a:lnTo>
                  <a:lnTo>
                    <a:pt x="2284" y="4066"/>
                  </a:lnTo>
                  <a:lnTo>
                    <a:pt x="2300" y="4066"/>
                  </a:lnTo>
                  <a:lnTo>
                    <a:pt x="2312" y="4062"/>
                  </a:lnTo>
                  <a:lnTo>
                    <a:pt x="2324" y="4058"/>
                  </a:lnTo>
                  <a:lnTo>
                    <a:pt x="2334" y="4050"/>
                  </a:lnTo>
                  <a:lnTo>
                    <a:pt x="2348" y="4038"/>
                  </a:lnTo>
                  <a:lnTo>
                    <a:pt x="2356" y="4036"/>
                  </a:lnTo>
                  <a:lnTo>
                    <a:pt x="2364" y="4036"/>
                  </a:lnTo>
                  <a:lnTo>
                    <a:pt x="2370" y="4038"/>
                  </a:lnTo>
                  <a:lnTo>
                    <a:pt x="2374" y="4038"/>
                  </a:lnTo>
                  <a:lnTo>
                    <a:pt x="2382" y="4034"/>
                  </a:lnTo>
                  <a:lnTo>
                    <a:pt x="2390" y="4028"/>
                  </a:lnTo>
                  <a:lnTo>
                    <a:pt x="2398" y="4020"/>
                  </a:lnTo>
                  <a:lnTo>
                    <a:pt x="2406" y="4010"/>
                  </a:lnTo>
                  <a:lnTo>
                    <a:pt x="2416" y="4002"/>
                  </a:lnTo>
                  <a:lnTo>
                    <a:pt x="2426" y="3998"/>
                  </a:lnTo>
                  <a:lnTo>
                    <a:pt x="2432" y="3996"/>
                  </a:lnTo>
                  <a:lnTo>
                    <a:pt x="2438" y="3998"/>
                  </a:lnTo>
                  <a:lnTo>
                    <a:pt x="2442" y="3998"/>
                  </a:lnTo>
                  <a:lnTo>
                    <a:pt x="2446" y="3996"/>
                  </a:lnTo>
                  <a:lnTo>
                    <a:pt x="2452" y="3992"/>
                  </a:lnTo>
                  <a:lnTo>
                    <a:pt x="2462" y="3986"/>
                  </a:lnTo>
                  <a:lnTo>
                    <a:pt x="2468" y="3982"/>
                  </a:lnTo>
                  <a:lnTo>
                    <a:pt x="2480" y="3978"/>
                  </a:lnTo>
                  <a:lnTo>
                    <a:pt x="2500" y="3972"/>
                  </a:lnTo>
                  <a:lnTo>
                    <a:pt x="2506" y="3968"/>
                  </a:lnTo>
                  <a:lnTo>
                    <a:pt x="2510" y="3966"/>
                  </a:lnTo>
                  <a:lnTo>
                    <a:pt x="2520" y="3962"/>
                  </a:lnTo>
                  <a:lnTo>
                    <a:pt x="2526" y="3960"/>
                  </a:lnTo>
                  <a:lnTo>
                    <a:pt x="2528" y="3954"/>
                  </a:lnTo>
                  <a:lnTo>
                    <a:pt x="2528" y="3942"/>
                  </a:lnTo>
                  <a:lnTo>
                    <a:pt x="2528" y="3934"/>
                  </a:lnTo>
                  <a:lnTo>
                    <a:pt x="2532" y="3926"/>
                  </a:lnTo>
                  <a:lnTo>
                    <a:pt x="2542" y="3916"/>
                  </a:lnTo>
                  <a:lnTo>
                    <a:pt x="2562" y="3906"/>
                  </a:lnTo>
                  <a:lnTo>
                    <a:pt x="2566" y="3902"/>
                  </a:lnTo>
                  <a:lnTo>
                    <a:pt x="2572" y="3902"/>
                  </a:lnTo>
                  <a:lnTo>
                    <a:pt x="2578" y="3902"/>
                  </a:lnTo>
                  <a:lnTo>
                    <a:pt x="2584" y="3902"/>
                  </a:lnTo>
                  <a:lnTo>
                    <a:pt x="2586" y="3900"/>
                  </a:lnTo>
                  <a:lnTo>
                    <a:pt x="2594" y="3894"/>
                  </a:lnTo>
                  <a:lnTo>
                    <a:pt x="2600" y="3892"/>
                  </a:lnTo>
                  <a:lnTo>
                    <a:pt x="2606" y="3890"/>
                  </a:lnTo>
                  <a:lnTo>
                    <a:pt x="2614" y="3888"/>
                  </a:lnTo>
                  <a:lnTo>
                    <a:pt x="2624" y="3890"/>
                  </a:lnTo>
                  <a:lnTo>
                    <a:pt x="2630" y="3890"/>
                  </a:lnTo>
                  <a:lnTo>
                    <a:pt x="2634" y="3890"/>
                  </a:lnTo>
                  <a:lnTo>
                    <a:pt x="2638" y="3888"/>
                  </a:lnTo>
                  <a:lnTo>
                    <a:pt x="2642" y="3886"/>
                  </a:lnTo>
                  <a:lnTo>
                    <a:pt x="2646" y="3878"/>
                  </a:lnTo>
                  <a:lnTo>
                    <a:pt x="2650" y="3868"/>
                  </a:lnTo>
                  <a:lnTo>
                    <a:pt x="2654" y="3858"/>
                  </a:lnTo>
                  <a:lnTo>
                    <a:pt x="2658" y="3850"/>
                  </a:lnTo>
                  <a:lnTo>
                    <a:pt x="2664" y="3844"/>
                  </a:lnTo>
                  <a:lnTo>
                    <a:pt x="2670" y="3842"/>
                  </a:lnTo>
                  <a:lnTo>
                    <a:pt x="2676" y="3842"/>
                  </a:lnTo>
                  <a:lnTo>
                    <a:pt x="2690" y="3840"/>
                  </a:lnTo>
                  <a:lnTo>
                    <a:pt x="2698" y="3836"/>
                  </a:lnTo>
                  <a:lnTo>
                    <a:pt x="2702" y="3830"/>
                  </a:lnTo>
                  <a:lnTo>
                    <a:pt x="2704" y="3822"/>
                  </a:lnTo>
                  <a:lnTo>
                    <a:pt x="2708" y="3814"/>
                  </a:lnTo>
                  <a:lnTo>
                    <a:pt x="2712" y="3806"/>
                  </a:lnTo>
                  <a:lnTo>
                    <a:pt x="2720" y="3798"/>
                  </a:lnTo>
                  <a:lnTo>
                    <a:pt x="2734" y="3794"/>
                  </a:lnTo>
                  <a:lnTo>
                    <a:pt x="2746" y="3790"/>
                  </a:lnTo>
                  <a:lnTo>
                    <a:pt x="2752" y="3786"/>
                  </a:lnTo>
                  <a:lnTo>
                    <a:pt x="2754" y="3782"/>
                  </a:lnTo>
                  <a:lnTo>
                    <a:pt x="2752" y="3776"/>
                  </a:lnTo>
                  <a:lnTo>
                    <a:pt x="2750" y="3768"/>
                  </a:lnTo>
                  <a:lnTo>
                    <a:pt x="2750" y="3758"/>
                  </a:lnTo>
                  <a:lnTo>
                    <a:pt x="2750" y="3746"/>
                  </a:lnTo>
                  <a:lnTo>
                    <a:pt x="2754" y="3730"/>
                  </a:lnTo>
                  <a:lnTo>
                    <a:pt x="2760" y="3716"/>
                  </a:lnTo>
                  <a:lnTo>
                    <a:pt x="2764" y="3710"/>
                  </a:lnTo>
                  <a:lnTo>
                    <a:pt x="2768" y="3712"/>
                  </a:lnTo>
                  <a:lnTo>
                    <a:pt x="2770" y="3714"/>
                  </a:lnTo>
                  <a:lnTo>
                    <a:pt x="2772" y="3718"/>
                  </a:lnTo>
                  <a:lnTo>
                    <a:pt x="2776" y="3720"/>
                  </a:lnTo>
                  <a:lnTo>
                    <a:pt x="2780" y="3716"/>
                  </a:lnTo>
                  <a:lnTo>
                    <a:pt x="2786" y="3704"/>
                  </a:lnTo>
                  <a:lnTo>
                    <a:pt x="2792" y="3692"/>
                  </a:lnTo>
                  <a:lnTo>
                    <a:pt x="2796" y="3684"/>
                  </a:lnTo>
                  <a:lnTo>
                    <a:pt x="2806" y="3674"/>
                  </a:lnTo>
                  <a:lnTo>
                    <a:pt x="2816" y="3664"/>
                  </a:lnTo>
                  <a:lnTo>
                    <a:pt x="2820" y="3656"/>
                  </a:lnTo>
                  <a:lnTo>
                    <a:pt x="2824" y="3644"/>
                  </a:lnTo>
                  <a:lnTo>
                    <a:pt x="2830" y="3628"/>
                  </a:lnTo>
                  <a:lnTo>
                    <a:pt x="2834" y="3618"/>
                  </a:lnTo>
                  <a:lnTo>
                    <a:pt x="2834" y="3616"/>
                  </a:lnTo>
                  <a:lnTo>
                    <a:pt x="2832" y="3614"/>
                  </a:lnTo>
                  <a:lnTo>
                    <a:pt x="2822" y="3608"/>
                  </a:lnTo>
                  <a:close/>
                  <a:moveTo>
                    <a:pt x="2468" y="3400"/>
                  </a:moveTo>
                  <a:lnTo>
                    <a:pt x="2468" y="3400"/>
                  </a:lnTo>
                  <a:lnTo>
                    <a:pt x="2470" y="3400"/>
                  </a:lnTo>
                  <a:lnTo>
                    <a:pt x="2468" y="3400"/>
                  </a:lnTo>
                  <a:close/>
                  <a:moveTo>
                    <a:pt x="1836" y="3098"/>
                  </a:moveTo>
                  <a:lnTo>
                    <a:pt x="1836" y="3098"/>
                  </a:lnTo>
                  <a:lnTo>
                    <a:pt x="1838" y="3094"/>
                  </a:lnTo>
                  <a:lnTo>
                    <a:pt x="1842" y="3094"/>
                  </a:lnTo>
                  <a:lnTo>
                    <a:pt x="1838" y="3094"/>
                  </a:lnTo>
                  <a:lnTo>
                    <a:pt x="1836" y="3098"/>
                  </a:lnTo>
                  <a:close/>
                  <a:moveTo>
                    <a:pt x="1856" y="3100"/>
                  </a:moveTo>
                  <a:lnTo>
                    <a:pt x="1856" y="3100"/>
                  </a:lnTo>
                  <a:lnTo>
                    <a:pt x="1856" y="3102"/>
                  </a:lnTo>
                  <a:lnTo>
                    <a:pt x="1856" y="3100"/>
                  </a:lnTo>
                  <a:lnTo>
                    <a:pt x="1856" y="3090"/>
                  </a:lnTo>
                  <a:lnTo>
                    <a:pt x="1858" y="3084"/>
                  </a:lnTo>
                  <a:lnTo>
                    <a:pt x="1860" y="3082"/>
                  </a:lnTo>
                  <a:lnTo>
                    <a:pt x="1858" y="3084"/>
                  </a:lnTo>
                  <a:lnTo>
                    <a:pt x="1856" y="3090"/>
                  </a:lnTo>
                  <a:lnTo>
                    <a:pt x="1856" y="3100"/>
                  </a:lnTo>
                  <a:close/>
                </a:path>
              </a:pathLst>
            </a:custGeom>
            <a:grpFill/>
            <a:ln w="6350">
              <a:noFill/>
              <a:round/>
              <a:headEnd/>
              <a:tailEnd/>
            </a:ln>
          </p:spPr>
          <p:txBody>
            <a:bodyPr/>
            <a:lstStyle/>
            <a:p>
              <a:endParaRPr lang="en-US" sz="2800" b="1" dirty="0"/>
            </a:p>
          </p:txBody>
        </p:sp>
        <p:sp>
          <p:nvSpPr>
            <p:cNvPr id="30" name="Freeform 6156">
              <a:extLst>
                <a:ext uri="{FF2B5EF4-FFF2-40B4-BE49-F238E27FC236}">
                  <a16:creationId xmlns:a16="http://schemas.microsoft.com/office/drawing/2014/main" id="{892922B2-A4A4-4285-91E2-1698BEA121F3}"/>
                </a:ext>
              </a:extLst>
            </p:cNvPr>
            <p:cNvSpPr>
              <a:spLocks noEditPoints="1"/>
            </p:cNvSpPr>
            <p:nvPr/>
          </p:nvSpPr>
          <p:spPr bwMode="auto">
            <a:xfrm>
              <a:off x="5067288" y="879494"/>
              <a:ext cx="3719525" cy="3473436"/>
            </a:xfrm>
            <a:custGeom>
              <a:avLst/>
              <a:gdLst>
                <a:gd name="T0" fmla="*/ 334096 w 5856"/>
                <a:gd name="T1" fmla="*/ 341505 h 5472"/>
                <a:gd name="T2" fmla="*/ 374746 w 5856"/>
                <a:gd name="T3" fmla="*/ 60938 h 5472"/>
                <a:gd name="T4" fmla="*/ 2452998 w 5856"/>
                <a:gd name="T5" fmla="*/ 316114 h 5472"/>
                <a:gd name="T6" fmla="*/ 3177084 w 5856"/>
                <a:gd name="T7" fmla="*/ 608108 h 5472"/>
                <a:gd name="T8" fmla="*/ 2139228 w 5856"/>
                <a:gd name="T9" fmla="*/ 481154 h 5472"/>
                <a:gd name="T10" fmla="*/ 256606 w 5856"/>
                <a:gd name="T11" fmla="*/ 559865 h 5472"/>
                <a:gd name="T12" fmla="*/ 48272 w 5856"/>
                <a:gd name="T13" fmla="*/ 76172 h 5472"/>
                <a:gd name="T14" fmla="*/ 461128 w 5856"/>
                <a:gd name="T15" fmla="*/ 11426 h 5472"/>
                <a:gd name="T16" fmla="*/ 438262 w 5856"/>
                <a:gd name="T17" fmla="*/ 78711 h 5472"/>
                <a:gd name="T18" fmla="*/ 1814025 w 5856"/>
                <a:gd name="T19" fmla="*/ 3336340 h 5472"/>
                <a:gd name="T20" fmla="*/ 2066820 w 5856"/>
                <a:gd name="T21" fmla="*/ 2794248 h 5472"/>
                <a:gd name="T22" fmla="*/ 2090956 w 5856"/>
                <a:gd name="T23" fmla="*/ 2845030 h 5472"/>
                <a:gd name="T24" fmla="*/ 2021088 w 5856"/>
                <a:gd name="T25" fmla="*/ 2668564 h 5472"/>
                <a:gd name="T26" fmla="*/ 2068090 w 5856"/>
                <a:gd name="T27" fmla="*/ 2759971 h 5472"/>
                <a:gd name="T28" fmla="*/ 2012196 w 5856"/>
                <a:gd name="T29" fmla="*/ 2762510 h 5472"/>
                <a:gd name="T30" fmla="*/ 2125255 w 5856"/>
                <a:gd name="T31" fmla="*/ 3088781 h 5472"/>
                <a:gd name="T32" fmla="*/ 2097307 w 5856"/>
                <a:gd name="T33" fmla="*/ 1976667 h 5472"/>
                <a:gd name="T34" fmla="*/ 2010925 w 5856"/>
                <a:gd name="T35" fmla="*/ 3324914 h 5472"/>
                <a:gd name="T36" fmla="*/ 2102389 w 5856"/>
                <a:gd name="T37" fmla="*/ 1863679 h 5472"/>
                <a:gd name="T38" fmla="*/ 1256352 w 5856"/>
                <a:gd name="T39" fmla="*/ 2824717 h 5472"/>
                <a:gd name="T40" fmla="*/ 1637450 w 5856"/>
                <a:gd name="T41" fmla="*/ 2959288 h 5472"/>
                <a:gd name="T42" fmla="*/ 1636179 w 5856"/>
                <a:gd name="T43" fmla="*/ 3313488 h 5472"/>
                <a:gd name="T44" fmla="*/ 1580285 w 5856"/>
                <a:gd name="T45" fmla="*/ 3222082 h 5472"/>
                <a:gd name="T46" fmla="*/ 1342734 w 5856"/>
                <a:gd name="T47" fmla="*/ 2956749 h 5472"/>
                <a:gd name="T48" fmla="*/ 5081 w 5856"/>
                <a:gd name="T49" fmla="*/ 3446790 h 5472"/>
                <a:gd name="T50" fmla="*/ 2179879 w 5856"/>
                <a:gd name="T51" fmla="*/ 2182332 h 5472"/>
                <a:gd name="T52" fmla="*/ 2291667 w 5856"/>
                <a:gd name="T53" fmla="*/ 2007136 h 5472"/>
                <a:gd name="T54" fmla="*/ 1948679 w 5856"/>
                <a:gd name="T55" fmla="*/ 3044347 h 5472"/>
                <a:gd name="T56" fmla="*/ 1984248 w 5856"/>
                <a:gd name="T57" fmla="*/ 3100206 h 5472"/>
                <a:gd name="T58" fmla="*/ 1942328 w 5856"/>
                <a:gd name="T59" fmla="*/ 2744736 h 5472"/>
                <a:gd name="T60" fmla="*/ 2132876 w 5856"/>
                <a:gd name="T61" fmla="*/ 3114171 h 5472"/>
                <a:gd name="T62" fmla="*/ 2483486 w 5856"/>
                <a:gd name="T63" fmla="*/ 1744342 h 5472"/>
                <a:gd name="T64" fmla="*/ 2336129 w 5856"/>
                <a:gd name="T65" fmla="*/ 1971589 h 5472"/>
                <a:gd name="T66" fmla="*/ 2107470 w 5856"/>
                <a:gd name="T67" fmla="*/ 1984284 h 5472"/>
                <a:gd name="T68" fmla="*/ 2536840 w 5856"/>
                <a:gd name="T69" fmla="*/ 1350786 h 5472"/>
                <a:gd name="T70" fmla="*/ 2451728 w 5856"/>
                <a:gd name="T71" fmla="*/ 1727838 h 5472"/>
                <a:gd name="T72" fmla="*/ 2022358 w 5856"/>
                <a:gd name="T73" fmla="*/ 2660947 h 5472"/>
                <a:gd name="T74" fmla="*/ 1906759 w 5856"/>
                <a:gd name="T75" fmla="*/ 2780283 h 5472"/>
                <a:gd name="T76" fmla="*/ 2087145 w 5856"/>
                <a:gd name="T77" fmla="*/ 2730772 h 5472"/>
                <a:gd name="T78" fmla="*/ 1878811 w 5856"/>
                <a:gd name="T79" fmla="*/ 2870420 h 5472"/>
                <a:gd name="T80" fmla="*/ 1669208 w 5856"/>
                <a:gd name="T81" fmla="*/ 3111632 h 5472"/>
                <a:gd name="T82" fmla="*/ 2046494 w 5856"/>
                <a:gd name="T83" fmla="*/ 2306747 h 5472"/>
                <a:gd name="T84" fmla="*/ 3226627 w 5856"/>
                <a:gd name="T85" fmla="*/ 603030 h 5472"/>
                <a:gd name="T86" fmla="*/ 2160824 w 5856"/>
                <a:gd name="T87" fmla="*/ 505275 h 5472"/>
                <a:gd name="T88" fmla="*/ 1448171 w 5856"/>
                <a:gd name="T89" fmla="*/ 275489 h 5472"/>
                <a:gd name="T90" fmla="*/ 899390 w 5856"/>
                <a:gd name="T91" fmla="*/ 483693 h 5472"/>
                <a:gd name="T92" fmla="*/ 736789 w 5856"/>
                <a:gd name="T93" fmla="*/ 700784 h 5472"/>
                <a:gd name="T94" fmla="*/ 137195 w 5856"/>
                <a:gd name="T95" fmla="*/ 684280 h 5472"/>
                <a:gd name="T96" fmla="*/ 415396 w 5856"/>
                <a:gd name="T97" fmla="*/ 2273739 h 5472"/>
                <a:gd name="T98" fmla="*/ 814279 w 5856"/>
                <a:gd name="T99" fmla="*/ 2748545 h 5472"/>
                <a:gd name="T100" fmla="*/ 1185214 w 5856"/>
                <a:gd name="T101" fmla="*/ 2338485 h 5472"/>
                <a:gd name="T102" fmla="*/ 1393547 w 5856"/>
                <a:gd name="T103" fmla="*/ 2695225 h 5472"/>
                <a:gd name="T104" fmla="*/ 1451982 w 5856"/>
                <a:gd name="T105" fmla="*/ 2856456 h 5472"/>
                <a:gd name="T106" fmla="*/ 1629828 w 5856"/>
                <a:gd name="T107" fmla="*/ 2740928 h 5472"/>
                <a:gd name="T108" fmla="*/ 1744157 w 5856"/>
                <a:gd name="T109" fmla="*/ 2391805 h 5472"/>
                <a:gd name="T110" fmla="*/ 1933435 w 5856"/>
                <a:gd name="T111" fmla="*/ 2254696 h 5472"/>
                <a:gd name="T112" fmla="*/ 1986789 w 5856"/>
                <a:gd name="T113" fmla="*/ 2059187 h 5472"/>
                <a:gd name="T114" fmla="*/ 1905488 w 5856"/>
                <a:gd name="T115" fmla="*/ 1812897 h 5472"/>
                <a:gd name="T116" fmla="*/ 2103659 w 5856"/>
                <a:gd name="T117" fmla="*/ 1858600 h 5472"/>
                <a:gd name="T118" fmla="*/ 2129066 w 5856"/>
                <a:gd name="T119" fmla="*/ 1809089 h 5472"/>
                <a:gd name="T120" fmla="*/ 2413618 w 5856"/>
                <a:gd name="T121" fmla="*/ 1277153 h 5472"/>
                <a:gd name="T122" fmla="*/ 3003049 w 5856"/>
                <a:gd name="T123" fmla="*/ 983890 h 5472"/>
                <a:gd name="T124" fmla="*/ 3079269 w 5856"/>
                <a:gd name="T125" fmla="*/ 1027054 h 547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856"/>
                <a:gd name="T190" fmla="*/ 0 h 5472"/>
                <a:gd name="T191" fmla="*/ 5856 w 5856"/>
                <a:gd name="T192" fmla="*/ 5472 h 547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856" h="5472">
                  <a:moveTo>
                    <a:pt x="1912" y="64"/>
                  </a:moveTo>
                  <a:lnTo>
                    <a:pt x="1912" y="64"/>
                  </a:lnTo>
                  <a:lnTo>
                    <a:pt x="1910" y="60"/>
                  </a:lnTo>
                  <a:lnTo>
                    <a:pt x="1902" y="58"/>
                  </a:lnTo>
                  <a:lnTo>
                    <a:pt x="1882" y="54"/>
                  </a:lnTo>
                  <a:lnTo>
                    <a:pt x="1862" y="54"/>
                  </a:lnTo>
                  <a:lnTo>
                    <a:pt x="1854" y="56"/>
                  </a:lnTo>
                  <a:lnTo>
                    <a:pt x="1850" y="60"/>
                  </a:lnTo>
                  <a:lnTo>
                    <a:pt x="1850" y="62"/>
                  </a:lnTo>
                  <a:lnTo>
                    <a:pt x="1852" y="64"/>
                  </a:lnTo>
                  <a:lnTo>
                    <a:pt x="1858" y="68"/>
                  </a:lnTo>
                  <a:lnTo>
                    <a:pt x="1868" y="70"/>
                  </a:lnTo>
                  <a:lnTo>
                    <a:pt x="1880" y="70"/>
                  </a:lnTo>
                  <a:lnTo>
                    <a:pt x="1902" y="68"/>
                  </a:lnTo>
                  <a:lnTo>
                    <a:pt x="1908" y="66"/>
                  </a:lnTo>
                  <a:lnTo>
                    <a:pt x="1912" y="64"/>
                  </a:lnTo>
                  <a:close/>
                  <a:moveTo>
                    <a:pt x="1078" y="706"/>
                  </a:moveTo>
                  <a:lnTo>
                    <a:pt x="1078" y="706"/>
                  </a:lnTo>
                  <a:lnTo>
                    <a:pt x="1094" y="702"/>
                  </a:lnTo>
                  <a:lnTo>
                    <a:pt x="1100" y="700"/>
                  </a:lnTo>
                  <a:lnTo>
                    <a:pt x="1104" y="698"/>
                  </a:lnTo>
                  <a:lnTo>
                    <a:pt x="1104" y="694"/>
                  </a:lnTo>
                  <a:lnTo>
                    <a:pt x="1104" y="690"/>
                  </a:lnTo>
                  <a:lnTo>
                    <a:pt x="1102" y="684"/>
                  </a:lnTo>
                  <a:lnTo>
                    <a:pt x="1094" y="678"/>
                  </a:lnTo>
                  <a:lnTo>
                    <a:pt x="1082" y="674"/>
                  </a:lnTo>
                  <a:lnTo>
                    <a:pt x="1070" y="674"/>
                  </a:lnTo>
                  <a:lnTo>
                    <a:pt x="1058" y="676"/>
                  </a:lnTo>
                  <a:lnTo>
                    <a:pt x="1048" y="682"/>
                  </a:lnTo>
                  <a:lnTo>
                    <a:pt x="1040" y="688"/>
                  </a:lnTo>
                  <a:lnTo>
                    <a:pt x="1036" y="694"/>
                  </a:lnTo>
                  <a:lnTo>
                    <a:pt x="1036" y="700"/>
                  </a:lnTo>
                  <a:lnTo>
                    <a:pt x="1040" y="704"/>
                  </a:lnTo>
                  <a:lnTo>
                    <a:pt x="1048" y="708"/>
                  </a:lnTo>
                  <a:lnTo>
                    <a:pt x="1060" y="708"/>
                  </a:lnTo>
                  <a:lnTo>
                    <a:pt x="1078" y="706"/>
                  </a:lnTo>
                  <a:close/>
                  <a:moveTo>
                    <a:pt x="1928" y="154"/>
                  </a:moveTo>
                  <a:lnTo>
                    <a:pt x="1928" y="154"/>
                  </a:lnTo>
                  <a:lnTo>
                    <a:pt x="1914" y="152"/>
                  </a:lnTo>
                  <a:lnTo>
                    <a:pt x="1902" y="154"/>
                  </a:lnTo>
                  <a:lnTo>
                    <a:pt x="1894" y="156"/>
                  </a:lnTo>
                  <a:lnTo>
                    <a:pt x="1890" y="160"/>
                  </a:lnTo>
                  <a:lnTo>
                    <a:pt x="1890" y="164"/>
                  </a:lnTo>
                  <a:lnTo>
                    <a:pt x="1894" y="168"/>
                  </a:lnTo>
                  <a:lnTo>
                    <a:pt x="1900" y="172"/>
                  </a:lnTo>
                  <a:lnTo>
                    <a:pt x="1910" y="176"/>
                  </a:lnTo>
                  <a:lnTo>
                    <a:pt x="1920" y="178"/>
                  </a:lnTo>
                  <a:lnTo>
                    <a:pt x="1926" y="180"/>
                  </a:lnTo>
                  <a:lnTo>
                    <a:pt x="1932" y="186"/>
                  </a:lnTo>
                  <a:lnTo>
                    <a:pt x="1934" y="188"/>
                  </a:lnTo>
                  <a:lnTo>
                    <a:pt x="1938" y="190"/>
                  </a:lnTo>
                  <a:lnTo>
                    <a:pt x="1956" y="188"/>
                  </a:lnTo>
                  <a:lnTo>
                    <a:pt x="1982" y="180"/>
                  </a:lnTo>
                  <a:lnTo>
                    <a:pt x="1996" y="174"/>
                  </a:lnTo>
                  <a:lnTo>
                    <a:pt x="2000" y="172"/>
                  </a:lnTo>
                  <a:lnTo>
                    <a:pt x="2000" y="170"/>
                  </a:lnTo>
                  <a:lnTo>
                    <a:pt x="1998" y="168"/>
                  </a:lnTo>
                  <a:lnTo>
                    <a:pt x="1994" y="166"/>
                  </a:lnTo>
                  <a:lnTo>
                    <a:pt x="1982" y="162"/>
                  </a:lnTo>
                  <a:lnTo>
                    <a:pt x="1964" y="158"/>
                  </a:lnTo>
                  <a:lnTo>
                    <a:pt x="1928" y="154"/>
                  </a:lnTo>
                  <a:close/>
                  <a:moveTo>
                    <a:pt x="526" y="138"/>
                  </a:moveTo>
                  <a:lnTo>
                    <a:pt x="526" y="138"/>
                  </a:lnTo>
                  <a:lnTo>
                    <a:pt x="532" y="144"/>
                  </a:lnTo>
                  <a:lnTo>
                    <a:pt x="538" y="148"/>
                  </a:lnTo>
                  <a:lnTo>
                    <a:pt x="552" y="152"/>
                  </a:lnTo>
                  <a:lnTo>
                    <a:pt x="558" y="154"/>
                  </a:lnTo>
                  <a:lnTo>
                    <a:pt x="562" y="152"/>
                  </a:lnTo>
                  <a:lnTo>
                    <a:pt x="564" y="150"/>
                  </a:lnTo>
                  <a:lnTo>
                    <a:pt x="564" y="146"/>
                  </a:lnTo>
                  <a:lnTo>
                    <a:pt x="564" y="142"/>
                  </a:lnTo>
                  <a:lnTo>
                    <a:pt x="568" y="140"/>
                  </a:lnTo>
                  <a:lnTo>
                    <a:pt x="572" y="136"/>
                  </a:lnTo>
                  <a:lnTo>
                    <a:pt x="582" y="136"/>
                  </a:lnTo>
                  <a:lnTo>
                    <a:pt x="600" y="134"/>
                  </a:lnTo>
                  <a:lnTo>
                    <a:pt x="604" y="132"/>
                  </a:lnTo>
                  <a:lnTo>
                    <a:pt x="606" y="130"/>
                  </a:lnTo>
                  <a:lnTo>
                    <a:pt x="604" y="128"/>
                  </a:lnTo>
                  <a:lnTo>
                    <a:pt x="598" y="126"/>
                  </a:lnTo>
                  <a:lnTo>
                    <a:pt x="580" y="122"/>
                  </a:lnTo>
                  <a:lnTo>
                    <a:pt x="556" y="120"/>
                  </a:lnTo>
                  <a:lnTo>
                    <a:pt x="534" y="122"/>
                  </a:lnTo>
                  <a:lnTo>
                    <a:pt x="526" y="124"/>
                  </a:lnTo>
                  <a:lnTo>
                    <a:pt x="522" y="126"/>
                  </a:lnTo>
                  <a:lnTo>
                    <a:pt x="522" y="132"/>
                  </a:lnTo>
                  <a:lnTo>
                    <a:pt x="526" y="138"/>
                  </a:lnTo>
                  <a:close/>
                  <a:moveTo>
                    <a:pt x="658" y="948"/>
                  </a:moveTo>
                  <a:lnTo>
                    <a:pt x="658" y="948"/>
                  </a:lnTo>
                  <a:lnTo>
                    <a:pt x="658" y="944"/>
                  </a:lnTo>
                  <a:lnTo>
                    <a:pt x="656" y="942"/>
                  </a:lnTo>
                  <a:lnTo>
                    <a:pt x="644" y="936"/>
                  </a:lnTo>
                  <a:lnTo>
                    <a:pt x="628" y="926"/>
                  </a:lnTo>
                  <a:lnTo>
                    <a:pt x="620" y="920"/>
                  </a:lnTo>
                  <a:lnTo>
                    <a:pt x="612" y="912"/>
                  </a:lnTo>
                  <a:lnTo>
                    <a:pt x="602" y="904"/>
                  </a:lnTo>
                  <a:lnTo>
                    <a:pt x="594" y="904"/>
                  </a:lnTo>
                  <a:lnTo>
                    <a:pt x="588" y="906"/>
                  </a:lnTo>
                  <a:lnTo>
                    <a:pt x="582" y="908"/>
                  </a:lnTo>
                  <a:lnTo>
                    <a:pt x="580" y="910"/>
                  </a:lnTo>
                  <a:lnTo>
                    <a:pt x="580" y="912"/>
                  </a:lnTo>
                  <a:lnTo>
                    <a:pt x="582" y="916"/>
                  </a:lnTo>
                  <a:lnTo>
                    <a:pt x="584" y="920"/>
                  </a:lnTo>
                  <a:lnTo>
                    <a:pt x="582" y="920"/>
                  </a:lnTo>
                  <a:lnTo>
                    <a:pt x="578" y="918"/>
                  </a:lnTo>
                  <a:lnTo>
                    <a:pt x="576" y="918"/>
                  </a:lnTo>
                  <a:lnTo>
                    <a:pt x="574" y="920"/>
                  </a:lnTo>
                  <a:lnTo>
                    <a:pt x="576" y="924"/>
                  </a:lnTo>
                  <a:lnTo>
                    <a:pt x="580" y="930"/>
                  </a:lnTo>
                  <a:lnTo>
                    <a:pt x="588" y="940"/>
                  </a:lnTo>
                  <a:lnTo>
                    <a:pt x="594" y="944"/>
                  </a:lnTo>
                  <a:lnTo>
                    <a:pt x="596" y="946"/>
                  </a:lnTo>
                  <a:lnTo>
                    <a:pt x="600" y="944"/>
                  </a:lnTo>
                  <a:lnTo>
                    <a:pt x="600" y="942"/>
                  </a:lnTo>
                  <a:lnTo>
                    <a:pt x="604" y="942"/>
                  </a:lnTo>
                  <a:lnTo>
                    <a:pt x="610" y="942"/>
                  </a:lnTo>
                  <a:lnTo>
                    <a:pt x="618" y="946"/>
                  </a:lnTo>
                  <a:lnTo>
                    <a:pt x="620" y="948"/>
                  </a:lnTo>
                  <a:lnTo>
                    <a:pt x="620" y="952"/>
                  </a:lnTo>
                  <a:lnTo>
                    <a:pt x="620" y="956"/>
                  </a:lnTo>
                  <a:lnTo>
                    <a:pt x="624" y="958"/>
                  </a:lnTo>
                  <a:lnTo>
                    <a:pt x="638" y="956"/>
                  </a:lnTo>
                  <a:lnTo>
                    <a:pt x="652" y="954"/>
                  </a:lnTo>
                  <a:lnTo>
                    <a:pt x="656" y="950"/>
                  </a:lnTo>
                  <a:lnTo>
                    <a:pt x="658" y="948"/>
                  </a:lnTo>
                  <a:close/>
                  <a:moveTo>
                    <a:pt x="768" y="460"/>
                  </a:moveTo>
                  <a:lnTo>
                    <a:pt x="768" y="460"/>
                  </a:lnTo>
                  <a:lnTo>
                    <a:pt x="752" y="466"/>
                  </a:lnTo>
                  <a:lnTo>
                    <a:pt x="742" y="468"/>
                  </a:lnTo>
                  <a:lnTo>
                    <a:pt x="736" y="468"/>
                  </a:lnTo>
                  <a:lnTo>
                    <a:pt x="732" y="466"/>
                  </a:lnTo>
                  <a:lnTo>
                    <a:pt x="728" y="462"/>
                  </a:lnTo>
                  <a:lnTo>
                    <a:pt x="722" y="460"/>
                  </a:lnTo>
                  <a:lnTo>
                    <a:pt x="712" y="458"/>
                  </a:lnTo>
                  <a:lnTo>
                    <a:pt x="698" y="460"/>
                  </a:lnTo>
                  <a:lnTo>
                    <a:pt x="682" y="462"/>
                  </a:lnTo>
                  <a:lnTo>
                    <a:pt x="674" y="464"/>
                  </a:lnTo>
                  <a:lnTo>
                    <a:pt x="672" y="468"/>
                  </a:lnTo>
                  <a:lnTo>
                    <a:pt x="672" y="470"/>
                  </a:lnTo>
                  <a:lnTo>
                    <a:pt x="674" y="474"/>
                  </a:lnTo>
                  <a:lnTo>
                    <a:pt x="674" y="476"/>
                  </a:lnTo>
                  <a:lnTo>
                    <a:pt x="672" y="478"/>
                  </a:lnTo>
                  <a:lnTo>
                    <a:pt x="664" y="476"/>
                  </a:lnTo>
                  <a:lnTo>
                    <a:pt x="652" y="478"/>
                  </a:lnTo>
                  <a:lnTo>
                    <a:pt x="636" y="480"/>
                  </a:lnTo>
                  <a:lnTo>
                    <a:pt x="620" y="484"/>
                  </a:lnTo>
                  <a:lnTo>
                    <a:pt x="602" y="492"/>
                  </a:lnTo>
                  <a:lnTo>
                    <a:pt x="584" y="500"/>
                  </a:lnTo>
                  <a:lnTo>
                    <a:pt x="568" y="508"/>
                  </a:lnTo>
                  <a:lnTo>
                    <a:pt x="554" y="518"/>
                  </a:lnTo>
                  <a:lnTo>
                    <a:pt x="544" y="528"/>
                  </a:lnTo>
                  <a:lnTo>
                    <a:pt x="538" y="536"/>
                  </a:lnTo>
                  <a:lnTo>
                    <a:pt x="532" y="538"/>
                  </a:lnTo>
                  <a:lnTo>
                    <a:pt x="528" y="538"/>
                  </a:lnTo>
                  <a:lnTo>
                    <a:pt x="526" y="538"/>
                  </a:lnTo>
                  <a:lnTo>
                    <a:pt x="524" y="536"/>
                  </a:lnTo>
                  <a:lnTo>
                    <a:pt x="520" y="534"/>
                  </a:lnTo>
                  <a:lnTo>
                    <a:pt x="514" y="536"/>
                  </a:lnTo>
                  <a:lnTo>
                    <a:pt x="506" y="542"/>
                  </a:lnTo>
                  <a:lnTo>
                    <a:pt x="498" y="548"/>
                  </a:lnTo>
                  <a:lnTo>
                    <a:pt x="494" y="550"/>
                  </a:lnTo>
                  <a:lnTo>
                    <a:pt x="490" y="548"/>
                  </a:lnTo>
                  <a:lnTo>
                    <a:pt x="488" y="546"/>
                  </a:lnTo>
                  <a:lnTo>
                    <a:pt x="488" y="544"/>
                  </a:lnTo>
                  <a:lnTo>
                    <a:pt x="484" y="542"/>
                  </a:lnTo>
                  <a:lnTo>
                    <a:pt x="480" y="542"/>
                  </a:lnTo>
                  <a:lnTo>
                    <a:pt x="474" y="546"/>
                  </a:lnTo>
                  <a:lnTo>
                    <a:pt x="470" y="550"/>
                  </a:lnTo>
                  <a:lnTo>
                    <a:pt x="468" y="554"/>
                  </a:lnTo>
                  <a:lnTo>
                    <a:pt x="470" y="558"/>
                  </a:lnTo>
                  <a:lnTo>
                    <a:pt x="474" y="560"/>
                  </a:lnTo>
                  <a:lnTo>
                    <a:pt x="480" y="564"/>
                  </a:lnTo>
                  <a:lnTo>
                    <a:pt x="480" y="568"/>
                  </a:lnTo>
                  <a:lnTo>
                    <a:pt x="476" y="570"/>
                  </a:lnTo>
                  <a:lnTo>
                    <a:pt x="472" y="572"/>
                  </a:lnTo>
                  <a:lnTo>
                    <a:pt x="470" y="576"/>
                  </a:lnTo>
                  <a:lnTo>
                    <a:pt x="472" y="578"/>
                  </a:lnTo>
                  <a:lnTo>
                    <a:pt x="476" y="580"/>
                  </a:lnTo>
                  <a:lnTo>
                    <a:pt x="478" y="582"/>
                  </a:lnTo>
                  <a:lnTo>
                    <a:pt x="478" y="584"/>
                  </a:lnTo>
                  <a:lnTo>
                    <a:pt x="476" y="586"/>
                  </a:lnTo>
                  <a:lnTo>
                    <a:pt x="468" y="586"/>
                  </a:lnTo>
                  <a:lnTo>
                    <a:pt x="460" y="588"/>
                  </a:lnTo>
                  <a:lnTo>
                    <a:pt x="454" y="594"/>
                  </a:lnTo>
                  <a:lnTo>
                    <a:pt x="450" y="600"/>
                  </a:lnTo>
                  <a:lnTo>
                    <a:pt x="446" y="606"/>
                  </a:lnTo>
                  <a:lnTo>
                    <a:pt x="442" y="614"/>
                  </a:lnTo>
                  <a:lnTo>
                    <a:pt x="436" y="622"/>
                  </a:lnTo>
                  <a:lnTo>
                    <a:pt x="426" y="630"/>
                  </a:lnTo>
                  <a:lnTo>
                    <a:pt x="414" y="636"/>
                  </a:lnTo>
                  <a:lnTo>
                    <a:pt x="390" y="648"/>
                  </a:lnTo>
                  <a:lnTo>
                    <a:pt x="384" y="654"/>
                  </a:lnTo>
                  <a:lnTo>
                    <a:pt x="380" y="658"/>
                  </a:lnTo>
                  <a:lnTo>
                    <a:pt x="380" y="662"/>
                  </a:lnTo>
                  <a:lnTo>
                    <a:pt x="382" y="666"/>
                  </a:lnTo>
                  <a:lnTo>
                    <a:pt x="390" y="666"/>
                  </a:lnTo>
                  <a:lnTo>
                    <a:pt x="400" y="666"/>
                  </a:lnTo>
                  <a:lnTo>
                    <a:pt x="408" y="668"/>
                  </a:lnTo>
                  <a:lnTo>
                    <a:pt x="410" y="670"/>
                  </a:lnTo>
                  <a:lnTo>
                    <a:pt x="408" y="674"/>
                  </a:lnTo>
                  <a:lnTo>
                    <a:pt x="406" y="678"/>
                  </a:lnTo>
                  <a:lnTo>
                    <a:pt x="402" y="680"/>
                  </a:lnTo>
                  <a:lnTo>
                    <a:pt x="402" y="684"/>
                  </a:lnTo>
                  <a:lnTo>
                    <a:pt x="406" y="684"/>
                  </a:lnTo>
                  <a:lnTo>
                    <a:pt x="416" y="682"/>
                  </a:lnTo>
                  <a:lnTo>
                    <a:pt x="438" y="676"/>
                  </a:lnTo>
                  <a:lnTo>
                    <a:pt x="446" y="676"/>
                  </a:lnTo>
                  <a:lnTo>
                    <a:pt x="454" y="676"/>
                  </a:lnTo>
                  <a:lnTo>
                    <a:pt x="460" y="678"/>
                  </a:lnTo>
                  <a:lnTo>
                    <a:pt x="466" y="682"/>
                  </a:lnTo>
                  <a:lnTo>
                    <a:pt x="486" y="692"/>
                  </a:lnTo>
                  <a:lnTo>
                    <a:pt x="496" y="696"/>
                  </a:lnTo>
                  <a:lnTo>
                    <a:pt x="508" y="694"/>
                  </a:lnTo>
                  <a:lnTo>
                    <a:pt x="514" y="692"/>
                  </a:lnTo>
                  <a:lnTo>
                    <a:pt x="518" y="690"/>
                  </a:lnTo>
                  <a:lnTo>
                    <a:pt x="522" y="686"/>
                  </a:lnTo>
                  <a:lnTo>
                    <a:pt x="524" y="680"/>
                  </a:lnTo>
                  <a:lnTo>
                    <a:pt x="526" y="674"/>
                  </a:lnTo>
                  <a:lnTo>
                    <a:pt x="528" y="672"/>
                  </a:lnTo>
                  <a:lnTo>
                    <a:pt x="538" y="670"/>
                  </a:lnTo>
                  <a:lnTo>
                    <a:pt x="542" y="668"/>
                  </a:lnTo>
                  <a:lnTo>
                    <a:pt x="546" y="664"/>
                  </a:lnTo>
                  <a:lnTo>
                    <a:pt x="550" y="660"/>
                  </a:lnTo>
                  <a:lnTo>
                    <a:pt x="554" y="650"/>
                  </a:lnTo>
                  <a:lnTo>
                    <a:pt x="558" y="640"/>
                  </a:lnTo>
                  <a:lnTo>
                    <a:pt x="562" y="634"/>
                  </a:lnTo>
                  <a:lnTo>
                    <a:pt x="566" y="630"/>
                  </a:lnTo>
                  <a:lnTo>
                    <a:pt x="572" y="628"/>
                  </a:lnTo>
                  <a:lnTo>
                    <a:pt x="580" y="624"/>
                  </a:lnTo>
                  <a:lnTo>
                    <a:pt x="584" y="622"/>
                  </a:lnTo>
                  <a:lnTo>
                    <a:pt x="586" y="616"/>
                  </a:lnTo>
                  <a:lnTo>
                    <a:pt x="588" y="606"/>
                  </a:lnTo>
                  <a:lnTo>
                    <a:pt x="590" y="602"/>
                  </a:lnTo>
                  <a:lnTo>
                    <a:pt x="594" y="600"/>
                  </a:lnTo>
                  <a:lnTo>
                    <a:pt x="610" y="594"/>
                  </a:lnTo>
                  <a:lnTo>
                    <a:pt x="638" y="584"/>
                  </a:lnTo>
                  <a:lnTo>
                    <a:pt x="652" y="578"/>
                  </a:lnTo>
                  <a:lnTo>
                    <a:pt x="658" y="572"/>
                  </a:lnTo>
                  <a:lnTo>
                    <a:pt x="662" y="568"/>
                  </a:lnTo>
                  <a:lnTo>
                    <a:pt x="664" y="564"/>
                  </a:lnTo>
                  <a:lnTo>
                    <a:pt x="668" y="558"/>
                  </a:lnTo>
                  <a:lnTo>
                    <a:pt x="674" y="552"/>
                  </a:lnTo>
                  <a:lnTo>
                    <a:pt x="688" y="544"/>
                  </a:lnTo>
                  <a:lnTo>
                    <a:pt x="712" y="534"/>
                  </a:lnTo>
                  <a:lnTo>
                    <a:pt x="744" y="522"/>
                  </a:lnTo>
                  <a:lnTo>
                    <a:pt x="778" y="512"/>
                  </a:lnTo>
                  <a:lnTo>
                    <a:pt x="854" y="492"/>
                  </a:lnTo>
                  <a:lnTo>
                    <a:pt x="924" y="474"/>
                  </a:lnTo>
                  <a:lnTo>
                    <a:pt x="956" y="464"/>
                  </a:lnTo>
                  <a:lnTo>
                    <a:pt x="980" y="454"/>
                  </a:lnTo>
                  <a:lnTo>
                    <a:pt x="990" y="448"/>
                  </a:lnTo>
                  <a:lnTo>
                    <a:pt x="998" y="444"/>
                  </a:lnTo>
                  <a:lnTo>
                    <a:pt x="1002" y="438"/>
                  </a:lnTo>
                  <a:lnTo>
                    <a:pt x="1002" y="432"/>
                  </a:lnTo>
                  <a:lnTo>
                    <a:pt x="1002" y="428"/>
                  </a:lnTo>
                  <a:lnTo>
                    <a:pt x="1000" y="424"/>
                  </a:lnTo>
                  <a:lnTo>
                    <a:pt x="996" y="420"/>
                  </a:lnTo>
                  <a:lnTo>
                    <a:pt x="990" y="416"/>
                  </a:lnTo>
                  <a:lnTo>
                    <a:pt x="974" y="410"/>
                  </a:lnTo>
                  <a:lnTo>
                    <a:pt x="954" y="406"/>
                  </a:lnTo>
                  <a:lnTo>
                    <a:pt x="932" y="408"/>
                  </a:lnTo>
                  <a:lnTo>
                    <a:pt x="908" y="412"/>
                  </a:lnTo>
                  <a:lnTo>
                    <a:pt x="878" y="422"/>
                  </a:lnTo>
                  <a:lnTo>
                    <a:pt x="874" y="426"/>
                  </a:lnTo>
                  <a:lnTo>
                    <a:pt x="870" y="428"/>
                  </a:lnTo>
                  <a:lnTo>
                    <a:pt x="868" y="430"/>
                  </a:lnTo>
                  <a:lnTo>
                    <a:pt x="864" y="434"/>
                  </a:lnTo>
                  <a:lnTo>
                    <a:pt x="856" y="438"/>
                  </a:lnTo>
                  <a:lnTo>
                    <a:pt x="842" y="444"/>
                  </a:lnTo>
                  <a:lnTo>
                    <a:pt x="818" y="450"/>
                  </a:lnTo>
                  <a:lnTo>
                    <a:pt x="808" y="450"/>
                  </a:lnTo>
                  <a:lnTo>
                    <a:pt x="798" y="452"/>
                  </a:lnTo>
                  <a:lnTo>
                    <a:pt x="768" y="460"/>
                  </a:lnTo>
                  <a:close/>
                  <a:moveTo>
                    <a:pt x="484" y="70"/>
                  </a:moveTo>
                  <a:lnTo>
                    <a:pt x="484" y="70"/>
                  </a:lnTo>
                  <a:lnTo>
                    <a:pt x="482" y="70"/>
                  </a:lnTo>
                  <a:lnTo>
                    <a:pt x="484" y="70"/>
                  </a:lnTo>
                  <a:lnTo>
                    <a:pt x="490" y="72"/>
                  </a:lnTo>
                  <a:lnTo>
                    <a:pt x="500" y="74"/>
                  </a:lnTo>
                  <a:lnTo>
                    <a:pt x="510" y="78"/>
                  </a:lnTo>
                  <a:lnTo>
                    <a:pt x="528" y="86"/>
                  </a:lnTo>
                  <a:lnTo>
                    <a:pt x="538" y="86"/>
                  </a:lnTo>
                  <a:lnTo>
                    <a:pt x="554" y="86"/>
                  </a:lnTo>
                  <a:lnTo>
                    <a:pt x="568" y="86"/>
                  </a:lnTo>
                  <a:lnTo>
                    <a:pt x="568" y="84"/>
                  </a:lnTo>
                  <a:lnTo>
                    <a:pt x="566" y="82"/>
                  </a:lnTo>
                  <a:lnTo>
                    <a:pt x="544" y="76"/>
                  </a:lnTo>
                  <a:lnTo>
                    <a:pt x="530" y="72"/>
                  </a:lnTo>
                  <a:lnTo>
                    <a:pt x="512" y="70"/>
                  </a:lnTo>
                  <a:lnTo>
                    <a:pt x="496" y="68"/>
                  </a:lnTo>
                  <a:lnTo>
                    <a:pt x="484" y="70"/>
                  </a:lnTo>
                  <a:close/>
                  <a:moveTo>
                    <a:pt x="542" y="114"/>
                  </a:moveTo>
                  <a:lnTo>
                    <a:pt x="542" y="114"/>
                  </a:lnTo>
                  <a:lnTo>
                    <a:pt x="554" y="116"/>
                  </a:lnTo>
                  <a:lnTo>
                    <a:pt x="558" y="114"/>
                  </a:lnTo>
                  <a:lnTo>
                    <a:pt x="560" y="112"/>
                  </a:lnTo>
                  <a:lnTo>
                    <a:pt x="560" y="110"/>
                  </a:lnTo>
                  <a:lnTo>
                    <a:pt x="560" y="108"/>
                  </a:lnTo>
                  <a:lnTo>
                    <a:pt x="554" y="106"/>
                  </a:lnTo>
                  <a:lnTo>
                    <a:pt x="542" y="106"/>
                  </a:lnTo>
                  <a:lnTo>
                    <a:pt x="532" y="108"/>
                  </a:lnTo>
                  <a:lnTo>
                    <a:pt x="530" y="110"/>
                  </a:lnTo>
                  <a:lnTo>
                    <a:pt x="532" y="112"/>
                  </a:lnTo>
                  <a:lnTo>
                    <a:pt x="534" y="114"/>
                  </a:lnTo>
                  <a:lnTo>
                    <a:pt x="542" y="114"/>
                  </a:lnTo>
                  <a:close/>
                  <a:moveTo>
                    <a:pt x="590" y="96"/>
                  </a:moveTo>
                  <a:lnTo>
                    <a:pt x="590" y="96"/>
                  </a:lnTo>
                  <a:lnTo>
                    <a:pt x="596" y="94"/>
                  </a:lnTo>
                  <a:lnTo>
                    <a:pt x="598" y="92"/>
                  </a:lnTo>
                  <a:lnTo>
                    <a:pt x="598" y="90"/>
                  </a:lnTo>
                  <a:lnTo>
                    <a:pt x="596" y="88"/>
                  </a:lnTo>
                  <a:lnTo>
                    <a:pt x="592" y="86"/>
                  </a:lnTo>
                  <a:lnTo>
                    <a:pt x="584" y="86"/>
                  </a:lnTo>
                  <a:lnTo>
                    <a:pt x="574" y="88"/>
                  </a:lnTo>
                  <a:lnTo>
                    <a:pt x="562" y="90"/>
                  </a:lnTo>
                  <a:lnTo>
                    <a:pt x="556" y="92"/>
                  </a:lnTo>
                  <a:lnTo>
                    <a:pt x="556" y="94"/>
                  </a:lnTo>
                  <a:lnTo>
                    <a:pt x="560" y="96"/>
                  </a:lnTo>
                  <a:lnTo>
                    <a:pt x="576" y="96"/>
                  </a:lnTo>
                  <a:lnTo>
                    <a:pt x="590" y="96"/>
                  </a:lnTo>
                  <a:close/>
                  <a:moveTo>
                    <a:pt x="554" y="70"/>
                  </a:moveTo>
                  <a:lnTo>
                    <a:pt x="554" y="70"/>
                  </a:lnTo>
                  <a:lnTo>
                    <a:pt x="554" y="72"/>
                  </a:lnTo>
                  <a:lnTo>
                    <a:pt x="554" y="74"/>
                  </a:lnTo>
                  <a:lnTo>
                    <a:pt x="562" y="78"/>
                  </a:lnTo>
                  <a:lnTo>
                    <a:pt x="572" y="80"/>
                  </a:lnTo>
                  <a:lnTo>
                    <a:pt x="582" y="80"/>
                  </a:lnTo>
                  <a:lnTo>
                    <a:pt x="584" y="78"/>
                  </a:lnTo>
                  <a:lnTo>
                    <a:pt x="584" y="76"/>
                  </a:lnTo>
                  <a:lnTo>
                    <a:pt x="576" y="72"/>
                  </a:lnTo>
                  <a:lnTo>
                    <a:pt x="564" y="68"/>
                  </a:lnTo>
                  <a:lnTo>
                    <a:pt x="558" y="68"/>
                  </a:lnTo>
                  <a:lnTo>
                    <a:pt x="554" y="70"/>
                  </a:lnTo>
                  <a:close/>
                  <a:moveTo>
                    <a:pt x="1962" y="108"/>
                  </a:moveTo>
                  <a:lnTo>
                    <a:pt x="1962" y="108"/>
                  </a:lnTo>
                  <a:lnTo>
                    <a:pt x="1950" y="114"/>
                  </a:lnTo>
                  <a:lnTo>
                    <a:pt x="1938" y="120"/>
                  </a:lnTo>
                  <a:lnTo>
                    <a:pt x="1916" y="128"/>
                  </a:lnTo>
                  <a:lnTo>
                    <a:pt x="1908" y="132"/>
                  </a:lnTo>
                  <a:lnTo>
                    <a:pt x="1906" y="134"/>
                  </a:lnTo>
                  <a:lnTo>
                    <a:pt x="1908" y="136"/>
                  </a:lnTo>
                  <a:lnTo>
                    <a:pt x="1918" y="138"/>
                  </a:lnTo>
                  <a:lnTo>
                    <a:pt x="1930" y="138"/>
                  </a:lnTo>
                  <a:lnTo>
                    <a:pt x="1938" y="142"/>
                  </a:lnTo>
                  <a:lnTo>
                    <a:pt x="1952" y="146"/>
                  </a:lnTo>
                  <a:lnTo>
                    <a:pt x="1968" y="154"/>
                  </a:lnTo>
                  <a:lnTo>
                    <a:pt x="1980" y="156"/>
                  </a:lnTo>
                  <a:lnTo>
                    <a:pt x="1994" y="158"/>
                  </a:lnTo>
                  <a:lnTo>
                    <a:pt x="2010" y="158"/>
                  </a:lnTo>
                  <a:lnTo>
                    <a:pt x="2016" y="158"/>
                  </a:lnTo>
                  <a:lnTo>
                    <a:pt x="2020" y="156"/>
                  </a:lnTo>
                  <a:lnTo>
                    <a:pt x="2022" y="152"/>
                  </a:lnTo>
                  <a:lnTo>
                    <a:pt x="2024" y="150"/>
                  </a:lnTo>
                  <a:lnTo>
                    <a:pt x="2028" y="146"/>
                  </a:lnTo>
                  <a:lnTo>
                    <a:pt x="2040" y="142"/>
                  </a:lnTo>
                  <a:lnTo>
                    <a:pt x="2058" y="140"/>
                  </a:lnTo>
                  <a:lnTo>
                    <a:pt x="2100" y="140"/>
                  </a:lnTo>
                  <a:lnTo>
                    <a:pt x="2130" y="140"/>
                  </a:lnTo>
                  <a:lnTo>
                    <a:pt x="2138" y="138"/>
                  </a:lnTo>
                  <a:lnTo>
                    <a:pt x="2142" y="136"/>
                  </a:lnTo>
                  <a:lnTo>
                    <a:pt x="2142" y="130"/>
                  </a:lnTo>
                  <a:lnTo>
                    <a:pt x="2136" y="122"/>
                  </a:lnTo>
                  <a:lnTo>
                    <a:pt x="2132" y="114"/>
                  </a:lnTo>
                  <a:lnTo>
                    <a:pt x="2132" y="112"/>
                  </a:lnTo>
                  <a:lnTo>
                    <a:pt x="2134" y="110"/>
                  </a:lnTo>
                  <a:lnTo>
                    <a:pt x="2140" y="108"/>
                  </a:lnTo>
                  <a:lnTo>
                    <a:pt x="2146" y="106"/>
                  </a:lnTo>
                  <a:lnTo>
                    <a:pt x="2162" y="104"/>
                  </a:lnTo>
                  <a:lnTo>
                    <a:pt x="2164" y="102"/>
                  </a:lnTo>
                  <a:lnTo>
                    <a:pt x="2166" y="100"/>
                  </a:lnTo>
                  <a:lnTo>
                    <a:pt x="2164" y="96"/>
                  </a:lnTo>
                  <a:lnTo>
                    <a:pt x="2160" y="92"/>
                  </a:lnTo>
                  <a:lnTo>
                    <a:pt x="2154" y="90"/>
                  </a:lnTo>
                  <a:lnTo>
                    <a:pt x="2142" y="88"/>
                  </a:lnTo>
                  <a:lnTo>
                    <a:pt x="2136" y="88"/>
                  </a:lnTo>
                  <a:lnTo>
                    <a:pt x="2128" y="86"/>
                  </a:lnTo>
                  <a:lnTo>
                    <a:pt x="2118" y="82"/>
                  </a:lnTo>
                  <a:lnTo>
                    <a:pt x="2110" y="74"/>
                  </a:lnTo>
                  <a:lnTo>
                    <a:pt x="2090" y="60"/>
                  </a:lnTo>
                  <a:lnTo>
                    <a:pt x="2082" y="56"/>
                  </a:lnTo>
                  <a:lnTo>
                    <a:pt x="2076" y="52"/>
                  </a:lnTo>
                  <a:lnTo>
                    <a:pt x="2068" y="50"/>
                  </a:lnTo>
                  <a:lnTo>
                    <a:pt x="2060" y="50"/>
                  </a:lnTo>
                  <a:lnTo>
                    <a:pt x="2052" y="54"/>
                  </a:lnTo>
                  <a:lnTo>
                    <a:pt x="2044" y="58"/>
                  </a:lnTo>
                  <a:lnTo>
                    <a:pt x="2034" y="62"/>
                  </a:lnTo>
                  <a:lnTo>
                    <a:pt x="2026" y="66"/>
                  </a:lnTo>
                  <a:lnTo>
                    <a:pt x="2008" y="68"/>
                  </a:lnTo>
                  <a:lnTo>
                    <a:pt x="1988" y="74"/>
                  </a:lnTo>
                  <a:lnTo>
                    <a:pt x="1978" y="78"/>
                  </a:lnTo>
                  <a:lnTo>
                    <a:pt x="1964" y="84"/>
                  </a:lnTo>
                  <a:lnTo>
                    <a:pt x="1954" y="92"/>
                  </a:lnTo>
                  <a:lnTo>
                    <a:pt x="1952" y="94"/>
                  </a:lnTo>
                  <a:lnTo>
                    <a:pt x="1954" y="96"/>
                  </a:lnTo>
                  <a:lnTo>
                    <a:pt x="1960" y="98"/>
                  </a:lnTo>
                  <a:lnTo>
                    <a:pt x="1964" y="98"/>
                  </a:lnTo>
                  <a:lnTo>
                    <a:pt x="1968" y="98"/>
                  </a:lnTo>
                  <a:lnTo>
                    <a:pt x="1968" y="100"/>
                  </a:lnTo>
                  <a:lnTo>
                    <a:pt x="1968" y="102"/>
                  </a:lnTo>
                  <a:lnTo>
                    <a:pt x="1962" y="108"/>
                  </a:lnTo>
                  <a:close/>
                  <a:moveTo>
                    <a:pt x="3810" y="584"/>
                  </a:moveTo>
                  <a:lnTo>
                    <a:pt x="3810" y="584"/>
                  </a:lnTo>
                  <a:lnTo>
                    <a:pt x="3826" y="588"/>
                  </a:lnTo>
                  <a:lnTo>
                    <a:pt x="3834" y="588"/>
                  </a:lnTo>
                  <a:lnTo>
                    <a:pt x="3840" y="584"/>
                  </a:lnTo>
                  <a:lnTo>
                    <a:pt x="3842" y="580"/>
                  </a:lnTo>
                  <a:lnTo>
                    <a:pt x="3842" y="574"/>
                  </a:lnTo>
                  <a:lnTo>
                    <a:pt x="3846" y="570"/>
                  </a:lnTo>
                  <a:lnTo>
                    <a:pt x="3852" y="568"/>
                  </a:lnTo>
                  <a:lnTo>
                    <a:pt x="3864" y="570"/>
                  </a:lnTo>
                  <a:lnTo>
                    <a:pt x="3878" y="574"/>
                  </a:lnTo>
                  <a:lnTo>
                    <a:pt x="3890" y="572"/>
                  </a:lnTo>
                  <a:lnTo>
                    <a:pt x="3900" y="570"/>
                  </a:lnTo>
                  <a:lnTo>
                    <a:pt x="3910" y="566"/>
                  </a:lnTo>
                  <a:lnTo>
                    <a:pt x="3918" y="562"/>
                  </a:lnTo>
                  <a:lnTo>
                    <a:pt x="3926" y="560"/>
                  </a:lnTo>
                  <a:lnTo>
                    <a:pt x="3934" y="562"/>
                  </a:lnTo>
                  <a:lnTo>
                    <a:pt x="3942" y="566"/>
                  </a:lnTo>
                  <a:lnTo>
                    <a:pt x="3952" y="570"/>
                  </a:lnTo>
                  <a:lnTo>
                    <a:pt x="3962" y="572"/>
                  </a:lnTo>
                  <a:lnTo>
                    <a:pt x="3974" y="572"/>
                  </a:lnTo>
                  <a:lnTo>
                    <a:pt x="3986" y="570"/>
                  </a:lnTo>
                  <a:lnTo>
                    <a:pt x="4014" y="562"/>
                  </a:lnTo>
                  <a:lnTo>
                    <a:pt x="4048" y="552"/>
                  </a:lnTo>
                  <a:lnTo>
                    <a:pt x="4056" y="546"/>
                  </a:lnTo>
                  <a:lnTo>
                    <a:pt x="4060" y="542"/>
                  </a:lnTo>
                  <a:lnTo>
                    <a:pt x="4060" y="538"/>
                  </a:lnTo>
                  <a:lnTo>
                    <a:pt x="4056" y="534"/>
                  </a:lnTo>
                  <a:lnTo>
                    <a:pt x="4054" y="530"/>
                  </a:lnTo>
                  <a:lnTo>
                    <a:pt x="4054" y="528"/>
                  </a:lnTo>
                  <a:lnTo>
                    <a:pt x="4056" y="524"/>
                  </a:lnTo>
                  <a:lnTo>
                    <a:pt x="4066" y="524"/>
                  </a:lnTo>
                  <a:lnTo>
                    <a:pt x="4070" y="522"/>
                  </a:lnTo>
                  <a:lnTo>
                    <a:pt x="4074" y="520"/>
                  </a:lnTo>
                  <a:lnTo>
                    <a:pt x="4076" y="518"/>
                  </a:lnTo>
                  <a:lnTo>
                    <a:pt x="4074" y="516"/>
                  </a:lnTo>
                  <a:lnTo>
                    <a:pt x="4068" y="512"/>
                  </a:lnTo>
                  <a:lnTo>
                    <a:pt x="4056" y="506"/>
                  </a:lnTo>
                  <a:lnTo>
                    <a:pt x="4042" y="500"/>
                  </a:lnTo>
                  <a:lnTo>
                    <a:pt x="4026" y="498"/>
                  </a:lnTo>
                  <a:lnTo>
                    <a:pt x="4010" y="496"/>
                  </a:lnTo>
                  <a:lnTo>
                    <a:pt x="3994" y="498"/>
                  </a:lnTo>
                  <a:lnTo>
                    <a:pt x="3980" y="498"/>
                  </a:lnTo>
                  <a:lnTo>
                    <a:pt x="3968" y="496"/>
                  </a:lnTo>
                  <a:lnTo>
                    <a:pt x="3958" y="490"/>
                  </a:lnTo>
                  <a:lnTo>
                    <a:pt x="3948" y="484"/>
                  </a:lnTo>
                  <a:lnTo>
                    <a:pt x="3938" y="478"/>
                  </a:lnTo>
                  <a:lnTo>
                    <a:pt x="3928" y="472"/>
                  </a:lnTo>
                  <a:lnTo>
                    <a:pt x="3918" y="470"/>
                  </a:lnTo>
                  <a:lnTo>
                    <a:pt x="3912" y="472"/>
                  </a:lnTo>
                  <a:lnTo>
                    <a:pt x="3906" y="474"/>
                  </a:lnTo>
                  <a:lnTo>
                    <a:pt x="3898" y="480"/>
                  </a:lnTo>
                  <a:lnTo>
                    <a:pt x="3894" y="486"/>
                  </a:lnTo>
                  <a:lnTo>
                    <a:pt x="3892" y="492"/>
                  </a:lnTo>
                  <a:lnTo>
                    <a:pt x="3894" y="498"/>
                  </a:lnTo>
                  <a:lnTo>
                    <a:pt x="3900" y="506"/>
                  </a:lnTo>
                  <a:lnTo>
                    <a:pt x="3900" y="510"/>
                  </a:lnTo>
                  <a:lnTo>
                    <a:pt x="3896" y="512"/>
                  </a:lnTo>
                  <a:lnTo>
                    <a:pt x="3890" y="512"/>
                  </a:lnTo>
                  <a:lnTo>
                    <a:pt x="3882" y="508"/>
                  </a:lnTo>
                  <a:lnTo>
                    <a:pt x="3862" y="498"/>
                  </a:lnTo>
                  <a:lnTo>
                    <a:pt x="3842" y="484"/>
                  </a:lnTo>
                  <a:lnTo>
                    <a:pt x="3822" y="472"/>
                  </a:lnTo>
                  <a:lnTo>
                    <a:pt x="3814" y="468"/>
                  </a:lnTo>
                  <a:lnTo>
                    <a:pt x="3808" y="468"/>
                  </a:lnTo>
                  <a:lnTo>
                    <a:pt x="3800" y="466"/>
                  </a:lnTo>
                  <a:lnTo>
                    <a:pt x="3794" y="468"/>
                  </a:lnTo>
                  <a:lnTo>
                    <a:pt x="3778" y="476"/>
                  </a:lnTo>
                  <a:lnTo>
                    <a:pt x="3758" y="488"/>
                  </a:lnTo>
                  <a:lnTo>
                    <a:pt x="3748" y="496"/>
                  </a:lnTo>
                  <a:lnTo>
                    <a:pt x="3746" y="502"/>
                  </a:lnTo>
                  <a:lnTo>
                    <a:pt x="3746" y="508"/>
                  </a:lnTo>
                  <a:lnTo>
                    <a:pt x="3748" y="514"/>
                  </a:lnTo>
                  <a:lnTo>
                    <a:pt x="3752" y="524"/>
                  </a:lnTo>
                  <a:lnTo>
                    <a:pt x="3752" y="530"/>
                  </a:lnTo>
                  <a:lnTo>
                    <a:pt x="3746" y="532"/>
                  </a:lnTo>
                  <a:lnTo>
                    <a:pt x="3742" y="536"/>
                  </a:lnTo>
                  <a:lnTo>
                    <a:pt x="3742" y="542"/>
                  </a:lnTo>
                  <a:lnTo>
                    <a:pt x="3744" y="548"/>
                  </a:lnTo>
                  <a:lnTo>
                    <a:pt x="3752" y="554"/>
                  </a:lnTo>
                  <a:lnTo>
                    <a:pt x="3762" y="560"/>
                  </a:lnTo>
                  <a:lnTo>
                    <a:pt x="3776" y="568"/>
                  </a:lnTo>
                  <a:lnTo>
                    <a:pt x="3810" y="584"/>
                  </a:lnTo>
                  <a:close/>
                  <a:moveTo>
                    <a:pt x="4172" y="572"/>
                  </a:moveTo>
                  <a:lnTo>
                    <a:pt x="4172" y="572"/>
                  </a:lnTo>
                  <a:lnTo>
                    <a:pt x="4198" y="578"/>
                  </a:lnTo>
                  <a:lnTo>
                    <a:pt x="4218" y="578"/>
                  </a:lnTo>
                  <a:lnTo>
                    <a:pt x="4262" y="576"/>
                  </a:lnTo>
                  <a:lnTo>
                    <a:pt x="4276" y="574"/>
                  </a:lnTo>
                  <a:lnTo>
                    <a:pt x="4288" y="570"/>
                  </a:lnTo>
                  <a:lnTo>
                    <a:pt x="4294" y="566"/>
                  </a:lnTo>
                  <a:lnTo>
                    <a:pt x="4300" y="560"/>
                  </a:lnTo>
                  <a:lnTo>
                    <a:pt x="4300" y="556"/>
                  </a:lnTo>
                  <a:lnTo>
                    <a:pt x="4300" y="552"/>
                  </a:lnTo>
                  <a:lnTo>
                    <a:pt x="4296" y="550"/>
                  </a:lnTo>
                  <a:lnTo>
                    <a:pt x="4288" y="550"/>
                  </a:lnTo>
                  <a:lnTo>
                    <a:pt x="4280" y="550"/>
                  </a:lnTo>
                  <a:lnTo>
                    <a:pt x="4274" y="548"/>
                  </a:lnTo>
                  <a:lnTo>
                    <a:pt x="4266" y="540"/>
                  </a:lnTo>
                  <a:lnTo>
                    <a:pt x="4260" y="536"/>
                  </a:lnTo>
                  <a:lnTo>
                    <a:pt x="4252" y="534"/>
                  </a:lnTo>
                  <a:lnTo>
                    <a:pt x="4244" y="536"/>
                  </a:lnTo>
                  <a:lnTo>
                    <a:pt x="4230" y="540"/>
                  </a:lnTo>
                  <a:lnTo>
                    <a:pt x="4220" y="542"/>
                  </a:lnTo>
                  <a:lnTo>
                    <a:pt x="4214" y="542"/>
                  </a:lnTo>
                  <a:lnTo>
                    <a:pt x="4212" y="540"/>
                  </a:lnTo>
                  <a:lnTo>
                    <a:pt x="4212" y="536"/>
                  </a:lnTo>
                  <a:lnTo>
                    <a:pt x="4210" y="532"/>
                  </a:lnTo>
                  <a:lnTo>
                    <a:pt x="4204" y="528"/>
                  </a:lnTo>
                  <a:lnTo>
                    <a:pt x="4194" y="526"/>
                  </a:lnTo>
                  <a:lnTo>
                    <a:pt x="4174" y="528"/>
                  </a:lnTo>
                  <a:lnTo>
                    <a:pt x="4154" y="528"/>
                  </a:lnTo>
                  <a:lnTo>
                    <a:pt x="4142" y="526"/>
                  </a:lnTo>
                  <a:lnTo>
                    <a:pt x="4132" y="524"/>
                  </a:lnTo>
                  <a:lnTo>
                    <a:pt x="4126" y="520"/>
                  </a:lnTo>
                  <a:lnTo>
                    <a:pt x="4122" y="514"/>
                  </a:lnTo>
                  <a:lnTo>
                    <a:pt x="4122" y="516"/>
                  </a:lnTo>
                  <a:lnTo>
                    <a:pt x="4118" y="518"/>
                  </a:lnTo>
                  <a:lnTo>
                    <a:pt x="4112" y="530"/>
                  </a:lnTo>
                  <a:lnTo>
                    <a:pt x="4108" y="536"/>
                  </a:lnTo>
                  <a:lnTo>
                    <a:pt x="4110" y="542"/>
                  </a:lnTo>
                  <a:lnTo>
                    <a:pt x="4114" y="550"/>
                  </a:lnTo>
                  <a:lnTo>
                    <a:pt x="4126" y="556"/>
                  </a:lnTo>
                  <a:lnTo>
                    <a:pt x="4144" y="564"/>
                  </a:lnTo>
                  <a:lnTo>
                    <a:pt x="4172" y="572"/>
                  </a:lnTo>
                  <a:close/>
                  <a:moveTo>
                    <a:pt x="5478" y="870"/>
                  </a:moveTo>
                  <a:lnTo>
                    <a:pt x="5478" y="866"/>
                  </a:lnTo>
                  <a:lnTo>
                    <a:pt x="5548" y="856"/>
                  </a:lnTo>
                  <a:lnTo>
                    <a:pt x="5558" y="854"/>
                  </a:lnTo>
                  <a:lnTo>
                    <a:pt x="5564" y="852"/>
                  </a:lnTo>
                  <a:lnTo>
                    <a:pt x="5570" y="848"/>
                  </a:lnTo>
                  <a:lnTo>
                    <a:pt x="5572" y="846"/>
                  </a:lnTo>
                  <a:lnTo>
                    <a:pt x="5570" y="842"/>
                  </a:lnTo>
                  <a:lnTo>
                    <a:pt x="5568" y="838"/>
                  </a:lnTo>
                  <a:lnTo>
                    <a:pt x="5560" y="832"/>
                  </a:lnTo>
                  <a:lnTo>
                    <a:pt x="5546" y="826"/>
                  </a:lnTo>
                  <a:lnTo>
                    <a:pt x="5530" y="820"/>
                  </a:lnTo>
                  <a:lnTo>
                    <a:pt x="5512" y="818"/>
                  </a:lnTo>
                  <a:lnTo>
                    <a:pt x="5494" y="818"/>
                  </a:lnTo>
                  <a:lnTo>
                    <a:pt x="5478" y="820"/>
                  </a:lnTo>
                  <a:lnTo>
                    <a:pt x="5478" y="818"/>
                  </a:lnTo>
                  <a:lnTo>
                    <a:pt x="5454" y="826"/>
                  </a:lnTo>
                  <a:lnTo>
                    <a:pt x="5444" y="832"/>
                  </a:lnTo>
                  <a:lnTo>
                    <a:pt x="5434" y="838"/>
                  </a:lnTo>
                  <a:lnTo>
                    <a:pt x="5428" y="844"/>
                  </a:lnTo>
                  <a:lnTo>
                    <a:pt x="5422" y="850"/>
                  </a:lnTo>
                  <a:lnTo>
                    <a:pt x="5418" y="856"/>
                  </a:lnTo>
                  <a:lnTo>
                    <a:pt x="5418" y="864"/>
                  </a:lnTo>
                  <a:lnTo>
                    <a:pt x="5418" y="868"/>
                  </a:lnTo>
                  <a:lnTo>
                    <a:pt x="5422" y="872"/>
                  </a:lnTo>
                  <a:lnTo>
                    <a:pt x="5426" y="874"/>
                  </a:lnTo>
                  <a:lnTo>
                    <a:pt x="5434" y="874"/>
                  </a:lnTo>
                  <a:lnTo>
                    <a:pt x="5452" y="874"/>
                  </a:lnTo>
                  <a:lnTo>
                    <a:pt x="5478" y="870"/>
                  </a:lnTo>
                  <a:close/>
                  <a:moveTo>
                    <a:pt x="2060" y="404"/>
                  </a:moveTo>
                  <a:lnTo>
                    <a:pt x="2060" y="404"/>
                  </a:lnTo>
                  <a:lnTo>
                    <a:pt x="2068" y="408"/>
                  </a:lnTo>
                  <a:lnTo>
                    <a:pt x="2078" y="408"/>
                  </a:lnTo>
                  <a:lnTo>
                    <a:pt x="2088" y="406"/>
                  </a:lnTo>
                  <a:lnTo>
                    <a:pt x="2096" y="404"/>
                  </a:lnTo>
                  <a:lnTo>
                    <a:pt x="2104" y="400"/>
                  </a:lnTo>
                  <a:lnTo>
                    <a:pt x="2108" y="396"/>
                  </a:lnTo>
                  <a:lnTo>
                    <a:pt x="2112" y="392"/>
                  </a:lnTo>
                  <a:lnTo>
                    <a:pt x="2112" y="388"/>
                  </a:lnTo>
                  <a:lnTo>
                    <a:pt x="2106" y="386"/>
                  </a:lnTo>
                  <a:lnTo>
                    <a:pt x="2100" y="386"/>
                  </a:lnTo>
                  <a:lnTo>
                    <a:pt x="2080" y="392"/>
                  </a:lnTo>
                  <a:lnTo>
                    <a:pt x="2064" y="398"/>
                  </a:lnTo>
                  <a:lnTo>
                    <a:pt x="2060" y="402"/>
                  </a:lnTo>
                  <a:lnTo>
                    <a:pt x="2058" y="404"/>
                  </a:lnTo>
                  <a:lnTo>
                    <a:pt x="2060" y="404"/>
                  </a:lnTo>
                  <a:close/>
                  <a:moveTo>
                    <a:pt x="3868" y="678"/>
                  </a:moveTo>
                  <a:lnTo>
                    <a:pt x="3868" y="678"/>
                  </a:lnTo>
                  <a:lnTo>
                    <a:pt x="3858" y="686"/>
                  </a:lnTo>
                  <a:lnTo>
                    <a:pt x="3856" y="688"/>
                  </a:lnTo>
                  <a:lnTo>
                    <a:pt x="3858" y="690"/>
                  </a:lnTo>
                  <a:lnTo>
                    <a:pt x="3866" y="690"/>
                  </a:lnTo>
                  <a:lnTo>
                    <a:pt x="3896" y="688"/>
                  </a:lnTo>
                  <a:lnTo>
                    <a:pt x="3916" y="688"/>
                  </a:lnTo>
                  <a:lnTo>
                    <a:pt x="3940" y="692"/>
                  </a:lnTo>
                  <a:lnTo>
                    <a:pt x="3970" y="696"/>
                  </a:lnTo>
                  <a:lnTo>
                    <a:pt x="3990" y="696"/>
                  </a:lnTo>
                  <a:lnTo>
                    <a:pt x="4004" y="694"/>
                  </a:lnTo>
                  <a:lnTo>
                    <a:pt x="4006" y="692"/>
                  </a:lnTo>
                  <a:lnTo>
                    <a:pt x="4008" y="690"/>
                  </a:lnTo>
                  <a:lnTo>
                    <a:pt x="4008" y="686"/>
                  </a:lnTo>
                  <a:lnTo>
                    <a:pt x="4006" y="682"/>
                  </a:lnTo>
                  <a:lnTo>
                    <a:pt x="4000" y="674"/>
                  </a:lnTo>
                  <a:lnTo>
                    <a:pt x="3988" y="664"/>
                  </a:lnTo>
                  <a:lnTo>
                    <a:pt x="3972" y="654"/>
                  </a:lnTo>
                  <a:lnTo>
                    <a:pt x="3956" y="648"/>
                  </a:lnTo>
                  <a:lnTo>
                    <a:pt x="3940" y="644"/>
                  </a:lnTo>
                  <a:lnTo>
                    <a:pt x="3928" y="646"/>
                  </a:lnTo>
                  <a:lnTo>
                    <a:pt x="3916" y="648"/>
                  </a:lnTo>
                  <a:lnTo>
                    <a:pt x="3904" y="654"/>
                  </a:lnTo>
                  <a:lnTo>
                    <a:pt x="3894" y="662"/>
                  </a:lnTo>
                  <a:lnTo>
                    <a:pt x="3868" y="678"/>
                  </a:lnTo>
                  <a:close/>
                  <a:moveTo>
                    <a:pt x="5044" y="956"/>
                  </a:moveTo>
                  <a:lnTo>
                    <a:pt x="5044" y="956"/>
                  </a:lnTo>
                  <a:lnTo>
                    <a:pt x="5046" y="954"/>
                  </a:lnTo>
                  <a:lnTo>
                    <a:pt x="5046" y="950"/>
                  </a:lnTo>
                  <a:lnTo>
                    <a:pt x="5044" y="948"/>
                  </a:lnTo>
                  <a:lnTo>
                    <a:pt x="5042" y="946"/>
                  </a:lnTo>
                  <a:lnTo>
                    <a:pt x="5034" y="942"/>
                  </a:lnTo>
                  <a:lnTo>
                    <a:pt x="5024" y="940"/>
                  </a:lnTo>
                  <a:lnTo>
                    <a:pt x="5012" y="938"/>
                  </a:lnTo>
                  <a:lnTo>
                    <a:pt x="5000" y="938"/>
                  </a:lnTo>
                  <a:lnTo>
                    <a:pt x="4990" y="938"/>
                  </a:lnTo>
                  <a:lnTo>
                    <a:pt x="4984" y="942"/>
                  </a:lnTo>
                  <a:lnTo>
                    <a:pt x="4982" y="944"/>
                  </a:lnTo>
                  <a:lnTo>
                    <a:pt x="4982" y="946"/>
                  </a:lnTo>
                  <a:lnTo>
                    <a:pt x="4986" y="950"/>
                  </a:lnTo>
                  <a:lnTo>
                    <a:pt x="4992" y="954"/>
                  </a:lnTo>
                  <a:lnTo>
                    <a:pt x="5002" y="958"/>
                  </a:lnTo>
                  <a:lnTo>
                    <a:pt x="5014" y="960"/>
                  </a:lnTo>
                  <a:lnTo>
                    <a:pt x="5024" y="962"/>
                  </a:lnTo>
                  <a:lnTo>
                    <a:pt x="5034" y="960"/>
                  </a:lnTo>
                  <a:lnTo>
                    <a:pt x="5044" y="956"/>
                  </a:lnTo>
                  <a:close/>
                  <a:moveTo>
                    <a:pt x="3698" y="530"/>
                  </a:moveTo>
                  <a:lnTo>
                    <a:pt x="3698" y="530"/>
                  </a:lnTo>
                  <a:lnTo>
                    <a:pt x="3704" y="524"/>
                  </a:lnTo>
                  <a:lnTo>
                    <a:pt x="3706" y="518"/>
                  </a:lnTo>
                  <a:lnTo>
                    <a:pt x="3704" y="508"/>
                  </a:lnTo>
                  <a:lnTo>
                    <a:pt x="3696" y="498"/>
                  </a:lnTo>
                  <a:lnTo>
                    <a:pt x="3694" y="496"/>
                  </a:lnTo>
                  <a:lnTo>
                    <a:pt x="3692" y="496"/>
                  </a:lnTo>
                  <a:lnTo>
                    <a:pt x="3688" y="500"/>
                  </a:lnTo>
                  <a:lnTo>
                    <a:pt x="3684" y="506"/>
                  </a:lnTo>
                  <a:lnTo>
                    <a:pt x="3682" y="514"/>
                  </a:lnTo>
                  <a:lnTo>
                    <a:pt x="3680" y="524"/>
                  </a:lnTo>
                  <a:lnTo>
                    <a:pt x="3684" y="530"/>
                  </a:lnTo>
                  <a:lnTo>
                    <a:pt x="3686" y="532"/>
                  </a:lnTo>
                  <a:lnTo>
                    <a:pt x="3688" y="532"/>
                  </a:lnTo>
                  <a:lnTo>
                    <a:pt x="3692" y="532"/>
                  </a:lnTo>
                  <a:lnTo>
                    <a:pt x="3698" y="530"/>
                  </a:lnTo>
                  <a:close/>
                  <a:moveTo>
                    <a:pt x="2260" y="322"/>
                  </a:moveTo>
                  <a:lnTo>
                    <a:pt x="2260" y="322"/>
                  </a:lnTo>
                  <a:lnTo>
                    <a:pt x="2286" y="316"/>
                  </a:lnTo>
                  <a:lnTo>
                    <a:pt x="2314" y="310"/>
                  </a:lnTo>
                  <a:lnTo>
                    <a:pt x="2350" y="306"/>
                  </a:lnTo>
                  <a:lnTo>
                    <a:pt x="2398" y="304"/>
                  </a:lnTo>
                  <a:lnTo>
                    <a:pt x="2424" y="302"/>
                  </a:lnTo>
                  <a:lnTo>
                    <a:pt x="2442" y="298"/>
                  </a:lnTo>
                  <a:lnTo>
                    <a:pt x="2456" y="294"/>
                  </a:lnTo>
                  <a:lnTo>
                    <a:pt x="2464" y="288"/>
                  </a:lnTo>
                  <a:lnTo>
                    <a:pt x="2466" y="284"/>
                  </a:lnTo>
                  <a:lnTo>
                    <a:pt x="2466" y="282"/>
                  </a:lnTo>
                  <a:lnTo>
                    <a:pt x="2462" y="274"/>
                  </a:lnTo>
                  <a:lnTo>
                    <a:pt x="2456" y="266"/>
                  </a:lnTo>
                  <a:lnTo>
                    <a:pt x="2442" y="256"/>
                  </a:lnTo>
                  <a:lnTo>
                    <a:pt x="2420" y="240"/>
                  </a:lnTo>
                  <a:lnTo>
                    <a:pt x="2412" y="234"/>
                  </a:lnTo>
                  <a:lnTo>
                    <a:pt x="2406" y="232"/>
                  </a:lnTo>
                  <a:lnTo>
                    <a:pt x="2398" y="232"/>
                  </a:lnTo>
                  <a:lnTo>
                    <a:pt x="2388" y="236"/>
                  </a:lnTo>
                  <a:lnTo>
                    <a:pt x="2376" y="242"/>
                  </a:lnTo>
                  <a:lnTo>
                    <a:pt x="2360" y="254"/>
                  </a:lnTo>
                  <a:lnTo>
                    <a:pt x="2346" y="262"/>
                  </a:lnTo>
                  <a:lnTo>
                    <a:pt x="2344" y="264"/>
                  </a:lnTo>
                  <a:lnTo>
                    <a:pt x="2344" y="262"/>
                  </a:lnTo>
                  <a:lnTo>
                    <a:pt x="2356" y="248"/>
                  </a:lnTo>
                  <a:lnTo>
                    <a:pt x="2364" y="238"/>
                  </a:lnTo>
                  <a:lnTo>
                    <a:pt x="2372" y="226"/>
                  </a:lnTo>
                  <a:lnTo>
                    <a:pt x="2376" y="218"/>
                  </a:lnTo>
                  <a:lnTo>
                    <a:pt x="2374" y="214"/>
                  </a:lnTo>
                  <a:lnTo>
                    <a:pt x="2372" y="212"/>
                  </a:lnTo>
                  <a:lnTo>
                    <a:pt x="2354" y="208"/>
                  </a:lnTo>
                  <a:lnTo>
                    <a:pt x="2344" y="206"/>
                  </a:lnTo>
                  <a:lnTo>
                    <a:pt x="2336" y="206"/>
                  </a:lnTo>
                  <a:lnTo>
                    <a:pt x="2326" y="208"/>
                  </a:lnTo>
                  <a:lnTo>
                    <a:pt x="2316" y="212"/>
                  </a:lnTo>
                  <a:lnTo>
                    <a:pt x="2306" y="222"/>
                  </a:lnTo>
                  <a:lnTo>
                    <a:pt x="2294" y="236"/>
                  </a:lnTo>
                  <a:lnTo>
                    <a:pt x="2286" y="248"/>
                  </a:lnTo>
                  <a:lnTo>
                    <a:pt x="2278" y="256"/>
                  </a:lnTo>
                  <a:lnTo>
                    <a:pt x="2266" y="264"/>
                  </a:lnTo>
                  <a:lnTo>
                    <a:pt x="2260" y="270"/>
                  </a:lnTo>
                  <a:lnTo>
                    <a:pt x="2252" y="278"/>
                  </a:lnTo>
                  <a:lnTo>
                    <a:pt x="2242" y="292"/>
                  </a:lnTo>
                  <a:lnTo>
                    <a:pt x="2230" y="314"/>
                  </a:lnTo>
                  <a:lnTo>
                    <a:pt x="2226" y="324"/>
                  </a:lnTo>
                  <a:lnTo>
                    <a:pt x="2226" y="328"/>
                  </a:lnTo>
                  <a:lnTo>
                    <a:pt x="2228" y="330"/>
                  </a:lnTo>
                  <a:lnTo>
                    <a:pt x="2238" y="328"/>
                  </a:lnTo>
                  <a:lnTo>
                    <a:pt x="2260" y="322"/>
                  </a:lnTo>
                  <a:close/>
                  <a:moveTo>
                    <a:pt x="2156" y="150"/>
                  </a:moveTo>
                  <a:lnTo>
                    <a:pt x="2156" y="150"/>
                  </a:lnTo>
                  <a:lnTo>
                    <a:pt x="2132" y="150"/>
                  </a:lnTo>
                  <a:lnTo>
                    <a:pt x="2100" y="148"/>
                  </a:lnTo>
                  <a:lnTo>
                    <a:pt x="2084" y="150"/>
                  </a:lnTo>
                  <a:lnTo>
                    <a:pt x="2068" y="152"/>
                  </a:lnTo>
                  <a:lnTo>
                    <a:pt x="2054" y="156"/>
                  </a:lnTo>
                  <a:lnTo>
                    <a:pt x="2042" y="162"/>
                  </a:lnTo>
                  <a:lnTo>
                    <a:pt x="2016" y="178"/>
                  </a:lnTo>
                  <a:lnTo>
                    <a:pt x="1988" y="192"/>
                  </a:lnTo>
                  <a:lnTo>
                    <a:pt x="1980" y="198"/>
                  </a:lnTo>
                  <a:lnTo>
                    <a:pt x="1978" y="200"/>
                  </a:lnTo>
                  <a:lnTo>
                    <a:pt x="1978" y="202"/>
                  </a:lnTo>
                  <a:lnTo>
                    <a:pt x="1980" y="204"/>
                  </a:lnTo>
                  <a:lnTo>
                    <a:pt x="1982" y="204"/>
                  </a:lnTo>
                  <a:lnTo>
                    <a:pt x="1996" y="206"/>
                  </a:lnTo>
                  <a:lnTo>
                    <a:pt x="2012" y="206"/>
                  </a:lnTo>
                  <a:lnTo>
                    <a:pt x="2020" y="208"/>
                  </a:lnTo>
                  <a:lnTo>
                    <a:pt x="2024" y="210"/>
                  </a:lnTo>
                  <a:lnTo>
                    <a:pt x="2024" y="214"/>
                  </a:lnTo>
                  <a:lnTo>
                    <a:pt x="2024" y="218"/>
                  </a:lnTo>
                  <a:lnTo>
                    <a:pt x="2026" y="224"/>
                  </a:lnTo>
                  <a:lnTo>
                    <a:pt x="2030" y="230"/>
                  </a:lnTo>
                  <a:lnTo>
                    <a:pt x="2038" y="234"/>
                  </a:lnTo>
                  <a:lnTo>
                    <a:pt x="2046" y="238"/>
                  </a:lnTo>
                  <a:lnTo>
                    <a:pt x="2054" y="238"/>
                  </a:lnTo>
                  <a:lnTo>
                    <a:pt x="2074" y="240"/>
                  </a:lnTo>
                  <a:lnTo>
                    <a:pt x="2100" y="244"/>
                  </a:lnTo>
                  <a:lnTo>
                    <a:pt x="2118" y="246"/>
                  </a:lnTo>
                  <a:lnTo>
                    <a:pt x="2138" y="252"/>
                  </a:lnTo>
                  <a:lnTo>
                    <a:pt x="2158" y="258"/>
                  </a:lnTo>
                  <a:lnTo>
                    <a:pt x="2180" y="260"/>
                  </a:lnTo>
                  <a:lnTo>
                    <a:pt x="2200" y="260"/>
                  </a:lnTo>
                  <a:lnTo>
                    <a:pt x="2218" y="258"/>
                  </a:lnTo>
                  <a:lnTo>
                    <a:pt x="2232" y="252"/>
                  </a:lnTo>
                  <a:lnTo>
                    <a:pt x="2240" y="248"/>
                  </a:lnTo>
                  <a:lnTo>
                    <a:pt x="2244" y="244"/>
                  </a:lnTo>
                  <a:lnTo>
                    <a:pt x="2244" y="240"/>
                  </a:lnTo>
                  <a:lnTo>
                    <a:pt x="2242" y="238"/>
                  </a:lnTo>
                  <a:lnTo>
                    <a:pt x="2240" y="234"/>
                  </a:lnTo>
                  <a:lnTo>
                    <a:pt x="2236" y="232"/>
                  </a:lnTo>
                  <a:lnTo>
                    <a:pt x="2236" y="228"/>
                  </a:lnTo>
                  <a:lnTo>
                    <a:pt x="2236" y="220"/>
                  </a:lnTo>
                  <a:lnTo>
                    <a:pt x="2238" y="210"/>
                  </a:lnTo>
                  <a:lnTo>
                    <a:pt x="2244" y="202"/>
                  </a:lnTo>
                  <a:lnTo>
                    <a:pt x="2248" y="192"/>
                  </a:lnTo>
                  <a:lnTo>
                    <a:pt x="2252" y="184"/>
                  </a:lnTo>
                  <a:lnTo>
                    <a:pt x="2252" y="180"/>
                  </a:lnTo>
                  <a:lnTo>
                    <a:pt x="2252" y="176"/>
                  </a:lnTo>
                  <a:lnTo>
                    <a:pt x="2250" y="174"/>
                  </a:lnTo>
                  <a:lnTo>
                    <a:pt x="2246" y="172"/>
                  </a:lnTo>
                  <a:lnTo>
                    <a:pt x="2238" y="166"/>
                  </a:lnTo>
                  <a:lnTo>
                    <a:pt x="2234" y="162"/>
                  </a:lnTo>
                  <a:lnTo>
                    <a:pt x="2230" y="160"/>
                  </a:lnTo>
                  <a:lnTo>
                    <a:pt x="2226" y="156"/>
                  </a:lnTo>
                  <a:lnTo>
                    <a:pt x="2220" y="156"/>
                  </a:lnTo>
                  <a:lnTo>
                    <a:pt x="2212" y="156"/>
                  </a:lnTo>
                  <a:lnTo>
                    <a:pt x="2184" y="164"/>
                  </a:lnTo>
                  <a:lnTo>
                    <a:pt x="2170" y="170"/>
                  </a:lnTo>
                  <a:lnTo>
                    <a:pt x="2162" y="170"/>
                  </a:lnTo>
                  <a:lnTo>
                    <a:pt x="2160" y="168"/>
                  </a:lnTo>
                  <a:lnTo>
                    <a:pt x="2162" y="164"/>
                  </a:lnTo>
                  <a:lnTo>
                    <a:pt x="2164" y="158"/>
                  </a:lnTo>
                  <a:lnTo>
                    <a:pt x="2164" y="154"/>
                  </a:lnTo>
                  <a:lnTo>
                    <a:pt x="2164" y="150"/>
                  </a:lnTo>
                  <a:lnTo>
                    <a:pt x="2156" y="150"/>
                  </a:lnTo>
                  <a:close/>
                  <a:moveTo>
                    <a:pt x="3192" y="724"/>
                  </a:moveTo>
                  <a:lnTo>
                    <a:pt x="3192" y="724"/>
                  </a:lnTo>
                  <a:lnTo>
                    <a:pt x="3218" y="728"/>
                  </a:lnTo>
                  <a:lnTo>
                    <a:pt x="3242" y="734"/>
                  </a:lnTo>
                  <a:lnTo>
                    <a:pt x="3268" y="744"/>
                  </a:lnTo>
                  <a:lnTo>
                    <a:pt x="3300" y="758"/>
                  </a:lnTo>
                  <a:lnTo>
                    <a:pt x="3308" y="762"/>
                  </a:lnTo>
                  <a:lnTo>
                    <a:pt x="3314" y="764"/>
                  </a:lnTo>
                  <a:lnTo>
                    <a:pt x="3316" y="762"/>
                  </a:lnTo>
                  <a:lnTo>
                    <a:pt x="3316" y="760"/>
                  </a:lnTo>
                  <a:lnTo>
                    <a:pt x="3314" y="752"/>
                  </a:lnTo>
                  <a:lnTo>
                    <a:pt x="3316" y="748"/>
                  </a:lnTo>
                  <a:lnTo>
                    <a:pt x="3320" y="746"/>
                  </a:lnTo>
                  <a:lnTo>
                    <a:pt x="3332" y="746"/>
                  </a:lnTo>
                  <a:lnTo>
                    <a:pt x="3338" y="746"/>
                  </a:lnTo>
                  <a:lnTo>
                    <a:pt x="3368" y="758"/>
                  </a:lnTo>
                  <a:lnTo>
                    <a:pt x="3390" y="768"/>
                  </a:lnTo>
                  <a:lnTo>
                    <a:pt x="3412" y="778"/>
                  </a:lnTo>
                  <a:lnTo>
                    <a:pt x="3420" y="782"/>
                  </a:lnTo>
                  <a:lnTo>
                    <a:pt x="3428" y="782"/>
                  </a:lnTo>
                  <a:lnTo>
                    <a:pt x="3434" y="778"/>
                  </a:lnTo>
                  <a:lnTo>
                    <a:pt x="3440" y="772"/>
                  </a:lnTo>
                  <a:lnTo>
                    <a:pt x="3440" y="766"/>
                  </a:lnTo>
                  <a:lnTo>
                    <a:pt x="3440" y="762"/>
                  </a:lnTo>
                  <a:lnTo>
                    <a:pt x="3436" y="756"/>
                  </a:lnTo>
                  <a:lnTo>
                    <a:pt x="3430" y="752"/>
                  </a:lnTo>
                  <a:lnTo>
                    <a:pt x="3422" y="748"/>
                  </a:lnTo>
                  <a:lnTo>
                    <a:pt x="3414" y="746"/>
                  </a:lnTo>
                  <a:lnTo>
                    <a:pt x="3412" y="744"/>
                  </a:lnTo>
                  <a:lnTo>
                    <a:pt x="3412" y="742"/>
                  </a:lnTo>
                  <a:lnTo>
                    <a:pt x="3414" y="742"/>
                  </a:lnTo>
                  <a:lnTo>
                    <a:pt x="3422" y="738"/>
                  </a:lnTo>
                  <a:lnTo>
                    <a:pt x="3432" y="736"/>
                  </a:lnTo>
                  <a:lnTo>
                    <a:pt x="3432" y="734"/>
                  </a:lnTo>
                  <a:lnTo>
                    <a:pt x="3432" y="732"/>
                  </a:lnTo>
                  <a:lnTo>
                    <a:pt x="3426" y="730"/>
                  </a:lnTo>
                  <a:lnTo>
                    <a:pt x="3418" y="726"/>
                  </a:lnTo>
                  <a:lnTo>
                    <a:pt x="3410" y="724"/>
                  </a:lnTo>
                  <a:lnTo>
                    <a:pt x="3406" y="720"/>
                  </a:lnTo>
                  <a:lnTo>
                    <a:pt x="3406" y="718"/>
                  </a:lnTo>
                  <a:lnTo>
                    <a:pt x="3416" y="714"/>
                  </a:lnTo>
                  <a:lnTo>
                    <a:pt x="3428" y="710"/>
                  </a:lnTo>
                  <a:lnTo>
                    <a:pt x="3430" y="708"/>
                  </a:lnTo>
                  <a:lnTo>
                    <a:pt x="3430" y="706"/>
                  </a:lnTo>
                  <a:lnTo>
                    <a:pt x="3426" y="702"/>
                  </a:lnTo>
                  <a:lnTo>
                    <a:pt x="3418" y="696"/>
                  </a:lnTo>
                  <a:lnTo>
                    <a:pt x="3392" y="686"/>
                  </a:lnTo>
                  <a:lnTo>
                    <a:pt x="3364" y="676"/>
                  </a:lnTo>
                  <a:lnTo>
                    <a:pt x="3352" y="674"/>
                  </a:lnTo>
                  <a:lnTo>
                    <a:pt x="3342" y="676"/>
                  </a:lnTo>
                  <a:lnTo>
                    <a:pt x="3336" y="678"/>
                  </a:lnTo>
                  <a:lnTo>
                    <a:pt x="3330" y="684"/>
                  </a:lnTo>
                  <a:lnTo>
                    <a:pt x="3326" y="688"/>
                  </a:lnTo>
                  <a:lnTo>
                    <a:pt x="3322" y="690"/>
                  </a:lnTo>
                  <a:lnTo>
                    <a:pt x="3320" y="688"/>
                  </a:lnTo>
                  <a:lnTo>
                    <a:pt x="3316" y="682"/>
                  </a:lnTo>
                  <a:lnTo>
                    <a:pt x="3312" y="676"/>
                  </a:lnTo>
                  <a:lnTo>
                    <a:pt x="3306" y="672"/>
                  </a:lnTo>
                  <a:lnTo>
                    <a:pt x="3302" y="668"/>
                  </a:lnTo>
                  <a:lnTo>
                    <a:pt x="3294" y="668"/>
                  </a:lnTo>
                  <a:lnTo>
                    <a:pt x="3278" y="666"/>
                  </a:lnTo>
                  <a:lnTo>
                    <a:pt x="3270" y="664"/>
                  </a:lnTo>
                  <a:lnTo>
                    <a:pt x="3258" y="660"/>
                  </a:lnTo>
                  <a:lnTo>
                    <a:pt x="3244" y="656"/>
                  </a:lnTo>
                  <a:lnTo>
                    <a:pt x="3230" y="654"/>
                  </a:lnTo>
                  <a:lnTo>
                    <a:pt x="3216" y="656"/>
                  </a:lnTo>
                  <a:lnTo>
                    <a:pt x="3204" y="660"/>
                  </a:lnTo>
                  <a:lnTo>
                    <a:pt x="3194" y="666"/>
                  </a:lnTo>
                  <a:lnTo>
                    <a:pt x="3186" y="674"/>
                  </a:lnTo>
                  <a:lnTo>
                    <a:pt x="3186" y="676"/>
                  </a:lnTo>
                  <a:lnTo>
                    <a:pt x="3186" y="680"/>
                  </a:lnTo>
                  <a:lnTo>
                    <a:pt x="3188" y="684"/>
                  </a:lnTo>
                  <a:lnTo>
                    <a:pt x="3190" y="688"/>
                  </a:lnTo>
                  <a:lnTo>
                    <a:pt x="3194" y="692"/>
                  </a:lnTo>
                  <a:lnTo>
                    <a:pt x="3196" y="696"/>
                  </a:lnTo>
                  <a:lnTo>
                    <a:pt x="3196" y="700"/>
                  </a:lnTo>
                  <a:lnTo>
                    <a:pt x="3196" y="702"/>
                  </a:lnTo>
                  <a:lnTo>
                    <a:pt x="3190" y="706"/>
                  </a:lnTo>
                  <a:lnTo>
                    <a:pt x="3184" y="712"/>
                  </a:lnTo>
                  <a:lnTo>
                    <a:pt x="3178" y="714"/>
                  </a:lnTo>
                  <a:lnTo>
                    <a:pt x="3176" y="718"/>
                  </a:lnTo>
                  <a:lnTo>
                    <a:pt x="3180" y="720"/>
                  </a:lnTo>
                  <a:lnTo>
                    <a:pt x="3192" y="724"/>
                  </a:lnTo>
                  <a:close/>
                  <a:moveTo>
                    <a:pt x="614" y="10"/>
                  </a:moveTo>
                  <a:lnTo>
                    <a:pt x="614" y="10"/>
                  </a:lnTo>
                  <a:lnTo>
                    <a:pt x="614" y="8"/>
                  </a:lnTo>
                  <a:lnTo>
                    <a:pt x="612" y="6"/>
                  </a:lnTo>
                  <a:lnTo>
                    <a:pt x="606" y="4"/>
                  </a:lnTo>
                  <a:lnTo>
                    <a:pt x="588" y="0"/>
                  </a:lnTo>
                  <a:lnTo>
                    <a:pt x="576" y="0"/>
                  </a:lnTo>
                  <a:lnTo>
                    <a:pt x="566" y="2"/>
                  </a:lnTo>
                  <a:lnTo>
                    <a:pt x="558" y="4"/>
                  </a:lnTo>
                  <a:lnTo>
                    <a:pt x="554" y="10"/>
                  </a:lnTo>
                  <a:lnTo>
                    <a:pt x="552" y="12"/>
                  </a:lnTo>
                  <a:lnTo>
                    <a:pt x="554" y="14"/>
                  </a:lnTo>
                  <a:lnTo>
                    <a:pt x="558" y="18"/>
                  </a:lnTo>
                  <a:lnTo>
                    <a:pt x="568" y="18"/>
                  </a:lnTo>
                  <a:lnTo>
                    <a:pt x="578" y="18"/>
                  </a:lnTo>
                  <a:lnTo>
                    <a:pt x="602" y="16"/>
                  </a:lnTo>
                  <a:lnTo>
                    <a:pt x="610" y="12"/>
                  </a:lnTo>
                  <a:lnTo>
                    <a:pt x="614" y="10"/>
                  </a:lnTo>
                  <a:close/>
                  <a:moveTo>
                    <a:pt x="444" y="80"/>
                  </a:moveTo>
                  <a:lnTo>
                    <a:pt x="444" y="80"/>
                  </a:lnTo>
                  <a:lnTo>
                    <a:pt x="450" y="82"/>
                  </a:lnTo>
                  <a:lnTo>
                    <a:pt x="450" y="84"/>
                  </a:lnTo>
                  <a:lnTo>
                    <a:pt x="456" y="86"/>
                  </a:lnTo>
                  <a:lnTo>
                    <a:pt x="474" y="88"/>
                  </a:lnTo>
                  <a:lnTo>
                    <a:pt x="502" y="94"/>
                  </a:lnTo>
                  <a:lnTo>
                    <a:pt x="514" y="100"/>
                  </a:lnTo>
                  <a:lnTo>
                    <a:pt x="524" y="102"/>
                  </a:lnTo>
                  <a:lnTo>
                    <a:pt x="536" y="100"/>
                  </a:lnTo>
                  <a:lnTo>
                    <a:pt x="544" y="96"/>
                  </a:lnTo>
                  <a:lnTo>
                    <a:pt x="546" y="94"/>
                  </a:lnTo>
                  <a:lnTo>
                    <a:pt x="544" y="94"/>
                  </a:lnTo>
                  <a:lnTo>
                    <a:pt x="520" y="88"/>
                  </a:lnTo>
                  <a:lnTo>
                    <a:pt x="492" y="76"/>
                  </a:lnTo>
                  <a:lnTo>
                    <a:pt x="478" y="74"/>
                  </a:lnTo>
                  <a:lnTo>
                    <a:pt x="466" y="76"/>
                  </a:lnTo>
                  <a:lnTo>
                    <a:pt x="458" y="76"/>
                  </a:lnTo>
                  <a:lnTo>
                    <a:pt x="452" y="74"/>
                  </a:lnTo>
                  <a:lnTo>
                    <a:pt x="438" y="70"/>
                  </a:lnTo>
                  <a:lnTo>
                    <a:pt x="432" y="68"/>
                  </a:lnTo>
                  <a:lnTo>
                    <a:pt x="426" y="66"/>
                  </a:lnTo>
                  <a:lnTo>
                    <a:pt x="420" y="68"/>
                  </a:lnTo>
                  <a:lnTo>
                    <a:pt x="414" y="74"/>
                  </a:lnTo>
                  <a:lnTo>
                    <a:pt x="412" y="76"/>
                  </a:lnTo>
                  <a:lnTo>
                    <a:pt x="414" y="76"/>
                  </a:lnTo>
                  <a:lnTo>
                    <a:pt x="420" y="78"/>
                  </a:lnTo>
                  <a:lnTo>
                    <a:pt x="432" y="78"/>
                  </a:lnTo>
                  <a:lnTo>
                    <a:pt x="444" y="80"/>
                  </a:lnTo>
                  <a:close/>
                  <a:moveTo>
                    <a:pt x="296" y="786"/>
                  </a:moveTo>
                  <a:lnTo>
                    <a:pt x="296" y="786"/>
                  </a:lnTo>
                  <a:lnTo>
                    <a:pt x="290" y="806"/>
                  </a:lnTo>
                  <a:lnTo>
                    <a:pt x="288" y="812"/>
                  </a:lnTo>
                  <a:lnTo>
                    <a:pt x="288" y="818"/>
                  </a:lnTo>
                  <a:lnTo>
                    <a:pt x="292" y="822"/>
                  </a:lnTo>
                  <a:lnTo>
                    <a:pt x="300" y="826"/>
                  </a:lnTo>
                  <a:lnTo>
                    <a:pt x="310" y="828"/>
                  </a:lnTo>
                  <a:lnTo>
                    <a:pt x="324" y="828"/>
                  </a:lnTo>
                  <a:lnTo>
                    <a:pt x="340" y="828"/>
                  </a:lnTo>
                  <a:lnTo>
                    <a:pt x="338" y="830"/>
                  </a:lnTo>
                  <a:lnTo>
                    <a:pt x="334" y="832"/>
                  </a:lnTo>
                  <a:lnTo>
                    <a:pt x="330" y="836"/>
                  </a:lnTo>
                  <a:lnTo>
                    <a:pt x="330" y="842"/>
                  </a:lnTo>
                  <a:lnTo>
                    <a:pt x="330" y="844"/>
                  </a:lnTo>
                  <a:lnTo>
                    <a:pt x="332" y="848"/>
                  </a:lnTo>
                  <a:lnTo>
                    <a:pt x="344" y="856"/>
                  </a:lnTo>
                  <a:lnTo>
                    <a:pt x="350" y="858"/>
                  </a:lnTo>
                  <a:lnTo>
                    <a:pt x="356" y="860"/>
                  </a:lnTo>
                  <a:lnTo>
                    <a:pt x="360" y="860"/>
                  </a:lnTo>
                  <a:lnTo>
                    <a:pt x="362" y="858"/>
                  </a:lnTo>
                  <a:lnTo>
                    <a:pt x="364" y="852"/>
                  </a:lnTo>
                  <a:lnTo>
                    <a:pt x="366" y="844"/>
                  </a:lnTo>
                  <a:lnTo>
                    <a:pt x="366" y="838"/>
                  </a:lnTo>
                  <a:lnTo>
                    <a:pt x="366" y="834"/>
                  </a:lnTo>
                  <a:lnTo>
                    <a:pt x="368" y="832"/>
                  </a:lnTo>
                  <a:lnTo>
                    <a:pt x="370" y="834"/>
                  </a:lnTo>
                  <a:lnTo>
                    <a:pt x="376" y="842"/>
                  </a:lnTo>
                  <a:lnTo>
                    <a:pt x="380" y="848"/>
                  </a:lnTo>
                  <a:lnTo>
                    <a:pt x="382" y="852"/>
                  </a:lnTo>
                  <a:lnTo>
                    <a:pt x="382" y="856"/>
                  </a:lnTo>
                  <a:lnTo>
                    <a:pt x="382" y="860"/>
                  </a:lnTo>
                  <a:lnTo>
                    <a:pt x="378" y="866"/>
                  </a:lnTo>
                  <a:lnTo>
                    <a:pt x="372" y="870"/>
                  </a:lnTo>
                  <a:lnTo>
                    <a:pt x="368" y="874"/>
                  </a:lnTo>
                  <a:lnTo>
                    <a:pt x="368" y="876"/>
                  </a:lnTo>
                  <a:lnTo>
                    <a:pt x="374" y="878"/>
                  </a:lnTo>
                  <a:lnTo>
                    <a:pt x="388" y="880"/>
                  </a:lnTo>
                  <a:lnTo>
                    <a:pt x="404" y="882"/>
                  </a:lnTo>
                  <a:lnTo>
                    <a:pt x="414" y="884"/>
                  </a:lnTo>
                  <a:lnTo>
                    <a:pt x="420" y="886"/>
                  </a:lnTo>
                  <a:lnTo>
                    <a:pt x="424" y="888"/>
                  </a:lnTo>
                  <a:lnTo>
                    <a:pt x="426" y="890"/>
                  </a:lnTo>
                  <a:lnTo>
                    <a:pt x="430" y="892"/>
                  </a:lnTo>
                  <a:lnTo>
                    <a:pt x="450" y="892"/>
                  </a:lnTo>
                  <a:lnTo>
                    <a:pt x="464" y="894"/>
                  </a:lnTo>
                  <a:lnTo>
                    <a:pt x="476" y="894"/>
                  </a:lnTo>
                  <a:lnTo>
                    <a:pt x="494" y="898"/>
                  </a:lnTo>
                  <a:lnTo>
                    <a:pt x="504" y="898"/>
                  </a:lnTo>
                  <a:lnTo>
                    <a:pt x="514" y="898"/>
                  </a:lnTo>
                  <a:lnTo>
                    <a:pt x="524" y="894"/>
                  </a:lnTo>
                  <a:lnTo>
                    <a:pt x="536" y="888"/>
                  </a:lnTo>
                  <a:lnTo>
                    <a:pt x="540" y="886"/>
                  </a:lnTo>
                  <a:lnTo>
                    <a:pt x="540" y="884"/>
                  </a:lnTo>
                  <a:lnTo>
                    <a:pt x="540" y="882"/>
                  </a:lnTo>
                  <a:lnTo>
                    <a:pt x="538" y="878"/>
                  </a:lnTo>
                  <a:lnTo>
                    <a:pt x="530" y="874"/>
                  </a:lnTo>
                  <a:lnTo>
                    <a:pt x="518" y="868"/>
                  </a:lnTo>
                  <a:lnTo>
                    <a:pt x="506" y="862"/>
                  </a:lnTo>
                  <a:lnTo>
                    <a:pt x="494" y="854"/>
                  </a:lnTo>
                  <a:lnTo>
                    <a:pt x="484" y="846"/>
                  </a:lnTo>
                  <a:lnTo>
                    <a:pt x="476" y="836"/>
                  </a:lnTo>
                  <a:lnTo>
                    <a:pt x="472" y="826"/>
                  </a:lnTo>
                  <a:lnTo>
                    <a:pt x="466" y="820"/>
                  </a:lnTo>
                  <a:lnTo>
                    <a:pt x="456" y="808"/>
                  </a:lnTo>
                  <a:lnTo>
                    <a:pt x="452" y="800"/>
                  </a:lnTo>
                  <a:lnTo>
                    <a:pt x="448" y="792"/>
                  </a:lnTo>
                  <a:lnTo>
                    <a:pt x="448" y="780"/>
                  </a:lnTo>
                  <a:lnTo>
                    <a:pt x="450" y="764"/>
                  </a:lnTo>
                  <a:lnTo>
                    <a:pt x="452" y="756"/>
                  </a:lnTo>
                  <a:lnTo>
                    <a:pt x="456" y="748"/>
                  </a:lnTo>
                  <a:lnTo>
                    <a:pt x="464" y="736"/>
                  </a:lnTo>
                  <a:lnTo>
                    <a:pt x="474" y="726"/>
                  </a:lnTo>
                  <a:lnTo>
                    <a:pt x="482" y="718"/>
                  </a:lnTo>
                  <a:lnTo>
                    <a:pt x="490" y="712"/>
                  </a:lnTo>
                  <a:lnTo>
                    <a:pt x="492" y="706"/>
                  </a:lnTo>
                  <a:lnTo>
                    <a:pt x="492" y="704"/>
                  </a:lnTo>
                  <a:lnTo>
                    <a:pt x="488" y="702"/>
                  </a:lnTo>
                  <a:lnTo>
                    <a:pt x="478" y="696"/>
                  </a:lnTo>
                  <a:lnTo>
                    <a:pt x="458" y="688"/>
                  </a:lnTo>
                  <a:lnTo>
                    <a:pt x="454" y="686"/>
                  </a:lnTo>
                  <a:lnTo>
                    <a:pt x="448" y="686"/>
                  </a:lnTo>
                  <a:lnTo>
                    <a:pt x="434" y="688"/>
                  </a:lnTo>
                  <a:lnTo>
                    <a:pt x="400" y="694"/>
                  </a:lnTo>
                  <a:lnTo>
                    <a:pt x="378" y="698"/>
                  </a:lnTo>
                  <a:lnTo>
                    <a:pt x="366" y="700"/>
                  </a:lnTo>
                  <a:lnTo>
                    <a:pt x="362" y="702"/>
                  </a:lnTo>
                  <a:lnTo>
                    <a:pt x="362" y="706"/>
                  </a:lnTo>
                  <a:lnTo>
                    <a:pt x="362" y="708"/>
                  </a:lnTo>
                  <a:lnTo>
                    <a:pt x="362" y="712"/>
                  </a:lnTo>
                  <a:lnTo>
                    <a:pt x="358" y="716"/>
                  </a:lnTo>
                  <a:lnTo>
                    <a:pt x="348" y="720"/>
                  </a:lnTo>
                  <a:lnTo>
                    <a:pt x="338" y="726"/>
                  </a:lnTo>
                  <a:lnTo>
                    <a:pt x="334" y="730"/>
                  </a:lnTo>
                  <a:lnTo>
                    <a:pt x="332" y="734"/>
                  </a:lnTo>
                  <a:lnTo>
                    <a:pt x="334" y="736"/>
                  </a:lnTo>
                  <a:lnTo>
                    <a:pt x="338" y="742"/>
                  </a:lnTo>
                  <a:lnTo>
                    <a:pt x="340" y="746"/>
                  </a:lnTo>
                  <a:lnTo>
                    <a:pt x="340" y="754"/>
                  </a:lnTo>
                  <a:lnTo>
                    <a:pt x="336" y="764"/>
                  </a:lnTo>
                  <a:lnTo>
                    <a:pt x="330" y="774"/>
                  </a:lnTo>
                  <a:lnTo>
                    <a:pt x="324" y="778"/>
                  </a:lnTo>
                  <a:lnTo>
                    <a:pt x="320" y="778"/>
                  </a:lnTo>
                  <a:lnTo>
                    <a:pt x="316" y="776"/>
                  </a:lnTo>
                  <a:lnTo>
                    <a:pt x="310" y="774"/>
                  </a:lnTo>
                  <a:lnTo>
                    <a:pt x="306" y="774"/>
                  </a:lnTo>
                  <a:lnTo>
                    <a:pt x="302" y="778"/>
                  </a:lnTo>
                  <a:lnTo>
                    <a:pt x="296" y="786"/>
                  </a:lnTo>
                  <a:close/>
                  <a:moveTo>
                    <a:pt x="282" y="168"/>
                  </a:moveTo>
                  <a:lnTo>
                    <a:pt x="282" y="168"/>
                  </a:lnTo>
                  <a:lnTo>
                    <a:pt x="290" y="168"/>
                  </a:lnTo>
                  <a:lnTo>
                    <a:pt x="294" y="164"/>
                  </a:lnTo>
                  <a:lnTo>
                    <a:pt x="292" y="160"/>
                  </a:lnTo>
                  <a:lnTo>
                    <a:pt x="288" y="158"/>
                  </a:lnTo>
                  <a:lnTo>
                    <a:pt x="280" y="154"/>
                  </a:lnTo>
                  <a:lnTo>
                    <a:pt x="270" y="152"/>
                  </a:lnTo>
                  <a:lnTo>
                    <a:pt x="260" y="152"/>
                  </a:lnTo>
                  <a:lnTo>
                    <a:pt x="250" y="156"/>
                  </a:lnTo>
                  <a:lnTo>
                    <a:pt x="242" y="160"/>
                  </a:lnTo>
                  <a:lnTo>
                    <a:pt x="240" y="164"/>
                  </a:lnTo>
                  <a:lnTo>
                    <a:pt x="240" y="166"/>
                  </a:lnTo>
                  <a:lnTo>
                    <a:pt x="244" y="166"/>
                  </a:lnTo>
                  <a:lnTo>
                    <a:pt x="260" y="168"/>
                  </a:lnTo>
                  <a:lnTo>
                    <a:pt x="282" y="168"/>
                  </a:lnTo>
                  <a:close/>
                  <a:moveTo>
                    <a:pt x="416" y="96"/>
                  </a:moveTo>
                  <a:lnTo>
                    <a:pt x="416" y="96"/>
                  </a:lnTo>
                  <a:lnTo>
                    <a:pt x="424" y="96"/>
                  </a:lnTo>
                  <a:lnTo>
                    <a:pt x="428" y="100"/>
                  </a:lnTo>
                  <a:lnTo>
                    <a:pt x="432" y="100"/>
                  </a:lnTo>
                  <a:lnTo>
                    <a:pt x="440" y="100"/>
                  </a:lnTo>
                  <a:lnTo>
                    <a:pt x="452" y="98"/>
                  </a:lnTo>
                  <a:lnTo>
                    <a:pt x="464" y="96"/>
                  </a:lnTo>
                  <a:lnTo>
                    <a:pt x="470" y="96"/>
                  </a:lnTo>
                  <a:lnTo>
                    <a:pt x="472" y="96"/>
                  </a:lnTo>
                  <a:lnTo>
                    <a:pt x="470" y="94"/>
                  </a:lnTo>
                  <a:lnTo>
                    <a:pt x="452" y="88"/>
                  </a:lnTo>
                  <a:lnTo>
                    <a:pt x="440" y="86"/>
                  </a:lnTo>
                  <a:lnTo>
                    <a:pt x="436" y="86"/>
                  </a:lnTo>
                  <a:lnTo>
                    <a:pt x="432" y="88"/>
                  </a:lnTo>
                  <a:lnTo>
                    <a:pt x="428" y="90"/>
                  </a:lnTo>
                  <a:lnTo>
                    <a:pt x="424" y="90"/>
                  </a:lnTo>
                  <a:lnTo>
                    <a:pt x="414" y="88"/>
                  </a:lnTo>
                  <a:lnTo>
                    <a:pt x="404" y="86"/>
                  </a:lnTo>
                  <a:lnTo>
                    <a:pt x="398" y="88"/>
                  </a:lnTo>
                  <a:lnTo>
                    <a:pt x="396" y="92"/>
                  </a:lnTo>
                  <a:lnTo>
                    <a:pt x="394" y="94"/>
                  </a:lnTo>
                  <a:lnTo>
                    <a:pt x="398" y="96"/>
                  </a:lnTo>
                  <a:lnTo>
                    <a:pt x="416" y="96"/>
                  </a:lnTo>
                  <a:close/>
                  <a:moveTo>
                    <a:pt x="406" y="124"/>
                  </a:moveTo>
                  <a:lnTo>
                    <a:pt x="406" y="124"/>
                  </a:lnTo>
                  <a:lnTo>
                    <a:pt x="414" y="122"/>
                  </a:lnTo>
                  <a:lnTo>
                    <a:pt x="416" y="122"/>
                  </a:lnTo>
                  <a:lnTo>
                    <a:pt x="416" y="120"/>
                  </a:lnTo>
                  <a:lnTo>
                    <a:pt x="414" y="116"/>
                  </a:lnTo>
                  <a:lnTo>
                    <a:pt x="408" y="112"/>
                  </a:lnTo>
                  <a:lnTo>
                    <a:pt x="402" y="110"/>
                  </a:lnTo>
                  <a:lnTo>
                    <a:pt x="394" y="110"/>
                  </a:lnTo>
                  <a:lnTo>
                    <a:pt x="390" y="112"/>
                  </a:lnTo>
                  <a:lnTo>
                    <a:pt x="392" y="114"/>
                  </a:lnTo>
                  <a:lnTo>
                    <a:pt x="392" y="116"/>
                  </a:lnTo>
                  <a:lnTo>
                    <a:pt x="392" y="118"/>
                  </a:lnTo>
                  <a:lnTo>
                    <a:pt x="390" y="120"/>
                  </a:lnTo>
                  <a:lnTo>
                    <a:pt x="390" y="122"/>
                  </a:lnTo>
                  <a:lnTo>
                    <a:pt x="392" y="124"/>
                  </a:lnTo>
                  <a:lnTo>
                    <a:pt x="406" y="124"/>
                  </a:lnTo>
                  <a:close/>
                  <a:moveTo>
                    <a:pt x="382" y="134"/>
                  </a:moveTo>
                  <a:lnTo>
                    <a:pt x="382" y="134"/>
                  </a:lnTo>
                  <a:lnTo>
                    <a:pt x="372" y="126"/>
                  </a:lnTo>
                  <a:lnTo>
                    <a:pt x="368" y="124"/>
                  </a:lnTo>
                  <a:lnTo>
                    <a:pt x="364" y="124"/>
                  </a:lnTo>
                  <a:lnTo>
                    <a:pt x="350" y="128"/>
                  </a:lnTo>
                  <a:lnTo>
                    <a:pt x="330" y="136"/>
                  </a:lnTo>
                  <a:lnTo>
                    <a:pt x="328" y="138"/>
                  </a:lnTo>
                  <a:lnTo>
                    <a:pt x="326" y="140"/>
                  </a:lnTo>
                  <a:lnTo>
                    <a:pt x="328" y="142"/>
                  </a:lnTo>
                  <a:lnTo>
                    <a:pt x="332" y="144"/>
                  </a:lnTo>
                  <a:lnTo>
                    <a:pt x="342" y="146"/>
                  </a:lnTo>
                  <a:lnTo>
                    <a:pt x="356" y="148"/>
                  </a:lnTo>
                  <a:lnTo>
                    <a:pt x="370" y="148"/>
                  </a:lnTo>
                  <a:lnTo>
                    <a:pt x="380" y="146"/>
                  </a:lnTo>
                  <a:lnTo>
                    <a:pt x="384" y="144"/>
                  </a:lnTo>
                  <a:lnTo>
                    <a:pt x="386" y="142"/>
                  </a:lnTo>
                  <a:lnTo>
                    <a:pt x="386" y="138"/>
                  </a:lnTo>
                  <a:lnTo>
                    <a:pt x="382" y="134"/>
                  </a:lnTo>
                  <a:close/>
                  <a:moveTo>
                    <a:pt x="46" y="116"/>
                  </a:moveTo>
                  <a:lnTo>
                    <a:pt x="46" y="116"/>
                  </a:lnTo>
                  <a:lnTo>
                    <a:pt x="54" y="118"/>
                  </a:lnTo>
                  <a:lnTo>
                    <a:pt x="62" y="114"/>
                  </a:lnTo>
                  <a:lnTo>
                    <a:pt x="66" y="114"/>
                  </a:lnTo>
                  <a:lnTo>
                    <a:pt x="70" y="116"/>
                  </a:lnTo>
                  <a:lnTo>
                    <a:pt x="76" y="120"/>
                  </a:lnTo>
                  <a:lnTo>
                    <a:pt x="80" y="122"/>
                  </a:lnTo>
                  <a:lnTo>
                    <a:pt x="86" y="124"/>
                  </a:lnTo>
                  <a:lnTo>
                    <a:pt x="92" y="122"/>
                  </a:lnTo>
                  <a:lnTo>
                    <a:pt x="102" y="118"/>
                  </a:lnTo>
                  <a:lnTo>
                    <a:pt x="118" y="110"/>
                  </a:lnTo>
                  <a:lnTo>
                    <a:pt x="130" y="104"/>
                  </a:lnTo>
                  <a:lnTo>
                    <a:pt x="134" y="102"/>
                  </a:lnTo>
                  <a:lnTo>
                    <a:pt x="140" y="102"/>
                  </a:lnTo>
                  <a:lnTo>
                    <a:pt x="148" y="102"/>
                  </a:lnTo>
                  <a:lnTo>
                    <a:pt x="158" y="106"/>
                  </a:lnTo>
                  <a:lnTo>
                    <a:pt x="168" y="108"/>
                  </a:lnTo>
                  <a:lnTo>
                    <a:pt x="176" y="108"/>
                  </a:lnTo>
                  <a:lnTo>
                    <a:pt x="180" y="108"/>
                  </a:lnTo>
                  <a:lnTo>
                    <a:pt x="182" y="106"/>
                  </a:lnTo>
                  <a:lnTo>
                    <a:pt x="182" y="102"/>
                  </a:lnTo>
                  <a:lnTo>
                    <a:pt x="176" y="98"/>
                  </a:lnTo>
                  <a:lnTo>
                    <a:pt x="166" y="94"/>
                  </a:lnTo>
                  <a:lnTo>
                    <a:pt x="150" y="90"/>
                  </a:lnTo>
                  <a:lnTo>
                    <a:pt x="126" y="86"/>
                  </a:lnTo>
                  <a:lnTo>
                    <a:pt x="122" y="88"/>
                  </a:lnTo>
                  <a:lnTo>
                    <a:pt x="120" y="90"/>
                  </a:lnTo>
                  <a:lnTo>
                    <a:pt x="118" y="92"/>
                  </a:lnTo>
                  <a:lnTo>
                    <a:pt x="114" y="94"/>
                  </a:lnTo>
                  <a:lnTo>
                    <a:pt x="108" y="98"/>
                  </a:lnTo>
                  <a:lnTo>
                    <a:pt x="96" y="100"/>
                  </a:lnTo>
                  <a:lnTo>
                    <a:pt x="64" y="104"/>
                  </a:lnTo>
                  <a:lnTo>
                    <a:pt x="42" y="108"/>
                  </a:lnTo>
                  <a:lnTo>
                    <a:pt x="34" y="110"/>
                  </a:lnTo>
                  <a:lnTo>
                    <a:pt x="32" y="112"/>
                  </a:lnTo>
                  <a:lnTo>
                    <a:pt x="36" y="114"/>
                  </a:lnTo>
                  <a:lnTo>
                    <a:pt x="46" y="116"/>
                  </a:lnTo>
                  <a:close/>
                  <a:moveTo>
                    <a:pt x="202" y="100"/>
                  </a:moveTo>
                  <a:lnTo>
                    <a:pt x="202" y="100"/>
                  </a:lnTo>
                  <a:lnTo>
                    <a:pt x="210" y="106"/>
                  </a:lnTo>
                  <a:lnTo>
                    <a:pt x="210" y="108"/>
                  </a:lnTo>
                  <a:lnTo>
                    <a:pt x="210" y="112"/>
                  </a:lnTo>
                  <a:lnTo>
                    <a:pt x="208" y="114"/>
                  </a:lnTo>
                  <a:lnTo>
                    <a:pt x="202" y="116"/>
                  </a:lnTo>
                  <a:lnTo>
                    <a:pt x="178" y="118"/>
                  </a:lnTo>
                  <a:lnTo>
                    <a:pt x="152" y="118"/>
                  </a:lnTo>
                  <a:lnTo>
                    <a:pt x="136" y="118"/>
                  </a:lnTo>
                  <a:lnTo>
                    <a:pt x="132" y="120"/>
                  </a:lnTo>
                  <a:lnTo>
                    <a:pt x="134" y="124"/>
                  </a:lnTo>
                  <a:lnTo>
                    <a:pt x="140" y="126"/>
                  </a:lnTo>
                  <a:lnTo>
                    <a:pt x="146" y="132"/>
                  </a:lnTo>
                  <a:lnTo>
                    <a:pt x="146" y="134"/>
                  </a:lnTo>
                  <a:lnTo>
                    <a:pt x="144" y="134"/>
                  </a:lnTo>
                  <a:lnTo>
                    <a:pt x="124" y="132"/>
                  </a:lnTo>
                  <a:lnTo>
                    <a:pt x="110" y="132"/>
                  </a:lnTo>
                  <a:lnTo>
                    <a:pt x="100" y="132"/>
                  </a:lnTo>
                  <a:lnTo>
                    <a:pt x="96" y="134"/>
                  </a:lnTo>
                  <a:lnTo>
                    <a:pt x="96" y="136"/>
                  </a:lnTo>
                  <a:lnTo>
                    <a:pt x="100" y="140"/>
                  </a:lnTo>
                  <a:lnTo>
                    <a:pt x="110" y="144"/>
                  </a:lnTo>
                  <a:lnTo>
                    <a:pt x="118" y="148"/>
                  </a:lnTo>
                  <a:lnTo>
                    <a:pt x="122" y="148"/>
                  </a:lnTo>
                  <a:lnTo>
                    <a:pt x="128" y="144"/>
                  </a:lnTo>
                  <a:lnTo>
                    <a:pt x="140" y="140"/>
                  </a:lnTo>
                  <a:lnTo>
                    <a:pt x="146" y="140"/>
                  </a:lnTo>
                  <a:lnTo>
                    <a:pt x="148" y="140"/>
                  </a:lnTo>
                  <a:lnTo>
                    <a:pt x="146" y="146"/>
                  </a:lnTo>
                  <a:lnTo>
                    <a:pt x="146" y="150"/>
                  </a:lnTo>
                  <a:lnTo>
                    <a:pt x="146" y="152"/>
                  </a:lnTo>
                  <a:lnTo>
                    <a:pt x="150" y="152"/>
                  </a:lnTo>
                  <a:lnTo>
                    <a:pt x="160" y="150"/>
                  </a:lnTo>
                  <a:lnTo>
                    <a:pt x="168" y="148"/>
                  </a:lnTo>
                  <a:lnTo>
                    <a:pt x="176" y="146"/>
                  </a:lnTo>
                  <a:lnTo>
                    <a:pt x="184" y="148"/>
                  </a:lnTo>
                  <a:lnTo>
                    <a:pt x="190" y="150"/>
                  </a:lnTo>
                  <a:lnTo>
                    <a:pt x="192" y="150"/>
                  </a:lnTo>
                  <a:lnTo>
                    <a:pt x="196" y="148"/>
                  </a:lnTo>
                  <a:lnTo>
                    <a:pt x="200" y="144"/>
                  </a:lnTo>
                  <a:lnTo>
                    <a:pt x="198" y="142"/>
                  </a:lnTo>
                  <a:lnTo>
                    <a:pt x="192" y="140"/>
                  </a:lnTo>
                  <a:lnTo>
                    <a:pt x="184" y="138"/>
                  </a:lnTo>
                  <a:lnTo>
                    <a:pt x="184" y="136"/>
                  </a:lnTo>
                  <a:lnTo>
                    <a:pt x="186" y="134"/>
                  </a:lnTo>
                  <a:lnTo>
                    <a:pt x="196" y="130"/>
                  </a:lnTo>
                  <a:lnTo>
                    <a:pt x="206" y="130"/>
                  </a:lnTo>
                  <a:lnTo>
                    <a:pt x="216" y="128"/>
                  </a:lnTo>
                  <a:lnTo>
                    <a:pt x="220" y="126"/>
                  </a:lnTo>
                  <a:lnTo>
                    <a:pt x="226" y="124"/>
                  </a:lnTo>
                  <a:lnTo>
                    <a:pt x="230" y="120"/>
                  </a:lnTo>
                  <a:lnTo>
                    <a:pt x="234" y="118"/>
                  </a:lnTo>
                  <a:lnTo>
                    <a:pt x="246" y="118"/>
                  </a:lnTo>
                  <a:lnTo>
                    <a:pt x="262" y="118"/>
                  </a:lnTo>
                  <a:lnTo>
                    <a:pt x="286" y="114"/>
                  </a:lnTo>
                  <a:lnTo>
                    <a:pt x="298" y="112"/>
                  </a:lnTo>
                  <a:lnTo>
                    <a:pt x="304" y="108"/>
                  </a:lnTo>
                  <a:lnTo>
                    <a:pt x="306" y="104"/>
                  </a:lnTo>
                  <a:lnTo>
                    <a:pt x="304" y="102"/>
                  </a:lnTo>
                  <a:lnTo>
                    <a:pt x="298" y="98"/>
                  </a:lnTo>
                  <a:lnTo>
                    <a:pt x="290" y="96"/>
                  </a:lnTo>
                  <a:lnTo>
                    <a:pt x="280" y="96"/>
                  </a:lnTo>
                  <a:lnTo>
                    <a:pt x="270" y="98"/>
                  </a:lnTo>
                  <a:lnTo>
                    <a:pt x="256" y="98"/>
                  </a:lnTo>
                  <a:lnTo>
                    <a:pt x="258" y="98"/>
                  </a:lnTo>
                  <a:lnTo>
                    <a:pt x="260" y="96"/>
                  </a:lnTo>
                  <a:lnTo>
                    <a:pt x="262" y="94"/>
                  </a:lnTo>
                  <a:lnTo>
                    <a:pt x="262" y="92"/>
                  </a:lnTo>
                  <a:lnTo>
                    <a:pt x="258" y="90"/>
                  </a:lnTo>
                  <a:lnTo>
                    <a:pt x="250" y="88"/>
                  </a:lnTo>
                  <a:lnTo>
                    <a:pt x="228" y="88"/>
                  </a:lnTo>
                  <a:lnTo>
                    <a:pt x="208" y="90"/>
                  </a:lnTo>
                  <a:lnTo>
                    <a:pt x="202" y="92"/>
                  </a:lnTo>
                  <a:lnTo>
                    <a:pt x="198" y="96"/>
                  </a:lnTo>
                  <a:lnTo>
                    <a:pt x="198" y="98"/>
                  </a:lnTo>
                  <a:lnTo>
                    <a:pt x="202" y="100"/>
                  </a:lnTo>
                  <a:close/>
                  <a:moveTo>
                    <a:pt x="272" y="70"/>
                  </a:moveTo>
                  <a:lnTo>
                    <a:pt x="272" y="70"/>
                  </a:lnTo>
                  <a:lnTo>
                    <a:pt x="276" y="66"/>
                  </a:lnTo>
                  <a:lnTo>
                    <a:pt x="278" y="64"/>
                  </a:lnTo>
                  <a:lnTo>
                    <a:pt x="276" y="62"/>
                  </a:lnTo>
                  <a:lnTo>
                    <a:pt x="274" y="60"/>
                  </a:lnTo>
                  <a:lnTo>
                    <a:pt x="268" y="60"/>
                  </a:lnTo>
                  <a:lnTo>
                    <a:pt x="262" y="60"/>
                  </a:lnTo>
                  <a:lnTo>
                    <a:pt x="256" y="62"/>
                  </a:lnTo>
                  <a:lnTo>
                    <a:pt x="250" y="66"/>
                  </a:lnTo>
                  <a:lnTo>
                    <a:pt x="246" y="72"/>
                  </a:lnTo>
                  <a:lnTo>
                    <a:pt x="244" y="76"/>
                  </a:lnTo>
                  <a:lnTo>
                    <a:pt x="244" y="78"/>
                  </a:lnTo>
                  <a:lnTo>
                    <a:pt x="248" y="78"/>
                  </a:lnTo>
                  <a:lnTo>
                    <a:pt x="258" y="74"/>
                  </a:lnTo>
                  <a:lnTo>
                    <a:pt x="272" y="70"/>
                  </a:lnTo>
                  <a:close/>
                  <a:moveTo>
                    <a:pt x="228" y="142"/>
                  </a:moveTo>
                  <a:lnTo>
                    <a:pt x="228" y="142"/>
                  </a:lnTo>
                  <a:lnTo>
                    <a:pt x="222" y="144"/>
                  </a:lnTo>
                  <a:lnTo>
                    <a:pt x="220" y="146"/>
                  </a:lnTo>
                  <a:lnTo>
                    <a:pt x="218" y="150"/>
                  </a:lnTo>
                  <a:lnTo>
                    <a:pt x="220" y="152"/>
                  </a:lnTo>
                  <a:lnTo>
                    <a:pt x="222" y="156"/>
                  </a:lnTo>
                  <a:lnTo>
                    <a:pt x="226" y="156"/>
                  </a:lnTo>
                  <a:lnTo>
                    <a:pt x="232" y="156"/>
                  </a:lnTo>
                  <a:lnTo>
                    <a:pt x="238" y="154"/>
                  </a:lnTo>
                  <a:lnTo>
                    <a:pt x="246" y="148"/>
                  </a:lnTo>
                  <a:lnTo>
                    <a:pt x="248" y="144"/>
                  </a:lnTo>
                  <a:lnTo>
                    <a:pt x="248" y="142"/>
                  </a:lnTo>
                  <a:lnTo>
                    <a:pt x="246" y="140"/>
                  </a:lnTo>
                  <a:lnTo>
                    <a:pt x="242" y="138"/>
                  </a:lnTo>
                  <a:lnTo>
                    <a:pt x="228" y="142"/>
                  </a:lnTo>
                  <a:close/>
                  <a:moveTo>
                    <a:pt x="790" y="22"/>
                  </a:moveTo>
                  <a:lnTo>
                    <a:pt x="790" y="22"/>
                  </a:lnTo>
                  <a:lnTo>
                    <a:pt x="792" y="20"/>
                  </a:lnTo>
                  <a:lnTo>
                    <a:pt x="792" y="18"/>
                  </a:lnTo>
                  <a:lnTo>
                    <a:pt x="788" y="14"/>
                  </a:lnTo>
                  <a:lnTo>
                    <a:pt x="780" y="12"/>
                  </a:lnTo>
                  <a:lnTo>
                    <a:pt x="770" y="12"/>
                  </a:lnTo>
                  <a:lnTo>
                    <a:pt x="748" y="12"/>
                  </a:lnTo>
                  <a:lnTo>
                    <a:pt x="736" y="14"/>
                  </a:lnTo>
                  <a:lnTo>
                    <a:pt x="728" y="18"/>
                  </a:lnTo>
                  <a:lnTo>
                    <a:pt x="726" y="18"/>
                  </a:lnTo>
                  <a:lnTo>
                    <a:pt x="726" y="20"/>
                  </a:lnTo>
                  <a:lnTo>
                    <a:pt x="730" y="22"/>
                  </a:lnTo>
                  <a:lnTo>
                    <a:pt x="750" y="26"/>
                  </a:lnTo>
                  <a:lnTo>
                    <a:pt x="774" y="26"/>
                  </a:lnTo>
                  <a:lnTo>
                    <a:pt x="784" y="26"/>
                  </a:lnTo>
                  <a:lnTo>
                    <a:pt x="790" y="22"/>
                  </a:lnTo>
                  <a:close/>
                  <a:moveTo>
                    <a:pt x="596" y="154"/>
                  </a:moveTo>
                  <a:lnTo>
                    <a:pt x="596" y="154"/>
                  </a:lnTo>
                  <a:lnTo>
                    <a:pt x="588" y="158"/>
                  </a:lnTo>
                  <a:lnTo>
                    <a:pt x="586" y="160"/>
                  </a:lnTo>
                  <a:lnTo>
                    <a:pt x="588" y="162"/>
                  </a:lnTo>
                  <a:lnTo>
                    <a:pt x="592" y="164"/>
                  </a:lnTo>
                  <a:lnTo>
                    <a:pt x="608" y="164"/>
                  </a:lnTo>
                  <a:lnTo>
                    <a:pt x="628" y="164"/>
                  </a:lnTo>
                  <a:lnTo>
                    <a:pt x="634" y="162"/>
                  </a:lnTo>
                  <a:lnTo>
                    <a:pt x="638" y="160"/>
                  </a:lnTo>
                  <a:lnTo>
                    <a:pt x="636" y="158"/>
                  </a:lnTo>
                  <a:lnTo>
                    <a:pt x="632" y="156"/>
                  </a:lnTo>
                  <a:lnTo>
                    <a:pt x="618" y="152"/>
                  </a:lnTo>
                  <a:lnTo>
                    <a:pt x="610" y="152"/>
                  </a:lnTo>
                  <a:lnTo>
                    <a:pt x="600" y="154"/>
                  </a:lnTo>
                  <a:lnTo>
                    <a:pt x="596" y="154"/>
                  </a:lnTo>
                  <a:close/>
                  <a:moveTo>
                    <a:pt x="482" y="98"/>
                  </a:moveTo>
                  <a:lnTo>
                    <a:pt x="482" y="98"/>
                  </a:lnTo>
                  <a:lnTo>
                    <a:pt x="460" y="100"/>
                  </a:lnTo>
                  <a:lnTo>
                    <a:pt x="458" y="102"/>
                  </a:lnTo>
                  <a:lnTo>
                    <a:pt x="462" y="106"/>
                  </a:lnTo>
                  <a:lnTo>
                    <a:pt x="470" y="108"/>
                  </a:lnTo>
                  <a:lnTo>
                    <a:pt x="482" y="108"/>
                  </a:lnTo>
                  <a:lnTo>
                    <a:pt x="510" y="106"/>
                  </a:lnTo>
                  <a:lnTo>
                    <a:pt x="514" y="106"/>
                  </a:lnTo>
                  <a:lnTo>
                    <a:pt x="516" y="104"/>
                  </a:lnTo>
                  <a:lnTo>
                    <a:pt x="508" y="100"/>
                  </a:lnTo>
                  <a:lnTo>
                    <a:pt x="496" y="98"/>
                  </a:lnTo>
                  <a:lnTo>
                    <a:pt x="482" y="98"/>
                  </a:lnTo>
                  <a:close/>
                  <a:moveTo>
                    <a:pt x="796" y="100"/>
                  </a:moveTo>
                  <a:lnTo>
                    <a:pt x="796" y="100"/>
                  </a:lnTo>
                  <a:lnTo>
                    <a:pt x="822" y="96"/>
                  </a:lnTo>
                  <a:lnTo>
                    <a:pt x="842" y="92"/>
                  </a:lnTo>
                  <a:lnTo>
                    <a:pt x="848" y="90"/>
                  </a:lnTo>
                  <a:lnTo>
                    <a:pt x="854" y="88"/>
                  </a:lnTo>
                  <a:lnTo>
                    <a:pt x="856" y="84"/>
                  </a:lnTo>
                  <a:lnTo>
                    <a:pt x="858" y="78"/>
                  </a:lnTo>
                  <a:lnTo>
                    <a:pt x="856" y="70"/>
                  </a:lnTo>
                  <a:lnTo>
                    <a:pt x="852" y="66"/>
                  </a:lnTo>
                  <a:lnTo>
                    <a:pt x="844" y="62"/>
                  </a:lnTo>
                  <a:lnTo>
                    <a:pt x="836" y="60"/>
                  </a:lnTo>
                  <a:lnTo>
                    <a:pt x="828" y="60"/>
                  </a:lnTo>
                  <a:lnTo>
                    <a:pt x="820" y="60"/>
                  </a:lnTo>
                  <a:lnTo>
                    <a:pt x="812" y="62"/>
                  </a:lnTo>
                  <a:lnTo>
                    <a:pt x="806" y="66"/>
                  </a:lnTo>
                  <a:lnTo>
                    <a:pt x="800" y="70"/>
                  </a:lnTo>
                  <a:lnTo>
                    <a:pt x="796" y="72"/>
                  </a:lnTo>
                  <a:lnTo>
                    <a:pt x="784" y="74"/>
                  </a:lnTo>
                  <a:lnTo>
                    <a:pt x="768" y="76"/>
                  </a:lnTo>
                  <a:lnTo>
                    <a:pt x="758" y="80"/>
                  </a:lnTo>
                  <a:lnTo>
                    <a:pt x="748" y="86"/>
                  </a:lnTo>
                  <a:lnTo>
                    <a:pt x="742" y="90"/>
                  </a:lnTo>
                  <a:lnTo>
                    <a:pt x="740" y="94"/>
                  </a:lnTo>
                  <a:lnTo>
                    <a:pt x="742" y="98"/>
                  </a:lnTo>
                  <a:lnTo>
                    <a:pt x="748" y="100"/>
                  </a:lnTo>
                  <a:lnTo>
                    <a:pt x="758" y="102"/>
                  </a:lnTo>
                  <a:lnTo>
                    <a:pt x="768" y="102"/>
                  </a:lnTo>
                  <a:lnTo>
                    <a:pt x="796" y="100"/>
                  </a:lnTo>
                  <a:close/>
                  <a:moveTo>
                    <a:pt x="506" y="132"/>
                  </a:moveTo>
                  <a:lnTo>
                    <a:pt x="506" y="132"/>
                  </a:lnTo>
                  <a:lnTo>
                    <a:pt x="494" y="134"/>
                  </a:lnTo>
                  <a:lnTo>
                    <a:pt x="482" y="132"/>
                  </a:lnTo>
                  <a:lnTo>
                    <a:pt x="476" y="134"/>
                  </a:lnTo>
                  <a:lnTo>
                    <a:pt x="472" y="136"/>
                  </a:lnTo>
                  <a:lnTo>
                    <a:pt x="468" y="140"/>
                  </a:lnTo>
                  <a:lnTo>
                    <a:pt x="466" y="148"/>
                  </a:lnTo>
                  <a:lnTo>
                    <a:pt x="466" y="154"/>
                  </a:lnTo>
                  <a:lnTo>
                    <a:pt x="468" y="156"/>
                  </a:lnTo>
                  <a:lnTo>
                    <a:pt x="472" y="158"/>
                  </a:lnTo>
                  <a:lnTo>
                    <a:pt x="478" y="158"/>
                  </a:lnTo>
                  <a:lnTo>
                    <a:pt x="494" y="158"/>
                  </a:lnTo>
                  <a:lnTo>
                    <a:pt x="512" y="158"/>
                  </a:lnTo>
                  <a:lnTo>
                    <a:pt x="520" y="156"/>
                  </a:lnTo>
                  <a:lnTo>
                    <a:pt x="524" y="154"/>
                  </a:lnTo>
                  <a:lnTo>
                    <a:pt x="526" y="150"/>
                  </a:lnTo>
                  <a:lnTo>
                    <a:pt x="524" y="144"/>
                  </a:lnTo>
                  <a:lnTo>
                    <a:pt x="522" y="138"/>
                  </a:lnTo>
                  <a:lnTo>
                    <a:pt x="516" y="134"/>
                  </a:lnTo>
                  <a:lnTo>
                    <a:pt x="512" y="132"/>
                  </a:lnTo>
                  <a:lnTo>
                    <a:pt x="506" y="132"/>
                  </a:lnTo>
                  <a:close/>
                  <a:moveTo>
                    <a:pt x="456" y="58"/>
                  </a:moveTo>
                  <a:lnTo>
                    <a:pt x="456" y="58"/>
                  </a:lnTo>
                  <a:lnTo>
                    <a:pt x="460" y="58"/>
                  </a:lnTo>
                  <a:lnTo>
                    <a:pt x="464" y="58"/>
                  </a:lnTo>
                  <a:lnTo>
                    <a:pt x="470" y="58"/>
                  </a:lnTo>
                  <a:lnTo>
                    <a:pt x="480" y="58"/>
                  </a:lnTo>
                  <a:lnTo>
                    <a:pt x="486" y="58"/>
                  </a:lnTo>
                  <a:lnTo>
                    <a:pt x="492" y="62"/>
                  </a:lnTo>
                  <a:lnTo>
                    <a:pt x="496" y="64"/>
                  </a:lnTo>
                  <a:lnTo>
                    <a:pt x="500" y="64"/>
                  </a:lnTo>
                  <a:lnTo>
                    <a:pt x="508" y="60"/>
                  </a:lnTo>
                  <a:lnTo>
                    <a:pt x="524" y="56"/>
                  </a:lnTo>
                  <a:lnTo>
                    <a:pt x="548" y="52"/>
                  </a:lnTo>
                  <a:lnTo>
                    <a:pt x="552" y="52"/>
                  </a:lnTo>
                  <a:lnTo>
                    <a:pt x="550" y="50"/>
                  </a:lnTo>
                  <a:lnTo>
                    <a:pt x="540" y="48"/>
                  </a:lnTo>
                  <a:lnTo>
                    <a:pt x="498" y="44"/>
                  </a:lnTo>
                  <a:lnTo>
                    <a:pt x="492" y="44"/>
                  </a:lnTo>
                  <a:lnTo>
                    <a:pt x="488" y="44"/>
                  </a:lnTo>
                  <a:lnTo>
                    <a:pt x="488" y="46"/>
                  </a:lnTo>
                  <a:lnTo>
                    <a:pt x="490" y="48"/>
                  </a:lnTo>
                  <a:lnTo>
                    <a:pt x="494" y="52"/>
                  </a:lnTo>
                  <a:lnTo>
                    <a:pt x="492" y="54"/>
                  </a:lnTo>
                  <a:lnTo>
                    <a:pt x="488" y="54"/>
                  </a:lnTo>
                  <a:lnTo>
                    <a:pt x="462" y="52"/>
                  </a:lnTo>
                  <a:lnTo>
                    <a:pt x="454" y="54"/>
                  </a:lnTo>
                  <a:lnTo>
                    <a:pt x="454" y="56"/>
                  </a:lnTo>
                  <a:lnTo>
                    <a:pt x="456" y="58"/>
                  </a:lnTo>
                  <a:close/>
                  <a:moveTo>
                    <a:pt x="678" y="84"/>
                  </a:moveTo>
                  <a:lnTo>
                    <a:pt x="678" y="84"/>
                  </a:lnTo>
                  <a:lnTo>
                    <a:pt x="688" y="82"/>
                  </a:lnTo>
                  <a:lnTo>
                    <a:pt x="696" y="78"/>
                  </a:lnTo>
                  <a:lnTo>
                    <a:pt x="704" y="74"/>
                  </a:lnTo>
                  <a:lnTo>
                    <a:pt x="710" y="70"/>
                  </a:lnTo>
                  <a:lnTo>
                    <a:pt x="710" y="68"/>
                  </a:lnTo>
                  <a:lnTo>
                    <a:pt x="710" y="66"/>
                  </a:lnTo>
                  <a:lnTo>
                    <a:pt x="704" y="64"/>
                  </a:lnTo>
                  <a:lnTo>
                    <a:pt x="692" y="64"/>
                  </a:lnTo>
                  <a:lnTo>
                    <a:pt x="670" y="68"/>
                  </a:lnTo>
                  <a:lnTo>
                    <a:pt x="654" y="72"/>
                  </a:lnTo>
                  <a:lnTo>
                    <a:pt x="646" y="76"/>
                  </a:lnTo>
                  <a:lnTo>
                    <a:pt x="644" y="80"/>
                  </a:lnTo>
                  <a:lnTo>
                    <a:pt x="646" y="82"/>
                  </a:lnTo>
                  <a:lnTo>
                    <a:pt x="658" y="84"/>
                  </a:lnTo>
                  <a:lnTo>
                    <a:pt x="678" y="84"/>
                  </a:lnTo>
                  <a:close/>
                  <a:moveTo>
                    <a:pt x="568" y="44"/>
                  </a:moveTo>
                  <a:lnTo>
                    <a:pt x="568" y="44"/>
                  </a:lnTo>
                  <a:lnTo>
                    <a:pt x="580" y="44"/>
                  </a:lnTo>
                  <a:lnTo>
                    <a:pt x="582" y="44"/>
                  </a:lnTo>
                  <a:lnTo>
                    <a:pt x="580" y="42"/>
                  </a:lnTo>
                  <a:lnTo>
                    <a:pt x="570" y="38"/>
                  </a:lnTo>
                  <a:lnTo>
                    <a:pt x="556" y="34"/>
                  </a:lnTo>
                  <a:lnTo>
                    <a:pt x="544" y="30"/>
                  </a:lnTo>
                  <a:lnTo>
                    <a:pt x="536" y="28"/>
                  </a:lnTo>
                  <a:lnTo>
                    <a:pt x="528" y="30"/>
                  </a:lnTo>
                  <a:lnTo>
                    <a:pt x="518" y="34"/>
                  </a:lnTo>
                  <a:lnTo>
                    <a:pt x="510" y="38"/>
                  </a:lnTo>
                  <a:lnTo>
                    <a:pt x="508" y="40"/>
                  </a:lnTo>
                  <a:lnTo>
                    <a:pt x="510" y="40"/>
                  </a:lnTo>
                  <a:lnTo>
                    <a:pt x="520" y="40"/>
                  </a:lnTo>
                  <a:lnTo>
                    <a:pt x="542" y="42"/>
                  </a:lnTo>
                  <a:lnTo>
                    <a:pt x="568" y="44"/>
                  </a:lnTo>
                  <a:close/>
                  <a:moveTo>
                    <a:pt x="672" y="122"/>
                  </a:moveTo>
                  <a:lnTo>
                    <a:pt x="672" y="122"/>
                  </a:lnTo>
                  <a:lnTo>
                    <a:pt x="682" y="124"/>
                  </a:lnTo>
                  <a:lnTo>
                    <a:pt x="690" y="124"/>
                  </a:lnTo>
                  <a:lnTo>
                    <a:pt x="694" y="124"/>
                  </a:lnTo>
                  <a:lnTo>
                    <a:pt x="698" y="120"/>
                  </a:lnTo>
                  <a:lnTo>
                    <a:pt x="706" y="116"/>
                  </a:lnTo>
                  <a:lnTo>
                    <a:pt x="710" y="112"/>
                  </a:lnTo>
                  <a:lnTo>
                    <a:pt x="718" y="112"/>
                  </a:lnTo>
                  <a:lnTo>
                    <a:pt x="724" y="110"/>
                  </a:lnTo>
                  <a:lnTo>
                    <a:pt x="728" y="106"/>
                  </a:lnTo>
                  <a:lnTo>
                    <a:pt x="730" y="100"/>
                  </a:lnTo>
                  <a:lnTo>
                    <a:pt x="728" y="94"/>
                  </a:lnTo>
                  <a:lnTo>
                    <a:pt x="724" y="88"/>
                  </a:lnTo>
                  <a:lnTo>
                    <a:pt x="716" y="84"/>
                  </a:lnTo>
                  <a:lnTo>
                    <a:pt x="704" y="84"/>
                  </a:lnTo>
                  <a:lnTo>
                    <a:pt x="688" y="88"/>
                  </a:lnTo>
                  <a:lnTo>
                    <a:pt x="670" y="94"/>
                  </a:lnTo>
                  <a:lnTo>
                    <a:pt x="656" y="94"/>
                  </a:lnTo>
                  <a:lnTo>
                    <a:pt x="644" y="92"/>
                  </a:lnTo>
                  <a:lnTo>
                    <a:pt x="634" y="90"/>
                  </a:lnTo>
                  <a:lnTo>
                    <a:pt x="626" y="90"/>
                  </a:lnTo>
                  <a:lnTo>
                    <a:pt x="620" y="90"/>
                  </a:lnTo>
                  <a:lnTo>
                    <a:pt x="614" y="94"/>
                  </a:lnTo>
                  <a:lnTo>
                    <a:pt x="608" y="104"/>
                  </a:lnTo>
                  <a:lnTo>
                    <a:pt x="606" y="116"/>
                  </a:lnTo>
                  <a:lnTo>
                    <a:pt x="606" y="118"/>
                  </a:lnTo>
                  <a:lnTo>
                    <a:pt x="608" y="122"/>
                  </a:lnTo>
                  <a:lnTo>
                    <a:pt x="614" y="124"/>
                  </a:lnTo>
                  <a:lnTo>
                    <a:pt x="622" y="124"/>
                  </a:lnTo>
                  <a:lnTo>
                    <a:pt x="646" y="120"/>
                  </a:lnTo>
                  <a:lnTo>
                    <a:pt x="660" y="120"/>
                  </a:lnTo>
                  <a:lnTo>
                    <a:pt x="672" y="122"/>
                  </a:lnTo>
                  <a:close/>
                  <a:moveTo>
                    <a:pt x="4428" y="2314"/>
                  </a:moveTo>
                  <a:lnTo>
                    <a:pt x="4428" y="2314"/>
                  </a:lnTo>
                  <a:lnTo>
                    <a:pt x="4426" y="2314"/>
                  </a:lnTo>
                  <a:lnTo>
                    <a:pt x="4428" y="2314"/>
                  </a:lnTo>
                  <a:lnTo>
                    <a:pt x="4432" y="2310"/>
                  </a:lnTo>
                  <a:lnTo>
                    <a:pt x="4436" y="2306"/>
                  </a:lnTo>
                  <a:lnTo>
                    <a:pt x="4436" y="2302"/>
                  </a:lnTo>
                  <a:lnTo>
                    <a:pt x="4432" y="2304"/>
                  </a:lnTo>
                  <a:lnTo>
                    <a:pt x="4428" y="2314"/>
                  </a:lnTo>
                  <a:close/>
                  <a:moveTo>
                    <a:pt x="4510" y="2192"/>
                  </a:moveTo>
                  <a:lnTo>
                    <a:pt x="4510" y="2192"/>
                  </a:lnTo>
                  <a:lnTo>
                    <a:pt x="4508" y="2194"/>
                  </a:lnTo>
                  <a:lnTo>
                    <a:pt x="4506" y="2196"/>
                  </a:lnTo>
                  <a:lnTo>
                    <a:pt x="4502" y="2202"/>
                  </a:lnTo>
                  <a:lnTo>
                    <a:pt x="4498" y="2210"/>
                  </a:lnTo>
                  <a:lnTo>
                    <a:pt x="4496" y="2214"/>
                  </a:lnTo>
                  <a:lnTo>
                    <a:pt x="4492" y="2216"/>
                  </a:lnTo>
                  <a:lnTo>
                    <a:pt x="4482" y="2220"/>
                  </a:lnTo>
                  <a:lnTo>
                    <a:pt x="4476" y="2224"/>
                  </a:lnTo>
                  <a:lnTo>
                    <a:pt x="4476" y="2226"/>
                  </a:lnTo>
                  <a:lnTo>
                    <a:pt x="4474" y="2228"/>
                  </a:lnTo>
                  <a:lnTo>
                    <a:pt x="4478" y="2236"/>
                  </a:lnTo>
                  <a:lnTo>
                    <a:pt x="4480" y="2238"/>
                  </a:lnTo>
                  <a:lnTo>
                    <a:pt x="4482" y="2238"/>
                  </a:lnTo>
                  <a:lnTo>
                    <a:pt x="4484" y="2236"/>
                  </a:lnTo>
                  <a:lnTo>
                    <a:pt x="4490" y="2230"/>
                  </a:lnTo>
                  <a:lnTo>
                    <a:pt x="4494" y="2228"/>
                  </a:lnTo>
                  <a:lnTo>
                    <a:pt x="4498" y="2226"/>
                  </a:lnTo>
                  <a:lnTo>
                    <a:pt x="4504" y="2224"/>
                  </a:lnTo>
                  <a:lnTo>
                    <a:pt x="4508" y="2220"/>
                  </a:lnTo>
                  <a:lnTo>
                    <a:pt x="4510" y="2214"/>
                  </a:lnTo>
                  <a:lnTo>
                    <a:pt x="4512" y="2208"/>
                  </a:lnTo>
                  <a:lnTo>
                    <a:pt x="4512" y="2198"/>
                  </a:lnTo>
                  <a:lnTo>
                    <a:pt x="4512" y="2194"/>
                  </a:lnTo>
                  <a:lnTo>
                    <a:pt x="4510" y="2192"/>
                  </a:lnTo>
                  <a:close/>
                  <a:moveTo>
                    <a:pt x="4462" y="2262"/>
                  </a:moveTo>
                  <a:lnTo>
                    <a:pt x="4462" y="2262"/>
                  </a:lnTo>
                  <a:lnTo>
                    <a:pt x="4460" y="2260"/>
                  </a:lnTo>
                  <a:lnTo>
                    <a:pt x="4456" y="2262"/>
                  </a:lnTo>
                  <a:lnTo>
                    <a:pt x="4452" y="2272"/>
                  </a:lnTo>
                  <a:lnTo>
                    <a:pt x="4448" y="2284"/>
                  </a:lnTo>
                  <a:lnTo>
                    <a:pt x="4448" y="2292"/>
                  </a:lnTo>
                  <a:lnTo>
                    <a:pt x="4448" y="2294"/>
                  </a:lnTo>
                  <a:lnTo>
                    <a:pt x="4452" y="2292"/>
                  </a:lnTo>
                  <a:lnTo>
                    <a:pt x="4458" y="2282"/>
                  </a:lnTo>
                  <a:lnTo>
                    <a:pt x="4462" y="2272"/>
                  </a:lnTo>
                  <a:lnTo>
                    <a:pt x="4462" y="2266"/>
                  </a:lnTo>
                  <a:lnTo>
                    <a:pt x="4462" y="2262"/>
                  </a:lnTo>
                  <a:close/>
                  <a:moveTo>
                    <a:pt x="4486" y="4072"/>
                  </a:moveTo>
                  <a:lnTo>
                    <a:pt x="4486" y="4072"/>
                  </a:lnTo>
                  <a:lnTo>
                    <a:pt x="4482" y="4070"/>
                  </a:lnTo>
                  <a:lnTo>
                    <a:pt x="4482" y="4068"/>
                  </a:lnTo>
                  <a:lnTo>
                    <a:pt x="4480" y="4066"/>
                  </a:lnTo>
                  <a:lnTo>
                    <a:pt x="4478" y="4064"/>
                  </a:lnTo>
                  <a:lnTo>
                    <a:pt x="4474" y="4064"/>
                  </a:lnTo>
                  <a:lnTo>
                    <a:pt x="4470" y="4064"/>
                  </a:lnTo>
                  <a:lnTo>
                    <a:pt x="4460" y="4068"/>
                  </a:lnTo>
                  <a:lnTo>
                    <a:pt x="4450" y="4076"/>
                  </a:lnTo>
                  <a:lnTo>
                    <a:pt x="4448" y="4080"/>
                  </a:lnTo>
                  <a:lnTo>
                    <a:pt x="4448" y="4084"/>
                  </a:lnTo>
                  <a:lnTo>
                    <a:pt x="4446" y="4088"/>
                  </a:lnTo>
                  <a:lnTo>
                    <a:pt x="4442" y="4094"/>
                  </a:lnTo>
                  <a:lnTo>
                    <a:pt x="4440" y="4100"/>
                  </a:lnTo>
                  <a:lnTo>
                    <a:pt x="4438" y="4104"/>
                  </a:lnTo>
                  <a:lnTo>
                    <a:pt x="4440" y="4106"/>
                  </a:lnTo>
                  <a:lnTo>
                    <a:pt x="4442" y="4104"/>
                  </a:lnTo>
                  <a:lnTo>
                    <a:pt x="4448" y="4104"/>
                  </a:lnTo>
                  <a:lnTo>
                    <a:pt x="4458" y="4106"/>
                  </a:lnTo>
                  <a:lnTo>
                    <a:pt x="4462" y="4106"/>
                  </a:lnTo>
                  <a:lnTo>
                    <a:pt x="4466" y="4106"/>
                  </a:lnTo>
                  <a:lnTo>
                    <a:pt x="4470" y="4102"/>
                  </a:lnTo>
                  <a:lnTo>
                    <a:pt x="4474" y="4098"/>
                  </a:lnTo>
                  <a:lnTo>
                    <a:pt x="4478" y="4094"/>
                  </a:lnTo>
                  <a:lnTo>
                    <a:pt x="4480" y="4092"/>
                  </a:lnTo>
                  <a:lnTo>
                    <a:pt x="4482" y="4090"/>
                  </a:lnTo>
                  <a:lnTo>
                    <a:pt x="4484" y="4082"/>
                  </a:lnTo>
                  <a:lnTo>
                    <a:pt x="4488" y="4074"/>
                  </a:lnTo>
                  <a:lnTo>
                    <a:pt x="4488" y="4072"/>
                  </a:lnTo>
                  <a:lnTo>
                    <a:pt x="4486" y="4072"/>
                  </a:lnTo>
                  <a:close/>
                  <a:moveTo>
                    <a:pt x="2916" y="5240"/>
                  </a:moveTo>
                  <a:lnTo>
                    <a:pt x="2916" y="5240"/>
                  </a:lnTo>
                  <a:lnTo>
                    <a:pt x="2912" y="5240"/>
                  </a:lnTo>
                  <a:lnTo>
                    <a:pt x="2908" y="5240"/>
                  </a:lnTo>
                  <a:lnTo>
                    <a:pt x="2902" y="5244"/>
                  </a:lnTo>
                  <a:lnTo>
                    <a:pt x="2898" y="5248"/>
                  </a:lnTo>
                  <a:lnTo>
                    <a:pt x="2896" y="5252"/>
                  </a:lnTo>
                  <a:lnTo>
                    <a:pt x="2896" y="5260"/>
                  </a:lnTo>
                  <a:lnTo>
                    <a:pt x="2896" y="5264"/>
                  </a:lnTo>
                  <a:lnTo>
                    <a:pt x="2894" y="5266"/>
                  </a:lnTo>
                  <a:lnTo>
                    <a:pt x="2890" y="5266"/>
                  </a:lnTo>
                  <a:lnTo>
                    <a:pt x="2888" y="5270"/>
                  </a:lnTo>
                  <a:lnTo>
                    <a:pt x="2892" y="5272"/>
                  </a:lnTo>
                  <a:lnTo>
                    <a:pt x="2904" y="5274"/>
                  </a:lnTo>
                  <a:lnTo>
                    <a:pt x="2914" y="5274"/>
                  </a:lnTo>
                  <a:lnTo>
                    <a:pt x="2916" y="5272"/>
                  </a:lnTo>
                  <a:lnTo>
                    <a:pt x="2918" y="5272"/>
                  </a:lnTo>
                  <a:lnTo>
                    <a:pt x="2918" y="5266"/>
                  </a:lnTo>
                  <a:lnTo>
                    <a:pt x="2920" y="5258"/>
                  </a:lnTo>
                  <a:lnTo>
                    <a:pt x="2924" y="5250"/>
                  </a:lnTo>
                  <a:lnTo>
                    <a:pt x="2924" y="5246"/>
                  </a:lnTo>
                  <a:lnTo>
                    <a:pt x="2922" y="5242"/>
                  </a:lnTo>
                  <a:lnTo>
                    <a:pt x="2916" y="5240"/>
                  </a:lnTo>
                  <a:close/>
                  <a:moveTo>
                    <a:pt x="2868" y="5234"/>
                  </a:moveTo>
                  <a:lnTo>
                    <a:pt x="2868" y="5234"/>
                  </a:lnTo>
                  <a:lnTo>
                    <a:pt x="2866" y="5232"/>
                  </a:lnTo>
                  <a:lnTo>
                    <a:pt x="2864" y="5232"/>
                  </a:lnTo>
                  <a:lnTo>
                    <a:pt x="2860" y="5234"/>
                  </a:lnTo>
                  <a:lnTo>
                    <a:pt x="2854" y="5238"/>
                  </a:lnTo>
                  <a:lnTo>
                    <a:pt x="2850" y="5238"/>
                  </a:lnTo>
                  <a:lnTo>
                    <a:pt x="2844" y="5236"/>
                  </a:lnTo>
                  <a:lnTo>
                    <a:pt x="2838" y="5234"/>
                  </a:lnTo>
                  <a:lnTo>
                    <a:pt x="2836" y="5234"/>
                  </a:lnTo>
                  <a:lnTo>
                    <a:pt x="2834" y="5236"/>
                  </a:lnTo>
                  <a:lnTo>
                    <a:pt x="2834" y="5240"/>
                  </a:lnTo>
                  <a:lnTo>
                    <a:pt x="2836" y="5246"/>
                  </a:lnTo>
                  <a:lnTo>
                    <a:pt x="2840" y="5248"/>
                  </a:lnTo>
                  <a:lnTo>
                    <a:pt x="2844" y="5250"/>
                  </a:lnTo>
                  <a:lnTo>
                    <a:pt x="2850" y="5252"/>
                  </a:lnTo>
                  <a:lnTo>
                    <a:pt x="2856" y="5256"/>
                  </a:lnTo>
                  <a:lnTo>
                    <a:pt x="2860" y="5262"/>
                  </a:lnTo>
                  <a:lnTo>
                    <a:pt x="2860" y="5266"/>
                  </a:lnTo>
                  <a:lnTo>
                    <a:pt x="2860" y="5270"/>
                  </a:lnTo>
                  <a:lnTo>
                    <a:pt x="2862" y="5270"/>
                  </a:lnTo>
                  <a:lnTo>
                    <a:pt x="2866" y="5270"/>
                  </a:lnTo>
                  <a:lnTo>
                    <a:pt x="2868" y="5266"/>
                  </a:lnTo>
                  <a:lnTo>
                    <a:pt x="2870" y="5260"/>
                  </a:lnTo>
                  <a:lnTo>
                    <a:pt x="2876" y="5254"/>
                  </a:lnTo>
                  <a:lnTo>
                    <a:pt x="2882" y="5250"/>
                  </a:lnTo>
                  <a:lnTo>
                    <a:pt x="2882" y="5246"/>
                  </a:lnTo>
                  <a:lnTo>
                    <a:pt x="2882" y="5244"/>
                  </a:lnTo>
                  <a:lnTo>
                    <a:pt x="2876" y="5240"/>
                  </a:lnTo>
                  <a:lnTo>
                    <a:pt x="2868" y="5234"/>
                  </a:lnTo>
                  <a:close/>
                  <a:moveTo>
                    <a:pt x="2906" y="5026"/>
                  </a:moveTo>
                  <a:lnTo>
                    <a:pt x="2906" y="5026"/>
                  </a:lnTo>
                  <a:lnTo>
                    <a:pt x="2906" y="5016"/>
                  </a:lnTo>
                  <a:lnTo>
                    <a:pt x="2906" y="5006"/>
                  </a:lnTo>
                  <a:lnTo>
                    <a:pt x="2904" y="5000"/>
                  </a:lnTo>
                  <a:lnTo>
                    <a:pt x="2902" y="5000"/>
                  </a:lnTo>
                  <a:lnTo>
                    <a:pt x="2900" y="5002"/>
                  </a:lnTo>
                  <a:lnTo>
                    <a:pt x="2898" y="5010"/>
                  </a:lnTo>
                  <a:lnTo>
                    <a:pt x="2898" y="5018"/>
                  </a:lnTo>
                  <a:lnTo>
                    <a:pt x="2898" y="5026"/>
                  </a:lnTo>
                  <a:lnTo>
                    <a:pt x="2896" y="5036"/>
                  </a:lnTo>
                  <a:lnTo>
                    <a:pt x="2896" y="5038"/>
                  </a:lnTo>
                  <a:lnTo>
                    <a:pt x="2898" y="5038"/>
                  </a:lnTo>
                  <a:lnTo>
                    <a:pt x="2902" y="5034"/>
                  </a:lnTo>
                  <a:lnTo>
                    <a:pt x="2906" y="5026"/>
                  </a:lnTo>
                  <a:close/>
                  <a:moveTo>
                    <a:pt x="3284" y="4314"/>
                  </a:moveTo>
                  <a:lnTo>
                    <a:pt x="3284" y="4314"/>
                  </a:lnTo>
                  <a:lnTo>
                    <a:pt x="3286" y="4316"/>
                  </a:lnTo>
                  <a:lnTo>
                    <a:pt x="3288" y="4318"/>
                  </a:lnTo>
                  <a:lnTo>
                    <a:pt x="3290" y="4318"/>
                  </a:lnTo>
                  <a:lnTo>
                    <a:pt x="3290" y="4316"/>
                  </a:lnTo>
                  <a:lnTo>
                    <a:pt x="3290" y="4314"/>
                  </a:lnTo>
                  <a:lnTo>
                    <a:pt x="3288" y="4312"/>
                  </a:lnTo>
                  <a:lnTo>
                    <a:pt x="3284" y="4314"/>
                  </a:lnTo>
                  <a:close/>
                  <a:moveTo>
                    <a:pt x="3284" y="4332"/>
                  </a:moveTo>
                  <a:lnTo>
                    <a:pt x="3284" y="4332"/>
                  </a:lnTo>
                  <a:lnTo>
                    <a:pt x="3284" y="4330"/>
                  </a:lnTo>
                  <a:lnTo>
                    <a:pt x="3282" y="4330"/>
                  </a:lnTo>
                  <a:lnTo>
                    <a:pt x="3278" y="4336"/>
                  </a:lnTo>
                  <a:lnTo>
                    <a:pt x="3278" y="4344"/>
                  </a:lnTo>
                  <a:lnTo>
                    <a:pt x="3278" y="4350"/>
                  </a:lnTo>
                  <a:lnTo>
                    <a:pt x="3282" y="4354"/>
                  </a:lnTo>
                  <a:lnTo>
                    <a:pt x="3284" y="4358"/>
                  </a:lnTo>
                  <a:lnTo>
                    <a:pt x="3286" y="4358"/>
                  </a:lnTo>
                  <a:lnTo>
                    <a:pt x="3286" y="4354"/>
                  </a:lnTo>
                  <a:lnTo>
                    <a:pt x="3284" y="4332"/>
                  </a:lnTo>
                  <a:close/>
                  <a:moveTo>
                    <a:pt x="2868" y="5178"/>
                  </a:moveTo>
                  <a:lnTo>
                    <a:pt x="2868" y="5178"/>
                  </a:lnTo>
                  <a:lnTo>
                    <a:pt x="2870" y="5178"/>
                  </a:lnTo>
                  <a:lnTo>
                    <a:pt x="2872" y="5178"/>
                  </a:lnTo>
                  <a:lnTo>
                    <a:pt x="2874" y="5178"/>
                  </a:lnTo>
                  <a:lnTo>
                    <a:pt x="2876" y="5178"/>
                  </a:lnTo>
                  <a:lnTo>
                    <a:pt x="2876" y="5176"/>
                  </a:lnTo>
                  <a:lnTo>
                    <a:pt x="2874" y="5174"/>
                  </a:lnTo>
                  <a:lnTo>
                    <a:pt x="2872" y="5172"/>
                  </a:lnTo>
                  <a:lnTo>
                    <a:pt x="2866" y="5172"/>
                  </a:lnTo>
                  <a:lnTo>
                    <a:pt x="2862" y="5174"/>
                  </a:lnTo>
                  <a:lnTo>
                    <a:pt x="2864" y="5176"/>
                  </a:lnTo>
                  <a:lnTo>
                    <a:pt x="2866" y="5178"/>
                  </a:lnTo>
                  <a:lnTo>
                    <a:pt x="2868" y="5178"/>
                  </a:lnTo>
                  <a:close/>
                  <a:moveTo>
                    <a:pt x="2798" y="5190"/>
                  </a:moveTo>
                  <a:lnTo>
                    <a:pt x="2798" y="5190"/>
                  </a:lnTo>
                  <a:lnTo>
                    <a:pt x="2804" y="5186"/>
                  </a:lnTo>
                  <a:lnTo>
                    <a:pt x="2812" y="5182"/>
                  </a:lnTo>
                  <a:lnTo>
                    <a:pt x="2818" y="5180"/>
                  </a:lnTo>
                  <a:lnTo>
                    <a:pt x="2818" y="5178"/>
                  </a:lnTo>
                  <a:lnTo>
                    <a:pt x="2818" y="5176"/>
                  </a:lnTo>
                  <a:lnTo>
                    <a:pt x="2814" y="5174"/>
                  </a:lnTo>
                  <a:lnTo>
                    <a:pt x="2810" y="5174"/>
                  </a:lnTo>
                  <a:lnTo>
                    <a:pt x="2804" y="5176"/>
                  </a:lnTo>
                  <a:lnTo>
                    <a:pt x="2794" y="5176"/>
                  </a:lnTo>
                  <a:lnTo>
                    <a:pt x="2780" y="5174"/>
                  </a:lnTo>
                  <a:lnTo>
                    <a:pt x="2770" y="5176"/>
                  </a:lnTo>
                  <a:lnTo>
                    <a:pt x="2764" y="5180"/>
                  </a:lnTo>
                  <a:lnTo>
                    <a:pt x="2764" y="5182"/>
                  </a:lnTo>
                  <a:lnTo>
                    <a:pt x="2764" y="5186"/>
                  </a:lnTo>
                  <a:lnTo>
                    <a:pt x="2768" y="5188"/>
                  </a:lnTo>
                  <a:lnTo>
                    <a:pt x="2780" y="5192"/>
                  </a:lnTo>
                  <a:lnTo>
                    <a:pt x="2790" y="5192"/>
                  </a:lnTo>
                  <a:lnTo>
                    <a:pt x="2796" y="5192"/>
                  </a:lnTo>
                  <a:lnTo>
                    <a:pt x="2798" y="5190"/>
                  </a:lnTo>
                  <a:close/>
                  <a:moveTo>
                    <a:pt x="4914" y="1916"/>
                  </a:moveTo>
                  <a:lnTo>
                    <a:pt x="4914" y="1916"/>
                  </a:lnTo>
                  <a:lnTo>
                    <a:pt x="4910" y="1920"/>
                  </a:lnTo>
                  <a:lnTo>
                    <a:pt x="4910" y="1924"/>
                  </a:lnTo>
                  <a:lnTo>
                    <a:pt x="4912" y="1928"/>
                  </a:lnTo>
                  <a:lnTo>
                    <a:pt x="4914" y="1934"/>
                  </a:lnTo>
                  <a:lnTo>
                    <a:pt x="4926" y="1944"/>
                  </a:lnTo>
                  <a:lnTo>
                    <a:pt x="4938" y="1954"/>
                  </a:lnTo>
                  <a:lnTo>
                    <a:pt x="4942" y="1958"/>
                  </a:lnTo>
                  <a:lnTo>
                    <a:pt x="4942" y="1954"/>
                  </a:lnTo>
                  <a:lnTo>
                    <a:pt x="4940" y="1946"/>
                  </a:lnTo>
                  <a:lnTo>
                    <a:pt x="4936" y="1936"/>
                  </a:lnTo>
                  <a:lnTo>
                    <a:pt x="4930" y="1926"/>
                  </a:lnTo>
                  <a:lnTo>
                    <a:pt x="4924" y="1918"/>
                  </a:lnTo>
                  <a:lnTo>
                    <a:pt x="4918" y="1914"/>
                  </a:lnTo>
                  <a:lnTo>
                    <a:pt x="4916" y="1914"/>
                  </a:lnTo>
                  <a:lnTo>
                    <a:pt x="4914" y="1916"/>
                  </a:lnTo>
                  <a:close/>
                  <a:moveTo>
                    <a:pt x="4520" y="2200"/>
                  </a:moveTo>
                  <a:lnTo>
                    <a:pt x="4520" y="2200"/>
                  </a:lnTo>
                  <a:lnTo>
                    <a:pt x="4522" y="2200"/>
                  </a:lnTo>
                  <a:lnTo>
                    <a:pt x="4524" y="2200"/>
                  </a:lnTo>
                  <a:lnTo>
                    <a:pt x="4528" y="2196"/>
                  </a:lnTo>
                  <a:lnTo>
                    <a:pt x="4528" y="2192"/>
                  </a:lnTo>
                  <a:lnTo>
                    <a:pt x="4528" y="2188"/>
                  </a:lnTo>
                  <a:lnTo>
                    <a:pt x="4524" y="2188"/>
                  </a:lnTo>
                  <a:lnTo>
                    <a:pt x="4520" y="2190"/>
                  </a:lnTo>
                  <a:lnTo>
                    <a:pt x="4518" y="2194"/>
                  </a:lnTo>
                  <a:lnTo>
                    <a:pt x="4518" y="2196"/>
                  </a:lnTo>
                  <a:lnTo>
                    <a:pt x="4520" y="2200"/>
                  </a:lnTo>
                  <a:close/>
                  <a:moveTo>
                    <a:pt x="4814" y="1702"/>
                  </a:moveTo>
                  <a:lnTo>
                    <a:pt x="4814" y="1702"/>
                  </a:lnTo>
                  <a:lnTo>
                    <a:pt x="4812" y="1704"/>
                  </a:lnTo>
                  <a:lnTo>
                    <a:pt x="4812" y="1706"/>
                  </a:lnTo>
                  <a:lnTo>
                    <a:pt x="4816" y="1706"/>
                  </a:lnTo>
                  <a:lnTo>
                    <a:pt x="4832" y="1700"/>
                  </a:lnTo>
                  <a:lnTo>
                    <a:pt x="4842" y="1696"/>
                  </a:lnTo>
                  <a:lnTo>
                    <a:pt x="4850" y="1690"/>
                  </a:lnTo>
                  <a:lnTo>
                    <a:pt x="4856" y="1684"/>
                  </a:lnTo>
                  <a:lnTo>
                    <a:pt x="4858" y="1678"/>
                  </a:lnTo>
                  <a:lnTo>
                    <a:pt x="4856" y="1674"/>
                  </a:lnTo>
                  <a:lnTo>
                    <a:pt x="4852" y="1672"/>
                  </a:lnTo>
                  <a:lnTo>
                    <a:pt x="4848" y="1672"/>
                  </a:lnTo>
                  <a:lnTo>
                    <a:pt x="4842" y="1674"/>
                  </a:lnTo>
                  <a:lnTo>
                    <a:pt x="4828" y="1686"/>
                  </a:lnTo>
                  <a:lnTo>
                    <a:pt x="4814" y="1702"/>
                  </a:lnTo>
                  <a:close/>
                  <a:moveTo>
                    <a:pt x="3278" y="4364"/>
                  </a:moveTo>
                  <a:lnTo>
                    <a:pt x="3278" y="4364"/>
                  </a:lnTo>
                  <a:lnTo>
                    <a:pt x="3276" y="4362"/>
                  </a:lnTo>
                  <a:lnTo>
                    <a:pt x="3274" y="4362"/>
                  </a:lnTo>
                  <a:lnTo>
                    <a:pt x="3278" y="4384"/>
                  </a:lnTo>
                  <a:lnTo>
                    <a:pt x="3278" y="4398"/>
                  </a:lnTo>
                  <a:lnTo>
                    <a:pt x="3278" y="4400"/>
                  </a:lnTo>
                  <a:lnTo>
                    <a:pt x="3276" y="4402"/>
                  </a:lnTo>
                  <a:lnTo>
                    <a:pt x="3272" y="4402"/>
                  </a:lnTo>
                  <a:lnTo>
                    <a:pt x="3266" y="4398"/>
                  </a:lnTo>
                  <a:lnTo>
                    <a:pt x="3264" y="4400"/>
                  </a:lnTo>
                  <a:lnTo>
                    <a:pt x="3264" y="4406"/>
                  </a:lnTo>
                  <a:lnTo>
                    <a:pt x="3262" y="4408"/>
                  </a:lnTo>
                  <a:lnTo>
                    <a:pt x="3260" y="4408"/>
                  </a:lnTo>
                  <a:lnTo>
                    <a:pt x="3256" y="4404"/>
                  </a:lnTo>
                  <a:lnTo>
                    <a:pt x="3254" y="4402"/>
                  </a:lnTo>
                  <a:lnTo>
                    <a:pt x="3252" y="4400"/>
                  </a:lnTo>
                  <a:lnTo>
                    <a:pt x="3250" y="4402"/>
                  </a:lnTo>
                  <a:lnTo>
                    <a:pt x="3248" y="4404"/>
                  </a:lnTo>
                  <a:lnTo>
                    <a:pt x="3248" y="4424"/>
                  </a:lnTo>
                  <a:lnTo>
                    <a:pt x="3248" y="4426"/>
                  </a:lnTo>
                  <a:lnTo>
                    <a:pt x="3246" y="4426"/>
                  </a:lnTo>
                  <a:lnTo>
                    <a:pt x="3240" y="4422"/>
                  </a:lnTo>
                  <a:lnTo>
                    <a:pt x="3238" y="4422"/>
                  </a:lnTo>
                  <a:lnTo>
                    <a:pt x="3234" y="4420"/>
                  </a:lnTo>
                  <a:lnTo>
                    <a:pt x="3232" y="4422"/>
                  </a:lnTo>
                  <a:lnTo>
                    <a:pt x="3230" y="4428"/>
                  </a:lnTo>
                  <a:lnTo>
                    <a:pt x="3226" y="4438"/>
                  </a:lnTo>
                  <a:lnTo>
                    <a:pt x="3224" y="4440"/>
                  </a:lnTo>
                  <a:lnTo>
                    <a:pt x="3220" y="4440"/>
                  </a:lnTo>
                  <a:lnTo>
                    <a:pt x="3214" y="4444"/>
                  </a:lnTo>
                  <a:lnTo>
                    <a:pt x="3210" y="4446"/>
                  </a:lnTo>
                  <a:lnTo>
                    <a:pt x="3212" y="4440"/>
                  </a:lnTo>
                  <a:lnTo>
                    <a:pt x="3212" y="4432"/>
                  </a:lnTo>
                  <a:lnTo>
                    <a:pt x="3210" y="4424"/>
                  </a:lnTo>
                  <a:lnTo>
                    <a:pt x="3208" y="4420"/>
                  </a:lnTo>
                  <a:lnTo>
                    <a:pt x="3204" y="4418"/>
                  </a:lnTo>
                  <a:lnTo>
                    <a:pt x="3200" y="4418"/>
                  </a:lnTo>
                  <a:lnTo>
                    <a:pt x="3198" y="4420"/>
                  </a:lnTo>
                  <a:lnTo>
                    <a:pt x="3198" y="4418"/>
                  </a:lnTo>
                  <a:lnTo>
                    <a:pt x="3196" y="4416"/>
                  </a:lnTo>
                  <a:lnTo>
                    <a:pt x="3194" y="4414"/>
                  </a:lnTo>
                  <a:lnTo>
                    <a:pt x="3192" y="4416"/>
                  </a:lnTo>
                  <a:lnTo>
                    <a:pt x="3192" y="4420"/>
                  </a:lnTo>
                  <a:lnTo>
                    <a:pt x="3190" y="4422"/>
                  </a:lnTo>
                  <a:lnTo>
                    <a:pt x="3188" y="4424"/>
                  </a:lnTo>
                  <a:lnTo>
                    <a:pt x="3186" y="4424"/>
                  </a:lnTo>
                  <a:lnTo>
                    <a:pt x="3182" y="4424"/>
                  </a:lnTo>
                  <a:lnTo>
                    <a:pt x="3178" y="4428"/>
                  </a:lnTo>
                  <a:lnTo>
                    <a:pt x="3176" y="4432"/>
                  </a:lnTo>
                  <a:lnTo>
                    <a:pt x="3178" y="4438"/>
                  </a:lnTo>
                  <a:lnTo>
                    <a:pt x="3178" y="4440"/>
                  </a:lnTo>
                  <a:lnTo>
                    <a:pt x="3174" y="4442"/>
                  </a:lnTo>
                  <a:lnTo>
                    <a:pt x="3170" y="4444"/>
                  </a:lnTo>
                  <a:lnTo>
                    <a:pt x="3166" y="4442"/>
                  </a:lnTo>
                  <a:lnTo>
                    <a:pt x="3164" y="4442"/>
                  </a:lnTo>
                  <a:lnTo>
                    <a:pt x="3162" y="4442"/>
                  </a:lnTo>
                  <a:lnTo>
                    <a:pt x="3160" y="4444"/>
                  </a:lnTo>
                  <a:lnTo>
                    <a:pt x="3156" y="4446"/>
                  </a:lnTo>
                  <a:lnTo>
                    <a:pt x="3150" y="4448"/>
                  </a:lnTo>
                  <a:lnTo>
                    <a:pt x="3146" y="4452"/>
                  </a:lnTo>
                  <a:lnTo>
                    <a:pt x="3142" y="4458"/>
                  </a:lnTo>
                  <a:lnTo>
                    <a:pt x="3140" y="4462"/>
                  </a:lnTo>
                  <a:lnTo>
                    <a:pt x="3140" y="4472"/>
                  </a:lnTo>
                  <a:lnTo>
                    <a:pt x="3138" y="4478"/>
                  </a:lnTo>
                  <a:lnTo>
                    <a:pt x="3134" y="4488"/>
                  </a:lnTo>
                  <a:lnTo>
                    <a:pt x="3132" y="4492"/>
                  </a:lnTo>
                  <a:lnTo>
                    <a:pt x="3134" y="4496"/>
                  </a:lnTo>
                  <a:lnTo>
                    <a:pt x="3136" y="4500"/>
                  </a:lnTo>
                  <a:lnTo>
                    <a:pt x="3138" y="4504"/>
                  </a:lnTo>
                  <a:lnTo>
                    <a:pt x="3140" y="4504"/>
                  </a:lnTo>
                  <a:lnTo>
                    <a:pt x="3144" y="4500"/>
                  </a:lnTo>
                  <a:lnTo>
                    <a:pt x="3148" y="4488"/>
                  </a:lnTo>
                  <a:lnTo>
                    <a:pt x="3150" y="4480"/>
                  </a:lnTo>
                  <a:lnTo>
                    <a:pt x="3152" y="4478"/>
                  </a:lnTo>
                  <a:lnTo>
                    <a:pt x="3152" y="4476"/>
                  </a:lnTo>
                  <a:lnTo>
                    <a:pt x="3154" y="4474"/>
                  </a:lnTo>
                  <a:lnTo>
                    <a:pt x="3156" y="4472"/>
                  </a:lnTo>
                  <a:lnTo>
                    <a:pt x="3156" y="4470"/>
                  </a:lnTo>
                  <a:lnTo>
                    <a:pt x="3158" y="4466"/>
                  </a:lnTo>
                  <a:lnTo>
                    <a:pt x="3160" y="4462"/>
                  </a:lnTo>
                  <a:lnTo>
                    <a:pt x="3164" y="4460"/>
                  </a:lnTo>
                  <a:lnTo>
                    <a:pt x="3168" y="4462"/>
                  </a:lnTo>
                  <a:lnTo>
                    <a:pt x="3170" y="4466"/>
                  </a:lnTo>
                  <a:lnTo>
                    <a:pt x="3168" y="4472"/>
                  </a:lnTo>
                  <a:lnTo>
                    <a:pt x="3168" y="4474"/>
                  </a:lnTo>
                  <a:lnTo>
                    <a:pt x="3172" y="4474"/>
                  </a:lnTo>
                  <a:lnTo>
                    <a:pt x="3178" y="4472"/>
                  </a:lnTo>
                  <a:lnTo>
                    <a:pt x="3182" y="4466"/>
                  </a:lnTo>
                  <a:lnTo>
                    <a:pt x="3184" y="4462"/>
                  </a:lnTo>
                  <a:lnTo>
                    <a:pt x="3184" y="4466"/>
                  </a:lnTo>
                  <a:lnTo>
                    <a:pt x="3184" y="4472"/>
                  </a:lnTo>
                  <a:lnTo>
                    <a:pt x="3184" y="4474"/>
                  </a:lnTo>
                  <a:lnTo>
                    <a:pt x="3186" y="4476"/>
                  </a:lnTo>
                  <a:lnTo>
                    <a:pt x="3192" y="4478"/>
                  </a:lnTo>
                  <a:lnTo>
                    <a:pt x="3194" y="4480"/>
                  </a:lnTo>
                  <a:lnTo>
                    <a:pt x="3194" y="4476"/>
                  </a:lnTo>
                  <a:lnTo>
                    <a:pt x="3194" y="4470"/>
                  </a:lnTo>
                  <a:lnTo>
                    <a:pt x="3196" y="4466"/>
                  </a:lnTo>
                  <a:lnTo>
                    <a:pt x="3198" y="4464"/>
                  </a:lnTo>
                  <a:lnTo>
                    <a:pt x="3196" y="4462"/>
                  </a:lnTo>
                  <a:lnTo>
                    <a:pt x="3194" y="4460"/>
                  </a:lnTo>
                  <a:lnTo>
                    <a:pt x="3196" y="4458"/>
                  </a:lnTo>
                  <a:lnTo>
                    <a:pt x="3200" y="4458"/>
                  </a:lnTo>
                  <a:lnTo>
                    <a:pt x="3206" y="4460"/>
                  </a:lnTo>
                  <a:lnTo>
                    <a:pt x="3210" y="4464"/>
                  </a:lnTo>
                  <a:lnTo>
                    <a:pt x="3216" y="4466"/>
                  </a:lnTo>
                  <a:lnTo>
                    <a:pt x="3218" y="4468"/>
                  </a:lnTo>
                  <a:lnTo>
                    <a:pt x="3222" y="4472"/>
                  </a:lnTo>
                  <a:lnTo>
                    <a:pt x="3222" y="4476"/>
                  </a:lnTo>
                  <a:lnTo>
                    <a:pt x="3224" y="4478"/>
                  </a:lnTo>
                  <a:lnTo>
                    <a:pt x="3226" y="4478"/>
                  </a:lnTo>
                  <a:lnTo>
                    <a:pt x="3226" y="4482"/>
                  </a:lnTo>
                  <a:lnTo>
                    <a:pt x="3224" y="4486"/>
                  </a:lnTo>
                  <a:lnTo>
                    <a:pt x="3220" y="4492"/>
                  </a:lnTo>
                  <a:lnTo>
                    <a:pt x="3216" y="4500"/>
                  </a:lnTo>
                  <a:lnTo>
                    <a:pt x="3216" y="4502"/>
                  </a:lnTo>
                  <a:lnTo>
                    <a:pt x="3216" y="4506"/>
                  </a:lnTo>
                  <a:lnTo>
                    <a:pt x="3218" y="4520"/>
                  </a:lnTo>
                  <a:lnTo>
                    <a:pt x="3220" y="4526"/>
                  </a:lnTo>
                  <a:lnTo>
                    <a:pt x="3222" y="4532"/>
                  </a:lnTo>
                  <a:lnTo>
                    <a:pt x="3224" y="4534"/>
                  </a:lnTo>
                  <a:lnTo>
                    <a:pt x="3224" y="4536"/>
                  </a:lnTo>
                  <a:lnTo>
                    <a:pt x="3226" y="4538"/>
                  </a:lnTo>
                  <a:lnTo>
                    <a:pt x="3234" y="4544"/>
                  </a:lnTo>
                  <a:lnTo>
                    <a:pt x="3252" y="4552"/>
                  </a:lnTo>
                  <a:lnTo>
                    <a:pt x="3256" y="4554"/>
                  </a:lnTo>
                  <a:lnTo>
                    <a:pt x="3260" y="4548"/>
                  </a:lnTo>
                  <a:lnTo>
                    <a:pt x="3264" y="4542"/>
                  </a:lnTo>
                  <a:lnTo>
                    <a:pt x="3266" y="4542"/>
                  </a:lnTo>
                  <a:lnTo>
                    <a:pt x="3268" y="4544"/>
                  </a:lnTo>
                  <a:lnTo>
                    <a:pt x="3266" y="4550"/>
                  </a:lnTo>
                  <a:lnTo>
                    <a:pt x="3266" y="4556"/>
                  </a:lnTo>
                  <a:lnTo>
                    <a:pt x="3268" y="4564"/>
                  </a:lnTo>
                  <a:lnTo>
                    <a:pt x="3270" y="4566"/>
                  </a:lnTo>
                  <a:lnTo>
                    <a:pt x="3272" y="4568"/>
                  </a:lnTo>
                  <a:lnTo>
                    <a:pt x="3274" y="4566"/>
                  </a:lnTo>
                  <a:lnTo>
                    <a:pt x="3278" y="4564"/>
                  </a:lnTo>
                  <a:lnTo>
                    <a:pt x="3282" y="4554"/>
                  </a:lnTo>
                  <a:lnTo>
                    <a:pt x="3284" y="4546"/>
                  </a:lnTo>
                  <a:lnTo>
                    <a:pt x="3286" y="4540"/>
                  </a:lnTo>
                  <a:lnTo>
                    <a:pt x="3284" y="4534"/>
                  </a:lnTo>
                  <a:lnTo>
                    <a:pt x="3280" y="4524"/>
                  </a:lnTo>
                  <a:lnTo>
                    <a:pt x="3278" y="4520"/>
                  </a:lnTo>
                  <a:lnTo>
                    <a:pt x="3276" y="4518"/>
                  </a:lnTo>
                  <a:lnTo>
                    <a:pt x="3274" y="4516"/>
                  </a:lnTo>
                  <a:lnTo>
                    <a:pt x="3274" y="4514"/>
                  </a:lnTo>
                  <a:lnTo>
                    <a:pt x="3274" y="4508"/>
                  </a:lnTo>
                  <a:lnTo>
                    <a:pt x="3276" y="4500"/>
                  </a:lnTo>
                  <a:lnTo>
                    <a:pt x="3280" y="4496"/>
                  </a:lnTo>
                  <a:lnTo>
                    <a:pt x="3284" y="4494"/>
                  </a:lnTo>
                  <a:lnTo>
                    <a:pt x="3284" y="4490"/>
                  </a:lnTo>
                  <a:lnTo>
                    <a:pt x="3284" y="4486"/>
                  </a:lnTo>
                  <a:lnTo>
                    <a:pt x="3288" y="4484"/>
                  </a:lnTo>
                  <a:lnTo>
                    <a:pt x="3290" y="4482"/>
                  </a:lnTo>
                  <a:lnTo>
                    <a:pt x="3292" y="4482"/>
                  </a:lnTo>
                  <a:lnTo>
                    <a:pt x="3292" y="4490"/>
                  </a:lnTo>
                  <a:lnTo>
                    <a:pt x="3294" y="4498"/>
                  </a:lnTo>
                  <a:lnTo>
                    <a:pt x="3296" y="4502"/>
                  </a:lnTo>
                  <a:lnTo>
                    <a:pt x="3300" y="4506"/>
                  </a:lnTo>
                  <a:lnTo>
                    <a:pt x="3302" y="4510"/>
                  </a:lnTo>
                  <a:lnTo>
                    <a:pt x="3300" y="4512"/>
                  </a:lnTo>
                  <a:lnTo>
                    <a:pt x="3300" y="4518"/>
                  </a:lnTo>
                  <a:lnTo>
                    <a:pt x="3302" y="4528"/>
                  </a:lnTo>
                  <a:lnTo>
                    <a:pt x="3304" y="4530"/>
                  </a:lnTo>
                  <a:lnTo>
                    <a:pt x="3306" y="4530"/>
                  </a:lnTo>
                  <a:lnTo>
                    <a:pt x="3306" y="4526"/>
                  </a:lnTo>
                  <a:lnTo>
                    <a:pt x="3308" y="4518"/>
                  </a:lnTo>
                  <a:lnTo>
                    <a:pt x="3306" y="4508"/>
                  </a:lnTo>
                  <a:lnTo>
                    <a:pt x="3304" y="4502"/>
                  </a:lnTo>
                  <a:lnTo>
                    <a:pt x="3308" y="4504"/>
                  </a:lnTo>
                  <a:lnTo>
                    <a:pt x="3310" y="4506"/>
                  </a:lnTo>
                  <a:lnTo>
                    <a:pt x="3312" y="4506"/>
                  </a:lnTo>
                  <a:lnTo>
                    <a:pt x="3310" y="4504"/>
                  </a:lnTo>
                  <a:lnTo>
                    <a:pt x="3310" y="4500"/>
                  </a:lnTo>
                  <a:lnTo>
                    <a:pt x="3312" y="4498"/>
                  </a:lnTo>
                  <a:lnTo>
                    <a:pt x="3316" y="4498"/>
                  </a:lnTo>
                  <a:lnTo>
                    <a:pt x="3320" y="4492"/>
                  </a:lnTo>
                  <a:lnTo>
                    <a:pt x="3322" y="4488"/>
                  </a:lnTo>
                  <a:lnTo>
                    <a:pt x="3322" y="4482"/>
                  </a:lnTo>
                  <a:lnTo>
                    <a:pt x="3320" y="4468"/>
                  </a:lnTo>
                  <a:lnTo>
                    <a:pt x="3320" y="4464"/>
                  </a:lnTo>
                  <a:lnTo>
                    <a:pt x="3318" y="4462"/>
                  </a:lnTo>
                  <a:lnTo>
                    <a:pt x="3316" y="4460"/>
                  </a:lnTo>
                  <a:lnTo>
                    <a:pt x="3314" y="4458"/>
                  </a:lnTo>
                  <a:lnTo>
                    <a:pt x="3314" y="4452"/>
                  </a:lnTo>
                  <a:lnTo>
                    <a:pt x="3316" y="4446"/>
                  </a:lnTo>
                  <a:lnTo>
                    <a:pt x="3316" y="4442"/>
                  </a:lnTo>
                  <a:lnTo>
                    <a:pt x="3314" y="4438"/>
                  </a:lnTo>
                  <a:lnTo>
                    <a:pt x="3314" y="4432"/>
                  </a:lnTo>
                  <a:lnTo>
                    <a:pt x="3314" y="4428"/>
                  </a:lnTo>
                  <a:lnTo>
                    <a:pt x="3312" y="4424"/>
                  </a:lnTo>
                  <a:lnTo>
                    <a:pt x="3310" y="4424"/>
                  </a:lnTo>
                  <a:lnTo>
                    <a:pt x="3308" y="4424"/>
                  </a:lnTo>
                  <a:lnTo>
                    <a:pt x="3304" y="4424"/>
                  </a:lnTo>
                  <a:lnTo>
                    <a:pt x="3302" y="4422"/>
                  </a:lnTo>
                  <a:lnTo>
                    <a:pt x="3302" y="4420"/>
                  </a:lnTo>
                  <a:lnTo>
                    <a:pt x="3304" y="4418"/>
                  </a:lnTo>
                  <a:lnTo>
                    <a:pt x="3308" y="4416"/>
                  </a:lnTo>
                  <a:lnTo>
                    <a:pt x="3310" y="4412"/>
                  </a:lnTo>
                  <a:lnTo>
                    <a:pt x="3312" y="4406"/>
                  </a:lnTo>
                  <a:lnTo>
                    <a:pt x="3308" y="4400"/>
                  </a:lnTo>
                  <a:lnTo>
                    <a:pt x="3306" y="4396"/>
                  </a:lnTo>
                  <a:lnTo>
                    <a:pt x="3306" y="4390"/>
                  </a:lnTo>
                  <a:lnTo>
                    <a:pt x="3306" y="4386"/>
                  </a:lnTo>
                  <a:lnTo>
                    <a:pt x="3302" y="4388"/>
                  </a:lnTo>
                  <a:lnTo>
                    <a:pt x="3300" y="4388"/>
                  </a:lnTo>
                  <a:lnTo>
                    <a:pt x="3298" y="4384"/>
                  </a:lnTo>
                  <a:lnTo>
                    <a:pt x="3296" y="4380"/>
                  </a:lnTo>
                  <a:lnTo>
                    <a:pt x="3292" y="4376"/>
                  </a:lnTo>
                  <a:lnTo>
                    <a:pt x="3288" y="4374"/>
                  </a:lnTo>
                  <a:lnTo>
                    <a:pt x="3284" y="4372"/>
                  </a:lnTo>
                  <a:lnTo>
                    <a:pt x="3282" y="4368"/>
                  </a:lnTo>
                  <a:lnTo>
                    <a:pt x="3282" y="4366"/>
                  </a:lnTo>
                  <a:lnTo>
                    <a:pt x="3278" y="4364"/>
                  </a:lnTo>
                  <a:close/>
                  <a:moveTo>
                    <a:pt x="3136" y="4268"/>
                  </a:moveTo>
                  <a:lnTo>
                    <a:pt x="3136" y="4268"/>
                  </a:lnTo>
                  <a:lnTo>
                    <a:pt x="3138" y="4270"/>
                  </a:lnTo>
                  <a:lnTo>
                    <a:pt x="3140" y="4272"/>
                  </a:lnTo>
                  <a:lnTo>
                    <a:pt x="3140" y="4278"/>
                  </a:lnTo>
                  <a:lnTo>
                    <a:pt x="3138" y="4286"/>
                  </a:lnTo>
                  <a:lnTo>
                    <a:pt x="3138" y="4296"/>
                  </a:lnTo>
                  <a:lnTo>
                    <a:pt x="3140" y="4302"/>
                  </a:lnTo>
                  <a:lnTo>
                    <a:pt x="3136" y="4306"/>
                  </a:lnTo>
                  <a:lnTo>
                    <a:pt x="3134" y="4312"/>
                  </a:lnTo>
                  <a:lnTo>
                    <a:pt x="3134" y="4324"/>
                  </a:lnTo>
                  <a:lnTo>
                    <a:pt x="3134" y="4328"/>
                  </a:lnTo>
                  <a:lnTo>
                    <a:pt x="3136" y="4330"/>
                  </a:lnTo>
                  <a:lnTo>
                    <a:pt x="3138" y="4330"/>
                  </a:lnTo>
                  <a:lnTo>
                    <a:pt x="3140" y="4328"/>
                  </a:lnTo>
                  <a:lnTo>
                    <a:pt x="3146" y="4324"/>
                  </a:lnTo>
                  <a:lnTo>
                    <a:pt x="3148" y="4320"/>
                  </a:lnTo>
                  <a:lnTo>
                    <a:pt x="3152" y="4320"/>
                  </a:lnTo>
                  <a:lnTo>
                    <a:pt x="3158" y="4318"/>
                  </a:lnTo>
                  <a:lnTo>
                    <a:pt x="3166" y="4312"/>
                  </a:lnTo>
                  <a:lnTo>
                    <a:pt x="3178" y="4298"/>
                  </a:lnTo>
                  <a:lnTo>
                    <a:pt x="3182" y="4296"/>
                  </a:lnTo>
                  <a:lnTo>
                    <a:pt x="3182" y="4292"/>
                  </a:lnTo>
                  <a:lnTo>
                    <a:pt x="3184" y="4282"/>
                  </a:lnTo>
                  <a:lnTo>
                    <a:pt x="3182" y="4276"/>
                  </a:lnTo>
                  <a:lnTo>
                    <a:pt x="3180" y="4276"/>
                  </a:lnTo>
                  <a:lnTo>
                    <a:pt x="3178" y="4276"/>
                  </a:lnTo>
                  <a:lnTo>
                    <a:pt x="3176" y="4278"/>
                  </a:lnTo>
                  <a:lnTo>
                    <a:pt x="3172" y="4276"/>
                  </a:lnTo>
                  <a:lnTo>
                    <a:pt x="3168" y="4274"/>
                  </a:lnTo>
                  <a:lnTo>
                    <a:pt x="3166" y="4274"/>
                  </a:lnTo>
                  <a:lnTo>
                    <a:pt x="3164" y="4274"/>
                  </a:lnTo>
                  <a:lnTo>
                    <a:pt x="3162" y="4276"/>
                  </a:lnTo>
                  <a:lnTo>
                    <a:pt x="3160" y="4274"/>
                  </a:lnTo>
                  <a:lnTo>
                    <a:pt x="3154" y="4270"/>
                  </a:lnTo>
                  <a:lnTo>
                    <a:pt x="3146" y="4264"/>
                  </a:lnTo>
                  <a:lnTo>
                    <a:pt x="3138" y="4258"/>
                  </a:lnTo>
                  <a:lnTo>
                    <a:pt x="3132" y="4258"/>
                  </a:lnTo>
                  <a:lnTo>
                    <a:pt x="3130" y="4260"/>
                  </a:lnTo>
                  <a:lnTo>
                    <a:pt x="3130" y="4264"/>
                  </a:lnTo>
                  <a:lnTo>
                    <a:pt x="3136" y="4268"/>
                  </a:lnTo>
                  <a:close/>
                  <a:moveTo>
                    <a:pt x="3270" y="4928"/>
                  </a:moveTo>
                  <a:lnTo>
                    <a:pt x="3270" y="4928"/>
                  </a:lnTo>
                  <a:lnTo>
                    <a:pt x="3268" y="4926"/>
                  </a:lnTo>
                  <a:lnTo>
                    <a:pt x="3264" y="4924"/>
                  </a:lnTo>
                  <a:lnTo>
                    <a:pt x="3250" y="4920"/>
                  </a:lnTo>
                  <a:lnTo>
                    <a:pt x="3244" y="4920"/>
                  </a:lnTo>
                  <a:lnTo>
                    <a:pt x="3238" y="4920"/>
                  </a:lnTo>
                  <a:lnTo>
                    <a:pt x="3232" y="4924"/>
                  </a:lnTo>
                  <a:lnTo>
                    <a:pt x="3230" y="4930"/>
                  </a:lnTo>
                  <a:lnTo>
                    <a:pt x="3232" y="4934"/>
                  </a:lnTo>
                  <a:lnTo>
                    <a:pt x="3236" y="4936"/>
                  </a:lnTo>
                  <a:lnTo>
                    <a:pt x="3242" y="4936"/>
                  </a:lnTo>
                  <a:lnTo>
                    <a:pt x="3250" y="4936"/>
                  </a:lnTo>
                  <a:lnTo>
                    <a:pt x="3264" y="4934"/>
                  </a:lnTo>
                  <a:lnTo>
                    <a:pt x="3268" y="4932"/>
                  </a:lnTo>
                  <a:lnTo>
                    <a:pt x="3270" y="4928"/>
                  </a:lnTo>
                  <a:close/>
                  <a:moveTo>
                    <a:pt x="3148" y="4520"/>
                  </a:moveTo>
                  <a:lnTo>
                    <a:pt x="3148" y="4520"/>
                  </a:lnTo>
                  <a:lnTo>
                    <a:pt x="3146" y="4516"/>
                  </a:lnTo>
                  <a:lnTo>
                    <a:pt x="3138" y="4512"/>
                  </a:lnTo>
                  <a:lnTo>
                    <a:pt x="3136" y="4512"/>
                  </a:lnTo>
                  <a:lnTo>
                    <a:pt x="3132" y="4512"/>
                  </a:lnTo>
                  <a:lnTo>
                    <a:pt x="3130" y="4516"/>
                  </a:lnTo>
                  <a:lnTo>
                    <a:pt x="3130" y="4520"/>
                  </a:lnTo>
                  <a:lnTo>
                    <a:pt x="3130" y="4524"/>
                  </a:lnTo>
                  <a:lnTo>
                    <a:pt x="3132" y="4526"/>
                  </a:lnTo>
                  <a:lnTo>
                    <a:pt x="3136" y="4528"/>
                  </a:lnTo>
                  <a:lnTo>
                    <a:pt x="3140" y="4526"/>
                  </a:lnTo>
                  <a:lnTo>
                    <a:pt x="3146" y="4524"/>
                  </a:lnTo>
                  <a:lnTo>
                    <a:pt x="3148" y="4520"/>
                  </a:lnTo>
                  <a:close/>
                  <a:moveTo>
                    <a:pt x="3204" y="4288"/>
                  </a:moveTo>
                  <a:lnTo>
                    <a:pt x="3204" y="4288"/>
                  </a:lnTo>
                  <a:lnTo>
                    <a:pt x="3204" y="4290"/>
                  </a:lnTo>
                  <a:lnTo>
                    <a:pt x="3204" y="4294"/>
                  </a:lnTo>
                  <a:lnTo>
                    <a:pt x="3206" y="4296"/>
                  </a:lnTo>
                  <a:lnTo>
                    <a:pt x="3208" y="4296"/>
                  </a:lnTo>
                  <a:lnTo>
                    <a:pt x="3208" y="4294"/>
                  </a:lnTo>
                  <a:lnTo>
                    <a:pt x="3208" y="4292"/>
                  </a:lnTo>
                  <a:lnTo>
                    <a:pt x="3206" y="4288"/>
                  </a:lnTo>
                  <a:lnTo>
                    <a:pt x="3204" y="4288"/>
                  </a:lnTo>
                  <a:close/>
                  <a:moveTo>
                    <a:pt x="3186" y="4210"/>
                  </a:moveTo>
                  <a:lnTo>
                    <a:pt x="3186" y="4210"/>
                  </a:lnTo>
                  <a:lnTo>
                    <a:pt x="3184" y="4208"/>
                  </a:lnTo>
                  <a:lnTo>
                    <a:pt x="3182" y="4204"/>
                  </a:lnTo>
                  <a:lnTo>
                    <a:pt x="3178" y="4200"/>
                  </a:lnTo>
                  <a:lnTo>
                    <a:pt x="3174" y="4198"/>
                  </a:lnTo>
                  <a:lnTo>
                    <a:pt x="3174" y="4200"/>
                  </a:lnTo>
                  <a:lnTo>
                    <a:pt x="3174" y="4202"/>
                  </a:lnTo>
                  <a:lnTo>
                    <a:pt x="3178" y="4206"/>
                  </a:lnTo>
                  <a:lnTo>
                    <a:pt x="3180" y="4212"/>
                  </a:lnTo>
                  <a:lnTo>
                    <a:pt x="3184" y="4214"/>
                  </a:lnTo>
                  <a:lnTo>
                    <a:pt x="3190" y="4220"/>
                  </a:lnTo>
                  <a:lnTo>
                    <a:pt x="3192" y="4220"/>
                  </a:lnTo>
                  <a:lnTo>
                    <a:pt x="3190" y="4216"/>
                  </a:lnTo>
                  <a:lnTo>
                    <a:pt x="3188" y="4212"/>
                  </a:lnTo>
                  <a:lnTo>
                    <a:pt x="3186" y="4210"/>
                  </a:lnTo>
                  <a:close/>
                  <a:moveTo>
                    <a:pt x="3250" y="5238"/>
                  </a:moveTo>
                  <a:lnTo>
                    <a:pt x="3250" y="5238"/>
                  </a:lnTo>
                  <a:lnTo>
                    <a:pt x="3240" y="5236"/>
                  </a:lnTo>
                  <a:lnTo>
                    <a:pt x="3236" y="5234"/>
                  </a:lnTo>
                  <a:lnTo>
                    <a:pt x="3234" y="5234"/>
                  </a:lnTo>
                  <a:lnTo>
                    <a:pt x="3232" y="5242"/>
                  </a:lnTo>
                  <a:lnTo>
                    <a:pt x="3230" y="5250"/>
                  </a:lnTo>
                  <a:lnTo>
                    <a:pt x="3232" y="5250"/>
                  </a:lnTo>
                  <a:lnTo>
                    <a:pt x="3234" y="5250"/>
                  </a:lnTo>
                  <a:lnTo>
                    <a:pt x="3244" y="5248"/>
                  </a:lnTo>
                  <a:lnTo>
                    <a:pt x="3256" y="5248"/>
                  </a:lnTo>
                  <a:lnTo>
                    <a:pt x="3260" y="5246"/>
                  </a:lnTo>
                  <a:lnTo>
                    <a:pt x="3262" y="5246"/>
                  </a:lnTo>
                  <a:lnTo>
                    <a:pt x="3264" y="5244"/>
                  </a:lnTo>
                  <a:lnTo>
                    <a:pt x="3262" y="5242"/>
                  </a:lnTo>
                  <a:lnTo>
                    <a:pt x="3258" y="5238"/>
                  </a:lnTo>
                  <a:lnTo>
                    <a:pt x="3254" y="5236"/>
                  </a:lnTo>
                  <a:lnTo>
                    <a:pt x="3250" y="5238"/>
                  </a:lnTo>
                  <a:close/>
                  <a:moveTo>
                    <a:pt x="3160" y="4332"/>
                  </a:moveTo>
                  <a:lnTo>
                    <a:pt x="3160" y="4332"/>
                  </a:lnTo>
                  <a:lnTo>
                    <a:pt x="3162" y="4332"/>
                  </a:lnTo>
                  <a:lnTo>
                    <a:pt x="3166" y="4328"/>
                  </a:lnTo>
                  <a:lnTo>
                    <a:pt x="3168" y="4322"/>
                  </a:lnTo>
                  <a:lnTo>
                    <a:pt x="3166" y="4318"/>
                  </a:lnTo>
                  <a:lnTo>
                    <a:pt x="3164" y="4318"/>
                  </a:lnTo>
                  <a:lnTo>
                    <a:pt x="3162" y="4320"/>
                  </a:lnTo>
                  <a:lnTo>
                    <a:pt x="3160" y="4322"/>
                  </a:lnTo>
                  <a:lnTo>
                    <a:pt x="3160" y="4326"/>
                  </a:lnTo>
                  <a:lnTo>
                    <a:pt x="3160" y="4328"/>
                  </a:lnTo>
                  <a:lnTo>
                    <a:pt x="3158" y="4328"/>
                  </a:lnTo>
                  <a:lnTo>
                    <a:pt x="3158" y="4330"/>
                  </a:lnTo>
                  <a:lnTo>
                    <a:pt x="3160" y="4332"/>
                  </a:lnTo>
                  <a:close/>
                  <a:moveTo>
                    <a:pt x="3190" y="5244"/>
                  </a:moveTo>
                  <a:lnTo>
                    <a:pt x="3190" y="5244"/>
                  </a:lnTo>
                  <a:lnTo>
                    <a:pt x="3188" y="5242"/>
                  </a:lnTo>
                  <a:lnTo>
                    <a:pt x="3186" y="5240"/>
                  </a:lnTo>
                  <a:lnTo>
                    <a:pt x="3182" y="5242"/>
                  </a:lnTo>
                  <a:lnTo>
                    <a:pt x="3178" y="5244"/>
                  </a:lnTo>
                  <a:lnTo>
                    <a:pt x="3176" y="5248"/>
                  </a:lnTo>
                  <a:lnTo>
                    <a:pt x="3178" y="5248"/>
                  </a:lnTo>
                  <a:lnTo>
                    <a:pt x="3184" y="5248"/>
                  </a:lnTo>
                  <a:lnTo>
                    <a:pt x="3188" y="5248"/>
                  </a:lnTo>
                  <a:lnTo>
                    <a:pt x="3190" y="5244"/>
                  </a:lnTo>
                  <a:close/>
                  <a:moveTo>
                    <a:pt x="3176" y="5252"/>
                  </a:moveTo>
                  <a:lnTo>
                    <a:pt x="3176" y="5252"/>
                  </a:lnTo>
                  <a:lnTo>
                    <a:pt x="3172" y="5254"/>
                  </a:lnTo>
                  <a:lnTo>
                    <a:pt x="3172" y="5256"/>
                  </a:lnTo>
                  <a:lnTo>
                    <a:pt x="3176" y="5258"/>
                  </a:lnTo>
                  <a:lnTo>
                    <a:pt x="3180" y="5254"/>
                  </a:lnTo>
                  <a:lnTo>
                    <a:pt x="3182" y="5252"/>
                  </a:lnTo>
                  <a:lnTo>
                    <a:pt x="3182" y="5250"/>
                  </a:lnTo>
                  <a:lnTo>
                    <a:pt x="3176" y="5252"/>
                  </a:lnTo>
                  <a:close/>
                  <a:moveTo>
                    <a:pt x="3224" y="5242"/>
                  </a:moveTo>
                  <a:lnTo>
                    <a:pt x="3224" y="5242"/>
                  </a:lnTo>
                  <a:lnTo>
                    <a:pt x="3220" y="5246"/>
                  </a:lnTo>
                  <a:lnTo>
                    <a:pt x="3218" y="5246"/>
                  </a:lnTo>
                  <a:lnTo>
                    <a:pt x="3216" y="5244"/>
                  </a:lnTo>
                  <a:lnTo>
                    <a:pt x="3214" y="5248"/>
                  </a:lnTo>
                  <a:lnTo>
                    <a:pt x="3214" y="5250"/>
                  </a:lnTo>
                  <a:lnTo>
                    <a:pt x="3216" y="5254"/>
                  </a:lnTo>
                  <a:lnTo>
                    <a:pt x="3220" y="5256"/>
                  </a:lnTo>
                  <a:lnTo>
                    <a:pt x="3222" y="5254"/>
                  </a:lnTo>
                  <a:lnTo>
                    <a:pt x="3224" y="5252"/>
                  </a:lnTo>
                  <a:lnTo>
                    <a:pt x="3228" y="5246"/>
                  </a:lnTo>
                  <a:lnTo>
                    <a:pt x="3228" y="5240"/>
                  </a:lnTo>
                  <a:lnTo>
                    <a:pt x="3228" y="5238"/>
                  </a:lnTo>
                  <a:lnTo>
                    <a:pt x="3226" y="5238"/>
                  </a:lnTo>
                  <a:lnTo>
                    <a:pt x="3224" y="5242"/>
                  </a:lnTo>
                  <a:close/>
                  <a:moveTo>
                    <a:pt x="3202" y="5252"/>
                  </a:moveTo>
                  <a:lnTo>
                    <a:pt x="3202" y="5252"/>
                  </a:lnTo>
                  <a:lnTo>
                    <a:pt x="3204" y="5250"/>
                  </a:lnTo>
                  <a:lnTo>
                    <a:pt x="3206" y="5248"/>
                  </a:lnTo>
                  <a:lnTo>
                    <a:pt x="3206" y="5246"/>
                  </a:lnTo>
                  <a:lnTo>
                    <a:pt x="3210" y="5244"/>
                  </a:lnTo>
                  <a:lnTo>
                    <a:pt x="3212" y="5240"/>
                  </a:lnTo>
                  <a:lnTo>
                    <a:pt x="3208" y="5240"/>
                  </a:lnTo>
                  <a:lnTo>
                    <a:pt x="3198" y="5240"/>
                  </a:lnTo>
                  <a:lnTo>
                    <a:pt x="3194" y="5242"/>
                  </a:lnTo>
                  <a:lnTo>
                    <a:pt x="3194" y="5246"/>
                  </a:lnTo>
                  <a:lnTo>
                    <a:pt x="3194" y="5248"/>
                  </a:lnTo>
                  <a:lnTo>
                    <a:pt x="3188" y="5254"/>
                  </a:lnTo>
                  <a:lnTo>
                    <a:pt x="3184" y="5256"/>
                  </a:lnTo>
                  <a:lnTo>
                    <a:pt x="3186" y="5256"/>
                  </a:lnTo>
                  <a:lnTo>
                    <a:pt x="3196" y="5258"/>
                  </a:lnTo>
                  <a:lnTo>
                    <a:pt x="3200" y="5256"/>
                  </a:lnTo>
                  <a:lnTo>
                    <a:pt x="3200" y="5254"/>
                  </a:lnTo>
                  <a:lnTo>
                    <a:pt x="3202" y="5252"/>
                  </a:lnTo>
                  <a:close/>
                  <a:moveTo>
                    <a:pt x="3244" y="4390"/>
                  </a:moveTo>
                  <a:lnTo>
                    <a:pt x="3244" y="4390"/>
                  </a:lnTo>
                  <a:lnTo>
                    <a:pt x="3242" y="4392"/>
                  </a:lnTo>
                  <a:lnTo>
                    <a:pt x="3242" y="4394"/>
                  </a:lnTo>
                  <a:lnTo>
                    <a:pt x="3246" y="4396"/>
                  </a:lnTo>
                  <a:lnTo>
                    <a:pt x="3250" y="4396"/>
                  </a:lnTo>
                  <a:lnTo>
                    <a:pt x="3252" y="4394"/>
                  </a:lnTo>
                  <a:lnTo>
                    <a:pt x="3250" y="4392"/>
                  </a:lnTo>
                  <a:lnTo>
                    <a:pt x="3246" y="4390"/>
                  </a:lnTo>
                  <a:lnTo>
                    <a:pt x="3244" y="4390"/>
                  </a:lnTo>
                  <a:close/>
                  <a:moveTo>
                    <a:pt x="3228" y="4278"/>
                  </a:moveTo>
                  <a:lnTo>
                    <a:pt x="3228" y="4278"/>
                  </a:lnTo>
                  <a:lnTo>
                    <a:pt x="3228" y="4280"/>
                  </a:lnTo>
                  <a:lnTo>
                    <a:pt x="3230" y="4284"/>
                  </a:lnTo>
                  <a:lnTo>
                    <a:pt x="3234" y="4290"/>
                  </a:lnTo>
                  <a:lnTo>
                    <a:pt x="3234" y="4294"/>
                  </a:lnTo>
                  <a:lnTo>
                    <a:pt x="3232" y="4298"/>
                  </a:lnTo>
                  <a:lnTo>
                    <a:pt x="3234" y="4300"/>
                  </a:lnTo>
                  <a:lnTo>
                    <a:pt x="3234" y="4302"/>
                  </a:lnTo>
                  <a:lnTo>
                    <a:pt x="3232" y="4304"/>
                  </a:lnTo>
                  <a:lnTo>
                    <a:pt x="3232" y="4306"/>
                  </a:lnTo>
                  <a:lnTo>
                    <a:pt x="3234" y="4308"/>
                  </a:lnTo>
                  <a:lnTo>
                    <a:pt x="3238" y="4308"/>
                  </a:lnTo>
                  <a:lnTo>
                    <a:pt x="3240" y="4306"/>
                  </a:lnTo>
                  <a:lnTo>
                    <a:pt x="3240" y="4304"/>
                  </a:lnTo>
                  <a:lnTo>
                    <a:pt x="3242" y="4304"/>
                  </a:lnTo>
                  <a:lnTo>
                    <a:pt x="3246" y="4308"/>
                  </a:lnTo>
                  <a:lnTo>
                    <a:pt x="3248" y="4314"/>
                  </a:lnTo>
                  <a:lnTo>
                    <a:pt x="3248" y="4318"/>
                  </a:lnTo>
                  <a:lnTo>
                    <a:pt x="3248" y="4322"/>
                  </a:lnTo>
                  <a:lnTo>
                    <a:pt x="3246" y="4328"/>
                  </a:lnTo>
                  <a:lnTo>
                    <a:pt x="3248" y="4332"/>
                  </a:lnTo>
                  <a:lnTo>
                    <a:pt x="3248" y="4334"/>
                  </a:lnTo>
                  <a:lnTo>
                    <a:pt x="3248" y="4338"/>
                  </a:lnTo>
                  <a:lnTo>
                    <a:pt x="3246" y="4342"/>
                  </a:lnTo>
                  <a:lnTo>
                    <a:pt x="3248" y="4344"/>
                  </a:lnTo>
                  <a:lnTo>
                    <a:pt x="3256" y="4348"/>
                  </a:lnTo>
                  <a:lnTo>
                    <a:pt x="3258" y="4350"/>
                  </a:lnTo>
                  <a:lnTo>
                    <a:pt x="3258" y="4344"/>
                  </a:lnTo>
                  <a:lnTo>
                    <a:pt x="3256" y="4338"/>
                  </a:lnTo>
                  <a:lnTo>
                    <a:pt x="3256" y="4336"/>
                  </a:lnTo>
                  <a:lnTo>
                    <a:pt x="3256" y="4334"/>
                  </a:lnTo>
                  <a:lnTo>
                    <a:pt x="3258" y="4336"/>
                  </a:lnTo>
                  <a:lnTo>
                    <a:pt x="3260" y="4342"/>
                  </a:lnTo>
                  <a:lnTo>
                    <a:pt x="3262" y="4348"/>
                  </a:lnTo>
                  <a:lnTo>
                    <a:pt x="3266" y="4354"/>
                  </a:lnTo>
                  <a:lnTo>
                    <a:pt x="3270" y="4356"/>
                  </a:lnTo>
                  <a:lnTo>
                    <a:pt x="3270" y="4354"/>
                  </a:lnTo>
                  <a:lnTo>
                    <a:pt x="3266" y="4344"/>
                  </a:lnTo>
                  <a:lnTo>
                    <a:pt x="3264" y="4342"/>
                  </a:lnTo>
                  <a:lnTo>
                    <a:pt x="3266" y="4342"/>
                  </a:lnTo>
                  <a:lnTo>
                    <a:pt x="3268" y="4340"/>
                  </a:lnTo>
                  <a:lnTo>
                    <a:pt x="3270" y="4338"/>
                  </a:lnTo>
                  <a:lnTo>
                    <a:pt x="3268" y="4332"/>
                  </a:lnTo>
                  <a:lnTo>
                    <a:pt x="3266" y="4330"/>
                  </a:lnTo>
                  <a:lnTo>
                    <a:pt x="3266" y="4326"/>
                  </a:lnTo>
                  <a:lnTo>
                    <a:pt x="3264" y="4322"/>
                  </a:lnTo>
                  <a:lnTo>
                    <a:pt x="3260" y="4318"/>
                  </a:lnTo>
                  <a:lnTo>
                    <a:pt x="3260" y="4316"/>
                  </a:lnTo>
                  <a:lnTo>
                    <a:pt x="3258" y="4312"/>
                  </a:lnTo>
                  <a:lnTo>
                    <a:pt x="3258" y="4304"/>
                  </a:lnTo>
                  <a:lnTo>
                    <a:pt x="3258" y="4296"/>
                  </a:lnTo>
                  <a:lnTo>
                    <a:pt x="3258" y="4294"/>
                  </a:lnTo>
                  <a:lnTo>
                    <a:pt x="3256" y="4292"/>
                  </a:lnTo>
                  <a:lnTo>
                    <a:pt x="3254" y="4290"/>
                  </a:lnTo>
                  <a:lnTo>
                    <a:pt x="3256" y="4288"/>
                  </a:lnTo>
                  <a:lnTo>
                    <a:pt x="3256" y="4284"/>
                  </a:lnTo>
                  <a:lnTo>
                    <a:pt x="3252" y="4284"/>
                  </a:lnTo>
                  <a:lnTo>
                    <a:pt x="3248" y="4284"/>
                  </a:lnTo>
                  <a:lnTo>
                    <a:pt x="3246" y="4286"/>
                  </a:lnTo>
                  <a:lnTo>
                    <a:pt x="3244" y="4288"/>
                  </a:lnTo>
                  <a:lnTo>
                    <a:pt x="3240" y="4286"/>
                  </a:lnTo>
                  <a:lnTo>
                    <a:pt x="3234" y="4280"/>
                  </a:lnTo>
                  <a:lnTo>
                    <a:pt x="3230" y="4278"/>
                  </a:lnTo>
                  <a:lnTo>
                    <a:pt x="3228" y="4278"/>
                  </a:lnTo>
                  <a:close/>
                  <a:moveTo>
                    <a:pt x="3292" y="3100"/>
                  </a:moveTo>
                  <a:lnTo>
                    <a:pt x="3292" y="3100"/>
                  </a:lnTo>
                  <a:lnTo>
                    <a:pt x="3294" y="3100"/>
                  </a:lnTo>
                  <a:lnTo>
                    <a:pt x="3296" y="3094"/>
                  </a:lnTo>
                  <a:lnTo>
                    <a:pt x="3296" y="3092"/>
                  </a:lnTo>
                  <a:lnTo>
                    <a:pt x="3294" y="3094"/>
                  </a:lnTo>
                  <a:lnTo>
                    <a:pt x="3292" y="3096"/>
                  </a:lnTo>
                  <a:lnTo>
                    <a:pt x="3292" y="3100"/>
                  </a:lnTo>
                  <a:close/>
                  <a:moveTo>
                    <a:pt x="3208" y="4238"/>
                  </a:moveTo>
                  <a:lnTo>
                    <a:pt x="3208" y="4238"/>
                  </a:lnTo>
                  <a:lnTo>
                    <a:pt x="3210" y="4234"/>
                  </a:lnTo>
                  <a:lnTo>
                    <a:pt x="3208" y="4228"/>
                  </a:lnTo>
                  <a:lnTo>
                    <a:pt x="3204" y="4224"/>
                  </a:lnTo>
                  <a:lnTo>
                    <a:pt x="3202" y="4222"/>
                  </a:lnTo>
                  <a:lnTo>
                    <a:pt x="3200" y="4222"/>
                  </a:lnTo>
                  <a:lnTo>
                    <a:pt x="3200" y="4224"/>
                  </a:lnTo>
                  <a:lnTo>
                    <a:pt x="3204" y="4230"/>
                  </a:lnTo>
                  <a:lnTo>
                    <a:pt x="3208" y="4238"/>
                  </a:lnTo>
                  <a:close/>
                  <a:moveTo>
                    <a:pt x="3164" y="4238"/>
                  </a:moveTo>
                  <a:lnTo>
                    <a:pt x="3164" y="4238"/>
                  </a:lnTo>
                  <a:lnTo>
                    <a:pt x="3164" y="4232"/>
                  </a:lnTo>
                  <a:lnTo>
                    <a:pt x="3162" y="4230"/>
                  </a:lnTo>
                  <a:lnTo>
                    <a:pt x="3158" y="4230"/>
                  </a:lnTo>
                  <a:lnTo>
                    <a:pt x="3154" y="4232"/>
                  </a:lnTo>
                  <a:lnTo>
                    <a:pt x="3152" y="4232"/>
                  </a:lnTo>
                  <a:lnTo>
                    <a:pt x="3154" y="4234"/>
                  </a:lnTo>
                  <a:lnTo>
                    <a:pt x="3156" y="4236"/>
                  </a:lnTo>
                  <a:lnTo>
                    <a:pt x="3160" y="4240"/>
                  </a:lnTo>
                  <a:lnTo>
                    <a:pt x="3162" y="4240"/>
                  </a:lnTo>
                  <a:lnTo>
                    <a:pt x="3164" y="4238"/>
                  </a:lnTo>
                  <a:close/>
                  <a:moveTo>
                    <a:pt x="3196" y="4228"/>
                  </a:moveTo>
                  <a:lnTo>
                    <a:pt x="3196" y="4228"/>
                  </a:lnTo>
                  <a:lnTo>
                    <a:pt x="3192" y="4228"/>
                  </a:lnTo>
                  <a:lnTo>
                    <a:pt x="3190" y="4228"/>
                  </a:lnTo>
                  <a:lnTo>
                    <a:pt x="3188" y="4228"/>
                  </a:lnTo>
                  <a:lnTo>
                    <a:pt x="3186" y="4232"/>
                  </a:lnTo>
                  <a:lnTo>
                    <a:pt x="3188" y="4238"/>
                  </a:lnTo>
                  <a:lnTo>
                    <a:pt x="3186" y="4242"/>
                  </a:lnTo>
                  <a:lnTo>
                    <a:pt x="3182" y="4256"/>
                  </a:lnTo>
                  <a:lnTo>
                    <a:pt x="3182" y="4258"/>
                  </a:lnTo>
                  <a:lnTo>
                    <a:pt x="3184" y="4258"/>
                  </a:lnTo>
                  <a:lnTo>
                    <a:pt x="3186" y="4254"/>
                  </a:lnTo>
                  <a:lnTo>
                    <a:pt x="3196" y="4244"/>
                  </a:lnTo>
                  <a:lnTo>
                    <a:pt x="3198" y="4244"/>
                  </a:lnTo>
                  <a:lnTo>
                    <a:pt x="3200" y="4244"/>
                  </a:lnTo>
                  <a:lnTo>
                    <a:pt x="3202" y="4250"/>
                  </a:lnTo>
                  <a:lnTo>
                    <a:pt x="3204" y="4256"/>
                  </a:lnTo>
                  <a:lnTo>
                    <a:pt x="3206" y="4258"/>
                  </a:lnTo>
                  <a:lnTo>
                    <a:pt x="3208" y="4260"/>
                  </a:lnTo>
                  <a:lnTo>
                    <a:pt x="3212" y="4262"/>
                  </a:lnTo>
                  <a:lnTo>
                    <a:pt x="3218" y="4266"/>
                  </a:lnTo>
                  <a:lnTo>
                    <a:pt x="3222" y="4268"/>
                  </a:lnTo>
                  <a:lnTo>
                    <a:pt x="3220" y="4264"/>
                  </a:lnTo>
                  <a:lnTo>
                    <a:pt x="3218" y="4258"/>
                  </a:lnTo>
                  <a:lnTo>
                    <a:pt x="3216" y="4252"/>
                  </a:lnTo>
                  <a:lnTo>
                    <a:pt x="3214" y="4246"/>
                  </a:lnTo>
                  <a:lnTo>
                    <a:pt x="3210" y="4242"/>
                  </a:lnTo>
                  <a:lnTo>
                    <a:pt x="3206" y="4240"/>
                  </a:lnTo>
                  <a:lnTo>
                    <a:pt x="3202" y="4234"/>
                  </a:lnTo>
                  <a:lnTo>
                    <a:pt x="3198" y="4230"/>
                  </a:lnTo>
                  <a:lnTo>
                    <a:pt x="3196" y="4228"/>
                  </a:lnTo>
                  <a:close/>
                  <a:moveTo>
                    <a:pt x="3152" y="5104"/>
                  </a:moveTo>
                  <a:lnTo>
                    <a:pt x="3152" y="5104"/>
                  </a:lnTo>
                  <a:lnTo>
                    <a:pt x="3160" y="5100"/>
                  </a:lnTo>
                  <a:lnTo>
                    <a:pt x="3162" y="5098"/>
                  </a:lnTo>
                  <a:lnTo>
                    <a:pt x="3162" y="5094"/>
                  </a:lnTo>
                  <a:lnTo>
                    <a:pt x="3160" y="5090"/>
                  </a:lnTo>
                  <a:lnTo>
                    <a:pt x="3162" y="5084"/>
                  </a:lnTo>
                  <a:lnTo>
                    <a:pt x="3164" y="5078"/>
                  </a:lnTo>
                  <a:lnTo>
                    <a:pt x="3166" y="5070"/>
                  </a:lnTo>
                  <a:lnTo>
                    <a:pt x="3164" y="5066"/>
                  </a:lnTo>
                  <a:lnTo>
                    <a:pt x="3164" y="5064"/>
                  </a:lnTo>
                  <a:lnTo>
                    <a:pt x="3160" y="5064"/>
                  </a:lnTo>
                  <a:lnTo>
                    <a:pt x="3158" y="5064"/>
                  </a:lnTo>
                  <a:lnTo>
                    <a:pt x="3152" y="5070"/>
                  </a:lnTo>
                  <a:lnTo>
                    <a:pt x="3150" y="5074"/>
                  </a:lnTo>
                  <a:lnTo>
                    <a:pt x="3150" y="5078"/>
                  </a:lnTo>
                  <a:lnTo>
                    <a:pt x="3150" y="5090"/>
                  </a:lnTo>
                  <a:lnTo>
                    <a:pt x="3148" y="5098"/>
                  </a:lnTo>
                  <a:lnTo>
                    <a:pt x="3148" y="5104"/>
                  </a:lnTo>
                  <a:lnTo>
                    <a:pt x="3148" y="5106"/>
                  </a:lnTo>
                  <a:lnTo>
                    <a:pt x="3152" y="5104"/>
                  </a:lnTo>
                  <a:close/>
                  <a:moveTo>
                    <a:pt x="3192" y="4332"/>
                  </a:moveTo>
                  <a:lnTo>
                    <a:pt x="3192" y="4332"/>
                  </a:lnTo>
                  <a:lnTo>
                    <a:pt x="3198" y="4322"/>
                  </a:lnTo>
                  <a:lnTo>
                    <a:pt x="3198" y="4314"/>
                  </a:lnTo>
                  <a:lnTo>
                    <a:pt x="3196" y="4308"/>
                  </a:lnTo>
                  <a:lnTo>
                    <a:pt x="3196" y="4306"/>
                  </a:lnTo>
                  <a:lnTo>
                    <a:pt x="3192" y="4306"/>
                  </a:lnTo>
                  <a:lnTo>
                    <a:pt x="3190" y="4304"/>
                  </a:lnTo>
                  <a:lnTo>
                    <a:pt x="3186" y="4304"/>
                  </a:lnTo>
                  <a:lnTo>
                    <a:pt x="3184" y="4304"/>
                  </a:lnTo>
                  <a:lnTo>
                    <a:pt x="3178" y="4306"/>
                  </a:lnTo>
                  <a:lnTo>
                    <a:pt x="3176" y="4310"/>
                  </a:lnTo>
                  <a:lnTo>
                    <a:pt x="3174" y="4312"/>
                  </a:lnTo>
                  <a:lnTo>
                    <a:pt x="3174" y="4316"/>
                  </a:lnTo>
                  <a:lnTo>
                    <a:pt x="3176" y="4320"/>
                  </a:lnTo>
                  <a:lnTo>
                    <a:pt x="3174" y="4322"/>
                  </a:lnTo>
                  <a:lnTo>
                    <a:pt x="3172" y="4324"/>
                  </a:lnTo>
                  <a:lnTo>
                    <a:pt x="3170" y="4326"/>
                  </a:lnTo>
                  <a:lnTo>
                    <a:pt x="3170" y="4330"/>
                  </a:lnTo>
                  <a:lnTo>
                    <a:pt x="3172" y="4336"/>
                  </a:lnTo>
                  <a:lnTo>
                    <a:pt x="3172" y="4344"/>
                  </a:lnTo>
                  <a:lnTo>
                    <a:pt x="3172" y="4348"/>
                  </a:lnTo>
                  <a:lnTo>
                    <a:pt x="3168" y="4352"/>
                  </a:lnTo>
                  <a:lnTo>
                    <a:pt x="3164" y="4354"/>
                  </a:lnTo>
                  <a:lnTo>
                    <a:pt x="3162" y="4354"/>
                  </a:lnTo>
                  <a:lnTo>
                    <a:pt x="3158" y="4352"/>
                  </a:lnTo>
                  <a:lnTo>
                    <a:pt x="3154" y="4352"/>
                  </a:lnTo>
                  <a:lnTo>
                    <a:pt x="3152" y="4358"/>
                  </a:lnTo>
                  <a:lnTo>
                    <a:pt x="3152" y="4364"/>
                  </a:lnTo>
                  <a:lnTo>
                    <a:pt x="3156" y="4372"/>
                  </a:lnTo>
                  <a:lnTo>
                    <a:pt x="3162" y="4380"/>
                  </a:lnTo>
                  <a:lnTo>
                    <a:pt x="3166" y="4382"/>
                  </a:lnTo>
                  <a:lnTo>
                    <a:pt x="3170" y="4384"/>
                  </a:lnTo>
                  <a:lnTo>
                    <a:pt x="3172" y="4392"/>
                  </a:lnTo>
                  <a:lnTo>
                    <a:pt x="3176" y="4398"/>
                  </a:lnTo>
                  <a:lnTo>
                    <a:pt x="3178" y="4400"/>
                  </a:lnTo>
                  <a:lnTo>
                    <a:pt x="3180" y="4400"/>
                  </a:lnTo>
                  <a:lnTo>
                    <a:pt x="3184" y="4396"/>
                  </a:lnTo>
                  <a:lnTo>
                    <a:pt x="3188" y="4392"/>
                  </a:lnTo>
                  <a:lnTo>
                    <a:pt x="3190" y="4388"/>
                  </a:lnTo>
                  <a:lnTo>
                    <a:pt x="3190" y="4384"/>
                  </a:lnTo>
                  <a:lnTo>
                    <a:pt x="3186" y="4376"/>
                  </a:lnTo>
                  <a:lnTo>
                    <a:pt x="3182" y="4364"/>
                  </a:lnTo>
                  <a:lnTo>
                    <a:pt x="3182" y="4360"/>
                  </a:lnTo>
                  <a:lnTo>
                    <a:pt x="3184" y="4356"/>
                  </a:lnTo>
                  <a:lnTo>
                    <a:pt x="3188" y="4348"/>
                  </a:lnTo>
                  <a:lnTo>
                    <a:pt x="3188" y="4344"/>
                  </a:lnTo>
                  <a:lnTo>
                    <a:pt x="3190" y="4338"/>
                  </a:lnTo>
                  <a:lnTo>
                    <a:pt x="3192" y="4332"/>
                  </a:lnTo>
                  <a:close/>
                  <a:moveTo>
                    <a:pt x="3202" y="4390"/>
                  </a:moveTo>
                  <a:lnTo>
                    <a:pt x="3202" y="4390"/>
                  </a:lnTo>
                  <a:lnTo>
                    <a:pt x="3200" y="4392"/>
                  </a:lnTo>
                  <a:lnTo>
                    <a:pt x="3196" y="4392"/>
                  </a:lnTo>
                  <a:lnTo>
                    <a:pt x="3198" y="4394"/>
                  </a:lnTo>
                  <a:lnTo>
                    <a:pt x="3202" y="4396"/>
                  </a:lnTo>
                  <a:lnTo>
                    <a:pt x="3204" y="4396"/>
                  </a:lnTo>
                  <a:lnTo>
                    <a:pt x="3206" y="4394"/>
                  </a:lnTo>
                  <a:lnTo>
                    <a:pt x="3204" y="4390"/>
                  </a:lnTo>
                  <a:lnTo>
                    <a:pt x="3202" y="4388"/>
                  </a:lnTo>
                  <a:lnTo>
                    <a:pt x="3202" y="4390"/>
                  </a:lnTo>
                  <a:close/>
                  <a:moveTo>
                    <a:pt x="3218" y="4324"/>
                  </a:moveTo>
                  <a:lnTo>
                    <a:pt x="3218" y="4324"/>
                  </a:lnTo>
                  <a:lnTo>
                    <a:pt x="3218" y="4318"/>
                  </a:lnTo>
                  <a:lnTo>
                    <a:pt x="3220" y="4314"/>
                  </a:lnTo>
                  <a:lnTo>
                    <a:pt x="3222" y="4310"/>
                  </a:lnTo>
                  <a:lnTo>
                    <a:pt x="3222" y="4308"/>
                  </a:lnTo>
                  <a:lnTo>
                    <a:pt x="3220" y="4300"/>
                  </a:lnTo>
                  <a:lnTo>
                    <a:pt x="3220" y="4292"/>
                  </a:lnTo>
                  <a:lnTo>
                    <a:pt x="3218" y="4290"/>
                  </a:lnTo>
                  <a:lnTo>
                    <a:pt x="3216" y="4298"/>
                  </a:lnTo>
                  <a:lnTo>
                    <a:pt x="3210" y="4312"/>
                  </a:lnTo>
                  <a:lnTo>
                    <a:pt x="3208" y="4316"/>
                  </a:lnTo>
                  <a:lnTo>
                    <a:pt x="3206" y="4324"/>
                  </a:lnTo>
                  <a:lnTo>
                    <a:pt x="3204" y="4334"/>
                  </a:lnTo>
                  <a:lnTo>
                    <a:pt x="3198" y="4342"/>
                  </a:lnTo>
                  <a:lnTo>
                    <a:pt x="3194" y="4348"/>
                  </a:lnTo>
                  <a:lnTo>
                    <a:pt x="3192" y="4354"/>
                  </a:lnTo>
                  <a:lnTo>
                    <a:pt x="3192" y="4362"/>
                  </a:lnTo>
                  <a:lnTo>
                    <a:pt x="3190" y="4374"/>
                  </a:lnTo>
                  <a:lnTo>
                    <a:pt x="3190" y="4380"/>
                  </a:lnTo>
                  <a:lnTo>
                    <a:pt x="3192" y="4380"/>
                  </a:lnTo>
                  <a:lnTo>
                    <a:pt x="3194" y="4376"/>
                  </a:lnTo>
                  <a:lnTo>
                    <a:pt x="3198" y="4368"/>
                  </a:lnTo>
                  <a:lnTo>
                    <a:pt x="3200" y="4362"/>
                  </a:lnTo>
                  <a:lnTo>
                    <a:pt x="3202" y="4360"/>
                  </a:lnTo>
                  <a:lnTo>
                    <a:pt x="3204" y="4358"/>
                  </a:lnTo>
                  <a:lnTo>
                    <a:pt x="3204" y="4352"/>
                  </a:lnTo>
                  <a:lnTo>
                    <a:pt x="3204" y="4348"/>
                  </a:lnTo>
                  <a:lnTo>
                    <a:pt x="3206" y="4344"/>
                  </a:lnTo>
                  <a:lnTo>
                    <a:pt x="3212" y="4340"/>
                  </a:lnTo>
                  <a:lnTo>
                    <a:pt x="3218" y="4332"/>
                  </a:lnTo>
                  <a:lnTo>
                    <a:pt x="3220" y="4328"/>
                  </a:lnTo>
                  <a:lnTo>
                    <a:pt x="3218" y="4324"/>
                  </a:lnTo>
                  <a:close/>
                  <a:moveTo>
                    <a:pt x="3226" y="4342"/>
                  </a:moveTo>
                  <a:lnTo>
                    <a:pt x="3226" y="4342"/>
                  </a:lnTo>
                  <a:lnTo>
                    <a:pt x="3222" y="4350"/>
                  </a:lnTo>
                  <a:lnTo>
                    <a:pt x="3216" y="4354"/>
                  </a:lnTo>
                  <a:lnTo>
                    <a:pt x="3214" y="4356"/>
                  </a:lnTo>
                  <a:lnTo>
                    <a:pt x="3210" y="4360"/>
                  </a:lnTo>
                  <a:lnTo>
                    <a:pt x="3210" y="4364"/>
                  </a:lnTo>
                  <a:lnTo>
                    <a:pt x="3212" y="4368"/>
                  </a:lnTo>
                  <a:lnTo>
                    <a:pt x="3214" y="4370"/>
                  </a:lnTo>
                  <a:lnTo>
                    <a:pt x="3216" y="4372"/>
                  </a:lnTo>
                  <a:lnTo>
                    <a:pt x="3224" y="4372"/>
                  </a:lnTo>
                  <a:lnTo>
                    <a:pt x="3230" y="4370"/>
                  </a:lnTo>
                  <a:lnTo>
                    <a:pt x="3234" y="4368"/>
                  </a:lnTo>
                  <a:lnTo>
                    <a:pt x="3236" y="4366"/>
                  </a:lnTo>
                  <a:lnTo>
                    <a:pt x="3240" y="4366"/>
                  </a:lnTo>
                  <a:lnTo>
                    <a:pt x="3240" y="4364"/>
                  </a:lnTo>
                  <a:lnTo>
                    <a:pt x="3240" y="4362"/>
                  </a:lnTo>
                  <a:lnTo>
                    <a:pt x="3240" y="4356"/>
                  </a:lnTo>
                  <a:lnTo>
                    <a:pt x="3242" y="4352"/>
                  </a:lnTo>
                  <a:lnTo>
                    <a:pt x="3242" y="4346"/>
                  </a:lnTo>
                  <a:lnTo>
                    <a:pt x="3242" y="4344"/>
                  </a:lnTo>
                  <a:lnTo>
                    <a:pt x="3240" y="4344"/>
                  </a:lnTo>
                  <a:lnTo>
                    <a:pt x="3238" y="4346"/>
                  </a:lnTo>
                  <a:lnTo>
                    <a:pt x="3238" y="4348"/>
                  </a:lnTo>
                  <a:lnTo>
                    <a:pt x="3234" y="4348"/>
                  </a:lnTo>
                  <a:lnTo>
                    <a:pt x="3232" y="4346"/>
                  </a:lnTo>
                  <a:lnTo>
                    <a:pt x="3228" y="4342"/>
                  </a:lnTo>
                  <a:lnTo>
                    <a:pt x="3228" y="4340"/>
                  </a:lnTo>
                  <a:lnTo>
                    <a:pt x="3226" y="4342"/>
                  </a:lnTo>
                  <a:close/>
                  <a:moveTo>
                    <a:pt x="3240" y="4278"/>
                  </a:moveTo>
                  <a:lnTo>
                    <a:pt x="3240" y="4278"/>
                  </a:lnTo>
                  <a:lnTo>
                    <a:pt x="3242" y="4278"/>
                  </a:lnTo>
                  <a:lnTo>
                    <a:pt x="3242" y="4274"/>
                  </a:lnTo>
                  <a:lnTo>
                    <a:pt x="3240" y="4270"/>
                  </a:lnTo>
                  <a:lnTo>
                    <a:pt x="3236" y="4270"/>
                  </a:lnTo>
                  <a:lnTo>
                    <a:pt x="3234" y="4270"/>
                  </a:lnTo>
                  <a:lnTo>
                    <a:pt x="3234" y="4274"/>
                  </a:lnTo>
                  <a:lnTo>
                    <a:pt x="3236" y="4278"/>
                  </a:lnTo>
                  <a:lnTo>
                    <a:pt x="3240" y="4278"/>
                  </a:lnTo>
                  <a:close/>
                  <a:moveTo>
                    <a:pt x="3164" y="5116"/>
                  </a:moveTo>
                  <a:lnTo>
                    <a:pt x="3164" y="5116"/>
                  </a:lnTo>
                  <a:lnTo>
                    <a:pt x="3166" y="5118"/>
                  </a:lnTo>
                  <a:lnTo>
                    <a:pt x="3168" y="5116"/>
                  </a:lnTo>
                  <a:lnTo>
                    <a:pt x="3172" y="5110"/>
                  </a:lnTo>
                  <a:lnTo>
                    <a:pt x="3174" y="5106"/>
                  </a:lnTo>
                  <a:lnTo>
                    <a:pt x="3176" y="5104"/>
                  </a:lnTo>
                  <a:lnTo>
                    <a:pt x="3182" y="5102"/>
                  </a:lnTo>
                  <a:lnTo>
                    <a:pt x="3184" y="5102"/>
                  </a:lnTo>
                  <a:lnTo>
                    <a:pt x="3186" y="5100"/>
                  </a:lnTo>
                  <a:lnTo>
                    <a:pt x="3180" y="5092"/>
                  </a:lnTo>
                  <a:lnTo>
                    <a:pt x="3176" y="5086"/>
                  </a:lnTo>
                  <a:lnTo>
                    <a:pt x="3176" y="5082"/>
                  </a:lnTo>
                  <a:lnTo>
                    <a:pt x="3176" y="5078"/>
                  </a:lnTo>
                  <a:lnTo>
                    <a:pt x="3178" y="5076"/>
                  </a:lnTo>
                  <a:lnTo>
                    <a:pt x="3184" y="5070"/>
                  </a:lnTo>
                  <a:lnTo>
                    <a:pt x="3184" y="5064"/>
                  </a:lnTo>
                  <a:lnTo>
                    <a:pt x="3182" y="5058"/>
                  </a:lnTo>
                  <a:lnTo>
                    <a:pt x="3180" y="5054"/>
                  </a:lnTo>
                  <a:lnTo>
                    <a:pt x="3178" y="5052"/>
                  </a:lnTo>
                  <a:lnTo>
                    <a:pt x="3174" y="5054"/>
                  </a:lnTo>
                  <a:lnTo>
                    <a:pt x="3172" y="5058"/>
                  </a:lnTo>
                  <a:lnTo>
                    <a:pt x="3170" y="5070"/>
                  </a:lnTo>
                  <a:lnTo>
                    <a:pt x="3168" y="5086"/>
                  </a:lnTo>
                  <a:lnTo>
                    <a:pt x="3166" y="5094"/>
                  </a:lnTo>
                  <a:lnTo>
                    <a:pt x="3164" y="5100"/>
                  </a:lnTo>
                  <a:lnTo>
                    <a:pt x="3160" y="5108"/>
                  </a:lnTo>
                  <a:lnTo>
                    <a:pt x="3158" y="5110"/>
                  </a:lnTo>
                  <a:lnTo>
                    <a:pt x="3158" y="5112"/>
                  </a:lnTo>
                  <a:lnTo>
                    <a:pt x="3164" y="5116"/>
                  </a:lnTo>
                  <a:close/>
                  <a:moveTo>
                    <a:pt x="3346" y="4866"/>
                  </a:moveTo>
                  <a:lnTo>
                    <a:pt x="3346" y="4866"/>
                  </a:lnTo>
                  <a:lnTo>
                    <a:pt x="3348" y="4862"/>
                  </a:lnTo>
                  <a:lnTo>
                    <a:pt x="3348" y="4858"/>
                  </a:lnTo>
                  <a:lnTo>
                    <a:pt x="3348" y="4852"/>
                  </a:lnTo>
                  <a:lnTo>
                    <a:pt x="3346" y="4852"/>
                  </a:lnTo>
                  <a:lnTo>
                    <a:pt x="3344" y="4852"/>
                  </a:lnTo>
                  <a:lnTo>
                    <a:pt x="3342" y="4856"/>
                  </a:lnTo>
                  <a:lnTo>
                    <a:pt x="3342" y="4860"/>
                  </a:lnTo>
                  <a:lnTo>
                    <a:pt x="3342" y="4864"/>
                  </a:lnTo>
                  <a:lnTo>
                    <a:pt x="3344" y="4866"/>
                  </a:lnTo>
                  <a:lnTo>
                    <a:pt x="3346" y="4866"/>
                  </a:lnTo>
                  <a:close/>
                  <a:moveTo>
                    <a:pt x="3342" y="4998"/>
                  </a:moveTo>
                  <a:lnTo>
                    <a:pt x="3342" y="4998"/>
                  </a:lnTo>
                  <a:lnTo>
                    <a:pt x="3336" y="4992"/>
                  </a:lnTo>
                  <a:lnTo>
                    <a:pt x="3330" y="4990"/>
                  </a:lnTo>
                  <a:lnTo>
                    <a:pt x="3324" y="4986"/>
                  </a:lnTo>
                  <a:lnTo>
                    <a:pt x="3316" y="4986"/>
                  </a:lnTo>
                  <a:lnTo>
                    <a:pt x="3310" y="4986"/>
                  </a:lnTo>
                  <a:lnTo>
                    <a:pt x="3304" y="4988"/>
                  </a:lnTo>
                  <a:lnTo>
                    <a:pt x="3300" y="4992"/>
                  </a:lnTo>
                  <a:lnTo>
                    <a:pt x="3298" y="4996"/>
                  </a:lnTo>
                  <a:lnTo>
                    <a:pt x="3298" y="5002"/>
                  </a:lnTo>
                  <a:lnTo>
                    <a:pt x="3304" y="5010"/>
                  </a:lnTo>
                  <a:lnTo>
                    <a:pt x="3312" y="5016"/>
                  </a:lnTo>
                  <a:lnTo>
                    <a:pt x="3320" y="5024"/>
                  </a:lnTo>
                  <a:lnTo>
                    <a:pt x="3326" y="5026"/>
                  </a:lnTo>
                  <a:lnTo>
                    <a:pt x="3332" y="5026"/>
                  </a:lnTo>
                  <a:lnTo>
                    <a:pt x="3336" y="5024"/>
                  </a:lnTo>
                  <a:lnTo>
                    <a:pt x="3342" y="5020"/>
                  </a:lnTo>
                  <a:lnTo>
                    <a:pt x="3344" y="5016"/>
                  </a:lnTo>
                  <a:lnTo>
                    <a:pt x="3346" y="5010"/>
                  </a:lnTo>
                  <a:lnTo>
                    <a:pt x="3344" y="5004"/>
                  </a:lnTo>
                  <a:lnTo>
                    <a:pt x="3342" y="4998"/>
                  </a:lnTo>
                  <a:close/>
                  <a:moveTo>
                    <a:pt x="3330" y="5214"/>
                  </a:moveTo>
                  <a:lnTo>
                    <a:pt x="3330" y="5214"/>
                  </a:lnTo>
                  <a:lnTo>
                    <a:pt x="3328" y="5212"/>
                  </a:lnTo>
                  <a:lnTo>
                    <a:pt x="3326" y="5210"/>
                  </a:lnTo>
                  <a:lnTo>
                    <a:pt x="3314" y="5210"/>
                  </a:lnTo>
                  <a:lnTo>
                    <a:pt x="3302" y="5214"/>
                  </a:lnTo>
                  <a:lnTo>
                    <a:pt x="3296" y="5216"/>
                  </a:lnTo>
                  <a:lnTo>
                    <a:pt x="3290" y="5220"/>
                  </a:lnTo>
                  <a:lnTo>
                    <a:pt x="3290" y="5224"/>
                  </a:lnTo>
                  <a:lnTo>
                    <a:pt x="3292" y="5224"/>
                  </a:lnTo>
                  <a:lnTo>
                    <a:pt x="3306" y="5224"/>
                  </a:lnTo>
                  <a:lnTo>
                    <a:pt x="3322" y="5220"/>
                  </a:lnTo>
                  <a:lnTo>
                    <a:pt x="3328" y="5216"/>
                  </a:lnTo>
                  <a:lnTo>
                    <a:pt x="3330" y="5214"/>
                  </a:lnTo>
                  <a:close/>
                  <a:moveTo>
                    <a:pt x="3294" y="4936"/>
                  </a:moveTo>
                  <a:lnTo>
                    <a:pt x="3294" y="4936"/>
                  </a:lnTo>
                  <a:lnTo>
                    <a:pt x="3292" y="4938"/>
                  </a:lnTo>
                  <a:lnTo>
                    <a:pt x="3292" y="4942"/>
                  </a:lnTo>
                  <a:lnTo>
                    <a:pt x="3296" y="4956"/>
                  </a:lnTo>
                  <a:lnTo>
                    <a:pt x="3298" y="4960"/>
                  </a:lnTo>
                  <a:lnTo>
                    <a:pt x="3300" y="4960"/>
                  </a:lnTo>
                  <a:lnTo>
                    <a:pt x="3300" y="4956"/>
                  </a:lnTo>
                  <a:lnTo>
                    <a:pt x="3298" y="4950"/>
                  </a:lnTo>
                  <a:lnTo>
                    <a:pt x="3298" y="4944"/>
                  </a:lnTo>
                  <a:lnTo>
                    <a:pt x="3296" y="4938"/>
                  </a:lnTo>
                  <a:lnTo>
                    <a:pt x="3296" y="4936"/>
                  </a:lnTo>
                  <a:lnTo>
                    <a:pt x="3294" y="4936"/>
                  </a:lnTo>
                  <a:close/>
                  <a:moveTo>
                    <a:pt x="3344" y="5246"/>
                  </a:moveTo>
                  <a:lnTo>
                    <a:pt x="3344" y="5246"/>
                  </a:lnTo>
                  <a:lnTo>
                    <a:pt x="3340" y="5244"/>
                  </a:lnTo>
                  <a:lnTo>
                    <a:pt x="3336" y="5244"/>
                  </a:lnTo>
                  <a:lnTo>
                    <a:pt x="3330" y="5248"/>
                  </a:lnTo>
                  <a:lnTo>
                    <a:pt x="3322" y="5250"/>
                  </a:lnTo>
                  <a:lnTo>
                    <a:pt x="3316" y="5250"/>
                  </a:lnTo>
                  <a:lnTo>
                    <a:pt x="3312" y="5250"/>
                  </a:lnTo>
                  <a:lnTo>
                    <a:pt x="3306" y="5252"/>
                  </a:lnTo>
                  <a:lnTo>
                    <a:pt x="3300" y="5254"/>
                  </a:lnTo>
                  <a:lnTo>
                    <a:pt x="3296" y="5254"/>
                  </a:lnTo>
                  <a:lnTo>
                    <a:pt x="3292" y="5254"/>
                  </a:lnTo>
                  <a:lnTo>
                    <a:pt x="3286" y="5254"/>
                  </a:lnTo>
                  <a:lnTo>
                    <a:pt x="3268" y="5258"/>
                  </a:lnTo>
                  <a:lnTo>
                    <a:pt x="3260" y="5262"/>
                  </a:lnTo>
                  <a:lnTo>
                    <a:pt x="3258" y="5266"/>
                  </a:lnTo>
                  <a:lnTo>
                    <a:pt x="3256" y="5272"/>
                  </a:lnTo>
                  <a:lnTo>
                    <a:pt x="3248" y="5278"/>
                  </a:lnTo>
                  <a:lnTo>
                    <a:pt x="3240" y="5284"/>
                  </a:lnTo>
                  <a:lnTo>
                    <a:pt x="3234" y="5286"/>
                  </a:lnTo>
                  <a:lnTo>
                    <a:pt x="3226" y="5290"/>
                  </a:lnTo>
                  <a:lnTo>
                    <a:pt x="3216" y="5296"/>
                  </a:lnTo>
                  <a:lnTo>
                    <a:pt x="3206" y="5304"/>
                  </a:lnTo>
                  <a:lnTo>
                    <a:pt x="3202" y="5310"/>
                  </a:lnTo>
                  <a:lnTo>
                    <a:pt x="3200" y="5322"/>
                  </a:lnTo>
                  <a:lnTo>
                    <a:pt x="3198" y="5326"/>
                  </a:lnTo>
                  <a:lnTo>
                    <a:pt x="3200" y="5328"/>
                  </a:lnTo>
                  <a:lnTo>
                    <a:pt x="3202" y="5330"/>
                  </a:lnTo>
                  <a:lnTo>
                    <a:pt x="3204" y="5330"/>
                  </a:lnTo>
                  <a:lnTo>
                    <a:pt x="3202" y="5332"/>
                  </a:lnTo>
                  <a:lnTo>
                    <a:pt x="3198" y="5336"/>
                  </a:lnTo>
                  <a:lnTo>
                    <a:pt x="3194" y="5340"/>
                  </a:lnTo>
                  <a:lnTo>
                    <a:pt x="3194" y="5342"/>
                  </a:lnTo>
                  <a:lnTo>
                    <a:pt x="3194" y="5344"/>
                  </a:lnTo>
                  <a:lnTo>
                    <a:pt x="3202" y="5346"/>
                  </a:lnTo>
                  <a:lnTo>
                    <a:pt x="3206" y="5346"/>
                  </a:lnTo>
                  <a:lnTo>
                    <a:pt x="3210" y="5344"/>
                  </a:lnTo>
                  <a:lnTo>
                    <a:pt x="3216" y="5340"/>
                  </a:lnTo>
                  <a:lnTo>
                    <a:pt x="3220" y="5336"/>
                  </a:lnTo>
                  <a:lnTo>
                    <a:pt x="3222" y="5336"/>
                  </a:lnTo>
                  <a:lnTo>
                    <a:pt x="3226" y="5336"/>
                  </a:lnTo>
                  <a:lnTo>
                    <a:pt x="3230" y="5336"/>
                  </a:lnTo>
                  <a:lnTo>
                    <a:pt x="3234" y="5334"/>
                  </a:lnTo>
                  <a:lnTo>
                    <a:pt x="3244" y="5320"/>
                  </a:lnTo>
                  <a:lnTo>
                    <a:pt x="3252" y="5312"/>
                  </a:lnTo>
                  <a:lnTo>
                    <a:pt x="3256" y="5306"/>
                  </a:lnTo>
                  <a:lnTo>
                    <a:pt x="3260" y="5300"/>
                  </a:lnTo>
                  <a:lnTo>
                    <a:pt x="3268" y="5294"/>
                  </a:lnTo>
                  <a:lnTo>
                    <a:pt x="3280" y="5288"/>
                  </a:lnTo>
                  <a:lnTo>
                    <a:pt x="3288" y="5286"/>
                  </a:lnTo>
                  <a:lnTo>
                    <a:pt x="3294" y="5284"/>
                  </a:lnTo>
                  <a:lnTo>
                    <a:pt x="3300" y="5280"/>
                  </a:lnTo>
                  <a:lnTo>
                    <a:pt x="3304" y="5278"/>
                  </a:lnTo>
                  <a:lnTo>
                    <a:pt x="3308" y="5278"/>
                  </a:lnTo>
                  <a:lnTo>
                    <a:pt x="3314" y="5276"/>
                  </a:lnTo>
                  <a:lnTo>
                    <a:pt x="3318" y="5272"/>
                  </a:lnTo>
                  <a:lnTo>
                    <a:pt x="3324" y="5266"/>
                  </a:lnTo>
                  <a:lnTo>
                    <a:pt x="3328" y="5266"/>
                  </a:lnTo>
                  <a:lnTo>
                    <a:pt x="3334" y="5264"/>
                  </a:lnTo>
                  <a:lnTo>
                    <a:pt x="3340" y="5260"/>
                  </a:lnTo>
                  <a:lnTo>
                    <a:pt x="3348" y="5252"/>
                  </a:lnTo>
                  <a:lnTo>
                    <a:pt x="3348" y="5248"/>
                  </a:lnTo>
                  <a:lnTo>
                    <a:pt x="3344" y="5246"/>
                  </a:lnTo>
                  <a:close/>
                  <a:moveTo>
                    <a:pt x="3328" y="4618"/>
                  </a:moveTo>
                  <a:lnTo>
                    <a:pt x="3328" y="4618"/>
                  </a:lnTo>
                  <a:lnTo>
                    <a:pt x="3326" y="4622"/>
                  </a:lnTo>
                  <a:lnTo>
                    <a:pt x="3326" y="4628"/>
                  </a:lnTo>
                  <a:lnTo>
                    <a:pt x="3326" y="4630"/>
                  </a:lnTo>
                  <a:lnTo>
                    <a:pt x="3328" y="4632"/>
                  </a:lnTo>
                  <a:lnTo>
                    <a:pt x="3328" y="4634"/>
                  </a:lnTo>
                  <a:lnTo>
                    <a:pt x="3326" y="4638"/>
                  </a:lnTo>
                  <a:lnTo>
                    <a:pt x="3324" y="4642"/>
                  </a:lnTo>
                  <a:lnTo>
                    <a:pt x="3326" y="4644"/>
                  </a:lnTo>
                  <a:lnTo>
                    <a:pt x="3330" y="4642"/>
                  </a:lnTo>
                  <a:lnTo>
                    <a:pt x="3330" y="4640"/>
                  </a:lnTo>
                  <a:lnTo>
                    <a:pt x="3332" y="4636"/>
                  </a:lnTo>
                  <a:lnTo>
                    <a:pt x="3332" y="4632"/>
                  </a:lnTo>
                  <a:lnTo>
                    <a:pt x="3334" y="4630"/>
                  </a:lnTo>
                  <a:lnTo>
                    <a:pt x="3334" y="4628"/>
                  </a:lnTo>
                  <a:lnTo>
                    <a:pt x="3332" y="4624"/>
                  </a:lnTo>
                  <a:lnTo>
                    <a:pt x="3332" y="4620"/>
                  </a:lnTo>
                  <a:lnTo>
                    <a:pt x="3332" y="4618"/>
                  </a:lnTo>
                  <a:lnTo>
                    <a:pt x="3328" y="4618"/>
                  </a:lnTo>
                  <a:close/>
                  <a:moveTo>
                    <a:pt x="3302" y="3114"/>
                  </a:moveTo>
                  <a:lnTo>
                    <a:pt x="3302" y="3114"/>
                  </a:lnTo>
                  <a:lnTo>
                    <a:pt x="3304" y="3116"/>
                  </a:lnTo>
                  <a:lnTo>
                    <a:pt x="3308" y="3114"/>
                  </a:lnTo>
                  <a:lnTo>
                    <a:pt x="3310" y="3112"/>
                  </a:lnTo>
                  <a:lnTo>
                    <a:pt x="3310" y="3108"/>
                  </a:lnTo>
                  <a:lnTo>
                    <a:pt x="3306" y="3108"/>
                  </a:lnTo>
                  <a:lnTo>
                    <a:pt x="3302" y="3110"/>
                  </a:lnTo>
                  <a:lnTo>
                    <a:pt x="3300" y="3112"/>
                  </a:lnTo>
                  <a:lnTo>
                    <a:pt x="3302" y="3114"/>
                  </a:lnTo>
                  <a:close/>
                  <a:moveTo>
                    <a:pt x="3298" y="3086"/>
                  </a:moveTo>
                  <a:lnTo>
                    <a:pt x="3298" y="3086"/>
                  </a:lnTo>
                  <a:lnTo>
                    <a:pt x="3296" y="3088"/>
                  </a:lnTo>
                  <a:lnTo>
                    <a:pt x="3298" y="3090"/>
                  </a:lnTo>
                  <a:lnTo>
                    <a:pt x="3302" y="3096"/>
                  </a:lnTo>
                  <a:lnTo>
                    <a:pt x="3302" y="3098"/>
                  </a:lnTo>
                  <a:lnTo>
                    <a:pt x="3304" y="3094"/>
                  </a:lnTo>
                  <a:lnTo>
                    <a:pt x="3302" y="3088"/>
                  </a:lnTo>
                  <a:lnTo>
                    <a:pt x="3300" y="3086"/>
                  </a:lnTo>
                  <a:lnTo>
                    <a:pt x="3298" y="3086"/>
                  </a:lnTo>
                  <a:close/>
                  <a:moveTo>
                    <a:pt x="3298" y="4354"/>
                  </a:moveTo>
                  <a:lnTo>
                    <a:pt x="3298" y="4354"/>
                  </a:lnTo>
                  <a:lnTo>
                    <a:pt x="3296" y="4358"/>
                  </a:lnTo>
                  <a:lnTo>
                    <a:pt x="3296" y="4362"/>
                  </a:lnTo>
                  <a:lnTo>
                    <a:pt x="3298" y="4362"/>
                  </a:lnTo>
                  <a:lnTo>
                    <a:pt x="3300" y="4364"/>
                  </a:lnTo>
                  <a:lnTo>
                    <a:pt x="3304" y="4362"/>
                  </a:lnTo>
                  <a:lnTo>
                    <a:pt x="3304" y="4360"/>
                  </a:lnTo>
                  <a:lnTo>
                    <a:pt x="3302" y="4356"/>
                  </a:lnTo>
                  <a:lnTo>
                    <a:pt x="3300" y="4348"/>
                  </a:lnTo>
                  <a:lnTo>
                    <a:pt x="3298" y="4354"/>
                  </a:lnTo>
                  <a:close/>
                  <a:moveTo>
                    <a:pt x="3274" y="4930"/>
                  </a:moveTo>
                  <a:lnTo>
                    <a:pt x="3274" y="4930"/>
                  </a:lnTo>
                  <a:lnTo>
                    <a:pt x="3274" y="4932"/>
                  </a:lnTo>
                  <a:lnTo>
                    <a:pt x="3278" y="4934"/>
                  </a:lnTo>
                  <a:lnTo>
                    <a:pt x="3288" y="4934"/>
                  </a:lnTo>
                  <a:lnTo>
                    <a:pt x="3310" y="4928"/>
                  </a:lnTo>
                  <a:lnTo>
                    <a:pt x="3312" y="4926"/>
                  </a:lnTo>
                  <a:lnTo>
                    <a:pt x="3310" y="4926"/>
                  </a:lnTo>
                  <a:lnTo>
                    <a:pt x="3296" y="4924"/>
                  </a:lnTo>
                  <a:lnTo>
                    <a:pt x="3282" y="4924"/>
                  </a:lnTo>
                  <a:lnTo>
                    <a:pt x="3276" y="4926"/>
                  </a:lnTo>
                  <a:lnTo>
                    <a:pt x="3274" y="4930"/>
                  </a:lnTo>
                  <a:close/>
                  <a:moveTo>
                    <a:pt x="3132" y="5104"/>
                  </a:moveTo>
                  <a:lnTo>
                    <a:pt x="3132" y="5104"/>
                  </a:lnTo>
                  <a:lnTo>
                    <a:pt x="3136" y="5106"/>
                  </a:lnTo>
                  <a:lnTo>
                    <a:pt x="3138" y="5104"/>
                  </a:lnTo>
                  <a:lnTo>
                    <a:pt x="3136" y="5096"/>
                  </a:lnTo>
                  <a:lnTo>
                    <a:pt x="3134" y="5090"/>
                  </a:lnTo>
                  <a:lnTo>
                    <a:pt x="3132" y="5086"/>
                  </a:lnTo>
                  <a:lnTo>
                    <a:pt x="3130" y="5088"/>
                  </a:lnTo>
                  <a:lnTo>
                    <a:pt x="3130" y="5096"/>
                  </a:lnTo>
                  <a:lnTo>
                    <a:pt x="3132" y="5104"/>
                  </a:lnTo>
                  <a:close/>
                  <a:moveTo>
                    <a:pt x="3196" y="4912"/>
                  </a:moveTo>
                  <a:lnTo>
                    <a:pt x="3196" y="4912"/>
                  </a:lnTo>
                  <a:lnTo>
                    <a:pt x="3198" y="4908"/>
                  </a:lnTo>
                  <a:lnTo>
                    <a:pt x="3198" y="4904"/>
                  </a:lnTo>
                  <a:lnTo>
                    <a:pt x="3196" y="4900"/>
                  </a:lnTo>
                  <a:lnTo>
                    <a:pt x="3192" y="4900"/>
                  </a:lnTo>
                  <a:lnTo>
                    <a:pt x="3190" y="4902"/>
                  </a:lnTo>
                  <a:lnTo>
                    <a:pt x="3188" y="4904"/>
                  </a:lnTo>
                  <a:lnTo>
                    <a:pt x="3188" y="4908"/>
                  </a:lnTo>
                  <a:lnTo>
                    <a:pt x="3192" y="4912"/>
                  </a:lnTo>
                  <a:lnTo>
                    <a:pt x="3194" y="4912"/>
                  </a:lnTo>
                  <a:lnTo>
                    <a:pt x="3196" y="4912"/>
                  </a:lnTo>
                  <a:close/>
                  <a:moveTo>
                    <a:pt x="3180" y="4896"/>
                  </a:moveTo>
                  <a:lnTo>
                    <a:pt x="3180" y="4896"/>
                  </a:lnTo>
                  <a:lnTo>
                    <a:pt x="3176" y="4896"/>
                  </a:lnTo>
                  <a:lnTo>
                    <a:pt x="3172" y="4900"/>
                  </a:lnTo>
                  <a:lnTo>
                    <a:pt x="3170" y="4906"/>
                  </a:lnTo>
                  <a:lnTo>
                    <a:pt x="3172" y="4916"/>
                  </a:lnTo>
                  <a:lnTo>
                    <a:pt x="3174" y="4916"/>
                  </a:lnTo>
                  <a:lnTo>
                    <a:pt x="3180" y="4908"/>
                  </a:lnTo>
                  <a:lnTo>
                    <a:pt x="3184" y="4900"/>
                  </a:lnTo>
                  <a:lnTo>
                    <a:pt x="3182" y="4898"/>
                  </a:lnTo>
                  <a:lnTo>
                    <a:pt x="3180" y="4896"/>
                  </a:lnTo>
                  <a:close/>
                  <a:moveTo>
                    <a:pt x="3184" y="5356"/>
                  </a:moveTo>
                  <a:lnTo>
                    <a:pt x="3184" y="5356"/>
                  </a:lnTo>
                  <a:lnTo>
                    <a:pt x="3180" y="5360"/>
                  </a:lnTo>
                  <a:lnTo>
                    <a:pt x="3174" y="5364"/>
                  </a:lnTo>
                  <a:lnTo>
                    <a:pt x="3170" y="5366"/>
                  </a:lnTo>
                  <a:lnTo>
                    <a:pt x="3168" y="5370"/>
                  </a:lnTo>
                  <a:lnTo>
                    <a:pt x="3168" y="5372"/>
                  </a:lnTo>
                  <a:lnTo>
                    <a:pt x="3170" y="5372"/>
                  </a:lnTo>
                  <a:lnTo>
                    <a:pt x="3178" y="5370"/>
                  </a:lnTo>
                  <a:lnTo>
                    <a:pt x="3190" y="5362"/>
                  </a:lnTo>
                  <a:lnTo>
                    <a:pt x="3194" y="5358"/>
                  </a:lnTo>
                  <a:lnTo>
                    <a:pt x="3192" y="5352"/>
                  </a:lnTo>
                  <a:lnTo>
                    <a:pt x="3192" y="5350"/>
                  </a:lnTo>
                  <a:lnTo>
                    <a:pt x="3190" y="5350"/>
                  </a:lnTo>
                  <a:lnTo>
                    <a:pt x="3188" y="5352"/>
                  </a:lnTo>
                  <a:lnTo>
                    <a:pt x="3184" y="5356"/>
                  </a:lnTo>
                  <a:close/>
                  <a:moveTo>
                    <a:pt x="3074" y="5152"/>
                  </a:moveTo>
                  <a:lnTo>
                    <a:pt x="3074" y="5152"/>
                  </a:lnTo>
                  <a:lnTo>
                    <a:pt x="3076" y="5154"/>
                  </a:lnTo>
                  <a:lnTo>
                    <a:pt x="3078" y="5144"/>
                  </a:lnTo>
                  <a:lnTo>
                    <a:pt x="3076" y="5132"/>
                  </a:lnTo>
                  <a:lnTo>
                    <a:pt x="3076" y="5122"/>
                  </a:lnTo>
                  <a:lnTo>
                    <a:pt x="3074" y="5122"/>
                  </a:lnTo>
                  <a:lnTo>
                    <a:pt x="3074" y="5124"/>
                  </a:lnTo>
                  <a:lnTo>
                    <a:pt x="3072" y="5130"/>
                  </a:lnTo>
                  <a:lnTo>
                    <a:pt x="3072" y="5142"/>
                  </a:lnTo>
                  <a:lnTo>
                    <a:pt x="3074" y="5152"/>
                  </a:lnTo>
                  <a:close/>
                  <a:moveTo>
                    <a:pt x="3070" y="5308"/>
                  </a:moveTo>
                  <a:lnTo>
                    <a:pt x="3070" y="5308"/>
                  </a:lnTo>
                  <a:lnTo>
                    <a:pt x="3066" y="5308"/>
                  </a:lnTo>
                  <a:lnTo>
                    <a:pt x="3066" y="5306"/>
                  </a:lnTo>
                  <a:lnTo>
                    <a:pt x="3064" y="5304"/>
                  </a:lnTo>
                  <a:lnTo>
                    <a:pt x="3060" y="5298"/>
                  </a:lnTo>
                  <a:lnTo>
                    <a:pt x="3054" y="5294"/>
                  </a:lnTo>
                  <a:lnTo>
                    <a:pt x="3048" y="5294"/>
                  </a:lnTo>
                  <a:lnTo>
                    <a:pt x="3046" y="5296"/>
                  </a:lnTo>
                  <a:lnTo>
                    <a:pt x="3042" y="5296"/>
                  </a:lnTo>
                  <a:lnTo>
                    <a:pt x="3036" y="5294"/>
                  </a:lnTo>
                  <a:lnTo>
                    <a:pt x="3026" y="5294"/>
                  </a:lnTo>
                  <a:lnTo>
                    <a:pt x="3020" y="5296"/>
                  </a:lnTo>
                  <a:lnTo>
                    <a:pt x="3016" y="5298"/>
                  </a:lnTo>
                  <a:lnTo>
                    <a:pt x="3014" y="5302"/>
                  </a:lnTo>
                  <a:lnTo>
                    <a:pt x="3012" y="5306"/>
                  </a:lnTo>
                  <a:lnTo>
                    <a:pt x="3014" y="5310"/>
                  </a:lnTo>
                  <a:lnTo>
                    <a:pt x="3016" y="5312"/>
                  </a:lnTo>
                  <a:lnTo>
                    <a:pt x="3026" y="5316"/>
                  </a:lnTo>
                  <a:lnTo>
                    <a:pt x="3036" y="5318"/>
                  </a:lnTo>
                  <a:lnTo>
                    <a:pt x="3046" y="5322"/>
                  </a:lnTo>
                  <a:lnTo>
                    <a:pt x="3054" y="5328"/>
                  </a:lnTo>
                  <a:lnTo>
                    <a:pt x="3058" y="5334"/>
                  </a:lnTo>
                  <a:lnTo>
                    <a:pt x="3060" y="5338"/>
                  </a:lnTo>
                  <a:lnTo>
                    <a:pt x="3064" y="5340"/>
                  </a:lnTo>
                  <a:lnTo>
                    <a:pt x="3068" y="5340"/>
                  </a:lnTo>
                  <a:lnTo>
                    <a:pt x="3070" y="5342"/>
                  </a:lnTo>
                  <a:lnTo>
                    <a:pt x="3074" y="5342"/>
                  </a:lnTo>
                  <a:lnTo>
                    <a:pt x="3076" y="5340"/>
                  </a:lnTo>
                  <a:lnTo>
                    <a:pt x="3078" y="5338"/>
                  </a:lnTo>
                  <a:lnTo>
                    <a:pt x="3080" y="5338"/>
                  </a:lnTo>
                  <a:lnTo>
                    <a:pt x="3082" y="5336"/>
                  </a:lnTo>
                  <a:lnTo>
                    <a:pt x="3086" y="5332"/>
                  </a:lnTo>
                  <a:lnTo>
                    <a:pt x="3086" y="5330"/>
                  </a:lnTo>
                  <a:lnTo>
                    <a:pt x="3086" y="5326"/>
                  </a:lnTo>
                  <a:lnTo>
                    <a:pt x="3082" y="5320"/>
                  </a:lnTo>
                  <a:lnTo>
                    <a:pt x="3076" y="5312"/>
                  </a:lnTo>
                  <a:lnTo>
                    <a:pt x="3070" y="5308"/>
                  </a:lnTo>
                  <a:close/>
                  <a:moveTo>
                    <a:pt x="3176" y="5238"/>
                  </a:moveTo>
                  <a:lnTo>
                    <a:pt x="3176" y="5238"/>
                  </a:lnTo>
                  <a:lnTo>
                    <a:pt x="3174" y="5234"/>
                  </a:lnTo>
                  <a:lnTo>
                    <a:pt x="3172" y="5234"/>
                  </a:lnTo>
                  <a:lnTo>
                    <a:pt x="3168" y="5234"/>
                  </a:lnTo>
                  <a:lnTo>
                    <a:pt x="3166" y="5238"/>
                  </a:lnTo>
                  <a:lnTo>
                    <a:pt x="3166" y="5240"/>
                  </a:lnTo>
                  <a:lnTo>
                    <a:pt x="3168" y="5240"/>
                  </a:lnTo>
                  <a:lnTo>
                    <a:pt x="3170" y="5242"/>
                  </a:lnTo>
                  <a:lnTo>
                    <a:pt x="3168" y="5246"/>
                  </a:lnTo>
                  <a:lnTo>
                    <a:pt x="3160" y="5248"/>
                  </a:lnTo>
                  <a:lnTo>
                    <a:pt x="3156" y="5252"/>
                  </a:lnTo>
                  <a:lnTo>
                    <a:pt x="3156" y="5256"/>
                  </a:lnTo>
                  <a:lnTo>
                    <a:pt x="3156" y="5258"/>
                  </a:lnTo>
                  <a:lnTo>
                    <a:pt x="3152" y="5260"/>
                  </a:lnTo>
                  <a:lnTo>
                    <a:pt x="3148" y="5260"/>
                  </a:lnTo>
                  <a:lnTo>
                    <a:pt x="3146" y="5260"/>
                  </a:lnTo>
                  <a:lnTo>
                    <a:pt x="3142" y="5256"/>
                  </a:lnTo>
                  <a:lnTo>
                    <a:pt x="3136" y="5252"/>
                  </a:lnTo>
                  <a:lnTo>
                    <a:pt x="3134" y="5250"/>
                  </a:lnTo>
                  <a:lnTo>
                    <a:pt x="3132" y="5252"/>
                  </a:lnTo>
                  <a:lnTo>
                    <a:pt x="3128" y="5254"/>
                  </a:lnTo>
                  <a:lnTo>
                    <a:pt x="3124" y="5254"/>
                  </a:lnTo>
                  <a:lnTo>
                    <a:pt x="3120" y="5254"/>
                  </a:lnTo>
                  <a:lnTo>
                    <a:pt x="3116" y="5256"/>
                  </a:lnTo>
                  <a:lnTo>
                    <a:pt x="3114" y="5258"/>
                  </a:lnTo>
                  <a:lnTo>
                    <a:pt x="3112" y="5256"/>
                  </a:lnTo>
                  <a:lnTo>
                    <a:pt x="3106" y="5254"/>
                  </a:lnTo>
                  <a:lnTo>
                    <a:pt x="3100" y="5250"/>
                  </a:lnTo>
                  <a:lnTo>
                    <a:pt x="3092" y="5246"/>
                  </a:lnTo>
                  <a:lnTo>
                    <a:pt x="3076" y="5242"/>
                  </a:lnTo>
                  <a:lnTo>
                    <a:pt x="3068" y="5242"/>
                  </a:lnTo>
                  <a:lnTo>
                    <a:pt x="3064" y="5242"/>
                  </a:lnTo>
                  <a:lnTo>
                    <a:pt x="3060" y="5246"/>
                  </a:lnTo>
                  <a:lnTo>
                    <a:pt x="3056" y="5250"/>
                  </a:lnTo>
                  <a:lnTo>
                    <a:pt x="3050" y="5252"/>
                  </a:lnTo>
                  <a:lnTo>
                    <a:pt x="3048" y="5256"/>
                  </a:lnTo>
                  <a:lnTo>
                    <a:pt x="3048" y="5262"/>
                  </a:lnTo>
                  <a:lnTo>
                    <a:pt x="3050" y="5270"/>
                  </a:lnTo>
                  <a:lnTo>
                    <a:pt x="3050" y="5272"/>
                  </a:lnTo>
                  <a:lnTo>
                    <a:pt x="3052" y="5272"/>
                  </a:lnTo>
                  <a:lnTo>
                    <a:pt x="3056" y="5270"/>
                  </a:lnTo>
                  <a:lnTo>
                    <a:pt x="3062" y="5268"/>
                  </a:lnTo>
                  <a:lnTo>
                    <a:pt x="3078" y="5270"/>
                  </a:lnTo>
                  <a:lnTo>
                    <a:pt x="3086" y="5272"/>
                  </a:lnTo>
                  <a:lnTo>
                    <a:pt x="3092" y="5274"/>
                  </a:lnTo>
                  <a:lnTo>
                    <a:pt x="3096" y="5278"/>
                  </a:lnTo>
                  <a:lnTo>
                    <a:pt x="3098" y="5276"/>
                  </a:lnTo>
                  <a:lnTo>
                    <a:pt x="3102" y="5274"/>
                  </a:lnTo>
                  <a:lnTo>
                    <a:pt x="3106" y="5274"/>
                  </a:lnTo>
                  <a:lnTo>
                    <a:pt x="3108" y="5274"/>
                  </a:lnTo>
                  <a:lnTo>
                    <a:pt x="3110" y="5272"/>
                  </a:lnTo>
                  <a:lnTo>
                    <a:pt x="3112" y="5270"/>
                  </a:lnTo>
                  <a:lnTo>
                    <a:pt x="3120" y="5272"/>
                  </a:lnTo>
                  <a:lnTo>
                    <a:pt x="3124" y="5272"/>
                  </a:lnTo>
                  <a:lnTo>
                    <a:pt x="3128" y="5272"/>
                  </a:lnTo>
                  <a:lnTo>
                    <a:pt x="3134" y="5270"/>
                  </a:lnTo>
                  <a:lnTo>
                    <a:pt x="3138" y="5268"/>
                  </a:lnTo>
                  <a:lnTo>
                    <a:pt x="3142" y="5266"/>
                  </a:lnTo>
                  <a:lnTo>
                    <a:pt x="3150" y="5266"/>
                  </a:lnTo>
                  <a:lnTo>
                    <a:pt x="3158" y="5264"/>
                  </a:lnTo>
                  <a:lnTo>
                    <a:pt x="3166" y="5260"/>
                  </a:lnTo>
                  <a:lnTo>
                    <a:pt x="3168" y="5258"/>
                  </a:lnTo>
                  <a:lnTo>
                    <a:pt x="3170" y="5254"/>
                  </a:lnTo>
                  <a:lnTo>
                    <a:pt x="3170" y="5252"/>
                  </a:lnTo>
                  <a:lnTo>
                    <a:pt x="3174" y="5248"/>
                  </a:lnTo>
                  <a:lnTo>
                    <a:pt x="3176" y="5244"/>
                  </a:lnTo>
                  <a:lnTo>
                    <a:pt x="3176" y="5238"/>
                  </a:lnTo>
                  <a:close/>
                  <a:moveTo>
                    <a:pt x="3042" y="5268"/>
                  </a:moveTo>
                  <a:lnTo>
                    <a:pt x="3042" y="5268"/>
                  </a:lnTo>
                  <a:lnTo>
                    <a:pt x="3044" y="5266"/>
                  </a:lnTo>
                  <a:lnTo>
                    <a:pt x="3046" y="5264"/>
                  </a:lnTo>
                  <a:lnTo>
                    <a:pt x="3044" y="5262"/>
                  </a:lnTo>
                  <a:lnTo>
                    <a:pt x="3042" y="5260"/>
                  </a:lnTo>
                  <a:lnTo>
                    <a:pt x="3040" y="5262"/>
                  </a:lnTo>
                  <a:lnTo>
                    <a:pt x="3040" y="5266"/>
                  </a:lnTo>
                  <a:lnTo>
                    <a:pt x="3040" y="5268"/>
                  </a:lnTo>
                  <a:lnTo>
                    <a:pt x="3042" y="5268"/>
                  </a:lnTo>
                  <a:close/>
                  <a:moveTo>
                    <a:pt x="3038" y="5258"/>
                  </a:moveTo>
                  <a:lnTo>
                    <a:pt x="3038" y="5258"/>
                  </a:lnTo>
                  <a:lnTo>
                    <a:pt x="3040" y="5256"/>
                  </a:lnTo>
                  <a:lnTo>
                    <a:pt x="3040" y="5254"/>
                  </a:lnTo>
                  <a:lnTo>
                    <a:pt x="3038" y="5252"/>
                  </a:lnTo>
                  <a:lnTo>
                    <a:pt x="3034" y="5250"/>
                  </a:lnTo>
                  <a:lnTo>
                    <a:pt x="3032" y="5250"/>
                  </a:lnTo>
                  <a:lnTo>
                    <a:pt x="3032" y="5252"/>
                  </a:lnTo>
                  <a:lnTo>
                    <a:pt x="3032" y="5258"/>
                  </a:lnTo>
                  <a:lnTo>
                    <a:pt x="3030" y="5262"/>
                  </a:lnTo>
                  <a:lnTo>
                    <a:pt x="3032" y="5266"/>
                  </a:lnTo>
                  <a:lnTo>
                    <a:pt x="3032" y="5264"/>
                  </a:lnTo>
                  <a:lnTo>
                    <a:pt x="3034" y="5260"/>
                  </a:lnTo>
                  <a:lnTo>
                    <a:pt x="3038" y="5258"/>
                  </a:lnTo>
                  <a:close/>
                  <a:moveTo>
                    <a:pt x="2740" y="626"/>
                  </a:moveTo>
                  <a:lnTo>
                    <a:pt x="2740" y="626"/>
                  </a:lnTo>
                  <a:lnTo>
                    <a:pt x="2756" y="630"/>
                  </a:lnTo>
                  <a:lnTo>
                    <a:pt x="2768" y="628"/>
                  </a:lnTo>
                  <a:lnTo>
                    <a:pt x="2778" y="624"/>
                  </a:lnTo>
                  <a:lnTo>
                    <a:pt x="2784" y="618"/>
                  </a:lnTo>
                  <a:lnTo>
                    <a:pt x="2786" y="612"/>
                  </a:lnTo>
                  <a:lnTo>
                    <a:pt x="2786" y="608"/>
                  </a:lnTo>
                  <a:lnTo>
                    <a:pt x="2784" y="604"/>
                  </a:lnTo>
                  <a:lnTo>
                    <a:pt x="2782" y="602"/>
                  </a:lnTo>
                  <a:lnTo>
                    <a:pt x="2776" y="600"/>
                  </a:lnTo>
                  <a:lnTo>
                    <a:pt x="2764" y="598"/>
                  </a:lnTo>
                  <a:lnTo>
                    <a:pt x="2748" y="598"/>
                  </a:lnTo>
                  <a:lnTo>
                    <a:pt x="2736" y="598"/>
                  </a:lnTo>
                  <a:lnTo>
                    <a:pt x="2726" y="600"/>
                  </a:lnTo>
                  <a:lnTo>
                    <a:pt x="2720" y="604"/>
                  </a:lnTo>
                  <a:lnTo>
                    <a:pt x="2716" y="608"/>
                  </a:lnTo>
                  <a:lnTo>
                    <a:pt x="2720" y="614"/>
                  </a:lnTo>
                  <a:lnTo>
                    <a:pt x="2726" y="618"/>
                  </a:lnTo>
                  <a:lnTo>
                    <a:pt x="2740" y="626"/>
                  </a:lnTo>
                  <a:close/>
                  <a:moveTo>
                    <a:pt x="162" y="3354"/>
                  </a:moveTo>
                  <a:lnTo>
                    <a:pt x="162" y="3354"/>
                  </a:lnTo>
                  <a:lnTo>
                    <a:pt x="160" y="3358"/>
                  </a:lnTo>
                  <a:lnTo>
                    <a:pt x="162" y="3364"/>
                  </a:lnTo>
                  <a:lnTo>
                    <a:pt x="164" y="3366"/>
                  </a:lnTo>
                  <a:lnTo>
                    <a:pt x="166" y="3368"/>
                  </a:lnTo>
                  <a:lnTo>
                    <a:pt x="168" y="3366"/>
                  </a:lnTo>
                  <a:lnTo>
                    <a:pt x="168" y="3362"/>
                  </a:lnTo>
                  <a:lnTo>
                    <a:pt x="166" y="3356"/>
                  </a:lnTo>
                  <a:lnTo>
                    <a:pt x="164" y="3352"/>
                  </a:lnTo>
                  <a:lnTo>
                    <a:pt x="162" y="3352"/>
                  </a:lnTo>
                  <a:lnTo>
                    <a:pt x="162" y="3354"/>
                  </a:lnTo>
                  <a:close/>
                  <a:moveTo>
                    <a:pt x="3766" y="1952"/>
                  </a:moveTo>
                  <a:lnTo>
                    <a:pt x="3766" y="1952"/>
                  </a:lnTo>
                  <a:lnTo>
                    <a:pt x="3772" y="1954"/>
                  </a:lnTo>
                  <a:lnTo>
                    <a:pt x="3776" y="1954"/>
                  </a:lnTo>
                  <a:lnTo>
                    <a:pt x="3780" y="1950"/>
                  </a:lnTo>
                  <a:lnTo>
                    <a:pt x="3782" y="1944"/>
                  </a:lnTo>
                  <a:lnTo>
                    <a:pt x="3784" y="1940"/>
                  </a:lnTo>
                  <a:lnTo>
                    <a:pt x="3782" y="1934"/>
                  </a:lnTo>
                  <a:lnTo>
                    <a:pt x="3780" y="1930"/>
                  </a:lnTo>
                  <a:lnTo>
                    <a:pt x="3774" y="1928"/>
                  </a:lnTo>
                  <a:lnTo>
                    <a:pt x="3768" y="1928"/>
                  </a:lnTo>
                  <a:lnTo>
                    <a:pt x="3764" y="1930"/>
                  </a:lnTo>
                  <a:lnTo>
                    <a:pt x="3760" y="1932"/>
                  </a:lnTo>
                  <a:lnTo>
                    <a:pt x="3758" y="1936"/>
                  </a:lnTo>
                  <a:lnTo>
                    <a:pt x="3758" y="1938"/>
                  </a:lnTo>
                  <a:lnTo>
                    <a:pt x="3760" y="1944"/>
                  </a:lnTo>
                  <a:lnTo>
                    <a:pt x="3762" y="1948"/>
                  </a:lnTo>
                  <a:lnTo>
                    <a:pt x="3766" y="1952"/>
                  </a:lnTo>
                  <a:close/>
                  <a:moveTo>
                    <a:pt x="3314" y="2942"/>
                  </a:moveTo>
                  <a:lnTo>
                    <a:pt x="3314" y="2942"/>
                  </a:lnTo>
                  <a:lnTo>
                    <a:pt x="3316" y="2940"/>
                  </a:lnTo>
                  <a:lnTo>
                    <a:pt x="3318" y="2936"/>
                  </a:lnTo>
                  <a:lnTo>
                    <a:pt x="3316" y="2932"/>
                  </a:lnTo>
                  <a:lnTo>
                    <a:pt x="3312" y="2930"/>
                  </a:lnTo>
                  <a:lnTo>
                    <a:pt x="3310" y="2930"/>
                  </a:lnTo>
                  <a:lnTo>
                    <a:pt x="3310" y="2932"/>
                  </a:lnTo>
                  <a:lnTo>
                    <a:pt x="3310" y="2936"/>
                  </a:lnTo>
                  <a:lnTo>
                    <a:pt x="3312" y="2940"/>
                  </a:lnTo>
                  <a:lnTo>
                    <a:pt x="3314" y="2942"/>
                  </a:lnTo>
                  <a:close/>
                  <a:moveTo>
                    <a:pt x="3310" y="2998"/>
                  </a:moveTo>
                  <a:lnTo>
                    <a:pt x="3310" y="2998"/>
                  </a:lnTo>
                  <a:lnTo>
                    <a:pt x="3308" y="2998"/>
                  </a:lnTo>
                  <a:lnTo>
                    <a:pt x="3308" y="3002"/>
                  </a:lnTo>
                  <a:lnTo>
                    <a:pt x="3310" y="3004"/>
                  </a:lnTo>
                  <a:lnTo>
                    <a:pt x="3312" y="3006"/>
                  </a:lnTo>
                  <a:lnTo>
                    <a:pt x="3314" y="3006"/>
                  </a:lnTo>
                  <a:lnTo>
                    <a:pt x="3314" y="3002"/>
                  </a:lnTo>
                  <a:lnTo>
                    <a:pt x="3312" y="2998"/>
                  </a:lnTo>
                  <a:lnTo>
                    <a:pt x="3310" y="2998"/>
                  </a:lnTo>
                  <a:close/>
                  <a:moveTo>
                    <a:pt x="468" y="3506"/>
                  </a:moveTo>
                  <a:lnTo>
                    <a:pt x="468" y="3506"/>
                  </a:lnTo>
                  <a:lnTo>
                    <a:pt x="468" y="3508"/>
                  </a:lnTo>
                  <a:lnTo>
                    <a:pt x="466" y="3510"/>
                  </a:lnTo>
                  <a:lnTo>
                    <a:pt x="458" y="3514"/>
                  </a:lnTo>
                  <a:lnTo>
                    <a:pt x="452" y="3518"/>
                  </a:lnTo>
                  <a:lnTo>
                    <a:pt x="450" y="3520"/>
                  </a:lnTo>
                  <a:lnTo>
                    <a:pt x="450" y="3522"/>
                  </a:lnTo>
                  <a:lnTo>
                    <a:pt x="452" y="3524"/>
                  </a:lnTo>
                  <a:lnTo>
                    <a:pt x="456" y="3524"/>
                  </a:lnTo>
                  <a:lnTo>
                    <a:pt x="464" y="3520"/>
                  </a:lnTo>
                  <a:lnTo>
                    <a:pt x="476" y="3514"/>
                  </a:lnTo>
                  <a:lnTo>
                    <a:pt x="484" y="3504"/>
                  </a:lnTo>
                  <a:lnTo>
                    <a:pt x="486" y="3502"/>
                  </a:lnTo>
                  <a:lnTo>
                    <a:pt x="486" y="3500"/>
                  </a:lnTo>
                  <a:lnTo>
                    <a:pt x="480" y="3502"/>
                  </a:lnTo>
                  <a:lnTo>
                    <a:pt x="468" y="3506"/>
                  </a:lnTo>
                  <a:close/>
                  <a:moveTo>
                    <a:pt x="1966" y="4176"/>
                  </a:moveTo>
                  <a:lnTo>
                    <a:pt x="1966" y="4176"/>
                  </a:lnTo>
                  <a:lnTo>
                    <a:pt x="1964" y="4176"/>
                  </a:lnTo>
                  <a:lnTo>
                    <a:pt x="1960" y="4184"/>
                  </a:lnTo>
                  <a:lnTo>
                    <a:pt x="1958" y="4200"/>
                  </a:lnTo>
                  <a:lnTo>
                    <a:pt x="1956" y="4222"/>
                  </a:lnTo>
                  <a:lnTo>
                    <a:pt x="1954" y="4242"/>
                  </a:lnTo>
                  <a:lnTo>
                    <a:pt x="1952" y="4252"/>
                  </a:lnTo>
                  <a:lnTo>
                    <a:pt x="1950" y="4260"/>
                  </a:lnTo>
                  <a:lnTo>
                    <a:pt x="1952" y="4272"/>
                  </a:lnTo>
                  <a:lnTo>
                    <a:pt x="1954" y="4278"/>
                  </a:lnTo>
                  <a:lnTo>
                    <a:pt x="1956" y="4280"/>
                  </a:lnTo>
                  <a:lnTo>
                    <a:pt x="1958" y="4274"/>
                  </a:lnTo>
                  <a:lnTo>
                    <a:pt x="1962" y="4248"/>
                  </a:lnTo>
                  <a:lnTo>
                    <a:pt x="1962" y="4240"/>
                  </a:lnTo>
                  <a:lnTo>
                    <a:pt x="1962" y="4236"/>
                  </a:lnTo>
                  <a:lnTo>
                    <a:pt x="1962" y="4234"/>
                  </a:lnTo>
                  <a:lnTo>
                    <a:pt x="1964" y="4232"/>
                  </a:lnTo>
                  <a:lnTo>
                    <a:pt x="1966" y="4228"/>
                  </a:lnTo>
                  <a:lnTo>
                    <a:pt x="1966" y="4226"/>
                  </a:lnTo>
                  <a:lnTo>
                    <a:pt x="1964" y="4218"/>
                  </a:lnTo>
                  <a:lnTo>
                    <a:pt x="1964" y="4210"/>
                  </a:lnTo>
                  <a:lnTo>
                    <a:pt x="1964" y="4206"/>
                  </a:lnTo>
                  <a:lnTo>
                    <a:pt x="1964" y="4204"/>
                  </a:lnTo>
                  <a:lnTo>
                    <a:pt x="1968" y="4200"/>
                  </a:lnTo>
                  <a:lnTo>
                    <a:pt x="1970" y="4192"/>
                  </a:lnTo>
                  <a:lnTo>
                    <a:pt x="1970" y="4182"/>
                  </a:lnTo>
                  <a:lnTo>
                    <a:pt x="1966" y="4176"/>
                  </a:lnTo>
                  <a:close/>
                  <a:moveTo>
                    <a:pt x="1508" y="4454"/>
                  </a:moveTo>
                  <a:lnTo>
                    <a:pt x="1508" y="4454"/>
                  </a:lnTo>
                  <a:lnTo>
                    <a:pt x="1504" y="4444"/>
                  </a:lnTo>
                  <a:lnTo>
                    <a:pt x="1498" y="4430"/>
                  </a:lnTo>
                  <a:lnTo>
                    <a:pt x="1492" y="4416"/>
                  </a:lnTo>
                  <a:lnTo>
                    <a:pt x="1484" y="4404"/>
                  </a:lnTo>
                  <a:lnTo>
                    <a:pt x="1478" y="4396"/>
                  </a:lnTo>
                  <a:lnTo>
                    <a:pt x="1474" y="4388"/>
                  </a:lnTo>
                  <a:lnTo>
                    <a:pt x="1472" y="4380"/>
                  </a:lnTo>
                  <a:lnTo>
                    <a:pt x="1464" y="4372"/>
                  </a:lnTo>
                  <a:lnTo>
                    <a:pt x="1456" y="4364"/>
                  </a:lnTo>
                  <a:lnTo>
                    <a:pt x="1448" y="4360"/>
                  </a:lnTo>
                  <a:lnTo>
                    <a:pt x="1442" y="4360"/>
                  </a:lnTo>
                  <a:lnTo>
                    <a:pt x="1438" y="4362"/>
                  </a:lnTo>
                  <a:lnTo>
                    <a:pt x="1438" y="4364"/>
                  </a:lnTo>
                  <a:lnTo>
                    <a:pt x="1440" y="4368"/>
                  </a:lnTo>
                  <a:lnTo>
                    <a:pt x="1444" y="4372"/>
                  </a:lnTo>
                  <a:lnTo>
                    <a:pt x="1446" y="4382"/>
                  </a:lnTo>
                  <a:lnTo>
                    <a:pt x="1446" y="4392"/>
                  </a:lnTo>
                  <a:lnTo>
                    <a:pt x="1444" y="4398"/>
                  </a:lnTo>
                  <a:lnTo>
                    <a:pt x="1440" y="4404"/>
                  </a:lnTo>
                  <a:lnTo>
                    <a:pt x="1440" y="4410"/>
                  </a:lnTo>
                  <a:lnTo>
                    <a:pt x="1440" y="4420"/>
                  </a:lnTo>
                  <a:lnTo>
                    <a:pt x="1438" y="4430"/>
                  </a:lnTo>
                  <a:lnTo>
                    <a:pt x="1436" y="4438"/>
                  </a:lnTo>
                  <a:lnTo>
                    <a:pt x="1436" y="4436"/>
                  </a:lnTo>
                  <a:lnTo>
                    <a:pt x="1434" y="4432"/>
                  </a:lnTo>
                  <a:lnTo>
                    <a:pt x="1432" y="4432"/>
                  </a:lnTo>
                  <a:lnTo>
                    <a:pt x="1430" y="4440"/>
                  </a:lnTo>
                  <a:lnTo>
                    <a:pt x="1432" y="4456"/>
                  </a:lnTo>
                  <a:lnTo>
                    <a:pt x="1434" y="4476"/>
                  </a:lnTo>
                  <a:lnTo>
                    <a:pt x="1434" y="4500"/>
                  </a:lnTo>
                  <a:lnTo>
                    <a:pt x="1436" y="4512"/>
                  </a:lnTo>
                  <a:lnTo>
                    <a:pt x="1438" y="4524"/>
                  </a:lnTo>
                  <a:lnTo>
                    <a:pt x="1442" y="4534"/>
                  </a:lnTo>
                  <a:lnTo>
                    <a:pt x="1450" y="4544"/>
                  </a:lnTo>
                  <a:lnTo>
                    <a:pt x="1458" y="4548"/>
                  </a:lnTo>
                  <a:lnTo>
                    <a:pt x="1464" y="4550"/>
                  </a:lnTo>
                  <a:lnTo>
                    <a:pt x="1470" y="4550"/>
                  </a:lnTo>
                  <a:lnTo>
                    <a:pt x="1476" y="4548"/>
                  </a:lnTo>
                  <a:lnTo>
                    <a:pt x="1488" y="4540"/>
                  </a:lnTo>
                  <a:lnTo>
                    <a:pt x="1502" y="4532"/>
                  </a:lnTo>
                  <a:lnTo>
                    <a:pt x="1508" y="4526"/>
                  </a:lnTo>
                  <a:lnTo>
                    <a:pt x="1512" y="4520"/>
                  </a:lnTo>
                  <a:lnTo>
                    <a:pt x="1516" y="4510"/>
                  </a:lnTo>
                  <a:lnTo>
                    <a:pt x="1518" y="4502"/>
                  </a:lnTo>
                  <a:lnTo>
                    <a:pt x="1518" y="4484"/>
                  </a:lnTo>
                  <a:lnTo>
                    <a:pt x="1516" y="4476"/>
                  </a:lnTo>
                  <a:lnTo>
                    <a:pt x="1514" y="4472"/>
                  </a:lnTo>
                  <a:lnTo>
                    <a:pt x="1512" y="4466"/>
                  </a:lnTo>
                  <a:lnTo>
                    <a:pt x="1512" y="4462"/>
                  </a:lnTo>
                  <a:lnTo>
                    <a:pt x="1510" y="4458"/>
                  </a:lnTo>
                  <a:lnTo>
                    <a:pt x="1508" y="4454"/>
                  </a:lnTo>
                  <a:close/>
                  <a:moveTo>
                    <a:pt x="1946" y="4308"/>
                  </a:moveTo>
                  <a:lnTo>
                    <a:pt x="1946" y="4308"/>
                  </a:lnTo>
                  <a:lnTo>
                    <a:pt x="1942" y="4310"/>
                  </a:lnTo>
                  <a:lnTo>
                    <a:pt x="1940" y="4316"/>
                  </a:lnTo>
                  <a:lnTo>
                    <a:pt x="1940" y="4322"/>
                  </a:lnTo>
                  <a:lnTo>
                    <a:pt x="1942" y="4328"/>
                  </a:lnTo>
                  <a:lnTo>
                    <a:pt x="1944" y="4328"/>
                  </a:lnTo>
                  <a:lnTo>
                    <a:pt x="1946" y="4326"/>
                  </a:lnTo>
                  <a:lnTo>
                    <a:pt x="1948" y="4320"/>
                  </a:lnTo>
                  <a:lnTo>
                    <a:pt x="1950" y="4312"/>
                  </a:lnTo>
                  <a:lnTo>
                    <a:pt x="1948" y="4310"/>
                  </a:lnTo>
                  <a:lnTo>
                    <a:pt x="1946" y="4308"/>
                  </a:lnTo>
                  <a:close/>
                  <a:moveTo>
                    <a:pt x="1996" y="4488"/>
                  </a:moveTo>
                  <a:lnTo>
                    <a:pt x="1996" y="4488"/>
                  </a:lnTo>
                  <a:lnTo>
                    <a:pt x="1994" y="4492"/>
                  </a:lnTo>
                  <a:lnTo>
                    <a:pt x="1994" y="4496"/>
                  </a:lnTo>
                  <a:lnTo>
                    <a:pt x="1994" y="4504"/>
                  </a:lnTo>
                  <a:lnTo>
                    <a:pt x="1998" y="4508"/>
                  </a:lnTo>
                  <a:lnTo>
                    <a:pt x="2000" y="4510"/>
                  </a:lnTo>
                  <a:lnTo>
                    <a:pt x="2002" y="4508"/>
                  </a:lnTo>
                  <a:lnTo>
                    <a:pt x="2004" y="4506"/>
                  </a:lnTo>
                  <a:lnTo>
                    <a:pt x="2004" y="4502"/>
                  </a:lnTo>
                  <a:lnTo>
                    <a:pt x="2004" y="4494"/>
                  </a:lnTo>
                  <a:lnTo>
                    <a:pt x="2000" y="4488"/>
                  </a:lnTo>
                  <a:lnTo>
                    <a:pt x="1998" y="4488"/>
                  </a:lnTo>
                  <a:lnTo>
                    <a:pt x="1996" y="4488"/>
                  </a:lnTo>
                  <a:close/>
                  <a:moveTo>
                    <a:pt x="1980" y="4454"/>
                  </a:moveTo>
                  <a:lnTo>
                    <a:pt x="1980" y="4454"/>
                  </a:lnTo>
                  <a:lnTo>
                    <a:pt x="1982" y="4454"/>
                  </a:lnTo>
                  <a:lnTo>
                    <a:pt x="1984" y="4454"/>
                  </a:lnTo>
                  <a:lnTo>
                    <a:pt x="1982" y="4448"/>
                  </a:lnTo>
                  <a:lnTo>
                    <a:pt x="1980" y="4448"/>
                  </a:lnTo>
                  <a:lnTo>
                    <a:pt x="1978" y="4448"/>
                  </a:lnTo>
                  <a:lnTo>
                    <a:pt x="1978" y="4450"/>
                  </a:lnTo>
                  <a:lnTo>
                    <a:pt x="1980" y="4454"/>
                  </a:lnTo>
                  <a:close/>
                  <a:moveTo>
                    <a:pt x="1954" y="4386"/>
                  </a:moveTo>
                  <a:lnTo>
                    <a:pt x="1954" y="4386"/>
                  </a:lnTo>
                  <a:lnTo>
                    <a:pt x="1952" y="4390"/>
                  </a:lnTo>
                  <a:lnTo>
                    <a:pt x="1952" y="4394"/>
                  </a:lnTo>
                  <a:lnTo>
                    <a:pt x="1954" y="4396"/>
                  </a:lnTo>
                  <a:lnTo>
                    <a:pt x="1958" y="4396"/>
                  </a:lnTo>
                  <a:lnTo>
                    <a:pt x="1960" y="4394"/>
                  </a:lnTo>
                  <a:lnTo>
                    <a:pt x="1958" y="4390"/>
                  </a:lnTo>
                  <a:lnTo>
                    <a:pt x="1958" y="4386"/>
                  </a:lnTo>
                  <a:lnTo>
                    <a:pt x="1956" y="4386"/>
                  </a:lnTo>
                  <a:lnTo>
                    <a:pt x="1954" y="4386"/>
                  </a:lnTo>
                  <a:close/>
                  <a:moveTo>
                    <a:pt x="2078" y="4702"/>
                  </a:moveTo>
                  <a:lnTo>
                    <a:pt x="2078" y="4702"/>
                  </a:lnTo>
                  <a:lnTo>
                    <a:pt x="2078" y="4706"/>
                  </a:lnTo>
                  <a:lnTo>
                    <a:pt x="2080" y="4710"/>
                  </a:lnTo>
                  <a:lnTo>
                    <a:pt x="2084" y="4714"/>
                  </a:lnTo>
                  <a:lnTo>
                    <a:pt x="2090" y="4720"/>
                  </a:lnTo>
                  <a:lnTo>
                    <a:pt x="2102" y="4728"/>
                  </a:lnTo>
                  <a:lnTo>
                    <a:pt x="2106" y="4730"/>
                  </a:lnTo>
                  <a:lnTo>
                    <a:pt x="2106" y="4726"/>
                  </a:lnTo>
                  <a:lnTo>
                    <a:pt x="2102" y="4716"/>
                  </a:lnTo>
                  <a:lnTo>
                    <a:pt x="2094" y="4706"/>
                  </a:lnTo>
                  <a:lnTo>
                    <a:pt x="2084" y="4700"/>
                  </a:lnTo>
                  <a:lnTo>
                    <a:pt x="2080" y="4700"/>
                  </a:lnTo>
                  <a:lnTo>
                    <a:pt x="2078" y="4702"/>
                  </a:lnTo>
                  <a:close/>
                  <a:moveTo>
                    <a:pt x="2508" y="4960"/>
                  </a:moveTo>
                  <a:lnTo>
                    <a:pt x="2508" y="4960"/>
                  </a:lnTo>
                  <a:lnTo>
                    <a:pt x="2502" y="4956"/>
                  </a:lnTo>
                  <a:lnTo>
                    <a:pt x="2500" y="4950"/>
                  </a:lnTo>
                  <a:lnTo>
                    <a:pt x="2496" y="4932"/>
                  </a:lnTo>
                  <a:lnTo>
                    <a:pt x="2494" y="4924"/>
                  </a:lnTo>
                  <a:lnTo>
                    <a:pt x="2490" y="4918"/>
                  </a:lnTo>
                  <a:lnTo>
                    <a:pt x="2484" y="4914"/>
                  </a:lnTo>
                  <a:lnTo>
                    <a:pt x="2476" y="4912"/>
                  </a:lnTo>
                  <a:lnTo>
                    <a:pt x="2466" y="4916"/>
                  </a:lnTo>
                  <a:lnTo>
                    <a:pt x="2464" y="4920"/>
                  </a:lnTo>
                  <a:lnTo>
                    <a:pt x="2464" y="4926"/>
                  </a:lnTo>
                  <a:lnTo>
                    <a:pt x="2462" y="4928"/>
                  </a:lnTo>
                  <a:lnTo>
                    <a:pt x="2460" y="4932"/>
                  </a:lnTo>
                  <a:lnTo>
                    <a:pt x="2456" y="4936"/>
                  </a:lnTo>
                  <a:lnTo>
                    <a:pt x="2454" y="4938"/>
                  </a:lnTo>
                  <a:lnTo>
                    <a:pt x="2454" y="4940"/>
                  </a:lnTo>
                  <a:lnTo>
                    <a:pt x="2456" y="4942"/>
                  </a:lnTo>
                  <a:lnTo>
                    <a:pt x="2464" y="4944"/>
                  </a:lnTo>
                  <a:lnTo>
                    <a:pt x="2474" y="4942"/>
                  </a:lnTo>
                  <a:lnTo>
                    <a:pt x="2478" y="4944"/>
                  </a:lnTo>
                  <a:lnTo>
                    <a:pt x="2480" y="4948"/>
                  </a:lnTo>
                  <a:lnTo>
                    <a:pt x="2484" y="4958"/>
                  </a:lnTo>
                  <a:lnTo>
                    <a:pt x="2488" y="4972"/>
                  </a:lnTo>
                  <a:lnTo>
                    <a:pt x="2490" y="4976"/>
                  </a:lnTo>
                  <a:lnTo>
                    <a:pt x="2494" y="4978"/>
                  </a:lnTo>
                  <a:lnTo>
                    <a:pt x="2502" y="4984"/>
                  </a:lnTo>
                  <a:lnTo>
                    <a:pt x="2508" y="4988"/>
                  </a:lnTo>
                  <a:lnTo>
                    <a:pt x="2512" y="4990"/>
                  </a:lnTo>
                  <a:lnTo>
                    <a:pt x="2516" y="4990"/>
                  </a:lnTo>
                  <a:lnTo>
                    <a:pt x="2518" y="4990"/>
                  </a:lnTo>
                  <a:lnTo>
                    <a:pt x="2520" y="4988"/>
                  </a:lnTo>
                  <a:lnTo>
                    <a:pt x="2518" y="4984"/>
                  </a:lnTo>
                  <a:lnTo>
                    <a:pt x="2516" y="4978"/>
                  </a:lnTo>
                  <a:lnTo>
                    <a:pt x="2514" y="4976"/>
                  </a:lnTo>
                  <a:lnTo>
                    <a:pt x="2516" y="4974"/>
                  </a:lnTo>
                  <a:lnTo>
                    <a:pt x="2518" y="4970"/>
                  </a:lnTo>
                  <a:lnTo>
                    <a:pt x="2518" y="4966"/>
                  </a:lnTo>
                  <a:lnTo>
                    <a:pt x="2514" y="4964"/>
                  </a:lnTo>
                  <a:lnTo>
                    <a:pt x="2508" y="4960"/>
                  </a:lnTo>
                  <a:close/>
                  <a:moveTo>
                    <a:pt x="2428" y="4870"/>
                  </a:moveTo>
                  <a:lnTo>
                    <a:pt x="2428" y="4870"/>
                  </a:lnTo>
                  <a:lnTo>
                    <a:pt x="2432" y="4868"/>
                  </a:lnTo>
                  <a:lnTo>
                    <a:pt x="2434" y="4862"/>
                  </a:lnTo>
                  <a:lnTo>
                    <a:pt x="2434" y="4858"/>
                  </a:lnTo>
                  <a:lnTo>
                    <a:pt x="2432" y="4856"/>
                  </a:lnTo>
                  <a:lnTo>
                    <a:pt x="2430" y="4856"/>
                  </a:lnTo>
                  <a:lnTo>
                    <a:pt x="2426" y="4858"/>
                  </a:lnTo>
                  <a:lnTo>
                    <a:pt x="2424" y="4860"/>
                  </a:lnTo>
                  <a:lnTo>
                    <a:pt x="2420" y="4866"/>
                  </a:lnTo>
                  <a:lnTo>
                    <a:pt x="2420" y="4868"/>
                  </a:lnTo>
                  <a:lnTo>
                    <a:pt x="2420" y="4872"/>
                  </a:lnTo>
                  <a:lnTo>
                    <a:pt x="2424" y="4872"/>
                  </a:lnTo>
                  <a:lnTo>
                    <a:pt x="2428" y="4870"/>
                  </a:lnTo>
                  <a:close/>
                  <a:moveTo>
                    <a:pt x="2450" y="4852"/>
                  </a:moveTo>
                  <a:lnTo>
                    <a:pt x="2450" y="4852"/>
                  </a:lnTo>
                  <a:lnTo>
                    <a:pt x="2444" y="4848"/>
                  </a:lnTo>
                  <a:lnTo>
                    <a:pt x="2434" y="4840"/>
                  </a:lnTo>
                  <a:lnTo>
                    <a:pt x="2430" y="4836"/>
                  </a:lnTo>
                  <a:lnTo>
                    <a:pt x="2428" y="4838"/>
                  </a:lnTo>
                  <a:lnTo>
                    <a:pt x="2428" y="4846"/>
                  </a:lnTo>
                  <a:lnTo>
                    <a:pt x="2430" y="4848"/>
                  </a:lnTo>
                  <a:lnTo>
                    <a:pt x="2432" y="4850"/>
                  </a:lnTo>
                  <a:lnTo>
                    <a:pt x="2438" y="4854"/>
                  </a:lnTo>
                  <a:lnTo>
                    <a:pt x="2446" y="4854"/>
                  </a:lnTo>
                  <a:lnTo>
                    <a:pt x="2450" y="4852"/>
                  </a:lnTo>
                  <a:close/>
                  <a:moveTo>
                    <a:pt x="2378" y="4806"/>
                  </a:moveTo>
                  <a:lnTo>
                    <a:pt x="2378" y="4806"/>
                  </a:lnTo>
                  <a:lnTo>
                    <a:pt x="2376" y="4806"/>
                  </a:lnTo>
                  <a:lnTo>
                    <a:pt x="2376" y="4810"/>
                  </a:lnTo>
                  <a:lnTo>
                    <a:pt x="2376" y="4812"/>
                  </a:lnTo>
                  <a:lnTo>
                    <a:pt x="2378" y="4814"/>
                  </a:lnTo>
                  <a:lnTo>
                    <a:pt x="2382" y="4814"/>
                  </a:lnTo>
                  <a:lnTo>
                    <a:pt x="2382" y="4810"/>
                  </a:lnTo>
                  <a:lnTo>
                    <a:pt x="2380" y="4806"/>
                  </a:lnTo>
                  <a:lnTo>
                    <a:pt x="2378" y="4806"/>
                  </a:lnTo>
                  <a:close/>
                  <a:moveTo>
                    <a:pt x="2422" y="4774"/>
                  </a:moveTo>
                  <a:lnTo>
                    <a:pt x="2422" y="4774"/>
                  </a:lnTo>
                  <a:lnTo>
                    <a:pt x="2414" y="4778"/>
                  </a:lnTo>
                  <a:lnTo>
                    <a:pt x="2412" y="4782"/>
                  </a:lnTo>
                  <a:lnTo>
                    <a:pt x="2410" y="4784"/>
                  </a:lnTo>
                  <a:lnTo>
                    <a:pt x="2406" y="4788"/>
                  </a:lnTo>
                  <a:lnTo>
                    <a:pt x="2406" y="4790"/>
                  </a:lnTo>
                  <a:lnTo>
                    <a:pt x="2410" y="4792"/>
                  </a:lnTo>
                  <a:lnTo>
                    <a:pt x="2414" y="4790"/>
                  </a:lnTo>
                  <a:lnTo>
                    <a:pt x="2420" y="4796"/>
                  </a:lnTo>
                  <a:lnTo>
                    <a:pt x="2416" y="4796"/>
                  </a:lnTo>
                  <a:lnTo>
                    <a:pt x="2414" y="4796"/>
                  </a:lnTo>
                  <a:lnTo>
                    <a:pt x="2414" y="4798"/>
                  </a:lnTo>
                  <a:lnTo>
                    <a:pt x="2414" y="4800"/>
                  </a:lnTo>
                  <a:lnTo>
                    <a:pt x="2418" y="4804"/>
                  </a:lnTo>
                  <a:lnTo>
                    <a:pt x="2420" y="4804"/>
                  </a:lnTo>
                  <a:lnTo>
                    <a:pt x="2422" y="4802"/>
                  </a:lnTo>
                  <a:lnTo>
                    <a:pt x="2420" y="4798"/>
                  </a:lnTo>
                  <a:lnTo>
                    <a:pt x="2432" y="4808"/>
                  </a:lnTo>
                  <a:lnTo>
                    <a:pt x="2436" y="4808"/>
                  </a:lnTo>
                  <a:lnTo>
                    <a:pt x="2438" y="4804"/>
                  </a:lnTo>
                  <a:lnTo>
                    <a:pt x="2438" y="4798"/>
                  </a:lnTo>
                  <a:lnTo>
                    <a:pt x="2438" y="4790"/>
                  </a:lnTo>
                  <a:lnTo>
                    <a:pt x="2436" y="4782"/>
                  </a:lnTo>
                  <a:lnTo>
                    <a:pt x="2434" y="4776"/>
                  </a:lnTo>
                  <a:lnTo>
                    <a:pt x="2428" y="4774"/>
                  </a:lnTo>
                  <a:lnTo>
                    <a:pt x="2422" y="4774"/>
                  </a:lnTo>
                  <a:close/>
                  <a:moveTo>
                    <a:pt x="2384" y="4796"/>
                  </a:moveTo>
                  <a:lnTo>
                    <a:pt x="2384" y="4796"/>
                  </a:lnTo>
                  <a:lnTo>
                    <a:pt x="2384" y="4798"/>
                  </a:lnTo>
                  <a:lnTo>
                    <a:pt x="2384" y="4802"/>
                  </a:lnTo>
                  <a:lnTo>
                    <a:pt x="2386" y="4806"/>
                  </a:lnTo>
                  <a:lnTo>
                    <a:pt x="2390" y="4806"/>
                  </a:lnTo>
                  <a:lnTo>
                    <a:pt x="2392" y="4806"/>
                  </a:lnTo>
                  <a:lnTo>
                    <a:pt x="2390" y="4802"/>
                  </a:lnTo>
                  <a:lnTo>
                    <a:pt x="2388" y="4798"/>
                  </a:lnTo>
                  <a:lnTo>
                    <a:pt x="2384" y="4796"/>
                  </a:lnTo>
                  <a:close/>
                  <a:moveTo>
                    <a:pt x="2578" y="4662"/>
                  </a:moveTo>
                  <a:lnTo>
                    <a:pt x="2578" y="4662"/>
                  </a:lnTo>
                  <a:lnTo>
                    <a:pt x="2580" y="4662"/>
                  </a:lnTo>
                  <a:lnTo>
                    <a:pt x="2584" y="4660"/>
                  </a:lnTo>
                  <a:lnTo>
                    <a:pt x="2584" y="4650"/>
                  </a:lnTo>
                  <a:lnTo>
                    <a:pt x="2584" y="4640"/>
                  </a:lnTo>
                  <a:lnTo>
                    <a:pt x="2582" y="4634"/>
                  </a:lnTo>
                  <a:lnTo>
                    <a:pt x="2578" y="4634"/>
                  </a:lnTo>
                  <a:lnTo>
                    <a:pt x="2574" y="4640"/>
                  </a:lnTo>
                  <a:lnTo>
                    <a:pt x="2570" y="4646"/>
                  </a:lnTo>
                  <a:lnTo>
                    <a:pt x="2572" y="4650"/>
                  </a:lnTo>
                  <a:lnTo>
                    <a:pt x="2574" y="4652"/>
                  </a:lnTo>
                  <a:lnTo>
                    <a:pt x="2578" y="4656"/>
                  </a:lnTo>
                  <a:lnTo>
                    <a:pt x="2576" y="4658"/>
                  </a:lnTo>
                  <a:lnTo>
                    <a:pt x="2574" y="4660"/>
                  </a:lnTo>
                  <a:lnTo>
                    <a:pt x="2578" y="4662"/>
                  </a:lnTo>
                  <a:close/>
                  <a:moveTo>
                    <a:pt x="2136" y="4766"/>
                  </a:moveTo>
                  <a:lnTo>
                    <a:pt x="2136" y="4766"/>
                  </a:lnTo>
                  <a:lnTo>
                    <a:pt x="2134" y="4768"/>
                  </a:lnTo>
                  <a:lnTo>
                    <a:pt x="2134" y="4772"/>
                  </a:lnTo>
                  <a:lnTo>
                    <a:pt x="2138" y="4782"/>
                  </a:lnTo>
                  <a:lnTo>
                    <a:pt x="2154" y="4806"/>
                  </a:lnTo>
                  <a:lnTo>
                    <a:pt x="2158" y="4812"/>
                  </a:lnTo>
                  <a:lnTo>
                    <a:pt x="2162" y="4812"/>
                  </a:lnTo>
                  <a:lnTo>
                    <a:pt x="2164" y="4810"/>
                  </a:lnTo>
                  <a:lnTo>
                    <a:pt x="2166" y="4806"/>
                  </a:lnTo>
                  <a:lnTo>
                    <a:pt x="2166" y="4794"/>
                  </a:lnTo>
                  <a:lnTo>
                    <a:pt x="2164" y="4790"/>
                  </a:lnTo>
                  <a:lnTo>
                    <a:pt x="2160" y="4786"/>
                  </a:lnTo>
                  <a:lnTo>
                    <a:pt x="2154" y="4780"/>
                  </a:lnTo>
                  <a:lnTo>
                    <a:pt x="2150" y="4772"/>
                  </a:lnTo>
                  <a:lnTo>
                    <a:pt x="2144" y="4768"/>
                  </a:lnTo>
                  <a:lnTo>
                    <a:pt x="2140" y="4766"/>
                  </a:lnTo>
                  <a:lnTo>
                    <a:pt x="2136" y="4766"/>
                  </a:lnTo>
                  <a:close/>
                  <a:moveTo>
                    <a:pt x="2832" y="5258"/>
                  </a:moveTo>
                  <a:lnTo>
                    <a:pt x="2832" y="5258"/>
                  </a:lnTo>
                  <a:lnTo>
                    <a:pt x="2828" y="5254"/>
                  </a:lnTo>
                  <a:lnTo>
                    <a:pt x="2828" y="5248"/>
                  </a:lnTo>
                  <a:lnTo>
                    <a:pt x="2832" y="5234"/>
                  </a:lnTo>
                  <a:lnTo>
                    <a:pt x="2832" y="5226"/>
                  </a:lnTo>
                  <a:lnTo>
                    <a:pt x="2832" y="5220"/>
                  </a:lnTo>
                  <a:lnTo>
                    <a:pt x="2828" y="5214"/>
                  </a:lnTo>
                  <a:lnTo>
                    <a:pt x="2820" y="5212"/>
                  </a:lnTo>
                  <a:lnTo>
                    <a:pt x="2808" y="5212"/>
                  </a:lnTo>
                  <a:lnTo>
                    <a:pt x="2798" y="5214"/>
                  </a:lnTo>
                  <a:lnTo>
                    <a:pt x="2786" y="5216"/>
                  </a:lnTo>
                  <a:lnTo>
                    <a:pt x="2780" y="5216"/>
                  </a:lnTo>
                  <a:lnTo>
                    <a:pt x="2772" y="5212"/>
                  </a:lnTo>
                  <a:lnTo>
                    <a:pt x="2762" y="5208"/>
                  </a:lnTo>
                  <a:lnTo>
                    <a:pt x="2762" y="5206"/>
                  </a:lnTo>
                  <a:lnTo>
                    <a:pt x="2762" y="5204"/>
                  </a:lnTo>
                  <a:lnTo>
                    <a:pt x="2762" y="5196"/>
                  </a:lnTo>
                  <a:lnTo>
                    <a:pt x="2762" y="5190"/>
                  </a:lnTo>
                  <a:lnTo>
                    <a:pt x="2758" y="5184"/>
                  </a:lnTo>
                  <a:lnTo>
                    <a:pt x="2754" y="5178"/>
                  </a:lnTo>
                  <a:lnTo>
                    <a:pt x="2752" y="5174"/>
                  </a:lnTo>
                  <a:lnTo>
                    <a:pt x="2748" y="5174"/>
                  </a:lnTo>
                  <a:lnTo>
                    <a:pt x="2746" y="5176"/>
                  </a:lnTo>
                  <a:lnTo>
                    <a:pt x="2740" y="5178"/>
                  </a:lnTo>
                  <a:lnTo>
                    <a:pt x="2738" y="5178"/>
                  </a:lnTo>
                  <a:lnTo>
                    <a:pt x="2734" y="5174"/>
                  </a:lnTo>
                  <a:lnTo>
                    <a:pt x="2730" y="5168"/>
                  </a:lnTo>
                  <a:lnTo>
                    <a:pt x="2728" y="5170"/>
                  </a:lnTo>
                  <a:lnTo>
                    <a:pt x="2726" y="5170"/>
                  </a:lnTo>
                  <a:lnTo>
                    <a:pt x="2720" y="5166"/>
                  </a:lnTo>
                  <a:lnTo>
                    <a:pt x="2718" y="5164"/>
                  </a:lnTo>
                  <a:lnTo>
                    <a:pt x="2714" y="5162"/>
                  </a:lnTo>
                  <a:lnTo>
                    <a:pt x="2708" y="5164"/>
                  </a:lnTo>
                  <a:lnTo>
                    <a:pt x="2704" y="5166"/>
                  </a:lnTo>
                  <a:lnTo>
                    <a:pt x="2700" y="5166"/>
                  </a:lnTo>
                  <a:lnTo>
                    <a:pt x="2698" y="5162"/>
                  </a:lnTo>
                  <a:lnTo>
                    <a:pt x="2694" y="5154"/>
                  </a:lnTo>
                  <a:lnTo>
                    <a:pt x="2692" y="5150"/>
                  </a:lnTo>
                  <a:lnTo>
                    <a:pt x="2688" y="5148"/>
                  </a:lnTo>
                  <a:lnTo>
                    <a:pt x="2686" y="5150"/>
                  </a:lnTo>
                  <a:lnTo>
                    <a:pt x="2682" y="5152"/>
                  </a:lnTo>
                  <a:lnTo>
                    <a:pt x="2680" y="5156"/>
                  </a:lnTo>
                  <a:lnTo>
                    <a:pt x="2676" y="5166"/>
                  </a:lnTo>
                  <a:lnTo>
                    <a:pt x="2670" y="5178"/>
                  </a:lnTo>
                  <a:lnTo>
                    <a:pt x="2668" y="5180"/>
                  </a:lnTo>
                  <a:lnTo>
                    <a:pt x="2666" y="5180"/>
                  </a:lnTo>
                  <a:lnTo>
                    <a:pt x="2660" y="5176"/>
                  </a:lnTo>
                  <a:lnTo>
                    <a:pt x="2654" y="5174"/>
                  </a:lnTo>
                  <a:lnTo>
                    <a:pt x="2646" y="5172"/>
                  </a:lnTo>
                  <a:lnTo>
                    <a:pt x="2634" y="5174"/>
                  </a:lnTo>
                  <a:lnTo>
                    <a:pt x="2630" y="5174"/>
                  </a:lnTo>
                  <a:lnTo>
                    <a:pt x="2626" y="5176"/>
                  </a:lnTo>
                  <a:lnTo>
                    <a:pt x="2620" y="5174"/>
                  </a:lnTo>
                  <a:lnTo>
                    <a:pt x="2612" y="5172"/>
                  </a:lnTo>
                  <a:lnTo>
                    <a:pt x="2604" y="5172"/>
                  </a:lnTo>
                  <a:lnTo>
                    <a:pt x="2600" y="5170"/>
                  </a:lnTo>
                  <a:lnTo>
                    <a:pt x="2596" y="5168"/>
                  </a:lnTo>
                  <a:lnTo>
                    <a:pt x="2594" y="5162"/>
                  </a:lnTo>
                  <a:lnTo>
                    <a:pt x="2590" y="5154"/>
                  </a:lnTo>
                  <a:lnTo>
                    <a:pt x="2588" y="5148"/>
                  </a:lnTo>
                  <a:lnTo>
                    <a:pt x="2586" y="5144"/>
                  </a:lnTo>
                  <a:lnTo>
                    <a:pt x="2584" y="5144"/>
                  </a:lnTo>
                  <a:lnTo>
                    <a:pt x="2582" y="5144"/>
                  </a:lnTo>
                  <a:lnTo>
                    <a:pt x="2576" y="5146"/>
                  </a:lnTo>
                  <a:lnTo>
                    <a:pt x="2574" y="5146"/>
                  </a:lnTo>
                  <a:lnTo>
                    <a:pt x="2570" y="5142"/>
                  </a:lnTo>
                  <a:lnTo>
                    <a:pt x="2566" y="5140"/>
                  </a:lnTo>
                  <a:lnTo>
                    <a:pt x="2564" y="5140"/>
                  </a:lnTo>
                  <a:lnTo>
                    <a:pt x="2558" y="5140"/>
                  </a:lnTo>
                  <a:lnTo>
                    <a:pt x="2554" y="5142"/>
                  </a:lnTo>
                  <a:lnTo>
                    <a:pt x="2552" y="5140"/>
                  </a:lnTo>
                  <a:lnTo>
                    <a:pt x="2550" y="5138"/>
                  </a:lnTo>
                  <a:lnTo>
                    <a:pt x="2544" y="5132"/>
                  </a:lnTo>
                  <a:lnTo>
                    <a:pt x="2538" y="5128"/>
                  </a:lnTo>
                  <a:lnTo>
                    <a:pt x="2532" y="5128"/>
                  </a:lnTo>
                  <a:lnTo>
                    <a:pt x="2530" y="5130"/>
                  </a:lnTo>
                  <a:lnTo>
                    <a:pt x="2530" y="5132"/>
                  </a:lnTo>
                  <a:lnTo>
                    <a:pt x="2528" y="5136"/>
                  </a:lnTo>
                  <a:lnTo>
                    <a:pt x="2526" y="5136"/>
                  </a:lnTo>
                  <a:lnTo>
                    <a:pt x="2520" y="5136"/>
                  </a:lnTo>
                  <a:lnTo>
                    <a:pt x="2512" y="5132"/>
                  </a:lnTo>
                  <a:lnTo>
                    <a:pt x="2498" y="5130"/>
                  </a:lnTo>
                  <a:lnTo>
                    <a:pt x="2492" y="5130"/>
                  </a:lnTo>
                  <a:lnTo>
                    <a:pt x="2488" y="5132"/>
                  </a:lnTo>
                  <a:lnTo>
                    <a:pt x="2486" y="5136"/>
                  </a:lnTo>
                  <a:lnTo>
                    <a:pt x="2484" y="5140"/>
                  </a:lnTo>
                  <a:lnTo>
                    <a:pt x="2482" y="5150"/>
                  </a:lnTo>
                  <a:lnTo>
                    <a:pt x="2480" y="5152"/>
                  </a:lnTo>
                  <a:lnTo>
                    <a:pt x="2478" y="5154"/>
                  </a:lnTo>
                  <a:lnTo>
                    <a:pt x="2474" y="5156"/>
                  </a:lnTo>
                  <a:lnTo>
                    <a:pt x="2472" y="5160"/>
                  </a:lnTo>
                  <a:lnTo>
                    <a:pt x="2472" y="5164"/>
                  </a:lnTo>
                  <a:lnTo>
                    <a:pt x="2464" y="5164"/>
                  </a:lnTo>
                  <a:lnTo>
                    <a:pt x="2460" y="5166"/>
                  </a:lnTo>
                  <a:lnTo>
                    <a:pt x="2458" y="5168"/>
                  </a:lnTo>
                  <a:lnTo>
                    <a:pt x="2460" y="5172"/>
                  </a:lnTo>
                  <a:lnTo>
                    <a:pt x="2464" y="5174"/>
                  </a:lnTo>
                  <a:lnTo>
                    <a:pt x="2474" y="5174"/>
                  </a:lnTo>
                  <a:lnTo>
                    <a:pt x="2482" y="5174"/>
                  </a:lnTo>
                  <a:lnTo>
                    <a:pt x="2490" y="5174"/>
                  </a:lnTo>
                  <a:lnTo>
                    <a:pt x="2494" y="5174"/>
                  </a:lnTo>
                  <a:lnTo>
                    <a:pt x="2496" y="5178"/>
                  </a:lnTo>
                  <a:lnTo>
                    <a:pt x="2500" y="5180"/>
                  </a:lnTo>
                  <a:lnTo>
                    <a:pt x="2504" y="5180"/>
                  </a:lnTo>
                  <a:lnTo>
                    <a:pt x="2510" y="5180"/>
                  </a:lnTo>
                  <a:lnTo>
                    <a:pt x="2512" y="5180"/>
                  </a:lnTo>
                  <a:lnTo>
                    <a:pt x="2508" y="5188"/>
                  </a:lnTo>
                  <a:lnTo>
                    <a:pt x="2506" y="5194"/>
                  </a:lnTo>
                  <a:lnTo>
                    <a:pt x="2508" y="5198"/>
                  </a:lnTo>
                  <a:lnTo>
                    <a:pt x="2510" y="5200"/>
                  </a:lnTo>
                  <a:lnTo>
                    <a:pt x="2516" y="5200"/>
                  </a:lnTo>
                  <a:lnTo>
                    <a:pt x="2536" y="5204"/>
                  </a:lnTo>
                  <a:lnTo>
                    <a:pt x="2550" y="5210"/>
                  </a:lnTo>
                  <a:lnTo>
                    <a:pt x="2570" y="5218"/>
                  </a:lnTo>
                  <a:lnTo>
                    <a:pt x="2576" y="5220"/>
                  </a:lnTo>
                  <a:lnTo>
                    <a:pt x="2584" y="5220"/>
                  </a:lnTo>
                  <a:lnTo>
                    <a:pt x="2588" y="5220"/>
                  </a:lnTo>
                  <a:lnTo>
                    <a:pt x="2594" y="5218"/>
                  </a:lnTo>
                  <a:lnTo>
                    <a:pt x="2602" y="5214"/>
                  </a:lnTo>
                  <a:lnTo>
                    <a:pt x="2606" y="5214"/>
                  </a:lnTo>
                  <a:lnTo>
                    <a:pt x="2608" y="5214"/>
                  </a:lnTo>
                  <a:lnTo>
                    <a:pt x="2614" y="5218"/>
                  </a:lnTo>
                  <a:lnTo>
                    <a:pt x="2620" y="5216"/>
                  </a:lnTo>
                  <a:lnTo>
                    <a:pt x="2628" y="5216"/>
                  </a:lnTo>
                  <a:lnTo>
                    <a:pt x="2642" y="5218"/>
                  </a:lnTo>
                  <a:lnTo>
                    <a:pt x="2648" y="5220"/>
                  </a:lnTo>
                  <a:lnTo>
                    <a:pt x="2654" y="5224"/>
                  </a:lnTo>
                  <a:lnTo>
                    <a:pt x="2662" y="5230"/>
                  </a:lnTo>
                  <a:lnTo>
                    <a:pt x="2668" y="5234"/>
                  </a:lnTo>
                  <a:lnTo>
                    <a:pt x="2676" y="5238"/>
                  </a:lnTo>
                  <a:lnTo>
                    <a:pt x="2690" y="5242"/>
                  </a:lnTo>
                  <a:lnTo>
                    <a:pt x="2706" y="5246"/>
                  </a:lnTo>
                  <a:lnTo>
                    <a:pt x="2722" y="5248"/>
                  </a:lnTo>
                  <a:lnTo>
                    <a:pt x="2726" y="5246"/>
                  </a:lnTo>
                  <a:lnTo>
                    <a:pt x="2728" y="5244"/>
                  </a:lnTo>
                  <a:lnTo>
                    <a:pt x="2732" y="5244"/>
                  </a:lnTo>
                  <a:lnTo>
                    <a:pt x="2752" y="5248"/>
                  </a:lnTo>
                  <a:lnTo>
                    <a:pt x="2764" y="5250"/>
                  </a:lnTo>
                  <a:lnTo>
                    <a:pt x="2770" y="5248"/>
                  </a:lnTo>
                  <a:lnTo>
                    <a:pt x="2772" y="5246"/>
                  </a:lnTo>
                  <a:lnTo>
                    <a:pt x="2774" y="5244"/>
                  </a:lnTo>
                  <a:lnTo>
                    <a:pt x="2774" y="5242"/>
                  </a:lnTo>
                  <a:lnTo>
                    <a:pt x="2776" y="5242"/>
                  </a:lnTo>
                  <a:lnTo>
                    <a:pt x="2794" y="5250"/>
                  </a:lnTo>
                  <a:lnTo>
                    <a:pt x="2806" y="5256"/>
                  </a:lnTo>
                  <a:lnTo>
                    <a:pt x="2814" y="5258"/>
                  </a:lnTo>
                  <a:lnTo>
                    <a:pt x="2820" y="5260"/>
                  </a:lnTo>
                  <a:lnTo>
                    <a:pt x="2828" y="5264"/>
                  </a:lnTo>
                  <a:lnTo>
                    <a:pt x="2834" y="5268"/>
                  </a:lnTo>
                  <a:lnTo>
                    <a:pt x="2836" y="5268"/>
                  </a:lnTo>
                  <a:lnTo>
                    <a:pt x="2836" y="5266"/>
                  </a:lnTo>
                  <a:lnTo>
                    <a:pt x="2836" y="5262"/>
                  </a:lnTo>
                  <a:lnTo>
                    <a:pt x="2832" y="5258"/>
                  </a:lnTo>
                  <a:close/>
                  <a:moveTo>
                    <a:pt x="2398" y="4778"/>
                  </a:moveTo>
                  <a:lnTo>
                    <a:pt x="2398" y="4778"/>
                  </a:lnTo>
                  <a:lnTo>
                    <a:pt x="2400" y="4780"/>
                  </a:lnTo>
                  <a:lnTo>
                    <a:pt x="2402" y="4780"/>
                  </a:lnTo>
                  <a:lnTo>
                    <a:pt x="2406" y="4780"/>
                  </a:lnTo>
                  <a:lnTo>
                    <a:pt x="2410" y="4776"/>
                  </a:lnTo>
                  <a:lnTo>
                    <a:pt x="2410" y="4774"/>
                  </a:lnTo>
                  <a:lnTo>
                    <a:pt x="2408" y="4772"/>
                  </a:lnTo>
                  <a:lnTo>
                    <a:pt x="2402" y="4772"/>
                  </a:lnTo>
                  <a:lnTo>
                    <a:pt x="2398" y="4774"/>
                  </a:lnTo>
                  <a:lnTo>
                    <a:pt x="2398" y="4776"/>
                  </a:lnTo>
                  <a:lnTo>
                    <a:pt x="2398" y="4778"/>
                  </a:lnTo>
                  <a:close/>
                  <a:moveTo>
                    <a:pt x="2330" y="4760"/>
                  </a:moveTo>
                  <a:lnTo>
                    <a:pt x="2330" y="4760"/>
                  </a:lnTo>
                  <a:lnTo>
                    <a:pt x="2330" y="4762"/>
                  </a:lnTo>
                  <a:lnTo>
                    <a:pt x="2332" y="4764"/>
                  </a:lnTo>
                  <a:lnTo>
                    <a:pt x="2340" y="4770"/>
                  </a:lnTo>
                  <a:lnTo>
                    <a:pt x="2348" y="4774"/>
                  </a:lnTo>
                  <a:lnTo>
                    <a:pt x="2350" y="4774"/>
                  </a:lnTo>
                  <a:lnTo>
                    <a:pt x="2350" y="4770"/>
                  </a:lnTo>
                  <a:lnTo>
                    <a:pt x="2350" y="4768"/>
                  </a:lnTo>
                  <a:lnTo>
                    <a:pt x="2346" y="4764"/>
                  </a:lnTo>
                  <a:lnTo>
                    <a:pt x="2340" y="4760"/>
                  </a:lnTo>
                  <a:lnTo>
                    <a:pt x="2334" y="4758"/>
                  </a:lnTo>
                  <a:lnTo>
                    <a:pt x="2332" y="4758"/>
                  </a:lnTo>
                  <a:lnTo>
                    <a:pt x="2330" y="4760"/>
                  </a:lnTo>
                  <a:close/>
                  <a:moveTo>
                    <a:pt x="2230" y="4942"/>
                  </a:moveTo>
                  <a:lnTo>
                    <a:pt x="2230" y="4942"/>
                  </a:lnTo>
                  <a:lnTo>
                    <a:pt x="2230" y="4944"/>
                  </a:lnTo>
                  <a:lnTo>
                    <a:pt x="2230" y="4946"/>
                  </a:lnTo>
                  <a:lnTo>
                    <a:pt x="2234" y="4952"/>
                  </a:lnTo>
                  <a:lnTo>
                    <a:pt x="2238" y="4956"/>
                  </a:lnTo>
                  <a:lnTo>
                    <a:pt x="2242" y="4956"/>
                  </a:lnTo>
                  <a:lnTo>
                    <a:pt x="2244" y="4954"/>
                  </a:lnTo>
                  <a:lnTo>
                    <a:pt x="2244" y="4952"/>
                  </a:lnTo>
                  <a:lnTo>
                    <a:pt x="2244" y="4950"/>
                  </a:lnTo>
                  <a:lnTo>
                    <a:pt x="2240" y="4944"/>
                  </a:lnTo>
                  <a:lnTo>
                    <a:pt x="2236" y="4940"/>
                  </a:lnTo>
                  <a:lnTo>
                    <a:pt x="2232" y="4940"/>
                  </a:lnTo>
                  <a:lnTo>
                    <a:pt x="2230" y="4942"/>
                  </a:lnTo>
                  <a:close/>
                  <a:moveTo>
                    <a:pt x="2194" y="4886"/>
                  </a:moveTo>
                  <a:lnTo>
                    <a:pt x="2194" y="4886"/>
                  </a:lnTo>
                  <a:lnTo>
                    <a:pt x="2192" y="4890"/>
                  </a:lnTo>
                  <a:lnTo>
                    <a:pt x="2192" y="4896"/>
                  </a:lnTo>
                  <a:lnTo>
                    <a:pt x="2194" y="4904"/>
                  </a:lnTo>
                  <a:lnTo>
                    <a:pt x="2198" y="4910"/>
                  </a:lnTo>
                  <a:lnTo>
                    <a:pt x="2208" y="4920"/>
                  </a:lnTo>
                  <a:lnTo>
                    <a:pt x="2214" y="4924"/>
                  </a:lnTo>
                  <a:lnTo>
                    <a:pt x="2218" y="4924"/>
                  </a:lnTo>
                  <a:lnTo>
                    <a:pt x="2220" y="4920"/>
                  </a:lnTo>
                  <a:lnTo>
                    <a:pt x="2220" y="4914"/>
                  </a:lnTo>
                  <a:lnTo>
                    <a:pt x="2214" y="4900"/>
                  </a:lnTo>
                  <a:lnTo>
                    <a:pt x="2210" y="4894"/>
                  </a:lnTo>
                  <a:lnTo>
                    <a:pt x="2204" y="4888"/>
                  </a:lnTo>
                  <a:lnTo>
                    <a:pt x="2200" y="4886"/>
                  </a:lnTo>
                  <a:lnTo>
                    <a:pt x="2194" y="4886"/>
                  </a:lnTo>
                  <a:close/>
                  <a:moveTo>
                    <a:pt x="2182" y="4866"/>
                  </a:moveTo>
                  <a:lnTo>
                    <a:pt x="2182" y="4866"/>
                  </a:lnTo>
                  <a:lnTo>
                    <a:pt x="2184" y="4868"/>
                  </a:lnTo>
                  <a:lnTo>
                    <a:pt x="2186" y="4866"/>
                  </a:lnTo>
                  <a:lnTo>
                    <a:pt x="2188" y="4862"/>
                  </a:lnTo>
                  <a:lnTo>
                    <a:pt x="2188" y="4856"/>
                  </a:lnTo>
                  <a:lnTo>
                    <a:pt x="2186" y="4850"/>
                  </a:lnTo>
                  <a:lnTo>
                    <a:pt x="2184" y="4850"/>
                  </a:lnTo>
                  <a:lnTo>
                    <a:pt x="2182" y="4850"/>
                  </a:lnTo>
                  <a:lnTo>
                    <a:pt x="2180" y="4854"/>
                  </a:lnTo>
                  <a:lnTo>
                    <a:pt x="2180" y="4860"/>
                  </a:lnTo>
                  <a:lnTo>
                    <a:pt x="2180" y="4864"/>
                  </a:lnTo>
                  <a:lnTo>
                    <a:pt x="2182" y="4866"/>
                  </a:lnTo>
                  <a:close/>
                  <a:moveTo>
                    <a:pt x="2248" y="4964"/>
                  </a:moveTo>
                  <a:lnTo>
                    <a:pt x="2248" y="4964"/>
                  </a:lnTo>
                  <a:lnTo>
                    <a:pt x="2246" y="4968"/>
                  </a:lnTo>
                  <a:lnTo>
                    <a:pt x="2246" y="4974"/>
                  </a:lnTo>
                  <a:lnTo>
                    <a:pt x="2248" y="4976"/>
                  </a:lnTo>
                  <a:lnTo>
                    <a:pt x="2252" y="4978"/>
                  </a:lnTo>
                  <a:lnTo>
                    <a:pt x="2254" y="4978"/>
                  </a:lnTo>
                  <a:lnTo>
                    <a:pt x="2256" y="4980"/>
                  </a:lnTo>
                  <a:lnTo>
                    <a:pt x="2260" y="4990"/>
                  </a:lnTo>
                  <a:lnTo>
                    <a:pt x="2262" y="4996"/>
                  </a:lnTo>
                  <a:lnTo>
                    <a:pt x="2264" y="4996"/>
                  </a:lnTo>
                  <a:lnTo>
                    <a:pt x="2266" y="4994"/>
                  </a:lnTo>
                  <a:lnTo>
                    <a:pt x="2266" y="4990"/>
                  </a:lnTo>
                  <a:lnTo>
                    <a:pt x="2266" y="4984"/>
                  </a:lnTo>
                  <a:lnTo>
                    <a:pt x="2260" y="4974"/>
                  </a:lnTo>
                  <a:lnTo>
                    <a:pt x="2254" y="4964"/>
                  </a:lnTo>
                  <a:lnTo>
                    <a:pt x="2250" y="4964"/>
                  </a:lnTo>
                  <a:lnTo>
                    <a:pt x="2248" y="4964"/>
                  </a:lnTo>
                  <a:close/>
                  <a:moveTo>
                    <a:pt x="2354" y="4788"/>
                  </a:moveTo>
                  <a:lnTo>
                    <a:pt x="2354" y="4788"/>
                  </a:lnTo>
                  <a:lnTo>
                    <a:pt x="2352" y="4784"/>
                  </a:lnTo>
                  <a:lnTo>
                    <a:pt x="2350" y="4792"/>
                  </a:lnTo>
                  <a:lnTo>
                    <a:pt x="2348" y="4796"/>
                  </a:lnTo>
                  <a:lnTo>
                    <a:pt x="2348" y="4800"/>
                  </a:lnTo>
                  <a:lnTo>
                    <a:pt x="2352" y="4800"/>
                  </a:lnTo>
                  <a:lnTo>
                    <a:pt x="2358" y="4802"/>
                  </a:lnTo>
                  <a:lnTo>
                    <a:pt x="2364" y="4802"/>
                  </a:lnTo>
                  <a:lnTo>
                    <a:pt x="2370" y="4804"/>
                  </a:lnTo>
                  <a:lnTo>
                    <a:pt x="2372" y="4804"/>
                  </a:lnTo>
                  <a:lnTo>
                    <a:pt x="2372" y="4800"/>
                  </a:lnTo>
                  <a:lnTo>
                    <a:pt x="2372" y="4798"/>
                  </a:lnTo>
                  <a:lnTo>
                    <a:pt x="2370" y="4796"/>
                  </a:lnTo>
                  <a:lnTo>
                    <a:pt x="2364" y="4794"/>
                  </a:lnTo>
                  <a:lnTo>
                    <a:pt x="2358" y="4792"/>
                  </a:lnTo>
                  <a:lnTo>
                    <a:pt x="2354" y="4788"/>
                  </a:lnTo>
                  <a:close/>
                  <a:moveTo>
                    <a:pt x="2484" y="5128"/>
                  </a:moveTo>
                  <a:lnTo>
                    <a:pt x="2484" y="5128"/>
                  </a:lnTo>
                  <a:lnTo>
                    <a:pt x="2486" y="5124"/>
                  </a:lnTo>
                  <a:lnTo>
                    <a:pt x="2486" y="5120"/>
                  </a:lnTo>
                  <a:lnTo>
                    <a:pt x="2488" y="5108"/>
                  </a:lnTo>
                  <a:lnTo>
                    <a:pt x="2486" y="5092"/>
                  </a:lnTo>
                  <a:lnTo>
                    <a:pt x="2488" y="5076"/>
                  </a:lnTo>
                  <a:lnTo>
                    <a:pt x="2488" y="5062"/>
                  </a:lnTo>
                  <a:lnTo>
                    <a:pt x="2486" y="5056"/>
                  </a:lnTo>
                  <a:lnTo>
                    <a:pt x="2484" y="5050"/>
                  </a:lnTo>
                  <a:lnTo>
                    <a:pt x="2486" y="5038"/>
                  </a:lnTo>
                  <a:lnTo>
                    <a:pt x="2488" y="5028"/>
                  </a:lnTo>
                  <a:lnTo>
                    <a:pt x="2488" y="5020"/>
                  </a:lnTo>
                  <a:lnTo>
                    <a:pt x="2486" y="5014"/>
                  </a:lnTo>
                  <a:lnTo>
                    <a:pt x="2492" y="5004"/>
                  </a:lnTo>
                  <a:lnTo>
                    <a:pt x="2494" y="4998"/>
                  </a:lnTo>
                  <a:lnTo>
                    <a:pt x="2496" y="4994"/>
                  </a:lnTo>
                  <a:lnTo>
                    <a:pt x="2494" y="4990"/>
                  </a:lnTo>
                  <a:lnTo>
                    <a:pt x="2492" y="4988"/>
                  </a:lnTo>
                  <a:lnTo>
                    <a:pt x="2486" y="4982"/>
                  </a:lnTo>
                  <a:lnTo>
                    <a:pt x="2482" y="4978"/>
                  </a:lnTo>
                  <a:lnTo>
                    <a:pt x="2480" y="4972"/>
                  </a:lnTo>
                  <a:lnTo>
                    <a:pt x="2476" y="4962"/>
                  </a:lnTo>
                  <a:lnTo>
                    <a:pt x="2472" y="4956"/>
                  </a:lnTo>
                  <a:lnTo>
                    <a:pt x="2468" y="4954"/>
                  </a:lnTo>
                  <a:lnTo>
                    <a:pt x="2460" y="4956"/>
                  </a:lnTo>
                  <a:lnTo>
                    <a:pt x="2456" y="4958"/>
                  </a:lnTo>
                  <a:lnTo>
                    <a:pt x="2452" y="4956"/>
                  </a:lnTo>
                  <a:lnTo>
                    <a:pt x="2450" y="4956"/>
                  </a:lnTo>
                  <a:lnTo>
                    <a:pt x="2446" y="4958"/>
                  </a:lnTo>
                  <a:lnTo>
                    <a:pt x="2440" y="4962"/>
                  </a:lnTo>
                  <a:lnTo>
                    <a:pt x="2442" y="4956"/>
                  </a:lnTo>
                  <a:lnTo>
                    <a:pt x="2446" y="4946"/>
                  </a:lnTo>
                  <a:lnTo>
                    <a:pt x="2446" y="4942"/>
                  </a:lnTo>
                  <a:lnTo>
                    <a:pt x="2442" y="4940"/>
                  </a:lnTo>
                  <a:lnTo>
                    <a:pt x="2438" y="4938"/>
                  </a:lnTo>
                  <a:lnTo>
                    <a:pt x="2436" y="4932"/>
                  </a:lnTo>
                  <a:lnTo>
                    <a:pt x="2430" y="4914"/>
                  </a:lnTo>
                  <a:lnTo>
                    <a:pt x="2428" y="4904"/>
                  </a:lnTo>
                  <a:lnTo>
                    <a:pt x="2426" y="4898"/>
                  </a:lnTo>
                  <a:lnTo>
                    <a:pt x="2422" y="4892"/>
                  </a:lnTo>
                  <a:lnTo>
                    <a:pt x="2420" y="4890"/>
                  </a:lnTo>
                  <a:lnTo>
                    <a:pt x="2416" y="4890"/>
                  </a:lnTo>
                  <a:lnTo>
                    <a:pt x="2410" y="4890"/>
                  </a:lnTo>
                  <a:lnTo>
                    <a:pt x="2404" y="4890"/>
                  </a:lnTo>
                  <a:lnTo>
                    <a:pt x="2394" y="4884"/>
                  </a:lnTo>
                  <a:lnTo>
                    <a:pt x="2390" y="4880"/>
                  </a:lnTo>
                  <a:lnTo>
                    <a:pt x="2388" y="4876"/>
                  </a:lnTo>
                  <a:lnTo>
                    <a:pt x="2388" y="4872"/>
                  </a:lnTo>
                  <a:lnTo>
                    <a:pt x="2388" y="4868"/>
                  </a:lnTo>
                  <a:lnTo>
                    <a:pt x="2390" y="4862"/>
                  </a:lnTo>
                  <a:lnTo>
                    <a:pt x="2392" y="4858"/>
                  </a:lnTo>
                  <a:lnTo>
                    <a:pt x="2390" y="4852"/>
                  </a:lnTo>
                  <a:lnTo>
                    <a:pt x="2390" y="4848"/>
                  </a:lnTo>
                  <a:lnTo>
                    <a:pt x="2392" y="4846"/>
                  </a:lnTo>
                  <a:lnTo>
                    <a:pt x="2396" y="4844"/>
                  </a:lnTo>
                  <a:lnTo>
                    <a:pt x="2400" y="4842"/>
                  </a:lnTo>
                  <a:lnTo>
                    <a:pt x="2402" y="4836"/>
                  </a:lnTo>
                  <a:lnTo>
                    <a:pt x="2402" y="4832"/>
                  </a:lnTo>
                  <a:lnTo>
                    <a:pt x="2400" y="4826"/>
                  </a:lnTo>
                  <a:lnTo>
                    <a:pt x="2396" y="4822"/>
                  </a:lnTo>
                  <a:lnTo>
                    <a:pt x="2392" y="4818"/>
                  </a:lnTo>
                  <a:lnTo>
                    <a:pt x="2386" y="4816"/>
                  </a:lnTo>
                  <a:lnTo>
                    <a:pt x="2380" y="4818"/>
                  </a:lnTo>
                  <a:lnTo>
                    <a:pt x="2376" y="4820"/>
                  </a:lnTo>
                  <a:lnTo>
                    <a:pt x="2374" y="4820"/>
                  </a:lnTo>
                  <a:lnTo>
                    <a:pt x="2372" y="4814"/>
                  </a:lnTo>
                  <a:lnTo>
                    <a:pt x="2372" y="4812"/>
                  </a:lnTo>
                  <a:lnTo>
                    <a:pt x="2368" y="4808"/>
                  </a:lnTo>
                  <a:lnTo>
                    <a:pt x="2364" y="4806"/>
                  </a:lnTo>
                  <a:lnTo>
                    <a:pt x="2356" y="4804"/>
                  </a:lnTo>
                  <a:lnTo>
                    <a:pt x="2348" y="4802"/>
                  </a:lnTo>
                  <a:lnTo>
                    <a:pt x="2342" y="4796"/>
                  </a:lnTo>
                  <a:lnTo>
                    <a:pt x="2340" y="4790"/>
                  </a:lnTo>
                  <a:lnTo>
                    <a:pt x="2338" y="4784"/>
                  </a:lnTo>
                  <a:lnTo>
                    <a:pt x="2336" y="4776"/>
                  </a:lnTo>
                  <a:lnTo>
                    <a:pt x="2332" y="4768"/>
                  </a:lnTo>
                  <a:lnTo>
                    <a:pt x="2324" y="4762"/>
                  </a:lnTo>
                  <a:lnTo>
                    <a:pt x="2314" y="4758"/>
                  </a:lnTo>
                  <a:lnTo>
                    <a:pt x="2308" y="4756"/>
                  </a:lnTo>
                  <a:lnTo>
                    <a:pt x="2304" y="4754"/>
                  </a:lnTo>
                  <a:lnTo>
                    <a:pt x="2302" y="4748"/>
                  </a:lnTo>
                  <a:lnTo>
                    <a:pt x="2300" y="4740"/>
                  </a:lnTo>
                  <a:lnTo>
                    <a:pt x="2298" y="4738"/>
                  </a:lnTo>
                  <a:lnTo>
                    <a:pt x="2296" y="4734"/>
                  </a:lnTo>
                  <a:lnTo>
                    <a:pt x="2288" y="4728"/>
                  </a:lnTo>
                  <a:lnTo>
                    <a:pt x="2284" y="4728"/>
                  </a:lnTo>
                  <a:lnTo>
                    <a:pt x="2282" y="4730"/>
                  </a:lnTo>
                  <a:lnTo>
                    <a:pt x="2282" y="4732"/>
                  </a:lnTo>
                  <a:lnTo>
                    <a:pt x="2282" y="4740"/>
                  </a:lnTo>
                  <a:lnTo>
                    <a:pt x="2282" y="4742"/>
                  </a:lnTo>
                  <a:lnTo>
                    <a:pt x="2280" y="4740"/>
                  </a:lnTo>
                  <a:lnTo>
                    <a:pt x="2274" y="4736"/>
                  </a:lnTo>
                  <a:lnTo>
                    <a:pt x="2270" y="4732"/>
                  </a:lnTo>
                  <a:lnTo>
                    <a:pt x="2266" y="4728"/>
                  </a:lnTo>
                  <a:lnTo>
                    <a:pt x="2262" y="4718"/>
                  </a:lnTo>
                  <a:lnTo>
                    <a:pt x="2258" y="4710"/>
                  </a:lnTo>
                  <a:lnTo>
                    <a:pt x="2254" y="4708"/>
                  </a:lnTo>
                  <a:lnTo>
                    <a:pt x="2252" y="4708"/>
                  </a:lnTo>
                  <a:lnTo>
                    <a:pt x="2248" y="4702"/>
                  </a:lnTo>
                  <a:lnTo>
                    <a:pt x="2242" y="4692"/>
                  </a:lnTo>
                  <a:lnTo>
                    <a:pt x="2234" y="4680"/>
                  </a:lnTo>
                  <a:lnTo>
                    <a:pt x="2222" y="4670"/>
                  </a:lnTo>
                  <a:lnTo>
                    <a:pt x="2214" y="4666"/>
                  </a:lnTo>
                  <a:lnTo>
                    <a:pt x="2208" y="4664"/>
                  </a:lnTo>
                  <a:lnTo>
                    <a:pt x="2204" y="4662"/>
                  </a:lnTo>
                  <a:lnTo>
                    <a:pt x="2200" y="4658"/>
                  </a:lnTo>
                  <a:lnTo>
                    <a:pt x="2196" y="4652"/>
                  </a:lnTo>
                  <a:lnTo>
                    <a:pt x="2192" y="4646"/>
                  </a:lnTo>
                  <a:lnTo>
                    <a:pt x="2190" y="4644"/>
                  </a:lnTo>
                  <a:lnTo>
                    <a:pt x="2186" y="4642"/>
                  </a:lnTo>
                  <a:lnTo>
                    <a:pt x="2182" y="4640"/>
                  </a:lnTo>
                  <a:lnTo>
                    <a:pt x="2180" y="4638"/>
                  </a:lnTo>
                  <a:lnTo>
                    <a:pt x="2180" y="4632"/>
                  </a:lnTo>
                  <a:lnTo>
                    <a:pt x="2178" y="4626"/>
                  </a:lnTo>
                  <a:lnTo>
                    <a:pt x="2176" y="4624"/>
                  </a:lnTo>
                  <a:lnTo>
                    <a:pt x="2174" y="4622"/>
                  </a:lnTo>
                  <a:lnTo>
                    <a:pt x="2170" y="4620"/>
                  </a:lnTo>
                  <a:lnTo>
                    <a:pt x="2168" y="4618"/>
                  </a:lnTo>
                  <a:lnTo>
                    <a:pt x="2166" y="4612"/>
                  </a:lnTo>
                  <a:lnTo>
                    <a:pt x="2166" y="4604"/>
                  </a:lnTo>
                  <a:lnTo>
                    <a:pt x="2162" y="4598"/>
                  </a:lnTo>
                  <a:lnTo>
                    <a:pt x="2158" y="4592"/>
                  </a:lnTo>
                  <a:lnTo>
                    <a:pt x="2150" y="4582"/>
                  </a:lnTo>
                  <a:lnTo>
                    <a:pt x="2146" y="4582"/>
                  </a:lnTo>
                  <a:lnTo>
                    <a:pt x="2146" y="4584"/>
                  </a:lnTo>
                  <a:lnTo>
                    <a:pt x="2142" y="4586"/>
                  </a:lnTo>
                  <a:lnTo>
                    <a:pt x="2138" y="4586"/>
                  </a:lnTo>
                  <a:lnTo>
                    <a:pt x="2134" y="4584"/>
                  </a:lnTo>
                  <a:lnTo>
                    <a:pt x="2130" y="4582"/>
                  </a:lnTo>
                  <a:lnTo>
                    <a:pt x="2128" y="4580"/>
                  </a:lnTo>
                  <a:lnTo>
                    <a:pt x="2122" y="4582"/>
                  </a:lnTo>
                  <a:lnTo>
                    <a:pt x="2114" y="4584"/>
                  </a:lnTo>
                  <a:lnTo>
                    <a:pt x="2108" y="4584"/>
                  </a:lnTo>
                  <a:lnTo>
                    <a:pt x="2098" y="4584"/>
                  </a:lnTo>
                  <a:lnTo>
                    <a:pt x="2088" y="4580"/>
                  </a:lnTo>
                  <a:lnTo>
                    <a:pt x="2086" y="4578"/>
                  </a:lnTo>
                  <a:lnTo>
                    <a:pt x="2084" y="4576"/>
                  </a:lnTo>
                  <a:lnTo>
                    <a:pt x="2082" y="4572"/>
                  </a:lnTo>
                  <a:lnTo>
                    <a:pt x="2078" y="4568"/>
                  </a:lnTo>
                  <a:lnTo>
                    <a:pt x="2070" y="4566"/>
                  </a:lnTo>
                  <a:lnTo>
                    <a:pt x="2062" y="4564"/>
                  </a:lnTo>
                  <a:lnTo>
                    <a:pt x="2058" y="4566"/>
                  </a:lnTo>
                  <a:lnTo>
                    <a:pt x="2056" y="4570"/>
                  </a:lnTo>
                  <a:lnTo>
                    <a:pt x="2056" y="4576"/>
                  </a:lnTo>
                  <a:lnTo>
                    <a:pt x="2058" y="4584"/>
                  </a:lnTo>
                  <a:lnTo>
                    <a:pt x="2060" y="4594"/>
                  </a:lnTo>
                  <a:lnTo>
                    <a:pt x="2070" y="4612"/>
                  </a:lnTo>
                  <a:lnTo>
                    <a:pt x="2080" y="4626"/>
                  </a:lnTo>
                  <a:lnTo>
                    <a:pt x="2086" y="4634"/>
                  </a:lnTo>
                  <a:lnTo>
                    <a:pt x="2094" y="4640"/>
                  </a:lnTo>
                  <a:lnTo>
                    <a:pt x="2102" y="4650"/>
                  </a:lnTo>
                  <a:lnTo>
                    <a:pt x="2104" y="4654"/>
                  </a:lnTo>
                  <a:lnTo>
                    <a:pt x="2108" y="4658"/>
                  </a:lnTo>
                  <a:lnTo>
                    <a:pt x="2114" y="4658"/>
                  </a:lnTo>
                  <a:lnTo>
                    <a:pt x="2116" y="4658"/>
                  </a:lnTo>
                  <a:lnTo>
                    <a:pt x="2120" y="4660"/>
                  </a:lnTo>
                  <a:lnTo>
                    <a:pt x="2124" y="4664"/>
                  </a:lnTo>
                  <a:lnTo>
                    <a:pt x="2130" y="4672"/>
                  </a:lnTo>
                  <a:lnTo>
                    <a:pt x="2138" y="4686"/>
                  </a:lnTo>
                  <a:lnTo>
                    <a:pt x="2138" y="4690"/>
                  </a:lnTo>
                  <a:lnTo>
                    <a:pt x="2138" y="4692"/>
                  </a:lnTo>
                  <a:lnTo>
                    <a:pt x="2146" y="4698"/>
                  </a:lnTo>
                  <a:lnTo>
                    <a:pt x="2152" y="4702"/>
                  </a:lnTo>
                  <a:lnTo>
                    <a:pt x="2154" y="4706"/>
                  </a:lnTo>
                  <a:lnTo>
                    <a:pt x="2154" y="4716"/>
                  </a:lnTo>
                  <a:lnTo>
                    <a:pt x="2156" y="4720"/>
                  </a:lnTo>
                  <a:lnTo>
                    <a:pt x="2158" y="4724"/>
                  </a:lnTo>
                  <a:lnTo>
                    <a:pt x="2162" y="4730"/>
                  </a:lnTo>
                  <a:lnTo>
                    <a:pt x="2172" y="4736"/>
                  </a:lnTo>
                  <a:lnTo>
                    <a:pt x="2182" y="4742"/>
                  </a:lnTo>
                  <a:lnTo>
                    <a:pt x="2192" y="4748"/>
                  </a:lnTo>
                  <a:lnTo>
                    <a:pt x="2198" y="4756"/>
                  </a:lnTo>
                  <a:lnTo>
                    <a:pt x="2200" y="4760"/>
                  </a:lnTo>
                  <a:lnTo>
                    <a:pt x="2200" y="4762"/>
                  </a:lnTo>
                  <a:lnTo>
                    <a:pt x="2198" y="4766"/>
                  </a:lnTo>
                  <a:lnTo>
                    <a:pt x="2198" y="4772"/>
                  </a:lnTo>
                  <a:lnTo>
                    <a:pt x="2206" y="4794"/>
                  </a:lnTo>
                  <a:lnTo>
                    <a:pt x="2214" y="4820"/>
                  </a:lnTo>
                  <a:lnTo>
                    <a:pt x="2218" y="4828"/>
                  </a:lnTo>
                  <a:lnTo>
                    <a:pt x="2226" y="4834"/>
                  </a:lnTo>
                  <a:lnTo>
                    <a:pt x="2234" y="4838"/>
                  </a:lnTo>
                  <a:lnTo>
                    <a:pt x="2236" y="4844"/>
                  </a:lnTo>
                  <a:lnTo>
                    <a:pt x="2240" y="4854"/>
                  </a:lnTo>
                  <a:lnTo>
                    <a:pt x="2254" y="4870"/>
                  </a:lnTo>
                  <a:lnTo>
                    <a:pt x="2260" y="4876"/>
                  </a:lnTo>
                  <a:lnTo>
                    <a:pt x="2262" y="4882"/>
                  </a:lnTo>
                  <a:lnTo>
                    <a:pt x="2264" y="4886"/>
                  </a:lnTo>
                  <a:lnTo>
                    <a:pt x="2264" y="4890"/>
                  </a:lnTo>
                  <a:lnTo>
                    <a:pt x="2262" y="4898"/>
                  </a:lnTo>
                  <a:lnTo>
                    <a:pt x="2264" y="4900"/>
                  </a:lnTo>
                  <a:lnTo>
                    <a:pt x="2266" y="4904"/>
                  </a:lnTo>
                  <a:lnTo>
                    <a:pt x="2274" y="4912"/>
                  </a:lnTo>
                  <a:lnTo>
                    <a:pt x="2278" y="4922"/>
                  </a:lnTo>
                  <a:lnTo>
                    <a:pt x="2282" y="4934"/>
                  </a:lnTo>
                  <a:lnTo>
                    <a:pt x="2284" y="4946"/>
                  </a:lnTo>
                  <a:lnTo>
                    <a:pt x="2290" y="4960"/>
                  </a:lnTo>
                  <a:lnTo>
                    <a:pt x="2300" y="4976"/>
                  </a:lnTo>
                  <a:lnTo>
                    <a:pt x="2312" y="4992"/>
                  </a:lnTo>
                  <a:lnTo>
                    <a:pt x="2326" y="5008"/>
                  </a:lnTo>
                  <a:lnTo>
                    <a:pt x="2336" y="5018"/>
                  </a:lnTo>
                  <a:lnTo>
                    <a:pt x="2342" y="5028"/>
                  </a:lnTo>
                  <a:lnTo>
                    <a:pt x="2350" y="5038"/>
                  </a:lnTo>
                  <a:lnTo>
                    <a:pt x="2364" y="5054"/>
                  </a:lnTo>
                  <a:lnTo>
                    <a:pt x="2380" y="5072"/>
                  </a:lnTo>
                  <a:lnTo>
                    <a:pt x="2394" y="5084"/>
                  </a:lnTo>
                  <a:lnTo>
                    <a:pt x="2404" y="5094"/>
                  </a:lnTo>
                  <a:lnTo>
                    <a:pt x="2416" y="5108"/>
                  </a:lnTo>
                  <a:lnTo>
                    <a:pt x="2426" y="5122"/>
                  </a:lnTo>
                  <a:lnTo>
                    <a:pt x="2434" y="5132"/>
                  </a:lnTo>
                  <a:lnTo>
                    <a:pt x="2436" y="5134"/>
                  </a:lnTo>
                  <a:lnTo>
                    <a:pt x="2438" y="5134"/>
                  </a:lnTo>
                  <a:lnTo>
                    <a:pt x="2434" y="5120"/>
                  </a:lnTo>
                  <a:lnTo>
                    <a:pt x="2434" y="5112"/>
                  </a:lnTo>
                  <a:lnTo>
                    <a:pt x="2434" y="5110"/>
                  </a:lnTo>
                  <a:lnTo>
                    <a:pt x="2438" y="5112"/>
                  </a:lnTo>
                  <a:lnTo>
                    <a:pt x="2444" y="5114"/>
                  </a:lnTo>
                  <a:lnTo>
                    <a:pt x="2450" y="5118"/>
                  </a:lnTo>
                  <a:lnTo>
                    <a:pt x="2454" y="5120"/>
                  </a:lnTo>
                  <a:lnTo>
                    <a:pt x="2458" y="5118"/>
                  </a:lnTo>
                  <a:lnTo>
                    <a:pt x="2460" y="5114"/>
                  </a:lnTo>
                  <a:lnTo>
                    <a:pt x="2462" y="5108"/>
                  </a:lnTo>
                  <a:lnTo>
                    <a:pt x="2464" y="5108"/>
                  </a:lnTo>
                  <a:lnTo>
                    <a:pt x="2470" y="5116"/>
                  </a:lnTo>
                  <a:lnTo>
                    <a:pt x="2476" y="5126"/>
                  </a:lnTo>
                  <a:lnTo>
                    <a:pt x="2480" y="5128"/>
                  </a:lnTo>
                  <a:lnTo>
                    <a:pt x="2484" y="5128"/>
                  </a:lnTo>
                  <a:close/>
                  <a:moveTo>
                    <a:pt x="2344" y="4774"/>
                  </a:moveTo>
                  <a:lnTo>
                    <a:pt x="2344" y="4774"/>
                  </a:lnTo>
                  <a:lnTo>
                    <a:pt x="2340" y="4772"/>
                  </a:lnTo>
                  <a:lnTo>
                    <a:pt x="2338" y="4772"/>
                  </a:lnTo>
                  <a:lnTo>
                    <a:pt x="2338" y="4774"/>
                  </a:lnTo>
                  <a:lnTo>
                    <a:pt x="2338" y="4776"/>
                  </a:lnTo>
                  <a:lnTo>
                    <a:pt x="2340" y="4784"/>
                  </a:lnTo>
                  <a:lnTo>
                    <a:pt x="2344" y="4792"/>
                  </a:lnTo>
                  <a:lnTo>
                    <a:pt x="2346" y="4792"/>
                  </a:lnTo>
                  <a:lnTo>
                    <a:pt x="2348" y="4788"/>
                  </a:lnTo>
                  <a:lnTo>
                    <a:pt x="2348" y="4780"/>
                  </a:lnTo>
                  <a:lnTo>
                    <a:pt x="2346" y="4776"/>
                  </a:lnTo>
                  <a:lnTo>
                    <a:pt x="2344" y="4774"/>
                  </a:lnTo>
                  <a:close/>
                  <a:moveTo>
                    <a:pt x="2374" y="4792"/>
                  </a:moveTo>
                  <a:lnTo>
                    <a:pt x="2374" y="4792"/>
                  </a:lnTo>
                  <a:lnTo>
                    <a:pt x="2372" y="4786"/>
                  </a:lnTo>
                  <a:lnTo>
                    <a:pt x="2366" y="4784"/>
                  </a:lnTo>
                  <a:lnTo>
                    <a:pt x="2360" y="4782"/>
                  </a:lnTo>
                  <a:lnTo>
                    <a:pt x="2358" y="4782"/>
                  </a:lnTo>
                  <a:lnTo>
                    <a:pt x="2358" y="4784"/>
                  </a:lnTo>
                  <a:lnTo>
                    <a:pt x="2358" y="4788"/>
                  </a:lnTo>
                  <a:lnTo>
                    <a:pt x="2364" y="4790"/>
                  </a:lnTo>
                  <a:lnTo>
                    <a:pt x="2372" y="4794"/>
                  </a:lnTo>
                  <a:lnTo>
                    <a:pt x="2374" y="4794"/>
                  </a:lnTo>
                  <a:lnTo>
                    <a:pt x="2374" y="4792"/>
                  </a:lnTo>
                  <a:close/>
                  <a:moveTo>
                    <a:pt x="2316" y="4736"/>
                  </a:moveTo>
                  <a:lnTo>
                    <a:pt x="2316" y="4736"/>
                  </a:lnTo>
                  <a:lnTo>
                    <a:pt x="2312" y="4736"/>
                  </a:lnTo>
                  <a:lnTo>
                    <a:pt x="2310" y="4736"/>
                  </a:lnTo>
                  <a:lnTo>
                    <a:pt x="2306" y="4740"/>
                  </a:lnTo>
                  <a:lnTo>
                    <a:pt x="2306" y="4746"/>
                  </a:lnTo>
                  <a:lnTo>
                    <a:pt x="2308" y="4750"/>
                  </a:lnTo>
                  <a:lnTo>
                    <a:pt x="2310" y="4752"/>
                  </a:lnTo>
                  <a:lnTo>
                    <a:pt x="2312" y="4752"/>
                  </a:lnTo>
                  <a:lnTo>
                    <a:pt x="2314" y="4752"/>
                  </a:lnTo>
                  <a:lnTo>
                    <a:pt x="2318" y="4746"/>
                  </a:lnTo>
                  <a:lnTo>
                    <a:pt x="2318" y="4740"/>
                  </a:lnTo>
                  <a:lnTo>
                    <a:pt x="2318" y="4736"/>
                  </a:lnTo>
                  <a:lnTo>
                    <a:pt x="2316" y="4736"/>
                  </a:lnTo>
                  <a:close/>
                  <a:moveTo>
                    <a:pt x="36" y="5458"/>
                  </a:moveTo>
                  <a:lnTo>
                    <a:pt x="36" y="5458"/>
                  </a:lnTo>
                  <a:lnTo>
                    <a:pt x="32" y="5458"/>
                  </a:lnTo>
                  <a:lnTo>
                    <a:pt x="30" y="5460"/>
                  </a:lnTo>
                  <a:lnTo>
                    <a:pt x="32" y="5464"/>
                  </a:lnTo>
                  <a:lnTo>
                    <a:pt x="36" y="5470"/>
                  </a:lnTo>
                  <a:lnTo>
                    <a:pt x="38" y="5472"/>
                  </a:lnTo>
                  <a:lnTo>
                    <a:pt x="40" y="5472"/>
                  </a:lnTo>
                  <a:lnTo>
                    <a:pt x="40" y="5468"/>
                  </a:lnTo>
                  <a:lnTo>
                    <a:pt x="40" y="5462"/>
                  </a:lnTo>
                  <a:lnTo>
                    <a:pt x="36" y="5458"/>
                  </a:lnTo>
                  <a:close/>
                  <a:moveTo>
                    <a:pt x="2554" y="4992"/>
                  </a:moveTo>
                  <a:lnTo>
                    <a:pt x="2554" y="4992"/>
                  </a:lnTo>
                  <a:lnTo>
                    <a:pt x="2558" y="4998"/>
                  </a:lnTo>
                  <a:lnTo>
                    <a:pt x="2560" y="4998"/>
                  </a:lnTo>
                  <a:lnTo>
                    <a:pt x="2562" y="4996"/>
                  </a:lnTo>
                  <a:lnTo>
                    <a:pt x="2564" y="4994"/>
                  </a:lnTo>
                  <a:lnTo>
                    <a:pt x="2566" y="4994"/>
                  </a:lnTo>
                  <a:lnTo>
                    <a:pt x="2570" y="4994"/>
                  </a:lnTo>
                  <a:lnTo>
                    <a:pt x="2574" y="4994"/>
                  </a:lnTo>
                  <a:lnTo>
                    <a:pt x="2578" y="4988"/>
                  </a:lnTo>
                  <a:lnTo>
                    <a:pt x="2582" y="4980"/>
                  </a:lnTo>
                  <a:lnTo>
                    <a:pt x="2582" y="4976"/>
                  </a:lnTo>
                  <a:lnTo>
                    <a:pt x="2580" y="4974"/>
                  </a:lnTo>
                  <a:lnTo>
                    <a:pt x="2576" y="4968"/>
                  </a:lnTo>
                  <a:lnTo>
                    <a:pt x="2568" y="4964"/>
                  </a:lnTo>
                  <a:lnTo>
                    <a:pt x="2562" y="4962"/>
                  </a:lnTo>
                  <a:lnTo>
                    <a:pt x="2558" y="4964"/>
                  </a:lnTo>
                  <a:lnTo>
                    <a:pt x="2556" y="4968"/>
                  </a:lnTo>
                  <a:lnTo>
                    <a:pt x="2554" y="4972"/>
                  </a:lnTo>
                  <a:lnTo>
                    <a:pt x="2552" y="4982"/>
                  </a:lnTo>
                  <a:lnTo>
                    <a:pt x="2552" y="4988"/>
                  </a:lnTo>
                  <a:lnTo>
                    <a:pt x="2554" y="4992"/>
                  </a:lnTo>
                  <a:close/>
                  <a:moveTo>
                    <a:pt x="8" y="5430"/>
                  </a:moveTo>
                  <a:lnTo>
                    <a:pt x="8" y="5430"/>
                  </a:lnTo>
                  <a:lnTo>
                    <a:pt x="6" y="5434"/>
                  </a:lnTo>
                  <a:lnTo>
                    <a:pt x="6" y="5436"/>
                  </a:lnTo>
                  <a:lnTo>
                    <a:pt x="6" y="5440"/>
                  </a:lnTo>
                  <a:lnTo>
                    <a:pt x="10" y="5444"/>
                  </a:lnTo>
                  <a:lnTo>
                    <a:pt x="14" y="5442"/>
                  </a:lnTo>
                  <a:lnTo>
                    <a:pt x="14" y="5438"/>
                  </a:lnTo>
                  <a:lnTo>
                    <a:pt x="14" y="5434"/>
                  </a:lnTo>
                  <a:lnTo>
                    <a:pt x="12" y="5430"/>
                  </a:lnTo>
                  <a:lnTo>
                    <a:pt x="10" y="5430"/>
                  </a:lnTo>
                  <a:lnTo>
                    <a:pt x="8" y="5430"/>
                  </a:lnTo>
                  <a:close/>
                  <a:moveTo>
                    <a:pt x="3222" y="4178"/>
                  </a:moveTo>
                  <a:lnTo>
                    <a:pt x="3222" y="4178"/>
                  </a:lnTo>
                  <a:lnTo>
                    <a:pt x="3224" y="4178"/>
                  </a:lnTo>
                  <a:lnTo>
                    <a:pt x="3228" y="4176"/>
                  </a:lnTo>
                  <a:lnTo>
                    <a:pt x="3232" y="4172"/>
                  </a:lnTo>
                  <a:lnTo>
                    <a:pt x="3234" y="4166"/>
                  </a:lnTo>
                  <a:lnTo>
                    <a:pt x="3232" y="4162"/>
                  </a:lnTo>
                  <a:lnTo>
                    <a:pt x="3232" y="4160"/>
                  </a:lnTo>
                  <a:lnTo>
                    <a:pt x="3230" y="4160"/>
                  </a:lnTo>
                  <a:lnTo>
                    <a:pt x="3228" y="4156"/>
                  </a:lnTo>
                  <a:lnTo>
                    <a:pt x="3226" y="4152"/>
                  </a:lnTo>
                  <a:lnTo>
                    <a:pt x="3224" y="4150"/>
                  </a:lnTo>
                  <a:lnTo>
                    <a:pt x="3222" y="4154"/>
                  </a:lnTo>
                  <a:lnTo>
                    <a:pt x="3222" y="4160"/>
                  </a:lnTo>
                  <a:lnTo>
                    <a:pt x="3222" y="4168"/>
                  </a:lnTo>
                  <a:lnTo>
                    <a:pt x="3220" y="4172"/>
                  </a:lnTo>
                  <a:lnTo>
                    <a:pt x="3218" y="4174"/>
                  </a:lnTo>
                  <a:lnTo>
                    <a:pt x="3222" y="4178"/>
                  </a:lnTo>
                  <a:close/>
                  <a:moveTo>
                    <a:pt x="3526" y="3176"/>
                  </a:moveTo>
                  <a:lnTo>
                    <a:pt x="3526" y="3176"/>
                  </a:lnTo>
                  <a:lnTo>
                    <a:pt x="3522" y="3176"/>
                  </a:lnTo>
                  <a:lnTo>
                    <a:pt x="3520" y="3174"/>
                  </a:lnTo>
                  <a:lnTo>
                    <a:pt x="3522" y="3168"/>
                  </a:lnTo>
                  <a:lnTo>
                    <a:pt x="3526" y="3162"/>
                  </a:lnTo>
                  <a:lnTo>
                    <a:pt x="3526" y="3158"/>
                  </a:lnTo>
                  <a:lnTo>
                    <a:pt x="3526" y="3154"/>
                  </a:lnTo>
                  <a:lnTo>
                    <a:pt x="3522" y="3152"/>
                  </a:lnTo>
                  <a:lnTo>
                    <a:pt x="3518" y="3152"/>
                  </a:lnTo>
                  <a:lnTo>
                    <a:pt x="3510" y="3156"/>
                  </a:lnTo>
                  <a:lnTo>
                    <a:pt x="3506" y="3156"/>
                  </a:lnTo>
                  <a:lnTo>
                    <a:pt x="3504" y="3156"/>
                  </a:lnTo>
                  <a:lnTo>
                    <a:pt x="3500" y="3154"/>
                  </a:lnTo>
                  <a:lnTo>
                    <a:pt x="3500" y="3148"/>
                  </a:lnTo>
                  <a:lnTo>
                    <a:pt x="3498" y="3146"/>
                  </a:lnTo>
                  <a:lnTo>
                    <a:pt x="3496" y="3142"/>
                  </a:lnTo>
                  <a:lnTo>
                    <a:pt x="3490" y="3140"/>
                  </a:lnTo>
                  <a:lnTo>
                    <a:pt x="3486" y="3140"/>
                  </a:lnTo>
                  <a:lnTo>
                    <a:pt x="3482" y="3140"/>
                  </a:lnTo>
                  <a:lnTo>
                    <a:pt x="3478" y="3144"/>
                  </a:lnTo>
                  <a:lnTo>
                    <a:pt x="3476" y="3148"/>
                  </a:lnTo>
                  <a:lnTo>
                    <a:pt x="3474" y="3154"/>
                  </a:lnTo>
                  <a:lnTo>
                    <a:pt x="3470" y="3154"/>
                  </a:lnTo>
                  <a:lnTo>
                    <a:pt x="3466" y="3154"/>
                  </a:lnTo>
                  <a:lnTo>
                    <a:pt x="3464" y="3160"/>
                  </a:lnTo>
                  <a:lnTo>
                    <a:pt x="3462" y="3164"/>
                  </a:lnTo>
                  <a:lnTo>
                    <a:pt x="3460" y="3164"/>
                  </a:lnTo>
                  <a:lnTo>
                    <a:pt x="3456" y="3160"/>
                  </a:lnTo>
                  <a:lnTo>
                    <a:pt x="3454" y="3158"/>
                  </a:lnTo>
                  <a:lnTo>
                    <a:pt x="3452" y="3164"/>
                  </a:lnTo>
                  <a:lnTo>
                    <a:pt x="3452" y="3168"/>
                  </a:lnTo>
                  <a:lnTo>
                    <a:pt x="3448" y="3170"/>
                  </a:lnTo>
                  <a:lnTo>
                    <a:pt x="3444" y="3168"/>
                  </a:lnTo>
                  <a:lnTo>
                    <a:pt x="3440" y="3168"/>
                  </a:lnTo>
                  <a:lnTo>
                    <a:pt x="3442" y="3174"/>
                  </a:lnTo>
                  <a:lnTo>
                    <a:pt x="3444" y="3182"/>
                  </a:lnTo>
                  <a:lnTo>
                    <a:pt x="3444" y="3186"/>
                  </a:lnTo>
                  <a:lnTo>
                    <a:pt x="3444" y="3190"/>
                  </a:lnTo>
                  <a:lnTo>
                    <a:pt x="3446" y="3196"/>
                  </a:lnTo>
                  <a:lnTo>
                    <a:pt x="3448" y="3200"/>
                  </a:lnTo>
                  <a:lnTo>
                    <a:pt x="3450" y="3204"/>
                  </a:lnTo>
                  <a:lnTo>
                    <a:pt x="3450" y="3210"/>
                  </a:lnTo>
                  <a:lnTo>
                    <a:pt x="3456" y="3204"/>
                  </a:lnTo>
                  <a:lnTo>
                    <a:pt x="3460" y="3202"/>
                  </a:lnTo>
                  <a:lnTo>
                    <a:pt x="3464" y="3200"/>
                  </a:lnTo>
                  <a:lnTo>
                    <a:pt x="3464" y="3202"/>
                  </a:lnTo>
                  <a:lnTo>
                    <a:pt x="3464" y="3204"/>
                  </a:lnTo>
                  <a:lnTo>
                    <a:pt x="3466" y="3208"/>
                  </a:lnTo>
                  <a:lnTo>
                    <a:pt x="3468" y="3208"/>
                  </a:lnTo>
                  <a:lnTo>
                    <a:pt x="3472" y="3206"/>
                  </a:lnTo>
                  <a:lnTo>
                    <a:pt x="3474" y="3204"/>
                  </a:lnTo>
                  <a:lnTo>
                    <a:pt x="3474" y="3200"/>
                  </a:lnTo>
                  <a:lnTo>
                    <a:pt x="3472" y="3198"/>
                  </a:lnTo>
                  <a:lnTo>
                    <a:pt x="3468" y="3194"/>
                  </a:lnTo>
                  <a:lnTo>
                    <a:pt x="3466" y="3192"/>
                  </a:lnTo>
                  <a:lnTo>
                    <a:pt x="3464" y="3188"/>
                  </a:lnTo>
                  <a:lnTo>
                    <a:pt x="3466" y="3182"/>
                  </a:lnTo>
                  <a:lnTo>
                    <a:pt x="3466" y="3180"/>
                  </a:lnTo>
                  <a:lnTo>
                    <a:pt x="3468" y="3180"/>
                  </a:lnTo>
                  <a:lnTo>
                    <a:pt x="3470" y="3182"/>
                  </a:lnTo>
                  <a:lnTo>
                    <a:pt x="3474" y="3186"/>
                  </a:lnTo>
                  <a:lnTo>
                    <a:pt x="3480" y="3196"/>
                  </a:lnTo>
                  <a:lnTo>
                    <a:pt x="3482" y="3208"/>
                  </a:lnTo>
                  <a:lnTo>
                    <a:pt x="3480" y="3218"/>
                  </a:lnTo>
                  <a:lnTo>
                    <a:pt x="3474" y="3228"/>
                  </a:lnTo>
                  <a:lnTo>
                    <a:pt x="3468" y="3236"/>
                  </a:lnTo>
                  <a:lnTo>
                    <a:pt x="3466" y="3242"/>
                  </a:lnTo>
                  <a:lnTo>
                    <a:pt x="3470" y="3258"/>
                  </a:lnTo>
                  <a:lnTo>
                    <a:pt x="3470" y="3266"/>
                  </a:lnTo>
                  <a:lnTo>
                    <a:pt x="3468" y="3270"/>
                  </a:lnTo>
                  <a:lnTo>
                    <a:pt x="3466" y="3274"/>
                  </a:lnTo>
                  <a:lnTo>
                    <a:pt x="3466" y="3276"/>
                  </a:lnTo>
                  <a:lnTo>
                    <a:pt x="3476" y="3280"/>
                  </a:lnTo>
                  <a:lnTo>
                    <a:pt x="3482" y="3282"/>
                  </a:lnTo>
                  <a:lnTo>
                    <a:pt x="3486" y="3286"/>
                  </a:lnTo>
                  <a:lnTo>
                    <a:pt x="3486" y="3290"/>
                  </a:lnTo>
                  <a:lnTo>
                    <a:pt x="3486" y="3292"/>
                  </a:lnTo>
                  <a:lnTo>
                    <a:pt x="3488" y="3292"/>
                  </a:lnTo>
                  <a:lnTo>
                    <a:pt x="3496" y="3288"/>
                  </a:lnTo>
                  <a:lnTo>
                    <a:pt x="3500" y="3284"/>
                  </a:lnTo>
                  <a:lnTo>
                    <a:pt x="3502" y="3280"/>
                  </a:lnTo>
                  <a:lnTo>
                    <a:pt x="3502" y="3278"/>
                  </a:lnTo>
                  <a:lnTo>
                    <a:pt x="3502" y="3276"/>
                  </a:lnTo>
                  <a:lnTo>
                    <a:pt x="3500" y="3272"/>
                  </a:lnTo>
                  <a:lnTo>
                    <a:pt x="3502" y="3270"/>
                  </a:lnTo>
                  <a:lnTo>
                    <a:pt x="3506" y="3268"/>
                  </a:lnTo>
                  <a:lnTo>
                    <a:pt x="3508" y="3270"/>
                  </a:lnTo>
                  <a:lnTo>
                    <a:pt x="3510" y="3274"/>
                  </a:lnTo>
                  <a:lnTo>
                    <a:pt x="3514" y="3272"/>
                  </a:lnTo>
                  <a:lnTo>
                    <a:pt x="3516" y="3268"/>
                  </a:lnTo>
                  <a:lnTo>
                    <a:pt x="3518" y="3260"/>
                  </a:lnTo>
                  <a:lnTo>
                    <a:pt x="3522" y="3236"/>
                  </a:lnTo>
                  <a:lnTo>
                    <a:pt x="3528" y="3212"/>
                  </a:lnTo>
                  <a:lnTo>
                    <a:pt x="3532" y="3202"/>
                  </a:lnTo>
                  <a:lnTo>
                    <a:pt x="3534" y="3200"/>
                  </a:lnTo>
                  <a:lnTo>
                    <a:pt x="3538" y="3198"/>
                  </a:lnTo>
                  <a:lnTo>
                    <a:pt x="3540" y="3196"/>
                  </a:lnTo>
                  <a:lnTo>
                    <a:pt x="3542" y="3194"/>
                  </a:lnTo>
                  <a:lnTo>
                    <a:pt x="3540" y="3186"/>
                  </a:lnTo>
                  <a:lnTo>
                    <a:pt x="3534" y="3180"/>
                  </a:lnTo>
                  <a:lnTo>
                    <a:pt x="3530" y="3178"/>
                  </a:lnTo>
                  <a:lnTo>
                    <a:pt x="3526" y="3176"/>
                  </a:lnTo>
                  <a:close/>
                  <a:moveTo>
                    <a:pt x="3432" y="3438"/>
                  </a:moveTo>
                  <a:lnTo>
                    <a:pt x="3432" y="3438"/>
                  </a:lnTo>
                  <a:lnTo>
                    <a:pt x="3432" y="3442"/>
                  </a:lnTo>
                  <a:lnTo>
                    <a:pt x="3434" y="3442"/>
                  </a:lnTo>
                  <a:lnTo>
                    <a:pt x="3440" y="3436"/>
                  </a:lnTo>
                  <a:lnTo>
                    <a:pt x="3446" y="3428"/>
                  </a:lnTo>
                  <a:lnTo>
                    <a:pt x="3448" y="3424"/>
                  </a:lnTo>
                  <a:lnTo>
                    <a:pt x="3448" y="3422"/>
                  </a:lnTo>
                  <a:lnTo>
                    <a:pt x="3444" y="3422"/>
                  </a:lnTo>
                  <a:lnTo>
                    <a:pt x="3438" y="3424"/>
                  </a:lnTo>
                  <a:lnTo>
                    <a:pt x="3434" y="3430"/>
                  </a:lnTo>
                  <a:lnTo>
                    <a:pt x="3432" y="3434"/>
                  </a:lnTo>
                  <a:lnTo>
                    <a:pt x="3432" y="3438"/>
                  </a:lnTo>
                  <a:close/>
                  <a:moveTo>
                    <a:pt x="3434" y="3100"/>
                  </a:moveTo>
                  <a:lnTo>
                    <a:pt x="3434" y="3100"/>
                  </a:lnTo>
                  <a:lnTo>
                    <a:pt x="3432" y="3102"/>
                  </a:lnTo>
                  <a:lnTo>
                    <a:pt x="3430" y="3106"/>
                  </a:lnTo>
                  <a:lnTo>
                    <a:pt x="3430" y="3110"/>
                  </a:lnTo>
                  <a:lnTo>
                    <a:pt x="3428" y="3116"/>
                  </a:lnTo>
                  <a:lnTo>
                    <a:pt x="3426" y="3126"/>
                  </a:lnTo>
                  <a:lnTo>
                    <a:pt x="3426" y="3130"/>
                  </a:lnTo>
                  <a:lnTo>
                    <a:pt x="3428" y="3128"/>
                  </a:lnTo>
                  <a:lnTo>
                    <a:pt x="3430" y="3124"/>
                  </a:lnTo>
                  <a:lnTo>
                    <a:pt x="3432" y="3120"/>
                  </a:lnTo>
                  <a:lnTo>
                    <a:pt x="3434" y="3114"/>
                  </a:lnTo>
                  <a:lnTo>
                    <a:pt x="3436" y="3110"/>
                  </a:lnTo>
                  <a:lnTo>
                    <a:pt x="3438" y="3104"/>
                  </a:lnTo>
                  <a:lnTo>
                    <a:pt x="3438" y="3100"/>
                  </a:lnTo>
                  <a:lnTo>
                    <a:pt x="3436" y="3100"/>
                  </a:lnTo>
                  <a:lnTo>
                    <a:pt x="3434" y="3100"/>
                  </a:lnTo>
                  <a:close/>
                  <a:moveTo>
                    <a:pt x="4106" y="2564"/>
                  </a:moveTo>
                  <a:lnTo>
                    <a:pt x="4106" y="2564"/>
                  </a:lnTo>
                  <a:lnTo>
                    <a:pt x="4098" y="2576"/>
                  </a:lnTo>
                  <a:lnTo>
                    <a:pt x="4088" y="2586"/>
                  </a:lnTo>
                  <a:lnTo>
                    <a:pt x="4084" y="2594"/>
                  </a:lnTo>
                  <a:lnTo>
                    <a:pt x="4082" y="2598"/>
                  </a:lnTo>
                  <a:lnTo>
                    <a:pt x="4084" y="2604"/>
                  </a:lnTo>
                  <a:lnTo>
                    <a:pt x="4086" y="2604"/>
                  </a:lnTo>
                  <a:lnTo>
                    <a:pt x="4088" y="2602"/>
                  </a:lnTo>
                  <a:lnTo>
                    <a:pt x="4094" y="2592"/>
                  </a:lnTo>
                  <a:lnTo>
                    <a:pt x="4098" y="2586"/>
                  </a:lnTo>
                  <a:lnTo>
                    <a:pt x="4104" y="2580"/>
                  </a:lnTo>
                  <a:lnTo>
                    <a:pt x="4112" y="2574"/>
                  </a:lnTo>
                  <a:lnTo>
                    <a:pt x="4122" y="2570"/>
                  </a:lnTo>
                  <a:lnTo>
                    <a:pt x="4126" y="2568"/>
                  </a:lnTo>
                  <a:lnTo>
                    <a:pt x="4126" y="2566"/>
                  </a:lnTo>
                  <a:lnTo>
                    <a:pt x="4120" y="2562"/>
                  </a:lnTo>
                  <a:lnTo>
                    <a:pt x="4112" y="2562"/>
                  </a:lnTo>
                  <a:lnTo>
                    <a:pt x="4108" y="2562"/>
                  </a:lnTo>
                  <a:lnTo>
                    <a:pt x="4106" y="2564"/>
                  </a:lnTo>
                  <a:close/>
                  <a:moveTo>
                    <a:pt x="3472" y="4884"/>
                  </a:moveTo>
                  <a:lnTo>
                    <a:pt x="3472" y="4884"/>
                  </a:lnTo>
                  <a:lnTo>
                    <a:pt x="3474" y="4884"/>
                  </a:lnTo>
                  <a:lnTo>
                    <a:pt x="3476" y="4884"/>
                  </a:lnTo>
                  <a:lnTo>
                    <a:pt x="3484" y="4882"/>
                  </a:lnTo>
                  <a:lnTo>
                    <a:pt x="3488" y="4880"/>
                  </a:lnTo>
                  <a:lnTo>
                    <a:pt x="3490" y="4878"/>
                  </a:lnTo>
                  <a:lnTo>
                    <a:pt x="3488" y="4878"/>
                  </a:lnTo>
                  <a:lnTo>
                    <a:pt x="3478" y="4878"/>
                  </a:lnTo>
                  <a:lnTo>
                    <a:pt x="3472" y="4880"/>
                  </a:lnTo>
                  <a:lnTo>
                    <a:pt x="3472" y="4882"/>
                  </a:lnTo>
                  <a:lnTo>
                    <a:pt x="3472" y="4884"/>
                  </a:lnTo>
                  <a:close/>
                  <a:moveTo>
                    <a:pt x="3468" y="3214"/>
                  </a:moveTo>
                  <a:lnTo>
                    <a:pt x="3468" y="3214"/>
                  </a:lnTo>
                  <a:lnTo>
                    <a:pt x="3468" y="3212"/>
                  </a:lnTo>
                  <a:lnTo>
                    <a:pt x="3466" y="3212"/>
                  </a:lnTo>
                  <a:lnTo>
                    <a:pt x="3462" y="3212"/>
                  </a:lnTo>
                  <a:lnTo>
                    <a:pt x="3460" y="3218"/>
                  </a:lnTo>
                  <a:lnTo>
                    <a:pt x="3460" y="3224"/>
                  </a:lnTo>
                  <a:lnTo>
                    <a:pt x="3460" y="3226"/>
                  </a:lnTo>
                  <a:lnTo>
                    <a:pt x="3462" y="3226"/>
                  </a:lnTo>
                  <a:lnTo>
                    <a:pt x="3464" y="3224"/>
                  </a:lnTo>
                  <a:lnTo>
                    <a:pt x="3468" y="3220"/>
                  </a:lnTo>
                  <a:lnTo>
                    <a:pt x="3468" y="3214"/>
                  </a:lnTo>
                  <a:close/>
                  <a:moveTo>
                    <a:pt x="3482" y="3322"/>
                  </a:moveTo>
                  <a:lnTo>
                    <a:pt x="3482" y="3322"/>
                  </a:lnTo>
                  <a:lnTo>
                    <a:pt x="3478" y="3322"/>
                  </a:lnTo>
                  <a:lnTo>
                    <a:pt x="3476" y="3326"/>
                  </a:lnTo>
                  <a:lnTo>
                    <a:pt x="3478" y="3330"/>
                  </a:lnTo>
                  <a:lnTo>
                    <a:pt x="3482" y="3332"/>
                  </a:lnTo>
                  <a:lnTo>
                    <a:pt x="3486" y="3332"/>
                  </a:lnTo>
                  <a:lnTo>
                    <a:pt x="3486" y="3328"/>
                  </a:lnTo>
                  <a:lnTo>
                    <a:pt x="3484" y="3324"/>
                  </a:lnTo>
                  <a:lnTo>
                    <a:pt x="3482" y="3322"/>
                  </a:lnTo>
                  <a:close/>
                  <a:moveTo>
                    <a:pt x="3652" y="3124"/>
                  </a:moveTo>
                  <a:lnTo>
                    <a:pt x="3652" y="3124"/>
                  </a:lnTo>
                  <a:lnTo>
                    <a:pt x="3654" y="3126"/>
                  </a:lnTo>
                  <a:lnTo>
                    <a:pt x="3656" y="3124"/>
                  </a:lnTo>
                  <a:lnTo>
                    <a:pt x="3658" y="3118"/>
                  </a:lnTo>
                  <a:lnTo>
                    <a:pt x="3662" y="3112"/>
                  </a:lnTo>
                  <a:lnTo>
                    <a:pt x="3662" y="3106"/>
                  </a:lnTo>
                  <a:lnTo>
                    <a:pt x="3662" y="3104"/>
                  </a:lnTo>
                  <a:lnTo>
                    <a:pt x="3660" y="3104"/>
                  </a:lnTo>
                  <a:lnTo>
                    <a:pt x="3656" y="3110"/>
                  </a:lnTo>
                  <a:lnTo>
                    <a:pt x="3652" y="3116"/>
                  </a:lnTo>
                  <a:lnTo>
                    <a:pt x="3652" y="3120"/>
                  </a:lnTo>
                  <a:lnTo>
                    <a:pt x="3652" y="3124"/>
                  </a:lnTo>
                  <a:close/>
                  <a:moveTo>
                    <a:pt x="3482" y="4890"/>
                  </a:moveTo>
                  <a:lnTo>
                    <a:pt x="3482" y="4890"/>
                  </a:lnTo>
                  <a:lnTo>
                    <a:pt x="3486" y="4896"/>
                  </a:lnTo>
                  <a:lnTo>
                    <a:pt x="3492" y="4904"/>
                  </a:lnTo>
                  <a:lnTo>
                    <a:pt x="3494" y="4904"/>
                  </a:lnTo>
                  <a:lnTo>
                    <a:pt x="3498" y="4898"/>
                  </a:lnTo>
                  <a:lnTo>
                    <a:pt x="3498" y="4890"/>
                  </a:lnTo>
                  <a:lnTo>
                    <a:pt x="3498" y="4888"/>
                  </a:lnTo>
                  <a:lnTo>
                    <a:pt x="3496" y="4886"/>
                  </a:lnTo>
                  <a:lnTo>
                    <a:pt x="3492" y="4884"/>
                  </a:lnTo>
                  <a:lnTo>
                    <a:pt x="3486" y="4884"/>
                  </a:lnTo>
                  <a:lnTo>
                    <a:pt x="3482" y="4886"/>
                  </a:lnTo>
                  <a:lnTo>
                    <a:pt x="3482" y="4888"/>
                  </a:lnTo>
                  <a:lnTo>
                    <a:pt x="3482" y="4890"/>
                  </a:lnTo>
                  <a:close/>
                  <a:moveTo>
                    <a:pt x="3640" y="3122"/>
                  </a:moveTo>
                  <a:lnTo>
                    <a:pt x="3640" y="3122"/>
                  </a:lnTo>
                  <a:lnTo>
                    <a:pt x="3634" y="3120"/>
                  </a:lnTo>
                  <a:lnTo>
                    <a:pt x="3628" y="3116"/>
                  </a:lnTo>
                  <a:lnTo>
                    <a:pt x="3620" y="3116"/>
                  </a:lnTo>
                  <a:lnTo>
                    <a:pt x="3612" y="3120"/>
                  </a:lnTo>
                  <a:lnTo>
                    <a:pt x="3608" y="3122"/>
                  </a:lnTo>
                  <a:lnTo>
                    <a:pt x="3604" y="3126"/>
                  </a:lnTo>
                  <a:lnTo>
                    <a:pt x="3602" y="3132"/>
                  </a:lnTo>
                  <a:lnTo>
                    <a:pt x="3600" y="3136"/>
                  </a:lnTo>
                  <a:lnTo>
                    <a:pt x="3598" y="3138"/>
                  </a:lnTo>
                  <a:lnTo>
                    <a:pt x="3596" y="3136"/>
                  </a:lnTo>
                  <a:lnTo>
                    <a:pt x="3592" y="3136"/>
                  </a:lnTo>
                  <a:lnTo>
                    <a:pt x="3590" y="3136"/>
                  </a:lnTo>
                  <a:lnTo>
                    <a:pt x="3586" y="3138"/>
                  </a:lnTo>
                  <a:lnTo>
                    <a:pt x="3582" y="3140"/>
                  </a:lnTo>
                  <a:lnTo>
                    <a:pt x="3580" y="3136"/>
                  </a:lnTo>
                  <a:lnTo>
                    <a:pt x="3580" y="3130"/>
                  </a:lnTo>
                  <a:lnTo>
                    <a:pt x="3578" y="3128"/>
                  </a:lnTo>
                  <a:lnTo>
                    <a:pt x="3576" y="3128"/>
                  </a:lnTo>
                  <a:lnTo>
                    <a:pt x="3574" y="3132"/>
                  </a:lnTo>
                  <a:lnTo>
                    <a:pt x="3568" y="3144"/>
                  </a:lnTo>
                  <a:lnTo>
                    <a:pt x="3564" y="3150"/>
                  </a:lnTo>
                  <a:lnTo>
                    <a:pt x="3560" y="3156"/>
                  </a:lnTo>
                  <a:lnTo>
                    <a:pt x="3550" y="3164"/>
                  </a:lnTo>
                  <a:lnTo>
                    <a:pt x="3544" y="3168"/>
                  </a:lnTo>
                  <a:lnTo>
                    <a:pt x="3548" y="3168"/>
                  </a:lnTo>
                  <a:lnTo>
                    <a:pt x="3554" y="3168"/>
                  </a:lnTo>
                  <a:lnTo>
                    <a:pt x="3556" y="3170"/>
                  </a:lnTo>
                  <a:lnTo>
                    <a:pt x="3558" y="3172"/>
                  </a:lnTo>
                  <a:lnTo>
                    <a:pt x="3558" y="3174"/>
                  </a:lnTo>
                  <a:lnTo>
                    <a:pt x="3558" y="3182"/>
                  </a:lnTo>
                  <a:lnTo>
                    <a:pt x="3558" y="3186"/>
                  </a:lnTo>
                  <a:lnTo>
                    <a:pt x="3562" y="3190"/>
                  </a:lnTo>
                  <a:lnTo>
                    <a:pt x="3564" y="3192"/>
                  </a:lnTo>
                  <a:lnTo>
                    <a:pt x="3564" y="3196"/>
                  </a:lnTo>
                  <a:lnTo>
                    <a:pt x="3564" y="3198"/>
                  </a:lnTo>
                  <a:lnTo>
                    <a:pt x="3562" y="3200"/>
                  </a:lnTo>
                  <a:lnTo>
                    <a:pt x="3564" y="3200"/>
                  </a:lnTo>
                  <a:lnTo>
                    <a:pt x="3574" y="3202"/>
                  </a:lnTo>
                  <a:lnTo>
                    <a:pt x="3578" y="3202"/>
                  </a:lnTo>
                  <a:lnTo>
                    <a:pt x="3580" y="3198"/>
                  </a:lnTo>
                  <a:lnTo>
                    <a:pt x="3584" y="3186"/>
                  </a:lnTo>
                  <a:lnTo>
                    <a:pt x="3588" y="3178"/>
                  </a:lnTo>
                  <a:lnTo>
                    <a:pt x="3590" y="3172"/>
                  </a:lnTo>
                  <a:lnTo>
                    <a:pt x="3594" y="3166"/>
                  </a:lnTo>
                  <a:lnTo>
                    <a:pt x="3602" y="3164"/>
                  </a:lnTo>
                  <a:lnTo>
                    <a:pt x="3608" y="3162"/>
                  </a:lnTo>
                  <a:lnTo>
                    <a:pt x="3614" y="3164"/>
                  </a:lnTo>
                  <a:lnTo>
                    <a:pt x="3620" y="3170"/>
                  </a:lnTo>
                  <a:lnTo>
                    <a:pt x="3624" y="3172"/>
                  </a:lnTo>
                  <a:lnTo>
                    <a:pt x="3626" y="3172"/>
                  </a:lnTo>
                  <a:lnTo>
                    <a:pt x="3628" y="3170"/>
                  </a:lnTo>
                  <a:lnTo>
                    <a:pt x="3630" y="3166"/>
                  </a:lnTo>
                  <a:lnTo>
                    <a:pt x="3632" y="3160"/>
                  </a:lnTo>
                  <a:lnTo>
                    <a:pt x="3636" y="3156"/>
                  </a:lnTo>
                  <a:lnTo>
                    <a:pt x="3642" y="3150"/>
                  </a:lnTo>
                  <a:lnTo>
                    <a:pt x="3646" y="3148"/>
                  </a:lnTo>
                  <a:lnTo>
                    <a:pt x="3648" y="3144"/>
                  </a:lnTo>
                  <a:lnTo>
                    <a:pt x="3646" y="3140"/>
                  </a:lnTo>
                  <a:lnTo>
                    <a:pt x="3644" y="3132"/>
                  </a:lnTo>
                  <a:lnTo>
                    <a:pt x="3644" y="3128"/>
                  </a:lnTo>
                  <a:lnTo>
                    <a:pt x="3644" y="3126"/>
                  </a:lnTo>
                  <a:lnTo>
                    <a:pt x="3640" y="3122"/>
                  </a:lnTo>
                  <a:close/>
                  <a:moveTo>
                    <a:pt x="3450" y="4936"/>
                  </a:moveTo>
                  <a:lnTo>
                    <a:pt x="3450" y="4936"/>
                  </a:lnTo>
                  <a:lnTo>
                    <a:pt x="3456" y="4938"/>
                  </a:lnTo>
                  <a:lnTo>
                    <a:pt x="3462" y="4940"/>
                  </a:lnTo>
                  <a:lnTo>
                    <a:pt x="3468" y="4940"/>
                  </a:lnTo>
                  <a:lnTo>
                    <a:pt x="3470" y="4938"/>
                  </a:lnTo>
                  <a:lnTo>
                    <a:pt x="3472" y="4934"/>
                  </a:lnTo>
                  <a:lnTo>
                    <a:pt x="3474" y="4926"/>
                  </a:lnTo>
                  <a:lnTo>
                    <a:pt x="3472" y="4922"/>
                  </a:lnTo>
                  <a:lnTo>
                    <a:pt x="3466" y="4922"/>
                  </a:lnTo>
                  <a:lnTo>
                    <a:pt x="3458" y="4924"/>
                  </a:lnTo>
                  <a:lnTo>
                    <a:pt x="3448" y="4930"/>
                  </a:lnTo>
                  <a:lnTo>
                    <a:pt x="3448" y="4932"/>
                  </a:lnTo>
                  <a:lnTo>
                    <a:pt x="3450" y="4936"/>
                  </a:lnTo>
                  <a:close/>
                  <a:moveTo>
                    <a:pt x="3012" y="5270"/>
                  </a:moveTo>
                  <a:lnTo>
                    <a:pt x="3012" y="5270"/>
                  </a:lnTo>
                  <a:lnTo>
                    <a:pt x="3008" y="5266"/>
                  </a:lnTo>
                  <a:lnTo>
                    <a:pt x="3006" y="5264"/>
                  </a:lnTo>
                  <a:lnTo>
                    <a:pt x="3008" y="5262"/>
                  </a:lnTo>
                  <a:lnTo>
                    <a:pt x="3012" y="5264"/>
                  </a:lnTo>
                  <a:lnTo>
                    <a:pt x="3020" y="5266"/>
                  </a:lnTo>
                  <a:lnTo>
                    <a:pt x="3022" y="5266"/>
                  </a:lnTo>
                  <a:lnTo>
                    <a:pt x="3022" y="5264"/>
                  </a:lnTo>
                  <a:lnTo>
                    <a:pt x="3022" y="5258"/>
                  </a:lnTo>
                  <a:lnTo>
                    <a:pt x="3020" y="5250"/>
                  </a:lnTo>
                  <a:lnTo>
                    <a:pt x="3014" y="5244"/>
                  </a:lnTo>
                  <a:lnTo>
                    <a:pt x="3010" y="5242"/>
                  </a:lnTo>
                  <a:lnTo>
                    <a:pt x="3008" y="5244"/>
                  </a:lnTo>
                  <a:lnTo>
                    <a:pt x="3006" y="5246"/>
                  </a:lnTo>
                  <a:lnTo>
                    <a:pt x="3004" y="5246"/>
                  </a:lnTo>
                  <a:lnTo>
                    <a:pt x="3000" y="5242"/>
                  </a:lnTo>
                  <a:lnTo>
                    <a:pt x="2998" y="5240"/>
                  </a:lnTo>
                  <a:lnTo>
                    <a:pt x="2994" y="5240"/>
                  </a:lnTo>
                  <a:lnTo>
                    <a:pt x="2992" y="5242"/>
                  </a:lnTo>
                  <a:lnTo>
                    <a:pt x="2988" y="5244"/>
                  </a:lnTo>
                  <a:lnTo>
                    <a:pt x="2986" y="5244"/>
                  </a:lnTo>
                  <a:lnTo>
                    <a:pt x="2982" y="5240"/>
                  </a:lnTo>
                  <a:lnTo>
                    <a:pt x="2978" y="5236"/>
                  </a:lnTo>
                  <a:lnTo>
                    <a:pt x="2974" y="5234"/>
                  </a:lnTo>
                  <a:lnTo>
                    <a:pt x="2970" y="5234"/>
                  </a:lnTo>
                  <a:lnTo>
                    <a:pt x="2966" y="5236"/>
                  </a:lnTo>
                  <a:lnTo>
                    <a:pt x="2964" y="5238"/>
                  </a:lnTo>
                  <a:lnTo>
                    <a:pt x="2964" y="5240"/>
                  </a:lnTo>
                  <a:lnTo>
                    <a:pt x="2966" y="5244"/>
                  </a:lnTo>
                  <a:lnTo>
                    <a:pt x="2970" y="5250"/>
                  </a:lnTo>
                  <a:lnTo>
                    <a:pt x="2974" y="5252"/>
                  </a:lnTo>
                  <a:lnTo>
                    <a:pt x="2978" y="5252"/>
                  </a:lnTo>
                  <a:lnTo>
                    <a:pt x="2984" y="5256"/>
                  </a:lnTo>
                  <a:lnTo>
                    <a:pt x="2986" y="5260"/>
                  </a:lnTo>
                  <a:lnTo>
                    <a:pt x="2984" y="5260"/>
                  </a:lnTo>
                  <a:lnTo>
                    <a:pt x="2982" y="5260"/>
                  </a:lnTo>
                  <a:lnTo>
                    <a:pt x="2976" y="5262"/>
                  </a:lnTo>
                  <a:lnTo>
                    <a:pt x="2972" y="5264"/>
                  </a:lnTo>
                  <a:lnTo>
                    <a:pt x="2970" y="5264"/>
                  </a:lnTo>
                  <a:lnTo>
                    <a:pt x="2966" y="5260"/>
                  </a:lnTo>
                  <a:lnTo>
                    <a:pt x="2960" y="5252"/>
                  </a:lnTo>
                  <a:lnTo>
                    <a:pt x="2956" y="5252"/>
                  </a:lnTo>
                  <a:lnTo>
                    <a:pt x="2954" y="5252"/>
                  </a:lnTo>
                  <a:lnTo>
                    <a:pt x="2948" y="5250"/>
                  </a:lnTo>
                  <a:lnTo>
                    <a:pt x="2944" y="5248"/>
                  </a:lnTo>
                  <a:lnTo>
                    <a:pt x="2940" y="5246"/>
                  </a:lnTo>
                  <a:lnTo>
                    <a:pt x="2938" y="5248"/>
                  </a:lnTo>
                  <a:lnTo>
                    <a:pt x="2936" y="5250"/>
                  </a:lnTo>
                  <a:lnTo>
                    <a:pt x="2932" y="5254"/>
                  </a:lnTo>
                  <a:lnTo>
                    <a:pt x="2928" y="5256"/>
                  </a:lnTo>
                  <a:lnTo>
                    <a:pt x="2926" y="5258"/>
                  </a:lnTo>
                  <a:lnTo>
                    <a:pt x="2926" y="5266"/>
                  </a:lnTo>
                  <a:lnTo>
                    <a:pt x="2926" y="5270"/>
                  </a:lnTo>
                  <a:lnTo>
                    <a:pt x="2926" y="5276"/>
                  </a:lnTo>
                  <a:lnTo>
                    <a:pt x="2926" y="5278"/>
                  </a:lnTo>
                  <a:lnTo>
                    <a:pt x="2928" y="5280"/>
                  </a:lnTo>
                  <a:lnTo>
                    <a:pt x="2938" y="5282"/>
                  </a:lnTo>
                  <a:lnTo>
                    <a:pt x="2948" y="5282"/>
                  </a:lnTo>
                  <a:lnTo>
                    <a:pt x="2960" y="5278"/>
                  </a:lnTo>
                  <a:lnTo>
                    <a:pt x="2970" y="5274"/>
                  </a:lnTo>
                  <a:lnTo>
                    <a:pt x="2978" y="5272"/>
                  </a:lnTo>
                  <a:lnTo>
                    <a:pt x="2984" y="5272"/>
                  </a:lnTo>
                  <a:lnTo>
                    <a:pt x="2986" y="5268"/>
                  </a:lnTo>
                  <a:lnTo>
                    <a:pt x="2988" y="5268"/>
                  </a:lnTo>
                  <a:lnTo>
                    <a:pt x="2990" y="5270"/>
                  </a:lnTo>
                  <a:lnTo>
                    <a:pt x="2992" y="5272"/>
                  </a:lnTo>
                  <a:lnTo>
                    <a:pt x="2994" y="5270"/>
                  </a:lnTo>
                  <a:lnTo>
                    <a:pt x="2998" y="5270"/>
                  </a:lnTo>
                  <a:lnTo>
                    <a:pt x="3004" y="5270"/>
                  </a:lnTo>
                  <a:lnTo>
                    <a:pt x="3014" y="5272"/>
                  </a:lnTo>
                  <a:lnTo>
                    <a:pt x="3016" y="5272"/>
                  </a:lnTo>
                  <a:lnTo>
                    <a:pt x="3012" y="5270"/>
                  </a:lnTo>
                  <a:close/>
                  <a:moveTo>
                    <a:pt x="3240" y="4810"/>
                  </a:moveTo>
                  <a:lnTo>
                    <a:pt x="3240" y="4810"/>
                  </a:lnTo>
                  <a:lnTo>
                    <a:pt x="3258" y="4782"/>
                  </a:lnTo>
                  <a:lnTo>
                    <a:pt x="3262" y="4776"/>
                  </a:lnTo>
                  <a:lnTo>
                    <a:pt x="3264" y="4770"/>
                  </a:lnTo>
                  <a:lnTo>
                    <a:pt x="3264" y="4764"/>
                  </a:lnTo>
                  <a:lnTo>
                    <a:pt x="3262" y="4760"/>
                  </a:lnTo>
                  <a:lnTo>
                    <a:pt x="3258" y="4756"/>
                  </a:lnTo>
                  <a:lnTo>
                    <a:pt x="3254" y="4756"/>
                  </a:lnTo>
                  <a:lnTo>
                    <a:pt x="3250" y="4758"/>
                  </a:lnTo>
                  <a:lnTo>
                    <a:pt x="3246" y="4764"/>
                  </a:lnTo>
                  <a:lnTo>
                    <a:pt x="3236" y="4776"/>
                  </a:lnTo>
                  <a:lnTo>
                    <a:pt x="3228" y="4792"/>
                  </a:lnTo>
                  <a:lnTo>
                    <a:pt x="3222" y="4796"/>
                  </a:lnTo>
                  <a:lnTo>
                    <a:pt x="3216" y="4798"/>
                  </a:lnTo>
                  <a:lnTo>
                    <a:pt x="3208" y="4798"/>
                  </a:lnTo>
                  <a:lnTo>
                    <a:pt x="3198" y="4798"/>
                  </a:lnTo>
                  <a:lnTo>
                    <a:pt x="3182" y="4794"/>
                  </a:lnTo>
                  <a:lnTo>
                    <a:pt x="3176" y="4794"/>
                  </a:lnTo>
                  <a:lnTo>
                    <a:pt x="3174" y="4796"/>
                  </a:lnTo>
                  <a:lnTo>
                    <a:pt x="3170" y="4798"/>
                  </a:lnTo>
                  <a:lnTo>
                    <a:pt x="3168" y="4798"/>
                  </a:lnTo>
                  <a:lnTo>
                    <a:pt x="3158" y="4794"/>
                  </a:lnTo>
                  <a:lnTo>
                    <a:pt x="3146" y="4792"/>
                  </a:lnTo>
                  <a:lnTo>
                    <a:pt x="3138" y="4790"/>
                  </a:lnTo>
                  <a:lnTo>
                    <a:pt x="3130" y="4790"/>
                  </a:lnTo>
                  <a:lnTo>
                    <a:pt x="3122" y="4790"/>
                  </a:lnTo>
                  <a:lnTo>
                    <a:pt x="3118" y="4788"/>
                  </a:lnTo>
                  <a:lnTo>
                    <a:pt x="3116" y="4786"/>
                  </a:lnTo>
                  <a:lnTo>
                    <a:pt x="3114" y="4784"/>
                  </a:lnTo>
                  <a:lnTo>
                    <a:pt x="3114" y="4780"/>
                  </a:lnTo>
                  <a:lnTo>
                    <a:pt x="3114" y="4778"/>
                  </a:lnTo>
                  <a:lnTo>
                    <a:pt x="3112" y="4778"/>
                  </a:lnTo>
                  <a:lnTo>
                    <a:pt x="3104" y="4778"/>
                  </a:lnTo>
                  <a:lnTo>
                    <a:pt x="3098" y="4776"/>
                  </a:lnTo>
                  <a:lnTo>
                    <a:pt x="3092" y="4776"/>
                  </a:lnTo>
                  <a:lnTo>
                    <a:pt x="3090" y="4778"/>
                  </a:lnTo>
                  <a:lnTo>
                    <a:pt x="3088" y="4780"/>
                  </a:lnTo>
                  <a:lnTo>
                    <a:pt x="3084" y="4788"/>
                  </a:lnTo>
                  <a:lnTo>
                    <a:pt x="3080" y="4796"/>
                  </a:lnTo>
                  <a:lnTo>
                    <a:pt x="3078" y="4800"/>
                  </a:lnTo>
                  <a:lnTo>
                    <a:pt x="3074" y="4800"/>
                  </a:lnTo>
                  <a:lnTo>
                    <a:pt x="3072" y="4800"/>
                  </a:lnTo>
                  <a:lnTo>
                    <a:pt x="3068" y="4796"/>
                  </a:lnTo>
                  <a:lnTo>
                    <a:pt x="3066" y="4792"/>
                  </a:lnTo>
                  <a:lnTo>
                    <a:pt x="3064" y="4792"/>
                  </a:lnTo>
                  <a:lnTo>
                    <a:pt x="3060" y="4798"/>
                  </a:lnTo>
                  <a:lnTo>
                    <a:pt x="3056" y="4810"/>
                  </a:lnTo>
                  <a:lnTo>
                    <a:pt x="3052" y="4820"/>
                  </a:lnTo>
                  <a:lnTo>
                    <a:pt x="3048" y="4824"/>
                  </a:lnTo>
                  <a:lnTo>
                    <a:pt x="3048" y="4828"/>
                  </a:lnTo>
                  <a:lnTo>
                    <a:pt x="3048" y="4834"/>
                  </a:lnTo>
                  <a:lnTo>
                    <a:pt x="3048" y="4838"/>
                  </a:lnTo>
                  <a:lnTo>
                    <a:pt x="3046" y="4840"/>
                  </a:lnTo>
                  <a:lnTo>
                    <a:pt x="3044" y="4842"/>
                  </a:lnTo>
                  <a:lnTo>
                    <a:pt x="3040" y="4844"/>
                  </a:lnTo>
                  <a:lnTo>
                    <a:pt x="3040" y="4848"/>
                  </a:lnTo>
                  <a:lnTo>
                    <a:pt x="3042" y="4854"/>
                  </a:lnTo>
                  <a:lnTo>
                    <a:pt x="3044" y="4864"/>
                  </a:lnTo>
                  <a:lnTo>
                    <a:pt x="3040" y="4876"/>
                  </a:lnTo>
                  <a:lnTo>
                    <a:pt x="3034" y="4886"/>
                  </a:lnTo>
                  <a:lnTo>
                    <a:pt x="3030" y="4900"/>
                  </a:lnTo>
                  <a:lnTo>
                    <a:pt x="3030" y="4908"/>
                  </a:lnTo>
                  <a:lnTo>
                    <a:pt x="3030" y="4918"/>
                  </a:lnTo>
                  <a:lnTo>
                    <a:pt x="3030" y="4932"/>
                  </a:lnTo>
                  <a:lnTo>
                    <a:pt x="3028" y="4934"/>
                  </a:lnTo>
                  <a:lnTo>
                    <a:pt x="3026" y="4936"/>
                  </a:lnTo>
                  <a:lnTo>
                    <a:pt x="3024" y="4936"/>
                  </a:lnTo>
                  <a:lnTo>
                    <a:pt x="3024" y="4938"/>
                  </a:lnTo>
                  <a:lnTo>
                    <a:pt x="3022" y="4944"/>
                  </a:lnTo>
                  <a:lnTo>
                    <a:pt x="3020" y="4952"/>
                  </a:lnTo>
                  <a:lnTo>
                    <a:pt x="3020" y="4960"/>
                  </a:lnTo>
                  <a:lnTo>
                    <a:pt x="3016" y="4964"/>
                  </a:lnTo>
                  <a:lnTo>
                    <a:pt x="3014" y="4968"/>
                  </a:lnTo>
                  <a:lnTo>
                    <a:pt x="3010" y="4968"/>
                  </a:lnTo>
                  <a:lnTo>
                    <a:pt x="3006" y="4970"/>
                  </a:lnTo>
                  <a:lnTo>
                    <a:pt x="3006" y="4972"/>
                  </a:lnTo>
                  <a:lnTo>
                    <a:pt x="3008" y="4976"/>
                  </a:lnTo>
                  <a:lnTo>
                    <a:pt x="3010" y="4984"/>
                  </a:lnTo>
                  <a:lnTo>
                    <a:pt x="3008" y="4986"/>
                  </a:lnTo>
                  <a:lnTo>
                    <a:pt x="3006" y="4990"/>
                  </a:lnTo>
                  <a:lnTo>
                    <a:pt x="3008" y="5002"/>
                  </a:lnTo>
                  <a:lnTo>
                    <a:pt x="3012" y="5008"/>
                  </a:lnTo>
                  <a:lnTo>
                    <a:pt x="3014" y="5010"/>
                  </a:lnTo>
                  <a:lnTo>
                    <a:pt x="3018" y="5010"/>
                  </a:lnTo>
                  <a:lnTo>
                    <a:pt x="3020" y="5010"/>
                  </a:lnTo>
                  <a:lnTo>
                    <a:pt x="3024" y="5010"/>
                  </a:lnTo>
                  <a:lnTo>
                    <a:pt x="3028" y="5010"/>
                  </a:lnTo>
                  <a:lnTo>
                    <a:pt x="3032" y="5014"/>
                  </a:lnTo>
                  <a:lnTo>
                    <a:pt x="3036" y="5022"/>
                  </a:lnTo>
                  <a:lnTo>
                    <a:pt x="3040" y="5034"/>
                  </a:lnTo>
                  <a:lnTo>
                    <a:pt x="3040" y="5046"/>
                  </a:lnTo>
                  <a:lnTo>
                    <a:pt x="3038" y="5058"/>
                  </a:lnTo>
                  <a:lnTo>
                    <a:pt x="3036" y="5070"/>
                  </a:lnTo>
                  <a:lnTo>
                    <a:pt x="3032" y="5082"/>
                  </a:lnTo>
                  <a:lnTo>
                    <a:pt x="3030" y="5092"/>
                  </a:lnTo>
                  <a:lnTo>
                    <a:pt x="3030" y="5102"/>
                  </a:lnTo>
                  <a:lnTo>
                    <a:pt x="3034" y="5112"/>
                  </a:lnTo>
                  <a:lnTo>
                    <a:pt x="3038" y="5116"/>
                  </a:lnTo>
                  <a:lnTo>
                    <a:pt x="3042" y="5118"/>
                  </a:lnTo>
                  <a:lnTo>
                    <a:pt x="3046" y="5118"/>
                  </a:lnTo>
                  <a:lnTo>
                    <a:pt x="3050" y="5116"/>
                  </a:lnTo>
                  <a:lnTo>
                    <a:pt x="3058" y="5114"/>
                  </a:lnTo>
                  <a:lnTo>
                    <a:pt x="3068" y="5112"/>
                  </a:lnTo>
                  <a:lnTo>
                    <a:pt x="3072" y="5112"/>
                  </a:lnTo>
                  <a:lnTo>
                    <a:pt x="3072" y="5110"/>
                  </a:lnTo>
                  <a:lnTo>
                    <a:pt x="3070" y="5100"/>
                  </a:lnTo>
                  <a:lnTo>
                    <a:pt x="3068" y="5088"/>
                  </a:lnTo>
                  <a:lnTo>
                    <a:pt x="3068" y="5082"/>
                  </a:lnTo>
                  <a:lnTo>
                    <a:pt x="3070" y="5076"/>
                  </a:lnTo>
                  <a:lnTo>
                    <a:pt x="3072" y="5070"/>
                  </a:lnTo>
                  <a:lnTo>
                    <a:pt x="3074" y="5064"/>
                  </a:lnTo>
                  <a:lnTo>
                    <a:pt x="3072" y="5050"/>
                  </a:lnTo>
                  <a:lnTo>
                    <a:pt x="3072" y="5034"/>
                  </a:lnTo>
                  <a:lnTo>
                    <a:pt x="3072" y="5014"/>
                  </a:lnTo>
                  <a:lnTo>
                    <a:pt x="3074" y="5004"/>
                  </a:lnTo>
                  <a:lnTo>
                    <a:pt x="3072" y="4998"/>
                  </a:lnTo>
                  <a:lnTo>
                    <a:pt x="3068" y="4990"/>
                  </a:lnTo>
                  <a:lnTo>
                    <a:pt x="3068" y="4988"/>
                  </a:lnTo>
                  <a:lnTo>
                    <a:pt x="3068" y="4984"/>
                  </a:lnTo>
                  <a:lnTo>
                    <a:pt x="3076" y="4974"/>
                  </a:lnTo>
                  <a:lnTo>
                    <a:pt x="3084" y="4970"/>
                  </a:lnTo>
                  <a:lnTo>
                    <a:pt x="3090" y="4968"/>
                  </a:lnTo>
                  <a:lnTo>
                    <a:pt x="3094" y="4968"/>
                  </a:lnTo>
                  <a:lnTo>
                    <a:pt x="3098" y="4972"/>
                  </a:lnTo>
                  <a:lnTo>
                    <a:pt x="3100" y="4976"/>
                  </a:lnTo>
                  <a:lnTo>
                    <a:pt x="3100" y="4982"/>
                  </a:lnTo>
                  <a:lnTo>
                    <a:pt x="3098" y="4990"/>
                  </a:lnTo>
                  <a:lnTo>
                    <a:pt x="3094" y="4996"/>
                  </a:lnTo>
                  <a:lnTo>
                    <a:pt x="3092" y="5002"/>
                  </a:lnTo>
                  <a:lnTo>
                    <a:pt x="3090" y="5008"/>
                  </a:lnTo>
                  <a:lnTo>
                    <a:pt x="3092" y="5012"/>
                  </a:lnTo>
                  <a:lnTo>
                    <a:pt x="3094" y="5016"/>
                  </a:lnTo>
                  <a:lnTo>
                    <a:pt x="3102" y="5024"/>
                  </a:lnTo>
                  <a:lnTo>
                    <a:pt x="3112" y="5034"/>
                  </a:lnTo>
                  <a:lnTo>
                    <a:pt x="3116" y="5040"/>
                  </a:lnTo>
                  <a:lnTo>
                    <a:pt x="3116" y="5046"/>
                  </a:lnTo>
                  <a:lnTo>
                    <a:pt x="3114" y="5062"/>
                  </a:lnTo>
                  <a:lnTo>
                    <a:pt x="3114" y="5068"/>
                  </a:lnTo>
                  <a:lnTo>
                    <a:pt x="3116" y="5074"/>
                  </a:lnTo>
                  <a:lnTo>
                    <a:pt x="3120" y="5076"/>
                  </a:lnTo>
                  <a:lnTo>
                    <a:pt x="3130" y="5078"/>
                  </a:lnTo>
                  <a:lnTo>
                    <a:pt x="3136" y="5076"/>
                  </a:lnTo>
                  <a:lnTo>
                    <a:pt x="3138" y="5076"/>
                  </a:lnTo>
                  <a:lnTo>
                    <a:pt x="3140" y="5072"/>
                  </a:lnTo>
                  <a:lnTo>
                    <a:pt x="3140" y="5070"/>
                  </a:lnTo>
                  <a:lnTo>
                    <a:pt x="3140" y="5062"/>
                  </a:lnTo>
                  <a:lnTo>
                    <a:pt x="3142" y="5060"/>
                  </a:lnTo>
                  <a:lnTo>
                    <a:pt x="3148" y="5056"/>
                  </a:lnTo>
                  <a:lnTo>
                    <a:pt x="3152" y="5056"/>
                  </a:lnTo>
                  <a:lnTo>
                    <a:pt x="3156" y="5054"/>
                  </a:lnTo>
                  <a:lnTo>
                    <a:pt x="3164" y="5056"/>
                  </a:lnTo>
                  <a:lnTo>
                    <a:pt x="3166" y="5056"/>
                  </a:lnTo>
                  <a:lnTo>
                    <a:pt x="3168" y="5056"/>
                  </a:lnTo>
                  <a:lnTo>
                    <a:pt x="3172" y="5048"/>
                  </a:lnTo>
                  <a:lnTo>
                    <a:pt x="3172" y="5042"/>
                  </a:lnTo>
                  <a:lnTo>
                    <a:pt x="3170" y="5036"/>
                  </a:lnTo>
                  <a:lnTo>
                    <a:pt x="3164" y="5032"/>
                  </a:lnTo>
                  <a:lnTo>
                    <a:pt x="3158" y="5028"/>
                  </a:lnTo>
                  <a:lnTo>
                    <a:pt x="3152" y="5026"/>
                  </a:lnTo>
                  <a:lnTo>
                    <a:pt x="3148" y="5022"/>
                  </a:lnTo>
                  <a:lnTo>
                    <a:pt x="3146" y="5016"/>
                  </a:lnTo>
                  <a:lnTo>
                    <a:pt x="3148" y="5012"/>
                  </a:lnTo>
                  <a:lnTo>
                    <a:pt x="3152" y="5006"/>
                  </a:lnTo>
                  <a:lnTo>
                    <a:pt x="3152" y="4998"/>
                  </a:lnTo>
                  <a:lnTo>
                    <a:pt x="3150" y="4990"/>
                  </a:lnTo>
                  <a:lnTo>
                    <a:pt x="3148" y="4980"/>
                  </a:lnTo>
                  <a:lnTo>
                    <a:pt x="3136" y="4962"/>
                  </a:lnTo>
                  <a:lnTo>
                    <a:pt x="3122" y="4946"/>
                  </a:lnTo>
                  <a:lnTo>
                    <a:pt x="3118" y="4940"/>
                  </a:lnTo>
                  <a:lnTo>
                    <a:pt x="3118" y="4934"/>
                  </a:lnTo>
                  <a:lnTo>
                    <a:pt x="3122" y="4930"/>
                  </a:lnTo>
                  <a:lnTo>
                    <a:pt x="3128" y="4926"/>
                  </a:lnTo>
                  <a:lnTo>
                    <a:pt x="3146" y="4916"/>
                  </a:lnTo>
                  <a:lnTo>
                    <a:pt x="3154" y="4908"/>
                  </a:lnTo>
                  <a:lnTo>
                    <a:pt x="3162" y="4898"/>
                  </a:lnTo>
                  <a:lnTo>
                    <a:pt x="3168" y="4888"/>
                  </a:lnTo>
                  <a:lnTo>
                    <a:pt x="3172" y="4884"/>
                  </a:lnTo>
                  <a:lnTo>
                    <a:pt x="3176" y="4884"/>
                  </a:lnTo>
                  <a:lnTo>
                    <a:pt x="3180" y="4886"/>
                  </a:lnTo>
                  <a:lnTo>
                    <a:pt x="3186" y="4890"/>
                  </a:lnTo>
                  <a:lnTo>
                    <a:pt x="3190" y="4890"/>
                  </a:lnTo>
                  <a:lnTo>
                    <a:pt x="3192" y="4888"/>
                  </a:lnTo>
                  <a:lnTo>
                    <a:pt x="3196" y="4880"/>
                  </a:lnTo>
                  <a:lnTo>
                    <a:pt x="3196" y="4876"/>
                  </a:lnTo>
                  <a:lnTo>
                    <a:pt x="3194" y="4874"/>
                  </a:lnTo>
                  <a:lnTo>
                    <a:pt x="3192" y="4872"/>
                  </a:lnTo>
                  <a:lnTo>
                    <a:pt x="3188" y="4870"/>
                  </a:lnTo>
                  <a:lnTo>
                    <a:pt x="3170" y="4870"/>
                  </a:lnTo>
                  <a:lnTo>
                    <a:pt x="3160" y="4872"/>
                  </a:lnTo>
                  <a:lnTo>
                    <a:pt x="3152" y="4874"/>
                  </a:lnTo>
                  <a:lnTo>
                    <a:pt x="3144" y="4880"/>
                  </a:lnTo>
                  <a:lnTo>
                    <a:pt x="3136" y="4884"/>
                  </a:lnTo>
                  <a:lnTo>
                    <a:pt x="3130" y="4884"/>
                  </a:lnTo>
                  <a:lnTo>
                    <a:pt x="3124" y="4884"/>
                  </a:lnTo>
                  <a:lnTo>
                    <a:pt x="3116" y="4882"/>
                  </a:lnTo>
                  <a:lnTo>
                    <a:pt x="3112" y="4886"/>
                  </a:lnTo>
                  <a:lnTo>
                    <a:pt x="3108" y="4890"/>
                  </a:lnTo>
                  <a:lnTo>
                    <a:pt x="3106" y="4894"/>
                  </a:lnTo>
                  <a:lnTo>
                    <a:pt x="3104" y="4900"/>
                  </a:lnTo>
                  <a:lnTo>
                    <a:pt x="3100" y="4904"/>
                  </a:lnTo>
                  <a:lnTo>
                    <a:pt x="3096" y="4908"/>
                  </a:lnTo>
                  <a:lnTo>
                    <a:pt x="3088" y="4908"/>
                  </a:lnTo>
                  <a:lnTo>
                    <a:pt x="3082" y="4906"/>
                  </a:lnTo>
                  <a:lnTo>
                    <a:pt x="3078" y="4904"/>
                  </a:lnTo>
                  <a:lnTo>
                    <a:pt x="3078" y="4902"/>
                  </a:lnTo>
                  <a:lnTo>
                    <a:pt x="3078" y="4898"/>
                  </a:lnTo>
                  <a:lnTo>
                    <a:pt x="3076" y="4892"/>
                  </a:lnTo>
                  <a:lnTo>
                    <a:pt x="3074" y="4888"/>
                  </a:lnTo>
                  <a:lnTo>
                    <a:pt x="3068" y="4882"/>
                  </a:lnTo>
                  <a:lnTo>
                    <a:pt x="3064" y="4880"/>
                  </a:lnTo>
                  <a:lnTo>
                    <a:pt x="3062" y="4876"/>
                  </a:lnTo>
                  <a:lnTo>
                    <a:pt x="3058" y="4866"/>
                  </a:lnTo>
                  <a:lnTo>
                    <a:pt x="3058" y="4852"/>
                  </a:lnTo>
                  <a:lnTo>
                    <a:pt x="3060" y="4840"/>
                  </a:lnTo>
                  <a:lnTo>
                    <a:pt x="3066" y="4828"/>
                  </a:lnTo>
                  <a:lnTo>
                    <a:pt x="3072" y="4818"/>
                  </a:lnTo>
                  <a:lnTo>
                    <a:pt x="3074" y="4816"/>
                  </a:lnTo>
                  <a:lnTo>
                    <a:pt x="3078" y="4814"/>
                  </a:lnTo>
                  <a:lnTo>
                    <a:pt x="3082" y="4814"/>
                  </a:lnTo>
                  <a:lnTo>
                    <a:pt x="3086" y="4816"/>
                  </a:lnTo>
                  <a:lnTo>
                    <a:pt x="3092" y="4818"/>
                  </a:lnTo>
                  <a:lnTo>
                    <a:pt x="3096" y="4820"/>
                  </a:lnTo>
                  <a:lnTo>
                    <a:pt x="3106" y="4818"/>
                  </a:lnTo>
                  <a:lnTo>
                    <a:pt x="3116" y="4818"/>
                  </a:lnTo>
                  <a:lnTo>
                    <a:pt x="3122" y="4818"/>
                  </a:lnTo>
                  <a:lnTo>
                    <a:pt x="3126" y="4818"/>
                  </a:lnTo>
                  <a:lnTo>
                    <a:pt x="3132" y="4820"/>
                  </a:lnTo>
                  <a:lnTo>
                    <a:pt x="3140" y="4820"/>
                  </a:lnTo>
                  <a:lnTo>
                    <a:pt x="3156" y="4818"/>
                  </a:lnTo>
                  <a:lnTo>
                    <a:pt x="3172" y="4816"/>
                  </a:lnTo>
                  <a:lnTo>
                    <a:pt x="3178" y="4818"/>
                  </a:lnTo>
                  <a:lnTo>
                    <a:pt x="3182" y="4820"/>
                  </a:lnTo>
                  <a:lnTo>
                    <a:pt x="3186" y="4822"/>
                  </a:lnTo>
                  <a:lnTo>
                    <a:pt x="3192" y="4824"/>
                  </a:lnTo>
                  <a:lnTo>
                    <a:pt x="3200" y="4826"/>
                  </a:lnTo>
                  <a:lnTo>
                    <a:pt x="3208" y="4826"/>
                  </a:lnTo>
                  <a:lnTo>
                    <a:pt x="3218" y="4824"/>
                  </a:lnTo>
                  <a:lnTo>
                    <a:pt x="3226" y="4822"/>
                  </a:lnTo>
                  <a:lnTo>
                    <a:pt x="3234" y="4816"/>
                  </a:lnTo>
                  <a:lnTo>
                    <a:pt x="3240" y="4810"/>
                  </a:lnTo>
                  <a:close/>
                  <a:moveTo>
                    <a:pt x="2954" y="5244"/>
                  </a:moveTo>
                  <a:lnTo>
                    <a:pt x="2954" y="5244"/>
                  </a:lnTo>
                  <a:lnTo>
                    <a:pt x="2954" y="5248"/>
                  </a:lnTo>
                  <a:lnTo>
                    <a:pt x="2956" y="5246"/>
                  </a:lnTo>
                  <a:lnTo>
                    <a:pt x="2960" y="5240"/>
                  </a:lnTo>
                  <a:lnTo>
                    <a:pt x="2962" y="5238"/>
                  </a:lnTo>
                  <a:lnTo>
                    <a:pt x="2960" y="5236"/>
                  </a:lnTo>
                  <a:lnTo>
                    <a:pt x="2958" y="5236"/>
                  </a:lnTo>
                  <a:lnTo>
                    <a:pt x="2954" y="5240"/>
                  </a:lnTo>
                  <a:lnTo>
                    <a:pt x="2954" y="5244"/>
                  </a:lnTo>
                  <a:close/>
                  <a:moveTo>
                    <a:pt x="3346" y="4878"/>
                  </a:moveTo>
                  <a:lnTo>
                    <a:pt x="3346" y="4878"/>
                  </a:lnTo>
                  <a:lnTo>
                    <a:pt x="3350" y="4878"/>
                  </a:lnTo>
                  <a:lnTo>
                    <a:pt x="3352" y="4876"/>
                  </a:lnTo>
                  <a:lnTo>
                    <a:pt x="3350" y="4874"/>
                  </a:lnTo>
                  <a:lnTo>
                    <a:pt x="3348" y="4872"/>
                  </a:lnTo>
                  <a:lnTo>
                    <a:pt x="3346" y="4872"/>
                  </a:lnTo>
                  <a:lnTo>
                    <a:pt x="3344" y="4874"/>
                  </a:lnTo>
                  <a:lnTo>
                    <a:pt x="3344" y="4876"/>
                  </a:lnTo>
                  <a:lnTo>
                    <a:pt x="3346" y="4878"/>
                  </a:lnTo>
                  <a:close/>
                  <a:moveTo>
                    <a:pt x="3352" y="4858"/>
                  </a:moveTo>
                  <a:lnTo>
                    <a:pt x="3352" y="4858"/>
                  </a:lnTo>
                  <a:lnTo>
                    <a:pt x="3350" y="4862"/>
                  </a:lnTo>
                  <a:lnTo>
                    <a:pt x="3354" y="4868"/>
                  </a:lnTo>
                  <a:lnTo>
                    <a:pt x="3358" y="4874"/>
                  </a:lnTo>
                  <a:lnTo>
                    <a:pt x="3360" y="4876"/>
                  </a:lnTo>
                  <a:lnTo>
                    <a:pt x="3364" y="4874"/>
                  </a:lnTo>
                  <a:lnTo>
                    <a:pt x="3364" y="4866"/>
                  </a:lnTo>
                  <a:lnTo>
                    <a:pt x="3362" y="4858"/>
                  </a:lnTo>
                  <a:lnTo>
                    <a:pt x="3360" y="4854"/>
                  </a:lnTo>
                  <a:lnTo>
                    <a:pt x="3356" y="4854"/>
                  </a:lnTo>
                  <a:lnTo>
                    <a:pt x="3352" y="4858"/>
                  </a:lnTo>
                  <a:close/>
                  <a:moveTo>
                    <a:pt x="3452" y="4980"/>
                  </a:moveTo>
                  <a:lnTo>
                    <a:pt x="3452" y="4980"/>
                  </a:lnTo>
                  <a:lnTo>
                    <a:pt x="3440" y="4974"/>
                  </a:lnTo>
                  <a:lnTo>
                    <a:pt x="3438" y="4974"/>
                  </a:lnTo>
                  <a:lnTo>
                    <a:pt x="3436" y="4976"/>
                  </a:lnTo>
                  <a:lnTo>
                    <a:pt x="3428" y="4978"/>
                  </a:lnTo>
                  <a:lnTo>
                    <a:pt x="3422" y="4980"/>
                  </a:lnTo>
                  <a:lnTo>
                    <a:pt x="3414" y="4978"/>
                  </a:lnTo>
                  <a:lnTo>
                    <a:pt x="3404" y="4978"/>
                  </a:lnTo>
                  <a:lnTo>
                    <a:pt x="3396" y="4978"/>
                  </a:lnTo>
                  <a:lnTo>
                    <a:pt x="3390" y="4980"/>
                  </a:lnTo>
                  <a:lnTo>
                    <a:pt x="3384" y="4982"/>
                  </a:lnTo>
                  <a:lnTo>
                    <a:pt x="3378" y="4986"/>
                  </a:lnTo>
                  <a:lnTo>
                    <a:pt x="3376" y="4990"/>
                  </a:lnTo>
                  <a:lnTo>
                    <a:pt x="3374" y="4996"/>
                  </a:lnTo>
                  <a:lnTo>
                    <a:pt x="3374" y="5002"/>
                  </a:lnTo>
                  <a:lnTo>
                    <a:pt x="3376" y="5010"/>
                  </a:lnTo>
                  <a:lnTo>
                    <a:pt x="3378" y="5006"/>
                  </a:lnTo>
                  <a:lnTo>
                    <a:pt x="3380" y="4998"/>
                  </a:lnTo>
                  <a:lnTo>
                    <a:pt x="3382" y="4994"/>
                  </a:lnTo>
                  <a:lnTo>
                    <a:pt x="3384" y="4992"/>
                  </a:lnTo>
                  <a:lnTo>
                    <a:pt x="3386" y="4992"/>
                  </a:lnTo>
                  <a:lnTo>
                    <a:pt x="3388" y="4994"/>
                  </a:lnTo>
                  <a:lnTo>
                    <a:pt x="3392" y="5000"/>
                  </a:lnTo>
                  <a:lnTo>
                    <a:pt x="3396" y="5002"/>
                  </a:lnTo>
                  <a:lnTo>
                    <a:pt x="3400" y="5004"/>
                  </a:lnTo>
                  <a:lnTo>
                    <a:pt x="3404" y="5004"/>
                  </a:lnTo>
                  <a:lnTo>
                    <a:pt x="3408" y="5000"/>
                  </a:lnTo>
                  <a:lnTo>
                    <a:pt x="3414" y="4998"/>
                  </a:lnTo>
                  <a:lnTo>
                    <a:pt x="3418" y="4998"/>
                  </a:lnTo>
                  <a:lnTo>
                    <a:pt x="3428" y="5002"/>
                  </a:lnTo>
                  <a:lnTo>
                    <a:pt x="3436" y="5006"/>
                  </a:lnTo>
                  <a:lnTo>
                    <a:pt x="3438" y="5008"/>
                  </a:lnTo>
                  <a:lnTo>
                    <a:pt x="3440" y="5006"/>
                  </a:lnTo>
                  <a:lnTo>
                    <a:pt x="3442" y="5002"/>
                  </a:lnTo>
                  <a:lnTo>
                    <a:pt x="3446" y="5002"/>
                  </a:lnTo>
                  <a:lnTo>
                    <a:pt x="3456" y="5006"/>
                  </a:lnTo>
                  <a:lnTo>
                    <a:pt x="3468" y="5014"/>
                  </a:lnTo>
                  <a:lnTo>
                    <a:pt x="3482" y="5022"/>
                  </a:lnTo>
                  <a:lnTo>
                    <a:pt x="3488" y="5026"/>
                  </a:lnTo>
                  <a:lnTo>
                    <a:pt x="3492" y="5028"/>
                  </a:lnTo>
                  <a:lnTo>
                    <a:pt x="3494" y="5026"/>
                  </a:lnTo>
                  <a:lnTo>
                    <a:pt x="3496" y="5024"/>
                  </a:lnTo>
                  <a:lnTo>
                    <a:pt x="3494" y="5012"/>
                  </a:lnTo>
                  <a:lnTo>
                    <a:pt x="3484" y="4994"/>
                  </a:lnTo>
                  <a:lnTo>
                    <a:pt x="3478" y="4988"/>
                  </a:lnTo>
                  <a:lnTo>
                    <a:pt x="3476" y="4984"/>
                  </a:lnTo>
                  <a:lnTo>
                    <a:pt x="3472" y="4982"/>
                  </a:lnTo>
                  <a:lnTo>
                    <a:pt x="3470" y="4984"/>
                  </a:lnTo>
                  <a:lnTo>
                    <a:pt x="3464" y="4984"/>
                  </a:lnTo>
                  <a:lnTo>
                    <a:pt x="3458" y="4984"/>
                  </a:lnTo>
                  <a:lnTo>
                    <a:pt x="3452" y="4980"/>
                  </a:lnTo>
                  <a:close/>
                  <a:moveTo>
                    <a:pt x="3092" y="4546"/>
                  </a:moveTo>
                  <a:lnTo>
                    <a:pt x="3092" y="4546"/>
                  </a:lnTo>
                  <a:lnTo>
                    <a:pt x="3090" y="4552"/>
                  </a:lnTo>
                  <a:lnTo>
                    <a:pt x="3092" y="4552"/>
                  </a:lnTo>
                  <a:lnTo>
                    <a:pt x="3094" y="4552"/>
                  </a:lnTo>
                  <a:lnTo>
                    <a:pt x="3098" y="4552"/>
                  </a:lnTo>
                  <a:lnTo>
                    <a:pt x="3104" y="4552"/>
                  </a:lnTo>
                  <a:lnTo>
                    <a:pt x="3108" y="4554"/>
                  </a:lnTo>
                  <a:lnTo>
                    <a:pt x="3112" y="4552"/>
                  </a:lnTo>
                  <a:lnTo>
                    <a:pt x="3112" y="4548"/>
                  </a:lnTo>
                  <a:lnTo>
                    <a:pt x="3110" y="4548"/>
                  </a:lnTo>
                  <a:lnTo>
                    <a:pt x="3106" y="4546"/>
                  </a:lnTo>
                  <a:lnTo>
                    <a:pt x="3102" y="4542"/>
                  </a:lnTo>
                  <a:lnTo>
                    <a:pt x="3100" y="4540"/>
                  </a:lnTo>
                  <a:lnTo>
                    <a:pt x="3098" y="4540"/>
                  </a:lnTo>
                  <a:lnTo>
                    <a:pt x="3096" y="4542"/>
                  </a:lnTo>
                  <a:lnTo>
                    <a:pt x="3092" y="4546"/>
                  </a:lnTo>
                  <a:close/>
                  <a:moveTo>
                    <a:pt x="3058" y="4324"/>
                  </a:moveTo>
                  <a:lnTo>
                    <a:pt x="3058" y="4324"/>
                  </a:lnTo>
                  <a:lnTo>
                    <a:pt x="3056" y="4322"/>
                  </a:lnTo>
                  <a:lnTo>
                    <a:pt x="3052" y="4322"/>
                  </a:lnTo>
                  <a:lnTo>
                    <a:pt x="3048" y="4326"/>
                  </a:lnTo>
                  <a:lnTo>
                    <a:pt x="3048" y="4330"/>
                  </a:lnTo>
                  <a:lnTo>
                    <a:pt x="3050" y="4330"/>
                  </a:lnTo>
                  <a:lnTo>
                    <a:pt x="3058" y="4324"/>
                  </a:lnTo>
                  <a:close/>
                  <a:moveTo>
                    <a:pt x="3358" y="4790"/>
                  </a:moveTo>
                  <a:lnTo>
                    <a:pt x="3358" y="4790"/>
                  </a:lnTo>
                  <a:lnTo>
                    <a:pt x="3360" y="4800"/>
                  </a:lnTo>
                  <a:lnTo>
                    <a:pt x="3358" y="4806"/>
                  </a:lnTo>
                  <a:lnTo>
                    <a:pt x="3358" y="4812"/>
                  </a:lnTo>
                  <a:lnTo>
                    <a:pt x="3358" y="4816"/>
                  </a:lnTo>
                  <a:lnTo>
                    <a:pt x="3362" y="4820"/>
                  </a:lnTo>
                  <a:lnTo>
                    <a:pt x="3364" y="4826"/>
                  </a:lnTo>
                  <a:lnTo>
                    <a:pt x="3364" y="4830"/>
                  </a:lnTo>
                  <a:lnTo>
                    <a:pt x="3364" y="4838"/>
                  </a:lnTo>
                  <a:lnTo>
                    <a:pt x="3364" y="4846"/>
                  </a:lnTo>
                  <a:lnTo>
                    <a:pt x="3364" y="4850"/>
                  </a:lnTo>
                  <a:lnTo>
                    <a:pt x="3368" y="4856"/>
                  </a:lnTo>
                  <a:lnTo>
                    <a:pt x="3382" y="4876"/>
                  </a:lnTo>
                  <a:lnTo>
                    <a:pt x="3388" y="4882"/>
                  </a:lnTo>
                  <a:lnTo>
                    <a:pt x="3390" y="4884"/>
                  </a:lnTo>
                  <a:lnTo>
                    <a:pt x="3394" y="4884"/>
                  </a:lnTo>
                  <a:lnTo>
                    <a:pt x="3394" y="4882"/>
                  </a:lnTo>
                  <a:lnTo>
                    <a:pt x="3394" y="4880"/>
                  </a:lnTo>
                  <a:lnTo>
                    <a:pt x="3390" y="4876"/>
                  </a:lnTo>
                  <a:lnTo>
                    <a:pt x="3384" y="4868"/>
                  </a:lnTo>
                  <a:lnTo>
                    <a:pt x="3380" y="4860"/>
                  </a:lnTo>
                  <a:lnTo>
                    <a:pt x="3376" y="4848"/>
                  </a:lnTo>
                  <a:lnTo>
                    <a:pt x="3374" y="4836"/>
                  </a:lnTo>
                  <a:lnTo>
                    <a:pt x="3374" y="4826"/>
                  </a:lnTo>
                  <a:lnTo>
                    <a:pt x="3376" y="4820"/>
                  </a:lnTo>
                  <a:lnTo>
                    <a:pt x="3380" y="4818"/>
                  </a:lnTo>
                  <a:lnTo>
                    <a:pt x="3382" y="4818"/>
                  </a:lnTo>
                  <a:lnTo>
                    <a:pt x="3390" y="4820"/>
                  </a:lnTo>
                  <a:lnTo>
                    <a:pt x="3402" y="4824"/>
                  </a:lnTo>
                  <a:lnTo>
                    <a:pt x="3406" y="4826"/>
                  </a:lnTo>
                  <a:lnTo>
                    <a:pt x="3410" y="4826"/>
                  </a:lnTo>
                  <a:lnTo>
                    <a:pt x="3410" y="4822"/>
                  </a:lnTo>
                  <a:lnTo>
                    <a:pt x="3406" y="4816"/>
                  </a:lnTo>
                  <a:lnTo>
                    <a:pt x="3400" y="4812"/>
                  </a:lnTo>
                  <a:lnTo>
                    <a:pt x="3394" y="4810"/>
                  </a:lnTo>
                  <a:lnTo>
                    <a:pt x="3390" y="4806"/>
                  </a:lnTo>
                  <a:lnTo>
                    <a:pt x="3386" y="4804"/>
                  </a:lnTo>
                  <a:lnTo>
                    <a:pt x="3386" y="4802"/>
                  </a:lnTo>
                  <a:lnTo>
                    <a:pt x="3388" y="4800"/>
                  </a:lnTo>
                  <a:lnTo>
                    <a:pt x="3394" y="4796"/>
                  </a:lnTo>
                  <a:lnTo>
                    <a:pt x="3400" y="4792"/>
                  </a:lnTo>
                  <a:lnTo>
                    <a:pt x="3404" y="4788"/>
                  </a:lnTo>
                  <a:lnTo>
                    <a:pt x="3406" y="4784"/>
                  </a:lnTo>
                  <a:lnTo>
                    <a:pt x="3408" y="4774"/>
                  </a:lnTo>
                  <a:lnTo>
                    <a:pt x="3406" y="4770"/>
                  </a:lnTo>
                  <a:lnTo>
                    <a:pt x="3404" y="4766"/>
                  </a:lnTo>
                  <a:lnTo>
                    <a:pt x="3400" y="4766"/>
                  </a:lnTo>
                  <a:lnTo>
                    <a:pt x="3396" y="4766"/>
                  </a:lnTo>
                  <a:lnTo>
                    <a:pt x="3390" y="4770"/>
                  </a:lnTo>
                  <a:lnTo>
                    <a:pt x="3386" y="4774"/>
                  </a:lnTo>
                  <a:lnTo>
                    <a:pt x="3378" y="4788"/>
                  </a:lnTo>
                  <a:lnTo>
                    <a:pt x="3372" y="4800"/>
                  </a:lnTo>
                  <a:lnTo>
                    <a:pt x="3370" y="4800"/>
                  </a:lnTo>
                  <a:lnTo>
                    <a:pt x="3368" y="4798"/>
                  </a:lnTo>
                  <a:lnTo>
                    <a:pt x="3366" y="4792"/>
                  </a:lnTo>
                  <a:lnTo>
                    <a:pt x="3368" y="4788"/>
                  </a:lnTo>
                  <a:lnTo>
                    <a:pt x="3372" y="4782"/>
                  </a:lnTo>
                  <a:lnTo>
                    <a:pt x="3378" y="4772"/>
                  </a:lnTo>
                  <a:lnTo>
                    <a:pt x="3378" y="4766"/>
                  </a:lnTo>
                  <a:lnTo>
                    <a:pt x="3378" y="4762"/>
                  </a:lnTo>
                  <a:lnTo>
                    <a:pt x="3376" y="4754"/>
                  </a:lnTo>
                  <a:lnTo>
                    <a:pt x="3374" y="4750"/>
                  </a:lnTo>
                  <a:lnTo>
                    <a:pt x="3374" y="4748"/>
                  </a:lnTo>
                  <a:lnTo>
                    <a:pt x="3374" y="4744"/>
                  </a:lnTo>
                  <a:lnTo>
                    <a:pt x="3378" y="4734"/>
                  </a:lnTo>
                  <a:lnTo>
                    <a:pt x="3378" y="4732"/>
                  </a:lnTo>
                  <a:lnTo>
                    <a:pt x="3376" y="4732"/>
                  </a:lnTo>
                  <a:lnTo>
                    <a:pt x="3370" y="4736"/>
                  </a:lnTo>
                  <a:lnTo>
                    <a:pt x="3366" y="4740"/>
                  </a:lnTo>
                  <a:lnTo>
                    <a:pt x="3362" y="4746"/>
                  </a:lnTo>
                  <a:lnTo>
                    <a:pt x="3356" y="4760"/>
                  </a:lnTo>
                  <a:lnTo>
                    <a:pt x="3356" y="4776"/>
                  </a:lnTo>
                  <a:lnTo>
                    <a:pt x="3356" y="4784"/>
                  </a:lnTo>
                  <a:lnTo>
                    <a:pt x="3358" y="4790"/>
                  </a:lnTo>
                  <a:close/>
                  <a:moveTo>
                    <a:pt x="3086" y="4178"/>
                  </a:moveTo>
                  <a:lnTo>
                    <a:pt x="3086" y="4178"/>
                  </a:lnTo>
                  <a:lnTo>
                    <a:pt x="3076" y="4178"/>
                  </a:lnTo>
                  <a:lnTo>
                    <a:pt x="3070" y="4180"/>
                  </a:lnTo>
                  <a:lnTo>
                    <a:pt x="3068" y="4184"/>
                  </a:lnTo>
                  <a:lnTo>
                    <a:pt x="3072" y="4186"/>
                  </a:lnTo>
                  <a:lnTo>
                    <a:pt x="3076" y="4188"/>
                  </a:lnTo>
                  <a:lnTo>
                    <a:pt x="3076" y="4190"/>
                  </a:lnTo>
                  <a:lnTo>
                    <a:pt x="3078" y="4194"/>
                  </a:lnTo>
                  <a:lnTo>
                    <a:pt x="3080" y="4196"/>
                  </a:lnTo>
                  <a:lnTo>
                    <a:pt x="3084" y="4202"/>
                  </a:lnTo>
                  <a:lnTo>
                    <a:pt x="3088" y="4212"/>
                  </a:lnTo>
                  <a:lnTo>
                    <a:pt x="3092" y="4224"/>
                  </a:lnTo>
                  <a:lnTo>
                    <a:pt x="3098" y="4238"/>
                  </a:lnTo>
                  <a:lnTo>
                    <a:pt x="3102" y="4244"/>
                  </a:lnTo>
                  <a:lnTo>
                    <a:pt x="3104" y="4244"/>
                  </a:lnTo>
                  <a:lnTo>
                    <a:pt x="3106" y="4244"/>
                  </a:lnTo>
                  <a:lnTo>
                    <a:pt x="3112" y="4240"/>
                  </a:lnTo>
                  <a:lnTo>
                    <a:pt x="3116" y="4232"/>
                  </a:lnTo>
                  <a:lnTo>
                    <a:pt x="3118" y="4224"/>
                  </a:lnTo>
                  <a:lnTo>
                    <a:pt x="3118" y="4220"/>
                  </a:lnTo>
                  <a:lnTo>
                    <a:pt x="3116" y="4216"/>
                  </a:lnTo>
                  <a:lnTo>
                    <a:pt x="3116" y="4208"/>
                  </a:lnTo>
                  <a:lnTo>
                    <a:pt x="3118" y="4204"/>
                  </a:lnTo>
                  <a:lnTo>
                    <a:pt x="3116" y="4198"/>
                  </a:lnTo>
                  <a:lnTo>
                    <a:pt x="3114" y="4194"/>
                  </a:lnTo>
                  <a:lnTo>
                    <a:pt x="3110" y="4190"/>
                  </a:lnTo>
                  <a:lnTo>
                    <a:pt x="3100" y="4184"/>
                  </a:lnTo>
                  <a:lnTo>
                    <a:pt x="3086" y="4178"/>
                  </a:lnTo>
                  <a:close/>
                  <a:moveTo>
                    <a:pt x="3138" y="4192"/>
                  </a:moveTo>
                  <a:lnTo>
                    <a:pt x="3138" y="4192"/>
                  </a:lnTo>
                  <a:lnTo>
                    <a:pt x="3140" y="4190"/>
                  </a:lnTo>
                  <a:lnTo>
                    <a:pt x="3142" y="4186"/>
                  </a:lnTo>
                  <a:lnTo>
                    <a:pt x="3140" y="4180"/>
                  </a:lnTo>
                  <a:lnTo>
                    <a:pt x="3138" y="4178"/>
                  </a:lnTo>
                  <a:lnTo>
                    <a:pt x="3134" y="4178"/>
                  </a:lnTo>
                  <a:lnTo>
                    <a:pt x="3132" y="4178"/>
                  </a:lnTo>
                  <a:lnTo>
                    <a:pt x="3130" y="4178"/>
                  </a:lnTo>
                  <a:lnTo>
                    <a:pt x="3130" y="4184"/>
                  </a:lnTo>
                  <a:lnTo>
                    <a:pt x="3130" y="4188"/>
                  </a:lnTo>
                  <a:lnTo>
                    <a:pt x="3132" y="4192"/>
                  </a:lnTo>
                  <a:lnTo>
                    <a:pt x="3134" y="4194"/>
                  </a:lnTo>
                  <a:lnTo>
                    <a:pt x="3138" y="4192"/>
                  </a:lnTo>
                  <a:close/>
                  <a:moveTo>
                    <a:pt x="3386" y="4736"/>
                  </a:moveTo>
                  <a:lnTo>
                    <a:pt x="3386" y="4736"/>
                  </a:lnTo>
                  <a:lnTo>
                    <a:pt x="3388" y="4742"/>
                  </a:lnTo>
                  <a:lnTo>
                    <a:pt x="3392" y="4742"/>
                  </a:lnTo>
                  <a:lnTo>
                    <a:pt x="3396" y="4740"/>
                  </a:lnTo>
                  <a:lnTo>
                    <a:pt x="3398" y="4736"/>
                  </a:lnTo>
                  <a:lnTo>
                    <a:pt x="3402" y="4732"/>
                  </a:lnTo>
                  <a:lnTo>
                    <a:pt x="3404" y="4726"/>
                  </a:lnTo>
                  <a:lnTo>
                    <a:pt x="3404" y="4720"/>
                  </a:lnTo>
                  <a:lnTo>
                    <a:pt x="3404" y="4714"/>
                  </a:lnTo>
                  <a:lnTo>
                    <a:pt x="3400" y="4712"/>
                  </a:lnTo>
                  <a:lnTo>
                    <a:pt x="3398" y="4712"/>
                  </a:lnTo>
                  <a:lnTo>
                    <a:pt x="3394" y="4714"/>
                  </a:lnTo>
                  <a:lnTo>
                    <a:pt x="3392" y="4718"/>
                  </a:lnTo>
                  <a:lnTo>
                    <a:pt x="3388" y="4726"/>
                  </a:lnTo>
                  <a:lnTo>
                    <a:pt x="3386" y="4736"/>
                  </a:lnTo>
                  <a:close/>
                  <a:moveTo>
                    <a:pt x="3378" y="4912"/>
                  </a:moveTo>
                  <a:lnTo>
                    <a:pt x="3378" y="4912"/>
                  </a:lnTo>
                  <a:lnTo>
                    <a:pt x="3374" y="4908"/>
                  </a:lnTo>
                  <a:lnTo>
                    <a:pt x="3370" y="4906"/>
                  </a:lnTo>
                  <a:lnTo>
                    <a:pt x="3364" y="4904"/>
                  </a:lnTo>
                  <a:lnTo>
                    <a:pt x="3362" y="4904"/>
                  </a:lnTo>
                  <a:lnTo>
                    <a:pt x="3358" y="4906"/>
                  </a:lnTo>
                  <a:lnTo>
                    <a:pt x="3356" y="4908"/>
                  </a:lnTo>
                  <a:lnTo>
                    <a:pt x="3354" y="4912"/>
                  </a:lnTo>
                  <a:lnTo>
                    <a:pt x="3354" y="4916"/>
                  </a:lnTo>
                  <a:lnTo>
                    <a:pt x="3354" y="4922"/>
                  </a:lnTo>
                  <a:lnTo>
                    <a:pt x="3358" y="4924"/>
                  </a:lnTo>
                  <a:lnTo>
                    <a:pt x="3366" y="4922"/>
                  </a:lnTo>
                  <a:lnTo>
                    <a:pt x="3382" y="4922"/>
                  </a:lnTo>
                  <a:lnTo>
                    <a:pt x="3384" y="4922"/>
                  </a:lnTo>
                  <a:lnTo>
                    <a:pt x="3384" y="4920"/>
                  </a:lnTo>
                  <a:lnTo>
                    <a:pt x="3378" y="4912"/>
                  </a:lnTo>
                  <a:close/>
                  <a:moveTo>
                    <a:pt x="3378" y="5236"/>
                  </a:moveTo>
                  <a:lnTo>
                    <a:pt x="3378" y="5236"/>
                  </a:lnTo>
                  <a:lnTo>
                    <a:pt x="3374" y="5234"/>
                  </a:lnTo>
                  <a:lnTo>
                    <a:pt x="3370" y="5234"/>
                  </a:lnTo>
                  <a:lnTo>
                    <a:pt x="3368" y="5236"/>
                  </a:lnTo>
                  <a:lnTo>
                    <a:pt x="3372" y="5240"/>
                  </a:lnTo>
                  <a:lnTo>
                    <a:pt x="3376" y="5242"/>
                  </a:lnTo>
                  <a:lnTo>
                    <a:pt x="3380" y="5240"/>
                  </a:lnTo>
                  <a:lnTo>
                    <a:pt x="3380" y="5238"/>
                  </a:lnTo>
                  <a:lnTo>
                    <a:pt x="3378" y="5236"/>
                  </a:lnTo>
                  <a:close/>
                  <a:moveTo>
                    <a:pt x="3444" y="5230"/>
                  </a:moveTo>
                  <a:lnTo>
                    <a:pt x="3444" y="5230"/>
                  </a:lnTo>
                  <a:lnTo>
                    <a:pt x="3448" y="5232"/>
                  </a:lnTo>
                  <a:lnTo>
                    <a:pt x="3450" y="5230"/>
                  </a:lnTo>
                  <a:lnTo>
                    <a:pt x="3452" y="5228"/>
                  </a:lnTo>
                  <a:lnTo>
                    <a:pt x="3452" y="5224"/>
                  </a:lnTo>
                  <a:lnTo>
                    <a:pt x="3448" y="5220"/>
                  </a:lnTo>
                  <a:lnTo>
                    <a:pt x="3442" y="5218"/>
                  </a:lnTo>
                  <a:lnTo>
                    <a:pt x="3440" y="5220"/>
                  </a:lnTo>
                  <a:lnTo>
                    <a:pt x="3442" y="5224"/>
                  </a:lnTo>
                  <a:lnTo>
                    <a:pt x="3444" y="5230"/>
                  </a:lnTo>
                  <a:close/>
                  <a:moveTo>
                    <a:pt x="3364" y="4876"/>
                  </a:moveTo>
                  <a:lnTo>
                    <a:pt x="3364" y="4876"/>
                  </a:lnTo>
                  <a:lnTo>
                    <a:pt x="3364" y="4878"/>
                  </a:lnTo>
                  <a:lnTo>
                    <a:pt x="3366" y="4880"/>
                  </a:lnTo>
                  <a:lnTo>
                    <a:pt x="3370" y="4882"/>
                  </a:lnTo>
                  <a:lnTo>
                    <a:pt x="3372" y="4880"/>
                  </a:lnTo>
                  <a:lnTo>
                    <a:pt x="3374" y="4876"/>
                  </a:lnTo>
                  <a:lnTo>
                    <a:pt x="3372" y="4874"/>
                  </a:lnTo>
                  <a:lnTo>
                    <a:pt x="3368" y="4874"/>
                  </a:lnTo>
                  <a:lnTo>
                    <a:pt x="3364" y="4876"/>
                  </a:lnTo>
                  <a:close/>
                  <a:moveTo>
                    <a:pt x="3374" y="5022"/>
                  </a:moveTo>
                  <a:lnTo>
                    <a:pt x="3374" y="5022"/>
                  </a:lnTo>
                  <a:lnTo>
                    <a:pt x="3378" y="5024"/>
                  </a:lnTo>
                  <a:lnTo>
                    <a:pt x="3384" y="5022"/>
                  </a:lnTo>
                  <a:lnTo>
                    <a:pt x="3388" y="5018"/>
                  </a:lnTo>
                  <a:lnTo>
                    <a:pt x="3390" y="5012"/>
                  </a:lnTo>
                  <a:lnTo>
                    <a:pt x="3390" y="5010"/>
                  </a:lnTo>
                  <a:lnTo>
                    <a:pt x="3388" y="5010"/>
                  </a:lnTo>
                  <a:lnTo>
                    <a:pt x="3382" y="5012"/>
                  </a:lnTo>
                  <a:lnTo>
                    <a:pt x="3376" y="5018"/>
                  </a:lnTo>
                  <a:lnTo>
                    <a:pt x="3374" y="5020"/>
                  </a:lnTo>
                  <a:lnTo>
                    <a:pt x="3374" y="5022"/>
                  </a:lnTo>
                  <a:close/>
                  <a:moveTo>
                    <a:pt x="3412" y="3200"/>
                  </a:moveTo>
                  <a:lnTo>
                    <a:pt x="3412" y="3200"/>
                  </a:lnTo>
                  <a:lnTo>
                    <a:pt x="3408" y="3200"/>
                  </a:lnTo>
                  <a:lnTo>
                    <a:pt x="3406" y="3202"/>
                  </a:lnTo>
                  <a:lnTo>
                    <a:pt x="3404" y="3206"/>
                  </a:lnTo>
                  <a:lnTo>
                    <a:pt x="3406" y="3208"/>
                  </a:lnTo>
                  <a:lnTo>
                    <a:pt x="3408" y="3208"/>
                  </a:lnTo>
                  <a:lnTo>
                    <a:pt x="3414" y="3206"/>
                  </a:lnTo>
                  <a:lnTo>
                    <a:pt x="3416" y="3204"/>
                  </a:lnTo>
                  <a:lnTo>
                    <a:pt x="3416" y="3202"/>
                  </a:lnTo>
                  <a:lnTo>
                    <a:pt x="3412" y="3200"/>
                  </a:lnTo>
                  <a:close/>
                  <a:moveTo>
                    <a:pt x="3402" y="3084"/>
                  </a:moveTo>
                  <a:lnTo>
                    <a:pt x="3402" y="3084"/>
                  </a:lnTo>
                  <a:lnTo>
                    <a:pt x="3400" y="3088"/>
                  </a:lnTo>
                  <a:lnTo>
                    <a:pt x="3398" y="3092"/>
                  </a:lnTo>
                  <a:lnTo>
                    <a:pt x="3400" y="3096"/>
                  </a:lnTo>
                  <a:lnTo>
                    <a:pt x="3402" y="3098"/>
                  </a:lnTo>
                  <a:lnTo>
                    <a:pt x="3404" y="3096"/>
                  </a:lnTo>
                  <a:lnTo>
                    <a:pt x="3406" y="3092"/>
                  </a:lnTo>
                  <a:lnTo>
                    <a:pt x="3406" y="3088"/>
                  </a:lnTo>
                  <a:lnTo>
                    <a:pt x="3406" y="3084"/>
                  </a:lnTo>
                  <a:lnTo>
                    <a:pt x="3404" y="3084"/>
                  </a:lnTo>
                  <a:lnTo>
                    <a:pt x="3402" y="3084"/>
                  </a:lnTo>
                  <a:close/>
                  <a:moveTo>
                    <a:pt x="3416" y="3464"/>
                  </a:moveTo>
                  <a:lnTo>
                    <a:pt x="3416" y="3464"/>
                  </a:lnTo>
                  <a:lnTo>
                    <a:pt x="3420" y="3466"/>
                  </a:lnTo>
                  <a:lnTo>
                    <a:pt x="3422" y="3464"/>
                  </a:lnTo>
                  <a:lnTo>
                    <a:pt x="3422" y="3460"/>
                  </a:lnTo>
                  <a:lnTo>
                    <a:pt x="3420" y="3454"/>
                  </a:lnTo>
                  <a:lnTo>
                    <a:pt x="3418" y="3452"/>
                  </a:lnTo>
                  <a:lnTo>
                    <a:pt x="3416" y="3454"/>
                  </a:lnTo>
                  <a:lnTo>
                    <a:pt x="3414" y="3458"/>
                  </a:lnTo>
                  <a:lnTo>
                    <a:pt x="3416" y="3464"/>
                  </a:lnTo>
                  <a:close/>
                  <a:moveTo>
                    <a:pt x="2806" y="3776"/>
                  </a:moveTo>
                  <a:lnTo>
                    <a:pt x="2806" y="3776"/>
                  </a:lnTo>
                  <a:lnTo>
                    <a:pt x="2810" y="3778"/>
                  </a:lnTo>
                  <a:lnTo>
                    <a:pt x="2814" y="3778"/>
                  </a:lnTo>
                  <a:lnTo>
                    <a:pt x="2816" y="3776"/>
                  </a:lnTo>
                  <a:lnTo>
                    <a:pt x="2818" y="3774"/>
                  </a:lnTo>
                  <a:lnTo>
                    <a:pt x="2820" y="3768"/>
                  </a:lnTo>
                  <a:lnTo>
                    <a:pt x="2818" y="3762"/>
                  </a:lnTo>
                  <a:lnTo>
                    <a:pt x="2820" y="3758"/>
                  </a:lnTo>
                  <a:lnTo>
                    <a:pt x="2820" y="3754"/>
                  </a:lnTo>
                  <a:lnTo>
                    <a:pt x="2820" y="3752"/>
                  </a:lnTo>
                  <a:lnTo>
                    <a:pt x="2818" y="3752"/>
                  </a:lnTo>
                  <a:lnTo>
                    <a:pt x="2814" y="3752"/>
                  </a:lnTo>
                  <a:lnTo>
                    <a:pt x="2812" y="3752"/>
                  </a:lnTo>
                  <a:lnTo>
                    <a:pt x="2814" y="3752"/>
                  </a:lnTo>
                  <a:lnTo>
                    <a:pt x="2814" y="3750"/>
                  </a:lnTo>
                  <a:lnTo>
                    <a:pt x="2812" y="3748"/>
                  </a:lnTo>
                  <a:lnTo>
                    <a:pt x="2810" y="3750"/>
                  </a:lnTo>
                  <a:lnTo>
                    <a:pt x="2808" y="3752"/>
                  </a:lnTo>
                  <a:lnTo>
                    <a:pt x="2808" y="3756"/>
                  </a:lnTo>
                  <a:lnTo>
                    <a:pt x="2806" y="3758"/>
                  </a:lnTo>
                  <a:lnTo>
                    <a:pt x="2802" y="3760"/>
                  </a:lnTo>
                  <a:lnTo>
                    <a:pt x="2802" y="3766"/>
                  </a:lnTo>
                  <a:lnTo>
                    <a:pt x="2802" y="3774"/>
                  </a:lnTo>
                  <a:lnTo>
                    <a:pt x="2800" y="3774"/>
                  </a:lnTo>
                  <a:lnTo>
                    <a:pt x="2802" y="3774"/>
                  </a:lnTo>
                  <a:lnTo>
                    <a:pt x="2804" y="3774"/>
                  </a:lnTo>
                  <a:lnTo>
                    <a:pt x="2806" y="3776"/>
                  </a:lnTo>
                  <a:close/>
                  <a:moveTo>
                    <a:pt x="3380" y="3090"/>
                  </a:moveTo>
                  <a:lnTo>
                    <a:pt x="3380" y="3090"/>
                  </a:lnTo>
                  <a:lnTo>
                    <a:pt x="3378" y="3088"/>
                  </a:lnTo>
                  <a:lnTo>
                    <a:pt x="3376" y="3086"/>
                  </a:lnTo>
                  <a:lnTo>
                    <a:pt x="3372" y="3088"/>
                  </a:lnTo>
                  <a:lnTo>
                    <a:pt x="3370" y="3090"/>
                  </a:lnTo>
                  <a:lnTo>
                    <a:pt x="3370" y="3092"/>
                  </a:lnTo>
                  <a:lnTo>
                    <a:pt x="3376" y="3096"/>
                  </a:lnTo>
                  <a:lnTo>
                    <a:pt x="3378" y="3096"/>
                  </a:lnTo>
                  <a:lnTo>
                    <a:pt x="3380" y="3096"/>
                  </a:lnTo>
                  <a:lnTo>
                    <a:pt x="3380" y="3090"/>
                  </a:lnTo>
                  <a:close/>
                  <a:moveTo>
                    <a:pt x="3918" y="2740"/>
                  </a:moveTo>
                  <a:lnTo>
                    <a:pt x="3918" y="2740"/>
                  </a:lnTo>
                  <a:lnTo>
                    <a:pt x="3918" y="2736"/>
                  </a:lnTo>
                  <a:lnTo>
                    <a:pt x="3918" y="2734"/>
                  </a:lnTo>
                  <a:lnTo>
                    <a:pt x="3914" y="2732"/>
                  </a:lnTo>
                  <a:lnTo>
                    <a:pt x="3908" y="2730"/>
                  </a:lnTo>
                  <a:lnTo>
                    <a:pt x="3902" y="2728"/>
                  </a:lnTo>
                  <a:lnTo>
                    <a:pt x="3900" y="2726"/>
                  </a:lnTo>
                  <a:lnTo>
                    <a:pt x="3898" y="2728"/>
                  </a:lnTo>
                  <a:lnTo>
                    <a:pt x="3894" y="2736"/>
                  </a:lnTo>
                  <a:lnTo>
                    <a:pt x="3894" y="2740"/>
                  </a:lnTo>
                  <a:lnTo>
                    <a:pt x="3894" y="2744"/>
                  </a:lnTo>
                  <a:lnTo>
                    <a:pt x="3898" y="2746"/>
                  </a:lnTo>
                  <a:lnTo>
                    <a:pt x="3902" y="2744"/>
                  </a:lnTo>
                  <a:lnTo>
                    <a:pt x="3906" y="2744"/>
                  </a:lnTo>
                  <a:lnTo>
                    <a:pt x="3910" y="2746"/>
                  </a:lnTo>
                  <a:lnTo>
                    <a:pt x="3910" y="2748"/>
                  </a:lnTo>
                  <a:lnTo>
                    <a:pt x="3912" y="2752"/>
                  </a:lnTo>
                  <a:lnTo>
                    <a:pt x="3908" y="2760"/>
                  </a:lnTo>
                  <a:lnTo>
                    <a:pt x="3906" y="2762"/>
                  </a:lnTo>
                  <a:lnTo>
                    <a:pt x="3904" y="2760"/>
                  </a:lnTo>
                  <a:lnTo>
                    <a:pt x="3900" y="2758"/>
                  </a:lnTo>
                  <a:lnTo>
                    <a:pt x="3898" y="2760"/>
                  </a:lnTo>
                  <a:lnTo>
                    <a:pt x="3894" y="2762"/>
                  </a:lnTo>
                  <a:lnTo>
                    <a:pt x="3890" y="2764"/>
                  </a:lnTo>
                  <a:lnTo>
                    <a:pt x="3888" y="2762"/>
                  </a:lnTo>
                  <a:lnTo>
                    <a:pt x="3888" y="2756"/>
                  </a:lnTo>
                  <a:lnTo>
                    <a:pt x="3886" y="2746"/>
                  </a:lnTo>
                  <a:lnTo>
                    <a:pt x="3884" y="2742"/>
                  </a:lnTo>
                  <a:lnTo>
                    <a:pt x="3880" y="2740"/>
                  </a:lnTo>
                  <a:lnTo>
                    <a:pt x="3878" y="2742"/>
                  </a:lnTo>
                  <a:lnTo>
                    <a:pt x="3876" y="2744"/>
                  </a:lnTo>
                  <a:lnTo>
                    <a:pt x="3874" y="2750"/>
                  </a:lnTo>
                  <a:lnTo>
                    <a:pt x="3874" y="2758"/>
                  </a:lnTo>
                  <a:lnTo>
                    <a:pt x="3872" y="2764"/>
                  </a:lnTo>
                  <a:lnTo>
                    <a:pt x="3870" y="2768"/>
                  </a:lnTo>
                  <a:lnTo>
                    <a:pt x="3866" y="2768"/>
                  </a:lnTo>
                  <a:lnTo>
                    <a:pt x="3862" y="2770"/>
                  </a:lnTo>
                  <a:lnTo>
                    <a:pt x="3858" y="2770"/>
                  </a:lnTo>
                  <a:lnTo>
                    <a:pt x="3856" y="2772"/>
                  </a:lnTo>
                  <a:lnTo>
                    <a:pt x="3856" y="2776"/>
                  </a:lnTo>
                  <a:lnTo>
                    <a:pt x="3856" y="2786"/>
                  </a:lnTo>
                  <a:lnTo>
                    <a:pt x="3858" y="2796"/>
                  </a:lnTo>
                  <a:lnTo>
                    <a:pt x="3860" y="2802"/>
                  </a:lnTo>
                  <a:lnTo>
                    <a:pt x="3858" y="2806"/>
                  </a:lnTo>
                  <a:lnTo>
                    <a:pt x="3856" y="2808"/>
                  </a:lnTo>
                  <a:lnTo>
                    <a:pt x="3852" y="2810"/>
                  </a:lnTo>
                  <a:lnTo>
                    <a:pt x="3850" y="2812"/>
                  </a:lnTo>
                  <a:lnTo>
                    <a:pt x="3850" y="2814"/>
                  </a:lnTo>
                  <a:lnTo>
                    <a:pt x="3850" y="2816"/>
                  </a:lnTo>
                  <a:lnTo>
                    <a:pt x="3852" y="2818"/>
                  </a:lnTo>
                  <a:lnTo>
                    <a:pt x="3854" y="2818"/>
                  </a:lnTo>
                  <a:lnTo>
                    <a:pt x="3858" y="2820"/>
                  </a:lnTo>
                  <a:lnTo>
                    <a:pt x="3860" y="2824"/>
                  </a:lnTo>
                  <a:lnTo>
                    <a:pt x="3860" y="2832"/>
                  </a:lnTo>
                  <a:lnTo>
                    <a:pt x="3858" y="2846"/>
                  </a:lnTo>
                  <a:lnTo>
                    <a:pt x="3854" y="2866"/>
                  </a:lnTo>
                  <a:lnTo>
                    <a:pt x="3850" y="2884"/>
                  </a:lnTo>
                  <a:lnTo>
                    <a:pt x="3844" y="2896"/>
                  </a:lnTo>
                  <a:lnTo>
                    <a:pt x="3840" y="2904"/>
                  </a:lnTo>
                  <a:lnTo>
                    <a:pt x="3834" y="2912"/>
                  </a:lnTo>
                  <a:lnTo>
                    <a:pt x="3822" y="2926"/>
                  </a:lnTo>
                  <a:lnTo>
                    <a:pt x="3808" y="2942"/>
                  </a:lnTo>
                  <a:lnTo>
                    <a:pt x="3802" y="2952"/>
                  </a:lnTo>
                  <a:lnTo>
                    <a:pt x="3794" y="2960"/>
                  </a:lnTo>
                  <a:lnTo>
                    <a:pt x="3788" y="2964"/>
                  </a:lnTo>
                  <a:lnTo>
                    <a:pt x="3782" y="2968"/>
                  </a:lnTo>
                  <a:lnTo>
                    <a:pt x="3768" y="2974"/>
                  </a:lnTo>
                  <a:lnTo>
                    <a:pt x="3760" y="2978"/>
                  </a:lnTo>
                  <a:lnTo>
                    <a:pt x="3752" y="2984"/>
                  </a:lnTo>
                  <a:lnTo>
                    <a:pt x="3742" y="2990"/>
                  </a:lnTo>
                  <a:lnTo>
                    <a:pt x="3742" y="2988"/>
                  </a:lnTo>
                  <a:lnTo>
                    <a:pt x="3742" y="2986"/>
                  </a:lnTo>
                  <a:lnTo>
                    <a:pt x="3744" y="2978"/>
                  </a:lnTo>
                  <a:lnTo>
                    <a:pt x="3744" y="2974"/>
                  </a:lnTo>
                  <a:lnTo>
                    <a:pt x="3740" y="2970"/>
                  </a:lnTo>
                  <a:lnTo>
                    <a:pt x="3740" y="2968"/>
                  </a:lnTo>
                  <a:lnTo>
                    <a:pt x="3740" y="2966"/>
                  </a:lnTo>
                  <a:lnTo>
                    <a:pt x="3748" y="2960"/>
                  </a:lnTo>
                  <a:lnTo>
                    <a:pt x="3754" y="2952"/>
                  </a:lnTo>
                  <a:lnTo>
                    <a:pt x="3756" y="2948"/>
                  </a:lnTo>
                  <a:lnTo>
                    <a:pt x="3754" y="2944"/>
                  </a:lnTo>
                  <a:lnTo>
                    <a:pt x="3752" y="2944"/>
                  </a:lnTo>
                  <a:lnTo>
                    <a:pt x="3748" y="2944"/>
                  </a:lnTo>
                  <a:lnTo>
                    <a:pt x="3738" y="2948"/>
                  </a:lnTo>
                  <a:lnTo>
                    <a:pt x="3734" y="2952"/>
                  </a:lnTo>
                  <a:lnTo>
                    <a:pt x="3730" y="2956"/>
                  </a:lnTo>
                  <a:lnTo>
                    <a:pt x="3728" y="2962"/>
                  </a:lnTo>
                  <a:lnTo>
                    <a:pt x="3730" y="2966"/>
                  </a:lnTo>
                  <a:lnTo>
                    <a:pt x="3730" y="2976"/>
                  </a:lnTo>
                  <a:lnTo>
                    <a:pt x="3728" y="2986"/>
                  </a:lnTo>
                  <a:lnTo>
                    <a:pt x="3722" y="2996"/>
                  </a:lnTo>
                  <a:lnTo>
                    <a:pt x="3716" y="3006"/>
                  </a:lnTo>
                  <a:lnTo>
                    <a:pt x="3704" y="3022"/>
                  </a:lnTo>
                  <a:lnTo>
                    <a:pt x="3700" y="3026"/>
                  </a:lnTo>
                  <a:lnTo>
                    <a:pt x="3698" y="3030"/>
                  </a:lnTo>
                  <a:lnTo>
                    <a:pt x="3700" y="3036"/>
                  </a:lnTo>
                  <a:lnTo>
                    <a:pt x="3700" y="3044"/>
                  </a:lnTo>
                  <a:lnTo>
                    <a:pt x="3698" y="3046"/>
                  </a:lnTo>
                  <a:lnTo>
                    <a:pt x="3694" y="3050"/>
                  </a:lnTo>
                  <a:lnTo>
                    <a:pt x="3690" y="3052"/>
                  </a:lnTo>
                  <a:lnTo>
                    <a:pt x="3682" y="3054"/>
                  </a:lnTo>
                  <a:lnTo>
                    <a:pt x="3676" y="3054"/>
                  </a:lnTo>
                  <a:lnTo>
                    <a:pt x="3672" y="3052"/>
                  </a:lnTo>
                  <a:lnTo>
                    <a:pt x="3672" y="3048"/>
                  </a:lnTo>
                  <a:lnTo>
                    <a:pt x="3674" y="3044"/>
                  </a:lnTo>
                  <a:lnTo>
                    <a:pt x="3672" y="3042"/>
                  </a:lnTo>
                  <a:lnTo>
                    <a:pt x="3668" y="3040"/>
                  </a:lnTo>
                  <a:lnTo>
                    <a:pt x="3662" y="3042"/>
                  </a:lnTo>
                  <a:lnTo>
                    <a:pt x="3652" y="3044"/>
                  </a:lnTo>
                  <a:lnTo>
                    <a:pt x="3626" y="3052"/>
                  </a:lnTo>
                  <a:lnTo>
                    <a:pt x="3614" y="3056"/>
                  </a:lnTo>
                  <a:lnTo>
                    <a:pt x="3602" y="3058"/>
                  </a:lnTo>
                  <a:lnTo>
                    <a:pt x="3594" y="3058"/>
                  </a:lnTo>
                  <a:lnTo>
                    <a:pt x="3592" y="3056"/>
                  </a:lnTo>
                  <a:lnTo>
                    <a:pt x="3590" y="3054"/>
                  </a:lnTo>
                  <a:lnTo>
                    <a:pt x="3588" y="3050"/>
                  </a:lnTo>
                  <a:lnTo>
                    <a:pt x="3584" y="3050"/>
                  </a:lnTo>
                  <a:lnTo>
                    <a:pt x="3580" y="3050"/>
                  </a:lnTo>
                  <a:lnTo>
                    <a:pt x="3574" y="3052"/>
                  </a:lnTo>
                  <a:lnTo>
                    <a:pt x="3562" y="3062"/>
                  </a:lnTo>
                  <a:lnTo>
                    <a:pt x="3548" y="3080"/>
                  </a:lnTo>
                  <a:lnTo>
                    <a:pt x="3542" y="3088"/>
                  </a:lnTo>
                  <a:lnTo>
                    <a:pt x="3536" y="3092"/>
                  </a:lnTo>
                  <a:lnTo>
                    <a:pt x="3530" y="3096"/>
                  </a:lnTo>
                  <a:lnTo>
                    <a:pt x="3524" y="3098"/>
                  </a:lnTo>
                  <a:lnTo>
                    <a:pt x="3518" y="3106"/>
                  </a:lnTo>
                  <a:lnTo>
                    <a:pt x="3514" y="3112"/>
                  </a:lnTo>
                  <a:lnTo>
                    <a:pt x="3510" y="3114"/>
                  </a:lnTo>
                  <a:lnTo>
                    <a:pt x="3502" y="3114"/>
                  </a:lnTo>
                  <a:lnTo>
                    <a:pt x="3500" y="3116"/>
                  </a:lnTo>
                  <a:lnTo>
                    <a:pt x="3498" y="3116"/>
                  </a:lnTo>
                  <a:lnTo>
                    <a:pt x="3496" y="3120"/>
                  </a:lnTo>
                  <a:lnTo>
                    <a:pt x="3496" y="3126"/>
                  </a:lnTo>
                  <a:lnTo>
                    <a:pt x="3496" y="3132"/>
                  </a:lnTo>
                  <a:lnTo>
                    <a:pt x="3500" y="3136"/>
                  </a:lnTo>
                  <a:lnTo>
                    <a:pt x="3504" y="3136"/>
                  </a:lnTo>
                  <a:lnTo>
                    <a:pt x="3508" y="3136"/>
                  </a:lnTo>
                  <a:lnTo>
                    <a:pt x="3522" y="3134"/>
                  </a:lnTo>
                  <a:lnTo>
                    <a:pt x="3528" y="3134"/>
                  </a:lnTo>
                  <a:lnTo>
                    <a:pt x="3536" y="3138"/>
                  </a:lnTo>
                  <a:lnTo>
                    <a:pt x="3542" y="3140"/>
                  </a:lnTo>
                  <a:lnTo>
                    <a:pt x="3544" y="3140"/>
                  </a:lnTo>
                  <a:lnTo>
                    <a:pt x="3546" y="3138"/>
                  </a:lnTo>
                  <a:lnTo>
                    <a:pt x="3546" y="3134"/>
                  </a:lnTo>
                  <a:lnTo>
                    <a:pt x="3546" y="3124"/>
                  </a:lnTo>
                  <a:lnTo>
                    <a:pt x="3548" y="3120"/>
                  </a:lnTo>
                  <a:lnTo>
                    <a:pt x="3550" y="3118"/>
                  </a:lnTo>
                  <a:lnTo>
                    <a:pt x="3556" y="3116"/>
                  </a:lnTo>
                  <a:lnTo>
                    <a:pt x="3558" y="3118"/>
                  </a:lnTo>
                  <a:lnTo>
                    <a:pt x="3562" y="3120"/>
                  </a:lnTo>
                  <a:lnTo>
                    <a:pt x="3570" y="3120"/>
                  </a:lnTo>
                  <a:lnTo>
                    <a:pt x="3596" y="3116"/>
                  </a:lnTo>
                  <a:lnTo>
                    <a:pt x="3620" y="3108"/>
                  </a:lnTo>
                  <a:lnTo>
                    <a:pt x="3626" y="3104"/>
                  </a:lnTo>
                  <a:lnTo>
                    <a:pt x="3630" y="3102"/>
                  </a:lnTo>
                  <a:lnTo>
                    <a:pt x="3632" y="3098"/>
                  </a:lnTo>
                  <a:lnTo>
                    <a:pt x="3632" y="3096"/>
                  </a:lnTo>
                  <a:lnTo>
                    <a:pt x="3636" y="3096"/>
                  </a:lnTo>
                  <a:lnTo>
                    <a:pt x="3648" y="3098"/>
                  </a:lnTo>
                  <a:lnTo>
                    <a:pt x="3656" y="3100"/>
                  </a:lnTo>
                  <a:lnTo>
                    <a:pt x="3662" y="3100"/>
                  </a:lnTo>
                  <a:lnTo>
                    <a:pt x="3670" y="3098"/>
                  </a:lnTo>
                  <a:lnTo>
                    <a:pt x="3674" y="3098"/>
                  </a:lnTo>
                  <a:lnTo>
                    <a:pt x="3676" y="3102"/>
                  </a:lnTo>
                  <a:lnTo>
                    <a:pt x="3678" y="3106"/>
                  </a:lnTo>
                  <a:lnTo>
                    <a:pt x="3676" y="3110"/>
                  </a:lnTo>
                  <a:lnTo>
                    <a:pt x="3672" y="3114"/>
                  </a:lnTo>
                  <a:lnTo>
                    <a:pt x="3666" y="3118"/>
                  </a:lnTo>
                  <a:lnTo>
                    <a:pt x="3666" y="3120"/>
                  </a:lnTo>
                  <a:lnTo>
                    <a:pt x="3666" y="3124"/>
                  </a:lnTo>
                  <a:lnTo>
                    <a:pt x="3666" y="3130"/>
                  </a:lnTo>
                  <a:lnTo>
                    <a:pt x="3664" y="3136"/>
                  </a:lnTo>
                  <a:lnTo>
                    <a:pt x="3664" y="3142"/>
                  </a:lnTo>
                  <a:lnTo>
                    <a:pt x="3664" y="3144"/>
                  </a:lnTo>
                  <a:lnTo>
                    <a:pt x="3668" y="3146"/>
                  </a:lnTo>
                  <a:lnTo>
                    <a:pt x="3674" y="3150"/>
                  </a:lnTo>
                  <a:lnTo>
                    <a:pt x="3674" y="3152"/>
                  </a:lnTo>
                  <a:lnTo>
                    <a:pt x="3676" y="3156"/>
                  </a:lnTo>
                  <a:lnTo>
                    <a:pt x="3684" y="3162"/>
                  </a:lnTo>
                  <a:lnTo>
                    <a:pt x="3684" y="3164"/>
                  </a:lnTo>
                  <a:lnTo>
                    <a:pt x="3688" y="3166"/>
                  </a:lnTo>
                  <a:lnTo>
                    <a:pt x="3692" y="3164"/>
                  </a:lnTo>
                  <a:lnTo>
                    <a:pt x="3696" y="3160"/>
                  </a:lnTo>
                  <a:lnTo>
                    <a:pt x="3700" y="3156"/>
                  </a:lnTo>
                  <a:lnTo>
                    <a:pt x="3716" y="3130"/>
                  </a:lnTo>
                  <a:lnTo>
                    <a:pt x="3720" y="3124"/>
                  </a:lnTo>
                  <a:lnTo>
                    <a:pt x="3724" y="3122"/>
                  </a:lnTo>
                  <a:lnTo>
                    <a:pt x="3734" y="3118"/>
                  </a:lnTo>
                  <a:lnTo>
                    <a:pt x="3738" y="3116"/>
                  </a:lnTo>
                  <a:lnTo>
                    <a:pt x="3738" y="3114"/>
                  </a:lnTo>
                  <a:lnTo>
                    <a:pt x="3736" y="3112"/>
                  </a:lnTo>
                  <a:lnTo>
                    <a:pt x="3730" y="3108"/>
                  </a:lnTo>
                  <a:lnTo>
                    <a:pt x="3724" y="3104"/>
                  </a:lnTo>
                  <a:lnTo>
                    <a:pt x="3722" y="3098"/>
                  </a:lnTo>
                  <a:lnTo>
                    <a:pt x="3722" y="3090"/>
                  </a:lnTo>
                  <a:lnTo>
                    <a:pt x="3724" y="3086"/>
                  </a:lnTo>
                  <a:lnTo>
                    <a:pt x="3728" y="3082"/>
                  </a:lnTo>
                  <a:lnTo>
                    <a:pt x="3732" y="3080"/>
                  </a:lnTo>
                  <a:lnTo>
                    <a:pt x="3734" y="3082"/>
                  </a:lnTo>
                  <a:lnTo>
                    <a:pt x="3734" y="3086"/>
                  </a:lnTo>
                  <a:lnTo>
                    <a:pt x="3736" y="3092"/>
                  </a:lnTo>
                  <a:lnTo>
                    <a:pt x="3738" y="3094"/>
                  </a:lnTo>
                  <a:lnTo>
                    <a:pt x="3742" y="3096"/>
                  </a:lnTo>
                  <a:lnTo>
                    <a:pt x="3746" y="3096"/>
                  </a:lnTo>
                  <a:lnTo>
                    <a:pt x="3750" y="3096"/>
                  </a:lnTo>
                  <a:lnTo>
                    <a:pt x="3746" y="3100"/>
                  </a:lnTo>
                  <a:lnTo>
                    <a:pt x="3742" y="3104"/>
                  </a:lnTo>
                  <a:lnTo>
                    <a:pt x="3750" y="3104"/>
                  </a:lnTo>
                  <a:lnTo>
                    <a:pt x="3762" y="3102"/>
                  </a:lnTo>
                  <a:lnTo>
                    <a:pt x="3774" y="3102"/>
                  </a:lnTo>
                  <a:lnTo>
                    <a:pt x="3782" y="3104"/>
                  </a:lnTo>
                  <a:lnTo>
                    <a:pt x="3786" y="3104"/>
                  </a:lnTo>
                  <a:lnTo>
                    <a:pt x="3788" y="3100"/>
                  </a:lnTo>
                  <a:lnTo>
                    <a:pt x="3792" y="3092"/>
                  </a:lnTo>
                  <a:lnTo>
                    <a:pt x="3800" y="3082"/>
                  </a:lnTo>
                  <a:lnTo>
                    <a:pt x="3806" y="3076"/>
                  </a:lnTo>
                  <a:lnTo>
                    <a:pt x="3810" y="3076"/>
                  </a:lnTo>
                  <a:lnTo>
                    <a:pt x="3810" y="3078"/>
                  </a:lnTo>
                  <a:lnTo>
                    <a:pt x="3812" y="3082"/>
                  </a:lnTo>
                  <a:lnTo>
                    <a:pt x="3810" y="3090"/>
                  </a:lnTo>
                  <a:lnTo>
                    <a:pt x="3810" y="3096"/>
                  </a:lnTo>
                  <a:lnTo>
                    <a:pt x="3810" y="3102"/>
                  </a:lnTo>
                  <a:lnTo>
                    <a:pt x="3812" y="3104"/>
                  </a:lnTo>
                  <a:lnTo>
                    <a:pt x="3814" y="3104"/>
                  </a:lnTo>
                  <a:lnTo>
                    <a:pt x="3820" y="3098"/>
                  </a:lnTo>
                  <a:lnTo>
                    <a:pt x="3824" y="3086"/>
                  </a:lnTo>
                  <a:lnTo>
                    <a:pt x="3826" y="3076"/>
                  </a:lnTo>
                  <a:lnTo>
                    <a:pt x="3828" y="3068"/>
                  </a:lnTo>
                  <a:lnTo>
                    <a:pt x="3830" y="3066"/>
                  </a:lnTo>
                  <a:lnTo>
                    <a:pt x="3834" y="3066"/>
                  </a:lnTo>
                  <a:lnTo>
                    <a:pt x="3842" y="3070"/>
                  </a:lnTo>
                  <a:lnTo>
                    <a:pt x="3848" y="3074"/>
                  </a:lnTo>
                  <a:lnTo>
                    <a:pt x="3848" y="3072"/>
                  </a:lnTo>
                  <a:lnTo>
                    <a:pt x="3848" y="3064"/>
                  </a:lnTo>
                  <a:lnTo>
                    <a:pt x="3848" y="3060"/>
                  </a:lnTo>
                  <a:lnTo>
                    <a:pt x="3850" y="3054"/>
                  </a:lnTo>
                  <a:lnTo>
                    <a:pt x="3852" y="3050"/>
                  </a:lnTo>
                  <a:lnTo>
                    <a:pt x="3856" y="3048"/>
                  </a:lnTo>
                  <a:lnTo>
                    <a:pt x="3862" y="3046"/>
                  </a:lnTo>
                  <a:lnTo>
                    <a:pt x="3864" y="3048"/>
                  </a:lnTo>
                  <a:lnTo>
                    <a:pt x="3864" y="3050"/>
                  </a:lnTo>
                  <a:lnTo>
                    <a:pt x="3864" y="3052"/>
                  </a:lnTo>
                  <a:lnTo>
                    <a:pt x="3862" y="3056"/>
                  </a:lnTo>
                  <a:lnTo>
                    <a:pt x="3858" y="3066"/>
                  </a:lnTo>
                  <a:lnTo>
                    <a:pt x="3854" y="3080"/>
                  </a:lnTo>
                  <a:lnTo>
                    <a:pt x="3854" y="3090"/>
                  </a:lnTo>
                  <a:lnTo>
                    <a:pt x="3856" y="3090"/>
                  </a:lnTo>
                  <a:lnTo>
                    <a:pt x="3860" y="3086"/>
                  </a:lnTo>
                  <a:lnTo>
                    <a:pt x="3864" y="3080"/>
                  </a:lnTo>
                  <a:lnTo>
                    <a:pt x="3866" y="3078"/>
                  </a:lnTo>
                  <a:lnTo>
                    <a:pt x="3872" y="3076"/>
                  </a:lnTo>
                  <a:lnTo>
                    <a:pt x="3874" y="3076"/>
                  </a:lnTo>
                  <a:lnTo>
                    <a:pt x="3876" y="3072"/>
                  </a:lnTo>
                  <a:lnTo>
                    <a:pt x="3878" y="3060"/>
                  </a:lnTo>
                  <a:lnTo>
                    <a:pt x="3880" y="3052"/>
                  </a:lnTo>
                  <a:lnTo>
                    <a:pt x="3886" y="3048"/>
                  </a:lnTo>
                  <a:lnTo>
                    <a:pt x="3890" y="3048"/>
                  </a:lnTo>
                  <a:lnTo>
                    <a:pt x="3894" y="3048"/>
                  </a:lnTo>
                  <a:lnTo>
                    <a:pt x="3898" y="3048"/>
                  </a:lnTo>
                  <a:lnTo>
                    <a:pt x="3900" y="3046"/>
                  </a:lnTo>
                  <a:lnTo>
                    <a:pt x="3898" y="3042"/>
                  </a:lnTo>
                  <a:lnTo>
                    <a:pt x="3892" y="3034"/>
                  </a:lnTo>
                  <a:lnTo>
                    <a:pt x="3888" y="3028"/>
                  </a:lnTo>
                  <a:lnTo>
                    <a:pt x="3886" y="3022"/>
                  </a:lnTo>
                  <a:lnTo>
                    <a:pt x="3884" y="3010"/>
                  </a:lnTo>
                  <a:lnTo>
                    <a:pt x="3886" y="3000"/>
                  </a:lnTo>
                  <a:lnTo>
                    <a:pt x="3892" y="2988"/>
                  </a:lnTo>
                  <a:lnTo>
                    <a:pt x="3896" y="2978"/>
                  </a:lnTo>
                  <a:lnTo>
                    <a:pt x="3902" y="2966"/>
                  </a:lnTo>
                  <a:lnTo>
                    <a:pt x="3902" y="2952"/>
                  </a:lnTo>
                  <a:lnTo>
                    <a:pt x="3900" y="2938"/>
                  </a:lnTo>
                  <a:lnTo>
                    <a:pt x="3898" y="2928"/>
                  </a:lnTo>
                  <a:lnTo>
                    <a:pt x="3898" y="2920"/>
                  </a:lnTo>
                  <a:lnTo>
                    <a:pt x="3898" y="2912"/>
                  </a:lnTo>
                  <a:lnTo>
                    <a:pt x="3900" y="2906"/>
                  </a:lnTo>
                  <a:lnTo>
                    <a:pt x="3904" y="2902"/>
                  </a:lnTo>
                  <a:lnTo>
                    <a:pt x="3908" y="2900"/>
                  </a:lnTo>
                  <a:lnTo>
                    <a:pt x="3912" y="2900"/>
                  </a:lnTo>
                  <a:lnTo>
                    <a:pt x="3918" y="2902"/>
                  </a:lnTo>
                  <a:lnTo>
                    <a:pt x="3922" y="2906"/>
                  </a:lnTo>
                  <a:lnTo>
                    <a:pt x="3924" y="2906"/>
                  </a:lnTo>
                  <a:lnTo>
                    <a:pt x="3924" y="2898"/>
                  </a:lnTo>
                  <a:lnTo>
                    <a:pt x="3924" y="2884"/>
                  </a:lnTo>
                  <a:lnTo>
                    <a:pt x="3926" y="2876"/>
                  </a:lnTo>
                  <a:lnTo>
                    <a:pt x="3930" y="2868"/>
                  </a:lnTo>
                  <a:lnTo>
                    <a:pt x="3936" y="2860"/>
                  </a:lnTo>
                  <a:lnTo>
                    <a:pt x="3940" y="2850"/>
                  </a:lnTo>
                  <a:lnTo>
                    <a:pt x="3942" y="2840"/>
                  </a:lnTo>
                  <a:lnTo>
                    <a:pt x="3944" y="2830"/>
                  </a:lnTo>
                  <a:lnTo>
                    <a:pt x="3942" y="2820"/>
                  </a:lnTo>
                  <a:lnTo>
                    <a:pt x="3940" y="2810"/>
                  </a:lnTo>
                  <a:lnTo>
                    <a:pt x="3936" y="2802"/>
                  </a:lnTo>
                  <a:lnTo>
                    <a:pt x="3932" y="2794"/>
                  </a:lnTo>
                  <a:lnTo>
                    <a:pt x="3926" y="2788"/>
                  </a:lnTo>
                  <a:lnTo>
                    <a:pt x="3922" y="2780"/>
                  </a:lnTo>
                  <a:lnTo>
                    <a:pt x="3918" y="2766"/>
                  </a:lnTo>
                  <a:lnTo>
                    <a:pt x="3918" y="2752"/>
                  </a:lnTo>
                  <a:lnTo>
                    <a:pt x="3918" y="2740"/>
                  </a:lnTo>
                  <a:close/>
                  <a:moveTo>
                    <a:pt x="3276" y="3612"/>
                  </a:moveTo>
                  <a:lnTo>
                    <a:pt x="3276" y="3612"/>
                  </a:lnTo>
                  <a:lnTo>
                    <a:pt x="3274" y="3610"/>
                  </a:lnTo>
                  <a:lnTo>
                    <a:pt x="3270" y="3612"/>
                  </a:lnTo>
                  <a:lnTo>
                    <a:pt x="3268" y="3614"/>
                  </a:lnTo>
                  <a:lnTo>
                    <a:pt x="3268" y="3618"/>
                  </a:lnTo>
                  <a:lnTo>
                    <a:pt x="3272" y="3618"/>
                  </a:lnTo>
                  <a:lnTo>
                    <a:pt x="3274" y="3618"/>
                  </a:lnTo>
                  <a:lnTo>
                    <a:pt x="3276" y="3614"/>
                  </a:lnTo>
                  <a:lnTo>
                    <a:pt x="3276" y="3612"/>
                  </a:lnTo>
                  <a:close/>
                  <a:moveTo>
                    <a:pt x="3322" y="3130"/>
                  </a:moveTo>
                  <a:lnTo>
                    <a:pt x="3322" y="3130"/>
                  </a:lnTo>
                  <a:lnTo>
                    <a:pt x="3324" y="3128"/>
                  </a:lnTo>
                  <a:lnTo>
                    <a:pt x="3322" y="3126"/>
                  </a:lnTo>
                  <a:lnTo>
                    <a:pt x="3318" y="3126"/>
                  </a:lnTo>
                  <a:lnTo>
                    <a:pt x="3316" y="3128"/>
                  </a:lnTo>
                  <a:lnTo>
                    <a:pt x="3318" y="3130"/>
                  </a:lnTo>
                  <a:lnTo>
                    <a:pt x="3320" y="3130"/>
                  </a:lnTo>
                  <a:lnTo>
                    <a:pt x="3322" y="3130"/>
                  </a:lnTo>
                  <a:close/>
                  <a:moveTo>
                    <a:pt x="3302" y="3176"/>
                  </a:moveTo>
                  <a:lnTo>
                    <a:pt x="3302" y="3176"/>
                  </a:lnTo>
                  <a:lnTo>
                    <a:pt x="3304" y="3178"/>
                  </a:lnTo>
                  <a:lnTo>
                    <a:pt x="3310" y="3178"/>
                  </a:lnTo>
                  <a:lnTo>
                    <a:pt x="3320" y="3176"/>
                  </a:lnTo>
                  <a:lnTo>
                    <a:pt x="3330" y="3170"/>
                  </a:lnTo>
                  <a:lnTo>
                    <a:pt x="3334" y="3166"/>
                  </a:lnTo>
                  <a:lnTo>
                    <a:pt x="3334" y="3162"/>
                  </a:lnTo>
                  <a:lnTo>
                    <a:pt x="3332" y="3158"/>
                  </a:lnTo>
                  <a:lnTo>
                    <a:pt x="3326" y="3158"/>
                  </a:lnTo>
                  <a:lnTo>
                    <a:pt x="3322" y="3158"/>
                  </a:lnTo>
                  <a:lnTo>
                    <a:pt x="3314" y="3160"/>
                  </a:lnTo>
                  <a:lnTo>
                    <a:pt x="3310" y="3164"/>
                  </a:lnTo>
                  <a:lnTo>
                    <a:pt x="3304" y="3166"/>
                  </a:lnTo>
                  <a:lnTo>
                    <a:pt x="3302" y="3172"/>
                  </a:lnTo>
                  <a:lnTo>
                    <a:pt x="3302" y="3176"/>
                  </a:lnTo>
                  <a:close/>
                  <a:moveTo>
                    <a:pt x="3372" y="3542"/>
                  </a:moveTo>
                  <a:lnTo>
                    <a:pt x="3372" y="3542"/>
                  </a:lnTo>
                  <a:lnTo>
                    <a:pt x="3374" y="3538"/>
                  </a:lnTo>
                  <a:lnTo>
                    <a:pt x="3376" y="3534"/>
                  </a:lnTo>
                  <a:lnTo>
                    <a:pt x="3386" y="3520"/>
                  </a:lnTo>
                  <a:lnTo>
                    <a:pt x="3392" y="3512"/>
                  </a:lnTo>
                  <a:lnTo>
                    <a:pt x="3394" y="3508"/>
                  </a:lnTo>
                  <a:lnTo>
                    <a:pt x="3390" y="3508"/>
                  </a:lnTo>
                  <a:lnTo>
                    <a:pt x="3384" y="3512"/>
                  </a:lnTo>
                  <a:lnTo>
                    <a:pt x="3374" y="3522"/>
                  </a:lnTo>
                  <a:lnTo>
                    <a:pt x="3370" y="3528"/>
                  </a:lnTo>
                  <a:lnTo>
                    <a:pt x="3366" y="3538"/>
                  </a:lnTo>
                  <a:lnTo>
                    <a:pt x="3366" y="3544"/>
                  </a:lnTo>
                  <a:lnTo>
                    <a:pt x="3368" y="3546"/>
                  </a:lnTo>
                  <a:lnTo>
                    <a:pt x="3372" y="3544"/>
                  </a:lnTo>
                  <a:lnTo>
                    <a:pt x="3372" y="3542"/>
                  </a:lnTo>
                  <a:close/>
                  <a:moveTo>
                    <a:pt x="3932" y="2136"/>
                  </a:moveTo>
                  <a:lnTo>
                    <a:pt x="3932" y="2136"/>
                  </a:lnTo>
                  <a:lnTo>
                    <a:pt x="3930" y="2138"/>
                  </a:lnTo>
                  <a:lnTo>
                    <a:pt x="3932" y="2138"/>
                  </a:lnTo>
                  <a:lnTo>
                    <a:pt x="3936" y="2142"/>
                  </a:lnTo>
                  <a:lnTo>
                    <a:pt x="3942" y="2150"/>
                  </a:lnTo>
                  <a:lnTo>
                    <a:pt x="3950" y="2162"/>
                  </a:lnTo>
                  <a:lnTo>
                    <a:pt x="3952" y="2168"/>
                  </a:lnTo>
                  <a:lnTo>
                    <a:pt x="3952" y="2174"/>
                  </a:lnTo>
                  <a:lnTo>
                    <a:pt x="3948" y="2186"/>
                  </a:lnTo>
                  <a:lnTo>
                    <a:pt x="3944" y="2198"/>
                  </a:lnTo>
                  <a:lnTo>
                    <a:pt x="3944" y="2206"/>
                  </a:lnTo>
                  <a:lnTo>
                    <a:pt x="3946" y="2214"/>
                  </a:lnTo>
                  <a:lnTo>
                    <a:pt x="3948" y="2224"/>
                  </a:lnTo>
                  <a:lnTo>
                    <a:pt x="3948" y="2236"/>
                  </a:lnTo>
                  <a:lnTo>
                    <a:pt x="3948" y="2266"/>
                  </a:lnTo>
                  <a:lnTo>
                    <a:pt x="3944" y="2294"/>
                  </a:lnTo>
                  <a:lnTo>
                    <a:pt x="3940" y="2304"/>
                  </a:lnTo>
                  <a:lnTo>
                    <a:pt x="3938" y="2312"/>
                  </a:lnTo>
                  <a:lnTo>
                    <a:pt x="3936" y="2316"/>
                  </a:lnTo>
                  <a:lnTo>
                    <a:pt x="3938" y="2320"/>
                  </a:lnTo>
                  <a:lnTo>
                    <a:pt x="3944" y="2330"/>
                  </a:lnTo>
                  <a:lnTo>
                    <a:pt x="3946" y="2336"/>
                  </a:lnTo>
                  <a:lnTo>
                    <a:pt x="3948" y="2344"/>
                  </a:lnTo>
                  <a:lnTo>
                    <a:pt x="3946" y="2356"/>
                  </a:lnTo>
                  <a:lnTo>
                    <a:pt x="3942" y="2370"/>
                  </a:lnTo>
                  <a:lnTo>
                    <a:pt x="3940" y="2378"/>
                  </a:lnTo>
                  <a:lnTo>
                    <a:pt x="3940" y="2386"/>
                  </a:lnTo>
                  <a:lnTo>
                    <a:pt x="3942" y="2400"/>
                  </a:lnTo>
                  <a:lnTo>
                    <a:pt x="3944" y="2412"/>
                  </a:lnTo>
                  <a:lnTo>
                    <a:pt x="3944" y="2418"/>
                  </a:lnTo>
                  <a:lnTo>
                    <a:pt x="3940" y="2424"/>
                  </a:lnTo>
                  <a:lnTo>
                    <a:pt x="3936" y="2436"/>
                  </a:lnTo>
                  <a:lnTo>
                    <a:pt x="3934" y="2444"/>
                  </a:lnTo>
                  <a:lnTo>
                    <a:pt x="3936" y="2454"/>
                  </a:lnTo>
                  <a:lnTo>
                    <a:pt x="3938" y="2468"/>
                  </a:lnTo>
                  <a:lnTo>
                    <a:pt x="3942" y="2478"/>
                  </a:lnTo>
                  <a:lnTo>
                    <a:pt x="3944" y="2478"/>
                  </a:lnTo>
                  <a:lnTo>
                    <a:pt x="3946" y="2478"/>
                  </a:lnTo>
                  <a:lnTo>
                    <a:pt x="3950" y="2470"/>
                  </a:lnTo>
                  <a:lnTo>
                    <a:pt x="3954" y="2456"/>
                  </a:lnTo>
                  <a:lnTo>
                    <a:pt x="3958" y="2442"/>
                  </a:lnTo>
                  <a:lnTo>
                    <a:pt x="3962" y="2434"/>
                  </a:lnTo>
                  <a:lnTo>
                    <a:pt x="3966" y="2432"/>
                  </a:lnTo>
                  <a:lnTo>
                    <a:pt x="3968" y="2432"/>
                  </a:lnTo>
                  <a:lnTo>
                    <a:pt x="3972" y="2434"/>
                  </a:lnTo>
                  <a:lnTo>
                    <a:pt x="3976" y="2438"/>
                  </a:lnTo>
                  <a:lnTo>
                    <a:pt x="3980" y="2440"/>
                  </a:lnTo>
                  <a:lnTo>
                    <a:pt x="3984" y="2438"/>
                  </a:lnTo>
                  <a:lnTo>
                    <a:pt x="3990" y="2440"/>
                  </a:lnTo>
                  <a:lnTo>
                    <a:pt x="3994" y="2442"/>
                  </a:lnTo>
                  <a:lnTo>
                    <a:pt x="3996" y="2446"/>
                  </a:lnTo>
                  <a:lnTo>
                    <a:pt x="3998" y="2456"/>
                  </a:lnTo>
                  <a:lnTo>
                    <a:pt x="4000" y="2464"/>
                  </a:lnTo>
                  <a:lnTo>
                    <a:pt x="4000" y="2466"/>
                  </a:lnTo>
                  <a:lnTo>
                    <a:pt x="4002" y="2466"/>
                  </a:lnTo>
                  <a:lnTo>
                    <a:pt x="4006" y="2454"/>
                  </a:lnTo>
                  <a:lnTo>
                    <a:pt x="4006" y="2448"/>
                  </a:lnTo>
                  <a:lnTo>
                    <a:pt x="4004" y="2444"/>
                  </a:lnTo>
                  <a:lnTo>
                    <a:pt x="4002" y="2434"/>
                  </a:lnTo>
                  <a:lnTo>
                    <a:pt x="4002" y="2426"/>
                  </a:lnTo>
                  <a:lnTo>
                    <a:pt x="3998" y="2426"/>
                  </a:lnTo>
                  <a:lnTo>
                    <a:pt x="3992" y="2426"/>
                  </a:lnTo>
                  <a:lnTo>
                    <a:pt x="3990" y="2422"/>
                  </a:lnTo>
                  <a:lnTo>
                    <a:pt x="3986" y="2420"/>
                  </a:lnTo>
                  <a:lnTo>
                    <a:pt x="3984" y="2410"/>
                  </a:lnTo>
                  <a:lnTo>
                    <a:pt x="3980" y="2400"/>
                  </a:lnTo>
                  <a:lnTo>
                    <a:pt x="3976" y="2394"/>
                  </a:lnTo>
                  <a:lnTo>
                    <a:pt x="3972" y="2390"/>
                  </a:lnTo>
                  <a:lnTo>
                    <a:pt x="3966" y="2382"/>
                  </a:lnTo>
                  <a:lnTo>
                    <a:pt x="3964" y="2372"/>
                  </a:lnTo>
                  <a:lnTo>
                    <a:pt x="3964" y="2362"/>
                  </a:lnTo>
                  <a:lnTo>
                    <a:pt x="3964" y="2350"/>
                  </a:lnTo>
                  <a:lnTo>
                    <a:pt x="3970" y="2328"/>
                  </a:lnTo>
                  <a:lnTo>
                    <a:pt x="3978" y="2314"/>
                  </a:lnTo>
                  <a:lnTo>
                    <a:pt x="3980" y="2308"/>
                  </a:lnTo>
                  <a:lnTo>
                    <a:pt x="3982" y="2304"/>
                  </a:lnTo>
                  <a:lnTo>
                    <a:pt x="3982" y="2294"/>
                  </a:lnTo>
                  <a:lnTo>
                    <a:pt x="3984" y="2290"/>
                  </a:lnTo>
                  <a:lnTo>
                    <a:pt x="3984" y="2288"/>
                  </a:lnTo>
                  <a:lnTo>
                    <a:pt x="3988" y="2284"/>
                  </a:lnTo>
                  <a:lnTo>
                    <a:pt x="3994" y="2282"/>
                  </a:lnTo>
                  <a:lnTo>
                    <a:pt x="4004" y="2280"/>
                  </a:lnTo>
                  <a:lnTo>
                    <a:pt x="4014" y="2280"/>
                  </a:lnTo>
                  <a:lnTo>
                    <a:pt x="4026" y="2286"/>
                  </a:lnTo>
                  <a:lnTo>
                    <a:pt x="4036" y="2294"/>
                  </a:lnTo>
                  <a:lnTo>
                    <a:pt x="4048" y="2314"/>
                  </a:lnTo>
                  <a:lnTo>
                    <a:pt x="4052" y="2316"/>
                  </a:lnTo>
                  <a:lnTo>
                    <a:pt x="4052" y="2312"/>
                  </a:lnTo>
                  <a:lnTo>
                    <a:pt x="4048" y="2302"/>
                  </a:lnTo>
                  <a:lnTo>
                    <a:pt x="4040" y="2294"/>
                  </a:lnTo>
                  <a:lnTo>
                    <a:pt x="4034" y="2282"/>
                  </a:lnTo>
                  <a:lnTo>
                    <a:pt x="4032" y="2276"/>
                  </a:lnTo>
                  <a:lnTo>
                    <a:pt x="4030" y="2268"/>
                  </a:lnTo>
                  <a:lnTo>
                    <a:pt x="4026" y="2252"/>
                  </a:lnTo>
                  <a:lnTo>
                    <a:pt x="4020" y="2234"/>
                  </a:lnTo>
                  <a:lnTo>
                    <a:pt x="4012" y="2214"/>
                  </a:lnTo>
                  <a:lnTo>
                    <a:pt x="4010" y="2206"/>
                  </a:lnTo>
                  <a:lnTo>
                    <a:pt x="4010" y="2196"/>
                  </a:lnTo>
                  <a:lnTo>
                    <a:pt x="4008" y="2180"/>
                  </a:lnTo>
                  <a:lnTo>
                    <a:pt x="4004" y="2168"/>
                  </a:lnTo>
                  <a:lnTo>
                    <a:pt x="4002" y="2158"/>
                  </a:lnTo>
                  <a:lnTo>
                    <a:pt x="3998" y="2148"/>
                  </a:lnTo>
                  <a:lnTo>
                    <a:pt x="3998" y="2144"/>
                  </a:lnTo>
                  <a:lnTo>
                    <a:pt x="3994" y="2146"/>
                  </a:lnTo>
                  <a:lnTo>
                    <a:pt x="3992" y="2146"/>
                  </a:lnTo>
                  <a:lnTo>
                    <a:pt x="3992" y="2138"/>
                  </a:lnTo>
                  <a:lnTo>
                    <a:pt x="3994" y="2128"/>
                  </a:lnTo>
                  <a:lnTo>
                    <a:pt x="3992" y="2128"/>
                  </a:lnTo>
                  <a:lnTo>
                    <a:pt x="3990" y="2128"/>
                  </a:lnTo>
                  <a:lnTo>
                    <a:pt x="3988" y="2124"/>
                  </a:lnTo>
                  <a:lnTo>
                    <a:pt x="3988" y="2116"/>
                  </a:lnTo>
                  <a:lnTo>
                    <a:pt x="3988" y="2108"/>
                  </a:lnTo>
                  <a:lnTo>
                    <a:pt x="3992" y="2096"/>
                  </a:lnTo>
                  <a:lnTo>
                    <a:pt x="3994" y="2090"/>
                  </a:lnTo>
                  <a:lnTo>
                    <a:pt x="3996" y="2082"/>
                  </a:lnTo>
                  <a:lnTo>
                    <a:pt x="3996" y="2072"/>
                  </a:lnTo>
                  <a:lnTo>
                    <a:pt x="3994" y="2058"/>
                  </a:lnTo>
                  <a:lnTo>
                    <a:pt x="3990" y="2042"/>
                  </a:lnTo>
                  <a:lnTo>
                    <a:pt x="3988" y="2036"/>
                  </a:lnTo>
                  <a:lnTo>
                    <a:pt x="3986" y="2034"/>
                  </a:lnTo>
                  <a:lnTo>
                    <a:pt x="3988" y="2032"/>
                  </a:lnTo>
                  <a:lnTo>
                    <a:pt x="3988" y="2028"/>
                  </a:lnTo>
                  <a:lnTo>
                    <a:pt x="3986" y="2026"/>
                  </a:lnTo>
                  <a:lnTo>
                    <a:pt x="3984" y="2026"/>
                  </a:lnTo>
                  <a:lnTo>
                    <a:pt x="3982" y="2022"/>
                  </a:lnTo>
                  <a:lnTo>
                    <a:pt x="3982" y="2014"/>
                  </a:lnTo>
                  <a:lnTo>
                    <a:pt x="3978" y="2010"/>
                  </a:lnTo>
                  <a:lnTo>
                    <a:pt x="3978" y="2006"/>
                  </a:lnTo>
                  <a:lnTo>
                    <a:pt x="3980" y="2000"/>
                  </a:lnTo>
                  <a:lnTo>
                    <a:pt x="3984" y="1994"/>
                  </a:lnTo>
                  <a:lnTo>
                    <a:pt x="3982" y="1988"/>
                  </a:lnTo>
                  <a:lnTo>
                    <a:pt x="3978" y="1984"/>
                  </a:lnTo>
                  <a:lnTo>
                    <a:pt x="3974" y="1976"/>
                  </a:lnTo>
                  <a:lnTo>
                    <a:pt x="3970" y="1972"/>
                  </a:lnTo>
                  <a:lnTo>
                    <a:pt x="3970" y="1974"/>
                  </a:lnTo>
                  <a:lnTo>
                    <a:pt x="3966" y="1978"/>
                  </a:lnTo>
                  <a:lnTo>
                    <a:pt x="3962" y="1980"/>
                  </a:lnTo>
                  <a:lnTo>
                    <a:pt x="3958" y="1982"/>
                  </a:lnTo>
                  <a:lnTo>
                    <a:pt x="3954" y="1982"/>
                  </a:lnTo>
                  <a:lnTo>
                    <a:pt x="3954" y="1984"/>
                  </a:lnTo>
                  <a:lnTo>
                    <a:pt x="3960" y="1990"/>
                  </a:lnTo>
                  <a:lnTo>
                    <a:pt x="3966" y="1998"/>
                  </a:lnTo>
                  <a:lnTo>
                    <a:pt x="3968" y="2004"/>
                  </a:lnTo>
                  <a:lnTo>
                    <a:pt x="3970" y="2008"/>
                  </a:lnTo>
                  <a:lnTo>
                    <a:pt x="3966" y="2016"/>
                  </a:lnTo>
                  <a:lnTo>
                    <a:pt x="3964" y="2018"/>
                  </a:lnTo>
                  <a:lnTo>
                    <a:pt x="3962" y="2018"/>
                  </a:lnTo>
                  <a:lnTo>
                    <a:pt x="3960" y="2020"/>
                  </a:lnTo>
                  <a:lnTo>
                    <a:pt x="3960" y="2024"/>
                  </a:lnTo>
                  <a:lnTo>
                    <a:pt x="3962" y="2024"/>
                  </a:lnTo>
                  <a:lnTo>
                    <a:pt x="3964" y="2026"/>
                  </a:lnTo>
                  <a:lnTo>
                    <a:pt x="3966" y="2028"/>
                  </a:lnTo>
                  <a:lnTo>
                    <a:pt x="3966" y="2030"/>
                  </a:lnTo>
                  <a:lnTo>
                    <a:pt x="3962" y="2034"/>
                  </a:lnTo>
                  <a:lnTo>
                    <a:pt x="3958" y="2038"/>
                  </a:lnTo>
                  <a:lnTo>
                    <a:pt x="3954" y="2038"/>
                  </a:lnTo>
                  <a:lnTo>
                    <a:pt x="3954" y="2036"/>
                  </a:lnTo>
                  <a:lnTo>
                    <a:pt x="3952" y="2034"/>
                  </a:lnTo>
                  <a:lnTo>
                    <a:pt x="3952" y="2030"/>
                  </a:lnTo>
                  <a:lnTo>
                    <a:pt x="3950" y="2028"/>
                  </a:lnTo>
                  <a:lnTo>
                    <a:pt x="3946" y="2030"/>
                  </a:lnTo>
                  <a:lnTo>
                    <a:pt x="3940" y="2032"/>
                  </a:lnTo>
                  <a:lnTo>
                    <a:pt x="3936" y="2034"/>
                  </a:lnTo>
                  <a:lnTo>
                    <a:pt x="3932" y="2036"/>
                  </a:lnTo>
                  <a:lnTo>
                    <a:pt x="3934" y="2044"/>
                  </a:lnTo>
                  <a:lnTo>
                    <a:pt x="3936" y="2054"/>
                  </a:lnTo>
                  <a:lnTo>
                    <a:pt x="3938" y="2066"/>
                  </a:lnTo>
                  <a:lnTo>
                    <a:pt x="3936" y="2078"/>
                  </a:lnTo>
                  <a:lnTo>
                    <a:pt x="3930" y="2090"/>
                  </a:lnTo>
                  <a:lnTo>
                    <a:pt x="3928" y="2098"/>
                  </a:lnTo>
                  <a:lnTo>
                    <a:pt x="3928" y="2104"/>
                  </a:lnTo>
                  <a:lnTo>
                    <a:pt x="3930" y="2108"/>
                  </a:lnTo>
                  <a:lnTo>
                    <a:pt x="3928" y="2118"/>
                  </a:lnTo>
                  <a:lnTo>
                    <a:pt x="3926" y="2124"/>
                  </a:lnTo>
                  <a:lnTo>
                    <a:pt x="3928" y="2128"/>
                  </a:lnTo>
                  <a:lnTo>
                    <a:pt x="3930" y="2132"/>
                  </a:lnTo>
                  <a:lnTo>
                    <a:pt x="3934" y="2134"/>
                  </a:lnTo>
                  <a:lnTo>
                    <a:pt x="3934" y="2136"/>
                  </a:lnTo>
                  <a:lnTo>
                    <a:pt x="3932" y="2136"/>
                  </a:lnTo>
                  <a:close/>
                  <a:moveTo>
                    <a:pt x="4070" y="2610"/>
                  </a:moveTo>
                  <a:lnTo>
                    <a:pt x="4070" y="2610"/>
                  </a:lnTo>
                  <a:lnTo>
                    <a:pt x="4068" y="2602"/>
                  </a:lnTo>
                  <a:lnTo>
                    <a:pt x="4068" y="2594"/>
                  </a:lnTo>
                  <a:lnTo>
                    <a:pt x="4070" y="2586"/>
                  </a:lnTo>
                  <a:lnTo>
                    <a:pt x="4072" y="2580"/>
                  </a:lnTo>
                  <a:lnTo>
                    <a:pt x="4078" y="2572"/>
                  </a:lnTo>
                  <a:lnTo>
                    <a:pt x="4078" y="2570"/>
                  </a:lnTo>
                  <a:lnTo>
                    <a:pt x="4076" y="2568"/>
                  </a:lnTo>
                  <a:lnTo>
                    <a:pt x="4072" y="2570"/>
                  </a:lnTo>
                  <a:lnTo>
                    <a:pt x="4068" y="2572"/>
                  </a:lnTo>
                  <a:lnTo>
                    <a:pt x="4062" y="2582"/>
                  </a:lnTo>
                  <a:lnTo>
                    <a:pt x="4054" y="2590"/>
                  </a:lnTo>
                  <a:lnTo>
                    <a:pt x="4050" y="2592"/>
                  </a:lnTo>
                  <a:lnTo>
                    <a:pt x="4044" y="2592"/>
                  </a:lnTo>
                  <a:lnTo>
                    <a:pt x="4040" y="2592"/>
                  </a:lnTo>
                  <a:lnTo>
                    <a:pt x="4038" y="2590"/>
                  </a:lnTo>
                  <a:lnTo>
                    <a:pt x="4036" y="2586"/>
                  </a:lnTo>
                  <a:lnTo>
                    <a:pt x="4034" y="2582"/>
                  </a:lnTo>
                  <a:lnTo>
                    <a:pt x="4032" y="2580"/>
                  </a:lnTo>
                  <a:lnTo>
                    <a:pt x="4028" y="2578"/>
                  </a:lnTo>
                  <a:lnTo>
                    <a:pt x="4022" y="2578"/>
                  </a:lnTo>
                  <a:lnTo>
                    <a:pt x="4012" y="2576"/>
                  </a:lnTo>
                  <a:lnTo>
                    <a:pt x="4004" y="2570"/>
                  </a:lnTo>
                  <a:lnTo>
                    <a:pt x="3994" y="2562"/>
                  </a:lnTo>
                  <a:lnTo>
                    <a:pt x="3984" y="2554"/>
                  </a:lnTo>
                  <a:lnTo>
                    <a:pt x="3966" y="2534"/>
                  </a:lnTo>
                  <a:lnTo>
                    <a:pt x="3952" y="2516"/>
                  </a:lnTo>
                  <a:lnTo>
                    <a:pt x="3946" y="2510"/>
                  </a:lnTo>
                  <a:lnTo>
                    <a:pt x="3940" y="2506"/>
                  </a:lnTo>
                  <a:lnTo>
                    <a:pt x="3934" y="2504"/>
                  </a:lnTo>
                  <a:lnTo>
                    <a:pt x="3930" y="2504"/>
                  </a:lnTo>
                  <a:lnTo>
                    <a:pt x="3926" y="2508"/>
                  </a:lnTo>
                  <a:lnTo>
                    <a:pt x="3924" y="2512"/>
                  </a:lnTo>
                  <a:lnTo>
                    <a:pt x="3924" y="2520"/>
                  </a:lnTo>
                  <a:lnTo>
                    <a:pt x="3928" y="2530"/>
                  </a:lnTo>
                  <a:lnTo>
                    <a:pt x="3932" y="2540"/>
                  </a:lnTo>
                  <a:lnTo>
                    <a:pt x="3932" y="2546"/>
                  </a:lnTo>
                  <a:lnTo>
                    <a:pt x="3932" y="2552"/>
                  </a:lnTo>
                  <a:lnTo>
                    <a:pt x="3930" y="2556"/>
                  </a:lnTo>
                  <a:lnTo>
                    <a:pt x="3928" y="2564"/>
                  </a:lnTo>
                  <a:lnTo>
                    <a:pt x="3926" y="2568"/>
                  </a:lnTo>
                  <a:lnTo>
                    <a:pt x="3928" y="2574"/>
                  </a:lnTo>
                  <a:lnTo>
                    <a:pt x="3928" y="2580"/>
                  </a:lnTo>
                  <a:lnTo>
                    <a:pt x="3928" y="2584"/>
                  </a:lnTo>
                  <a:lnTo>
                    <a:pt x="3922" y="2594"/>
                  </a:lnTo>
                  <a:lnTo>
                    <a:pt x="3918" y="2602"/>
                  </a:lnTo>
                  <a:lnTo>
                    <a:pt x="3916" y="2606"/>
                  </a:lnTo>
                  <a:lnTo>
                    <a:pt x="3916" y="2610"/>
                  </a:lnTo>
                  <a:lnTo>
                    <a:pt x="3918" y="2620"/>
                  </a:lnTo>
                  <a:lnTo>
                    <a:pt x="3918" y="2630"/>
                  </a:lnTo>
                  <a:lnTo>
                    <a:pt x="3914" y="2634"/>
                  </a:lnTo>
                  <a:lnTo>
                    <a:pt x="3912" y="2636"/>
                  </a:lnTo>
                  <a:lnTo>
                    <a:pt x="3906" y="2636"/>
                  </a:lnTo>
                  <a:lnTo>
                    <a:pt x="3900" y="2632"/>
                  </a:lnTo>
                  <a:lnTo>
                    <a:pt x="3886" y="2626"/>
                  </a:lnTo>
                  <a:lnTo>
                    <a:pt x="3876" y="2624"/>
                  </a:lnTo>
                  <a:lnTo>
                    <a:pt x="3874" y="2624"/>
                  </a:lnTo>
                  <a:lnTo>
                    <a:pt x="3872" y="2628"/>
                  </a:lnTo>
                  <a:lnTo>
                    <a:pt x="3874" y="2630"/>
                  </a:lnTo>
                  <a:lnTo>
                    <a:pt x="3878" y="2636"/>
                  </a:lnTo>
                  <a:lnTo>
                    <a:pt x="3880" y="2640"/>
                  </a:lnTo>
                  <a:lnTo>
                    <a:pt x="3880" y="2642"/>
                  </a:lnTo>
                  <a:lnTo>
                    <a:pt x="3878" y="2648"/>
                  </a:lnTo>
                  <a:lnTo>
                    <a:pt x="3872" y="2656"/>
                  </a:lnTo>
                  <a:lnTo>
                    <a:pt x="3866" y="2662"/>
                  </a:lnTo>
                  <a:lnTo>
                    <a:pt x="3858" y="2670"/>
                  </a:lnTo>
                  <a:lnTo>
                    <a:pt x="3854" y="2676"/>
                  </a:lnTo>
                  <a:lnTo>
                    <a:pt x="3852" y="2680"/>
                  </a:lnTo>
                  <a:lnTo>
                    <a:pt x="3852" y="2682"/>
                  </a:lnTo>
                  <a:lnTo>
                    <a:pt x="3854" y="2686"/>
                  </a:lnTo>
                  <a:lnTo>
                    <a:pt x="3856" y="2690"/>
                  </a:lnTo>
                  <a:lnTo>
                    <a:pt x="3862" y="2694"/>
                  </a:lnTo>
                  <a:lnTo>
                    <a:pt x="3866" y="2700"/>
                  </a:lnTo>
                  <a:lnTo>
                    <a:pt x="3866" y="2706"/>
                  </a:lnTo>
                  <a:lnTo>
                    <a:pt x="3864" y="2710"/>
                  </a:lnTo>
                  <a:lnTo>
                    <a:pt x="3860" y="2722"/>
                  </a:lnTo>
                  <a:lnTo>
                    <a:pt x="3862" y="2726"/>
                  </a:lnTo>
                  <a:lnTo>
                    <a:pt x="3864" y="2732"/>
                  </a:lnTo>
                  <a:lnTo>
                    <a:pt x="3866" y="2734"/>
                  </a:lnTo>
                  <a:lnTo>
                    <a:pt x="3870" y="2736"/>
                  </a:lnTo>
                  <a:lnTo>
                    <a:pt x="3874" y="2732"/>
                  </a:lnTo>
                  <a:lnTo>
                    <a:pt x="3880" y="2720"/>
                  </a:lnTo>
                  <a:lnTo>
                    <a:pt x="3884" y="2712"/>
                  </a:lnTo>
                  <a:lnTo>
                    <a:pt x="3888" y="2710"/>
                  </a:lnTo>
                  <a:lnTo>
                    <a:pt x="3890" y="2712"/>
                  </a:lnTo>
                  <a:lnTo>
                    <a:pt x="3896" y="2714"/>
                  </a:lnTo>
                  <a:lnTo>
                    <a:pt x="3900" y="2714"/>
                  </a:lnTo>
                  <a:lnTo>
                    <a:pt x="3908" y="2712"/>
                  </a:lnTo>
                  <a:lnTo>
                    <a:pt x="3912" y="2710"/>
                  </a:lnTo>
                  <a:lnTo>
                    <a:pt x="3910" y="2706"/>
                  </a:lnTo>
                  <a:lnTo>
                    <a:pt x="3894" y="2698"/>
                  </a:lnTo>
                  <a:lnTo>
                    <a:pt x="3886" y="2692"/>
                  </a:lnTo>
                  <a:lnTo>
                    <a:pt x="3878" y="2686"/>
                  </a:lnTo>
                  <a:lnTo>
                    <a:pt x="3874" y="2680"/>
                  </a:lnTo>
                  <a:lnTo>
                    <a:pt x="3874" y="2676"/>
                  </a:lnTo>
                  <a:lnTo>
                    <a:pt x="3876" y="2672"/>
                  </a:lnTo>
                  <a:lnTo>
                    <a:pt x="3882" y="2666"/>
                  </a:lnTo>
                  <a:lnTo>
                    <a:pt x="3886" y="2666"/>
                  </a:lnTo>
                  <a:lnTo>
                    <a:pt x="3888" y="2668"/>
                  </a:lnTo>
                  <a:lnTo>
                    <a:pt x="3892" y="2670"/>
                  </a:lnTo>
                  <a:lnTo>
                    <a:pt x="3896" y="2674"/>
                  </a:lnTo>
                  <a:lnTo>
                    <a:pt x="3900" y="2676"/>
                  </a:lnTo>
                  <a:lnTo>
                    <a:pt x="3906" y="2676"/>
                  </a:lnTo>
                  <a:lnTo>
                    <a:pt x="3912" y="2674"/>
                  </a:lnTo>
                  <a:lnTo>
                    <a:pt x="3918" y="2670"/>
                  </a:lnTo>
                  <a:lnTo>
                    <a:pt x="3924" y="2668"/>
                  </a:lnTo>
                  <a:lnTo>
                    <a:pt x="3930" y="2666"/>
                  </a:lnTo>
                  <a:lnTo>
                    <a:pt x="3936" y="2668"/>
                  </a:lnTo>
                  <a:lnTo>
                    <a:pt x="3954" y="2678"/>
                  </a:lnTo>
                  <a:lnTo>
                    <a:pt x="3984" y="2698"/>
                  </a:lnTo>
                  <a:lnTo>
                    <a:pt x="3992" y="2700"/>
                  </a:lnTo>
                  <a:lnTo>
                    <a:pt x="3996" y="2698"/>
                  </a:lnTo>
                  <a:lnTo>
                    <a:pt x="4000" y="2692"/>
                  </a:lnTo>
                  <a:lnTo>
                    <a:pt x="4002" y="2684"/>
                  </a:lnTo>
                  <a:lnTo>
                    <a:pt x="4008" y="2664"/>
                  </a:lnTo>
                  <a:lnTo>
                    <a:pt x="4012" y="2656"/>
                  </a:lnTo>
                  <a:lnTo>
                    <a:pt x="4018" y="2652"/>
                  </a:lnTo>
                  <a:lnTo>
                    <a:pt x="4030" y="2648"/>
                  </a:lnTo>
                  <a:lnTo>
                    <a:pt x="4042" y="2646"/>
                  </a:lnTo>
                  <a:lnTo>
                    <a:pt x="4054" y="2644"/>
                  </a:lnTo>
                  <a:lnTo>
                    <a:pt x="4068" y="2640"/>
                  </a:lnTo>
                  <a:lnTo>
                    <a:pt x="4090" y="2630"/>
                  </a:lnTo>
                  <a:lnTo>
                    <a:pt x="4096" y="2626"/>
                  </a:lnTo>
                  <a:lnTo>
                    <a:pt x="4096" y="2624"/>
                  </a:lnTo>
                  <a:lnTo>
                    <a:pt x="4094" y="2622"/>
                  </a:lnTo>
                  <a:lnTo>
                    <a:pt x="4092" y="2620"/>
                  </a:lnTo>
                  <a:lnTo>
                    <a:pt x="4090" y="2620"/>
                  </a:lnTo>
                  <a:lnTo>
                    <a:pt x="4084" y="2622"/>
                  </a:lnTo>
                  <a:lnTo>
                    <a:pt x="4082" y="2622"/>
                  </a:lnTo>
                  <a:lnTo>
                    <a:pt x="4078" y="2622"/>
                  </a:lnTo>
                  <a:lnTo>
                    <a:pt x="4074" y="2618"/>
                  </a:lnTo>
                  <a:lnTo>
                    <a:pt x="4070" y="2610"/>
                  </a:lnTo>
                  <a:close/>
                  <a:moveTo>
                    <a:pt x="3802" y="2924"/>
                  </a:moveTo>
                  <a:lnTo>
                    <a:pt x="3802" y="2924"/>
                  </a:lnTo>
                  <a:lnTo>
                    <a:pt x="3806" y="2916"/>
                  </a:lnTo>
                  <a:lnTo>
                    <a:pt x="3806" y="2908"/>
                  </a:lnTo>
                  <a:lnTo>
                    <a:pt x="3804" y="2906"/>
                  </a:lnTo>
                  <a:lnTo>
                    <a:pt x="3802" y="2904"/>
                  </a:lnTo>
                  <a:lnTo>
                    <a:pt x="3800" y="2906"/>
                  </a:lnTo>
                  <a:lnTo>
                    <a:pt x="3796" y="2910"/>
                  </a:lnTo>
                  <a:lnTo>
                    <a:pt x="3792" y="2914"/>
                  </a:lnTo>
                  <a:lnTo>
                    <a:pt x="3792" y="2918"/>
                  </a:lnTo>
                  <a:lnTo>
                    <a:pt x="3792" y="2922"/>
                  </a:lnTo>
                  <a:lnTo>
                    <a:pt x="3792" y="2924"/>
                  </a:lnTo>
                  <a:lnTo>
                    <a:pt x="3794" y="2926"/>
                  </a:lnTo>
                  <a:lnTo>
                    <a:pt x="3798" y="2928"/>
                  </a:lnTo>
                  <a:lnTo>
                    <a:pt x="3800" y="2926"/>
                  </a:lnTo>
                  <a:lnTo>
                    <a:pt x="3802" y="2924"/>
                  </a:lnTo>
                  <a:close/>
                  <a:moveTo>
                    <a:pt x="3594" y="3018"/>
                  </a:moveTo>
                  <a:lnTo>
                    <a:pt x="3594" y="3018"/>
                  </a:lnTo>
                  <a:lnTo>
                    <a:pt x="3596" y="3016"/>
                  </a:lnTo>
                  <a:lnTo>
                    <a:pt x="3596" y="3014"/>
                  </a:lnTo>
                  <a:lnTo>
                    <a:pt x="3594" y="3010"/>
                  </a:lnTo>
                  <a:lnTo>
                    <a:pt x="3592" y="3010"/>
                  </a:lnTo>
                  <a:lnTo>
                    <a:pt x="3590" y="3012"/>
                  </a:lnTo>
                  <a:lnTo>
                    <a:pt x="3588" y="3014"/>
                  </a:lnTo>
                  <a:lnTo>
                    <a:pt x="3590" y="3018"/>
                  </a:lnTo>
                  <a:lnTo>
                    <a:pt x="3594" y="3018"/>
                  </a:lnTo>
                  <a:close/>
                  <a:moveTo>
                    <a:pt x="3048" y="4040"/>
                  </a:moveTo>
                  <a:lnTo>
                    <a:pt x="3048" y="4040"/>
                  </a:lnTo>
                  <a:lnTo>
                    <a:pt x="3046" y="4042"/>
                  </a:lnTo>
                  <a:lnTo>
                    <a:pt x="3044" y="4044"/>
                  </a:lnTo>
                  <a:lnTo>
                    <a:pt x="3042" y="4050"/>
                  </a:lnTo>
                  <a:lnTo>
                    <a:pt x="3044" y="4056"/>
                  </a:lnTo>
                  <a:lnTo>
                    <a:pt x="3046" y="4062"/>
                  </a:lnTo>
                  <a:lnTo>
                    <a:pt x="3048" y="4064"/>
                  </a:lnTo>
                  <a:lnTo>
                    <a:pt x="3050" y="4068"/>
                  </a:lnTo>
                  <a:lnTo>
                    <a:pt x="3052" y="4098"/>
                  </a:lnTo>
                  <a:lnTo>
                    <a:pt x="3054" y="4116"/>
                  </a:lnTo>
                  <a:lnTo>
                    <a:pt x="3056" y="4120"/>
                  </a:lnTo>
                  <a:lnTo>
                    <a:pt x="3058" y="4120"/>
                  </a:lnTo>
                  <a:lnTo>
                    <a:pt x="3062" y="4120"/>
                  </a:lnTo>
                  <a:lnTo>
                    <a:pt x="3064" y="4122"/>
                  </a:lnTo>
                  <a:lnTo>
                    <a:pt x="3066" y="4126"/>
                  </a:lnTo>
                  <a:lnTo>
                    <a:pt x="3070" y="4134"/>
                  </a:lnTo>
                  <a:lnTo>
                    <a:pt x="3074" y="4138"/>
                  </a:lnTo>
                  <a:lnTo>
                    <a:pt x="3076" y="4134"/>
                  </a:lnTo>
                  <a:lnTo>
                    <a:pt x="3076" y="4128"/>
                  </a:lnTo>
                  <a:lnTo>
                    <a:pt x="3078" y="4120"/>
                  </a:lnTo>
                  <a:lnTo>
                    <a:pt x="3078" y="4118"/>
                  </a:lnTo>
                  <a:lnTo>
                    <a:pt x="3082" y="4118"/>
                  </a:lnTo>
                  <a:lnTo>
                    <a:pt x="3086" y="4122"/>
                  </a:lnTo>
                  <a:lnTo>
                    <a:pt x="3090" y="4126"/>
                  </a:lnTo>
                  <a:lnTo>
                    <a:pt x="3092" y="4130"/>
                  </a:lnTo>
                  <a:lnTo>
                    <a:pt x="3090" y="4134"/>
                  </a:lnTo>
                  <a:lnTo>
                    <a:pt x="3086" y="4140"/>
                  </a:lnTo>
                  <a:lnTo>
                    <a:pt x="3080" y="4146"/>
                  </a:lnTo>
                  <a:lnTo>
                    <a:pt x="3076" y="4156"/>
                  </a:lnTo>
                  <a:lnTo>
                    <a:pt x="3078" y="4164"/>
                  </a:lnTo>
                  <a:lnTo>
                    <a:pt x="3078" y="4166"/>
                  </a:lnTo>
                  <a:lnTo>
                    <a:pt x="3082" y="4166"/>
                  </a:lnTo>
                  <a:lnTo>
                    <a:pt x="3084" y="4164"/>
                  </a:lnTo>
                  <a:lnTo>
                    <a:pt x="3088" y="4166"/>
                  </a:lnTo>
                  <a:lnTo>
                    <a:pt x="3092" y="4170"/>
                  </a:lnTo>
                  <a:lnTo>
                    <a:pt x="3096" y="4174"/>
                  </a:lnTo>
                  <a:lnTo>
                    <a:pt x="3100" y="4176"/>
                  </a:lnTo>
                  <a:lnTo>
                    <a:pt x="3104" y="4178"/>
                  </a:lnTo>
                  <a:lnTo>
                    <a:pt x="3112" y="4176"/>
                  </a:lnTo>
                  <a:lnTo>
                    <a:pt x="3112" y="4174"/>
                  </a:lnTo>
                  <a:lnTo>
                    <a:pt x="3112" y="4168"/>
                  </a:lnTo>
                  <a:lnTo>
                    <a:pt x="3112" y="4166"/>
                  </a:lnTo>
                  <a:lnTo>
                    <a:pt x="3116" y="4164"/>
                  </a:lnTo>
                  <a:lnTo>
                    <a:pt x="3120" y="4160"/>
                  </a:lnTo>
                  <a:lnTo>
                    <a:pt x="3124" y="4160"/>
                  </a:lnTo>
                  <a:lnTo>
                    <a:pt x="3138" y="4172"/>
                  </a:lnTo>
                  <a:lnTo>
                    <a:pt x="3144" y="4176"/>
                  </a:lnTo>
                  <a:lnTo>
                    <a:pt x="3148" y="4180"/>
                  </a:lnTo>
                  <a:lnTo>
                    <a:pt x="3152" y="4188"/>
                  </a:lnTo>
                  <a:lnTo>
                    <a:pt x="3154" y="4196"/>
                  </a:lnTo>
                  <a:lnTo>
                    <a:pt x="3156" y="4198"/>
                  </a:lnTo>
                  <a:lnTo>
                    <a:pt x="3158" y="4198"/>
                  </a:lnTo>
                  <a:lnTo>
                    <a:pt x="3162" y="4198"/>
                  </a:lnTo>
                  <a:lnTo>
                    <a:pt x="3162" y="4196"/>
                  </a:lnTo>
                  <a:lnTo>
                    <a:pt x="3162" y="4188"/>
                  </a:lnTo>
                  <a:lnTo>
                    <a:pt x="3154" y="4170"/>
                  </a:lnTo>
                  <a:lnTo>
                    <a:pt x="3154" y="4166"/>
                  </a:lnTo>
                  <a:lnTo>
                    <a:pt x="3154" y="4164"/>
                  </a:lnTo>
                  <a:lnTo>
                    <a:pt x="3160" y="4164"/>
                  </a:lnTo>
                  <a:lnTo>
                    <a:pt x="3164" y="4168"/>
                  </a:lnTo>
                  <a:lnTo>
                    <a:pt x="3168" y="4174"/>
                  </a:lnTo>
                  <a:lnTo>
                    <a:pt x="3172" y="4180"/>
                  </a:lnTo>
                  <a:lnTo>
                    <a:pt x="3176" y="4182"/>
                  </a:lnTo>
                  <a:lnTo>
                    <a:pt x="3180" y="4186"/>
                  </a:lnTo>
                  <a:lnTo>
                    <a:pt x="3184" y="4192"/>
                  </a:lnTo>
                  <a:lnTo>
                    <a:pt x="3186" y="4198"/>
                  </a:lnTo>
                  <a:lnTo>
                    <a:pt x="3186" y="4202"/>
                  </a:lnTo>
                  <a:lnTo>
                    <a:pt x="3188" y="4206"/>
                  </a:lnTo>
                  <a:lnTo>
                    <a:pt x="3196" y="4210"/>
                  </a:lnTo>
                  <a:lnTo>
                    <a:pt x="3206" y="4216"/>
                  </a:lnTo>
                  <a:lnTo>
                    <a:pt x="3210" y="4218"/>
                  </a:lnTo>
                  <a:lnTo>
                    <a:pt x="3212" y="4222"/>
                  </a:lnTo>
                  <a:lnTo>
                    <a:pt x="3212" y="4228"/>
                  </a:lnTo>
                  <a:lnTo>
                    <a:pt x="3216" y="4232"/>
                  </a:lnTo>
                  <a:lnTo>
                    <a:pt x="3218" y="4230"/>
                  </a:lnTo>
                  <a:lnTo>
                    <a:pt x="3220" y="4224"/>
                  </a:lnTo>
                  <a:lnTo>
                    <a:pt x="3222" y="4216"/>
                  </a:lnTo>
                  <a:lnTo>
                    <a:pt x="3222" y="4208"/>
                  </a:lnTo>
                  <a:lnTo>
                    <a:pt x="3220" y="4204"/>
                  </a:lnTo>
                  <a:lnTo>
                    <a:pt x="3218" y="4202"/>
                  </a:lnTo>
                  <a:lnTo>
                    <a:pt x="3210" y="4200"/>
                  </a:lnTo>
                  <a:lnTo>
                    <a:pt x="3206" y="4200"/>
                  </a:lnTo>
                  <a:lnTo>
                    <a:pt x="3206" y="4196"/>
                  </a:lnTo>
                  <a:lnTo>
                    <a:pt x="3206" y="4194"/>
                  </a:lnTo>
                  <a:lnTo>
                    <a:pt x="3206" y="4192"/>
                  </a:lnTo>
                  <a:lnTo>
                    <a:pt x="3204" y="4186"/>
                  </a:lnTo>
                  <a:lnTo>
                    <a:pt x="3198" y="4182"/>
                  </a:lnTo>
                  <a:lnTo>
                    <a:pt x="3196" y="4178"/>
                  </a:lnTo>
                  <a:lnTo>
                    <a:pt x="3194" y="4174"/>
                  </a:lnTo>
                  <a:lnTo>
                    <a:pt x="3196" y="4174"/>
                  </a:lnTo>
                  <a:lnTo>
                    <a:pt x="3198" y="4174"/>
                  </a:lnTo>
                  <a:lnTo>
                    <a:pt x="3206" y="4174"/>
                  </a:lnTo>
                  <a:lnTo>
                    <a:pt x="3210" y="4172"/>
                  </a:lnTo>
                  <a:lnTo>
                    <a:pt x="3212" y="4172"/>
                  </a:lnTo>
                  <a:lnTo>
                    <a:pt x="3214" y="4168"/>
                  </a:lnTo>
                  <a:lnTo>
                    <a:pt x="3210" y="4164"/>
                  </a:lnTo>
                  <a:lnTo>
                    <a:pt x="3194" y="4156"/>
                  </a:lnTo>
                  <a:lnTo>
                    <a:pt x="3190" y="4154"/>
                  </a:lnTo>
                  <a:lnTo>
                    <a:pt x="3186" y="4156"/>
                  </a:lnTo>
                  <a:lnTo>
                    <a:pt x="3186" y="4158"/>
                  </a:lnTo>
                  <a:lnTo>
                    <a:pt x="3184" y="4162"/>
                  </a:lnTo>
                  <a:lnTo>
                    <a:pt x="3184" y="4170"/>
                  </a:lnTo>
                  <a:lnTo>
                    <a:pt x="3182" y="4172"/>
                  </a:lnTo>
                  <a:lnTo>
                    <a:pt x="3180" y="4170"/>
                  </a:lnTo>
                  <a:lnTo>
                    <a:pt x="3178" y="4168"/>
                  </a:lnTo>
                  <a:lnTo>
                    <a:pt x="3176" y="4164"/>
                  </a:lnTo>
                  <a:lnTo>
                    <a:pt x="3176" y="4158"/>
                  </a:lnTo>
                  <a:lnTo>
                    <a:pt x="3176" y="4154"/>
                  </a:lnTo>
                  <a:lnTo>
                    <a:pt x="3174" y="4150"/>
                  </a:lnTo>
                  <a:lnTo>
                    <a:pt x="3170" y="4146"/>
                  </a:lnTo>
                  <a:lnTo>
                    <a:pt x="3164" y="4142"/>
                  </a:lnTo>
                  <a:lnTo>
                    <a:pt x="3158" y="4140"/>
                  </a:lnTo>
                  <a:lnTo>
                    <a:pt x="3154" y="4140"/>
                  </a:lnTo>
                  <a:lnTo>
                    <a:pt x="3152" y="4140"/>
                  </a:lnTo>
                  <a:lnTo>
                    <a:pt x="3150" y="4142"/>
                  </a:lnTo>
                  <a:lnTo>
                    <a:pt x="3148" y="4146"/>
                  </a:lnTo>
                  <a:lnTo>
                    <a:pt x="3144" y="4146"/>
                  </a:lnTo>
                  <a:lnTo>
                    <a:pt x="3142" y="4146"/>
                  </a:lnTo>
                  <a:lnTo>
                    <a:pt x="3140" y="4148"/>
                  </a:lnTo>
                  <a:lnTo>
                    <a:pt x="3140" y="4152"/>
                  </a:lnTo>
                  <a:lnTo>
                    <a:pt x="3140" y="4158"/>
                  </a:lnTo>
                  <a:lnTo>
                    <a:pt x="3138" y="4158"/>
                  </a:lnTo>
                  <a:lnTo>
                    <a:pt x="3136" y="4158"/>
                  </a:lnTo>
                  <a:lnTo>
                    <a:pt x="3130" y="4156"/>
                  </a:lnTo>
                  <a:lnTo>
                    <a:pt x="3126" y="4152"/>
                  </a:lnTo>
                  <a:lnTo>
                    <a:pt x="3122" y="4142"/>
                  </a:lnTo>
                  <a:lnTo>
                    <a:pt x="3120" y="4132"/>
                  </a:lnTo>
                  <a:lnTo>
                    <a:pt x="3120" y="4124"/>
                  </a:lnTo>
                  <a:lnTo>
                    <a:pt x="3120" y="4120"/>
                  </a:lnTo>
                  <a:lnTo>
                    <a:pt x="3120" y="4116"/>
                  </a:lnTo>
                  <a:lnTo>
                    <a:pt x="3116" y="4104"/>
                  </a:lnTo>
                  <a:lnTo>
                    <a:pt x="3112" y="4092"/>
                  </a:lnTo>
                  <a:lnTo>
                    <a:pt x="3112" y="4086"/>
                  </a:lnTo>
                  <a:lnTo>
                    <a:pt x="3116" y="4082"/>
                  </a:lnTo>
                  <a:lnTo>
                    <a:pt x="3120" y="4072"/>
                  </a:lnTo>
                  <a:lnTo>
                    <a:pt x="3120" y="4066"/>
                  </a:lnTo>
                  <a:lnTo>
                    <a:pt x="3120" y="4062"/>
                  </a:lnTo>
                  <a:lnTo>
                    <a:pt x="3124" y="4054"/>
                  </a:lnTo>
                  <a:lnTo>
                    <a:pt x="3128" y="4052"/>
                  </a:lnTo>
                  <a:lnTo>
                    <a:pt x="3130" y="4050"/>
                  </a:lnTo>
                  <a:lnTo>
                    <a:pt x="3132" y="4052"/>
                  </a:lnTo>
                  <a:lnTo>
                    <a:pt x="3134" y="4052"/>
                  </a:lnTo>
                  <a:lnTo>
                    <a:pt x="3136" y="4056"/>
                  </a:lnTo>
                  <a:lnTo>
                    <a:pt x="3138" y="4056"/>
                  </a:lnTo>
                  <a:lnTo>
                    <a:pt x="3144" y="4046"/>
                  </a:lnTo>
                  <a:lnTo>
                    <a:pt x="3148" y="4034"/>
                  </a:lnTo>
                  <a:lnTo>
                    <a:pt x="3154" y="4008"/>
                  </a:lnTo>
                  <a:lnTo>
                    <a:pt x="3154" y="4006"/>
                  </a:lnTo>
                  <a:lnTo>
                    <a:pt x="3152" y="4002"/>
                  </a:lnTo>
                  <a:lnTo>
                    <a:pt x="3146" y="3992"/>
                  </a:lnTo>
                  <a:lnTo>
                    <a:pt x="3144" y="3986"/>
                  </a:lnTo>
                  <a:lnTo>
                    <a:pt x="3142" y="3978"/>
                  </a:lnTo>
                  <a:lnTo>
                    <a:pt x="3142" y="3970"/>
                  </a:lnTo>
                  <a:lnTo>
                    <a:pt x="3144" y="3960"/>
                  </a:lnTo>
                  <a:lnTo>
                    <a:pt x="3148" y="3944"/>
                  </a:lnTo>
                  <a:lnTo>
                    <a:pt x="3146" y="3936"/>
                  </a:lnTo>
                  <a:lnTo>
                    <a:pt x="3146" y="3934"/>
                  </a:lnTo>
                  <a:lnTo>
                    <a:pt x="3142" y="3934"/>
                  </a:lnTo>
                  <a:lnTo>
                    <a:pt x="3140" y="3936"/>
                  </a:lnTo>
                  <a:lnTo>
                    <a:pt x="3136" y="3942"/>
                  </a:lnTo>
                  <a:lnTo>
                    <a:pt x="3132" y="3946"/>
                  </a:lnTo>
                  <a:lnTo>
                    <a:pt x="3126" y="3944"/>
                  </a:lnTo>
                  <a:lnTo>
                    <a:pt x="3122" y="3942"/>
                  </a:lnTo>
                  <a:lnTo>
                    <a:pt x="3114" y="3938"/>
                  </a:lnTo>
                  <a:lnTo>
                    <a:pt x="3100" y="3930"/>
                  </a:lnTo>
                  <a:lnTo>
                    <a:pt x="3094" y="3926"/>
                  </a:lnTo>
                  <a:lnTo>
                    <a:pt x="3086" y="3928"/>
                  </a:lnTo>
                  <a:lnTo>
                    <a:pt x="3076" y="3932"/>
                  </a:lnTo>
                  <a:lnTo>
                    <a:pt x="3076" y="3936"/>
                  </a:lnTo>
                  <a:lnTo>
                    <a:pt x="3074" y="3938"/>
                  </a:lnTo>
                  <a:lnTo>
                    <a:pt x="3074" y="3946"/>
                  </a:lnTo>
                  <a:lnTo>
                    <a:pt x="3074" y="3952"/>
                  </a:lnTo>
                  <a:lnTo>
                    <a:pt x="3072" y="3958"/>
                  </a:lnTo>
                  <a:lnTo>
                    <a:pt x="3068" y="3966"/>
                  </a:lnTo>
                  <a:lnTo>
                    <a:pt x="3068" y="3972"/>
                  </a:lnTo>
                  <a:lnTo>
                    <a:pt x="3068" y="3986"/>
                  </a:lnTo>
                  <a:lnTo>
                    <a:pt x="3070" y="4000"/>
                  </a:lnTo>
                  <a:lnTo>
                    <a:pt x="3068" y="4010"/>
                  </a:lnTo>
                  <a:lnTo>
                    <a:pt x="3066" y="4018"/>
                  </a:lnTo>
                  <a:lnTo>
                    <a:pt x="3064" y="4026"/>
                  </a:lnTo>
                  <a:lnTo>
                    <a:pt x="3062" y="4032"/>
                  </a:lnTo>
                  <a:lnTo>
                    <a:pt x="3064" y="4038"/>
                  </a:lnTo>
                  <a:lnTo>
                    <a:pt x="3066" y="4040"/>
                  </a:lnTo>
                  <a:lnTo>
                    <a:pt x="3068" y="4046"/>
                  </a:lnTo>
                  <a:lnTo>
                    <a:pt x="3070" y="4050"/>
                  </a:lnTo>
                  <a:lnTo>
                    <a:pt x="3068" y="4054"/>
                  </a:lnTo>
                  <a:lnTo>
                    <a:pt x="3066" y="4058"/>
                  </a:lnTo>
                  <a:lnTo>
                    <a:pt x="3062" y="4060"/>
                  </a:lnTo>
                  <a:lnTo>
                    <a:pt x="3060" y="4056"/>
                  </a:lnTo>
                  <a:lnTo>
                    <a:pt x="3058" y="4054"/>
                  </a:lnTo>
                  <a:lnTo>
                    <a:pt x="3052" y="4044"/>
                  </a:lnTo>
                  <a:lnTo>
                    <a:pt x="3050" y="4042"/>
                  </a:lnTo>
                  <a:lnTo>
                    <a:pt x="3048" y="4040"/>
                  </a:lnTo>
                  <a:close/>
                  <a:moveTo>
                    <a:pt x="3012" y="4336"/>
                  </a:moveTo>
                  <a:lnTo>
                    <a:pt x="3012" y="4336"/>
                  </a:lnTo>
                  <a:lnTo>
                    <a:pt x="2996" y="4362"/>
                  </a:lnTo>
                  <a:lnTo>
                    <a:pt x="2978" y="4384"/>
                  </a:lnTo>
                  <a:lnTo>
                    <a:pt x="2960" y="4400"/>
                  </a:lnTo>
                  <a:lnTo>
                    <a:pt x="2950" y="4412"/>
                  </a:lnTo>
                  <a:lnTo>
                    <a:pt x="2948" y="4420"/>
                  </a:lnTo>
                  <a:lnTo>
                    <a:pt x="2944" y="4428"/>
                  </a:lnTo>
                  <a:lnTo>
                    <a:pt x="2944" y="4432"/>
                  </a:lnTo>
                  <a:lnTo>
                    <a:pt x="2946" y="4434"/>
                  </a:lnTo>
                  <a:lnTo>
                    <a:pt x="2950" y="4432"/>
                  </a:lnTo>
                  <a:lnTo>
                    <a:pt x="2954" y="4426"/>
                  </a:lnTo>
                  <a:lnTo>
                    <a:pt x="2960" y="4422"/>
                  </a:lnTo>
                  <a:lnTo>
                    <a:pt x="2968" y="4410"/>
                  </a:lnTo>
                  <a:lnTo>
                    <a:pt x="2994" y="4388"/>
                  </a:lnTo>
                  <a:lnTo>
                    <a:pt x="3002" y="4380"/>
                  </a:lnTo>
                  <a:lnTo>
                    <a:pt x="3006" y="4372"/>
                  </a:lnTo>
                  <a:lnTo>
                    <a:pt x="3008" y="4368"/>
                  </a:lnTo>
                  <a:lnTo>
                    <a:pt x="3008" y="4364"/>
                  </a:lnTo>
                  <a:lnTo>
                    <a:pt x="3010" y="4358"/>
                  </a:lnTo>
                  <a:lnTo>
                    <a:pt x="3012" y="4356"/>
                  </a:lnTo>
                  <a:lnTo>
                    <a:pt x="3016" y="4354"/>
                  </a:lnTo>
                  <a:lnTo>
                    <a:pt x="3022" y="4352"/>
                  </a:lnTo>
                  <a:lnTo>
                    <a:pt x="3024" y="4350"/>
                  </a:lnTo>
                  <a:lnTo>
                    <a:pt x="3028" y="4344"/>
                  </a:lnTo>
                  <a:lnTo>
                    <a:pt x="3030" y="4338"/>
                  </a:lnTo>
                  <a:lnTo>
                    <a:pt x="3030" y="4336"/>
                  </a:lnTo>
                  <a:lnTo>
                    <a:pt x="3034" y="4336"/>
                  </a:lnTo>
                  <a:lnTo>
                    <a:pt x="3038" y="4334"/>
                  </a:lnTo>
                  <a:lnTo>
                    <a:pt x="3042" y="4330"/>
                  </a:lnTo>
                  <a:lnTo>
                    <a:pt x="3044" y="4324"/>
                  </a:lnTo>
                  <a:lnTo>
                    <a:pt x="3042" y="4316"/>
                  </a:lnTo>
                  <a:lnTo>
                    <a:pt x="3040" y="4312"/>
                  </a:lnTo>
                  <a:lnTo>
                    <a:pt x="3040" y="4306"/>
                  </a:lnTo>
                  <a:lnTo>
                    <a:pt x="3040" y="4296"/>
                  </a:lnTo>
                  <a:lnTo>
                    <a:pt x="3040" y="4288"/>
                  </a:lnTo>
                  <a:lnTo>
                    <a:pt x="3038" y="4286"/>
                  </a:lnTo>
                  <a:lnTo>
                    <a:pt x="3036" y="4284"/>
                  </a:lnTo>
                  <a:lnTo>
                    <a:pt x="3034" y="4284"/>
                  </a:lnTo>
                  <a:lnTo>
                    <a:pt x="3032" y="4286"/>
                  </a:lnTo>
                  <a:lnTo>
                    <a:pt x="3032" y="4294"/>
                  </a:lnTo>
                  <a:lnTo>
                    <a:pt x="3030" y="4302"/>
                  </a:lnTo>
                  <a:lnTo>
                    <a:pt x="3028" y="4304"/>
                  </a:lnTo>
                  <a:lnTo>
                    <a:pt x="3026" y="4306"/>
                  </a:lnTo>
                  <a:lnTo>
                    <a:pt x="3024" y="4306"/>
                  </a:lnTo>
                  <a:lnTo>
                    <a:pt x="3024" y="4308"/>
                  </a:lnTo>
                  <a:lnTo>
                    <a:pt x="3026" y="4312"/>
                  </a:lnTo>
                  <a:lnTo>
                    <a:pt x="3028" y="4318"/>
                  </a:lnTo>
                  <a:lnTo>
                    <a:pt x="3028" y="4322"/>
                  </a:lnTo>
                  <a:lnTo>
                    <a:pt x="3026" y="4326"/>
                  </a:lnTo>
                  <a:lnTo>
                    <a:pt x="3022" y="4330"/>
                  </a:lnTo>
                  <a:lnTo>
                    <a:pt x="3020" y="4328"/>
                  </a:lnTo>
                  <a:lnTo>
                    <a:pt x="3018" y="4328"/>
                  </a:lnTo>
                  <a:lnTo>
                    <a:pt x="3012" y="4336"/>
                  </a:lnTo>
                  <a:close/>
                  <a:moveTo>
                    <a:pt x="3126" y="3596"/>
                  </a:moveTo>
                  <a:lnTo>
                    <a:pt x="3126" y="3596"/>
                  </a:lnTo>
                  <a:lnTo>
                    <a:pt x="3122" y="3592"/>
                  </a:lnTo>
                  <a:lnTo>
                    <a:pt x="3118" y="3590"/>
                  </a:lnTo>
                  <a:lnTo>
                    <a:pt x="3116" y="3590"/>
                  </a:lnTo>
                  <a:lnTo>
                    <a:pt x="3114" y="3590"/>
                  </a:lnTo>
                  <a:lnTo>
                    <a:pt x="3110" y="3594"/>
                  </a:lnTo>
                  <a:lnTo>
                    <a:pt x="3104" y="3598"/>
                  </a:lnTo>
                  <a:lnTo>
                    <a:pt x="3098" y="3600"/>
                  </a:lnTo>
                  <a:lnTo>
                    <a:pt x="3092" y="3608"/>
                  </a:lnTo>
                  <a:lnTo>
                    <a:pt x="3072" y="3644"/>
                  </a:lnTo>
                  <a:lnTo>
                    <a:pt x="3062" y="3662"/>
                  </a:lnTo>
                  <a:lnTo>
                    <a:pt x="3060" y="3678"/>
                  </a:lnTo>
                  <a:lnTo>
                    <a:pt x="3060" y="3694"/>
                  </a:lnTo>
                  <a:lnTo>
                    <a:pt x="3062" y="3712"/>
                  </a:lnTo>
                  <a:lnTo>
                    <a:pt x="3066" y="3726"/>
                  </a:lnTo>
                  <a:lnTo>
                    <a:pt x="3070" y="3730"/>
                  </a:lnTo>
                  <a:lnTo>
                    <a:pt x="3074" y="3734"/>
                  </a:lnTo>
                  <a:lnTo>
                    <a:pt x="3078" y="3742"/>
                  </a:lnTo>
                  <a:lnTo>
                    <a:pt x="3082" y="3752"/>
                  </a:lnTo>
                  <a:lnTo>
                    <a:pt x="3086" y="3762"/>
                  </a:lnTo>
                  <a:lnTo>
                    <a:pt x="3088" y="3764"/>
                  </a:lnTo>
                  <a:lnTo>
                    <a:pt x="3090" y="3762"/>
                  </a:lnTo>
                  <a:lnTo>
                    <a:pt x="3090" y="3756"/>
                  </a:lnTo>
                  <a:lnTo>
                    <a:pt x="3090" y="3748"/>
                  </a:lnTo>
                  <a:lnTo>
                    <a:pt x="3092" y="3738"/>
                  </a:lnTo>
                  <a:lnTo>
                    <a:pt x="3094" y="3730"/>
                  </a:lnTo>
                  <a:lnTo>
                    <a:pt x="3096" y="3726"/>
                  </a:lnTo>
                  <a:lnTo>
                    <a:pt x="3098" y="3722"/>
                  </a:lnTo>
                  <a:lnTo>
                    <a:pt x="3102" y="3718"/>
                  </a:lnTo>
                  <a:lnTo>
                    <a:pt x="3106" y="3712"/>
                  </a:lnTo>
                  <a:lnTo>
                    <a:pt x="3110" y="3702"/>
                  </a:lnTo>
                  <a:lnTo>
                    <a:pt x="3114" y="3690"/>
                  </a:lnTo>
                  <a:lnTo>
                    <a:pt x="3120" y="3662"/>
                  </a:lnTo>
                  <a:lnTo>
                    <a:pt x="3126" y="3644"/>
                  </a:lnTo>
                  <a:lnTo>
                    <a:pt x="3130" y="3632"/>
                  </a:lnTo>
                  <a:lnTo>
                    <a:pt x="3130" y="3628"/>
                  </a:lnTo>
                  <a:lnTo>
                    <a:pt x="3128" y="3622"/>
                  </a:lnTo>
                  <a:lnTo>
                    <a:pt x="3128" y="3618"/>
                  </a:lnTo>
                  <a:lnTo>
                    <a:pt x="3128" y="3614"/>
                  </a:lnTo>
                  <a:lnTo>
                    <a:pt x="3130" y="3610"/>
                  </a:lnTo>
                  <a:lnTo>
                    <a:pt x="3132" y="3608"/>
                  </a:lnTo>
                  <a:lnTo>
                    <a:pt x="3132" y="3604"/>
                  </a:lnTo>
                  <a:lnTo>
                    <a:pt x="3130" y="3600"/>
                  </a:lnTo>
                  <a:lnTo>
                    <a:pt x="3126" y="3596"/>
                  </a:lnTo>
                  <a:close/>
                  <a:moveTo>
                    <a:pt x="4186" y="2510"/>
                  </a:moveTo>
                  <a:lnTo>
                    <a:pt x="4186" y="2510"/>
                  </a:lnTo>
                  <a:lnTo>
                    <a:pt x="4182" y="2506"/>
                  </a:lnTo>
                  <a:lnTo>
                    <a:pt x="4182" y="2510"/>
                  </a:lnTo>
                  <a:lnTo>
                    <a:pt x="4180" y="2516"/>
                  </a:lnTo>
                  <a:lnTo>
                    <a:pt x="4180" y="2518"/>
                  </a:lnTo>
                  <a:lnTo>
                    <a:pt x="4176" y="2522"/>
                  </a:lnTo>
                  <a:lnTo>
                    <a:pt x="4166" y="2526"/>
                  </a:lnTo>
                  <a:lnTo>
                    <a:pt x="4156" y="2534"/>
                  </a:lnTo>
                  <a:lnTo>
                    <a:pt x="4148" y="2544"/>
                  </a:lnTo>
                  <a:lnTo>
                    <a:pt x="4140" y="2558"/>
                  </a:lnTo>
                  <a:lnTo>
                    <a:pt x="4140" y="2560"/>
                  </a:lnTo>
                  <a:lnTo>
                    <a:pt x="4140" y="2562"/>
                  </a:lnTo>
                  <a:lnTo>
                    <a:pt x="4142" y="2564"/>
                  </a:lnTo>
                  <a:lnTo>
                    <a:pt x="4144" y="2562"/>
                  </a:lnTo>
                  <a:lnTo>
                    <a:pt x="4152" y="2556"/>
                  </a:lnTo>
                  <a:lnTo>
                    <a:pt x="4162" y="2546"/>
                  </a:lnTo>
                  <a:lnTo>
                    <a:pt x="4170" y="2536"/>
                  </a:lnTo>
                  <a:lnTo>
                    <a:pt x="4176" y="2532"/>
                  </a:lnTo>
                  <a:lnTo>
                    <a:pt x="4182" y="2528"/>
                  </a:lnTo>
                  <a:lnTo>
                    <a:pt x="4192" y="2522"/>
                  </a:lnTo>
                  <a:lnTo>
                    <a:pt x="4196" y="2518"/>
                  </a:lnTo>
                  <a:lnTo>
                    <a:pt x="4202" y="2516"/>
                  </a:lnTo>
                  <a:lnTo>
                    <a:pt x="4212" y="2512"/>
                  </a:lnTo>
                  <a:lnTo>
                    <a:pt x="4216" y="2510"/>
                  </a:lnTo>
                  <a:lnTo>
                    <a:pt x="4218" y="2508"/>
                  </a:lnTo>
                  <a:lnTo>
                    <a:pt x="4218" y="2506"/>
                  </a:lnTo>
                  <a:lnTo>
                    <a:pt x="4216" y="2502"/>
                  </a:lnTo>
                  <a:lnTo>
                    <a:pt x="4214" y="2500"/>
                  </a:lnTo>
                  <a:lnTo>
                    <a:pt x="4210" y="2500"/>
                  </a:lnTo>
                  <a:lnTo>
                    <a:pt x="4204" y="2504"/>
                  </a:lnTo>
                  <a:lnTo>
                    <a:pt x="4194" y="2510"/>
                  </a:lnTo>
                  <a:lnTo>
                    <a:pt x="4190" y="2510"/>
                  </a:lnTo>
                  <a:lnTo>
                    <a:pt x="4186" y="2510"/>
                  </a:lnTo>
                  <a:close/>
                  <a:moveTo>
                    <a:pt x="3264" y="4226"/>
                  </a:moveTo>
                  <a:lnTo>
                    <a:pt x="3264" y="4226"/>
                  </a:lnTo>
                  <a:lnTo>
                    <a:pt x="3258" y="4226"/>
                  </a:lnTo>
                  <a:lnTo>
                    <a:pt x="3250" y="4226"/>
                  </a:lnTo>
                  <a:lnTo>
                    <a:pt x="3242" y="4228"/>
                  </a:lnTo>
                  <a:lnTo>
                    <a:pt x="3234" y="4226"/>
                  </a:lnTo>
                  <a:lnTo>
                    <a:pt x="3230" y="4226"/>
                  </a:lnTo>
                  <a:lnTo>
                    <a:pt x="3228" y="4228"/>
                  </a:lnTo>
                  <a:lnTo>
                    <a:pt x="3228" y="4234"/>
                  </a:lnTo>
                  <a:lnTo>
                    <a:pt x="3234" y="4244"/>
                  </a:lnTo>
                  <a:lnTo>
                    <a:pt x="3242" y="4252"/>
                  </a:lnTo>
                  <a:lnTo>
                    <a:pt x="3246" y="4258"/>
                  </a:lnTo>
                  <a:lnTo>
                    <a:pt x="3248" y="4260"/>
                  </a:lnTo>
                  <a:lnTo>
                    <a:pt x="3250" y="4262"/>
                  </a:lnTo>
                  <a:lnTo>
                    <a:pt x="3254" y="4264"/>
                  </a:lnTo>
                  <a:lnTo>
                    <a:pt x="3258" y="4266"/>
                  </a:lnTo>
                  <a:lnTo>
                    <a:pt x="3258" y="4268"/>
                  </a:lnTo>
                  <a:lnTo>
                    <a:pt x="3256" y="4272"/>
                  </a:lnTo>
                  <a:lnTo>
                    <a:pt x="3254" y="4276"/>
                  </a:lnTo>
                  <a:lnTo>
                    <a:pt x="3252" y="4276"/>
                  </a:lnTo>
                  <a:lnTo>
                    <a:pt x="3252" y="4278"/>
                  </a:lnTo>
                  <a:lnTo>
                    <a:pt x="3256" y="4282"/>
                  </a:lnTo>
                  <a:lnTo>
                    <a:pt x="3260" y="4288"/>
                  </a:lnTo>
                  <a:lnTo>
                    <a:pt x="3264" y="4296"/>
                  </a:lnTo>
                  <a:lnTo>
                    <a:pt x="3266" y="4298"/>
                  </a:lnTo>
                  <a:lnTo>
                    <a:pt x="3268" y="4300"/>
                  </a:lnTo>
                  <a:lnTo>
                    <a:pt x="3272" y="4298"/>
                  </a:lnTo>
                  <a:lnTo>
                    <a:pt x="3276" y="4298"/>
                  </a:lnTo>
                  <a:lnTo>
                    <a:pt x="3280" y="4298"/>
                  </a:lnTo>
                  <a:lnTo>
                    <a:pt x="3282" y="4300"/>
                  </a:lnTo>
                  <a:lnTo>
                    <a:pt x="3286" y="4302"/>
                  </a:lnTo>
                  <a:lnTo>
                    <a:pt x="3288" y="4300"/>
                  </a:lnTo>
                  <a:lnTo>
                    <a:pt x="3286" y="4296"/>
                  </a:lnTo>
                  <a:lnTo>
                    <a:pt x="3282" y="4292"/>
                  </a:lnTo>
                  <a:lnTo>
                    <a:pt x="3282" y="4290"/>
                  </a:lnTo>
                  <a:lnTo>
                    <a:pt x="3282" y="4288"/>
                  </a:lnTo>
                  <a:lnTo>
                    <a:pt x="3282" y="4284"/>
                  </a:lnTo>
                  <a:lnTo>
                    <a:pt x="3278" y="4280"/>
                  </a:lnTo>
                  <a:lnTo>
                    <a:pt x="3276" y="4276"/>
                  </a:lnTo>
                  <a:lnTo>
                    <a:pt x="3276" y="4272"/>
                  </a:lnTo>
                  <a:lnTo>
                    <a:pt x="3276" y="4260"/>
                  </a:lnTo>
                  <a:lnTo>
                    <a:pt x="3276" y="4248"/>
                  </a:lnTo>
                  <a:lnTo>
                    <a:pt x="3276" y="4242"/>
                  </a:lnTo>
                  <a:lnTo>
                    <a:pt x="3274" y="4240"/>
                  </a:lnTo>
                  <a:lnTo>
                    <a:pt x="3270" y="4236"/>
                  </a:lnTo>
                  <a:lnTo>
                    <a:pt x="3270" y="4234"/>
                  </a:lnTo>
                  <a:lnTo>
                    <a:pt x="3268" y="4230"/>
                  </a:lnTo>
                  <a:lnTo>
                    <a:pt x="3264" y="4226"/>
                  </a:lnTo>
                  <a:close/>
                  <a:moveTo>
                    <a:pt x="2906" y="4970"/>
                  </a:moveTo>
                  <a:lnTo>
                    <a:pt x="2906" y="4970"/>
                  </a:lnTo>
                  <a:lnTo>
                    <a:pt x="2908" y="4964"/>
                  </a:lnTo>
                  <a:lnTo>
                    <a:pt x="2910" y="4962"/>
                  </a:lnTo>
                  <a:lnTo>
                    <a:pt x="2914" y="4960"/>
                  </a:lnTo>
                  <a:lnTo>
                    <a:pt x="2918" y="4958"/>
                  </a:lnTo>
                  <a:lnTo>
                    <a:pt x="2918" y="4956"/>
                  </a:lnTo>
                  <a:lnTo>
                    <a:pt x="2918" y="4950"/>
                  </a:lnTo>
                  <a:lnTo>
                    <a:pt x="2916" y="4942"/>
                  </a:lnTo>
                  <a:lnTo>
                    <a:pt x="2914" y="4932"/>
                  </a:lnTo>
                  <a:lnTo>
                    <a:pt x="2914" y="4924"/>
                  </a:lnTo>
                  <a:lnTo>
                    <a:pt x="2916" y="4918"/>
                  </a:lnTo>
                  <a:lnTo>
                    <a:pt x="2920" y="4912"/>
                  </a:lnTo>
                  <a:lnTo>
                    <a:pt x="2930" y="4902"/>
                  </a:lnTo>
                  <a:lnTo>
                    <a:pt x="2934" y="4898"/>
                  </a:lnTo>
                  <a:lnTo>
                    <a:pt x="2938" y="4892"/>
                  </a:lnTo>
                  <a:lnTo>
                    <a:pt x="2940" y="4888"/>
                  </a:lnTo>
                  <a:lnTo>
                    <a:pt x="2944" y="4886"/>
                  </a:lnTo>
                  <a:lnTo>
                    <a:pt x="2952" y="4882"/>
                  </a:lnTo>
                  <a:lnTo>
                    <a:pt x="2954" y="4882"/>
                  </a:lnTo>
                  <a:lnTo>
                    <a:pt x="2958" y="4878"/>
                  </a:lnTo>
                  <a:lnTo>
                    <a:pt x="2958" y="4872"/>
                  </a:lnTo>
                  <a:lnTo>
                    <a:pt x="2958" y="4862"/>
                  </a:lnTo>
                  <a:lnTo>
                    <a:pt x="2956" y="4840"/>
                  </a:lnTo>
                  <a:lnTo>
                    <a:pt x="2958" y="4822"/>
                  </a:lnTo>
                  <a:lnTo>
                    <a:pt x="2962" y="4808"/>
                  </a:lnTo>
                  <a:lnTo>
                    <a:pt x="2964" y="4804"/>
                  </a:lnTo>
                  <a:lnTo>
                    <a:pt x="2968" y="4800"/>
                  </a:lnTo>
                  <a:lnTo>
                    <a:pt x="2972" y="4796"/>
                  </a:lnTo>
                  <a:lnTo>
                    <a:pt x="2974" y="4792"/>
                  </a:lnTo>
                  <a:lnTo>
                    <a:pt x="2978" y="4792"/>
                  </a:lnTo>
                  <a:lnTo>
                    <a:pt x="2982" y="4796"/>
                  </a:lnTo>
                  <a:lnTo>
                    <a:pt x="2988" y="4800"/>
                  </a:lnTo>
                  <a:lnTo>
                    <a:pt x="2992" y="4802"/>
                  </a:lnTo>
                  <a:lnTo>
                    <a:pt x="3002" y="4802"/>
                  </a:lnTo>
                  <a:lnTo>
                    <a:pt x="3010" y="4800"/>
                  </a:lnTo>
                  <a:lnTo>
                    <a:pt x="3012" y="4798"/>
                  </a:lnTo>
                  <a:lnTo>
                    <a:pt x="3014" y="4796"/>
                  </a:lnTo>
                  <a:lnTo>
                    <a:pt x="3012" y="4792"/>
                  </a:lnTo>
                  <a:lnTo>
                    <a:pt x="3006" y="4786"/>
                  </a:lnTo>
                  <a:lnTo>
                    <a:pt x="2988" y="4770"/>
                  </a:lnTo>
                  <a:lnTo>
                    <a:pt x="2980" y="4760"/>
                  </a:lnTo>
                  <a:lnTo>
                    <a:pt x="2972" y="4752"/>
                  </a:lnTo>
                  <a:lnTo>
                    <a:pt x="2970" y="4744"/>
                  </a:lnTo>
                  <a:lnTo>
                    <a:pt x="2970" y="4742"/>
                  </a:lnTo>
                  <a:lnTo>
                    <a:pt x="2970" y="4738"/>
                  </a:lnTo>
                  <a:lnTo>
                    <a:pt x="2974" y="4734"/>
                  </a:lnTo>
                  <a:lnTo>
                    <a:pt x="2976" y="4730"/>
                  </a:lnTo>
                  <a:lnTo>
                    <a:pt x="2974" y="4726"/>
                  </a:lnTo>
                  <a:lnTo>
                    <a:pt x="2972" y="4722"/>
                  </a:lnTo>
                  <a:lnTo>
                    <a:pt x="2966" y="4714"/>
                  </a:lnTo>
                  <a:lnTo>
                    <a:pt x="2964" y="4708"/>
                  </a:lnTo>
                  <a:lnTo>
                    <a:pt x="2962" y="4702"/>
                  </a:lnTo>
                  <a:lnTo>
                    <a:pt x="2960" y="4696"/>
                  </a:lnTo>
                  <a:lnTo>
                    <a:pt x="2958" y="4692"/>
                  </a:lnTo>
                  <a:lnTo>
                    <a:pt x="2954" y="4690"/>
                  </a:lnTo>
                  <a:lnTo>
                    <a:pt x="2950" y="4686"/>
                  </a:lnTo>
                  <a:lnTo>
                    <a:pt x="2948" y="4684"/>
                  </a:lnTo>
                  <a:lnTo>
                    <a:pt x="2950" y="4678"/>
                  </a:lnTo>
                  <a:lnTo>
                    <a:pt x="2950" y="4672"/>
                  </a:lnTo>
                  <a:lnTo>
                    <a:pt x="2952" y="4668"/>
                  </a:lnTo>
                  <a:lnTo>
                    <a:pt x="2956" y="4666"/>
                  </a:lnTo>
                  <a:lnTo>
                    <a:pt x="2958" y="4666"/>
                  </a:lnTo>
                  <a:lnTo>
                    <a:pt x="2964" y="4666"/>
                  </a:lnTo>
                  <a:lnTo>
                    <a:pt x="2966" y="4666"/>
                  </a:lnTo>
                  <a:lnTo>
                    <a:pt x="2966" y="4662"/>
                  </a:lnTo>
                  <a:lnTo>
                    <a:pt x="2964" y="4658"/>
                  </a:lnTo>
                  <a:lnTo>
                    <a:pt x="2956" y="4648"/>
                  </a:lnTo>
                  <a:lnTo>
                    <a:pt x="2954" y="4644"/>
                  </a:lnTo>
                  <a:lnTo>
                    <a:pt x="2954" y="4642"/>
                  </a:lnTo>
                  <a:lnTo>
                    <a:pt x="2954" y="4640"/>
                  </a:lnTo>
                  <a:lnTo>
                    <a:pt x="2956" y="4638"/>
                  </a:lnTo>
                  <a:lnTo>
                    <a:pt x="2958" y="4638"/>
                  </a:lnTo>
                  <a:lnTo>
                    <a:pt x="2960" y="4636"/>
                  </a:lnTo>
                  <a:lnTo>
                    <a:pt x="2958" y="4630"/>
                  </a:lnTo>
                  <a:lnTo>
                    <a:pt x="2958" y="4628"/>
                  </a:lnTo>
                  <a:lnTo>
                    <a:pt x="2966" y="4632"/>
                  </a:lnTo>
                  <a:lnTo>
                    <a:pt x="2972" y="4636"/>
                  </a:lnTo>
                  <a:lnTo>
                    <a:pt x="2976" y="4636"/>
                  </a:lnTo>
                  <a:lnTo>
                    <a:pt x="2980" y="4632"/>
                  </a:lnTo>
                  <a:lnTo>
                    <a:pt x="2986" y="4632"/>
                  </a:lnTo>
                  <a:lnTo>
                    <a:pt x="2992" y="4630"/>
                  </a:lnTo>
                  <a:lnTo>
                    <a:pt x="2998" y="4628"/>
                  </a:lnTo>
                  <a:lnTo>
                    <a:pt x="2998" y="4626"/>
                  </a:lnTo>
                  <a:lnTo>
                    <a:pt x="2998" y="4624"/>
                  </a:lnTo>
                  <a:lnTo>
                    <a:pt x="2990" y="4618"/>
                  </a:lnTo>
                  <a:lnTo>
                    <a:pt x="2982" y="4610"/>
                  </a:lnTo>
                  <a:lnTo>
                    <a:pt x="2980" y="4606"/>
                  </a:lnTo>
                  <a:lnTo>
                    <a:pt x="2982" y="4602"/>
                  </a:lnTo>
                  <a:lnTo>
                    <a:pt x="2986" y="4598"/>
                  </a:lnTo>
                  <a:lnTo>
                    <a:pt x="2988" y="4598"/>
                  </a:lnTo>
                  <a:lnTo>
                    <a:pt x="2990" y="4598"/>
                  </a:lnTo>
                  <a:lnTo>
                    <a:pt x="2994" y="4600"/>
                  </a:lnTo>
                  <a:lnTo>
                    <a:pt x="3002" y="4600"/>
                  </a:lnTo>
                  <a:lnTo>
                    <a:pt x="3014" y="4596"/>
                  </a:lnTo>
                  <a:lnTo>
                    <a:pt x="3020" y="4592"/>
                  </a:lnTo>
                  <a:lnTo>
                    <a:pt x="3024" y="4586"/>
                  </a:lnTo>
                  <a:lnTo>
                    <a:pt x="3024" y="4580"/>
                  </a:lnTo>
                  <a:lnTo>
                    <a:pt x="3022" y="4578"/>
                  </a:lnTo>
                  <a:lnTo>
                    <a:pt x="3022" y="4576"/>
                  </a:lnTo>
                  <a:lnTo>
                    <a:pt x="3018" y="4576"/>
                  </a:lnTo>
                  <a:lnTo>
                    <a:pt x="3014" y="4578"/>
                  </a:lnTo>
                  <a:lnTo>
                    <a:pt x="3012" y="4578"/>
                  </a:lnTo>
                  <a:lnTo>
                    <a:pt x="3010" y="4576"/>
                  </a:lnTo>
                  <a:lnTo>
                    <a:pt x="3006" y="4572"/>
                  </a:lnTo>
                  <a:lnTo>
                    <a:pt x="3004" y="4572"/>
                  </a:lnTo>
                  <a:lnTo>
                    <a:pt x="3000" y="4570"/>
                  </a:lnTo>
                  <a:lnTo>
                    <a:pt x="2998" y="4566"/>
                  </a:lnTo>
                  <a:lnTo>
                    <a:pt x="2994" y="4562"/>
                  </a:lnTo>
                  <a:lnTo>
                    <a:pt x="2988" y="4560"/>
                  </a:lnTo>
                  <a:lnTo>
                    <a:pt x="2984" y="4560"/>
                  </a:lnTo>
                  <a:lnTo>
                    <a:pt x="2982" y="4560"/>
                  </a:lnTo>
                  <a:lnTo>
                    <a:pt x="2976" y="4564"/>
                  </a:lnTo>
                  <a:lnTo>
                    <a:pt x="2974" y="4564"/>
                  </a:lnTo>
                  <a:lnTo>
                    <a:pt x="2972" y="4562"/>
                  </a:lnTo>
                  <a:lnTo>
                    <a:pt x="2972" y="4560"/>
                  </a:lnTo>
                  <a:lnTo>
                    <a:pt x="2974" y="4558"/>
                  </a:lnTo>
                  <a:lnTo>
                    <a:pt x="2976" y="4556"/>
                  </a:lnTo>
                  <a:lnTo>
                    <a:pt x="2976" y="4550"/>
                  </a:lnTo>
                  <a:lnTo>
                    <a:pt x="2974" y="4548"/>
                  </a:lnTo>
                  <a:lnTo>
                    <a:pt x="2972" y="4548"/>
                  </a:lnTo>
                  <a:lnTo>
                    <a:pt x="2968" y="4548"/>
                  </a:lnTo>
                  <a:lnTo>
                    <a:pt x="2964" y="4550"/>
                  </a:lnTo>
                  <a:lnTo>
                    <a:pt x="2962" y="4550"/>
                  </a:lnTo>
                  <a:lnTo>
                    <a:pt x="2960" y="4548"/>
                  </a:lnTo>
                  <a:lnTo>
                    <a:pt x="2960" y="4542"/>
                  </a:lnTo>
                  <a:lnTo>
                    <a:pt x="2960" y="4536"/>
                  </a:lnTo>
                  <a:lnTo>
                    <a:pt x="2962" y="4530"/>
                  </a:lnTo>
                  <a:lnTo>
                    <a:pt x="2958" y="4522"/>
                  </a:lnTo>
                  <a:lnTo>
                    <a:pt x="2954" y="4518"/>
                  </a:lnTo>
                  <a:lnTo>
                    <a:pt x="2952" y="4520"/>
                  </a:lnTo>
                  <a:lnTo>
                    <a:pt x="2948" y="4520"/>
                  </a:lnTo>
                  <a:lnTo>
                    <a:pt x="2946" y="4518"/>
                  </a:lnTo>
                  <a:lnTo>
                    <a:pt x="2944" y="4510"/>
                  </a:lnTo>
                  <a:lnTo>
                    <a:pt x="2942" y="4504"/>
                  </a:lnTo>
                  <a:lnTo>
                    <a:pt x="2940" y="4502"/>
                  </a:lnTo>
                  <a:lnTo>
                    <a:pt x="2938" y="4502"/>
                  </a:lnTo>
                  <a:lnTo>
                    <a:pt x="2936" y="4504"/>
                  </a:lnTo>
                  <a:lnTo>
                    <a:pt x="2934" y="4508"/>
                  </a:lnTo>
                  <a:lnTo>
                    <a:pt x="2932" y="4514"/>
                  </a:lnTo>
                  <a:lnTo>
                    <a:pt x="2928" y="4520"/>
                  </a:lnTo>
                  <a:lnTo>
                    <a:pt x="2926" y="4522"/>
                  </a:lnTo>
                  <a:lnTo>
                    <a:pt x="2924" y="4520"/>
                  </a:lnTo>
                  <a:lnTo>
                    <a:pt x="2926" y="4512"/>
                  </a:lnTo>
                  <a:lnTo>
                    <a:pt x="2928" y="4504"/>
                  </a:lnTo>
                  <a:lnTo>
                    <a:pt x="2926" y="4500"/>
                  </a:lnTo>
                  <a:lnTo>
                    <a:pt x="2924" y="4500"/>
                  </a:lnTo>
                  <a:lnTo>
                    <a:pt x="2920" y="4502"/>
                  </a:lnTo>
                  <a:lnTo>
                    <a:pt x="2918" y="4506"/>
                  </a:lnTo>
                  <a:lnTo>
                    <a:pt x="2916" y="4514"/>
                  </a:lnTo>
                  <a:lnTo>
                    <a:pt x="2910" y="4528"/>
                  </a:lnTo>
                  <a:lnTo>
                    <a:pt x="2904" y="4538"/>
                  </a:lnTo>
                  <a:lnTo>
                    <a:pt x="2900" y="4542"/>
                  </a:lnTo>
                  <a:lnTo>
                    <a:pt x="2896" y="4544"/>
                  </a:lnTo>
                  <a:lnTo>
                    <a:pt x="2896" y="4548"/>
                  </a:lnTo>
                  <a:lnTo>
                    <a:pt x="2894" y="4556"/>
                  </a:lnTo>
                  <a:lnTo>
                    <a:pt x="2892" y="4558"/>
                  </a:lnTo>
                  <a:lnTo>
                    <a:pt x="2890" y="4560"/>
                  </a:lnTo>
                  <a:lnTo>
                    <a:pt x="2890" y="4562"/>
                  </a:lnTo>
                  <a:lnTo>
                    <a:pt x="2888" y="4570"/>
                  </a:lnTo>
                  <a:lnTo>
                    <a:pt x="2884" y="4572"/>
                  </a:lnTo>
                  <a:lnTo>
                    <a:pt x="2882" y="4574"/>
                  </a:lnTo>
                  <a:lnTo>
                    <a:pt x="2880" y="4572"/>
                  </a:lnTo>
                  <a:lnTo>
                    <a:pt x="2876" y="4570"/>
                  </a:lnTo>
                  <a:lnTo>
                    <a:pt x="2874" y="4572"/>
                  </a:lnTo>
                  <a:lnTo>
                    <a:pt x="2868" y="4580"/>
                  </a:lnTo>
                  <a:lnTo>
                    <a:pt x="2868" y="4582"/>
                  </a:lnTo>
                  <a:lnTo>
                    <a:pt x="2868" y="4584"/>
                  </a:lnTo>
                  <a:lnTo>
                    <a:pt x="2872" y="4586"/>
                  </a:lnTo>
                  <a:lnTo>
                    <a:pt x="2876" y="4592"/>
                  </a:lnTo>
                  <a:lnTo>
                    <a:pt x="2874" y="4594"/>
                  </a:lnTo>
                  <a:lnTo>
                    <a:pt x="2872" y="4598"/>
                  </a:lnTo>
                  <a:lnTo>
                    <a:pt x="2868" y="4602"/>
                  </a:lnTo>
                  <a:lnTo>
                    <a:pt x="2864" y="4600"/>
                  </a:lnTo>
                  <a:lnTo>
                    <a:pt x="2862" y="4600"/>
                  </a:lnTo>
                  <a:lnTo>
                    <a:pt x="2858" y="4604"/>
                  </a:lnTo>
                  <a:lnTo>
                    <a:pt x="2854" y="4608"/>
                  </a:lnTo>
                  <a:lnTo>
                    <a:pt x="2854" y="4604"/>
                  </a:lnTo>
                  <a:lnTo>
                    <a:pt x="2856" y="4598"/>
                  </a:lnTo>
                  <a:lnTo>
                    <a:pt x="2856" y="4596"/>
                  </a:lnTo>
                  <a:lnTo>
                    <a:pt x="2854" y="4596"/>
                  </a:lnTo>
                  <a:lnTo>
                    <a:pt x="2850" y="4598"/>
                  </a:lnTo>
                  <a:lnTo>
                    <a:pt x="2844" y="4602"/>
                  </a:lnTo>
                  <a:lnTo>
                    <a:pt x="2836" y="4610"/>
                  </a:lnTo>
                  <a:lnTo>
                    <a:pt x="2828" y="4616"/>
                  </a:lnTo>
                  <a:lnTo>
                    <a:pt x="2822" y="4618"/>
                  </a:lnTo>
                  <a:lnTo>
                    <a:pt x="2816" y="4618"/>
                  </a:lnTo>
                  <a:lnTo>
                    <a:pt x="2814" y="4618"/>
                  </a:lnTo>
                  <a:lnTo>
                    <a:pt x="2812" y="4618"/>
                  </a:lnTo>
                  <a:lnTo>
                    <a:pt x="2812" y="4630"/>
                  </a:lnTo>
                  <a:lnTo>
                    <a:pt x="2810" y="4634"/>
                  </a:lnTo>
                  <a:lnTo>
                    <a:pt x="2806" y="4640"/>
                  </a:lnTo>
                  <a:lnTo>
                    <a:pt x="2798" y="4652"/>
                  </a:lnTo>
                  <a:lnTo>
                    <a:pt x="2786" y="4666"/>
                  </a:lnTo>
                  <a:lnTo>
                    <a:pt x="2780" y="4674"/>
                  </a:lnTo>
                  <a:lnTo>
                    <a:pt x="2778" y="4684"/>
                  </a:lnTo>
                  <a:lnTo>
                    <a:pt x="2774" y="4688"/>
                  </a:lnTo>
                  <a:lnTo>
                    <a:pt x="2766" y="4692"/>
                  </a:lnTo>
                  <a:lnTo>
                    <a:pt x="2746" y="4696"/>
                  </a:lnTo>
                  <a:lnTo>
                    <a:pt x="2724" y="4700"/>
                  </a:lnTo>
                  <a:lnTo>
                    <a:pt x="2716" y="4704"/>
                  </a:lnTo>
                  <a:lnTo>
                    <a:pt x="2712" y="4706"/>
                  </a:lnTo>
                  <a:lnTo>
                    <a:pt x="2710" y="4710"/>
                  </a:lnTo>
                  <a:lnTo>
                    <a:pt x="2708" y="4716"/>
                  </a:lnTo>
                  <a:lnTo>
                    <a:pt x="2710" y="4724"/>
                  </a:lnTo>
                  <a:lnTo>
                    <a:pt x="2708" y="4728"/>
                  </a:lnTo>
                  <a:lnTo>
                    <a:pt x="2704" y="4726"/>
                  </a:lnTo>
                  <a:lnTo>
                    <a:pt x="2702" y="4724"/>
                  </a:lnTo>
                  <a:lnTo>
                    <a:pt x="2700" y="4724"/>
                  </a:lnTo>
                  <a:lnTo>
                    <a:pt x="2698" y="4728"/>
                  </a:lnTo>
                  <a:lnTo>
                    <a:pt x="2698" y="4734"/>
                  </a:lnTo>
                  <a:lnTo>
                    <a:pt x="2700" y="4738"/>
                  </a:lnTo>
                  <a:lnTo>
                    <a:pt x="2702" y="4738"/>
                  </a:lnTo>
                  <a:lnTo>
                    <a:pt x="2702" y="4740"/>
                  </a:lnTo>
                  <a:lnTo>
                    <a:pt x="2700" y="4742"/>
                  </a:lnTo>
                  <a:lnTo>
                    <a:pt x="2698" y="4750"/>
                  </a:lnTo>
                  <a:lnTo>
                    <a:pt x="2696" y="4756"/>
                  </a:lnTo>
                  <a:lnTo>
                    <a:pt x="2692" y="4760"/>
                  </a:lnTo>
                  <a:lnTo>
                    <a:pt x="2692" y="4764"/>
                  </a:lnTo>
                  <a:lnTo>
                    <a:pt x="2696" y="4768"/>
                  </a:lnTo>
                  <a:lnTo>
                    <a:pt x="2698" y="4772"/>
                  </a:lnTo>
                  <a:lnTo>
                    <a:pt x="2698" y="4774"/>
                  </a:lnTo>
                  <a:lnTo>
                    <a:pt x="2690" y="4768"/>
                  </a:lnTo>
                  <a:lnTo>
                    <a:pt x="2684" y="4766"/>
                  </a:lnTo>
                  <a:lnTo>
                    <a:pt x="2678" y="4766"/>
                  </a:lnTo>
                  <a:lnTo>
                    <a:pt x="2672" y="4764"/>
                  </a:lnTo>
                  <a:lnTo>
                    <a:pt x="2672" y="4762"/>
                  </a:lnTo>
                  <a:lnTo>
                    <a:pt x="2672" y="4760"/>
                  </a:lnTo>
                  <a:lnTo>
                    <a:pt x="2674" y="4756"/>
                  </a:lnTo>
                  <a:lnTo>
                    <a:pt x="2672" y="4756"/>
                  </a:lnTo>
                  <a:lnTo>
                    <a:pt x="2670" y="4756"/>
                  </a:lnTo>
                  <a:lnTo>
                    <a:pt x="2666" y="4754"/>
                  </a:lnTo>
                  <a:lnTo>
                    <a:pt x="2664" y="4752"/>
                  </a:lnTo>
                  <a:lnTo>
                    <a:pt x="2664" y="4754"/>
                  </a:lnTo>
                  <a:lnTo>
                    <a:pt x="2662" y="4756"/>
                  </a:lnTo>
                  <a:lnTo>
                    <a:pt x="2656" y="4758"/>
                  </a:lnTo>
                  <a:lnTo>
                    <a:pt x="2650" y="4758"/>
                  </a:lnTo>
                  <a:lnTo>
                    <a:pt x="2644" y="4756"/>
                  </a:lnTo>
                  <a:lnTo>
                    <a:pt x="2640" y="4750"/>
                  </a:lnTo>
                  <a:lnTo>
                    <a:pt x="2638" y="4742"/>
                  </a:lnTo>
                  <a:lnTo>
                    <a:pt x="2632" y="4744"/>
                  </a:lnTo>
                  <a:lnTo>
                    <a:pt x="2628" y="4746"/>
                  </a:lnTo>
                  <a:lnTo>
                    <a:pt x="2622" y="4750"/>
                  </a:lnTo>
                  <a:lnTo>
                    <a:pt x="2620" y="4758"/>
                  </a:lnTo>
                  <a:lnTo>
                    <a:pt x="2618" y="4764"/>
                  </a:lnTo>
                  <a:lnTo>
                    <a:pt x="2614" y="4772"/>
                  </a:lnTo>
                  <a:lnTo>
                    <a:pt x="2610" y="4780"/>
                  </a:lnTo>
                  <a:lnTo>
                    <a:pt x="2606" y="4802"/>
                  </a:lnTo>
                  <a:lnTo>
                    <a:pt x="2606" y="4812"/>
                  </a:lnTo>
                  <a:lnTo>
                    <a:pt x="2608" y="4820"/>
                  </a:lnTo>
                  <a:lnTo>
                    <a:pt x="2610" y="4826"/>
                  </a:lnTo>
                  <a:lnTo>
                    <a:pt x="2616" y="4830"/>
                  </a:lnTo>
                  <a:lnTo>
                    <a:pt x="2620" y="4834"/>
                  </a:lnTo>
                  <a:lnTo>
                    <a:pt x="2620" y="4836"/>
                  </a:lnTo>
                  <a:lnTo>
                    <a:pt x="2616" y="4844"/>
                  </a:lnTo>
                  <a:lnTo>
                    <a:pt x="2614" y="4848"/>
                  </a:lnTo>
                  <a:lnTo>
                    <a:pt x="2614" y="4854"/>
                  </a:lnTo>
                  <a:lnTo>
                    <a:pt x="2614" y="4858"/>
                  </a:lnTo>
                  <a:lnTo>
                    <a:pt x="2618" y="4864"/>
                  </a:lnTo>
                  <a:lnTo>
                    <a:pt x="2622" y="4870"/>
                  </a:lnTo>
                  <a:lnTo>
                    <a:pt x="2624" y="4874"/>
                  </a:lnTo>
                  <a:lnTo>
                    <a:pt x="2624" y="4876"/>
                  </a:lnTo>
                  <a:lnTo>
                    <a:pt x="2622" y="4878"/>
                  </a:lnTo>
                  <a:lnTo>
                    <a:pt x="2620" y="4880"/>
                  </a:lnTo>
                  <a:lnTo>
                    <a:pt x="2626" y="4882"/>
                  </a:lnTo>
                  <a:lnTo>
                    <a:pt x="2630" y="4886"/>
                  </a:lnTo>
                  <a:lnTo>
                    <a:pt x="2632" y="4888"/>
                  </a:lnTo>
                  <a:lnTo>
                    <a:pt x="2632" y="4890"/>
                  </a:lnTo>
                  <a:lnTo>
                    <a:pt x="2630" y="4892"/>
                  </a:lnTo>
                  <a:lnTo>
                    <a:pt x="2628" y="4898"/>
                  </a:lnTo>
                  <a:lnTo>
                    <a:pt x="2626" y="4900"/>
                  </a:lnTo>
                  <a:lnTo>
                    <a:pt x="2628" y="4902"/>
                  </a:lnTo>
                  <a:lnTo>
                    <a:pt x="2632" y="4904"/>
                  </a:lnTo>
                  <a:lnTo>
                    <a:pt x="2634" y="4904"/>
                  </a:lnTo>
                  <a:lnTo>
                    <a:pt x="2640" y="4900"/>
                  </a:lnTo>
                  <a:lnTo>
                    <a:pt x="2646" y="4898"/>
                  </a:lnTo>
                  <a:lnTo>
                    <a:pt x="2650" y="4898"/>
                  </a:lnTo>
                  <a:lnTo>
                    <a:pt x="2652" y="4902"/>
                  </a:lnTo>
                  <a:lnTo>
                    <a:pt x="2652" y="4908"/>
                  </a:lnTo>
                  <a:lnTo>
                    <a:pt x="2652" y="4910"/>
                  </a:lnTo>
                  <a:lnTo>
                    <a:pt x="2650" y="4918"/>
                  </a:lnTo>
                  <a:lnTo>
                    <a:pt x="2648" y="4926"/>
                  </a:lnTo>
                  <a:lnTo>
                    <a:pt x="2648" y="4934"/>
                  </a:lnTo>
                  <a:lnTo>
                    <a:pt x="2652" y="4942"/>
                  </a:lnTo>
                  <a:lnTo>
                    <a:pt x="2658" y="4960"/>
                  </a:lnTo>
                  <a:lnTo>
                    <a:pt x="2660" y="4972"/>
                  </a:lnTo>
                  <a:lnTo>
                    <a:pt x="2660" y="4980"/>
                  </a:lnTo>
                  <a:lnTo>
                    <a:pt x="2660" y="4984"/>
                  </a:lnTo>
                  <a:lnTo>
                    <a:pt x="2660" y="4986"/>
                  </a:lnTo>
                  <a:lnTo>
                    <a:pt x="2666" y="4986"/>
                  </a:lnTo>
                  <a:lnTo>
                    <a:pt x="2678" y="4988"/>
                  </a:lnTo>
                  <a:lnTo>
                    <a:pt x="2684" y="4992"/>
                  </a:lnTo>
                  <a:lnTo>
                    <a:pt x="2692" y="4992"/>
                  </a:lnTo>
                  <a:lnTo>
                    <a:pt x="2698" y="4986"/>
                  </a:lnTo>
                  <a:lnTo>
                    <a:pt x="2702" y="4982"/>
                  </a:lnTo>
                  <a:lnTo>
                    <a:pt x="2706" y="4982"/>
                  </a:lnTo>
                  <a:lnTo>
                    <a:pt x="2712" y="4982"/>
                  </a:lnTo>
                  <a:lnTo>
                    <a:pt x="2716" y="4984"/>
                  </a:lnTo>
                  <a:lnTo>
                    <a:pt x="2720" y="4986"/>
                  </a:lnTo>
                  <a:lnTo>
                    <a:pt x="2722" y="4992"/>
                  </a:lnTo>
                  <a:lnTo>
                    <a:pt x="2724" y="4996"/>
                  </a:lnTo>
                  <a:lnTo>
                    <a:pt x="2724" y="5002"/>
                  </a:lnTo>
                  <a:lnTo>
                    <a:pt x="2724" y="5010"/>
                  </a:lnTo>
                  <a:lnTo>
                    <a:pt x="2726" y="5012"/>
                  </a:lnTo>
                  <a:lnTo>
                    <a:pt x="2728" y="5012"/>
                  </a:lnTo>
                  <a:lnTo>
                    <a:pt x="2734" y="5010"/>
                  </a:lnTo>
                  <a:lnTo>
                    <a:pt x="2740" y="5004"/>
                  </a:lnTo>
                  <a:lnTo>
                    <a:pt x="2742" y="5002"/>
                  </a:lnTo>
                  <a:lnTo>
                    <a:pt x="2746" y="5002"/>
                  </a:lnTo>
                  <a:lnTo>
                    <a:pt x="2754" y="5004"/>
                  </a:lnTo>
                  <a:lnTo>
                    <a:pt x="2756" y="5004"/>
                  </a:lnTo>
                  <a:lnTo>
                    <a:pt x="2760" y="5004"/>
                  </a:lnTo>
                  <a:lnTo>
                    <a:pt x="2764" y="5002"/>
                  </a:lnTo>
                  <a:lnTo>
                    <a:pt x="2768" y="4998"/>
                  </a:lnTo>
                  <a:lnTo>
                    <a:pt x="2770" y="4992"/>
                  </a:lnTo>
                  <a:lnTo>
                    <a:pt x="2774" y="4990"/>
                  </a:lnTo>
                  <a:lnTo>
                    <a:pt x="2776" y="4990"/>
                  </a:lnTo>
                  <a:lnTo>
                    <a:pt x="2778" y="4992"/>
                  </a:lnTo>
                  <a:lnTo>
                    <a:pt x="2784" y="4996"/>
                  </a:lnTo>
                  <a:lnTo>
                    <a:pt x="2788" y="4998"/>
                  </a:lnTo>
                  <a:lnTo>
                    <a:pt x="2792" y="4998"/>
                  </a:lnTo>
                  <a:lnTo>
                    <a:pt x="2794" y="4998"/>
                  </a:lnTo>
                  <a:lnTo>
                    <a:pt x="2796" y="5000"/>
                  </a:lnTo>
                  <a:lnTo>
                    <a:pt x="2796" y="5004"/>
                  </a:lnTo>
                  <a:lnTo>
                    <a:pt x="2796" y="5006"/>
                  </a:lnTo>
                  <a:lnTo>
                    <a:pt x="2798" y="5008"/>
                  </a:lnTo>
                  <a:lnTo>
                    <a:pt x="2800" y="5008"/>
                  </a:lnTo>
                  <a:lnTo>
                    <a:pt x="2806" y="5006"/>
                  </a:lnTo>
                  <a:lnTo>
                    <a:pt x="2814" y="5004"/>
                  </a:lnTo>
                  <a:lnTo>
                    <a:pt x="2820" y="5004"/>
                  </a:lnTo>
                  <a:lnTo>
                    <a:pt x="2826" y="5008"/>
                  </a:lnTo>
                  <a:lnTo>
                    <a:pt x="2830" y="5012"/>
                  </a:lnTo>
                  <a:lnTo>
                    <a:pt x="2834" y="5016"/>
                  </a:lnTo>
                  <a:lnTo>
                    <a:pt x="2836" y="5022"/>
                  </a:lnTo>
                  <a:lnTo>
                    <a:pt x="2836" y="5030"/>
                  </a:lnTo>
                  <a:lnTo>
                    <a:pt x="2836" y="5036"/>
                  </a:lnTo>
                  <a:lnTo>
                    <a:pt x="2836" y="5040"/>
                  </a:lnTo>
                  <a:lnTo>
                    <a:pt x="2840" y="5042"/>
                  </a:lnTo>
                  <a:lnTo>
                    <a:pt x="2846" y="5040"/>
                  </a:lnTo>
                  <a:lnTo>
                    <a:pt x="2852" y="5036"/>
                  </a:lnTo>
                  <a:lnTo>
                    <a:pt x="2868" y="5026"/>
                  </a:lnTo>
                  <a:lnTo>
                    <a:pt x="2876" y="5024"/>
                  </a:lnTo>
                  <a:lnTo>
                    <a:pt x="2882" y="5022"/>
                  </a:lnTo>
                  <a:lnTo>
                    <a:pt x="2886" y="5020"/>
                  </a:lnTo>
                  <a:lnTo>
                    <a:pt x="2890" y="5018"/>
                  </a:lnTo>
                  <a:lnTo>
                    <a:pt x="2894" y="5008"/>
                  </a:lnTo>
                  <a:lnTo>
                    <a:pt x="2896" y="4996"/>
                  </a:lnTo>
                  <a:lnTo>
                    <a:pt x="2898" y="4986"/>
                  </a:lnTo>
                  <a:lnTo>
                    <a:pt x="2898" y="4982"/>
                  </a:lnTo>
                  <a:lnTo>
                    <a:pt x="2902" y="4980"/>
                  </a:lnTo>
                  <a:lnTo>
                    <a:pt x="2904" y="4978"/>
                  </a:lnTo>
                  <a:lnTo>
                    <a:pt x="2906" y="4970"/>
                  </a:lnTo>
                  <a:close/>
                  <a:moveTo>
                    <a:pt x="2606" y="3938"/>
                  </a:moveTo>
                  <a:lnTo>
                    <a:pt x="2606" y="3938"/>
                  </a:lnTo>
                  <a:lnTo>
                    <a:pt x="2616" y="3942"/>
                  </a:lnTo>
                  <a:lnTo>
                    <a:pt x="2622" y="3944"/>
                  </a:lnTo>
                  <a:lnTo>
                    <a:pt x="2624" y="3944"/>
                  </a:lnTo>
                  <a:lnTo>
                    <a:pt x="2626" y="3944"/>
                  </a:lnTo>
                  <a:lnTo>
                    <a:pt x="2630" y="3948"/>
                  </a:lnTo>
                  <a:lnTo>
                    <a:pt x="2634" y="3950"/>
                  </a:lnTo>
                  <a:lnTo>
                    <a:pt x="2638" y="3948"/>
                  </a:lnTo>
                  <a:lnTo>
                    <a:pt x="2640" y="3942"/>
                  </a:lnTo>
                  <a:lnTo>
                    <a:pt x="2640" y="3940"/>
                  </a:lnTo>
                  <a:lnTo>
                    <a:pt x="2642" y="3940"/>
                  </a:lnTo>
                  <a:lnTo>
                    <a:pt x="2646" y="3940"/>
                  </a:lnTo>
                  <a:lnTo>
                    <a:pt x="2652" y="3938"/>
                  </a:lnTo>
                  <a:lnTo>
                    <a:pt x="2654" y="3938"/>
                  </a:lnTo>
                  <a:lnTo>
                    <a:pt x="2654" y="3934"/>
                  </a:lnTo>
                  <a:lnTo>
                    <a:pt x="2656" y="3930"/>
                  </a:lnTo>
                  <a:lnTo>
                    <a:pt x="2658" y="3928"/>
                  </a:lnTo>
                  <a:lnTo>
                    <a:pt x="2664" y="3926"/>
                  </a:lnTo>
                  <a:lnTo>
                    <a:pt x="2666" y="3924"/>
                  </a:lnTo>
                  <a:lnTo>
                    <a:pt x="2670" y="3922"/>
                  </a:lnTo>
                  <a:lnTo>
                    <a:pt x="2670" y="3918"/>
                  </a:lnTo>
                  <a:lnTo>
                    <a:pt x="2672" y="3912"/>
                  </a:lnTo>
                  <a:lnTo>
                    <a:pt x="2674" y="3902"/>
                  </a:lnTo>
                  <a:lnTo>
                    <a:pt x="2678" y="3892"/>
                  </a:lnTo>
                  <a:lnTo>
                    <a:pt x="2684" y="3884"/>
                  </a:lnTo>
                  <a:lnTo>
                    <a:pt x="2690" y="3878"/>
                  </a:lnTo>
                  <a:lnTo>
                    <a:pt x="2692" y="3874"/>
                  </a:lnTo>
                  <a:lnTo>
                    <a:pt x="2692" y="3868"/>
                  </a:lnTo>
                  <a:lnTo>
                    <a:pt x="2690" y="3862"/>
                  </a:lnTo>
                  <a:lnTo>
                    <a:pt x="2686" y="3858"/>
                  </a:lnTo>
                  <a:lnTo>
                    <a:pt x="2682" y="3856"/>
                  </a:lnTo>
                  <a:lnTo>
                    <a:pt x="2680" y="3854"/>
                  </a:lnTo>
                  <a:lnTo>
                    <a:pt x="2676" y="3852"/>
                  </a:lnTo>
                  <a:lnTo>
                    <a:pt x="2674" y="3854"/>
                  </a:lnTo>
                  <a:lnTo>
                    <a:pt x="2670" y="3856"/>
                  </a:lnTo>
                  <a:lnTo>
                    <a:pt x="2666" y="3856"/>
                  </a:lnTo>
                  <a:lnTo>
                    <a:pt x="2660" y="3856"/>
                  </a:lnTo>
                  <a:lnTo>
                    <a:pt x="2654" y="3858"/>
                  </a:lnTo>
                  <a:lnTo>
                    <a:pt x="2652" y="3860"/>
                  </a:lnTo>
                  <a:lnTo>
                    <a:pt x="2648" y="3860"/>
                  </a:lnTo>
                  <a:lnTo>
                    <a:pt x="2642" y="3858"/>
                  </a:lnTo>
                  <a:lnTo>
                    <a:pt x="2636" y="3858"/>
                  </a:lnTo>
                  <a:lnTo>
                    <a:pt x="2634" y="3858"/>
                  </a:lnTo>
                  <a:lnTo>
                    <a:pt x="2632" y="3862"/>
                  </a:lnTo>
                  <a:lnTo>
                    <a:pt x="2630" y="3864"/>
                  </a:lnTo>
                  <a:lnTo>
                    <a:pt x="2626" y="3864"/>
                  </a:lnTo>
                  <a:lnTo>
                    <a:pt x="2622" y="3862"/>
                  </a:lnTo>
                  <a:lnTo>
                    <a:pt x="2620" y="3864"/>
                  </a:lnTo>
                  <a:lnTo>
                    <a:pt x="2618" y="3866"/>
                  </a:lnTo>
                  <a:lnTo>
                    <a:pt x="2616" y="3870"/>
                  </a:lnTo>
                  <a:lnTo>
                    <a:pt x="2616" y="3872"/>
                  </a:lnTo>
                  <a:lnTo>
                    <a:pt x="2614" y="3874"/>
                  </a:lnTo>
                  <a:lnTo>
                    <a:pt x="2608" y="3882"/>
                  </a:lnTo>
                  <a:lnTo>
                    <a:pt x="2604" y="3886"/>
                  </a:lnTo>
                  <a:lnTo>
                    <a:pt x="2598" y="3890"/>
                  </a:lnTo>
                  <a:lnTo>
                    <a:pt x="2596" y="3896"/>
                  </a:lnTo>
                  <a:lnTo>
                    <a:pt x="2596" y="3908"/>
                  </a:lnTo>
                  <a:lnTo>
                    <a:pt x="2596" y="3920"/>
                  </a:lnTo>
                  <a:lnTo>
                    <a:pt x="2596" y="3926"/>
                  </a:lnTo>
                  <a:lnTo>
                    <a:pt x="2600" y="3932"/>
                  </a:lnTo>
                  <a:lnTo>
                    <a:pt x="2606" y="3938"/>
                  </a:lnTo>
                  <a:close/>
                  <a:moveTo>
                    <a:pt x="3234" y="3626"/>
                  </a:moveTo>
                  <a:lnTo>
                    <a:pt x="3234" y="3626"/>
                  </a:lnTo>
                  <a:lnTo>
                    <a:pt x="3234" y="3624"/>
                  </a:lnTo>
                  <a:lnTo>
                    <a:pt x="3232" y="3624"/>
                  </a:lnTo>
                  <a:lnTo>
                    <a:pt x="3226" y="3626"/>
                  </a:lnTo>
                  <a:lnTo>
                    <a:pt x="3222" y="3632"/>
                  </a:lnTo>
                  <a:lnTo>
                    <a:pt x="3222" y="3634"/>
                  </a:lnTo>
                  <a:lnTo>
                    <a:pt x="3224" y="3636"/>
                  </a:lnTo>
                  <a:lnTo>
                    <a:pt x="3226" y="3636"/>
                  </a:lnTo>
                  <a:lnTo>
                    <a:pt x="3230" y="3634"/>
                  </a:lnTo>
                  <a:lnTo>
                    <a:pt x="3234" y="3626"/>
                  </a:lnTo>
                  <a:close/>
                  <a:moveTo>
                    <a:pt x="3140" y="4236"/>
                  </a:moveTo>
                  <a:lnTo>
                    <a:pt x="3140" y="4236"/>
                  </a:lnTo>
                  <a:lnTo>
                    <a:pt x="3142" y="4224"/>
                  </a:lnTo>
                  <a:lnTo>
                    <a:pt x="3142" y="4222"/>
                  </a:lnTo>
                  <a:lnTo>
                    <a:pt x="3138" y="4224"/>
                  </a:lnTo>
                  <a:lnTo>
                    <a:pt x="3136" y="4226"/>
                  </a:lnTo>
                  <a:lnTo>
                    <a:pt x="3136" y="4230"/>
                  </a:lnTo>
                  <a:lnTo>
                    <a:pt x="3134" y="4236"/>
                  </a:lnTo>
                  <a:lnTo>
                    <a:pt x="3134" y="4240"/>
                  </a:lnTo>
                  <a:lnTo>
                    <a:pt x="3136" y="4242"/>
                  </a:lnTo>
                  <a:lnTo>
                    <a:pt x="3138" y="4242"/>
                  </a:lnTo>
                  <a:lnTo>
                    <a:pt x="3140" y="4236"/>
                  </a:lnTo>
                  <a:close/>
                  <a:moveTo>
                    <a:pt x="3216" y="3638"/>
                  </a:moveTo>
                  <a:lnTo>
                    <a:pt x="3216" y="3638"/>
                  </a:lnTo>
                  <a:lnTo>
                    <a:pt x="3216" y="3634"/>
                  </a:lnTo>
                  <a:lnTo>
                    <a:pt x="3212" y="3632"/>
                  </a:lnTo>
                  <a:lnTo>
                    <a:pt x="3208" y="3632"/>
                  </a:lnTo>
                  <a:lnTo>
                    <a:pt x="3206" y="3636"/>
                  </a:lnTo>
                  <a:lnTo>
                    <a:pt x="3208" y="3638"/>
                  </a:lnTo>
                  <a:lnTo>
                    <a:pt x="3210" y="3640"/>
                  </a:lnTo>
                  <a:lnTo>
                    <a:pt x="3214" y="3640"/>
                  </a:lnTo>
                  <a:lnTo>
                    <a:pt x="3216" y="3638"/>
                  </a:lnTo>
                  <a:close/>
                  <a:moveTo>
                    <a:pt x="3130" y="4102"/>
                  </a:moveTo>
                  <a:lnTo>
                    <a:pt x="3130" y="4102"/>
                  </a:lnTo>
                  <a:lnTo>
                    <a:pt x="3128" y="4106"/>
                  </a:lnTo>
                  <a:lnTo>
                    <a:pt x="3128" y="4108"/>
                  </a:lnTo>
                  <a:lnTo>
                    <a:pt x="3132" y="4120"/>
                  </a:lnTo>
                  <a:lnTo>
                    <a:pt x="3134" y="4124"/>
                  </a:lnTo>
                  <a:lnTo>
                    <a:pt x="3136" y="4124"/>
                  </a:lnTo>
                  <a:lnTo>
                    <a:pt x="3136" y="4120"/>
                  </a:lnTo>
                  <a:lnTo>
                    <a:pt x="3136" y="4116"/>
                  </a:lnTo>
                  <a:lnTo>
                    <a:pt x="3134" y="4104"/>
                  </a:lnTo>
                  <a:lnTo>
                    <a:pt x="3132" y="4102"/>
                  </a:lnTo>
                  <a:lnTo>
                    <a:pt x="3130" y="4102"/>
                  </a:lnTo>
                  <a:close/>
                  <a:moveTo>
                    <a:pt x="3462" y="5402"/>
                  </a:moveTo>
                  <a:lnTo>
                    <a:pt x="3462" y="5402"/>
                  </a:lnTo>
                  <a:lnTo>
                    <a:pt x="3462" y="5410"/>
                  </a:lnTo>
                  <a:lnTo>
                    <a:pt x="3462" y="5414"/>
                  </a:lnTo>
                  <a:lnTo>
                    <a:pt x="3466" y="5416"/>
                  </a:lnTo>
                  <a:lnTo>
                    <a:pt x="3472" y="5418"/>
                  </a:lnTo>
                  <a:lnTo>
                    <a:pt x="3476" y="5418"/>
                  </a:lnTo>
                  <a:lnTo>
                    <a:pt x="3478" y="5416"/>
                  </a:lnTo>
                  <a:lnTo>
                    <a:pt x="3478" y="5412"/>
                  </a:lnTo>
                  <a:lnTo>
                    <a:pt x="3474" y="5404"/>
                  </a:lnTo>
                  <a:lnTo>
                    <a:pt x="3468" y="5398"/>
                  </a:lnTo>
                  <a:lnTo>
                    <a:pt x="3464" y="5394"/>
                  </a:lnTo>
                  <a:lnTo>
                    <a:pt x="3462" y="5396"/>
                  </a:lnTo>
                  <a:lnTo>
                    <a:pt x="3462" y="5402"/>
                  </a:lnTo>
                  <a:close/>
                  <a:moveTo>
                    <a:pt x="4244" y="2492"/>
                  </a:moveTo>
                  <a:lnTo>
                    <a:pt x="4244" y="2492"/>
                  </a:lnTo>
                  <a:lnTo>
                    <a:pt x="4244" y="2496"/>
                  </a:lnTo>
                  <a:lnTo>
                    <a:pt x="4248" y="2496"/>
                  </a:lnTo>
                  <a:lnTo>
                    <a:pt x="4256" y="2492"/>
                  </a:lnTo>
                  <a:lnTo>
                    <a:pt x="4264" y="2486"/>
                  </a:lnTo>
                  <a:lnTo>
                    <a:pt x="4280" y="2470"/>
                  </a:lnTo>
                  <a:lnTo>
                    <a:pt x="4284" y="2464"/>
                  </a:lnTo>
                  <a:lnTo>
                    <a:pt x="4284" y="2460"/>
                  </a:lnTo>
                  <a:lnTo>
                    <a:pt x="4282" y="2460"/>
                  </a:lnTo>
                  <a:lnTo>
                    <a:pt x="4276" y="2460"/>
                  </a:lnTo>
                  <a:lnTo>
                    <a:pt x="4266" y="2466"/>
                  </a:lnTo>
                  <a:lnTo>
                    <a:pt x="4254" y="2476"/>
                  </a:lnTo>
                  <a:lnTo>
                    <a:pt x="4248" y="2484"/>
                  </a:lnTo>
                  <a:lnTo>
                    <a:pt x="4244" y="2492"/>
                  </a:lnTo>
                  <a:close/>
                  <a:moveTo>
                    <a:pt x="4364" y="2396"/>
                  </a:moveTo>
                  <a:lnTo>
                    <a:pt x="4364" y="2396"/>
                  </a:lnTo>
                  <a:lnTo>
                    <a:pt x="4368" y="2398"/>
                  </a:lnTo>
                  <a:lnTo>
                    <a:pt x="4370" y="2396"/>
                  </a:lnTo>
                  <a:lnTo>
                    <a:pt x="4370" y="2394"/>
                  </a:lnTo>
                  <a:lnTo>
                    <a:pt x="4368" y="2392"/>
                  </a:lnTo>
                  <a:lnTo>
                    <a:pt x="4366" y="2390"/>
                  </a:lnTo>
                  <a:lnTo>
                    <a:pt x="4364" y="2392"/>
                  </a:lnTo>
                  <a:lnTo>
                    <a:pt x="4364" y="2394"/>
                  </a:lnTo>
                  <a:lnTo>
                    <a:pt x="4364" y="2396"/>
                  </a:lnTo>
                  <a:close/>
                  <a:moveTo>
                    <a:pt x="4388" y="2374"/>
                  </a:moveTo>
                  <a:lnTo>
                    <a:pt x="4388" y="2374"/>
                  </a:lnTo>
                  <a:lnTo>
                    <a:pt x="4392" y="2376"/>
                  </a:lnTo>
                  <a:lnTo>
                    <a:pt x="4392" y="2374"/>
                  </a:lnTo>
                  <a:lnTo>
                    <a:pt x="4394" y="2370"/>
                  </a:lnTo>
                  <a:lnTo>
                    <a:pt x="4392" y="2368"/>
                  </a:lnTo>
                  <a:lnTo>
                    <a:pt x="4390" y="2366"/>
                  </a:lnTo>
                  <a:lnTo>
                    <a:pt x="4388" y="2368"/>
                  </a:lnTo>
                  <a:lnTo>
                    <a:pt x="4388" y="2372"/>
                  </a:lnTo>
                  <a:lnTo>
                    <a:pt x="4388" y="2374"/>
                  </a:lnTo>
                  <a:close/>
                  <a:moveTo>
                    <a:pt x="264" y="3518"/>
                  </a:moveTo>
                  <a:lnTo>
                    <a:pt x="264" y="3518"/>
                  </a:lnTo>
                  <a:lnTo>
                    <a:pt x="266" y="3518"/>
                  </a:lnTo>
                  <a:lnTo>
                    <a:pt x="264" y="3518"/>
                  </a:lnTo>
                  <a:close/>
                  <a:moveTo>
                    <a:pt x="5798" y="1166"/>
                  </a:moveTo>
                  <a:lnTo>
                    <a:pt x="5798" y="1166"/>
                  </a:lnTo>
                  <a:lnTo>
                    <a:pt x="5790" y="1156"/>
                  </a:lnTo>
                  <a:lnTo>
                    <a:pt x="5782" y="1148"/>
                  </a:lnTo>
                  <a:lnTo>
                    <a:pt x="5772" y="1144"/>
                  </a:lnTo>
                  <a:lnTo>
                    <a:pt x="5760" y="1140"/>
                  </a:lnTo>
                  <a:lnTo>
                    <a:pt x="5732" y="1138"/>
                  </a:lnTo>
                  <a:lnTo>
                    <a:pt x="5698" y="1136"/>
                  </a:lnTo>
                  <a:lnTo>
                    <a:pt x="5692" y="1138"/>
                  </a:lnTo>
                  <a:lnTo>
                    <a:pt x="5688" y="1140"/>
                  </a:lnTo>
                  <a:lnTo>
                    <a:pt x="5686" y="1144"/>
                  </a:lnTo>
                  <a:lnTo>
                    <a:pt x="5686" y="1148"/>
                  </a:lnTo>
                  <a:lnTo>
                    <a:pt x="5690" y="1160"/>
                  </a:lnTo>
                  <a:lnTo>
                    <a:pt x="5696" y="1172"/>
                  </a:lnTo>
                  <a:lnTo>
                    <a:pt x="5702" y="1184"/>
                  </a:lnTo>
                  <a:lnTo>
                    <a:pt x="5704" y="1190"/>
                  </a:lnTo>
                  <a:lnTo>
                    <a:pt x="5704" y="1192"/>
                  </a:lnTo>
                  <a:lnTo>
                    <a:pt x="5700" y="1192"/>
                  </a:lnTo>
                  <a:lnTo>
                    <a:pt x="5684" y="1186"/>
                  </a:lnTo>
                  <a:lnTo>
                    <a:pt x="5676" y="1180"/>
                  </a:lnTo>
                  <a:lnTo>
                    <a:pt x="5670" y="1174"/>
                  </a:lnTo>
                  <a:lnTo>
                    <a:pt x="5666" y="1168"/>
                  </a:lnTo>
                  <a:lnTo>
                    <a:pt x="5664" y="1162"/>
                  </a:lnTo>
                  <a:lnTo>
                    <a:pt x="5664" y="1150"/>
                  </a:lnTo>
                  <a:lnTo>
                    <a:pt x="5666" y="1138"/>
                  </a:lnTo>
                  <a:lnTo>
                    <a:pt x="5666" y="1126"/>
                  </a:lnTo>
                  <a:lnTo>
                    <a:pt x="5664" y="1120"/>
                  </a:lnTo>
                  <a:lnTo>
                    <a:pt x="5660" y="1114"/>
                  </a:lnTo>
                  <a:lnTo>
                    <a:pt x="5654" y="1106"/>
                  </a:lnTo>
                  <a:lnTo>
                    <a:pt x="5646" y="1100"/>
                  </a:lnTo>
                  <a:lnTo>
                    <a:pt x="5634" y="1092"/>
                  </a:lnTo>
                  <a:lnTo>
                    <a:pt x="5618" y="1084"/>
                  </a:lnTo>
                  <a:lnTo>
                    <a:pt x="5580" y="1068"/>
                  </a:lnTo>
                  <a:lnTo>
                    <a:pt x="5546" y="1050"/>
                  </a:lnTo>
                  <a:lnTo>
                    <a:pt x="5478" y="1014"/>
                  </a:lnTo>
                  <a:lnTo>
                    <a:pt x="5478" y="1008"/>
                  </a:lnTo>
                  <a:lnTo>
                    <a:pt x="5448" y="994"/>
                  </a:lnTo>
                  <a:lnTo>
                    <a:pt x="5418" y="982"/>
                  </a:lnTo>
                  <a:lnTo>
                    <a:pt x="5386" y="970"/>
                  </a:lnTo>
                  <a:lnTo>
                    <a:pt x="5356" y="962"/>
                  </a:lnTo>
                  <a:lnTo>
                    <a:pt x="5310" y="952"/>
                  </a:lnTo>
                  <a:lnTo>
                    <a:pt x="5294" y="946"/>
                  </a:lnTo>
                  <a:lnTo>
                    <a:pt x="5270" y="944"/>
                  </a:lnTo>
                  <a:lnTo>
                    <a:pt x="5210" y="940"/>
                  </a:lnTo>
                  <a:lnTo>
                    <a:pt x="5170" y="936"/>
                  </a:lnTo>
                  <a:lnTo>
                    <a:pt x="5144" y="930"/>
                  </a:lnTo>
                  <a:lnTo>
                    <a:pt x="5126" y="924"/>
                  </a:lnTo>
                  <a:lnTo>
                    <a:pt x="5116" y="918"/>
                  </a:lnTo>
                  <a:lnTo>
                    <a:pt x="5108" y="916"/>
                  </a:lnTo>
                  <a:lnTo>
                    <a:pt x="5102" y="918"/>
                  </a:lnTo>
                  <a:lnTo>
                    <a:pt x="5096" y="926"/>
                  </a:lnTo>
                  <a:lnTo>
                    <a:pt x="5086" y="942"/>
                  </a:lnTo>
                  <a:lnTo>
                    <a:pt x="5080" y="950"/>
                  </a:lnTo>
                  <a:lnTo>
                    <a:pt x="5078" y="958"/>
                  </a:lnTo>
                  <a:lnTo>
                    <a:pt x="5078" y="964"/>
                  </a:lnTo>
                  <a:lnTo>
                    <a:pt x="5080" y="968"/>
                  </a:lnTo>
                  <a:lnTo>
                    <a:pt x="5084" y="972"/>
                  </a:lnTo>
                  <a:lnTo>
                    <a:pt x="5088" y="974"/>
                  </a:lnTo>
                  <a:lnTo>
                    <a:pt x="5100" y="978"/>
                  </a:lnTo>
                  <a:lnTo>
                    <a:pt x="5110" y="982"/>
                  </a:lnTo>
                  <a:lnTo>
                    <a:pt x="5114" y="986"/>
                  </a:lnTo>
                  <a:lnTo>
                    <a:pt x="5116" y="988"/>
                  </a:lnTo>
                  <a:lnTo>
                    <a:pt x="5116" y="992"/>
                  </a:lnTo>
                  <a:lnTo>
                    <a:pt x="5114" y="998"/>
                  </a:lnTo>
                  <a:lnTo>
                    <a:pt x="5108" y="1004"/>
                  </a:lnTo>
                  <a:lnTo>
                    <a:pt x="5100" y="1012"/>
                  </a:lnTo>
                  <a:lnTo>
                    <a:pt x="5084" y="1024"/>
                  </a:lnTo>
                  <a:lnTo>
                    <a:pt x="5076" y="1028"/>
                  </a:lnTo>
                  <a:lnTo>
                    <a:pt x="5072" y="1030"/>
                  </a:lnTo>
                  <a:lnTo>
                    <a:pt x="5068" y="1028"/>
                  </a:lnTo>
                  <a:lnTo>
                    <a:pt x="5064" y="1026"/>
                  </a:lnTo>
                  <a:lnTo>
                    <a:pt x="5058" y="1020"/>
                  </a:lnTo>
                  <a:lnTo>
                    <a:pt x="5052" y="1012"/>
                  </a:lnTo>
                  <a:lnTo>
                    <a:pt x="5044" y="1004"/>
                  </a:lnTo>
                  <a:lnTo>
                    <a:pt x="5040" y="1000"/>
                  </a:lnTo>
                  <a:lnTo>
                    <a:pt x="5034" y="996"/>
                  </a:lnTo>
                  <a:lnTo>
                    <a:pt x="5028" y="996"/>
                  </a:lnTo>
                  <a:lnTo>
                    <a:pt x="5020" y="994"/>
                  </a:lnTo>
                  <a:lnTo>
                    <a:pt x="5012" y="994"/>
                  </a:lnTo>
                  <a:lnTo>
                    <a:pt x="5006" y="992"/>
                  </a:lnTo>
                  <a:lnTo>
                    <a:pt x="5004" y="990"/>
                  </a:lnTo>
                  <a:lnTo>
                    <a:pt x="5002" y="988"/>
                  </a:lnTo>
                  <a:lnTo>
                    <a:pt x="5000" y="978"/>
                  </a:lnTo>
                  <a:lnTo>
                    <a:pt x="5000" y="970"/>
                  </a:lnTo>
                  <a:lnTo>
                    <a:pt x="5000" y="962"/>
                  </a:lnTo>
                  <a:lnTo>
                    <a:pt x="4998" y="960"/>
                  </a:lnTo>
                  <a:lnTo>
                    <a:pt x="4994" y="958"/>
                  </a:lnTo>
                  <a:lnTo>
                    <a:pt x="4988" y="956"/>
                  </a:lnTo>
                  <a:lnTo>
                    <a:pt x="4980" y="958"/>
                  </a:lnTo>
                  <a:lnTo>
                    <a:pt x="4958" y="964"/>
                  </a:lnTo>
                  <a:lnTo>
                    <a:pt x="4944" y="968"/>
                  </a:lnTo>
                  <a:lnTo>
                    <a:pt x="4930" y="970"/>
                  </a:lnTo>
                  <a:lnTo>
                    <a:pt x="4920" y="972"/>
                  </a:lnTo>
                  <a:lnTo>
                    <a:pt x="4908" y="972"/>
                  </a:lnTo>
                  <a:lnTo>
                    <a:pt x="4890" y="968"/>
                  </a:lnTo>
                  <a:lnTo>
                    <a:pt x="4870" y="964"/>
                  </a:lnTo>
                  <a:lnTo>
                    <a:pt x="4850" y="958"/>
                  </a:lnTo>
                  <a:lnTo>
                    <a:pt x="4828" y="954"/>
                  </a:lnTo>
                  <a:lnTo>
                    <a:pt x="4814" y="954"/>
                  </a:lnTo>
                  <a:lnTo>
                    <a:pt x="4800" y="954"/>
                  </a:lnTo>
                  <a:lnTo>
                    <a:pt x="4784" y="956"/>
                  </a:lnTo>
                  <a:lnTo>
                    <a:pt x="4766" y="958"/>
                  </a:lnTo>
                  <a:lnTo>
                    <a:pt x="4732" y="966"/>
                  </a:lnTo>
                  <a:lnTo>
                    <a:pt x="4706" y="966"/>
                  </a:lnTo>
                  <a:lnTo>
                    <a:pt x="4686" y="964"/>
                  </a:lnTo>
                  <a:lnTo>
                    <a:pt x="4674" y="960"/>
                  </a:lnTo>
                  <a:lnTo>
                    <a:pt x="4668" y="956"/>
                  </a:lnTo>
                  <a:lnTo>
                    <a:pt x="4666" y="952"/>
                  </a:lnTo>
                  <a:lnTo>
                    <a:pt x="4662" y="944"/>
                  </a:lnTo>
                  <a:lnTo>
                    <a:pt x="4664" y="934"/>
                  </a:lnTo>
                  <a:lnTo>
                    <a:pt x="4668" y="924"/>
                  </a:lnTo>
                  <a:lnTo>
                    <a:pt x="4670" y="918"/>
                  </a:lnTo>
                  <a:lnTo>
                    <a:pt x="4670" y="912"/>
                  </a:lnTo>
                  <a:lnTo>
                    <a:pt x="4668" y="906"/>
                  </a:lnTo>
                  <a:lnTo>
                    <a:pt x="4662" y="898"/>
                  </a:lnTo>
                  <a:lnTo>
                    <a:pt x="4656" y="892"/>
                  </a:lnTo>
                  <a:lnTo>
                    <a:pt x="4648" y="884"/>
                  </a:lnTo>
                  <a:lnTo>
                    <a:pt x="4636" y="878"/>
                  </a:lnTo>
                  <a:lnTo>
                    <a:pt x="4624" y="872"/>
                  </a:lnTo>
                  <a:lnTo>
                    <a:pt x="4608" y="868"/>
                  </a:lnTo>
                  <a:lnTo>
                    <a:pt x="4592" y="862"/>
                  </a:lnTo>
                  <a:lnTo>
                    <a:pt x="4572" y="860"/>
                  </a:lnTo>
                  <a:lnTo>
                    <a:pt x="4552" y="856"/>
                  </a:lnTo>
                  <a:lnTo>
                    <a:pt x="4528" y="856"/>
                  </a:lnTo>
                  <a:lnTo>
                    <a:pt x="4504" y="856"/>
                  </a:lnTo>
                  <a:lnTo>
                    <a:pt x="4476" y="860"/>
                  </a:lnTo>
                  <a:lnTo>
                    <a:pt x="4448" y="864"/>
                  </a:lnTo>
                  <a:lnTo>
                    <a:pt x="4420" y="868"/>
                  </a:lnTo>
                  <a:lnTo>
                    <a:pt x="4396" y="870"/>
                  </a:lnTo>
                  <a:lnTo>
                    <a:pt x="4374" y="868"/>
                  </a:lnTo>
                  <a:lnTo>
                    <a:pt x="4358" y="866"/>
                  </a:lnTo>
                  <a:lnTo>
                    <a:pt x="4342" y="860"/>
                  </a:lnTo>
                  <a:lnTo>
                    <a:pt x="4328" y="854"/>
                  </a:lnTo>
                  <a:lnTo>
                    <a:pt x="4318" y="848"/>
                  </a:lnTo>
                  <a:lnTo>
                    <a:pt x="4308" y="840"/>
                  </a:lnTo>
                  <a:lnTo>
                    <a:pt x="4292" y="822"/>
                  </a:lnTo>
                  <a:lnTo>
                    <a:pt x="4278" y="804"/>
                  </a:lnTo>
                  <a:lnTo>
                    <a:pt x="4264" y="788"/>
                  </a:lnTo>
                  <a:lnTo>
                    <a:pt x="4256" y="782"/>
                  </a:lnTo>
                  <a:lnTo>
                    <a:pt x="4246" y="778"/>
                  </a:lnTo>
                  <a:lnTo>
                    <a:pt x="4228" y="772"/>
                  </a:lnTo>
                  <a:lnTo>
                    <a:pt x="4214" y="768"/>
                  </a:lnTo>
                  <a:lnTo>
                    <a:pt x="4186" y="768"/>
                  </a:lnTo>
                  <a:lnTo>
                    <a:pt x="4154" y="764"/>
                  </a:lnTo>
                  <a:lnTo>
                    <a:pt x="4130" y="762"/>
                  </a:lnTo>
                  <a:lnTo>
                    <a:pt x="4100" y="754"/>
                  </a:lnTo>
                  <a:lnTo>
                    <a:pt x="4068" y="748"/>
                  </a:lnTo>
                  <a:lnTo>
                    <a:pt x="4044" y="744"/>
                  </a:lnTo>
                  <a:lnTo>
                    <a:pt x="4002" y="740"/>
                  </a:lnTo>
                  <a:lnTo>
                    <a:pt x="3964" y="738"/>
                  </a:lnTo>
                  <a:lnTo>
                    <a:pt x="3944" y="734"/>
                  </a:lnTo>
                  <a:lnTo>
                    <a:pt x="3922" y="730"/>
                  </a:lnTo>
                  <a:lnTo>
                    <a:pt x="3902" y="724"/>
                  </a:lnTo>
                  <a:lnTo>
                    <a:pt x="3892" y="724"/>
                  </a:lnTo>
                  <a:lnTo>
                    <a:pt x="3892" y="726"/>
                  </a:lnTo>
                  <a:lnTo>
                    <a:pt x="3890" y="728"/>
                  </a:lnTo>
                  <a:lnTo>
                    <a:pt x="3890" y="734"/>
                  </a:lnTo>
                  <a:lnTo>
                    <a:pt x="3892" y="740"/>
                  </a:lnTo>
                  <a:lnTo>
                    <a:pt x="3890" y="744"/>
                  </a:lnTo>
                  <a:lnTo>
                    <a:pt x="3888" y="746"/>
                  </a:lnTo>
                  <a:lnTo>
                    <a:pt x="3882" y="750"/>
                  </a:lnTo>
                  <a:lnTo>
                    <a:pt x="3876" y="752"/>
                  </a:lnTo>
                  <a:lnTo>
                    <a:pt x="3854" y="754"/>
                  </a:lnTo>
                  <a:lnTo>
                    <a:pt x="3842" y="756"/>
                  </a:lnTo>
                  <a:lnTo>
                    <a:pt x="3834" y="758"/>
                  </a:lnTo>
                  <a:lnTo>
                    <a:pt x="3830" y="764"/>
                  </a:lnTo>
                  <a:lnTo>
                    <a:pt x="3830" y="768"/>
                  </a:lnTo>
                  <a:lnTo>
                    <a:pt x="3832" y="776"/>
                  </a:lnTo>
                  <a:lnTo>
                    <a:pt x="3836" y="782"/>
                  </a:lnTo>
                  <a:lnTo>
                    <a:pt x="3846" y="798"/>
                  </a:lnTo>
                  <a:lnTo>
                    <a:pt x="3856" y="812"/>
                  </a:lnTo>
                  <a:lnTo>
                    <a:pt x="3860" y="818"/>
                  </a:lnTo>
                  <a:lnTo>
                    <a:pt x="3862" y="822"/>
                  </a:lnTo>
                  <a:lnTo>
                    <a:pt x="3860" y="826"/>
                  </a:lnTo>
                  <a:lnTo>
                    <a:pt x="3856" y="828"/>
                  </a:lnTo>
                  <a:lnTo>
                    <a:pt x="3848" y="826"/>
                  </a:lnTo>
                  <a:lnTo>
                    <a:pt x="3836" y="824"/>
                  </a:lnTo>
                  <a:lnTo>
                    <a:pt x="3810" y="818"/>
                  </a:lnTo>
                  <a:lnTo>
                    <a:pt x="3792" y="818"/>
                  </a:lnTo>
                  <a:lnTo>
                    <a:pt x="3778" y="818"/>
                  </a:lnTo>
                  <a:lnTo>
                    <a:pt x="3770" y="820"/>
                  </a:lnTo>
                  <a:lnTo>
                    <a:pt x="3760" y="824"/>
                  </a:lnTo>
                  <a:lnTo>
                    <a:pt x="3750" y="824"/>
                  </a:lnTo>
                  <a:lnTo>
                    <a:pt x="3736" y="824"/>
                  </a:lnTo>
                  <a:lnTo>
                    <a:pt x="3716" y="820"/>
                  </a:lnTo>
                  <a:lnTo>
                    <a:pt x="3704" y="818"/>
                  </a:lnTo>
                  <a:lnTo>
                    <a:pt x="3694" y="818"/>
                  </a:lnTo>
                  <a:lnTo>
                    <a:pt x="3686" y="818"/>
                  </a:lnTo>
                  <a:lnTo>
                    <a:pt x="3676" y="820"/>
                  </a:lnTo>
                  <a:lnTo>
                    <a:pt x="3662" y="826"/>
                  </a:lnTo>
                  <a:lnTo>
                    <a:pt x="3650" y="832"/>
                  </a:lnTo>
                  <a:lnTo>
                    <a:pt x="3638" y="836"/>
                  </a:lnTo>
                  <a:lnTo>
                    <a:pt x="3632" y="838"/>
                  </a:lnTo>
                  <a:lnTo>
                    <a:pt x="3624" y="836"/>
                  </a:lnTo>
                  <a:lnTo>
                    <a:pt x="3616" y="836"/>
                  </a:lnTo>
                  <a:lnTo>
                    <a:pt x="3608" y="832"/>
                  </a:lnTo>
                  <a:lnTo>
                    <a:pt x="3598" y="826"/>
                  </a:lnTo>
                  <a:lnTo>
                    <a:pt x="3586" y="818"/>
                  </a:lnTo>
                  <a:lnTo>
                    <a:pt x="3576" y="812"/>
                  </a:lnTo>
                  <a:lnTo>
                    <a:pt x="3566" y="810"/>
                  </a:lnTo>
                  <a:lnTo>
                    <a:pt x="3558" y="810"/>
                  </a:lnTo>
                  <a:lnTo>
                    <a:pt x="3552" y="814"/>
                  </a:lnTo>
                  <a:lnTo>
                    <a:pt x="3546" y="820"/>
                  </a:lnTo>
                  <a:lnTo>
                    <a:pt x="3540" y="828"/>
                  </a:lnTo>
                  <a:lnTo>
                    <a:pt x="3530" y="848"/>
                  </a:lnTo>
                  <a:lnTo>
                    <a:pt x="3520" y="864"/>
                  </a:lnTo>
                  <a:lnTo>
                    <a:pt x="3514" y="872"/>
                  </a:lnTo>
                  <a:lnTo>
                    <a:pt x="3508" y="876"/>
                  </a:lnTo>
                  <a:lnTo>
                    <a:pt x="3500" y="878"/>
                  </a:lnTo>
                  <a:lnTo>
                    <a:pt x="3492" y="878"/>
                  </a:lnTo>
                  <a:lnTo>
                    <a:pt x="3482" y="872"/>
                  </a:lnTo>
                  <a:lnTo>
                    <a:pt x="3470" y="864"/>
                  </a:lnTo>
                  <a:lnTo>
                    <a:pt x="3428" y="824"/>
                  </a:lnTo>
                  <a:lnTo>
                    <a:pt x="3402" y="796"/>
                  </a:lnTo>
                  <a:lnTo>
                    <a:pt x="3390" y="784"/>
                  </a:lnTo>
                  <a:lnTo>
                    <a:pt x="3380" y="776"/>
                  </a:lnTo>
                  <a:lnTo>
                    <a:pt x="3368" y="768"/>
                  </a:lnTo>
                  <a:lnTo>
                    <a:pt x="3352" y="762"/>
                  </a:lnTo>
                  <a:lnTo>
                    <a:pt x="3346" y="760"/>
                  </a:lnTo>
                  <a:lnTo>
                    <a:pt x="3342" y="760"/>
                  </a:lnTo>
                  <a:lnTo>
                    <a:pt x="3338" y="762"/>
                  </a:lnTo>
                  <a:lnTo>
                    <a:pt x="3338" y="764"/>
                  </a:lnTo>
                  <a:lnTo>
                    <a:pt x="3340" y="772"/>
                  </a:lnTo>
                  <a:lnTo>
                    <a:pt x="3344" y="782"/>
                  </a:lnTo>
                  <a:lnTo>
                    <a:pt x="3348" y="792"/>
                  </a:lnTo>
                  <a:lnTo>
                    <a:pt x="3350" y="798"/>
                  </a:lnTo>
                  <a:lnTo>
                    <a:pt x="3348" y="798"/>
                  </a:lnTo>
                  <a:lnTo>
                    <a:pt x="3346" y="798"/>
                  </a:lnTo>
                  <a:lnTo>
                    <a:pt x="3336" y="790"/>
                  </a:lnTo>
                  <a:lnTo>
                    <a:pt x="3318" y="778"/>
                  </a:lnTo>
                  <a:lnTo>
                    <a:pt x="3296" y="766"/>
                  </a:lnTo>
                  <a:lnTo>
                    <a:pt x="3270" y="754"/>
                  </a:lnTo>
                  <a:lnTo>
                    <a:pt x="3242" y="744"/>
                  </a:lnTo>
                  <a:lnTo>
                    <a:pt x="3208" y="734"/>
                  </a:lnTo>
                  <a:lnTo>
                    <a:pt x="3170" y="728"/>
                  </a:lnTo>
                  <a:lnTo>
                    <a:pt x="3128" y="722"/>
                  </a:lnTo>
                  <a:lnTo>
                    <a:pt x="3082" y="716"/>
                  </a:lnTo>
                  <a:lnTo>
                    <a:pt x="3030" y="712"/>
                  </a:lnTo>
                  <a:lnTo>
                    <a:pt x="3012" y="708"/>
                  </a:lnTo>
                  <a:lnTo>
                    <a:pt x="3000" y="704"/>
                  </a:lnTo>
                  <a:lnTo>
                    <a:pt x="2994" y="702"/>
                  </a:lnTo>
                  <a:lnTo>
                    <a:pt x="2992" y="698"/>
                  </a:lnTo>
                  <a:lnTo>
                    <a:pt x="2992" y="694"/>
                  </a:lnTo>
                  <a:lnTo>
                    <a:pt x="2994" y="690"/>
                  </a:lnTo>
                  <a:lnTo>
                    <a:pt x="3002" y="684"/>
                  </a:lnTo>
                  <a:lnTo>
                    <a:pt x="3008" y="678"/>
                  </a:lnTo>
                  <a:lnTo>
                    <a:pt x="3008" y="676"/>
                  </a:lnTo>
                  <a:lnTo>
                    <a:pt x="3006" y="674"/>
                  </a:lnTo>
                  <a:lnTo>
                    <a:pt x="3002" y="672"/>
                  </a:lnTo>
                  <a:lnTo>
                    <a:pt x="2992" y="670"/>
                  </a:lnTo>
                  <a:lnTo>
                    <a:pt x="2946" y="666"/>
                  </a:lnTo>
                  <a:lnTo>
                    <a:pt x="2904" y="664"/>
                  </a:lnTo>
                  <a:lnTo>
                    <a:pt x="2864" y="664"/>
                  </a:lnTo>
                  <a:lnTo>
                    <a:pt x="2844" y="666"/>
                  </a:lnTo>
                  <a:lnTo>
                    <a:pt x="2822" y="670"/>
                  </a:lnTo>
                  <a:lnTo>
                    <a:pt x="2814" y="670"/>
                  </a:lnTo>
                  <a:lnTo>
                    <a:pt x="2806" y="670"/>
                  </a:lnTo>
                  <a:lnTo>
                    <a:pt x="2800" y="670"/>
                  </a:lnTo>
                  <a:lnTo>
                    <a:pt x="2794" y="668"/>
                  </a:lnTo>
                  <a:lnTo>
                    <a:pt x="2790" y="662"/>
                  </a:lnTo>
                  <a:lnTo>
                    <a:pt x="2786" y="654"/>
                  </a:lnTo>
                  <a:lnTo>
                    <a:pt x="2784" y="648"/>
                  </a:lnTo>
                  <a:lnTo>
                    <a:pt x="2780" y="644"/>
                  </a:lnTo>
                  <a:lnTo>
                    <a:pt x="2778" y="642"/>
                  </a:lnTo>
                  <a:lnTo>
                    <a:pt x="2774" y="642"/>
                  </a:lnTo>
                  <a:lnTo>
                    <a:pt x="2762" y="648"/>
                  </a:lnTo>
                  <a:lnTo>
                    <a:pt x="2748" y="654"/>
                  </a:lnTo>
                  <a:lnTo>
                    <a:pt x="2738" y="654"/>
                  </a:lnTo>
                  <a:lnTo>
                    <a:pt x="2730" y="652"/>
                  </a:lnTo>
                  <a:lnTo>
                    <a:pt x="2722" y="648"/>
                  </a:lnTo>
                  <a:lnTo>
                    <a:pt x="2714" y="644"/>
                  </a:lnTo>
                  <a:lnTo>
                    <a:pt x="2704" y="640"/>
                  </a:lnTo>
                  <a:lnTo>
                    <a:pt x="2692" y="638"/>
                  </a:lnTo>
                  <a:lnTo>
                    <a:pt x="2676" y="640"/>
                  </a:lnTo>
                  <a:lnTo>
                    <a:pt x="2660" y="644"/>
                  </a:lnTo>
                  <a:lnTo>
                    <a:pt x="2652" y="650"/>
                  </a:lnTo>
                  <a:lnTo>
                    <a:pt x="2650" y="658"/>
                  </a:lnTo>
                  <a:lnTo>
                    <a:pt x="2648" y="664"/>
                  </a:lnTo>
                  <a:lnTo>
                    <a:pt x="2642" y="672"/>
                  </a:lnTo>
                  <a:lnTo>
                    <a:pt x="2634" y="680"/>
                  </a:lnTo>
                  <a:lnTo>
                    <a:pt x="2614" y="686"/>
                  </a:lnTo>
                  <a:lnTo>
                    <a:pt x="2586" y="692"/>
                  </a:lnTo>
                  <a:lnTo>
                    <a:pt x="2554" y="696"/>
                  </a:lnTo>
                  <a:lnTo>
                    <a:pt x="2530" y="698"/>
                  </a:lnTo>
                  <a:lnTo>
                    <a:pt x="2516" y="696"/>
                  </a:lnTo>
                  <a:lnTo>
                    <a:pt x="2512" y="694"/>
                  </a:lnTo>
                  <a:lnTo>
                    <a:pt x="2512" y="692"/>
                  </a:lnTo>
                  <a:lnTo>
                    <a:pt x="2512" y="690"/>
                  </a:lnTo>
                  <a:lnTo>
                    <a:pt x="2516" y="686"/>
                  </a:lnTo>
                  <a:lnTo>
                    <a:pt x="2528" y="676"/>
                  </a:lnTo>
                  <a:lnTo>
                    <a:pt x="2550" y="666"/>
                  </a:lnTo>
                  <a:lnTo>
                    <a:pt x="2580" y="652"/>
                  </a:lnTo>
                  <a:lnTo>
                    <a:pt x="2610" y="640"/>
                  </a:lnTo>
                  <a:lnTo>
                    <a:pt x="2632" y="628"/>
                  </a:lnTo>
                  <a:lnTo>
                    <a:pt x="2660" y="610"/>
                  </a:lnTo>
                  <a:lnTo>
                    <a:pt x="2672" y="602"/>
                  </a:lnTo>
                  <a:lnTo>
                    <a:pt x="2688" y="594"/>
                  </a:lnTo>
                  <a:lnTo>
                    <a:pt x="2706" y="586"/>
                  </a:lnTo>
                  <a:lnTo>
                    <a:pt x="2734" y="576"/>
                  </a:lnTo>
                  <a:lnTo>
                    <a:pt x="2762" y="566"/>
                  </a:lnTo>
                  <a:lnTo>
                    <a:pt x="2782" y="554"/>
                  </a:lnTo>
                  <a:lnTo>
                    <a:pt x="2788" y="548"/>
                  </a:lnTo>
                  <a:lnTo>
                    <a:pt x="2794" y="542"/>
                  </a:lnTo>
                  <a:lnTo>
                    <a:pt x="2802" y="528"/>
                  </a:lnTo>
                  <a:lnTo>
                    <a:pt x="2806" y="514"/>
                  </a:lnTo>
                  <a:lnTo>
                    <a:pt x="2806" y="502"/>
                  </a:lnTo>
                  <a:lnTo>
                    <a:pt x="2802" y="490"/>
                  </a:lnTo>
                  <a:lnTo>
                    <a:pt x="2798" y="478"/>
                  </a:lnTo>
                  <a:lnTo>
                    <a:pt x="2792" y="470"/>
                  </a:lnTo>
                  <a:lnTo>
                    <a:pt x="2784" y="464"/>
                  </a:lnTo>
                  <a:lnTo>
                    <a:pt x="2776" y="462"/>
                  </a:lnTo>
                  <a:lnTo>
                    <a:pt x="2768" y="460"/>
                  </a:lnTo>
                  <a:lnTo>
                    <a:pt x="2748" y="454"/>
                  </a:lnTo>
                  <a:lnTo>
                    <a:pt x="2738" y="448"/>
                  </a:lnTo>
                  <a:lnTo>
                    <a:pt x="2724" y="438"/>
                  </a:lnTo>
                  <a:lnTo>
                    <a:pt x="2712" y="430"/>
                  </a:lnTo>
                  <a:lnTo>
                    <a:pt x="2700" y="426"/>
                  </a:lnTo>
                  <a:lnTo>
                    <a:pt x="2686" y="424"/>
                  </a:lnTo>
                  <a:lnTo>
                    <a:pt x="2672" y="424"/>
                  </a:lnTo>
                  <a:lnTo>
                    <a:pt x="2644" y="428"/>
                  </a:lnTo>
                  <a:lnTo>
                    <a:pt x="2628" y="428"/>
                  </a:lnTo>
                  <a:lnTo>
                    <a:pt x="2612" y="426"/>
                  </a:lnTo>
                  <a:lnTo>
                    <a:pt x="2598" y="424"/>
                  </a:lnTo>
                  <a:lnTo>
                    <a:pt x="2590" y="424"/>
                  </a:lnTo>
                  <a:lnTo>
                    <a:pt x="2582" y="426"/>
                  </a:lnTo>
                  <a:lnTo>
                    <a:pt x="2578" y="428"/>
                  </a:lnTo>
                  <a:lnTo>
                    <a:pt x="2574" y="432"/>
                  </a:lnTo>
                  <a:lnTo>
                    <a:pt x="2566" y="436"/>
                  </a:lnTo>
                  <a:lnTo>
                    <a:pt x="2554" y="440"/>
                  </a:lnTo>
                  <a:lnTo>
                    <a:pt x="2538" y="444"/>
                  </a:lnTo>
                  <a:lnTo>
                    <a:pt x="2516" y="444"/>
                  </a:lnTo>
                  <a:lnTo>
                    <a:pt x="2512" y="444"/>
                  </a:lnTo>
                  <a:lnTo>
                    <a:pt x="2512" y="442"/>
                  </a:lnTo>
                  <a:lnTo>
                    <a:pt x="2516" y="436"/>
                  </a:lnTo>
                  <a:lnTo>
                    <a:pt x="2528" y="428"/>
                  </a:lnTo>
                  <a:lnTo>
                    <a:pt x="2538" y="420"/>
                  </a:lnTo>
                  <a:lnTo>
                    <a:pt x="2540" y="416"/>
                  </a:lnTo>
                  <a:lnTo>
                    <a:pt x="2542" y="412"/>
                  </a:lnTo>
                  <a:lnTo>
                    <a:pt x="2540" y="410"/>
                  </a:lnTo>
                  <a:lnTo>
                    <a:pt x="2534" y="406"/>
                  </a:lnTo>
                  <a:lnTo>
                    <a:pt x="2524" y="404"/>
                  </a:lnTo>
                  <a:lnTo>
                    <a:pt x="2508" y="402"/>
                  </a:lnTo>
                  <a:lnTo>
                    <a:pt x="2478" y="400"/>
                  </a:lnTo>
                  <a:lnTo>
                    <a:pt x="2458" y="398"/>
                  </a:lnTo>
                  <a:lnTo>
                    <a:pt x="2448" y="394"/>
                  </a:lnTo>
                  <a:lnTo>
                    <a:pt x="2446" y="394"/>
                  </a:lnTo>
                  <a:lnTo>
                    <a:pt x="2446" y="392"/>
                  </a:lnTo>
                  <a:lnTo>
                    <a:pt x="2450" y="388"/>
                  </a:lnTo>
                  <a:lnTo>
                    <a:pt x="2458" y="386"/>
                  </a:lnTo>
                  <a:lnTo>
                    <a:pt x="2486" y="378"/>
                  </a:lnTo>
                  <a:lnTo>
                    <a:pt x="2492" y="376"/>
                  </a:lnTo>
                  <a:lnTo>
                    <a:pt x="2496" y="374"/>
                  </a:lnTo>
                  <a:lnTo>
                    <a:pt x="2496" y="370"/>
                  </a:lnTo>
                  <a:lnTo>
                    <a:pt x="2496" y="366"/>
                  </a:lnTo>
                  <a:lnTo>
                    <a:pt x="2492" y="364"/>
                  </a:lnTo>
                  <a:lnTo>
                    <a:pt x="2486" y="360"/>
                  </a:lnTo>
                  <a:lnTo>
                    <a:pt x="2470" y="352"/>
                  </a:lnTo>
                  <a:lnTo>
                    <a:pt x="2448" y="348"/>
                  </a:lnTo>
                  <a:lnTo>
                    <a:pt x="2422" y="348"/>
                  </a:lnTo>
                  <a:lnTo>
                    <a:pt x="2408" y="348"/>
                  </a:lnTo>
                  <a:lnTo>
                    <a:pt x="2392" y="352"/>
                  </a:lnTo>
                  <a:lnTo>
                    <a:pt x="2378" y="356"/>
                  </a:lnTo>
                  <a:lnTo>
                    <a:pt x="2362" y="362"/>
                  </a:lnTo>
                  <a:lnTo>
                    <a:pt x="2342" y="370"/>
                  </a:lnTo>
                  <a:lnTo>
                    <a:pt x="2326" y="380"/>
                  </a:lnTo>
                  <a:lnTo>
                    <a:pt x="2314" y="388"/>
                  </a:lnTo>
                  <a:lnTo>
                    <a:pt x="2304" y="396"/>
                  </a:lnTo>
                  <a:lnTo>
                    <a:pt x="2296" y="402"/>
                  </a:lnTo>
                  <a:lnTo>
                    <a:pt x="2292" y="408"/>
                  </a:lnTo>
                  <a:lnTo>
                    <a:pt x="2286" y="420"/>
                  </a:lnTo>
                  <a:lnTo>
                    <a:pt x="2284" y="428"/>
                  </a:lnTo>
                  <a:lnTo>
                    <a:pt x="2280" y="434"/>
                  </a:lnTo>
                  <a:lnTo>
                    <a:pt x="2276" y="436"/>
                  </a:lnTo>
                  <a:lnTo>
                    <a:pt x="2272" y="438"/>
                  </a:lnTo>
                  <a:lnTo>
                    <a:pt x="2256" y="440"/>
                  </a:lnTo>
                  <a:lnTo>
                    <a:pt x="2224" y="442"/>
                  </a:lnTo>
                  <a:lnTo>
                    <a:pt x="2208" y="444"/>
                  </a:lnTo>
                  <a:lnTo>
                    <a:pt x="2206" y="444"/>
                  </a:lnTo>
                  <a:lnTo>
                    <a:pt x="2206" y="446"/>
                  </a:lnTo>
                  <a:lnTo>
                    <a:pt x="2206" y="448"/>
                  </a:lnTo>
                  <a:lnTo>
                    <a:pt x="2210" y="452"/>
                  </a:lnTo>
                  <a:lnTo>
                    <a:pt x="2208" y="456"/>
                  </a:lnTo>
                  <a:lnTo>
                    <a:pt x="2206" y="458"/>
                  </a:lnTo>
                  <a:lnTo>
                    <a:pt x="2192" y="464"/>
                  </a:lnTo>
                  <a:lnTo>
                    <a:pt x="2162" y="472"/>
                  </a:lnTo>
                  <a:lnTo>
                    <a:pt x="2132" y="478"/>
                  </a:lnTo>
                  <a:lnTo>
                    <a:pt x="2118" y="478"/>
                  </a:lnTo>
                  <a:lnTo>
                    <a:pt x="2114" y="476"/>
                  </a:lnTo>
                  <a:lnTo>
                    <a:pt x="2112" y="474"/>
                  </a:lnTo>
                  <a:lnTo>
                    <a:pt x="2112" y="470"/>
                  </a:lnTo>
                  <a:lnTo>
                    <a:pt x="2110" y="468"/>
                  </a:lnTo>
                  <a:lnTo>
                    <a:pt x="2108" y="464"/>
                  </a:lnTo>
                  <a:lnTo>
                    <a:pt x="2106" y="462"/>
                  </a:lnTo>
                  <a:lnTo>
                    <a:pt x="2098" y="462"/>
                  </a:lnTo>
                  <a:lnTo>
                    <a:pt x="2076" y="460"/>
                  </a:lnTo>
                  <a:lnTo>
                    <a:pt x="2034" y="464"/>
                  </a:lnTo>
                  <a:lnTo>
                    <a:pt x="1994" y="472"/>
                  </a:lnTo>
                  <a:lnTo>
                    <a:pt x="1982" y="474"/>
                  </a:lnTo>
                  <a:lnTo>
                    <a:pt x="1974" y="478"/>
                  </a:lnTo>
                  <a:lnTo>
                    <a:pt x="1970" y="482"/>
                  </a:lnTo>
                  <a:lnTo>
                    <a:pt x="1968" y="484"/>
                  </a:lnTo>
                  <a:lnTo>
                    <a:pt x="1970" y="490"/>
                  </a:lnTo>
                  <a:lnTo>
                    <a:pt x="1970" y="494"/>
                  </a:lnTo>
                  <a:lnTo>
                    <a:pt x="1970" y="496"/>
                  </a:lnTo>
                  <a:lnTo>
                    <a:pt x="1968" y="500"/>
                  </a:lnTo>
                  <a:lnTo>
                    <a:pt x="1964" y="502"/>
                  </a:lnTo>
                  <a:lnTo>
                    <a:pt x="1954" y="504"/>
                  </a:lnTo>
                  <a:lnTo>
                    <a:pt x="1942" y="506"/>
                  </a:lnTo>
                  <a:lnTo>
                    <a:pt x="1898" y="512"/>
                  </a:lnTo>
                  <a:lnTo>
                    <a:pt x="1850" y="516"/>
                  </a:lnTo>
                  <a:lnTo>
                    <a:pt x="1818" y="522"/>
                  </a:lnTo>
                  <a:lnTo>
                    <a:pt x="1800" y="526"/>
                  </a:lnTo>
                  <a:lnTo>
                    <a:pt x="1790" y="532"/>
                  </a:lnTo>
                  <a:lnTo>
                    <a:pt x="1784" y="538"/>
                  </a:lnTo>
                  <a:lnTo>
                    <a:pt x="1776" y="542"/>
                  </a:lnTo>
                  <a:lnTo>
                    <a:pt x="1764" y="546"/>
                  </a:lnTo>
                  <a:lnTo>
                    <a:pt x="1742" y="550"/>
                  </a:lnTo>
                  <a:lnTo>
                    <a:pt x="1728" y="550"/>
                  </a:lnTo>
                  <a:lnTo>
                    <a:pt x="1718" y="554"/>
                  </a:lnTo>
                  <a:lnTo>
                    <a:pt x="1708" y="558"/>
                  </a:lnTo>
                  <a:lnTo>
                    <a:pt x="1698" y="562"/>
                  </a:lnTo>
                  <a:lnTo>
                    <a:pt x="1692" y="566"/>
                  </a:lnTo>
                  <a:lnTo>
                    <a:pt x="1686" y="572"/>
                  </a:lnTo>
                  <a:lnTo>
                    <a:pt x="1682" y="578"/>
                  </a:lnTo>
                  <a:lnTo>
                    <a:pt x="1680" y="584"/>
                  </a:lnTo>
                  <a:lnTo>
                    <a:pt x="1678" y="590"/>
                  </a:lnTo>
                  <a:lnTo>
                    <a:pt x="1678" y="596"/>
                  </a:lnTo>
                  <a:lnTo>
                    <a:pt x="1680" y="602"/>
                  </a:lnTo>
                  <a:lnTo>
                    <a:pt x="1682" y="608"/>
                  </a:lnTo>
                  <a:lnTo>
                    <a:pt x="1686" y="612"/>
                  </a:lnTo>
                  <a:lnTo>
                    <a:pt x="1690" y="616"/>
                  </a:lnTo>
                  <a:lnTo>
                    <a:pt x="1696" y="618"/>
                  </a:lnTo>
                  <a:lnTo>
                    <a:pt x="1704" y="620"/>
                  </a:lnTo>
                  <a:lnTo>
                    <a:pt x="1716" y="622"/>
                  </a:lnTo>
                  <a:lnTo>
                    <a:pt x="1724" y="624"/>
                  </a:lnTo>
                  <a:lnTo>
                    <a:pt x="1726" y="628"/>
                  </a:lnTo>
                  <a:lnTo>
                    <a:pt x="1724" y="634"/>
                  </a:lnTo>
                  <a:lnTo>
                    <a:pt x="1716" y="638"/>
                  </a:lnTo>
                  <a:lnTo>
                    <a:pt x="1704" y="644"/>
                  </a:lnTo>
                  <a:lnTo>
                    <a:pt x="1690" y="648"/>
                  </a:lnTo>
                  <a:lnTo>
                    <a:pt x="1672" y="652"/>
                  </a:lnTo>
                  <a:lnTo>
                    <a:pt x="1638" y="658"/>
                  </a:lnTo>
                  <a:lnTo>
                    <a:pt x="1604" y="662"/>
                  </a:lnTo>
                  <a:lnTo>
                    <a:pt x="1542" y="662"/>
                  </a:lnTo>
                  <a:lnTo>
                    <a:pt x="1514" y="662"/>
                  </a:lnTo>
                  <a:lnTo>
                    <a:pt x="1490" y="666"/>
                  </a:lnTo>
                  <a:lnTo>
                    <a:pt x="1480" y="668"/>
                  </a:lnTo>
                  <a:lnTo>
                    <a:pt x="1470" y="672"/>
                  </a:lnTo>
                  <a:lnTo>
                    <a:pt x="1462" y="676"/>
                  </a:lnTo>
                  <a:lnTo>
                    <a:pt x="1458" y="682"/>
                  </a:lnTo>
                  <a:lnTo>
                    <a:pt x="1450" y="692"/>
                  </a:lnTo>
                  <a:lnTo>
                    <a:pt x="1450" y="696"/>
                  </a:lnTo>
                  <a:lnTo>
                    <a:pt x="1452" y="698"/>
                  </a:lnTo>
                  <a:lnTo>
                    <a:pt x="1456" y="702"/>
                  </a:lnTo>
                  <a:lnTo>
                    <a:pt x="1462" y="704"/>
                  </a:lnTo>
                  <a:lnTo>
                    <a:pt x="1470" y="706"/>
                  </a:lnTo>
                  <a:lnTo>
                    <a:pt x="1476" y="710"/>
                  </a:lnTo>
                  <a:lnTo>
                    <a:pt x="1476" y="714"/>
                  </a:lnTo>
                  <a:lnTo>
                    <a:pt x="1476" y="718"/>
                  </a:lnTo>
                  <a:lnTo>
                    <a:pt x="1476" y="724"/>
                  </a:lnTo>
                  <a:lnTo>
                    <a:pt x="1472" y="732"/>
                  </a:lnTo>
                  <a:lnTo>
                    <a:pt x="1468" y="738"/>
                  </a:lnTo>
                  <a:lnTo>
                    <a:pt x="1468" y="744"/>
                  </a:lnTo>
                  <a:lnTo>
                    <a:pt x="1468" y="748"/>
                  </a:lnTo>
                  <a:lnTo>
                    <a:pt x="1472" y="752"/>
                  </a:lnTo>
                  <a:lnTo>
                    <a:pt x="1480" y="756"/>
                  </a:lnTo>
                  <a:lnTo>
                    <a:pt x="1492" y="758"/>
                  </a:lnTo>
                  <a:lnTo>
                    <a:pt x="1506" y="760"/>
                  </a:lnTo>
                  <a:lnTo>
                    <a:pt x="1520" y="764"/>
                  </a:lnTo>
                  <a:lnTo>
                    <a:pt x="1524" y="766"/>
                  </a:lnTo>
                  <a:lnTo>
                    <a:pt x="1528" y="770"/>
                  </a:lnTo>
                  <a:lnTo>
                    <a:pt x="1532" y="774"/>
                  </a:lnTo>
                  <a:lnTo>
                    <a:pt x="1532" y="780"/>
                  </a:lnTo>
                  <a:lnTo>
                    <a:pt x="1534" y="786"/>
                  </a:lnTo>
                  <a:lnTo>
                    <a:pt x="1536" y="790"/>
                  </a:lnTo>
                  <a:lnTo>
                    <a:pt x="1540" y="792"/>
                  </a:lnTo>
                  <a:lnTo>
                    <a:pt x="1546" y="794"/>
                  </a:lnTo>
                  <a:lnTo>
                    <a:pt x="1556" y="796"/>
                  </a:lnTo>
                  <a:lnTo>
                    <a:pt x="1568" y="796"/>
                  </a:lnTo>
                  <a:lnTo>
                    <a:pt x="1580" y="798"/>
                  </a:lnTo>
                  <a:lnTo>
                    <a:pt x="1584" y="800"/>
                  </a:lnTo>
                  <a:lnTo>
                    <a:pt x="1586" y="804"/>
                  </a:lnTo>
                  <a:lnTo>
                    <a:pt x="1588" y="806"/>
                  </a:lnTo>
                  <a:lnTo>
                    <a:pt x="1588" y="812"/>
                  </a:lnTo>
                  <a:lnTo>
                    <a:pt x="1586" y="818"/>
                  </a:lnTo>
                  <a:lnTo>
                    <a:pt x="1582" y="828"/>
                  </a:lnTo>
                  <a:lnTo>
                    <a:pt x="1578" y="836"/>
                  </a:lnTo>
                  <a:lnTo>
                    <a:pt x="1576" y="844"/>
                  </a:lnTo>
                  <a:lnTo>
                    <a:pt x="1576" y="852"/>
                  </a:lnTo>
                  <a:lnTo>
                    <a:pt x="1578" y="858"/>
                  </a:lnTo>
                  <a:lnTo>
                    <a:pt x="1582" y="868"/>
                  </a:lnTo>
                  <a:lnTo>
                    <a:pt x="1590" y="876"/>
                  </a:lnTo>
                  <a:lnTo>
                    <a:pt x="1596" y="882"/>
                  </a:lnTo>
                  <a:lnTo>
                    <a:pt x="1598" y="886"/>
                  </a:lnTo>
                  <a:lnTo>
                    <a:pt x="1598" y="890"/>
                  </a:lnTo>
                  <a:lnTo>
                    <a:pt x="1598" y="896"/>
                  </a:lnTo>
                  <a:lnTo>
                    <a:pt x="1596" y="900"/>
                  </a:lnTo>
                  <a:lnTo>
                    <a:pt x="1590" y="906"/>
                  </a:lnTo>
                  <a:lnTo>
                    <a:pt x="1584" y="912"/>
                  </a:lnTo>
                  <a:lnTo>
                    <a:pt x="1570" y="922"/>
                  </a:lnTo>
                  <a:lnTo>
                    <a:pt x="1566" y="924"/>
                  </a:lnTo>
                  <a:lnTo>
                    <a:pt x="1564" y="922"/>
                  </a:lnTo>
                  <a:lnTo>
                    <a:pt x="1566" y="912"/>
                  </a:lnTo>
                  <a:lnTo>
                    <a:pt x="1568" y="898"/>
                  </a:lnTo>
                  <a:lnTo>
                    <a:pt x="1572" y="884"/>
                  </a:lnTo>
                  <a:lnTo>
                    <a:pt x="1572" y="878"/>
                  </a:lnTo>
                  <a:lnTo>
                    <a:pt x="1572" y="872"/>
                  </a:lnTo>
                  <a:lnTo>
                    <a:pt x="1570" y="866"/>
                  </a:lnTo>
                  <a:lnTo>
                    <a:pt x="1566" y="864"/>
                  </a:lnTo>
                  <a:lnTo>
                    <a:pt x="1560" y="864"/>
                  </a:lnTo>
                  <a:lnTo>
                    <a:pt x="1552" y="866"/>
                  </a:lnTo>
                  <a:lnTo>
                    <a:pt x="1542" y="868"/>
                  </a:lnTo>
                  <a:lnTo>
                    <a:pt x="1538" y="868"/>
                  </a:lnTo>
                  <a:lnTo>
                    <a:pt x="1536" y="866"/>
                  </a:lnTo>
                  <a:lnTo>
                    <a:pt x="1536" y="864"/>
                  </a:lnTo>
                  <a:lnTo>
                    <a:pt x="1542" y="856"/>
                  </a:lnTo>
                  <a:lnTo>
                    <a:pt x="1550" y="844"/>
                  </a:lnTo>
                  <a:lnTo>
                    <a:pt x="1560" y="832"/>
                  </a:lnTo>
                  <a:lnTo>
                    <a:pt x="1562" y="826"/>
                  </a:lnTo>
                  <a:lnTo>
                    <a:pt x="1564" y="820"/>
                  </a:lnTo>
                  <a:lnTo>
                    <a:pt x="1562" y="816"/>
                  </a:lnTo>
                  <a:lnTo>
                    <a:pt x="1558" y="812"/>
                  </a:lnTo>
                  <a:lnTo>
                    <a:pt x="1552" y="810"/>
                  </a:lnTo>
                  <a:lnTo>
                    <a:pt x="1540" y="810"/>
                  </a:lnTo>
                  <a:lnTo>
                    <a:pt x="1518" y="810"/>
                  </a:lnTo>
                  <a:lnTo>
                    <a:pt x="1504" y="806"/>
                  </a:lnTo>
                  <a:lnTo>
                    <a:pt x="1492" y="798"/>
                  </a:lnTo>
                  <a:lnTo>
                    <a:pt x="1482" y="792"/>
                  </a:lnTo>
                  <a:lnTo>
                    <a:pt x="1472" y="782"/>
                  </a:lnTo>
                  <a:lnTo>
                    <a:pt x="1460" y="774"/>
                  </a:lnTo>
                  <a:lnTo>
                    <a:pt x="1442" y="768"/>
                  </a:lnTo>
                  <a:lnTo>
                    <a:pt x="1416" y="762"/>
                  </a:lnTo>
                  <a:lnTo>
                    <a:pt x="1400" y="760"/>
                  </a:lnTo>
                  <a:lnTo>
                    <a:pt x="1386" y="760"/>
                  </a:lnTo>
                  <a:lnTo>
                    <a:pt x="1374" y="760"/>
                  </a:lnTo>
                  <a:lnTo>
                    <a:pt x="1364" y="762"/>
                  </a:lnTo>
                  <a:lnTo>
                    <a:pt x="1358" y="764"/>
                  </a:lnTo>
                  <a:lnTo>
                    <a:pt x="1352" y="768"/>
                  </a:lnTo>
                  <a:lnTo>
                    <a:pt x="1346" y="776"/>
                  </a:lnTo>
                  <a:lnTo>
                    <a:pt x="1342" y="784"/>
                  </a:lnTo>
                  <a:lnTo>
                    <a:pt x="1340" y="790"/>
                  </a:lnTo>
                  <a:lnTo>
                    <a:pt x="1336" y="794"/>
                  </a:lnTo>
                  <a:lnTo>
                    <a:pt x="1334" y="794"/>
                  </a:lnTo>
                  <a:lnTo>
                    <a:pt x="1330" y="792"/>
                  </a:lnTo>
                  <a:lnTo>
                    <a:pt x="1316" y="788"/>
                  </a:lnTo>
                  <a:lnTo>
                    <a:pt x="1302" y="788"/>
                  </a:lnTo>
                  <a:lnTo>
                    <a:pt x="1292" y="792"/>
                  </a:lnTo>
                  <a:lnTo>
                    <a:pt x="1284" y="796"/>
                  </a:lnTo>
                  <a:lnTo>
                    <a:pt x="1282" y="800"/>
                  </a:lnTo>
                  <a:lnTo>
                    <a:pt x="1282" y="804"/>
                  </a:lnTo>
                  <a:lnTo>
                    <a:pt x="1282" y="808"/>
                  </a:lnTo>
                  <a:lnTo>
                    <a:pt x="1284" y="812"/>
                  </a:lnTo>
                  <a:lnTo>
                    <a:pt x="1288" y="816"/>
                  </a:lnTo>
                  <a:lnTo>
                    <a:pt x="1294" y="820"/>
                  </a:lnTo>
                  <a:lnTo>
                    <a:pt x="1314" y="828"/>
                  </a:lnTo>
                  <a:lnTo>
                    <a:pt x="1332" y="834"/>
                  </a:lnTo>
                  <a:lnTo>
                    <a:pt x="1342" y="840"/>
                  </a:lnTo>
                  <a:lnTo>
                    <a:pt x="1344" y="842"/>
                  </a:lnTo>
                  <a:lnTo>
                    <a:pt x="1344" y="844"/>
                  </a:lnTo>
                  <a:lnTo>
                    <a:pt x="1340" y="846"/>
                  </a:lnTo>
                  <a:lnTo>
                    <a:pt x="1332" y="848"/>
                  </a:lnTo>
                  <a:lnTo>
                    <a:pt x="1318" y="848"/>
                  </a:lnTo>
                  <a:lnTo>
                    <a:pt x="1280" y="844"/>
                  </a:lnTo>
                  <a:lnTo>
                    <a:pt x="1270" y="842"/>
                  </a:lnTo>
                  <a:lnTo>
                    <a:pt x="1264" y="840"/>
                  </a:lnTo>
                  <a:lnTo>
                    <a:pt x="1260" y="836"/>
                  </a:lnTo>
                  <a:lnTo>
                    <a:pt x="1256" y="830"/>
                  </a:lnTo>
                  <a:lnTo>
                    <a:pt x="1256" y="824"/>
                  </a:lnTo>
                  <a:lnTo>
                    <a:pt x="1256" y="818"/>
                  </a:lnTo>
                  <a:lnTo>
                    <a:pt x="1260" y="804"/>
                  </a:lnTo>
                  <a:lnTo>
                    <a:pt x="1264" y="788"/>
                  </a:lnTo>
                  <a:lnTo>
                    <a:pt x="1268" y="772"/>
                  </a:lnTo>
                  <a:lnTo>
                    <a:pt x="1270" y="758"/>
                  </a:lnTo>
                  <a:lnTo>
                    <a:pt x="1268" y="750"/>
                  </a:lnTo>
                  <a:lnTo>
                    <a:pt x="1266" y="744"/>
                  </a:lnTo>
                  <a:lnTo>
                    <a:pt x="1258" y="734"/>
                  </a:lnTo>
                  <a:lnTo>
                    <a:pt x="1250" y="726"/>
                  </a:lnTo>
                  <a:lnTo>
                    <a:pt x="1244" y="722"/>
                  </a:lnTo>
                  <a:lnTo>
                    <a:pt x="1240" y="722"/>
                  </a:lnTo>
                  <a:lnTo>
                    <a:pt x="1236" y="724"/>
                  </a:lnTo>
                  <a:lnTo>
                    <a:pt x="1234" y="730"/>
                  </a:lnTo>
                  <a:lnTo>
                    <a:pt x="1234" y="738"/>
                  </a:lnTo>
                  <a:lnTo>
                    <a:pt x="1238" y="752"/>
                  </a:lnTo>
                  <a:lnTo>
                    <a:pt x="1240" y="762"/>
                  </a:lnTo>
                  <a:lnTo>
                    <a:pt x="1238" y="772"/>
                  </a:lnTo>
                  <a:lnTo>
                    <a:pt x="1236" y="778"/>
                  </a:lnTo>
                  <a:lnTo>
                    <a:pt x="1230" y="784"/>
                  </a:lnTo>
                  <a:lnTo>
                    <a:pt x="1224" y="788"/>
                  </a:lnTo>
                  <a:lnTo>
                    <a:pt x="1216" y="792"/>
                  </a:lnTo>
                  <a:lnTo>
                    <a:pt x="1198" y="798"/>
                  </a:lnTo>
                  <a:lnTo>
                    <a:pt x="1182" y="804"/>
                  </a:lnTo>
                  <a:lnTo>
                    <a:pt x="1176" y="808"/>
                  </a:lnTo>
                  <a:lnTo>
                    <a:pt x="1170" y="812"/>
                  </a:lnTo>
                  <a:lnTo>
                    <a:pt x="1168" y="818"/>
                  </a:lnTo>
                  <a:lnTo>
                    <a:pt x="1168" y="824"/>
                  </a:lnTo>
                  <a:lnTo>
                    <a:pt x="1172" y="832"/>
                  </a:lnTo>
                  <a:lnTo>
                    <a:pt x="1178" y="842"/>
                  </a:lnTo>
                  <a:lnTo>
                    <a:pt x="1200" y="870"/>
                  </a:lnTo>
                  <a:lnTo>
                    <a:pt x="1208" y="878"/>
                  </a:lnTo>
                  <a:lnTo>
                    <a:pt x="1212" y="886"/>
                  </a:lnTo>
                  <a:lnTo>
                    <a:pt x="1212" y="894"/>
                  </a:lnTo>
                  <a:lnTo>
                    <a:pt x="1210" y="902"/>
                  </a:lnTo>
                  <a:lnTo>
                    <a:pt x="1204" y="912"/>
                  </a:lnTo>
                  <a:lnTo>
                    <a:pt x="1194" y="926"/>
                  </a:lnTo>
                  <a:lnTo>
                    <a:pt x="1184" y="940"/>
                  </a:lnTo>
                  <a:lnTo>
                    <a:pt x="1180" y="950"/>
                  </a:lnTo>
                  <a:lnTo>
                    <a:pt x="1180" y="956"/>
                  </a:lnTo>
                  <a:lnTo>
                    <a:pt x="1182" y="962"/>
                  </a:lnTo>
                  <a:lnTo>
                    <a:pt x="1190" y="974"/>
                  </a:lnTo>
                  <a:lnTo>
                    <a:pt x="1192" y="982"/>
                  </a:lnTo>
                  <a:lnTo>
                    <a:pt x="1194" y="992"/>
                  </a:lnTo>
                  <a:lnTo>
                    <a:pt x="1194" y="996"/>
                  </a:lnTo>
                  <a:lnTo>
                    <a:pt x="1196" y="1000"/>
                  </a:lnTo>
                  <a:lnTo>
                    <a:pt x="1200" y="1002"/>
                  </a:lnTo>
                  <a:lnTo>
                    <a:pt x="1204" y="1002"/>
                  </a:lnTo>
                  <a:lnTo>
                    <a:pt x="1218" y="1000"/>
                  </a:lnTo>
                  <a:lnTo>
                    <a:pt x="1234" y="996"/>
                  </a:lnTo>
                  <a:lnTo>
                    <a:pt x="1254" y="992"/>
                  </a:lnTo>
                  <a:lnTo>
                    <a:pt x="1276" y="992"/>
                  </a:lnTo>
                  <a:lnTo>
                    <a:pt x="1288" y="992"/>
                  </a:lnTo>
                  <a:lnTo>
                    <a:pt x="1298" y="994"/>
                  </a:lnTo>
                  <a:lnTo>
                    <a:pt x="1310" y="998"/>
                  </a:lnTo>
                  <a:lnTo>
                    <a:pt x="1322" y="1004"/>
                  </a:lnTo>
                  <a:lnTo>
                    <a:pt x="1340" y="1016"/>
                  </a:lnTo>
                  <a:lnTo>
                    <a:pt x="1352" y="1028"/>
                  </a:lnTo>
                  <a:lnTo>
                    <a:pt x="1358" y="1036"/>
                  </a:lnTo>
                  <a:lnTo>
                    <a:pt x="1360" y="1044"/>
                  </a:lnTo>
                  <a:lnTo>
                    <a:pt x="1360" y="1050"/>
                  </a:lnTo>
                  <a:lnTo>
                    <a:pt x="1356" y="1054"/>
                  </a:lnTo>
                  <a:lnTo>
                    <a:pt x="1350" y="1066"/>
                  </a:lnTo>
                  <a:lnTo>
                    <a:pt x="1342" y="1078"/>
                  </a:lnTo>
                  <a:lnTo>
                    <a:pt x="1334" y="1092"/>
                  </a:lnTo>
                  <a:lnTo>
                    <a:pt x="1332" y="1096"/>
                  </a:lnTo>
                  <a:lnTo>
                    <a:pt x="1330" y="1098"/>
                  </a:lnTo>
                  <a:lnTo>
                    <a:pt x="1330" y="1092"/>
                  </a:lnTo>
                  <a:lnTo>
                    <a:pt x="1332" y="1082"/>
                  </a:lnTo>
                  <a:lnTo>
                    <a:pt x="1334" y="1066"/>
                  </a:lnTo>
                  <a:lnTo>
                    <a:pt x="1334" y="1052"/>
                  </a:lnTo>
                  <a:lnTo>
                    <a:pt x="1330" y="1038"/>
                  </a:lnTo>
                  <a:lnTo>
                    <a:pt x="1322" y="1026"/>
                  </a:lnTo>
                  <a:lnTo>
                    <a:pt x="1318" y="1020"/>
                  </a:lnTo>
                  <a:lnTo>
                    <a:pt x="1312" y="1016"/>
                  </a:lnTo>
                  <a:lnTo>
                    <a:pt x="1304" y="1014"/>
                  </a:lnTo>
                  <a:lnTo>
                    <a:pt x="1298" y="1012"/>
                  </a:lnTo>
                  <a:lnTo>
                    <a:pt x="1288" y="1010"/>
                  </a:lnTo>
                  <a:lnTo>
                    <a:pt x="1278" y="1010"/>
                  </a:lnTo>
                  <a:lnTo>
                    <a:pt x="1266" y="1012"/>
                  </a:lnTo>
                  <a:lnTo>
                    <a:pt x="1254" y="1016"/>
                  </a:lnTo>
                  <a:lnTo>
                    <a:pt x="1242" y="1020"/>
                  </a:lnTo>
                  <a:lnTo>
                    <a:pt x="1234" y="1026"/>
                  </a:lnTo>
                  <a:lnTo>
                    <a:pt x="1228" y="1032"/>
                  </a:lnTo>
                  <a:lnTo>
                    <a:pt x="1224" y="1036"/>
                  </a:lnTo>
                  <a:lnTo>
                    <a:pt x="1222" y="1044"/>
                  </a:lnTo>
                  <a:lnTo>
                    <a:pt x="1222" y="1050"/>
                  </a:lnTo>
                  <a:lnTo>
                    <a:pt x="1226" y="1062"/>
                  </a:lnTo>
                  <a:lnTo>
                    <a:pt x="1230" y="1076"/>
                  </a:lnTo>
                  <a:lnTo>
                    <a:pt x="1234" y="1088"/>
                  </a:lnTo>
                  <a:lnTo>
                    <a:pt x="1234" y="1092"/>
                  </a:lnTo>
                  <a:lnTo>
                    <a:pt x="1232" y="1098"/>
                  </a:lnTo>
                  <a:lnTo>
                    <a:pt x="1228" y="1102"/>
                  </a:lnTo>
                  <a:lnTo>
                    <a:pt x="1222" y="1106"/>
                  </a:lnTo>
                  <a:lnTo>
                    <a:pt x="1210" y="1112"/>
                  </a:lnTo>
                  <a:lnTo>
                    <a:pt x="1202" y="1120"/>
                  </a:lnTo>
                  <a:lnTo>
                    <a:pt x="1198" y="1128"/>
                  </a:lnTo>
                  <a:lnTo>
                    <a:pt x="1196" y="1136"/>
                  </a:lnTo>
                  <a:lnTo>
                    <a:pt x="1194" y="1144"/>
                  </a:lnTo>
                  <a:lnTo>
                    <a:pt x="1188" y="1152"/>
                  </a:lnTo>
                  <a:lnTo>
                    <a:pt x="1180" y="1160"/>
                  </a:lnTo>
                  <a:lnTo>
                    <a:pt x="1166" y="1168"/>
                  </a:lnTo>
                  <a:lnTo>
                    <a:pt x="1152" y="1176"/>
                  </a:lnTo>
                  <a:lnTo>
                    <a:pt x="1144" y="1184"/>
                  </a:lnTo>
                  <a:lnTo>
                    <a:pt x="1136" y="1196"/>
                  </a:lnTo>
                  <a:lnTo>
                    <a:pt x="1130" y="1200"/>
                  </a:lnTo>
                  <a:lnTo>
                    <a:pt x="1118" y="1202"/>
                  </a:lnTo>
                  <a:lnTo>
                    <a:pt x="1100" y="1200"/>
                  </a:lnTo>
                  <a:lnTo>
                    <a:pt x="1070" y="1196"/>
                  </a:lnTo>
                  <a:lnTo>
                    <a:pt x="1044" y="1190"/>
                  </a:lnTo>
                  <a:lnTo>
                    <a:pt x="1036" y="1186"/>
                  </a:lnTo>
                  <a:lnTo>
                    <a:pt x="1040" y="1184"/>
                  </a:lnTo>
                  <a:lnTo>
                    <a:pt x="1052" y="1180"/>
                  </a:lnTo>
                  <a:lnTo>
                    <a:pt x="1072" y="1176"/>
                  </a:lnTo>
                  <a:lnTo>
                    <a:pt x="1094" y="1168"/>
                  </a:lnTo>
                  <a:lnTo>
                    <a:pt x="1104" y="1162"/>
                  </a:lnTo>
                  <a:lnTo>
                    <a:pt x="1114" y="1156"/>
                  </a:lnTo>
                  <a:lnTo>
                    <a:pt x="1122" y="1148"/>
                  </a:lnTo>
                  <a:lnTo>
                    <a:pt x="1128" y="1138"/>
                  </a:lnTo>
                  <a:lnTo>
                    <a:pt x="1138" y="1122"/>
                  </a:lnTo>
                  <a:lnTo>
                    <a:pt x="1146" y="1112"/>
                  </a:lnTo>
                  <a:lnTo>
                    <a:pt x="1154" y="1106"/>
                  </a:lnTo>
                  <a:lnTo>
                    <a:pt x="1160" y="1104"/>
                  </a:lnTo>
                  <a:lnTo>
                    <a:pt x="1166" y="1100"/>
                  </a:lnTo>
                  <a:lnTo>
                    <a:pt x="1170" y="1096"/>
                  </a:lnTo>
                  <a:lnTo>
                    <a:pt x="1174" y="1088"/>
                  </a:lnTo>
                  <a:lnTo>
                    <a:pt x="1176" y="1072"/>
                  </a:lnTo>
                  <a:lnTo>
                    <a:pt x="1176" y="1058"/>
                  </a:lnTo>
                  <a:lnTo>
                    <a:pt x="1174" y="1044"/>
                  </a:lnTo>
                  <a:lnTo>
                    <a:pt x="1166" y="1034"/>
                  </a:lnTo>
                  <a:lnTo>
                    <a:pt x="1160" y="1026"/>
                  </a:lnTo>
                  <a:lnTo>
                    <a:pt x="1152" y="1016"/>
                  </a:lnTo>
                  <a:lnTo>
                    <a:pt x="1146" y="1004"/>
                  </a:lnTo>
                  <a:lnTo>
                    <a:pt x="1142" y="988"/>
                  </a:lnTo>
                  <a:lnTo>
                    <a:pt x="1142" y="968"/>
                  </a:lnTo>
                  <a:lnTo>
                    <a:pt x="1150" y="928"/>
                  </a:lnTo>
                  <a:lnTo>
                    <a:pt x="1152" y="910"/>
                  </a:lnTo>
                  <a:lnTo>
                    <a:pt x="1154" y="896"/>
                  </a:lnTo>
                  <a:lnTo>
                    <a:pt x="1152" y="882"/>
                  </a:lnTo>
                  <a:lnTo>
                    <a:pt x="1148" y="868"/>
                  </a:lnTo>
                  <a:lnTo>
                    <a:pt x="1140" y="856"/>
                  </a:lnTo>
                  <a:lnTo>
                    <a:pt x="1126" y="844"/>
                  </a:lnTo>
                  <a:lnTo>
                    <a:pt x="1116" y="832"/>
                  </a:lnTo>
                  <a:lnTo>
                    <a:pt x="1114" y="828"/>
                  </a:lnTo>
                  <a:lnTo>
                    <a:pt x="1112" y="824"/>
                  </a:lnTo>
                  <a:lnTo>
                    <a:pt x="1114" y="822"/>
                  </a:lnTo>
                  <a:lnTo>
                    <a:pt x="1118" y="818"/>
                  </a:lnTo>
                  <a:lnTo>
                    <a:pt x="1126" y="812"/>
                  </a:lnTo>
                  <a:lnTo>
                    <a:pt x="1136" y="804"/>
                  </a:lnTo>
                  <a:lnTo>
                    <a:pt x="1146" y="796"/>
                  </a:lnTo>
                  <a:lnTo>
                    <a:pt x="1150" y="790"/>
                  </a:lnTo>
                  <a:lnTo>
                    <a:pt x="1154" y="782"/>
                  </a:lnTo>
                  <a:lnTo>
                    <a:pt x="1156" y="774"/>
                  </a:lnTo>
                  <a:lnTo>
                    <a:pt x="1156" y="764"/>
                  </a:lnTo>
                  <a:lnTo>
                    <a:pt x="1156" y="754"/>
                  </a:lnTo>
                  <a:lnTo>
                    <a:pt x="1152" y="744"/>
                  </a:lnTo>
                  <a:lnTo>
                    <a:pt x="1148" y="738"/>
                  </a:lnTo>
                  <a:lnTo>
                    <a:pt x="1142" y="732"/>
                  </a:lnTo>
                  <a:lnTo>
                    <a:pt x="1134" y="728"/>
                  </a:lnTo>
                  <a:lnTo>
                    <a:pt x="1126" y="724"/>
                  </a:lnTo>
                  <a:lnTo>
                    <a:pt x="1106" y="722"/>
                  </a:lnTo>
                  <a:lnTo>
                    <a:pt x="1086" y="722"/>
                  </a:lnTo>
                  <a:lnTo>
                    <a:pt x="1064" y="724"/>
                  </a:lnTo>
                  <a:lnTo>
                    <a:pt x="1044" y="724"/>
                  </a:lnTo>
                  <a:lnTo>
                    <a:pt x="1028" y="722"/>
                  </a:lnTo>
                  <a:lnTo>
                    <a:pt x="1020" y="722"/>
                  </a:lnTo>
                  <a:lnTo>
                    <a:pt x="1012" y="722"/>
                  </a:lnTo>
                  <a:lnTo>
                    <a:pt x="1006" y="726"/>
                  </a:lnTo>
                  <a:lnTo>
                    <a:pt x="1002" y="732"/>
                  </a:lnTo>
                  <a:lnTo>
                    <a:pt x="994" y="748"/>
                  </a:lnTo>
                  <a:lnTo>
                    <a:pt x="988" y="766"/>
                  </a:lnTo>
                  <a:lnTo>
                    <a:pt x="980" y="788"/>
                  </a:lnTo>
                  <a:lnTo>
                    <a:pt x="970" y="808"/>
                  </a:lnTo>
                  <a:lnTo>
                    <a:pt x="964" y="816"/>
                  </a:lnTo>
                  <a:lnTo>
                    <a:pt x="958" y="824"/>
                  </a:lnTo>
                  <a:lnTo>
                    <a:pt x="948" y="832"/>
                  </a:lnTo>
                  <a:lnTo>
                    <a:pt x="938" y="838"/>
                  </a:lnTo>
                  <a:lnTo>
                    <a:pt x="916" y="848"/>
                  </a:lnTo>
                  <a:lnTo>
                    <a:pt x="908" y="854"/>
                  </a:lnTo>
                  <a:lnTo>
                    <a:pt x="906" y="858"/>
                  </a:lnTo>
                  <a:lnTo>
                    <a:pt x="904" y="862"/>
                  </a:lnTo>
                  <a:lnTo>
                    <a:pt x="906" y="866"/>
                  </a:lnTo>
                  <a:lnTo>
                    <a:pt x="912" y="874"/>
                  </a:lnTo>
                  <a:lnTo>
                    <a:pt x="920" y="884"/>
                  </a:lnTo>
                  <a:lnTo>
                    <a:pt x="922" y="888"/>
                  </a:lnTo>
                  <a:lnTo>
                    <a:pt x="926" y="894"/>
                  </a:lnTo>
                  <a:lnTo>
                    <a:pt x="926" y="902"/>
                  </a:lnTo>
                  <a:lnTo>
                    <a:pt x="926" y="910"/>
                  </a:lnTo>
                  <a:lnTo>
                    <a:pt x="922" y="918"/>
                  </a:lnTo>
                  <a:lnTo>
                    <a:pt x="916" y="928"/>
                  </a:lnTo>
                  <a:lnTo>
                    <a:pt x="912" y="938"/>
                  </a:lnTo>
                  <a:lnTo>
                    <a:pt x="910" y="948"/>
                  </a:lnTo>
                  <a:lnTo>
                    <a:pt x="912" y="954"/>
                  </a:lnTo>
                  <a:lnTo>
                    <a:pt x="916" y="962"/>
                  </a:lnTo>
                  <a:lnTo>
                    <a:pt x="924" y="968"/>
                  </a:lnTo>
                  <a:lnTo>
                    <a:pt x="932" y="974"/>
                  </a:lnTo>
                  <a:lnTo>
                    <a:pt x="952" y="986"/>
                  </a:lnTo>
                  <a:lnTo>
                    <a:pt x="974" y="996"/>
                  </a:lnTo>
                  <a:lnTo>
                    <a:pt x="982" y="1002"/>
                  </a:lnTo>
                  <a:lnTo>
                    <a:pt x="990" y="1008"/>
                  </a:lnTo>
                  <a:lnTo>
                    <a:pt x="996" y="1014"/>
                  </a:lnTo>
                  <a:lnTo>
                    <a:pt x="998" y="1022"/>
                  </a:lnTo>
                  <a:lnTo>
                    <a:pt x="998" y="1030"/>
                  </a:lnTo>
                  <a:lnTo>
                    <a:pt x="992" y="1040"/>
                  </a:lnTo>
                  <a:lnTo>
                    <a:pt x="982" y="1054"/>
                  </a:lnTo>
                  <a:lnTo>
                    <a:pt x="978" y="1058"/>
                  </a:lnTo>
                  <a:lnTo>
                    <a:pt x="974" y="1060"/>
                  </a:lnTo>
                  <a:lnTo>
                    <a:pt x="970" y="1060"/>
                  </a:lnTo>
                  <a:lnTo>
                    <a:pt x="966" y="1060"/>
                  </a:lnTo>
                  <a:lnTo>
                    <a:pt x="956" y="1052"/>
                  </a:lnTo>
                  <a:lnTo>
                    <a:pt x="942" y="1040"/>
                  </a:lnTo>
                  <a:lnTo>
                    <a:pt x="918" y="1024"/>
                  </a:lnTo>
                  <a:lnTo>
                    <a:pt x="884" y="1004"/>
                  </a:lnTo>
                  <a:lnTo>
                    <a:pt x="862" y="994"/>
                  </a:lnTo>
                  <a:lnTo>
                    <a:pt x="838" y="984"/>
                  </a:lnTo>
                  <a:lnTo>
                    <a:pt x="810" y="974"/>
                  </a:lnTo>
                  <a:lnTo>
                    <a:pt x="786" y="966"/>
                  </a:lnTo>
                  <a:lnTo>
                    <a:pt x="762" y="960"/>
                  </a:lnTo>
                  <a:lnTo>
                    <a:pt x="742" y="956"/>
                  </a:lnTo>
                  <a:lnTo>
                    <a:pt x="724" y="954"/>
                  </a:lnTo>
                  <a:lnTo>
                    <a:pt x="706" y="952"/>
                  </a:lnTo>
                  <a:lnTo>
                    <a:pt x="692" y="952"/>
                  </a:lnTo>
                  <a:lnTo>
                    <a:pt x="678" y="954"/>
                  </a:lnTo>
                  <a:lnTo>
                    <a:pt x="668" y="956"/>
                  </a:lnTo>
                  <a:lnTo>
                    <a:pt x="660" y="960"/>
                  </a:lnTo>
                  <a:lnTo>
                    <a:pt x="654" y="964"/>
                  </a:lnTo>
                  <a:lnTo>
                    <a:pt x="650" y="968"/>
                  </a:lnTo>
                  <a:lnTo>
                    <a:pt x="650" y="974"/>
                  </a:lnTo>
                  <a:lnTo>
                    <a:pt x="650" y="980"/>
                  </a:lnTo>
                  <a:lnTo>
                    <a:pt x="654" y="986"/>
                  </a:lnTo>
                  <a:lnTo>
                    <a:pt x="660" y="994"/>
                  </a:lnTo>
                  <a:lnTo>
                    <a:pt x="664" y="998"/>
                  </a:lnTo>
                  <a:lnTo>
                    <a:pt x="664" y="1004"/>
                  </a:lnTo>
                  <a:lnTo>
                    <a:pt x="664" y="1010"/>
                  </a:lnTo>
                  <a:lnTo>
                    <a:pt x="662" y="1016"/>
                  </a:lnTo>
                  <a:lnTo>
                    <a:pt x="654" y="1028"/>
                  </a:lnTo>
                  <a:lnTo>
                    <a:pt x="642" y="1038"/>
                  </a:lnTo>
                  <a:lnTo>
                    <a:pt x="628" y="1044"/>
                  </a:lnTo>
                  <a:lnTo>
                    <a:pt x="622" y="1046"/>
                  </a:lnTo>
                  <a:lnTo>
                    <a:pt x="618" y="1046"/>
                  </a:lnTo>
                  <a:lnTo>
                    <a:pt x="612" y="1046"/>
                  </a:lnTo>
                  <a:lnTo>
                    <a:pt x="608" y="1042"/>
                  </a:lnTo>
                  <a:lnTo>
                    <a:pt x="606" y="1038"/>
                  </a:lnTo>
                  <a:lnTo>
                    <a:pt x="606" y="1030"/>
                  </a:lnTo>
                  <a:lnTo>
                    <a:pt x="604" y="1018"/>
                  </a:lnTo>
                  <a:lnTo>
                    <a:pt x="602" y="1010"/>
                  </a:lnTo>
                  <a:lnTo>
                    <a:pt x="596" y="1006"/>
                  </a:lnTo>
                  <a:lnTo>
                    <a:pt x="590" y="1006"/>
                  </a:lnTo>
                  <a:lnTo>
                    <a:pt x="582" y="1010"/>
                  </a:lnTo>
                  <a:lnTo>
                    <a:pt x="570" y="1016"/>
                  </a:lnTo>
                  <a:lnTo>
                    <a:pt x="542" y="1034"/>
                  </a:lnTo>
                  <a:lnTo>
                    <a:pt x="526" y="1042"/>
                  </a:lnTo>
                  <a:lnTo>
                    <a:pt x="520" y="1042"/>
                  </a:lnTo>
                  <a:lnTo>
                    <a:pt x="516" y="1042"/>
                  </a:lnTo>
                  <a:lnTo>
                    <a:pt x="506" y="1040"/>
                  </a:lnTo>
                  <a:lnTo>
                    <a:pt x="498" y="1036"/>
                  </a:lnTo>
                  <a:lnTo>
                    <a:pt x="488" y="1032"/>
                  </a:lnTo>
                  <a:lnTo>
                    <a:pt x="478" y="1032"/>
                  </a:lnTo>
                  <a:lnTo>
                    <a:pt x="470" y="1032"/>
                  </a:lnTo>
                  <a:lnTo>
                    <a:pt x="462" y="1034"/>
                  </a:lnTo>
                  <a:lnTo>
                    <a:pt x="440" y="1046"/>
                  </a:lnTo>
                  <a:lnTo>
                    <a:pt x="420" y="1056"/>
                  </a:lnTo>
                  <a:lnTo>
                    <a:pt x="412" y="1060"/>
                  </a:lnTo>
                  <a:lnTo>
                    <a:pt x="406" y="1060"/>
                  </a:lnTo>
                  <a:lnTo>
                    <a:pt x="400" y="1060"/>
                  </a:lnTo>
                  <a:lnTo>
                    <a:pt x="396" y="1058"/>
                  </a:lnTo>
                  <a:lnTo>
                    <a:pt x="392" y="1054"/>
                  </a:lnTo>
                  <a:lnTo>
                    <a:pt x="390" y="1052"/>
                  </a:lnTo>
                  <a:lnTo>
                    <a:pt x="388" y="1042"/>
                  </a:lnTo>
                  <a:lnTo>
                    <a:pt x="392" y="1030"/>
                  </a:lnTo>
                  <a:lnTo>
                    <a:pt x="396" y="1020"/>
                  </a:lnTo>
                  <a:lnTo>
                    <a:pt x="406" y="1012"/>
                  </a:lnTo>
                  <a:lnTo>
                    <a:pt x="410" y="1006"/>
                  </a:lnTo>
                  <a:lnTo>
                    <a:pt x="412" y="1004"/>
                  </a:lnTo>
                  <a:lnTo>
                    <a:pt x="410" y="1004"/>
                  </a:lnTo>
                  <a:lnTo>
                    <a:pt x="402" y="1004"/>
                  </a:lnTo>
                  <a:lnTo>
                    <a:pt x="388" y="1008"/>
                  </a:lnTo>
                  <a:lnTo>
                    <a:pt x="368" y="1014"/>
                  </a:lnTo>
                  <a:lnTo>
                    <a:pt x="342" y="1024"/>
                  </a:lnTo>
                  <a:lnTo>
                    <a:pt x="312" y="1038"/>
                  </a:lnTo>
                  <a:lnTo>
                    <a:pt x="276" y="1054"/>
                  </a:lnTo>
                  <a:lnTo>
                    <a:pt x="242" y="1070"/>
                  </a:lnTo>
                  <a:lnTo>
                    <a:pt x="216" y="1078"/>
                  </a:lnTo>
                  <a:lnTo>
                    <a:pt x="196" y="1084"/>
                  </a:lnTo>
                  <a:lnTo>
                    <a:pt x="180" y="1086"/>
                  </a:lnTo>
                  <a:lnTo>
                    <a:pt x="168" y="1088"/>
                  </a:lnTo>
                  <a:lnTo>
                    <a:pt x="158" y="1094"/>
                  </a:lnTo>
                  <a:lnTo>
                    <a:pt x="152" y="1106"/>
                  </a:lnTo>
                  <a:lnTo>
                    <a:pt x="144" y="1124"/>
                  </a:lnTo>
                  <a:lnTo>
                    <a:pt x="138" y="1142"/>
                  </a:lnTo>
                  <a:lnTo>
                    <a:pt x="132" y="1152"/>
                  </a:lnTo>
                  <a:lnTo>
                    <a:pt x="126" y="1158"/>
                  </a:lnTo>
                  <a:lnTo>
                    <a:pt x="120" y="1158"/>
                  </a:lnTo>
                  <a:lnTo>
                    <a:pt x="106" y="1156"/>
                  </a:lnTo>
                  <a:lnTo>
                    <a:pt x="98" y="1156"/>
                  </a:lnTo>
                  <a:lnTo>
                    <a:pt x="86" y="1160"/>
                  </a:lnTo>
                  <a:lnTo>
                    <a:pt x="78" y="1164"/>
                  </a:lnTo>
                  <a:lnTo>
                    <a:pt x="54" y="1230"/>
                  </a:lnTo>
                  <a:lnTo>
                    <a:pt x="44" y="1256"/>
                  </a:lnTo>
                  <a:lnTo>
                    <a:pt x="36" y="1274"/>
                  </a:lnTo>
                  <a:lnTo>
                    <a:pt x="28" y="1292"/>
                  </a:lnTo>
                  <a:lnTo>
                    <a:pt x="20" y="1312"/>
                  </a:lnTo>
                  <a:lnTo>
                    <a:pt x="8" y="1346"/>
                  </a:lnTo>
                  <a:lnTo>
                    <a:pt x="0" y="1382"/>
                  </a:lnTo>
                  <a:lnTo>
                    <a:pt x="0" y="1562"/>
                  </a:lnTo>
                  <a:lnTo>
                    <a:pt x="60" y="1706"/>
                  </a:lnTo>
                  <a:lnTo>
                    <a:pt x="180" y="1898"/>
                  </a:lnTo>
                  <a:lnTo>
                    <a:pt x="236" y="2142"/>
                  </a:lnTo>
                  <a:lnTo>
                    <a:pt x="172" y="2176"/>
                  </a:lnTo>
                  <a:lnTo>
                    <a:pt x="166" y="2200"/>
                  </a:lnTo>
                  <a:lnTo>
                    <a:pt x="124" y="2214"/>
                  </a:lnTo>
                  <a:lnTo>
                    <a:pt x="104" y="2206"/>
                  </a:lnTo>
                  <a:lnTo>
                    <a:pt x="92" y="2204"/>
                  </a:lnTo>
                  <a:lnTo>
                    <a:pt x="86" y="2204"/>
                  </a:lnTo>
                  <a:lnTo>
                    <a:pt x="84" y="2208"/>
                  </a:lnTo>
                  <a:lnTo>
                    <a:pt x="70" y="2258"/>
                  </a:lnTo>
                  <a:lnTo>
                    <a:pt x="60" y="2304"/>
                  </a:lnTo>
                  <a:lnTo>
                    <a:pt x="76" y="2364"/>
                  </a:lnTo>
                  <a:lnTo>
                    <a:pt x="114" y="2388"/>
                  </a:lnTo>
                  <a:lnTo>
                    <a:pt x="142" y="2422"/>
                  </a:lnTo>
                  <a:lnTo>
                    <a:pt x="148" y="2454"/>
                  </a:lnTo>
                  <a:lnTo>
                    <a:pt x="130" y="2486"/>
                  </a:lnTo>
                  <a:lnTo>
                    <a:pt x="98" y="2508"/>
                  </a:lnTo>
                  <a:lnTo>
                    <a:pt x="70" y="2552"/>
                  </a:lnTo>
                  <a:lnTo>
                    <a:pt x="80" y="2588"/>
                  </a:lnTo>
                  <a:lnTo>
                    <a:pt x="132" y="2652"/>
                  </a:lnTo>
                  <a:lnTo>
                    <a:pt x="156" y="2704"/>
                  </a:lnTo>
                  <a:lnTo>
                    <a:pt x="182" y="2744"/>
                  </a:lnTo>
                  <a:lnTo>
                    <a:pt x="180" y="2776"/>
                  </a:lnTo>
                  <a:lnTo>
                    <a:pt x="182" y="2792"/>
                  </a:lnTo>
                  <a:lnTo>
                    <a:pt x="186" y="2844"/>
                  </a:lnTo>
                  <a:lnTo>
                    <a:pt x="190" y="2864"/>
                  </a:lnTo>
                  <a:lnTo>
                    <a:pt x="186" y="2882"/>
                  </a:lnTo>
                  <a:lnTo>
                    <a:pt x="188" y="2896"/>
                  </a:lnTo>
                  <a:lnTo>
                    <a:pt x="182" y="2898"/>
                  </a:lnTo>
                  <a:lnTo>
                    <a:pt x="178" y="2898"/>
                  </a:lnTo>
                  <a:lnTo>
                    <a:pt x="176" y="2896"/>
                  </a:lnTo>
                  <a:lnTo>
                    <a:pt x="176" y="2894"/>
                  </a:lnTo>
                  <a:lnTo>
                    <a:pt x="174" y="2888"/>
                  </a:lnTo>
                  <a:lnTo>
                    <a:pt x="172" y="2886"/>
                  </a:lnTo>
                  <a:lnTo>
                    <a:pt x="170" y="2886"/>
                  </a:lnTo>
                  <a:lnTo>
                    <a:pt x="172" y="2886"/>
                  </a:lnTo>
                  <a:lnTo>
                    <a:pt x="174" y="2888"/>
                  </a:lnTo>
                  <a:lnTo>
                    <a:pt x="176" y="2894"/>
                  </a:lnTo>
                  <a:lnTo>
                    <a:pt x="176" y="2896"/>
                  </a:lnTo>
                  <a:lnTo>
                    <a:pt x="178" y="2898"/>
                  </a:lnTo>
                  <a:lnTo>
                    <a:pt x="182" y="2898"/>
                  </a:lnTo>
                  <a:lnTo>
                    <a:pt x="188" y="2896"/>
                  </a:lnTo>
                  <a:lnTo>
                    <a:pt x="174" y="2986"/>
                  </a:lnTo>
                  <a:lnTo>
                    <a:pt x="174" y="3028"/>
                  </a:lnTo>
                  <a:lnTo>
                    <a:pt x="168" y="3124"/>
                  </a:lnTo>
                  <a:lnTo>
                    <a:pt x="174" y="3168"/>
                  </a:lnTo>
                  <a:lnTo>
                    <a:pt x="210" y="3264"/>
                  </a:lnTo>
                  <a:lnTo>
                    <a:pt x="248" y="3338"/>
                  </a:lnTo>
                  <a:lnTo>
                    <a:pt x="248" y="3362"/>
                  </a:lnTo>
                  <a:lnTo>
                    <a:pt x="254" y="3368"/>
                  </a:lnTo>
                  <a:lnTo>
                    <a:pt x="258" y="3372"/>
                  </a:lnTo>
                  <a:lnTo>
                    <a:pt x="262" y="3384"/>
                  </a:lnTo>
                  <a:lnTo>
                    <a:pt x="264" y="3394"/>
                  </a:lnTo>
                  <a:lnTo>
                    <a:pt x="268" y="3400"/>
                  </a:lnTo>
                  <a:lnTo>
                    <a:pt x="272" y="3406"/>
                  </a:lnTo>
                  <a:lnTo>
                    <a:pt x="276" y="3412"/>
                  </a:lnTo>
                  <a:lnTo>
                    <a:pt x="278" y="3416"/>
                  </a:lnTo>
                  <a:lnTo>
                    <a:pt x="278" y="3424"/>
                  </a:lnTo>
                  <a:lnTo>
                    <a:pt x="280" y="3432"/>
                  </a:lnTo>
                  <a:lnTo>
                    <a:pt x="282" y="3438"/>
                  </a:lnTo>
                  <a:lnTo>
                    <a:pt x="286" y="3444"/>
                  </a:lnTo>
                  <a:lnTo>
                    <a:pt x="294" y="3452"/>
                  </a:lnTo>
                  <a:lnTo>
                    <a:pt x="302" y="3456"/>
                  </a:lnTo>
                  <a:lnTo>
                    <a:pt x="320" y="3464"/>
                  </a:lnTo>
                  <a:lnTo>
                    <a:pt x="334" y="3470"/>
                  </a:lnTo>
                  <a:lnTo>
                    <a:pt x="338" y="3474"/>
                  </a:lnTo>
                  <a:lnTo>
                    <a:pt x="338" y="3478"/>
                  </a:lnTo>
                  <a:lnTo>
                    <a:pt x="338" y="3480"/>
                  </a:lnTo>
                  <a:lnTo>
                    <a:pt x="340" y="3484"/>
                  </a:lnTo>
                  <a:lnTo>
                    <a:pt x="350" y="3490"/>
                  </a:lnTo>
                  <a:lnTo>
                    <a:pt x="360" y="3496"/>
                  </a:lnTo>
                  <a:lnTo>
                    <a:pt x="366" y="3500"/>
                  </a:lnTo>
                  <a:lnTo>
                    <a:pt x="374" y="3508"/>
                  </a:lnTo>
                  <a:lnTo>
                    <a:pt x="382" y="3512"/>
                  </a:lnTo>
                  <a:lnTo>
                    <a:pt x="388" y="3514"/>
                  </a:lnTo>
                  <a:lnTo>
                    <a:pt x="394" y="3514"/>
                  </a:lnTo>
                  <a:lnTo>
                    <a:pt x="404" y="3516"/>
                  </a:lnTo>
                  <a:lnTo>
                    <a:pt x="410" y="3516"/>
                  </a:lnTo>
                  <a:lnTo>
                    <a:pt x="414" y="3522"/>
                  </a:lnTo>
                  <a:lnTo>
                    <a:pt x="420" y="3524"/>
                  </a:lnTo>
                  <a:lnTo>
                    <a:pt x="424" y="3526"/>
                  </a:lnTo>
                  <a:lnTo>
                    <a:pt x="428" y="3524"/>
                  </a:lnTo>
                  <a:lnTo>
                    <a:pt x="432" y="3522"/>
                  </a:lnTo>
                  <a:lnTo>
                    <a:pt x="442" y="3514"/>
                  </a:lnTo>
                  <a:lnTo>
                    <a:pt x="446" y="3512"/>
                  </a:lnTo>
                  <a:lnTo>
                    <a:pt x="450" y="3512"/>
                  </a:lnTo>
                  <a:lnTo>
                    <a:pt x="456" y="3510"/>
                  </a:lnTo>
                  <a:lnTo>
                    <a:pt x="458" y="3508"/>
                  </a:lnTo>
                  <a:lnTo>
                    <a:pt x="462" y="3504"/>
                  </a:lnTo>
                  <a:lnTo>
                    <a:pt x="464" y="3502"/>
                  </a:lnTo>
                  <a:lnTo>
                    <a:pt x="468" y="3502"/>
                  </a:lnTo>
                  <a:lnTo>
                    <a:pt x="472" y="3500"/>
                  </a:lnTo>
                  <a:lnTo>
                    <a:pt x="476" y="3498"/>
                  </a:lnTo>
                  <a:lnTo>
                    <a:pt x="480" y="3494"/>
                  </a:lnTo>
                  <a:lnTo>
                    <a:pt x="482" y="3492"/>
                  </a:lnTo>
                  <a:lnTo>
                    <a:pt x="488" y="3490"/>
                  </a:lnTo>
                  <a:lnTo>
                    <a:pt x="492" y="3490"/>
                  </a:lnTo>
                  <a:lnTo>
                    <a:pt x="500" y="3492"/>
                  </a:lnTo>
                  <a:lnTo>
                    <a:pt x="508" y="3496"/>
                  </a:lnTo>
                  <a:lnTo>
                    <a:pt x="514" y="3502"/>
                  </a:lnTo>
                  <a:lnTo>
                    <a:pt x="518" y="3512"/>
                  </a:lnTo>
                  <a:lnTo>
                    <a:pt x="520" y="3522"/>
                  </a:lnTo>
                  <a:lnTo>
                    <a:pt x="524" y="3542"/>
                  </a:lnTo>
                  <a:lnTo>
                    <a:pt x="526" y="3558"/>
                  </a:lnTo>
                  <a:lnTo>
                    <a:pt x="528" y="3562"/>
                  </a:lnTo>
                  <a:lnTo>
                    <a:pt x="532" y="3564"/>
                  </a:lnTo>
                  <a:lnTo>
                    <a:pt x="542" y="3566"/>
                  </a:lnTo>
                  <a:lnTo>
                    <a:pt x="550" y="3568"/>
                  </a:lnTo>
                  <a:lnTo>
                    <a:pt x="554" y="3570"/>
                  </a:lnTo>
                  <a:lnTo>
                    <a:pt x="558" y="3572"/>
                  </a:lnTo>
                  <a:lnTo>
                    <a:pt x="562" y="3576"/>
                  </a:lnTo>
                  <a:lnTo>
                    <a:pt x="566" y="3574"/>
                  </a:lnTo>
                  <a:lnTo>
                    <a:pt x="570" y="3574"/>
                  </a:lnTo>
                  <a:lnTo>
                    <a:pt x="580" y="3574"/>
                  </a:lnTo>
                  <a:lnTo>
                    <a:pt x="586" y="3574"/>
                  </a:lnTo>
                  <a:lnTo>
                    <a:pt x="590" y="3576"/>
                  </a:lnTo>
                  <a:lnTo>
                    <a:pt x="596" y="3580"/>
                  </a:lnTo>
                  <a:lnTo>
                    <a:pt x="600" y="3584"/>
                  </a:lnTo>
                  <a:lnTo>
                    <a:pt x="604" y="3584"/>
                  </a:lnTo>
                  <a:lnTo>
                    <a:pt x="608" y="3582"/>
                  </a:lnTo>
                  <a:lnTo>
                    <a:pt x="614" y="3580"/>
                  </a:lnTo>
                  <a:lnTo>
                    <a:pt x="620" y="3582"/>
                  </a:lnTo>
                  <a:lnTo>
                    <a:pt x="636" y="3584"/>
                  </a:lnTo>
                  <a:lnTo>
                    <a:pt x="650" y="3588"/>
                  </a:lnTo>
                  <a:lnTo>
                    <a:pt x="652" y="3588"/>
                  </a:lnTo>
                  <a:lnTo>
                    <a:pt x="654" y="3586"/>
                  </a:lnTo>
                  <a:lnTo>
                    <a:pt x="654" y="3582"/>
                  </a:lnTo>
                  <a:lnTo>
                    <a:pt x="656" y="3580"/>
                  </a:lnTo>
                  <a:lnTo>
                    <a:pt x="658" y="3582"/>
                  </a:lnTo>
                  <a:lnTo>
                    <a:pt x="662" y="3586"/>
                  </a:lnTo>
                  <a:lnTo>
                    <a:pt x="664" y="3590"/>
                  </a:lnTo>
                  <a:lnTo>
                    <a:pt x="670" y="3592"/>
                  </a:lnTo>
                  <a:lnTo>
                    <a:pt x="678" y="3594"/>
                  </a:lnTo>
                  <a:lnTo>
                    <a:pt x="688" y="3598"/>
                  </a:lnTo>
                  <a:lnTo>
                    <a:pt x="692" y="3600"/>
                  </a:lnTo>
                  <a:lnTo>
                    <a:pt x="696" y="3600"/>
                  </a:lnTo>
                  <a:lnTo>
                    <a:pt x="696" y="3596"/>
                  </a:lnTo>
                  <a:lnTo>
                    <a:pt x="698" y="3592"/>
                  </a:lnTo>
                  <a:lnTo>
                    <a:pt x="700" y="3592"/>
                  </a:lnTo>
                  <a:lnTo>
                    <a:pt x="702" y="3592"/>
                  </a:lnTo>
                  <a:lnTo>
                    <a:pt x="706" y="3598"/>
                  </a:lnTo>
                  <a:lnTo>
                    <a:pt x="710" y="3600"/>
                  </a:lnTo>
                  <a:lnTo>
                    <a:pt x="712" y="3600"/>
                  </a:lnTo>
                  <a:lnTo>
                    <a:pt x="716" y="3598"/>
                  </a:lnTo>
                  <a:lnTo>
                    <a:pt x="724" y="3594"/>
                  </a:lnTo>
                  <a:lnTo>
                    <a:pt x="726" y="3592"/>
                  </a:lnTo>
                  <a:lnTo>
                    <a:pt x="730" y="3594"/>
                  </a:lnTo>
                  <a:lnTo>
                    <a:pt x="732" y="3594"/>
                  </a:lnTo>
                  <a:lnTo>
                    <a:pt x="734" y="3594"/>
                  </a:lnTo>
                  <a:lnTo>
                    <a:pt x="738" y="3590"/>
                  </a:lnTo>
                  <a:lnTo>
                    <a:pt x="740" y="3588"/>
                  </a:lnTo>
                  <a:lnTo>
                    <a:pt x="746" y="3588"/>
                  </a:lnTo>
                  <a:lnTo>
                    <a:pt x="752" y="3588"/>
                  </a:lnTo>
                  <a:lnTo>
                    <a:pt x="762" y="3590"/>
                  </a:lnTo>
                  <a:lnTo>
                    <a:pt x="770" y="3594"/>
                  </a:lnTo>
                  <a:lnTo>
                    <a:pt x="774" y="3594"/>
                  </a:lnTo>
                  <a:lnTo>
                    <a:pt x="776" y="3592"/>
                  </a:lnTo>
                  <a:lnTo>
                    <a:pt x="778" y="3590"/>
                  </a:lnTo>
                  <a:lnTo>
                    <a:pt x="780" y="3588"/>
                  </a:lnTo>
                  <a:lnTo>
                    <a:pt x="782" y="3586"/>
                  </a:lnTo>
                  <a:lnTo>
                    <a:pt x="786" y="3586"/>
                  </a:lnTo>
                  <a:lnTo>
                    <a:pt x="794" y="3586"/>
                  </a:lnTo>
                  <a:lnTo>
                    <a:pt x="810" y="3590"/>
                  </a:lnTo>
                  <a:lnTo>
                    <a:pt x="820" y="3594"/>
                  </a:lnTo>
                  <a:lnTo>
                    <a:pt x="824" y="3594"/>
                  </a:lnTo>
                  <a:lnTo>
                    <a:pt x="828" y="3590"/>
                  </a:lnTo>
                  <a:lnTo>
                    <a:pt x="832" y="3588"/>
                  </a:lnTo>
                  <a:lnTo>
                    <a:pt x="840" y="3586"/>
                  </a:lnTo>
                  <a:lnTo>
                    <a:pt x="866" y="3582"/>
                  </a:lnTo>
                  <a:lnTo>
                    <a:pt x="892" y="3582"/>
                  </a:lnTo>
                  <a:lnTo>
                    <a:pt x="900" y="3584"/>
                  </a:lnTo>
                  <a:lnTo>
                    <a:pt x="904" y="3586"/>
                  </a:lnTo>
                  <a:lnTo>
                    <a:pt x="904" y="3588"/>
                  </a:lnTo>
                  <a:lnTo>
                    <a:pt x="904" y="3598"/>
                  </a:lnTo>
                  <a:lnTo>
                    <a:pt x="904" y="3606"/>
                  </a:lnTo>
                  <a:lnTo>
                    <a:pt x="904" y="3608"/>
                  </a:lnTo>
                  <a:lnTo>
                    <a:pt x="906" y="3610"/>
                  </a:lnTo>
                  <a:lnTo>
                    <a:pt x="916" y="3612"/>
                  </a:lnTo>
                  <a:lnTo>
                    <a:pt x="920" y="3612"/>
                  </a:lnTo>
                  <a:lnTo>
                    <a:pt x="924" y="3614"/>
                  </a:lnTo>
                  <a:lnTo>
                    <a:pt x="926" y="3616"/>
                  </a:lnTo>
                  <a:lnTo>
                    <a:pt x="926" y="3620"/>
                  </a:lnTo>
                  <a:lnTo>
                    <a:pt x="926" y="3626"/>
                  </a:lnTo>
                  <a:lnTo>
                    <a:pt x="926" y="3630"/>
                  </a:lnTo>
                  <a:lnTo>
                    <a:pt x="928" y="3634"/>
                  </a:lnTo>
                  <a:lnTo>
                    <a:pt x="932" y="3638"/>
                  </a:lnTo>
                  <a:lnTo>
                    <a:pt x="932" y="3642"/>
                  </a:lnTo>
                  <a:lnTo>
                    <a:pt x="932" y="3646"/>
                  </a:lnTo>
                  <a:lnTo>
                    <a:pt x="934" y="3652"/>
                  </a:lnTo>
                  <a:lnTo>
                    <a:pt x="938" y="3654"/>
                  </a:lnTo>
                  <a:lnTo>
                    <a:pt x="936" y="3656"/>
                  </a:lnTo>
                  <a:lnTo>
                    <a:pt x="936" y="3658"/>
                  </a:lnTo>
                  <a:lnTo>
                    <a:pt x="940" y="3662"/>
                  </a:lnTo>
                  <a:lnTo>
                    <a:pt x="944" y="3664"/>
                  </a:lnTo>
                  <a:lnTo>
                    <a:pt x="946" y="3664"/>
                  </a:lnTo>
                  <a:lnTo>
                    <a:pt x="950" y="3664"/>
                  </a:lnTo>
                  <a:lnTo>
                    <a:pt x="952" y="3662"/>
                  </a:lnTo>
                  <a:lnTo>
                    <a:pt x="956" y="3664"/>
                  </a:lnTo>
                  <a:lnTo>
                    <a:pt x="958" y="3666"/>
                  </a:lnTo>
                  <a:lnTo>
                    <a:pt x="962" y="3670"/>
                  </a:lnTo>
                  <a:lnTo>
                    <a:pt x="966" y="3674"/>
                  </a:lnTo>
                  <a:lnTo>
                    <a:pt x="972" y="3676"/>
                  </a:lnTo>
                  <a:lnTo>
                    <a:pt x="976" y="3680"/>
                  </a:lnTo>
                  <a:lnTo>
                    <a:pt x="982" y="3690"/>
                  </a:lnTo>
                  <a:lnTo>
                    <a:pt x="986" y="3696"/>
                  </a:lnTo>
                  <a:lnTo>
                    <a:pt x="992" y="3702"/>
                  </a:lnTo>
                  <a:lnTo>
                    <a:pt x="1000" y="3708"/>
                  </a:lnTo>
                  <a:lnTo>
                    <a:pt x="1008" y="3712"/>
                  </a:lnTo>
                  <a:lnTo>
                    <a:pt x="1016" y="3716"/>
                  </a:lnTo>
                  <a:lnTo>
                    <a:pt x="1024" y="3716"/>
                  </a:lnTo>
                  <a:lnTo>
                    <a:pt x="1032" y="3716"/>
                  </a:lnTo>
                  <a:lnTo>
                    <a:pt x="1038" y="3712"/>
                  </a:lnTo>
                  <a:lnTo>
                    <a:pt x="1044" y="3708"/>
                  </a:lnTo>
                  <a:lnTo>
                    <a:pt x="1048" y="3708"/>
                  </a:lnTo>
                  <a:lnTo>
                    <a:pt x="1052" y="3710"/>
                  </a:lnTo>
                  <a:lnTo>
                    <a:pt x="1052" y="3714"/>
                  </a:lnTo>
                  <a:lnTo>
                    <a:pt x="1050" y="3720"/>
                  </a:lnTo>
                  <a:lnTo>
                    <a:pt x="1046" y="3726"/>
                  </a:lnTo>
                  <a:lnTo>
                    <a:pt x="1040" y="3730"/>
                  </a:lnTo>
                  <a:lnTo>
                    <a:pt x="1028" y="3734"/>
                  </a:lnTo>
                  <a:lnTo>
                    <a:pt x="1016" y="3736"/>
                  </a:lnTo>
                  <a:lnTo>
                    <a:pt x="1006" y="3734"/>
                  </a:lnTo>
                  <a:lnTo>
                    <a:pt x="992" y="3732"/>
                  </a:lnTo>
                  <a:lnTo>
                    <a:pt x="992" y="3734"/>
                  </a:lnTo>
                  <a:lnTo>
                    <a:pt x="994" y="3740"/>
                  </a:lnTo>
                  <a:lnTo>
                    <a:pt x="1018" y="3770"/>
                  </a:lnTo>
                  <a:lnTo>
                    <a:pt x="1048" y="3804"/>
                  </a:lnTo>
                  <a:lnTo>
                    <a:pt x="1060" y="3814"/>
                  </a:lnTo>
                  <a:lnTo>
                    <a:pt x="1070" y="3820"/>
                  </a:lnTo>
                  <a:lnTo>
                    <a:pt x="1078" y="3822"/>
                  </a:lnTo>
                  <a:lnTo>
                    <a:pt x="1090" y="3818"/>
                  </a:lnTo>
                  <a:lnTo>
                    <a:pt x="1102" y="3810"/>
                  </a:lnTo>
                  <a:lnTo>
                    <a:pt x="1116" y="3798"/>
                  </a:lnTo>
                  <a:lnTo>
                    <a:pt x="1124" y="3790"/>
                  </a:lnTo>
                  <a:lnTo>
                    <a:pt x="1128" y="3782"/>
                  </a:lnTo>
                  <a:lnTo>
                    <a:pt x="1128" y="3772"/>
                  </a:lnTo>
                  <a:lnTo>
                    <a:pt x="1128" y="3764"/>
                  </a:lnTo>
                  <a:lnTo>
                    <a:pt x="1128" y="3756"/>
                  </a:lnTo>
                  <a:lnTo>
                    <a:pt x="1128" y="3750"/>
                  </a:lnTo>
                  <a:lnTo>
                    <a:pt x="1132" y="3744"/>
                  </a:lnTo>
                  <a:lnTo>
                    <a:pt x="1138" y="3742"/>
                  </a:lnTo>
                  <a:lnTo>
                    <a:pt x="1144" y="3740"/>
                  </a:lnTo>
                  <a:lnTo>
                    <a:pt x="1148" y="3740"/>
                  </a:lnTo>
                  <a:lnTo>
                    <a:pt x="1148" y="3742"/>
                  </a:lnTo>
                  <a:lnTo>
                    <a:pt x="1146" y="3746"/>
                  </a:lnTo>
                  <a:lnTo>
                    <a:pt x="1142" y="3754"/>
                  </a:lnTo>
                  <a:lnTo>
                    <a:pt x="1142" y="3760"/>
                  </a:lnTo>
                  <a:lnTo>
                    <a:pt x="1144" y="3764"/>
                  </a:lnTo>
                  <a:lnTo>
                    <a:pt x="1146" y="3770"/>
                  </a:lnTo>
                  <a:lnTo>
                    <a:pt x="1146" y="3774"/>
                  </a:lnTo>
                  <a:lnTo>
                    <a:pt x="1144" y="3778"/>
                  </a:lnTo>
                  <a:lnTo>
                    <a:pt x="1144" y="3782"/>
                  </a:lnTo>
                  <a:lnTo>
                    <a:pt x="1144" y="3788"/>
                  </a:lnTo>
                  <a:lnTo>
                    <a:pt x="1146" y="3794"/>
                  </a:lnTo>
                  <a:lnTo>
                    <a:pt x="1150" y="3804"/>
                  </a:lnTo>
                  <a:lnTo>
                    <a:pt x="1154" y="3814"/>
                  </a:lnTo>
                  <a:lnTo>
                    <a:pt x="1154" y="3822"/>
                  </a:lnTo>
                  <a:lnTo>
                    <a:pt x="1150" y="3838"/>
                  </a:lnTo>
                  <a:lnTo>
                    <a:pt x="1148" y="3848"/>
                  </a:lnTo>
                  <a:lnTo>
                    <a:pt x="1148" y="3864"/>
                  </a:lnTo>
                  <a:lnTo>
                    <a:pt x="1148" y="3884"/>
                  </a:lnTo>
                  <a:lnTo>
                    <a:pt x="1152" y="3912"/>
                  </a:lnTo>
                  <a:lnTo>
                    <a:pt x="1170" y="4010"/>
                  </a:lnTo>
                  <a:lnTo>
                    <a:pt x="1176" y="4042"/>
                  </a:lnTo>
                  <a:lnTo>
                    <a:pt x="1184" y="4060"/>
                  </a:lnTo>
                  <a:lnTo>
                    <a:pt x="1194" y="4084"/>
                  </a:lnTo>
                  <a:lnTo>
                    <a:pt x="1210" y="4122"/>
                  </a:lnTo>
                  <a:lnTo>
                    <a:pt x="1224" y="4164"/>
                  </a:lnTo>
                  <a:lnTo>
                    <a:pt x="1230" y="4184"/>
                  </a:lnTo>
                  <a:lnTo>
                    <a:pt x="1232" y="4204"/>
                  </a:lnTo>
                  <a:lnTo>
                    <a:pt x="1236" y="4220"/>
                  </a:lnTo>
                  <a:lnTo>
                    <a:pt x="1240" y="4232"/>
                  </a:lnTo>
                  <a:lnTo>
                    <a:pt x="1254" y="4256"/>
                  </a:lnTo>
                  <a:lnTo>
                    <a:pt x="1262" y="4268"/>
                  </a:lnTo>
                  <a:lnTo>
                    <a:pt x="1268" y="4284"/>
                  </a:lnTo>
                  <a:lnTo>
                    <a:pt x="1276" y="4304"/>
                  </a:lnTo>
                  <a:lnTo>
                    <a:pt x="1282" y="4330"/>
                  </a:lnTo>
                  <a:lnTo>
                    <a:pt x="1290" y="4358"/>
                  </a:lnTo>
                  <a:lnTo>
                    <a:pt x="1296" y="4384"/>
                  </a:lnTo>
                  <a:lnTo>
                    <a:pt x="1306" y="4406"/>
                  </a:lnTo>
                  <a:lnTo>
                    <a:pt x="1314" y="4424"/>
                  </a:lnTo>
                  <a:lnTo>
                    <a:pt x="1324" y="4436"/>
                  </a:lnTo>
                  <a:lnTo>
                    <a:pt x="1328" y="4442"/>
                  </a:lnTo>
                  <a:lnTo>
                    <a:pt x="1334" y="4444"/>
                  </a:lnTo>
                  <a:lnTo>
                    <a:pt x="1338" y="4446"/>
                  </a:lnTo>
                  <a:lnTo>
                    <a:pt x="1344" y="4446"/>
                  </a:lnTo>
                  <a:lnTo>
                    <a:pt x="1348" y="4444"/>
                  </a:lnTo>
                  <a:lnTo>
                    <a:pt x="1354" y="4440"/>
                  </a:lnTo>
                  <a:lnTo>
                    <a:pt x="1362" y="4432"/>
                  </a:lnTo>
                  <a:lnTo>
                    <a:pt x="1366" y="4424"/>
                  </a:lnTo>
                  <a:lnTo>
                    <a:pt x="1368" y="4416"/>
                  </a:lnTo>
                  <a:lnTo>
                    <a:pt x="1368" y="4410"/>
                  </a:lnTo>
                  <a:lnTo>
                    <a:pt x="1368" y="4406"/>
                  </a:lnTo>
                  <a:lnTo>
                    <a:pt x="1372" y="4400"/>
                  </a:lnTo>
                  <a:lnTo>
                    <a:pt x="1376" y="4396"/>
                  </a:lnTo>
                  <a:lnTo>
                    <a:pt x="1384" y="4394"/>
                  </a:lnTo>
                  <a:lnTo>
                    <a:pt x="1402" y="4390"/>
                  </a:lnTo>
                  <a:lnTo>
                    <a:pt x="1412" y="4390"/>
                  </a:lnTo>
                  <a:lnTo>
                    <a:pt x="1418" y="4390"/>
                  </a:lnTo>
                  <a:lnTo>
                    <a:pt x="1420" y="4390"/>
                  </a:lnTo>
                  <a:lnTo>
                    <a:pt x="1420" y="4388"/>
                  </a:lnTo>
                  <a:lnTo>
                    <a:pt x="1420" y="4386"/>
                  </a:lnTo>
                  <a:lnTo>
                    <a:pt x="1416" y="4384"/>
                  </a:lnTo>
                  <a:lnTo>
                    <a:pt x="1408" y="4382"/>
                  </a:lnTo>
                  <a:lnTo>
                    <a:pt x="1404" y="4380"/>
                  </a:lnTo>
                  <a:lnTo>
                    <a:pt x="1400" y="4376"/>
                  </a:lnTo>
                  <a:lnTo>
                    <a:pt x="1402" y="4370"/>
                  </a:lnTo>
                  <a:lnTo>
                    <a:pt x="1406" y="4362"/>
                  </a:lnTo>
                  <a:lnTo>
                    <a:pt x="1410" y="4354"/>
                  </a:lnTo>
                  <a:lnTo>
                    <a:pt x="1412" y="4348"/>
                  </a:lnTo>
                  <a:lnTo>
                    <a:pt x="1412" y="4342"/>
                  </a:lnTo>
                  <a:lnTo>
                    <a:pt x="1414" y="4340"/>
                  </a:lnTo>
                  <a:lnTo>
                    <a:pt x="1428" y="4338"/>
                  </a:lnTo>
                  <a:lnTo>
                    <a:pt x="1434" y="4336"/>
                  </a:lnTo>
                  <a:lnTo>
                    <a:pt x="1436" y="4334"/>
                  </a:lnTo>
                  <a:lnTo>
                    <a:pt x="1438" y="4332"/>
                  </a:lnTo>
                  <a:lnTo>
                    <a:pt x="1438" y="4322"/>
                  </a:lnTo>
                  <a:lnTo>
                    <a:pt x="1436" y="4312"/>
                  </a:lnTo>
                  <a:lnTo>
                    <a:pt x="1434" y="4298"/>
                  </a:lnTo>
                  <a:lnTo>
                    <a:pt x="1432" y="4284"/>
                  </a:lnTo>
                  <a:lnTo>
                    <a:pt x="1434" y="4266"/>
                  </a:lnTo>
                  <a:lnTo>
                    <a:pt x="1440" y="4246"/>
                  </a:lnTo>
                  <a:lnTo>
                    <a:pt x="1448" y="4226"/>
                  </a:lnTo>
                  <a:lnTo>
                    <a:pt x="1454" y="4206"/>
                  </a:lnTo>
                  <a:lnTo>
                    <a:pt x="1456" y="4196"/>
                  </a:lnTo>
                  <a:lnTo>
                    <a:pt x="1454" y="4186"/>
                  </a:lnTo>
                  <a:lnTo>
                    <a:pt x="1452" y="4172"/>
                  </a:lnTo>
                  <a:lnTo>
                    <a:pt x="1448" y="4154"/>
                  </a:lnTo>
                  <a:lnTo>
                    <a:pt x="1448" y="4144"/>
                  </a:lnTo>
                  <a:lnTo>
                    <a:pt x="1450" y="4138"/>
                  </a:lnTo>
                  <a:lnTo>
                    <a:pt x="1450" y="4128"/>
                  </a:lnTo>
                  <a:lnTo>
                    <a:pt x="1446" y="4108"/>
                  </a:lnTo>
                  <a:lnTo>
                    <a:pt x="1444" y="4098"/>
                  </a:lnTo>
                  <a:lnTo>
                    <a:pt x="1442" y="4088"/>
                  </a:lnTo>
                  <a:lnTo>
                    <a:pt x="1444" y="4082"/>
                  </a:lnTo>
                  <a:lnTo>
                    <a:pt x="1444" y="4076"/>
                  </a:lnTo>
                  <a:lnTo>
                    <a:pt x="1448" y="4074"/>
                  </a:lnTo>
                  <a:lnTo>
                    <a:pt x="1452" y="4070"/>
                  </a:lnTo>
                  <a:lnTo>
                    <a:pt x="1460" y="4068"/>
                  </a:lnTo>
                  <a:lnTo>
                    <a:pt x="1470" y="4066"/>
                  </a:lnTo>
                  <a:lnTo>
                    <a:pt x="1480" y="4064"/>
                  </a:lnTo>
                  <a:lnTo>
                    <a:pt x="1488" y="4058"/>
                  </a:lnTo>
                  <a:lnTo>
                    <a:pt x="1490" y="4054"/>
                  </a:lnTo>
                  <a:lnTo>
                    <a:pt x="1492" y="4050"/>
                  </a:lnTo>
                  <a:lnTo>
                    <a:pt x="1494" y="4040"/>
                  </a:lnTo>
                  <a:lnTo>
                    <a:pt x="1496" y="4038"/>
                  </a:lnTo>
                  <a:lnTo>
                    <a:pt x="1498" y="4038"/>
                  </a:lnTo>
                  <a:lnTo>
                    <a:pt x="1502" y="4040"/>
                  </a:lnTo>
                  <a:lnTo>
                    <a:pt x="1506" y="4042"/>
                  </a:lnTo>
                  <a:lnTo>
                    <a:pt x="1512" y="4042"/>
                  </a:lnTo>
                  <a:lnTo>
                    <a:pt x="1520" y="4040"/>
                  </a:lnTo>
                  <a:lnTo>
                    <a:pt x="1530" y="4032"/>
                  </a:lnTo>
                  <a:lnTo>
                    <a:pt x="1536" y="4024"/>
                  </a:lnTo>
                  <a:lnTo>
                    <a:pt x="1538" y="4020"/>
                  </a:lnTo>
                  <a:lnTo>
                    <a:pt x="1538" y="4016"/>
                  </a:lnTo>
                  <a:lnTo>
                    <a:pt x="1538" y="4014"/>
                  </a:lnTo>
                  <a:lnTo>
                    <a:pt x="1538" y="4010"/>
                  </a:lnTo>
                  <a:lnTo>
                    <a:pt x="1542" y="4004"/>
                  </a:lnTo>
                  <a:lnTo>
                    <a:pt x="1550" y="3996"/>
                  </a:lnTo>
                  <a:lnTo>
                    <a:pt x="1566" y="3982"/>
                  </a:lnTo>
                  <a:lnTo>
                    <a:pt x="1584" y="3966"/>
                  </a:lnTo>
                  <a:lnTo>
                    <a:pt x="1600" y="3950"/>
                  </a:lnTo>
                  <a:lnTo>
                    <a:pt x="1624" y="3918"/>
                  </a:lnTo>
                  <a:lnTo>
                    <a:pt x="1644" y="3892"/>
                  </a:lnTo>
                  <a:lnTo>
                    <a:pt x="1654" y="3880"/>
                  </a:lnTo>
                  <a:lnTo>
                    <a:pt x="1666" y="3870"/>
                  </a:lnTo>
                  <a:lnTo>
                    <a:pt x="1674" y="3866"/>
                  </a:lnTo>
                  <a:lnTo>
                    <a:pt x="1680" y="3864"/>
                  </a:lnTo>
                  <a:lnTo>
                    <a:pt x="1688" y="3864"/>
                  </a:lnTo>
                  <a:lnTo>
                    <a:pt x="1692" y="3864"/>
                  </a:lnTo>
                  <a:lnTo>
                    <a:pt x="1696" y="3860"/>
                  </a:lnTo>
                  <a:lnTo>
                    <a:pt x="1704" y="3852"/>
                  </a:lnTo>
                  <a:lnTo>
                    <a:pt x="1714" y="3840"/>
                  </a:lnTo>
                  <a:lnTo>
                    <a:pt x="1722" y="3828"/>
                  </a:lnTo>
                  <a:lnTo>
                    <a:pt x="1724" y="3816"/>
                  </a:lnTo>
                  <a:lnTo>
                    <a:pt x="1724" y="3808"/>
                  </a:lnTo>
                  <a:lnTo>
                    <a:pt x="1722" y="3802"/>
                  </a:lnTo>
                  <a:lnTo>
                    <a:pt x="1720" y="3796"/>
                  </a:lnTo>
                  <a:lnTo>
                    <a:pt x="1720" y="3790"/>
                  </a:lnTo>
                  <a:lnTo>
                    <a:pt x="1724" y="3784"/>
                  </a:lnTo>
                  <a:lnTo>
                    <a:pt x="1736" y="3778"/>
                  </a:lnTo>
                  <a:lnTo>
                    <a:pt x="1748" y="3772"/>
                  </a:lnTo>
                  <a:lnTo>
                    <a:pt x="1756" y="3766"/>
                  </a:lnTo>
                  <a:lnTo>
                    <a:pt x="1768" y="3758"/>
                  </a:lnTo>
                  <a:lnTo>
                    <a:pt x="1770" y="3756"/>
                  </a:lnTo>
                  <a:lnTo>
                    <a:pt x="1772" y="3756"/>
                  </a:lnTo>
                  <a:lnTo>
                    <a:pt x="1774" y="3766"/>
                  </a:lnTo>
                  <a:lnTo>
                    <a:pt x="1774" y="3772"/>
                  </a:lnTo>
                  <a:lnTo>
                    <a:pt x="1778" y="3776"/>
                  </a:lnTo>
                  <a:lnTo>
                    <a:pt x="1780" y="3778"/>
                  </a:lnTo>
                  <a:lnTo>
                    <a:pt x="1784" y="3778"/>
                  </a:lnTo>
                  <a:lnTo>
                    <a:pt x="1790" y="3774"/>
                  </a:lnTo>
                  <a:lnTo>
                    <a:pt x="1794" y="3774"/>
                  </a:lnTo>
                  <a:lnTo>
                    <a:pt x="1798" y="3774"/>
                  </a:lnTo>
                  <a:lnTo>
                    <a:pt x="1804" y="3776"/>
                  </a:lnTo>
                  <a:lnTo>
                    <a:pt x="1808" y="3776"/>
                  </a:lnTo>
                  <a:lnTo>
                    <a:pt x="1810" y="3774"/>
                  </a:lnTo>
                  <a:lnTo>
                    <a:pt x="1808" y="3768"/>
                  </a:lnTo>
                  <a:lnTo>
                    <a:pt x="1806" y="3760"/>
                  </a:lnTo>
                  <a:lnTo>
                    <a:pt x="1806" y="3758"/>
                  </a:lnTo>
                  <a:lnTo>
                    <a:pt x="1810" y="3756"/>
                  </a:lnTo>
                  <a:lnTo>
                    <a:pt x="1812" y="3762"/>
                  </a:lnTo>
                  <a:lnTo>
                    <a:pt x="1816" y="3766"/>
                  </a:lnTo>
                  <a:lnTo>
                    <a:pt x="1818" y="3766"/>
                  </a:lnTo>
                  <a:lnTo>
                    <a:pt x="1820" y="3766"/>
                  </a:lnTo>
                  <a:lnTo>
                    <a:pt x="1824" y="3766"/>
                  </a:lnTo>
                  <a:lnTo>
                    <a:pt x="1826" y="3766"/>
                  </a:lnTo>
                  <a:lnTo>
                    <a:pt x="1828" y="3768"/>
                  </a:lnTo>
                  <a:lnTo>
                    <a:pt x="1830" y="3770"/>
                  </a:lnTo>
                  <a:lnTo>
                    <a:pt x="1832" y="3770"/>
                  </a:lnTo>
                  <a:lnTo>
                    <a:pt x="1836" y="3764"/>
                  </a:lnTo>
                  <a:lnTo>
                    <a:pt x="1842" y="3760"/>
                  </a:lnTo>
                  <a:lnTo>
                    <a:pt x="1844" y="3760"/>
                  </a:lnTo>
                  <a:lnTo>
                    <a:pt x="1848" y="3762"/>
                  </a:lnTo>
                  <a:lnTo>
                    <a:pt x="1852" y="3766"/>
                  </a:lnTo>
                  <a:lnTo>
                    <a:pt x="1856" y="3764"/>
                  </a:lnTo>
                  <a:lnTo>
                    <a:pt x="1860" y="3762"/>
                  </a:lnTo>
                  <a:lnTo>
                    <a:pt x="1864" y="3756"/>
                  </a:lnTo>
                  <a:lnTo>
                    <a:pt x="1866" y="3748"/>
                  </a:lnTo>
                  <a:lnTo>
                    <a:pt x="1868" y="3740"/>
                  </a:lnTo>
                  <a:lnTo>
                    <a:pt x="1868" y="3734"/>
                  </a:lnTo>
                  <a:lnTo>
                    <a:pt x="1866" y="3726"/>
                  </a:lnTo>
                  <a:lnTo>
                    <a:pt x="1864" y="3716"/>
                  </a:lnTo>
                  <a:lnTo>
                    <a:pt x="1866" y="3706"/>
                  </a:lnTo>
                  <a:lnTo>
                    <a:pt x="1866" y="3698"/>
                  </a:lnTo>
                  <a:lnTo>
                    <a:pt x="1866" y="3690"/>
                  </a:lnTo>
                  <a:lnTo>
                    <a:pt x="1864" y="3686"/>
                  </a:lnTo>
                  <a:lnTo>
                    <a:pt x="1866" y="3684"/>
                  </a:lnTo>
                  <a:lnTo>
                    <a:pt x="1868" y="3680"/>
                  </a:lnTo>
                  <a:lnTo>
                    <a:pt x="1870" y="3676"/>
                  </a:lnTo>
                  <a:lnTo>
                    <a:pt x="1872" y="3678"/>
                  </a:lnTo>
                  <a:lnTo>
                    <a:pt x="1872" y="3684"/>
                  </a:lnTo>
                  <a:lnTo>
                    <a:pt x="1876" y="3710"/>
                  </a:lnTo>
                  <a:lnTo>
                    <a:pt x="1880" y="3720"/>
                  </a:lnTo>
                  <a:lnTo>
                    <a:pt x="1882" y="3724"/>
                  </a:lnTo>
                  <a:lnTo>
                    <a:pt x="1884" y="3726"/>
                  </a:lnTo>
                  <a:lnTo>
                    <a:pt x="1888" y="3726"/>
                  </a:lnTo>
                  <a:lnTo>
                    <a:pt x="1890" y="3726"/>
                  </a:lnTo>
                  <a:lnTo>
                    <a:pt x="1898" y="3722"/>
                  </a:lnTo>
                  <a:lnTo>
                    <a:pt x="1900" y="3720"/>
                  </a:lnTo>
                  <a:lnTo>
                    <a:pt x="1904" y="3720"/>
                  </a:lnTo>
                  <a:lnTo>
                    <a:pt x="1906" y="3722"/>
                  </a:lnTo>
                  <a:lnTo>
                    <a:pt x="1910" y="3726"/>
                  </a:lnTo>
                  <a:lnTo>
                    <a:pt x="1916" y="3738"/>
                  </a:lnTo>
                  <a:lnTo>
                    <a:pt x="1922" y="3760"/>
                  </a:lnTo>
                  <a:lnTo>
                    <a:pt x="1926" y="3768"/>
                  </a:lnTo>
                  <a:lnTo>
                    <a:pt x="1928" y="3772"/>
                  </a:lnTo>
                  <a:lnTo>
                    <a:pt x="1928" y="3774"/>
                  </a:lnTo>
                  <a:lnTo>
                    <a:pt x="1928" y="3780"/>
                  </a:lnTo>
                  <a:lnTo>
                    <a:pt x="1926" y="3786"/>
                  </a:lnTo>
                  <a:lnTo>
                    <a:pt x="1926" y="3792"/>
                  </a:lnTo>
                  <a:lnTo>
                    <a:pt x="1930" y="3804"/>
                  </a:lnTo>
                  <a:lnTo>
                    <a:pt x="1934" y="3814"/>
                  </a:lnTo>
                  <a:lnTo>
                    <a:pt x="1936" y="3810"/>
                  </a:lnTo>
                  <a:lnTo>
                    <a:pt x="1936" y="3800"/>
                  </a:lnTo>
                  <a:lnTo>
                    <a:pt x="1938" y="3806"/>
                  </a:lnTo>
                  <a:lnTo>
                    <a:pt x="1942" y="3816"/>
                  </a:lnTo>
                  <a:lnTo>
                    <a:pt x="1946" y="3828"/>
                  </a:lnTo>
                  <a:lnTo>
                    <a:pt x="1952" y="3838"/>
                  </a:lnTo>
                  <a:lnTo>
                    <a:pt x="1968" y="3862"/>
                  </a:lnTo>
                  <a:lnTo>
                    <a:pt x="1972" y="3864"/>
                  </a:lnTo>
                  <a:lnTo>
                    <a:pt x="1974" y="3860"/>
                  </a:lnTo>
                  <a:lnTo>
                    <a:pt x="1976" y="3856"/>
                  </a:lnTo>
                  <a:lnTo>
                    <a:pt x="1978" y="3854"/>
                  </a:lnTo>
                  <a:lnTo>
                    <a:pt x="1980" y="3854"/>
                  </a:lnTo>
                  <a:lnTo>
                    <a:pt x="1982" y="3854"/>
                  </a:lnTo>
                  <a:lnTo>
                    <a:pt x="1990" y="3862"/>
                  </a:lnTo>
                  <a:lnTo>
                    <a:pt x="1994" y="3870"/>
                  </a:lnTo>
                  <a:lnTo>
                    <a:pt x="1998" y="3876"/>
                  </a:lnTo>
                  <a:lnTo>
                    <a:pt x="2004" y="3882"/>
                  </a:lnTo>
                  <a:lnTo>
                    <a:pt x="2008" y="3886"/>
                  </a:lnTo>
                  <a:lnTo>
                    <a:pt x="2008" y="3888"/>
                  </a:lnTo>
                  <a:lnTo>
                    <a:pt x="2006" y="3890"/>
                  </a:lnTo>
                  <a:lnTo>
                    <a:pt x="2002" y="3892"/>
                  </a:lnTo>
                  <a:lnTo>
                    <a:pt x="2000" y="3892"/>
                  </a:lnTo>
                  <a:lnTo>
                    <a:pt x="1996" y="3890"/>
                  </a:lnTo>
                  <a:lnTo>
                    <a:pt x="1992" y="3886"/>
                  </a:lnTo>
                  <a:lnTo>
                    <a:pt x="1990" y="3886"/>
                  </a:lnTo>
                  <a:lnTo>
                    <a:pt x="1988" y="3888"/>
                  </a:lnTo>
                  <a:lnTo>
                    <a:pt x="1986" y="3890"/>
                  </a:lnTo>
                  <a:lnTo>
                    <a:pt x="1986" y="3894"/>
                  </a:lnTo>
                  <a:lnTo>
                    <a:pt x="1992" y="3904"/>
                  </a:lnTo>
                  <a:lnTo>
                    <a:pt x="1998" y="3910"/>
                  </a:lnTo>
                  <a:lnTo>
                    <a:pt x="2000" y="3912"/>
                  </a:lnTo>
                  <a:lnTo>
                    <a:pt x="2000" y="3910"/>
                  </a:lnTo>
                  <a:lnTo>
                    <a:pt x="2002" y="3904"/>
                  </a:lnTo>
                  <a:lnTo>
                    <a:pt x="2004" y="3900"/>
                  </a:lnTo>
                  <a:lnTo>
                    <a:pt x="2006" y="3900"/>
                  </a:lnTo>
                  <a:lnTo>
                    <a:pt x="2010" y="3912"/>
                  </a:lnTo>
                  <a:lnTo>
                    <a:pt x="2016" y="3930"/>
                  </a:lnTo>
                  <a:lnTo>
                    <a:pt x="2024" y="3950"/>
                  </a:lnTo>
                  <a:lnTo>
                    <a:pt x="2028" y="3960"/>
                  </a:lnTo>
                  <a:lnTo>
                    <a:pt x="2032" y="3972"/>
                  </a:lnTo>
                  <a:lnTo>
                    <a:pt x="2032" y="3982"/>
                  </a:lnTo>
                  <a:lnTo>
                    <a:pt x="2030" y="3992"/>
                  </a:lnTo>
                  <a:lnTo>
                    <a:pt x="2016" y="4034"/>
                  </a:lnTo>
                  <a:lnTo>
                    <a:pt x="2014" y="4050"/>
                  </a:lnTo>
                  <a:lnTo>
                    <a:pt x="2014" y="4056"/>
                  </a:lnTo>
                  <a:lnTo>
                    <a:pt x="2016" y="4058"/>
                  </a:lnTo>
                  <a:lnTo>
                    <a:pt x="2020" y="4058"/>
                  </a:lnTo>
                  <a:lnTo>
                    <a:pt x="2022" y="4056"/>
                  </a:lnTo>
                  <a:lnTo>
                    <a:pt x="2026" y="4050"/>
                  </a:lnTo>
                  <a:lnTo>
                    <a:pt x="2028" y="4044"/>
                  </a:lnTo>
                  <a:lnTo>
                    <a:pt x="2030" y="4042"/>
                  </a:lnTo>
                  <a:lnTo>
                    <a:pt x="2034" y="4042"/>
                  </a:lnTo>
                  <a:lnTo>
                    <a:pt x="2036" y="4042"/>
                  </a:lnTo>
                  <a:lnTo>
                    <a:pt x="2036" y="4044"/>
                  </a:lnTo>
                  <a:lnTo>
                    <a:pt x="2032" y="4048"/>
                  </a:lnTo>
                  <a:lnTo>
                    <a:pt x="2032" y="4054"/>
                  </a:lnTo>
                  <a:lnTo>
                    <a:pt x="2032" y="4056"/>
                  </a:lnTo>
                  <a:lnTo>
                    <a:pt x="2036" y="4060"/>
                  </a:lnTo>
                  <a:lnTo>
                    <a:pt x="2040" y="4064"/>
                  </a:lnTo>
                  <a:lnTo>
                    <a:pt x="2042" y="4064"/>
                  </a:lnTo>
                  <a:lnTo>
                    <a:pt x="2046" y="4062"/>
                  </a:lnTo>
                  <a:lnTo>
                    <a:pt x="2048" y="4060"/>
                  </a:lnTo>
                  <a:lnTo>
                    <a:pt x="2050" y="4060"/>
                  </a:lnTo>
                  <a:lnTo>
                    <a:pt x="2052" y="4062"/>
                  </a:lnTo>
                  <a:lnTo>
                    <a:pt x="2056" y="4066"/>
                  </a:lnTo>
                  <a:lnTo>
                    <a:pt x="2062" y="4070"/>
                  </a:lnTo>
                  <a:lnTo>
                    <a:pt x="2066" y="4068"/>
                  </a:lnTo>
                  <a:lnTo>
                    <a:pt x="2068" y="4066"/>
                  </a:lnTo>
                  <a:lnTo>
                    <a:pt x="2072" y="4060"/>
                  </a:lnTo>
                  <a:lnTo>
                    <a:pt x="2080" y="4048"/>
                  </a:lnTo>
                  <a:lnTo>
                    <a:pt x="2086" y="4042"/>
                  </a:lnTo>
                  <a:lnTo>
                    <a:pt x="2092" y="4038"/>
                  </a:lnTo>
                  <a:lnTo>
                    <a:pt x="2106" y="4032"/>
                  </a:lnTo>
                  <a:lnTo>
                    <a:pt x="2112" y="4028"/>
                  </a:lnTo>
                  <a:lnTo>
                    <a:pt x="2118" y="4024"/>
                  </a:lnTo>
                  <a:lnTo>
                    <a:pt x="2122" y="4016"/>
                  </a:lnTo>
                  <a:lnTo>
                    <a:pt x="2124" y="4008"/>
                  </a:lnTo>
                  <a:lnTo>
                    <a:pt x="2126" y="3998"/>
                  </a:lnTo>
                  <a:lnTo>
                    <a:pt x="2122" y="3986"/>
                  </a:lnTo>
                  <a:lnTo>
                    <a:pt x="2128" y="3990"/>
                  </a:lnTo>
                  <a:lnTo>
                    <a:pt x="2130" y="3992"/>
                  </a:lnTo>
                  <a:lnTo>
                    <a:pt x="2132" y="3998"/>
                  </a:lnTo>
                  <a:lnTo>
                    <a:pt x="2132" y="4002"/>
                  </a:lnTo>
                  <a:lnTo>
                    <a:pt x="2136" y="4004"/>
                  </a:lnTo>
                  <a:lnTo>
                    <a:pt x="2138" y="4008"/>
                  </a:lnTo>
                  <a:lnTo>
                    <a:pt x="2140" y="4020"/>
                  </a:lnTo>
                  <a:lnTo>
                    <a:pt x="2144" y="4028"/>
                  </a:lnTo>
                  <a:lnTo>
                    <a:pt x="2146" y="4030"/>
                  </a:lnTo>
                  <a:lnTo>
                    <a:pt x="2148" y="4032"/>
                  </a:lnTo>
                  <a:lnTo>
                    <a:pt x="2152" y="4030"/>
                  </a:lnTo>
                  <a:lnTo>
                    <a:pt x="2156" y="4028"/>
                  </a:lnTo>
                  <a:lnTo>
                    <a:pt x="2158" y="4028"/>
                  </a:lnTo>
                  <a:lnTo>
                    <a:pt x="2156" y="4032"/>
                  </a:lnTo>
                  <a:lnTo>
                    <a:pt x="2152" y="4040"/>
                  </a:lnTo>
                  <a:lnTo>
                    <a:pt x="2150" y="4046"/>
                  </a:lnTo>
                  <a:lnTo>
                    <a:pt x="2150" y="4052"/>
                  </a:lnTo>
                  <a:lnTo>
                    <a:pt x="2154" y="4060"/>
                  </a:lnTo>
                  <a:lnTo>
                    <a:pt x="2156" y="4070"/>
                  </a:lnTo>
                  <a:lnTo>
                    <a:pt x="2158" y="4092"/>
                  </a:lnTo>
                  <a:lnTo>
                    <a:pt x="2160" y="4114"/>
                  </a:lnTo>
                  <a:lnTo>
                    <a:pt x="2164" y="4128"/>
                  </a:lnTo>
                  <a:lnTo>
                    <a:pt x="2168" y="4140"/>
                  </a:lnTo>
                  <a:lnTo>
                    <a:pt x="2172" y="4154"/>
                  </a:lnTo>
                  <a:lnTo>
                    <a:pt x="2172" y="4172"/>
                  </a:lnTo>
                  <a:lnTo>
                    <a:pt x="2174" y="4172"/>
                  </a:lnTo>
                  <a:lnTo>
                    <a:pt x="2176" y="4166"/>
                  </a:lnTo>
                  <a:lnTo>
                    <a:pt x="2178" y="4168"/>
                  </a:lnTo>
                  <a:lnTo>
                    <a:pt x="2180" y="4172"/>
                  </a:lnTo>
                  <a:lnTo>
                    <a:pt x="2184" y="4186"/>
                  </a:lnTo>
                  <a:lnTo>
                    <a:pt x="2188" y="4198"/>
                  </a:lnTo>
                  <a:lnTo>
                    <a:pt x="2190" y="4208"/>
                  </a:lnTo>
                  <a:lnTo>
                    <a:pt x="2192" y="4216"/>
                  </a:lnTo>
                  <a:lnTo>
                    <a:pt x="2194" y="4224"/>
                  </a:lnTo>
                  <a:lnTo>
                    <a:pt x="2192" y="4232"/>
                  </a:lnTo>
                  <a:lnTo>
                    <a:pt x="2192" y="4240"/>
                  </a:lnTo>
                  <a:lnTo>
                    <a:pt x="2192" y="4242"/>
                  </a:lnTo>
                  <a:lnTo>
                    <a:pt x="2194" y="4246"/>
                  </a:lnTo>
                  <a:lnTo>
                    <a:pt x="2194" y="4248"/>
                  </a:lnTo>
                  <a:lnTo>
                    <a:pt x="2194" y="4250"/>
                  </a:lnTo>
                  <a:lnTo>
                    <a:pt x="2192" y="4258"/>
                  </a:lnTo>
                  <a:lnTo>
                    <a:pt x="2190" y="4266"/>
                  </a:lnTo>
                  <a:lnTo>
                    <a:pt x="2192" y="4268"/>
                  </a:lnTo>
                  <a:lnTo>
                    <a:pt x="2196" y="4268"/>
                  </a:lnTo>
                  <a:lnTo>
                    <a:pt x="2198" y="4268"/>
                  </a:lnTo>
                  <a:lnTo>
                    <a:pt x="2200" y="4270"/>
                  </a:lnTo>
                  <a:lnTo>
                    <a:pt x="2200" y="4276"/>
                  </a:lnTo>
                  <a:lnTo>
                    <a:pt x="2196" y="4286"/>
                  </a:lnTo>
                  <a:lnTo>
                    <a:pt x="2196" y="4298"/>
                  </a:lnTo>
                  <a:lnTo>
                    <a:pt x="2194" y="4306"/>
                  </a:lnTo>
                  <a:lnTo>
                    <a:pt x="2192" y="4310"/>
                  </a:lnTo>
                  <a:lnTo>
                    <a:pt x="2190" y="4320"/>
                  </a:lnTo>
                  <a:lnTo>
                    <a:pt x="2188" y="4344"/>
                  </a:lnTo>
                  <a:lnTo>
                    <a:pt x="2188" y="4352"/>
                  </a:lnTo>
                  <a:lnTo>
                    <a:pt x="2190" y="4352"/>
                  </a:lnTo>
                  <a:lnTo>
                    <a:pt x="2198" y="4336"/>
                  </a:lnTo>
                  <a:lnTo>
                    <a:pt x="2198" y="4340"/>
                  </a:lnTo>
                  <a:lnTo>
                    <a:pt x="2198" y="4346"/>
                  </a:lnTo>
                  <a:lnTo>
                    <a:pt x="2190" y="4360"/>
                  </a:lnTo>
                  <a:lnTo>
                    <a:pt x="2186" y="4368"/>
                  </a:lnTo>
                  <a:lnTo>
                    <a:pt x="2188" y="4372"/>
                  </a:lnTo>
                  <a:lnTo>
                    <a:pt x="2188" y="4374"/>
                  </a:lnTo>
                  <a:lnTo>
                    <a:pt x="2186" y="4380"/>
                  </a:lnTo>
                  <a:lnTo>
                    <a:pt x="2182" y="4390"/>
                  </a:lnTo>
                  <a:lnTo>
                    <a:pt x="2182" y="4396"/>
                  </a:lnTo>
                  <a:lnTo>
                    <a:pt x="2182" y="4400"/>
                  </a:lnTo>
                  <a:lnTo>
                    <a:pt x="2180" y="4406"/>
                  </a:lnTo>
                  <a:lnTo>
                    <a:pt x="2178" y="4416"/>
                  </a:lnTo>
                  <a:lnTo>
                    <a:pt x="2176" y="4426"/>
                  </a:lnTo>
                  <a:lnTo>
                    <a:pt x="2178" y="4434"/>
                  </a:lnTo>
                  <a:lnTo>
                    <a:pt x="2180" y="4440"/>
                  </a:lnTo>
                  <a:lnTo>
                    <a:pt x="2182" y="4442"/>
                  </a:lnTo>
                  <a:lnTo>
                    <a:pt x="2184" y="4442"/>
                  </a:lnTo>
                  <a:lnTo>
                    <a:pt x="2186" y="4438"/>
                  </a:lnTo>
                  <a:lnTo>
                    <a:pt x="2190" y="4432"/>
                  </a:lnTo>
                  <a:lnTo>
                    <a:pt x="2190" y="4430"/>
                  </a:lnTo>
                  <a:lnTo>
                    <a:pt x="2192" y="4430"/>
                  </a:lnTo>
                  <a:lnTo>
                    <a:pt x="2198" y="4438"/>
                  </a:lnTo>
                  <a:lnTo>
                    <a:pt x="2204" y="4450"/>
                  </a:lnTo>
                  <a:lnTo>
                    <a:pt x="2210" y="4464"/>
                  </a:lnTo>
                  <a:lnTo>
                    <a:pt x="2220" y="4480"/>
                  </a:lnTo>
                  <a:lnTo>
                    <a:pt x="2224" y="4484"/>
                  </a:lnTo>
                  <a:lnTo>
                    <a:pt x="2228" y="4484"/>
                  </a:lnTo>
                  <a:lnTo>
                    <a:pt x="2232" y="4486"/>
                  </a:lnTo>
                  <a:lnTo>
                    <a:pt x="2234" y="4488"/>
                  </a:lnTo>
                  <a:lnTo>
                    <a:pt x="2234" y="4494"/>
                  </a:lnTo>
                  <a:lnTo>
                    <a:pt x="2234" y="4498"/>
                  </a:lnTo>
                  <a:lnTo>
                    <a:pt x="2236" y="4502"/>
                  </a:lnTo>
                  <a:lnTo>
                    <a:pt x="2238" y="4508"/>
                  </a:lnTo>
                  <a:lnTo>
                    <a:pt x="2248" y="4516"/>
                  </a:lnTo>
                  <a:lnTo>
                    <a:pt x="2254" y="4526"/>
                  </a:lnTo>
                  <a:lnTo>
                    <a:pt x="2258" y="4536"/>
                  </a:lnTo>
                  <a:lnTo>
                    <a:pt x="2262" y="4544"/>
                  </a:lnTo>
                  <a:lnTo>
                    <a:pt x="2266" y="4562"/>
                  </a:lnTo>
                  <a:lnTo>
                    <a:pt x="2266" y="4578"/>
                  </a:lnTo>
                  <a:lnTo>
                    <a:pt x="2266" y="4588"/>
                  </a:lnTo>
                  <a:lnTo>
                    <a:pt x="2264" y="4592"/>
                  </a:lnTo>
                  <a:lnTo>
                    <a:pt x="2264" y="4596"/>
                  </a:lnTo>
                  <a:lnTo>
                    <a:pt x="2268" y="4600"/>
                  </a:lnTo>
                  <a:lnTo>
                    <a:pt x="2270" y="4602"/>
                  </a:lnTo>
                  <a:lnTo>
                    <a:pt x="2272" y="4606"/>
                  </a:lnTo>
                  <a:lnTo>
                    <a:pt x="2274" y="4612"/>
                  </a:lnTo>
                  <a:lnTo>
                    <a:pt x="2272" y="4622"/>
                  </a:lnTo>
                  <a:lnTo>
                    <a:pt x="2272" y="4634"/>
                  </a:lnTo>
                  <a:lnTo>
                    <a:pt x="2276" y="4638"/>
                  </a:lnTo>
                  <a:lnTo>
                    <a:pt x="2278" y="4640"/>
                  </a:lnTo>
                  <a:lnTo>
                    <a:pt x="2278" y="4644"/>
                  </a:lnTo>
                  <a:lnTo>
                    <a:pt x="2278" y="4648"/>
                  </a:lnTo>
                  <a:lnTo>
                    <a:pt x="2282" y="4654"/>
                  </a:lnTo>
                  <a:lnTo>
                    <a:pt x="2292" y="4666"/>
                  </a:lnTo>
                  <a:lnTo>
                    <a:pt x="2296" y="4672"/>
                  </a:lnTo>
                  <a:lnTo>
                    <a:pt x="2300" y="4680"/>
                  </a:lnTo>
                  <a:lnTo>
                    <a:pt x="2302" y="4688"/>
                  </a:lnTo>
                  <a:lnTo>
                    <a:pt x="2302" y="4696"/>
                  </a:lnTo>
                  <a:lnTo>
                    <a:pt x="2302" y="4700"/>
                  </a:lnTo>
                  <a:lnTo>
                    <a:pt x="2302" y="4702"/>
                  </a:lnTo>
                  <a:lnTo>
                    <a:pt x="2308" y="4708"/>
                  </a:lnTo>
                  <a:lnTo>
                    <a:pt x="2320" y="4716"/>
                  </a:lnTo>
                  <a:lnTo>
                    <a:pt x="2330" y="4724"/>
                  </a:lnTo>
                  <a:lnTo>
                    <a:pt x="2344" y="4736"/>
                  </a:lnTo>
                  <a:lnTo>
                    <a:pt x="2354" y="4746"/>
                  </a:lnTo>
                  <a:lnTo>
                    <a:pt x="2364" y="4754"/>
                  </a:lnTo>
                  <a:lnTo>
                    <a:pt x="2376" y="4760"/>
                  </a:lnTo>
                  <a:lnTo>
                    <a:pt x="2382" y="4764"/>
                  </a:lnTo>
                  <a:lnTo>
                    <a:pt x="2384" y="4766"/>
                  </a:lnTo>
                  <a:lnTo>
                    <a:pt x="2386" y="4770"/>
                  </a:lnTo>
                  <a:lnTo>
                    <a:pt x="2390" y="4776"/>
                  </a:lnTo>
                  <a:lnTo>
                    <a:pt x="2392" y="4774"/>
                  </a:lnTo>
                  <a:lnTo>
                    <a:pt x="2396" y="4770"/>
                  </a:lnTo>
                  <a:lnTo>
                    <a:pt x="2400" y="4770"/>
                  </a:lnTo>
                  <a:lnTo>
                    <a:pt x="2404" y="4770"/>
                  </a:lnTo>
                  <a:lnTo>
                    <a:pt x="2408" y="4770"/>
                  </a:lnTo>
                  <a:lnTo>
                    <a:pt x="2410" y="4768"/>
                  </a:lnTo>
                  <a:lnTo>
                    <a:pt x="2410" y="4764"/>
                  </a:lnTo>
                  <a:lnTo>
                    <a:pt x="2414" y="4764"/>
                  </a:lnTo>
                  <a:lnTo>
                    <a:pt x="2416" y="4766"/>
                  </a:lnTo>
                  <a:lnTo>
                    <a:pt x="2414" y="4770"/>
                  </a:lnTo>
                  <a:lnTo>
                    <a:pt x="2414" y="4772"/>
                  </a:lnTo>
                  <a:lnTo>
                    <a:pt x="2418" y="4774"/>
                  </a:lnTo>
                  <a:lnTo>
                    <a:pt x="2420" y="4774"/>
                  </a:lnTo>
                  <a:lnTo>
                    <a:pt x="2422" y="4772"/>
                  </a:lnTo>
                  <a:lnTo>
                    <a:pt x="2422" y="4766"/>
                  </a:lnTo>
                  <a:lnTo>
                    <a:pt x="2420" y="4756"/>
                  </a:lnTo>
                  <a:lnTo>
                    <a:pt x="2416" y="4750"/>
                  </a:lnTo>
                  <a:lnTo>
                    <a:pt x="2414" y="4744"/>
                  </a:lnTo>
                  <a:lnTo>
                    <a:pt x="2412" y="4740"/>
                  </a:lnTo>
                  <a:lnTo>
                    <a:pt x="2410" y="4730"/>
                  </a:lnTo>
                  <a:lnTo>
                    <a:pt x="2406" y="4718"/>
                  </a:lnTo>
                  <a:lnTo>
                    <a:pt x="2402" y="4714"/>
                  </a:lnTo>
                  <a:lnTo>
                    <a:pt x="2398" y="4708"/>
                  </a:lnTo>
                  <a:lnTo>
                    <a:pt x="2392" y="4704"/>
                  </a:lnTo>
                  <a:lnTo>
                    <a:pt x="2388" y="4698"/>
                  </a:lnTo>
                  <a:lnTo>
                    <a:pt x="2388" y="4690"/>
                  </a:lnTo>
                  <a:lnTo>
                    <a:pt x="2388" y="4684"/>
                  </a:lnTo>
                  <a:lnTo>
                    <a:pt x="2390" y="4672"/>
                  </a:lnTo>
                  <a:lnTo>
                    <a:pt x="2390" y="4668"/>
                  </a:lnTo>
                  <a:lnTo>
                    <a:pt x="2386" y="4664"/>
                  </a:lnTo>
                  <a:lnTo>
                    <a:pt x="2384" y="4658"/>
                  </a:lnTo>
                  <a:lnTo>
                    <a:pt x="2386" y="4654"/>
                  </a:lnTo>
                  <a:lnTo>
                    <a:pt x="2386" y="4648"/>
                  </a:lnTo>
                  <a:lnTo>
                    <a:pt x="2388" y="4642"/>
                  </a:lnTo>
                  <a:lnTo>
                    <a:pt x="2388" y="4636"/>
                  </a:lnTo>
                  <a:lnTo>
                    <a:pt x="2388" y="4628"/>
                  </a:lnTo>
                  <a:lnTo>
                    <a:pt x="2390" y="4616"/>
                  </a:lnTo>
                  <a:lnTo>
                    <a:pt x="2386" y="4600"/>
                  </a:lnTo>
                  <a:lnTo>
                    <a:pt x="2384" y="4592"/>
                  </a:lnTo>
                  <a:lnTo>
                    <a:pt x="2378" y="4584"/>
                  </a:lnTo>
                  <a:lnTo>
                    <a:pt x="2366" y="4570"/>
                  </a:lnTo>
                  <a:lnTo>
                    <a:pt x="2354" y="4558"/>
                  </a:lnTo>
                  <a:lnTo>
                    <a:pt x="2350" y="4552"/>
                  </a:lnTo>
                  <a:lnTo>
                    <a:pt x="2348" y="4546"/>
                  </a:lnTo>
                  <a:lnTo>
                    <a:pt x="2344" y="4540"/>
                  </a:lnTo>
                  <a:lnTo>
                    <a:pt x="2342" y="4538"/>
                  </a:lnTo>
                  <a:lnTo>
                    <a:pt x="2334" y="4536"/>
                  </a:lnTo>
                  <a:lnTo>
                    <a:pt x="2324" y="4526"/>
                  </a:lnTo>
                  <a:lnTo>
                    <a:pt x="2310" y="4508"/>
                  </a:lnTo>
                  <a:lnTo>
                    <a:pt x="2306" y="4502"/>
                  </a:lnTo>
                  <a:lnTo>
                    <a:pt x="2304" y="4502"/>
                  </a:lnTo>
                  <a:lnTo>
                    <a:pt x="2300" y="4504"/>
                  </a:lnTo>
                  <a:lnTo>
                    <a:pt x="2296" y="4504"/>
                  </a:lnTo>
                  <a:lnTo>
                    <a:pt x="2292" y="4504"/>
                  </a:lnTo>
                  <a:lnTo>
                    <a:pt x="2286" y="4500"/>
                  </a:lnTo>
                  <a:lnTo>
                    <a:pt x="2276" y="4494"/>
                  </a:lnTo>
                  <a:lnTo>
                    <a:pt x="2272" y="4486"/>
                  </a:lnTo>
                  <a:lnTo>
                    <a:pt x="2270" y="4476"/>
                  </a:lnTo>
                  <a:lnTo>
                    <a:pt x="2264" y="4454"/>
                  </a:lnTo>
                  <a:lnTo>
                    <a:pt x="2262" y="4434"/>
                  </a:lnTo>
                  <a:lnTo>
                    <a:pt x="2260" y="4428"/>
                  </a:lnTo>
                  <a:lnTo>
                    <a:pt x="2258" y="4426"/>
                  </a:lnTo>
                  <a:lnTo>
                    <a:pt x="2254" y="4426"/>
                  </a:lnTo>
                  <a:lnTo>
                    <a:pt x="2252" y="4424"/>
                  </a:lnTo>
                  <a:lnTo>
                    <a:pt x="2248" y="4416"/>
                  </a:lnTo>
                  <a:lnTo>
                    <a:pt x="2244" y="4402"/>
                  </a:lnTo>
                  <a:lnTo>
                    <a:pt x="2244" y="4388"/>
                  </a:lnTo>
                  <a:lnTo>
                    <a:pt x="2242" y="4386"/>
                  </a:lnTo>
                  <a:lnTo>
                    <a:pt x="2240" y="4384"/>
                  </a:lnTo>
                  <a:lnTo>
                    <a:pt x="2230" y="4388"/>
                  </a:lnTo>
                  <a:lnTo>
                    <a:pt x="2226" y="4390"/>
                  </a:lnTo>
                  <a:lnTo>
                    <a:pt x="2222" y="4390"/>
                  </a:lnTo>
                  <a:lnTo>
                    <a:pt x="2220" y="4388"/>
                  </a:lnTo>
                  <a:lnTo>
                    <a:pt x="2220" y="4382"/>
                  </a:lnTo>
                  <a:lnTo>
                    <a:pt x="2218" y="4352"/>
                  </a:lnTo>
                  <a:lnTo>
                    <a:pt x="2218" y="4330"/>
                  </a:lnTo>
                  <a:lnTo>
                    <a:pt x="2220" y="4320"/>
                  </a:lnTo>
                  <a:lnTo>
                    <a:pt x="2224" y="4316"/>
                  </a:lnTo>
                  <a:lnTo>
                    <a:pt x="2226" y="4310"/>
                  </a:lnTo>
                  <a:lnTo>
                    <a:pt x="2228" y="4306"/>
                  </a:lnTo>
                  <a:lnTo>
                    <a:pt x="2232" y="4296"/>
                  </a:lnTo>
                  <a:lnTo>
                    <a:pt x="2234" y="4284"/>
                  </a:lnTo>
                  <a:lnTo>
                    <a:pt x="2236" y="4274"/>
                  </a:lnTo>
                  <a:lnTo>
                    <a:pt x="2242" y="4258"/>
                  </a:lnTo>
                  <a:lnTo>
                    <a:pt x="2248" y="4232"/>
                  </a:lnTo>
                  <a:lnTo>
                    <a:pt x="2252" y="4208"/>
                  </a:lnTo>
                  <a:lnTo>
                    <a:pt x="2252" y="4200"/>
                  </a:lnTo>
                  <a:lnTo>
                    <a:pt x="2252" y="4196"/>
                  </a:lnTo>
                  <a:lnTo>
                    <a:pt x="2248" y="4192"/>
                  </a:lnTo>
                  <a:lnTo>
                    <a:pt x="2248" y="4190"/>
                  </a:lnTo>
                  <a:lnTo>
                    <a:pt x="2248" y="4186"/>
                  </a:lnTo>
                  <a:lnTo>
                    <a:pt x="2250" y="4184"/>
                  </a:lnTo>
                  <a:lnTo>
                    <a:pt x="2252" y="4180"/>
                  </a:lnTo>
                  <a:lnTo>
                    <a:pt x="2256" y="4178"/>
                  </a:lnTo>
                  <a:lnTo>
                    <a:pt x="2272" y="4176"/>
                  </a:lnTo>
                  <a:lnTo>
                    <a:pt x="2278" y="4178"/>
                  </a:lnTo>
                  <a:lnTo>
                    <a:pt x="2282" y="4180"/>
                  </a:lnTo>
                  <a:lnTo>
                    <a:pt x="2286" y="4182"/>
                  </a:lnTo>
                  <a:lnTo>
                    <a:pt x="2286" y="4184"/>
                  </a:lnTo>
                  <a:lnTo>
                    <a:pt x="2284" y="4194"/>
                  </a:lnTo>
                  <a:lnTo>
                    <a:pt x="2282" y="4210"/>
                  </a:lnTo>
                  <a:lnTo>
                    <a:pt x="2282" y="4220"/>
                  </a:lnTo>
                  <a:lnTo>
                    <a:pt x="2284" y="4222"/>
                  </a:lnTo>
                  <a:lnTo>
                    <a:pt x="2286" y="4222"/>
                  </a:lnTo>
                  <a:lnTo>
                    <a:pt x="2292" y="4222"/>
                  </a:lnTo>
                  <a:lnTo>
                    <a:pt x="2296" y="4222"/>
                  </a:lnTo>
                  <a:lnTo>
                    <a:pt x="2300" y="4222"/>
                  </a:lnTo>
                  <a:lnTo>
                    <a:pt x="2304" y="4224"/>
                  </a:lnTo>
                  <a:lnTo>
                    <a:pt x="2306" y="4224"/>
                  </a:lnTo>
                  <a:lnTo>
                    <a:pt x="2310" y="4220"/>
                  </a:lnTo>
                  <a:lnTo>
                    <a:pt x="2316" y="4218"/>
                  </a:lnTo>
                  <a:lnTo>
                    <a:pt x="2318" y="4218"/>
                  </a:lnTo>
                  <a:lnTo>
                    <a:pt x="2322" y="4220"/>
                  </a:lnTo>
                  <a:lnTo>
                    <a:pt x="2330" y="4228"/>
                  </a:lnTo>
                  <a:lnTo>
                    <a:pt x="2336" y="4236"/>
                  </a:lnTo>
                  <a:lnTo>
                    <a:pt x="2342" y="4244"/>
                  </a:lnTo>
                  <a:lnTo>
                    <a:pt x="2346" y="4246"/>
                  </a:lnTo>
                  <a:lnTo>
                    <a:pt x="2350" y="4248"/>
                  </a:lnTo>
                  <a:lnTo>
                    <a:pt x="2354" y="4250"/>
                  </a:lnTo>
                  <a:lnTo>
                    <a:pt x="2356" y="4252"/>
                  </a:lnTo>
                  <a:lnTo>
                    <a:pt x="2360" y="4258"/>
                  </a:lnTo>
                  <a:lnTo>
                    <a:pt x="2362" y="4266"/>
                  </a:lnTo>
                  <a:lnTo>
                    <a:pt x="2364" y="4268"/>
                  </a:lnTo>
                  <a:lnTo>
                    <a:pt x="2368" y="4268"/>
                  </a:lnTo>
                  <a:lnTo>
                    <a:pt x="2362" y="4256"/>
                  </a:lnTo>
                  <a:lnTo>
                    <a:pt x="2362" y="4246"/>
                  </a:lnTo>
                  <a:lnTo>
                    <a:pt x="2362" y="4256"/>
                  </a:lnTo>
                  <a:lnTo>
                    <a:pt x="2368" y="4268"/>
                  </a:lnTo>
                  <a:lnTo>
                    <a:pt x="2374" y="4280"/>
                  </a:lnTo>
                  <a:lnTo>
                    <a:pt x="2376" y="4286"/>
                  </a:lnTo>
                  <a:lnTo>
                    <a:pt x="2374" y="4292"/>
                  </a:lnTo>
                  <a:lnTo>
                    <a:pt x="2374" y="4300"/>
                  </a:lnTo>
                  <a:lnTo>
                    <a:pt x="2376" y="4310"/>
                  </a:lnTo>
                  <a:lnTo>
                    <a:pt x="2378" y="4310"/>
                  </a:lnTo>
                  <a:lnTo>
                    <a:pt x="2380" y="4308"/>
                  </a:lnTo>
                  <a:lnTo>
                    <a:pt x="2386" y="4308"/>
                  </a:lnTo>
                  <a:lnTo>
                    <a:pt x="2388" y="4308"/>
                  </a:lnTo>
                  <a:lnTo>
                    <a:pt x="2388" y="4304"/>
                  </a:lnTo>
                  <a:lnTo>
                    <a:pt x="2388" y="4298"/>
                  </a:lnTo>
                  <a:lnTo>
                    <a:pt x="2388" y="4296"/>
                  </a:lnTo>
                  <a:lnTo>
                    <a:pt x="2390" y="4294"/>
                  </a:lnTo>
                  <a:lnTo>
                    <a:pt x="2392" y="4296"/>
                  </a:lnTo>
                  <a:lnTo>
                    <a:pt x="2396" y="4300"/>
                  </a:lnTo>
                  <a:lnTo>
                    <a:pt x="2398" y="4304"/>
                  </a:lnTo>
                  <a:lnTo>
                    <a:pt x="2398" y="4308"/>
                  </a:lnTo>
                  <a:lnTo>
                    <a:pt x="2394" y="4314"/>
                  </a:lnTo>
                  <a:lnTo>
                    <a:pt x="2390" y="4320"/>
                  </a:lnTo>
                  <a:lnTo>
                    <a:pt x="2390" y="4322"/>
                  </a:lnTo>
                  <a:lnTo>
                    <a:pt x="2392" y="4324"/>
                  </a:lnTo>
                  <a:lnTo>
                    <a:pt x="2396" y="4326"/>
                  </a:lnTo>
                  <a:lnTo>
                    <a:pt x="2398" y="4326"/>
                  </a:lnTo>
                  <a:lnTo>
                    <a:pt x="2402" y="4324"/>
                  </a:lnTo>
                  <a:lnTo>
                    <a:pt x="2404" y="4322"/>
                  </a:lnTo>
                  <a:lnTo>
                    <a:pt x="2406" y="4320"/>
                  </a:lnTo>
                  <a:lnTo>
                    <a:pt x="2406" y="4322"/>
                  </a:lnTo>
                  <a:lnTo>
                    <a:pt x="2412" y="4324"/>
                  </a:lnTo>
                  <a:lnTo>
                    <a:pt x="2416" y="4324"/>
                  </a:lnTo>
                  <a:lnTo>
                    <a:pt x="2422" y="4326"/>
                  </a:lnTo>
                  <a:lnTo>
                    <a:pt x="2424" y="4328"/>
                  </a:lnTo>
                  <a:lnTo>
                    <a:pt x="2428" y="4334"/>
                  </a:lnTo>
                  <a:lnTo>
                    <a:pt x="2430" y="4340"/>
                  </a:lnTo>
                  <a:lnTo>
                    <a:pt x="2434" y="4344"/>
                  </a:lnTo>
                  <a:lnTo>
                    <a:pt x="2436" y="4344"/>
                  </a:lnTo>
                  <a:lnTo>
                    <a:pt x="2438" y="4344"/>
                  </a:lnTo>
                  <a:lnTo>
                    <a:pt x="2444" y="4342"/>
                  </a:lnTo>
                  <a:lnTo>
                    <a:pt x="2446" y="4342"/>
                  </a:lnTo>
                  <a:lnTo>
                    <a:pt x="2450" y="4346"/>
                  </a:lnTo>
                  <a:lnTo>
                    <a:pt x="2452" y="4350"/>
                  </a:lnTo>
                  <a:lnTo>
                    <a:pt x="2452" y="4352"/>
                  </a:lnTo>
                  <a:lnTo>
                    <a:pt x="2448" y="4360"/>
                  </a:lnTo>
                  <a:lnTo>
                    <a:pt x="2444" y="4370"/>
                  </a:lnTo>
                  <a:lnTo>
                    <a:pt x="2442" y="4378"/>
                  </a:lnTo>
                  <a:lnTo>
                    <a:pt x="2440" y="4388"/>
                  </a:lnTo>
                  <a:lnTo>
                    <a:pt x="2440" y="4410"/>
                  </a:lnTo>
                  <a:lnTo>
                    <a:pt x="2442" y="4422"/>
                  </a:lnTo>
                  <a:lnTo>
                    <a:pt x="2444" y="4424"/>
                  </a:lnTo>
                  <a:lnTo>
                    <a:pt x="2446" y="4424"/>
                  </a:lnTo>
                  <a:lnTo>
                    <a:pt x="2450" y="4422"/>
                  </a:lnTo>
                  <a:lnTo>
                    <a:pt x="2456" y="4416"/>
                  </a:lnTo>
                  <a:lnTo>
                    <a:pt x="2478" y="4396"/>
                  </a:lnTo>
                  <a:lnTo>
                    <a:pt x="2488" y="4388"/>
                  </a:lnTo>
                  <a:lnTo>
                    <a:pt x="2496" y="4384"/>
                  </a:lnTo>
                  <a:lnTo>
                    <a:pt x="2500" y="4382"/>
                  </a:lnTo>
                  <a:lnTo>
                    <a:pt x="2502" y="4380"/>
                  </a:lnTo>
                  <a:lnTo>
                    <a:pt x="2502" y="4376"/>
                  </a:lnTo>
                  <a:lnTo>
                    <a:pt x="2502" y="4374"/>
                  </a:lnTo>
                  <a:lnTo>
                    <a:pt x="2508" y="4372"/>
                  </a:lnTo>
                  <a:lnTo>
                    <a:pt x="2512" y="4370"/>
                  </a:lnTo>
                  <a:lnTo>
                    <a:pt x="2516" y="4364"/>
                  </a:lnTo>
                  <a:lnTo>
                    <a:pt x="2520" y="4346"/>
                  </a:lnTo>
                  <a:lnTo>
                    <a:pt x="2524" y="4328"/>
                  </a:lnTo>
                  <a:lnTo>
                    <a:pt x="2526" y="4324"/>
                  </a:lnTo>
                  <a:lnTo>
                    <a:pt x="2526" y="4322"/>
                  </a:lnTo>
                  <a:lnTo>
                    <a:pt x="2528" y="4324"/>
                  </a:lnTo>
                  <a:lnTo>
                    <a:pt x="2534" y="4328"/>
                  </a:lnTo>
                  <a:lnTo>
                    <a:pt x="2536" y="4330"/>
                  </a:lnTo>
                  <a:lnTo>
                    <a:pt x="2538" y="4332"/>
                  </a:lnTo>
                  <a:lnTo>
                    <a:pt x="2544" y="4332"/>
                  </a:lnTo>
                  <a:lnTo>
                    <a:pt x="2548" y="4330"/>
                  </a:lnTo>
                  <a:lnTo>
                    <a:pt x="2556" y="4326"/>
                  </a:lnTo>
                  <a:lnTo>
                    <a:pt x="2566" y="4318"/>
                  </a:lnTo>
                  <a:lnTo>
                    <a:pt x="2576" y="4310"/>
                  </a:lnTo>
                  <a:lnTo>
                    <a:pt x="2584" y="4304"/>
                  </a:lnTo>
                  <a:lnTo>
                    <a:pt x="2598" y="4296"/>
                  </a:lnTo>
                  <a:lnTo>
                    <a:pt x="2604" y="4292"/>
                  </a:lnTo>
                  <a:lnTo>
                    <a:pt x="2610" y="4286"/>
                  </a:lnTo>
                  <a:lnTo>
                    <a:pt x="2614" y="4280"/>
                  </a:lnTo>
                  <a:lnTo>
                    <a:pt x="2618" y="4272"/>
                  </a:lnTo>
                  <a:lnTo>
                    <a:pt x="2622" y="4252"/>
                  </a:lnTo>
                  <a:lnTo>
                    <a:pt x="2622" y="4238"/>
                  </a:lnTo>
                  <a:lnTo>
                    <a:pt x="2624" y="4228"/>
                  </a:lnTo>
                  <a:lnTo>
                    <a:pt x="2624" y="4224"/>
                  </a:lnTo>
                  <a:lnTo>
                    <a:pt x="2626" y="4222"/>
                  </a:lnTo>
                  <a:lnTo>
                    <a:pt x="2628" y="4222"/>
                  </a:lnTo>
                  <a:lnTo>
                    <a:pt x="2630" y="4220"/>
                  </a:lnTo>
                  <a:lnTo>
                    <a:pt x="2630" y="4214"/>
                  </a:lnTo>
                  <a:lnTo>
                    <a:pt x="2628" y="4206"/>
                  </a:lnTo>
                  <a:lnTo>
                    <a:pt x="2624" y="4198"/>
                  </a:lnTo>
                  <a:lnTo>
                    <a:pt x="2622" y="4194"/>
                  </a:lnTo>
                  <a:lnTo>
                    <a:pt x="2622" y="4190"/>
                  </a:lnTo>
                  <a:lnTo>
                    <a:pt x="2624" y="4174"/>
                  </a:lnTo>
                  <a:lnTo>
                    <a:pt x="2624" y="4152"/>
                  </a:lnTo>
                  <a:lnTo>
                    <a:pt x="2622" y="4138"/>
                  </a:lnTo>
                  <a:lnTo>
                    <a:pt x="2616" y="4122"/>
                  </a:lnTo>
                  <a:lnTo>
                    <a:pt x="2606" y="4096"/>
                  </a:lnTo>
                  <a:lnTo>
                    <a:pt x="2598" y="4080"/>
                  </a:lnTo>
                  <a:lnTo>
                    <a:pt x="2590" y="4068"/>
                  </a:lnTo>
                  <a:lnTo>
                    <a:pt x="2584" y="4056"/>
                  </a:lnTo>
                  <a:lnTo>
                    <a:pt x="2580" y="4046"/>
                  </a:lnTo>
                  <a:lnTo>
                    <a:pt x="2572" y="4042"/>
                  </a:lnTo>
                  <a:lnTo>
                    <a:pt x="2562" y="4034"/>
                  </a:lnTo>
                  <a:lnTo>
                    <a:pt x="2548" y="4020"/>
                  </a:lnTo>
                  <a:lnTo>
                    <a:pt x="2534" y="4002"/>
                  </a:lnTo>
                  <a:lnTo>
                    <a:pt x="2522" y="3986"/>
                  </a:lnTo>
                  <a:lnTo>
                    <a:pt x="2514" y="3972"/>
                  </a:lnTo>
                  <a:lnTo>
                    <a:pt x="2510" y="3966"/>
                  </a:lnTo>
                  <a:lnTo>
                    <a:pt x="2510" y="3960"/>
                  </a:lnTo>
                  <a:lnTo>
                    <a:pt x="2508" y="3954"/>
                  </a:lnTo>
                  <a:lnTo>
                    <a:pt x="2506" y="3950"/>
                  </a:lnTo>
                  <a:lnTo>
                    <a:pt x="2500" y="3946"/>
                  </a:lnTo>
                  <a:lnTo>
                    <a:pt x="2492" y="3940"/>
                  </a:lnTo>
                  <a:lnTo>
                    <a:pt x="2486" y="3934"/>
                  </a:lnTo>
                  <a:lnTo>
                    <a:pt x="2482" y="3926"/>
                  </a:lnTo>
                  <a:lnTo>
                    <a:pt x="2478" y="3916"/>
                  </a:lnTo>
                  <a:lnTo>
                    <a:pt x="2478" y="3904"/>
                  </a:lnTo>
                  <a:lnTo>
                    <a:pt x="2480" y="3894"/>
                  </a:lnTo>
                  <a:lnTo>
                    <a:pt x="2482" y="3884"/>
                  </a:lnTo>
                  <a:lnTo>
                    <a:pt x="2486" y="3874"/>
                  </a:lnTo>
                  <a:lnTo>
                    <a:pt x="2492" y="3864"/>
                  </a:lnTo>
                  <a:lnTo>
                    <a:pt x="2498" y="3856"/>
                  </a:lnTo>
                  <a:lnTo>
                    <a:pt x="2506" y="3848"/>
                  </a:lnTo>
                  <a:lnTo>
                    <a:pt x="2512" y="3842"/>
                  </a:lnTo>
                  <a:lnTo>
                    <a:pt x="2516" y="3836"/>
                  </a:lnTo>
                  <a:lnTo>
                    <a:pt x="2518" y="3826"/>
                  </a:lnTo>
                  <a:lnTo>
                    <a:pt x="2520" y="3816"/>
                  </a:lnTo>
                  <a:lnTo>
                    <a:pt x="2522" y="3812"/>
                  </a:lnTo>
                  <a:lnTo>
                    <a:pt x="2526" y="3808"/>
                  </a:lnTo>
                  <a:lnTo>
                    <a:pt x="2532" y="3806"/>
                  </a:lnTo>
                  <a:lnTo>
                    <a:pt x="2534" y="3806"/>
                  </a:lnTo>
                  <a:lnTo>
                    <a:pt x="2536" y="3808"/>
                  </a:lnTo>
                  <a:lnTo>
                    <a:pt x="2540" y="3808"/>
                  </a:lnTo>
                  <a:lnTo>
                    <a:pt x="2544" y="3804"/>
                  </a:lnTo>
                  <a:lnTo>
                    <a:pt x="2546" y="3800"/>
                  </a:lnTo>
                  <a:lnTo>
                    <a:pt x="2548" y="3794"/>
                  </a:lnTo>
                  <a:lnTo>
                    <a:pt x="2554" y="3790"/>
                  </a:lnTo>
                  <a:lnTo>
                    <a:pt x="2562" y="3784"/>
                  </a:lnTo>
                  <a:lnTo>
                    <a:pt x="2568" y="3782"/>
                  </a:lnTo>
                  <a:lnTo>
                    <a:pt x="2572" y="3782"/>
                  </a:lnTo>
                  <a:lnTo>
                    <a:pt x="2574" y="3778"/>
                  </a:lnTo>
                  <a:lnTo>
                    <a:pt x="2576" y="3780"/>
                  </a:lnTo>
                  <a:lnTo>
                    <a:pt x="2578" y="3780"/>
                  </a:lnTo>
                  <a:lnTo>
                    <a:pt x="2582" y="3780"/>
                  </a:lnTo>
                  <a:lnTo>
                    <a:pt x="2584" y="3776"/>
                  </a:lnTo>
                  <a:lnTo>
                    <a:pt x="2584" y="3774"/>
                  </a:lnTo>
                  <a:lnTo>
                    <a:pt x="2586" y="3776"/>
                  </a:lnTo>
                  <a:lnTo>
                    <a:pt x="2590" y="3778"/>
                  </a:lnTo>
                  <a:lnTo>
                    <a:pt x="2592" y="3778"/>
                  </a:lnTo>
                  <a:lnTo>
                    <a:pt x="2594" y="3774"/>
                  </a:lnTo>
                  <a:lnTo>
                    <a:pt x="2592" y="3772"/>
                  </a:lnTo>
                  <a:lnTo>
                    <a:pt x="2592" y="3768"/>
                  </a:lnTo>
                  <a:lnTo>
                    <a:pt x="2592" y="3762"/>
                  </a:lnTo>
                  <a:lnTo>
                    <a:pt x="2592" y="3760"/>
                  </a:lnTo>
                  <a:lnTo>
                    <a:pt x="2594" y="3762"/>
                  </a:lnTo>
                  <a:lnTo>
                    <a:pt x="2596" y="3766"/>
                  </a:lnTo>
                  <a:lnTo>
                    <a:pt x="2602" y="3772"/>
                  </a:lnTo>
                  <a:lnTo>
                    <a:pt x="2604" y="3774"/>
                  </a:lnTo>
                  <a:lnTo>
                    <a:pt x="2610" y="3776"/>
                  </a:lnTo>
                  <a:lnTo>
                    <a:pt x="2614" y="3776"/>
                  </a:lnTo>
                  <a:lnTo>
                    <a:pt x="2616" y="3778"/>
                  </a:lnTo>
                  <a:lnTo>
                    <a:pt x="2614" y="3782"/>
                  </a:lnTo>
                  <a:lnTo>
                    <a:pt x="2614" y="3784"/>
                  </a:lnTo>
                  <a:lnTo>
                    <a:pt x="2616" y="3786"/>
                  </a:lnTo>
                  <a:lnTo>
                    <a:pt x="2620" y="3786"/>
                  </a:lnTo>
                  <a:lnTo>
                    <a:pt x="2630" y="3784"/>
                  </a:lnTo>
                  <a:lnTo>
                    <a:pt x="2632" y="3782"/>
                  </a:lnTo>
                  <a:lnTo>
                    <a:pt x="2634" y="3778"/>
                  </a:lnTo>
                  <a:lnTo>
                    <a:pt x="2632" y="3772"/>
                  </a:lnTo>
                  <a:lnTo>
                    <a:pt x="2634" y="3772"/>
                  </a:lnTo>
                  <a:lnTo>
                    <a:pt x="2636" y="3778"/>
                  </a:lnTo>
                  <a:lnTo>
                    <a:pt x="2640" y="3782"/>
                  </a:lnTo>
                  <a:lnTo>
                    <a:pt x="2642" y="3782"/>
                  </a:lnTo>
                  <a:lnTo>
                    <a:pt x="2644" y="3782"/>
                  </a:lnTo>
                  <a:lnTo>
                    <a:pt x="2648" y="3784"/>
                  </a:lnTo>
                  <a:lnTo>
                    <a:pt x="2648" y="3786"/>
                  </a:lnTo>
                  <a:lnTo>
                    <a:pt x="2646" y="3788"/>
                  </a:lnTo>
                  <a:lnTo>
                    <a:pt x="2642" y="3794"/>
                  </a:lnTo>
                  <a:lnTo>
                    <a:pt x="2640" y="3802"/>
                  </a:lnTo>
                  <a:lnTo>
                    <a:pt x="2638" y="3810"/>
                  </a:lnTo>
                  <a:lnTo>
                    <a:pt x="2640" y="3816"/>
                  </a:lnTo>
                  <a:lnTo>
                    <a:pt x="2642" y="3818"/>
                  </a:lnTo>
                  <a:lnTo>
                    <a:pt x="2642" y="3820"/>
                  </a:lnTo>
                  <a:lnTo>
                    <a:pt x="2642" y="3824"/>
                  </a:lnTo>
                  <a:lnTo>
                    <a:pt x="2644" y="3828"/>
                  </a:lnTo>
                  <a:lnTo>
                    <a:pt x="2646" y="3832"/>
                  </a:lnTo>
                  <a:lnTo>
                    <a:pt x="2648" y="3836"/>
                  </a:lnTo>
                  <a:lnTo>
                    <a:pt x="2648" y="3840"/>
                  </a:lnTo>
                  <a:lnTo>
                    <a:pt x="2648" y="3842"/>
                  </a:lnTo>
                  <a:lnTo>
                    <a:pt x="2652" y="3844"/>
                  </a:lnTo>
                  <a:lnTo>
                    <a:pt x="2664" y="3842"/>
                  </a:lnTo>
                  <a:lnTo>
                    <a:pt x="2672" y="3838"/>
                  </a:lnTo>
                  <a:lnTo>
                    <a:pt x="2674" y="3836"/>
                  </a:lnTo>
                  <a:lnTo>
                    <a:pt x="2674" y="3834"/>
                  </a:lnTo>
                  <a:lnTo>
                    <a:pt x="2670" y="3828"/>
                  </a:lnTo>
                  <a:lnTo>
                    <a:pt x="2668" y="3820"/>
                  </a:lnTo>
                  <a:lnTo>
                    <a:pt x="2666" y="3814"/>
                  </a:lnTo>
                  <a:lnTo>
                    <a:pt x="2662" y="3812"/>
                  </a:lnTo>
                  <a:lnTo>
                    <a:pt x="2660" y="3812"/>
                  </a:lnTo>
                  <a:lnTo>
                    <a:pt x="2658" y="3810"/>
                  </a:lnTo>
                  <a:lnTo>
                    <a:pt x="2660" y="3804"/>
                  </a:lnTo>
                  <a:lnTo>
                    <a:pt x="2666" y="3800"/>
                  </a:lnTo>
                  <a:lnTo>
                    <a:pt x="2684" y="3788"/>
                  </a:lnTo>
                  <a:lnTo>
                    <a:pt x="2692" y="3784"/>
                  </a:lnTo>
                  <a:lnTo>
                    <a:pt x="2698" y="3782"/>
                  </a:lnTo>
                  <a:lnTo>
                    <a:pt x="2704" y="3784"/>
                  </a:lnTo>
                  <a:lnTo>
                    <a:pt x="2716" y="3780"/>
                  </a:lnTo>
                  <a:lnTo>
                    <a:pt x="2722" y="3778"/>
                  </a:lnTo>
                  <a:lnTo>
                    <a:pt x="2726" y="3774"/>
                  </a:lnTo>
                  <a:lnTo>
                    <a:pt x="2730" y="3768"/>
                  </a:lnTo>
                  <a:lnTo>
                    <a:pt x="2730" y="3764"/>
                  </a:lnTo>
                  <a:lnTo>
                    <a:pt x="2736" y="3766"/>
                  </a:lnTo>
                  <a:lnTo>
                    <a:pt x="2740" y="3768"/>
                  </a:lnTo>
                  <a:lnTo>
                    <a:pt x="2742" y="3772"/>
                  </a:lnTo>
                  <a:lnTo>
                    <a:pt x="2746" y="3768"/>
                  </a:lnTo>
                  <a:lnTo>
                    <a:pt x="2750" y="3764"/>
                  </a:lnTo>
                  <a:lnTo>
                    <a:pt x="2752" y="3766"/>
                  </a:lnTo>
                  <a:lnTo>
                    <a:pt x="2754" y="3768"/>
                  </a:lnTo>
                  <a:lnTo>
                    <a:pt x="2758" y="3764"/>
                  </a:lnTo>
                  <a:lnTo>
                    <a:pt x="2762" y="3760"/>
                  </a:lnTo>
                  <a:lnTo>
                    <a:pt x="2764" y="3760"/>
                  </a:lnTo>
                  <a:lnTo>
                    <a:pt x="2768" y="3760"/>
                  </a:lnTo>
                  <a:lnTo>
                    <a:pt x="2772" y="3762"/>
                  </a:lnTo>
                  <a:lnTo>
                    <a:pt x="2774" y="3760"/>
                  </a:lnTo>
                  <a:lnTo>
                    <a:pt x="2774" y="3756"/>
                  </a:lnTo>
                  <a:lnTo>
                    <a:pt x="2776" y="3750"/>
                  </a:lnTo>
                  <a:lnTo>
                    <a:pt x="2778" y="3752"/>
                  </a:lnTo>
                  <a:lnTo>
                    <a:pt x="2780" y="3754"/>
                  </a:lnTo>
                  <a:lnTo>
                    <a:pt x="2782" y="3754"/>
                  </a:lnTo>
                  <a:lnTo>
                    <a:pt x="2784" y="3752"/>
                  </a:lnTo>
                  <a:lnTo>
                    <a:pt x="2788" y="3748"/>
                  </a:lnTo>
                  <a:lnTo>
                    <a:pt x="2790" y="3748"/>
                  </a:lnTo>
                  <a:lnTo>
                    <a:pt x="2792" y="3748"/>
                  </a:lnTo>
                  <a:lnTo>
                    <a:pt x="2796" y="3744"/>
                  </a:lnTo>
                  <a:lnTo>
                    <a:pt x="2798" y="3740"/>
                  </a:lnTo>
                  <a:lnTo>
                    <a:pt x="2798" y="3736"/>
                  </a:lnTo>
                  <a:lnTo>
                    <a:pt x="2794" y="3724"/>
                  </a:lnTo>
                  <a:lnTo>
                    <a:pt x="2792" y="3714"/>
                  </a:lnTo>
                  <a:lnTo>
                    <a:pt x="2790" y="3712"/>
                  </a:lnTo>
                  <a:lnTo>
                    <a:pt x="2792" y="3708"/>
                  </a:lnTo>
                  <a:lnTo>
                    <a:pt x="2794" y="3708"/>
                  </a:lnTo>
                  <a:lnTo>
                    <a:pt x="2796" y="3710"/>
                  </a:lnTo>
                  <a:lnTo>
                    <a:pt x="2804" y="3720"/>
                  </a:lnTo>
                  <a:lnTo>
                    <a:pt x="2808" y="3726"/>
                  </a:lnTo>
                  <a:lnTo>
                    <a:pt x="2812" y="3730"/>
                  </a:lnTo>
                  <a:lnTo>
                    <a:pt x="2810" y="3734"/>
                  </a:lnTo>
                  <a:lnTo>
                    <a:pt x="2810" y="3738"/>
                  </a:lnTo>
                  <a:lnTo>
                    <a:pt x="2812" y="3738"/>
                  </a:lnTo>
                  <a:lnTo>
                    <a:pt x="2818" y="3740"/>
                  </a:lnTo>
                  <a:lnTo>
                    <a:pt x="2820" y="3742"/>
                  </a:lnTo>
                  <a:lnTo>
                    <a:pt x="2824" y="3742"/>
                  </a:lnTo>
                  <a:lnTo>
                    <a:pt x="2826" y="3740"/>
                  </a:lnTo>
                  <a:lnTo>
                    <a:pt x="2828" y="3736"/>
                  </a:lnTo>
                  <a:lnTo>
                    <a:pt x="2828" y="3734"/>
                  </a:lnTo>
                  <a:lnTo>
                    <a:pt x="2826" y="3730"/>
                  </a:lnTo>
                  <a:lnTo>
                    <a:pt x="2826" y="3726"/>
                  </a:lnTo>
                  <a:lnTo>
                    <a:pt x="2826" y="3724"/>
                  </a:lnTo>
                  <a:lnTo>
                    <a:pt x="2828" y="3724"/>
                  </a:lnTo>
                  <a:lnTo>
                    <a:pt x="2830" y="3728"/>
                  </a:lnTo>
                  <a:lnTo>
                    <a:pt x="2834" y="3730"/>
                  </a:lnTo>
                  <a:lnTo>
                    <a:pt x="2836" y="3732"/>
                  </a:lnTo>
                  <a:lnTo>
                    <a:pt x="2838" y="3730"/>
                  </a:lnTo>
                  <a:lnTo>
                    <a:pt x="2840" y="3728"/>
                  </a:lnTo>
                  <a:lnTo>
                    <a:pt x="2838" y="3724"/>
                  </a:lnTo>
                  <a:lnTo>
                    <a:pt x="2836" y="3720"/>
                  </a:lnTo>
                  <a:lnTo>
                    <a:pt x="2838" y="3718"/>
                  </a:lnTo>
                  <a:lnTo>
                    <a:pt x="2840" y="3716"/>
                  </a:lnTo>
                  <a:lnTo>
                    <a:pt x="2842" y="3716"/>
                  </a:lnTo>
                  <a:lnTo>
                    <a:pt x="2844" y="3718"/>
                  </a:lnTo>
                  <a:lnTo>
                    <a:pt x="2846" y="3724"/>
                  </a:lnTo>
                  <a:lnTo>
                    <a:pt x="2846" y="3726"/>
                  </a:lnTo>
                  <a:lnTo>
                    <a:pt x="2848" y="3728"/>
                  </a:lnTo>
                  <a:lnTo>
                    <a:pt x="2850" y="3728"/>
                  </a:lnTo>
                  <a:lnTo>
                    <a:pt x="2854" y="3724"/>
                  </a:lnTo>
                  <a:lnTo>
                    <a:pt x="2860" y="3718"/>
                  </a:lnTo>
                  <a:lnTo>
                    <a:pt x="2864" y="3716"/>
                  </a:lnTo>
                  <a:lnTo>
                    <a:pt x="2874" y="3722"/>
                  </a:lnTo>
                  <a:lnTo>
                    <a:pt x="2876" y="3722"/>
                  </a:lnTo>
                  <a:lnTo>
                    <a:pt x="2878" y="3722"/>
                  </a:lnTo>
                  <a:lnTo>
                    <a:pt x="2878" y="3718"/>
                  </a:lnTo>
                  <a:lnTo>
                    <a:pt x="2878" y="3714"/>
                  </a:lnTo>
                  <a:lnTo>
                    <a:pt x="2878" y="3712"/>
                  </a:lnTo>
                  <a:lnTo>
                    <a:pt x="2880" y="3712"/>
                  </a:lnTo>
                  <a:lnTo>
                    <a:pt x="2882" y="3712"/>
                  </a:lnTo>
                  <a:lnTo>
                    <a:pt x="2884" y="3716"/>
                  </a:lnTo>
                  <a:lnTo>
                    <a:pt x="2886" y="3718"/>
                  </a:lnTo>
                  <a:lnTo>
                    <a:pt x="2894" y="3716"/>
                  </a:lnTo>
                  <a:lnTo>
                    <a:pt x="2902" y="3712"/>
                  </a:lnTo>
                  <a:lnTo>
                    <a:pt x="2910" y="3710"/>
                  </a:lnTo>
                  <a:lnTo>
                    <a:pt x="2914" y="3706"/>
                  </a:lnTo>
                  <a:lnTo>
                    <a:pt x="2916" y="3702"/>
                  </a:lnTo>
                  <a:lnTo>
                    <a:pt x="2918" y="3698"/>
                  </a:lnTo>
                  <a:lnTo>
                    <a:pt x="2918" y="3696"/>
                  </a:lnTo>
                  <a:lnTo>
                    <a:pt x="2922" y="3694"/>
                  </a:lnTo>
                  <a:lnTo>
                    <a:pt x="2926" y="3692"/>
                  </a:lnTo>
                  <a:lnTo>
                    <a:pt x="2924" y="3690"/>
                  </a:lnTo>
                  <a:lnTo>
                    <a:pt x="2922" y="3688"/>
                  </a:lnTo>
                  <a:lnTo>
                    <a:pt x="2924" y="3686"/>
                  </a:lnTo>
                  <a:lnTo>
                    <a:pt x="2926" y="3684"/>
                  </a:lnTo>
                  <a:lnTo>
                    <a:pt x="2930" y="3678"/>
                  </a:lnTo>
                  <a:lnTo>
                    <a:pt x="2932" y="3674"/>
                  </a:lnTo>
                  <a:lnTo>
                    <a:pt x="2936" y="3674"/>
                  </a:lnTo>
                  <a:lnTo>
                    <a:pt x="2940" y="3674"/>
                  </a:lnTo>
                  <a:lnTo>
                    <a:pt x="2944" y="3672"/>
                  </a:lnTo>
                  <a:lnTo>
                    <a:pt x="2948" y="3668"/>
                  </a:lnTo>
                  <a:lnTo>
                    <a:pt x="2954" y="3662"/>
                  </a:lnTo>
                  <a:lnTo>
                    <a:pt x="2956" y="3662"/>
                  </a:lnTo>
                  <a:lnTo>
                    <a:pt x="2956" y="3664"/>
                  </a:lnTo>
                  <a:lnTo>
                    <a:pt x="2958" y="3666"/>
                  </a:lnTo>
                  <a:lnTo>
                    <a:pt x="2960" y="3662"/>
                  </a:lnTo>
                  <a:lnTo>
                    <a:pt x="2974" y="3648"/>
                  </a:lnTo>
                  <a:lnTo>
                    <a:pt x="2980" y="3642"/>
                  </a:lnTo>
                  <a:lnTo>
                    <a:pt x="2980" y="3638"/>
                  </a:lnTo>
                  <a:lnTo>
                    <a:pt x="2978" y="3636"/>
                  </a:lnTo>
                  <a:lnTo>
                    <a:pt x="2976" y="3632"/>
                  </a:lnTo>
                  <a:lnTo>
                    <a:pt x="2978" y="3626"/>
                  </a:lnTo>
                  <a:lnTo>
                    <a:pt x="2980" y="3624"/>
                  </a:lnTo>
                  <a:lnTo>
                    <a:pt x="2982" y="3624"/>
                  </a:lnTo>
                  <a:lnTo>
                    <a:pt x="2984" y="3626"/>
                  </a:lnTo>
                  <a:lnTo>
                    <a:pt x="2986" y="3628"/>
                  </a:lnTo>
                  <a:lnTo>
                    <a:pt x="2988" y="3626"/>
                  </a:lnTo>
                  <a:lnTo>
                    <a:pt x="2990" y="3626"/>
                  </a:lnTo>
                  <a:lnTo>
                    <a:pt x="2994" y="3628"/>
                  </a:lnTo>
                  <a:lnTo>
                    <a:pt x="2998" y="3630"/>
                  </a:lnTo>
                  <a:lnTo>
                    <a:pt x="3000" y="3624"/>
                  </a:lnTo>
                  <a:lnTo>
                    <a:pt x="3004" y="3616"/>
                  </a:lnTo>
                  <a:lnTo>
                    <a:pt x="3008" y="3614"/>
                  </a:lnTo>
                  <a:lnTo>
                    <a:pt x="3012" y="3610"/>
                  </a:lnTo>
                  <a:lnTo>
                    <a:pt x="3016" y="3608"/>
                  </a:lnTo>
                  <a:lnTo>
                    <a:pt x="3016" y="3606"/>
                  </a:lnTo>
                  <a:lnTo>
                    <a:pt x="3012" y="3602"/>
                  </a:lnTo>
                  <a:lnTo>
                    <a:pt x="3010" y="3598"/>
                  </a:lnTo>
                  <a:lnTo>
                    <a:pt x="3010" y="3594"/>
                  </a:lnTo>
                  <a:lnTo>
                    <a:pt x="3012" y="3590"/>
                  </a:lnTo>
                  <a:lnTo>
                    <a:pt x="3014" y="3594"/>
                  </a:lnTo>
                  <a:lnTo>
                    <a:pt x="3018" y="3596"/>
                  </a:lnTo>
                  <a:lnTo>
                    <a:pt x="3022" y="3596"/>
                  </a:lnTo>
                  <a:lnTo>
                    <a:pt x="3026" y="3594"/>
                  </a:lnTo>
                  <a:lnTo>
                    <a:pt x="3030" y="3590"/>
                  </a:lnTo>
                  <a:lnTo>
                    <a:pt x="3030" y="3588"/>
                  </a:lnTo>
                  <a:lnTo>
                    <a:pt x="3028" y="3588"/>
                  </a:lnTo>
                  <a:lnTo>
                    <a:pt x="3024" y="3588"/>
                  </a:lnTo>
                  <a:lnTo>
                    <a:pt x="3020" y="3586"/>
                  </a:lnTo>
                  <a:lnTo>
                    <a:pt x="3020" y="3582"/>
                  </a:lnTo>
                  <a:lnTo>
                    <a:pt x="3022" y="3578"/>
                  </a:lnTo>
                  <a:lnTo>
                    <a:pt x="3024" y="3576"/>
                  </a:lnTo>
                  <a:lnTo>
                    <a:pt x="3026" y="3576"/>
                  </a:lnTo>
                  <a:lnTo>
                    <a:pt x="3030" y="3578"/>
                  </a:lnTo>
                  <a:lnTo>
                    <a:pt x="3032" y="3580"/>
                  </a:lnTo>
                  <a:lnTo>
                    <a:pt x="3038" y="3586"/>
                  </a:lnTo>
                  <a:lnTo>
                    <a:pt x="3040" y="3586"/>
                  </a:lnTo>
                  <a:lnTo>
                    <a:pt x="3042" y="3582"/>
                  </a:lnTo>
                  <a:lnTo>
                    <a:pt x="3038" y="3576"/>
                  </a:lnTo>
                  <a:lnTo>
                    <a:pt x="3036" y="3572"/>
                  </a:lnTo>
                  <a:lnTo>
                    <a:pt x="3038" y="3568"/>
                  </a:lnTo>
                  <a:lnTo>
                    <a:pt x="3042" y="3558"/>
                  </a:lnTo>
                  <a:lnTo>
                    <a:pt x="3044" y="3552"/>
                  </a:lnTo>
                  <a:lnTo>
                    <a:pt x="3040" y="3552"/>
                  </a:lnTo>
                  <a:lnTo>
                    <a:pt x="3038" y="3552"/>
                  </a:lnTo>
                  <a:lnTo>
                    <a:pt x="3036" y="3550"/>
                  </a:lnTo>
                  <a:lnTo>
                    <a:pt x="3038" y="3546"/>
                  </a:lnTo>
                  <a:lnTo>
                    <a:pt x="3042" y="3540"/>
                  </a:lnTo>
                  <a:lnTo>
                    <a:pt x="3048" y="3536"/>
                  </a:lnTo>
                  <a:lnTo>
                    <a:pt x="3052" y="3534"/>
                  </a:lnTo>
                  <a:lnTo>
                    <a:pt x="3052" y="3532"/>
                  </a:lnTo>
                  <a:lnTo>
                    <a:pt x="3050" y="3532"/>
                  </a:lnTo>
                  <a:lnTo>
                    <a:pt x="3046" y="3526"/>
                  </a:lnTo>
                  <a:lnTo>
                    <a:pt x="3042" y="3522"/>
                  </a:lnTo>
                  <a:lnTo>
                    <a:pt x="3040" y="3518"/>
                  </a:lnTo>
                  <a:lnTo>
                    <a:pt x="3038" y="3518"/>
                  </a:lnTo>
                  <a:lnTo>
                    <a:pt x="3042" y="3516"/>
                  </a:lnTo>
                  <a:lnTo>
                    <a:pt x="3046" y="3514"/>
                  </a:lnTo>
                  <a:lnTo>
                    <a:pt x="3046" y="3516"/>
                  </a:lnTo>
                  <a:lnTo>
                    <a:pt x="3048" y="3520"/>
                  </a:lnTo>
                  <a:lnTo>
                    <a:pt x="3050" y="3524"/>
                  </a:lnTo>
                  <a:lnTo>
                    <a:pt x="3054" y="3524"/>
                  </a:lnTo>
                  <a:lnTo>
                    <a:pt x="3058" y="3522"/>
                  </a:lnTo>
                  <a:lnTo>
                    <a:pt x="3060" y="3520"/>
                  </a:lnTo>
                  <a:lnTo>
                    <a:pt x="3062" y="3518"/>
                  </a:lnTo>
                  <a:lnTo>
                    <a:pt x="3062" y="3512"/>
                  </a:lnTo>
                  <a:lnTo>
                    <a:pt x="3060" y="3510"/>
                  </a:lnTo>
                  <a:lnTo>
                    <a:pt x="3060" y="3508"/>
                  </a:lnTo>
                  <a:lnTo>
                    <a:pt x="3062" y="3506"/>
                  </a:lnTo>
                  <a:lnTo>
                    <a:pt x="3068" y="3502"/>
                  </a:lnTo>
                  <a:lnTo>
                    <a:pt x="3074" y="3492"/>
                  </a:lnTo>
                  <a:lnTo>
                    <a:pt x="3080" y="3482"/>
                  </a:lnTo>
                  <a:lnTo>
                    <a:pt x="3080" y="3478"/>
                  </a:lnTo>
                  <a:lnTo>
                    <a:pt x="3080" y="3474"/>
                  </a:lnTo>
                  <a:lnTo>
                    <a:pt x="3080" y="3470"/>
                  </a:lnTo>
                  <a:lnTo>
                    <a:pt x="3080" y="3468"/>
                  </a:lnTo>
                  <a:lnTo>
                    <a:pt x="3084" y="3462"/>
                  </a:lnTo>
                  <a:lnTo>
                    <a:pt x="3090" y="3454"/>
                  </a:lnTo>
                  <a:lnTo>
                    <a:pt x="3098" y="3440"/>
                  </a:lnTo>
                  <a:lnTo>
                    <a:pt x="3100" y="3436"/>
                  </a:lnTo>
                  <a:lnTo>
                    <a:pt x="3102" y="3432"/>
                  </a:lnTo>
                  <a:lnTo>
                    <a:pt x="3104" y="3434"/>
                  </a:lnTo>
                  <a:lnTo>
                    <a:pt x="3106" y="3436"/>
                  </a:lnTo>
                  <a:lnTo>
                    <a:pt x="3108" y="3440"/>
                  </a:lnTo>
                  <a:lnTo>
                    <a:pt x="3110" y="3440"/>
                  </a:lnTo>
                  <a:lnTo>
                    <a:pt x="3112" y="3440"/>
                  </a:lnTo>
                  <a:lnTo>
                    <a:pt x="3116" y="3436"/>
                  </a:lnTo>
                  <a:lnTo>
                    <a:pt x="3120" y="3434"/>
                  </a:lnTo>
                  <a:lnTo>
                    <a:pt x="3122" y="3432"/>
                  </a:lnTo>
                  <a:lnTo>
                    <a:pt x="3118" y="3424"/>
                  </a:lnTo>
                  <a:lnTo>
                    <a:pt x="3116" y="3420"/>
                  </a:lnTo>
                  <a:lnTo>
                    <a:pt x="3116" y="3416"/>
                  </a:lnTo>
                  <a:lnTo>
                    <a:pt x="3118" y="3414"/>
                  </a:lnTo>
                  <a:lnTo>
                    <a:pt x="3122" y="3412"/>
                  </a:lnTo>
                  <a:lnTo>
                    <a:pt x="3122" y="3410"/>
                  </a:lnTo>
                  <a:lnTo>
                    <a:pt x="3122" y="3408"/>
                  </a:lnTo>
                  <a:lnTo>
                    <a:pt x="3122" y="3402"/>
                  </a:lnTo>
                  <a:lnTo>
                    <a:pt x="3122" y="3400"/>
                  </a:lnTo>
                  <a:lnTo>
                    <a:pt x="3124" y="3398"/>
                  </a:lnTo>
                  <a:lnTo>
                    <a:pt x="3120" y="3392"/>
                  </a:lnTo>
                  <a:lnTo>
                    <a:pt x="3118" y="3390"/>
                  </a:lnTo>
                  <a:lnTo>
                    <a:pt x="3124" y="3390"/>
                  </a:lnTo>
                  <a:lnTo>
                    <a:pt x="3128" y="3390"/>
                  </a:lnTo>
                  <a:lnTo>
                    <a:pt x="3132" y="3388"/>
                  </a:lnTo>
                  <a:lnTo>
                    <a:pt x="3134" y="3384"/>
                  </a:lnTo>
                  <a:lnTo>
                    <a:pt x="3134" y="3376"/>
                  </a:lnTo>
                  <a:lnTo>
                    <a:pt x="3134" y="3370"/>
                  </a:lnTo>
                  <a:lnTo>
                    <a:pt x="3132" y="3366"/>
                  </a:lnTo>
                  <a:lnTo>
                    <a:pt x="3128" y="3362"/>
                  </a:lnTo>
                  <a:lnTo>
                    <a:pt x="3136" y="3356"/>
                  </a:lnTo>
                  <a:lnTo>
                    <a:pt x="3140" y="3352"/>
                  </a:lnTo>
                  <a:lnTo>
                    <a:pt x="3136" y="3350"/>
                  </a:lnTo>
                  <a:lnTo>
                    <a:pt x="3128" y="3348"/>
                  </a:lnTo>
                  <a:lnTo>
                    <a:pt x="3122" y="3344"/>
                  </a:lnTo>
                  <a:lnTo>
                    <a:pt x="3118" y="3338"/>
                  </a:lnTo>
                  <a:lnTo>
                    <a:pt x="3112" y="3332"/>
                  </a:lnTo>
                  <a:lnTo>
                    <a:pt x="3108" y="3330"/>
                  </a:lnTo>
                  <a:lnTo>
                    <a:pt x="3102" y="3330"/>
                  </a:lnTo>
                  <a:lnTo>
                    <a:pt x="3096" y="3334"/>
                  </a:lnTo>
                  <a:lnTo>
                    <a:pt x="3086" y="3338"/>
                  </a:lnTo>
                  <a:lnTo>
                    <a:pt x="3082" y="3338"/>
                  </a:lnTo>
                  <a:lnTo>
                    <a:pt x="3078" y="3334"/>
                  </a:lnTo>
                  <a:lnTo>
                    <a:pt x="3076" y="3332"/>
                  </a:lnTo>
                  <a:lnTo>
                    <a:pt x="3074" y="3330"/>
                  </a:lnTo>
                  <a:lnTo>
                    <a:pt x="3070" y="3332"/>
                  </a:lnTo>
                  <a:lnTo>
                    <a:pt x="3070" y="3328"/>
                  </a:lnTo>
                  <a:lnTo>
                    <a:pt x="3072" y="3326"/>
                  </a:lnTo>
                  <a:lnTo>
                    <a:pt x="3074" y="3324"/>
                  </a:lnTo>
                  <a:lnTo>
                    <a:pt x="3082" y="3326"/>
                  </a:lnTo>
                  <a:lnTo>
                    <a:pt x="3088" y="3326"/>
                  </a:lnTo>
                  <a:lnTo>
                    <a:pt x="3090" y="3326"/>
                  </a:lnTo>
                  <a:lnTo>
                    <a:pt x="3092" y="3324"/>
                  </a:lnTo>
                  <a:lnTo>
                    <a:pt x="3098" y="3316"/>
                  </a:lnTo>
                  <a:lnTo>
                    <a:pt x="3106" y="3310"/>
                  </a:lnTo>
                  <a:lnTo>
                    <a:pt x="3116" y="3304"/>
                  </a:lnTo>
                  <a:lnTo>
                    <a:pt x="3124" y="3302"/>
                  </a:lnTo>
                  <a:lnTo>
                    <a:pt x="3128" y="3300"/>
                  </a:lnTo>
                  <a:lnTo>
                    <a:pt x="3132" y="3298"/>
                  </a:lnTo>
                  <a:lnTo>
                    <a:pt x="3132" y="3294"/>
                  </a:lnTo>
                  <a:lnTo>
                    <a:pt x="3130" y="3290"/>
                  </a:lnTo>
                  <a:lnTo>
                    <a:pt x="3122" y="3278"/>
                  </a:lnTo>
                  <a:lnTo>
                    <a:pt x="3110" y="3268"/>
                  </a:lnTo>
                  <a:lnTo>
                    <a:pt x="3100" y="3258"/>
                  </a:lnTo>
                  <a:lnTo>
                    <a:pt x="3090" y="3254"/>
                  </a:lnTo>
                  <a:lnTo>
                    <a:pt x="3086" y="3252"/>
                  </a:lnTo>
                  <a:lnTo>
                    <a:pt x="3086" y="3250"/>
                  </a:lnTo>
                  <a:lnTo>
                    <a:pt x="3086" y="3248"/>
                  </a:lnTo>
                  <a:lnTo>
                    <a:pt x="3086" y="3246"/>
                  </a:lnTo>
                  <a:lnTo>
                    <a:pt x="3086" y="3244"/>
                  </a:lnTo>
                  <a:lnTo>
                    <a:pt x="3082" y="3242"/>
                  </a:lnTo>
                  <a:lnTo>
                    <a:pt x="3078" y="3240"/>
                  </a:lnTo>
                  <a:lnTo>
                    <a:pt x="3074" y="3242"/>
                  </a:lnTo>
                  <a:lnTo>
                    <a:pt x="3068" y="3246"/>
                  </a:lnTo>
                  <a:lnTo>
                    <a:pt x="3062" y="3246"/>
                  </a:lnTo>
                  <a:lnTo>
                    <a:pt x="3056" y="3244"/>
                  </a:lnTo>
                  <a:lnTo>
                    <a:pt x="3050" y="3242"/>
                  </a:lnTo>
                  <a:lnTo>
                    <a:pt x="3046" y="3236"/>
                  </a:lnTo>
                  <a:lnTo>
                    <a:pt x="3044" y="3232"/>
                  </a:lnTo>
                  <a:lnTo>
                    <a:pt x="3042" y="3228"/>
                  </a:lnTo>
                  <a:lnTo>
                    <a:pt x="3044" y="3224"/>
                  </a:lnTo>
                  <a:lnTo>
                    <a:pt x="3046" y="3224"/>
                  </a:lnTo>
                  <a:lnTo>
                    <a:pt x="3048" y="3224"/>
                  </a:lnTo>
                  <a:lnTo>
                    <a:pt x="3052" y="3230"/>
                  </a:lnTo>
                  <a:lnTo>
                    <a:pt x="3056" y="3238"/>
                  </a:lnTo>
                  <a:lnTo>
                    <a:pt x="3060" y="3242"/>
                  </a:lnTo>
                  <a:lnTo>
                    <a:pt x="3062" y="3244"/>
                  </a:lnTo>
                  <a:lnTo>
                    <a:pt x="3066" y="3242"/>
                  </a:lnTo>
                  <a:lnTo>
                    <a:pt x="3072" y="3240"/>
                  </a:lnTo>
                  <a:lnTo>
                    <a:pt x="3078" y="3236"/>
                  </a:lnTo>
                  <a:lnTo>
                    <a:pt x="3080" y="3236"/>
                  </a:lnTo>
                  <a:lnTo>
                    <a:pt x="3084" y="3236"/>
                  </a:lnTo>
                  <a:lnTo>
                    <a:pt x="3088" y="3240"/>
                  </a:lnTo>
                  <a:lnTo>
                    <a:pt x="3090" y="3242"/>
                  </a:lnTo>
                  <a:lnTo>
                    <a:pt x="3092" y="3246"/>
                  </a:lnTo>
                  <a:lnTo>
                    <a:pt x="3094" y="3248"/>
                  </a:lnTo>
                  <a:lnTo>
                    <a:pt x="3098" y="3248"/>
                  </a:lnTo>
                  <a:lnTo>
                    <a:pt x="3104" y="3248"/>
                  </a:lnTo>
                  <a:lnTo>
                    <a:pt x="3110" y="3250"/>
                  </a:lnTo>
                  <a:lnTo>
                    <a:pt x="3122" y="3256"/>
                  </a:lnTo>
                  <a:lnTo>
                    <a:pt x="3128" y="3258"/>
                  </a:lnTo>
                  <a:lnTo>
                    <a:pt x="3130" y="3258"/>
                  </a:lnTo>
                  <a:lnTo>
                    <a:pt x="3132" y="3256"/>
                  </a:lnTo>
                  <a:lnTo>
                    <a:pt x="3132" y="3254"/>
                  </a:lnTo>
                  <a:lnTo>
                    <a:pt x="3128" y="3244"/>
                  </a:lnTo>
                  <a:lnTo>
                    <a:pt x="3120" y="3236"/>
                  </a:lnTo>
                  <a:lnTo>
                    <a:pt x="3114" y="3230"/>
                  </a:lnTo>
                  <a:lnTo>
                    <a:pt x="3112" y="3226"/>
                  </a:lnTo>
                  <a:lnTo>
                    <a:pt x="3108" y="3220"/>
                  </a:lnTo>
                  <a:lnTo>
                    <a:pt x="3100" y="3212"/>
                  </a:lnTo>
                  <a:lnTo>
                    <a:pt x="3092" y="3206"/>
                  </a:lnTo>
                  <a:lnTo>
                    <a:pt x="3090" y="3200"/>
                  </a:lnTo>
                  <a:lnTo>
                    <a:pt x="3090" y="3192"/>
                  </a:lnTo>
                  <a:lnTo>
                    <a:pt x="3088" y="3186"/>
                  </a:lnTo>
                  <a:lnTo>
                    <a:pt x="3086" y="3178"/>
                  </a:lnTo>
                  <a:lnTo>
                    <a:pt x="3082" y="3168"/>
                  </a:lnTo>
                  <a:lnTo>
                    <a:pt x="3078" y="3158"/>
                  </a:lnTo>
                  <a:lnTo>
                    <a:pt x="3072" y="3138"/>
                  </a:lnTo>
                  <a:lnTo>
                    <a:pt x="3070" y="3130"/>
                  </a:lnTo>
                  <a:lnTo>
                    <a:pt x="3066" y="3122"/>
                  </a:lnTo>
                  <a:lnTo>
                    <a:pt x="3060" y="3116"/>
                  </a:lnTo>
                  <a:lnTo>
                    <a:pt x="3052" y="3112"/>
                  </a:lnTo>
                  <a:lnTo>
                    <a:pt x="3044" y="3108"/>
                  </a:lnTo>
                  <a:lnTo>
                    <a:pt x="3040" y="3104"/>
                  </a:lnTo>
                  <a:lnTo>
                    <a:pt x="3036" y="3098"/>
                  </a:lnTo>
                  <a:lnTo>
                    <a:pt x="3034" y="3094"/>
                  </a:lnTo>
                  <a:lnTo>
                    <a:pt x="3032" y="3094"/>
                  </a:lnTo>
                  <a:lnTo>
                    <a:pt x="3026" y="3096"/>
                  </a:lnTo>
                  <a:lnTo>
                    <a:pt x="3022" y="3096"/>
                  </a:lnTo>
                  <a:lnTo>
                    <a:pt x="3022" y="3092"/>
                  </a:lnTo>
                  <a:lnTo>
                    <a:pt x="3024" y="3084"/>
                  </a:lnTo>
                  <a:lnTo>
                    <a:pt x="3026" y="3076"/>
                  </a:lnTo>
                  <a:lnTo>
                    <a:pt x="3038" y="3058"/>
                  </a:lnTo>
                  <a:lnTo>
                    <a:pt x="3044" y="3052"/>
                  </a:lnTo>
                  <a:lnTo>
                    <a:pt x="3048" y="3048"/>
                  </a:lnTo>
                  <a:lnTo>
                    <a:pt x="3054" y="3044"/>
                  </a:lnTo>
                  <a:lnTo>
                    <a:pt x="3056" y="3042"/>
                  </a:lnTo>
                  <a:lnTo>
                    <a:pt x="3058" y="3038"/>
                  </a:lnTo>
                  <a:lnTo>
                    <a:pt x="3062" y="3034"/>
                  </a:lnTo>
                  <a:lnTo>
                    <a:pt x="3064" y="3032"/>
                  </a:lnTo>
                  <a:lnTo>
                    <a:pt x="3064" y="3028"/>
                  </a:lnTo>
                  <a:lnTo>
                    <a:pt x="3062" y="3024"/>
                  </a:lnTo>
                  <a:lnTo>
                    <a:pt x="3060" y="3020"/>
                  </a:lnTo>
                  <a:lnTo>
                    <a:pt x="3060" y="3018"/>
                  </a:lnTo>
                  <a:lnTo>
                    <a:pt x="3062" y="3018"/>
                  </a:lnTo>
                  <a:lnTo>
                    <a:pt x="3064" y="3016"/>
                  </a:lnTo>
                  <a:lnTo>
                    <a:pt x="3066" y="3016"/>
                  </a:lnTo>
                  <a:lnTo>
                    <a:pt x="3066" y="3020"/>
                  </a:lnTo>
                  <a:lnTo>
                    <a:pt x="3068" y="3022"/>
                  </a:lnTo>
                  <a:lnTo>
                    <a:pt x="3070" y="3024"/>
                  </a:lnTo>
                  <a:lnTo>
                    <a:pt x="3072" y="3024"/>
                  </a:lnTo>
                  <a:lnTo>
                    <a:pt x="3076" y="3022"/>
                  </a:lnTo>
                  <a:lnTo>
                    <a:pt x="3080" y="3020"/>
                  </a:lnTo>
                  <a:lnTo>
                    <a:pt x="3082" y="3018"/>
                  </a:lnTo>
                  <a:lnTo>
                    <a:pt x="3084" y="3012"/>
                  </a:lnTo>
                  <a:lnTo>
                    <a:pt x="3086" y="3008"/>
                  </a:lnTo>
                  <a:lnTo>
                    <a:pt x="3088" y="3006"/>
                  </a:lnTo>
                  <a:lnTo>
                    <a:pt x="3090" y="3008"/>
                  </a:lnTo>
                  <a:lnTo>
                    <a:pt x="3092" y="3008"/>
                  </a:lnTo>
                  <a:lnTo>
                    <a:pt x="3094" y="3006"/>
                  </a:lnTo>
                  <a:lnTo>
                    <a:pt x="3096" y="3002"/>
                  </a:lnTo>
                  <a:lnTo>
                    <a:pt x="3100" y="2996"/>
                  </a:lnTo>
                  <a:lnTo>
                    <a:pt x="3106" y="2990"/>
                  </a:lnTo>
                  <a:lnTo>
                    <a:pt x="3114" y="2988"/>
                  </a:lnTo>
                  <a:lnTo>
                    <a:pt x="3118" y="2988"/>
                  </a:lnTo>
                  <a:lnTo>
                    <a:pt x="3122" y="2986"/>
                  </a:lnTo>
                  <a:lnTo>
                    <a:pt x="3128" y="2982"/>
                  </a:lnTo>
                  <a:lnTo>
                    <a:pt x="3134" y="2976"/>
                  </a:lnTo>
                  <a:lnTo>
                    <a:pt x="3136" y="2976"/>
                  </a:lnTo>
                  <a:lnTo>
                    <a:pt x="3138" y="2978"/>
                  </a:lnTo>
                  <a:lnTo>
                    <a:pt x="3140" y="2978"/>
                  </a:lnTo>
                  <a:lnTo>
                    <a:pt x="3142" y="2976"/>
                  </a:lnTo>
                  <a:lnTo>
                    <a:pt x="3142" y="2978"/>
                  </a:lnTo>
                  <a:lnTo>
                    <a:pt x="3144" y="2980"/>
                  </a:lnTo>
                  <a:lnTo>
                    <a:pt x="3144" y="2982"/>
                  </a:lnTo>
                  <a:lnTo>
                    <a:pt x="3148" y="2984"/>
                  </a:lnTo>
                  <a:lnTo>
                    <a:pt x="3152" y="2982"/>
                  </a:lnTo>
                  <a:lnTo>
                    <a:pt x="3156" y="2980"/>
                  </a:lnTo>
                  <a:lnTo>
                    <a:pt x="3158" y="2978"/>
                  </a:lnTo>
                  <a:lnTo>
                    <a:pt x="3156" y="2974"/>
                  </a:lnTo>
                  <a:lnTo>
                    <a:pt x="3156" y="2972"/>
                  </a:lnTo>
                  <a:lnTo>
                    <a:pt x="3156" y="2970"/>
                  </a:lnTo>
                  <a:lnTo>
                    <a:pt x="3158" y="2966"/>
                  </a:lnTo>
                  <a:lnTo>
                    <a:pt x="3162" y="2960"/>
                  </a:lnTo>
                  <a:lnTo>
                    <a:pt x="3164" y="2958"/>
                  </a:lnTo>
                  <a:lnTo>
                    <a:pt x="3164" y="2956"/>
                  </a:lnTo>
                  <a:lnTo>
                    <a:pt x="3158" y="2952"/>
                  </a:lnTo>
                  <a:lnTo>
                    <a:pt x="3150" y="2950"/>
                  </a:lnTo>
                  <a:lnTo>
                    <a:pt x="3144" y="2946"/>
                  </a:lnTo>
                  <a:lnTo>
                    <a:pt x="3140" y="2942"/>
                  </a:lnTo>
                  <a:lnTo>
                    <a:pt x="3138" y="2944"/>
                  </a:lnTo>
                  <a:lnTo>
                    <a:pt x="3134" y="2948"/>
                  </a:lnTo>
                  <a:lnTo>
                    <a:pt x="3132" y="2948"/>
                  </a:lnTo>
                  <a:lnTo>
                    <a:pt x="3126" y="2950"/>
                  </a:lnTo>
                  <a:lnTo>
                    <a:pt x="3116" y="2948"/>
                  </a:lnTo>
                  <a:lnTo>
                    <a:pt x="3114" y="2944"/>
                  </a:lnTo>
                  <a:lnTo>
                    <a:pt x="3112" y="2942"/>
                  </a:lnTo>
                  <a:lnTo>
                    <a:pt x="3108" y="2942"/>
                  </a:lnTo>
                  <a:lnTo>
                    <a:pt x="3102" y="2942"/>
                  </a:lnTo>
                  <a:lnTo>
                    <a:pt x="3100" y="2938"/>
                  </a:lnTo>
                  <a:lnTo>
                    <a:pt x="3096" y="2934"/>
                  </a:lnTo>
                  <a:lnTo>
                    <a:pt x="3094" y="2930"/>
                  </a:lnTo>
                  <a:lnTo>
                    <a:pt x="3090" y="2930"/>
                  </a:lnTo>
                  <a:lnTo>
                    <a:pt x="3080" y="2930"/>
                  </a:lnTo>
                  <a:lnTo>
                    <a:pt x="3072" y="2934"/>
                  </a:lnTo>
                  <a:lnTo>
                    <a:pt x="3066" y="2940"/>
                  </a:lnTo>
                  <a:lnTo>
                    <a:pt x="3062" y="2946"/>
                  </a:lnTo>
                  <a:lnTo>
                    <a:pt x="3056" y="2950"/>
                  </a:lnTo>
                  <a:lnTo>
                    <a:pt x="3052" y="2952"/>
                  </a:lnTo>
                  <a:lnTo>
                    <a:pt x="3050" y="2954"/>
                  </a:lnTo>
                  <a:lnTo>
                    <a:pt x="3050" y="2958"/>
                  </a:lnTo>
                  <a:lnTo>
                    <a:pt x="3052" y="2962"/>
                  </a:lnTo>
                  <a:lnTo>
                    <a:pt x="3050" y="2964"/>
                  </a:lnTo>
                  <a:lnTo>
                    <a:pt x="3044" y="2966"/>
                  </a:lnTo>
                  <a:lnTo>
                    <a:pt x="3032" y="2968"/>
                  </a:lnTo>
                  <a:lnTo>
                    <a:pt x="3026" y="2968"/>
                  </a:lnTo>
                  <a:lnTo>
                    <a:pt x="3020" y="2964"/>
                  </a:lnTo>
                  <a:lnTo>
                    <a:pt x="3018" y="2960"/>
                  </a:lnTo>
                  <a:lnTo>
                    <a:pt x="3014" y="2956"/>
                  </a:lnTo>
                  <a:lnTo>
                    <a:pt x="3014" y="2946"/>
                  </a:lnTo>
                  <a:lnTo>
                    <a:pt x="3014" y="2940"/>
                  </a:lnTo>
                  <a:lnTo>
                    <a:pt x="3016" y="2938"/>
                  </a:lnTo>
                  <a:lnTo>
                    <a:pt x="3018" y="2934"/>
                  </a:lnTo>
                  <a:lnTo>
                    <a:pt x="3018" y="2930"/>
                  </a:lnTo>
                  <a:lnTo>
                    <a:pt x="3014" y="2922"/>
                  </a:lnTo>
                  <a:lnTo>
                    <a:pt x="3008" y="2914"/>
                  </a:lnTo>
                  <a:lnTo>
                    <a:pt x="3004" y="2912"/>
                  </a:lnTo>
                  <a:lnTo>
                    <a:pt x="3002" y="2912"/>
                  </a:lnTo>
                  <a:lnTo>
                    <a:pt x="2996" y="2914"/>
                  </a:lnTo>
                  <a:lnTo>
                    <a:pt x="2988" y="2914"/>
                  </a:lnTo>
                  <a:lnTo>
                    <a:pt x="2980" y="2914"/>
                  </a:lnTo>
                  <a:lnTo>
                    <a:pt x="2976" y="2912"/>
                  </a:lnTo>
                  <a:lnTo>
                    <a:pt x="2974" y="2910"/>
                  </a:lnTo>
                  <a:lnTo>
                    <a:pt x="2970" y="2906"/>
                  </a:lnTo>
                  <a:lnTo>
                    <a:pt x="2966" y="2904"/>
                  </a:lnTo>
                  <a:lnTo>
                    <a:pt x="2962" y="2900"/>
                  </a:lnTo>
                  <a:lnTo>
                    <a:pt x="2958" y="2890"/>
                  </a:lnTo>
                  <a:lnTo>
                    <a:pt x="2958" y="2880"/>
                  </a:lnTo>
                  <a:lnTo>
                    <a:pt x="2960" y="2872"/>
                  </a:lnTo>
                  <a:lnTo>
                    <a:pt x="2962" y="2868"/>
                  </a:lnTo>
                  <a:lnTo>
                    <a:pt x="2964" y="2862"/>
                  </a:lnTo>
                  <a:lnTo>
                    <a:pt x="2966" y="2856"/>
                  </a:lnTo>
                  <a:lnTo>
                    <a:pt x="2970" y="2854"/>
                  </a:lnTo>
                  <a:lnTo>
                    <a:pt x="2976" y="2854"/>
                  </a:lnTo>
                  <a:lnTo>
                    <a:pt x="2982" y="2860"/>
                  </a:lnTo>
                  <a:lnTo>
                    <a:pt x="2986" y="2864"/>
                  </a:lnTo>
                  <a:lnTo>
                    <a:pt x="2988" y="2864"/>
                  </a:lnTo>
                  <a:lnTo>
                    <a:pt x="2992" y="2862"/>
                  </a:lnTo>
                  <a:lnTo>
                    <a:pt x="2996" y="2856"/>
                  </a:lnTo>
                  <a:lnTo>
                    <a:pt x="3000" y="2856"/>
                  </a:lnTo>
                  <a:lnTo>
                    <a:pt x="3002" y="2856"/>
                  </a:lnTo>
                  <a:lnTo>
                    <a:pt x="3010" y="2856"/>
                  </a:lnTo>
                  <a:lnTo>
                    <a:pt x="3018" y="2854"/>
                  </a:lnTo>
                  <a:lnTo>
                    <a:pt x="3024" y="2846"/>
                  </a:lnTo>
                  <a:lnTo>
                    <a:pt x="3026" y="2836"/>
                  </a:lnTo>
                  <a:lnTo>
                    <a:pt x="3026" y="2830"/>
                  </a:lnTo>
                  <a:lnTo>
                    <a:pt x="3032" y="2824"/>
                  </a:lnTo>
                  <a:lnTo>
                    <a:pt x="3044" y="2814"/>
                  </a:lnTo>
                  <a:lnTo>
                    <a:pt x="3058" y="2806"/>
                  </a:lnTo>
                  <a:lnTo>
                    <a:pt x="3070" y="2802"/>
                  </a:lnTo>
                  <a:lnTo>
                    <a:pt x="3076" y="2798"/>
                  </a:lnTo>
                  <a:lnTo>
                    <a:pt x="3078" y="2794"/>
                  </a:lnTo>
                  <a:lnTo>
                    <a:pt x="3080" y="2786"/>
                  </a:lnTo>
                  <a:lnTo>
                    <a:pt x="3088" y="2778"/>
                  </a:lnTo>
                  <a:lnTo>
                    <a:pt x="3094" y="2770"/>
                  </a:lnTo>
                  <a:lnTo>
                    <a:pt x="3094" y="2768"/>
                  </a:lnTo>
                  <a:lnTo>
                    <a:pt x="3096" y="2766"/>
                  </a:lnTo>
                  <a:lnTo>
                    <a:pt x="3100" y="2762"/>
                  </a:lnTo>
                  <a:lnTo>
                    <a:pt x="3104" y="2760"/>
                  </a:lnTo>
                  <a:lnTo>
                    <a:pt x="3108" y="2760"/>
                  </a:lnTo>
                  <a:lnTo>
                    <a:pt x="3114" y="2760"/>
                  </a:lnTo>
                  <a:lnTo>
                    <a:pt x="3120" y="2762"/>
                  </a:lnTo>
                  <a:lnTo>
                    <a:pt x="3122" y="2762"/>
                  </a:lnTo>
                  <a:lnTo>
                    <a:pt x="3124" y="2762"/>
                  </a:lnTo>
                  <a:lnTo>
                    <a:pt x="3128" y="2760"/>
                  </a:lnTo>
                  <a:lnTo>
                    <a:pt x="3130" y="2760"/>
                  </a:lnTo>
                  <a:lnTo>
                    <a:pt x="3132" y="2764"/>
                  </a:lnTo>
                  <a:lnTo>
                    <a:pt x="3138" y="2770"/>
                  </a:lnTo>
                  <a:lnTo>
                    <a:pt x="3144" y="2778"/>
                  </a:lnTo>
                  <a:lnTo>
                    <a:pt x="3146" y="2782"/>
                  </a:lnTo>
                  <a:lnTo>
                    <a:pt x="3144" y="2790"/>
                  </a:lnTo>
                  <a:lnTo>
                    <a:pt x="3138" y="2800"/>
                  </a:lnTo>
                  <a:lnTo>
                    <a:pt x="3132" y="2806"/>
                  </a:lnTo>
                  <a:lnTo>
                    <a:pt x="3128" y="2810"/>
                  </a:lnTo>
                  <a:lnTo>
                    <a:pt x="3120" y="2816"/>
                  </a:lnTo>
                  <a:lnTo>
                    <a:pt x="3114" y="2820"/>
                  </a:lnTo>
                  <a:lnTo>
                    <a:pt x="3114" y="2822"/>
                  </a:lnTo>
                  <a:lnTo>
                    <a:pt x="3114" y="2824"/>
                  </a:lnTo>
                  <a:lnTo>
                    <a:pt x="3116" y="2826"/>
                  </a:lnTo>
                  <a:lnTo>
                    <a:pt x="3114" y="2828"/>
                  </a:lnTo>
                  <a:lnTo>
                    <a:pt x="3110" y="2832"/>
                  </a:lnTo>
                  <a:lnTo>
                    <a:pt x="3104" y="2834"/>
                  </a:lnTo>
                  <a:lnTo>
                    <a:pt x="3104" y="2836"/>
                  </a:lnTo>
                  <a:lnTo>
                    <a:pt x="3106" y="2836"/>
                  </a:lnTo>
                  <a:lnTo>
                    <a:pt x="3110" y="2840"/>
                  </a:lnTo>
                  <a:lnTo>
                    <a:pt x="3116" y="2844"/>
                  </a:lnTo>
                  <a:lnTo>
                    <a:pt x="3120" y="2850"/>
                  </a:lnTo>
                  <a:lnTo>
                    <a:pt x="3122" y="2854"/>
                  </a:lnTo>
                  <a:lnTo>
                    <a:pt x="3122" y="2858"/>
                  </a:lnTo>
                  <a:lnTo>
                    <a:pt x="3120" y="2862"/>
                  </a:lnTo>
                  <a:lnTo>
                    <a:pt x="3118" y="2864"/>
                  </a:lnTo>
                  <a:lnTo>
                    <a:pt x="3116" y="2862"/>
                  </a:lnTo>
                  <a:lnTo>
                    <a:pt x="3112" y="2860"/>
                  </a:lnTo>
                  <a:lnTo>
                    <a:pt x="3110" y="2862"/>
                  </a:lnTo>
                  <a:lnTo>
                    <a:pt x="3108" y="2864"/>
                  </a:lnTo>
                  <a:lnTo>
                    <a:pt x="3106" y="2868"/>
                  </a:lnTo>
                  <a:lnTo>
                    <a:pt x="3102" y="2868"/>
                  </a:lnTo>
                  <a:lnTo>
                    <a:pt x="3100" y="2876"/>
                  </a:lnTo>
                  <a:lnTo>
                    <a:pt x="3100" y="2880"/>
                  </a:lnTo>
                  <a:lnTo>
                    <a:pt x="3102" y="2882"/>
                  </a:lnTo>
                  <a:lnTo>
                    <a:pt x="3104" y="2882"/>
                  </a:lnTo>
                  <a:lnTo>
                    <a:pt x="3106" y="2880"/>
                  </a:lnTo>
                  <a:lnTo>
                    <a:pt x="3112" y="2878"/>
                  </a:lnTo>
                  <a:lnTo>
                    <a:pt x="3120" y="2874"/>
                  </a:lnTo>
                  <a:lnTo>
                    <a:pt x="3124" y="2874"/>
                  </a:lnTo>
                  <a:lnTo>
                    <a:pt x="3124" y="2872"/>
                  </a:lnTo>
                  <a:lnTo>
                    <a:pt x="3124" y="2868"/>
                  </a:lnTo>
                  <a:lnTo>
                    <a:pt x="3124" y="2866"/>
                  </a:lnTo>
                  <a:lnTo>
                    <a:pt x="3128" y="2866"/>
                  </a:lnTo>
                  <a:lnTo>
                    <a:pt x="3132" y="2866"/>
                  </a:lnTo>
                  <a:lnTo>
                    <a:pt x="3136" y="2864"/>
                  </a:lnTo>
                  <a:lnTo>
                    <a:pt x="3142" y="2856"/>
                  </a:lnTo>
                  <a:lnTo>
                    <a:pt x="3148" y="2848"/>
                  </a:lnTo>
                  <a:lnTo>
                    <a:pt x="3152" y="2844"/>
                  </a:lnTo>
                  <a:lnTo>
                    <a:pt x="3156" y="2840"/>
                  </a:lnTo>
                  <a:lnTo>
                    <a:pt x="3162" y="2836"/>
                  </a:lnTo>
                  <a:lnTo>
                    <a:pt x="3164" y="2834"/>
                  </a:lnTo>
                  <a:lnTo>
                    <a:pt x="3168" y="2832"/>
                  </a:lnTo>
                  <a:lnTo>
                    <a:pt x="3176" y="2830"/>
                  </a:lnTo>
                  <a:lnTo>
                    <a:pt x="3182" y="2830"/>
                  </a:lnTo>
                  <a:lnTo>
                    <a:pt x="3186" y="2828"/>
                  </a:lnTo>
                  <a:lnTo>
                    <a:pt x="3188" y="2826"/>
                  </a:lnTo>
                  <a:lnTo>
                    <a:pt x="3190" y="2822"/>
                  </a:lnTo>
                  <a:lnTo>
                    <a:pt x="3194" y="2822"/>
                  </a:lnTo>
                  <a:lnTo>
                    <a:pt x="3196" y="2824"/>
                  </a:lnTo>
                  <a:lnTo>
                    <a:pt x="3200" y="2822"/>
                  </a:lnTo>
                  <a:lnTo>
                    <a:pt x="3202" y="2820"/>
                  </a:lnTo>
                  <a:lnTo>
                    <a:pt x="3206" y="2820"/>
                  </a:lnTo>
                  <a:lnTo>
                    <a:pt x="3212" y="2820"/>
                  </a:lnTo>
                  <a:lnTo>
                    <a:pt x="3220" y="2818"/>
                  </a:lnTo>
                  <a:lnTo>
                    <a:pt x="3226" y="2816"/>
                  </a:lnTo>
                  <a:lnTo>
                    <a:pt x="3230" y="2812"/>
                  </a:lnTo>
                  <a:lnTo>
                    <a:pt x="3232" y="2808"/>
                  </a:lnTo>
                  <a:lnTo>
                    <a:pt x="3230" y="2812"/>
                  </a:lnTo>
                  <a:lnTo>
                    <a:pt x="3232" y="2818"/>
                  </a:lnTo>
                  <a:lnTo>
                    <a:pt x="3236" y="2824"/>
                  </a:lnTo>
                  <a:lnTo>
                    <a:pt x="3242" y="2828"/>
                  </a:lnTo>
                  <a:lnTo>
                    <a:pt x="3244" y="2830"/>
                  </a:lnTo>
                  <a:lnTo>
                    <a:pt x="3246" y="2828"/>
                  </a:lnTo>
                  <a:lnTo>
                    <a:pt x="3250" y="2828"/>
                  </a:lnTo>
                  <a:lnTo>
                    <a:pt x="3254" y="2828"/>
                  </a:lnTo>
                  <a:lnTo>
                    <a:pt x="3264" y="2832"/>
                  </a:lnTo>
                  <a:lnTo>
                    <a:pt x="3268" y="2836"/>
                  </a:lnTo>
                  <a:lnTo>
                    <a:pt x="3272" y="2840"/>
                  </a:lnTo>
                  <a:lnTo>
                    <a:pt x="3274" y="2846"/>
                  </a:lnTo>
                  <a:lnTo>
                    <a:pt x="3272" y="2850"/>
                  </a:lnTo>
                  <a:lnTo>
                    <a:pt x="3264" y="2868"/>
                  </a:lnTo>
                  <a:lnTo>
                    <a:pt x="3262" y="2876"/>
                  </a:lnTo>
                  <a:lnTo>
                    <a:pt x="3262" y="2878"/>
                  </a:lnTo>
                  <a:lnTo>
                    <a:pt x="3264" y="2880"/>
                  </a:lnTo>
                  <a:lnTo>
                    <a:pt x="3266" y="2884"/>
                  </a:lnTo>
                  <a:lnTo>
                    <a:pt x="3262" y="2886"/>
                  </a:lnTo>
                  <a:lnTo>
                    <a:pt x="3258" y="2892"/>
                  </a:lnTo>
                  <a:lnTo>
                    <a:pt x="3254" y="2900"/>
                  </a:lnTo>
                  <a:lnTo>
                    <a:pt x="3250" y="2906"/>
                  </a:lnTo>
                  <a:lnTo>
                    <a:pt x="3248" y="2910"/>
                  </a:lnTo>
                  <a:lnTo>
                    <a:pt x="3244" y="2914"/>
                  </a:lnTo>
                  <a:lnTo>
                    <a:pt x="3242" y="2914"/>
                  </a:lnTo>
                  <a:lnTo>
                    <a:pt x="3252" y="2916"/>
                  </a:lnTo>
                  <a:lnTo>
                    <a:pt x="3258" y="2918"/>
                  </a:lnTo>
                  <a:lnTo>
                    <a:pt x="3260" y="2918"/>
                  </a:lnTo>
                  <a:lnTo>
                    <a:pt x="3258" y="2920"/>
                  </a:lnTo>
                  <a:lnTo>
                    <a:pt x="3258" y="2922"/>
                  </a:lnTo>
                  <a:lnTo>
                    <a:pt x="3254" y="2924"/>
                  </a:lnTo>
                  <a:lnTo>
                    <a:pt x="3256" y="2926"/>
                  </a:lnTo>
                  <a:lnTo>
                    <a:pt x="3262" y="2928"/>
                  </a:lnTo>
                  <a:lnTo>
                    <a:pt x="3268" y="2928"/>
                  </a:lnTo>
                  <a:lnTo>
                    <a:pt x="3270" y="2930"/>
                  </a:lnTo>
                  <a:lnTo>
                    <a:pt x="3270" y="2932"/>
                  </a:lnTo>
                  <a:lnTo>
                    <a:pt x="3270" y="2934"/>
                  </a:lnTo>
                  <a:lnTo>
                    <a:pt x="3270" y="2938"/>
                  </a:lnTo>
                  <a:lnTo>
                    <a:pt x="3274" y="2936"/>
                  </a:lnTo>
                  <a:lnTo>
                    <a:pt x="3278" y="2934"/>
                  </a:lnTo>
                  <a:lnTo>
                    <a:pt x="3280" y="2930"/>
                  </a:lnTo>
                  <a:lnTo>
                    <a:pt x="3282" y="2924"/>
                  </a:lnTo>
                  <a:lnTo>
                    <a:pt x="3284" y="2922"/>
                  </a:lnTo>
                  <a:lnTo>
                    <a:pt x="3292" y="2926"/>
                  </a:lnTo>
                  <a:lnTo>
                    <a:pt x="3300" y="2934"/>
                  </a:lnTo>
                  <a:lnTo>
                    <a:pt x="3302" y="2934"/>
                  </a:lnTo>
                  <a:lnTo>
                    <a:pt x="3304" y="2930"/>
                  </a:lnTo>
                  <a:lnTo>
                    <a:pt x="3304" y="2928"/>
                  </a:lnTo>
                  <a:lnTo>
                    <a:pt x="3306" y="2926"/>
                  </a:lnTo>
                  <a:lnTo>
                    <a:pt x="3312" y="2928"/>
                  </a:lnTo>
                  <a:lnTo>
                    <a:pt x="3318" y="2930"/>
                  </a:lnTo>
                  <a:lnTo>
                    <a:pt x="3324" y="2930"/>
                  </a:lnTo>
                  <a:lnTo>
                    <a:pt x="3324" y="2934"/>
                  </a:lnTo>
                  <a:lnTo>
                    <a:pt x="3322" y="2934"/>
                  </a:lnTo>
                  <a:lnTo>
                    <a:pt x="3320" y="2938"/>
                  </a:lnTo>
                  <a:lnTo>
                    <a:pt x="3320" y="2942"/>
                  </a:lnTo>
                  <a:lnTo>
                    <a:pt x="3324" y="2948"/>
                  </a:lnTo>
                  <a:lnTo>
                    <a:pt x="3326" y="2954"/>
                  </a:lnTo>
                  <a:lnTo>
                    <a:pt x="3326" y="2958"/>
                  </a:lnTo>
                  <a:lnTo>
                    <a:pt x="3324" y="2960"/>
                  </a:lnTo>
                  <a:lnTo>
                    <a:pt x="3324" y="2962"/>
                  </a:lnTo>
                  <a:lnTo>
                    <a:pt x="3324" y="2966"/>
                  </a:lnTo>
                  <a:lnTo>
                    <a:pt x="3328" y="2970"/>
                  </a:lnTo>
                  <a:lnTo>
                    <a:pt x="3332" y="2974"/>
                  </a:lnTo>
                  <a:lnTo>
                    <a:pt x="3334" y="2976"/>
                  </a:lnTo>
                  <a:lnTo>
                    <a:pt x="3334" y="2980"/>
                  </a:lnTo>
                  <a:lnTo>
                    <a:pt x="3332" y="2982"/>
                  </a:lnTo>
                  <a:lnTo>
                    <a:pt x="3330" y="2980"/>
                  </a:lnTo>
                  <a:lnTo>
                    <a:pt x="3328" y="2976"/>
                  </a:lnTo>
                  <a:lnTo>
                    <a:pt x="3326" y="2974"/>
                  </a:lnTo>
                  <a:lnTo>
                    <a:pt x="3322" y="2974"/>
                  </a:lnTo>
                  <a:lnTo>
                    <a:pt x="3312" y="2974"/>
                  </a:lnTo>
                  <a:lnTo>
                    <a:pt x="3310" y="2974"/>
                  </a:lnTo>
                  <a:lnTo>
                    <a:pt x="3312" y="2978"/>
                  </a:lnTo>
                  <a:lnTo>
                    <a:pt x="3312" y="2980"/>
                  </a:lnTo>
                  <a:lnTo>
                    <a:pt x="3312" y="2982"/>
                  </a:lnTo>
                  <a:lnTo>
                    <a:pt x="3310" y="2982"/>
                  </a:lnTo>
                  <a:lnTo>
                    <a:pt x="3308" y="2980"/>
                  </a:lnTo>
                  <a:lnTo>
                    <a:pt x="3306" y="2980"/>
                  </a:lnTo>
                  <a:lnTo>
                    <a:pt x="3302" y="2984"/>
                  </a:lnTo>
                  <a:lnTo>
                    <a:pt x="3302" y="2988"/>
                  </a:lnTo>
                  <a:lnTo>
                    <a:pt x="3304" y="2992"/>
                  </a:lnTo>
                  <a:lnTo>
                    <a:pt x="3308" y="2994"/>
                  </a:lnTo>
                  <a:lnTo>
                    <a:pt x="3312" y="2992"/>
                  </a:lnTo>
                  <a:lnTo>
                    <a:pt x="3314" y="2992"/>
                  </a:lnTo>
                  <a:lnTo>
                    <a:pt x="3316" y="2998"/>
                  </a:lnTo>
                  <a:lnTo>
                    <a:pt x="3318" y="3014"/>
                  </a:lnTo>
                  <a:lnTo>
                    <a:pt x="3318" y="3020"/>
                  </a:lnTo>
                  <a:lnTo>
                    <a:pt x="3320" y="3022"/>
                  </a:lnTo>
                  <a:lnTo>
                    <a:pt x="3324" y="3026"/>
                  </a:lnTo>
                  <a:lnTo>
                    <a:pt x="3324" y="3028"/>
                  </a:lnTo>
                  <a:lnTo>
                    <a:pt x="3322" y="3030"/>
                  </a:lnTo>
                  <a:lnTo>
                    <a:pt x="3324" y="3034"/>
                  </a:lnTo>
                  <a:lnTo>
                    <a:pt x="3326" y="3038"/>
                  </a:lnTo>
                  <a:lnTo>
                    <a:pt x="3324" y="3042"/>
                  </a:lnTo>
                  <a:lnTo>
                    <a:pt x="3320" y="3046"/>
                  </a:lnTo>
                  <a:lnTo>
                    <a:pt x="3316" y="3054"/>
                  </a:lnTo>
                  <a:lnTo>
                    <a:pt x="3308" y="3070"/>
                  </a:lnTo>
                  <a:lnTo>
                    <a:pt x="3308" y="3076"/>
                  </a:lnTo>
                  <a:lnTo>
                    <a:pt x="3308" y="3078"/>
                  </a:lnTo>
                  <a:lnTo>
                    <a:pt x="3310" y="3082"/>
                  </a:lnTo>
                  <a:lnTo>
                    <a:pt x="3310" y="3084"/>
                  </a:lnTo>
                  <a:lnTo>
                    <a:pt x="3312" y="3088"/>
                  </a:lnTo>
                  <a:lnTo>
                    <a:pt x="3312" y="3092"/>
                  </a:lnTo>
                  <a:lnTo>
                    <a:pt x="3314" y="3096"/>
                  </a:lnTo>
                  <a:lnTo>
                    <a:pt x="3312" y="3096"/>
                  </a:lnTo>
                  <a:lnTo>
                    <a:pt x="3308" y="3096"/>
                  </a:lnTo>
                  <a:lnTo>
                    <a:pt x="3308" y="3100"/>
                  </a:lnTo>
                  <a:lnTo>
                    <a:pt x="3310" y="3104"/>
                  </a:lnTo>
                  <a:lnTo>
                    <a:pt x="3312" y="3104"/>
                  </a:lnTo>
                  <a:lnTo>
                    <a:pt x="3316" y="3104"/>
                  </a:lnTo>
                  <a:lnTo>
                    <a:pt x="3316" y="3110"/>
                  </a:lnTo>
                  <a:lnTo>
                    <a:pt x="3316" y="3116"/>
                  </a:lnTo>
                  <a:lnTo>
                    <a:pt x="3318" y="3118"/>
                  </a:lnTo>
                  <a:lnTo>
                    <a:pt x="3322" y="3116"/>
                  </a:lnTo>
                  <a:lnTo>
                    <a:pt x="3326" y="3110"/>
                  </a:lnTo>
                  <a:lnTo>
                    <a:pt x="3330" y="3104"/>
                  </a:lnTo>
                  <a:lnTo>
                    <a:pt x="3330" y="3106"/>
                  </a:lnTo>
                  <a:lnTo>
                    <a:pt x="3330" y="3110"/>
                  </a:lnTo>
                  <a:lnTo>
                    <a:pt x="3330" y="3112"/>
                  </a:lnTo>
                  <a:lnTo>
                    <a:pt x="3334" y="3110"/>
                  </a:lnTo>
                  <a:lnTo>
                    <a:pt x="3334" y="3108"/>
                  </a:lnTo>
                  <a:lnTo>
                    <a:pt x="3338" y="3102"/>
                  </a:lnTo>
                  <a:lnTo>
                    <a:pt x="3342" y="3098"/>
                  </a:lnTo>
                  <a:lnTo>
                    <a:pt x="3346" y="3094"/>
                  </a:lnTo>
                  <a:lnTo>
                    <a:pt x="3348" y="3094"/>
                  </a:lnTo>
                  <a:lnTo>
                    <a:pt x="3348" y="3096"/>
                  </a:lnTo>
                  <a:lnTo>
                    <a:pt x="3346" y="3100"/>
                  </a:lnTo>
                  <a:lnTo>
                    <a:pt x="3344" y="3106"/>
                  </a:lnTo>
                  <a:lnTo>
                    <a:pt x="3346" y="3108"/>
                  </a:lnTo>
                  <a:lnTo>
                    <a:pt x="3350" y="3110"/>
                  </a:lnTo>
                  <a:lnTo>
                    <a:pt x="3354" y="3108"/>
                  </a:lnTo>
                  <a:lnTo>
                    <a:pt x="3356" y="3106"/>
                  </a:lnTo>
                  <a:lnTo>
                    <a:pt x="3356" y="3104"/>
                  </a:lnTo>
                  <a:lnTo>
                    <a:pt x="3354" y="3096"/>
                  </a:lnTo>
                  <a:lnTo>
                    <a:pt x="3354" y="3094"/>
                  </a:lnTo>
                  <a:lnTo>
                    <a:pt x="3356" y="3092"/>
                  </a:lnTo>
                  <a:lnTo>
                    <a:pt x="3358" y="3092"/>
                  </a:lnTo>
                  <a:lnTo>
                    <a:pt x="3358" y="3094"/>
                  </a:lnTo>
                  <a:lnTo>
                    <a:pt x="3360" y="3102"/>
                  </a:lnTo>
                  <a:lnTo>
                    <a:pt x="3362" y="3100"/>
                  </a:lnTo>
                  <a:lnTo>
                    <a:pt x="3366" y="3096"/>
                  </a:lnTo>
                  <a:lnTo>
                    <a:pt x="3368" y="3094"/>
                  </a:lnTo>
                  <a:lnTo>
                    <a:pt x="3368" y="3092"/>
                  </a:lnTo>
                  <a:lnTo>
                    <a:pt x="3364" y="3088"/>
                  </a:lnTo>
                  <a:lnTo>
                    <a:pt x="3362" y="3086"/>
                  </a:lnTo>
                  <a:lnTo>
                    <a:pt x="3366" y="3084"/>
                  </a:lnTo>
                  <a:lnTo>
                    <a:pt x="3376" y="3084"/>
                  </a:lnTo>
                  <a:lnTo>
                    <a:pt x="3384" y="3086"/>
                  </a:lnTo>
                  <a:lnTo>
                    <a:pt x="3390" y="3090"/>
                  </a:lnTo>
                  <a:lnTo>
                    <a:pt x="3394" y="3090"/>
                  </a:lnTo>
                  <a:lnTo>
                    <a:pt x="3396" y="3088"/>
                  </a:lnTo>
                  <a:lnTo>
                    <a:pt x="3396" y="3084"/>
                  </a:lnTo>
                  <a:lnTo>
                    <a:pt x="3396" y="3082"/>
                  </a:lnTo>
                  <a:lnTo>
                    <a:pt x="3400" y="3078"/>
                  </a:lnTo>
                  <a:lnTo>
                    <a:pt x="3406" y="3076"/>
                  </a:lnTo>
                  <a:lnTo>
                    <a:pt x="3412" y="3078"/>
                  </a:lnTo>
                  <a:lnTo>
                    <a:pt x="3418" y="3078"/>
                  </a:lnTo>
                  <a:lnTo>
                    <a:pt x="3422" y="3076"/>
                  </a:lnTo>
                  <a:lnTo>
                    <a:pt x="3428" y="3070"/>
                  </a:lnTo>
                  <a:lnTo>
                    <a:pt x="3434" y="3058"/>
                  </a:lnTo>
                  <a:lnTo>
                    <a:pt x="3438" y="3044"/>
                  </a:lnTo>
                  <a:lnTo>
                    <a:pt x="3440" y="3032"/>
                  </a:lnTo>
                  <a:lnTo>
                    <a:pt x="3440" y="3026"/>
                  </a:lnTo>
                  <a:lnTo>
                    <a:pt x="3436" y="3026"/>
                  </a:lnTo>
                  <a:lnTo>
                    <a:pt x="3434" y="3026"/>
                  </a:lnTo>
                  <a:lnTo>
                    <a:pt x="3432" y="3018"/>
                  </a:lnTo>
                  <a:lnTo>
                    <a:pt x="3434" y="3008"/>
                  </a:lnTo>
                  <a:lnTo>
                    <a:pt x="3436" y="3002"/>
                  </a:lnTo>
                  <a:lnTo>
                    <a:pt x="3436" y="2994"/>
                  </a:lnTo>
                  <a:lnTo>
                    <a:pt x="3436" y="2980"/>
                  </a:lnTo>
                  <a:lnTo>
                    <a:pt x="3432" y="2964"/>
                  </a:lnTo>
                  <a:lnTo>
                    <a:pt x="3426" y="2948"/>
                  </a:lnTo>
                  <a:lnTo>
                    <a:pt x="3418" y="2934"/>
                  </a:lnTo>
                  <a:lnTo>
                    <a:pt x="3410" y="2922"/>
                  </a:lnTo>
                  <a:lnTo>
                    <a:pt x="3402" y="2910"/>
                  </a:lnTo>
                  <a:lnTo>
                    <a:pt x="3398" y="2902"/>
                  </a:lnTo>
                  <a:lnTo>
                    <a:pt x="3392" y="2886"/>
                  </a:lnTo>
                  <a:lnTo>
                    <a:pt x="3388" y="2882"/>
                  </a:lnTo>
                  <a:lnTo>
                    <a:pt x="3386" y="2880"/>
                  </a:lnTo>
                  <a:lnTo>
                    <a:pt x="3380" y="2876"/>
                  </a:lnTo>
                  <a:lnTo>
                    <a:pt x="3374" y="2866"/>
                  </a:lnTo>
                  <a:lnTo>
                    <a:pt x="3370" y="2862"/>
                  </a:lnTo>
                  <a:lnTo>
                    <a:pt x="3366" y="2858"/>
                  </a:lnTo>
                  <a:lnTo>
                    <a:pt x="3360" y="2856"/>
                  </a:lnTo>
                  <a:lnTo>
                    <a:pt x="3354" y="2856"/>
                  </a:lnTo>
                  <a:lnTo>
                    <a:pt x="3352" y="2852"/>
                  </a:lnTo>
                  <a:lnTo>
                    <a:pt x="3352" y="2850"/>
                  </a:lnTo>
                  <a:lnTo>
                    <a:pt x="3354" y="2848"/>
                  </a:lnTo>
                  <a:lnTo>
                    <a:pt x="3356" y="2848"/>
                  </a:lnTo>
                  <a:lnTo>
                    <a:pt x="3358" y="2848"/>
                  </a:lnTo>
                  <a:lnTo>
                    <a:pt x="3360" y="2848"/>
                  </a:lnTo>
                  <a:lnTo>
                    <a:pt x="3360" y="2838"/>
                  </a:lnTo>
                  <a:lnTo>
                    <a:pt x="3358" y="2830"/>
                  </a:lnTo>
                  <a:lnTo>
                    <a:pt x="3358" y="2826"/>
                  </a:lnTo>
                  <a:lnTo>
                    <a:pt x="3360" y="2822"/>
                  </a:lnTo>
                  <a:lnTo>
                    <a:pt x="3362" y="2822"/>
                  </a:lnTo>
                  <a:lnTo>
                    <a:pt x="3368" y="2820"/>
                  </a:lnTo>
                  <a:lnTo>
                    <a:pt x="3372" y="2818"/>
                  </a:lnTo>
                  <a:lnTo>
                    <a:pt x="3374" y="2814"/>
                  </a:lnTo>
                  <a:lnTo>
                    <a:pt x="3376" y="2810"/>
                  </a:lnTo>
                  <a:lnTo>
                    <a:pt x="3378" y="2808"/>
                  </a:lnTo>
                  <a:lnTo>
                    <a:pt x="3384" y="2810"/>
                  </a:lnTo>
                  <a:lnTo>
                    <a:pt x="3386" y="2810"/>
                  </a:lnTo>
                  <a:lnTo>
                    <a:pt x="3390" y="2810"/>
                  </a:lnTo>
                  <a:lnTo>
                    <a:pt x="3396" y="2806"/>
                  </a:lnTo>
                  <a:lnTo>
                    <a:pt x="3402" y="2800"/>
                  </a:lnTo>
                  <a:lnTo>
                    <a:pt x="3426" y="2776"/>
                  </a:lnTo>
                  <a:lnTo>
                    <a:pt x="3434" y="2768"/>
                  </a:lnTo>
                  <a:lnTo>
                    <a:pt x="3442" y="2766"/>
                  </a:lnTo>
                  <a:lnTo>
                    <a:pt x="3444" y="2764"/>
                  </a:lnTo>
                  <a:lnTo>
                    <a:pt x="3446" y="2762"/>
                  </a:lnTo>
                  <a:lnTo>
                    <a:pt x="3448" y="2754"/>
                  </a:lnTo>
                  <a:lnTo>
                    <a:pt x="3448" y="2746"/>
                  </a:lnTo>
                  <a:lnTo>
                    <a:pt x="3448" y="2738"/>
                  </a:lnTo>
                  <a:lnTo>
                    <a:pt x="3448" y="2734"/>
                  </a:lnTo>
                  <a:lnTo>
                    <a:pt x="3448" y="2732"/>
                  </a:lnTo>
                  <a:lnTo>
                    <a:pt x="3446" y="2730"/>
                  </a:lnTo>
                  <a:lnTo>
                    <a:pt x="3444" y="2728"/>
                  </a:lnTo>
                  <a:lnTo>
                    <a:pt x="3444" y="2724"/>
                  </a:lnTo>
                  <a:lnTo>
                    <a:pt x="3450" y="2714"/>
                  </a:lnTo>
                  <a:lnTo>
                    <a:pt x="3464" y="2694"/>
                  </a:lnTo>
                  <a:lnTo>
                    <a:pt x="3474" y="2684"/>
                  </a:lnTo>
                  <a:lnTo>
                    <a:pt x="3478" y="2682"/>
                  </a:lnTo>
                  <a:lnTo>
                    <a:pt x="3480" y="2684"/>
                  </a:lnTo>
                  <a:lnTo>
                    <a:pt x="3482" y="2684"/>
                  </a:lnTo>
                  <a:lnTo>
                    <a:pt x="3488" y="2682"/>
                  </a:lnTo>
                  <a:lnTo>
                    <a:pt x="3492" y="2678"/>
                  </a:lnTo>
                  <a:lnTo>
                    <a:pt x="3492" y="2674"/>
                  </a:lnTo>
                  <a:lnTo>
                    <a:pt x="3492" y="2666"/>
                  </a:lnTo>
                  <a:lnTo>
                    <a:pt x="3492" y="2664"/>
                  </a:lnTo>
                  <a:lnTo>
                    <a:pt x="3498" y="2664"/>
                  </a:lnTo>
                  <a:lnTo>
                    <a:pt x="3506" y="2666"/>
                  </a:lnTo>
                  <a:lnTo>
                    <a:pt x="3510" y="2664"/>
                  </a:lnTo>
                  <a:lnTo>
                    <a:pt x="3514" y="2658"/>
                  </a:lnTo>
                  <a:lnTo>
                    <a:pt x="3518" y="2650"/>
                  </a:lnTo>
                  <a:lnTo>
                    <a:pt x="3524" y="2640"/>
                  </a:lnTo>
                  <a:lnTo>
                    <a:pt x="3524" y="2632"/>
                  </a:lnTo>
                  <a:lnTo>
                    <a:pt x="3526" y="2628"/>
                  </a:lnTo>
                  <a:lnTo>
                    <a:pt x="3528" y="2626"/>
                  </a:lnTo>
                  <a:lnTo>
                    <a:pt x="3532" y="2626"/>
                  </a:lnTo>
                  <a:lnTo>
                    <a:pt x="3536" y="2626"/>
                  </a:lnTo>
                  <a:lnTo>
                    <a:pt x="3536" y="2628"/>
                  </a:lnTo>
                  <a:lnTo>
                    <a:pt x="3536" y="2634"/>
                  </a:lnTo>
                  <a:lnTo>
                    <a:pt x="3534" y="2638"/>
                  </a:lnTo>
                  <a:lnTo>
                    <a:pt x="3536" y="2638"/>
                  </a:lnTo>
                  <a:lnTo>
                    <a:pt x="3538" y="2638"/>
                  </a:lnTo>
                  <a:lnTo>
                    <a:pt x="3542" y="2636"/>
                  </a:lnTo>
                  <a:lnTo>
                    <a:pt x="3548" y="2632"/>
                  </a:lnTo>
                  <a:lnTo>
                    <a:pt x="3550" y="2632"/>
                  </a:lnTo>
                  <a:lnTo>
                    <a:pt x="3552" y="2634"/>
                  </a:lnTo>
                  <a:lnTo>
                    <a:pt x="3552" y="2638"/>
                  </a:lnTo>
                  <a:lnTo>
                    <a:pt x="3552" y="2646"/>
                  </a:lnTo>
                  <a:lnTo>
                    <a:pt x="3554" y="2648"/>
                  </a:lnTo>
                  <a:lnTo>
                    <a:pt x="3556" y="2650"/>
                  </a:lnTo>
                  <a:lnTo>
                    <a:pt x="3570" y="2654"/>
                  </a:lnTo>
                  <a:lnTo>
                    <a:pt x="3580" y="2660"/>
                  </a:lnTo>
                  <a:lnTo>
                    <a:pt x="3584" y="2660"/>
                  </a:lnTo>
                  <a:lnTo>
                    <a:pt x="3590" y="2658"/>
                  </a:lnTo>
                  <a:lnTo>
                    <a:pt x="3598" y="2656"/>
                  </a:lnTo>
                  <a:lnTo>
                    <a:pt x="3608" y="2652"/>
                  </a:lnTo>
                  <a:lnTo>
                    <a:pt x="3616" y="2650"/>
                  </a:lnTo>
                  <a:lnTo>
                    <a:pt x="3622" y="2644"/>
                  </a:lnTo>
                  <a:lnTo>
                    <a:pt x="3632" y="2638"/>
                  </a:lnTo>
                  <a:lnTo>
                    <a:pt x="3648" y="2628"/>
                  </a:lnTo>
                  <a:lnTo>
                    <a:pt x="3658" y="2620"/>
                  </a:lnTo>
                  <a:lnTo>
                    <a:pt x="3666" y="2610"/>
                  </a:lnTo>
                  <a:lnTo>
                    <a:pt x="3686" y="2584"/>
                  </a:lnTo>
                  <a:lnTo>
                    <a:pt x="3712" y="2550"/>
                  </a:lnTo>
                  <a:lnTo>
                    <a:pt x="3728" y="2530"/>
                  </a:lnTo>
                  <a:lnTo>
                    <a:pt x="3748" y="2508"/>
                  </a:lnTo>
                  <a:lnTo>
                    <a:pt x="3768" y="2488"/>
                  </a:lnTo>
                  <a:lnTo>
                    <a:pt x="3780" y="2468"/>
                  </a:lnTo>
                  <a:lnTo>
                    <a:pt x="3790" y="2454"/>
                  </a:lnTo>
                  <a:lnTo>
                    <a:pt x="3796" y="2440"/>
                  </a:lnTo>
                  <a:lnTo>
                    <a:pt x="3804" y="2418"/>
                  </a:lnTo>
                  <a:lnTo>
                    <a:pt x="3808" y="2408"/>
                  </a:lnTo>
                  <a:lnTo>
                    <a:pt x="3816" y="2400"/>
                  </a:lnTo>
                  <a:lnTo>
                    <a:pt x="3824" y="2394"/>
                  </a:lnTo>
                  <a:lnTo>
                    <a:pt x="3828" y="2388"/>
                  </a:lnTo>
                  <a:lnTo>
                    <a:pt x="3832" y="2378"/>
                  </a:lnTo>
                  <a:lnTo>
                    <a:pt x="3834" y="2372"/>
                  </a:lnTo>
                  <a:lnTo>
                    <a:pt x="3838" y="2366"/>
                  </a:lnTo>
                  <a:lnTo>
                    <a:pt x="3844" y="2358"/>
                  </a:lnTo>
                  <a:lnTo>
                    <a:pt x="3854" y="2346"/>
                  </a:lnTo>
                  <a:lnTo>
                    <a:pt x="3860" y="2340"/>
                  </a:lnTo>
                  <a:lnTo>
                    <a:pt x="3866" y="2334"/>
                  </a:lnTo>
                  <a:lnTo>
                    <a:pt x="3874" y="2316"/>
                  </a:lnTo>
                  <a:lnTo>
                    <a:pt x="3880" y="2296"/>
                  </a:lnTo>
                  <a:lnTo>
                    <a:pt x="3882" y="2276"/>
                  </a:lnTo>
                  <a:lnTo>
                    <a:pt x="3884" y="2256"/>
                  </a:lnTo>
                  <a:lnTo>
                    <a:pt x="3884" y="2238"/>
                  </a:lnTo>
                  <a:lnTo>
                    <a:pt x="3882" y="2224"/>
                  </a:lnTo>
                  <a:lnTo>
                    <a:pt x="3880" y="2212"/>
                  </a:lnTo>
                  <a:lnTo>
                    <a:pt x="3878" y="2204"/>
                  </a:lnTo>
                  <a:lnTo>
                    <a:pt x="3878" y="2198"/>
                  </a:lnTo>
                  <a:lnTo>
                    <a:pt x="3880" y="2192"/>
                  </a:lnTo>
                  <a:lnTo>
                    <a:pt x="3882" y="2188"/>
                  </a:lnTo>
                  <a:lnTo>
                    <a:pt x="3888" y="2178"/>
                  </a:lnTo>
                  <a:lnTo>
                    <a:pt x="3892" y="2170"/>
                  </a:lnTo>
                  <a:lnTo>
                    <a:pt x="3896" y="2160"/>
                  </a:lnTo>
                  <a:lnTo>
                    <a:pt x="3898" y="2150"/>
                  </a:lnTo>
                  <a:lnTo>
                    <a:pt x="3904" y="2142"/>
                  </a:lnTo>
                  <a:lnTo>
                    <a:pt x="3914" y="2128"/>
                  </a:lnTo>
                  <a:lnTo>
                    <a:pt x="3920" y="2122"/>
                  </a:lnTo>
                  <a:lnTo>
                    <a:pt x="3922" y="2116"/>
                  </a:lnTo>
                  <a:lnTo>
                    <a:pt x="3920" y="2110"/>
                  </a:lnTo>
                  <a:lnTo>
                    <a:pt x="3916" y="2104"/>
                  </a:lnTo>
                  <a:lnTo>
                    <a:pt x="3910" y="2098"/>
                  </a:lnTo>
                  <a:lnTo>
                    <a:pt x="3908" y="2094"/>
                  </a:lnTo>
                  <a:lnTo>
                    <a:pt x="3908" y="2090"/>
                  </a:lnTo>
                  <a:lnTo>
                    <a:pt x="3910" y="2086"/>
                  </a:lnTo>
                  <a:lnTo>
                    <a:pt x="3910" y="2078"/>
                  </a:lnTo>
                  <a:lnTo>
                    <a:pt x="3910" y="2072"/>
                  </a:lnTo>
                  <a:lnTo>
                    <a:pt x="3906" y="2066"/>
                  </a:lnTo>
                  <a:lnTo>
                    <a:pt x="3904" y="2062"/>
                  </a:lnTo>
                  <a:lnTo>
                    <a:pt x="3906" y="2058"/>
                  </a:lnTo>
                  <a:lnTo>
                    <a:pt x="3914" y="2052"/>
                  </a:lnTo>
                  <a:lnTo>
                    <a:pt x="3918" y="2050"/>
                  </a:lnTo>
                  <a:lnTo>
                    <a:pt x="3920" y="2046"/>
                  </a:lnTo>
                  <a:lnTo>
                    <a:pt x="3918" y="2042"/>
                  </a:lnTo>
                  <a:lnTo>
                    <a:pt x="3910" y="2034"/>
                  </a:lnTo>
                  <a:lnTo>
                    <a:pt x="3892" y="2020"/>
                  </a:lnTo>
                  <a:lnTo>
                    <a:pt x="3880" y="2010"/>
                  </a:lnTo>
                  <a:lnTo>
                    <a:pt x="3864" y="1990"/>
                  </a:lnTo>
                  <a:lnTo>
                    <a:pt x="3858" y="1986"/>
                  </a:lnTo>
                  <a:lnTo>
                    <a:pt x="3854" y="1984"/>
                  </a:lnTo>
                  <a:lnTo>
                    <a:pt x="3842" y="1984"/>
                  </a:lnTo>
                  <a:lnTo>
                    <a:pt x="3832" y="1986"/>
                  </a:lnTo>
                  <a:lnTo>
                    <a:pt x="3826" y="1986"/>
                  </a:lnTo>
                  <a:lnTo>
                    <a:pt x="3820" y="1984"/>
                  </a:lnTo>
                  <a:lnTo>
                    <a:pt x="3814" y="1982"/>
                  </a:lnTo>
                  <a:lnTo>
                    <a:pt x="3812" y="1984"/>
                  </a:lnTo>
                  <a:lnTo>
                    <a:pt x="3808" y="1996"/>
                  </a:lnTo>
                  <a:lnTo>
                    <a:pt x="3804" y="2004"/>
                  </a:lnTo>
                  <a:lnTo>
                    <a:pt x="3800" y="2012"/>
                  </a:lnTo>
                  <a:lnTo>
                    <a:pt x="3792" y="2018"/>
                  </a:lnTo>
                  <a:lnTo>
                    <a:pt x="3780" y="2024"/>
                  </a:lnTo>
                  <a:lnTo>
                    <a:pt x="3772" y="2026"/>
                  </a:lnTo>
                  <a:lnTo>
                    <a:pt x="3766" y="2026"/>
                  </a:lnTo>
                  <a:lnTo>
                    <a:pt x="3764" y="2024"/>
                  </a:lnTo>
                  <a:lnTo>
                    <a:pt x="3762" y="2022"/>
                  </a:lnTo>
                  <a:lnTo>
                    <a:pt x="3760" y="2018"/>
                  </a:lnTo>
                  <a:lnTo>
                    <a:pt x="3762" y="2014"/>
                  </a:lnTo>
                  <a:lnTo>
                    <a:pt x="3764" y="2002"/>
                  </a:lnTo>
                  <a:lnTo>
                    <a:pt x="3768" y="1992"/>
                  </a:lnTo>
                  <a:lnTo>
                    <a:pt x="3772" y="1984"/>
                  </a:lnTo>
                  <a:lnTo>
                    <a:pt x="3770" y="1982"/>
                  </a:lnTo>
                  <a:lnTo>
                    <a:pt x="3768" y="1980"/>
                  </a:lnTo>
                  <a:lnTo>
                    <a:pt x="3766" y="1980"/>
                  </a:lnTo>
                  <a:lnTo>
                    <a:pt x="3760" y="1982"/>
                  </a:lnTo>
                  <a:lnTo>
                    <a:pt x="3750" y="1986"/>
                  </a:lnTo>
                  <a:lnTo>
                    <a:pt x="3746" y="1992"/>
                  </a:lnTo>
                  <a:lnTo>
                    <a:pt x="3746" y="1996"/>
                  </a:lnTo>
                  <a:lnTo>
                    <a:pt x="3748" y="2000"/>
                  </a:lnTo>
                  <a:lnTo>
                    <a:pt x="3750" y="2002"/>
                  </a:lnTo>
                  <a:lnTo>
                    <a:pt x="3750" y="2004"/>
                  </a:lnTo>
                  <a:lnTo>
                    <a:pt x="3746" y="2008"/>
                  </a:lnTo>
                  <a:lnTo>
                    <a:pt x="3738" y="2008"/>
                  </a:lnTo>
                  <a:lnTo>
                    <a:pt x="3732" y="2008"/>
                  </a:lnTo>
                  <a:lnTo>
                    <a:pt x="3730" y="2008"/>
                  </a:lnTo>
                  <a:lnTo>
                    <a:pt x="3728" y="2006"/>
                  </a:lnTo>
                  <a:lnTo>
                    <a:pt x="3728" y="2002"/>
                  </a:lnTo>
                  <a:lnTo>
                    <a:pt x="3730" y="1994"/>
                  </a:lnTo>
                  <a:lnTo>
                    <a:pt x="3734" y="1986"/>
                  </a:lnTo>
                  <a:lnTo>
                    <a:pt x="3736" y="1976"/>
                  </a:lnTo>
                  <a:lnTo>
                    <a:pt x="3736" y="1972"/>
                  </a:lnTo>
                  <a:lnTo>
                    <a:pt x="3734" y="1968"/>
                  </a:lnTo>
                  <a:lnTo>
                    <a:pt x="3732" y="1966"/>
                  </a:lnTo>
                  <a:lnTo>
                    <a:pt x="3728" y="1962"/>
                  </a:lnTo>
                  <a:lnTo>
                    <a:pt x="3722" y="1962"/>
                  </a:lnTo>
                  <a:lnTo>
                    <a:pt x="3714" y="1960"/>
                  </a:lnTo>
                  <a:lnTo>
                    <a:pt x="3696" y="1962"/>
                  </a:lnTo>
                  <a:lnTo>
                    <a:pt x="3682" y="1960"/>
                  </a:lnTo>
                  <a:lnTo>
                    <a:pt x="3672" y="1958"/>
                  </a:lnTo>
                  <a:lnTo>
                    <a:pt x="3666" y="1954"/>
                  </a:lnTo>
                  <a:lnTo>
                    <a:pt x="3666" y="1950"/>
                  </a:lnTo>
                  <a:lnTo>
                    <a:pt x="3666" y="1948"/>
                  </a:lnTo>
                  <a:lnTo>
                    <a:pt x="3674" y="1938"/>
                  </a:lnTo>
                  <a:lnTo>
                    <a:pt x="3686" y="1928"/>
                  </a:lnTo>
                  <a:lnTo>
                    <a:pt x="3706" y="1912"/>
                  </a:lnTo>
                  <a:lnTo>
                    <a:pt x="3746" y="1886"/>
                  </a:lnTo>
                  <a:lnTo>
                    <a:pt x="3768" y="1868"/>
                  </a:lnTo>
                  <a:lnTo>
                    <a:pt x="3776" y="1862"/>
                  </a:lnTo>
                  <a:lnTo>
                    <a:pt x="3782" y="1852"/>
                  </a:lnTo>
                  <a:lnTo>
                    <a:pt x="3788" y="1844"/>
                  </a:lnTo>
                  <a:lnTo>
                    <a:pt x="3794" y="1832"/>
                  </a:lnTo>
                  <a:lnTo>
                    <a:pt x="3802" y="1818"/>
                  </a:lnTo>
                  <a:lnTo>
                    <a:pt x="3812" y="1808"/>
                  </a:lnTo>
                  <a:lnTo>
                    <a:pt x="3824" y="1800"/>
                  </a:lnTo>
                  <a:lnTo>
                    <a:pt x="3838" y="1790"/>
                  </a:lnTo>
                  <a:lnTo>
                    <a:pt x="3852" y="1782"/>
                  </a:lnTo>
                  <a:lnTo>
                    <a:pt x="3866" y="1772"/>
                  </a:lnTo>
                  <a:lnTo>
                    <a:pt x="3878" y="1760"/>
                  </a:lnTo>
                  <a:lnTo>
                    <a:pt x="3882" y="1752"/>
                  </a:lnTo>
                  <a:lnTo>
                    <a:pt x="3886" y="1746"/>
                  </a:lnTo>
                  <a:lnTo>
                    <a:pt x="3894" y="1728"/>
                  </a:lnTo>
                  <a:lnTo>
                    <a:pt x="3908" y="1712"/>
                  </a:lnTo>
                  <a:lnTo>
                    <a:pt x="3926" y="1696"/>
                  </a:lnTo>
                  <a:lnTo>
                    <a:pt x="3944" y="1682"/>
                  </a:lnTo>
                  <a:lnTo>
                    <a:pt x="3966" y="1672"/>
                  </a:lnTo>
                  <a:lnTo>
                    <a:pt x="3986" y="1664"/>
                  </a:lnTo>
                  <a:lnTo>
                    <a:pt x="4006" y="1660"/>
                  </a:lnTo>
                  <a:lnTo>
                    <a:pt x="4014" y="1660"/>
                  </a:lnTo>
                  <a:lnTo>
                    <a:pt x="4022" y="1662"/>
                  </a:lnTo>
                  <a:lnTo>
                    <a:pt x="4036" y="1664"/>
                  </a:lnTo>
                  <a:lnTo>
                    <a:pt x="4048" y="1666"/>
                  </a:lnTo>
                  <a:lnTo>
                    <a:pt x="4068" y="1664"/>
                  </a:lnTo>
                  <a:lnTo>
                    <a:pt x="4082" y="1664"/>
                  </a:lnTo>
                  <a:lnTo>
                    <a:pt x="4090" y="1666"/>
                  </a:lnTo>
                  <a:lnTo>
                    <a:pt x="4098" y="1670"/>
                  </a:lnTo>
                  <a:lnTo>
                    <a:pt x="4104" y="1672"/>
                  </a:lnTo>
                  <a:lnTo>
                    <a:pt x="4108" y="1672"/>
                  </a:lnTo>
                  <a:lnTo>
                    <a:pt x="4110" y="1670"/>
                  </a:lnTo>
                  <a:lnTo>
                    <a:pt x="4112" y="1666"/>
                  </a:lnTo>
                  <a:lnTo>
                    <a:pt x="4116" y="1662"/>
                  </a:lnTo>
                  <a:lnTo>
                    <a:pt x="4124" y="1660"/>
                  </a:lnTo>
                  <a:lnTo>
                    <a:pt x="4136" y="1658"/>
                  </a:lnTo>
                  <a:lnTo>
                    <a:pt x="4154" y="1660"/>
                  </a:lnTo>
                  <a:lnTo>
                    <a:pt x="4188" y="1668"/>
                  </a:lnTo>
                  <a:lnTo>
                    <a:pt x="4200" y="1670"/>
                  </a:lnTo>
                  <a:lnTo>
                    <a:pt x="4208" y="1670"/>
                  </a:lnTo>
                  <a:lnTo>
                    <a:pt x="4214" y="1670"/>
                  </a:lnTo>
                  <a:lnTo>
                    <a:pt x="4220" y="1666"/>
                  </a:lnTo>
                  <a:lnTo>
                    <a:pt x="4224" y="1658"/>
                  </a:lnTo>
                  <a:lnTo>
                    <a:pt x="4228" y="1648"/>
                  </a:lnTo>
                  <a:lnTo>
                    <a:pt x="4230" y="1646"/>
                  </a:lnTo>
                  <a:lnTo>
                    <a:pt x="4236" y="1644"/>
                  </a:lnTo>
                  <a:lnTo>
                    <a:pt x="4250" y="1642"/>
                  </a:lnTo>
                  <a:lnTo>
                    <a:pt x="4272" y="1642"/>
                  </a:lnTo>
                  <a:lnTo>
                    <a:pt x="4294" y="1644"/>
                  </a:lnTo>
                  <a:lnTo>
                    <a:pt x="4314" y="1648"/>
                  </a:lnTo>
                  <a:lnTo>
                    <a:pt x="4322" y="1652"/>
                  </a:lnTo>
                  <a:lnTo>
                    <a:pt x="4328" y="1656"/>
                  </a:lnTo>
                  <a:lnTo>
                    <a:pt x="4330" y="1660"/>
                  </a:lnTo>
                  <a:lnTo>
                    <a:pt x="4330" y="1664"/>
                  </a:lnTo>
                  <a:lnTo>
                    <a:pt x="4328" y="1670"/>
                  </a:lnTo>
                  <a:lnTo>
                    <a:pt x="4320" y="1676"/>
                  </a:lnTo>
                  <a:lnTo>
                    <a:pt x="4314" y="1682"/>
                  </a:lnTo>
                  <a:lnTo>
                    <a:pt x="4312" y="1686"/>
                  </a:lnTo>
                  <a:lnTo>
                    <a:pt x="4312" y="1688"/>
                  </a:lnTo>
                  <a:lnTo>
                    <a:pt x="4314" y="1690"/>
                  </a:lnTo>
                  <a:lnTo>
                    <a:pt x="4324" y="1692"/>
                  </a:lnTo>
                  <a:lnTo>
                    <a:pt x="4340" y="1690"/>
                  </a:lnTo>
                  <a:lnTo>
                    <a:pt x="4358" y="1688"/>
                  </a:lnTo>
                  <a:lnTo>
                    <a:pt x="4374" y="1684"/>
                  </a:lnTo>
                  <a:lnTo>
                    <a:pt x="4386" y="1680"/>
                  </a:lnTo>
                  <a:lnTo>
                    <a:pt x="4394" y="1676"/>
                  </a:lnTo>
                  <a:lnTo>
                    <a:pt x="4398" y="1670"/>
                  </a:lnTo>
                  <a:lnTo>
                    <a:pt x="4404" y="1670"/>
                  </a:lnTo>
                  <a:lnTo>
                    <a:pt x="4410" y="1674"/>
                  </a:lnTo>
                  <a:lnTo>
                    <a:pt x="4418" y="1678"/>
                  </a:lnTo>
                  <a:lnTo>
                    <a:pt x="4426" y="1682"/>
                  </a:lnTo>
                  <a:lnTo>
                    <a:pt x="4436" y="1684"/>
                  </a:lnTo>
                  <a:lnTo>
                    <a:pt x="4448" y="1682"/>
                  </a:lnTo>
                  <a:lnTo>
                    <a:pt x="4454" y="1680"/>
                  </a:lnTo>
                  <a:lnTo>
                    <a:pt x="4462" y="1676"/>
                  </a:lnTo>
                  <a:lnTo>
                    <a:pt x="4466" y="1672"/>
                  </a:lnTo>
                  <a:lnTo>
                    <a:pt x="4468" y="1668"/>
                  </a:lnTo>
                  <a:lnTo>
                    <a:pt x="4468" y="1664"/>
                  </a:lnTo>
                  <a:lnTo>
                    <a:pt x="4466" y="1660"/>
                  </a:lnTo>
                  <a:lnTo>
                    <a:pt x="4458" y="1652"/>
                  </a:lnTo>
                  <a:lnTo>
                    <a:pt x="4448" y="1646"/>
                  </a:lnTo>
                  <a:lnTo>
                    <a:pt x="4442" y="1642"/>
                  </a:lnTo>
                  <a:lnTo>
                    <a:pt x="4440" y="1636"/>
                  </a:lnTo>
                  <a:lnTo>
                    <a:pt x="4438" y="1632"/>
                  </a:lnTo>
                  <a:lnTo>
                    <a:pt x="4438" y="1626"/>
                  </a:lnTo>
                  <a:lnTo>
                    <a:pt x="4440" y="1618"/>
                  </a:lnTo>
                  <a:lnTo>
                    <a:pt x="4446" y="1612"/>
                  </a:lnTo>
                  <a:lnTo>
                    <a:pt x="4456" y="1602"/>
                  </a:lnTo>
                  <a:lnTo>
                    <a:pt x="4468" y="1592"/>
                  </a:lnTo>
                  <a:lnTo>
                    <a:pt x="4496" y="1572"/>
                  </a:lnTo>
                  <a:lnTo>
                    <a:pt x="4514" y="1556"/>
                  </a:lnTo>
                  <a:lnTo>
                    <a:pt x="4536" y="1530"/>
                  </a:lnTo>
                  <a:lnTo>
                    <a:pt x="4546" y="1522"/>
                  </a:lnTo>
                  <a:lnTo>
                    <a:pt x="4562" y="1514"/>
                  </a:lnTo>
                  <a:lnTo>
                    <a:pt x="4584" y="1508"/>
                  </a:lnTo>
                  <a:lnTo>
                    <a:pt x="4616" y="1502"/>
                  </a:lnTo>
                  <a:lnTo>
                    <a:pt x="4630" y="1502"/>
                  </a:lnTo>
                  <a:lnTo>
                    <a:pt x="4642" y="1504"/>
                  </a:lnTo>
                  <a:lnTo>
                    <a:pt x="4650" y="1508"/>
                  </a:lnTo>
                  <a:lnTo>
                    <a:pt x="4656" y="1514"/>
                  </a:lnTo>
                  <a:lnTo>
                    <a:pt x="4660" y="1520"/>
                  </a:lnTo>
                  <a:lnTo>
                    <a:pt x="4664" y="1528"/>
                  </a:lnTo>
                  <a:lnTo>
                    <a:pt x="4664" y="1546"/>
                  </a:lnTo>
                  <a:lnTo>
                    <a:pt x="4666" y="1562"/>
                  </a:lnTo>
                  <a:lnTo>
                    <a:pt x="4666" y="1568"/>
                  </a:lnTo>
                  <a:lnTo>
                    <a:pt x="4668" y="1574"/>
                  </a:lnTo>
                  <a:lnTo>
                    <a:pt x="4672" y="1578"/>
                  </a:lnTo>
                  <a:lnTo>
                    <a:pt x="4676" y="1580"/>
                  </a:lnTo>
                  <a:lnTo>
                    <a:pt x="4684" y="1578"/>
                  </a:lnTo>
                  <a:lnTo>
                    <a:pt x="4694" y="1574"/>
                  </a:lnTo>
                  <a:lnTo>
                    <a:pt x="4714" y="1562"/>
                  </a:lnTo>
                  <a:lnTo>
                    <a:pt x="4728" y="1550"/>
                  </a:lnTo>
                  <a:lnTo>
                    <a:pt x="4738" y="1540"/>
                  </a:lnTo>
                  <a:lnTo>
                    <a:pt x="4746" y="1530"/>
                  </a:lnTo>
                  <a:lnTo>
                    <a:pt x="4752" y="1524"/>
                  </a:lnTo>
                  <a:lnTo>
                    <a:pt x="4758" y="1520"/>
                  </a:lnTo>
                  <a:lnTo>
                    <a:pt x="4766" y="1518"/>
                  </a:lnTo>
                  <a:lnTo>
                    <a:pt x="4778" y="1520"/>
                  </a:lnTo>
                  <a:lnTo>
                    <a:pt x="4784" y="1522"/>
                  </a:lnTo>
                  <a:lnTo>
                    <a:pt x="4788" y="1520"/>
                  </a:lnTo>
                  <a:lnTo>
                    <a:pt x="4790" y="1518"/>
                  </a:lnTo>
                  <a:lnTo>
                    <a:pt x="4792" y="1514"/>
                  </a:lnTo>
                  <a:lnTo>
                    <a:pt x="4790" y="1502"/>
                  </a:lnTo>
                  <a:lnTo>
                    <a:pt x="4788" y="1486"/>
                  </a:lnTo>
                  <a:lnTo>
                    <a:pt x="4788" y="1472"/>
                  </a:lnTo>
                  <a:lnTo>
                    <a:pt x="4790" y="1464"/>
                  </a:lnTo>
                  <a:lnTo>
                    <a:pt x="4792" y="1458"/>
                  </a:lnTo>
                  <a:lnTo>
                    <a:pt x="4796" y="1452"/>
                  </a:lnTo>
                  <a:lnTo>
                    <a:pt x="4802" y="1448"/>
                  </a:lnTo>
                  <a:lnTo>
                    <a:pt x="4812" y="1446"/>
                  </a:lnTo>
                  <a:lnTo>
                    <a:pt x="4824" y="1446"/>
                  </a:lnTo>
                  <a:lnTo>
                    <a:pt x="4854" y="1446"/>
                  </a:lnTo>
                  <a:lnTo>
                    <a:pt x="4856" y="1448"/>
                  </a:lnTo>
                  <a:lnTo>
                    <a:pt x="4858" y="1448"/>
                  </a:lnTo>
                  <a:lnTo>
                    <a:pt x="4854" y="1452"/>
                  </a:lnTo>
                  <a:lnTo>
                    <a:pt x="4848" y="1460"/>
                  </a:lnTo>
                  <a:lnTo>
                    <a:pt x="4838" y="1472"/>
                  </a:lnTo>
                  <a:lnTo>
                    <a:pt x="4830" y="1490"/>
                  </a:lnTo>
                  <a:lnTo>
                    <a:pt x="4828" y="1500"/>
                  </a:lnTo>
                  <a:lnTo>
                    <a:pt x="4824" y="1512"/>
                  </a:lnTo>
                  <a:lnTo>
                    <a:pt x="4822" y="1526"/>
                  </a:lnTo>
                  <a:lnTo>
                    <a:pt x="4818" y="1536"/>
                  </a:lnTo>
                  <a:lnTo>
                    <a:pt x="4814" y="1544"/>
                  </a:lnTo>
                  <a:lnTo>
                    <a:pt x="4810" y="1552"/>
                  </a:lnTo>
                  <a:lnTo>
                    <a:pt x="4798" y="1564"/>
                  </a:lnTo>
                  <a:lnTo>
                    <a:pt x="4784" y="1572"/>
                  </a:lnTo>
                  <a:lnTo>
                    <a:pt x="4766" y="1582"/>
                  </a:lnTo>
                  <a:lnTo>
                    <a:pt x="4748" y="1594"/>
                  </a:lnTo>
                  <a:lnTo>
                    <a:pt x="4726" y="1612"/>
                  </a:lnTo>
                  <a:lnTo>
                    <a:pt x="4716" y="1622"/>
                  </a:lnTo>
                  <a:lnTo>
                    <a:pt x="4704" y="1636"/>
                  </a:lnTo>
                  <a:lnTo>
                    <a:pt x="4664" y="1686"/>
                  </a:lnTo>
                  <a:lnTo>
                    <a:pt x="4646" y="1706"/>
                  </a:lnTo>
                  <a:lnTo>
                    <a:pt x="4630" y="1722"/>
                  </a:lnTo>
                  <a:lnTo>
                    <a:pt x="4614" y="1734"/>
                  </a:lnTo>
                  <a:lnTo>
                    <a:pt x="4600" y="1744"/>
                  </a:lnTo>
                  <a:lnTo>
                    <a:pt x="4584" y="1752"/>
                  </a:lnTo>
                  <a:lnTo>
                    <a:pt x="4568" y="1756"/>
                  </a:lnTo>
                  <a:lnTo>
                    <a:pt x="4554" y="1760"/>
                  </a:lnTo>
                  <a:lnTo>
                    <a:pt x="4546" y="1764"/>
                  </a:lnTo>
                  <a:lnTo>
                    <a:pt x="4544" y="1770"/>
                  </a:lnTo>
                  <a:lnTo>
                    <a:pt x="4542" y="1776"/>
                  </a:lnTo>
                  <a:lnTo>
                    <a:pt x="4542" y="1784"/>
                  </a:lnTo>
                  <a:lnTo>
                    <a:pt x="4540" y="1792"/>
                  </a:lnTo>
                  <a:lnTo>
                    <a:pt x="4532" y="1802"/>
                  </a:lnTo>
                  <a:lnTo>
                    <a:pt x="4520" y="1812"/>
                  </a:lnTo>
                  <a:lnTo>
                    <a:pt x="4514" y="1820"/>
                  </a:lnTo>
                  <a:lnTo>
                    <a:pt x="4508" y="1828"/>
                  </a:lnTo>
                  <a:lnTo>
                    <a:pt x="4502" y="1840"/>
                  </a:lnTo>
                  <a:lnTo>
                    <a:pt x="4498" y="1854"/>
                  </a:lnTo>
                  <a:lnTo>
                    <a:pt x="4496" y="1868"/>
                  </a:lnTo>
                  <a:lnTo>
                    <a:pt x="4494" y="1886"/>
                  </a:lnTo>
                  <a:lnTo>
                    <a:pt x="4494" y="1922"/>
                  </a:lnTo>
                  <a:lnTo>
                    <a:pt x="4496" y="1962"/>
                  </a:lnTo>
                  <a:lnTo>
                    <a:pt x="4502" y="2006"/>
                  </a:lnTo>
                  <a:lnTo>
                    <a:pt x="4508" y="2050"/>
                  </a:lnTo>
                  <a:lnTo>
                    <a:pt x="4518" y="2092"/>
                  </a:lnTo>
                  <a:lnTo>
                    <a:pt x="4520" y="2110"/>
                  </a:lnTo>
                  <a:lnTo>
                    <a:pt x="4522" y="2132"/>
                  </a:lnTo>
                  <a:lnTo>
                    <a:pt x="4526" y="2152"/>
                  </a:lnTo>
                  <a:lnTo>
                    <a:pt x="4530" y="2168"/>
                  </a:lnTo>
                  <a:lnTo>
                    <a:pt x="4532" y="2172"/>
                  </a:lnTo>
                  <a:lnTo>
                    <a:pt x="4536" y="2176"/>
                  </a:lnTo>
                  <a:lnTo>
                    <a:pt x="4542" y="2178"/>
                  </a:lnTo>
                  <a:lnTo>
                    <a:pt x="4548" y="2176"/>
                  </a:lnTo>
                  <a:lnTo>
                    <a:pt x="4556" y="2172"/>
                  </a:lnTo>
                  <a:lnTo>
                    <a:pt x="4564" y="2164"/>
                  </a:lnTo>
                  <a:lnTo>
                    <a:pt x="4574" y="2152"/>
                  </a:lnTo>
                  <a:lnTo>
                    <a:pt x="4588" y="2136"/>
                  </a:lnTo>
                  <a:lnTo>
                    <a:pt x="4594" y="2124"/>
                  </a:lnTo>
                  <a:lnTo>
                    <a:pt x="4600" y="2114"/>
                  </a:lnTo>
                  <a:lnTo>
                    <a:pt x="4608" y="2094"/>
                  </a:lnTo>
                  <a:lnTo>
                    <a:pt x="4610" y="2080"/>
                  </a:lnTo>
                  <a:lnTo>
                    <a:pt x="4612" y="2068"/>
                  </a:lnTo>
                  <a:lnTo>
                    <a:pt x="4612" y="2060"/>
                  </a:lnTo>
                  <a:lnTo>
                    <a:pt x="4614" y="2056"/>
                  </a:lnTo>
                  <a:lnTo>
                    <a:pt x="4618" y="2054"/>
                  </a:lnTo>
                  <a:lnTo>
                    <a:pt x="4626" y="2050"/>
                  </a:lnTo>
                  <a:lnTo>
                    <a:pt x="4644" y="2050"/>
                  </a:lnTo>
                  <a:lnTo>
                    <a:pt x="4654" y="2048"/>
                  </a:lnTo>
                  <a:lnTo>
                    <a:pt x="4660" y="2046"/>
                  </a:lnTo>
                  <a:lnTo>
                    <a:pt x="4664" y="2042"/>
                  </a:lnTo>
                  <a:lnTo>
                    <a:pt x="4668" y="2038"/>
                  </a:lnTo>
                  <a:lnTo>
                    <a:pt x="4670" y="2024"/>
                  </a:lnTo>
                  <a:lnTo>
                    <a:pt x="4670" y="2010"/>
                  </a:lnTo>
                  <a:lnTo>
                    <a:pt x="4670" y="1996"/>
                  </a:lnTo>
                  <a:lnTo>
                    <a:pt x="4672" y="1988"/>
                  </a:lnTo>
                  <a:lnTo>
                    <a:pt x="4676" y="1982"/>
                  </a:lnTo>
                  <a:lnTo>
                    <a:pt x="4680" y="1976"/>
                  </a:lnTo>
                  <a:lnTo>
                    <a:pt x="4686" y="1972"/>
                  </a:lnTo>
                  <a:lnTo>
                    <a:pt x="4694" y="1968"/>
                  </a:lnTo>
                  <a:lnTo>
                    <a:pt x="4704" y="1968"/>
                  </a:lnTo>
                  <a:lnTo>
                    <a:pt x="4730" y="1964"/>
                  </a:lnTo>
                  <a:lnTo>
                    <a:pt x="4740" y="1960"/>
                  </a:lnTo>
                  <a:lnTo>
                    <a:pt x="4744" y="1956"/>
                  </a:lnTo>
                  <a:lnTo>
                    <a:pt x="4748" y="1952"/>
                  </a:lnTo>
                  <a:lnTo>
                    <a:pt x="4750" y="1948"/>
                  </a:lnTo>
                  <a:lnTo>
                    <a:pt x="4750" y="1944"/>
                  </a:lnTo>
                  <a:lnTo>
                    <a:pt x="4748" y="1938"/>
                  </a:lnTo>
                  <a:lnTo>
                    <a:pt x="4744" y="1926"/>
                  </a:lnTo>
                  <a:lnTo>
                    <a:pt x="4740" y="1912"/>
                  </a:lnTo>
                  <a:lnTo>
                    <a:pt x="4738" y="1904"/>
                  </a:lnTo>
                  <a:lnTo>
                    <a:pt x="4738" y="1896"/>
                  </a:lnTo>
                  <a:lnTo>
                    <a:pt x="4740" y="1888"/>
                  </a:lnTo>
                  <a:lnTo>
                    <a:pt x="4744" y="1880"/>
                  </a:lnTo>
                  <a:lnTo>
                    <a:pt x="4748" y="1874"/>
                  </a:lnTo>
                  <a:lnTo>
                    <a:pt x="4752" y="1870"/>
                  </a:lnTo>
                  <a:lnTo>
                    <a:pt x="4756" y="1866"/>
                  </a:lnTo>
                  <a:lnTo>
                    <a:pt x="4760" y="1866"/>
                  </a:lnTo>
                  <a:lnTo>
                    <a:pt x="4770" y="1866"/>
                  </a:lnTo>
                  <a:lnTo>
                    <a:pt x="4778" y="1870"/>
                  </a:lnTo>
                  <a:lnTo>
                    <a:pt x="4784" y="1874"/>
                  </a:lnTo>
                  <a:lnTo>
                    <a:pt x="4792" y="1874"/>
                  </a:lnTo>
                  <a:lnTo>
                    <a:pt x="4794" y="1874"/>
                  </a:lnTo>
                  <a:lnTo>
                    <a:pt x="4796" y="1872"/>
                  </a:lnTo>
                  <a:lnTo>
                    <a:pt x="4800" y="1862"/>
                  </a:lnTo>
                  <a:lnTo>
                    <a:pt x="4800" y="1854"/>
                  </a:lnTo>
                  <a:lnTo>
                    <a:pt x="4800" y="1846"/>
                  </a:lnTo>
                  <a:lnTo>
                    <a:pt x="4798" y="1840"/>
                  </a:lnTo>
                  <a:lnTo>
                    <a:pt x="4796" y="1836"/>
                  </a:lnTo>
                  <a:lnTo>
                    <a:pt x="4788" y="1828"/>
                  </a:lnTo>
                  <a:lnTo>
                    <a:pt x="4782" y="1822"/>
                  </a:lnTo>
                  <a:lnTo>
                    <a:pt x="4774" y="1816"/>
                  </a:lnTo>
                  <a:lnTo>
                    <a:pt x="4772" y="1814"/>
                  </a:lnTo>
                  <a:lnTo>
                    <a:pt x="4772" y="1810"/>
                  </a:lnTo>
                  <a:lnTo>
                    <a:pt x="4772" y="1806"/>
                  </a:lnTo>
                  <a:lnTo>
                    <a:pt x="4774" y="1802"/>
                  </a:lnTo>
                  <a:lnTo>
                    <a:pt x="4782" y="1790"/>
                  </a:lnTo>
                  <a:lnTo>
                    <a:pt x="4790" y="1780"/>
                  </a:lnTo>
                  <a:lnTo>
                    <a:pt x="4794" y="1772"/>
                  </a:lnTo>
                  <a:lnTo>
                    <a:pt x="4794" y="1766"/>
                  </a:lnTo>
                  <a:lnTo>
                    <a:pt x="4792" y="1760"/>
                  </a:lnTo>
                  <a:lnTo>
                    <a:pt x="4788" y="1756"/>
                  </a:lnTo>
                  <a:lnTo>
                    <a:pt x="4782" y="1752"/>
                  </a:lnTo>
                  <a:lnTo>
                    <a:pt x="4768" y="1748"/>
                  </a:lnTo>
                  <a:lnTo>
                    <a:pt x="4756" y="1744"/>
                  </a:lnTo>
                  <a:lnTo>
                    <a:pt x="4750" y="1740"/>
                  </a:lnTo>
                  <a:lnTo>
                    <a:pt x="4746" y="1738"/>
                  </a:lnTo>
                  <a:lnTo>
                    <a:pt x="4746" y="1732"/>
                  </a:lnTo>
                  <a:lnTo>
                    <a:pt x="4748" y="1728"/>
                  </a:lnTo>
                  <a:lnTo>
                    <a:pt x="4752" y="1720"/>
                  </a:lnTo>
                  <a:lnTo>
                    <a:pt x="4762" y="1712"/>
                  </a:lnTo>
                  <a:lnTo>
                    <a:pt x="4782" y="1694"/>
                  </a:lnTo>
                  <a:lnTo>
                    <a:pt x="4794" y="1678"/>
                  </a:lnTo>
                  <a:lnTo>
                    <a:pt x="4800" y="1664"/>
                  </a:lnTo>
                  <a:lnTo>
                    <a:pt x="4804" y="1652"/>
                  </a:lnTo>
                  <a:lnTo>
                    <a:pt x="4806" y="1642"/>
                  </a:lnTo>
                  <a:lnTo>
                    <a:pt x="4810" y="1634"/>
                  </a:lnTo>
                  <a:lnTo>
                    <a:pt x="4816" y="1628"/>
                  </a:lnTo>
                  <a:lnTo>
                    <a:pt x="4828" y="1622"/>
                  </a:lnTo>
                  <a:lnTo>
                    <a:pt x="4840" y="1618"/>
                  </a:lnTo>
                  <a:lnTo>
                    <a:pt x="4848" y="1618"/>
                  </a:lnTo>
                  <a:lnTo>
                    <a:pt x="4852" y="1620"/>
                  </a:lnTo>
                  <a:lnTo>
                    <a:pt x="4854" y="1622"/>
                  </a:lnTo>
                  <a:lnTo>
                    <a:pt x="4856" y="1624"/>
                  </a:lnTo>
                  <a:lnTo>
                    <a:pt x="4862" y="1622"/>
                  </a:lnTo>
                  <a:lnTo>
                    <a:pt x="4872" y="1616"/>
                  </a:lnTo>
                  <a:lnTo>
                    <a:pt x="4888" y="1606"/>
                  </a:lnTo>
                  <a:lnTo>
                    <a:pt x="4900" y="1598"/>
                  </a:lnTo>
                  <a:lnTo>
                    <a:pt x="4908" y="1592"/>
                  </a:lnTo>
                  <a:lnTo>
                    <a:pt x="4914" y="1592"/>
                  </a:lnTo>
                  <a:lnTo>
                    <a:pt x="4916" y="1592"/>
                  </a:lnTo>
                  <a:lnTo>
                    <a:pt x="4918" y="1596"/>
                  </a:lnTo>
                  <a:lnTo>
                    <a:pt x="4918" y="1600"/>
                  </a:lnTo>
                  <a:lnTo>
                    <a:pt x="4914" y="1612"/>
                  </a:lnTo>
                  <a:lnTo>
                    <a:pt x="4910" y="1624"/>
                  </a:lnTo>
                  <a:lnTo>
                    <a:pt x="4910" y="1628"/>
                  </a:lnTo>
                  <a:lnTo>
                    <a:pt x="4910" y="1632"/>
                  </a:lnTo>
                  <a:lnTo>
                    <a:pt x="4912" y="1632"/>
                  </a:lnTo>
                  <a:lnTo>
                    <a:pt x="4916" y="1632"/>
                  </a:lnTo>
                  <a:lnTo>
                    <a:pt x="4934" y="1618"/>
                  </a:lnTo>
                  <a:lnTo>
                    <a:pt x="4958" y="1600"/>
                  </a:lnTo>
                  <a:lnTo>
                    <a:pt x="4980" y="1588"/>
                  </a:lnTo>
                  <a:lnTo>
                    <a:pt x="4990" y="1586"/>
                  </a:lnTo>
                  <a:lnTo>
                    <a:pt x="5000" y="1584"/>
                  </a:lnTo>
                  <a:lnTo>
                    <a:pt x="5016" y="1584"/>
                  </a:lnTo>
                  <a:lnTo>
                    <a:pt x="5032" y="1588"/>
                  </a:lnTo>
                  <a:lnTo>
                    <a:pt x="5048" y="1596"/>
                  </a:lnTo>
                  <a:lnTo>
                    <a:pt x="5060" y="1606"/>
                  </a:lnTo>
                  <a:lnTo>
                    <a:pt x="5072" y="1618"/>
                  </a:lnTo>
                  <a:lnTo>
                    <a:pt x="5080" y="1628"/>
                  </a:lnTo>
                  <a:lnTo>
                    <a:pt x="5082" y="1630"/>
                  </a:lnTo>
                  <a:lnTo>
                    <a:pt x="5084" y="1628"/>
                  </a:lnTo>
                  <a:lnTo>
                    <a:pt x="5086" y="1620"/>
                  </a:lnTo>
                  <a:lnTo>
                    <a:pt x="5094" y="1608"/>
                  </a:lnTo>
                  <a:lnTo>
                    <a:pt x="5108" y="1592"/>
                  </a:lnTo>
                  <a:lnTo>
                    <a:pt x="5118" y="1584"/>
                  </a:lnTo>
                  <a:lnTo>
                    <a:pt x="5132" y="1574"/>
                  </a:lnTo>
                  <a:lnTo>
                    <a:pt x="5148" y="1564"/>
                  </a:lnTo>
                  <a:lnTo>
                    <a:pt x="5168" y="1552"/>
                  </a:lnTo>
                  <a:lnTo>
                    <a:pt x="5186" y="1542"/>
                  </a:lnTo>
                  <a:lnTo>
                    <a:pt x="5202" y="1532"/>
                  </a:lnTo>
                  <a:lnTo>
                    <a:pt x="5236" y="1508"/>
                  </a:lnTo>
                  <a:lnTo>
                    <a:pt x="5252" y="1496"/>
                  </a:lnTo>
                  <a:lnTo>
                    <a:pt x="5272" y="1484"/>
                  </a:lnTo>
                  <a:lnTo>
                    <a:pt x="5290" y="1474"/>
                  </a:lnTo>
                  <a:lnTo>
                    <a:pt x="5312" y="1466"/>
                  </a:lnTo>
                  <a:lnTo>
                    <a:pt x="5330" y="1460"/>
                  </a:lnTo>
                  <a:lnTo>
                    <a:pt x="5348" y="1456"/>
                  </a:lnTo>
                  <a:lnTo>
                    <a:pt x="5362" y="1454"/>
                  </a:lnTo>
                  <a:lnTo>
                    <a:pt x="5374" y="1454"/>
                  </a:lnTo>
                  <a:lnTo>
                    <a:pt x="5396" y="1456"/>
                  </a:lnTo>
                  <a:lnTo>
                    <a:pt x="5410" y="1460"/>
                  </a:lnTo>
                  <a:lnTo>
                    <a:pt x="5422" y="1464"/>
                  </a:lnTo>
                  <a:lnTo>
                    <a:pt x="5430" y="1466"/>
                  </a:lnTo>
                  <a:lnTo>
                    <a:pt x="5434" y="1466"/>
                  </a:lnTo>
                  <a:lnTo>
                    <a:pt x="5438" y="1464"/>
                  </a:lnTo>
                  <a:lnTo>
                    <a:pt x="5448" y="1458"/>
                  </a:lnTo>
                  <a:lnTo>
                    <a:pt x="5454" y="1448"/>
                  </a:lnTo>
                  <a:lnTo>
                    <a:pt x="5458" y="1440"/>
                  </a:lnTo>
                  <a:lnTo>
                    <a:pt x="5456" y="1432"/>
                  </a:lnTo>
                  <a:lnTo>
                    <a:pt x="5450" y="1422"/>
                  </a:lnTo>
                  <a:lnTo>
                    <a:pt x="5436" y="1400"/>
                  </a:lnTo>
                  <a:lnTo>
                    <a:pt x="5428" y="1386"/>
                  </a:lnTo>
                  <a:lnTo>
                    <a:pt x="5420" y="1368"/>
                  </a:lnTo>
                  <a:lnTo>
                    <a:pt x="5412" y="1348"/>
                  </a:lnTo>
                  <a:lnTo>
                    <a:pt x="5404" y="1338"/>
                  </a:lnTo>
                  <a:lnTo>
                    <a:pt x="5400" y="1336"/>
                  </a:lnTo>
                  <a:lnTo>
                    <a:pt x="5396" y="1336"/>
                  </a:lnTo>
                  <a:lnTo>
                    <a:pt x="5390" y="1336"/>
                  </a:lnTo>
                  <a:lnTo>
                    <a:pt x="5384" y="1338"/>
                  </a:lnTo>
                  <a:lnTo>
                    <a:pt x="5378" y="1338"/>
                  </a:lnTo>
                  <a:lnTo>
                    <a:pt x="5376" y="1336"/>
                  </a:lnTo>
                  <a:lnTo>
                    <a:pt x="5374" y="1334"/>
                  </a:lnTo>
                  <a:lnTo>
                    <a:pt x="5368" y="1322"/>
                  </a:lnTo>
                  <a:lnTo>
                    <a:pt x="5368" y="1316"/>
                  </a:lnTo>
                  <a:lnTo>
                    <a:pt x="5368" y="1312"/>
                  </a:lnTo>
                  <a:lnTo>
                    <a:pt x="5372" y="1310"/>
                  </a:lnTo>
                  <a:lnTo>
                    <a:pt x="5374" y="1308"/>
                  </a:lnTo>
                  <a:lnTo>
                    <a:pt x="5384" y="1308"/>
                  </a:lnTo>
                  <a:lnTo>
                    <a:pt x="5398" y="1310"/>
                  </a:lnTo>
                  <a:lnTo>
                    <a:pt x="5414" y="1312"/>
                  </a:lnTo>
                  <a:lnTo>
                    <a:pt x="5432" y="1310"/>
                  </a:lnTo>
                  <a:lnTo>
                    <a:pt x="5440" y="1308"/>
                  </a:lnTo>
                  <a:lnTo>
                    <a:pt x="5448" y="1304"/>
                  </a:lnTo>
                  <a:lnTo>
                    <a:pt x="5454" y="1298"/>
                  </a:lnTo>
                  <a:lnTo>
                    <a:pt x="5462" y="1292"/>
                  </a:lnTo>
                  <a:lnTo>
                    <a:pt x="5478" y="1272"/>
                  </a:lnTo>
                  <a:lnTo>
                    <a:pt x="5478" y="1258"/>
                  </a:lnTo>
                  <a:lnTo>
                    <a:pt x="5486" y="1248"/>
                  </a:lnTo>
                  <a:lnTo>
                    <a:pt x="5490" y="1244"/>
                  </a:lnTo>
                  <a:lnTo>
                    <a:pt x="5490" y="1240"/>
                  </a:lnTo>
                  <a:lnTo>
                    <a:pt x="5490" y="1236"/>
                  </a:lnTo>
                  <a:lnTo>
                    <a:pt x="5488" y="1232"/>
                  </a:lnTo>
                  <a:lnTo>
                    <a:pt x="5480" y="1220"/>
                  </a:lnTo>
                  <a:lnTo>
                    <a:pt x="5478" y="1216"/>
                  </a:lnTo>
                  <a:lnTo>
                    <a:pt x="5478" y="1204"/>
                  </a:lnTo>
                  <a:lnTo>
                    <a:pt x="5480" y="1200"/>
                  </a:lnTo>
                  <a:lnTo>
                    <a:pt x="5484" y="1200"/>
                  </a:lnTo>
                  <a:lnTo>
                    <a:pt x="5490" y="1200"/>
                  </a:lnTo>
                  <a:lnTo>
                    <a:pt x="5496" y="1202"/>
                  </a:lnTo>
                  <a:lnTo>
                    <a:pt x="5502" y="1206"/>
                  </a:lnTo>
                  <a:lnTo>
                    <a:pt x="5510" y="1212"/>
                  </a:lnTo>
                  <a:lnTo>
                    <a:pt x="5516" y="1220"/>
                  </a:lnTo>
                  <a:lnTo>
                    <a:pt x="5520" y="1230"/>
                  </a:lnTo>
                  <a:lnTo>
                    <a:pt x="5524" y="1238"/>
                  </a:lnTo>
                  <a:lnTo>
                    <a:pt x="5530" y="1242"/>
                  </a:lnTo>
                  <a:lnTo>
                    <a:pt x="5536" y="1244"/>
                  </a:lnTo>
                  <a:lnTo>
                    <a:pt x="5542" y="1246"/>
                  </a:lnTo>
                  <a:lnTo>
                    <a:pt x="5556" y="1244"/>
                  </a:lnTo>
                  <a:lnTo>
                    <a:pt x="5572" y="1242"/>
                  </a:lnTo>
                  <a:lnTo>
                    <a:pt x="5588" y="1238"/>
                  </a:lnTo>
                  <a:lnTo>
                    <a:pt x="5596" y="1238"/>
                  </a:lnTo>
                  <a:lnTo>
                    <a:pt x="5604" y="1238"/>
                  </a:lnTo>
                  <a:lnTo>
                    <a:pt x="5610" y="1242"/>
                  </a:lnTo>
                  <a:lnTo>
                    <a:pt x="5618" y="1246"/>
                  </a:lnTo>
                  <a:lnTo>
                    <a:pt x="5624" y="1252"/>
                  </a:lnTo>
                  <a:lnTo>
                    <a:pt x="5628" y="1262"/>
                  </a:lnTo>
                  <a:lnTo>
                    <a:pt x="5638" y="1278"/>
                  </a:lnTo>
                  <a:lnTo>
                    <a:pt x="5648" y="1290"/>
                  </a:lnTo>
                  <a:lnTo>
                    <a:pt x="5656" y="1294"/>
                  </a:lnTo>
                  <a:lnTo>
                    <a:pt x="5664" y="1296"/>
                  </a:lnTo>
                  <a:lnTo>
                    <a:pt x="5674" y="1298"/>
                  </a:lnTo>
                  <a:lnTo>
                    <a:pt x="5682" y="1298"/>
                  </a:lnTo>
                  <a:lnTo>
                    <a:pt x="5690" y="1302"/>
                  </a:lnTo>
                  <a:lnTo>
                    <a:pt x="5696" y="1310"/>
                  </a:lnTo>
                  <a:lnTo>
                    <a:pt x="5700" y="1316"/>
                  </a:lnTo>
                  <a:lnTo>
                    <a:pt x="5706" y="1320"/>
                  </a:lnTo>
                  <a:lnTo>
                    <a:pt x="5710" y="1322"/>
                  </a:lnTo>
                  <a:lnTo>
                    <a:pt x="5716" y="1322"/>
                  </a:lnTo>
                  <a:lnTo>
                    <a:pt x="5726" y="1322"/>
                  </a:lnTo>
                  <a:lnTo>
                    <a:pt x="5738" y="1318"/>
                  </a:lnTo>
                  <a:lnTo>
                    <a:pt x="5748" y="1310"/>
                  </a:lnTo>
                  <a:lnTo>
                    <a:pt x="5756" y="1298"/>
                  </a:lnTo>
                  <a:lnTo>
                    <a:pt x="5764" y="1284"/>
                  </a:lnTo>
                  <a:lnTo>
                    <a:pt x="5766" y="1268"/>
                  </a:lnTo>
                  <a:lnTo>
                    <a:pt x="5768" y="1254"/>
                  </a:lnTo>
                  <a:lnTo>
                    <a:pt x="5770" y="1248"/>
                  </a:lnTo>
                  <a:lnTo>
                    <a:pt x="5774" y="1246"/>
                  </a:lnTo>
                  <a:lnTo>
                    <a:pt x="5782" y="1240"/>
                  </a:lnTo>
                  <a:lnTo>
                    <a:pt x="5792" y="1238"/>
                  </a:lnTo>
                  <a:lnTo>
                    <a:pt x="5802" y="1238"/>
                  </a:lnTo>
                  <a:lnTo>
                    <a:pt x="5816" y="1234"/>
                  </a:lnTo>
                  <a:lnTo>
                    <a:pt x="5830" y="1228"/>
                  </a:lnTo>
                  <a:lnTo>
                    <a:pt x="5836" y="1222"/>
                  </a:lnTo>
                  <a:lnTo>
                    <a:pt x="5844" y="1216"/>
                  </a:lnTo>
                  <a:lnTo>
                    <a:pt x="5854" y="1204"/>
                  </a:lnTo>
                  <a:lnTo>
                    <a:pt x="5856" y="1198"/>
                  </a:lnTo>
                  <a:lnTo>
                    <a:pt x="5856" y="1196"/>
                  </a:lnTo>
                  <a:lnTo>
                    <a:pt x="5854" y="1194"/>
                  </a:lnTo>
                  <a:lnTo>
                    <a:pt x="5846" y="1194"/>
                  </a:lnTo>
                  <a:lnTo>
                    <a:pt x="5836" y="1192"/>
                  </a:lnTo>
                  <a:lnTo>
                    <a:pt x="5824" y="1188"/>
                  </a:lnTo>
                  <a:lnTo>
                    <a:pt x="5816" y="1184"/>
                  </a:lnTo>
                  <a:lnTo>
                    <a:pt x="5810" y="1180"/>
                  </a:lnTo>
                  <a:lnTo>
                    <a:pt x="5804" y="1174"/>
                  </a:lnTo>
                  <a:lnTo>
                    <a:pt x="5798" y="1166"/>
                  </a:lnTo>
                  <a:close/>
                </a:path>
              </a:pathLst>
            </a:custGeom>
            <a:grpFill/>
            <a:ln w="6350">
              <a:noFill/>
              <a:round/>
              <a:headEnd/>
              <a:tailEnd/>
            </a:ln>
          </p:spPr>
          <p:txBody>
            <a:bodyPr/>
            <a:lstStyle/>
            <a:p>
              <a:endParaRPr lang="en-US" sz="2800" b="1" dirty="0"/>
            </a:p>
          </p:txBody>
        </p:sp>
        <p:sp>
          <p:nvSpPr>
            <p:cNvPr id="38" name="Freeform 6004">
              <a:extLst>
                <a:ext uri="{FF2B5EF4-FFF2-40B4-BE49-F238E27FC236}">
                  <a16:creationId xmlns:a16="http://schemas.microsoft.com/office/drawing/2014/main" id="{6EA53D27-A76A-4842-B2D8-159938691933}"/>
                </a:ext>
              </a:extLst>
            </p:cNvPr>
            <p:cNvSpPr>
              <a:spLocks/>
            </p:cNvSpPr>
            <p:nvPr/>
          </p:nvSpPr>
          <p:spPr bwMode="auto">
            <a:xfrm>
              <a:off x="3537599" y="3604608"/>
              <a:ext cx="5080" cy="6349"/>
            </a:xfrm>
            <a:custGeom>
              <a:avLst/>
              <a:gdLst/>
              <a:ahLst/>
              <a:cxnLst>
                <a:cxn ang="0">
                  <a:pos x="0" y="6"/>
                </a:cxn>
                <a:cxn ang="0">
                  <a:pos x="0" y="6"/>
                </a:cxn>
                <a:cxn ang="0">
                  <a:pos x="2" y="8"/>
                </a:cxn>
                <a:cxn ang="0">
                  <a:pos x="4" y="10"/>
                </a:cxn>
                <a:cxn ang="0">
                  <a:pos x="6" y="8"/>
                </a:cxn>
                <a:cxn ang="0">
                  <a:pos x="8" y="4"/>
                </a:cxn>
                <a:cxn ang="0">
                  <a:pos x="8" y="4"/>
                </a:cxn>
                <a:cxn ang="0">
                  <a:pos x="6" y="0"/>
                </a:cxn>
                <a:cxn ang="0">
                  <a:pos x="4" y="2"/>
                </a:cxn>
                <a:cxn ang="0">
                  <a:pos x="2" y="4"/>
                </a:cxn>
                <a:cxn ang="0">
                  <a:pos x="0" y="6"/>
                </a:cxn>
                <a:cxn ang="0">
                  <a:pos x="0" y="6"/>
                </a:cxn>
              </a:cxnLst>
              <a:rect l="0" t="0" r="r" b="b"/>
              <a:pathLst>
                <a:path w="8" h="10">
                  <a:moveTo>
                    <a:pt x="0" y="6"/>
                  </a:moveTo>
                  <a:lnTo>
                    <a:pt x="0" y="6"/>
                  </a:lnTo>
                  <a:lnTo>
                    <a:pt x="2" y="8"/>
                  </a:lnTo>
                  <a:lnTo>
                    <a:pt x="4" y="10"/>
                  </a:lnTo>
                  <a:lnTo>
                    <a:pt x="6" y="8"/>
                  </a:lnTo>
                  <a:lnTo>
                    <a:pt x="8" y="4"/>
                  </a:lnTo>
                  <a:lnTo>
                    <a:pt x="8" y="4"/>
                  </a:lnTo>
                  <a:lnTo>
                    <a:pt x="6" y="0"/>
                  </a:lnTo>
                  <a:lnTo>
                    <a:pt x="4" y="2"/>
                  </a:lnTo>
                  <a:lnTo>
                    <a:pt x="2" y="4"/>
                  </a:lnTo>
                  <a:lnTo>
                    <a:pt x="0" y="6"/>
                  </a:lnTo>
                  <a:lnTo>
                    <a:pt x="0" y="6"/>
                  </a:lnTo>
                  <a:close/>
                </a:path>
              </a:pathLst>
            </a:custGeom>
            <a:grpFill/>
            <a:ln w="6350">
              <a:noFill/>
              <a:round/>
              <a:headEnd/>
              <a:tailEnd/>
            </a:ln>
          </p:spPr>
          <p:txBody>
            <a:bodyPr/>
            <a:lstStyle/>
            <a:p>
              <a:endParaRPr lang="da-DK" sz="2800" b="1"/>
            </a:p>
          </p:txBody>
        </p:sp>
        <p:grpSp>
          <p:nvGrpSpPr>
            <p:cNvPr id="41" name="Gruppe 224">
              <a:extLst>
                <a:ext uri="{FF2B5EF4-FFF2-40B4-BE49-F238E27FC236}">
                  <a16:creationId xmlns:a16="http://schemas.microsoft.com/office/drawing/2014/main" id="{26473A32-9978-41F1-8709-3F6F8C950EEE}"/>
                </a:ext>
              </a:extLst>
            </p:cNvPr>
            <p:cNvGrpSpPr/>
            <p:nvPr/>
          </p:nvGrpSpPr>
          <p:grpSpPr bwMode="auto">
            <a:xfrm>
              <a:off x="61885" y="752495"/>
              <a:ext cx="3986212" cy="2951162"/>
              <a:chOff x="93979" y="699453"/>
              <a:chExt cx="3986530" cy="2951480"/>
            </a:xfrm>
            <a:grpFill/>
          </p:grpSpPr>
          <p:sp>
            <p:nvSpPr>
              <p:cNvPr id="51" name="Freeform 6016">
                <a:extLst>
                  <a:ext uri="{FF2B5EF4-FFF2-40B4-BE49-F238E27FC236}">
                    <a16:creationId xmlns:a16="http://schemas.microsoft.com/office/drawing/2014/main" id="{4ABCF133-7CCE-40C4-9A93-A7F46BDCEFAD}"/>
                  </a:ext>
                </a:extLst>
              </p:cNvPr>
              <p:cNvSpPr>
                <a:spLocks/>
              </p:cNvSpPr>
              <p:nvPr/>
            </p:nvSpPr>
            <p:spPr bwMode="auto">
              <a:xfrm>
                <a:off x="1352550" y="1099503"/>
                <a:ext cx="40640" cy="26670"/>
              </a:xfrm>
              <a:custGeom>
                <a:avLst/>
                <a:gdLst/>
                <a:ahLst/>
                <a:cxnLst>
                  <a:cxn ang="0">
                    <a:pos x="54" y="2"/>
                  </a:cxn>
                  <a:cxn ang="0">
                    <a:pos x="54" y="2"/>
                  </a:cxn>
                  <a:cxn ang="0">
                    <a:pos x="32" y="12"/>
                  </a:cxn>
                  <a:cxn ang="0">
                    <a:pos x="10" y="24"/>
                  </a:cxn>
                  <a:cxn ang="0">
                    <a:pos x="4" y="30"/>
                  </a:cxn>
                  <a:cxn ang="0">
                    <a:pos x="0" y="36"/>
                  </a:cxn>
                  <a:cxn ang="0">
                    <a:pos x="2" y="38"/>
                  </a:cxn>
                  <a:cxn ang="0">
                    <a:pos x="4" y="40"/>
                  </a:cxn>
                  <a:cxn ang="0">
                    <a:pos x="16" y="42"/>
                  </a:cxn>
                  <a:cxn ang="0">
                    <a:pos x="16" y="42"/>
                  </a:cxn>
                  <a:cxn ang="0">
                    <a:pos x="22" y="42"/>
                  </a:cxn>
                  <a:cxn ang="0">
                    <a:pos x="28" y="42"/>
                  </a:cxn>
                  <a:cxn ang="0">
                    <a:pos x="40" y="36"/>
                  </a:cxn>
                  <a:cxn ang="0">
                    <a:pos x="50" y="28"/>
                  </a:cxn>
                  <a:cxn ang="0">
                    <a:pos x="58" y="20"/>
                  </a:cxn>
                  <a:cxn ang="0">
                    <a:pos x="62" y="10"/>
                  </a:cxn>
                  <a:cxn ang="0">
                    <a:pos x="64" y="4"/>
                  </a:cxn>
                  <a:cxn ang="0">
                    <a:pos x="64" y="2"/>
                  </a:cxn>
                  <a:cxn ang="0">
                    <a:pos x="62" y="0"/>
                  </a:cxn>
                  <a:cxn ang="0">
                    <a:pos x="58" y="0"/>
                  </a:cxn>
                  <a:cxn ang="0">
                    <a:pos x="54" y="2"/>
                  </a:cxn>
                  <a:cxn ang="0">
                    <a:pos x="54" y="2"/>
                  </a:cxn>
                </a:cxnLst>
                <a:rect l="0" t="0" r="r" b="b"/>
                <a:pathLst>
                  <a:path w="64" h="42">
                    <a:moveTo>
                      <a:pt x="54" y="2"/>
                    </a:moveTo>
                    <a:lnTo>
                      <a:pt x="54" y="2"/>
                    </a:lnTo>
                    <a:lnTo>
                      <a:pt x="32" y="12"/>
                    </a:lnTo>
                    <a:lnTo>
                      <a:pt x="10" y="24"/>
                    </a:lnTo>
                    <a:lnTo>
                      <a:pt x="4" y="30"/>
                    </a:lnTo>
                    <a:lnTo>
                      <a:pt x="0" y="36"/>
                    </a:lnTo>
                    <a:lnTo>
                      <a:pt x="2" y="38"/>
                    </a:lnTo>
                    <a:lnTo>
                      <a:pt x="4" y="40"/>
                    </a:lnTo>
                    <a:lnTo>
                      <a:pt x="16" y="42"/>
                    </a:lnTo>
                    <a:lnTo>
                      <a:pt x="16" y="42"/>
                    </a:lnTo>
                    <a:lnTo>
                      <a:pt x="22" y="42"/>
                    </a:lnTo>
                    <a:lnTo>
                      <a:pt x="28" y="42"/>
                    </a:lnTo>
                    <a:lnTo>
                      <a:pt x="40" y="36"/>
                    </a:lnTo>
                    <a:lnTo>
                      <a:pt x="50" y="28"/>
                    </a:lnTo>
                    <a:lnTo>
                      <a:pt x="58" y="20"/>
                    </a:lnTo>
                    <a:lnTo>
                      <a:pt x="62" y="10"/>
                    </a:lnTo>
                    <a:lnTo>
                      <a:pt x="64" y="4"/>
                    </a:lnTo>
                    <a:lnTo>
                      <a:pt x="64" y="2"/>
                    </a:lnTo>
                    <a:lnTo>
                      <a:pt x="62" y="0"/>
                    </a:lnTo>
                    <a:lnTo>
                      <a:pt x="58" y="0"/>
                    </a:lnTo>
                    <a:lnTo>
                      <a:pt x="54" y="2"/>
                    </a:lnTo>
                    <a:lnTo>
                      <a:pt x="54" y="2"/>
                    </a:lnTo>
                    <a:close/>
                  </a:path>
                </a:pathLst>
              </a:custGeom>
              <a:grpFill/>
              <a:ln w="6350">
                <a:noFill/>
                <a:round/>
                <a:headEnd/>
                <a:tailEnd/>
              </a:ln>
            </p:spPr>
            <p:txBody>
              <a:bodyPr/>
              <a:lstStyle/>
              <a:p>
                <a:endParaRPr lang="da-DK" sz="2800" b="1"/>
              </a:p>
            </p:txBody>
          </p:sp>
          <p:sp>
            <p:nvSpPr>
              <p:cNvPr id="55" name="Freeform 6017">
                <a:extLst>
                  <a:ext uri="{FF2B5EF4-FFF2-40B4-BE49-F238E27FC236}">
                    <a16:creationId xmlns:a16="http://schemas.microsoft.com/office/drawing/2014/main" id="{AEC0B4E1-5FB4-4A10-95C2-C6B4E247EA2B}"/>
                  </a:ext>
                </a:extLst>
              </p:cNvPr>
              <p:cNvSpPr>
                <a:spLocks/>
              </p:cNvSpPr>
              <p:nvPr/>
            </p:nvSpPr>
            <p:spPr bwMode="auto">
              <a:xfrm>
                <a:off x="1184910" y="1173163"/>
                <a:ext cx="270510" cy="165100"/>
              </a:xfrm>
              <a:custGeom>
                <a:avLst/>
                <a:gdLst/>
                <a:ahLst/>
                <a:cxnLst>
                  <a:cxn ang="0">
                    <a:pos x="20" y="198"/>
                  </a:cxn>
                  <a:cxn ang="0">
                    <a:pos x="68" y="214"/>
                  </a:cxn>
                  <a:cxn ang="0">
                    <a:pos x="92" y="232"/>
                  </a:cxn>
                  <a:cxn ang="0">
                    <a:pos x="106" y="256"/>
                  </a:cxn>
                  <a:cxn ang="0">
                    <a:pos x="116" y="260"/>
                  </a:cxn>
                  <a:cxn ang="0">
                    <a:pos x="146" y="248"/>
                  </a:cxn>
                  <a:cxn ang="0">
                    <a:pos x="168" y="236"/>
                  </a:cxn>
                  <a:cxn ang="0">
                    <a:pos x="184" y="238"/>
                  </a:cxn>
                  <a:cxn ang="0">
                    <a:pos x="208" y="232"/>
                  </a:cxn>
                  <a:cxn ang="0">
                    <a:pos x="216" y="226"/>
                  </a:cxn>
                  <a:cxn ang="0">
                    <a:pos x="224" y="200"/>
                  </a:cxn>
                  <a:cxn ang="0">
                    <a:pos x="232" y="178"/>
                  </a:cxn>
                  <a:cxn ang="0">
                    <a:pos x="254" y="172"/>
                  </a:cxn>
                  <a:cxn ang="0">
                    <a:pos x="266" y="158"/>
                  </a:cxn>
                  <a:cxn ang="0">
                    <a:pos x="280" y="140"/>
                  </a:cxn>
                  <a:cxn ang="0">
                    <a:pos x="322" y="124"/>
                  </a:cxn>
                  <a:cxn ang="0">
                    <a:pos x="392" y="94"/>
                  </a:cxn>
                  <a:cxn ang="0">
                    <a:pos x="418" y="86"/>
                  </a:cxn>
                  <a:cxn ang="0">
                    <a:pos x="424" y="72"/>
                  </a:cxn>
                  <a:cxn ang="0">
                    <a:pos x="408" y="64"/>
                  </a:cxn>
                  <a:cxn ang="0">
                    <a:pos x="370" y="40"/>
                  </a:cxn>
                  <a:cxn ang="0">
                    <a:pos x="334" y="22"/>
                  </a:cxn>
                  <a:cxn ang="0">
                    <a:pos x="302" y="22"/>
                  </a:cxn>
                  <a:cxn ang="0">
                    <a:pos x="284" y="30"/>
                  </a:cxn>
                  <a:cxn ang="0">
                    <a:pos x="276" y="40"/>
                  </a:cxn>
                  <a:cxn ang="0">
                    <a:pos x="272" y="36"/>
                  </a:cxn>
                  <a:cxn ang="0">
                    <a:pos x="268" y="26"/>
                  </a:cxn>
                  <a:cxn ang="0">
                    <a:pos x="260" y="26"/>
                  </a:cxn>
                  <a:cxn ang="0">
                    <a:pos x="234" y="22"/>
                  </a:cxn>
                  <a:cxn ang="0">
                    <a:pos x="192" y="2"/>
                  </a:cxn>
                  <a:cxn ang="0">
                    <a:pos x="168" y="0"/>
                  </a:cxn>
                  <a:cxn ang="0">
                    <a:pos x="138" y="6"/>
                  </a:cxn>
                  <a:cxn ang="0">
                    <a:pos x="54" y="16"/>
                  </a:cxn>
                  <a:cxn ang="0">
                    <a:pos x="50" y="20"/>
                  </a:cxn>
                  <a:cxn ang="0">
                    <a:pos x="56" y="28"/>
                  </a:cxn>
                  <a:cxn ang="0">
                    <a:pos x="64" y="46"/>
                  </a:cxn>
                  <a:cxn ang="0">
                    <a:pos x="76" y="52"/>
                  </a:cxn>
                  <a:cxn ang="0">
                    <a:pos x="86" y="60"/>
                  </a:cxn>
                  <a:cxn ang="0">
                    <a:pos x="74" y="72"/>
                  </a:cxn>
                  <a:cxn ang="0">
                    <a:pos x="72" y="80"/>
                  </a:cxn>
                  <a:cxn ang="0">
                    <a:pos x="58" y="84"/>
                  </a:cxn>
                  <a:cxn ang="0">
                    <a:pos x="56" y="90"/>
                  </a:cxn>
                  <a:cxn ang="0">
                    <a:pos x="48" y="106"/>
                  </a:cxn>
                  <a:cxn ang="0">
                    <a:pos x="46" y="114"/>
                  </a:cxn>
                  <a:cxn ang="0">
                    <a:pos x="56" y="122"/>
                  </a:cxn>
                  <a:cxn ang="0">
                    <a:pos x="44" y="126"/>
                  </a:cxn>
                  <a:cxn ang="0">
                    <a:pos x="30" y="130"/>
                  </a:cxn>
                  <a:cxn ang="0">
                    <a:pos x="34" y="140"/>
                  </a:cxn>
                  <a:cxn ang="0">
                    <a:pos x="22" y="160"/>
                  </a:cxn>
                  <a:cxn ang="0">
                    <a:pos x="4" y="182"/>
                  </a:cxn>
                  <a:cxn ang="0">
                    <a:pos x="0" y="192"/>
                  </a:cxn>
                  <a:cxn ang="0">
                    <a:pos x="2" y="196"/>
                  </a:cxn>
                </a:cxnLst>
                <a:rect l="0" t="0" r="r" b="b"/>
                <a:pathLst>
                  <a:path w="426" h="260">
                    <a:moveTo>
                      <a:pt x="2" y="196"/>
                    </a:moveTo>
                    <a:lnTo>
                      <a:pt x="2" y="196"/>
                    </a:lnTo>
                    <a:lnTo>
                      <a:pt x="20" y="198"/>
                    </a:lnTo>
                    <a:lnTo>
                      <a:pt x="38" y="204"/>
                    </a:lnTo>
                    <a:lnTo>
                      <a:pt x="68" y="214"/>
                    </a:lnTo>
                    <a:lnTo>
                      <a:pt x="68" y="214"/>
                    </a:lnTo>
                    <a:lnTo>
                      <a:pt x="78" y="220"/>
                    </a:lnTo>
                    <a:lnTo>
                      <a:pt x="86" y="226"/>
                    </a:lnTo>
                    <a:lnTo>
                      <a:pt x="92" y="232"/>
                    </a:lnTo>
                    <a:lnTo>
                      <a:pt x="96" y="240"/>
                    </a:lnTo>
                    <a:lnTo>
                      <a:pt x="102" y="252"/>
                    </a:lnTo>
                    <a:lnTo>
                      <a:pt x="106" y="256"/>
                    </a:lnTo>
                    <a:lnTo>
                      <a:pt x="110" y="260"/>
                    </a:lnTo>
                    <a:lnTo>
                      <a:pt x="110" y="260"/>
                    </a:lnTo>
                    <a:lnTo>
                      <a:pt x="116" y="260"/>
                    </a:lnTo>
                    <a:lnTo>
                      <a:pt x="122" y="260"/>
                    </a:lnTo>
                    <a:lnTo>
                      <a:pt x="134" y="256"/>
                    </a:lnTo>
                    <a:lnTo>
                      <a:pt x="146" y="248"/>
                    </a:lnTo>
                    <a:lnTo>
                      <a:pt x="160" y="240"/>
                    </a:lnTo>
                    <a:lnTo>
                      <a:pt x="160" y="240"/>
                    </a:lnTo>
                    <a:lnTo>
                      <a:pt x="168" y="236"/>
                    </a:lnTo>
                    <a:lnTo>
                      <a:pt x="172" y="234"/>
                    </a:lnTo>
                    <a:lnTo>
                      <a:pt x="180" y="236"/>
                    </a:lnTo>
                    <a:lnTo>
                      <a:pt x="184" y="238"/>
                    </a:lnTo>
                    <a:lnTo>
                      <a:pt x="190" y="238"/>
                    </a:lnTo>
                    <a:lnTo>
                      <a:pt x="198" y="236"/>
                    </a:lnTo>
                    <a:lnTo>
                      <a:pt x="208" y="232"/>
                    </a:lnTo>
                    <a:lnTo>
                      <a:pt x="208" y="232"/>
                    </a:lnTo>
                    <a:lnTo>
                      <a:pt x="212" y="230"/>
                    </a:lnTo>
                    <a:lnTo>
                      <a:pt x="216" y="226"/>
                    </a:lnTo>
                    <a:lnTo>
                      <a:pt x="222" y="218"/>
                    </a:lnTo>
                    <a:lnTo>
                      <a:pt x="224" y="210"/>
                    </a:lnTo>
                    <a:lnTo>
                      <a:pt x="224" y="200"/>
                    </a:lnTo>
                    <a:lnTo>
                      <a:pt x="224" y="192"/>
                    </a:lnTo>
                    <a:lnTo>
                      <a:pt x="226" y="184"/>
                    </a:lnTo>
                    <a:lnTo>
                      <a:pt x="232" y="178"/>
                    </a:lnTo>
                    <a:lnTo>
                      <a:pt x="244" y="174"/>
                    </a:lnTo>
                    <a:lnTo>
                      <a:pt x="244" y="174"/>
                    </a:lnTo>
                    <a:lnTo>
                      <a:pt x="254" y="172"/>
                    </a:lnTo>
                    <a:lnTo>
                      <a:pt x="260" y="170"/>
                    </a:lnTo>
                    <a:lnTo>
                      <a:pt x="264" y="164"/>
                    </a:lnTo>
                    <a:lnTo>
                      <a:pt x="266" y="158"/>
                    </a:lnTo>
                    <a:lnTo>
                      <a:pt x="268" y="152"/>
                    </a:lnTo>
                    <a:lnTo>
                      <a:pt x="272" y="146"/>
                    </a:lnTo>
                    <a:lnTo>
                      <a:pt x="280" y="140"/>
                    </a:lnTo>
                    <a:lnTo>
                      <a:pt x="292" y="136"/>
                    </a:lnTo>
                    <a:lnTo>
                      <a:pt x="292" y="136"/>
                    </a:lnTo>
                    <a:lnTo>
                      <a:pt x="322" y="124"/>
                    </a:lnTo>
                    <a:lnTo>
                      <a:pt x="348" y="112"/>
                    </a:lnTo>
                    <a:lnTo>
                      <a:pt x="370" y="102"/>
                    </a:lnTo>
                    <a:lnTo>
                      <a:pt x="392" y="94"/>
                    </a:lnTo>
                    <a:lnTo>
                      <a:pt x="392" y="94"/>
                    </a:lnTo>
                    <a:lnTo>
                      <a:pt x="408" y="90"/>
                    </a:lnTo>
                    <a:lnTo>
                      <a:pt x="418" y="86"/>
                    </a:lnTo>
                    <a:lnTo>
                      <a:pt x="424" y="82"/>
                    </a:lnTo>
                    <a:lnTo>
                      <a:pt x="426" y="76"/>
                    </a:lnTo>
                    <a:lnTo>
                      <a:pt x="424" y="72"/>
                    </a:lnTo>
                    <a:lnTo>
                      <a:pt x="420" y="70"/>
                    </a:lnTo>
                    <a:lnTo>
                      <a:pt x="408" y="64"/>
                    </a:lnTo>
                    <a:lnTo>
                      <a:pt x="408" y="64"/>
                    </a:lnTo>
                    <a:lnTo>
                      <a:pt x="398" y="60"/>
                    </a:lnTo>
                    <a:lnTo>
                      <a:pt x="390" y="54"/>
                    </a:lnTo>
                    <a:lnTo>
                      <a:pt x="370" y="40"/>
                    </a:lnTo>
                    <a:lnTo>
                      <a:pt x="360" y="32"/>
                    </a:lnTo>
                    <a:lnTo>
                      <a:pt x="348" y="26"/>
                    </a:lnTo>
                    <a:lnTo>
                      <a:pt x="334" y="22"/>
                    </a:lnTo>
                    <a:lnTo>
                      <a:pt x="318" y="22"/>
                    </a:lnTo>
                    <a:lnTo>
                      <a:pt x="318" y="22"/>
                    </a:lnTo>
                    <a:lnTo>
                      <a:pt x="302" y="22"/>
                    </a:lnTo>
                    <a:lnTo>
                      <a:pt x="294" y="24"/>
                    </a:lnTo>
                    <a:lnTo>
                      <a:pt x="288" y="26"/>
                    </a:lnTo>
                    <a:lnTo>
                      <a:pt x="284" y="30"/>
                    </a:lnTo>
                    <a:lnTo>
                      <a:pt x="282" y="36"/>
                    </a:lnTo>
                    <a:lnTo>
                      <a:pt x="280" y="38"/>
                    </a:lnTo>
                    <a:lnTo>
                      <a:pt x="276" y="40"/>
                    </a:lnTo>
                    <a:lnTo>
                      <a:pt x="276" y="40"/>
                    </a:lnTo>
                    <a:lnTo>
                      <a:pt x="272" y="40"/>
                    </a:lnTo>
                    <a:lnTo>
                      <a:pt x="272" y="36"/>
                    </a:lnTo>
                    <a:lnTo>
                      <a:pt x="272" y="32"/>
                    </a:lnTo>
                    <a:lnTo>
                      <a:pt x="272" y="30"/>
                    </a:lnTo>
                    <a:lnTo>
                      <a:pt x="268" y="26"/>
                    </a:lnTo>
                    <a:lnTo>
                      <a:pt x="268" y="26"/>
                    </a:lnTo>
                    <a:lnTo>
                      <a:pt x="266" y="26"/>
                    </a:lnTo>
                    <a:lnTo>
                      <a:pt x="260" y="26"/>
                    </a:lnTo>
                    <a:lnTo>
                      <a:pt x="250" y="24"/>
                    </a:lnTo>
                    <a:lnTo>
                      <a:pt x="234" y="22"/>
                    </a:lnTo>
                    <a:lnTo>
                      <a:pt x="234" y="22"/>
                    </a:lnTo>
                    <a:lnTo>
                      <a:pt x="218" y="16"/>
                    </a:lnTo>
                    <a:lnTo>
                      <a:pt x="208" y="12"/>
                    </a:lnTo>
                    <a:lnTo>
                      <a:pt x="192" y="2"/>
                    </a:lnTo>
                    <a:lnTo>
                      <a:pt x="186" y="0"/>
                    </a:lnTo>
                    <a:lnTo>
                      <a:pt x="178" y="0"/>
                    </a:lnTo>
                    <a:lnTo>
                      <a:pt x="168" y="0"/>
                    </a:lnTo>
                    <a:lnTo>
                      <a:pt x="154" y="2"/>
                    </a:lnTo>
                    <a:lnTo>
                      <a:pt x="154" y="2"/>
                    </a:lnTo>
                    <a:lnTo>
                      <a:pt x="138" y="6"/>
                    </a:lnTo>
                    <a:lnTo>
                      <a:pt x="120" y="8"/>
                    </a:lnTo>
                    <a:lnTo>
                      <a:pt x="82" y="12"/>
                    </a:lnTo>
                    <a:lnTo>
                      <a:pt x="54" y="16"/>
                    </a:lnTo>
                    <a:lnTo>
                      <a:pt x="48" y="18"/>
                    </a:lnTo>
                    <a:lnTo>
                      <a:pt x="48" y="18"/>
                    </a:lnTo>
                    <a:lnTo>
                      <a:pt x="50" y="20"/>
                    </a:lnTo>
                    <a:lnTo>
                      <a:pt x="50" y="20"/>
                    </a:lnTo>
                    <a:lnTo>
                      <a:pt x="54" y="24"/>
                    </a:lnTo>
                    <a:lnTo>
                      <a:pt x="56" y="28"/>
                    </a:lnTo>
                    <a:lnTo>
                      <a:pt x="58" y="36"/>
                    </a:lnTo>
                    <a:lnTo>
                      <a:pt x="60" y="42"/>
                    </a:lnTo>
                    <a:lnTo>
                      <a:pt x="64" y="46"/>
                    </a:lnTo>
                    <a:lnTo>
                      <a:pt x="68" y="48"/>
                    </a:lnTo>
                    <a:lnTo>
                      <a:pt x="76" y="52"/>
                    </a:lnTo>
                    <a:lnTo>
                      <a:pt x="76" y="52"/>
                    </a:lnTo>
                    <a:lnTo>
                      <a:pt x="84" y="56"/>
                    </a:lnTo>
                    <a:lnTo>
                      <a:pt x="86" y="58"/>
                    </a:lnTo>
                    <a:lnTo>
                      <a:pt x="86" y="60"/>
                    </a:lnTo>
                    <a:lnTo>
                      <a:pt x="84" y="64"/>
                    </a:lnTo>
                    <a:lnTo>
                      <a:pt x="76" y="68"/>
                    </a:lnTo>
                    <a:lnTo>
                      <a:pt x="74" y="72"/>
                    </a:lnTo>
                    <a:lnTo>
                      <a:pt x="72" y="76"/>
                    </a:lnTo>
                    <a:lnTo>
                      <a:pt x="72" y="76"/>
                    </a:lnTo>
                    <a:lnTo>
                      <a:pt x="72" y="80"/>
                    </a:lnTo>
                    <a:lnTo>
                      <a:pt x="70" y="82"/>
                    </a:lnTo>
                    <a:lnTo>
                      <a:pt x="64" y="82"/>
                    </a:lnTo>
                    <a:lnTo>
                      <a:pt x="58" y="84"/>
                    </a:lnTo>
                    <a:lnTo>
                      <a:pt x="56" y="86"/>
                    </a:lnTo>
                    <a:lnTo>
                      <a:pt x="56" y="90"/>
                    </a:lnTo>
                    <a:lnTo>
                      <a:pt x="56" y="90"/>
                    </a:lnTo>
                    <a:lnTo>
                      <a:pt x="56" y="94"/>
                    </a:lnTo>
                    <a:lnTo>
                      <a:pt x="54" y="98"/>
                    </a:lnTo>
                    <a:lnTo>
                      <a:pt x="48" y="106"/>
                    </a:lnTo>
                    <a:lnTo>
                      <a:pt x="44" y="110"/>
                    </a:lnTo>
                    <a:lnTo>
                      <a:pt x="44" y="112"/>
                    </a:lnTo>
                    <a:lnTo>
                      <a:pt x="46" y="114"/>
                    </a:lnTo>
                    <a:lnTo>
                      <a:pt x="46" y="114"/>
                    </a:lnTo>
                    <a:lnTo>
                      <a:pt x="54" y="118"/>
                    </a:lnTo>
                    <a:lnTo>
                      <a:pt x="56" y="122"/>
                    </a:lnTo>
                    <a:lnTo>
                      <a:pt x="56" y="124"/>
                    </a:lnTo>
                    <a:lnTo>
                      <a:pt x="54" y="124"/>
                    </a:lnTo>
                    <a:lnTo>
                      <a:pt x="44" y="126"/>
                    </a:lnTo>
                    <a:lnTo>
                      <a:pt x="44" y="126"/>
                    </a:lnTo>
                    <a:lnTo>
                      <a:pt x="34" y="128"/>
                    </a:lnTo>
                    <a:lnTo>
                      <a:pt x="30" y="130"/>
                    </a:lnTo>
                    <a:lnTo>
                      <a:pt x="30" y="134"/>
                    </a:lnTo>
                    <a:lnTo>
                      <a:pt x="34" y="140"/>
                    </a:lnTo>
                    <a:lnTo>
                      <a:pt x="34" y="140"/>
                    </a:lnTo>
                    <a:lnTo>
                      <a:pt x="34" y="144"/>
                    </a:lnTo>
                    <a:lnTo>
                      <a:pt x="32" y="150"/>
                    </a:lnTo>
                    <a:lnTo>
                      <a:pt x="22" y="160"/>
                    </a:lnTo>
                    <a:lnTo>
                      <a:pt x="10" y="172"/>
                    </a:lnTo>
                    <a:lnTo>
                      <a:pt x="6" y="178"/>
                    </a:lnTo>
                    <a:lnTo>
                      <a:pt x="4" y="182"/>
                    </a:lnTo>
                    <a:lnTo>
                      <a:pt x="4" y="182"/>
                    </a:lnTo>
                    <a:lnTo>
                      <a:pt x="2" y="188"/>
                    </a:lnTo>
                    <a:lnTo>
                      <a:pt x="0" y="192"/>
                    </a:lnTo>
                    <a:lnTo>
                      <a:pt x="0" y="194"/>
                    </a:lnTo>
                    <a:lnTo>
                      <a:pt x="2" y="196"/>
                    </a:lnTo>
                    <a:lnTo>
                      <a:pt x="2" y="196"/>
                    </a:lnTo>
                    <a:close/>
                  </a:path>
                </a:pathLst>
              </a:custGeom>
              <a:grpFill/>
              <a:ln w="6350">
                <a:noFill/>
                <a:round/>
                <a:headEnd/>
                <a:tailEnd/>
              </a:ln>
            </p:spPr>
            <p:txBody>
              <a:bodyPr/>
              <a:lstStyle/>
              <a:p>
                <a:endParaRPr lang="da-DK" sz="2800" b="1"/>
              </a:p>
            </p:txBody>
          </p:sp>
          <p:sp>
            <p:nvSpPr>
              <p:cNvPr id="56" name="Freeform 6018">
                <a:extLst>
                  <a:ext uri="{FF2B5EF4-FFF2-40B4-BE49-F238E27FC236}">
                    <a16:creationId xmlns:a16="http://schemas.microsoft.com/office/drawing/2014/main" id="{ADDBEF07-0B18-4BD2-83FB-AA4356AAAF11}"/>
                  </a:ext>
                </a:extLst>
              </p:cNvPr>
              <p:cNvSpPr>
                <a:spLocks/>
              </p:cNvSpPr>
              <p:nvPr/>
            </p:nvSpPr>
            <p:spPr bwMode="auto">
              <a:xfrm>
                <a:off x="1258570" y="1024573"/>
                <a:ext cx="190500" cy="87630"/>
              </a:xfrm>
              <a:custGeom>
                <a:avLst/>
                <a:gdLst/>
                <a:ahLst/>
                <a:cxnLst>
                  <a:cxn ang="0">
                    <a:pos x="12" y="124"/>
                  </a:cxn>
                  <a:cxn ang="0">
                    <a:pos x="16" y="130"/>
                  </a:cxn>
                  <a:cxn ang="0">
                    <a:pos x="36" y="120"/>
                  </a:cxn>
                  <a:cxn ang="0">
                    <a:pos x="50" y="118"/>
                  </a:cxn>
                  <a:cxn ang="0">
                    <a:pos x="66" y="124"/>
                  </a:cxn>
                  <a:cxn ang="0">
                    <a:pos x="76" y="124"/>
                  </a:cxn>
                  <a:cxn ang="0">
                    <a:pos x="88" y="114"/>
                  </a:cxn>
                  <a:cxn ang="0">
                    <a:pos x="94" y="122"/>
                  </a:cxn>
                  <a:cxn ang="0">
                    <a:pos x="112" y="138"/>
                  </a:cxn>
                  <a:cxn ang="0">
                    <a:pos x="132" y="132"/>
                  </a:cxn>
                  <a:cxn ang="0">
                    <a:pos x="138" y="114"/>
                  </a:cxn>
                  <a:cxn ang="0">
                    <a:pos x="146" y="110"/>
                  </a:cxn>
                  <a:cxn ang="0">
                    <a:pos x="156" y="114"/>
                  </a:cxn>
                  <a:cxn ang="0">
                    <a:pos x="174" y="94"/>
                  </a:cxn>
                  <a:cxn ang="0">
                    <a:pos x="182" y="76"/>
                  </a:cxn>
                  <a:cxn ang="0">
                    <a:pos x="186" y="66"/>
                  </a:cxn>
                  <a:cxn ang="0">
                    <a:pos x="206" y="56"/>
                  </a:cxn>
                  <a:cxn ang="0">
                    <a:pos x="208" y="64"/>
                  </a:cxn>
                  <a:cxn ang="0">
                    <a:pos x="206" y="88"/>
                  </a:cxn>
                  <a:cxn ang="0">
                    <a:pos x="214" y="96"/>
                  </a:cxn>
                  <a:cxn ang="0">
                    <a:pos x="236" y="100"/>
                  </a:cxn>
                  <a:cxn ang="0">
                    <a:pos x="244" y="92"/>
                  </a:cxn>
                  <a:cxn ang="0">
                    <a:pos x="246" y="80"/>
                  </a:cxn>
                  <a:cxn ang="0">
                    <a:pos x="274" y="74"/>
                  </a:cxn>
                  <a:cxn ang="0">
                    <a:pos x="294" y="60"/>
                  </a:cxn>
                  <a:cxn ang="0">
                    <a:pos x="280" y="42"/>
                  </a:cxn>
                  <a:cxn ang="0">
                    <a:pos x="272" y="36"/>
                  </a:cxn>
                  <a:cxn ang="0">
                    <a:pos x="278" y="28"/>
                  </a:cxn>
                  <a:cxn ang="0">
                    <a:pos x="300" y="18"/>
                  </a:cxn>
                  <a:cxn ang="0">
                    <a:pos x="288" y="8"/>
                  </a:cxn>
                  <a:cxn ang="0">
                    <a:pos x="258" y="0"/>
                  </a:cxn>
                  <a:cxn ang="0">
                    <a:pos x="244" y="4"/>
                  </a:cxn>
                  <a:cxn ang="0">
                    <a:pos x="234" y="16"/>
                  </a:cxn>
                  <a:cxn ang="0">
                    <a:pos x="202" y="12"/>
                  </a:cxn>
                  <a:cxn ang="0">
                    <a:pos x="160" y="18"/>
                  </a:cxn>
                  <a:cxn ang="0">
                    <a:pos x="128" y="38"/>
                  </a:cxn>
                  <a:cxn ang="0">
                    <a:pos x="102" y="58"/>
                  </a:cxn>
                  <a:cxn ang="0">
                    <a:pos x="82" y="66"/>
                  </a:cxn>
                  <a:cxn ang="0">
                    <a:pos x="66" y="78"/>
                  </a:cxn>
                  <a:cxn ang="0">
                    <a:pos x="44" y="90"/>
                  </a:cxn>
                  <a:cxn ang="0">
                    <a:pos x="28" y="86"/>
                  </a:cxn>
                  <a:cxn ang="0">
                    <a:pos x="12" y="96"/>
                  </a:cxn>
                  <a:cxn ang="0">
                    <a:pos x="2" y="112"/>
                  </a:cxn>
                  <a:cxn ang="0">
                    <a:pos x="14" y="116"/>
                  </a:cxn>
                </a:cxnLst>
                <a:rect l="0" t="0" r="r" b="b"/>
                <a:pathLst>
                  <a:path w="300" h="138">
                    <a:moveTo>
                      <a:pt x="14" y="120"/>
                    </a:moveTo>
                    <a:lnTo>
                      <a:pt x="14" y="120"/>
                    </a:lnTo>
                    <a:lnTo>
                      <a:pt x="12" y="124"/>
                    </a:lnTo>
                    <a:lnTo>
                      <a:pt x="12" y="126"/>
                    </a:lnTo>
                    <a:lnTo>
                      <a:pt x="14" y="128"/>
                    </a:lnTo>
                    <a:lnTo>
                      <a:pt x="16" y="130"/>
                    </a:lnTo>
                    <a:lnTo>
                      <a:pt x="24" y="128"/>
                    </a:lnTo>
                    <a:lnTo>
                      <a:pt x="36" y="120"/>
                    </a:lnTo>
                    <a:lnTo>
                      <a:pt x="36" y="120"/>
                    </a:lnTo>
                    <a:lnTo>
                      <a:pt x="42" y="118"/>
                    </a:lnTo>
                    <a:lnTo>
                      <a:pt x="46" y="116"/>
                    </a:lnTo>
                    <a:lnTo>
                      <a:pt x="50" y="118"/>
                    </a:lnTo>
                    <a:lnTo>
                      <a:pt x="52" y="118"/>
                    </a:lnTo>
                    <a:lnTo>
                      <a:pt x="60" y="124"/>
                    </a:lnTo>
                    <a:lnTo>
                      <a:pt x="66" y="124"/>
                    </a:lnTo>
                    <a:lnTo>
                      <a:pt x="72" y="126"/>
                    </a:lnTo>
                    <a:lnTo>
                      <a:pt x="72" y="126"/>
                    </a:lnTo>
                    <a:lnTo>
                      <a:pt x="76" y="124"/>
                    </a:lnTo>
                    <a:lnTo>
                      <a:pt x="82" y="122"/>
                    </a:lnTo>
                    <a:lnTo>
                      <a:pt x="86" y="116"/>
                    </a:lnTo>
                    <a:lnTo>
                      <a:pt x="88" y="114"/>
                    </a:lnTo>
                    <a:lnTo>
                      <a:pt x="90" y="114"/>
                    </a:lnTo>
                    <a:lnTo>
                      <a:pt x="94" y="122"/>
                    </a:lnTo>
                    <a:lnTo>
                      <a:pt x="94" y="122"/>
                    </a:lnTo>
                    <a:lnTo>
                      <a:pt x="98" y="130"/>
                    </a:lnTo>
                    <a:lnTo>
                      <a:pt x="104" y="134"/>
                    </a:lnTo>
                    <a:lnTo>
                      <a:pt x="112" y="138"/>
                    </a:lnTo>
                    <a:lnTo>
                      <a:pt x="118" y="138"/>
                    </a:lnTo>
                    <a:lnTo>
                      <a:pt x="126" y="136"/>
                    </a:lnTo>
                    <a:lnTo>
                      <a:pt x="132" y="132"/>
                    </a:lnTo>
                    <a:lnTo>
                      <a:pt x="136" y="124"/>
                    </a:lnTo>
                    <a:lnTo>
                      <a:pt x="138" y="114"/>
                    </a:lnTo>
                    <a:lnTo>
                      <a:pt x="138" y="114"/>
                    </a:lnTo>
                    <a:lnTo>
                      <a:pt x="138" y="106"/>
                    </a:lnTo>
                    <a:lnTo>
                      <a:pt x="140" y="104"/>
                    </a:lnTo>
                    <a:lnTo>
                      <a:pt x="146" y="110"/>
                    </a:lnTo>
                    <a:lnTo>
                      <a:pt x="150" y="114"/>
                    </a:lnTo>
                    <a:lnTo>
                      <a:pt x="154" y="114"/>
                    </a:lnTo>
                    <a:lnTo>
                      <a:pt x="156" y="114"/>
                    </a:lnTo>
                    <a:lnTo>
                      <a:pt x="160" y="112"/>
                    </a:lnTo>
                    <a:lnTo>
                      <a:pt x="164" y="108"/>
                    </a:lnTo>
                    <a:lnTo>
                      <a:pt x="174" y="94"/>
                    </a:lnTo>
                    <a:lnTo>
                      <a:pt x="174" y="94"/>
                    </a:lnTo>
                    <a:lnTo>
                      <a:pt x="180" y="82"/>
                    </a:lnTo>
                    <a:lnTo>
                      <a:pt x="182" y="76"/>
                    </a:lnTo>
                    <a:lnTo>
                      <a:pt x="182" y="68"/>
                    </a:lnTo>
                    <a:lnTo>
                      <a:pt x="184" y="66"/>
                    </a:lnTo>
                    <a:lnTo>
                      <a:pt x="186" y="66"/>
                    </a:lnTo>
                    <a:lnTo>
                      <a:pt x="198" y="58"/>
                    </a:lnTo>
                    <a:lnTo>
                      <a:pt x="198" y="58"/>
                    </a:lnTo>
                    <a:lnTo>
                      <a:pt x="206" y="56"/>
                    </a:lnTo>
                    <a:lnTo>
                      <a:pt x="208" y="58"/>
                    </a:lnTo>
                    <a:lnTo>
                      <a:pt x="210" y="58"/>
                    </a:lnTo>
                    <a:lnTo>
                      <a:pt x="208" y="64"/>
                    </a:lnTo>
                    <a:lnTo>
                      <a:pt x="206" y="72"/>
                    </a:lnTo>
                    <a:lnTo>
                      <a:pt x="204" y="80"/>
                    </a:lnTo>
                    <a:lnTo>
                      <a:pt x="206" y="88"/>
                    </a:lnTo>
                    <a:lnTo>
                      <a:pt x="208" y="92"/>
                    </a:lnTo>
                    <a:lnTo>
                      <a:pt x="210" y="94"/>
                    </a:lnTo>
                    <a:lnTo>
                      <a:pt x="214" y="96"/>
                    </a:lnTo>
                    <a:lnTo>
                      <a:pt x="222" y="98"/>
                    </a:lnTo>
                    <a:lnTo>
                      <a:pt x="222" y="98"/>
                    </a:lnTo>
                    <a:lnTo>
                      <a:pt x="236" y="100"/>
                    </a:lnTo>
                    <a:lnTo>
                      <a:pt x="242" y="98"/>
                    </a:lnTo>
                    <a:lnTo>
                      <a:pt x="246" y="96"/>
                    </a:lnTo>
                    <a:lnTo>
                      <a:pt x="244" y="92"/>
                    </a:lnTo>
                    <a:lnTo>
                      <a:pt x="244" y="86"/>
                    </a:lnTo>
                    <a:lnTo>
                      <a:pt x="244" y="82"/>
                    </a:lnTo>
                    <a:lnTo>
                      <a:pt x="246" y="80"/>
                    </a:lnTo>
                    <a:lnTo>
                      <a:pt x="254" y="78"/>
                    </a:lnTo>
                    <a:lnTo>
                      <a:pt x="254" y="78"/>
                    </a:lnTo>
                    <a:lnTo>
                      <a:pt x="274" y="74"/>
                    </a:lnTo>
                    <a:lnTo>
                      <a:pt x="284" y="70"/>
                    </a:lnTo>
                    <a:lnTo>
                      <a:pt x="290" y="66"/>
                    </a:lnTo>
                    <a:lnTo>
                      <a:pt x="294" y="60"/>
                    </a:lnTo>
                    <a:lnTo>
                      <a:pt x="294" y="54"/>
                    </a:lnTo>
                    <a:lnTo>
                      <a:pt x="290" y="48"/>
                    </a:lnTo>
                    <a:lnTo>
                      <a:pt x="280" y="42"/>
                    </a:lnTo>
                    <a:lnTo>
                      <a:pt x="280" y="42"/>
                    </a:lnTo>
                    <a:lnTo>
                      <a:pt x="274" y="38"/>
                    </a:lnTo>
                    <a:lnTo>
                      <a:pt x="272" y="36"/>
                    </a:lnTo>
                    <a:lnTo>
                      <a:pt x="272" y="34"/>
                    </a:lnTo>
                    <a:lnTo>
                      <a:pt x="272" y="32"/>
                    </a:lnTo>
                    <a:lnTo>
                      <a:pt x="278" y="28"/>
                    </a:lnTo>
                    <a:lnTo>
                      <a:pt x="288" y="24"/>
                    </a:lnTo>
                    <a:lnTo>
                      <a:pt x="296" y="22"/>
                    </a:lnTo>
                    <a:lnTo>
                      <a:pt x="300" y="18"/>
                    </a:lnTo>
                    <a:lnTo>
                      <a:pt x="300" y="16"/>
                    </a:lnTo>
                    <a:lnTo>
                      <a:pt x="298" y="14"/>
                    </a:lnTo>
                    <a:lnTo>
                      <a:pt x="288" y="8"/>
                    </a:lnTo>
                    <a:lnTo>
                      <a:pt x="288" y="8"/>
                    </a:lnTo>
                    <a:lnTo>
                      <a:pt x="266" y="0"/>
                    </a:lnTo>
                    <a:lnTo>
                      <a:pt x="258" y="0"/>
                    </a:lnTo>
                    <a:lnTo>
                      <a:pt x="254" y="0"/>
                    </a:lnTo>
                    <a:lnTo>
                      <a:pt x="248" y="2"/>
                    </a:lnTo>
                    <a:lnTo>
                      <a:pt x="244" y="4"/>
                    </a:lnTo>
                    <a:lnTo>
                      <a:pt x="238" y="14"/>
                    </a:lnTo>
                    <a:lnTo>
                      <a:pt x="238" y="14"/>
                    </a:lnTo>
                    <a:lnTo>
                      <a:pt x="234" y="16"/>
                    </a:lnTo>
                    <a:lnTo>
                      <a:pt x="232" y="16"/>
                    </a:lnTo>
                    <a:lnTo>
                      <a:pt x="224" y="16"/>
                    </a:lnTo>
                    <a:lnTo>
                      <a:pt x="202" y="12"/>
                    </a:lnTo>
                    <a:lnTo>
                      <a:pt x="186" y="12"/>
                    </a:lnTo>
                    <a:lnTo>
                      <a:pt x="170" y="14"/>
                    </a:lnTo>
                    <a:lnTo>
                      <a:pt x="160" y="18"/>
                    </a:lnTo>
                    <a:lnTo>
                      <a:pt x="150" y="22"/>
                    </a:lnTo>
                    <a:lnTo>
                      <a:pt x="140" y="28"/>
                    </a:lnTo>
                    <a:lnTo>
                      <a:pt x="128" y="38"/>
                    </a:lnTo>
                    <a:lnTo>
                      <a:pt x="128" y="38"/>
                    </a:lnTo>
                    <a:lnTo>
                      <a:pt x="112" y="50"/>
                    </a:lnTo>
                    <a:lnTo>
                      <a:pt x="102" y="58"/>
                    </a:lnTo>
                    <a:lnTo>
                      <a:pt x="94" y="62"/>
                    </a:lnTo>
                    <a:lnTo>
                      <a:pt x="90" y="62"/>
                    </a:lnTo>
                    <a:lnTo>
                      <a:pt x="82" y="66"/>
                    </a:lnTo>
                    <a:lnTo>
                      <a:pt x="76" y="70"/>
                    </a:lnTo>
                    <a:lnTo>
                      <a:pt x="66" y="78"/>
                    </a:lnTo>
                    <a:lnTo>
                      <a:pt x="66" y="78"/>
                    </a:lnTo>
                    <a:lnTo>
                      <a:pt x="58" y="86"/>
                    </a:lnTo>
                    <a:lnTo>
                      <a:pt x="50" y="88"/>
                    </a:lnTo>
                    <a:lnTo>
                      <a:pt x="44" y="90"/>
                    </a:lnTo>
                    <a:lnTo>
                      <a:pt x="38" y="88"/>
                    </a:lnTo>
                    <a:lnTo>
                      <a:pt x="34" y="86"/>
                    </a:lnTo>
                    <a:lnTo>
                      <a:pt x="28" y="86"/>
                    </a:lnTo>
                    <a:lnTo>
                      <a:pt x="20" y="90"/>
                    </a:lnTo>
                    <a:lnTo>
                      <a:pt x="12" y="96"/>
                    </a:lnTo>
                    <a:lnTo>
                      <a:pt x="12" y="96"/>
                    </a:lnTo>
                    <a:lnTo>
                      <a:pt x="4" y="104"/>
                    </a:lnTo>
                    <a:lnTo>
                      <a:pt x="0" y="108"/>
                    </a:lnTo>
                    <a:lnTo>
                      <a:pt x="2" y="112"/>
                    </a:lnTo>
                    <a:lnTo>
                      <a:pt x="4" y="112"/>
                    </a:lnTo>
                    <a:lnTo>
                      <a:pt x="12" y="114"/>
                    </a:lnTo>
                    <a:lnTo>
                      <a:pt x="14" y="116"/>
                    </a:lnTo>
                    <a:lnTo>
                      <a:pt x="14" y="120"/>
                    </a:lnTo>
                    <a:lnTo>
                      <a:pt x="14" y="120"/>
                    </a:lnTo>
                    <a:close/>
                  </a:path>
                </a:pathLst>
              </a:custGeom>
              <a:grpFill/>
              <a:ln w="6350">
                <a:noFill/>
                <a:round/>
                <a:headEnd/>
                <a:tailEnd/>
              </a:ln>
            </p:spPr>
            <p:txBody>
              <a:bodyPr/>
              <a:lstStyle/>
              <a:p>
                <a:endParaRPr lang="da-DK" sz="2800" b="1"/>
              </a:p>
            </p:txBody>
          </p:sp>
          <p:sp>
            <p:nvSpPr>
              <p:cNvPr id="57" name="Freeform 6019">
                <a:extLst>
                  <a:ext uri="{FF2B5EF4-FFF2-40B4-BE49-F238E27FC236}">
                    <a16:creationId xmlns:a16="http://schemas.microsoft.com/office/drawing/2014/main" id="{21D8F2D0-380A-4906-8604-488E20CDD670}"/>
                  </a:ext>
                </a:extLst>
              </p:cNvPr>
              <p:cNvSpPr>
                <a:spLocks/>
              </p:cNvSpPr>
              <p:nvPr/>
            </p:nvSpPr>
            <p:spPr bwMode="auto">
              <a:xfrm>
                <a:off x="1468120" y="1056323"/>
                <a:ext cx="35560" cy="10160"/>
              </a:xfrm>
              <a:custGeom>
                <a:avLst/>
                <a:gdLst/>
                <a:ahLst/>
                <a:cxnLst>
                  <a:cxn ang="0">
                    <a:pos x="0" y="8"/>
                  </a:cxn>
                  <a:cxn ang="0">
                    <a:pos x="0" y="8"/>
                  </a:cxn>
                  <a:cxn ang="0">
                    <a:pos x="0" y="12"/>
                  </a:cxn>
                  <a:cxn ang="0">
                    <a:pos x="4" y="14"/>
                  </a:cxn>
                  <a:cxn ang="0">
                    <a:pos x="18" y="16"/>
                  </a:cxn>
                  <a:cxn ang="0">
                    <a:pos x="38" y="16"/>
                  </a:cxn>
                  <a:cxn ang="0">
                    <a:pos x="46" y="14"/>
                  </a:cxn>
                  <a:cxn ang="0">
                    <a:pos x="54" y="12"/>
                  </a:cxn>
                  <a:cxn ang="0">
                    <a:pos x="54" y="12"/>
                  </a:cxn>
                  <a:cxn ang="0">
                    <a:pos x="56" y="10"/>
                  </a:cxn>
                  <a:cxn ang="0">
                    <a:pos x="56" y="8"/>
                  </a:cxn>
                  <a:cxn ang="0">
                    <a:pos x="54" y="6"/>
                  </a:cxn>
                  <a:cxn ang="0">
                    <a:pos x="46" y="2"/>
                  </a:cxn>
                  <a:cxn ang="0">
                    <a:pos x="36" y="2"/>
                  </a:cxn>
                  <a:cxn ang="0">
                    <a:pos x="26" y="0"/>
                  </a:cxn>
                  <a:cxn ang="0">
                    <a:pos x="16" y="2"/>
                  </a:cxn>
                  <a:cxn ang="0">
                    <a:pos x="6" y="4"/>
                  </a:cxn>
                  <a:cxn ang="0">
                    <a:pos x="0" y="8"/>
                  </a:cxn>
                  <a:cxn ang="0">
                    <a:pos x="0" y="8"/>
                  </a:cxn>
                </a:cxnLst>
                <a:rect l="0" t="0" r="r" b="b"/>
                <a:pathLst>
                  <a:path w="56" h="16">
                    <a:moveTo>
                      <a:pt x="0" y="8"/>
                    </a:moveTo>
                    <a:lnTo>
                      <a:pt x="0" y="8"/>
                    </a:lnTo>
                    <a:lnTo>
                      <a:pt x="0" y="12"/>
                    </a:lnTo>
                    <a:lnTo>
                      <a:pt x="4" y="14"/>
                    </a:lnTo>
                    <a:lnTo>
                      <a:pt x="18" y="16"/>
                    </a:lnTo>
                    <a:lnTo>
                      <a:pt x="38" y="16"/>
                    </a:lnTo>
                    <a:lnTo>
                      <a:pt x="46" y="14"/>
                    </a:lnTo>
                    <a:lnTo>
                      <a:pt x="54" y="12"/>
                    </a:lnTo>
                    <a:lnTo>
                      <a:pt x="54" y="12"/>
                    </a:lnTo>
                    <a:lnTo>
                      <a:pt x="56" y="10"/>
                    </a:lnTo>
                    <a:lnTo>
                      <a:pt x="56" y="8"/>
                    </a:lnTo>
                    <a:lnTo>
                      <a:pt x="54" y="6"/>
                    </a:lnTo>
                    <a:lnTo>
                      <a:pt x="46" y="2"/>
                    </a:lnTo>
                    <a:lnTo>
                      <a:pt x="36" y="2"/>
                    </a:lnTo>
                    <a:lnTo>
                      <a:pt x="26" y="0"/>
                    </a:lnTo>
                    <a:lnTo>
                      <a:pt x="16" y="2"/>
                    </a:lnTo>
                    <a:lnTo>
                      <a:pt x="6" y="4"/>
                    </a:lnTo>
                    <a:lnTo>
                      <a:pt x="0" y="8"/>
                    </a:lnTo>
                    <a:lnTo>
                      <a:pt x="0" y="8"/>
                    </a:lnTo>
                    <a:close/>
                  </a:path>
                </a:pathLst>
              </a:custGeom>
              <a:grpFill/>
              <a:ln w="6350">
                <a:noFill/>
                <a:round/>
                <a:headEnd/>
                <a:tailEnd/>
              </a:ln>
            </p:spPr>
            <p:txBody>
              <a:bodyPr/>
              <a:lstStyle/>
              <a:p>
                <a:endParaRPr lang="da-DK" sz="2800" b="1"/>
              </a:p>
            </p:txBody>
          </p:sp>
          <p:sp>
            <p:nvSpPr>
              <p:cNvPr id="58" name="Freeform 6020">
                <a:extLst>
                  <a:ext uri="{FF2B5EF4-FFF2-40B4-BE49-F238E27FC236}">
                    <a16:creationId xmlns:a16="http://schemas.microsoft.com/office/drawing/2014/main" id="{BFDF9D53-9E0C-4501-AC64-82C7B4491DA6}"/>
                  </a:ext>
                </a:extLst>
              </p:cNvPr>
              <p:cNvSpPr>
                <a:spLocks/>
              </p:cNvSpPr>
              <p:nvPr/>
            </p:nvSpPr>
            <p:spPr bwMode="auto">
              <a:xfrm>
                <a:off x="1464310" y="996633"/>
                <a:ext cx="34290" cy="19050"/>
              </a:xfrm>
              <a:custGeom>
                <a:avLst/>
                <a:gdLst/>
                <a:ahLst/>
                <a:cxnLst>
                  <a:cxn ang="0">
                    <a:pos x="42" y="30"/>
                  </a:cxn>
                  <a:cxn ang="0">
                    <a:pos x="42" y="30"/>
                  </a:cxn>
                  <a:cxn ang="0">
                    <a:pos x="52" y="28"/>
                  </a:cxn>
                  <a:cxn ang="0">
                    <a:pos x="54" y="26"/>
                  </a:cxn>
                  <a:cxn ang="0">
                    <a:pos x="54" y="24"/>
                  </a:cxn>
                  <a:cxn ang="0">
                    <a:pos x="50" y="18"/>
                  </a:cxn>
                  <a:cxn ang="0">
                    <a:pos x="40" y="8"/>
                  </a:cxn>
                  <a:cxn ang="0">
                    <a:pos x="40" y="8"/>
                  </a:cxn>
                  <a:cxn ang="0">
                    <a:pos x="34" y="4"/>
                  </a:cxn>
                  <a:cxn ang="0">
                    <a:pos x="26" y="0"/>
                  </a:cxn>
                  <a:cxn ang="0">
                    <a:pos x="22" y="0"/>
                  </a:cxn>
                  <a:cxn ang="0">
                    <a:pos x="16" y="0"/>
                  </a:cxn>
                  <a:cxn ang="0">
                    <a:pos x="6" y="4"/>
                  </a:cxn>
                  <a:cxn ang="0">
                    <a:pos x="0" y="8"/>
                  </a:cxn>
                  <a:cxn ang="0">
                    <a:pos x="0" y="8"/>
                  </a:cxn>
                  <a:cxn ang="0">
                    <a:pos x="0" y="12"/>
                  </a:cxn>
                  <a:cxn ang="0">
                    <a:pos x="0" y="14"/>
                  </a:cxn>
                  <a:cxn ang="0">
                    <a:pos x="8" y="22"/>
                  </a:cxn>
                  <a:cxn ang="0">
                    <a:pos x="24" y="28"/>
                  </a:cxn>
                  <a:cxn ang="0">
                    <a:pos x="32" y="28"/>
                  </a:cxn>
                  <a:cxn ang="0">
                    <a:pos x="42" y="30"/>
                  </a:cxn>
                  <a:cxn ang="0">
                    <a:pos x="42" y="30"/>
                  </a:cxn>
                </a:cxnLst>
                <a:rect l="0" t="0" r="r" b="b"/>
                <a:pathLst>
                  <a:path w="54" h="30">
                    <a:moveTo>
                      <a:pt x="42" y="30"/>
                    </a:moveTo>
                    <a:lnTo>
                      <a:pt x="42" y="30"/>
                    </a:lnTo>
                    <a:lnTo>
                      <a:pt x="52" y="28"/>
                    </a:lnTo>
                    <a:lnTo>
                      <a:pt x="54" y="26"/>
                    </a:lnTo>
                    <a:lnTo>
                      <a:pt x="54" y="24"/>
                    </a:lnTo>
                    <a:lnTo>
                      <a:pt x="50" y="18"/>
                    </a:lnTo>
                    <a:lnTo>
                      <a:pt x="40" y="8"/>
                    </a:lnTo>
                    <a:lnTo>
                      <a:pt x="40" y="8"/>
                    </a:lnTo>
                    <a:lnTo>
                      <a:pt x="34" y="4"/>
                    </a:lnTo>
                    <a:lnTo>
                      <a:pt x="26" y="0"/>
                    </a:lnTo>
                    <a:lnTo>
                      <a:pt x="22" y="0"/>
                    </a:lnTo>
                    <a:lnTo>
                      <a:pt x="16" y="0"/>
                    </a:lnTo>
                    <a:lnTo>
                      <a:pt x="6" y="4"/>
                    </a:lnTo>
                    <a:lnTo>
                      <a:pt x="0" y="8"/>
                    </a:lnTo>
                    <a:lnTo>
                      <a:pt x="0" y="8"/>
                    </a:lnTo>
                    <a:lnTo>
                      <a:pt x="0" y="12"/>
                    </a:lnTo>
                    <a:lnTo>
                      <a:pt x="0" y="14"/>
                    </a:lnTo>
                    <a:lnTo>
                      <a:pt x="8" y="22"/>
                    </a:lnTo>
                    <a:lnTo>
                      <a:pt x="24" y="28"/>
                    </a:lnTo>
                    <a:lnTo>
                      <a:pt x="32" y="28"/>
                    </a:lnTo>
                    <a:lnTo>
                      <a:pt x="42" y="30"/>
                    </a:lnTo>
                    <a:lnTo>
                      <a:pt x="42" y="30"/>
                    </a:lnTo>
                    <a:close/>
                  </a:path>
                </a:pathLst>
              </a:custGeom>
              <a:grpFill/>
              <a:ln w="6350">
                <a:noFill/>
                <a:round/>
                <a:headEnd/>
                <a:tailEnd/>
              </a:ln>
            </p:spPr>
            <p:txBody>
              <a:bodyPr/>
              <a:lstStyle/>
              <a:p>
                <a:endParaRPr lang="da-DK" sz="2800" b="1"/>
              </a:p>
            </p:txBody>
          </p:sp>
          <p:sp>
            <p:nvSpPr>
              <p:cNvPr id="59" name="Freeform 6021">
                <a:extLst>
                  <a:ext uri="{FF2B5EF4-FFF2-40B4-BE49-F238E27FC236}">
                    <a16:creationId xmlns:a16="http://schemas.microsoft.com/office/drawing/2014/main" id="{447D5809-1176-4A88-A02C-136572B475F3}"/>
                  </a:ext>
                </a:extLst>
              </p:cNvPr>
              <p:cNvSpPr>
                <a:spLocks/>
              </p:cNvSpPr>
              <p:nvPr/>
            </p:nvSpPr>
            <p:spPr bwMode="auto">
              <a:xfrm>
                <a:off x="1504950" y="994093"/>
                <a:ext cx="97790" cy="39370"/>
              </a:xfrm>
              <a:custGeom>
                <a:avLst/>
                <a:gdLst/>
                <a:ahLst/>
                <a:cxnLst>
                  <a:cxn ang="0">
                    <a:pos x="106" y="56"/>
                  </a:cxn>
                  <a:cxn ang="0">
                    <a:pos x="106" y="56"/>
                  </a:cxn>
                  <a:cxn ang="0">
                    <a:pos x="120" y="52"/>
                  </a:cxn>
                  <a:cxn ang="0">
                    <a:pos x="130" y="48"/>
                  </a:cxn>
                  <a:cxn ang="0">
                    <a:pos x="136" y="44"/>
                  </a:cxn>
                  <a:cxn ang="0">
                    <a:pos x="138" y="40"/>
                  </a:cxn>
                  <a:cxn ang="0">
                    <a:pos x="138" y="34"/>
                  </a:cxn>
                  <a:cxn ang="0">
                    <a:pos x="132" y="30"/>
                  </a:cxn>
                  <a:cxn ang="0">
                    <a:pos x="124" y="28"/>
                  </a:cxn>
                  <a:cxn ang="0">
                    <a:pos x="114" y="26"/>
                  </a:cxn>
                  <a:cxn ang="0">
                    <a:pos x="114" y="26"/>
                  </a:cxn>
                  <a:cxn ang="0">
                    <a:pos x="104" y="24"/>
                  </a:cxn>
                  <a:cxn ang="0">
                    <a:pos x="104" y="24"/>
                  </a:cxn>
                  <a:cxn ang="0">
                    <a:pos x="118" y="22"/>
                  </a:cxn>
                  <a:cxn ang="0">
                    <a:pos x="138" y="16"/>
                  </a:cxn>
                  <a:cxn ang="0">
                    <a:pos x="148" y="12"/>
                  </a:cxn>
                  <a:cxn ang="0">
                    <a:pos x="152" y="8"/>
                  </a:cxn>
                  <a:cxn ang="0">
                    <a:pos x="152" y="8"/>
                  </a:cxn>
                  <a:cxn ang="0">
                    <a:pos x="154" y="4"/>
                  </a:cxn>
                  <a:cxn ang="0">
                    <a:pos x="152" y="2"/>
                  </a:cxn>
                  <a:cxn ang="0">
                    <a:pos x="148" y="0"/>
                  </a:cxn>
                  <a:cxn ang="0">
                    <a:pos x="138" y="0"/>
                  </a:cxn>
                  <a:cxn ang="0">
                    <a:pos x="124" y="0"/>
                  </a:cxn>
                  <a:cxn ang="0">
                    <a:pos x="90" y="4"/>
                  </a:cxn>
                  <a:cxn ang="0">
                    <a:pos x="50" y="8"/>
                  </a:cxn>
                  <a:cxn ang="0">
                    <a:pos x="50" y="8"/>
                  </a:cxn>
                  <a:cxn ang="0">
                    <a:pos x="18" y="14"/>
                  </a:cxn>
                  <a:cxn ang="0">
                    <a:pos x="8" y="18"/>
                  </a:cxn>
                  <a:cxn ang="0">
                    <a:pos x="4" y="22"/>
                  </a:cxn>
                  <a:cxn ang="0">
                    <a:pos x="0" y="26"/>
                  </a:cxn>
                  <a:cxn ang="0">
                    <a:pos x="0" y="30"/>
                  </a:cxn>
                  <a:cxn ang="0">
                    <a:pos x="8" y="46"/>
                  </a:cxn>
                  <a:cxn ang="0">
                    <a:pos x="8" y="46"/>
                  </a:cxn>
                  <a:cxn ang="0">
                    <a:pos x="14" y="52"/>
                  </a:cxn>
                  <a:cxn ang="0">
                    <a:pos x="22" y="58"/>
                  </a:cxn>
                  <a:cxn ang="0">
                    <a:pos x="32" y="60"/>
                  </a:cxn>
                  <a:cxn ang="0">
                    <a:pos x="46" y="62"/>
                  </a:cxn>
                  <a:cxn ang="0">
                    <a:pos x="74" y="60"/>
                  </a:cxn>
                  <a:cxn ang="0">
                    <a:pos x="106" y="56"/>
                  </a:cxn>
                  <a:cxn ang="0">
                    <a:pos x="106" y="56"/>
                  </a:cxn>
                </a:cxnLst>
                <a:rect l="0" t="0" r="r" b="b"/>
                <a:pathLst>
                  <a:path w="154" h="62">
                    <a:moveTo>
                      <a:pt x="106" y="56"/>
                    </a:moveTo>
                    <a:lnTo>
                      <a:pt x="106" y="56"/>
                    </a:lnTo>
                    <a:lnTo>
                      <a:pt x="120" y="52"/>
                    </a:lnTo>
                    <a:lnTo>
                      <a:pt x="130" y="48"/>
                    </a:lnTo>
                    <a:lnTo>
                      <a:pt x="136" y="44"/>
                    </a:lnTo>
                    <a:lnTo>
                      <a:pt x="138" y="40"/>
                    </a:lnTo>
                    <a:lnTo>
                      <a:pt x="138" y="34"/>
                    </a:lnTo>
                    <a:lnTo>
                      <a:pt x="132" y="30"/>
                    </a:lnTo>
                    <a:lnTo>
                      <a:pt x="124" y="28"/>
                    </a:lnTo>
                    <a:lnTo>
                      <a:pt x="114" y="26"/>
                    </a:lnTo>
                    <a:lnTo>
                      <a:pt x="114" y="26"/>
                    </a:lnTo>
                    <a:lnTo>
                      <a:pt x="104" y="24"/>
                    </a:lnTo>
                    <a:lnTo>
                      <a:pt x="104" y="24"/>
                    </a:lnTo>
                    <a:lnTo>
                      <a:pt x="118" y="22"/>
                    </a:lnTo>
                    <a:lnTo>
                      <a:pt x="138" y="16"/>
                    </a:lnTo>
                    <a:lnTo>
                      <a:pt x="148" y="12"/>
                    </a:lnTo>
                    <a:lnTo>
                      <a:pt x="152" y="8"/>
                    </a:lnTo>
                    <a:lnTo>
                      <a:pt x="152" y="8"/>
                    </a:lnTo>
                    <a:lnTo>
                      <a:pt x="154" y="4"/>
                    </a:lnTo>
                    <a:lnTo>
                      <a:pt x="152" y="2"/>
                    </a:lnTo>
                    <a:lnTo>
                      <a:pt x="148" y="0"/>
                    </a:lnTo>
                    <a:lnTo>
                      <a:pt x="138" y="0"/>
                    </a:lnTo>
                    <a:lnTo>
                      <a:pt x="124" y="0"/>
                    </a:lnTo>
                    <a:lnTo>
                      <a:pt x="90" y="4"/>
                    </a:lnTo>
                    <a:lnTo>
                      <a:pt x="50" y="8"/>
                    </a:lnTo>
                    <a:lnTo>
                      <a:pt x="50" y="8"/>
                    </a:lnTo>
                    <a:lnTo>
                      <a:pt x="18" y="14"/>
                    </a:lnTo>
                    <a:lnTo>
                      <a:pt x="8" y="18"/>
                    </a:lnTo>
                    <a:lnTo>
                      <a:pt x="4" y="22"/>
                    </a:lnTo>
                    <a:lnTo>
                      <a:pt x="0" y="26"/>
                    </a:lnTo>
                    <a:lnTo>
                      <a:pt x="0" y="30"/>
                    </a:lnTo>
                    <a:lnTo>
                      <a:pt x="8" y="46"/>
                    </a:lnTo>
                    <a:lnTo>
                      <a:pt x="8" y="46"/>
                    </a:lnTo>
                    <a:lnTo>
                      <a:pt x="14" y="52"/>
                    </a:lnTo>
                    <a:lnTo>
                      <a:pt x="22" y="58"/>
                    </a:lnTo>
                    <a:lnTo>
                      <a:pt x="32" y="60"/>
                    </a:lnTo>
                    <a:lnTo>
                      <a:pt x="46" y="62"/>
                    </a:lnTo>
                    <a:lnTo>
                      <a:pt x="74" y="60"/>
                    </a:lnTo>
                    <a:lnTo>
                      <a:pt x="106" y="56"/>
                    </a:lnTo>
                    <a:lnTo>
                      <a:pt x="106" y="56"/>
                    </a:lnTo>
                    <a:close/>
                  </a:path>
                </a:pathLst>
              </a:custGeom>
              <a:grpFill/>
              <a:ln w="6350">
                <a:noFill/>
                <a:round/>
                <a:headEnd/>
                <a:tailEnd/>
              </a:ln>
            </p:spPr>
            <p:txBody>
              <a:bodyPr/>
              <a:lstStyle/>
              <a:p>
                <a:endParaRPr lang="da-DK" sz="2800" b="1"/>
              </a:p>
            </p:txBody>
          </p:sp>
          <p:sp>
            <p:nvSpPr>
              <p:cNvPr id="60" name="Freeform 6022">
                <a:extLst>
                  <a:ext uri="{FF2B5EF4-FFF2-40B4-BE49-F238E27FC236}">
                    <a16:creationId xmlns:a16="http://schemas.microsoft.com/office/drawing/2014/main" id="{35D830B9-CC3A-40F7-8B13-08A0D70C962D}"/>
                  </a:ext>
                </a:extLst>
              </p:cNvPr>
              <p:cNvSpPr>
                <a:spLocks/>
              </p:cNvSpPr>
              <p:nvPr/>
            </p:nvSpPr>
            <p:spPr bwMode="auto">
              <a:xfrm>
                <a:off x="1772920" y="1067753"/>
                <a:ext cx="143510" cy="87630"/>
              </a:xfrm>
              <a:custGeom>
                <a:avLst/>
                <a:gdLst/>
                <a:ahLst/>
                <a:cxnLst>
                  <a:cxn ang="0">
                    <a:pos x="144" y="12"/>
                  </a:cxn>
                  <a:cxn ang="0">
                    <a:pos x="130" y="4"/>
                  </a:cxn>
                  <a:cxn ang="0">
                    <a:pos x="104" y="4"/>
                  </a:cxn>
                  <a:cxn ang="0">
                    <a:pos x="88" y="8"/>
                  </a:cxn>
                  <a:cxn ang="0">
                    <a:pos x="78" y="14"/>
                  </a:cxn>
                  <a:cxn ang="0">
                    <a:pos x="84" y="22"/>
                  </a:cxn>
                  <a:cxn ang="0">
                    <a:pos x="124" y="62"/>
                  </a:cxn>
                  <a:cxn ang="0">
                    <a:pos x="102" y="50"/>
                  </a:cxn>
                  <a:cxn ang="0">
                    <a:pos x="82" y="34"/>
                  </a:cxn>
                  <a:cxn ang="0">
                    <a:pos x="74" y="24"/>
                  </a:cxn>
                  <a:cxn ang="0">
                    <a:pos x="64" y="20"/>
                  </a:cxn>
                  <a:cxn ang="0">
                    <a:pos x="54" y="18"/>
                  </a:cxn>
                  <a:cxn ang="0">
                    <a:pos x="32" y="20"/>
                  </a:cxn>
                  <a:cxn ang="0">
                    <a:pos x="26" y="26"/>
                  </a:cxn>
                  <a:cxn ang="0">
                    <a:pos x="32" y="36"/>
                  </a:cxn>
                  <a:cxn ang="0">
                    <a:pos x="46" y="52"/>
                  </a:cxn>
                  <a:cxn ang="0">
                    <a:pos x="56" y="64"/>
                  </a:cxn>
                  <a:cxn ang="0">
                    <a:pos x="42" y="60"/>
                  </a:cxn>
                  <a:cxn ang="0">
                    <a:pos x="32" y="62"/>
                  </a:cxn>
                  <a:cxn ang="0">
                    <a:pos x="26" y="66"/>
                  </a:cxn>
                  <a:cxn ang="0">
                    <a:pos x="8" y="74"/>
                  </a:cxn>
                  <a:cxn ang="0">
                    <a:pos x="0" y="78"/>
                  </a:cxn>
                  <a:cxn ang="0">
                    <a:pos x="4" y="86"/>
                  </a:cxn>
                  <a:cxn ang="0">
                    <a:pos x="8" y="88"/>
                  </a:cxn>
                  <a:cxn ang="0">
                    <a:pos x="26" y="90"/>
                  </a:cxn>
                  <a:cxn ang="0">
                    <a:pos x="66" y="86"/>
                  </a:cxn>
                  <a:cxn ang="0">
                    <a:pos x="122" y="76"/>
                  </a:cxn>
                  <a:cxn ang="0">
                    <a:pos x="136" y="76"/>
                  </a:cxn>
                  <a:cxn ang="0">
                    <a:pos x="138" y="80"/>
                  </a:cxn>
                  <a:cxn ang="0">
                    <a:pos x="106" y="90"/>
                  </a:cxn>
                  <a:cxn ang="0">
                    <a:pos x="92" y="98"/>
                  </a:cxn>
                  <a:cxn ang="0">
                    <a:pos x="90" y="104"/>
                  </a:cxn>
                  <a:cxn ang="0">
                    <a:pos x="92" y="106"/>
                  </a:cxn>
                  <a:cxn ang="0">
                    <a:pos x="100" y="120"/>
                  </a:cxn>
                  <a:cxn ang="0">
                    <a:pos x="104" y="136"/>
                  </a:cxn>
                  <a:cxn ang="0">
                    <a:pos x="116" y="136"/>
                  </a:cxn>
                  <a:cxn ang="0">
                    <a:pos x="126" y="134"/>
                  </a:cxn>
                  <a:cxn ang="0">
                    <a:pos x="142" y="128"/>
                  </a:cxn>
                  <a:cxn ang="0">
                    <a:pos x="166" y="132"/>
                  </a:cxn>
                  <a:cxn ang="0">
                    <a:pos x="200" y="128"/>
                  </a:cxn>
                  <a:cxn ang="0">
                    <a:pos x="208" y="122"/>
                  </a:cxn>
                  <a:cxn ang="0">
                    <a:pos x="208" y="112"/>
                  </a:cxn>
                  <a:cxn ang="0">
                    <a:pos x="202" y="100"/>
                  </a:cxn>
                  <a:cxn ang="0">
                    <a:pos x="202" y="88"/>
                  </a:cxn>
                  <a:cxn ang="0">
                    <a:pos x="210" y="88"/>
                  </a:cxn>
                  <a:cxn ang="0">
                    <a:pos x="214" y="92"/>
                  </a:cxn>
                  <a:cxn ang="0">
                    <a:pos x="226" y="98"/>
                  </a:cxn>
                  <a:cxn ang="0">
                    <a:pos x="224" y="90"/>
                  </a:cxn>
                  <a:cxn ang="0">
                    <a:pos x="216" y="76"/>
                  </a:cxn>
                  <a:cxn ang="0">
                    <a:pos x="212" y="60"/>
                  </a:cxn>
                  <a:cxn ang="0">
                    <a:pos x="208" y="30"/>
                  </a:cxn>
                  <a:cxn ang="0">
                    <a:pos x="196" y="10"/>
                  </a:cxn>
                  <a:cxn ang="0">
                    <a:pos x="184" y="4"/>
                  </a:cxn>
                  <a:cxn ang="0">
                    <a:pos x="164" y="0"/>
                  </a:cxn>
                  <a:cxn ang="0">
                    <a:pos x="156" y="6"/>
                  </a:cxn>
                  <a:cxn ang="0">
                    <a:pos x="148" y="14"/>
                  </a:cxn>
                  <a:cxn ang="0">
                    <a:pos x="144" y="12"/>
                  </a:cxn>
                </a:cxnLst>
                <a:rect l="0" t="0" r="r" b="b"/>
                <a:pathLst>
                  <a:path w="226" h="138">
                    <a:moveTo>
                      <a:pt x="144" y="12"/>
                    </a:moveTo>
                    <a:lnTo>
                      <a:pt x="144" y="12"/>
                    </a:lnTo>
                    <a:lnTo>
                      <a:pt x="138" y="6"/>
                    </a:lnTo>
                    <a:lnTo>
                      <a:pt x="130" y="4"/>
                    </a:lnTo>
                    <a:lnTo>
                      <a:pt x="118" y="2"/>
                    </a:lnTo>
                    <a:lnTo>
                      <a:pt x="104" y="4"/>
                    </a:lnTo>
                    <a:lnTo>
                      <a:pt x="88" y="8"/>
                    </a:lnTo>
                    <a:lnTo>
                      <a:pt x="88" y="8"/>
                    </a:lnTo>
                    <a:lnTo>
                      <a:pt x="80" y="10"/>
                    </a:lnTo>
                    <a:lnTo>
                      <a:pt x="78" y="14"/>
                    </a:lnTo>
                    <a:lnTo>
                      <a:pt x="80" y="18"/>
                    </a:lnTo>
                    <a:lnTo>
                      <a:pt x="84" y="22"/>
                    </a:lnTo>
                    <a:lnTo>
                      <a:pt x="102" y="38"/>
                    </a:lnTo>
                    <a:lnTo>
                      <a:pt x="124" y="62"/>
                    </a:lnTo>
                    <a:lnTo>
                      <a:pt x="124" y="62"/>
                    </a:lnTo>
                    <a:lnTo>
                      <a:pt x="102" y="50"/>
                    </a:lnTo>
                    <a:lnTo>
                      <a:pt x="90" y="42"/>
                    </a:lnTo>
                    <a:lnTo>
                      <a:pt x="82" y="34"/>
                    </a:lnTo>
                    <a:lnTo>
                      <a:pt x="78" y="28"/>
                    </a:lnTo>
                    <a:lnTo>
                      <a:pt x="74" y="24"/>
                    </a:lnTo>
                    <a:lnTo>
                      <a:pt x="70" y="22"/>
                    </a:lnTo>
                    <a:lnTo>
                      <a:pt x="64" y="20"/>
                    </a:lnTo>
                    <a:lnTo>
                      <a:pt x="54" y="18"/>
                    </a:lnTo>
                    <a:lnTo>
                      <a:pt x="54" y="18"/>
                    </a:lnTo>
                    <a:lnTo>
                      <a:pt x="40" y="18"/>
                    </a:lnTo>
                    <a:lnTo>
                      <a:pt x="32" y="20"/>
                    </a:lnTo>
                    <a:lnTo>
                      <a:pt x="28" y="22"/>
                    </a:lnTo>
                    <a:lnTo>
                      <a:pt x="26" y="26"/>
                    </a:lnTo>
                    <a:lnTo>
                      <a:pt x="28" y="30"/>
                    </a:lnTo>
                    <a:lnTo>
                      <a:pt x="32" y="36"/>
                    </a:lnTo>
                    <a:lnTo>
                      <a:pt x="46" y="52"/>
                    </a:lnTo>
                    <a:lnTo>
                      <a:pt x="46" y="52"/>
                    </a:lnTo>
                    <a:lnTo>
                      <a:pt x="56" y="64"/>
                    </a:lnTo>
                    <a:lnTo>
                      <a:pt x="56" y="64"/>
                    </a:lnTo>
                    <a:lnTo>
                      <a:pt x="52" y="62"/>
                    </a:lnTo>
                    <a:lnTo>
                      <a:pt x="42" y="60"/>
                    </a:lnTo>
                    <a:lnTo>
                      <a:pt x="36" y="60"/>
                    </a:lnTo>
                    <a:lnTo>
                      <a:pt x="32" y="62"/>
                    </a:lnTo>
                    <a:lnTo>
                      <a:pt x="32" y="62"/>
                    </a:lnTo>
                    <a:lnTo>
                      <a:pt x="26" y="66"/>
                    </a:lnTo>
                    <a:lnTo>
                      <a:pt x="20" y="70"/>
                    </a:lnTo>
                    <a:lnTo>
                      <a:pt x="8" y="74"/>
                    </a:lnTo>
                    <a:lnTo>
                      <a:pt x="4" y="76"/>
                    </a:lnTo>
                    <a:lnTo>
                      <a:pt x="0" y="78"/>
                    </a:lnTo>
                    <a:lnTo>
                      <a:pt x="0" y="82"/>
                    </a:lnTo>
                    <a:lnTo>
                      <a:pt x="4" y="86"/>
                    </a:lnTo>
                    <a:lnTo>
                      <a:pt x="4" y="86"/>
                    </a:lnTo>
                    <a:lnTo>
                      <a:pt x="8" y="88"/>
                    </a:lnTo>
                    <a:lnTo>
                      <a:pt x="12" y="90"/>
                    </a:lnTo>
                    <a:lnTo>
                      <a:pt x="26" y="90"/>
                    </a:lnTo>
                    <a:lnTo>
                      <a:pt x="44" y="88"/>
                    </a:lnTo>
                    <a:lnTo>
                      <a:pt x="66" y="86"/>
                    </a:lnTo>
                    <a:lnTo>
                      <a:pt x="106" y="78"/>
                    </a:lnTo>
                    <a:lnTo>
                      <a:pt x="122" y="76"/>
                    </a:lnTo>
                    <a:lnTo>
                      <a:pt x="136" y="76"/>
                    </a:lnTo>
                    <a:lnTo>
                      <a:pt x="136" y="76"/>
                    </a:lnTo>
                    <a:lnTo>
                      <a:pt x="140" y="78"/>
                    </a:lnTo>
                    <a:lnTo>
                      <a:pt x="138" y="80"/>
                    </a:lnTo>
                    <a:lnTo>
                      <a:pt x="118" y="86"/>
                    </a:lnTo>
                    <a:lnTo>
                      <a:pt x="106" y="90"/>
                    </a:lnTo>
                    <a:lnTo>
                      <a:pt x="96" y="94"/>
                    </a:lnTo>
                    <a:lnTo>
                      <a:pt x="92" y="98"/>
                    </a:lnTo>
                    <a:lnTo>
                      <a:pt x="90" y="100"/>
                    </a:lnTo>
                    <a:lnTo>
                      <a:pt x="90" y="104"/>
                    </a:lnTo>
                    <a:lnTo>
                      <a:pt x="92" y="106"/>
                    </a:lnTo>
                    <a:lnTo>
                      <a:pt x="92" y="106"/>
                    </a:lnTo>
                    <a:lnTo>
                      <a:pt x="98" y="114"/>
                    </a:lnTo>
                    <a:lnTo>
                      <a:pt x="100" y="120"/>
                    </a:lnTo>
                    <a:lnTo>
                      <a:pt x="102" y="132"/>
                    </a:lnTo>
                    <a:lnTo>
                      <a:pt x="104" y="136"/>
                    </a:lnTo>
                    <a:lnTo>
                      <a:pt x="108" y="138"/>
                    </a:lnTo>
                    <a:lnTo>
                      <a:pt x="116" y="136"/>
                    </a:lnTo>
                    <a:lnTo>
                      <a:pt x="126" y="134"/>
                    </a:lnTo>
                    <a:lnTo>
                      <a:pt x="126" y="134"/>
                    </a:lnTo>
                    <a:lnTo>
                      <a:pt x="136" y="130"/>
                    </a:lnTo>
                    <a:lnTo>
                      <a:pt x="142" y="128"/>
                    </a:lnTo>
                    <a:lnTo>
                      <a:pt x="166" y="132"/>
                    </a:lnTo>
                    <a:lnTo>
                      <a:pt x="166" y="132"/>
                    </a:lnTo>
                    <a:lnTo>
                      <a:pt x="184" y="132"/>
                    </a:lnTo>
                    <a:lnTo>
                      <a:pt x="200" y="128"/>
                    </a:lnTo>
                    <a:lnTo>
                      <a:pt x="206" y="126"/>
                    </a:lnTo>
                    <a:lnTo>
                      <a:pt x="208" y="122"/>
                    </a:lnTo>
                    <a:lnTo>
                      <a:pt x="210" y="118"/>
                    </a:lnTo>
                    <a:lnTo>
                      <a:pt x="208" y="112"/>
                    </a:lnTo>
                    <a:lnTo>
                      <a:pt x="208" y="112"/>
                    </a:lnTo>
                    <a:lnTo>
                      <a:pt x="202" y="100"/>
                    </a:lnTo>
                    <a:lnTo>
                      <a:pt x="202" y="92"/>
                    </a:lnTo>
                    <a:lnTo>
                      <a:pt x="202" y="88"/>
                    </a:lnTo>
                    <a:lnTo>
                      <a:pt x="206" y="88"/>
                    </a:lnTo>
                    <a:lnTo>
                      <a:pt x="210" y="88"/>
                    </a:lnTo>
                    <a:lnTo>
                      <a:pt x="214" y="92"/>
                    </a:lnTo>
                    <a:lnTo>
                      <a:pt x="214" y="92"/>
                    </a:lnTo>
                    <a:lnTo>
                      <a:pt x="224" y="98"/>
                    </a:lnTo>
                    <a:lnTo>
                      <a:pt x="226" y="98"/>
                    </a:lnTo>
                    <a:lnTo>
                      <a:pt x="226" y="98"/>
                    </a:lnTo>
                    <a:lnTo>
                      <a:pt x="224" y="90"/>
                    </a:lnTo>
                    <a:lnTo>
                      <a:pt x="216" y="76"/>
                    </a:lnTo>
                    <a:lnTo>
                      <a:pt x="216" y="76"/>
                    </a:lnTo>
                    <a:lnTo>
                      <a:pt x="214" y="68"/>
                    </a:lnTo>
                    <a:lnTo>
                      <a:pt x="212" y="60"/>
                    </a:lnTo>
                    <a:lnTo>
                      <a:pt x="210" y="40"/>
                    </a:lnTo>
                    <a:lnTo>
                      <a:pt x="208" y="30"/>
                    </a:lnTo>
                    <a:lnTo>
                      <a:pt x="204" y="20"/>
                    </a:lnTo>
                    <a:lnTo>
                      <a:pt x="196" y="10"/>
                    </a:lnTo>
                    <a:lnTo>
                      <a:pt x="184" y="4"/>
                    </a:lnTo>
                    <a:lnTo>
                      <a:pt x="184" y="4"/>
                    </a:lnTo>
                    <a:lnTo>
                      <a:pt x="172" y="0"/>
                    </a:lnTo>
                    <a:lnTo>
                      <a:pt x="164" y="0"/>
                    </a:lnTo>
                    <a:lnTo>
                      <a:pt x="160" y="2"/>
                    </a:lnTo>
                    <a:lnTo>
                      <a:pt x="156" y="6"/>
                    </a:lnTo>
                    <a:lnTo>
                      <a:pt x="152" y="14"/>
                    </a:lnTo>
                    <a:lnTo>
                      <a:pt x="148" y="14"/>
                    </a:lnTo>
                    <a:lnTo>
                      <a:pt x="144" y="12"/>
                    </a:lnTo>
                    <a:lnTo>
                      <a:pt x="144" y="12"/>
                    </a:lnTo>
                    <a:close/>
                  </a:path>
                </a:pathLst>
              </a:custGeom>
              <a:grpFill/>
              <a:ln w="6350">
                <a:noFill/>
                <a:round/>
                <a:headEnd/>
                <a:tailEnd/>
              </a:ln>
            </p:spPr>
            <p:txBody>
              <a:bodyPr/>
              <a:lstStyle/>
              <a:p>
                <a:endParaRPr lang="da-DK" sz="2800" b="1"/>
              </a:p>
            </p:txBody>
          </p:sp>
          <p:sp>
            <p:nvSpPr>
              <p:cNvPr id="61" name="Freeform 6023">
                <a:extLst>
                  <a:ext uri="{FF2B5EF4-FFF2-40B4-BE49-F238E27FC236}">
                    <a16:creationId xmlns:a16="http://schemas.microsoft.com/office/drawing/2014/main" id="{3A222552-21D4-4439-9A11-35C846247CA3}"/>
                  </a:ext>
                </a:extLst>
              </p:cNvPr>
              <p:cNvSpPr>
                <a:spLocks/>
              </p:cNvSpPr>
              <p:nvPr/>
            </p:nvSpPr>
            <p:spPr bwMode="auto">
              <a:xfrm>
                <a:off x="1842770" y="887413"/>
                <a:ext cx="36830" cy="25400"/>
              </a:xfrm>
              <a:custGeom>
                <a:avLst/>
                <a:gdLst/>
                <a:ahLst/>
                <a:cxnLst>
                  <a:cxn ang="0">
                    <a:pos x="30" y="32"/>
                  </a:cxn>
                  <a:cxn ang="0">
                    <a:pos x="30" y="32"/>
                  </a:cxn>
                  <a:cxn ang="0">
                    <a:pos x="40" y="38"/>
                  </a:cxn>
                  <a:cxn ang="0">
                    <a:pos x="46" y="40"/>
                  </a:cxn>
                  <a:cxn ang="0">
                    <a:pos x="50" y="40"/>
                  </a:cxn>
                  <a:cxn ang="0">
                    <a:pos x="54" y="38"/>
                  </a:cxn>
                  <a:cxn ang="0">
                    <a:pos x="56" y="34"/>
                  </a:cxn>
                  <a:cxn ang="0">
                    <a:pos x="58" y="28"/>
                  </a:cxn>
                  <a:cxn ang="0">
                    <a:pos x="56" y="20"/>
                  </a:cxn>
                  <a:cxn ang="0">
                    <a:pos x="56" y="20"/>
                  </a:cxn>
                  <a:cxn ang="0">
                    <a:pos x="52" y="12"/>
                  </a:cxn>
                  <a:cxn ang="0">
                    <a:pos x="46" y="6"/>
                  </a:cxn>
                  <a:cxn ang="0">
                    <a:pos x="36" y="2"/>
                  </a:cxn>
                  <a:cxn ang="0">
                    <a:pos x="26" y="0"/>
                  </a:cxn>
                  <a:cxn ang="0">
                    <a:pos x="16" y="0"/>
                  </a:cxn>
                  <a:cxn ang="0">
                    <a:pos x="6" y="2"/>
                  </a:cxn>
                  <a:cxn ang="0">
                    <a:pos x="2" y="6"/>
                  </a:cxn>
                  <a:cxn ang="0">
                    <a:pos x="0" y="10"/>
                  </a:cxn>
                  <a:cxn ang="0">
                    <a:pos x="0" y="14"/>
                  </a:cxn>
                  <a:cxn ang="0">
                    <a:pos x="0" y="14"/>
                  </a:cxn>
                  <a:cxn ang="0">
                    <a:pos x="0" y="18"/>
                  </a:cxn>
                  <a:cxn ang="0">
                    <a:pos x="4" y="22"/>
                  </a:cxn>
                  <a:cxn ang="0">
                    <a:pos x="10" y="24"/>
                  </a:cxn>
                  <a:cxn ang="0">
                    <a:pos x="18" y="26"/>
                  </a:cxn>
                  <a:cxn ang="0">
                    <a:pos x="24" y="28"/>
                  </a:cxn>
                  <a:cxn ang="0">
                    <a:pos x="30" y="32"/>
                  </a:cxn>
                  <a:cxn ang="0">
                    <a:pos x="30" y="32"/>
                  </a:cxn>
                </a:cxnLst>
                <a:rect l="0" t="0" r="r" b="b"/>
                <a:pathLst>
                  <a:path w="58" h="40">
                    <a:moveTo>
                      <a:pt x="30" y="32"/>
                    </a:moveTo>
                    <a:lnTo>
                      <a:pt x="30" y="32"/>
                    </a:lnTo>
                    <a:lnTo>
                      <a:pt x="40" y="38"/>
                    </a:lnTo>
                    <a:lnTo>
                      <a:pt x="46" y="40"/>
                    </a:lnTo>
                    <a:lnTo>
                      <a:pt x="50" y="40"/>
                    </a:lnTo>
                    <a:lnTo>
                      <a:pt x="54" y="38"/>
                    </a:lnTo>
                    <a:lnTo>
                      <a:pt x="56" y="34"/>
                    </a:lnTo>
                    <a:lnTo>
                      <a:pt x="58" y="28"/>
                    </a:lnTo>
                    <a:lnTo>
                      <a:pt x="56" y="20"/>
                    </a:lnTo>
                    <a:lnTo>
                      <a:pt x="56" y="20"/>
                    </a:lnTo>
                    <a:lnTo>
                      <a:pt x="52" y="12"/>
                    </a:lnTo>
                    <a:lnTo>
                      <a:pt x="46" y="6"/>
                    </a:lnTo>
                    <a:lnTo>
                      <a:pt x="36" y="2"/>
                    </a:lnTo>
                    <a:lnTo>
                      <a:pt x="26" y="0"/>
                    </a:lnTo>
                    <a:lnTo>
                      <a:pt x="16" y="0"/>
                    </a:lnTo>
                    <a:lnTo>
                      <a:pt x="6" y="2"/>
                    </a:lnTo>
                    <a:lnTo>
                      <a:pt x="2" y="6"/>
                    </a:lnTo>
                    <a:lnTo>
                      <a:pt x="0" y="10"/>
                    </a:lnTo>
                    <a:lnTo>
                      <a:pt x="0" y="14"/>
                    </a:lnTo>
                    <a:lnTo>
                      <a:pt x="0" y="14"/>
                    </a:lnTo>
                    <a:lnTo>
                      <a:pt x="0" y="18"/>
                    </a:lnTo>
                    <a:lnTo>
                      <a:pt x="4" y="22"/>
                    </a:lnTo>
                    <a:lnTo>
                      <a:pt x="10" y="24"/>
                    </a:lnTo>
                    <a:lnTo>
                      <a:pt x="18" y="26"/>
                    </a:lnTo>
                    <a:lnTo>
                      <a:pt x="24" y="28"/>
                    </a:lnTo>
                    <a:lnTo>
                      <a:pt x="30" y="32"/>
                    </a:lnTo>
                    <a:lnTo>
                      <a:pt x="30" y="32"/>
                    </a:lnTo>
                    <a:close/>
                  </a:path>
                </a:pathLst>
              </a:custGeom>
              <a:grpFill/>
              <a:ln w="6350">
                <a:noFill/>
                <a:round/>
                <a:headEnd/>
                <a:tailEnd/>
              </a:ln>
            </p:spPr>
            <p:txBody>
              <a:bodyPr/>
              <a:lstStyle/>
              <a:p>
                <a:endParaRPr lang="da-DK" sz="2800" b="1"/>
              </a:p>
            </p:txBody>
          </p:sp>
          <p:sp>
            <p:nvSpPr>
              <p:cNvPr id="62" name="Freeform 6024">
                <a:extLst>
                  <a:ext uri="{FF2B5EF4-FFF2-40B4-BE49-F238E27FC236}">
                    <a16:creationId xmlns:a16="http://schemas.microsoft.com/office/drawing/2014/main" id="{B08DF6AA-ADA9-47E7-A81F-1BF9CBD17F2A}"/>
                  </a:ext>
                </a:extLst>
              </p:cNvPr>
              <p:cNvSpPr>
                <a:spLocks/>
              </p:cNvSpPr>
              <p:nvPr/>
            </p:nvSpPr>
            <p:spPr bwMode="auto">
              <a:xfrm>
                <a:off x="1507490" y="963613"/>
                <a:ext cx="102870" cy="24130"/>
              </a:xfrm>
              <a:custGeom>
                <a:avLst/>
                <a:gdLst/>
                <a:ahLst/>
                <a:cxnLst>
                  <a:cxn ang="0">
                    <a:pos x="20" y="34"/>
                  </a:cxn>
                  <a:cxn ang="0">
                    <a:pos x="20" y="34"/>
                  </a:cxn>
                  <a:cxn ang="0">
                    <a:pos x="26" y="32"/>
                  </a:cxn>
                  <a:cxn ang="0">
                    <a:pos x="34" y="32"/>
                  </a:cxn>
                  <a:cxn ang="0">
                    <a:pos x="60" y="36"/>
                  </a:cxn>
                  <a:cxn ang="0">
                    <a:pos x="60" y="36"/>
                  </a:cxn>
                  <a:cxn ang="0">
                    <a:pos x="72" y="38"/>
                  </a:cxn>
                  <a:cxn ang="0">
                    <a:pos x="76" y="36"/>
                  </a:cxn>
                  <a:cxn ang="0">
                    <a:pos x="84" y="34"/>
                  </a:cxn>
                  <a:cxn ang="0">
                    <a:pos x="108" y="34"/>
                  </a:cxn>
                  <a:cxn ang="0">
                    <a:pos x="108" y="34"/>
                  </a:cxn>
                  <a:cxn ang="0">
                    <a:pos x="124" y="36"/>
                  </a:cxn>
                  <a:cxn ang="0">
                    <a:pos x="138" y="34"/>
                  </a:cxn>
                  <a:cxn ang="0">
                    <a:pos x="150" y="32"/>
                  </a:cxn>
                  <a:cxn ang="0">
                    <a:pos x="158" y="28"/>
                  </a:cxn>
                  <a:cxn ang="0">
                    <a:pos x="162" y="24"/>
                  </a:cxn>
                  <a:cxn ang="0">
                    <a:pos x="162" y="22"/>
                  </a:cxn>
                  <a:cxn ang="0">
                    <a:pos x="160" y="18"/>
                  </a:cxn>
                  <a:cxn ang="0">
                    <a:pos x="152" y="12"/>
                  </a:cxn>
                  <a:cxn ang="0">
                    <a:pos x="138" y="6"/>
                  </a:cxn>
                  <a:cxn ang="0">
                    <a:pos x="138" y="6"/>
                  </a:cxn>
                  <a:cxn ang="0">
                    <a:pos x="122" y="0"/>
                  </a:cxn>
                  <a:cxn ang="0">
                    <a:pos x="108" y="0"/>
                  </a:cxn>
                  <a:cxn ang="0">
                    <a:pos x="96" y="0"/>
                  </a:cxn>
                  <a:cxn ang="0">
                    <a:pos x="86" y="2"/>
                  </a:cxn>
                  <a:cxn ang="0">
                    <a:pos x="64" y="10"/>
                  </a:cxn>
                  <a:cxn ang="0">
                    <a:pos x="52" y="14"/>
                  </a:cxn>
                  <a:cxn ang="0">
                    <a:pos x="36" y="16"/>
                  </a:cxn>
                  <a:cxn ang="0">
                    <a:pos x="36" y="16"/>
                  </a:cxn>
                  <a:cxn ang="0">
                    <a:pos x="22" y="20"/>
                  </a:cxn>
                  <a:cxn ang="0">
                    <a:pos x="10" y="24"/>
                  </a:cxn>
                  <a:cxn ang="0">
                    <a:pos x="4" y="28"/>
                  </a:cxn>
                  <a:cxn ang="0">
                    <a:pos x="0" y="30"/>
                  </a:cxn>
                  <a:cxn ang="0">
                    <a:pos x="0" y="34"/>
                  </a:cxn>
                  <a:cxn ang="0">
                    <a:pos x="4" y="36"/>
                  </a:cxn>
                  <a:cxn ang="0">
                    <a:pos x="10" y="36"/>
                  </a:cxn>
                  <a:cxn ang="0">
                    <a:pos x="20" y="34"/>
                  </a:cxn>
                  <a:cxn ang="0">
                    <a:pos x="20" y="34"/>
                  </a:cxn>
                </a:cxnLst>
                <a:rect l="0" t="0" r="r" b="b"/>
                <a:pathLst>
                  <a:path w="162" h="38">
                    <a:moveTo>
                      <a:pt x="20" y="34"/>
                    </a:moveTo>
                    <a:lnTo>
                      <a:pt x="20" y="34"/>
                    </a:lnTo>
                    <a:lnTo>
                      <a:pt x="26" y="32"/>
                    </a:lnTo>
                    <a:lnTo>
                      <a:pt x="34" y="32"/>
                    </a:lnTo>
                    <a:lnTo>
                      <a:pt x="60" y="36"/>
                    </a:lnTo>
                    <a:lnTo>
                      <a:pt x="60" y="36"/>
                    </a:lnTo>
                    <a:lnTo>
                      <a:pt x="72" y="38"/>
                    </a:lnTo>
                    <a:lnTo>
                      <a:pt x="76" y="36"/>
                    </a:lnTo>
                    <a:lnTo>
                      <a:pt x="84" y="34"/>
                    </a:lnTo>
                    <a:lnTo>
                      <a:pt x="108" y="34"/>
                    </a:lnTo>
                    <a:lnTo>
                      <a:pt x="108" y="34"/>
                    </a:lnTo>
                    <a:lnTo>
                      <a:pt x="124" y="36"/>
                    </a:lnTo>
                    <a:lnTo>
                      <a:pt x="138" y="34"/>
                    </a:lnTo>
                    <a:lnTo>
                      <a:pt x="150" y="32"/>
                    </a:lnTo>
                    <a:lnTo>
                      <a:pt x="158" y="28"/>
                    </a:lnTo>
                    <a:lnTo>
                      <a:pt x="162" y="24"/>
                    </a:lnTo>
                    <a:lnTo>
                      <a:pt x="162" y="22"/>
                    </a:lnTo>
                    <a:lnTo>
                      <a:pt x="160" y="18"/>
                    </a:lnTo>
                    <a:lnTo>
                      <a:pt x="152" y="12"/>
                    </a:lnTo>
                    <a:lnTo>
                      <a:pt x="138" y="6"/>
                    </a:lnTo>
                    <a:lnTo>
                      <a:pt x="138" y="6"/>
                    </a:lnTo>
                    <a:lnTo>
                      <a:pt x="122" y="0"/>
                    </a:lnTo>
                    <a:lnTo>
                      <a:pt x="108" y="0"/>
                    </a:lnTo>
                    <a:lnTo>
                      <a:pt x="96" y="0"/>
                    </a:lnTo>
                    <a:lnTo>
                      <a:pt x="86" y="2"/>
                    </a:lnTo>
                    <a:lnTo>
                      <a:pt x="64" y="10"/>
                    </a:lnTo>
                    <a:lnTo>
                      <a:pt x="52" y="14"/>
                    </a:lnTo>
                    <a:lnTo>
                      <a:pt x="36" y="16"/>
                    </a:lnTo>
                    <a:lnTo>
                      <a:pt x="36" y="16"/>
                    </a:lnTo>
                    <a:lnTo>
                      <a:pt x="22" y="20"/>
                    </a:lnTo>
                    <a:lnTo>
                      <a:pt x="10" y="24"/>
                    </a:lnTo>
                    <a:lnTo>
                      <a:pt x="4" y="28"/>
                    </a:lnTo>
                    <a:lnTo>
                      <a:pt x="0" y="30"/>
                    </a:lnTo>
                    <a:lnTo>
                      <a:pt x="0" y="34"/>
                    </a:lnTo>
                    <a:lnTo>
                      <a:pt x="4" y="36"/>
                    </a:lnTo>
                    <a:lnTo>
                      <a:pt x="10" y="36"/>
                    </a:lnTo>
                    <a:lnTo>
                      <a:pt x="20" y="34"/>
                    </a:lnTo>
                    <a:lnTo>
                      <a:pt x="20" y="34"/>
                    </a:lnTo>
                    <a:close/>
                  </a:path>
                </a:pathLst>
              </a:custGeom>
              <a:grpFill/>
              <a:ln w="6350">
                <a:noFill/>
                <a:round/>
                <a:headEnd/>
                <a:tailEnd/>
              </a:ln>
            </p:spPr>
            <p:txBody>
              <a:bodyPr/>
              <a:lstStyle/>
              <a:p>
                <a:endParaRPr lang="da-DK" sz="2800" b="1"/>
              </a:p>
            </p:txBody>
          </p:sp>
          <p:sp>
            <p:nvSpPr>
              <p:cNvPr id="63" name="Freeform 6025">
                <a:extLst>
                  <a:ext uri="{FF2B5EF4-FFF2-40B4-BE49-F238E27FC236}">
                    <a16:creationId xmlns:a16="http://schemas.microsoft.com/office/drawing/2014/main" id="{159349DE-DE04-4748-8795-1CBDC2759E13}"/>
                  </a:ext>
                </a:extLst>
              </p:cNvPr>
              <p:cNvSpPr>
                <a:spLocks/>
              </p:cNvSpPr>
              <p:nvPr/>
            </p:nvSpPr>
            <p:spPr bwMode="auto">
              <a:xfrm>
                <a:off x="1703070" y="928053"/>
                <a:ext cx="168910" cy="82550"/>
              </a:xfrm>
              <a:custGeom>
                <a:avLst/>
                <a:gdLst/>
                <a:ahLst/>
                <a:cxnLst>
                  <a:cxn ang="0">
                    <a:pos x="30" y="40"/>
                  </a:cxn>
                  <a:cxn ang="0">
                    <a:pos x="32" y="50"/>
                  </a:cxn>
                  <a:cxn ang="0">
                    <a:pos x="40" y="46"/>
                  </a:cxn>
                  <a:cxn ang="0">
                    <a:pos x="52" y="44"/>
                  </a:cxn>
                  <a:cxn ang="0">
                    <a:pos x="66" y="54"/>
                  </a:cxn>
                  <a:cxn ang="0">
                    <a:pos x="72" y="62"/>
                  </a:cxn>
                  <a:cxn ang="0">
                    <a:pos x="68" y="70"/>
                  </a:cxn>
                  <a:cxn ang="0">
                    <a:pos x="44" y="68"/>
                  </a:cxn>
                  <a:cxn ang="0">
                    <a:pos x="26" y="70"/>
                  </a:cxn>
                  <a:cxn ang="0">
                    <a:pos x="24" y="74"/>
                  </a:cxn>
                  <a:cxn ang="0">
                    <a:pos x="24" y="82"/>
                  </a:cxn>
                  <a:cxn ang="0">
                    <a:pos x="36" y="90"/>
                  </a:cxn>
                  <a:cxn ang="0">
                    <a:pos x="60" y="92"/>
                  </a:cxn>
                  <a:cxn ang="0">
                    <a:pos x="78" y="88"/>
                  </a:cxn>
                  <a:cxn ang="0">
                    <a:pos x="108" y="82"/>
                  </a:cxn>
                  <a:cxn ang="0">
                    <a:pos x="114" y="86"/>
                  </a:cxn>
                  <a:cxn ang="0">
                    <a:pos x="120" y="92"/>
                  </a:cxn>
                  <a:cxn ang="0">
                    <a:pos x="146" y="90"/>
                  </a:cxn>
                  <a:cxn ang="0">
                    <a:pos x="156" y="90"/>
                  </a:cxn>
                  <a:cxn ang="0">
                    <a:pos x="170" y="92"/>
                  </a:cxn>
                  <a:cxn ang="0">
                    <a:pos x="182" y="102"/>
                  </a:cxn>
                  <a:cxn ang="0">
                    <a:pos x="194" y="120"/>
                  </a:cxn>
                  <a:cxn ang="0">
                    <a:pos x="204" y="126"/>
                  </a:cxn>
                  <a:cxn ang="0">
                    <a:pos x="220" y="130"/>
                  </a:cxn>
                  <a:cxn ang="0">
                    <a:pos x="244" y="128"/>
                  </a:cxn>
                  <a:cxn ang="0">
                    <a:pos x="254" y="126"/>
                  </a:cxn>
                  <a:cxn ang="0">
                    <a:pos x="266" y="122"/>
                  </a:cxn>
                  <a:cxn ang="0">
                    <a:pos x="266" y="114"/>
                  </a:cxn>
                  <a:cxn ang="0">
                    <a:pos x="258" y="102"/>
                  </a:cxn>
                  <a:cxn ang="0">
                    <a:pos x="234" y="82"/>
                  </a:cxn>
                  <a:cxn ang="0">
                    <a:pos x="238" y="78"/>
                  </a:cxn>
                  <a:cxn ang="0">
                    <a:pos x="242" y="76"/>
                  </a:cxn>
                  <a:cxn ang="0">
                    <a:pos x="248" y="68"/>
                  </a:cxn>
                  <a:cxn ang="0">
                    <a:pos x="242" y="58"/>
                  </a:cxn>
                  <a:cxn ang="0">
                    <a:pos x="224" y="50"/>
                  </a:cxn>
                  <a:cxn ang="0">
                    <a:pos x="210" y="48"/>
                  </a:cxn>
                  <a:cxn ang="0">
                    <a:pos x="186" y="44"/>
                  </a:cxn>
                  <a:cxn ang="0">
                    <a:pos x="184" y="40"/>
                  </a:cxn>
                  <a:cxn ang="0">
                    <a:pos x="176" y="32"/>
                  </a:cxn>
                  <a:cxn ang="0">
                    <a:pos x="164" y="28"/>
                  </a:cxn>
                  <a:cxn ang="0">
                    <a:pos x="140" y="26"/>
                  </a:cxn>
                  <a:cxn ang="0">
                    <a:pos x="130" y="32"/>
                  </a:cxn>
                  <a:cxn ang="0">
                    <a:pos x="124" y="36"/>
                  </a:cxn>
                  <a:cxn ang="0">
                    <a:pos x="118" y="28"/>
                  </a:cxn>
                  <a:cxn ang="0">
                    <a:pos x="114" y="24"/>
                  </a:cxn>
                  <a:cxn ang="0">
                    <a:pos x="96" y="10"/>
                  </a:cxn>
                  <a:cxn ang="0">
                    <a:pos x="58" y="0"/>
                  </a:cxn>
                  <a:cxn ang="0">
                    <a:pos x="22" y="2"/>
                  </a:cxn>
                  <a:cxn ang="0">
                    <a:pos x="10" y="8"/>
                  </a:cxn>
                  <a:cxn ang="0">
                    <a:pos x="2" y="18"/>
                  </a:cxn>
                  <a:cxn ang="0">
                    <a:pos x="0" y="28"/>
                  </a:cxn>
                  <a:cxn ang="0">
                    <a:pos x="8" y="34"/>
                  </a:cxn>
                  <a:cxn ang="0">
                    <a:pos x="20" y="30"/>
                  </a:cxn>
                  <a:cxn ang="0">
                    <a:pos x="28" y="34"/>
                  </a:cxn>
                  <a:cxn ang="0">
                    <a:pos x="30" y="40"/>
                  </a:cxn>
                </a:cxnLst>
                <a:rect l="0" t="0" r="r" b="b"/>
                <a:pathLst>
                  <a:path w="266" h="130">
                    <a:moveTo>
                      <a:pt x="30" y="40"/>
                    </a:moveTo>
                    <a:lnTo>
                      <a:pt x="30" y="40"/>
                    </a:lnTo>
                    <a:lnTo>
                      <a:pt x="30" y="48"/>
                    </a:lnTo>
                    <a:lnTo>
                      <a:pt x="32" y="50"/>
                    </a:lnTo>
                    <a:lnTo>
                      <a:pt x="36" y="50"/>
                    </a:lnTo>
                    <a:lnTo>
                      <a:pt x="40" y="46"/>
                    </a:lnTo>
                    <a:lnTo>
                      <a:pt x="46" y="44"/>
                    </a:lnTo>
                    <a:lnTo>
                      <a:pt x="52" y="44"/>
                    </a:lnTo>
                    <a:lnTo>
                      <a:pt x="58" y="46"/>
                    </a:lnTo>
                    <a:lnTo>
                      <a:pt x="66" y="54"/>
                    </a:lnTo>
                    <a:lnTo>
                      <a:pt x="66" y="54"/>
                    </a:lnTo>
                    <a:lnTo>
                      <a:pt x="72" y="62"/>
                    </a:lnTo>
                    <a:lnTo>
                      <a:pt x="72" y="66"/>
                    </a:lnTo>
                    <a:lnTo>
                      <a:pt x="68" y="70"/>
                    </a:lnTo>
                    <a:lnTo>
                      <a:pt x="60" y="70"/>
                    </a:lnTo>
                    <a:lnTo>
                      <a:pt x="44" y="68"/>
                    </a:lnTo>
                    <a:lnTo>
                      <a:pt x="34" y="68"/>
                    </a:lnTo>
                    <a:lnTo>
                      <a:pt x="26" y="70"/>
                    </a:lnTo>
                    <a:lnTo>
                      <a:pt x="26" y="70"/>
                    </a:lnTo>
                    <a:lnTo>
                      <a:pt x="24" y="74"/>
                    </a:lnTo>
                    <a:lnTo>
                      <a:pt x="22" y="78"/>
                    </a:lnTo>
                    <a:lnTo>
                      <a:pt x="24" y="82"/>
                    </a:lnTo>
                    <a:lnTo>
                      <a:pt x="28" y="86"/>
                    </a:lnTo>
                    <a:lnTo>
                      <a:pt x="36" y="90"/>
                    </a:lnTo>
                    <a:lnTo>
                      <a:pt x="46" y="92"/>
                    </a:lnTo>
                    <a:lnTo>
                      <a:pt x="60" y="92"/>
                    </a:lnTo>
                    <a:lnTo>
                      <a:pt x="78" y="88"/>
                    </a:lnTo>
                    <a:lnTo>
                      <a:pt x="78" y="88"/>
                    </a:lnTo>
                    <a:lnTo>
                      <a:pt x="98" y="82"/>
                    </a:lnTo>
                    <a:lnTo>
                      <a:pt x="108" y="82"/>
                    </a:lnTo>
                    <a:lnTo>
                      <a:pt x="112" y="82"/>
                    </a:lnTo>
                    <a:lnTo>
                      <a:pt x="114" y="86"/>
                    </a:lnTo>
                    <a:lnTo>
                      <a:pt x="116" y="88"/>
                    </a:lnTo>
                    <a:lnTo>
                      <a:pt x="120" y="92"/>
                    </a:lnTo>
                    <a:lnTo>
                      <a:pt x="130" y="92"/>
                    </a:lnTo>
                    <a:lnTo>
                      <a:pt x="146" y="90"/>
                    </a:lnTo>
                    <a:lnTo>
                      <a:pt x="146" y="90"/>
                    </a:lnTo>
                    <a:lnTo>
                      <a:pt x="156" y="90"/>
                    </a:lnTo>
                    <a:lnTo>
                      <a:pt x="164" y="90"/>
                    </a:lnTo>
                    <a:lnTo>
                      <a:pt x="170" y="92"/>
                    </a:lnTo>
                    <a:lnTo>
                      <a:pt x="174" y="94"/>
                    </a:lnTo>
                    <a:lnTo>
                      <a:pt x="182" y="102"/>
                    </a:lnTo>
                    <a:lnTo>
                      <a:pt x="186" y="110"/>
                    </a:lnTo>
                    <a:lnTo>
                      <a:pt x="194" y="120"/>
                    </a:lnTo>
                    <a:lnTo>
                      <a:pt x="198" y="124"/>
                    </a:lnTo>
                    <a:lnTo>
                      <a:pt x="204" y="126"/>
                    </a:lnTo>
                    <a:lnTo>
                      <a:pt x="210" y="128"/>
                    </a:lnTo>
                    <a:lnTo>
                      <a:pt x="220" y="130"/>
                    </a:lnTo>
                    <a:lnTo>
                      <a:pt x="230" y="130"/>
                    </a:lnTo>
                    <a:lnTo>
                      <a:pt x="244" y="128"/>
                    </a:lnTo>
                    <a:lnTo>
                      <a:pt x="244" y="128"/>
                    </a:lnTo>
                    <a:lnTo>
                      <a:pt x="254" y="126"/>
                    </a:lnTo>
                    <a:lnTo>
                      <a:pt x="262" y="124"/>
                    </a:lnTo>
                    <a:lnTo>
                      <a:pt x="266" y="122"/>
                    </a:lnTo>
                    <a:lnTo>
                      <a:pt x="266" y="118"/>
                    </a:lnTo>
                    <a:lnTo>
                      <a:pt x="266" y="114"/>
                    </a:lnTo>
                    <a:lnTo>
                      <a:pt x="264" y="110"/>
                    </a:lnTo>
                    <a:lnTo>
                      <a:pt x="258" y="102"/>
                    </a:lnTo>
                    <a:lnTo>
                      <a:pt x="240" y="88"/>
                    </a:lnTo>
                    <a:lnTo>
                      <a:pt x="234" y="82"/>
                    </a:lnTo>
                    <a:lnTo>
                      <a:pt x="234" y="80"/>
                    </a:lnTo>
                    <a:lnTo>
                      <a:pt x="238" y="78"/>
                    </a:lnTo>
                    <a:lnTo>
                      <a:pt x="238" y="78"/>
                    </a:lnTo>
                    <a:lnTo>
                      <a:pt x="242" y="76"/>
                    </a:lnTo>
                    <a:lnTo>
                      <a:pt x="246" y="72"/>
                    </a:lnTo>
                    <a:lnTo>
                      <a:pt x="248" y="68"/>
                    </a:lnTo>
                    <a:lnTo>
                      <a:pt x="246" y="64"/>
                    </a:lnTo>
                    <a:lnTo>
                      <a:pt x="242" y="58"/>
                    </a:lnTo>
                    <a:lnTo>
                      <a:pt x="236" y="54"/>
                    </a:lnTo>
                    <a:lnTo>
                      <a:pt x="224" y="50"/>
                    </a:lnTo>
                    <a:lnTo>
                      <a:pt x="210" y="48"/>
                    </a:lnTo>
                    <a:lnTo>
                      <a:pt x="210" y="48"/>
                    </a:lnTo>
                    <a:lnTo>
                      <a:pt x="190" y="46"/>
                    </a:lnTo>
                    <a:lnTo>
                      <a:pt x="186" y="44"/>
                    </a:lnTo>
                    <a:lnTo>
                      <a:pt x="186" y="42"/>
                    </a:lnTo>
                    <a:lnTo>
                      <a:pt x="184" y="40"/>
                    </a:lnTo>
                    <a:lnTo>
                      <a:pt x="182" y="36"/>
                    </a:lnTo>
                    <a:lnTo>
                      <a:pt x="176" y="32"/>
                    </a:lnTo>
                    <a:lnTo>
                      <a:pt x="164" y="28"/>
                    </a:lnTo>
                    <a:lnTo>
                      <a:pt x="164" y="28"/>
                    </a:lnTo>
                    <a:lnTo>
                      <a:pt x="150" y="26"/>
                    </a:lnTo>
                    <a:lnTo>
                      <a:pt x="140" y="26"/>
                    </a:lnTo>
                    <a:lnTo>
                      <a:pt x="134" y="28"/>
                    </a:lnTo>
                    <a:lnTo>
                      <a:pt x="130" y="32"/>
                    </a:lnTo>
                    <a:lnTo>
                      <a:pt x="126" y="34"/>
                    </a:lnTo>
                    <a:lnTo>
                      <a:pt x="124" y="36"/>
                    </a:lnTo>
                    <a:lnTo>
                      <a:pt x="122" y="34"/>
                    </a:lnTo>
                    <a:lnTo>
                      <a:pt x="118" y="28"/>
                    </a:lnTo>
                    <a:lnTo>
                      <a:pt x="118" y="28"/>
                    </a:lnTo>
                    <a:lnTo>
                      <a:pt x="114" y="24"/>
                    </a:lnTo>
                    <a:lnTo>
                      <a:pt x="110" y="18"/>
                    </a:lnTo>
                    <a:lnTo>
                      <a:pt x="96" y="10"/>
                    </a:lnTo>
                    <a:lnTo>
                      <a:pt x="78" y="4"/>
                    </a:lnTo>
                    <a:lnTo>
                      <a:pt x="58" y="0"/>
                    </a:lnTo>
                    <a:lnTo>
                      <a:pt x="40" y="0"/>
                    </a:lnTo>
                    <a:lnTo>
                      <a:pt x="22" y="2"/>
                    </a:lnTo>
                    <a:lnTo>
                      <a:pt x="14" y="4"/>
                    </a:lnTo>
                    <a:lnTo>
                      <a:pt x="10" y="8"/>
                    </a:lnTo>
                    <a:lnTo>
                      <a:pt x="4" y="12"/>
                    </a:lnTo>
                    <a:lnTo>
                      <a:pt x="2" y="18"/>
                    </a:lnTo>
                    <a:lnTo>
                      <a:pt x="2" y="18"/>
                    </a:lnTo>
                    <a:lnTo>
                      <a:pt x="0" y="28"/>
                    </a:lnTo>
                    <a:lnTo>
                      <a:pt x="2" y="32"/>
                    </a:lnTo>
                    <a:lnTo>
                      <a:pt x="8" y="34"/>
                    </a:lnTo>
                    <a:lnTo>
                      <a:pt x="14" y="32"/>
                    </a:lnTo>
                    <a:lnTo>
                      <a:pt x="20" y="30"/>
                    </a:lnTo>
                    <a:lnTo>
                      <a:pt x="24" y="30"/>
                    </a:lnTo>
                    <a:lnTo>
                      <a:pt x="28" y="34"/>
                    </a:lnTo>
                    <a:lnTo>
                      <a:pt x="30" y="40"/>
                    </a:lnTo>
                    <a:lnTo>
                      <a:pt x="30" y="40"/>
                    </a:lnTo>
                    <a:close/>
                  </a:path>
                </a:pathLst>
              </a:custGeom>
              <a:grpFill/>
              <a:ln w="6350">
                <a:noFill/>
                <a:round/>
                <a:headEnd/>
                <a:tailEnd/>
              </a:ln>
            </p:spPr>
            <p:txBody>
              <a:bodyPr/>
              <a:lstStyle/>
              <a:p>
                <a:endParaRPr lang="da-DK" sz="2800" b="1"/>
              </a:p>
            </p:txBody>
          </p:sp>
          <p:sp>
            <p:nvSpPr>
              <p:cNvPr id="64" name="Freeform 6026">
                <a:extLst>
                  <a:ext uri="{FF2B5EF4-FFF2-40B4-BE49-F238E27FC236}">
                    <a16:creationId xmlns:a16="http://schemas.microsoft.com/office/drawing/2014/main" id="{AE2C7C53-2379-404C-BC15-8F5525438DFD}"/>
                  </a:ext>
                </a:extLst>
              </p:cNvPr>
              <p:cNvSpPr>
                <a:spLocks/>
              </p:cNvSpPr>
              <p:nvPr/>
            </p:nvSpPr>
            <p:spPr bwMode="auto">
              <a:xfrm>
                <a:off x="1694180" y="1013143"/>
                <a:ext cx="44450" cy="33020"/>
              </a:xfrm>
              <a:custGeom>
                <a:avLst/>
                <a:gdLst/>
                <a:ahLst/>
                <a:cxnLst>
                  <a:cxn ang="0">
                    <a:pos x="56" y="52"/>
                  </a:cxn>
                  <a:cxn ang="0">
                    <a:pos x="56" y="52"/>
                  </a:cxn>
                  <a:cxn ang="0">
                    <a:pos x="66" y="50"/>
                  </a:cxn>
                  <a:cxn ang="0">
                    <a:pos x="68" y="48"/>
                  </a:cxn>
                  <a:cxn ang="0">
                    <a:pos x="70" y="46"/>
                  </a:cxn>
                  <a:cxn ang="0">
                    <a:pos x="70" y="44"/>
                  </a:cxn>
                  <a:cxn ang="0">
                    <a:pos x="68" y="40"/>
                  </a:cxn>
                  <a:cxn ang="0">
                    <a:pos x="56" y="26"/>
                  </a:cxn>
                  <a:cxn ang="0">
                    <a:pos x="56" y="26"/>
                  </a:cxn>
                  <a:cxn ang="0">
                    <a:pos x="46" y="18"/>
                  </a:cxn>
                  <a:cxn ang="0">
                    <a:pos x="36" y="12"/>
                  </a:cxn>
                  <a:cxn ang="0">
                    <a:pos x="26" y="6"/>
                  </a:cxn>
                  <a:cxn ang="0">
                    <a:pos x="16" y="2"/>
                  </a:cxn>
                  <a:cxn ang="0">
                    <a:pos x="8" y="0"/>
                  </a:cxn>
                  <a:cxn ang="0">
                    <a:pos x="2" y="0"/>
                  </a:cxn>
                  <a:cxn ang="0">
                    <a:pos x="0" y="2"/>
                  </a:cxn>
                  <a:cxn ang="0">
                    <a:pos x="0" y="8"/>
                  </a:cxn>
                  <a:cxn ang="0">
                    <a:pos x="0" y="8"/>
                  </a:cxn>
                  <a:cxn ang="0">
                    <a:pos x="8" y="22"/>
                  </a:cxn>
                  <a:cxn ang="0">
                    <a:pos x="18" y="36"/>
                  </a:cxn>
                  <a:cxn ang="0">
                    <a:pos x="24" y="44"/>
                  </a:cxn>
                  <a:cxn ang="0">
                    <a:pos x="32" y="48"/>
                  </a:cxn>
                  <a:cxn ang="0">
                    <a:pos x="42" y="52"/>
                  </a:cxn>
                  <a:cxn ang="0">
                    <a:pos x="56" y="52"/>
                  </a:cxn>
                  <a:cxn ang="0">
                    <a:pos x="56" y="52"/>
                  </a:cxn>
                </a:cxnLst>
                <a:rect l="0" t="0" r="r" b="b"/>
                <a:pathLst>
                  <a:path w="70" h="52">
                    <a:moveTo>
                      <a:pt x="56" y="52"/>
                    </a:moveTo>
                    <a:lnTo>
                      <a:pt x="56" y="52"/>
                    </a:lnTo>
                    <a:lnTo>
                      <a:pt x="66" y="50"/>
                    </a:lnTo>
                    <a:lnTo>
                      <a:pt x="68" y="48"/>
                    </a:lnTo>
                    <a:lnTo>
                      <a:pt x="70" y="46"/>
                    </a:lnTo>
                    <a:lnTo>
                      <a:pt x="70" y="44"/>
                    </a:lnTo>
                    <a:lnTo>
                      <a:pt x="68" y="40"/>
                    </a:lnTo>
                    <a:lnTo>
                      <a:pt x="56" y="26"/>
                    </a:lnTo>
                    <a:lnTo>
                      <a:pt x="56" y="26"/>
                    </a:lnTo>
                    <a:lnTo>
                      <a:pt x="46" y="18"/>
                    </a:lnTo>
                    <a:lnTo>
                      <a:pt x="36" y="12"/>
                    </a:lnTo>
                    <a:lnTo>
                      <a:pt x="26" y="6"/>
                    </a:lnTo>
                    <a:lnTo>
                      <a:pt x="16" y="2"/>
                    </a:lnTo>
                    <a:lnTo>
                      <a:pt x="8" y="0"/>
                    </a:lnTo>
                    <a:lnTo>
                      <a:pt x="2" y="0"/>
                    </a:lnTo>
                    <a:lnTo>
                      <a:pt x="0" y="2"/>
                    </a:lnTo>
                    <a:lnTo>
                      <a:pt x="0" y="8"/>
                    </a:lnTo>
                    <a:lnTo>
                      <a:pt x="0" y="8"/>
                    </a:lnTo>
                    <a:lnTo>
                      <a:pt x="8" y="22"/>
                    </a:lnTo>
                    <a:lnTo>
                      <a:pt x="18" y="36"/>
                    </a:lnTo>
                    <a:lnTo>
                      <a:pt x="24" y="44"/>
                    </a:lnTo>
                    <a:lnTo>
                      <a:pt x="32" y="48"/>
                    </a:lnTo>
                    <a:lnTo>
                      <a:pt x="42" y="52"/>
                    </a:lnTo>
                    <a:lnTo>
                      <a:pt x="56" y="52"/>
                    </a:lnTo>
                    <a:lnTo>
                      <a:pt x="56" y="52"/>
                    </a:lnTo>
                    <a:close/>
                  </a:path>
                </a:pathLst>
              </a:custGeom>
              <a:grpFill/>
              <a:ln w="6350">
                <a:noFill/>
                <a:round/>
                <a:headEnd/>
                <a:tailEnd/>
              </a:ln>
            </p:spPr>
            <p:txBody>
              <a:bodyPr/>
              <a:lstStyle/>
              <a:p>
                <a:endParaRPr lang="da-DK" sz="2800" b="1"/>
              </a:p>
            </p:txBody>
          </p:sp>
          <p:sp>
            <p:nvSpPr>
              <p:cNvPr id="65" name="Freeform 6027">
                <a:extLst>
                  <a:ext uri="{FF2B5EF4-FFF2-40B4-BE49-F238E27FC236}">
                    <a16:creationId xmlns:a16="http://schemas.microsoft.com/office/drawing/2014/main" id="{1D81EEAE-A1CB-4ABB-B45B-2083DBC84C13}"/>
                  </a:ext>
                </a:extLst>
              </p:cNvPr>
              <p:cNvSpPr>
                <a:spLocks/>
              </p:cNvSpPr>
              <p:nvPr/>
            </p:nvSpPr>
            <p:spPr bwMode="auto">
              <a:xfrm>
                <a:off x="1883410" y="957263"/>
                <a:ext cx="95250" cy="54610"/>
              </a:xfrm>
              <a:custGeom>
                <a:avLst/>
                <a:gdLst/>
                <a:ahLst/>
                <a:cxnLst>
                  <a:cxn ang="0">
                    <a:pos x="14" y="38"/>
                  </a:cxn>
                  <a:cxn ang="0">
                    <a:pos x="22" y="44"/>
                  </a:cxn>
                  <a:cxn ang="0">
                    <a:pos x="44" y="54"/>
                  </a:cxn>
                  <a:cxn ang="0">
                    <a:pos x="50" y="56"/>
                  </a:cxn>
                  <a:cxn ang="0">
                    <a:pos x="52" y="58"/>
                  </a:cxn>
                  <a:cxn ang="0">
                    <a:pos x="42" y="64"/>
                  </a:cxn>
                  <a:cxn ang="0">
                    <a:pos x="32" y="68"/>
                  </a:cxn>
                  <a:cxn ang="0">
                    <a:pos x="40" y="68"/>
                  </a:cxn>
                  <a:cxn ang="0">
                    <a:pos x="50" y="70"/>
                  </a:cxn>
                  <a:cxn ang="0">
                    <a:pos x="56" y="76"/>
                  </a:cxn>
                  <a:cxn ang="0">
                    <a:pos x="60" y="84"/>
                  </a:cxn>
                  <a:cxn ang="0">
                    <a:pos x="66" y="86"/>
                  </a:cxn>
                  <a:cxn ang="0">
                    <a:pos x="74" y="82"/>
                  </a:cxn>
                  <a:cxn ang="0">
                    <a:pos x="98" y="76"/>
                  </a:cxn>
                  <a:cxn ang="0">
                    <a:pos x="132" y="70"/>
                  </a:cxn>
                  <a:cxn ang="0">
                    <a:pos x="142" y="64"/>
                  </a:cxn>
                  <a:cxn ang="0">
                    <a:pos x="140" y="60"/>
                  </a:cxn>
                  <a:cxn ang="0">
                    <a:pos x="140" y="52"/>
                  </a:cxn>
                  <a:cxn ang="0">
                    <a:pos x="150" y="42"/>
                  </a:cxn>
                  <a:cxn ang="0">
                    <a:pos x="148" y="36"/>
                  </a:cxn>
                  <a:cxn ang="0">
                    <a:pos x="140" y="32"/>
                  </a:cxn>
                  <a:cxn ang="0">
                    <a:pos x="122" y="24"/>
                  </a:cxn>
                  <a:cxn ang="0">
                    <a:pos x="100" y="22"/>
                  </a:cxn>
                  <a:cxn ang="0">
                    <a:pos x="82" y="14"/>
                  </a:cxn>
                  <a:cxn ang="0">
                    <a:pos x="68" y="8"/>
                  </a:cxn>
                  <a:cxn ang="0">
                    <a:pos x="42" y="0"/>
                  </a:cxn>
                  <a:cxn ang="0">
                    <a:pos x="18" y="0"/>
                  </a:cxn>
                  <a:cxn ang="0">
                    <a:pos x="8" y="8"/>
                  </a:cxn>
                  <a:cxn ang="0">
                    <a:pos x="8" y="14"/>
                  </a:cxn>
                  <a:cxn ang="0">
                    <a:pos x="10" y="20"/>
                  </a:cxn>
                  <a:cxn ang="0">
                    <a:pos x="6" y="28"/>
                  </a:cxn>
                  <a:cxn ang="0">
                    <a:pos x="0" y="30"/>
                  </a:cxn>
                  <a:cxn ang="0">
                    <a:pos x="14" y="38"/>
                  </a:cxn>
                </a:cxnLst>
                <a:rect l="0" t="0" r="r" b="b"/>
                <a:pathLst>
                  <a:path w="150" h="86">
                    <a:moveTo>
                      <a:pt x="14" y="38"/>
                    </a:moveTo>
                    <a:lnTo>
                      <a:pt x="14" y="38"/>
                    </a:lnTo>
                    <a:lnTo>
                      <a:pt x="20" y="42"/>
                    </a:lnTo>
                    <a:lnTo>
                      <a:pt x="22" y="44"/>
                    </a:lnTo>
                    <a:lnTo>
                      <a:pt x="28" y="48"/>
                    </a:lnTo>
                    <a:lnTo>
                      <a:pt x="44" y="54"/>
                    </a:lnTo>
                    <a:lnTo>
                      <a:pt x="44" y="54"/>
                    </a:lnTo>
                    <a:lnTo>
                      <a:pt x="50" y="56"/>
                    </a:lnTo>
                    <a:lnTo>
                      <a:pt x="52" y="58"/>
                    </a:lnTo>
                    <a:lnTo>
                      <a:pt x="52" y="58"/>
                    </a:lnTo>
                    <a:lnTo>
                      <a:pt x="48" y="62"/>
                    </a:lnTo>
                    <a:lnTo>
                      <a:pt x="42" y="64"/>
                    </a:lnTo>
                    <a:lnTo>
                      <a:pt x="32" y="66"/>
                    </a:lnTo>
                    <a:lnTo>
                      <a:pt x="32" y="68"/>
                    </a:lnTo>
                    <a:lnTo>
                      <a:pt x="34" y="68"/>
                    </a:lnTo>
                    <a:lnTo>
                      <a:pt x="40" y="68"/>
                    </a:lnTo>
                    <a:lnTo>
                      <a:pt x="40" y="68"/>
                    </a:lnTo>
                    <a:lnTo>
                      <a:pt x="50" y="70"/>
                    </a:lnTo>
                    <a:lnTo>
                      <a:pt x="54" y="74"/>
                    </a:lnTo>
                    <a:lnTo>
                      <a:pt x="56" y="76"/>
                    </a:lnTo>
                    <a:lnTo>
                      <a:pt x="58" y="80"/>
                    </a:lnTo>
                    <a:lnTo>
                      <a:pt x="60" y="84"/>
                    </a:lnTo>
                    <a:lnTo>
                      <a:pt x="62" y="86"/>
                    </a:lnTo>
                    <a:lnTo>
                      <a:pt x="66" y="86"/>
                    </a:lnTo>
                    <a:lnTo>
                      <a:pt x="74" y="82"/>
                    </a:lnTo>
                    <a:lnTo>
                      <a:pt x="74" y="82"/>
                    </a:lnTo>
                    <a:lnTo>
                      <a:pt x="86" y="78"/>
                    </a:lnTo>
                    <a:lnTo>
                      <a:pt x="98" y="76"/>
                    </a:lnTo>
                    <a:lnTo>
                      <a:pt x="122" y="72"/>
                    </a:lnTo>
                    <a:lnTo>
                      <a:pt x="132" y="70"/>
                    </a:lnTo>
                    <a:lnTo>
                      <a:pt x="138" y="68"/>
                    </a:lnTo>
                    <a:lnTo>
                      <a:pt x="142" y="64"/>
                    </a:lnTo>
                    <a:lnTo>
                      <a:pt x="140" y="60"/>
                    </a:lnTo>
                    <a:lnTo>
                      <a:pt x="140" y="60"/>
                    </a:lnTo>
                    <a:lnTo>
                      <a:pt x="138" y="54"/>
                    </a:lnTo>
                    <a:lnTo>
                      <a:pt x="140" y="52"/>
                    </a:lnTo>
                    <a:lnTo>
                      <a:pt x="146" y="46"/>
                    </a:lnTo>
                    <a:lnTo>
                      <a:pt x="150" y="42"/>
                    </a:lnTo>
                    <a:lnTo>
                      <a:pt x="150" y="40"/>
                    </a:lnTo>
                    <a:lnTo>
                      <a:pt x="148" y="36"/>
                    </a:lnTo>
                    <a:lnTo>
                      <a:pt x="140" y="32"/>
                    </a:lnTo>
                    <a:lnTo>
                      <a:pt x="140" y="32"/>
                    </a:lnTo>
                    <a:lnTo>
                      <a:pt x="128" y="26"/>
                    </a:lnTo>
                    <a:lnTo>
                      <a:pt x="122" y="24"/>
                    </a:lnTo>
                    <a:lnTo>
                      <a:pt x="110" y="24"/>
                    </a:lnTo>
                    <a:lnTo>
                      <a:pt x="100" y="22"/>
                    </a:lnTo>
                    <a:lnTo>
                      <a:pt x="92" y="20"/>
                    </a:lnTo>
                    <a:lnTo>
                      <a:pt x="82" y="14"/>
                    </a:lnTo>
                    <a:lnTo>
                      <a:pt x="82" y="14"/>
                    </a:lnTo>
                    <a:lnTo>
                      <a:pt x="68" y="8"/>
                    </a:lnTo>
                    <a:lnTo>
                      <a:pt x="56" y="2"/>
                    </a:lnTo>
                    <a:lnTo>
                      <a:pt x="42" y="0"/>
                    </a:lnTo>
                    <a:lnTo>
                      <a:pt x="30" y="0"/>
                    </a:lnTo>
                    <a:lnTo>
                      <a:pt x="18" y="0"/>
                    </a:lnTo>
                    <a:lnTo>
                      <a:pt x="10" y="4"/>
                    </a:lnTo>
                    <a:lnTo>
                      <a:pt x="8" y="8"/>
                    </a:lnTo>
                    <a:lnTo>
                      <a:pt x="8" y="12"/>
                    </a:lnTo>
                    <a:lnTo>
                      <a:pt x="8" y="14"/>
                    </a:lnTo>
                    <a:lnTo>
                      <a:pt x="8" y="14"/>
                    </a:lnTo>
                    <a:lnTo>
                      <a:pt x="10" y="20"/>
                    </a:lnTo>
                    <a:lnTo>
                      <a:pt x="10" y="24"/>
                    </a:lnTo>
                    <a:lnTo>
                      <a:pt x="6" y="28"/>
                    </a:lnTo>
                    <a:lnTo>
                      <a:pt x="2" y="30"/>
                    </a:lnTo>
                    <a:lnTo>
                      <a:pt x="0" y="30"/>
                    </a:lnTo>
                    <a:lnTo>
                      <a:pt x="0" y="32"/>
                    </a:lnTo>
                    <a:lnTo>
                      <a:pt x="14" y="38"/>
                    </a:lnTo>
                    <a:lnTo>
                      <a:pt x="14" y="38"/>
                    </a:lnTo>
                    <a:close/>
                  </a:path>
                </a:pathLst>
              </a:custGeom>
              <a:grpFill/>
              <a:ln w="6350">
                <a:noFill/>
                <a:round/>
                <a:headEnd/>
                <a:tailEnd/>
              </a:ln>
            </p:spPr>
            <p:txBody>
              <a:bodyPr/>
              <a:lstStyle/>
              <a:p>
                <a:endParaRPr lang="da-DK" sz="2800" b="1"/>
              </a:p>
            </p:txBody>
          </p:sp>
          <p:sp>
            <p:nvSpPr>
              <p:cNvPr id="66" name="Freeform 6033">
                <a:extLst>
                  <a:ext uri="{FF2B5EF4-FFF2-40B4-BE49-F238E27FC236}">
                    <a16:creationId xmlns:a16="http://schemas.microsoft.com/office/drawing/2014/main" id="{6A3F2651-E864-419C-8693-919DACE81C97}"/>
                  </a:ext>
                </a:extLst>
              </p:cNvPr>
              <p:cNvSpPr>
                <a:spLocks/>
              </p:cNvSpPr>
              <p:nvPr/>
            </p:nvSpPr>
            <p:spPr bwMode="auto">
              <a:xfrm>
                <a:off x="646430" y="1806893"/>
                <a:ext cx="15240" cy="8890"/>
              </a:xfrm>
              <a:custGeom>
                <a:avLst/>
                <a:gdLst/>
                <a:ahLst/>
                <a:cxnLst>
                  <a:cxn ang="0">
                    <a:pos x="14" y="0"/>
                  </a:cxn>
                  <a:cxn ang="0">
                    <a:pos x="14" y="0"/>
                  </a:cxn>
                  <a:cxn ang="0">
                    <a:pos x="6" y="0"/>
                  </a:cxn>
                  <a:cxn ang="0">
                    <a:pos x="2" y="2"/>
                  </a:cxn>
                  <a:cxn ang="0">
                    <a:pos x="0" y="6"/>
                  </a:cxn>
                  <a:cxn ang="0">
                    <a:pos x="2" y="12"/>
                  </a:cxn>
                  <a:cxn ang="0">
                    <a:pos x="2" y="12"/>
                  </a:cxn>
                  <a:cxn ang="0">
                    <a:pos x="4" y="14"/>
                  </a:cxn>
                  <a:cxn ang="0">
                    <a:pos x="8" y="14"/>
                  </a:cxn>
                  <a:cxn ang="0">
                    <a:pos x="20" y="8"/>
                  </a:cxn>
                  <a:cxn ang="0">
                    <a:pos x="20" y="8"/>
                  </a:cxn>
                  <a:cxn ang="0">
                    <a:pos x="24" y="6"/>
                  </a:cxn>
                  <a:cxn ang="0">
                    <a:pos x="24" y="4"/>
                  </a:cxn>
                  <a:cxn ang="0">
                    <a:pos x="20" y="2"/>
                  </a:cxn>
                  <a:cxn ang="0">
                    <a:pos x="14" y="0"/>
                  </a:cxn>
                  <a:cxn ang="0">
                    <a:pos x="14" y="0"/>
                  </a:cxn>
                </a:cxnLst>
                <a:rect l="0" t="0" r="r" b="b"/>
                <a:pathLst>
                  <a:path w="24" h="14">
                    <a:moveTo>
                      <a:pt x="14" y="0"/>
                    </a:moveTo>
                    <a:lnTo>
                      <a:pt x="14" y="0"/>
                    </a:lnTo>
                    <a:lnTo>
                      <a:pt x="6" y="0"/>
                    </a:lnTo>
                    <a:lnTo>
                      <a:pt x="2" y="2"/>
                    </a:lnTo>
                    <a:lnTo>
                      <a:pt x="0" y="6"/>
                    </a:lnTo>
                    <a:lnTo>
                      <a:pt x="2" y="12"/>
                    </a:lnTo>
                    <a:lnTo>
                      <a:pt x="2" y="12"/>
                    </a:lnTo>
                    <a:lnTo>
                      <a:pt x="4" y="14"/>
                    </a:lnTo>
                    <a:lnTo>
                      <a:pt x="8" y="14"/>
                    </a:lnTo>
                    <a:lnTo>
                      <a:pt x="20" y="8"/>
                    </a:lnTo>
                    <a:lnTo>
                      <a:pt x="20" y="8"/>
                    </a:lnTo>
                    <a:lnTo>
                      <a:pt x="24" y="6"/>
                    </a:lnTo>
                    <a:lnTo>
                      <a:pt x="24" y="4"/>
                    </a:lnTo>
                    <a:lnTo>
                      <a:pt x="20" y="2"/>
                    </a:lnTo>
                    <a:lnTo>
                      <a:pt x="14" y="0"/>
                    </a:lnTo>
                    <a:lnTo>
                      <a:pt x="14" y="0"/>
                    </a:lnTo>
                    <a:close/>
                  </a:path>
                </a:pathLst>
              </a:custGeom>
              <a:grpFill/>
              <a:ln w="6350">
                <a:noFill/>
                <a:round/>
                <a:headEnd/>
                <a:tailEnd/>
              </a:ln>
            </p:spPr>
            <p:txBody>
              <a:bodyPr/>
              <a:lstStyle/>
              <a:p>
                <a:endParaRPr lang="da-DK" sz="2800" b="1"/>
              </a:p>
            </p:txBody>
          </p:sp>
          <p:sp>
            <p:nvSpPr>
              <p:cNvPr id="67" name="Freeform 6037">
                <a:extLst>
                  <a:ext uri="{FF2B5EF4-FFF2-40B4-BE49-F238E27FC236}">
                    <a16:creationId xmlns:a16="http://schemas.microsoft.com/office/drawing/2014/main" id="{434FF7CD-2E05-46AD-97A5-C200F9705C7F}"/>
                  </a:ext>
                </a:extLst>
              </p:cNvPr>
              <p:cNvSpPr>
                <a:spLocks/>
              </p:cNvSpPr>
              <p:nvPr/>
            </p:nvSpPr>
            <p:spPr bwMode="auto">
              <a:xfrm>
                <a:off x="615950" y="1811973"/>
                <a:ext cx="24130" cy="22860"/>
              </a:xfrm>
              <a:custGeom>
                <a:avLst/>
                <a:gdLst/>
                <a:ahLst/>
                <a:cxnLst>
                  <a:cxn ang="0">
                    <a:pos x="28" y="2"/>
                  </a:cxn>
                  <a:cxn ang="0">
                    <a:pos x="28" y="2"/>
                  </a:cxn>
                  <a:cxn ang="0">
                    <a:pos x="18" y="16"/>
                  </a:cxn>
                  <a:cxn ang="0">
                    <a:pos x="0" y="34"/>
                  </a:cxn>
                  <a:cxn ang="0">
                    <a:pos x="0" y="34"/>
                  </a:cxn>
                  <a:cxn ang="0">
                    <a:pos x="0" y="36"/>
                  </a:cxn>
                  <a:cxn ang="0">
                    <a:pos x="4" y="36"/>
                  </a:cxn>
                  <a:cxn ang="0">
                    <a:pos x="16" y="32"/>
                  </a:cxn>
                  <a:cxn ang="0">
                    <a:pos x="16" y="32"/>
                  </a:cxn>
                  <a:cxn ang="0">
                    <a:pos x="20" y="30"/>
                  </a:cxn>
                  <a:cxn ang="0">
                    <a:pos x="22" y="26"/>
                  </a:cxn>
                  <a:cxn ang="0">
                    <a:pos x="26" y="20"/>
                  </a:cxn>
                  <a:cxn ang="0">
                    <a:pos x="32" y="12"/>
                  </a:cxn>
                  <a:cxn ang="0">
                    <a:pos x="32" y="12"/>
                  </a:cxn>
                  <a:cxn ang="0">
                    <a:pos x="36" y="4"/>
                  </a:cxn>
                  <a:cxn ang="0">
                    <a:pos x="38" y="2"/>
                  </a:cxn>
                  <a:cxn ang="0">
                    <a:pos x="36" y="0"/>
                  </a:cxn>
                  <a:cxn ang="0">
                    <a:pos x="32" y="0"/>
                  </a:cxn>
                  <a:cxn ang="0">
                    <a:pos x="28" y="2"/>
                  </a:cxn>
                  <a:cxn ang="0">
                    <a:pos x="28" y="2"/>
                  </a:cxn>
                </a:cxnLst>
                <a:rect l="0" t="0" r="r" b="b"/>
                <a:pathLst>
                  <a:path w="38" h="36">
                    <a:moveTo>
                      <a:pt x="28" y="2"/>
                    </a:moveTo>
                    <a:lnTo>
                      <a:pt x="28" y="2"/>
                    </a:lnTo>
                    <a:lnTo>
                      <a:pt x="18" y="16"/>
                    </a:lnTo>
                    <a:lnTo>
                      <a:pt x="0" y="34"/>
                    </a:lnTo>
                    <a:lnTo>
                      <a:pt x="0" y="34"/>
                    </a:lnTo>
                    <a:lnTo>
                      <a:pt x="0" y="36"/>
                    </a:lnTo>
                    <a:lnTo>
                      <a:pt x="4" y="36"/>
                    </a:lnTo>
                    <a:lnTo>
                      <a:pt x="16" y="32"/>
                    </a:lnTo>
                    <a:lnTo>
                      <a:pt x="16" y="32"/>
                    </a:lnTo>
                    <a:lnTo>
                      <a:pt x="20" y="30"/>
                    </a:lnTo>
                    <a:lnTo>
                      <a:pt x="22" y="26"/>
                    </a:lnTo>
                    <a:lnTo>
                      <a:pt x="26" y="20"/>
                    </a:lnTo>
                    <a:lnTo>
                      <a:pt x="32" y="12"/>
                    </a:lnTo>
                    <a:lnTo>
                      <a:pt x="32" y="12"/>
                    </a:lnTo>
                    <a:lnTo>
                      <a:pt x="36" y="4"/>
                    </a:lnTo>
                    <a:lnTo>
                      <a:pt x="38" y="2"/>
                    </a:lnTo>
                    <a:lnTo>
                      <a:pt x="36" y="0"/>
                    </a:lnTo>
                    <a:lnTo>
                      <a:pt x="32" y="0"/>
                    </a:lnTo>
                    <a:lnTo>
                      <a:pt x="28" y="2"/>
                    </a:lnTo>
                    <a:lnTo>
                      <a:pt x="28" y="2"/>
                    </a:lnTo>
                    <a:close/>
                  </a:path>
                </a:pathLst>
              </a:custGeom>
              <a:grpFill/>
              <a:ln w="6350">
                <a:noFill/>
                <a:round/>
                <a:headEnd/>
                <a:tailEnd/>
              </a:ln>
            </p:spPr>
            <p:txBody>
              <a:bodyPr/>
              <a:lstStyle/>
              <a:p>
                <a:endParaRPr lang="da-DK" sz="2800" b="1"/>
              </a:p>
            </p:txBody>
          </p:sp>
          <p:sp>
            <p:nvSpPr>
              <p:cNvPr id="68" name="Freeform 6054">
                <a:extLst>
                  <a:ext uri="{FF2B5EF4-FFF2-40B4-BE49-F238E27FC236}">
                    <a16:creationId xmlns:a16="http://schemas.microsoft.com/office/drawing/2014/main" id="{4D4E00B6-B5BD-4D67-8BF6-35A9E0221B01}"/>
                  </a:ext>
                </a:extLst>
              </p:cNvPr>
              <p:cNvSpPr>
                <a:spLocks/>
              </p:cNvSpPr>
              <p:nvPr/>
            </p:nvSpPr>
            <p:spPr bwMode="auto">
              <a:xfrm>
                <a:off x="1395730" y="1058863"/>
                <a:ext cx="317500" cy="121920"/>
              </a:xfrm>
              <a:custGeom>
                <a:avLst/>
                <a:gdLst/>
                <a:ahLst/>
                <a:cxnLst>
                  <a:cxn ang="0">
                    <a:pos x="314" y="78"/>
                  </a:cxn>
                  <a:cxn ang="0">
                    <a:pos x="338" y="86"/>
                  </a:cxn>
                  <a:cxn ang="0">
                    <a:pos x="354" y="100"/>
                  </a:cxn>
                  <a:cxn ang="0">
                    <a:pos x="340" y="106"/>
                  </a:cxn>
                  <a:cxn ang="0">
                    <a:pos x="280" y="102"/>
                  </a:cxn>
                  <a:cxn ang="0">
                    <a:pos x="258" y="102"/>
                  </a:cxn>
                  <a:cxn ang="0">
                    <a:pos x="236" y="72"/>
                  </a:cxn>
                  <a:cxn ang="0">
                    <a:pos x="186" y="46"/>
                  </a:cxn>
                  <a:cxn ang="0">
                    <a:pos x="154" y="54"/>
                  </a:cxn>
                  <a:cxn ang="0">
                    <a:pos x="138" y="36"/>
                  </a:cxn>
                  <a:cxn ang="0">
                    <a:pos x="102" y="32"/>
                  </a:cxn>
                  <a:cxn ang="0">
                    <a:pos x="42" y="58"/>
                  </a:cxn>
                  <a:cxn ang="0">
                    <a:pos x="46" y="66"/>
                  </a:cxn>
                  <a:cxn ang="0">
                    <a:pos x="22" y="88"/>
                  </a:cxn>
                  <a:cxn ang="0">
                    <a:pos x="24" y="98"/>
                  </a:cxn>
                  <a:cxn ang="0">
                    <a:pos x="14" y="110"/>
                  </a:cxn>
                  <a:cxn ang="0">
                    <a:pos x="6" y="132"/>
                  </a:cxn>
                  <a:cxn ang="0">
                    <a:pos x="66" y="146"/>
                  </a:cxn>
                  <a:cxn ang="0">
                    <a:pos x="94" y="138"/>
                  </a:cxn>
                  <a:cxn ang="0">
                    <a:pos x="106" y="146"/>
                  </a:cxn>
                  <a:cxn ang="0">
                    <a:pos x="124" y="148"/>
                  </a:cxn>
                  <a:cxn ang="0">
                    <a:pos x="144" y="126"/>
                  </a:cxn>
                  <a:cxn ang="0">
                    <a:pos x="152" y="130"/>
                  </a:cxn>
                  <a:cxn ang="0">
                    <a:pos x="158" y="140"/>
                  </a:cxn>
                  <a:cxn ang="0">
                    <a:pos x="232" y="132"/>
                  </a:cxn>
                  <a:cxn ang="0">
                    <a:pos x="264" y="134"/>
                  </a:cxn>
                  <a:cxn ang="0">
                    <a:pos x="212" y="148"/>
                  </a:cxn>
                  <a:cxn ang="0">
                    <a:pos x="144" y="160"/>
                  </a:cxn>
                  <a:cxn ang="0">
                    <a:pos x="134" y="176"/>
                  </a:cxn>
                  <a:cxn ang="0">
                    <a:pos x="166" y="190"/>
                  </a:cxn>
                  <a:cxn ang="0">
                    <a:pos x="234" y="184"/>
                  </a:cxn>
                  <a:cxn ang="0">
                    <a:pos x="296" y="164"/>
                  </a:cxn>
                  <a:cxn ang="0">
                    <a:pos x="350" y="146"/>
                  </a:cxn>
                  <a:cxn ang="0">
                    <a:pos x="378" y="152"/>
                  </a:cxn>
                  <a:cxn ang="0">
                    <a:pos x="394" y="144"/>
                  </a:cxn>
                  <a:cxn ang="0">
                    <a:pos x="420" y="150"/>
                  </a:cxn>
                  <a:cxn ang="0">
                    <a:pos x="460" y="138"/>
                  </a:cxn>
                  <a:cxn ang="0">
                    <a:pos x="492" y="106"/>
                  </a:cxn>
                  <a:cxn ang="0">
                    <a:pos x="498" y="84"/>
                  </a:cxn>
                  <a:cxn ang="0">
                    <a:pos x="470" y="68"/>
                  </a:cxn>
                  <a:cxn ang="0">
                    <a:pos x="436" y="70"/>
                  </a:cxn>
                  <a:cxn ang="0">
                    <a:pos x="398" y="80"/>
                  </a:cxn>
                  <a:cxn ang="0">
                    <a:pos x="400" y="68"/>
                  </a:cxn>
                  <a:cxn ang="0">
                    <a:pos x="384" y="60"/>
                  </a:cxn>
                  <a:cxn ang="0">
                    <a:pos x="384" y="52"/>
                  </a:cxn>
                  <a:cxn ang="0">
                    <a:pos x="382" y="40"/>
                  </a:cxn>
                  <a:cxn ang="0">
                    <a:pos x="370" y="18"/>
                  </a:cxn>
                  <a:cxn ang="0">
                    <a:pos x="358" y="0"/>
                  </a:cxn>
                  <a:cxn ang="0">
                    <a:pos x="300" y="28"/>
                  </a:cxn>
                  <a:cxn ang="0">
                    <a:pos x="290" y="40"/>
                  </a:cxn>
                  <a:cxn ang="0">
                    <a:pos x="318" y="54"/>
                  </a:cxn>
                  <a:cxn ang="0">
                    <a:pos x="328" y="66"/>
                  </a:cxn>
                </a:cxnLst>
                <a:rect l="0" t="0" r="r" b="b"/>
                <a:pathLst>
                  <a:path w="500" h="192">
                    <a:moveTo>
                      <a:pt x="322" y="70"/>
                    </a:moveTo>
                    <a:lnTo>
                      <a:pt x="322" y="70"/>
                    </a:lnTo>
                    <a:lnTo>
                      <a:pt x="316" y="76"/>
                    </a:lnTo>
                    <a:lnTo>
                      <a:pt x="314" y="78"/>
                    </a:lnTo>
                    <a:lnTo>
                      <a:pt x="316" y="80"/>
                    </a:lnTo>
                    <a:lnTo>
                      <a:pt x="320" y="82"/>
                    </a:lnTo>
                    <a:lnTo>
                      <a:pt x="330" y="84"/>
                    </a:lnTo>
                    <a:lnTo>
                      <a:pt x="338" y="86"/>
                    </a:lnTo>
                    <a:lnTo>
                      <a:pt x="348" y="90"/>
                    </a:lnTo>
                    <a:lnTo>
                      <a:pt x="354" y="94"/>
                    </a:lnTo>
                    <a:lnTo>
                      <a:pt x="356" y="96"/>
                    </a:lnTo>
                    <a:lnTo>
                      <a:pt x="354" y="100"/>
                    </a:lnTo>
                    <a:lnTo>
                      <a:pt x="354" y="100"/>
                    </a:lnTo>
                    <a:lnTo>
                      <a:pt x="352" y="104"/>
                    </a:lnTo>
                    <a:lnTo>
                      <a:pt x="346" y="108"/>
                    </a:lnTo>
                    <a:lnTo>
                      <a:pt x="340" y="106"/>
                    </a:lnTo>
                    <a:lnTo>
                      <a:pt x="332" y="106"/>
                    </a:lnTo>
                    <a:lnTo>
                      <a:pt x="310" y="102"/>
                    </a:lnTo>
                    <a:lnTo>
                      <a:pt x="296" y="100"/>
                    </a:lnTo>
                    <a:lnTo>
                      <a:pt x="280" y="102"/>
                    </a:lnTo>
                    <a:lnTo>
                      <a:pt x="280" y="102"/>
                    </a:lnTo>
                    <a:lnTo>
                      <a:pt x="268" y="104"/>
                    </a:lnTo>
                    <a:lnTo>
                      <a:pt x="260" y="104"/>
                    </a:lnTo>
                    <a:lnTo>
                      <a:pt x="258" y="102"/>
                    </a:lnTo>
                    <a:lnTo>
                      <a:pt x="256" y="98"/>
                    </a:lnTo>
                    <a:lnTo>
                      <a:pt x="252" y="90"/>
                    </a:lnTo>
                    <a:lnTo>
                      <a:pt x="246" y="82"/>
                    </a:lnTo>
                    <a:lnTo>
                      <a:pt x="236" y="72"/>
                    </a:lnTo>
                    <a:lnTo>
                      <a:pt x="220" y="60"/>
                    </a:lnTo>
                    <a:lnTo>
                      <a:pt x="220" y="60"/>
                    </a:lnTo>
                    <a:lnTo>
                      <a:pt x="200" y="50"/>
                    </a:lnTo>
                    <a:lnTo>
                      <a:pt x="186" y="46"/>
                    </a:lnTo>
                    <a:lnTo>
                      <a:pt x="174" y="46"/>
                    </a:lnTo>
                    <a:lnTo>
                      <a:pt x="166" y="50"/>
                    </a:lnTo>
                    <a:lnTo>
                      <a:pt x="160" y="52"/>
                    </a:lnTo>
                    <a:lnTo>
                      <a:pt x="154" y="54"/>
                    </a:lnTo>
                    <a:lnTo>
                      <a:pt x="150" y="52"/>
                    </a:lnTo>
                    <a:lnTo>
                      <a:pt x="144" y="44"/>
                    </a:lnTo>
                    <a:lnTo>
                      <a:pt x="144" y="44"/>
                    </a:lnTo>
                    <a:lnTo>
                      <a:pt x="138" y="36"/>
                    </a:lnTo>
                    <a:lnTo>
                      <a:pt x="130" y="30"/>
                    </a:lnTo>
                    <a:lnTo>
                      <a:pt x="122" y="30"/>
                    </a:lnTo>
                    <a:lnTo>
                      <a:pt x="112" y="30"/>
                    </a:lnTo>
                    <a:lnTo>
                      <a:pt x="102" y="32"/>
                    </a:lnTo>
                    <a:lnTo>
                      <a:pt x="88" y="38"/>
                    </a:lnTo>
                    <a:lnTo>
                      <a:pt x="60" y="50"/>
                    </a:lnTo>
                    <a:lnTo>
                      <a:pt x="60" y="50"/>
                    </a:lnTo>
                    <a:lnTo>
                      <a:pt x="42" y="58"/>
                    </a:lnTo>
                    <a:lnTo>
                      <a:pt x="40" y="60"/>
                    </a:lnTo>
                    <a:lnTo>
                      <a:pt x="42" y="60"/>
                    </a:lnTo>
                    <a:lnTo>
                      <a:pt x="44" y="64"/>
                    </a:lnTo>
                    <a:lnTo>
                      <a:pt x="46" y="66"/>
                    </a:lnTo>
                    <a:lnTo>
                      <a:pt x="42" y="72"/>
                    </a:lnTo>
                    <a:lnTo>
                      <a:pt x="32" y="80"/>
                    </a:lnTo>
                    <a:lnTo>
                      <a:pt x="32" y="80"/>
                    </a:lnTo>
                    <a:lnTo>
                      <a:pt x="22" y="88"/>
                    </a:lnTo>
                    <a:lnTo>
                      <a:pt x="20" y="94"/>
                    </a:lnTo>
                    <a:lnTo>
                      <a:pt x="20" y="96"/>
                    </a:lnTo>
                    <a:lnTo>
                      <a:pt x="22" y="98"/>
                    </a:lnTo>
                    <a:lnTo>
                      <a:pt x="24" y="98"/>
                    </a:lnTo>
                    <a:lnTo>
                      <a:pt x="26" y="100"/>
                    </a:lnTo>
                    <a:lnTo>
                      <a:pt x="22" y="104"/>
                    </a:lnTo>
                    <a:lnTo>
                      <a:pt x="14" y="110"/>
                    </a:lnTo>
                    <a:lnTo>
                      <a:pt x="14" y="110"/>
                    </a:lnTo>
                    <a:lnTo>
                      <a:pt x="4" y="118"/>
                    </a:lnTo>
                    <a:lnTo>
                      <a:pt x="0" y="124"/>
                    </a:lnTo>
                    <a:lnTo>
                      <a:pt x="2" y="128"/>
                    </a:lnTo>
                    <a:lnTo>
                      <a:pt x="6" y="132"/>
                    </a:lnTo>
                    <a:lnTo>
                      <a:pt x="26" y="138"/>
                    </a:lnTo>
                    <a:lnTo>
                      <a:pt x="54" y="144"/>
                    </a:lnTo>
                    <a:lnTo>
                      <a:pt x="54" y="144"/>
                    </a:lnTo>
                    <a:lnTo>
                      <a:pt x="66" y="146"/>
                    </a:lnTo>
                    <a:lnTo>
                      <a:pt x="76" y="146"/>
                    </a:lnTo>
                    <a:lnTo>
                      <a:pt x="84" y="144"/>
                    </a:lnTo>
                    <a:lnTo>
                      <a:pt x="88" y="142"/>
                    </a:lnTo>
                    <a:lnTo>
                      <a:pt x="94" y="138"/>
                    </a:lnTo>
                    <a:lnTo>
                      <a:pt x="96" y="136"/>
                    </a:lnTo>
                    <a:lnTo>
                      <a:pt x="98" y="140"/>
                    </a:lnTo>
                    <a:lnTo>
                      <a:pt x="98" y="140"/>
                    </a:lnTo>
                    <a:lnTo>
                      <a:pt x="106" y="146"/>
                    </a:lnTo>
                    <a:lnTo>
                      <a:pt x="110" y="148"/>
                    </a:lnTo>
                    <a:lnTo>
                      <a:pt x="114" y="150"/>
                    </a:lnTo>
                    <a:lnTo>
                      <a:pt x="118" y="150"/>
                    </a:lnTo>
                    <a:lnTo>
                      <a:pt x="124" y="148"/>
                    </a:lnTo>
                    <a:lnTo>
                      <a:pt x="128" y="144"/>
                    </a:lnTo>
                    <a:lnTo>
                      <a:pt x="134" y="138"/>
                    </a:lnTo>
                    <a:lnTo>
                      <a:pt x="134" y="138"/>
                    </a:lnTo>
                    <a:lnTo>
                      <a:pt x="144" y="126"/>
                    </a:lnTo>
                    <a:lnTo>
                      <a:pt x="150" y="122"/>
                    </a:lnTo>
                    <a:lnTo>
                      <a:pt x="152" y="122"/>
                    </a:lnTo>
                    <a:lnTo>
                      <a:pt x="154" y="124"/>
                    </a:lnTo>
                    <a:lnTo>
                      <a:pt x="152" y="130"/>
                    </a:lnTo>
                    <a:lnTo>
                      <a:pt x="152" y="130"/>
                    </a:lnTo>
                    <a:lnTo>
                      <a:pt x="150" y="134"/>
                    </a:lnTo>
                    <a:lnTo>
                      <a:pt x="154" y="138"/>
                    </a:lnTo>
                    <a:lnTo>
                      <a:pt x="158" y="140"/>
                    </a:lnTo>
                    <a:lnTo>
                      <a:pt x="166" y="142"/>
                    </a:lnTo>
                    <a:lnTo>
                      <a:pt x="192" y="140"/>
                    </a:lnTo>
                    <a:lnTo>
                      <a:pt x="232" y="132"/>
                    </a:lnTo>
                    <a:lnTo>
                      <a:pt x="232" y="132"/>
                    </a:lnTo>
                    <a:lnTo>
                      <a:pt x="252" y="130"/>
                    </a:lnTo>
                    <a:lnTo>
                      <a:pt x="262" y="130"/>
                    </a:lnTo>
                    <a:lnTo>
                      <a:pt x="266" y="130"/>
                    </a:lnTo>
                    <a:lnTo>
                      <a:pt x="264" y="134"/>
                    </a:lnTo>
                    <a:lnTo>
                      <a:pt x="256" y="138"/>
                    </a:lnTo>
                    <a:lnTo>
                      <a:pt x="244" y="142"/>
                    </a:lnTo>
                    <a:lnTo>
                      <a:pt x="228" y="144"/>
                    </a:lnTo>
                    <a:lnTo>
                      <a:pt x="212" y="148"/>
                    </a:lnTo>
                    <a:lnTo>
                      <a:pt x="212" y="148"/>
                    </a:lnTo>
                    <a:lnTo>
                      <a:pt x="176" y="152"/>
                    </a:lnTo>
                    <a:lnTo>
                      <a:pt x="158" y="156"/>
                    </a:lnTo>
                    <a:lnTo>
                      <a:pt x="144" y="160"/>
                    </a:lnTo>
                    <a:lnTo>
                      <a:pt x="136" y="166"/>
                    </a:lnTo>
                    <a:lnTo>
                      <a:pt x="134" y="168"/>
                    </a:lnTo>
                    <a:lnTo>
                      <a:pt x="134" y="172"/>
                    </a:lnTo>
                    <a:lnTo>
                      <a:pt x="134" y="176"/>
                    </a:lnTo>
                    <a:lnTo>
                      <a:pt x="138" y="178"/>
                    </a:lnTo>
                    <a:lnTo>
                      <a:pt x="152" y="186"/>
                    </a:lnTo>
                    <a:lnTo>
                      <a:pt x="152" y="186"/>
                    </a:lnTo>
                    <a:lnTo>
                      <a:pt x="166" y="190"/>
                    </a:lnTo>
                    <a:lnTo>
                      <a:pt x="178" y="192"/>
                    </a:lnTo>
                    <a:lnTo>
                      <a:pt x="192" y="192"/>
                    </a:lnTo>
                    <a:lnTo>
                      <a:pt x="206" y="190"/>
                    </a:lnTo>
                    <a:lnTo>
                      <a:pt x="234" y="184"/>
                    </a:lnTo>
                    <a:lnTo>
                      <a:pt x="266" y="174"/>
                    </a:lnTo>
                    <a:lnTo>
                      <a:pt x="266" y="174"/>
                    </a:lnTo>
                    <a:lnTo>
                      <a:pt x="282" y="170"/>
                    </a:lnTo>
                    <a:lnTo>
                      <a:pt x="296" y="164"/>
                    </a:lnTo>
                    <a:lnTo>
                      <a:pt x="318" y="154"/>
                    </a:lnTo>
                    <a:lnTo>
                      <a:pt x="328" y="150"/>
                    </a:lnTo>
                    <a:lnTo>
                      <a:pt x="338" y="146"/>
                    </a:lnTo>
                    <a:lnTo>
                      <a:pt x="350" y="146"/>
                    </a:lnTo>
                    <a:lnTo>
                      <a:pt x="360" y="148"/>
                    </a:lnTo>
                    <a:lnTo>
                      <a:pt x="360" y="148"/>
                    </a:lnTo>
                    <a:lnTo>
                      <a:pt x="370" y="150"/>
                    </a:lnTo>
                    <a:lnTo>
                      <a:pt x="378" y="152"/>
                    </a:lnTo>
                    <a:lnTo>
                      <a:pt x="382" y="150"/>
                    </a:lnTo>
                    <a:lnTo>
                      <a:pt x="386" y="148"/>
                    </a:lnTo>
                    <a:lnTo>
                      <a:pt x="388" y="146"/>
                    </a:lnTo>
                    <a:lnTo>
                      <a:pt x="394" y="144"/>
                    </a:lnTo>
                    <a:lnTo>
                      <a:pt x="400" y="144"/>
                    </a:lnTo>
                    <a:lnTo>
                      <a:pt x="410" y="146"/>
                    </a:lnTo>
                    <a:lnTo>
                      <a:pt x="410" y="146"/>
                    </a:lnTo>
                    <a:lnTo>
                      <a:pt x="420" y="150"/>
                    </a:lnTo>
                    <a:lnTo>
                      <a:pt x="430" y="150"/>
                    </a:lnTo>
                    <a:lnTo>
                      <a:pt x="440" y="148"/>
                    </a:lnTo>
                    <a:lnTo>
                      <a:pt x="450" y="144"/>
                    </a:lnTo>
                    <a:lnTo>
                      <a:pt x="460" y="138"/>
                    </a:lnTo>
                    <a:lnTo>
                      <a:pt x="470" y="130"/>
                    </a:lnTo>
                    <a:lnTo>
                      <a:pt x="482" y="120"/>
                    </a:lnTo>
                    <a:lnTo>
                      <a:pt x="492" y="106"/>
                    </a:lnTo>
                    <a:lnTo>
                      <a:pt x="492" y="106"/>
                    </a:lnTo>
                    <a:lnTo>
                      <a:pt x="496" y="100"/>
                    </a:lnTo>
                    <a:lnTo>
                      <a:pt x="500" y="94"/>
                    </a:lnTo>
                    <a:lnTo>
                      <a:pt x="500" y="88"/>
                    </a:lnTo>
                    <a:lnTo>
                      <a:pt x="498" y="84"/>
                    </a:lnTo>
                    <a:lnTo>
                      <a:pt x="496" y="80"/>
                    </a:lnTo>
                    <a:lnTo>
                      <a:pt x="492" y="76"/>
                    </a:lnTo>
                    <a:lnTo>
                      <a:pt x="482" y="70"/>
                    </a:lnTo>
                    <a:lnTo>
                      <a:pt x="470" y="68"/>
                    </a:lnTo>
                    <a:lnTo>
                      <a:pt x="456" y="66"/>
                    </a:lnTo>
                    <a:lnTo>
                      <a:pt x="444" y="68"/>
                    </a:lnTo>
                    <a:lnTo>
                      <a:pt x="436" y="70"/>
                    </a:lnTo>
                    <a:lnTo>
                      <a:pt x="436" y="70"/>
                    </a:lnTo>
                    <a:lnTo>
                      <a:pt x="420" y="76"/>
                    </a:lnTo>
                    <a:lnTo>
                      <a:pt x="406" y="80"/>
                    </a:lnTo>
                    <a:lnTo>
                      <a:pt x="402" y="82"/>
                    </a:lnTo>
                    <a:lnTo>
                      <a:pt x="398" y="80"/>
                    </a:lnTo>
                    <a:lnTo>
                      <a:pt x="398" y="78"/>
                    </a:lnTo>
                    <a:lnTo>
                      <a:pt x="400" y="72"/>
                    </a:lnTo>
                    <a:lnTo>
                      <a:pt x="400" y="72"/>
                    </a:lnTo>
                    <a:lnTo>
                      <a:pt x="400" y="68"/>
                    </a:lnTo>
                    <a:lnTo>
                      <a:pt x="398" y="64"/>
                    </a:lnTo>
                    <a:lnTo>
                      <a:pt x="394" y="62"/>
                    </a:lnTo>
                    <a:lnTo>
                      <a:pt x="390" y="62"/>
                    </a:lnTo>
                    <a:lnTo>
                      <a:pt x="384" y="60"/>
                    </a:lnTo>
                    <a:lnTo>
                      <a:pt x="380" y="60"/>
                    </a:lnTo>
                    <a:lnTo>
                      <a:pt x="380" y="56"/>
                    </a:lnTo>
                    <a:lnTo>
                      <a:pt x="384" y="52"/>
                    </a:lnTo>
                    <a:lnTo>
                      <a:pt x="384" y="52"/>
                    </a:lnTo>
                    <a:lnTo>
                      <a:pt x="388" y="46"/>
                    </a:lnTo>
                    <a:lnTo>
                      <a:pt x="388" y="44"/>
                    </a:lnTo>
                    <a:lnTo>
                      <a:pt x="386" y="42"/>
                    </a:lnTo>
                    <a:lnTo>
                      <a:pt x="382" y="40"/>
                    </a:lnTo>
                    <a:lnTo>
                      <a:pt x="378" y="38"/>
                    </a:lnTo>
                    <a:lnTo>
                      <a:pt x="374" y="34"/>
                    </a:lnTo>
                    <a:lnTo>
                      <a:pt x="372" y="28"/>
                    </a:lnTo>
                    <a:lnTo>
                      <a:pt x="370" y="18"/>
                    </a:lnTo>
                    <a:lnTo>
                      <a:pt x="370" y="18"/>
                    </a:lnTo>
                    <a:lnTo>
                      <a:pt x="368" y="8"/>
                    </a:lnTo>
                    <a:lnTo>
                      <a:pt x="364" y="2"/>
                    </a:lnTo>
                    <a:lnTo>
                      <a:pt x="358" y="0"/>
                    </a:lnTo>
                    <a:lnTo>
                      <a:pt x="350" y="2"/>
                    </a:lnTo>
                    <a:lnTo>
                      <a:pt x="340" y="6"/>
                    </a:lnTo>
                    <a:lnTo>
                      <a:pt x="328" y="12"/>
                    </a:lnTo>
                    <a:lnTo>
                      <a:pt x="300" y="28"/>
                    </a:lnTo>
                    <a:lnTo>
                      <a:pt x="300" y="28"/>
                    </a:lnTo>
                    <a:lnTo>
                      <a:pt x="294" y="32"/>
                    </a:lnTo>
                    <a:lnTo>
                      <a:pt x="292" y="36"/>
                    </a:lnTo>
                    <a:lnTo>
                      <a:pt x="290" y="40"/>
                    </a:lnTo>
                    <a:lnTo>
                      <a:pt x="292" y="42"/>
                    </a:lnTo>
                    <a:lnTo>
                      <a:pt x="298" y="46"/>
                    </a:lnTo>
                    <a:lnTo>
                      <a:pt x="308" y="50"/>
                    </a:lnTo>
                    <a:lnTo>
                      <a:pt x="318" y="54"/>
                    </a:lnTo>
                    <a:lnTo>
                      <a:pt x="326" y="58"/>
                    </a:lnTo>
                    <a:lnTo>
                      <a:pt x="328" y="60"/>
                    </a:lnTo>
                    <a:lnTo>
                      <a:pt x="328" y="64"/>
                    </a:lnTo>
                    <a:lnTo>
                      <a:pt x="328" y="66"/>
                    </a:lnTo>
                    <a:lnTo>
                      <a:pt x="322" y="70"/>
                    </a:lnTo>
                    <a:lnTo>
                      <a:pt x="322" y="70"/>
                    </a:lnTo>
                    <a:close/>
                  </a:path>
                </a:pathLst>
              </a:custGeom>
              <a:grpFill/>
              <a:ln w="6350">
                <a:noFill/>
                <a:round/>
                <a:headEnd/>
                <a:tailEnd/>
              </a:ln>
            </p:spPr>
            <p:txBody>
              <a:bodyPr/>
              <a:lstStyle/>
              <a:p>
                <a:endParaRPr lang="da-DK" sz="2800" b="1"/>
              </a:p>
            </p:txBody>
          </p:sp>
          <p:sp>
            <p:nvSpPr>
              <p:cNvPr id="69" name="Freeform 6074">
                <a:extLst>
                  <a:ext uri="{FF2B5EF4-FFF2-40B4-BE49-F238E27FC236}">
                    <a16:creationId xmlns:a16="http://schemas.microsoft.com/office/drawing/2014/main" id="{F976FC10-77BD-45D6-9C49-9194A769F08A}"/>
                  </a:ext>
                </a:extLst>
              </p:cNvPr>
              <p:cNvSpPr>
                <a:spLocks/>
              </p:cNvSpPr>
              <p:nvPr/>
            </p:nvSpPr>
            <p:spPr bwMode="auto">
              <a:xfrm>
                <a:off x="2233930" y="3139123"/>
                <a:ext cx="278130" cy="109220"/>
              </a:xfrm>
              <a:custGeom>
                <a:avLst/>
                <a:gdLst/>
                <a:ahLst/>
                <a:cxnLst>
                  <a:cxn ang="0">
                    <a:pos x="416" y="160"/>
                  </a:cxn>
                  <a:cxn ang="0">
                    <a:pos x="436" y="156"/>
                  </a:cxn>
                  <a:cxn ang="0">
                    <a:pos x="428" y="148"/>
                  </a:cxn>
                  <a:cxn ang="0">
                    <a:pos x="414" y="136"/>
                  </a:cxn>
                  <a:cxn ang="0">
                    <a:pos x="384" y="126"/>
                  </a:cxn>
                  <a:cxn ang="0">
                    <a:pos x="374" y="120"/>
                  </a:cxn>
                  <a:cxn ang="0">
                    <a:pos x="376" y="108"/>
                  </a:cxn>
                  <a:cxn ang="0">
                    <a:pos x="358" y="106"/>
                  </a:cxn>
                  <a:cxn ang="0">
                    <a:pos x="350" y="100"/>
                  </a:cxn>
                  <a:cxn ang="0">
                    <a:pos x="338" y="100"/>
                  </a:cxn>
                  <a:cxn ang="0">
                    <a:pos x="326" y="92"/>
                  </a:cxn>
                  <a:cxn ang="0">
                    <a:pos x="300" y="68"/>
                  </a:cxn>
                  <a:cxn ang="0">
                    <a:pos x="300" y="76"/>
                  </a:cxn>
                  <a:cxn ang="0">
                    <a:pos x="292" y="64"/>
                  </a:cxn>
                  <a:cxn ang="0">
                    <a:pos x="286" y="60"/>
                  </a:cxn>
                  <a:cxn ang="0">
                    <a:pos x="260" y="48"/>
                  </a:cxn>
                  <a:cxn ang="0">
                    <a:pos x="230" y="40"/>
                  </a:cxn>
                  <a:cxn ang="0">
                    <a:pos x="216" y="28"/>
                  </a:cxn>
                  <a:cxn ang="0">
                    <a:pos x="194" y="14"/>
                  </a:cxn>
                  <a:cxn ang="0">
                    <a:pos x="180" y="8"/>
                  </a:cxn>
                  <a:cxn ang="0">
                    <a:pos x="164" y="8"/>
                  </a:cxn>
                  <a:cxn ang="0">
                    <a:pos x="150" y="0"/>
                  </a:cxn>
                  <a:cxn ang="0">
                    <a:pos x="136" y="4"/>
                  </a:cxn>
                  <a:cxn ang="0">
                    <a:pos x="112" y="0"/>
                  </a:cxn>
                  <a:cxn ang="0">
                    <a:pos x="92" y="10"/>
                  </a:cxn>
                  <a:cxn ang="0">
                    <a:pos x="56" y="18"/>
                  </a:cxn>
                  <a:cxn ang="0">
                    <a:pos x="24" y="42"/>
                  </a:cxn>
                  <a:cxn ang="0">
                    <a:pos x="24" y="58"/>
                  </a:cxn>
                  <a:cxn ang="0">
                    <a:pos x="2" y="66"/>
                  </a:cxn>
                  <a:cxn ang="0">
                    <a:pos x="4" y="72"/>
                  </a:cxn>
                  <a:cxn ang="0">
                    <a:pos x="18" y="72"/>
                  </a:cxn>
                  <a:cxn ang="0">
                    <a:pos x="24" y="72"/>
                  </a:cxn>
                  <a:cxn ang="0">
                    <a:pos x="40" y="62"/>
                  </a:cxn>
                  <a:cxn ang="0">
                    <a:pos x="70" y="44"/>
                  </a:cxn>
                  <a:cxn ang="0">
                    <a:pos x="92" y="30"/>
                  </a:cxn>
                  <a:cxn ang="0">
                    <a:pos x="132" y="32"/>
                  </a:cxn>
                  <a:cxn ang="0">
                    <a:pos x="124" y="38"/>
                  </a:cxn>
                  <a:cxn ang="0">
                    <a:pos x="118" y="46"/>
                  </a:cxn>
                  <a:cxn ang="0">
                    <a:pos x="164" y="58"/>
                  </a:cxn>
                  <a:cxn ang="0">
                    <a:pos x="186" y="62"/>
                  </a:cxn>
                  <a:cxn ang="0">
                    <a:pos x="214" y="80"/>
                  </a:cxn>
                  <a:cxn ang="0">
                    <a:pos x="242" y="84"/>
                  </a:cxn>
                  <a:cxn ang="0">
                    <a:pos x="256" y="94"/>
                  </a:cxn>
                  <a:cxn ang="0">
                    <a:pos x="268" y="120"/>
                  </a:cxn>
                  <a:cxn ang="0">
                    <a:pos x="288" y="128"/>
                  </a:cxn>
                  <a:cxn ang="0">
                    <a:pos x="318" y="136"/>
                  </a:cxn>
                  <a:cxn ang="0">
                    <a:pos x="310" y="150"/>
                  </a:cxn>
                  <a:cxn ang="0">
                    <a:pos x="290" y="168"/>
                  </a:cxn>
                  <a:cxn ang="0">
                    <a:pos x="348" y="164"/>
                  </a:cxn>
                  <a:cxn ang="0">
                    <a:pos x="382" y="170"/>
                  </a:cxn>
                  <a:cxn ang="0">
                    <a:pos x="400" y="166"/>
                  </a:cxn>
                </a:cxnLst>
                <a:rect l="0" t="0" r="r" b="b"/>
                <a:pathLst>
                  <a:path w="438" h="172">
                    <a:moveTo>
                      <a:pt x="400" y="166"/>
                    </a:moveTo>
                    <a:lnTo>
                      <a:pt x="400" y="166"/>
                    </a:lnTo>
                    <a:lnTo>
                      <a:pt x="410" y="162"/>
                    </a:lnTo>
                    <a:lnTo>
                      <a:pt x="416" y="160"/>
                    </a:lnTo>
                    <a:lnTo>
                      <a:pt x="426" y="160"/>
                    </a:lnTo>
                    <a:lnTo>
                      <a:pt x="432" y="162"/>
                    </a:lnTo>
                    <a:lnTo>
                      <a:pt x="436" y="156"/>
                    </a:lnTo>
                    <a:lnTo>
                      <a:pt x="436" y="156"/>
                    </a:lnTo>
                    <a:lnTo>
                      <a:pt x="438" y="152"/>
                    </a:lnTo>
                    <a:lnTo>
                      <a:pt x="438" y="150"/>
                    </a:lnTo>
                    <a:lnTo>
                      <a:pt x="434" y="150"/>
                    </a:lnTo>
                    <a:lnTo>
                      <a:pt x="428" y="148"/>
                    </a:lnTo>
                    <a:lnTo>
                      <a:pt x="424" y="146"/>
                    </a:lnTo>
                    <a:lnTo>
                      <a:pt x="420" y="144"/>
                    </a:lnTo>
                    <a:lnTo>
                      <a:pt x="420" y="144"/>
                    </a:lnTo>
                    <a:lnTo>
                      <a:pt x="414" y="136"/>
                    </a:lnTo>
                    <a:lnTo>
                      <a:pt x="410" y="132"/>
                    </a:lnTo>
                    <a:lnTo>
                      <a:pt x="400" y="128"/>
                    </a:lnTo>
                    <a:lnTo>
                      <a:pt x="384" y="126"/>
                    </a:lnTo>
                    <a:lnTo>
                      <a:pt x="384" y="126"/>
                    </a:lnTo>
                    <a:lnTo>
                      <a:pt x="372" y="124"/>
                    </a:lnTo>
                    <a:lnTo>
                      <a:pt x="370" y="124"/>
                    </a:lnTo>
                    <a:lnTo>
                      <a:pt x="372" y="122"/>
                    </a:lnTo>
                    <a:lnTo>
                      <a:pt x="374" y="120"/>
                    </a:lnTo>
                    <a:lnTo>
                      <a:pt x="376" y="116"/>
                    </a:lnTo>
                    <a:lnTo>
                      <a:pt x="376" y="112"/>
                    </a:lnTo>
                    <a:lnTo>
                      <a:pt x="376" y="112"/>
                    </a:lnTo>
                    <a:lnTo>
                      <a:pt x="376" y="108"/>
                    </a:lnTo>
                    <a:lnTo>
                      <a:pt x="374" y="108"/>
                    </a:lnTo>
                    <a:lnTo>
                      <a:pt x="368" y="106"/>
                    </a:lnTo>
                    <a:lnTo>
                      <a:pt x="362" y="106"/>
                    </a:lnTo>
                    <a:lnTo>
                      <a:pt x="358" y="106"/>
                    </a:lnTo>
                    <a:lnTo>
                      <a:pt x="356" y="104"/>
                    </a:lnTo>
                    <a:lnTo>
                      <a:pt x="356" y="104"/>
                    </a:lnTo>
                    <a:lnTo>
                      <a:pt x="352" y="102"/>
                    </a:lnTo>
                    <a:lnTo>
                      <a:pt x="350" y="100"/>
                    </a:lnTo>
                    <a:lnTo>
                      <a:pt x="344" y="102"/>
                    </a:lnTo>
                    <a:lnTo>
                      <a:pt x="340" y="102"/>
                    </a:lnTo>
                    <a:lnTo>
                      <a:pt x="338" y="102"/>
                    </a:lnTo>
                    <a:lnTo>
                      <a:pt x="338" y="100"/>
                    </a:lnTo>
                    <a:lnTo>
                      <a:pt x="338" y="100"/>
                    </a:lnTo>
                    <a:lnTo>
                      <a:pt x="334" y="96"/>
                    </a:lnTo>
                    <a:lnTo>
                      <a:pt x="332" y="94"/>
                    </a:lnTo>
                    <a:lnTo>
                      <a:pt x="326" y="92"/>
                    </a:lnTo>
                    <a:lnTo>
                      <a:pt x="320" y="86"/>
                    </a:lnTo>
                    <a:lnTo>
                      <a:pt x="320" y="86"/>
                    </a:lnTo>
                    <a:lnTo>
                      <a:pt x="304" y="70"/>
                    </a:lnTo>
                    <a:lnTo>
                      <a:pt x="300" y="68"/>
                    </a:lnTo>
                    <a:lnTo>
                      <a:pt x="300" y="70"/>
                    </a:lnTo>
                    <a:lnTo>
                      <a:pt x="300" y="72"/>
                    </a:lnTo>
                    <a:lnTo>
                      <a:pt x="300" y="72"/>
                    </a:lnTo>
                    <a:lnTo>
                      <a:pt x="300" y="76"/>
                    </a:lnTo>
                    <a:lnTo>
                      <a:pt x="300" y="76"/>
                    </a:lnTo>
                    <a:lnTo>
                      <a:pt x="296" y="76"/>
                    </a:lnTo>
                    <a:lnTo>
                      <a:pt x="294" y="70"/>
                    </a:lnTo>
                    <a:lnTo>
                      <a:pt x="292" y="64"/>
                    </a:lnTo>
                    <a:lnTo>
                      <a:pt x="292" y="64"/>
                    </a:lnTo>
                    <a:lnTo>
                      <a:pt x="292" y="62"/>
                    </a:lnTo>
                    <a:lnTo>
                      <a:pt x="292" y="60"/>
                    </a:lnTo>
                    <a:lnTo>
                      <a:pt x="286" y="60"/>
                    </a:lnTo>
                    <a:lnTo>
                      <a:pt x="276" y="56"/>
                    </a:lnTo>
                    <a:lnTo>
                      <a:pt x="268" y="54"/>
                    </a:lnTo>
                    <a:lnTo>
                      <a:pt x="260" y="48"/>
                    </a:lnTo>
                    <a:lnTo>
                      <a:pt x="260" y="48"/>
                    </a:lnTo>
                    <a:lnTo>
                      <a:pt x="252" y="42"/>
                    </a:lnTo>
                    <a:lnTo>
                      <a:pt x="244" y="40"/>
                    </a:lnTo>
                    <a:lnTo>
                      <a:pt x="234" y="40"/>
                    </a:lnTo>
                    <a:lnTo>
                      <a:pt x="230" y="40"/>
                    </a:lnTo>
                    <a:lnTo>
                      <a:pt x="226" y="38"/>
                    </a:lnTo>
                    <a:lnTo>
                      <a:pt x="220" y="34"/>
                    </a:lnTo>
                    <a:lnTo>
                      <a:pt x="216" y="28"/>
                    </a:lnTo>
                    <a:lnTo>
                      <a:pt x="216" y="28"/>
                    </a:lnTo>
                    <a:lnTo>
                      <a:pt x="210" y="20"/>
                    </a:lnTo>
                    <a:lnTo>
                      <a:pt x="204" y="16"/>
                    </a:lnTo>
                    <a:lnTo>
                      <a:pt x="200" y="14"/>
                    </a:lnTo>
                    <a:lnTo>
                      <a:pt x="194" y="14"/>
                    </a:lnTo>
                    <a:lnTo>
                      <a:pt x="186" y="14"/>
                    </a:lnTo>
                    <a:lnTo>
                      <a:pt x="182" y="12"/>
                    </a:lnTo>
                    <a:lnTo>
                      <a:pt x="180" y="8"/>
                    </a:lnTo>
                    <a:lnTo>
                      <a:pt x="180" y="8"/>
                    </a:lnTo>
                    <a:lnTo>
                      <a:pt x="176" y="6"/>
                    </a:lnTo>
                    <a:lnTo>
                      <a:pt x="174" y="4"/>
                    </a:lnTo>
                    <a:lnTo>
                      <a:pt x="168" y="6"/>
                    </a:lnTo>
                    <a:lnTo>
                      <a:pt x="164" y="8"/>
                    </a:lnTo>
                    <a:lnTo>
                      <a:pt x="160" y="6"/>
                    </a:lnTo>
                    <a:lnTo>
                      <a:pt x="156" y="4"/>
                    </a:lnTo>
                    <a:lnTo>
                      <a:pt x="156" y="4"/>
                    </a:lnTo>
                    <a:lnTo>
                      <a:pt x="150" y="0"/>
                    </a:lnTo>
                    <a:lnTo>
                      <a:pt x="148" y="2"/>
                    </a:lnTo>
                    <a:lnTo>
                      <a:pt x="146" y="2"/>
                    </a:lnTo>
                    <a:lnTo>
                      <a:pt x="142" y="4"/>
                    </a:lnTo>
                    <a:lnTo>
                      <a:pt x="136" y="4"/>
                    </a:lnTo>
                    <a:lnTo>
                      <a:pt x="126" y="2"/>
                    </a:lnTo>
                    <a:lnTo>
                      <a:pt x="126" y="2"/>
                    </a:lnTo>
                    <a:lnTo>
                      <a:pt x="118" y="0"/>
                    </a:lnTo>
                    <a:lnTo>
                      <a:pt x="112" y="0"/>
                    </a:lnTo>
                    <a:lnTo>
                      <a:pt x="108" y="2"/>
                    </a:lnTo>
                    <a:lnTo>
                      <a:pt x="104" y="4"/>
                    </a:lnTo>
                    <a:lnTo>
                      <a:pt x="98" y="8"/>
                    </a:lnTo>
                    <a:lnTo>
                      <a:pt x="92" y="10"/>
                    </a:lnTo>
                    <a:lnTo>
                      <a:pt x="86" y="10"/>
                    </a:lnTo>
                    <a:lnTo>
                      <a:pt x="86" y="10"/>
                    </a:lnTo>
                    <a:lnTo>
                      <a:pt x="68" y="14"/>
                    </a:lnTo>
                    <a:lnTo>
                      <a:pt x="56" y="18"/>
                    </a:lnTo>
                    <a:lnTo>
                      <a:pt x="44" y="22"/>
                    </a:lnTo>
                    <a:lnTo>
                      <a:pt x="36" y="28"/>
                    </a:lnTo>
                    <a:lnTo>
                      <a:pt x="28" y="34"/>
                    </a:lnTo>
                    <a:lnTo>
                      <a:pt x="24" y="42"/>
                    </a:lnTo>
                    <a:lnTo>
                      <a:pt x="22" y="48"/>
                    </a:lnTo>
                    <a:lnTo>
                      <a:pt x="24" y="54"/>
                    </a:lnTo>
                    <a:lnTo>
                      <a:pt x="24" y="54"/>
                    </a:lnTo>
                    <a:lnTo>
                      <a:pt x="24" y="58"/>
                    </a:lnTo>
                    <a:lnTo>
                      <a:pt x="22" y="60"/>
                    </a:lnTo>
                    <a:lnTo>
                      <a:pt x="14" y="62"/>
                    </a:lnTo>
                    <a:lnTo>
                      <a:pt x="4" y="64"/>
                    </a:lnTo>
                    <a:lnTo>
                      <a:pt x="2" y="66"/>
                    </a:lnTo>
                    <a:lnTo>
                      <a:pt x="0" y="68"/>
                    </a:lnTo>
                    <a:lnTo>
                      <a:pt x="0" y="68"/>
                    </a:lnTo>
                    <a:lnTo>
                      <a:pt x="2" y="70"/>
                    </a:lnTo>
                    <a:lnTo>
                      <a:pt x="4" y="72"/>
                    </a:lnTo>
                    <a:lnTo>
                      <a:pt x="8" y="72"/>
                    </a:lnTo>
                    <a:lnTo>
                      <a:pt x="14" y="72"/>
                    </a:lnTo>
                    <a:lnTo>
                      <a:pt x="16" y="72"/>
                    </a:lnTo>
                    <a:lnTo>
                      <a:pt x="18" y="72"/>
                    </a:lnTo>
                    <a:lnTo>
                      <a:pt x="18" y="72"/>
                    </a:lnTo>
                    <a:lnTo>
                      <a:pt x="18" y="74"/>
                    </a:lnTo>
                    <a:lnTo>
                      <a:pt x="20" y="74"/>
                    </a:lnTo>
                    <a:lnTo>
                      <a:pt x="24" y="72"/>
                    </a:lnTo>
                    <a:lnTo>
                      <a:pt x="30" y="68"/>
                    </a:lnTo>
                    <a:lnTo>
                      <a:pt x="38" y="68"/>
                    </a:lnTo>
                    <a:lnTo>
                      <a:pt x="38" y="68"/>
                    </a:lnTo>
                    <a:lnTo>
                      <a:pt x="40" y="62"/>
                    </a:lnTo>
                    <a:lnTo>
                      <a:pt x="42" y="58"/>
                    </a:lnTo>
                    <a:lnTo>
                      <a:pt x="52" y="54"/>
                    </a:lnTo>
                    <a:lnTo>
                      <a:pt x="62" y="48"/>
                    </a:lnTo>
                    <a:lnTo>
                      <a:pt x="70" y="44"/>
                    </a:lnTo>
                    <a:lnTo>
                      <a:pt x="76" y="40"/>
                    </a:lnTo>
                    <a:lnTo>
                      <a:pt x="76" y="40"/>
                    </a:lnTo>
                    <a:lnTo>
                      <a:pt x="84" y="34"/>
                    </a:lnTo>
                    <a:lnTo>
                      <a:pt x="92" y="30"/>
                    </a:lnTo>
                    <a:lnTo>
                      <a:pt x="100" y="28"/>
                    </a:lnTo>
                    <a:lnTo>
                      <a:pt x="108" y="28"/>
                    </a:lnTo>
                    <a:lnTo>
                      <a:pt x="124" y="28"/>
                    </a:lnTo>
                    <a:lnTo>
                      <a:pt x="132" y="32"/>
                    </a:lnTo>
                    <a:lnTo>
                      <a:pt x="132" y="32"/>
                    </a:lnTo>
                    <a:lnTo>
                      <a:pt x="134" y="34"/>
                    </a:lnTo>
                    <a:lnTo>
                      <a:pt x="132" y="36"/>
                    </a:lnTo>
                    <a:lnTo>
                      <a:pt x="124" y="38"/>
                    </a:lnTo>
                    <a:lnTo>
                      <a:pt x="116" y="42"/>
                    </a:lnTo>
                    <a:lnTo>
                      <a:pt x="116" y="44"/>
                    </a:lnTo>
                    <a:lnTo>
                      <a:pt x="118" y="46"/>
                    </a:lnTo>
                    <a:lnTo>
                      <a:pt x="118" y="46"/>
                    </a:lnTo>
                    <a:lnTo>
                      <a:pt x="126" y="52"/>
                    </a:lnTo>
                    <a:lnTo>
                      <a:pt x="134" y="56"/>
                    </a:lnTo>
                    <a:lnTo>
                      <a:pt x="146" y="58"/>
                    </a:lnTo>
                    <a:lnTo>
                      <a:pt x="164" y="58"/>
                    </a:lnTo>
                    <a:lnTo>
                      <a:pt x="164" y="58"/>
                    </a:lnTo>
                    <a:lnTo>
                      <a:pt x="174" y="58"/>
                    </a:lnTo>
                    <a:lnTo>
                      <a:pt x="180" y="60"/>
                    </a:lnTo>
                    <a:lnTo>
                      <a:pt x="186" y="62"/>
                    </a:lnTo>
                    <a:lnTo>
                      <a:pt x="190" y="66"/>
                    </a:lnTo>
                    <a:lnTo>
                      <a:pt x="200" y="74"/>
                    </a:lnTo>
                    <a:lnTo>
                      <a:pt x="206" y="78"/>
                    </a:lnTo>
                    <a:lnTo>
                      <a:pt x="214" y="80"/>
                    </a:lnTo>
                    <a:lnTo>
                      <a:pt x="214" y="80"/>
                    </a:lnTo>
                    <a:lnTo>
                      <a:pt x="222" y="84"/>
                    </a:lnTo>
                    <a:lnTo>
                      <a:pt x="230" y="84"/>
                    </a:lnTo>
                    <a:lnTo>
                      <a:pt x="242" y="84"/>
                    </a:lnTo>
                    <a:lnTo>
                      <a:pt x="246" y="84"/>
                    </a:lnTo>
                    <a:lnTo>
                      <a:pt x="250" y="86"/>
                    </a:lnTo>
                    <a:lnTo>
                      <a:pt x="252" y="88"/>
                    </a:lnTo>
                    <a:lnTo>
                      <a:pt x="256" y="94"/>
                    </a:lnTo>
                    <a:lnTo>
                      <a:pt x="256" y="94"/>
                    </a:lnTo>
                    <a:lnTo>
                      <a:pt x="260" y="106"/>
                    </a:lnTo>
                    <a:lnTo>
                      <a:pt x="266" y="116"/>
                    </a:lnTo>
                    <a:lnTo>
                      <a:pt x="268" y="120"/>
                    </a:lnTo>
                    <a:lnTo>
                      <a:pt x="274" y="124"/>
                    </a:lnTo>
                    <a:lnTo>
                      <a:pt x="280" y="126"/>
                    </a:lnTo>
                    <a:lnTo>
                      <a:pt x="288" y="128"/>
                    </a:lnTo>
                    <a:lnTo>
                      <a:pt x="288" y="128"/>
                    </a:lnTo>
                    <a:lnTo>
                      <a:pt x="304" y="128"/>
                    </a:lnTo>
                    <a:lnTo>
                      <a:pt x="310" y="130"/>
                    </a:lnTo>
                    <a:lnTo>
                      <a:pt x="316" y="134"/>
                    </a:lnTo>
                    <a:lnTo>
                      <a:pt x="318" y="136"/>
                    </a:lnTo>
                    <a:lnTo>
                      <a:pt x="318" y="140"/>
                    </a:lnTo>
                    <a:lnTo>
                      <a:pt x="316" y="144"/>
                    </a:lnTo>
                    <a:lnTo>
                      <a:pt x="310" y="150"/>
                    </a:lnTo>
                    <a:lnTo>
                      <a:pt x="310" y="150"/>
                    </a:lnTo>
                    <a:lnTo>
                      <a:pt x="298" y="158"/>
                    </a:lnTo>
                    <a:lnTo>
                      <a:pt x="292" y="162"/>
                    </a:lnTo>
                    <a:lnTo>
                      <a:pt x="290" y="166"/>
                    </a:lnTo>
                    <a:lnTo>
                      <a:pt x="290" y="168"/>
                    </a:lnTo>
                    <a:lnTo>
                      <a:pt x="296" y="170"/>
                    </a:lnTo>
                    <a:lnTo>
                      <a:pt x="328" y="166"/>
                    </a:lnTo>
                    <a:lnTo>
                      <a:pt x="328" y="166"/>
                    </a:lnTo>
                    <a:lnTo>
                      <a:pt x="348" y="164"/>
                    </a:lnTo>
                    <a:lnTo>
                      <a:pt x="360" y="166"/>
                    </a:lnTo>
                    <a:lnTo>
                      <a:pt x="370" y="166"/>
                    </a:lnTo>
                    <a:lnTo>
                      <a:pt x="376" y="168"/>
                    </a:lnTo>
                    <a:lnTo>
                      <a:pt x="382" y="170"/>
                    </a:lnTo>
                    <a:lnTo>
                      <a:pt x="386" y="172"/>
                    </a:lnTo>
                    <a:lnTo>
                      <a:pt x="392" y="170"/>
                    </a:lnTo>
                    <a:lnTo>
                      <a:pt x="400" y="166"/>
                    </a:lnTo>
                    <a:lnTo>
                      <a:pt x="400" y="166"/>
                    </a:lnTo>
                    <a:close/>
                  </a:path>
                </a:pathLst>
              </a:custGeom>
              <a:grpFill/>
              <a:ln w="6350">
                <a:noFill/>
                <a:round/>
                <a:headEnd/>
                <a:tailEnd/>
              </a:ln>
            </p:spPr>
            <p:txBody>
              <a:bodyPr/>
              <a:lstStyle/>
              <a:p>
                <a:endParaRPr lang="da-DK" sz="2800" b="1"/>
              </a:p>
            </p:txBody>
          </p:sp>
          <p:sp>
            <p:nvSpPr>
              <p:cNvPr id="70" name="Freeform 6084">
                <a:extLst>
                  <a:ext uri="{FF2B5EF4-FFF2-40B4-BE49-F238E27FC236}">
                    <a16:creationId xmlns:a16="http://schemas.microsoft.com/office/drawing/2014/main" id="{6B50C713-71A5-4151-98EC-BB4233FD40F6}"/>
                  </a:ext>
                </a:extLst>
              </p:cNvPr>
              <p:cNvSpPr>
                <a:spLocks/>
              </p:cNvSpPr>
              <p:nvPr/>
            </p:nvSpPr>
            <p:spPr bwMode="auto">
              <a:xfrm>
                <a:off x="2791460" y="3296603"/>
                <a:ext cx="5080" cy="5080"/>
              </a:xfrm>
              <a:custGeom>
                <a:avLst/>
                <a:gdLst/>
                <a:ahLst/>
                <a:cxnLst>
                  <a:cxn ang="0">
                    <a:pos x="0" y="6"/>
                  </a:cxn>
                  <a:cxn ang="0">
                    <a:pos x="0" y="6"/>
                  </a:cxn>
                  <a:cxn ang="0">
                    <a:pos x="0" y="8"/>
                  </a:cxn>
                  <a:cxn ang="0">
                    <a:pos x="4" y="6"/>
                  </a:cxn>
                  <a:cxn ang="0">
                    <a:pos x="6" y="4"/>
                  </a:cxn>
                  <a:cxn ang="0">
                    <a:pos x="8" y="2"/>
                  </a:cxn>
                  <a:cxn ang="0">
                    <a:pos x="8" y="2"/>
                  </a:cxn>
                  <a:cxn ang="0">
                    <a:pos x="6" y="0"/>
                  </a:cxn>
                  <a:cxn ang="0">
                    <a:pos x="2" y="2"/>
                  </a:cxn>
                  <a:cxn ang="0">
                    <a:pos x="0" y="4"/>
                  </a:cxn>
                  <a:cxn ang="0">
                    <a:pos x="0" y="6"/>
                  </a:cxn>
                  <a:cxn ang="0">
                    <a:pos x="0" y="6"/>
                  </a:cxn>
                </a:cxnLst>
                <a:rect l="0" t="0" r="r" b="b"/>
                <a:pathLst>
                  <a:path w="8" h="8">
                    <a:moveTo>
                      <a:pt x="0" y="6"/>
                    </a:moveTo>
                    <a:lnTo>
                      <a:pt x="0" y="6"/>
                    </a:lnTo>
                    <a:lnTo>
                      <a:pt x="0" y="8"/>
                    </a:lnTo>
                    <a:lnTo>
                      <a:pt x="4" y="6"/>
                    </a:lnTo>
                    <a:lnTo>
                      <a:pt x="6" y="4"/>
                    </a:lnTo>
                    <a:lnTo>
                      <a:pt x="8" y="2"/>
                    </a:lnTo>
                    <a:lnTo>
                      <a:pt x="8" y="2"/>
                    </a:lnTo>
                    <a:lnTo>
                      <a:pt x="6" y="0"/>
                    </a:lnTo>
                    <a:lnTo>
                      <a:pt x="2" y="2"/>
                    </a:lnTo>
                    <a:lnTo>
                      <a:pt x="0" y="4"/>
                    </a:lnTo>
                    <a:lnTo>
                      <a:pt x="0" y="6"/>
                    </a:lnTo>
                    <a:lnTo>
                      <a:pt x="0" y="6"/>
                    </a:lnTo>
                    <a:close/>
                  </a:path>
                </a:pathLst>
              </a:custGeom>
              <a:grpFill/>
              <a:ln w="6350">
                <a:noFill/>
                <a:round/>
                <a:headEnd/>
                <a:tailEnd/>
              </a:ln>
            </p:spPr>
            <p:txBody>
              <a:bodyPr/>
              <a:lstStyle/>
              <a:p>
                <a:endParaRPr lang="da-DK" sz="2800" b="1"/>
              </a:p>
            </p:txBody>
          </p:sp>
          <p:sp>
            <p:nvSpPr>
              <p:cNvPr id="71" name="Freeform 6086">
                <a:extLst>
                  <a:ext uri="{FF2B5EF4-FFF2-40B4-BE49-F238E27FC236}">
                    <a16:creationId xmlns:a16="http://schemas.microsoft.com/office/drawing/2014/main" id="{445F3469-2732-49D6-9514-93B5259F7C54}"/>
                  </a:ext>
                </a:extLst>
              </p:cNvPr>
              <p:cNvSpPr>
                <a:spLocks noEditPoints="1"/>
              </p:cNvSpPr>
              <p:nvPr/>
            </p:nvSpPr>
            <p:spPr bwMode="auto">
              <a:xfrm>
                <a:off x="93979" y="1296353"/>
                <a:ext cx="2874010" cy="2354580"/>
              </a:xfrm>
              <a:custGeom>
                <a:avLst/>
                <a:gdLst/>
                <a:ahLst/>
                <a:cxnLst>
                  <a:cxn ang="0">
                    <a:pos x="3400" y="3516"/>
                  </a:cxn>
                  <a:cxn ang="0">
                    <a:pos x="3292" y="3276"/>
                  </a:cxn>
                  <a:cxn ang="0">
                    <a:pos x="3246" y="3102"/>
                  </a:cxn>
                  <a:cxn ang="0">
                    <a:pos x="3116" y="3080"/>
                  </a:cxn>
                  <a:cxn ang="0">
                    <a:pos x="2830" y="2916"/>
                  </a:cxn>
                  <a:cxn ang="0">
                    <a:pos x="3078" y="2572"/>
                  </a:cxn>
                  <a:cxn ang="0">
                    <a:pos x="3134" y="2554"/>
                  </a:cxn>
                  <a:cxn ang="0">
                    <a:pos x="3436" y="2646"/>
                  </a:cxn>
                  <a:cxn ang="0">
                    <a:pos x="3526" y="2642"/>
                  </a:cxn>
                  <a:cxn ang="0">
                    <a:pos x="3686" y="2282"/>
                  </a:cxn>
                  <a:cxn ang="0">
                    <a:pos x="3698" y="2162"/>
                  </a:cxn>
                  <a:cxn ang="0">
                    <a:pos x="3748" y="2092"/>
                  </a:cxn>
                  <a:cxn ang="0">
                    <a:pos x="3924" y="1928"/>
                  </a:cxn>
                  <a:cxn ang="0">
                    <a:pos x="4006" y="1782"/>
                  </a:cxn>
                  <a:cxn ang="0">
                    <a:pos x="4138" y="1824"/>
                  </a:cxn>
                  <a:cxn ang="0">
                    <a:pos x="4150" y="1496"/>
                  </a:cxn>
                  <a:cxn ang="0">
                    <a:pos x="4522" y="1296"/>
                  </a:cxn>
                  <a:cxn ang="0">
                    <a:pos x="4314" y="1090"/>
                  </a:cxn>
                  <a:cxn ang="0">
                    <a:pos x="4060" y="934"/>
                  </a:cxn>
                  <a:cxn ang="0">
                    <a:pos x="3720" y="680"/>
                  </a:cxn>
                  <a:cxn ang="0">
                    <a:pos x="3570" y="1166"/>
                  </a:cxn>
                  <a:cxn ang="0">
                    <a:pos x="3346" y="1132"/>
                  </a:cxn>
                  <a:cxn ang="0">
                    <a:pos x="3060" y="648"/>
                  </a:cxn>
                  <a:cxn ang="0">
                    <a:pos x="3304" y="420"/>
                  </a:cxn>
                  <a:cxn ang="0">
                    <a:pos x="3452" y="258"/>
                  </a:cxn>
                  <a:cxn ang="0">
                    <a:pos x="3282" y="322"/>
                  </a:cxn>
                  <a:cxn ang="0">
                    <a:pos x="3048" y="164"/>
                  </a:cxn>
                  <a:cxn ang="0">
                    <a:pos x="2954" y="232"/>
                  </a:cxn>
                  <a:cxn ang="0">
                    <a:pos x="2726" y="298"/>
                  </a:cxn>
                  <a:cxn ang="0">
                    <a:pos x="2330" y="286"/>
                  </a:cxn>
                  <a:cxn ang="0">
                    <a:pos x="1732" y="136"/>
                  </a:cxn>
                  <a:cxn ang="0">
                    <a:pos x="1406" y="178"/>
                  </a:cxn>
                  <a:cxn ang="0">
                    <a:pos x="636" y="94"/>
                  </a:cxn>
                  <a:cxn ang="0">
                    <a:pos x="54" y="266"/>
                  </a:cxn>
                  <a:cxn ang="0">
                    <a:pos x="28" y="440"/>
                  </a:cxn>
                  <a:cxn ang="0">
                    <a:pos x="270" y="598"/>
                  </a:cxn>
                  <a:cxn ang="0">
                    <a:pos x="246" y="900"/>
                  </a:cxn>
                  <a:cxn ang="0">
                    <a:pos x="218" y="1124"/>
                  </a:cxn>
                  <a:cxn ang="0">
                    <a:pos x="548" y="956"/>
                  </a:cxn>
                  <a:cxn ang="0">
                    <a:pos x="648" y="882"/>
                  </a:cxn>
                  <a:cxn ang="0">
                    <a:pos x="1136" y="842"/>
                  </a:cxn>
                  <a:cxn ang="0">
                    <a:pos x="1412" y="1020"/>
                  </a:cxn>
                  <a:cxn ang="0">
                    <a:pos x="1524" y="1162"/>
                  </a:cxn>
                  <a:cxn ang="0">
                    <a:pos x="1646" y="1306"/>
                  </a:cxn>
                  <a:cxn ang="0">
                    <a:pos x="1750" y="1434"/>
                  </a:cxn>
                  <a:cxn ang="0">
                    <a:pos x="1840" y="1570"/>
                  </a:cxn>
                  <a:cxn ang="0">
                    <a:pos x="1838" y="2170"/>
                  </a:cxn>
                  <a:cxn ang="0">
                    <a:pos x="2146" y="2682"/>
                  </a:cxn>
                  <a:cxn ang="0">
                    <a:pos x="2168" y="2564"/>
                  </a:cxn>
                  <a:cxn ang="0">
                    <a:pos x="2530" y="2998"/>
                  </a:cxn>
                  <a:cxn ang="0">
                    <a:pos x="3202" y="3400"/>
                  </a:cxn>
                  <a:cxn ang="0">
                    <a:pos x="3330" y="3570"/>
                  </a:cxn>
                  <a:cxn ang="0">
                    <a:pos x="3432" y="3656"/>
                  </a:cxn>
                  <a:cxn ang="0">
                    <a:pos x="3562" y="3616"/>
                  </a:cxn>
                  <a:cxn ang="0">
                    <a:pos x="3408" y="1922"/>
                  </a:cxn>
                  <a:cxn ang="0">
                    <a:pos x="3590" y="1870"/>
                  </a:cxn>
                  <a:cxn ang="0">
                    <a:pos x="3578" y="1812"/>
                  </a:cxn>
                  <a:cxn ang="0">
                    <a:pos x="3344" y="1588"/>
                  </a:cxn>
                  <a:cxn ang="0">
                    <a:pos x="3548" y="1750"/>
                  </a:cxn>
                  <a:cxn ang="0">
                    <a:pos x="3418" y="1798"/>
                  </a:cxn>
                  <a:cxn ang="0">
                    <a:pos x="3294" y="1766"/>
                  </a:cxn>
                  <a:cxn ang="0">
                    <a:pos x="3244" y="1726"/>
                  </a:cxn>
                  <a:cxn ang="0">
                    <a:pos x="3258" y="1654"/>
                  </a:cxn>
                </a:cxnLst>
                <a:rect l="0" t="0" r="r" b="b"/>
                <a:pathLst>
                  <a:path w="4526" h="3708">
                    <a:moveTo>
                      <a:pt x="3654" y="3626"/>
                    </a:moveTo>
                    <a:lnTo>
                      <a:pt x="3654" y="3626"/>
                    </a:lnTo>
                    <a:lnTo>
                      <a:pt x="3654" y="3626"/>
                    </a:lnTo>
                    <a:lnTo>
                      <a:pt x="3654" y="3626"/>
                    </a:lnTo>
                    <a:lnTo>
                      <a:pt x="3642" y="3614"/>
                    </a:lnTo>
                    <a:lnTo>
                      <a:pt x="3628" y="3600"/>
                    </a:lnTo>
                    <a:lnTo>
                      <a:pt x="3622" y="3596"/>
                    </a:lnTo>
                    <a:lnTo>
                      <a:pt x="3614" y="3592"/>
                    </a:lnTo>
                    <a:lnTo>
                      <a:pt x="3606" y="3590"/>
                    </a:lnTo>
                    <a:lnTo>
                      <a:pt x="3598" y="3588"/>
                    </a:lnTo>
                    <a:lnTo>
                      <a:pt x="3598" y="3588"/>
                    </a:lnTo>
                    <a:lnTo>
                      <a:pt x="3588" y="3590"/>
                    </a:lnTo>
                    <a:lnTo>
                      <a:pt x="3588" y="3588"/>
                    </a:lnTo>
                    <a:lnTo>
                      <a:pt x="3588" y="3588"/>
                    </a:lnTo>
                    <a:lnTo>
                      <a:pt x="3588" y="3586"/>
                    </a:lnTo>
                    <a:lnTo>
                      <a:pt x="3586" y="3584"/>
                    </a:lnTo>
                    <a:lnTo>
                      <a:pt x="3574" y="3582"/>
                    </a:lnTo>
                    <a:lnTo>
                      <a:pt x="3574" y="3582"/>
                    </a:lnTo>
                    <a:lnTo>
                      <a:pt x="3562" y="3582"/>
                    </a:lnTo>
                    <a:lnTo>
                      <a:pt x="3560" y="3582"/>
                    </a:lnTo>
                    <a:lnTo>
                      <a:pt x="3560" y="3584"/>
                    </a:lnTo>
                    <a:lnTo>
                      <a:pt x="3556" y="3590"/>
                    </a:lnTo>
                    <a:lnTo>
                      <a:pt x="3552" y="3594"/>
                    </a:lnTo>
                    <a:lnTo>
                      <a:pt x="3546" y="3598"/>
                    </a:lnTo>
                    <a:lnTo>
                      <a:pt x="3546" y="3598"/>
                    </a:lnTo>
                    <a:lnTo>
                      <a:pt x="3524" y="3608"/>
                    </a:lnTo>
                    <a:lnTo>
                      <a:pt x="3518" y="3612"/>
                    </a:lnTo>
                    <a:lnTo>
                      <a:pt x="3514" y="3616"/>
                    </a:lnTo>
                    <a:lnTo>
                      <a:pt x="3496" y="3622"/>
                    </a:lnTo>
                    <a:lnTo>
                      <a:pt x="3496" y="3622"/>
                    </a:lnTo>
                    <a:lnTo>
                      <a:pt x="3492" y="3622"/>
                    </a:lnTo>
                    <a:lnTo>
                      <a:pt x="3488" y="3620"/>
                    </a:lnTo>
                    <a:lnTo>
                      <a:pt x="3480" y="3612"/>
                    </a:lnTo>
                    <a:lnTo>
                      <a:pt x="3480" y="3612"/>
                    </a:lnTo>
                    <a:lnTo>
                      <a:pt x="3476" y="3608"/>
                    </a:lnTo>
                    <a:lnTo>
                      <a:pt x="3474" y="3604"/>
                    </a:lnTo>
                    <a:lnTo>
                      <a:pt x="3474" y="3604"/>
                    </a:lnTo>
                    <a:lnTo>
                      <a:pt x="3472" y="3602"/>
                    </a:lnTo>
                    <a:lnTo>
                      <a:pt x="3470" y="3602"/>
                    </a:lnTo>
                    <a:lnTo>
                      <a:pt x="3468" y="3604"/>
                    </a:lnTo>
                    <a:lnTo>
                      <a:pt x="3470" y="3610"/>
                    </a:lnTo>
                    <a:lnTo>
                      <a:pt x="3470" y="3610"/>
                    </a:lnTo>
                    <a:lnTo>
                      <a:pt x="3470" y="3610"/>
                    </a:lnTo>
                    <a:lnTo>
                      <a:pt x="3468" y="3612"/>
                    </a:lnTo>
                    <a:lnTo>
                      <a:pt x="3464" y="3612"/>
                    </a:lnTo>
                    <a:lnTo>
                      <a:pt x="3460" y="3610"/>
                    </a:lnTo>
                    <a:lnTo>
                      <a:pt x="3456" y="3608"/>
                    </a:lnTo>
                    <a:lnTo>
                      <a:pt x="3456" y="3608"/>
                    </a:lnTo>
                    <a:lnTo>
                      <a:pt x="3458" y="3604"/>
                    </a:lnTo>
                    <a:lnTo>
                      <a:pt x="3460" y="3604"/>
                    </a:lnTo>
                    <a:lnTo>
                      <a:pt x="3460" y="3602"/>
                    </a:lnTo>
                    <a:lnTo>
                      <a:pt x="3460" y="3600"/>
                    </a:lnTo>
                    <a:lnTo>
                      <a:pt x="3460" y="3600"/>
                    </a:lnTo>
                    <a:lnTo>
                      <a:pt x="3458" y="3600"/>
                    </a:lnTo>
                    <a:lnTo>
                      <a:pt x="3454" y="3600"/>
                    </a:lnTo>
                    <a:lnTo>
                      <a:pt x="3452" y="3600"/>
                    </a:lnTo>
                    <a:lnTo>
                      <a:pt x="3452" y="3596"/>
                    </a:lnTo>
                    <a:lnTo>
                      <a:pt x="3452" y="3596"/>
                    </a:lnTo>
                    <a:lnTo>
                      <a:pt x="3452" y="3590"/>
                    </a:lnTo>
                    <a:lnTo>
                      <a:pt x="3450" y="3588"/>
                    </a:lnTo>
                    <a:lnTo>
                      <a:pt x="3444" y="3584"/>
                    </a:lnTo>
                    <a:lnTo>
                      <a:pt x="3444" y="3584"/>
                    </a:lnTo>
                    <a:lnTo>
                      <a:pt x="3440" y="3578"/>
                    </a:lnTo>
                    <a:lnTo>
                      <a:pt x="3432" y="3568"/>
                    </a:lnTo>
                    <a:lnTo>
                      <a:pt x="3422" y="3558"/>
                    </a:lnTo>
                    <a:lnTo>
                      <a:pt x="3412" y="3544"/>
                    </a:lnTo>
                    <a:lnTo>
                      <a:pt x="3412" y="3544"/>
                    </a:lnTo>
                    <a:lnTo>
                      <a:pt x="3406" y="3534"/>
                    </a:lnTo>
                    <a:lnTo>
                      <a:pt x="3404" y="3528"/>
                    </a:lnTo>
                    <a:lnTo>
                      <a:pt x="3404" y="3522"/>
                    </a:lnTo>
                    <a:lnTo>
                      <a:pt x="3400" y="3516"/>
                    </a:lnTo>
                    <a:lnTo>
                      <a:pt x="3400" y="3516"/>
                    </a:lnTo>
                    <a:lnTo>
                      <a:pt x="3396" y="3512"/>
                    </a:lnTo>
                    <a:lnTo>
                      <a:pt x="3392" y="3504"/>
                    </a:lnTo>
                    <a:lnTo>
                      <a:pt x="3392" y="3504"/>
                    </a:lnTo>
                    <a:lnTo>
                      <a:pt x="3392" y="3498"/>
                    </a:lnTo>
                    <a:lnTo>
                      <a:pt x="3392" y="3492"/>
                    </a:lnTo>
                    <a:lnTo>
                      <a:pt x="3396" y="3486"/>
                    </a:lnTo>
                    <a:lnTo>
                      <a:pt x="3398" y="3484"/>
                    </a:lnTo>
                    <a:lnTo>
                      <a:pt x="3398" y="3484"/>
                    </a:lnTo>
                    <a:lnTo>
                      <a:pt x="3400" y="3482"/>
                    </a:lnTo>
                    <a:lnTo>
                      <a:pt x="3400" y="3478"/>
                    </a:lnTo>
                    <a:lnTo>
                      <a:pt x="3398" y="3474"/>
                    </a:lnTo>
                    <a:lnTo>
                      <a:pt x="3396" y="3472"/>
                    </a:lnTo>
                    <a:lnTo>
                      <a:pt x="3396" y="3472"/>
                    </a:lnTo>
                    <a:lnTo>
                      <a:pt x="3396" y="3470"/>
                    </a:lnTo>
                    <a:lnTo>
                      <a:pt x="3394" y="3470"/>
                    </a:lnTo>
                    <a:lnTo>
                      <a:pt x="3396" y="3464"/>
                    </a:lnTo>
                    <a:lnTo>
                      <a:pt x="3400" y="3452"/>
                    </a:lnTo>
                    <a:lnTo>
                      <a:pt x="3400" y="3452"/>
                    </a:lnTo>
                    <a:lnTo>
                      <a:pt x="3400" y="3446"/>
                    </a:lnTo>
                    <a:lnTo>
                      <a:pt x="3402" y="3444"/>
                    </a:lnTo>
                    <a:lnTo>
                      <a:pt x="3404" y="3444"/>
                    </a:lnTo>
                    <a:lnTo>
                      <a:pt x="3404" y="3444"/>
                    </a:lnTo>
                    <a:lnTo>
                      <a:pt x="3408" y="3444"/>
                    </a:lnTo>
                    <a:lnTo>
                      <a:pt x="3406" y="3438"/>
                    </a:lnTo>
                    <a:lnTo>
                      <a:pt x="3406" y="3438"/>
                    </a:lnTo>
                    <a:lnTo>
                      <a:pt x="3406" y="3424"/>
                    </a:lnTo>
                    <a:lnTo>
                      <a:pt x="3404" y="3404"/>
                    </a:lnTo>
                    <a:lnTo>
                      <a:pt x="3404" y="3404"/>
                    </a:lnTo>
                    <a:lnTo>
                      <a:pt x="3402" y="3396"/>
                    </a:lnTo>
                    <a:lnTo>
                      <a:pt x="3404" y="3392"/>
                    </a:lnTo>
                    <a:lnTo>
                      <a:pt x="3406" y="3386"/>
                    </a:lnTo>
                    <a:lnTo>
                      <a:pt x="3408" y="3378"/>
                    </a:lnTo>
                    <a:lnTo>
                      <a:pt x="3408" y="3378"/>
                    </a:lnTo>
                    <a:lnTo>
                      <a:pt x="3410" y="3368"/>
                    </a:lnTo>
                    <a:lnTo>
                      <a:pt x="3414" y="3358"/>
                    </a:lnTo>
                    <a:lnTo>
                      <a:pt x="3418" y="3350"/>
                    </a:lnTo>
                    <a:lnTo>
                      <a:pt x="3418" y="3346"/>
                    </a:lnTo>
                    <a:lnTo>
                      <a:pt x="3418" y="3342"/>
                    </a:lnTo>
                    <a:lnTo>
                      <a:pt x="3418" y="3342"/>
                    </a:lnTo>
                    <a:lnTo>
                      <a:pt x="3416" y="3334"/>
                    </a:lnTo>
                    <a:lnTo>
                      <a:pt x="3416" y="3328"/>
                    </a:lnTo>
                    <a:lnTo>
                      <a:pt x="3418" y="3324"/>
                    </a:lnTo>
                    <a:lnTo>
                      <a:pt x="3420" y="3318"/>
                    </a:lnTo>
                    <a:lnTo>
                      <a:pt x="3420" y="3318"/>
                    </a:lnTo>
                    <a:lnTo>
                      <a:pt x="3420" y="3314"/>
                    </a:lnTo>
                    <a:lnTo>
                      <a:pt x="3418" y="3310"/>
                    </a:lnTo>
                    <a:lnTo>
                      <a:pt x="3412" y="3304"/>
                    </a:lnTo>
                    <a:lnTo>
                      <a:pt x="3406" y="3300"/>
                    </a:lnTo>
                    <a:lnTo>
                      <a:pt x="3406" y="3300"/>
                    </a:lnTo>
                    <a:lnTo>
                      <a:pt x="3388" y="3290"/>
                    </a:lnTo>
                    <a:lnTo>
                      <a:pt x="3380" y="3280"/>
                    </a:lnTo>
                    <a:lnTo>
                      <a:pt x="3380" y="3280"/>
                    </a:lnTo>
                    <a:lnTo>
                      <a:pt x="3372" y="3274"/>
                    </a:lnTo>
                    <a:lnTo>
                      <a:pt x="3360" y="3270"/>
                    </a:lnTo>
                    <a:lnTo>
                      <a:pt x="3350" y="3268"/>
                    </a:lnTo>
                    <a:lnTo>
                      <a:pt x="3344" y="3268"/>
                    </a:lnTo>
                    <a:lnTo>
                      <a:pt x="3344" y="3268"/>
                    </a:lnTo>
                    <a:lnTo>
                      <a:pt x="3340" y="3270"/>
                    </a:lnTo>
                    <a:lnTo>
                      <a:pt x="3334" y="3270"/>
                    </a:lnTo>
                    <a:lnTo>
                      <a:pt x="3326" y="3270"/>
                    </a:lnTo>
                    <a:lnTo>
                      <a:pt x="3320" y="3268"/>
                    </a:lnTo>
                    <a:lnTo>
                      <a:pt x="3320" y="3268"/>
                    </a:lnTo>
                    <a:lnTo>
                      <a:pt x="3308" y="3264"/>
                    </a:lnTo>
                    <a:lnTo>
                      <a:pt x="3306" y="3264"/>
                    </a:lnTo>
                    <a:lnTo>
                      <a:pt x="3308" y="3266"/>
                    </a:lnTo>
                    <a:lnTo>
                      <a:pt x="3308" y="3266"/>
                    </a:lnTo>
                    <a:lnTo>
                      <a:pt x="3308" y="3268"/>
                    </a:lnTo>
                    <a:lnTo>
                      <a:pt x="3308" y="3270"/>
                    </a:lnTo>
                    <a:lnTo>
                      <a:pt x="3304" y="3272"/>
                    </a:lnTo>
                    <a:lnTo>
                      <a:pt x="3292" y="3276"/>
                    </a:lnTo>
                    <a:lnTo>
                      <a:pt x="3292" y="3276"/>
                    </a:lnTo>
                    <a:lnTo>
                      <a:pt x="3278" y="3278"/>
                    </a:lnTo>
                    <a:lnTo>
                      <a:pt x="3266" y="3276"/>
                    </a:lnTo>
                    <a:lnTo>
                      <a:pt x="3258" y="3274"/>
                    </a:lnTo>
                    <a:lnTo>
                      <a:pt x="3248" y="3274"/>
                    </a:lnTo>
                    <a:lnTo>
                      <a:pt x="3248" y="3274"/>
                    </a:lnTo>
                    <a:lnTo>
                      <a:pt x="3244" y="3276"/>
                    </a:lnTo>
                    <a:lnTo>
                      <a:pt x="3242" y="3274"/>
                    </a:lnTo>
                    <a:lnTo>
                      <a:pt x="3240" y="3272"/>
                    </a:lnTo>
                    <a:lnTo>
                      <a:pt x="3238" y="3270"/>
                    </a:lnTo>
                    <a:lnTo>
                      <a:pt x="3238" y="3270"/>
                    </a:lnTo>
                    <a:lnTo>
                      <a:pt x="3236" y="3270"/>
                    </a:lnTo>
                    <a:lnTo>
                      <a:pt x="3232" y="3272"/>
                    </a:lnTo>
                    <a:lnTo>
                      <a:pt x="3226" y="3276"/>
                    </a:lnTo>
                    <a:lnTo>
                      <a:pt x="3222" y="3282"/>
                    </a:lnTo>
                    <a:lnTo>
                      <a:pt x="3218" y="3282"/>
                    </a:lnTo>
                    <a:lnTo>
                      <a:pt x="3216" y="3280"/>
                    </a:lnTo>
                    <a:lnTo>
                      <a:pt x="3216" y="3280"/>
                    </a:lnTo>
                    <a:lnTo>
                      <a:pt x="3206" y="3272"/>
                    </a:lnTo>
                    <a:lnTo>
                      <a:pt x="3202" y="3268"/>
                    </a:lnTo>
                    <a:lnTo>
                      <a:pt x="3200" y="3268"/>
                    </a:lnTo>
                    <a:lnTo>
                      <a:pt x="3202" y="3270"/>
                    </a:lnTo>
                    <a:lnTo>
                      <a:pt x="3202" y="3270"/>
                    </a:lnTo>
                    <a:lnTo>
                      <a:pt x="3204" y="3274"/>
                    </a:lnTo>
                    <a:lnTo>
                      <a:pt x="3202" y="3280"/>
                    </a:lnTo>
                    <a:lnTo>
                      <a:pt x="3202" y="3280"/>
                    </a:lnTo>
                    <a:lnTo>
                      <a:pt x="3200" y="3282"/>
                    </a:lnTo>
                    <a:lnTo>
                      <a:pt x="3198" y="3280"/>
                    </a:lnTo>
                    <a:lnTo>
                      <a:pt x="3194" y="3274"/>
                    </a:lnTo>
                    <a:lnTo>
                      <a:pt x="3188" y="3270"/>
                    </a:lnTo>
                    <a:lnTo>
                      <a:pt x="3188" y="3270"/>
                    </a:lnTo>
                    <a:lnTo>
                      <a:pt x="3188" y="3268"/>
                    </a:lnTo>
                    <a:lnTo>
                      <a:pt x="3190" y="3264"/>
                    </a:lnTo>
                    <a:lnTo>
                      <a:pt x="3196" y="3256"/>
                    </a:lnTo>
                    <a:lnTo>
                      <a:pt x="3202" y="3250"/>
                    </a:lnTo>
                    <a:lnTo>
                      <a:pt x="3208" y="3242"/>
                    </a:lnTo>
                    <a:lnTo>
                      <a:pt x="3208" y="3242"/>
                    </a:lnTo>
                    <a:lnTo>
                      <a:pt x="3212" y="3236"/>
                    </a:lnTo>
                    <a:lnTo>
                      <a:pt x="3214" y="3228"/>
                    </a:lnTo>
                    <a:lnTo>
                      <a:pt x="3216" y="3206"/>
                    </a:lnTo>
                    <a:lnTo>
                      <a:pt x="3218" y="3182"/>
                    </a:lnTo>
                    <a:lnTo>
                      <a:pt x="3222" y="3160"/>
                    </a:lnTo>
                    <a:lnTo>
                      <a:pt x="3222" y="3160"/>
                    </a:lnTo>
                    <a:lnTo>
                      <a:pt x="3222" y="3154"/>
                    </a:lnTo>
                    <a:lnTo>
                      <a:pt x="3220" y="3150"/>
                    </a:lnTo>
                    <a:lnTo>
                      <a:pt x="3218" y="3148"/>
                    </a:lnTo>
                    <a:lnTo>
                      <a:pt x="3216" y="3148"/>
                    </a:lnTo>
                    <a:lnTo>
                      <a:pt x="3216" y="3148"/>
                    </a:lnTo>
                    <a:lnTo>
                      <a:pt x="3214" y="3150"/>
                    </a:lnTo>
                    <a:lnTo>
                      <a:pt x="3212" y="3150"/>
                    </a:lnTo>
                    <a:lnTo>
                      <a:pt x="3212" y="3144"/>
                    </a:lnTo>
                    <a:lnTo>
                      <a:pt x="3212" y="3144"/>
                    </a:lnTo>
                    <a:lnTo>
                      <a:pt x="3220" y="3128"/>
                    </a:lnTo>
                    <a:lnTo>
                      <a:pt x="3220" y="3128"/>
                    </a:lnTo>
                    <a:lnTo>
                      <a:pt x="3222" y="3124"/>
                    </a:lnTo>
                    <a:lnTo>
                      <a:pt x="3224" y="3124"/>
                    </a:lnTo>
                    <a:lnTo>
                      <a:pt x="3224" y="3128"/>
                    </a:lnTo>
                    <a:lnTo>
                      <a:pt x="3222" y="3134"/>
                    </a:lnTo>
                    <a:lnTo>
                      <a:pt x="3222" y="3134"/>
                    </a:lnTo>
                    <a:lnTo>
                      <a:pt x="3222" y="3140"/>
                    </a:lnTo>
                    <a:lnTo>
                      <a:pt x="3224" y="3144"/>
                    </a:lnTo>
                    <a:lnTo>
                      <a:pt x="3226" y="3148"/>
                    </a:lnTo>
                    <a:lnTo>
                      <a:pt x="3230" y="3154"/>
                    </a:lnTo>
                    <a:lnTo>
                      <a:pt x="3230" y="3154"/>
                    </a:lnTo>
                    <a:lnTo>
                      <a:pt x="3232" y="3156"/>
                    </a:lnTo>
                    <a:lnTo>
                      <a:pt x="3232" y="3152"/>
                    </a:lnTo>
                    <a:lnTo>
                      <a:pt x="3236" y="3138"/>
                    </a:lnTo>
                    <a:lnTo>
                      <a:pt x="3242" y="3118"/>
                    </a:lnTo>
                    <a:lnTo>
                      <a:pt x="3244" y="3104"/>
                    </a:lnTo>
                    <a:lnTo>
                      <a:pt x="3244" y="3104"/>
                    </a:lnTo>
                    <a:lnTo>
                      <a:pt x="3246" y="3102"/>
                    </a:lnTo>
                    <a:lnTo>
                      <a:pt x="3244" y="3102"/>
                    </a:lnTo>
                    <a:lnTo>
                      <a:pt x="3240" y="3102"/>
                    </a:lnTo>
                    <a:lnTo>
                      <a:pt x="3238" y="3102"/>
                    </a:lnTo>
                    <a:lnTo>
                      <a:pt x="3242" y="3098"/>
                    </a:lnTo>
                    <a:lnTo>
                      <a:pt x="3242" y="3098"/>
                    </a:lnTo>
                    <a:lnTo>
                      <a:pt x="3250" y="3088"/>
                    </a:lnTo>
                    <a:lnTo>
                      <a:pt x="3248" y="3086"/>
                    </a:lnTo>
                    <a:lnTo>
                      <a:pt x="3244" y="3088"/>
                    </a:lnTo>
                    <a:lnTo>
                      <a:pt x="3244" y="3088"/>
                    </a:lnTo>
                    <a:lnTo>
                      <a:pt x="3238" y="3090"/>
                    </a:lnTo>
                    <a:lnTo>
                      <a:pt x="3236" y="3088"/>
                    </a:lnTo>
                    <a:lnTo>
                      <a:pt x="3236" y="3084"/>
                    </a:lnTo>
                    <a:lnTo>
                      <a:pt x="3242" y="3078"/>
                    </a:lnTo>
                    <a:lnTo>
                      <a:pt x="3242" y="3078"/>
                    </a:lnTo>
                    <a:lnTo>
                      <a:pt x="3246" y="3076"/>
                    </a:lnTo>
                    <a:lnTo>
                      <a:pt x="3248" y="3072"/>
                    </a:lnTo>
                    <a:lnTo>
                      <a:pt x="3248" y="3064"/>
                    </a:lnTo>
                    <a:lnTo>
                      <a:pt x="3252" y="3050"/>
                    </a:lnTo>
                    <a:lnTo>
                      <a:pt x="3256" y="3040"/>
                    </a:lnTo>
                    <a:lnTo>
                      <a:pt x="3264" y="3030"/>
                    </a:lnTo>
                    <a:lnTo>
                      <a:pt x="3264" y="3030"/>
                    </a:lnTo>
                    <a:lnTo>
                      <a:pt x="3274" y="3016"/>
                    </a:lnTo>
                    <a:lnTo>
                      <a:pt x="3276" y="3010"/>
                    </a:lnTo>
                    <a:lnTo>
                      <a:pt x="3274" y="3006"/>
                    </a:lnTo>
                    <a:lnTo>
                      <a:pt x="3272" y="3002"/>
                    </a:lnTo>
                    <a:lnTo>
                      <a:pt x="3272" y="3002"/>
                    </a:lnTo>
                    <a:lnTo>
                      <a:pt x="3272" y="2996"/>
                    </a:lnTo>
                    <a:lnTo>
                      <a:pt x="3272" y="2994"/>
                    </a:lnTo>
                    <a:lnTo>
                      <a:pt x="3268" y="2992"/>
                    </a:lnTo>
                    <a:lnTo>
                      <a:pt x="3266" y="2988"/>
                    </a:lnTo>
                    <a:lnTo>
                      <a:pt x="3266" y="2988"/>
                    </a:lnTo>
                    <a:lnTo>
                      <a:pt x="3264" y="2986"/>
                    </a:lnTo>
                    <a:lnTo>
                      <a:pt x="3260" y="2986"/>
                    </a:lnTo>
                    <a:lnTo>
                      <a:pt x="3256" y="2986"/>
                    </a:lnTo>
                    <a:lnTo>
                      <a:pt x="3252" y="2988"/>
                    </a:lnTo>
                    <a:lnTo>
                      <a:pt x="3252" y="2988"/>
                    </a:lnTo>
                    <a:lnTo>
                      <a:pt x="3254" y="2990"/>
                    </a:lnTo>
                    <a:lnTo>
                      <a:pt x="3254" y="2990"/>
                    </a:lnTo>
                    <a:lnTo>
                      <a:pt x="3260" y="2990"/>
                    </a:lnTo>
                    <a:lnTo>
                      <a:pt x="3260" y="2992"/>
                    </a:lnTo>
                    <a:lnTo>
                      <a:pt x="3256" y="2994"/>
                    </a:lnTo>
                    <a:lnTo>
                      <a:pt x="3256" y="2994"/>
                    </a:lnTo>
                    <a:lnTo>
                      <a:pt x="3254" y="2994"/>
                    </a:lnTo>
                    <a:lnTo>
                      <a:pt x="3250" y="2994"/>
                    </a:lnTo>
                    <a:lnTo>
                      <a:pt x="3242" y="2990"/>
                    </a:lnTo>
                    <a:lnTo>
                      <a:pt x="3230" y="2988"/>
                    </a:lnTo>
                    <a:lnTo>
                      <a:pt x="3222" y="2986"/>
                    </a:lnTo>
                    <a:lnTo>
                      <a:pt x="3214" y="2986"/>
                    </a:lnTo>
                    <a:lnTo>
                      <a:pt x="3214" y="2986"/>
                    </a:lnTo>
                    <a:lnTo>
                      <a:pt x="3202" y="2990"/>
                    </a:lnTo>
                    <a:lnTo>
                      <a:pt x="3196" y="2992"/>
                    </a:lnTo>
                    <a:lnTo>
                      <a:pt x="3190" y="2996"/>
                    </a:lnTo>
                    <a:lnTo>
                      <a:pt x="3180" y="2998"/>
                    </a:lnTo>
                    <a:lnTo>
                      <a:pt x="3180" y="2998"/>
                    </a:lnTo>
                    <a:lnTo>
                      <a:pt x="3162" y="3000"/>
                    </a:lnTo>
                    <a:lnTo>
                      <a:pt x="3146" y="3004"/>
                    </a:lnTo>
                    <a:lnTo>
                      <a:pt x="3140" y="3008"/>
                    </a:lnTo>
                    <a:lnTo>
                      <a:pt x="3134" y="3012"/>
                    </a:lnTo>
                    <a:lnTo>
                      <a:pt x="3130" y="3016"/>
                    </a:lnTo>
                    <a:lnTo>
                      <a:pt x="3130" y="3020"/>
                    </a:lnTo>
                    <a:lnTo>
                      <a:pt x="3130" y="3020"/>
                    </a:lnTo>
                    <a:lnTo>
                      <a:pt x="3128" y="3028"/>
                    </a:lnTo>
                    <a:lnTo>
                      <a:pt x="3126" y="3034"/>
                    </a:lnTo>
                    <a:lnTo>
                      <a:pt x="3124" y="3040"/>
                    </a:lnTo>
                    <a:lnTo>
                      <a:pt x="3124" y="3056"/>
                    </a:lnTo>
                    <a:lnTo>
                      <a:pt x="3124" y="3056"/>
                    </a:lnTo>
                    <a:lnTo>
                      <a:pt x="3126" y="3068"/>
                    </a:lnTo>
                    <a:lnTo>
                      <a:pt x="3124" y="3070"/>
                    </a:lnTo>
                    <a:lnTo>
                      <a:pt x="3122" y="3072"/>
                    </a:lnTo>
                    <a:lnTo>
                      <a:pt x="3118" y="3076"/>
                    </a:lnTo>
                    <a:lnTo>
                      <a:pt x="3116" y="3080"/>
                    </a:lnTo>
                    <a:lnTo>
                      <a:pt x="3116" y="3088"/>
                    </a:lnTo>
                    <a:lnTo>
                      <a:pt x="3116" y="3088"/>
                    </a:lnTo>
                    <a:lnTo>
                      <a:pt x="3114" y="3096"/>
                    </a:lnTo>
                    <a:lnTo>
                      <a:pt x="3112" y="3102"/>
                    </a:lnTo>
                    <a:lnTo>
                      <a:pt x="3108" y="3108"/>
                    </a:lnTo>
                    <a:lnTo>
                      <a:pt x="3104" y="3112"/>
                    </a:lnTo>
                    <a:lnTo>
                      <a:pt x="3094" y="3118"/>
                    </a:lnTo>
                    <a:lnTo>
                      <a:pt x="3086" y="3122"/>
                    </a:lnTo>
                    <a:lnTo>
                      <a:pt x="3086" y="3122"/>
                    </a:lnTo>
                    <a:lnTo>
                      <a:pt x="3084" y="3126"/>
                    </a:lnTo>
                    <a:lnTo>
                      <a:pt x="3084" y="3126"/>
                    </a:lnTo>
                    <a:lnTo>
                      <a:pt x="3088" y="3128"/>
                    </a:lnTo>
                    <a:lnTo>
                      <a:pt x="3092" y="3132"/>
                    </a:lnTo>
                    <a:lnTo>
                      <a:pt x="3092" y="3134"/>
                    </a:lnTo>
                    <a:lnTo>
                      <a:pt x="3090" y="3138"/>
                    </a:lnTo>
                    <a:lnTo>
                      <a:pt x="3090" y="3138"/>
                    </a:lnTo>
                    <a:lnTo>
                      <a:pt x="3086" y="3142"/>
                    </a:lnTo>
                    <a:lnTo>
                      <a:pt x="3078" y="3144"/>
                    </a:lnTo>
                    <a:lnTo>
                      <a:pt x="3072" y="3144"/>
                    </a:lnTo>
                    <a:lnTo>
                      <a:pt x="3070" y="3142"/>
                    </a:lnTo>
                    <a:lnTo>
                      <a:pt x="3070" y="3140"/>
                    </a:lnTo>
                    <a:lnTo>
                      <a:pt x="3070" y="3140"/>
                    </a:lnTo>
                    <a:lnTo>
                      <a:pt x="3068" y="3134"/>
                    </a:lnTo>
                    <a:lnTo>
                      <a:pt x="3066" y="3132"/>
                    </a:lnTo>
                    <a:lnTo>
                      <a:pt x="3058" y="3132"/>
                    </a:lnTo>
                    <a:lnTo>
                      <a:pt x="3046" y="3132"/>
                    </a:lnTo>
                    <a:lnTo>
                      <a:pt x="3046" y="3132"/>
                    </a:lnTo>
                    <a:lnTo>
                      <a:pt x="3038" y="3134"/>
                    </a:lnTo>
                    <a:lnTo>
                      <a:pt x="3034" y="3138"/>
                    </a:lnTo>
                    <a:lnTo>
                      <a:pt x="3028" y="3142"/>
                    </a:lnTo>
                    <a:lnTo>
                      <a:pt x="3010" y="3144"/>
                    </a:lnTo>
                    <a:lnTo>
                      <a:pt x="3010" y="3144"/>
                    </a:lnTo>
                    <a:lnTo>
                      <a:pt x="2996" y="3146"/>
                    </a:lnTo>
                    <a:lnTo>
                      <a:pt x="2986" y="3152"/>
                    </a:lnTo>
                    <a:lnTo>
                      <a:pt x="2978" y="3156"/>
                    </a:lnTo>
                    <a:lnTo>
                      <a:pt x="2968" y="3160"/>
                    </a:lnTo>
                    <a:lnTo>
                      <a:pt x="2968" y="3160"/>
                    </a:lnTo>
                    <a:lnTo>
                      <a:pt x="2964" y="3160"/>
                    </a:lnTo>
                    <a:lnTo>
                      <a:pt x="2960" y="3158"/>
                    </a:lnTo>
                    <a:lnTo>
                      <a:pt x="2956" y="3148"/>
                    </a:lnTo>
                    <a:lnTo>
                      <a:pt x="2952" y="3144"/>
                    </a:lnTo>
                    <a:lnTo>
                      <a:pt x="2946" y="3138"/>
                    </a:lnTo>
                    <a:lnTo>
                      <a:pt x="2938" y="3134"/>
                    </a:lnTo>
                    <a:lnTo>
                      <a:pt x="2924" y="3130"/>
                    </a:lnTo>
                    <a:lnTo>
                      <a:pt x="2924" y="3130"/>
                    </a:lnTo>
                    <a:lnTo>
                      <a:pt x="2912" y="3126"/>
                    </a:lnTo>
                    <a:lnTo>
                      <a:pt x="2904" y="3120"/>
                    </a:lnTo>
                    <a:lnTo>
                      <a:pt x="2898" y="3112"/>
                    </a:lnTo>
                    <a:lnTo>
                      <a:pt x="2894" y="3102"/>
                    </a:lnTo>
                    <a:lnTo>
                      <a:pt x="2884" y="3076"/>
                    </a:lnTo>
                    <a:lnTo>
                      <a:pt x="2876" y="3062"/>
                    </a:lnTo>
                    <a:lnTo>
                      <a:pt x="2864" y="3046"/>
                    </a:lnTo>
                    <a:lnTo>
                      <a:pt x="2864" y="3046"/>
                    </a:lnTo>
                    <a:lnTo>
                      <a:pt x="2858" y="3036"/>
                    </a:lnTo>
                    <a:lnTo>
                      <a:pt x="2852" y="3028"/>
                    </a:lnTo>
                    <a:lnTo>
                      <a:pt x="2848" y="3010"/>
                    </a:lnTo>
                    <a:lnTo>
                      <a:pt x="2844" y="2998"/>
                    </a:lnTo>
                    <a:lnTo>
                      <a:pt x="2844" y="2994"/>
                    </a:lnTo>
                    <a:lnTo>
                      <a:pt x="2842" y="2992"/>
                    </a:lnTo>
                    <a:lnTo>
                      <a:pt x="2842" y="2992"/>
                    </a:lnTo>
                    <a:lnTo>
                      <a:pt x="2838" y="2990"/>
                    </a:lnTo>
                    <a:lnTo>
                      <a:pt x="2836" y="2988"/>
                    </a:lnTo>
                    <a:lnTo>
                      <a:pt x="2834" y="2976"/>
                    </a:lnTo>
                    <a:lnTo>
                      <a:pt x="2830" y="2948"/>
                    </a:lnTo>
                    <a:lnTo>
                      <a:pt x="2830" y="2948"/>
                    </a:lnTo>
                    <a:lnTo>
                      <a:pt x="2830" y="2938"/>
                    </a:lnTo>
                    <a:lnTo>
                      <a:pt x="2828" y="2934"/>
                    </a:lnTo>
                    <a:lnTo>
                      <a:pt x="2828" y="2932"/>
                    </a:lnTo>
                    <a:lnTo>
                      <a:pt x="2830" y="2926"/>
                    </a:lnTo>
                    <a:lnTo>
                      <a:pt x="2830" y="2926"/>
                    </a:lnTo>
                    <a:lnTo>
                      <a:pt x="2830" y="2916"/>
                    </a:lnTo>
                    <a:lnTo>
                      <a:pt x="2830" y="2906"/>
                    </a:lnTo>
                    <a:lnTo>
                      <a:pt x="2830" y="2886"/>
                    </a:lnTo>
                    <a:lnTo>
                      <a:pt x="2834" y="2854"/>
                    </a:lnTo>
                    <a:lnTo>
                      <a:pt x="2834" y="2854"/>
                    </a:lnTo>
                    <a:lnTo>
                      <a:pt x="2840" y="2820"/>
                    </a:lnTo>
                    <a:lnTo>
                      <a:pt x="2846" y="2800"/>
                    </a:lnTo>
                    <a:lnTo>
                      <a:pt x="2852" y="2784"/>
                    </a:lnTo>
                    <a:lnTo>
                      <a:pt x="2856" y="2766"/>
                    </a:lnTo>
                    <a:lnTo>
                      <a:pt x="2856" y="2766"/>
                    </a:lnTo>
                    <a:lnTo>
                      <a:pt x="2854" y="2748"/>
                    </a:lnTo>
                    <a:lnTo>
                      <a:pt x="2850" y="2728"/>
                    </a:lnTo>
                    <a:lnTo>
                      <a:pt x="2846" y="2710"/>
                    </a:lnTo>
                    <a:lnTo>
                      <a:pt x="2846" y="2696"/>
                    </a:lnTo>
                    <a:lnTo>
                      <a:pt x="2846" y="2696"/>
                    </a:lnTo>
                    <a:lnTo>
                      <a:pt x="2850" y="2686"/>
                    </a:lnTo>
                    <a:lnTo>
                      <a:pt x="2854" y="2678"/>
                    </a:lnTo>
                    <a:lnTo>
                      <a:pt x="2858" y="2672"/>
                    </a:lnTo>
                    <a:lnTo>
                      <a:pt x="2864" y="2662"/>
                    </a:lnTo>
                    <a:lnTo>
                      <a:pt x="2864" y="2662"/>
                    </a:lnTo>
                    <a:lnTo>
                      <a:pt x="2866" y="2658"/>
                    </a:lnTo>
                    <a:lnTo>
                      <a:pt x="2870" y="2654"/>
                    </a:lnTo>
                    <a:lnTo>
                      <a:pt x="2880" y="2646"/>
                    </a:lnTo>
                    <a:lnTo>
                      <a:pt x="2886" y="2642"/>
                    </a:lnTo>
                    <a:lnTo>
                      <a:pt x="2888" y="2640"/>
                    </a:lnTo>
                    <a:lnTo>
                      <a:pt x="2886" y="2638"/>
                    </a:lnTo>
                    <a:lnTo>
                      <a:pt x="2886" y="2638"/>
                    </a:lnTo>
                    <a:lnTo>
                      <a:pt x="2880" y="2628"/>
                    </a:lnTo>
                    <a:lnTo>
                      <a:pt x="2878" y="2626"/>
                    </a:lnTo>
                    <a:lnTo>
                      <a:pt x="2882" y="2628"/>
                    </a:lnTo>
                    <a:lnTo>
                      <a:pt x="2882" y="2628"/>
                    </a:lnTo>
                    <a:lnTo>
                      <a:pt x="2886" y="2628"/>
                    </a:lnTo>
                    <a:lnTo>
                      <a:pt x="2890" y="2628"/>
                    </a:lnTo>
                    <a:lnTo>
                      <a:pt x="2892" y="2626"/>
                    </a:lnTo>
                    <a:lnTo>
                      <a:pt x="2894" y="2628"/>
                    </a:lnTo>
                    <a:lnTo>
                      <a:pt x="2894" y="2628"/>
                    </a:lnTo>
                    <a:lnTo>
                      <a:pt x="2896" y="2628"/>
                    </a:lnTo>
                    <a:lnTo>
                      <a:pt x="2902" y="2628"/>
                    </a:lnTo>
                    <a:lnTo>
                      <a:pt x="2912" y="2624"/>
                    </a:lnTo>
                    <a:lnTo>
                      <a:pt x="2926" y="2616"/>
                    </a:lnTo>
                    <a:lnTo>
                      <a:pt x="2936" y="2606"/>
                    </a:lnTo>
                    <a:lnTo>
                      <a:pt x="2936" y="2606"/>
                    </a:lnTo>
                    <a:lnTo>
                      <a:pt x="2942" y="2600"/>
                    </a:lnTo>
                    <a:lnTo>
                      <a:pt x="2948" y="2594"/>
                    </a:lnTo>
                    <a:lnTo>
                      <a:pt x="2964" y="2584"/>
                    </a:lnTo>
                    <a:lnTo>
                      <a:pt x="2964" y="2584"/>
                    </a:lnTo>
                    <a:lnTo>
                      <a:pt x="2980" y="2572"/>
                    </a:lnTo>
                    <a:lnTo>
                      <a:pt x="2990" y="2570"/>
                    </a:lnTo>
                    <a:lnTo>
                      <a:pt x="3006" y="2568"/>
                    </a:lnTo>
                    <a:lnTo>
                      <a:pt x="3006" y="2568"/>
                    </a:lnTo>
                    <a:lnTo>
                      <a:pt x="3014" y="2568"/>
                    </a:lnTo>
                    <a:lnTo>
                      <a:pt x="3020" y="2570"/>
                    </a:lnTo>
                    <a:lnTo>
                      <a:pt x="3032" y="2574"/>
                    </a:lnTo>
                    <a:lnTo>
                      <a:pt x="3040" y="2580"/>
                    </a:lnTo>
                    <a:lnTo>
                      <a:pt x="3046" y="2580"/>
                    </a:lnTo>
                    <a:lnTo>
                      <a:pt x="3050" y="2580"/>
                    </a:lnTo>
                    <a:lnTo>
                      <a:pt x="3050" y="2580"/>
                    </a:lnTo>
                    <a:lnTo>
                      <a:pt x="3060" y="2578"/>
                    </a:lnTo>
                    <a:lnTo>
                      <a:pt x="3064" y="2580"/>
                    </a:lnTo>
                    <a:lnTo>
                      <a:pt x="3068" y="2582"/>
                    </a:lnTo>
                    <a:lnTo>
                      <a:pt x="3072" y="2580"/>
                    </a:lnTo>
                    <a:lnTo>
                      <a:pt x="3072" y="2580"/>
                    </a:lnTo>
                    <a:lnTo>
                      <a:pt x="3074" y="2578"/>
                    </a:lnTo>
                    <a:lnTo>
                      <a:pt x="3072" y="2578"/>
                    </a:lnTo>
                    <a:lnTo>
                      <a:pt x="3066" y="2576"/>
                    </a:lnTo>
                    <a:lnTo>
                      <a:pt x="3058" y="2572"/>
                    </a:lnTo>
                    <a:lnTo>
                      <a:pt x="3058" y="2572"/>
                    </a:lnTo>
                    <a:lnTo>
                      <a:pt x="3060" y="2568"/>
                    </a:lnTo>
                    <a:lnTo>
                      <a:pt x="3060" y="2568"/>
                    </a:lnTo>
                    <a:lnTo>
                      <a:pt x="3068" y="2566"/>
                    </a:lnTo>
                    <a:lnTo>
                      <a:pt x="3074" y="2568"/>
                    </a:lnTo>
                    <a:lnTo>
                      <a:pt x="3078" y="2572"/>
                    </a:lnTo>
                    <a:lnTo>
                      <a:pt x="3082" y="2578"/>
                    </a:lnTo>
                    <a:lnTo>
                      <a:pt x="3082" y="2578"/>
                    </a:lnTo>
                    <a:lnTo>
                      <a:pt x="3084" y="2580"/>
                    </a:lnTo>
                    <a:lnTo>
                      <a:pt x="3086" y="2582"/>
                    </a:lnTo>
                    <a:lnTo>
                      <a:pt x="3092" y="2584"/>
                    </a:lnTo>
                    <a:lnTo>
                      <a:pt x="3096" y="2586"/>
                    </a:lnTo>
                    <a:lnTo>
                      <a:pt x="3094" y="2588"/>
                    </a:lnTo>
                    <a:lnTo>
                      <a:pt x="3092" y="2590"/>
                    </a:lnTo>
                    <a:lnTo>
                      <a:pt x="3092" y="2590"/>
                    </a:lnTo>
                    <a:lnTo>
                      <a:pt x="3092" y="2594"/>
                    </a:lnTo>
                    <a:lnTo>
                      <a:pt x="3094" y="2596"/>
                    </a:lnTo>
                    <a:lnTo>
                      <a:pt x="3102" y="2600"/>
                    </a:lnTo>
                    <a:lnTo>
                      <a:pt x="3112" y="2600"/>
                    </a:lnTo>
                    <a:lnTo>
                      <a:pt x="3118" y="2600"/>
                    </a:lnTo>
                    <a:lnTo>
                      <a:pt x="3118" y="2600"/>
                    </a:lnTo>
                    <a:lnTo>
                      <a:pt x="3120" y="2596"/>
                    </a:lnTo>
                    <a:lnTo>
                      <a:pt x="3126" y="2594"/>
                    </a:lnTo>
                    <a:lnTo>
                      <a:pt x="3130" y="2594"/>
                    </a:lnTo>
                    <a:lnTo>
                      <a:pt x="3134" y="2600"/>
                    </a:lnTo>
                    <a:lnTo>
                      <a:pt x="3134" y="2600"/>
                    </a:lnTo>
                    <a:lnTo>
                      <a:pt x="3136" y="2602"/>
                    </a:lnTo>
                    <a:lnTo>
                      <a:pt x="3138" y="2604"/>
                    </a:lnTo>
                    <a:lnTo>
                      <a:pt x="3142" y="2602"/>
                    </a:lnTo>
                    <a:lnTo>
                      <a:pt x="3144" y="2596"/>
                    </a:lnTo>
                    <a:lnTo>
                      <a:pt x="3144" y="2592"/>
                    </a:lnTo>
                    <a:lnTo>
                      <a:pt x="3142" y="2588"/>
                    </a:lnTo>
                    <a:lnTo>
                      <a:pt x="3142" y="2588"/>
                    </a:lnTo>
                    <a:lnTo>
                      <a:pt x="3142" y="2584"/>
                    </a:lnTo>
                    <a:lnTo>
                      <a:pt x="3146" y="2584"/>
                    </a:lnTo>
                    <a:lnTo>
                      <a:pt x="3152" y="2586"/>
                    </a:lnTo>
                    <a:lnTo>
                      <a:pt x="3160" y="2594"/>
                    </a:lnTo>
                    <a:lnTo>
                      <a:pt x="3160" y="2594"/>
                    </a:lnTo>
                    <a:lnTo>
                      <a:pt x="3166" y="2602"/>
                    </a:lnTo>
                    <a:lnTo>
                      <a:pt x="3168" y="2608"/>
                    </a:lnTo>
                    <a:lnTo>
                      <a:pt x="3168" y="2610"/>
                    </a:lnTo>
                    <a:lnTo>
                      <a:pt x="3170" y="2610"/>
                    </a:lnTo>
                    <a:lnTo>
                      <a:pt x="3176" y="2606"/>
                    </a:lnTo>
                    <a:lnTo>
                      <a:pt x="3176" y="2606"/>
                    </a:lnTo>
                    <a:lnTo>
                      <a:pt x="3180" y="2602"/>
                    </a:lnTo>
                    <a:lnTo>
                      <a:pt x="3182" y="2600"/>
                    </a:lnTo>
                    <a:lnTo>
                      <a:pt x="3182" y="2596"/>
                    </a:lnTo>
                    <a:lnTo>
                      <a:pt x="3180" y="2594"/>
                    </a:lnTo>
                    <a:lnTo>
                      <a:pt x="3174" y="2590"/>
                    </a:lnTo>
                    <a:lnTo>
                      <a:pt x="3162" y="2584"/>
                    </a:lnTo>
                    <a:lnTo>
                      <a:pt x="3162" y="2584"/>
                    </a:lnTo>
                    <a:lnTo>
                      <a:pt x="3158" y="2580"/>
                    </a:lnTo>
                    <a:lnTo>
                      <a:pt x="3158" y="2578"/>
                    </a:lnTo>
                    <a:lnTo>
                      <a:pt x="3160" y="2576"/>
                    </a:lnTo>
                    <a:lnTo>
                      <a:pt x="3164" y="2574"/>
                    </a:lnTo>
                    <a:lnTo>
                      <a:pt x="3170" y="2568"/>
                    </a:lnTo>
                    <a:lnTo>
                      <a:pt x="3172" y="2564"/>
                    </a:lnTo>
                    <a:lnTo>
                      <a:pt x="3172" y="2560"/>
                    </a:lnTo>
                    <a:lnTo>
                      <a:pt x="3172" y="2560"/>
                    </a:lnTo>
                    <a:lnTo>
                      <a:pt x="3170" y="2556"/>
                    </a:lnTo>
                    <a:lnTo>
                      <a:pt x="3168" y="2556"/>
                    </a:lnTo>
                    <a:lnTo>
                      <a:pt x="3164" y="2558"/>
                    </a:lnTo>
                    <a:lnTo>
                      <a:pt x="3160" y="2562"/>
                    </a:lnTo>
                    <a:lnTo>
                      <a:pt x="3158" y="2562"/>
                    </a:lnTo>
                    <a:lnTo>
                      <a:pt x="3156" y="2562"/>
                    </a:lnTo>
                    <a:lnTo>
                      <a:pt x="3156" y="2562"/>
                    </a:lnTo>
                    <a:lnTo>
                      <a:pt x="3154" y="2560"/>
                    </a:lnTo>
                    <a:lnTo>
                      <a:pt x="3154" y="2558"/>
                    </a:lnTo>
                    <a:lnTo>
                      <a:pt x="3156" y="2556"/>
                    </a:lnTo>
                    <a:lnTo>
                      <a:pt x="3158" y="2552"/>
                    </a:lnTo>
                    <a:lnTo>
                      <a:pt x="3154" y="2550"/>
                    </a:lnTo>
                    <a:lnTo>
                      <a:pt x="3154" y="2550"/>
                    </a:lnTo>
                    <a:lnTo>
                      <a:pt x="3148" y="2550"/>
                    </a:lnTo>
                    <a:lnTo>
                      <a:pt x="3144" y="2554"/>
                    </a:lnTo>
                    <a:lnTo>
                      <a:pt x="3142" y="2556"/>
                    </a:lnTo>
                    <a:lnTo>
                      <a:pt x="3134" y="2554"/>
                    </a:lnTo>
                    <a:lnTo>
                      <a:pt x="3134" y="2554"/>
                    </a:lnTo>
                    <a:lnTo>
                      <a:pt x="3130" y="2550"/>
                    </a:lnTo>
                    <a:lnTo>
                      <a:pt x="3128" y="2548"/>
                    </a:lnTo>
                    <a:lnTo>
                      <a:pt x="3128" y="2544"/>
                    </a:lnTo>
                    <a:lnTo>
                      <a:pt x="3130" y="2540"/>
                    </a:lnTo>
                    <a:lnTo>
                      <a:pt x="3132" y="2538"/>
                    </a:lnTo>
                    <a:lnTo>
                      <a:pt x="3136" y="2536"/>
                    </a:lnTo>
                    <a:lnTo>
                      <a:pt x="3142" y="2536"/>
                    </a:lnTo>
                    <a:lnTo>
                      <a:pt x="3148" y="2538"/>
                    </a:lnTo>
                    <a:lnTo>
                      <a:pt x="3148" y="2538"/>
                    </a:lnTo>
                    <a:lnTo>
                      <a:pt x="3156" y="2544"/>
                    </a:lnTo>
                    <a:lnTo>
                      <a:pt x="3164" y="2546"/>
                    </a:lnTo>
                    <a:lnTo>
                      <a:pt x="3170" y="2544"/>
                    </a:lnTo>
                    <a:lnTo>
                      <a:pt x="3178" y="2538"/>
                    </a:lnTo>
                    <a:lnTo>
                      <a:pt x="3178" y="2538"/>
                    </a:lnTo>
                    <a:lnTo>
                      <a:pt x="3182" y="2536"/>
                    </a:lnTo>
                    <a:lnTo>
                      <a:pt x="3190" y="2536"/>
                    </a:lnTo>
                    <a:lnTo>
                      <a:pt x="3202" y="2536"/>
                    </a:lnTo>
                    <a:lnTo>
                      <a:pt x="3214" y="2538"/>
                    </a:lnTo>
                    <a:lnTo>
                      <a:pt x="3218" y="2538"/>
                    </a:lnTo>
                    <a:lnTo>
                      <a:pt x="3220" y="2536"/>
                    </a:lnTo>
                    <a:lnTo>
                      <a:pt x="3220" y="2536"/>
                    </a:lnTo>
                    <a:lnTo>
                      <a:pt x="3222" y="2522"/>
                    </a:lnTo>
                    <a:lnTo>
                      <a:pt x="3224" y="2520"/>
                    </a:lnTo>
                    <a:lnTo>
                      <a:pt x="3226" y="2522"/>
                    </a:lnTo>
                    <a:lnTo>
                      <a:pt x="3232" y="2534"/>
                    </a:lnTo>
                    <a:lnTo>
                      <a:pt x="3232" y="2534"/>
                    </a:lnTo>
                    <a:lnTo>
                      <a:pt x="3232" y="2538"/>
                    </a:lnTo>
                    <a:lnTo>
                      <a:pt x="3230" y="2540"/>
                    </a:lnTo>
                    <a:lnTo>
                      <a:pt x="3226" y="2544"/>
                    </a:lnTo>
                    <a:lnTo>
                      <a:pt x="3224" y="2546"/>
                    </a:lnTo>
                    <a:lnTo>
                      <a:pt x="3234" y="2544"/>
                    </a:lnTo>
                    <a:lnTo>
                      <a:pt x="3234" y="2544"/>
                    </a:lnTo>
                    <a:lnTo>
                      <a:pt x="3268" y="2536"/>
                    </a:lnTo>
                    <a:lnTo>
                      <a:pt x="3282" y="2536"/>
                    </a:lnTo>
                    <a:lnTo>
                      <a:pt x="3296" y="2538"/>
                    </a:lnTo>
                    <a:lnTo>
                      <a:pt x="3296" y="2538"/>
                    </a:lnTo>
                    <a:lnTo>
                      <a:pt x="3312" y="2544"/>
                    </a:lnTo>
                    <a:lnTo>
                      <a:pt x="3318" y="2546"/>
                    </a:lnTo>
                    <a:lnTo>
                      <a:pt x="3320" y="2552"/>
                    </a:lnTo>
                    <a:lnTo>
                      <a:pt x="3320" y="2552"/>
                    </a:lnTo>
                    <a:lnTo>
                      <a:pt x="3324" y="2556"/>
                    </a:lnTo>
                    <a:lnTo>
                      <a:pt x="3326" y="2556"/>
                    </a:lnTo>
                    <a:lnTo>
                      <a:pt x="3330" y="2560"/>
                    </a:lnTo>
                    <a:lnTo>
                      <a:pt x="3330" y="2566"/>
                    </a:lnTo>
                    <a:lnTo>
                      <a:pt x="3330" y="2566"/>
                    </a:lnTo>
                    <a:lnTo>
                      <a:pt x="3332" y="2570"/>
                    </a:lnTo>
                    <a:lnTo>
                      <a:pt x="3336" y="2572"/>
                    </a:lnTo>
                    <a:lnTo>
                      <a:pt x="3340" y="2570"/>
                    </a:lnTo>
                    <a:lnTo>
                      <a:pt x="3346" y="2570"/>
                    </a:lnTo>
                    <a:lnTo>
                      <a:pt x="3360" y="2564"/>
                    </a:lnTo>
                    <a:lnTo>
                      <a:pt x="3368" y="2562"/>
                    </a:lnTo>
                    <a:lnTo>
                      <a:pt x="3368" y="2562"/>
                    </a:lnTo>
                    <a:lnTo>
                      <a:pt x="3370" y="2560"/>
                    </a:lnTo>
                    <a:lnTo>
                      <a:pt x="3372" y="2560"/>
                    </a:lnTo>
                    <a:lnTo>
                      <a:pt x="3372" y="2556"/>
                    </a:lnTo>
                    <a:lnTo>
                      <a:pt x="3376" y="2552"/>
                    </a:lnTo>
                    <a:lnTo>
                      <a:pt x="3382" y="2552"/>
                    </a:lnTo>
                    <a:lnTo>
                      <a:pt x="3382" y="2552"/>
                    </a:lnTo>
                    <a:lnTo>
                      <a:pt x="3388" y="2554"/>
                    </a:lnTo>
                    <a:lnTo>
                      <a:pt x="3394" y="2558"/>
                    </a:lnTo>
                    <a:lnTo>
                      <a:pt x="3406" y="2574"/>
                    </a:lnTo>
                    <a:lnTo>
                      <a:pt x="3418" y="2592"/>
                    </a:lnTo>
                    <a:lnTo>
                      <a:pt x="3424" y="2596"/>
                    </a:lnTo>
                    <a:lnTo>
                      <a:pt x="3428" y="2598"/>
                    </a:lnTo>
                    <a:lnTo>
                      <a:pt x="3428" y="2598"/>
                    </a:lnTo>
                    <a:lnTo>
                      <a:pt x="3432" y="2600"/>
                    </a:lnTo>
                    <a:lnTo>
                      <a:pt x="3434" y="2604"/>
                    </a:lnTo>
                    <a:lnTo>
                      <a:pt x="3438" y="2616"/>
                    </a:lnTo>
                    <a:lnTo>
                      <a:pt x="3440" y="2630"/>
                    </a:lnTo>
                    <a:lnTo>
                      <a:pt x="3436" y="2646"/>
                    </a:lnTo>
                    <a:lnTo>
                      <a:pt x="3436" y="2646"/>
                    </a:lnTo>
                    <a:lnTo>
                      <a:pt x="3434" y="2658"/>
                    </a:lnTo>
                    <a:lnTo>
                      <a:pt x="3434" y="2670"/>
                    </a:lnTo>
                    <a:lnTo>
                      <a:pt x="3436" y="2676"/>
                    </a:lnTo>
                    <a:lnTo>
                      <a:pt x="3438" y="2678"/>
                    </a:lnTo>
                    <a:lnTo>
                      <a:pt x="3440" y="2676"/>
                    </a:lnTo>
                    <a:lnTo>
                      <a:pt x="3440" y="2676"/>
                    </a:lnTo>
                    <a:lnTo>
                      <a:pt x="3446" y="2672"/>
                    </a:lnTo>
                    <a:lnTo>
                      <a:pt x="3450" y="2670"/>
                    </a:lnTo>
                    <a:lnTo>
                      <a:pt x="3450" y="2670"/>
                    </a:lnTo>
                    <a:lnTo>
                      <a:pt x="3452" y="2672"/>
                    </a:lnTo>
                    <a:lnTo>
                      <a:pt x="3448" y="2678"/>
                    </a:lnTo>
                    <a:lnTo>
                      <a:pt x="3448" y="2678"/>
                    </a:lnTo>
                    <a:lnTo>
                      <a:pt x="3444" y="2682"/>
                    </a:lnTo>
                    <a:lnTo>
                      <a:pt x="3444" y="2688"/>
                    </a:lnTo>
                    <a:lnTo>
                      <a:pt x="3446" y="2698"/>
                    </a:lnTo>
                    <a:lnTo>
                      <a:pt x="3450" y="2710"/>
                    </a:lnTo>
                    <a:lnTo>
                      <a:pt x="3456" y="2718"/>
                    </a:lnTo>
                    <a:lnTo>
                      <a:pt x="3456" y="2718"/>
                    </a:lnTo>
                    <a:lnTo>
                      <a:pt x="3458" y="2720"/>
                    </a:lnTo>
                    <a:lnTo>
                      <a:pt x="3460" y="2720"/>
                    </a:lnTo>
                    <a:lnTo>
                      <a:pt x="3462" y="2720"/>
                    </a:lnTo>
                    <a:lnTo>
                      <a:pt x="3462" y="2718"/>
                    </a:lnTo>
                    <a:lnTo>
                      <a:pt x="3462" y="2720"/>
                    </a:lnTo>
                    <a:lnTo>
                      <a:pt x="3464" y="2726"/>
                    </a:lnTo>
                    <a:lnTo>
                      <a:pt x="3464" y="2726"/>
                    </a:lnTo>
                    <a:lnTo>
                      <a:pt x="3466" y="2734"/>
                    </a:lnTo>
                    <a:lnTo>
                      <a:pt x="3470" y="2738"/>
                    </a:lnTo>
                    <a:lnTo>
                      <a:pt x="3474" y="2742"/>
                    </a:lnTo>
                    <a:lnTo>
                      <a:pt x="3476" y="2754"/>
                    </a:lnTo>
                    <a:lnTo>
                      <a:pt x="3476" y="2754"/>
                    </a:lnTo>
                    <a:lnTo>
                      <a:pt x="3478" y="2760"/>
                    </a:lnTo>
                    <a:lnTo>
                      <a:pt x="3480" y="2764"/>
                    </a:lnTo>
                    <a:lnTo>
                      <a:pt x="3484" y="2768"/>
                    </a:lnTo>
                    <a:lnTo>
                      <a:pt x="3486" y="2768"/>
                    </a:lnTo>
                    <a:lnTo>
                      <a:pt x="3492" y="2772"/>
                    </a:lnTo>
                    <a:lnTo>
                      <a:pt x="3496" y="2776"/>
                    </a:lnTo>
                    <a:lnTo>
                      <a:pt x="3498" y="2782"/>
                    </a:lnTo>
                    <a:lnTo>
                      <a:pt x="3498" y="2782"/>
                    </a:lnTo>
                    <a:lnTo>
                      <a:pt x="3500" y="2792"/>
                    </a:lnTo>
                    <a:lnTo>
                      <a:pt x="3504" y="2796"/>
                    </a:lnTo>
                    <a:lnTo>
                      <a:pt x="3506" y="2796"/>
                    </a:lnTo>
                    <a:lnTo>
                      <a:pt x="3504" y="2798"/>
                    </a:lnTo>
                    <a:lnTo>
                      <a:pt x="3504" y="2798"/>
                    </a:lnTo>
                    <a:lnTo>
                      <a:pt x="3502" y="2804"/>
                    </a:lnTo>
                    <a:lnTo>
                      <a:pt x="3504" y="2808"/>
                    </a:lnTo>
                    <a:lnTo>
                      <a:pt x="3508" y="2808"/>
                    </a:lnTo>
                    <a:lnTo>
                      <a:pt x="3518" y="2806"/>
                    </a:lnTo>
                    <a:lnTo>
                      <a:pt x="3518" y="2806"/>
                    </a:lnTo>
                    <a:lnTo>
                      <a:pt x="3522" y="2806"/>
                    </a:lnTo>
                    <a:lnTo>
                      <a:pt x="3524" y="2806"/>
                    </a:lnTo>
                    <a:lnTo>
                      <a:pt x="3526" y="2810"/>
                    </a:lnTo>
                    <a:lnTo>
                      <a:pt x="3526" y="2810"/>
                    </a:lnTo>
                    <a:lnTo>
                      <a:pt x="3530" y="2804"/>
                    </a:lnTo>
                    <a:lnTo>
                      <a:pt x="3530" y="2804"/>
                    </a:lnTo>
                    <a:lnTo>
                      <a:pt x="3534" y="2796"/>
                    </a:lnTo>
                    <a:lnTo>
                      <a:pt x="3536" y="2790"/>
                    </a:lnTo>
                    <a:lnTo>
                      <a:pt x="3536" y="2786"/>
                    </a:lnTo>
                    <a:lnTo>
                      <a:pt x="3540" y="2778"/>
                    </a:lnTo>
                    <a:lnTo>
                      <a:pt x="3540" y="2778"/>
                    </a:lnTo>
                    <a:lnTo>
                      <a:pt x="3544" y="2768"/>
                    </a:lnTo>
                    <a:lnTo>
                      <a:pt x="3544" y="2758"/>
                    </a:lnTo>
                    <a:lnTo>
                      <a:pt x="3544" y="2746"/>
                    </a:lnTo>
                    <a:lnTo>
                      <a:pt x="3546" y="2732"/>
                    </a:lnTo>
                    <a:lnTo>
                      <a:pt x="3546" y="2732"/>
                    </a:lnTo>
                    <a:lnTo>
                      <a:pt x="3546" y="2722"/>
                    </a:lnTo>
                    <a:lnTo>
                      <a:pt x="3544" y="2712"/>
                    </a:lnTo>
                    <a:lnTo>
                      <a:pt x="3536" y="2686"/>
                    </a:lnTo>
                    <a:lnTo>
                      <a:pt x="3526" y="2662"/>
                    </a:lnTo>
                    <a:lnTo>
                      <a:pt x="3526" y="2650"/>
                    </a:lnTo>
                    <a:lnTo>
                      <a:pt x="3526" y="2642"/>
                    </a:lnTo>
                    <a:lnTo>
                      <a:pt x="3526" y="2642"/>
                    </a:lnTo>
                    <a:lnTo>
                      <a:pt x="3526" y="2636"/>
                    </a:lnTo>
                    <a:lnTo>
                      <a:pt x="3524" y="2630"/>
                    </a:lnTo>
                    <a:lnTo>
                      <a:pt x="3514" y="2610"/>
                    </a:lnTo>
                    <a:lnTo>
                      <a:pt x="3506" y="2598"/>
                    </a:lnTo>
                    <a:lnTo>
                      <a:pt x="3500" y="2582"/>
                    </a:lnTo>
                    <a:lnTo>
                      <a:pt x="3496" y="2564"/>
                    </a:lnTo>
                    <a:lnTo>
                      <a:pt x="3492" y="2542"/>
                    </a:lnTo>
                    <a:lnTo>
                      <a:pt x="3492" y="2542"/>
                    </a:lnTo>
                    <a:lnTo>
                      <a:pt x="3490" y="2520"/>
                    </a:lnTo>
                    <a:lnTo>
                      <a:pt x="3492" y="2500"/>
                    </a:lnTo>
                    <a:lnTo>
                      <a:pt x="3496" y="2484"/>
                    </a:lnTo>
                    <a:lnTo>
                      <a:pt x="3502" y="2470"/>
                    </a:lnTo>
                    <a:lnTo>
                      <a:pt x="3508" y="2458"/>
                    </a:lnTo>
                    <a:lnTo>
                      <a:pt x="3514" y="2448"/>
                    </a:lnTo>
                    <a:lnTo>
                      <a:pt x="3524" y="2438"/>
                    </a:lnTo>
                    <a:lnTo>
                      <a:pt x="3524" y="2438"/>
                    </a:lnTo>
                    <a:lnTo>
                      <a:pt x="3528" y="2434"/>
                    </a:lnTo>
                    <a:lnTo>
                      <a:pt x="3528" y="2432"/>
                    </a:lnTo>
                    <a:lnTo>
                      <a:pt x="3528" y="2428"/>
                    </a:lnTo>
                    <a:lnTo>
                      <a:pt x="3528" y="2426"/>
                    </a:lnTo>
                    <a:lnTo>
                      <a:pt x="3528" y="2426"/>
                    </a:lnTo>
                    <a:lnTo>
                      <a:pt x="3536" y="2424"/>
                    </a:lnTo>
                    <a:lnTo>
                      <a:pt x="3536" y="2424"/>
                    </a:lnTo>
                    <a:lnTo>
                      <a:pt x="3542" y="2424"/>
                    </a:lnTo>
                    <a:lnTo>
                      <a:pt x="3548" y="2420"/>
                    </a:lnTo>
                    <a:lnTo>
                      <a:pt x="3556" y="2412"/>
                    </a:lnTo>
                    <a:lnTo>
                      <a:pt x="3564" y="2402"/>
                    </a:lnTo>
                    <a:lnTo>
                      <a:pt x="3568" y="2400"/>
                    </a:lnTo>
                    <a:lnTo>
                      <a:pt x="3570" y="2398"/>
                    </a:lnTo>
                    <a:lnTo>
                      <a:pt x="3570" y="2398"/>
                    </a:lnTo>
                    <a:lnTo>
                      <a:pt x="3574" y="2398"/>
                    </a:lnTo>
                    <a:lnTo>
                      <a:pt x="3576" y="2394"/>
                    </a:lnTo>
                    <a:lnTo>
                      <a:pt x="3580" y="2384"/>
                    </a:lnTo>
                    <a:lnTo>
                      <a:pt x="3588" y="2370"/>
                    </a:lnTo>
                    <a:lnTo>
                      <a:pt x="3592" y="2362"/>
                    </a:lnTo>
                    <a:lnTo>
                      <a:pt x="3600" y="2356"/>
                    </a:lnTo>
                    <a:lnTo>
                      <a:pt x="3600" y="2356"/>
                    </a:lnTo>
                    <a:lnTo>
                      <a:pt x="3606" y="2352"/>
                    </a:lnTo>
                    <a:lnTo>
                      <a:pt x="3612" y="2350"/>
                    </a:lnTo>
                    <a:lnTo>
                      <a:pt x="3624" y="2350"/>
                    </a:lnTo>
                    <a:lnTo>
                      <a:pt x="3628" y="2350"/>
                    </a:lnTo>
                    <a:lnTo>
                      <a:pt x="3630" y="2350"/>
                    </a:lnTo>
                    <a:lnTo>
                      <a:pt x="3634" y="2346"/>
                    </a:lnTo>
                    <a:lnTo>
                      <a:pt x="3636" y="2342"/>
                    </a:lnTo>
                    <a:lnTo>
                      <a:pt x="3636" y="2342"/>
                    </a:lnTo>
                    <a:lnTo>
                      <a:pt x="3638" y="2334"/>
                    </a:lnTo>
                    <a:lnTo>
                      <a:pt x="3642" y="2328"/>
                    </a:lnTo>
                    <a:lnTo>
                      <a:pt x="3654" y="2318"/>
                    </a:lnTo>
                    <a:lnTo>
                      <a:pt x="3666" y="2310"/>
                    </a:lnTo>
                    <a:lnTo>
                      <a:pt x="3680" y="2306"/>
                    </a:lnTo>
                    <a:lnTo>
                      <a:pt x="3680" y="2306"/>
                    </a:lnTo>
                    <a:lnTo>
                      <a:pt x="3690" y="2304"/>
                    </a:lnTo>
                    <a:lnTo>
                      <a:pt x="3696" y="2300"/>
                    </a:lnTo>
                    <a:lnTo>
                      <a:pt x="3698" y="2294"/>
                    </a:lnTo>
                    <a:lnTo>
                      <a:pt x="3698" y="2292"/>
                    </a:lnTo>
                    <a:lnTo>
                      <a:pt x="3696" y="2290"/>
                    </a:lnTo>
                    <a:lnTo>
                      <a:pt x="3696" y="2290"/>
                    </a:lnTo>
                    <a:lnTo>
                      <a:pt x="3694" y="2290"/>
                    </a:lnTo>
                    <a:lnTo>
                      <a:pt x="3690" y="2290"/>
                    </a:lnTo>
                    <a:lnTo>
                      <a:pt x="3686" y="2294"/>
                    </a:lnTo>
                    <a:lnTo>
                      <a:pt x="3680" y="2296"/>
                    </a:lnTo>
                    <a:lnTo>
                      <a:pt x="3676" y="2298"/>
                    </a:lnTo>
                    <a:lnTo>
                      <a:pt x="3674" y="2296"/>
                    </a:lnTo>
                    <a:lnTo>
                      <a:pt x="3674" y="2296"/>
                    </a:lnTo>
                    <a:lnTo>
                      <a:pt x="3672" y="2294"/>
                    </a:lnTo>
                    <a:lnTo>
                      <a:pt x="3674" y="2292"/>
                    </a:lnTo>
                    <a:lnTo>
                      <a:pt x="3680" y="2290"/>
                    </a:lnTo>
                    <a:lnTo>
                      <a:pt x="3682" y="2288"/>
                    </a:lnTo>
                    <a:lnTo>
                      <a:pt x="3684" y="2286"/>
                    </a:lnTo>
                    <a:lnTo>
                      <a:pt x="3684" y="2286"/>
                    </a:lnTo>
                    <a:lnTo>
                      <a:pt x="3686" y="2282"/>
                    </a:lnTo>
                    <a:lnTo>
                      <a:pt x="3684" y="2278"/>
                    </a:lnTo>
                    <a:lnTo>
                      <a:pt x="3678" y="2272"/>
                    </a:lnTo>
                    <a:lnTo>
                      <a:pt x="3676" y="2268"/>
                    </a:lnTo>
                    <a:lnTo>
                      <a:pt x="3682" y="2268"/>
                    </a:lnTo>
                    <a:lnTo>
                      <a:pt x="3682" y="2268"/>
                    </a:lnTo>
                    <a:lnTo>
                      <a:pt x="3692" y="2272"/>
                    </a:lnTo>
                    <a:lnTo>
                      <a:pt x="3696" y="2274"/>
                    </a:lnTo>
                    <a:lnTo>
                      <a:pt x="3698" y="2276"/>
                    </a:lnTo>
                    <a:lnTo>
                      <a:pt x="3700" y="2274"/>
                    </a:lnTo>
                    <a:lnTo>
                      <a:pt x="3706" y="2270"/>
                    </a:lnTo>
                    <a:lnTo>
                      <a:pt x="3706" y="2270"/>
                    </a:lnTo>
                    <a:lnTo>
                      <a:pt x="3710" y="2264"/>
                    </a:lnTo>
                    <a:lnTo>
                      <a:pt x="3714" y="2262"/>
                    </a:lnTo>
                    <a:lnTo>
                      <a:pt x="3716" y="2260"/>
                    </a:lnTo>
                    <a:lnTo>
                      <a:pt x="3718" y="2254"/>
                    </a:lnTo>
                    <a:lnTo>
                      <a:pt x="3718" y="2254"/>
                    </a:lnTo>
                    <a:lnTo>
                      <a:pt x="3720" y="2246"/>
                    </a:lnTo>
                    <a:lnTo>
                      <a:pt x="3718" y="2242"/>
                    </a:lnTo>
                    <a:lnTo>
                      <a:pt x="3714" y="2240"/>
                    </a:lnTo>
                    <a:lnTo>
                      <a:pt x="3710" y="2244"/>
                    </a:lnTo>
                    <a:lnTo>
                      <a:pt x="3710" y="2244"/>
                    </a:lnTo>
                    <a:lnTo>
                      <a:pt x="3708" y="2244"/>
                    </a:lnTo>
                    <a:lnTo>
                      <a:pt x="3708" y="2242"/>
                    </a:lnTo>
                    <a:lnTo>
                      <a:pt x="3704" y="2240"/>
                    </a:lnTo>
                    <a:lnTo>
                      <a:pt x="3694" y="2240"/>
                    </a:lnTo>
                    <a:lnTo>
                      <a:pt x="3694" y="2240"/>
                    </a:lnTo>
                    <a:lnTo>
                      <a:pt x="3684" y="2242"/>
                    </a:lnTo>
                    <a:lnTo>
                      <a:pt x="3678" y="2240"/>
                    </a:lnTo>
                    <a:lnTo>
                      <a:pt x="3678" y="2236"/>
                    </a:lnTo>
                    <a:lnTo>
                      <a:pt x="3678" y="2230"/>
                    </a:lnTo>
                    <a:lnTo>
                      <a:pt x="3678" y="2230"/>
                    </a:lnTo>
                    <a:lnTo>
                      <a:pt x="3678" y="2228"/>
                    </a:lnTo>
                    <a:lnTo>
                      <a:pt x="3678" y="2228"/>
                    </a:lnTo>
                    <a:lnTo>
                      <a:pt x="3680" y="2232"/>
                    </a:lnTo>
                    <a:lnTo>
                      <a:pt x="3684" y="2236"/>
                    </a:lnTo>
                    <a:lnTo>
                      <a:pt x="3686" y="2236"/>
                    </a:lnTo>
                    <a:lnTo>
                      <a:pt x="3690" y="2236"/>
                    </a:lnTo>
                    <a:lnTo>
                      <a:pt x="3696" y="2234"/>
                    </a:lnTo>
                    <a:lnTo>
                      <a:pt x="3696" y="2234"/>
                    </a:lnTo>
                    <a:lnTo>
                      <a:pt x="3704" y="2230"/>
                    </a:lnTo>
                    <a:lnTo>
                      <a:pt x="3708" y="2230"/>
                    </a:lnTo>
                    <a:lnTo>
                      <a:pt x="3714" y="2232"/>
                    </a:lnTo>
                    <a:lnTo>
                      <a:pt x="3718" y="2236"/>
                    </a:lnTo>
                    <a:lnTo>
                      <a:pt x="3724" y="2244"/>
                    </a:lnTo>
                    <a:lnTo>
                      <a:pt x="3726" y="2248"/>
                    </a:lnTo>
                    <a:lnTo>
                      <a:pt x="3728" y="2248"/>
                    </a:lnTo>
                    <a:lnTo>
                      <a:pt x="3728" y="2248"/>
                    </a:lnTo>
                    <a:lnTo>
                      <a:pt x="3728" y="2246"/>
                    </a:lnTo>
                    <a:lnTo>
                      <a:pt x="3728" y="2244"/>
                    </a:lnTo>
                    <a:lnTo>
                      <a:pt x="3724" y="2236"/>
                    </a:lnTo>
                    <a:lnTo>
                      <a:pt x="3718" y="2222"/>
                    </a:lnTo>
                    <a:lnTo>
                      <a:pt x="3712" y="2198"/>
                    </a:lnTo>
                    <a:lnTo>
                      <a:pt x="3712" y="2198"/>
                    </a:lnTo>
                    <a:lnTo>
                      <a:pt x="3708" y="2188"/>
                    </a:lnTo>
                    <a:lnTo>
                      <a:pt x="3706" y="2186"/>
                    </a:lnTo>
                    <a:lnTo>
                      <a:pt x="3704" y="2186"/>
                    </a:lnTo>
                    <a:lnTo>
                      <a:pt x="3700" y="2188"/>
                    </a:lnTo>
                    <a:lnTo>
                      <a:pt x="3694" y="2190"/>
                    </a:lnTo>
                    <a:lnTo>
                      <a:pt x="3694" y="2190"/>
                    </a:lnTo>
                    <a:lnTo>
                      <a:pt x="3692" y="2190"/>
                    </a:lnTo>
                    <a:lnTo>
                      <a:pt x="3692" y="2190"/>
                    </a:lnTo>
                    <a:lnTo>
                      <a:pt x="3696" y="2186"/>
                    </a:lnTo>
                    <a:lnTo>
                      <a:pt x="3698" y="2180"/>
                    </a:lnTo>
                    <a:lnTo>
                      <a:pt x="3698" y="2176"/>
                    </a:lnTo>
                    <a:lnTo>
                      <a:pt x="3694" y="2174"/>
                    </a:lnTo>
                    <a:lnTo>
                      <a:pt x="3694" y="2174"/>
                    </a:lnTo>
                    <a:lnTo>
                      <a:pt x="3690" y="2170"/>
                    </a:lnTo>
                    <a:lnTo>
                      <a:pt x="3692" y="2170"/>
                    </a:lnTo>
                    <a:lnTo>
                      <a:pt x="3696" y="2168"/>
                    </a:lnTo>
                    <a:lnTo>
                      <a:pt x="3698" y="2166"/>
                    </a:lnTo>
                    <a:lnTo>
                      <a:pt x="3698" y="2162"/>
                    </a:lnTo>
                    <a:lnTo>
                      <a:pt x="3698" y="2156"/>
                    </a:lnTo>
                    <a:lnTo>
                      <a:pt x="3698" y="2156"/>
                    </a:lnTo>
                    <a:lnTo>
                      <a:pt x="3696" y="2144"/>
                    </a:lnTo>
                    <a:lnTo>
                      <a:pt x="3696" y="2140"/>
                    </a:lnTo>
                    <a:lnTo>
                      <a:pt x="3696" y="2136"/>
                    </a:lnTo>
                    <a:lnTo>
                      <a:pt x="3690" y="2130"/>
                    </a:lnTo>
                    <a:lnTo>
                      <a:pt x="3690" y="2130"/>
                    </a:lnTo>
                    <a:lnTo>
                      <a:pt x="3678" y="2118"/>
                    </a:lnTo>
                    <a:lnTo>
                      <a:pt x="3678" y="2118"/>
                    </a:lnTo>
                    <a:lnTo>
                      <a:pt x="3678" y="2118"/>
                    </a:lnTo>
                    <a:lnTo>
                      <a:pt x="3686" y="2122"/>
                    </a:lnTo>
                    <a:lnTo>
                      <a:pt x="3686" y="2122"/>
                    </a:lnTo>
                    <a:lnTo>
                      <a:pt x="3694" y="2126"/>
                    </a:lnTo>
                    <a:lnTo>
                      <a:pt x="3696" y="2124"/>
                    </a:lnTo>
                    <a:lnTo>
                      <a:pt x="3696" y="2124"/>
                    </a:lnTo>
                    <a:lnTo>
                      <a:pt x="3692" y="2108"/>
                    </a:lnTo>
                    <a:lnTo>
                      <a:pt x="3692" y="2108"/>
                    </a:lnTo>
                    <a:lnTo>
                      <a:pt x="3688" y="2092"/>
                    </a:lnTo>
                    <a:lnTo>
                      <a:pt x="3690" y="2076"/>
                    </a:lnTo>
                    <a:lnTo>
                      <a:pt x="3690" y="2076"/>
                    </a:lnTo>
                    <a:lnTo>
                      <a:pt x="3692" y="2064"/>
                    </a:lnTo>
                    <a:lnTo>
                      <a:pt x="3696" y="2058"/>
                    </a:lnTo>
                    <a:lnTo>
                      <a:pt x="3702" y="2054"/>
                    </a:lnTo>
                    <a:lnTo>
                      <a:pt x="3702" y="2054"/>
                    </a:lnTo>
                    <a:lnTo>
                      <a:pt x="3704" y="2050"/>
                    </a:lnTo>
                    <a:lnTo>
                      <a:pt x="3704" y="2052"/>
                    </a:lnTo>
                    <a:lnTo>
                      <a:pt x="3700" y="2058"/>
                    </a:lnTo>
                    <a:lnTo>
                      <a:pt x="3698" y="2064"/>
                    </a:lnTo>
                    <a:lnTo>
                      <a:pt x="3698" y="2064"/>
                    </a:lnTo>
                    <a:lnTo>
                      <a:pt x="3694" y="2076"/>
                    </a:lnTo>
                    <a:lnTo>
                      <a:pt x="3694" y="2082"/>
                    </a:lnTo>
                    <a:lnTo>
                      <a:pt x="3696" y="2086"/>
                    </a:lnTo>
                    <a:lnTo>
                      <a:pt x="3696" y="2086"/>
                    </a:lnTo>
                    <a:lnTo>
                      <a:pt x="3696" y="2088"/>
                    </a:lnTo>
                    <a:lnTo>
                      <a:pt x="3696" y="2090"/>
                    </a:lnTo>
                    <a:lnTo>
                      <a:pt x="3694" y="2094"/>
                    </a:lnTo>
                    <a:lnTo>
                      <a:pt x="3696" y="2098"/>
                    </a:lnTo>
                    <a:lnTo>
                      <a:pt x="3696" y="2098"/>
                    </a:lnTo>
                    <a:lnTo>
                      <a:pt x="3698" y="2104"/>
                    </a:lnTo>
                    <a:lnTo>
                      <a:pt x="3696" y="2106"/>
                    </a:lnTo>
                    <a:lnTo>
                      <a:pt x="3696" y="2110"/>
                    </a:lnTo>
                    <a:lnTo>
                      <a:pt x="3700" y="2114"/>
                    </a:lnTo>
                    <a:lnTo>
                      <a:pt x="3700" y="2114"/>
                    </a:lnTo>
                    <a:lnTo>
                      <a:pt x="3706" y="2116"/>
                    </a:lnTo>
                    <a:lnTo>
                      <a:pt x="3708" y="2116"/>
                    </a:lnTo>
                    <a:lnTo>
                      <a:pt x="3710" y="2116"/>
                    </a:lnTo>
                    <a:lnTo>
                      <a:pt x="3712" y="2120"/>
                    </a:lnTo>
                    <a:lnTo>
                      <a:pt x="3712" y="2120"/>
                    </a:lnTo>
                    <a:lnTo>
                      <a:pt x="3712" y="2126"/>
                    </a:lnTo>
                    <a:lnTo>
                      <a:pt x="3712" y="2130"/>
                    </a:lnTo>
                    <a:lnTo>
                      <a:pt x="3712" y="2134"/>
                    </a:lnTo>
                    <a:lnTo>
                      <a:pt x="3716" y="2136"/>
                    </a:lnTo>
                    <a:lnTo>
                      <a:pt x="3716" y="2136"/>
                    </a:lnTo>
                    <a:lnTo>
                      <a:pt x="3718" y="2138"/>
                    </a:lnTo>
                    <a:lnTo>
                      <a:pt x="3716" y="2142"/>
                    </a:lnTo>
                    <a:lnTo>
                      <a:pt x="3710" y="2154"/>
                    </a:lnTo>
                    <a:lnTo>
                      <a:pt x="3706" y="2166"/>
                    </a:lnTo>
                    <a:lnTo>
                      <a:pt x="3706" y="2172"/>
                    </a:lnTo>
                    <a:lnTo>
                      <a:pt x="3710" y="2176"/>
                    </a:lnTo>
                    <a:lnTo>
                      <a:pt x="3710" y="2176"/>
                    </a:lnTo>
                    <a:lnTo>
                      <a:pt x="3712" y="2176"/>
                    </a:lnTo>
                    <a:lnTo>
                      <a:pt x="3714" y="2172"/>
                    </a:lnTo>
                    <a:lnTo>
                      <a:pt x="3720" y="2158"/>
                    </a:lnTo>
                    <a:lnTo>
                      <a:pt x="3728" y="2138"/>
                    </a:lnTo>
                    <a:lnTo>
                      <a:pt x="3738" y="2122"/>
                    </a:lnTo>
                    <a:lnTo>
                      <a:pt x="3738" y="2122"/>
                    </a:lnTo>
                    <a:lnTo>
                      <a:pt x="3744" y="2114"/>
                    </a:lnTo>
                    <a:lnTo>
                      <a:pt x="3746" y="2108"/>
                    </a:lnTo>
                    <a:lnTo>
                      <a:pt x="3748" y="2102"/>
                    </a:lnTo>
                    <a:lnTo>
                      <a:pt x="3748" y="2096"/>
                    </a:lnTo>
                    <a:lnTo>
                      <a:pt x="3748" y="2092"/>
                    </a:lnTo>
                    <a:lnTo>
                      <a:pt x="3746" y="2088"/>
                    </a:lnTo>
                    <a:lnTo>
                      <a:pt x="3744" y="2086"/>
                    </a:lnTo>
                    <a:lnTo>
                      <a:pt x="3740" y="2086"/>
                    </a:lnTo>
                    <a:lnTo>
                      <a:pt x="3740" y="2086"/>
                    </a:lnTo>
                    <a:lnTo>
                      <a:pt x="3738" y="2084"/>
                    </a:lnTo>
                    <a:lnTo>
                      <a:pt x="3736" y="2082"/>
                    </a:lnTo>
                    <a:lnTo>
                      <a:pt x="3732" y="2074"/>
                    </a:lnTo>
                    <a:lnTo>
                      <a:pt x="3726" y="2054"/>
                    </a:lnTo>
                    <a:lnTo>
                      <a:pt x="3726" y="2054"/>
                    </a:lnTo>
                    <a:lnTo>
                      <a:pt x="3724" y="2044"/>
                    </a:lnTo>
                    <a:lnTo>
                      <a:pt x="3726" y="2036"/>
                    </a:lnTo>
                    <a:lnTo>
                      <a:pt x="3730" y="2030"/>
                    </a:lnTo>
                    <a:lnTo>
                      <a:pt x="3738" y="2024"/>
                    </a:lnTo>
                    <a:lnTo>
                      <a:pt x="3738" y="2024"/>
                    </a:lnTo>
                    <a:lnTo>
                      <a:pt x="3742" y="2024"/>
                    </a:lnTo>
                    <a:lnTo>
                      <a:pt x="3736" y="2030"/>
                    </a:lnTo>
                    <a:lnTo>
                      <a:pt x="3732" y="2034"/>
                    </a:lnTo>
                    <a:lnTo>
                      <a:pt x="3730" y="2040"/>
                    </a:lnTo>
                    <a:lnTo>
                      <a:pt x="3730" y="2046"/>
                    </a:lnTo>
                    <a:lnTo>
                      <a:pt x="3732" y="2054"/>
                    </a:lnTo>
                    <a:lnTo>
                      <a:pt x="3732" y="2054"/>
                    </a:lnTo>
                    <a:lnTo>
                      <a:pt x="3738" y="2060"/>
                    </a:lnTo>
                    <a:lnTo>
                      <a:pt x="3742" y="2062"/>
                    </a:lnTo>
                    <a:lnTo>
                      <a:pt x="3748" y="2064"/>
                    </a:lnTo>
                    <a:lnTo>
                      <a:pt x="3750" y="2066"/>
                    </a:lnTo>
                    <a:lnTo>
                      <a:pt x="3750" y="2072"/>
                    </a:lnTo>
                    <a:lnTo>
                      <a:pt x="3750" y="2072"/>
                    </a:lnTo>
                    <a:lnTo>
                      <a:pt x="3750" y="2078"/>
                    </a:lnTo>
                    <a:lnTo>
                      <a:pt x="3752" y="2078"/>
                    </a:lnTo>
                    <a:lnTo>
                      <a:pt x="3754" y="2078"/>
                    </a:lnTo>
                    <a:lnTo>
                      <a:pt x="3758" y="2074"/>
                    </a:lnTo>
                    <a:lnTo>
                      <a:pt x="3766" y="2062"/>
                    </a:lnTo>
                    <a:lnTo>
                      <a:pt x="3774" y="2048"/>
                    </a:lnTo>
                    <a:lnTo>
                      <a:pt x="3774" y="2048"/>
                    </a:lnTo>
                    <a:lnTo>
                      <a:pt x="3784" y="2030"/>
                    </a:lnTo>
                    <a:lnTo>
                      <a:pt x="3790" y="2014"/>
                    </a:lnTo>
                    <a:lnTo>
                      <a:pt x="3790" y="2008"/>
                    </a:lnTo>
                    <a:lnTo>
                      <a:pt x="3790" y="2002"/>
                    </a:lnTo>
                    <a:lnTo>
                      <a:pt x="3790" y="2000"/>
                    </a:lnTo>
                    <a:lnTo>
                      <a:pt x="3786" y="1998"/>
                    </a:lnTo>
                    <a:lnTo>
                      <a:pt x="3786" y="1998"/>
                    </a:lnTo>
                    <a:lnTo>
                      <a:pt x="3778" y="1996"/>
                    </a:lnTo>
                    <a:lnTo>
                      <a:pt x="3776" y="1996"/>
                    </a:lnTo>
                    <a:lnTo>
                      <a:pt x="3776" y="1994"/>
                    </a:lnTo>
                    <a:lnTo>
                      <a:pt x="3778" y="1988"/>
                    </a:lnTo>
                    <a:lnTo>
                      <a:pt x="3784" y="1980"/>
                    </a:lnTo>
                    <a:lnTo>
                      <a:pt x="3784" y="1980"/>
                    </a:lnTo>
                    <a:lnTo>
                      <a:pt x="3796" y="1972"/>
                    </a:lnTo>
                    <a:lnTo>
                      <a:pt x="3808" y="1962"/>
                    </a:lnTo>
                    <a:lnTo>
                      <a:pt x="3824" y="1956"/>
                    </a:lnTo>
                    <a:lnTo>
                      <a:pt x="3838" y="1950"/>
                    </a:lnTo>
                    <a:lnTo>
                      <a:pt x="3838" y="1950"/>
                    </a:lnTo>
                    <a:lnTo>
                      <a:pt x="3854" y="1948"/>
                    </a:lnTo>
                    <a:lnTo>
                      <a:pt x="3870" y="1946"/>
                    </a:lnTo>
                    <a:lnTo>
                      <a:pt x="3886" y="1944"/>
                    </a:lnTo>
                    <a:lnTo>
                      <a:pt x="3890" y="1944"/>
                    </a:lnTo>
                    <a:lnTo>
                      <a:pt x="3892" y="1940"/>
                    </a:lnTo>
                    <a:lnTo>
                      <a:pt x="3892" y="1940"/>
                    </a:lnTo>
                    <a:lnTo>
                      <a:pt x="3894" y="1926"/>
                    </a:lnTo>
                    <a:lnTo>
                      <a:pt x="3896" y="1924"/>
                    </a:lnTo>
                    <a:lnTo>
                      <a:pt x="3898" y="1928"/>
                    </a:lnTo>
                    <a:lnTo>
                      <a:pt x="3898" y="1928"/>
                    </a:lnTo>
                    <a:lnTo>
                      <a:pt x="3900" y="1936"/>
                    </a:lnTo>
                    <a:lnTo>
                      <a:pt x="3904" y="1940"/>
                    </a:lnTo>
                    <a:lnTo>
                      <a:pt x="3906" y="1940"/>
                    </a:lnTo>
                    <a:lnTo>
                      <a:pt x="3908" y="1940"/>
                    </a:lnTo>
                    <a:lnTo>
                      <a:pt x="3914" y="1932"/>
                    </a:lnTo>
                    <a:lnTo>
                      <a:pt x="3914" y="1932"/>
                    </a:lnTo>
                    <a:lnTo>
                      <a:pt x="3920" y="1928"/>
                    </a:lnTo>
                    <a:lnTo>
                      <a:pt x="3922" y="1926"/>
                    </a:lnTo>
                    <a:lnTo>
                      <a:pt x="3924" y="1928"/>
                    </a:lnTo>
                    <a:lnTo>
                      <a:pt x="3924" y="1930"/>
                    </a:lnTo>
                    <a:lnTo>
                      <a:pt x="3924" y="1936"/>
                    </a:lnTo>
                    <a:lnTo>
                      <a:pt x="3926" y="1936"/>
                    </a:lnTo>
                    <a:lnTo>
                      <a:pt x="3928" y="1934"/>
                    </a:lnTo>
                    <a:lnTo>
                      <a:pt x="3928" y="1934"/>
                    </a:lnTo>
                    <a:lnTo>
                      <a:pt x="3932" y="1932"/>
                    </a:lnTo>
                    <a:lnTo>
                      <a:pt x="3936" y="1930"/>
                    </a:lnTo>
                    <a:lnTo>
                      <a:pt x="3946" y="1930"/>
                    </a:lnTo>
                    <a:lnTo>
                      <a:pt x="3952" y="1928"/>
                    </a:lnTo>
                    <a:lnTo>
                      <a:pt x="3952" y="1924"/>
                    </a:lnTo>
                    <a:lnTo>
                      <a:pt x="3952" y="1920"/>
                    </a:lnTo>
                    <a:lnTo>
                      <a:pt x="3952" y="1920"/>
                    </a:lnTo>
                    <a:lnTo>
                      <a:pt x="3948" y="1906"/>
                    </a:lnTo>
                    <a:lnTo>
                      <a:pt x="3946" y="1904"/>
                    </a:lnTo>
                    <a:lnTo>
                      <a:pt x="3942" y="1904"/>
                    </a:lnTo>
                    <a:lnTo>
                      <a:pt x="3942" y="1904"/>
                    </a:lnTo>
                    <a:lnTo>
                      <a:pt x="3940" y="1904"/>
                    </a:lnTo>
                    <a:lnTo>
                      <a:pt x="3942" y="1906"/>
                    </a:lnTo>
                    <a:lnTo>
                      <a:pt x="3946" y="1908"/>
                    </a:lnTo>
                    <a:lnTo>
                      <a:pt x="3948" y="1914"/>
                    </a:lnTo>
                    <a:lnTo>
                      <a:pt x="3948" y="1914"/>
                    </a:lnTo>
                    <a:lnTo>
                      <a:pt x="3944" y="1920"/>
                    </a:lnTo>
                    <a:lnTo>
                      <a:pt x="3940" y="1924"/>
                    </a:lnTo>
                    <a:lnTo>
                      <a:pt x="3936" y="1926"/>
                    </a:lnTo>
                    <a:lnTo>
                      <a:pt x="3932" y="1926"/>
                    </a:lnTo>
                    <a:lnTo>
                      <a:pt x="3930" y="1922"/>
                    </a:lnTo>
                    <a:lnTo>
                      <a:pt x="3928" y="1918"/>
                    </a:lnTo>
                    <a:lnTo>
                      <a:pt x="3928" y="1918"/>
                    </a:lnTo>
                    <a:lnTo>
                      <a:pt x="3924" y="1908"/>
                    </a:lnTo>
                    <a:lnTo>
                      <a:pt x="3924" y="1902"/>
                    </a:lnTo>
                    <a:lnTo>
                      <a:pt x="3920" y="1896"/>
                    </a:lnTo>
                    <a:lnTo>
                      <a:pt x="3912" y="1894"/>
                    </a:lnTo>
                    <a:lnTo>
                      <a:pt x="3912" y="1894"/>
                    </a:lnTo>
                    <a:lnTo>
                      <a:pt x="3910" y="1894"/>
                    </a:lnTo>
                    <a:lnTo>
                      <a:pt x="3910" y="1892"/>
                    </a:lnTo>
                    <a:lnTo>
                      <a:pt x="3918" y="1884"/>
                    </a:lnTo>
                    <a:lnTo>
                      <a:pt x="3926" y="1876"/>
                    </a:lnTo>
                    <a:lnTo>
                      <a:pt x="3926" y="1874"/>
                    </a:lnTo>
                    <a:lnTo>
                      <a:pt x="3924" y="1872"/>
                    </a:lnTo>
                    <a:lnTo>
                      <a:pt x="3924" y="1872"/>
                    </a:lnTo>
                    <a:lnTo>
                      <a:pt x="3922" y="1868"/>
                    </a:lnTo>
                    <a:lnTo>
                      <a:pt x="3920" y="1864"/>
                    </a:lnTo>
                    <a:lnTo>
                      <a:pt x="3922" y="1850"/>
                    </a:lnTo>
                    <a:lnTo>
                      <a:pt x="3928" y="1836"/>
                    </a:lnTo>
                    <a:lnTo>
                      <a:pt x="3936" y="1826"/>
                    </a:lnTo>
                    <a:lnTo>
                      <a:pt x="3936" y="1826"/>
                    </a:lnTo>
                    <a:lnTo>
                      <a:pt x="3940" y="1820"/>
                    </a:lnTo>
                    <a:lnTo>
                      <a:pt x="3940" y="1816"/>
                    </a:lnTo>
                    <a:lnTo>
                      <a:pt x="3940" y="1814"/>
                    </a:lnTo>
                    <a:lnTo>
                      <a:pt x="3942" y="1810"/>
                    </a:lnTo>
                    <a:lnTo>
                      <a:pt x="3942" y="1810"/>
                    </a:lnTo>
                    <a:lnTo>
                      <a:pt x="3944" y="1808"/>
                    </a:lnTo>
                    <a:lnTo>
                      <a:pt x="3946" y="1808"/>
                    </a:lnTo>
                    <a:lnTo>
                      <a:pt x="3948" y="1812"/>
                    </a:lnTo>
                    <a:lnTo>
                      <a:pt x="3952" y="1814"/>
                    </a:lnTo>
                    <a:lnTo>
                      <a:pt x="3954" y="1814"/>
                    </a:lnTo>
                    <a:lnTo>
                      <a:pt x="3958" y="1812"/>
                    </a:lnTo>
                    <a:lnTo>
                      <a:pt x="3958" y="1812"/>
                    </a:lnTo>
                    <a:lnTo>
                      <a:pt x="3966" y="1806"/>
                    </a:lnTo>
                    <a:lnTo>
                      <a:pt x="3970" y="1802"/>
                    </a:lnTo>
                    <a:lnTo>
                      <a:pt x="3974" y="1800"/>
                    </a:lnTo>
                    <a:lnTo>
                      <a:pt x="3976" y="1800"/>
                    </a:lnTo>
                    <a:lnTo>
                      <a:pt x="3976" y="1800"/>
                    </a:lnTo>
                    <a:lnTo>
                      <a:pt x="3982" y="1798"/>
                    </a:lnTo>
                    <a:lnTo>
                      <a:pt x="3984" y="1796"/>
                    </a:lnTo>
                    <a:lnTo>
                      <a:pt x="3988" y="1786"/>
                    </a:lnTo>
                    <a:lnTo>
                      <a:pt x="3992" y="1778"/>
                    </a:lnTo>
                    <a:lnTo>
                      <a:pt x="3996" y="1776"/>
                    </a:lnTo>
                    <a:lnTo>
                      <a:pt x="4000" y="1778"/>
                    </a:lnTo>
                    <a:lnTo>
                      <a:pt x="4000" y="1778"/>
                    </a:lnTo>
                    <a:lnTo>
                      <a:pt x="4006" y="1782"/>
                    </a:lnTo>
                    <a:lnTo>
                      <a:pt x="4008" y="1780"/>
                    </a:lnTo>
                    <a:lnTo>
                      <a:pt x="4010" y="1780"/>
                    </a:lnTo>
                    <a:lnTo>
                      <a:pt x="4012" y="1776"/>
                    </a:lnTo>
                    <a:lnTo>
                      <a:pt x="4016" y="1772"/>
                    </a:lnTo>
                    <a:lnTo>
                      <a:pt x="4016" y="1772"/>
                    </a:lnTo>
                    <a:lnTo>
                      <a:pt x="4022" y="1772"/>
                    </a:lnTo>
                    <a:lnTo>
                      <a:pt x="4024" y="1774"/>
                    </a:lnTo>
                    <a:lnTo>
                      <a:pt x="4028" y="1776"/>
                    </a:lnTo>
                    <a:lnTo>
                      <a:pt x="4036" y="1772"/>
                    </a:lnTo>
                    <a:lnTo>
                      <a:pt x="4036" y="1772"/>
                    </a:lnTo>
                    <a:lnTo>
                      <a:pt x="4044" y="1766"/>
                    </a:lnTo>
                    <a:lnTo>
                      <a:pt x="4052" y="1764"/>
                    </a:lnTo>
                    <a:lnTo>
                      <a:pt x="4060" y="1762"/>
                    </a:lnTo>
                    <a:lnTo>
                      <a:pt x="4066" y="1756"/>
                    </a:lnTo>
                    <a:lnTo>
                      <a:pt x="4066" y="1756"/>
                    </a:lnTo>
                    <a:lnTo>
                      <a:pt x="4070" y="1752"/>
                    </a:lnTo>
                    <a:lnTo>
                      <a:pt x="4070" y="1748"/>
                    </a:lnTo>
                    <a:lnTo>
                      <a:pt x="4068" y="1746"/>
                    </a:lnTo>
                    <a:lnTo>
                      <a:pt x="4066" y="1742"/>
                    </a:lnTo>
                    <a:lnTo>
                      <a:pt x="4066" y="1742"/>
                    </a:lnTo>
                    <a:lnTo>
                      <a:pt x="4064" y="1736"/>
                    </a:lnTo>
                    <a:lnTo>
                      <a:pt x="4062" y="1734"/>
                    </a:lnTo>
                    <a:lnTo>
                      <a:pt x="4054" y="1730"/>
                    </a:lnTo>
                    <a:lnTo>
                      <a:pt x="4054" y="1730"/>
                    </a:lnTo>
                    <a:lnTo>
                      <a:pt x="4052" y="1726"/>
                    </a:lnTo>
                    <a:lnTo>
                      <a:pt x="4050" y="1718"/>
                    </a:lnTo>
                    <a:lnTo>
                      <a:pt x="4050" y="1704"/>
                    </a:lnTo>
                    <a:lnTo>
                      <a:pt x="4050" y="1704"/>
                    </a:lnTo>
                    <a:lnTo>
                      <a:pt x="4052" y="1706"/>
                    </a:lnTo>
                    <a:lnTo>
                      <a:pt x="4054" y="1708"/>
                    </a:lnTo>
                    <a:lnTo>
                      <a:pt x="4054" y="1716"/>
                    </a:lnTo>
                    <a:lnTo>
                      <a:pt x="4054" y="1716"/>
                    </a:lnTo>
                    <a:lnTo>
                      <a:pt x="4054" y="1720"/>
                    </a:lnTo>
                    <a:lnTo>
                      <a:pt x="4056" y="1724"/>
                    </a:lnTo>
                    <a:lnTo>
                      <a:pt x="4060" y="1728"/>
                    </a:lnTo>
                    <a:lnTo>
                      <a:pt x="4066" y="1730"/>
                    </a:lnTo>
                    <a:lnTo>
                      <a:pt x="4066" y="1730"/>
                    </a:lnTo>
                    <a:lnTo>
                      <a:pt x="4078" y="1734"/>
                    </a:lnTo>
                    <a:lnTo>
                      <a:pt x="4088" y="1734"/>
                    </a:lnTo>
                    <a:lnTo>
                      <a:pt x="4096" y="1734"/>
                    </a:lnTo>
                    <a:lnTo>
                      <a:pt x="4106" y="1732"/>
                    </a:lnTo>
                    <a:lnTo>
                      <a:pt x="4122" y="1724"/>
                    </a:lnTo>
                    <a:lnTo>
                      <a:pt x="4144" y="1714"/>
                    </a:lnTo>
                    <a:lnTo>
                      <a:pt x="4144" y="1714"/>
                    </a:lnTo>
                    <a:lnTo>
                      <a:pt x="4152" y="1708"/>
                    </a:lnTo>
                    <a:lnTo>
                      <a:pt x="4156" y="1708"/>
                    </a:lnTo>
                    <a:lnTo>
                      <a:pt x="4156" y="1708"/>
                    </a:lnTo>
                    <a:lnTo>
                      <a:pt x="4158" y="1712"/>
                    </a:lnTo>
                    <a:lnTo>
                      <a:pt x="4160" y="1714"/>
                    </a:lnTo>
                    <a:lnTo>
                      <a:pt x="4164" y="1718"/>
                    </a:lnTo>
                    <a:lnTo>
                      <a:pt x="4172" y="1718"/>
                    </a:lnTo>
                    <a:lnTo>
                      <a:pt x="4188" y="1716"/>
                    </a:lnTo>
                    <a:lnTo>
                      <a:pt x="4188" y="1716"/>
                    </a:lnTo>
                    <a:lnTo>
                      <a:pt x="4202" y="1716"/>
                    </a:lnTo>
                    <a:lnTo>
                      <a:pt x="4194" y="1720"/>
                    </a:lnTo>
                    <a:lnTo>
                      <a:pt x="4172" y="1728"/>
                    </a:lnTo>
                    <a:lnTo>
                      <a:pt x="4148" y="1740"/>
                    </a:lnTo>
                    <a:lnTo>
                      <a:pt x="4148" y="1740"/>
                    </a:lnTo>
                    <a:lnTo>
                      <a:pt x="4136" y="1746"/>
                    </a:lnTo>
                    <a:lnTo>
                      <a:pt x="4126" y="1754"/>
                    </a:lnTo>
                    <a:lnTo>
                      <a:pt x="4118" y="1762"/>
                    </a:lnTo>
                    <a:lnTo>
                      <a:pt x="4110" y="1770"/>
                    </a:lnTo>
                    <a:lnTo>
                      <a:pt x="4106" y="1780"/>
                    </a:lnTo>
                    <a:lnTo>
                      <a:pt x="4104" y="1790"/>
                    </a:lnTo>
                    <a:lnTo>
                      <a:pt x="4106" y="1802"/>
                    </a:lnTo>
                    <a:lnTo>
                      <a:pt x="4110" y="1812"/>
                    </a:lnTo>
                    <a:lnTo>
                      <a:pt x="4110" y="1812"/>
                    </a:lnTo>
                    <a:lnTo>
                      <a:pt x="4116" y="1822"/>
                    </a:lnTo>
                    <a:lnTo>
                      <a:pt x="4124" y="1826"/>
                    </a:lnTo>
                    <a:lnTo>
                      <a:pt x="4130" y="1828"/>
                    </a:lnTo>
                    <a:lnTo>
                      <a:pt x="4138" y="1824"/>
                    </a:lnTo>
                    <a:lnTo>
                      <a:pt x="4146" y="1818"/>
                    </a:lnTo>
                    <a:lnTo>
                      <a:pt x="4154" y="1810"/>
                    </a:lnTo>
                    <a:lnTo>
                      <a:pt x="4174" y="1786"/>
                    </a:lnTo>
                    <a:lnTo>
                      <a:pt x="4174" y="1786"/>
                    </a:lnTo>
                    <a:lnTo>
                      <a:pt x="4182" y="1776"/>
                    </a:lnTo>
                    <a:lnTo>
                      <a:pt x="4190" y="1770"/>
                    </a:lnTo>
                    <a:lnTo>
                      <a:pt x="4196" y="1768"/>
                    </a:lnTo>
                    <a:lnTo>
                      <a:pt x="4202" y="1768"/>
                    </a:lnTo>
                    <a:lnTo>
                      <a:pt x="4208" y="1768"/>
                    </a:lnTo>
                    <a:lnTo>
                      <a:pt x="4216" y="1766"/>
                    </a:lnTo>
                    <a:lnTo>
                      <a:pt x="4224" y="1764"/>
                    </a:lnTo>
                    <a:lnTo>
                      <a:pt x="4238" y="1756"/>
                    </a:lnTo>
                    <a:lnTo>
                      <a:pt x="4238" y="1756"/>
                    </a:lnTo>
                    <a:lnTo>
                      <a:pt x="4252" y="1748"/>
                    </a:lnTo>
                    <a:lnTo>
                      <a:pt x="4266" y="1742"/>
                    </a:lnTo>
                    <a:lnTo>
                      <a:pt x="4290" y="1734"/>
                    </a:lnTo>
                    <a:lnTo>
                      <a:pt x="4300" y="1730"/>
                    </a:lnTo>
                    <a:lnTo>
                      <a:pt x="4306" y="1728"/>
                    </a:lnTo>
                    <a:lnTo>
                      <a:pt x="4308" y="1724"/>
                    </a:lnTo>
                    <a:lnTo>
                      <a:pt x="4304" y="1720"/>
                    </a:lnTo>
                    <a:lnTo>
                      <a:pt x="4304" y="1720"/>
                    </a:lnTo>
                    <a:lnTo>
                      <a:pt x="4284" y="1700"/>
                    </a:lnTo>
                    <a:lnTo>
                      <a:pt x="4280" y="1698"/>
                    </a:lnTo>
                    <a:lnTo>
                      <a:pt x="4276" y="1696"/>
                    </a:lnTo>
                    <a:lnTo>
                      <a:pt x="4270" y="1696"/>
                    </a:lnTo>
                    <a:lnTo>
                      <a:pt x="4264" y="1698"/>
                    </a:lnTo>
                    <a:lnTo>
                      <a:pt x="4264" y="1698"/>
                    </a:lnTo>
                    <a:lnTo>
                      <a:pt x="4258" y="1700"/>
                    </a:lnTo>
                    <a:lnTo>
                      <a:pt x="4246" y="1700"/>
                    </a:lnTo>
                    <a:lnTo>
                      <a:pt x="4236" y="1700"/>
                    </a:lnTo>
                    <a:lnTo>
                      <a:pt x="4224" y="1696"/>
                    </a:lnTo>
                    <a:lnTo>
                      <a:pt x="4212" y="1694"/>
                    </a:lnTo>
                    <a:lnTo>
                      <a:pt x="4204" y="1690"/>
                    </a:lnTo>
                    <a:lnTo>
                      <a:pt x="4198" y="1684"/>
                    </a:lnTo>
                    <a:lnTo>
                      <a:pt x="4196" y="1682"/>
                    </a:lnTo>
                    <a:lnTo>
                      <a:pt x="4196" y="1680"/>
                    </a:lnTo>
                    <a:lnTo>
                      <a:pt x="4196" y="1680"/>
                    </a:lnTo>
                    <a:lnTo>
                      <a:pt x="4196" y="1676"/>
                    </a:lnTo>
                    <a:lnTo>
                      <a:pt x="4194" y="1674"/>
                    </a:lnTo>
                    <a:lnTo>
                      <a:pt x="4186" y="1672"/>
                    </a:lnTo>
                    <a:lnTo>
                      <a:pt x="4178" y="1668"/>
                    </a:lnTo>
                    <a:lnTo>
                      <a:pt x="4172" y="1664"/>
                    </a:lnTo>
                    <a:lnTo>
                      <a:pt x="4166" y="1654"/>
                    </a:lnTo>
                    <a:lnTo>
                      <a:pt x="4160" y="1640"/>
                    </a:lnTo>
                    <a:lnTo>
                      <a:pt x="4160" y="1640"/>
                    </a:lnTo>
                    <a:lnTo>
                      <a:pt x="4156" y="1624"/>
                    </a:lnTo>
                    <a:lnTo>
                      <a:pt x="4156" y="1610"/>
                    </a:lnTo>
                    <a:lnTo>
                      <a:pt x="4158" y="1598"/>
                    </a:lnTo>
                    <a:lnTo>
                      <a:pt x="4160" y="1588"/>
                    </a:lnTo>
                    <a:lnTo>
                      <a:pt x="4162" y="1580"/>
                    </a:lnTo>
                    <a:lnTo>
                      <a:pt x="4162" y="1576"/>
                    </a:lnTo>
                    <a:lnTo>
                      <a:pt x="4158" y="1574"/>
                    </a:lnTo>
                    <a:lnTo>
                      <a:pt x="4148" y="1576"/>
                    </a:lnTo>
                    <a:lnTo>
                      <a:pt x="4148" y="1576"/>
                    </a:lnTo>
                    <a:lnTo>
                      <a:pt x="4134" y="1578"/>
                    </a:lnTo>
                    <a:lnTo>
                      <a:pt x="4126" y="1580"/>
                    </a:lnTo>
                    <a:lnTo>
                      <a:pt x="4124" y="1578"/>
                    </a:lnTo>
                    <a:lnTo>
                      <a:pt x="4126" y="1574"/>
                    </a:lnTo>
                    <a:lnTo>
                      <a:pt x="4140" y="1564"/>
                    </a:lnTo>
                    <a:lnTo>
                      <a:pt x="4164" y="1550"/>
                    </a:lnTo>
                    <a:lnTo>
                      <a:pt x="4164" y="1550"/>
                    </a:lnTo>
                    <a:lnTo>
                      <a:pt x="4178" y="1538"/>
                    </a:lnTo>
                    <a:lnTo>
                      <a:pt x="4182" y="1532"/>
                    </a:lnTo>
                    <a:lnTo>
                      <a:pt x="4184" y="1528"/>
                    </a:lnTo>
                    <a:lnTo>
                      <a:pt x="4184" y="1522"/>
                    </a:lnTo>
                    <a:lnTo>
                      <a:pt x="4180" y="1516"/>
                    </a:lnTo>
                    <a:lnTo>
                      <a:pt x="4174" y="1508"/>
                    </a:lnTo>
                    <a:lnTo>
                      <a:pt x="4166" y="1502"/>
                    </a:lnTo>
                    <a:lnTo>
                      <a:pt x="4166" y="1502"/>
                    </a:lnTo>
                    <a:lnTo>
                      <a:pt x="4160" y="1498"/>
                    </a:lnTo>
                    <a:lnTo>
                      <a:pt x="4150" y="1496"/>
                    </a:lnTo>
                    <a:lnTo>
                      <a:pt x="4140" y="1496"/>
                    </a:lnTo>
                    <a:lnTo>
                      <a:pt x="4130" y="1496"/>
                    </a:lnTo>
                    <a:lnTo>
                      <a:pt x="4102" y="1500"/>
                    </a:lnTo>
                    <a:lnTo>
                      <a:pt x="4074" y="1508"/>
                    </a:lnTo>
                    <a:lnTo>
                      <a:pt x="4044" y="1518"/>
                    </a:lnTo>
                    <a:lnTo>
                      <a:pt x="4018" y="1532"/>
                    </a:lnTo>
                    <a:lnTo>
                      <a:pt x="3996" y="1546"/>
                    </a:lnTo>
                    <a:lnTo>
                      <a:pt x="3988" y="1554"/>
                    </a:lnTo>
                    <a:lnTo>
                      <a:pt x="3982" y="1560"/>
                    </a:lnTo>
                    <a:lnTo>
                      <a:pt x="3982" y="1560"/>
                    </a:lnTo>
                    <a:lnTo>
                      <a:pt x="3964" y="1584"/>
                    </a:lnTo>
                    <a:lnTo>
                      <a:pt x="3948" y="1602"/>
                    </a:lnTo>
                    <a:lnTo>
                      <a:pt x="3934" y="1616"/>
                    </a:lnTo>
                    <a:lnTo>
                      <a:pt x="3922" y="1626"/>
                    </a:lnTo>
                    <a:lnTo>
                      <a:pt x="3914" y="1634"/>
                    </a:lnTo>
                    <a:lnTo>
                      <a:pt x="3908" y="1636"/>
                    </a:lnTo>
                    <a:lnTo>
                      <a:pt x="3908" y="1636"/>
                    </a:lnTo>
                    <a:lnTo>
                      <a:pt x="3908" y="1634"/>
                    </a:lnTo>
                    <a:lnTo>
                      <a:pt x="3914" y="1628"/>
                    </a:lnTo>
                    <a:lnTo>
                      <a:pt x="3914" y="1628"/>
                    </a:lnTo>
                    <a:lnTo>
                      <a:pt x="3924" y="1616"/>
                    </a:lnTo>
                    <a:lnTo>
                      <a:pt x="3936" y="1600"/>
                    </a:lnTo>
                    <a:lnTo>
                      <a:pt x="3964" y="1560"/>
                    </a:lnTo>
                    <a:lnTo>
                      <a:pt x="3978" y="1542"/>
                    </a:lnTo>
                    <a:lnTo>
                      <a:pt x="3994" y="1524"/>
                    </a:lnTo>
                    <a:lnTo>
                      <a:pt x="4010" y="1510"/>
                    </a:lnTo>
                    <a:lnTo>
                      <a:pt x="4020" y="1504"/>
                    </a:lnTo>
                    <a:lnTo>
                      <a:pt x="4030" y="1500"/>
                    </a:lnTo>
                    <a:lnTo>
                      <a:pt x="4030" y="1500"/>
                    </a:lnTo>
                    <a:lnTo>
                      <a:pt x="4040" y="1496"/>
                    </a:lnTo>
                    <a:lnTo>
                      <a:pt x="4050" y="1490"/>
                    </a:lnTo>
                    <a:lnTo>
                      <a:pt x="4056" y="1486"/>
                    </a:lnTo>
                    <a:lnTo>
                      <a:pt x="4060" y="1482"/>
                    </a:lnTo>
                    <a:lnTo>
                      <a:pt x="4066" y="1472"/>
                    </a:lnTo>
                    <a:lnTo>
                      <a:pt x="4068" y="1464"/>
                    </a:lnTo>
                    <a:lnTo>
                      <a:pt x="4072" y="1456"/>
                    </a:lnTo>
                    <a:lnTo>
                      <a:pt x="4076" y="1452"/>
                    </a:lnTo>
                    <a:lnTo>
                      <a:pt x="4082" y="1448"/>
                    </a:lnTo>
                    <a:lnTo>
                      <a:pt x="4090" y="1444"/>
                    </a:lnTo>
                    <a:lnTo>
                      <a:pt x="4102" y="1440"/>
                    </a:lnTo>
                    <a:lnTo>
                      <a:pt x="4136" y="1432"/>
                    </a:lnTo>
                    <a:lnTo>
                      <a:pt x="4136" y="1432"/>
                    </a:lnTo>
                    <a:lnTo>
                      <a:pt x="4160" y="1430"/>
                    </a:lnTo>
                    <a:lnTo>
                      <a:pt x="4182" y="1428"/>
                    </a:lnTo>
                    <a:lnTo>
                      <a:pt x="4202" y="1430"/>
                    </a:lnTo>
                    <a:lnTo>
                      <a:pt x="4220" y="1432"/>
                    </a:lnTo>
                    <a:lnTo>
                      <a:pt x="4252" y="1436"/>
                    </a:lnTo>
                    <a:lnTo>
                      <a:pt x="4278" y="1442"/>
                    </a:lnTo>
                    <a:lnTo>
                      <a:pt x="4304" y="1446"/>
                    </a:lnTo>
                    <a:lnTo>
                      <a:pt x="4316" y="1444"/>
                    </a:lnTo>
                    <a:lnTo>
                      <a:pt x="4330" y="1442"/>
                    </a:lnTo>
                    <a:lnTo>
                      <a:pt x="4342" y="1438"/>
                    </a:lnTo>
                    <a:lnTo>
                      <a:pt x="4356" y="1430"/>
                    </a:lnTo>
                    <a:lnTo>
                      <a:pt x="4370" y="1420"/>
                    </a:lnTo>
                    <a:lnTo>
                      <a:pt x="4386" y="1406"/>
                    </a:lnTo>
                    <a:lnTo>
                      <a:pt x="4386" y="1406"/>
                    </a:lnTo>
                    <a:lnTo>
                      <a:pt x="4414" y="1382"/>
                    </a:lnTo>
                    <a:lnTo>
                      <a:pt x="4434" y="1368"/>
                    </a:lnTo>
                    <a:lnTo>
                      <a:pt x="4448" y="1362"/>
                    </a:lnTo>
                    <a:lnTo>
                      <a:pt x="4458" y="1362"/>
                    </a:lnTo>
                    <a:lnTo>
                      <a:pt x="4470" y="1366"/>
                    </a:lnTo>
                    <a:lnTo>
                      <a:pt x="4474" y="1366"/>
                    </a:lnTo>
                    <a:lnTo>
                      <a:pt x="4482" y="1358"/>
                    </a:lnTo>
                    <a:lnTo>
                      <a:pt x="4482" y="1358"/>
                    </a:lnTo>
                    <a:lnTo>
                      <a:pt x="4492" y="1348"/>
                    </a:lnTo>
                    <a:lnTo>
                      <a:pt x="4502" y="1342"/>
                    </a:lnTo>
                    <a:lnTo>
                      <a:pt x="4518" y="1330"/>
                    </a:lnTo>
                    <a:lnTo>
                      <a:pt x="4524" y="1324"/>
                    </a:lnTo>
                    <a:lnTo>
                      <a:pt x="4526" y="1316"/>
                    </a:lnTo>
                    <a:lnTo>
                      <a:pt x="4526" y="1308"/>
                    </a:lnTo>
                    <a:lnTo>
                      <a:pt x="4522" y="1296"/>
                    </a:lnTo>
                    <a:lnTo>
                      <a:pt x="4522" y="1296"/>
                    </a:lnTo>
                    <a:lnTo>
                      <a:pt x="4518" y="1284"/>
                    </a:lnTo>
                    <a:lnTo>
                      <a:pt x="4518" y="1278"/>
                    </a:lnTo>
                    <a:lnTo>
                      <a:pt x="4518" y="1274"/>
                    </a:lnTo>
                    <a:lnTo>
                      <a:pt x="4522" y="1270"/>
                    </a:lnTo>
                    <a:lnTo>
                      <a:pt x="4524" y="1268"/>
                    </a:lnTo>
                    <a:lnTo>
                      <a:pt x="4526" y="1264"/>
                    </a:lnTo>
                    <a:lnTo>
                      <a:pt x="4524" y="1258"/>
                    </a:lnTo>
                    <a:lnTo>
                      <a:pt x="4522" y="1248"/>
                    </a:lnTo>
                    <a:lnTo>
                      <a:pt x="4522" y="1248"/>
                    </a:lnTo>
                    <a:lnTo>
                      <a:pt x="4516" y="1238"/>
                    </a:lnTo>
                    <a:lnTo>
                      <a:pt x="4510" y="1234"/>
                    </a:lnTo>
                    <a:lnTo>
                      <a:pt x="4502" y="1232"/>
                    </a:lnTo>
                    <a:lnTo>
                      <a:pt x="4496" y="1230"/>
                    </a:lnTo>
                    <a:lnTo>
                      <a:pt x="4488" y="1230"/>
                    </a:lnTo>
                    <a:lnTo>
                      <a:pt x="4480" y="1228"/>
                    </a:lnTo>
                    <a:lnTo>
                      <a:pt x="4472" y="1222"/>
                    </a:lnTo>
                    <a:lnTo>
                      <a:pt x="4464" y="1214"/>
                    </a:lnTo>
                    <a:lnTo>
                      <a:pt x="4464" y="1214"/>
                    </a:lnTo>
                    <a:lnTo>
                      <a:pt x="4454" y="1204"/>
                    </a:lnTo>
                    <a:lnTo>
                      <a:pt x="4446" y="1198"/>
                    </a:lnTo>
                    <a:lnTo>
                      <a:pt x="4436" y="1198"/>
                    </a:lnTo>
                    <a:lnTo>
                      <a:pt x="4428" y="1200"/>
                    </a:lnTo>
                    <a:lnTo>
                      <a:pt x="4416" y="1204"/>
                    </a:lnTo>
                    <a:lnTo>
                      <a:pt x="4406" y="1212"/>
                    </a:lnTo>
                    <a:lnTo>
                      <a:pt x="4376" y="1234"/>
                    </a:lnTo>
                    <a:lnTo>
                      <a:pt x="4376" y="1234"/>
                    </a:lnTo>
                    <a:lnTo>
                      <a:pt x="4362" y="1242"/>
                    </a:lnTo>
                    <a:lnTo>
                      <a:pt x="4352" y="1246"/>
                    </a:lnTo>
                    <a:lnTo>
                      <a:pt x="4344" y="1246"/>
                    </a:lnTo>
                    <a:lnTo>
                      <a:pt x="4342" y="1242"/>
                    </a:lnTo>
                    <a:lnTo>
                      <a:pt x="4342" y="1238"/>
                    </a:lnTo>
                    <a:lnTo>
                      <a:pt x="4346" y="1230"/>
                    </a:lnTo>
                    <a:lnTo>
                      <a:pt x="4354" y="1226"/>
                    </a:lnTo>
                    <a:lnTo>
                      <a:pt x="4364" y="1220"/>
                    </a:lnTo>
                    <a:lnTo>
                      <a:pt x="4364" y="1220"/>
                    </a:lnTo>
                    <a:lnTo>
                      <a:pt x="4376" y="1218"/>
                    </a:lnTo>
                    <a:lnTo>
                      <a:pt x="4386" y="1214"/>
                    </a:lnTo>
                    <a:lnTo>
                      <a:pt x="4400" y="1204"/>
                    </a:lnTo>
                    <a:lnTo>
                      <a:pt x="4414" y="1196"/>
                    </a:lnTo>
                    <a:lnTo>
                      <a:pt x="4424" y="1192"/>
                    </a:lnTo>
                    <a:lnTo>
                      <a:pt x="4438" y="1190"/>
                    </a:lnTo>
                    <a:lnTo>
                      <a:pt x="4438" y="1190"/>
                    </a:lnTo>
                    <a:lnTo>
                      <a:pt x="4450" y="1186"/>
                    </a:lnTo>
                    <a:lnTo>
                      <a:pt x="4456" y="1184"/>
                    </a:lnTo>
                    <a:lnTo>
                      <a:pt x="4458" y="1178"/>
                    </a:lnTo>
                    <a:lnTo>
                      <a:pt x="4456" y="1174"/>
                    </a:lnTo>
                    <a:lnTo>
                      <a:pt x="4450" y="1170"/>
                    </a:lnTo>
                    <a:lnTo>
                      <a:pt x="4442" y="1166"/>
                    </a:lnTo>
                    <a:lnTo>
                      <a:pt x="4432" y="1162"/>
                    </a:lnTo>
                    <a:lnTo>
                      <a:pt x="4418" y="1160"/>
                    </a:lnTo>
                    <a:lnTo>
                      <a:pt x="4418" y="1160"/>
                    </a:lnTo>
                    <a:lnTo>
                      <a:pt x="4406" y="1158"/>
                    </a:lnTo>
                    <a:lnTo>
                      <a:pt x="4400" y="1154"/>
                    </a:lnTo>
                    <a:lnTo>
                      <a:pt x="4396" y="1150"/>
                    </a:lnTo>
                    <a:lnTo>
                      <a:pt x="4394" y="1146"/>
                    </a:lnTo>
                    <a:lnTo>
                      <a:pt x="4392" y="1142"/>
                    </a:lnTo>
                    <a:lnTo>
                      <a:pt x="4388" y="1138"/>
                    </a:lnTo>
                    <a:lnTo>
                      <a:pt x="4378" y="1136"/>
                    </a:lnTo>
                    <a:lnTo>
                      <a:pt x="4364" y="1132"/>
                    </a:lnTo>
                    <a:lnTo>
                      <a:pt x="4364" y="1132"/>
                    </a:lnTo>
                    <a:lnTo>
                      <a:pt x="4350" y="1130"/>
                    </a:lnTo>
                    <a:lnTo>
                      <a:pt x="4342" y="1126"/>
                    </a:lnTo>
                    <a:lnTo>
                      <a:pt x="4340" y="1122"/>
                    </a:lnTo>
                    <a:lnTo>
                      <a:pt x="4338" y="1116"/>
                    </a:lnTo>
                    <a:lnTo>
                      <a:pt x="4340" y="1112"/>
                    </a:lnTo>
                    <a:lnTo>
                      <a:pt x="4338" y="1106"/>
                    </a:lnTo>
                    <a:lnTo>
                      <a:pt x="4334" y="1102"/>
                    </a:lnTo>
                    <a:lnTo>
                      <a:pt x="4324" y="1096"/>
                    </a:lnTo>
                    <a:lnTo>
                      <a:pt x="4324" y="1096"/>
                    </a:lnTo>
                    <a:lnTo>
                      <a:pt x="4314" y="1090"/>
                    </a:lnTo>
                    <a:lnTo>
                      <a:pt x="4304" y="1084"/>
                    </a:lnTo>
                    <a:lnTo>
                      <a:pt x="4296" y="1078"/>
                    </a:lnTo>
                    <a:lnTo>
                      <a:pt x="4290" y="1070"/>
                    </a:lnTo>
                    <a:lnTo>
                      <a:pt x="4286" y="1062"/>
                    </a:lnTo>
                    <a:lnTo>
                      <a:pt x="4286" y="1052"/>
                    </a:lnTo>
                    <a:lnTo>
                      <a:pt x="4288" y="1042"/>
                    </a:lnTo>
                    <a:lnTo>
                      <a:pt x="4294" y="1030"/>
                    </a:lnTo>
                    <a:lnTo>
                      <a:pt x="4294" y="1030"/>
                    </a:lnTo>
                    <a:lnTo>
                      <a:pt x="4298" y="1024"/>
                    </a:lnTo>
                    <a:lnTo>
                      <a:pt x="4298" y="1020"/>
                    </a:lnTo>
                    <a:lnTo>
                      <a:pt x="4298" y="1016"/>
                    </a:lnTo>
                    <a:lnTo>
                      <a:pt x="4296" y="1012"/>
                    </a:lnTo>
                    <a:lnTo>
                      <a:pt x="4290" y="1008"/>
                    </a:lnTo>
                    <a:lnTo>
                      <a:pt x="4282" y="1004"/>
                    </a:lnTo>
                    <a:lnTo>
                      <a:pt x="4274" y="1002"/>
                    </a:lnTo>
                    <a:lnTo>
                      <a:pt x="4268" y="998"/>
                    </a:lnTo>
                    <a:lnTo>
                      <a:pt x="4266" y="996"/>
                    </a:lnTo>
                    <a:lnTo>
                      <a:pt x="4266" y="994"/>
                    </a:lnTo>
                    <a:lnTo>
                      <a:pt x="4266" y="990"/>
                    </a:lnTo>
                    <a:lnTo>
                      <a:pt x="4270" y="986"/>
                    </a:lnTo>
                    <a:lnTo>
                      <a:pt x="4270" y="986"/>
                    </a:lnTo>
                    <a:lnTo>
                      <a:pt x="4274" y="978"/>
                    </a:lnTo>
                    <a:lnTo>
                      <a:pt x="4274" y="970"/>
                    </a:lnTo>
                    <a:lnTo>
                      <a:pt x="4270" y="966"/>
                    </a:lnTo>
                    <a:lnTo>
                      <a:pt x="4264" y="960"/>
                    </a:lnTo>
                    <a:lnTo>
                      <a:pt x="4258" y="954"/>
                    </a:lnTo>
                    <a:lnTo>
                      <a:pt x="4252" y="948"/>
                    </a:lnTo>
                    <a:lnTo>
                      <a:pt x="4246" y="940"/>
                    </a:lnTo>
                    <a:lnTo>
                      <a:pt x="4244" y="928"/>
                    </a:lnTo>
                    <a:lnTo>
                      <a:pt x="4244" y="928"/>
                    </a:lnTo>
                    <a:lnTo>
                      <a:pt x="4240" y="912"/>
                    </a:lnTo>
                    <a:lnTo>
                      <a:pt x="4238" y="908"/>
                    </a:lnTo>
                    <a:lnTo>
                      <a:pt x="4236" y="906"/>
                    </a:lnTo>
                    <a:lnTo>
                      <a:pt x="4230" y="902"/>
                    </a:lnTo>
                    <a:lnTo>
                      <a:pt x="4228" y="898"/>
                    </a:lnTo>
                    <a:lnTo>
                      <a:pt x="4226" y="890"/>
                    </a:lnTo>
                    <a:lnTo>
                      <a:pt x="4226" y="890"/>
                    </a:lnTo>
                    <a:lnTo>
                      <a:pt x="4222" y="882"/>
                    </a:lnTo>
                    <a:lnTo>
                      <a:pt x="4218" y="878"/>
                    </a:lnTo>
                    <a:lnTo>
                      <a:pt x="4210" y="872"/>
                    </a:lnTo>
                    <a:lnTo>
                      <a:pt x="4206" y="868"/>
                    </a:lnTo>
                    <a:lnTo>
                      <a:pt x="4200" y="862"/>
                    </a:lnTo>
                    <a:lnTo>
                      <a:pt x="4194" y="852"/>
                    </a:lnTo>
                    <a:lnTo>
                      <a:pt x="4186" y="838"/>
                    </a:lnTo>
                    <a:lnTo>
                      <a:pt x="4186" y="838"/>
                    </a:lnTo>
                    <a:lnTo>
                      <a:pt x="4180" y="824"/>
                    </a:lnTo>
                    <a:lnTo>
                      <a:pt x="4174" y="816"/>
                    </a:lnTo>
                    <a:lnTo>
                      <a:pt x="4168" y="812"/>
                    </a:lnTo>
                    <a:lnTo>
                      <a:pt x="4164" y="812"/>
                    </a:lnTo>
                    <a:lnTo>
                      <a:pt x="4158" y="814"/>
                    </a:lnTo>
                    <a:lnTo>
                      <a:pt x="4154" y="820"/>
                    </a:lnTo>
                    <a:lnTo>
                      <a:pt x="4140" y="836"/>
                    </a:lnTo>
                    <a:lnTo>
                      <a:pt x="4140" y="836"/>
                    </a:lnTo>
                    <a:lnTo>
                      <a:pt x="4132" y="848"/>
                    </a:lnTo>
                    <a:lnTo>
                      <a:pt x="4128" y="860"/>
                    </a:lnTo>
                    <a:lnTo>
                      <a:pt x="4124" y="884"/>
                    </a:lnTo>
                    <a:lnTo>
                      <a:pt x="4120" y="896"/>
                    </a:lnTo>
                    <a:lnTo>
                      <a:pt x="4116" y="904"/>
                    </a:lnTo>
                    <a:lnTo>
                      <a:pt x="4114" y="906"/>
                    </a:lnTo>
                    <a:lnTo>
                      <a:pt x="4110" y="908"/>
                    </a:lnTo>
                    <a:lnTo>
                      <a:pt x="4106" y="908"/>
                    </a:lnTo>
                    <a:lnTo>
                      <a:pt x="4100" y="906"/>
                    </a:lnTo>
                    <a:lnTo>
                      <a:pt x="4100" y="906"/>
                    </a:lnTo>
                    <a:lnTo>
                      <a:pt x="4090" y="904"/>
                    </a:lnTo>
                    <a:lnTo>
                      <a:pt x="4086" y="906"/>
                    </a:lnTo>
                    <a:lnTo>
                      <a:pt x="4084" y="908"/>
                    </a:lnTo>
                    <a:lnTo>
                      <a:pt x="4084" y="912"/>
                    </a:lnTo>
                    <a:lnTo>
                      <a:pt x="4082" y="916"/>
                    </a:lnTo>
                    <a:lnTo>
                      <a:pt x="4080" y="922"/>
                    </a:lnTo>
                    <a:lnTo>
                      <a:pt x="4074" y="928"/>
                    </a:lnTo>
                    <a:lnTo>
                      <a:pt x="4060" y="934"/>
                    </a:lnTo>
                    <a:lnTo>
                      <a:pt x="4060" y="934"/>
                    </a:lnTo>
                    <a:lnTo>
                      <a:pt x="4048" y="936"/>
                    </a:lnTo>
                    <a:lnTo>
                      <a:pt x="4038" y="934"/>
                    </a:lnTo>
                    <a:lnTo>
                      <a:pt x="4030" y="930"/>
                    </a:lnTo>
                    <a:lnTo>
                      <a:pt x="4024" y="922"/>
                    </a:lnTo>
                    <a:lnTo>
                      <a:pt x="4018" y="914"/>
                    </a:lnTo>
                    <a:lnTo>
                      <a:pt x="4010" y="908"/>
                    </a:lnTo>
                    <a:lnTo>
                      <a:pt x="4002" y="902"/>
                    </a:lnTo>
                    <a:lnTo>
                      <a:pt x="3988" y="900"/>
                    </a:lnTo>
                    <a:lnTo>
                      <a:pt x="3988" y="900"/>
                    </a:lnTo>
                    <a:lnTo>
                      <a:pt x="3976" y="900"/>
                    </a:lnTo>
                    <a:lnTo>
                      <a:pt x="3972" y="900"/>
                    </a:lnTo>
                    <a:lnTo>
                      <a:pt x="3970" y="896"/>
                    </a:lnTo>
                    <a:lnTo>
                      <a:pt x="3972" y="892"/>
                    </a:lnTo>
                    <a:lnTo>
                      <a:pt x="3974" y="888"/>
                    </a:lnTo>
                    <a:lnTo>
                      <a:pt x="3976" y="884"/>
                    </a:lnTo>
                    <a:lnTo>
                      <a:pt x="3974" y="880"/>
                    </a:lnTo>
                    <a:lnTo>
                      <a:pt x="3968" y="874"/>
                    </a:lnTo>
                    <a:lnTo>
                      <a:pt x="3968" y="874"/>
                    </a:lnTo>
                    <a:lnTo>
                      <a:pt x="3962" y="870"/>
                    </a:lnTo>
                    <a:lnTo>
                      <a:pt x="3960" y="866"/>
                    </a:lnTo>
                    <a:lnTo>
                      <a:pt x="3962" y="864"/>
                    </a:lnTo>
                    <a:lnTo>
                      <a:pt x="3964" y="860"/>
                    </a:lnTo>
                    <a:lnTo>
                      <a:pt x="3966" y="856"/>
                    </a:lnTo>
                    <a:lnTo>
                      <a:pt x="3968" y="850"/>
                    </a:lnTo>
                    <a:lnTo>
                      <a:pt x="3968" y="844"/>
                    </a:lnTo>
                    <a:lnTo>
                      <a:pt x="3964" y="836"/>
                    </a:lnTo>
                    <a:lnTo>
                      <a:pt x="3964" y="836"/>
                    </a:lnTo>
                    <a:lnTo>
                      <a:pt x="3960" y="824"/>
                    </a:lnTo>
                    <a:lnTo>
                      <a:pt x="3958" y="814"/>
                    </a:lnTo>
                    <a:lnTo>
                      <a:pt x="3962" y="802"/>
                    </a:lnTo>
                    <a:lnTo>
                      <a:pt x="3966" y="794"/>
                    </a:lnTo>
                    <a:lnTo>
                      <a:pt x="3974" y="776"/>
                    </a:lnTo>
                    <a:lnTo>
                      <a:pt x="3974" y="770"/>
                    </a:lnTo>
                    <a:lnTo>
                      <a:pt x="3972" y="764"/>
                    </a:lnTo>
                    <a:lnTo>
                      <a:pt x="3972" y="764"/>
                    </a:lnTo>
                    <a:lnTo>
                      <a:pt x="3968" y="758"/>
                    </a:lnTo>
                    <a:lnTo>
                      <a:pt x="3964" y="758"/>
                    </a:lnTo>
                    <a:lnTo>
                      <a:pt x="3960" y="760"/>
                    </a:lnTo>
                    <a:lnTo>
                      <a:pt x="3958" y="764"/>
                    </a:lnTo>
                    <a:lnTo>
                      <a:pt x="3954" y="770"/>
                    </a:lnTo>
                    <a:lnTo>
                      <a:pt x="3952" y="772"/>
                    </a:lnTo>
                    <a:lnTo>
                      <a:pt x="3950" y="770"/>
                    </a:lnTo>
                    <a:lnTo>
                      <a:pt x="3950" y="770"/>
                    </a:lnTo>
                    <a:lnTo>
                      <a:pt x="3944" y="766"/>
                    </a:lnTo>
                    <a:lnTo>
                      <a:pt x="3936" y="762"/>
                    </a:lnTo>
                    <a:lnTo>
                      <a:pt x="3914" y="756"/>
                    </a:lnTo>
                    <a:lnTo>
                      <a:pt x="3902" y="752"/>
                    </a:lnTo>
                    <a:lnTo>
                      <a:pt x="3894" y="748"/>
                    </a:lnTo>
                    <a:lnTo>
                      <a:pt x="3888" y="742"/>
                    </a:lnTo>
                    <a:lnTo>
                      <a:pt x="3886" y="740"/>
                    </a:lnTo>
                    <a:lnTo>
                      <a:pt x="3886" y="736"/>
                    </a:lnTo>
                    <a:lnTo>
                      <a:pt x="3886" y="736"/>
                    </a:lnTo>
                    <a:lnTo>
                      <a:pt x="3886" y="728"/>
                    </a:lnTo>
                    <a:lnTo>
                      <a:pt x="3882" y="722"/>
                    </a:lnTo>
                    <a:lnTo>
                      <a:pt x="3878" y="716"/>
                    </a:lnTo>
                    <a:lnTo>
                      <a:pt x="3870" y="710"/>
                    </a:lnTo>
                    <a:lnTo>
                      <a:pt x="3826" y="680"/>
                    </a:lnTo>
                    <a:lnTo>
                      <a:pt x="3826" y="680"/>
                    </a:lnTo>
                    <a:lnTo>
                      <a:pt x="3806" y="668"/>
                    </a:lnTo>
                    <a:lnTo>
                      <a:pt x="3800" y="668"/>
                    </a:lnTo>
                    <a:lnTo>
                      <a:pt x="3796" y="666"/>
                    </a:lnTo>
                    <a:lnTo>
                      <a:pt x="3790" y="668"/>
                    </a:lnTo>
                    <a:lnTo>
                      <a:pt x="3788" y="670"/>
                    </a:lnTo>
                    <a:lnTo>
                      <a:pt x="3780" y="678"/>
                    </a:lnTo>
                    <a:lnTo>
                      <a:pt x="3774" y="680"/>
                    </a:lnTo>
                    <a:lnTo>
                      <a:pt x="3768" y="684"/>
                    </a:lnTo>
                    <a:lnTo>
                      <a:pt x="3760" y="684"/>
                    </a:lnTo>
                    <a:lnTo>
                      <a:pt x="3750" y="686"/>
                    </a:lnTo>
                    <a:lnTo>
                      <a:pt x="3736" y="684"/>
                    </a:lnTo>
                    <a:lnTo>
                      <a:pt x="3720" y="680"/>
                    </a:lnTo>
                    <a:lnTo>
                      <a:pt x="3700" y="674"/>
                    </a:lnTo>
                    <a:lnTo>
                      <a:pt x="3676" y="664"/>
                    </a:lnTo>
                    <a:lnTo>
                      <a:pt x="3676" y="664"/>
                    </a:lnTo>
                    <a:lnTo>
                      <a:pt x="3666" y="662"/>
                    </a:lnTo>
                    <a:lnTo>
                      <a:pt x="3656" y="660"/>
                    </a:lnTo>
                    <a:lnTo>
                      <a:pt x="3648" y="660"/>
                    </a:lnTo>
                    <a:lnTo>
                      <a:pt x="3642" y="662"/>
                    </a:lnTo>
                    <a:lnTo>
                      <a:pt x="3636" y="664"/>
                    </a:lnTo>
                    <a:lnTo>
                      <a:pt x="3632" y="668"/>
                    </a:lnTo>
                    <a:lnTo>
                      <a:pt x="3626" y="678"/>
                    </a:lnTo>
                    <a:lnTo>
                      <a:pt x="3622" y="690"/>
                    </a:lnTo>
                    <a:lnTo>
                      <a:pt x="3622" y="702"/>
                    </a:lnTo>
                    <a:lnTo>
                      <a:pt x="3626" y="712"/>
                    </a:lnTo>
                    <a:lnTo>
                      <a:pt x="3630" y="720"/>
                    </a:lnTo>
                    <a:lnTo>
                      <a:pt x="3630" y="720"/>
                    </a:lnTo>
                    <a:lnTo>
                      <a:pt x="3634" y="726"/>
                    </a:lnTo>
                    <a:lnTo>
                      <a:pt x="3636" y="732"/>
                    </a:lnTo>
                    <a:lnTo>
                      <a:pt x="3638" y="738"/>
                    </a:lnTo>
                    <a:lnTo>
                      <a:pt x="3638" y="746"/>
                    </a:lnTo>
                    <a:lnTo>
                      <a:pt x="3634" y="760"/>
                    </a:lnTo>
                    <a:lnTo>
                      <a:pt x="3626" y="772"/>
                    </a:lnTo>
                    <a:lnTo>
                      <a:pt x="3626" y="772"/>
                    </a:lnTo>
                    <a:lnTo>
                      <a:pt x="3622" y="776"/>
                    </a:lnTo>
                    <a:lnTo>
                      <a:pt x="3622" y="780"/>
                    </a:lnTo>
                    <a:lnTo>
                      <a:pt x="3624" y="782"/>
                    </a:lnTo>
                    <a:lnTo>
                      <a:pt x="3626" y="786"/>
                    </a:lnTo>
                    <a:lnTo>
                      <a:pt x="3634" y="794"/>
                    </a:lnTo>
                    <a:lnTo>
                      <a:pt x="3640" y="802"/>
                    </a:lnTo>
                    <a:lnTo>
                      <a:pt x="3644" y="814"/>
                    </a:lnTo>
                    <a:lnTo>
                      <a:pt x="3644" y="814"/>
                    </a:lnTo>
                    <a:lnTo>
                      <a:pt x="3648" y="824"/>
                    </a:lnTo>
                    <a:lnTo>
                      <a:pt x="3650" y="832"/>
                    </a:lnTo>
                    <a:lnTo>
                      <a:pt x="3650" y="840"/>
                    </a:lnTo>
                    <a:lnTo>
                      <a:pt x="3648" y="844"/>
                    </a:lnTo>
                    <a:lnTo>
                      <a:pt x="3642" y="854"/>
                    </a:lnTo>
                    <a:lnTo>
                      <a:pt x="3636" y="870"/>
                    </a:lnTo>
                    <a:lnTo>
                      <a:pt x="3636" y="870"/>
                    </a:lnTo>
                    <a:lnTo>
                      <a:pt x="3634" y="878"/>
                    </a:lnTo>
                    <a:lnTo>
                      <a:pt x="3630" y="882"/>
                    </a:lnTo>
                    <a:lnTo>
                      <a:pt x="3620" y="888"/>
                    </a:lnTo>
                    <a:lnTo>
                      <a:pt x="3616" y="890"/>
                    </a:lnTo>
                    <a:lnTo>
                      <a:pt x="3612" y="894"/>
                    </a:lnTo>
                    <a:lnTo>
                      <a:pt x="3610" y="900"/>
                    </a:lnTo>
                    <a:lnTo>
                      <a:pt x="3606" y="910"/>
                    </a:lnTo>
                    <a:lnTo>
                      <a:pt x="3606" y="910"/>
                    </a:lnTo>
                    <a:lnTo>
                      <a:pt x="3606" y="916"/>
                    </a:lnTo>
                    <a:lnTo>
                      <a:pt x="3608" y="920"/>
                    </a:lnTo>
                    <a:lnTo>
                      <a:pt x="3614" y="926"/>
                    </a:lnTo>
                    <a:lnTo>
                      <a:pt x="3622" y="932"/>
                    </a:lnTo>
                    <a:lnTo>
                      <a:pt x="3634" y="940"/>
                    </a:lnTo>
                    <a:lnTo>
                      <a:pt x="3648" y="950"/>
                    </a:lnTo>
                    <a:lnTo>
                      <a:pt x="3660" y="964"/>
                    </a:lnTo>
                    <a:lnTo>
                      <a:pt x="3666" y="972"/>
                    </a:lnTo>
                    <a:lnTo>
                      <a:pt x="3672" y="984"/>
                    </a:lnTo>
                    <a:lnTo>
                      <a:pt x="3678" y="996"/>
                    </a:lnTo>
                    <a:lnTo>
                      <a:pt x="3684" y="1010"/>
                    </a:lnTo>
                    <a:lnTo>
                      <a:pt x="3684" y="1010"/>
                    </a:lnTo>
                    <a:lnTo>
                      <a:pt x="3686" y="1026"/>
                    </a:lnTo>
                    <a:lnTo>
                      <a:pt x="3688" y="1040"/>
                    </a:lnTo>
                    <a:lnTo>
                      <a:pt x="3688" y="1052"/>
                    </a:lnTo>
                    <a:lnTo>
                      <a:pt x="3684" y="1066"/>
                    </a:lnTo>
                    <a:lnTo>
                      <a:pt x="3680" y="1078"/>
                    </a:lnTo>
                    <a:lnTo>
                      <a:pt x="3674" y="1088"/>
                    </a:lnTo>
                    <a:lnTo>
                      <a:pt x="3668" y="1100"/>
                    </a:lnTo>
                    <a:lnTo>
                      <a:pt x="3660" y="1108"/>
                    </a:lnTo>
                    <a:lnTo>
                      <a:pt x="3642" y="1126"/>
                    </a:lnTo>
                    <a:lnTo>
                      <a:pt x="3624" y="1140"/>
                    </a:lnTo>
                    <a:lnTo>
                      <a:pt x="3604" y="1150"/>
                    </a:lnTo>
                    <a:lnTo>
                      <a:pt x="3584" y="1158"/>
                    </a:lnTo>
                    <a:lnTo>
                      <a:pt x="3584" y="1158"/>
                    </a:lnTo>
                    <a:lnTo>
                      <a:pt x="3570" y="1166"/>
                    </a:lnTo>
                    <a:lnTo>
                      <a:pt x="3562" y="1172"/>
                    </a:lnTo>
                    <a:lnTo>
                      <a:pt x="3562" y="1174"/>
                    </a:lnTo>
                    <a:lnTo>
                      <a:pt x="3562" y="1176"/>
                    </a:lnTo>
                    <a:lnTo>
                      <a:pt x="3566" y="1184"/>
                    </a:lnTo>
                    <a:lnTo>
                      <a:pt x="3572" y="1190"/>
                    </a:lnTo>
                    <a:lnTo>
                      <a:pt x="3578" y="1200"/>
                    </a:lnTo>
                    <a:lnTo>
                      <a:pt x="3582" y="1212"/>
                    </a:lnTo>
                    <a:lnTo>
                      <a:pt x="3584" y="1220"/>
                    </a:lnTo>
                    <a:lnTo>
                      <a:pt x="3584" y="1228"/>
                    </a:lnTo>
                    <a:lnTo>
                      <a:pt x="3584" y="1228"/>
                    </a:lnTo>
                    <a:lnTo>
                      <a:pt x="3586" y="1244"/>
                    </a:lnTo>
                    <a:lnTo>
                      <a:pt x="3588" y="1260"/>
                    </a:lnTo>
                    <a:lnTo>
                      <a:pt x="3598" y="1290"/>
                    </a:lnTo>
                    <a:lnTo>
                      <a:pt x="3602" y="1302"/>
                    </a:lnTo>
                    <a:lnTo>
                      <a:pt x="3604" y="1314"/>
                    </a:lnTo>
                    <a:lnTo>
                      <a:pt x="3604" y="1324"/>
                    </a:lnTo>
                    <a:lnTo>
                      <a:pt x="3600" y="1328"/>
                    </a:lnTo>
                    <a:lnTo>
                      <a:pt x="3598" y="1330"/>
                    </a:lnTo>
                    <a:lnTo>
                      <a:pt x="3598" y="1330"/>
                    </a:lnTo>
                    <a:lnTo>
                      <a:pt x="3594" y="1334"/>
                    </a:lnTo>
                    <a:lnTo>
                      <a:pt x="3592" y="1336"/>
                    </a:lnTo>
                    <a:lnTo>
                      <a:pt x="3590" y="1344"/>
                    </a:lnTo>
                    <a:lnTo>
                      <a:pt x="3592" y="1352"/>
                    </a:lnTo>
                    <a:lnTo>
                      <a:pt x="3594" y="1358"/>
                    </a:lnTo>
                    <a:lnTo>
                      <a:pt x="3596" y="1362"/>
                    </a:lnTo>
                    <a:lnTo>
                      <a:pt x="3594" y="1366"/>
                    </a:lnTo>
                    <a:lnTo>
                      <a:pt x="3590" y="1364"/>
                    </a:lnTo>
                    <a:lnTo>
                      <a:pt x="3580" y="1358"/>
                    </a:lnTo>
                    <a:lnTo>
                      <a:pt x="3580" y="1358"/>
                    </a:lnTo>
                    <a:lnTo>
                      <a:pt x="3570" y="1354"/>
                    </a:lnTo>
                    <a:lnTo>
                      <a:pt x="3568" y="1354"/>
                    </a:lnTo>
                    <a:lnTo>
                      <a:pt x="3566" y="1356"/>
                    </a:lnTo>
                    <a:lnTo>
                      <a:pt x="3562" y="1362"/>
                    </a:lnTo>
                    <a:lnTo>
                      <a:pt x="3562" y="1370"/>
                    </a:lnTo>
                    <a:lnTo>
                      <a:pt x="3562" y="1376"/>
                    </a:lnTo>
                    <a:lnTo>
                      <a:pt x="3560" y="1382"/>
                    </a:lnTo>
                    <a:lnTo>
                      <a:pt x="3558" y="1384"/>
                    </a:lnTo>
                    <a:lnTo>
                      <a:pt x="3554" y="1384"/>
                    </a:lnTo>
                    <a:lnTo>
                      <a:pt x="3546" y="1380"/>
                    </a:lnTo>
                    <a:lnTo>
                      <a:pt x="3546" y="1380"/>
                    </a:lnTo>
                    <a:lnTo>
                      <a:pt x="3536" y="1372"/>
                    </a:lnTo>
                    <a:lnTo>
                      <a:pt x="3530" y="1366"/>
                    </a:lnTo>
                    <a:lnTo>
                      <a:pt x="3522" y="1352"/>
                    </a:lnTo>
                    <a:lnTo>
                      <a:pt x="3516" y="1342"/>
                    </a:lnTo>
                    <a:lnTo>
                      <a:pt x="3508" y="1332"/>
                    </a:lnTo>
                    <a:lnTo>
                      <a:pt x="3494" y="1316"/>
                    </a:lnTo>
                    <a:lnTo>
                      <a:pt x="3474" y="1298"/>
                    </a:lnTo>
                    <a:lnTo>
                      <a:pt x="3474" y="1298"/>
                    </a:lnTo>
                    <a:lnTo>
                      <a:pt x="3464" y="1286"/>
                    </a:lnTo>
                    <a:lnTo>
                      <a:pt x="3458" y="1276"/>
                    </a:lnTo>
                    <a:lnTo>
                      <a:pt x="3456" y="1266"/>
                    </a:lnTo>
                    <a:lnTo>
                      <a:pt x="3456" y="1254"/>
                    </a:lnTo>
                    <a:lnTo>
                      <a:pt x="3456" y="1234"/>
                    </a:lnTo>
                    <a:lnTo>
                      <a:pt x="3456" y="1222"/>
                    </a:lnTo>
                    <a:lnTo>
                      <a:pt x="3454" y="1210"/>
                    </a:lnTo>
                    <a:lnTo>
                      <a:pt x="3454" y="1210"/>
                    </a:lnTo>
                    <a:lnTo>
                      <a:pt x="3450" y="1194"/>
                    </a:lnTo>
                    <a:lnTo>
                      <a:pt x="3450" y="1182"/>
                    </a:lnTo>
                    <a:lnTo>
                      <a:pt x="3454" y="1172"/>
                    </a:lnTo>
                    <a:lnTo>
                      <a:pt x="3456" y="1162"/>
                    </a:lnTo>
                    <a:lnTo>
                      <a:pt x="3458" y="1154"/>
                    </a:lnTo>
                    <a:lnTo>
                      <a:pt x="3456" y="1148"/>
                    </a:lnTo>
                    <a:lnTo>
                      <a:pt x="3452" y="1142"/>
                    </a:lnTo>
                    <a:lnTo>
                      <a:pt x="3440" y="1138"/>
                    </a:lnTo>
                    <a:lnTo>
                      <a:pt x="3440" y="1138"/>
                    </a:lnTo>
                    <a:lnTo>
                      <a:pt x="3414" y="1134"/>
                    </a:lnTo>
                    <a:lnTo>
                      <a:pt x="3394" y="1130"/>
                    </a:lnTo>
                    <a:lnTo>
                      <a:pt x="3378" y="1130"/>
                    </a:lnTo>
                    <a:lnTo>
                      <a:pt x="3368" y="1130"/>
                    </a:lnTo>
                    <a:lnTo>
                      <a:pt x="3354" y="1132"/>
                    </a:lnTo>
                    <a:lnTo>
                      <a:pt x="3346" y="1132"/>
                    </a:lnTo>
                    <a:lnTo>
                      <a:pt x="3340" y="1130"/>
                    </a:lnTo>
                    <a:lnTo>
                      <a:pt x="3340" y="1130"/>
                    </a:lnTo>
                    <a:lnTo>
                      <a:pt x="3334" y="1128"/>
                    </a:lnTo>
                    <a:lnTo>
                      <a:pt x="3330" y="1124"/>
                    </a:lnTo>
                    <a:lnTo>
                      <a:pt x="3322" y="1116"/>
                    </a:lnTo>
                    <a:lnTo>
                      <a:pt x="3316" y="1110"/>
                    </a:lnTo>
                    <a:lnTo>
                      <a:pt x="3306" y="1104"/>
                    </a:lnTo>
                    <a:lnTo>
                      <a:pt x="3290" y="1098"/>
                    </a:lnTo>
                    <a:lnTo>
                      <a:pt x="3268" y="1092"/>
                    </a:lnTo>
                    <a:lnTo>
                      <a:pt x="3268" y="1092"/>
                    </a:lnTo>
                    <a:lnTo>
                      <a:pt x="3246" y="1084"/>
                    </a:lnTo>
                    <a:lnTo>
                      <a:pt x="3236" y="1078"/>
                    </a:lnTo>
                    <a:lnTo>
                      <a:pt x="3232" y="1072"/>
                    </a:lnTo>
                    <a:lnTo>
                      <a:pt x="3230" y="1066"/>
                    </a:lnTo>
                    <a:lnTo>
                      <a:pt x="3226" y="1058"/>
                    </a:lnTo>
                    <a:lnTo>
                      <a:pt x="3216" y="1048"/>
                    </a:lnTo>
                    <a:lnTo>
                      <a:pt x="3198" y="1036"/>
                    </a:lnTo>
                    <a:lnTo>
                      <a:pt x="3166" y="1022"/>
                    </a:lnTo>
                    <a:lnTo>
                      <a:pt x="3166" y="1022"/>
                    </a:lnTo>
                    <a:lnTo>
                      <a:pt x="3146" y="1016"/>
                    </a:lnTo>
                    <a:lnTo>
                      <a:pt x="3130" y="1012"/>
                    </a:lnTo>
                    <a:lnTo>
                      <a:pt x="3114" y="1010"/>
                    </a:lnTo>
                    <a:lnTo>
                      <a:pt x="3102" y="1010"/>
                    </a:lnTo>
                    <a:lnTo>
                      <a:pt x="3090" y="1012"/>
                    </a:lnTo>
                    <a:lnTo>
                      <a:pt x="3080" y="1014"/>
                    </a:lnTo>
                    <a:lnTo>
                      <a:pt x="3064" y="1020"/>
                    </a:lnTo>
                    <a:lnTo>
                      <a:pt x="3052" y="1026"/>
                    </a:lnTo>
                    <a:lnTo>
                      <a:pt x="3046" y="1028"/>
                    </a:lnTo>
                    <a:lnTo>
                      <a:pt x="3044" y="1026"/>
                    </a:lnTo>
                    <a:lnTo>
                      <a:pt x="3042" y="1022"/>
                    </a:lnTo>
                    <a:lnTo>
                      <a:pt x="3040" y="1008"/>
                    </a:lnTo>
                    <a:lnTo>
                      <a:pt x="3040" y="1008"/>
                    </a:lnTo>
                    <a:lnTo>
                      <a:pt x="3040" y="992"/>
                    </a:lnTo>
                    <a:lnTo>
                      <a:pt x="3038" y="978"/>
                    </a:lnTo>
                    <a:lnTo>
                      <a:pt x="3032" y="962"/>
                    </a:lnTo>
                    <a:lnTo>
                      <a:pt x="3026" y="948"/>
                    </a:lnTo>
                    <a:lnTo>
                      <a:pt x="3024" y="938"/>
                    </a:lnTo>
                    <a:lnTo>
                      <a:pt x="3020" y="928"/>
                    </a:lnTo>
                    <a:lnTo>
                      <a:pt x="3020" y="928"/>
                    </a:lnTo>
                    <a:lnTo>
                      <a:pt x="3018" y="922"/>
                    </a:lnTo>
                    <a:lnTo>
                      <a:pt x="3016" y="918"/>
                    </a:lnTo>
                    <a:lnTo>
                      <a:pt x="3012" y="914"/>
                    </a:lnTo>
                    <a:lnTo>
                      <a:pt x="3008" y="914"/>
                    </a:lnTo>
                    <a:lnTo>
                      <a:pt x="2998" y="912"/>
                    </a:lnTo>
                    <a:lnTo>
                      <a:pt x="2986" y="912"/>
                    </a:lnTo>
                    <a:lnTo>
                      <a:pt x="2974" y="910"/>
                    </a:lnTo>
                    <a:lnTo>
                      <a:pt x="2968" y="908"/>
                    </a:lnTo>
                    <a:lnTo>
                      <a:pt x="2962" y="904"/>
                    </a:lnTo>
                    <a:lnTo>
                      <a:pt x="2958" y="898"/>
                    </a:lnTo>
                    <a:lnTo>
                      <a:pt x="2954" y="890"/>
                    </a:lnTo>
                    <a:lnTo>
                      <a:pt x="2950" y="882"/>
                    </a:lnTo>
                    <a:lnTo>
                      <a:pt x="2948" y="868"/>
                    </a:lnTo>
                    <a:lnTo>
                      <a:pt x="2948" y="868"/>
                    </a:lnTo>
                    <a:lnTo>
                      <a:pt x="2948" y="854"/>
                    </a:lnTo>
                    <a:lnTo>
                      <a:pt x="2948" y="840"/>
                    </a:lnTo>
                    <a:lnTo>
                      <a:pt x="2952" y="824"/>
                    </a:lnTo>
                    <a:lnTo>
                      <a:pt x="2956" y="808"/>
                    </a:lnTo>
                    <a:lnTo>
                      <a:pt x="2968" y="778"/>
                    </a:lnTo>
                    <a:lnTo>
                      <a:pt x="2982" y="750"/>
                    </a:lnTo>
                    <a:lnTo>
                      <a:pt x="2998" y="724"/>
                    </a:lnTo>
                    <a:lnTo>
                      <a:pt x="3014" y="706"/>
                    </a:lnTo>
                    <a:lnTo>
                      <a:pt x="3026" y="692"/>
                    </a:lnTo>
                    <a:lnTo>
                      <a:pt x="3030" y="690"/>
                    </a:lnTo>
                    <a:lnTo>
                      <a:pt x="3034" y="690"/>
                    </a:lnTo>
                    <a:lnTo>
                      <a:pt x="3034" y="690"/>
                    </a:lnTo>
                    <a:lnTo>
                      <a:pt x="3038" y="688"/>
                    </a:lnTo>
                    <a:lnTo>
                      <a:pt x="3042" y="684"/>
                    </a:lnTo>
                    <a:lnTo>
                      <a:pt x="3044" y="670"/>
                    </a:lnTo>
                    <a:lnTo>
                      <a:pt x="3048" y="662"/>
                    </a:lnTo>
                    <a:lnTo>
                      <a:pt x="3052" y="654"/>
                    </a:lnTo>
                    <a:lnTo>
                      <a:pt x="3060" y="648"/>
                    </a:lnTo>
                    <a:lnTo>
                      <a:pt x="3070" y="646"/>
                    </a:lnTo>
                    <a:lnTo>
                      <a:pt x="3070" y="646"/>
                    </a:lnTo>
                    <a:lnTo>
                      <a:pt x="3096" y="644"/>
                    </a:lnTo>
                    <a:lnTo>
                      <a:pt x="3106" y="640"/>
                    </a:lnTo>
                    <a:lnTo>
                      <a:pt x="3116" y="636"/>
                    </a:lnTo>
                    <a:lnTo>
                      <a:pt x="3120" y="630"/>
                    </a:lnTo>
                    <a:lnTo>
                      <a:pt x="3120" y="624"/>
                    </a:lnTo>
                    <a:lnTo>
                      <a:pt x="3116" y="614"/>
                    </a:lnTo>
                    <a:lnTo>
                      <a:pt x="3106" y="604"/>
                    </a:lnTo>
                    <a:lnTo>
                      <a:pt x="3106" y="604"/>
                    </a:lnTo>
                    <a:lnTo>
                      <a:pt x="3098" y="596"/>
                    </a:lnTo>
                    <a:lnTo>
                      <a:pt x="3098" y="594"/>
                    </a:lnTo>
                    <a:lnTo>
                      <a:pt x="3098" y="592"/>
                    </a:lnTo>
                    <a:lnTo>
                      <a:pt x="3104" y="590"/>
                    </a:lnTo>
                    <a:lnTo>
                      <a:pt x="3112" y="590"/>
                    </a:lnTo>
                    <a:lnTo>
                      <a:pt x="3124" y="590"/>
                    </a:lnTo>
                    <a:lnTo>
                      <a:pt x="3136" y="586"/>
                    </a:lnTo>
                    <a:lnTo>
                      <a:pt x="3140" y="584"/>
                    </a:lnTo>
                    <a:lnTo>
                      <a:pt x="3144" y="580"/>
                    </a:lnTo>
                    <a:lnTo>
                      <a:pt x="3148" y="576"/>
                    </a:lnTo>
                    <a:lnTo>
                      <a:pt x="3150" y="568"/>
                    </a:lnTo>
                    <a:lnTo>
                      <a:pt x="3150" y="568"/>
                    </a:lnTo>
                    <a:lnTo>
                      <a:pt x="3152" y="562"/>
                    </a:lnTo>
                    <a:lnTo>
                      <a:pt x="3154" y="558"/>
                    </a:lnTo>
                    <a:lnTo>
                      <a:pt x="3156" y="556"/>
                    </a:lnTo>
                    <a:lnTo>
                      <a:pt x="3158" y="556"/>
                    </a:lnTo>
                    <a:lnTo>
                      <a:pt x="3166" y="560"/>
                    </a:lnTo>
                    <a:lnTo>
                      <a:pt x="3176" y="566"/>
                    </a:lnTo>
                    <a:lnTo>
                      <a:pt x="3188" y="570"/>
                    </a:lnTo>
                    <a:lnTo>
                      <a:pt x="3194" y="572"/>
                    </a:lnTo>
                    <a:lnTo>
                      <a:pt x="3200" y="570"/>
                    </a:lnTo>
                    <a:lnTo>
                      <a:pt x="3206" y="568"/>
                    </a:lnTo>
                    <a:lnTo>
                      <a:pt x="3214" y="562"/>
                    </a:lnTo>
                    <a:lnTo>
                      <a:pt x="3220" y="554"/>
                    </a:lnTo>
                    <a:lnTo>
                      <a:pt x="3228" y="542"/>
                    </a:lnTo>
                    <a:lnTo>
                      <a:pt x="3228" y="542"/>
                    </a:lnTo>
                    <a:lnTo>
                      <a:pt x="3242" y="520"/>
                    </a:lnTo>
                    <a:lnTo>
                      <a:pt x="3252" y="506"/>
                    </a:lnTo>
                    <a:lnTo>
                      <a:pt x="3258" y="496"/>
                    </a:lnTo>
                    <a:lnTo>
                      <a:pt x="3260" y="492"/>
                    </a:lnTo>
                    <a:lnTo>
                      <a:pt x="3258" y="490"/>
                    </a:lnTo>
                    <a:lnTo>
                      <a:pt x="3256" y="488"/>
                    </a:lnTo>
                    <a:lnTo>
                      <a:pt x="3244" y="486"/>
                    </a:lnTo>
                    <a:lnTo>
                      <a:pt x="3228" y="484"/>
                    </a:lnTo>
                    <a:lnTo>
                      <a:pt x="3204" y="478"/>
                    </a:lnTo>
                    <a:lnTo>
                      <a:pt x="3204" y="478"/>
                    </a:lnTo>
                    <a:lnTo>
                      <a:pt x="3186" y="474"/>
                    </a:lnTo>
                    <a:lnTo>
                      <a:pt x="3176" y="470"/>
                    </a:lnTo>
                    <a:lnTo>
                      <a:pt x="3170" y="464"/>
                    </a:lnTo>
                    <a:lnTo>
                      <a:pt x="3164" y="460"/>
                    </a:lnTo>
                    <a:lnTo>
                      <a:pt x="3154" y="450"/>
                    </a:lnTo>
                    <a:lnTo>
                      <a:pt x="3144" y="444"/>
                    </a:lnTo>
                    <a:lnTo>
                      <a:pt x="3132" y="438"/>
                    </a:lnTo>
                    <a:lnTo>
                      <a:pt x="3132" y="438"/>
                    </a:lnTo>
                    <a:lnTo>
                      <a:pt x="3140" y="438"/>
                    </a:lnTo>
                    <a:lnTo>
                      <a:pt x="3148" y="438"/>
                    </a:lnTo>
                    <a:lnTo>
                      <a:pt x="3158" y="440"/>
                    </a:lnTo>
                    <a:lnTo>
                      <a:pt x="3166" y="442"/>
                    </a:lnTo>
                    <a:lnTo>
                      <a:pt x="3184" y="452"/>
                    </a:lnTo>
                    <a:lnTo>
                      <a:pt x="3202" y="462"/>
                    </a:lnTo>
                    <a:lnTo>
                      <a:pt x="3220" y="470"/>
                    </a:lnTo>
                    <a:lnTo>
                      <a:pt x="3230" y="472"/>
                    </a:lnTo>
                    <a:lnTo>
                      <a:pt x="3238" y="474"/>
                    </a:lnTo>
                    <a:lnTo>
                      <a:pt x="3246" y="474"/>
                    </a:lnTo>
                    <a:lnTo>
                      <a:pt x="3254" y="472"/>
                    </a:lnTo>
                    <a:lnTo>
                      <a:pt x="3262" y="466"/>
                    </a:lnTo>
                    <a:lnTo>
                      <a:pt x="3270" y="460"/>
                    </a:lnTo>
                    <a:lnTo>
                      <a:pt x="3270" y="460"/>
                    </a:lnTo>
                    <a:lnTo>
                      <a:pt x="3296" y="434"/>
                    </a:lnTo>
                    <a:lnTo>
                      <a:pt x="3302" y="426"/>
                    </a:lnTo>
                    <a:lnTo>
                      <a:pt x="3304" y="420"/>
                    </a:lnTo>
                    <a:lnTo>
                      <a:pt x="3304" y="416"/>
                    </a:lnTo>
                    <a:lnTo>
                      <a:pt x="3298" y="412"/>
                    </a:lnTo>
                    <a:lnTo>
                      <a:pt x="3278" y="402"/>
                    </a:lnTo>
                    <a:lnTo>
                      <a:pt x="3278" y="402"/>
                    </a:lnTo>
                    <a:lnTo>
                      <a:pt x="3270" y="394"/>
                    </a:lnTo>
                    <a:lnTo>
                      <a:pt x="3270" y="392"/>
                    </a:lnTo>
                    <a:lnTo>
                      <a:pt x="3270" y="390"/>
                    </a:lnTo>
                    <a:lnTo>
                      <a:pt x="3278" y="388"/>
                    </a:lnTo>
                    <a:lnTo>
                      <a:pt x="3288" y="388"/>
                    </a:lnTo>
                    <a:lnTo>
                      <a:pt x="3302" y="388"/>
                    </a:lnTo>
                    <a:lnTo>
                      <a:pt x="3316" y="390"/>
                    </a:lnTo>
                    <a:lnTo>
                      <a:pt x="3328" y="394"/>
                    </a:lnTo>
                    <a:lnTo>
                      <a:pt x="3336" y="400"/>
                    </a:lnTo>
                    <a:lnTo>
                      <a:pt x="3336" y="400"/>
                    </a:lnTo>
                    <a:lnTo>
                      <a:pt x="3346" y="410"/>
                    </a:lnTo>
                    <a:lnTo>
                      <a:pt x="3356" y="418"/>
                    </a:lnTo>
                    <a:lnTo>
                      <a:pt x="3366" y="426"/>
                    </a:lnTo>
                    <a:lnTo>
                      <a:pt x="3374" y="438"/>
                    </a:lnTo>
                    <a:lnTo>
                      <a:pt x="3374" y="438"/>
                    </a:lnTo>
                    <a:lnTo>
                      <a:pt x="3380" y="448"/>
                    </a:lnTo>
                    <a:lnTo>
                      <a:pt x="3388" y="452"/>
                    </a:lnTo>
                    <a:lnTo>
                      <a:pt x="3398" y="454"/>
                    </a:lnTo>
                    <a:lnTo>
                      <a:pt x="3410" y="452"/>
                    </a:lnTo>
                    <a:lnTo>
                      <a:pt x="3410" y="452"/>
                    </a:lnTo>
                    <a:lnTo>
                      <a:pt x="3412" y="450"/>
                    </a:lnTo>
                    <a:lnTo>
                      <a:pt x="3414" y="448"/>
                    </a:lnTo>
                    <a:lnTo>
                      <a:pt x="3412" y="444"/>
                    </a:lnTo>
                    <a:lnTo>
                      <a:pt x="3398" y="436"/>
                    </a:lnTo>
                    <a:lnTo>
                      <a:pt x="3392" y="432"/>
                    </a:lnTo>
                    <a:lnTo>
                      <a:pt x="3386" y="426"/>
                    </a:lnTo>
                    <a:lnTo>
                      <a:pt x="3384" y="424"/>
                    </a:lnTo>
                    <a:lnTo>
                      <a:pt x="3384" y="422"/>
                    </a:lnTo>
                    <a:lnTo>
                      <a:pt x="3386" y="418"/>
                    </a:lnTo>
                    <a:lnTo>
                      <a:pt x="3390" y="416"/>
                    </a:lnTo>
                    <a:lnTo>
                      <a:pt x="3390" y="416"/>
                    </a:lnTo>
                    <a:lnTo>
                      <a:pt x="3398" y="412"/>
                    </a:lnTo>
                    <a:lnTo>
                      <a:pt x="3404" y="406"/>
                    </a:lnTo>
                    <a:lnTo>
                      <a:pt x="3414" y="396"/>
                    </a:lnTo>
                    <a:lnTo>
                      <a:pt x="3426" y="388"/>
                    </a:lnTo>
                    <a:lnTo>
                      <a:pt x="3432" y="386"/>
                    </a:lnTo>
                    <a:lnTo>
                      <a:pt x="3438" y="386"/>
                    </a:lnTo>
                    <a:lnTo>
                      <a:pt x="3438" y="386"/>
                    </a:lnTo>
                    <a:lnTo>
                      <a:pt x="3444" y="386"/>
                    </a:lnTo>
                    <a:lnTo>
                      <a:pt x="3450" y="384"/>
                    </a:lnTo>
                    <a:lnTo>
                      <a:pt x="3456" y="380"/>
                    </a:lnTo>
                    <a:lnTo>
                      <a:pt x="3460" y="374"/>
                    </a:lnTo>
                    <a:lnTo>
                      <a:pt x="3468" y="364"/>
                    </a:lnTo>
                    <a:lnTo>
                      <a:pt x="3474" y="360"/>
                    </a:lnTo>
                    <a:lnTo>
                      <a:pt x="3478" y="360"/>
                    </a:lnTo>
                    <a:lnTo>
                      <a:pt x="3478" y="360"/>
                    </a:lnTo>
                    <a:lnTo>
                      <a:pt x="3484" y="358"/>
                    </a:lnTo>
                    <a:lnTo>
                      <a:pt x="3490" y="354"/>
                    </a:lnTo>
                    <a:lnTo>
                      <a:pt x="3492" y="348"/>
                    </a:lnTo>
                    <a:lnTo>
                      <a:pt x="3494" y="342"/>
                    </a:lnTo>
                    <a:lnTo>
                      <a:pt x="3492" y="334"/>
                    </a:lnTo>
                    <a:lnTo>
                      <a:pt x="3488" y="324"/>
                    </a:lnTo>
                    <a:lnTo>
                      <a:pt x="3482" y="316"/>
                    </a:lnTo>
                    <a:lnTo>
                      <a:pt x="3472" y="306"/>
                    </a:lnTo>
                    <a:lnTo>
                      <a:pt x="3472" y="306"/>
                    </a:lnTo>
                    <a:lnTo>
                      <a:pt x="3464" y="298"/>
                    </a:lnTo>
                    <a:lnTo>
                      <a:pt x="3460" y="292"/>
                    </a:lnTo>
                    <a:lnTo>
                      <a:pt x="3460" y="288"/>
                    </a:lnTo>
                    <a:lnTo>
                      <a:pt x="3462" y="284"/>
                    </a:lnTo>
                    <a:lnTo>
                      <a:pt x="3464" y="282"/>
                    </a:lnTo>
                    <a:lnTo>
                      <a:pt x="3466" y="278"/>
                    </a:lnTo>
                    <a:lnTo>
                      <a:pt x="3464" y="272"/>
                    </a:lnTo>
                    <a:lnTo>
                      <a:pt x="3458" y="266"/>
                    </a:lnTo>
                    <a:lnTo>
                      <a:pt x="3458" y="266"/>
                    </a:lnTo>
                    <a:lnTo>
                      <a:pt x="3452" y="260"/>
                    </a:lnTo>
                    <a:lnTo>
                      <a:pt x="3452" y="258"/>
                    </a:lnTo>
                    <a:lnTo>
                      <a:pt x="3452" y="258"/>
                    </a:lnTo>
                    <a:lnTo>
                      <a:pt x="3458" y="256"/>
                    </a:lnTo>
                    <a:lnTo>
                      <a:pt x="3466" y="256"/>
                    </a:lnTo>
                    <a:lnTo>
                      <a:pt x="3476" y="256"/>
                    </a:lnTo>
                    <a:lnTo>
                      <a:pt x="3484" y="254"/>
                    </a:lnTo>
                    <a:lnTo>
                      <a:pt x="3492" y="250"/>
                    </a:lnTo>
                    <a:lnTo>
                      <a:pt x="3494" y="248"/>
                    </a:lnTo>
                    <a:lnTo>
                      <a:pt x="3496" y="242"/>
                    </a:lnTo>
                    <a:lnTo>
                      <a:pt x="3496" y="242"/>
                    </a:lnTo>
                    <a:lnTo>
                      <a:pt x="3498" y="234"/>
                    </a:lnTo>
                    <a:lnTo>
                      <a:pt x="3496" y="230"/>
                    </a:lnTo>
                    <a:lnTo>
                      <a:pt x="3492" y="228"/>
                    </a:lnTo>
                    <a:lnTo>
                      <a:pt x="3488" y="226"/>
                    </a:lnTo>
                    <a:lnTo>
                      <a:pt x="3486" y="224"/>
                    </a:lnTo>
                    <a:lnTo>
                      <a:pt x="3484" y="222"/>
                    </a:lnTo>
                    <a:lnTo>
                      <a:pt x="3484" y="220"/>
                    </a:lnTo>
                    <a:lnTo>
                      <a:pt x="3490" y="214"/>
                    </a:lnTo>
                    <a:lnTo>
                      <a:pt x="3490" y="214"/>
                    </a:lnTo>
                    <a:lnTo>
                      <a:pt x="3492" y="206"/>
                    </a:lnTo>
                    <a:lnTo>
                      <a:pt x="3492" y="204"/>
                    </a:lnTo>
                    <a:lnTo>
                      <a:pt x="3486" y="202"/>
                    </a:lnTo>
                    <a:lnTo>
                      <a:pt x="3480" y="200"/>
                    </a:lnTo>
                    <a:lnTo>
                      <a:pt x="3472" y="198"/>
                    </a:lnTo>
                    <a:lnTo>
                      <a:pt x="3464" y="196"/>
                    </a:lnTo>
                    <a:lnTo>
                      <a:pt x="3458" y="192"/>
                    </a:lnTo>
                    <a:lnTo>
                      <a:pt x="3454" y="182"/>
                    </a:lnTo>
                    <a:lnTo>
                      <a:pt x="3454" y="182"/>
                    </a:lnTo>
                    <a:lnTo>
                      <a:pt x="3452" y="174"/>
                    </a:lnTo>
                    <a:lnTo>
                      <a:pt x="3446" y="170"/>
                    </a:lnTo>
                    <a:lnTo>
                      <a:pt x="3438" y="168"/>
                    </a:lnTo>
                    <a:lnTo>
                      <a:pt x="3428" y="168"/>
                    </a:lnTo>
                    <a:lnTo>
                      <a:pt x="3404" y="166"/>
                    </a:lnTo>
                    <a:lnTo>
                      <a:pt x="3392" y="164"/>
                    </a:lnTo>
                    <a:lnTo>
                      <a:pt x="3378" y="160"/>
                    </a:lnTo>
                    <a:lnTo>
                      <a:pt x="3378" y="160"/>
                    </a:lnTo>
                    <a:lnTo>
                      <a:pt x="3360" y="152"/>
                    </a:lnTo>
                    <a:lnTo>
                      <a:pt x="3356" y="152"/>
                    </a:lnTo>
                    <a:lnTo>
                      <a:pt x="3354" y="152"/>
                    </a:lnTo>
                    <a:lnTo>
                      <a:pt x="3348" y="156"/>
                    </a:lnTo>
                    <a:lnTo>
                      <a:pt x="3344" y="158"/>
                    </a:lnTo>
                    <a:lnTo>
                      <a:pt x="3334" y="158"/>
                    </a:lnTo>
                    <a:lnTo>
                      <a:pt x="3334" y="158"/>
                    </a:lnTo>
                    <a:lnTo>
                      <a:pt x="3326" y="160"/>
                    </a:lnTo>
                    <a:lnTo>
                      <a:pt x="3320" y="164"/>
                    </a:lnTo>
                    <a:lnTo>
                      <a:pt x="3318" y="172"/>
                    </a:lnTo>
                    <a:lnTo>
                      <a:pt x="3318" y="180"/>
                    </a:lnTo>
                    <a:lnTo>
                      <a:pt x="3322" y="190"/>
                    </a:lnTo>
                    <a:lnTo>
                      <a:pt x="3326" y="198"/>
                    </a:lnTo>
                    <a:lnTo>
                      <a:pt x="3330" y="206"/>
                    </a:lnTo>
                    <a:lnTo>
                      <a:pt x="3338" y="210"/>
                    </a:lnTo>
                    <a:lnTo>
                      <a:pt x="3338" y="210"/>
                    </a:lnTo>
                    <a:lnTo>
                      <a:pt x="3342" y="212"/>
                    </a:lnTo>
                    <a:lnTo>
                      <a:pt x="3346" y="216"/>
                    </a:lnTo>
                    <a:lnTo>
                      <a:pt x="3346" y="222"/>
                    </a:lnTo>
                    <a:lnTo>
                      <a:pt x="3344" y="226"/>
                    </a:lnTo>
                    <a:lnTo>
                      <a:pt x="3342" y="230"/>
                    </a:lnTo>
                    <a:lnTo>
                      <a:pt x="3338" y="232"/>
                    </a:lnTo>
                    <a:lnTo>
                      <a:pt x="3332" y="234"/>
                    </a:lnTo>
                    <a:lnTo>
                      <a:pt x="3326" y="234"/>
                    </a:lnTo>
                    <a:lnTo>
                      <a:pt x="3326" y="234"/>
                    </a:lnTo>
                    <a:lnTo>
                      <a:pt x="3322" y="236"/>
                    </a:lnTo>
                    <a:lnTo>
                      <a:pt x="3320" y="240"/>
                    </a:lnTo>
                    <a:lnTo>
                      <a:pt x="3318" y="256"/>
                    </a:lnTo>
                    <a:lnTo>
                      <a:pt x="3318" y="266"/>
                    </a:lnTo>
                    <a:lnTo>
                      <a:pt x="3316" y="278"/>
                    </a:lnTo>
                    <a:lnTo>
                      <a:pt x="3310" y="288"/>
                    </a:lnTo>
                    <a:lnTo>
                      <a:pt x="3300" y="296"/>
                    </a:lnTo>
                    <a:lnTo>
                      <a:pt x="3300" y="296"/>
                    </a:lnTo>
                    <a:lnTo>
                      <a:pt x="3292" y="302"/>
                    </a:lnTo>
                    <a:lnTo>
                      <a:pt x="3286" y="310"/>
                    </a:lnTo>
                    <a:lnTo>
                      <a:pt x="3284" y="316"/>
                    </a:lnTo>
                    <a:lnTo>
                      <a:pt x="3282" y="322"/>
                    </a:lnTo>
                    <a:lnTo>
                      <a:pt x="3280" y="328"/>
                    </a:lnTo>
                    <a:lnTo>
                      <a:pt x="3278" y="332"/>
                    </a:lnTo>
                    <a:lnTo>
                      <a:pt x="3274" y="338"/>
                    </a:lnTo>
                    <a:lnTo>
                      <a:pt x="3264" y="342"/>
                    </a:lnTo>
                    <a:lnTo>
                      <a:pt x="3264" y="342"/>
                    </a:lnTo>
                    <a:lnTo>
                      <a:pt x="3250" y="344"/>
                    </a:lnTo>
                    <a:lnTo>
                      <a:pt x="3246" y="344"/>
                    </a:lnTo>
                    <a:lnTo>
                      <a:pt x="3244" y="340"/>
                    </a:lnTo>
                    <a:lnTo>
                      <a:pt x="3238" y="330"/>
                    </a:lnTo>
                    <a:lnTo>
                      <a:pt x="3232" y="322"/>
                    </a:lnTo>
                    <a:lnTo>
                      <a:pt x="3222" y="312"/>
                    </a:lnTo>
                    <a:lnTo>
                      <a:pt x="3222" y="312"/>
                    </a:lnTo>
                    <a:lnTo>
                      <a:pt x="3214" y="304"/>
                    </a:lnTo>
                    <a:lnTo>
                      <a:pt x="3210" y="298"/>
                    </a:lnTo>
                    <a:lnTo>
                      <a:pt x="3212" y="292"/>
                    </a:lnTo>
                    <a:lnTo>
                      <a:pt x="3216" y="288"/>
                    </a:lnTo>
                    <a:lnTo>
                      <a:pt x="3226" y="280"/>
                    </a:lnTo>
                    <a:lnTo>
                      <a:pt x="3232" y="276"/>
                    </a:lnTo>
                    <a:lnTo>
                      <a:pt x="3234" y="270"/>
                    </a:lnTo>
                    <a:lnTo>
                      <a:pt x="3234" y="270"/>
                    </a:lnTo>
                    <a:lnTo>
                      <a:pt x="3232" y="260"/>
                    </a:lnTo>
                    <a:lnTo>
                      <a:pt x="3228" y="248"/>
                    </a:lnTo>
                    <a:lnTo>
                      <a:pt x="3220" y="234"/>
                    </a:lnTo>
                    <a:lnTo>
                      <a:pt x="3212" y="220"/>
                    </a:lnTo>
                    <a:lnTo>
                      <a:pt x="3200" y="210"/>
                    </a:lnTo>
                    <a:lnTo>
                      <a:pt x="3190" y="202"/>
                    </a:lnTo>
                    <a:lnTo>
                      <a:pt x="3184" y="200"/>
                    </a:lnTo>
                    <a:lnTo>
                      <a:pt x="3178" y="200"/>
                    </a:lnTo>
                    <a:lnTo>
                      <a:pt x="3172" y="202"/>
                    </a:lnTo>
                    <a:lnTo>
                      <a:pt x="3168" y="206"/>
                    </a:lnTo>
                    <a:lnTo>
                      <a:pt x="3168" y="206"/>
                    </a:lnTo>
                    <a:lnTo>
                      <a:pt x="3158" y="216"/>
                    </a:lnTo>
                    <a:lnTo>
                      <a:pt x="3154" y="230"/>
                    </a:lnTo>
                    <a:lnTo>
                      <a:pt x="3148" y="254"/>
                    </a:lnTo>
                    <a:lnTo>
                      <a:pt x="3146" y="262"/>
                    </a:lnTo>
                    <a:lnTo>
                      <a:pt x="3142" y="268"/>
                    </a:lnTo>
                    <a:lnTo>
                      <a:pt x="3140" y="268"/>
                    </a:lnTo>
                    <a:lnTo>
                      <a:pt x="3138" y="268"/>
                    </a:lnTo>
                    <a:lnTo>
                      <a:pt x="3130" y="260"/>
                    </a:lnTo>
                    <a:lnTo>
                      <a:pt x="3130" y="260"/>
                    </a:lnTo>
                    <a:lnTo>
                      <a:pt x="3124" y="252"/>
                    </a:lnTo>
                    <a:lnTo>
                      <a:pt x="3122" y="246"/>
                    </a:lnTo>
                    <a:lnTo>
                      <a:pt x="3122" y="242"/>
                    </a:lnTo>
                    <a:lnTo>
                      <a:pt x="3124" y="238"/>
                    </a:lnTo>
                    <a:lnTo>
                      <a:pt x="3126" y="236"/>
                    </a:lnTo>
                    <a:lnTo>
                      <a:pt x="3128" y="232"/>
                    </a:lnTo>
                    <a:lnTo>
                      <a:pt x="3124" y="226"/>
                    </a:lnTo>
                    <a:lnTo>
                      <a:pt x="3118" y="216"/>
                    </a:lnTo>
                    <a:lnTo>
                      <a:pt x="3118" y="216"/>
                    </a:lnTo>
                    <a:lnTo>
                      <a:pt x="3112" y="208"/>
                    </a:lnTo>
                    <a:lnTo>
                      <a:pt x="3110" y="204"/>
                    </a:lnTo>
                    <a:lnTo>
                      <a:pt x="3110" y="202"/>
                    </a:lnTo>
                    <a:lnTo>
                      <a:pt x="3114" y="198"/>
                    </a:lnTo>
                    <a:lnTo>
                      <a:pt x="3120" y="194"/>
                    </a:lnTo>
                    <a:lnTo>
                      <a:pt x="3126" y="192"/>
                    </a:lnTo>
                    <a:lnTo>
                      <a:pt x="3128" y="190"/>
                    </a:lnTo>
                    <a:lnTo>
                      <a:pt x="3126" y="186"/>
                    </a:lnTo>
                    <a:lnTo>
                      <a:pt x="3116" y="180"/>
                    </a:lnTo>
                    <a:lnTo>
                      <a:pt x="3116" y="180"/>
                    </a:lnTo>
                    <a:lnTo>
                      <a:pt x="3104" y="174"/>
                    </a:lnTo>
                    <a:lnTo>
                      <a:pt x="3094" y="172"/>
                    </a:lnTo>
                    <a:lnTo>
                      <a:pt x="3088" y="172"/>
                    </a:lnTo>
                    <a:lnTo>
                      <a:pt x="3082" y="174"/>
                    </a:lnTo>
                    <a:lnTo>
                      <a:pt x="3076" y="176"/>
                    </a:lnTo>
                    <a:lnTo>
                      <a:pt x="3070" y="178"/>
                    </a:lnTo>
                    <a:lnTo>
                      <a:pt x="3064" y="176"/>
                    </a:lnTo>
                    <a:lnTo>
                      <a:pt x="3054" y="172"/>
                    </a:lnTo>
                    <a:lnTo>
                      <a:pt x="3054" y="172"/>
                    </a:lnTo>
                    <a:lnTo>
                      <a:pt x="3050" y="170"/>
                    </a:lnTo>
                    <a:lnTo>
                      <a:pt x="3048" y="168"/>
                    </a:lnTo>
                    <a:lnTo>
                      <a:pt x="3048" y="164"/>
                    </a:lnTo>
                    <a:lnTo>
                      <a:pt x="3048" y="162"/>
                    </a:lnTo>
                    <a:lnTo>
                      <a:pt x="3054" y="154"/>
                    </a:lnTo>
                    <a:lnTo>
                      <a:pt x="3062" y="148"/>
                    </a:lnTo>
                    <a:lnTo>
                      <a:pt x="3076" y="134"/>
                    </a:lnTo>
                    <a:lnTo>
                      <a:pt x="3080" y="130"/>
                    </a:lnTo>
                    <a:lnTo>
                      <a:pt x="3080" y="126"/>
                    </a:lnTo>
                    <a:lnTo>
                      <a:pt x="3078" y="124"/>
                    </a:lnTo>
                    <a:lnTo>
                      <a:pt x="3078" y="124"/>
                    </a:lnTo>
                    <a:lnTo>
                      <a:pt x="3064" y="114"/>
                    </a:lnTo>
                    <a:lnTo>
                      <a:pt x="3046" y="102"/>
                    </a:lnTo>
                    <a:lnTo>
                      <a:pt x="3038" y="94"/>
                    </a:lnTo>
                    <a:lnTo>
                      <a:pt x="3032" y="86"/>
                    </a:lnTo>
                    <a:lnTo>
                      <a:pt x="3028" y="78"/>
                    </a:lnTo>
                    <a:lnTo>
                      <a:pt x="3026" y="66"/>
                    </a:lnTo>
                    <a:lnTo>
                      <a:pt x="3026" y="66"/>
                    </a:lnTo>
                    <a:lnTo>
                      <a:pt x="3026" y="62"/>
                    </a:lnTo>
                    <a:lnTo>
                      <a:pt x="3026" y="56"/>
                    </a:lnTo>
                    <a:lnTo>
                      <a:pt x="3020" y="44"/>
                    </a:lnTo>
                    <a:lnTo>
                      <a:pt x="3010" y="34"/>
                    </a:lnTo>
                    <a:lnTo>
                      <a:pt x="2998" y="24"/>
                    </a:lnTo>
                    <a:lnTo>
                      <a:pt x="2986" y="14"/>
                    </a:lnTo>
                    <a:lnTo>
                      <a:pt x="2972" y="8"/>
                    </a:lnTo>
                    <a:lnTo>
                      <a:pt x="2960" y="2"/>
                    </a:lnTo>
                    <a:lnTo>
                      <a:pt x="2948" y="0"/>
                    </a:lnTo>
                    <a:lnTo>
                      <a:pt x="2948" y="0"/>
                    </a:lnTo>
                    <a:lnTo>
                      <a:pt x="2940" y="0"/>
                    </a:lnTo>
                    <a:lnTo>
                      <a:pt x="2936" y="2"/>
                    </a:lnTo>
                    <a:lnTo>
                      <a:pt x="2934" y="4"/>
                    </a:lnTo>
                    <a:lnTo>
                      <a:pt x="2932" y="8"/>
                    </a:lnTo>
                    <a:lnTo>
                      <a:pt x="2932" y="12"/>
                    </a:lnTo>
                    <a:lnTo>
                      <a:pt x="2928" y="16"/>
                    </a:lnTo>
                    <a:lnTo>
                      <a:pt x="2924" y="20"/>
                    </a:lnTo>
                    <a:lnTo>
                      <a:pt x="2916" y="22"/>
                    </a:lnTo>
                    <a:lnTo>
                      <a:pt x="2916" y="22"/>
                    </a:lnTo>
                    <a:lnTo>
                      <a:pt x="2908" y="26"/>
                    </a:lnTo>
                    <a:lnTo>
                      <a:pt x="2904" y="28"/>
                    </a:lnTo>
                    <a:lnTo>
                      <a:pt x="2902" y="30"/>
                    </a:lnTo>
                    <a:lnTo>
                      <a:pt x="2902" y="34"/>
                    </a:lnTo>
                    <a:lnTo>
                      <a:pt x="2902" y="38"/>
                    </a:lnTo>
                    <a:lnTo>
                      <a:pt x="2900" y="42"/>
                    </a:lnTo>
                    <a:lnTo>
                      <a:pt x="2894" y="46"/>
                    </a:lnTo>
                    <a:lnTo>
                      <a:pt x="2886" y="50"/>
                    </a:lnTo>
                    <a:lnTo>
                      <a:pt x="2886" y="50"/>
                    </a:lnTo>
                    <a:lnTo>
                      <a:pt x="2878" y="56"/>
                    </a:lnTo>
                    <a:lnTo>
                      <a:pt x="2876" y="62"/>
                    </a:lnTo>
                    <a:lnTo>
                      <a:pt x="2876" y="70"/>
                    </a:lnTo>
                    <a:lnTo>
                      <a:pt x="2878" y="80"/>
                    </a:lnTo>
                    <a:lnTo>
                      <a:pt x="2886" y="98"/>
                    </a:lnTo>
                    <a:lnTo>
                      <a:pt x="2888" y="106"/>
                    </a:lnTo>
                    <a:lnTo>
                      <a:pt x="2886" y="114"/>
                    </a:lnTo>
                    <a:lnTo>
                      <a:pt x="2886" y="114"/>
                    </a:lnTo>
                    <a:lnTo>
                      <a:pt x="2884" y="128"/>
                    </a:lnTo>
                    <a:lnTo>
                      <a:pt x="2884" y="136"/>
                    </a:lnTo>
                    <a:lnTo>
                      <a:pt x="2886" y="142"/>
                    </a:lnTo>
                    <a:lnTo>
                      <a:pt x="2890" y="150"/>
                    </a:lnTo>
                    <a:lnTo>
                      <a:pt x="2898" y="156"/>
                    </a:lnTo>
                    <a:lnTo>
                      <a:pt x="2910" y="162"/>
                    </a:lnTo>
                    <a:lnTo>
                      <a:pt x="2924" y="168"/>
                    </a:lnTo>
                    <a:lnTo>
                      <a:pt x="2924" y="168"/>
                    </a:lnTo>
                    <a:lnTo>
                      <a:pt x="2940" y="172"/>
                    </a:lnTo>
                    <a:lnTo>
                      <a:pt x="2954" y="180"/>
                    </a:lnTo>
                    <a:lnTo>
                      <a:pt x="2964" y="186"/>
                    </a:lnTo>
                    <a:lnTo>
                      <a:pt x="2970" y="194"/>
                    </a:lnTo>
                    <a:lnTo>
                      <a:pt x="2974" y="202"/>
                    </a:lnTo>
                    <a:lnTo>
                      <a:pt x="2974" y="208"/>
                    </a:lnTo>
                    <a:lnTo>
                      <a:pt x="2972" y="214"/>
                    </a:lnTo>
                    <a:lnTo>
                      <a:pt x="2966" y="218"/>
                    </a:lnTo>
                    <a:lnTo>
                      <a:pt x="2966" y="218"/>
                    </a:lnTo>
                    <a:lnTo>
                      <a:pt x="2958" y="222"/>
                    </a:lnTo>
                    <a:lnTo>
                      <a:pt x="2954" y="226"/>
                    </a:lnTo>
                    <a:lnTo>
                      <a:pt x="2954" y="232"/>
                    </a:lnTo>
                    <a:lnTo>
                      <a:pt x="2956" y="234"/>
                    </a:lnTo>
                    <a:lnTo>
                      <a:pt x="2960" y="238"/>
                    </a:lnTo>
                    <a:lnTo>
                      <a:pt x="2966" y="238"/>
                    </a:lnTo>
                    <a:lnTo>
                      <a:pt x="2972" y="236"/>
                    </a:lnTo>
                    <a:lnTo>
                      <a:pt x="2980" y="234"/>
                    </a:lnTo>
                    <a:lnTo>
                      <a:pt x="2980" y="234"/>
                    </a:lnTo>
                    <a:lnTo>
                      <a:pt x="2986" y="230"/>
                    </a:lnTo>
                    <a:lnTo>
                      <a:pt x="2992" y="230"/>
                    </a:lnTo>
                    <a:lnTo>
                      <a:pt x="2996" y="232"/>
                    </a:lnTo>
                    <a:lnTo>
                      <a:pt x="2996" y="238"/>
                    </a:lnTo>
                    <a:lnTo>
                      <a:pt x="2994" y="246"/>
                    </a:lnTo>
                    <a:lnTo>
                      <a:pt x="2988" y="254"/>
                    </a:lnTo>
                    <a:lnTo>
                      <a:pt x="2980" y="262"/>
                    </a:lnTo>
                    <a:lnTo>
                      <a:pt x="2968" y="272"/>
                    </a:lnTo>
                    <a:lnTo>
                      <a:pt x="2968" y="272"/>
                    </a:lnTo>
                    <a:lnTo>
                      <a:pt x="2956" y="280"/>
                    </a:lnTo>
                    <a:lnTo>
                      <a:pt x="2946" y="282"/>
                    </a:lnTo>
                    <a:lnTo>
                      <a:pt x="2940" y="284"/>
                    </a:lnTo>
                    <a:lnTo>
                      <a:pt x="2934" y="282"/>
                    </a:lnTo>
                    <a:lnTo>
                      <a:pt x="2930" y="280"/>
                    </a:lnTo>
                    <a:lnTo>
                      <a:pt x="2928" y="282"/>
                    </a:lnTo>
                    <a:lnTo>
                      <a:pt x="2926" y="284"/>
                    </a:lnTo>
                    <a:lnTo>
                      <a:pt x="2922" y="290"/>
                    </a:lnTo>
                    <a:lnTo>
                      <a:pt x="2922" y="290"/>
                    </a:lnTo>
                    <a:lnTo>
                      <a:pt x="2920" y="300"/>
                    </a:lnTo>
                    <a:lnTo>
                      <a:pt x="2924" y="312"/>
                    </a:lnTo>
                    <a:lnTo>
                      <a:pt x="2930" y="334"/>
                    </a:lnTo>
                    <a:lnTo>
                      <a:pt x="2934" y="342"/>
                    </a:lnTo>
                    <a:lnTo>
                      <a:pt x="2934" y="348"/>
                    </a:lnTo>
                    <a:lnTo>
                      <a:pt x="2934" y="350"/>
                    </a:lnTo>
                    <a:lnTo>
                      <a:pt x="2930" y="348"/>
                    </a:lnTo>
                    <a:lnTo>
                      <a:pt x="2922" y="344"/>
                    </a:lnTo>
                    <a:lnTo>
                      <a:pt x="2922" y="344"/>
                    </a:lnTo>
                    <a:lnTo>
                      <a:pt x="2902" y="330"/>
                    </a:lnTo>
                    <a:lnTo>
                      <a:pt x="2896" y="326"/>
                    </a:lnTo>
                    <a:lnTo>
                      <a:pt x="2892" y="320"/>
                    </a:lnTo>
                    <a:lnTo>
                      <a:pt x="2892" y="316"/>
                    </a:lnTo>
                    <a:lnTo>
                      <a:pt x="2892" y="312"/>
                    </a:lnTo>
                    <a:lnTo>
                      <a:pt x="2896" y="298"/>
                    </a:lnTo>
                    <a:lnTo>
                      <a:pt x="2896" y="298"/>
                    </a:lnTo>
                    <a:lnTo>
                      <a:pt x="2900" y="286"/>
                    </a:lnTo>
                    <a:lnTo>
                      <a:pt x="2902" y="280"/>
                    </a:lnTo>
                    <a:lnTo>
                      <a:pt x="2900" y="276"/>
                    </a:lnTo>
                    <a:lnTo>
                      <a:pt x="2898" y="272"/>
                    </a:lnTo>
                    <a:lnTo>
                      <a:pt x="2892" y="270"/>
                    </a:lnTo>
                    <a:lnTo>
                      <a:pt x="2886" y="270"/>
                    </a:lnTo>
                    <a:lnTo>
                      <a:pt x="2876" y="270"/>
                    </a:lnTo>
                    <a:lnTo>
                      <a:pt x="2876" y="270"/>
                    </a:lnTo>
                    <a:lnTo>
                      <a:pt x="2866" y="270"/>
                    </a:lnTo>
                    <a:lnTo>
                      <a:pt x="2858" y="268"/>
                    </a:lnTo>
                    <a:lnTo>
                      <a:pt x="2844" y="260"/>
                    </a:lnTo>
                    <a:lnTo>
                      <a:pt x="2838" y="256"/>
                    </a:lnTo>
                    <a:lnTo>
                      <a:pt x="2830" y="254"/>
                    </a:lnTo>
                    <a:lnTo>
                      <a:pt x="2820" y="254"/>
                    </a:lnTo>
                    <a:lnTo>
                      <a:pt x="2810" y="258"/>
                    </a:lnTo>
                    <a:lnTo>
                      <a:pt x="2810" y="258"/>
                    </a:lnTo>
                    <a:lnTo>
                      <a:pt x="2800" y="264"/>
                    </a:lnTo>
                    <a:lnTo>
                      <a:pt x="2796" y="272"/>
                    </a:lnTo>
                    <a:lnTo>
                      <a:pt x="2796" y="278"/>
                    </a:lnTo>
                    <a:lnTo>
                      <a:pt x="2796" y="286"/>
                    </a:lnTo>
                    <a:lnTo>
                      <a:pt x="2798" y="292"/>
                    </a:lnTo>
                    <a:lnTo>
                      <a:pt x="2798" y="298"/>
                    </a:lnTo>
                    <a:lnTo>
                      <a:pt x="2794" y="304"/>
                    </a:lnTo>
                    <a:lnTo>
                      <a:pt x="2786" y="308"/>
                    </a:lnTo>
                    <a:lnTo>
                      <a:pt x="2786" y="308"/>
                    </a:lnTo>
                    <a:lnTo>
                      <a:pt x="2778" y="310"/>
                    </a:lnTo>
                    <a:lnTo>
                      <a:pt x="2772" y="308"/>
                    </a:lnTo>
                    <a:lnTo>
                      <a:pt x="2760" y="302"/>
                    </a:lnTo>
                    <a:lnTo>
                      <a:pt x="2752" y="300"/>
                    </a:lnTo>
                    <a:lnTo>
                      <a:pt x="2742" y="298"/>
                    </a:lnTo>
                    <a:lnTo>
                      <a:pt x="2726" y="298"/>
                    </a:lnTo>
                    <a:lnTo>
                      <a:pt x="2708" y="302"/>
                    </a:lnTo>
                    <a:lnTo>
                      <a:pt x="2708" y="302"/>
                    </a:lnTo>
                    <a:lnTo>
                      <a:pt x="2680" y="306"/>
                    </a:lnTo>
                    <a:lnTo>
                      <a:pt x="2658" y="306"/>
                    </a:lnTo>
                    <a:lnTo>
                      <a:pt x="2640" y="302"/>
                    </a:lnTo>
                    <a:lnTo>
                      <a:pt x="2626" y="298"/>
                    </a:lnTo>
                    <a:lnTo>
                      <a:pt x="2606" y="286"/>
                    </a:lnTo>
                    <a:lnTo>
                      <a:pt x="2598" y="284"/>
                    </a:lnTo>
                    <a:lnTo>
                      <a:pt x="2590" y="286"/>
                    </a:lnTo>
                    <a:lnTo>
                      <a:pt x="2590" y="286"/>
                    </a:lnTo>
                    <a:lnTo>
                      <a:pt x="2580" y="288"/>
                    </a:lnTo>
                    <a:lnTo>
                      <a:pt x="2572" y="288"/>
                    </a:lnTo>
                    <a:lnTo>
                      <a:pt x="2564" y="286"/>
                    </a:lnTo>
                    <a:lnTo>
                      <a:pt x="2556" y="282"/>
                    </a:lnTo>
                    <a:lnTo>
                      <a:pt x="2544" y="272"/>
                    </a:lnTo>
                    <a:lnTo>
                      <a:pt x="2532" y="260"/>
                    </a:lnTo>
                    <a:lnTo>
                      <a:pt x="2520" y="246"/>
                    </a:lnTo>
                    <a:lnTo>
                      <a:pt x="2510" y="234"/>
                    </a:lnTo>
                    <a:lnTo>
                      <a:pt x="2504" y="230"/>
                    </a:lnTo>
                    <a:lnTo>
                      <a:pt x="2498" y="226"/>
                    </a:lnTo>
                    <a:lnTo>
                      <a:pt x="2492" y="224"/>
                    </a:lnTo>
                    <a:lnTo>
                      <a:pt x="2486" y="224"/>
                    </a:lnTo>
                    <a:lnTo>
                      <a:pt x="2486" y="224"/>
                    </a:lnTo>
                    <a:lnTo>
                      <a:pt x="2456" y="230"/>
                    </a:lnTo>
                    <a:lnTo>
                      <a:pt x="2438" y="234"/>
                    </a:lnTo>
                    <a:lnTo>
                      <a:pt x="2422" y="240"/>
                    </a:lnTo>
                    <a:lnTo>
                      <a:pt x="2408" y="246"/>
                    </a:lnTo>
                    <a:lnTo>
                      <a:pt x="2398" y="252"/>
                    </a:lnTo>
                    <a:lnTo>
                      <a:pt x="2394" y="256"/>
                    </a:lnTo>
                    <a:lnTo>
                      <a:pt x="2392" y="262"/>
                    </a:lnTo>
                    <a:lnTo>
                      <a:pt x="2392" y="266"/>
                    </a:lnTo>
                    <a:lnTo>
                      <a:pt x="2394" y="270"/>
                    </a:lnTo>
                    <a:lnTo>
                      <a:pt x="2394" y="270"/>
                    </a:lnTo>
                    <a:lnTo>
                      <a:pt x="2398" y="274"/>
                    </a:lnTo>
                    <a:lnTo>
                      <a:pt x="2400" y="278"/>
                    </a:lnTo>
                    <a:lnTo>
                      <a:pt x="2406" y="280"/>
                    </a:lnTo>
                    <a:lnTo>
                      <a:pt x="2410" y="280"/>
                    </a:lnTo>
                    <a:lnTo>
                      <a:pt x="2420" y="278"/>
                    </a:lnTo>
                    <a:lnTo>
                      <a:pt x="2432" y="274"/>
                    </a:lnTo>
                    <a:lnTo>
                      <a:pt x="2456" y="264"/>
                    </a:lnTo>
                    <a:lnTo>
                      <a:pt x="2464" y="262"/>
                    </a:lnTo>
                    <a:lnTo>
                      <a:pt x="2468" y="262"/>
                    </a:lnTo>
                    <a:lnTo>
                      <a:pt x="2472" y="264"/>
                    </a:lnTo>
                    <a:lnTo>
                      <a:pt x="2472" y="264"/>
                    </a:lnTo>
                    <a:lnTo>
                      <a:pt x="2474" y="266"/>
                    </a:lnTo>
                    <a:lnTo>
                      <a:pt x="2476" y="268"/>
                    </a:lnTo>
                    <a:lnTo>
                      <a:pt x="2472" y="272"/>
                    </a:lnTo>
                    <a:lnTo>
                      <a:pt x="2456" y="278"/>
                    </a:lnTo>
                    <a:lnTo>
                      <a:pt x="2436" y="286"/>
                    </a:lnTo>
                    <a:lnTo>
                      <a:pt x="2428" y="292"/>
                    </a:lnTo>
                    <a:lnTo>
                      <a:pt x="2422" y="298"/>
                    </a:lnTo>
                    <a:lnTo>
                      <a:pt x="2422" y="298"/>
                    </a:lnTo>
                    <a:lnTo>
                      <a:pt x="2422" y="304"/>
                    </a:lnTo>
                    <a:lnTo>
                      <a:pt x="2424" y="308"/>
                    </a:lnTo>
                    <a:lnTo>
                      <a:pt x="2428" y="320"/>
                    </a:lnTo>
                    <a:lnTo>
                      <a:pt x="2440" y="342"/>
                    </a:lnTo>
                    <a:lnTo>
                      <a:pt x="2444" y="350"/>
                    </a:lnTo>
                    <a:lnTo>
                      <a:pt x="2444" y="352"/>
                    </a:lnTo>
                    <a:lnTo>
                      <a:pt x="2444" y="354"/>
                    </a:lnTo>
                    <a:lnTo>
                      <a:pt x="2436" y="350"/>
                    </a:lnTo>
                    <a:lnTo>
                      <a:pt x="2418" y="340"/>
                    </a:lnTo>
                    <a:lnTo>
                      <a:pt x="2418" y="340"/>
                    </a:lnTo>
                    <a:lnTo>
                      <a:pt x="2398" y="326"/>
                    </a:lnTo>
                    <a:lnTo>
                      <a:pt x="2382" y="318"/>
                    </a:lnTo>
                    <a:lnTo>
                      <a:pt x="2364" y="310"/>
                    </a:lnTo>
                    <a:lnTo>
                      <a:pt x="2354" y="306"/>
                    </a:lnTo>
                    <a:lnTo>
                      <a:pt x="2348" y="302"/>
                    </a:lnTo>
                    <a:lnTo>
                      <a:pt x="2340" y="294"/>
                    </a:lnTo>
                    <a:lnTo>
                      <a:pt x="2340" y="294"/>
                    </a:lnTo>
                    <a:lnTo>
                      <a:pt x="2334" y="288"/>
                    </a:lnTo>
                    <a:lnTo>
                      <a:pt x="2330" y="286"/>
                    </a:lnTo>
                    <a:lnTo>
                      <a:pt x="2326" y="288"/>
                    </a:lnTo>
                    <a:lnTo>
                      <a:pt x="2320" y="290"/>
                    </a:lnTo>
                    <a:lnTo>
                      <a:pt x="2314" y="296"/>
                    </a:lnTo>
                    <a:lnTo>
                      <a:pt x="2304" y="300"/>
                    </a:lnTo>
                    <a:lnTo>
                      <a:pt x="2286" y="304"/>
                    </a:lnTo>
                    <a:lnTo>
                      <a:pt x="2262" y="308"/>
                    </a:lnTo>
                    <a:lnTo>
                      <a:pt x="2262" y="308"/>
                    </a:lnTo>
                    <a:lnTo>
                      <a:pt x="2206" y="308"/>
                    </a:lnTo>
                    <a:lnTo>
                      <a:pt x="2180" y="308"/>
                    </a:lnTo>
                    <a:lnTo>
                      <a:pt x="2156" y="306"/>
                    </a:lnTo>
                    <a:lnTo>
                      <a:pt x="2140" y="302"/>
                    </a:lnTo>
                    <a:lnTo>
                      <a:pt x="2128" y="298"/>
                    </a:lnTo>
                    <a:lnTo>
                      <a:pt x="2124" y="296"/>
                    </a:lnTo>
                    <a:lnTo>
                      <a:pt x="2124" y="292"/>
                    </a:lnTo>
                    <a:lnTo>
                      <a:pt x="2126" y="288"/>
                    </a:lnTo>
                    <a:lnTo>
                      <a:pt x="2130" y="284"/>
                    </a:lnTo>
                    <a:lnTo>
                      <a:pt x="2130" y="284"/>
                    </a:lnTo>
                    <a:lnTo>
                      <a:pt x="2142" y="278"/>
                    </a:lnTo>
                    <a:lnTo>
                      <a:pt x="2154" y="274"/>
                    </a:lnTo>
                    <a:lnTo>
                      <a:pt x="2172" y="272"/>
                    </a:lnTo>
                    <a:lnTo>
                      <a:pt x="2178" y="270"/>
                    </a:lnTo>
                    <a:lnTo>
                      <a:pt x="2180" y="268"/>
                    </a:lnTo>
                    <a:lnTo>
                      <a:pt x="2178" y="264"/>
                    </a:lnTo>
                    <a:lnTo>
                      <a:pt x="2170" y="256"/>
                    </a:lnTo>
                    <a:lnTo>
                      <a:pt x="2170" y="256"/>
                    </a:lnTo>
                    <a:lnTo>
                      <a:pt x="2154" y="240"/>
                    </a:lnTo>
                    <a:lnTo>
                      <a:pt x="2144" y="232"/>
                    </a:lnTo>
                    <a:lnTo>
                      <a:pt x="2134" y="228"/>
                    </a:lnTo>
                    <a:lnTo>
                      <a:pt x="2124" y="222"/>
                    </a:lnTo>
                    <a:lnTo>
                      <a:pt x="2110" y="220"/>
                    </a:lnTo>
                    <a:lnTo>
                      <a:pt x="2096" y="220"/>
                    </a:lnTo>
                    <a:lnTo>
                      <a:pt x="2080" y="220"/>
                    </a:lnTo>
                    <a:lnTo>
                      <a:pt x="2080" y="220"/>
                    </a:lnTo>
                    <a:lnTo>
                      <a:pt x="2064" y="222"/>
                    </a:lnTo>
                    <a:lnTo>
                      <a:pt x="2046" y="220"/>
                    </a:lnTo>
                    <a:lnTo>
                      <a:pt x="2030" y="218"/>
                    </a:lnTo>
                    <a:lnTo>
                      <a:pt x="2014" y="212"/>
                    </a:lnTo>
                    <a:lnTo>
                      <a:pt x="1982" y="202"/>
                    </a:lnTo>
                    <a:lnTo>
                      <a:pt x="1948" y="194"/>
                    </a:lnTo>
                    <a:lnTo>
                      <a:pt x="1948" y="194"/>
                    </a:lnTo>
                    <a:lnTo>
                      <a:pt x="1932" y="190"/>
                    </a:lnTo>
                    <a:lnTo>
                      <a:pt x="1918" y="184"/>
                    </a:lnTo>
                    <a:lnTo>
                      <a:pt x="1890" y="172"/>
                    </a:lnTo>
                    <a:lnTo>
                      <a:pt x="1876" y="166"/>
                    </a:lnTo>
                    <a:lnTo>
                      <a:pt x="1862" y="160"/>
                    </a:lnTo>
                    <a:lnTo>
                      <a:pt x="1848" y="158"/>
                    </a:lnTo>
                    <a:lnTo>
                      <a:pt x="1832" y="158"/>
                    </a:lnTo>
                    <a:lnTo>
                      <a:pt x="1832" y="158"/>
                    </a:lnTo>
                    <a:lnTo>
                      <a:pt x="1820" y="160"/>
                    </a:lnTo>
                    <a:lnTo>
                      <a:pt x="1812" y="164"/>
                    </a:lnTo>
                    <a:lnTo>
                      <a:pt x="1808" y="170"/>
                    </a:lnTo>
                    <a:lnTo>
                      <a:pt x="1806" y="176"/>
                    </a:lnTo>
                    <a:lnTo>
                      <a:pt x="1804" y="182"/>
                    </a:lnTo>
                    <a:lnTo>
                      <a:pt x="1800" y="186"/>
                    </a:lnTo>
                    <a:lnTo>
                      <a:pt x="1792" y="188"/>
                    </a:lnTo>
                    <a:lnTo>
                      <a:pt x="1780" y="188"/>
                    </a:lnTo>
                    <a:lnTo>
                      <a:pt x="1780" y="188"/>
                    </a:lnTo>
                    <a:lnTo>
                      <a:pt x="1774" y="186"/>
                    </a:lnTo>
                    <a:lnTo>
                      <a:pt x="1768" y="184"/>
                    </a:lnTo>
                    <a:lnTo>
                      <a:pt x="1764" y="180"/>
                    </a:lnTo>
                    <a:lnTo>
                      <a:pt x="1762" y="176"/>
                    </a:lnTo>
                    <a:lnTo>
                      <a:pt x="1760" y="166"/>
                    </a:lnTo>
                    <a:lnTo>
                      <a:pt x="1760" y="156"/>
                    </a:lnTo>
                    <a:lnTo>
                      <a:pt x="1760" y="146"/>
                    </a:lnTo>
                    <a:lnTo>
                      <a:pt x="1758" y="138"/>
                    </a:lnTo>
                    <a:lnTo>
                      <a:pt x="1756" y="136"/>
                    </a:lnTo>
                    <a:lnTo>
                      <a:pt x="1750" y="134"/>
                    </a:lnTo>
                    <a:lnTo>
                      <a:pt x="1744" y="134"/>
                    </a:lnTo>
                    <a:lnTo>
                      <a:pt x="1736" y="134"/>
                    </a:lnTo>
                    <a:lnTo>
                      <a:pt x="1736" y="134"/>
                    </a:lnTo>
                    <a:lnTo>
                      <a:pt x="1732" y="136"/>
                    </a:lnTo>
                    <a:lnTo>
                      <a:pt x="1730" y="140"/>
                    </a:lnTo>
                    <a:lnTo>
                      <a:pt x="1726" y="148"/>
                    </a:lnTo>
                    <a:lnTo>
                      <a:pt x="1724" y="172"/>
                    </a:lnTo>
                    <a:lnTo>
                      <a:pt x="1720" y="182"/>
                    </a:lnTo>
                    <a:lnTo>
                      <a:pt x="1718" y="186"/>
                    </a:lnTo>
                    <a:lnTo>
                      <a:pt x="1716" y="190"/>
                    </a:lnTo>
                    <a:lnTo>
                      <a:pt x="1712" y="190"/>
                    </a:lnTo>
                    <a:lnTo>
                      <a:pt x="1706" y="190"/>
                    </a:lnTo>
                    <a:lnTo>
                      <a:pt x="1698" y="188"/>
                    </a:lnTo>
                    <a:lnTo>
                      <a:pt x="1688" y="184"/>
                    </a:lnTo>
                    <a:lnTo>
                      <a:pt x="1688" y="184"/>
                    </a:lnTo>
                    <a:lnTo>
                      <a:pt x="1684" y="182"/>
                    </a:lnTo>
                    <a:lnTo>
                      <a:pt x="1678" y="176"/>
                    </a:lnTo>
                    <a:lnTo>
                      <a:pt x="1668" y="162"/>
                    </a:lnTo>
                    <a:lnTo>
                      <a:pt x="1650" y="132"/>
                    </a:lnTo>
                    <a:lnTo>
                      <a:pt x="1640" y="116"/>
                    </a:lnTo>
                    <a:lnTo>
                      <a:pt x="1630" y="106"/>
                    </a:lnTo>
                    <a:lnTo>
                      <a:pt x="1624" y="104"/>
                    </a:lnTo>
                    <a:lnTo>
                      <a:pt x="1620" y="102"/>
                    </a:lnTo>
                    <a:lnTo>
                      <a:pt x="1614" y="102"/>
                    </a:lnTo>
                    <a:lnTo>
                      <a:pt x="1608" y="106"/>
                    </a:lnTo>
                    <a:lnTo>
                      <a:pt x="1608" y="106"/>
                    </a:lnTo>
                    <a:lnTo>
                      <a:pt x="1600" y="114"/>
                    </a:lnTo>
                    <a:lnTo>
                      <a:pt x="1598" y="116"/>
                    </a:lnTo>
                    <a:lnTo>
                      <a:pt x="1600" y="118"/>
                    </a:lnTo>
                    <a:lnTo>
                      <a:pt x="1604" y="120"/>
                    </a:lnTo>
                    <a:lnTo>
                      <a:pt x="1610" y="122"/>
                    </a:lnTo>
                    <a:lnTo>
                      <a:pt x="1616" y="124"/>
                    </a:lnTo>
                    <a:lnTo>
                      <a:pt x="1616" y="126"/>
                    </a:lnTo>
                    <a:lnTo>
                      <a:pt x="1616" y="130"/>
                    </a:lnTo>
                    <a:lnTo>
                      <a:pt x="1610" y="138"/>
                    </a:lnTo>
                    <a:lnTo>
                      <a:pt x="1592" y="150"/>
                    </a:lnTo>
                    <a:lnTo>
                      <a:pt x="1592" y="150"/>
                    </a:lnTo>
                    <a:lnTo>
                      <a:pt x="1574" y="160"/>
                    </a:lnTo>
                    <a:lnTo>
                      <a:pt x="1572" y="160"/>
                    </a:lnTo>
                    <a:lnTo>
                      <a:pt x="1570" y="158"/>
                    </a:lnTo>
                    <a:lnTo>
                      <a:pt x="1568" y="156"/>
                    </a:lnTo>
                    <a:lnTo>
                      <a:pt x="1560" y="156"/>
                    </a:lnTo>
                    <a:lnTo>
                      <a:pt x="1546" y="160"/>
                    </a:lnTo>
                    <a:lnTo>
                      <a:pt x="1522" y="168"/>
                    </a:lnTo>
                    <a:lnTo>
                      <a:pt x="1522" y="168"/>
                    </a:lnTo>
                    <a:lnTo>
                      <a:pt x="1482" y="180"/>
                    </a:lnTo>
                    <a:lnTo>
                      <a:pt x="1476" y="182"/>
                    </a:lnTo>
                    <a:lnTo>
                      <a:pt x="1476" y="180"/>
                    </a:lnTo>
                    <a:lnTo>
                      <a:pt x="1476" y="180"/>
                    </a:lnTo>
                    <a:lnTo>
                      <a:pt x="1494" y="168"/>
                    </a:lnTo>
                    <a:lnTo>
                      <a:pt x="1526" y="152"/>
                    </a:lnTo>
                    <a:lnTo>
                      <a:pt x="1526" y="152"/>
                    </a:lnTo>
                    <a:lnTo>
                      <a:pt x="1552" y="140"/>
                    </a:lnTo>
                    <a:lnTo>
                      <a:pt x="1558" y="136"/>
                    </a:lnTo>
                    <a:lnTo>
                      <a:pt x="1560" y="132"/>
                    </a:lnTo>
                    <a:lnTo>
                      <a:pt x="1560" y="132"/>
                    </a:lnTo>
                    <a:lnTo>
                      <a:pt x="1556" y="132"/>
                    </a:lnTo>
                    <a:lnTo>
                      <a:pt x="1538" y="134"/>
                    </a:lnTo>
                    <a:lnTo>
                      <a:pt x="1538" y="134"/>
                    </a:lnTo>
                    <a:lnTo>
                      <a:pt x="1530" y="136"/>
                    </a:lnTo>
                    <a:lnTo>
                      <a:pt x="1522" y="134"/>
                    </a:lnTo>
                    <a:lnTo>
                      <a:pt x="1510" y="134"/>
                    </a:lnTo>
                    <a:lnTo>
                      <a:pt x="1506" y="134"/>
                    </a:lnTo>
                    <a:lnTo>
                      <a:pt x="1498" y="136"/>
                    </a:lnTo>
                    <a:lnTo>
                      <a:pt x="1488" y="140"/>
                    </a:lnTo>
                    <a:lnTo>
                      <a:pt x="1474" y="148"/>
                    </a:lnTo>
                    <a:lnTo>
                      <a:pt x="1474" y="148"/>
                    </a:lnTo>
                    <a:lnTo>
                      <a:pt x="1462" y="156"/>
                    </a:lnTo>
                    <a:lnTo>
                      <a:pt x="1454" y="160"/>
                    </a:lnTo>
                    <a:lnTo>
                      <a:pt x="1448" y="160"/>
                    </a:lnTo>
                    <a:lnTo>
                      <a:pt x="1442" y="162"/>
                    </a:lnTo>
                    <a:lnTo>
                      <a:pt x="1438" y="162"/>
                    </a:lnTo>
                    <a:lnTo>
                      <a:pt x="1432" y="164"/>
                    </a:lnTo>
                    <a:lnTo>
                      <a:pt x="1422" y="168"/>
                    </a:lnTo>
                    <a:lnTo>
                      <a:pt x="1406" y="178"/>
                    </a:lnTo>
                    <a:lnTo>
                      <a:pt x="1406" y="178"/>
                    </a:lnTo>
                    <a:lnTo>
                      <a:pt x="1378" y="198"/>
                    </a:lnTo>
                    <a:lnTo>
                      <a:pt x="1358" y="210"/>
                    </a:lnTo>
                    <a:lnTo>
                      <a:pt x="1352" y="214"/>
                    </a:lnTo>
                    <a:lnTo>
                      <a:pt x="1350" y="218"/>
                    </a:lnTo>
                    <a:lnTo>
                      <a:pt x="1350" y="224"/>
                    </a:lnTo>
                    <a:lnTo>
                      <a:pt x="1352" y="230"/>
                    </a:lnTo>
                    <a:lnTo>
                      <a:pt x="1352" y="230"/>
                    </a:lnTo>
                    <a:lnTo>
                      <a:pt x="1352" y="234"/>
                    </a:lnTo>
                    <a:lnTo>
                      <a:pt x="1352" y="236"/>
                    </a:lnTo>
                    <a:lnTo>
                      <a:pt x="1340" y="232"/>
                    </a:lnTo>
                    <a:lnTo>
                      <a:pt x="1332" y="230"/>
                    </a:lnTo>
                    <a:lnTo>
                      <a:pt x="1324" y="228"/>
                    </a:lnTo>
                    <a:lnTo>
                      <a:pt x="1316" y="230"/>
                    </a:lnTo>
                    <a:lnTo>
                      <a:pt x="1308" y="232"/>
                    </a:lnTo>
                    <a:lnTo>
                      <a:pt x="1308" y="232"/>
                    </a:lnTo>
                    <a:lnTo>
                      <a:pt x="1300" y="236"/>
                    </a:lnTo>
                    <a:lnTo>
                      <a:pt x="1296" y="236"/>
                    </a:lnTo>
                    <a:lnTo>
                      <a:pt x="1294" y="236"/>
                    </a:lnTo>
                    <a:lnTo>
                      <a:pt x="1290" y="232"/>
                    </a:lnTo>
                    <a:lnTo>
                      <a:pt x="1286" y="228"/>
                    </a:lnTo>
                    <a:lnTo>
                      <a:pt x="1280" y="226"/>
                    </a:lnTo>
                    <a:lnTo>
                      <a:pt x="1270" y="224"/>
                    </a:lnTo>
                    <a:lnTo>
                      <a:pt x="1258" y="222"/>
                    </a:lnTo>
                    <a:lnTo>
                      <a:pt x="1258" y="222"/>
                    </a:lnTo>
                    <a:lnTo>
                      <a:pt x="1236" y="220"/>
                    </a:lnTo>
                    <a:lnTo>
                      <a:pt x="1216" y="214"/>
                    </a:lnTo>
                    <a:lnTo>
                      <a:pt x="1198" y="206"/>
                    </a:lnTo>
                    <a:lnTo>
                      <a:pt x="1178" y="196"/>
                    </a:lnTo>
                    <a:lnTo>
                      <a:pt x="1160" y="186"/>
                    </a:lnTo>
                    <a:lnTo>
                      <a:pt x="1138" y="178"/>
                    </a:lnTo>
                    <a:lnTo>
                      <a:pt x="1114" y="172"/>
                    </a:lnTo>
                    <a:lnTo>
                      <a:pt x="1102" y="172"/>
                    </a:lnTo>
                    <a:lnTo>
                      <a:pt x="1088" y="172"/>
                    </a:lnTo>
                    <a:lnTo>
                      <a:pt x="1088" y="172"/>
                    </a:lnTo>
                    <a:lnTo>
                      <a:pt x="1074" y="170"/>
                    </a:lnTo>
                    <a:lnTo>
                      <a:pt x="1062" y="168"/>
                    </a:lnTo>
                    <a:lnTo>
                      <a:pt x="1052" y="162"/>
                    </a:lnTo>
                    <a:lnTo>
                      <a:pt x="1044" y="158"/>
                    </a:lnTo>
                    <a:lnTo>
                      <a:pt x="1036" y="152"/>
                    </a:lnTo>
                    <a:lnTo>
                      <a:pt x="1026" y="146"/>
                    </a:lnTo>
                    <a:lnTo>
                      <a:pt x="1014" y="142"/>
                    </a:lnTo>
                    <a:lnTo>
                      <a:pt x="998" y="140"/>
                    </a:lnTo>
                    <a:lnTo>
                      <a:pt x="998" y="140"/>
                    </a:lnTo>
                    <a:lnTo>
                      <a:pt x="982" y="138"/>
                    </a:lnTo>
                    <a:lnTo>
                      <a:pt x="970" y="140"/>
                    </a:lnTo>
                    <a:lnTo>
                      <a:pt x="950" y="144"/>
                    </a:lnTo>
                    <a:lnTo>
                      <a:pt x="940" y="146"/>
                    </a:lnTo>
                    <a:lnTo>
                      <a:pt x="932" y="146"/>
                    </a:lnTo>
                    <a:lnTo>
                      <a:pt x="922" y="146"/>
                    </a:lnTo>
                    <a:lnTo>
                      <a:pt x="912" y="142"/>
                    </a:lnTo>
                    <a:lnTo>
                      <a:pt x="912" y="142"/>
                    </a:lnTo>
                    <a:lnTo>
                      <a:pt x="898" y="138"/>
                    </a:lnTo>
                    <a:lnTo>
                      <a:pt x="884" y="134"/>
                    </a:lnTo>
                    <a:lnTo>
                      <a:pt x="852" y="132"/>
                    </a:lnTo>
                    <a:lnTo>
                      <a:pt x="816" y="128"/>
                    </a:lnTo>
                    <a:lnTo>
                      <a:pt x="798" y="122"/>
                    </a:lnTo>
                    <a:lnTo>
                      <a:pt x="778" y="116"/>
                    </a:lnTo>
                    <a:lnTo>
                      <a:pt x="778" y="116"/>
                    </a:lnTo>
                    <a:lnTo>
                      <a:pt x="758" y="110"/>
                    </a:lnTo>
                    <a:lnTo>
                      <a:pt x="744" y="108"/>
                    </a:lnTo>
                    <a:lnTo>
                      <a:pt x="732" y="108"/>
                    </a:lnTo>
                    <a:lnTo>
                      <a:pt x="722" y="110"/>
                    </a:lnTo>
                    <a:lnTo>
                      <a:pt x="710" y="114"/>
                    </a:lnTo>
                    <a:lnTo>
                      <a:pt x="698" y="116"/>
                    </a:lnTo>
                    <a:lnTo>
                      <a:pt x="682" y="114"/>
                    </a:lnTo>
                    <a:lnTo>
                      <a:pt x="664" y="110"/>
                    </a:lnTo>
                    <a:lnTo>
                      <a:pt x="664" y="110"/>
                    </a:lnTo>
                    <a:lnTo>
                      <a:pt x="648" y="104"/>
                    </a:lnTo>
                    <a:lnTo>
                      <a:pt x="640" y="98"/>
                    </a:lnTo>
                    <a:lnTo>
                      <a:pt x="636" y="94"/>
                    </a:lnTo>
                    <a:lnTo>
                      <a:pt x="636" y="90"/>
                    </a:lnTo>
                    <a:lnTo>
                      <a:pt x="634" y="86"/>
                    </a:lnTo>
                    <a:lnTo>
                      <a:pt x="630" y="82"/>
                    </a:lnTo>
                    <a:lnTo>
                      <a:pt x="622" y="82"/>
                    </a:lnTo>
                    <a:lnTo>
                      <a:pt x="604" y="80"/>
                    </a:lnTo>
                    <a:lnTo>
                      <a:pt x="604" y="80"/>
                    </a:lnTo>
                    <a:lnTo>
                      <a:pt x="572" y="82"/>
                    </a:lnTo>
                    <a:lnTo>
                      <a:pt x="556" y="82"/>
                    </a:lnTo>
                    <a:lnTo>
                      <a:pt x="552" y="82"/>
                    </a:lnTo>
                    <a:lnTo>
                      <a:pt x="548" y="80"/>
                    </a:lnTo>
                    <a:lnTo>
                      <a:pt x="540" y="72"/>
                    </a:lnTo>
                    <a:lnTo>
                      <a:pt x="540" y="72"/>
                    </a:lnTo>
                    <a:lnTo>
                      <a:pt x="534" y="66"/>
                    </a:lnTo>
                    <a:lnTo>
                      <a:pt x="528" y="66"/>
                    </a:lnTo>
                    <a:lnTo>
                      <a:pt x="524" y="66"/>
                    </a:lnTo>
                    <a:lnTo>
                      <a:pt x="518" y="68"/>
                    </a:lnTo>
                    <a:lnTo>
                      <a:pt x="510" y="70"/>
                    </a:lnTo>
                    <a:lnTo>
                      <a:pt x="506" y="70"/>
                    </a:lnTo>
                    <a:lnTo>
                      <a:pt x="500" y="66"/>
                    </a:lnTo>
                    <a:lnTo>
                      <a:pt x="500" y="66"/>
                    </a:lnTo>
                    <a:lnTo>
                      <a:pt x="488" y="56"/>
                    </a:lnTo>
                    <a:lnTo>
                      <a:pt x="482" y="52"/>
                    </a:lnTo>
                    <a:lnTo>
                      <a:pt x="474" y="50"/>
                    </a:lnTo>
                    <a:lnTo>
                      <a:pt x="466" y="50"/>
                    </a:lnTo>
                    <a:lnTo>
                      <a:pt x="456" y="52"/>
                    </a:lnTo>
                    <a:lnTo>
                      <a:pt x="444" y="58"/>
                    </a:lnTo>
                    <a:lnTo>
                      <a:pt x="432" y="68"/>
                    </a:lnTo>
                    <a:lnTo>
                      <a:pt x="432" y="68"/>
                    </a:lnTo>
                    <a:lnTo>
                      <a:pt x="418" y="78"/>
                    </a:lnTo>
                    <a:lnTo>
                      <a:pt x="404" y="82"/>
                    </a:lnTo>
                    <a:lnTo>
                      <a:pt x="392" y="84"/>
                    </a:lnTo>
                    <a:lnTo>
                      <a:pt x="378" y="84"/>
                    </a:lnTo>
                    <a:lnTo>
                      <a:pt x="364" y="84"/>
                    </a:lnTo>
                    <a:lnTo>
                      <a:pt x="348" y="86"/>
                    </a:lnTo>
                    <a:lnTo>
                      <a:pt x="330" y="94"/>
                    </a:lnTo>
                    <a:lnTo>
                      <a:pt x="310" y="106"/>
                    </a:lnTo>
                    <a:lnTo>
                      <a:pt x="310" y="106"/>
                    </a:lnTo>
                    <a:lnTo>
                      <a:pt x="300" y="114"/>
                    </a:lnTo>
                    <a:lnTo>
                      <a:pt x="290" y="120"/>
                    </a:lnTo>
                    <a:lnTo>
                      <a:pt x="282" y="122"/>
                    </a:lnTo>
                    <a:lnTo>
                      <a:pt x="274" y="124"/>
                    </a:lnTo>
                    <a:lnTo>
                      <a:pt x="260" y="126"/>
                    </a:lnTo>
                    <a:lnTo>
                      <a:pt x="250" y="124"/>
                    </a:lnTo>
                    <a:lnTo>
                      <a:pt x="240" y="124"/>
                    </a:lnTo>
                    <a:lnTo>
                      <a:pt x="236" y="124"/>
                    </a:lnTo>
                    <a:lnTo>
                      <a:pt x="230" y="126"/>
                    </a:lnTo>
                    <a:lnTo>
                      <a:pt x="226" y="130"/>
                    </a:lnTo>
                    <a:lnTo>
                      <a:pt x="222" y="134"/>
                    </a:lnTo>
                    <a:lnTo>
                      <a:pt x="212" y="152"/>
                    </a:lnTo>
                    <a:lnTo>
                      <a:pt x="212" y="152"/>
                    </a:lnTo>
                    <a:lnTo>
                      <a:pt x="202" y="172"/>
                    </a:lnTo>
                    <a:lnTo>
                      <a:pt x="192" y="188"/>
                    </a:lnTo>
                    <a:lnTo>
                      <a:pt x="182" y="202"/>
                    </a:lnTo>
                    <a:lnTo>
                      <a:pt x="172" y="212"/>
                    </a:lnTo>
                    <a:lnTo>
                      <a:pt x="158" y="220"/>
                    </a:lnTo>
                    <a:lnTo>
                      <a:pt x="142" y="224"/>
                    </a:lnTo>
                    <a:lnTo>
                      <a:pt x="122" y="228"/>
                    </a:lnTo>
                    <a:lnTo>
                      <a:pt x="96" y="228"/>
                    </a:lnTo>
                    <a:lnTo>
                      <a:pt x="96" y="228"/>
                    </a:lnTo>
                    <a:lnTo>
                      <a:pt x="84" y="230"/>
                    </a:lnTo>
                    <a:lnTo>
                      <a:pt x="78" y="232"/>
                    </a:lnTo>
                    <a:lnTo>
                      <a:pt x="74" y="236"/>
                    </a:lnTo>
                    <a:lnTo>
                      <a:pt x="74" y="240"/>
                    </a:lnTo>
                    <a:lnTo>
                      <a:pt x="74" y="244"/>
                    </a:lnTo>
                    <a:lnTo>
                      <a:pt x="72" y="250"/>
                    </a:lnTo>
                    <a:lnTo>
                      <a:pt x="66" y="254"/>
                    </a:lnTo>
                    <a:lnTo>
                      <a:pt x="58" y="258"/>
                    </a:lnTo>
                    <a:lnTo>
                      <a:pt x="58" y="258"/>
                    </a:lnTo>
                    <a:lnTo>
                      <a:pt x="54" y="260"/>
                    </a:lnTo>
                    <a:lnTo>
                      <a:pt x="52" y="262"/>
                    </a:lnTo>
                    <a:lnTo>
                      <a:pt x="54" y="266"/>
                    </a:lnTo>
                    <a:lnTo>
                      <a:pt x="58" y="268"/>
                    </a:lnTo>
                    <a:lnTo>
                      <a:pt x="72" y="274"/>
                    </a:lnTo>
                    <a:lnTo>
                      <a:pt x="92" y="282"/>
                    </a:lnTo>
                    <a:lnTo>
                      <a:pt x="114" y="292"/>
                    </a:lnTo>
                    <a:lnTo>
                      <a:pt x="136" y="304"/>
                    </a:lnTo>
                    <a:lnTo>
                      <a:pt x="156" y="318"/>
                    </a:lnTo>
                    <a:lnTo>
                      <a:pt x="162" y="326"/>
                    </a:lnTo>
                    <a:lnTo>
                      <a:pt x="168" y="334"/>
                    </a:lnTo>
                    <a:lnTo>
                      <a:pt x="168" y="334"/>
                    </a:lnTo>
                    <a:lnTo>
                      <a:pt x="172" y="342"/>
                    </a:lnTo>
                    <a:lnTo>
                      <a:pt x="176" y="346"/>
                    </a:lnTo>
                    <a:lnTo>
                      <a:pt x="186" y="354"/>
                    </a:lnTo>
                    <a:lnTo>
                      <a:pt x="196" y="356"/>
                    </a:lnTo>
                    <a:lnTo>
                      <a:pt x="206" y="356"/>
                    </a:lnTo>
                    <a:lnTo>
                      <a:pt x="212" y="356"/>
                    </a:lnTo>
                    <a:lnTo>
                      <a:pt x="218" y="356"/>
                    </a:lnTo>
                    <a:lnTo>
                      <a:pt x="220" y="356"/>
                    </a:lnTo>
                    <a:lnTo>
                      <a:pt x="222" y="358"/>
                    </a:lnTo>
                    <a:lnTo>
                      <a:pt x="220" y="364"/>
                    </a:lnTo>
                    <a:lnTo>
                      <a:pt x="220" y="364"/>
                    </a:lnTo>
                    <a:lnTo>
                      <a:pt x="220" y="372"/>
                    </a:lnTo>
                    <a:lnTo>
                      <a:pt x="220" y="376"/>
                    </a:lnTo>
                    <a:lnTo>
                      <a:pt x="224" y="378"/>
                    </a:lnTo>
                    <a:lnTo>
                      <a:pt x="228" y="380"/>
                    </a:lnTo>
                    <a:lnTo>
                      <a:pt x="232" y="380"/>
                    </a:lnTo>
                    <a:lnTo>
                      <a:pt x="236" y="382"/>
                    </a:lnTo>
                    <a:lnTo>
                      <a:pt x="240" y="386"/>
                    </a:lnTo>
                    <a:lnTo>
                      <a:pt x="242" y="392"/>
                    </a:lnTo>
                    <a:lnTo>
                      <a:pt x="242" y="392"/>
                    </a:lnTo>
                    <a:lnTo>
                      <a:pt x="244" y="400"/>
                    </a:lnTo>
                    <a:lnTo>
                      <a:pt x="248" y="402"/>
                    </a:lnTo>
                    <a:lnTo>
                      <a:pt x="254" y="404"/>
                    </a:lnTo>
                    <a:lnTo>
                      <a:pt x="260" y="402"/>
                    </a:lnTo>
                    <a:lnTo>
                      <a:pt x="266" y="402"/>
                    </a:lnTo>
                    <a:lnTo>
                      <a:pt x="270" y="402"/>
                    </a:lnTo>
                    <a:lnTo>
                      <a:pt x="274" y="404"/>
                    </a:lnTo>
                    <a:lnTo>
                      <a:pt x="276" y="410"/>
                    </a:lnTo>
                    <a:lnTo>
                      <a:pt x="276" y="410"/>
                    </a:lnTo>
                    <a:lnTo>
                      <a:pt x="274" y="418"/>
                    </a:lnTo>
                    <a:lnTo>
                      <a:pt x="272" y="418"/>
                    </a:lnTo>
                    <a:lnTo>
                      <a:pt x="270" y="418"/>
                    </a:lnTo>
                    <a:lnTo>
                      <a:pt x="266" y="416"/>
                    </a:lnTo>
                    <a:lnTo>
                      <a:pt x="262" y="416"/>
                    </a:lnTo>
                    <a:lnTo>
                      <a:pt x="258" y="418"/>
                    </a:lnTo>
                    <a:lnTo>
                      <a:pt x="252" y="424"/>
                    </a:lnTo>
                    <a:lnTo>
                      <a:pt x="252" y="424"/>
                    </a:lnTo>
                    <a:lnTo>
                      <a:pt x="250" y="426"/>
                    </a:lnTo>
                    <a:lnTo>
                      <a:pt x="248" y="426"/>
                    </a:lnTo>
                    <a:lnTo>
                      <a:pt x="240" y="422"/>
                    </a:lnTo>
                    <a:lnTo>
                      <a:pt x="234" y="420"/>
                    </a:lnTo>
                    <a:lnTo>
                      <a:pt x="224" y="420"/>
                    </a:lnTo>
                    <a:lnTo>
                      <a:pt x="212" y="420"/>
                    </a:lnTo>
                    <a:lnTo>
                      <a:pt x="194" y="422"/>
                    </a:lnTo>
                    <a:lnTo>
                      <a:pt x="194" y="422"/>
                    </a:lnTo>
                    <a:lnTo>
                      <a:pt x="186" y="422"/>
                    </a:lnTo>
                    <a:lnTo>
                      <a:pt x="180" y="420"/>
                    </a:lnTo>
                    <a:lnTo>
                      <a:pt x="176" y="418"/>
                    </a:lnTo>
                    <a:lnTo>
                      <a:pt x="174" y="416"/>
                    </a:lnTo>
                    <a:lnTo>
                      <a:pt x="174" y="408"/>
                    </a:lnTo>
                    <a:lnTo>
                      <a:pt x="176" y="398"/>
                    </a:lnTo>
                    <a:lnTo>
                      <a:pt x="176" y="390"/>
                    </a:lnTo>
                    <a:lnTo>
                      <a:pt x="174" y="388"/>
                    </a:lnTo>
                    <a:lnTo>
                      <a:pt x="172" y="384"/>
                    </a:lnTo>
                    <a:lnTo>
                      <a:pt x="168" y="384"/>
                    </a:lnTo>
                    <a:lnTo>
                      <a:pt x="162" y="384"/>
                    </a:lnTo>
                    <a:lnTo>
                      <a:pt x="140" y="388"/>
                    </a:lnTo>
                    <a:lnTo>
                      <a:pt x="140" y="388"/>
                    </a:lnTo>
                    <a:lnTo>
                      <a:pt x="116" y="396"/>
                    </a:lnTo>
                    <a:lnTo>
                      <a:pt x="92" y="406"/>
                    </a:lnTo>
                    <a:lnTo>
                      <a:pt x="56" y="424"/>
                    </a:lnTo>
                    <a:lnTo>
                      <a:pt x="28" y="440"/>
                    </a:lnTo>
                    <a:lnTo>
                      <a:pt x="18" y="444"/>
                    </a:lnTo>
                    <a:lnTo>
                      <a:pt x="10" y="446"/>
                    </a:lnTo>
                    <a:lnTo>
                      <a:pt x="10" y="446"/>
                    </a:lnTo>
                    <a:lnTo>
                      <a:pt x="4" y="448"/>
                    </a:lnTo>
                    <a:lnTo>
                      <a:pt x="0" y="452"/>
                    </a:lnTo>
                    <a:lnTo>
                      <a:pt x="0" y="456"/>
                    </a:lnTo>
                    <a:lnTo>
                      <a:pt x="2" y="460"/>
                    </a:lnTo>
                    <a:lnTo>
                      <a:pt x="8" y="466"/>
                    </a:lnTo>
                    <a:lnTo>
                      <a:pt x="16" y="470"/>
                    </a:lnTo>
                    <a:lnTo>
                      <a:pt x="28" y="472"/>
                    </a:lnTo>
                    <a:lnTo>
                      <a:pt x="42" y="474"/>
                    </a:lnTo>
                    <a:lnTo>
                      <a:pt x="42" y="474"/>
                    </a:lnTo>
                    <a:lnTo>
                      <a:pt x="54" y="474"/>
                    </a:lnTo>
                    <a:lnTo>
                      <a:pt x="60" y="478"/>
                    </a:lnTo>
                    <a:lnTo>
                      <a:pt x="58" y="480"/>
                    </a:lnTo>
                    <a:lnTo>
                      <a:pt x="56" y="484"/>
                    </a:lnTo>
                    <a:lnTo>
                      <a:pt x="52" y="488"/>
                    </a:lnTo>
                    <a:lnTo>
                      <a:pt x="50" y="492"/>
                    </a:lnTo>
                    <a:lnTo>
                      <a:pt x="50" y="498"/>
                    </a:lnTo>
                    <a:lnTo>
                      <a:pt x="56" y="502"/>
                    </a:lnTo>
                    <a:lnTo>
                      <a:pt x="56" y="502"/>
                    </a:lnTo>
                    <a:lnTo>
                      <a:pt x="64" y="506"/>
                    </a:lnTo>
                    <a:lnTo>
                      <a:pt x="66" y="512"/>
                    </a:lnTo>
                    <a:lnTo>
                      <a:pt x="68" y="520"/>
                    </a:lnTo>
                    <a:lnTo>
                      <a:pt x="70" y="524"/>
                    </a:lnTo>
                    <a:lnTo>
                      <a:pt x="74" y="528"/>
                    </a:lnTo>
                    <a:lnTo>
                      <a:pt x="82" y="532"/>
                    </a:lnTo>
                    <a:lnTo>
                      <a:pt x="94" y="534"/>
                    </a:lnTo>
                    <a:lnTo>
                      <a:pt x="94" y="534"/>
                    </a:lnTo>
                    <a:lnTo>
                      <a:pt x="110" y="534"/>
                    </a:lnTo>
                    <a:lnTo>
                      <a:pt x="122" y="534"/>
                    </a:lnTo>
                    <a:lnTo>
                      <a:pt x="144" y="528"/>
                    </a:lnTo>
                    <a:lnTo>
                      <a:pt x="154" y="526"/>
                    </a:lnTo>
                    <a:lnTo>
                      <a:pt x="166" y="526"/>
                    </a:lnTo>
                    <a:lnTo>
                      <a:pt x="176" y="528"/>
                    </a:lnTo>
                    <a:lnTo>
                      <a:pt x="190" y="534"/>
                    </a:lnTo>
                    <a:lnTo>
                      <a:pt x="190" y="534"/>
                    </a:lnTo>
                    <a:lnTo>
                      <a:pt x="198" y="536"/>
                    </a:lnTo>
                    <a:lnTo>
                      <a:pt x="204" y="538"/>
                    </a:lnTo>
                    <a:lnTo>
                      <a:pt x="210" y="538"/>
                    </a:lnTo>
                    <a:lnTo>
                      <a:pt x="218" y="536"/>
                    </a:lnTo>
                    <a:lnTo>
                      <a:pt x="230" y="530"/>
                    </a:lnTo>
                    <a:lnTo>
                      <a:pt x="242" y="522"/>
                    </a:lnTo>
                    <a:lnTo>
                      <a:pt x="254" y="512"/>
                    </a:lnTo>
                    <a:lnTo>
                      <a:pt x="266" y="506"/>
                    </a:lnTo>
                    <a:lnTo>
                      <a:pt x="270" y="506"/>
                    </a:lnTo>
                    <a:lnTo>
                      <a:pt x="276" y="506"/>
                    </a:lnTo>
                    <a:lnTo>
                      <a:pt x="280" y="508"/>
                    </a:lnTo>
                    <a:lnTo>
                      <a:pt x="286" y="510"/>
                    </a:lnTo>
                    <a:lnTo>
                      <a:pt x="286" y="510"/>
                    </a:lnTo>
                    <a:lnTo>
                      <a:pt x="290" y="516"/>
                    </a:lnTo>
                    <a:lnTo>
                      <a:pt x="290" y="518"/>
                    </a:lnTo>
                    <a:lnTo>
                      <a:pt x="290" y="522"/>
                    </a:lnTo>
                    <a:lnTo>
                      <a:pt x="288" y="524"/>
                    </a:lnTo>
                    <a:lnTo>
                      <a:pt x="282" y="526"/>
                    </a:lnTo>
                    <a:lnTo>
                      <a:pt x="272" y="528"/>
                    </a:lnTo>
                    <a:lnTo>
                      <a:pt x="264" y="530"/>
                    </a:lnTo>
                    <a:lnTo>
                      <a:pt x="260" y="534"/>
                    </a:lnTo>
                    <a:lnTo>
                      <a:pt x="260" y="536"/>
                    </a:lnTo>
                    <a:lnTo>
                      <a:pt x="262" y="538"/>
                    </a:lnTo>
                    <a:lnTo>
                      <a:pt x="274" y="544"/>
                    </a:lnTo>
                    <a:lnTo>
                      <a:pt x="274" y="544"/>
                    </a:lnTo>
                    <a:lnTo>
                      <a:pt x="280" y="550"/>
                    </a:lnTo>
                    <a:lnTo>
                      <a:pt x="286" y="554"/>
                    </a:lnTo>
                    <a:lnTo>
                      <a:pt x="290" y="558"/>
                    </a:lnTo>
                    <a:lnTo>
                      <a:pt x="292" y="564"/>
                    </a:lnTo>
                    <a:lnTo>
                      <a:pt x="292" y="570"/>
                    </a:lnTo>
                    <a:lnTo>
                      <a:pt x="292" y="574"/>
                    </a:lnTo>
                    <a:lnTo>
                      <a:pt x="288" y="584"/>
                    </a:lnTo>
                    <a:lnTo>
                      <a:pt x="280" y="592"/>
                    </a:lnTo>
                    <a:lnTo>
                      <a:pt x="270" y="598"/>
                    </a:lnTo>
                    <a:lnTo>
                      <a:pt x="258" y="600"/>
                    </a:lnTo>
                    <a:lnTo>
                      <a:pt x="244" y="598"/>
                    </a:lnTo>
                    <a:lnTo>
                      <a:pt x="244" y="598"/>
                    </a:lnTo>
                    <a:lnTo>
                      <a:pt x="240" y="598"/>
                    </a:lnTo>
                    <a:lnTo>
                      <a:pt x="234" y="598"/>
                    </a:lnTo>
                    <a:lnTo>
                      <a:pt x="226" y="602"/>
                    </a:lnTo>
                    <a:lnTo>
                      <a:pt x="220" y="610"/>
                    </a:lnTo>
                    <a:lnTo>
                      <a:pt x="214" y="618"/>
                    </a:lnTo>
                    <a:lnTo>
                      <a:pt x="210" y="624"/>
                    </a:lnTo>
                    <a:lnTo>
                      <a:pt x="202" y="630"/>
                    </a:lnTo>
                    <a:lnTo>
                      <a:pt x="198" y="630"/>
                    </a:lnTo>
                    <a:lnTo>
                      <a:pt x="192" y="630"/>
                    </a:lnTo>
                    <a:lnTo>
                      <a:pt x="186" y="628"/>
                    </a:lnTo>
                    <a:lnTo>
                      <a:pt x="180" y="624"/>
                    </a:lnTo>
                    <a:lnTo>
                      <a:pt x="180" y="624"/>
                    </a:lnTo>
                    <a:lnTo>
                      <a:pt x="172" y="620"/>
                    </a:lnTo>
                    <a:lnTo>
                      <a:pt x="166" y="618"/>
                    </a:lnTo>
                    <a:lnTo>
                      <a:pt x="160" y="618"/>
                    </a:lnTo>
                    <a:lnTo>
                      <a:pt x="154" y="620"/>
                    </a:lnTo>
                    <a:lnTo>
                      <a:pt x="144" y="626"/>
                    </a:lnTo>
                    <a:lnTo>
                      <a:pt x="136" y="636"/>
                    </a:lnTo>
                    <a:lnTo>
                      <a:pt x="124" y="658"/>
                    </a:lnTo>
                    <a:lnTo>
                      <a:pt x="118" y="666"/>
                    </a:lnTo>
                    <a:lnTo>
                      <a:pt x="112" y="672"/>
                    </a:lnTo>
                    <a:lnTo>
                      <a:pt x="112" y="672"/>
                    </a:lnTo>
                    <a:lnTo>
                      <a:pt x="106" y="674"/>
                    </a:lnTo>
                    <a:lnTo>
                      <a:pt x="102" y="678"/>
                    </a:lnTo>
                    <a:lnTo>
                      <a:pt x="96" y="690"/>
                    </a:lnTo>
                    <a:lnTo>
                      <a:pt x="92" y="702"/>
                    </a:lnTo>
                    <a:lnTo>
                      <a:pt x="88" y="708"/>
                    </a:lnTo>
                    <a:lnTo>
                      <a:pt x="82" y="712"/>
                    </a:lnTo>
                    <a:lnTo>
                      <a:pt x="82" y="712"/>
                    </a:lnTo>
                    <a:lnTo>
                      <a:pt x="76" y="716"/>
                    </a:lnTo>
                    <a:lnTo>
                      <a:pt x="74" y="720"/>
                    </a:lnTo>
                    <a:lnTo>
                      <a:pt x="74" y="726"/>
                    </a:lnTo>
                    <a:lnTo>
                      <a:pt x="76" y="730"/>
                    </a:lnTo>
                    <a:lnTo>
                      <a:pt x="88" y="740"/>
                    </a:lnTo>
                    <a:lnTo>
                      <a:pt x="108" y="756"/>
                    </a:lnTo>
                    <a:lnTo>
                      <a:pt x="108" y="756"/>
                    </a:lnTo>
                    <a:lnTo>
                      <a:pt x="116" y="764"/>
                    </a:lnTo>
                    <a:lnTo>
                      <a:pt x="118" y="772"/>
                    </a:lnTo>
                    <a:lnTo>
                      <a:pt x="118" y="778"/>
                    </a:lnTo>
                    <a:lnTo>
                      <a:pt x="116" y="784"/>
                    </a:lnTo>
                    <a:lnTo>
                      <a:pt x="114" y="790"/>
                    </a:lnTo>
                    <a:lnTo>
                      <a:pt x="112" y="794"/>
                    </a:lnTo>
                    <a:lnTo>
                      <a:pt x="112" y="800"/>
                    </a:lnTo>
                    <a:lnTo>
                      <a:pt x="116" y="804"/>
                    </a:lnTo>
                    <a:lnTo>
                      <a:pt x="116" y="804"/>
                    </a:lnTo>
                    <a:lnTo>
                      <a:pt x="132" y="818"/>
                    </a:lnTo>
                    <a:lnTo>
                      <a:pt x="148" y="834"/>
                    </a:lnTo>
                    <a:lnTo>
                      <a:pt x="158" y="840"/>
                    </a:lnTo>
                    <a:lnTo>
                      <a:pt x="168" y="844"/>
                    </a:lnTo>
                    <a:lnTo>
                      <a:pt x="180" y="844"/>
                    </a:lnTo>
                    <a:lnTo>
                      <a:pt x="194" y="840"/>
                    </a:lnTo>
                    <a:lnTo>
                      <a:pt x="194" y="840"/>
                    </a:lnTo>
                    <a:lnTo>
                      <a:pt x="208" y="836"/>
                    </a:lnTo>
                    <a:lnTo>
                      <a:pt x="218" y="834"/>
                    </a:lnTo>
                    <a:lnTo>
                      <a:pt x="228" y="836"/>
                    </a:lnTo>
                    <a:lnTo>
                      <a:pt x="234" y="838"/>
                    </a:lnTo>
                    <a:lnTo>
                      <a:pt x="240" y="842"/>
                    </a:lnTo>
                    <a:lnTo>
                      <a:pt x="242" y="848"/>
                    </a:lnTo>
                    <a:lnTo>
                      <a:pt x="242" y="858"/>
                    </a:lnTo>
                    <a:lnTo>
                      <a:pt x="238" y="868"/>
                    </a:lnTo>
                    <a:lnTo>
                      <a:pt x="238" y="868"/>
                    </a:lnTo>
                    <a:lnTo>
                      <a:pt x="236" y="878"/>
                    </a:lnTo>
                    <a:lnTo>
                      <a:pt x="236" y="884"/>
                    </a:lnTo>
                    <a:lnTo>
                      <a:pt x="238" y="888"/>
                    </a:lnTo>
                    <a:lnTo>
                      <a:pt x="242" y="890"/>
                    </a:lnTo>
                    <a:lnTo>
                      <a:pt x="244" y="892"/>
                    </a:lnTo>
                    <a:lnTo>
                      <a:pt x="246" y="896"/>
                    </a:lnTo>
                    <a:lnTo>
                      <a:pt x="246" y="900"/>
                    </a:lnTo>
                    <a:lnTo>
                      <a:pt x="244" y="908"/>
                    </a:lnTo>
                    <a:lnTo>
                      <a:pt x="244" y="908"/>
                    </a:lnTo>
                    <a:lnTo>
                      <a:pt x="242" y="918"/>
                    </a:lnTo>
                    <a:lnTo>
                      <a:pt x="244" y="922"/>
                    </a:lnTo>
                    <a:lnTo>
                      <a:pt x="248" y="924"/>
                    </a:lnTo>
                    <a:lnTo>
                      <a:pt x="254" y="924"/>
                    </a:lnTo>
                    <a:lnTo>
                      <a:pt x="262" y="920"/>
                    </a:lnTo>
                    <a:lnTo>
                      <a:pt x="270" y="916"/>
                    </a:lnTo>
                    <a:lnTo>
                      <a:pt x="284" y="904"/>
                    </a:lnTo>
                    <a:lnTo>
                      <a:pt x="284" y="904"/>
                    </a:lnTo>
                    <a:lnTo>
                      <a:pt x="292" y="900"/>
                    </a:lnTo>
                    <a:lnTo>
                      <a:pt x="300" y="898"/>
                    </a:lnTo>
                    <a:lnTo>
                      <a:pt x="308" y="898"/>
                    </a:lnTo>
                    <a:lnTo>
                      <a:pt x="316" y="902"/>
                    </a:lnTo>
                    <a:lnTo>
                      <a:pt x="326" y="906"/>
                    </a:lnTo>
                    <a:lnTo>
                      <a:pt x="336" y="912"/>
                    </a:lnTo>
                    <a:lnTo>
                      <a:pt x="352" y="926"/>
                    </a:lnTo>
                    <a:lnTo>
                      <a:pt x="352" y="926"/>
                    </a:lnTo>
                    <a:lnTo>
                      <a:pt x="358" y="930"/>
                    </a:lnTo>
                    <a:lnTo>
                      <a:pt x="362" y="932"/>
                    </a:lnTo>
                    <a:lnTo>
                      <a:pt x="366" y="930"/>
                    </a:lnTo>
                    <a:lnTo>
                      <a:pt x="370" y="926"/>
                    </a:lnTo>
                    <a:lnTo>
                      <a:pt x="376" y="918"/>
                    </a:lnTo>
                    <a:lnTo>
                      <a:pt x="380" y="916"/>
                    </a:lnTo>
                    <a:lnTo>
                      <a:pt x="386" y="918"/>
                    </a:lnTo>
                    <a:lnTo>
                      <a:pt x="386" y="918"/>
                    </a:lnTo>
                    <a:lnTo>
                      <a:pt x="392" y="920"/>
                    </a:lnTo>
                    <a:lnTo>
                      <a:pt x="402" y="918"/>
                    </a:lnTo>
                    <a:lnTo>
                      <a:pt x="420" y="912"/>
                    </a:lnTo>
                    <a:lnTo>
                      <a:pt x="432" y="908"/>
                    </a:lnTo>
                    <a:lnTo>
                      <a:pt x="432" y="908"/>
                    </a:lnTo>
                    <a:lnTo>
                      <a:pt x="432" y="910"/>
                    </a:lnTo>
                    <a:lnTo>
                      <a:pt x="430" y="916"/>
                    </a:lnTo>
                    <a:lnTo>
                      <a:pt x="430" y="916"/>
                    </a:lnTo>
                    <a:lnTo>
                      <a:pt x="418" y="932"/>
                    </a:lnTo>
                    <a:lnTo>
                      <a:pt x="412" y="946"/>
                    </a:lnTo>
                    <a:lnTo>
                      <a:pt x="410" y="962"/>
                    </a:lnTo>
                    <a:lnTo>
                      <a:pt x="410" y="978"/>
                    </a:lnTo>
                    <a:lnTo>
                      <a:pt x="410" y="978"/>
                    </a:lnTo>
                    <a:lnTo>
                      <a:pt x="408" y="986"/>
                    </a:lnTo>
                    <a:lnTo>
                      <a:pt x="406" y="990"/>
                    </a:lnTo>
                    <a:lnTo>
                      <a:pt x="402" y="992"/>
                    </a:lnTo>
                    <a:lnTo>
                      <a:pt x="396" y="994"/>
                    </a:lnTo>
                    <a:lnTo>
                      <a:pt x="392" y="998"/>
                    </a:lnTo>
                    <a:lnTo>
                      <a:pt x="386" y="1000"/>
                    </a:lnTo>
                    <a:lnTo>
                      <a:pt x="380" y="1008"/>
                    </a:lnTo>
                    <a:lnTo>
                      <a:pt x="374" y="1018"/>
                    </a:lnTo>
                    <a:lnTo>
                      <a:pt x="374" y="1018"/>
                    </a:lnTo>
                    <a:lnTo>
                      <a:pt x="368" y="1028"/>
                    </a:lnTo>
                    <a:lnTo>
                      <a:pt x="360" y="1036"/>
                    </a:lnTo>
                    <a:lnTo>
                      <a:pt x="352" y="1040"/>
                    </a:lnTo>
                    <a:lnTo>
                      <a:pt x="342" y="1044"/>
                    </a:lnTo>
                    <a:lnTo>
                      <a:pt x="332" y="1048"/>
                    </a:lnTo>
                    <a:lnTo>
                      <a:pt x="324" y="1054"/>
                    </a:lnTo>
                    <a:lnTo>
                      <a:pt x="314" y="1060"/>
                    </a:lnTo>
                    <a:lnTo>
                      <a:pt x="306" y="1072"/>
                    </a:lnTo>
                    <a:lnTo>
                      <a:pt x="306" y="1072"/>
                    </a:lnTo>
                    <a:lnTo>
                      <a:pt x="300" y="1082"/>
                    </a:lnTo>
                    <a:lnTo>
                      <a:pt x="296" y="1088"/>
                    </a:lnTo>
                    <a:lnTo>
                      <a:pt x="292" y="1090"/>
                    </a:lnTo>
                    <a:lnTo>
                      <a:pt x="288" y="1088"/>
                    </a:lnTo>
                    <a:lnTo>
                      <a:pt x="276" y="1086"/>
                    </a:lnTo>
                    <a:lnTo>
                      <a:pt x="268" y="1088"/>
                    </a:lnTo>
                    <a:lnTo>
                      <a:pt x="254" y="1090"/>
                    </a:lnTo>
                    <a:lnTo>
                      <a:pt x="254" y="1090"/>
                    </a:lnTo>
                    <a:lnTo>
                      <a:pt x="244" y="1096"/>
                    </a:lnTo>
                    <a:lnTo>
                      <a:pt x="236" y="1100"/>
                    </a:lnTo>
                    <a:lnTo>
                      <a:pt x="232" y="1104"/>
                    </a:lnTo>
                    <a:lnTo>
                      <a:pt x="228" y="1110"/>
                    </a:lnTo>
                    <a:lnTo>
                      <a:pt x="222" y="1118"/>
                    </a:lnTo>
                    <a:lnTo>
                      <a:pt x="218" y="1124"/>
                    </a:lnTo>
                    <a:lnTo>
                      <a:pt x="210" y="1128"/>
                    </a:lnTo>
                    <a:lnTo>
                      <a:pt x="210" y="1128"/>
                    </a:lnTo>
                    <a:lnTo>
                      <a:pt x="200" y="1132"/>
                    </a:lnTo>
                    <a:lnTo>
                      <a:pt x="194" y="1138"/>
                    </a:lnTo>
                    <a:lnTo>
                      <a:pt x="188" y="1144"/>
                    </a:lnTo>
                    <a:lnTo>
                      <a:pt x="186" y="1148"/>
                    </a:lnTo>
                    <a:lnTo>
                      <a:pt x="188" y="1152"/>
                    </a:lnTo>
                    <a:lnTo>
                      <a:pt x="192" y="1154"/>
                    </a:lnTo>
                    <a:lnTo>
                      <a:pt x="200" y="1154"/>
                    </a:lnTo>
                    <a:lnTo>
                      <a:pt x="212" y="1150"/>
                    </a:lnTo>
                    <a:lnTo>
                      <a:pt x="212" y="1150"/>
                    </a:lnTo>
                    <a:lnTo>
                      <a:pt x="224" y="1144"/>
                    </a:lnTo>
                    <a:lnTo>
                      <a:pt x="234" y="1138"/>
                    </a:lnTo>
                    <a:lnTo>
                      <a:pt x="248" y="1124"/>
                    </a:lnTo>
                    <a:lnTo>
                      <a:pt x="256" y="1116"/>
                    </a:lnTo>
                    <a:lnTo>
                      <a:pt x="258" y="1116"/>
                    </a:lnTo>
                    <a:lnTo>
                      <a:pt x="262" y="1120"/>
                    </a:lnTo>
                    <a:lnTo>
                      <a:pt x="262" y="1120"/>
                    </a:lnTo>
                    <a:lnTo>
                      <a:pt x="266" y="1124"/>
                    </a:lnTo>
                    <a:lnTo>
                      <a:pt x="270" y="1124"/>
                    </a:lnTo>
                    <a:lnTo>
                      <a:pt x="278" y="1122"/>
                    </a:lnTo>
                    <a:lnTo>
                      <a:pt x="282" y="1120"/>
                    </a:lnTo>
                    <a:lnTo>
                      <a:pt x="284" y="1120"/>
                    </a:lnTo>
                    <a:lnTo>
                      <a:pt x="288" y="1124"/>
                    </a:lnTo>
                    <a:lnTo>
                      <a:pt x="290" y="1128"/>
                    </a:lnTo>
                    <a:lnTo>
                      <a:pt x="290" y="1128"/>
                    </a:lnTo>
                    <a:lnTo>
                      <a:pt x="292" y="1136"/>
                    </a:lnTo>
                    <a:lnTo>
                      <a:pt x="296" y="1138"/>
                    </a:lnTo>
                    <a:lnTo>
                      <a:pt x="298" y="1140"/>
                    </a:lnTo>
                    <a:lnTo>
                      <a:pt x="302" y="1138"/>
                    </a:lnTo>
                    <a:lnTo>
                      <a:pt x="306" y="1136"/>
                    </a:lnTo>
                    <a:lnTo>
                      <a:pt x="308" y="1130"/>
                    </a:lnTo>
                    <a:lnTo>
                      <a:pt x="308" y="1126"/>
                    </a:lnTo>
                    <a:lnTo>
                      <a:pt x="306" y="1120"/>
                    </a:lnTo>
                    <a:lnTo>
                      <a:pt x="306" y="1120"/>
                    </a:lnTo>
                    <a:lnTo>
                      <a:pt x="306" y="1114"/>
                    </a:lnTo>
                    <a:lnTo>
                      <a:pt x="308" y="1110"/>
                    </a:lnTo>
                    <a:lnTo>
                      <a:pt x="312" y="1106"/>
                    </a:lnTo>
                    <a:lnTo>
                      <a:pt x="316" y="1102"/>
                    </a:lnTo>
                    <a:lnTo>
                      <a:pt x="322" y="1100"/>
                    </a:lnTo>
                    <a:lnTo>
                      <a:pt x="328" y="1100"/>
                    </a:lnTo>
                    <a:lnTo>
                      <a:pt x="332" y="1102"/>
                    </a:lnTo>
                    <a:lnTo>
                      <a:pt x="334" y="1108"/>
                    </a:lnTo>
                    <a:lnTo>
                      <a:pt x="334" y="1108"/>
                    </a:lnTo>
                    <a:lnTo>
                      <a:pt x="334" y="1110"/>
                    </a:lnTo>
                    <a:lnTo>
                      <a:pt x="336" y="1110"/>
                    </a:lnTo>
                    <a:lnTo>
                      <a:pt x="340" y="1110"/>
                    </a:lnTo>
                    <a:lnTo>
                      <a:pt x="354" y="1100"/>
                    </a:lnTo>
                    <a:lnTo>
                      <a:pt x="372" y="1088"/>
                    </a:lnTo>
                    <a:lnTo>
                      <a:pt x="380" y="1084"/>
                    </a:lnTo>
                    <a:lnTo>
                      <a:pt x="388" y="1082"/>
                    </a:lnTo>
                    <a:lnTo>
                      <a:pt x="388" y="1082"/>
                    </a:lnTo>
                    <a:lnTo>
                      <a:pt x="394" y="1082"/>
                    </a:lnTo>
                    <a:lnTo>
                      <a:pt x="396" y="1080"/>
                    </a:lnTo>
                    <a:lnTo>
                      <a:pt x="394" y="1074"/>
                    </a:lnTo>
                    <a:lnTo>
                      <a:pt x="394" y="1068"/>
                    </a:lnTo>
                    <a:lnTo>
                      <a:pt x="398" y="1062"/>
                    </a:lnTo>
                    <a:lnTo>
                      <a:pt x="408" y="1052"/>
                    </a:lnTo>
                    <a:lnTo>
                      <a:pt x="424" y="1042"/>
                    </a:lnTo>
                    <a:lnTo>
                      <a:pt x="424" y="1042"/>
                    </a:lnTo>
                    <a:lnTo>
                      <a:pt x="440" y="1032"/>
                    </a:lnTo>
                    <a:lnTo>
                      <a:pt x="452" y="1024"/>
                    </a:lnTo>
                    <a:lnTo>
                      <a:pt x="462" y="1016"/>
                    </a:lnTo>
                    <a:lnTo>
                      <a:pt x="468" y="1010"/>
                    </a:lnTo>
                    <a:lnTo>
                      <a:pt x="478" y="998"/>
                    </a:lnTo>
                    <a:lnTo>
                      <a:pt x="484" y="994"/>
                    </a:lnTo>
                    <a:lnTo>
                      <a:pt x="492" y="988"/>
                    </a:lnTo>
                    <a:lnTo>
                      <a:pt x="492" y="988"/>
                    </a:lnTo>
                    <a:lnTo>
                      <a:pt x="516" y="976"/>
                    </a:lnTo>
                    <a:lnTo>
                      <a:pt x="538" y="964"/>
                    </a:lnTo>
                    <a:lnTo>
                      <a:pt x="548" y="956"/>
                    </a:lnTo>
                    <a:lnTo>
                      <a:pt x="556" y="950"/>
                    </a:lnTo>
                    <a:lnTo>
                      <a:pt x="562" y="942"/>
                    </a:lnTo>
                    <a:lnTo>
                      <a:pt x="566" y="934"/>
                    </a:lnTo>
                    <a:lnTo>
                      <a:pt x="566" y="934"/>
                    </a:lnTo>
                    <a:lnTo>
                      <a:pt x="568" y="928"/>
                    </a:lnTo>
                    <a:lnTo>
                      <a:pt x="572" y="922"/>
                    </a:lnTo>
                    <a:lnTo>
                      <a:pt x="580" y="916"/>
                    </a:lnTo>
                    <a:lnTo>
                      <a:pt x="588" y="912"/>
                    </a:lnTo>
                    <a:lnTo>
                      <a:pt x="592" y="906"/>
                    </a:lnTo>
                    <a:lnTo>
                      <a:pt x="592" y="900"/>
                    </a:lnTo>
                    <a:lnTo>
                      <a:pt x="592" y="900"/>
                    </a:lnTo>
                    <a:lnTo>
                      <a:pt x="592" y="898"/>
                    </a:lnTo>
                    <a:lnTo>
                      <a:pt x="590" y="896"/>
                    </a:lnTo>
                    <a:lnTo>
                      <a:pt x="582" y="892"/>
                    </a:lnTo>
                    <a:lnTo>
                      <a:pt x="564" y="892"/>
                    </a:lnTo>
                    <a:lnTo>
                      <a:pt x="556" y="890"/>
                    </a:lnTo>
                    <a:lnTo>
                      <a:pt x="554" y="890"/>
                    </a:lnTo>
                    <a:lnTo>
                      <a:pt x="554" y="888"/>
                    </a:lnTo>
                    <a:lnTo>
                      <a:pt x="554" y="886"/>
                    </a:lnTo>
                    <a:lnTo>
                      <a:pt x="556" y="882"/>
                    </a:lnTo>
                    <a:lnTo>
                      <a:pt x="570" y="870"/>
                    </a:lnTo>
                    <a:lnTo>
                      <a:pt x="570" y="870"/>
                    </a:lnTo>
                    <a:lnTo>
                      <a:pt x="598" y="846"/>
                    </a:lnTo>
                    <a:lnTo>
                      <a:pt x="616" y="828"/>
                    </a:lnTo>
                    <a:lnTo>
                      <a:pt x="630" y="810"/>
                    </a:lnTo>
                    <a:lnTo>
                      <a:pt x="644" y="786"/>
                    </a:lnTo>
                    <a:lnTo>
                      <a:pt x="644" y="786"/>
                    </a:lnTo>
                    <a:lnTo>
                      <a:pt x="654" y="774"/>
                    </a:lnTo>
                    <a:lnTo>
                      <a:pt x="666" y="764"/>
                    </a:lnTo>
                    <a:lnTo>
                      <a:pt x="680" y="756"/>
                    </a:lnTo>
                    <a:lnTo>
                      <a:pt x="694" y="750"/>
                    </a:lnTo>
                    <a:lnTo>
                      <a:pt x="710" y="750"/>
                    </a:lnTo>
                    <a:lnTo>
                      <a:pt x="726" y="752"/>
                    </a:lnTo>
                    <a:lnTo>
                      <a:pt x="742" y="758"/>
                    </a:lnTo>
                    <a:lnTo>
                      <a:pt x="750" y="764"/>
                    </a:lnTo>
                    <a:lnTo>
                      <a:pt x="758" y="770"/>
                    </a:lnTo>
                    <a:lnTo>
                      <a:pt x="758" y="770"/>
                    </a:lnTo>
                    <a:lnTo>
                      <a:pt x="768" y="782"/>
                    </a:lnTo>
                    <a:lnTo>
                      <a:pt x="770" y="784"/>
                    </a:lnTo>
                    <a:lnTo>
                      <a:pt x="770" y="784"/>
                    </a:lnTo>
                    <a:lnTo>
                      <a:pt x="752" y="776"/>
                    </a:lnTo>
                    <a:lnTo>
                      <a:pt x="738" y="768"/>
                    </a:lnTo>
                    <a:lnTo>
                      <a:pt x="720" y="764"/>
                    </a:lnTo>
                    <a:lnTo>
                      <a:pt x="712" y="762"/>
                    </a:lnTo>
                    <a:lnTo>
                      <a:pt x="704" y="762"/>
                    </a:lnTo>
                    <a:lnTo>
                      <a:pt x="696" y="764"/>
                    </a:lnTo>
                    <a:lnTo>
                      <a:pt x="690" y="768"/>
                    </a:lnTo>
                    <a:lnTo>
                      <a:pt x="690" y="768"/>
                    </a:lnTo>
                    <a:lnTo>
                      <a:pt x="680" y="776"/>
                    </a:lnTo>
                    <a:lnTo>
                      <a:pt x="674" y="784"/>
                    </a:lnTo>
                    <a:lnTo>
                      <a:pt x="672" y="790"/>
                    </a:lnTo>
                    <a:lnTo>
                      <a:pt x="672" y="796"/>
                    </a:lnTo>
                    <a:lnTo>
                      <a:pt x="672" y="802"/>
                    </a:lnTo>
                    <a:lnTo>
                      <a:pt x="670" y="810"/>
                    </a:lnTo>
                    <a:lnTo>
                      <a:pt x="666" y="818"/>
                    </a:lnTo>
                    <a:lnTo>
                      <a:pt x="658" y="828"/>
                    </a:lnTo>
                    <a:lnTo>
                      <a:pt x="658" y="828"/>
                    </a:lnTo>
                    <a:lnTo>
                      <a:pt x="652" y="836"/>
                    </a:lnTo>
                    <a:lnTo>
                      <a:pt x="650" y="844"/>
                    </a:lnTo>
                    <a:lnTo>
                      <a:pt x="652" y="848"/>
                    </a:lnTo>
                    <a:lnTo>
                      <a:pt x="656" y="852"/>
                    </a:lnTo>
                    <a:lnTo>
                      <a:pt x="660" y="856"/>
                    </a:lnTo>
                    <a:lnTo>
                      <a:pt x="662" y="858"/>
                    </a:lnTo>
                    <a:lnTo>
                      <a:pt x="662" y="862"/>
                    </a:lnTo>
                    <a:lnTo>
                      <a:pt x="656" y="866"/>
                    </a:lnTo>
                    <a:lnTo>
                      <a:pt x="656" y="866"/>
                    </a:lnTo>
                    <a:lnTo>
                      <a:pt x="646" y="874"/>
                    </a:lnTo>
                    <a:lnTo>
                      <a:pt x="644" y="876"/>
                    </a:lnTo>
                    <a:lnTo>
                      <a:pt x="644" y="878"/>
                    </a:lnTo>
                    <a:lnTo>
                      <a:pt x="646" y="880"/>
                    </a:lnTo>
                    <a:lnTo>
                      <a:pt x="648" y="882"/>
                    </a:lnTo>
                    <a:lnTo>
                      <a:pt x="658" y="884"/>
                    </a:lnTo>
                    <a:lnTo>
                      <a:pt x="670" y="884"/>
                    </a:lnTo>
                    <a:lnTo>
                      <a:pt x="684" y="882"/>
                    </a:lnTo>
                    <a:lnTo>
                      <a:pt x="698" y="876"/>
                    </a:lnTo>
                    <a:lnTo>
                      <a:pt x="712" y="866"/>
                    </a:lnTo>
                    <a:lnTo>
                      <a:pt x="712" y="866"/>
                    </a:lnTo>
                    <a:lnTo>
                      <a:pt x="732" y="850"/>
                    </a:lnTo>
                    <a:lnTo>
                      <a:pt x="748" y="840"/>
                    </a:lnTo>
                    <a:lnTo>
                      <a:pt x="762" y="834"/>
                    </a:lnTo>
                    <a:lnTo>
                      <a:pt x="778" y="834"/>
                    </a:lnTo>
                    <a:lnTo>
                      <a:pt x="778" y="834"/>
                    </a:lnTo>
                    <a:lnTo>
                      <a:pt x="786" y="832"/>
                    </a:lnTo>
                    <a:lnTo>
                      <a:pt x="790" y="830"/>
                    </a:lnTo>
                    <a:lnTo>
                      <a:pt x="790" y="828"/>
                    </a:lnTo>
                    <a:lnTo>
                      <a:pt x="790" y="824"/>
                    </a:lnTo>
                    <a:lnTo>
                      <a:pt x="790" y="820"/>
                    </a:lnTo>
                    <a:lnTo>
                      <a:pt x="790" y="818"/>
                    </a:lnTo>
                    <a:lnTo>
                      <a:pt x="794" y="814"/>
                    </a:lnTo>
                    <a:lnTo>
                      <a:pt x="800" y="810"/>
                    </a:lnTo>
                    <a:lnTo>
                      <a:pt x="800" y="810"/>
                    </a:lnTo>
                    <a:lnTo>
                      <a:pt x="804" y="806"/>
                    </a:lnTo>
                    <a:lnTo>
                      <a:pt x="806" y="802"/>
                    </a:lnTo>
                    <a:lnTo>
                      <a:pt x="804" y="796"/>
                    </a:lnTo>
                    <a:lnTo>
                      <a:pt x="802" y="790"/>
                    </a:lnTo>
                    <a:lnTo>
                      <a:pt x="800" y="784"/>
                    </a:lnTo>
                    <a:lnTo>
                      <a:pt x="800" y="780"/>
                    </a:lnTo>
                    <a:lnTo>
                      <a:pt x="804" y="776"/>
                    </a:lnTo>
                    <a:lnTo>
                      <a:pt x="812" y="774"/>
                    </a:lnTo>
                    <a:lnTo>
                      <a:pt x="812" y="774"/>
                    </a:lnTo>
                    <a:lnTo>
                      <a:pt x="824" y="772"/>
                    </a:lnTo>
                    <a:lnTo>
                      <a:pt x="834" y="770"/>
                    </a:lnTo>
                    <a:lnTo>
                      <a:pt x="850" y="764"/>
                    </a:lnTo>
                    <a:lnTo>
                      <a:pt x="856" y="764"/>
                    </a:lnTo>
                    <a:lnTo>
                      <a:pt x="860" y="764"/>
                    </a:lnTo>
                    <a:lnTo>
                      <a:pt x="862" y="768"/>
                    </a:lnTo>
                    <a:lnTo>
                      <a:pt x="862" y="774"/>
                    </a:lnTo>
                    <a:lnTo>
                      <a:pt x="862" y="774"/>
                    </a:lnTo>
                    <a:lnTo>
                      <a:pt x="862" y="780"/>
                    </a:lnTo>
                    <a:lnTo>
                      <a:pt x="866" y="784"/>
                    </a:lnTo>
                    <a:lnTo>
                      <a:pt x="870" y="788"/>
                    </a:lnTo>
                    <a:lnTo>
                      <a:pt x="874" y="790"/>
                    </a:lnTo>
                    <a:lnTo>
                      <a:pt x="888" y="794"/>
                    </a:lnTo>
                    <a:lnTo>
                      <a:pt x="896" y="798"/>
                    </a:lnTo>
                    <a:lnTo>
                      <a:pt x="906" y="802"/>
                    </a:lnTo>
                    <a:lnTo>
                      <a:pt x="906" y="802"/>
                    </a:lnTo>
                    <a:lnTo>
                      <a:pt x="912" y="806"/>
                    </a:lnTo>
                    <a:lnTo>
                      <a:pt x="918" y="806"/>
                    </a:lnTo>
                    <a:lnTo>
                      <a:pt x="922" y="804"/>
                    </a:lnTo>
                    <a:lnTo>
                      <a:pt x="924" y="802"/>
                    </a:lnTo>
                    <a:lnTo>
                      <a:pt x="926" y="800"/>
                    </a:lnTo>
                    <a:lnTo>
                      <a:pt x="930" y="800"/>
                    </a:lnTo>
                    <a:lnTo>
                      <a:pt x="934" y="804"/>
                    </a:lnTo>
                    <a:lnTo>
                      <a:pt x="940" y="810"/>
                    </a:lnTo>
                    <a:lnTo>
                      <a:pt x="940" y="810"/>
                    </a:lnTo>
                    <a:lnTo>
                      <a:pt x="948" y="820"/>
                    </a:lnTo>
                    <a:lnTo>
                      <a:pt x="958" y="824"/>
                    </a:lnTo>
                    <a:lnTo>
                      <a:pt x="968" y="828"/>
                    </a:lnTo>
                    <a:lnTo>
                      <a:pt x="978" y="828"/>
                    </a:lnTo>
                    <a:lnTo>
                      <a:pt x="1002" y="826"/>
                    </a:lnTo>
                    <a:lnTo>
                      <a:pt x="1024" y="824"/>
                    </a:lnTo>
                    <a:lnTo>
                      <a:pt x="1024" y="824"/>
                    </a:lnTo>
                    <a:lnTo>
                      <a:pt x="1036" y="826"/>
                    </a:lnTo>
                    <a:lnTo>
                      <a:pt x="1050" y="830"/>
                    </a:lnTo>
                    <a:lnTo>
                      <a:pt x="1076" y="842"/>
                    </a:lnTo>
                    <a:lnTo>
                      <a:pt x="1090" y="846"/>
                    </a:lnTo>
                    <a:lnTo>
                      <a:pt x="1104" y="850"/>
                    </a:lnTo>
                    <a:lnTo>
                      <a:pt x="1116" y="850"/>
                    </a:lnTo>
                    <a:lnTo>
                      <a:pt x="1122" y="848"/>
                    </a:lnTo>
                    <a:lnTo>
                      <a:pt x="1126" y="846"/>
                    </a:lnTo>
                    <a:lnTo>
                      <a:pt x="1126" y="846"/>
                    </a:lnTo>
                    <a:lnTo>
                      <a:pt x="1136" y="842"/>
                    </a:lnTo>
                    <a:lnTo>
                      <a:pt x="1142" y="840"/>
                    </a:lnTo>
                    <a:lnTo>
                      <a:pt x="1146" y="840"/>
                    </a:lnTo>
                    <a:lnTo>
                      <a:pt x="1150" y="842"/>
                    </a:lnTo>
                    <a:lnTo>
                      <a:pt x="1150" y="846"/>
                    </a:lnTo>
                    <a:lnTo>
                      <a:pt x="1150" y="850"/>
                    </a:lnTo>
                    <a:lnTo>
                      <a:pt x="1146" y="854"/>
                    </a:lnTo>
                    <a:lnTo>
                      <a:pt x="1142" y="858"/>
                    </a:lnTo>
                    <a:lnTo>
                      <a:pt x="1142" y="858"/>
                    </a:lnTo>
                    <a:lnTo>
                      <a:pt x="1138" y="860"/>
                    </a:lnTo>
                    <a:lnTo>
                      <a:pt x="1140" y="864"/>
                    </a:lnTo>
                    <a:lnTo>
                      <a:pt x="1146" y="868"/>
                    </a:lnTo>
                    <a:lnTo>
                      <a:pt x="1154" y="874"/>
                    </a:lnTo>
                    <a:lnTo>
                      <a:pt x="1174" y="882"/>
                    </a:lnTo>
                    <a:lnTo>
                      <a:pt x="1192" y="892"/>
                    </a:lnTo>
                    <a:lnTo>
                      <a:pt x="1192" y="892"/>
                    </a:lnTo>
                    <a:lnTo>
                      <a:pt x="1206" y="900"/>
                    </a:lnTo>
                    <a:lnTo>
                      <a:pt x="1216" y="912"/>
                    </a:lnTo>
                    <a:lnTo>
                      <a:pt x="1228" y="924"/>
                    </a:lnTo>
                    <a:lnTo>
                      <a:pt x="1244" y="934"/>
                    </a:lnTo>
                    <a:lnTo>
                      <a:pt x="1244" y="934"/>
                    </a:lnTo>
                    <a:lnTo>
                      <a:pt x="1254" y="938"/>
                    </a:lnTo>
                    <a:lnTo>
                      <a:pt x="1264" y="940"/>
                    </a:lnTo>
                    <a:lnTo>
                      <a:pt x="1272" y="940"/>
                    </a:lnTo>
                    <a:lnTo>
                      <a:pt x="1278" y="940"/>
                    </a:lnTo>
                    <a:lnTo>
                      <a:pt x="1282" y="938"/>
                    </a:lnTo>
                    <a:lnTo>
                      <a:pt x="1284" y="934"/>
                    </a:lnTo>
                    <a:lnTo>
                      <a:pt x="1284" y="930"/>
                    </a:lnTo>
                    <a:lnTo>
                      <a:pt x="1280" y="924"/>
                    </a:lnTo>
                    <a:lnTo>
                      <a:pt x="1280" y="924"/>
                    </a:lnTo>
                    <a:lnTo>
                      <a:pt x="1272" y="912"/>
                    </a:lnTo>
                    <a:lnTo>
                      <a:pt x="1268" y="904"/>
                    </a:lnTo>
                    <a:lnTo>
                      <a:pt x="1268" y="902"/>
                    </a:lnTo>
                    <a:lnTo>
                      <a:pt x="1270" y="902"/>
                    </a:lnTo>
                    <a:lnTo>
                      <a:pt x="1282" y="912"/>
                    </a:lnTo>
                    <a:lnTo>
                      <a:pt x="1282" y="912"/>
                    </a:lnTo>
                    <a:lnTo>
                      <a:pt x="1298" y="928"/>
                    </a:lnTo>
                    <a:lnTo>
                      <a:pt x="1314" y="938"/>
                    </a:lnTo>
                    <a:lnTo>
                      <a:pt x="1320" y="940"/>
                    </a:lnTo>
                    <a:lnTo>
                      <a:pt x="1324" y="940"/>
                    </a:lnTo>
                    <a:lnTo>
                      <a:pt x="1326" y="938"/>
                    </a:lnTo>
                    <a:lnTo>
                      <a:pt x="1326" y="930"/>
                    </a:lnTo>
                    <a:lnTo>
                      <a:pt x="1326" y="930"/>
                    </a:lnTo>
                    <a:lnTo>
                      <a:pt x="1322" y="916"/>
                    </a:lnTo>
                    <a:lnTo>
                      <a:pt x="1322" y="908"/>
                    </a:lnTo>
                    <a:lnTo>
                      <a:pt x="1322" y="906"/>
                    </a:lnTo>
                    <a:lnTo>
                      <a:pt x="1324" y="908"/>
                    </a:lnTo>
                    <a:lnTo>
                      <a:pt x="1332" y="922"/>
                    </a:lnTo>
                    <a:lnTo>
                      <a:pt x="1332" y="922"/>
                    </a:lnTo>
                    <a:lnTo>
                      <a:pt x="1338" y="930"/>
                    </a:lnTo>
                    <a:lnTo>
                      <a:pt x="1344" y="934"/>
                    </a:lnTo>
                    <a:lnTo>
                      <a:pt x="1348" y="936"/>
                    </a:lnTo>
                    <a:lnTo>
                      <a:pt x="1354" y="938"/>
                    </a:lnTo>
                    <a:lnTo>
                      <a:pt x="1358" y="938"/>
                    </a:lnTo>
                    <a:lnTo>
                      <a:pt x="1362" y="940"/>
                    </a:lnTo>
                    <a:lnTo>
                      <a:pt x="1368" y="942"/>
                    </a:lnTo>
                    <a:lnTo>
                      <a:pt x="1372" y="950"/>
                    </a:lnTo>
                    <a:lnTo>
                      <a:pt x="1372" y="950"/>
                    </a:lnTo>
                    <a:lnTo>
                      <a:pt x="1378" y="966"/>
                    </a:lnTo>
                    <a:lnTo>
                      <a:pt x="1382" y="976"/>
                    </a:lnTo>
                    <a:lnTo>
                      <a:pt x="1384" y="982"/>
                    </a:lnTo>
                    <a:lnTo>
                      <a:pt x="1390" y="988"/>
                    </a:lnTo>
                    <a:lnTo>
                      <a:pt x="1390" y="988"/>
                    </a:lnTo>
                    <a:lnTo>
                      <a:pt x="1394" y="992"/>
                    </a:lnTo>
                    <a:lnTo>
                      <a:pt x="1394" y="996"/>
                    </a:lnTo>
                    <a:lnTo>
                      <a:pt x="1390" y="1002"/>
                    </a:lnTo>
                    <a:lnTo>
                      <a:pt x="1388" y="1006"/>
                    </a:lnTo>
                    <a:lnTo>
                      <a:pt x="1388" y="1008"/>
                    </a:lnTo>
                    <a:lnTo>
                      <a:pt x="1392" y="1012"/>
                    </a:lnTo>
                    <a:lnTo>
                      <a:pt x="1398" y="1014"/>
                    </a:lnTo>
                    <a:lnTo>
                      <a:pt x="1398" y="1014"/>
                    </a:lnTo>
                    <a:lnTo>
                      <a:pt x="1412" y="1020"/>
                    </a:lnTo>
                    <a:lnTo>
                      <a:pt x="1414" y="1024"/>
                    </a:lnTo>
                    <a:lnTo>
                      <a:pt x="1416" y="1026"/>
                    </a:lnTo>
                    <a:lnTo>
                      <a:pt x="1422" y="1036"/>
                    </a:lnTo>
                    <a:lnTo>
                      <a:pt x="1426" y="1042"/>
                    </a:lnTo>
                    <a:lnTo>
                      <a:pt x="1434" y="1052"/>
                    </a:lnTo>
                    <a:lnTo>
                      <a:pt x="1434" y="1052"/>
                    </a:lnTo>
                    <a:lnTo>
                      <a:pt x="1452" y="1064"/>
                    </a:lnTo>
                    <a:lnTo>
                      <a:pt x="1464" y="1070"/>
                    </a:lnTo>
                    <a:lnTo>
                      <a:pt x="1466" y="1074"/>
                    </a:lnTo>
                    <a:lnTo>
                      <a:pt x="1460" y="1076"/>
                    </a:lnTo>
                    <a:lnTo>
                      <a:pt x="1460" y="1076"/>
                    </a:lnTo>
                    <a:lnTo>
                      <a:pt x="1452" y="1080"/>
                    </a:lnTo>
                    <a:lnTo>
                      <a:pt x="1450" y="1086"/>
                    </a:lnTo>
                    <a:lnTo>
                      <a:pt x="1448" y="1092"/>
                    </a:lnTo>
                    <a:lnTo>
                      <a:pt x="1442" y="1100"/>
                    </a:lnTo>
                    <a:lnTo>
                      <a:pt x="1442" y="1100"/>
                    </a:lnTo>
                    <a:lnTo>
                      <a:pt x="1440" y="1104"/>
                    </a:lnTo>
                    <a:lnTo>
                      <a:pt x="1440" y="1108"/>
                    </a:lnTo>
                    <a:lnTo>
                      <a:pt x="1440" y="1112"/>
                    </a:lnTo>
                    <a:lnTo>
                      <a:pt x="1442" y="1114"/>
                    </a:lnTo>
                    <a:lnTo>
                      <a:pt x="1446" y="1116"/>
                    </a:lnTo>
                    <a:lnTo>
                      <a:pt x="1450" y="1114"/>
                    </a:lnTo>
                    <a:lnTo>
                      <a:pt x="1452" y="1112"/>
                    </a:lnTo>
                    <a:lnTo>
                      <a:pt x="1456" y="1106"/>
                    </a:lnTo>
                    <a:lnTo>
                      <a:pt x="1456" y="1106"/>
                    </a:lnTo>
                    <a:lnTo>
                      <a:pt x="1462" y="1092"/>
                    </a:lnTo>
                    <a:lnTo>
                      <a:pt x="1466" y="1088"/>
                    </a:lnTo>
                    <a:lnTo>
                      <a:pt x="1470" y="1084"/>
                    </a:lnTo>
                    <a:lnTo>
                      <a:pt x="1474" y="1082"/>
                    </a:lnTo>
                    <a:lnTo>
                      <a:pt x="1478" y="1084"/>
                    </a:lnTo>
                    <a:lnTo>
                      <a:pt x="1484" y="1088"/>
                    </a:lnTo>
                    <a:lnTo>
                      <a:pt x="1488" y="1094"/>
                    </a:lnTo>
                    <a:lnTo>
                      <a:pt x="1488" y="1094"/>
                    </a:lnTo>
                    <a:lnTo>
                      <a:pt x="1492" y="1104"/>
                    </a:lnTo>
                    <a:lnTo>
                      <a:pt x="1494" y="1112"/>
                    </a:lnTo>
                    <a:lnTo>
                      <a:pt x="1494" y="1118"/>
                    </a:lnTo>
                    <a:lnTo>
                      <a:pt x="1492" y="1124"/>
                    </a:lnTo>
                    <a:lnTo>
                      <a:pt x="1488" y="1134"/>
                    </a:lnTo>
                    <a:lnTo>
                      <a:pt x="1488" y="1138"/>
                    </a:lnTo>
                    <a:lnTo>
                      <a:pt x="1488" y="1144"/>
                    </a:lnTo>
                    <a:lnTo>
                      <a:pt x="1488" y="1144"/>
                    </a:lnTo>
                    <a:lnTo>
                      <a:pt x="1492" y="1152"/>
                    </a:lnTo>
                    <a:lnTo>
                      <a:pt x="1494" y="1160"/>
                    </a:lnTo>
                    <a:lnTo>
                      <a:pt x="1496" y="1164"/>
                    </a:lnTo>
                    <a:lnTo>
                      <a:pt x="1498" y="1164"/>
                    </a:lnTo>
                    <a:lnTo>
                      <a:pt x="1502" y="1162"/>
                    </a:lnTo>
                    <a:lnTo>
                      <a:pt x="1508" y="1158"/>
                    </a:lnTo>
                    <a:lnTo>
                      <a:pt x="1508" y="1158"/>
                    </a:lnTo>
                    <a:lnTo>
                      <a:pt x="1516" y="1150"/>
                    </a:lnTo>
                    <a:lnTo>
                      <a:pt x="1524" y="1142"/>
                    </a:lnTo>
                    <a:lnTo>
                      <a:pt x="1526" y="1138"/>
                    </a:lnTo>
                    <a:lnTo>
                      <a:pt x="1526" y="1132"/>
                    </a:lnTo>
                    <a:lnTo>
                      <a:pt x="1524" y="1118"/>
                    </a:lnTo>
                    <a:lnTo>
                      <a:pt x="1524" y="1118"/>
                    </a:lnTo>
                    <a:lnTo>
                      <a:pt x="1522" y="1106"/>
                    </a:lnTo>
                    <a:lnTo>
                      <a:pt x="1524" y="1098"/>
                    </a:lnTo>
                    <a:lnTo>
                      <a:pt x="1528" y="1094"/>
                    </a:lnTo>
                    <a:lnTo>
                      <a:pt x="1530" y="1090"/>
                    </a:lnTo>
                    <a:lnTo>
                      <a:pt x="1530" y="1090"/>
                    </a:lnTo>
                    <a:lnTo>
                      <a:pt x="1528" y="1098"/>
                    </a:lnTo>
                    <a:lnTo>
                      <a:pt x="1530" y="1106"/>
                    </a:lnTo>
                    <a:lnTo>
                      <a:pt x="1532" y="1118"/>
                    </a:lnTo>
                    <a:lnTo>
                      <a:pt x="1534" y="1130"/>
                    </a:lnTo>
                    <a:lnTo>
                      <a:pt x="1532" y="1136"/>
                    </a:lnTo>
                    <a:lnTo>
                      <a:pt x="1530" y="1140"/>
                    </a:lnTo>
                    <a:lnTo>
                      <a:pt x="1530" y="1140"/>
                    </a:lnTo>
                    <a:lnTo>
                      <a:pt x="1526" y="1142"/>
                    </a:lnTo>
                    <a:lnTo>
                      <a:pt x="1526" y="1146"/>
                    </a:lnTo>
                    <a:lnTo>
                      <a:pt x="1526" y="1152"/>
                    </a:lnTo>
                    <a:lnTo>
                      <a:pt x="1526" y="1160"/>
                    </a:lnTo>
                    <a:lnTo>
                      <a:pt x="1524" y="1162"/>
                    </a:lnTo>
                    <a:lnTo>
                      <a:pt x="1522" y="1166"/>
                    </a:lnTo>
                    <a:lnTo>
                      <a:pt x="1522" y="1166"/>
                    </a:lnTo>
                    <a:lnTo>
                      <a:pt x="1516" y="1172"/>
                    </a:lnTo>
                    <a:lnTo>
                      <a:pt x="1512" y="1178"/>
                    </a:lnTo>
                    <a:lnTo>
                      <a:pt x="1512" y="1182"/>
                    </a:lnTo>
                    <a:lnTo>
                      <a:pt x="1512" y="1186"/>
                    </a:lnTo>
                    <a:lnTo>
                      <a:pt x="1518" y="1192"/>
                    </a:lnTo>
                    <a:lnTo>
                      <a:pt x="1520" y="1194"/>
                    </a:lnTo>
                    <a:lnTo>
                      <a:pt x="1524" y="1198"/>
                    </a:lnTo>
                    <a:lnTo>
                      <a:pt x="1524" y="1198"/>
                    </a:lnTo>
                    <a:lnTo>
                      <a:pt x="1528" y="1210"/>
                    </a:lnTo>
                    <a:lnTo>
                      <a:pt x="1534" y="1222"/>
                    </a:lnTo>
                    <a:lnTo>
                      <a:pt x="1542" y="1232"/>
                    </a:lnTo>
                    <a:lnTo>
                      <a:pt x="1554" y="1244"/>
                    </a:lnTo>
                    <a:lnTo>
                      <a:pt x="1554" y="1244"/>
                    </a:lnTo>
                    <a:lnTo>
                      <a:pt x="1558" y="1246"/>
                    </a:lnTo>
                    <a:lnTo>
                      <a:pt x="1560" y="1244"/>
                    </a:lnTo>
                    <a:lnTo>
                      <a:pt x="1562" y="1236"/>
                    </a:lnTo>
                    <a:lnTo>
                      <a:pt x="1564" y="1230"/>
                    </a:lnTo>
                    <a:lnTo>
                      <a:pt x="1566" y="1224"/>
                    </a:lnTo>
                    <a:lnTo>
                      <a:pt x="1574" y="1218"/>
                    </a:lnTo>
                    <a:lnTo>
                      <a:pt x="1584" y="1216"/>
                    </a:lnTo>
                    <a:lnTo>
                      <a:pt x="1584" y="1216"/>
                    </a:lnTo>
                    <a:lnTo>
                      <a:pt x="1592" y="1216"/>
                    </a:lnTo>
                    <a:lnTo>
                      <a:pt x="1594" y="1216"/>
                    </a:lnTo>
                    <a:lnTo>
                      <a:pt x="1586" y="1222"/>
                    </a:lnTo>
                    <a:lnTo>
                      <a:pt x="1582" y="1228"/>
                    </a:lnTo>
                    <a:lnTo>
                      <a:pt x="1578" y="1234"/>
                    </a:lnTo>
                    <a:lnTo>
                      <a:pt x="1574" y="1240"/>
                    </a:lnTo>
                    <a:lnTo>
                      <a:pt x="1576" y="1248"/>
                    </a:lnTo>
                    <a:lnTo>
                      <a:pt x="1576" y="1248"/>
                    </a:lnTo>
                    <a:lnTo>
                      <a:pt x="1582" y="1258"/>
                    </a:lnTo>
                    <a:lnTo>
                      <a:pt x="1586" y="1260"/>
                    </a:lnTo>
                    <a:lnTo>
                      <a:pt x="1588" y="1262"/>
                    </a:lnTo>
                    <a:lnTo>
                      <a:pt x="1590" y="1274"/>
                    </a:lnTo>
                    <a:lnTo>
                      <a:pt x="1590" y="1274"/>
                    </a:lnTo>
                    <a:lnTo>
                      <a:pt x="1592" y="1280"/>
                    </a:lnTo>
                    <a:lnTo>
                      <a:pt x="1596" y="1280"/>
                    </a:lnTo>
                    <a:lnTo>
                      <a:pt x="1600" y="1280"/>
                    </a:lnTo>
                    <a:lnTo>
                      <a:pt x="1604" y="1278"/>
                    </a:lnTo>
                    <a:lnTo>
                      <a:pt x="1608" y="1278"/>
                    </a:lnTo>
                    <a:lnTo>
                      <a:pt x="1610" y="1278"/>
                    </a:lnTo>
                    <a:lnTo>
                      <a:pt x="1610" y="1280"/>
                    </a:lnTo>
                    <a:lnTo>
                      <a:pt x="1606" y="1290"/>
                    </a:lnTo>
                    <a:lnTo>
                      <a:pt x="1606" y="1290"/>
                    </a:lnTo>
                    <a:lnTo>
                      <a:pt x="1598" y="1306"/>
                    </a:lnTo>
                    <a:lnTo>
                      <a:pt x="1596" y="1318"/>
                    </a:lnTo>
                    <a:lnTo>
                      <a:pt x="1598" y="1322"/>
                    </a:lnTo>
                    <a:lnTo>
                      <a:pt x="1600" y="1322"/>
                    </a:lnTo>
                    <a:lnTo>
                      <a:pt x="1600" y="1322"/>
                    </a:lnTo>
                    <a:lnTo>
                      <a:pt x="1602" y="1322"/>
                    </a:lnTo>
                    <a:lnTo>
                      <a:pt x="1602" y="1324"/>
                    </a:lnTo>
                    <a:lnTo>
                      <a:pt x="1602" y="1330"/>
                    </a:lnTo>
                    <a:lnTo>
                      <a:pt x="1602" y="1336"/>
                    </a:lnTo>
                    <a:lnTo>
                      <a:pt x="1604" y="1340"/>
                    </a:lnTo>
                    <a:lnTo>
                      <a:pt x="1608" y="1342"/>
                    </a:lnTo>
                    <a:lnTo>
                      <a:pt x="1608" y="1342"/>
                    </a:lnTo>
                    <a:lnTo>
                      <a:pt x="1610" y="1342"/>
                    </a:lnTo>
                    <a:lnTo>
                      <a:pt x="1612" y="1340"/>
                    </a:lnTo>
                    <a:lnTo>
                      <a:pt x="1614" y="1330"/>
                    </a:lnTo>
                    <a:lnTo>
                      <a:pt x="1616" y="1320"/>
                    </a:lnTo>
                    <a:lnTo>
                      <a:pt x="1618" y="1316"/>
                    </a:lnTo>
                    <a:lnTo>
                      <a:pt x="1622" y="1314"/>
                    </a:lnTo>
                    <a:lnTo>
                      <a:pt x="1622" y="1314"/>
                    </a:lnTo>
                    <a:lnTo>
                      <a:pt x="1630" y="1310"/>
                    </a:lnTo>
                    <a:lnTo>
                      <a:pt x="1636" y="1304"/>
                    </a:lnTo>
                    <a:lnTo>
                      <a:pt x="1642" y="1300"/>
                    </a:lnTo>
                    <a:lnTo>
                      <a:pt x="1642" y="1300"/>
                    </a:lnTo>
                    <a:lnTo>
                      <a:pt x="1644" y="1304"/>
                    </a:lnTo>
                    <a:lnTo>
                      <a:pt x="1644" y="1304"/>
                    </a:lnTo>
                    <a:lnTo>
                      <a:pt x="1646" y="1306"/>
                    </a:lnTo>
                    <a:lnTo>
                      <a:pt x="1648" y="1308"/>
                    </a:lnTo>
                    <a:lnTo>
                      <a:pt x="1654" y="1308"/>
                    </a:lnTo>
                    <a:lnTo>
                      <a:pt x="1660" y="1308"/>
                    </a:lnTo>
                    <a:lnTo>
                      <a:pt x="1660" y="1310"/>
                    </a:lnTo>
                    <a:lnTo>
                      <a:pt x="1660" y="1314"/>
                    </a:lnTo>
                    <a:lnTo>
                      <a:pt x="1660" y="1314"/>
                    </a:lnTo>
                    <a:lnTo>
                      <a:pt x="1660" y="1318"/>
                    </a:lnTo>
                    <a:lnTo>
                      <a:pt x="1658" y="1318"/>
                    </a:lnTo>
                    <a:lnTo>
                      <a:pt x="1656" y="1316"/>
                    </a:lnTo>
                    <a:lnTo>
                      <a:pt x="1652" y="1314"/>
                    </a:lnTo>
                    <a:lnTo>
                      <a:pt x="1648" y="1312"/>
                    </a:lnTo>
                    <a:lnTo>
                      <a:pt x="1642" y="1314"/>
                    </a:lnTo>
                    <a:lnTo>
                      <a:pt x="1634" y="1318"/>
                    </a:lnTo>
                    <a:lnTo>
                      <a:pt x="1634" y="1318"/>
                    </a:lnTo>
                    <a:lnTo>
                      <a:pt x="1622" y="1330"/>
                    </a:lnTo>
                    <a:lnTo>
                      <a:pt x="1618" y="1336"/>
                    </a:lnTo>
                    <a:lnTo>
                      <a:pt x="1618" y="1342"/>
                    </a:lnTo>
                    <a:lnTo>
                      <a:pt x="1618" y="1350"/>
                    </a:lnTo>
                    <a:lnTo>
                      <a:pt x="1618" y="1350"/>
                    </a:lnTo>
                    <a:lnTo>
                      <a:pt x="1620" y="1356"/>
                    </a:lnTo>
                    <a:lnTo>
                      <a:pt x="1622" y="1358"/>
                    </a:lnTo>
                    <a:lnTo>
                      <a:pt x="1626" y="1360"/>
                    </a:lnTo>
                    <a:lnTo>
                      <a:pt x="1628" y="1362"/>
                    </a:lnTo>
                    <a:lnTo>
                      <a:pt x="1624" y="1366"/>
                    </a:lnTo>
                    <a:lnTo>
                      <a:pt x="1624" y="1366"/>
                    </a:lnTo>
                    <a:lnTo>
                      <a:pt x="1622" y="1368"/>
                    </a:lnTo>
                    <a:lnTo>
                      <a:pt x="1622" y="1370"/>
                    </a:lnTo>
                    <a:lnTo>
                      <a:pt x="1624" y="1372"/>
                    </a:lnTo>
                    <a:lnTo>
                      <a:pt x="1626" y="1374"/>
                    </a:lnTo>
                    <a:lnTo>
                      <a:pt x="1624" y="1376"/>
                    </a:lnTo>
                    <a:lnTo>
                      <a:pt x="1624" y="1376"/>
                    </a:lnTo>
                    <a:lnTo>
                      <a:pt x="1620" y="1378"/>
                    </a:lnTo>
                    <a:lnTo>
                      <a:pt x="1620" y="1382"/>
                    </a:lnTo>
                    <a:lnTo>
                      <a:pt x="1620" y="1384"/>
                    </a:lnTo>
                    <a:lnTo>
                      <a:pt x="1622" y="1386"/>
                    </a:lnTo>
                    <a:lnTo>
                      <a:pt x="1630" y="1392"/>
                    </a:lnTo>
                    <a:lnTo>
                      <a:pt x="1642" y="1396"/>
                    </a:lnTo>
                    <a:lnTo>
                      <a:pt x="1642" y="1396"/>
                    </a:lnTo>
                    <a:lnTo>
                      <a:pt x="1650" y="1398"/>
                    </a:lnTo>
                    <a:lnTo>
                      <a:pt x="1656" y="1396"/>
                    </a:lnTo>
                    <a:lnTo>
                      <a:pt x="1662" y="1394"/>
                    </a:lnTo>
                    <a:lnTo>
                      <a:pt x="1670" y="1394"/>
                    </a:lnTo>
                    <a:lnTo>
                      <a:pt x="1670" y="1394"/>
                    </a:lnTo>
                    <a:lnTo>
                      <a:pt x="1676" y="1396"/>
                    </a:lnTo>
                    <a:lnTo>
                      <a:pt x="1676" y="1398"/>
                    </a:lnTo>
                    <a:lnTo>
                      <a:pt x="1676" y="1400"/>
                    </a:lnTo>
                    <a:lnTo>
                      <a:pt x="1682" y="1400"/>
                    </a:lnTo>
                    <a:lnTo>
                      <a:pt x="1682" y="1400"/>
                    </a:lnTo>
                    <a:lnTo>
                      <a:pt x="1688" y="1402"/>
                    </a:lnTo>
                    <a:lnTo>
                      <a:pt x="1688" y="1404"/>
                    </a:lnTo>
                    <a:lnTo>
                      <a:pt x="1686" y="1412"/>
                    </a:lnTo>
                    <a:lnTo>
                      <a:pt x="1686" y="1416"/>
                    </a:lnTo>
                    <a:lnTo>
                      <a:pt x="1686" y="1420"/>
                    </a:lnTo>
                    <a:lnTo>
                      <a:pt x="1688" y="1422"/>
                    </a:lnTo>
                    <a:lnTo>
                      <a:pt x="1694" y="1420"/>
                    </a:lnTo>
                    <a:lnTo>
                      <a:pt x="1694" y="1420"/>
                    </a:lnTo>
                    <a:lnTo>
                      <a:pt x="1700" y="1420"/>
                    </a:lnTo>
                    <a:lnTo>
                      <a:pt x="1702" y="1422"/>
                    </a:lnTo>
                    <a:lnTo>
                      <a:pt x="1706" y="1424"/>
                    </a:lnTo>
                    <a:lnTo>
                      <a:pt x="1714" y="1422"/>
                    </a:lnTo>
                    <a:lnTo>
                      <a:pt x="1714" y="1422"/>
                    </a:lnTo>
                    <a:lnTo>
                      <a:pt x="1718" y="1422"/>
                    </a:lnTo>
                    <a:lnTo>
                      <a:pt x="1722" y="1422"/>
                    </a:lnTo>
                    <a:lnTo>
                      <a:pt x="1730" y="1426"/>
                    </a:lnTo>
                    <a:lnTo>
                      <a:pt x="1736" y="1430"/>
                    </a:lnTo>
                    <a:lnTo>
                      <a:pt x="1738" y="1430"/>
                    </a:lnTo>
                    <a:lnTo>
                      <a:pt x="1742" y="1428"/>
                    </a:lnTo>
                    <a:lnTo>
                      <a:pt x="1742" y="1428"/>
                    </a:lnTo>
                    <a:lnTo>
                      <a:pt x="1744" y="1428"/>
                    </a:lnTo>
                    <a:lnTo>
                      <a:pt x="1748" y="1430"/>
                    </a:lnTo>
                    <a:lnTo>
                      <a:pt x="1750" y="1434"/>
                    </a:lnTo>
                    <a:lnTo>
                      <a:pt x="1750" y="1442"/>
                    </a:lnTo>
                    <a:lnTo>
                      <a:pt x="1748" y="1444"/>
                    </a:lnTo>
                    <a:lnTo>
                      <a:pt x="1744" y="1446"/>
                    </a:lnTo>
                    <a:lnTo>
                      <a:pt x="1744" y="1446"/>
                    </a:lnTo>
                    <a:lnTo>
                      <a:pt x="1742" y="1448"/>
                    </a:lnTo>
                    <a:lnTo>
                      <a:pt x="1742" y="1450"/>
                    </a:lnTo>
                    <a:lnTo>
                      <a:pt x="1748" y="1458"/>
                    </a:lnTo>
                    <a:lnTo>
                      <a:pt x="1758" y="1464"/>
                    </a:lnTo>
                    <a:lnTo>
                      <a:pt x="1764" y="1464"/>
                    </a:lnTo>
                    <a:lnTo>
                      <a:pt x="1768" y="1464"/>
                    </a:lnTo>
                    <a:lnTo>
                      <a:pt x="1768" y="1464"/>
                    </a:lnTo>
                    <a:lnTo>
                      <a:pt x="1774" y="1458"/>
                    </a:lnTo>
                    <a:lnTo>
                      <a:pt x="1778" y="1454"/>
                    </a:lnTo>
                    <a:lnTo>
                      <a:pt x="1778" y="1452"/>
                    </a:lnTo>
                    <a:lnTo>
                      <a:pt x="1778" y="1454"/>
                    </a:lnTo>
                    <a:lnTo>
                      <a:pt x="1780" y="1460"/>
                    </a:lnTo>
                    <a:lnTo>
                      <a:pt x="1780" y="1460"/>
                    </a:lnTo>
                    <a:lnTo>
                      <a:pt x="1780" y="1468"/>
                    </a:lnTo>
                    <a:lnTo>
                      <a:pt x="1784" y="1470"/>
                    </a:lnTo>
                    <a:lnTo>
                      <a:pt x="1786" y="1470"/>
                    </a:lnTo>
                    <a:lnTo>
                      <a:pt x="1786" y="1474"/>
                    </a:lnTo>
                    <a:lnTo>
                      <a:pt x="1786" y="1474"/>
                    </a:lnTo>
                    <a:lnTo>
                      <a:pt x="1784" y="1476"/>
                    </a:lnTo>
                    <a:lnTo>
                      <a:pt x="1782" y="1476"/>
                    </a:lnTo>
                    <a:lnTo>
                      <a:pt x="1780" y="1472"/>
                    </a:lnTo>
                    <a:lnTo>
                      <a:pt x="1776" y="1468"/>
                    </a:lnTo>
                    <a:lnTo>
                      <a:pt x="1774" y="1468"/>
                    </a:lnTo>
                    <a:lnTo>
                      <a:pt x="1772" y="1470"/>
                    </a:lnTo>
                    <a:lnTo>
                      <a:pt x="1772" y="1470"/>
                    </a:lnTo>
                    <a:lnTo>
                      <a:pt x="1770" y="1472"/>
                    </a:lnTo>
                    <a:lnTo>
                      <a:pt x="1772" y="1476"/>
                    </a:lnTo>
                    <a:lnTo>
                      <a:pt x="1780" y="1484"/>
                    </a:lnTo>
                    <a:lnTo>
                      <a:pt x="1790" y="1486"/>
                    </a:lnTo>
                    <a:lnTo>
                      <a:pt x="1794" y="1486"/>
                    </a:lnTo>
                    <a:lnTo>
                      <a:pt x="1794" y="1484"/>
                    </a:lnTo>
                    <a:lnTo>
                      <a:pt x="1794" y="1484"/>
                    </a:lnTo>
                    <a:lnTo>
                      <a:pt x="1796" y="1478"/>
                    </a:lnTo>
                    <a:lnTo>
                      <a:pt x="1800" y="1474"/>
                    </a:lnTo>
                    <a:lnTo>
                      <a:pt x="1804" y="1474"/>
                    </a:lnTo>
                    <a:lnTo>
                      <a:pt x="1804" y="1478"/>
                    </a:lnTo>
                    <a:lnTo>
                      <a:pt x="1804" y="1478"/>
                    </a:lnTo>
                    <a:lnTo>
                      <a:pt x="1804" y="1486"/>
                    </a:lnTo>
                    <a:lnTo>
                      <a:pt x="1806" y="1492"/>
                    </a:lnTo>
                    <a:lnTo>
                      <a:pt x="1808" y="1498"/>
                    </a:lnTo>
                    <a:lnTo>
                      <a:pt x="1808" y="1504"/>
                    </a:lnTo>
                    <a:lnTo>
                      <a:pt x="1808" y="1504"/>
                    </a:lnTo>
                    <a:lnTo>
                      <a:pt x="1808" y="1510"/>
                    </a:lnTo>
                    <a:lnTo>
                      <a:pt x="1810" y="1512"/>
                    </a:lnTo>
                    <a:lnTo>
                      <a:pt x="1812" y="1510"/>
                    </a:lnTo>
                    <a:lnTo>
                      <a:pt x="1816" y="1506"/>
                    </a:lnTo>
                    <a:lnTo>
                      <a:pt x="1816" y="1506"/>
                    </a:lnTo>
                    <a:lnTo>
                      <a:pt x="1818" y="1504"/>
                    </a:lnTo>
                    <a:lnTo>
                      <a:pt x="1820" y="1506"/>
                    </a:lnTo>
                    <a:lnTo>
                      <a:pt x="1822" y="1508"/>
                    </a:lnTo>
                    <a:lnTo>
                      <a:pt x="1822" y="1508"/>
                    </a:lnTo>
                    <a:lnTo>
                      <a:pt x="1822" y="1516"/>
                    </a:lnTo>
                    <a:lnTo>
                      <a:pt x="1824" y="1520"/>
                    </a:lnTo>
                    <a:lnTo>
                      <a:pt x="1828" y="1526"/>
                    </a:lnTo>
                    <a:lnTo>
                      <a:pt x="1832" y="1528"/>
                    </a:lnTo>
                    <a:lnTo>
                      <a:pt x="1832" y="1530"/>
                    </a:lnTo>
                    <a:lnTo>
                      <a:pt x="1832" y="1534"/>
                    </a:lnTo>
                    <a:lnTo>
                      <a:pt x="1832" y="1534"/>
                    </a:lnTo>
                    <a:lnTo>
                      <a:pt x="1832" y="1538"/>
                    </a:lnTo>
                    <a:lnTo>
                      <a:pt x="1830" y="1538"/>
                    </a:lnTo>
                    <a:lnTo>
                      <a:pt x="1826" y="1540"/>
                    </a:lnTo>
                    <a:lnTo>
                      <a:pt x="1824" y="1540"/>
                    </a:lnTo>
                    <a:lnTo>
                      <a:pt x="1824" y="1542"/>
                    </a:lnTo>
                    <a:lnTo>
                      <a:pt x="1830" y="1550"/>
                    </a:lnTo>
                    <a:lnTo>
                      <a:pt x="1830" y="1550"/>
                    </a:lnTo>
                    <a:lnTo>
                      <a:pt x="1836" y="1562"/>
                    </a:lnTo>
                    <a:lnTo>
                      <a:pt x="1840" y="1570"/>
                    </a:lnTo>
                    <a:lnTo>
                      <a:pt x="1840" y="1582"/>
                    </a:lnTo>
                    <a:lnTo>
                      <a:pt x="1840" y="1600"/>
                    </a:lnTo>
                    <a:lnTo>
                      <a:pt x="1840" y="1600"/>
                    </a:lnTo>
                    <a:lnTo>
                      <a:pt x="1838" y="1608"/>
                    </a:lnTo>
                    <a:lnTo>
                      <a:pt x="1836" y="1610"/>
                    </a:lnTo>
                    <a:lnTo>
                      <a:pt x="1834" y="1608"/>
                    </a:lnTo>
                    <a:lnTo>
                      <a:pt x="1834" y="1604"/>
                    </a:lnTo>
                    <a:lnTo>
                      <a:pt x="1828" y="1570"/>
                    </a:lnTo>
                    <a:lnTo>
                      <a:pt x="1828" y="1570"/>
                    </a:lnTo>
                    <a:lnTo>
                      <a:pt x="1824" y="1564"/>
                    </a:lnTo>
                    <a:lnTo>
                      <a:pt x="1816" y="1560"/>
                    </a:lnTo>
                    <a:lnTo>
                      <a:pt x="1808" y="1558"/>
                    </a:lnTo>
                    <a:lnTo>
                      <a:pt x="1798" y="1556"/>
                    </a:lnTo>
                    <a:lnTo>
                      <a:pt x="1776" y="1554"/>
                    </a:lnTo>
                    <a:lnTo>
                      <a:pt x="1766" y="1552"/>
                    </a:lnTo>
                    <a:lnTo>
                      <a:pt x="1758" y="1548"/>
                    </a:lnTo>
                    <a:lnTo>
                      <a:pt x="1758" y="1548"/>
                    </a:lnTo>
                    <a:lnTo>
                      <a:pt x="1752" y="1546"/>
                    </a:lnTo>
                    <a:lnTo>
                      <a:pt x="1746" y="1546"/>
                    </a:lnTo>
                    <a:lnTo>
                      <a:pt x="1744" y="1548"/>
                    </a:lnTo>
                    <a:lnTo>
                      <a:pt x="1742" y="1552"/>
                    </a:lnTo>
                    <a:lnTo>
                      <a:pt x="1744" y="1556"/>
                    </a:lnTo>
                    <a:lnTo>
                      <a:pt x="1746" y="1564"/>
                    </a:lnTo>
                    <a:lnTo>
                      <a:pt x="1754" y="1578"/>
                    </a:lnTo>
                    <a:lnTo>
                      <a:pt x="1754" y="1578"/>
                    </a:lnTo>
                    <a:lnTo>
                      <a:pt x="1758" y="1586"/>
                    </a:lnTo>
                    <a:lnTo>
                      <a:pt x="1764" y="1598"/>
                    </a:lnTo>
                    <a:lnTo>
                      <a:pt x="1770" y="1626"/>
                    </a:lnTo>
                    <a:lnTo>
                      <a:pt x="1774" y="1658"/>
                    </a:lnTo>
                    <a:lnTo>
                      <a:pt x="1774" y="1690"/>
                    </a:lnTo>
                    <a:lnTo>
                      <a:pt x="1774" y="1690"/>
                    </a:lnTo>
                    <a:lnTo>
                      <a:pt x="1774" y="1726"/>
                    </a:lnTo>
                    <a:lnTo>
                      <a:pt x="1770" y="1768"/>
                    </a:lnTo>
                    <a:lnTo>
                      <a:pt x="1766" y="1810"/>
                    </a:lnTo>
                    <a:lnTo>
                      <a:pt x="1762" y="1828"/>
                    </a:lnTo>
                    <a:lnTo>
                      <a:pt x="1756" y="1842"/>
                    </a:lnTo>
                    <a:lnTo>
                      <a:pt x="1756" y="1842"/>
                    </a:lnTo>
                    <a:lnTo>
                      <a:pt x="1754" y="1854"/>
                    </a:lnTo>
                    <a:lnTo>
                      <a:pt x="1754" y="1870"/>
                    </a:lnTo>
                    <a:lnTo>
                      <a:pt x="1756" y="1886"/>
                    </a:lnTo>
                    <a:lnTo>
                      <a:pt x="1760" y="1904"/>
                    </a:lnTo>
                    <a:lnTo>
                      <a:pt x="1764" y="1920"/>
                    </a:lnTo>
                    <a:lnTo>
                      <a:pt x="1766" y="1938"/>
                    </a:lnTo>
                    <a:lnTo>
                      <a:pt x="1766" y="1956"/>
                    </a:lnTo>
                    <a:lnTo>
                      <a:pt x="1762" y="1972"/>
                    </a:lnTo>
                    <a:lnTo>
                      <a:pt x="1762" y="1972"/>
                    </a:lnTo>
                    <a:lnTo>
                      <a:pt x="1760" y="1986"/>
                    </a:lnTo>
                    <a:lnTo>
                      <a:pt x="1758" y="1996"/>
                    </a:lnTo>
                    <a:lnTo>
                      <a:pt x="1762" y="2006"/>
                    </a:lnTo>
                    <a:lnTo>
                      <a:pt x="1766" y="2012"/>
                    </a:lnTo>
                    <a:lnTo>
                      <a:pt x="1774" y="2030"/>
                    </a:lnTo>
                    <a:lnTo>
                      <a:pt x="1778" y="2042"/>
                    </a:lnTo>
                    <a:lnTo>
                      <a:pt x="1780" y="2056"/>
                    </a:lnTo>
                    <a:lnTo>
                      <a:pt x="1780" y="2056"/>
                    </a:lnTo>
                    <a:lnTo>
                      <a:pt x="1784" y="2072"/>
                    </a:lnTo>
                    <a:lnTo>
                      <a:pt x="1786" y="2082"/>
                    </a:lnTo>
                    <a:lnTo>
                      <a:pt x="1792" y="2090"/>
                    </a:lnTo>
                    <a:lnTo>
                      <a:pt x="1798" y="2096"/>
                    </a:lnTo>
                    <a:lnTo>
                      <a:pt x="1808" y="2104"/>
                    </a:lnTo>
                    <a:lnTo>
                      <a:pt x="1812" y="2110"/>
                    </a:lnTo>
                    <a:lnTo>
                      <a:pt x="1814" y="2118"/>
                    </a:lnTo>
                    <a:lnTo>
                      <a:pt x="1814" y="2118"/>
                    </a:lnTo>
                    <a:lnTo>
                      <a:pt x="1816" y="2124"/>
                    </a:lnTo>
                    <a:lnTo>
                      <a:pt x="1818" y="2128"/>
                    </a:lnTo>
                    <a:lnTo>
                      <a:pt x="1824" y="2132"/>
                    </a:lnTo>
                    <a:lnTo>
                      <a:pt x="1828" y="2136"/>
                    </a:lnTo>
                    <a:lnTo>
                      <a:pt x="1832" y="2140"/>
                    </a:lnTo>
                    <a:lnTo>
                      <a:pt x="1834" y="2146"/>
                    </a:lnTo>
                    <a:lnTo>
                      <a:pt x="1836" y="2158"/>
                    </a:lnTo>
                    <a:lnTo>
                      <a:pt x="1836" y="2158"/>
                    </a:lnTo>
                    <a:lnTo>
                      <a:pt x="1838" y="2170"/>
                    </a:lnTo>
                    <a:lnTo>
                      <a:pt x="1842" y="2178"/>
                    </a:lnTo>
                    <a:lnTo>
                      <a:pt x="1846" y="2182"/>
                    </a:lnTo>
                    <a:lnTo>
                      <a:pt x="1852" y="2186"/>
                    </a:lnTo>
                    <a:lnTo>
                      <a:pt x="1856" y="2188"/>
                    </a:lnTo>
                    <a:lnTo>
                      <a:pt x="1860" y="2190"/>
                    </a:lnTo>
                    <a:lnTo>
                      <a:pt x="1862" y="2194"/>
                    </a:lnTo>
                    <a:lnTo>
                      <a:pt x="1860" y="2200"/>
                    </a:lnTo>
                    <a:lnTo>
                      <a:pt x="1860" y="2200"/>
                    </a:lnTo>
                    <a:lnTo>
                      <a:pt x="1858" y="2208"/>
                    </a:lnTo>
                    <a:lnTo>
                      <a:pt x="1858" y="2214"/>
                    </a:lnTo>
                    <a:lnTo>
                      <a:pt x="1860" y="2218"/>
                    </a:lnTo>
                    <a:lnTo>
                      <a:pt x="1862" y="2224"/>
                    </a:lnTo>
                    <a:lnTo>
                      <a:pt x="1872" y="2238"/>
                    </a:lnTo>
                    <a:lnTo>
                      <a:pt x="1890" y="2260"/>
                    </a:lnTo>
                    <a:lnTo>
                      <a:pt x="1890" y="2260"/>
                    </a:lnTo>
                    <a:lnTo>
                      <a:pt x="1900" y="2272"/>
                    </a:lnTo>
                    <a:lnTo>
                      <a:pt x="1904" y="2282"/>
                    </a:lnTo>
                    <a:lnTo>
                      <a:pt x="1908" y="2292"/>
                    </a:lnTo>
                    <a:lnTo>
                      <a:pt x="1908" y="2298"/>
                    </a:lnTo>
                    <a:lnTo>
                      <a:pt x="1910" y="2310"/>
                    </a:lnTo>
                    <a:lnTo>
                      <a:pt x="1912" y="2314"/>
                    </a:lnTo>
                    <a:lnTo>
                      <a:pt x="1916" y="2318"/>
                    </a:lnTo>
                    <a:lnTo>
                      <a:pt x="1916" y="2318"/>
                    </a:lnTo>
                    <a:lnTo>
                      <a:pt x="1920" y="2322"/>
                    </a:lnTo>
                    <a:lnTo>
                      <a:pt x="1926" y="2324"/>
                    </a:lnTo>
                    <a:lnTo>
                      <a:pt x="1940" y="2326"/>
                    </a:lnTo>
                    <a:lnTo>
                      <a:pt x="1948" y="2328"/>
                    </a:lnTo>
                    <a:lnTo>
                      <a:pt x="1958" y="2332"/>
                    </a:lnTo>
                    <a:lnTo>
                      <a:pt x="1968" y="2336"/>
                    </a:lnTo>
                    <a:lnTo>
                      <a:pt x="1978" y="2344"/>
                    </a:lnTo>
                    <a:lnTo>
                      <a:pt x="1978" y="2344"/>
                    </a:lnTo>
                    <a:lnTo>
                      <a:pt x="1986" y="2352"/>
                    </a:lnTo>
                    <a:lnTo>
                      <a:pt x="1994" y="2358"/>
                    </a:lnTo>
                    <a:lnTo>
                      <a:pt x="2006" y="2360"/>
                    </a:lnTo>
                    <a:lnTo>
                      <a:pt x="2016" y="2364"/>
                    </a:lnTo>
                    <a:lnTo>
                      <a:pt x="2022" y="2368"/>
                    </a:lnTo>
                    <a:lnTo>
                      <a:pt x="2030" y="2374"/>
                    </a:lnTo>
                    <a:lnTo>
                      <a:pt x="2030" y="2374"/>
                    </a:lnTo>
                    <a:lnTo>
                      <a:pt x="2036" y="2382"/>
                    </a:lnTo>
                    <a:lnTo>
                      <a:pt x="2040" y="2388"/>
                    </a:lnTo>
                    <a:lnTo>
                      <a:pt x="2046" y="2400"/>
                    </a:lnTo>
                    <a:lnTo>
                      <a:pt x="2048" y="2410"/>
                    </a:lnTo>
                    <a:lnTo>
                      <a:pt x="2052" y="2424"/>
                    </a:lnTo>
                    <a:lnTo>
                      <a:pt x="2052" y="2424"/>
                    </a:lnTo>
                    <a:lnTo>
                      <a:pt x="2052" y="2424"/>
                    </a:lnTo>
                    <a:lnTo>
                      <a:pt x="2052" y="2424"/>
                    </a:lnTo>
                    <a:lnTo>
                      <a:pt x="2066" y="2454"/>
                    </a:lnTo>
                    <a:lnTo>
                      <a:pt x="2078" y="2480"/>
                    </a:lnTo>
                    <a:lnTo>
                      <a:pt x="2092" y="2520"/>
                    </a:lnTo>
                    <a:lnTo>
                      <a:pt x="2100" y="2548"/>
                    </a:lnTo>
                    <a:lnTo>
                      <a:pt x="2106" y="2560"/>
                    </a:lnTo>
                    <a:lnTo>
                      <a:pt x="2112" y="2568"/>
                    </a:lnTo>
                    <a:lnTo>
                      <a:pt x="2112" y="2568"/>
                    </a:lnTo>
                    <a:lnTo>
                      <a:pt x="2120" y="2578"/>
                    </a:lnTo>
                    <a:lnTo>
                      <a:pt x="2130" y="2586"/>
                    </a:lnTo>
                    <a:lnTo>
                      <a:pt x="2150" y="2604"/>
                    </a:lnTo>
                    <a:lnTo>
                      <a:pt x="2160" y="2614"/>
                    </a:lnTo>
                    <a:lnTo>
                      <a:pt x="2166" y="2624"/>
                    </a:lnTo>
                    <a:lnTo>
                      <a:pt x="2170" y="2636"/>
                    </a:lnTo>
                    <a:lnTo>
                      <a:pt x="2170" y="2650"/>
                    </a:lnTo>
                    <a:lnTo>
                      <a:pt x="2170" y="2650"/>
                    </a:lnTo>
                    <a:lnTo>
                      <a:pt x="2170" y="2656"/>
                    </a:lnTo>
                    <a:lnTo>
                      <a:pt x="2168" y="2662"/>
                    </a:lnTo>
                    <a:lnTo>
                      <a:pt x="2164" y="2664"/>
                    </a:lnTo>
                    <a:lnTo>
                      <a:pt x="2162" y="2668"/>
                    </a:lnTo>
                    <a:lnTo>
                      <a:pt x="2154" y="2668"/>
                    </a:lnTo>
                    <a:lnTo>
                      <a:pt x="2148" y="2668"/>
                    </a:lnTo>
                    <a:lnTo>
                      <a:pt x="2142" y="2668"/>
                    </a:lnTo>
                    <a:lnTo>
                      <a:pt x="2138" y="2668"/>
                    </a:lnTo>
                    <a:lnTo>
                      <a:pt x="2140" y="2672"/>
                    </a:lnTo>
                    <a:lnTo>
                      <a:pt x="2146" y="2682"/>
                    </a:lnTo>
                    <a:lnTo>
                      <a:pt x="2146" y="2682"/>
                    </a:lnTo>
                    <a:lnTo>
                      <a:pt x="2156" y="2692"/>
                    </a:lnTo>
                    <a:lnTo>
                      <a:pt x="2166" y="2700"/>
                    </a:lnTo>
                    <a:lnTo>
                      <a:pt x="2188" y="2716"/>
                    </a:lnTo>
                    <a:lnTo>
                      <a:pt x="2212" y="2730"/>
                    </a:lnTo>
                    <a:lnTo>
                      <a:pt x="2226" y="2738"/>
                    </a:lnTo>
                    <a:lnTo>
                      <a:pt x="2238" y="2748"/>
                    </a:lnTo>
                    <a:lnTo>
                      <a:pt x="2238" y="2748"/>
                    </a:lnTo>
                    <a:lnTo>
                      <a:pt x="2244" y="2754"/>
                    </a:lnTo>
                    <a:lnTo>
                      <a:pt x="2248" y="2758"/>
                    </a:lnTo>
                    <a:lnTo>
                      <a:pt x="2250" y="2764"/>
                    </a:lnTo>
                    <a:lnTo>
                      <a:pt x="2252" y="2770"/>
                    </a:lnTo>
                    <a:lnTo>
                      <a:pt x="2250" y="2782"/>
                    </a:lnTo>
                    <a:lnTo>
                      <a:pt x="2250" y="2794"/>
                    </a:lnTo>
                    <a:lnTo>
                      <a:pt x="2248" y="2808"/>
                    </a:lnTo>
                    <a:lnTo>
                      <a:pt x="2250" y="2814"/>
                    </a:lnTo>
                    <a:lnTo>
                      <a:pt x="2252" y="2820"/>
                    </a:lnTo>
                    <a:lnTo>
                      <a:pt x="2256" y="2828"/>
                    </a:lnTo>
                    <a:lnTo>
                      <a:pt x="2262" y="2834"/>
                    </a:lnTo>
                    <a:lnTo>
                      <a:pt x="2270" y="2842"/>
                    </a:lnTo>
                    <a:lnTo>
                      <a:pt x="2280" y="2850"/>
                    </a:lnTo>
                    <a:lnTo>
                      <a:pt x="2280" y="2850"/>
                    </a:lnTo>
                    <a:lnTo>
                      <a:pt x="2300" y="2866"/>
                    </a:lnTo>
                    <a:lnTo>
                      <a:pt x="2316" y="2882"/>
                    </a:lnTo>
                    <a:lnTo>
                      <a:pt x="2326" y="2894"/>
                    </a:lnTo>
                    <a:lnTo>
                      <a:pt x="2332" y="2906"/>
                    </a:lnTo>
                    <a:lnTo>
                      <a:pt x="2336" y="2914"/>
                    </a:lnTo>
                    <a:lnTo>
                      <a:pt x="2340" y="2918"/>
                    </a:lnTo>
                    <a:lnTo>
                      <a:pt x="2344" y="2920"/>
                    </a:lnTo>
                    <a:lnTo>
                      <a:pt x="2350" y="2916"/>
                    </a:lnTo>
                    <a:lnTo>
                      <a:pt x="2350" y="2916"/>
                    </a:lnTo>
                    <a:lnTo>
                      <a:pt x="2358" y="2910"/>
                    </a:lnTo>
                    <a:lnTo>
                      <a:pt x="2362" y="2906"/>
                    </a:lnTo>
                    <a:lnTo>
                      <a:pt x="2364" y="2900"/>
                    </a:lnTo>
                    <a:lnTo>
                      <a:pt x="2364" y="2896"/>
                    </a:lnTo>
                    <a:lnTo>
                      <a:pt x="2358" y="2884"/>
                    </a:lnTo>
                    <a:lnTo>
                      <a:pt x="2346" y="2864"/>
                    </a:lnTo>
                    <a:lnTo>
                      <a:pt x="2346" y="2864"/>
                    </a:lnTo>
                    <a:lnTo>
                      <a:pt x="2340" y="2856"/>
                    </a:lnTo>
                    <a:lnTo>
                      <a:pt x="2336" y="2850"/>
                    </a:lnTo>
                    <a:lnTo>
                      <a:pt x="2332" y="2850"/>
                    </a:lnTo>
                    <a:lnTo>
                      <a:pt x="2330" y="2850"/>
                    </a:lnTo>
                    <a:lnTo>
                      <a:pt x="2324" y="2854"/>
                    </a:lnTo>
                    <a:lnTo>
                      <a:pt x="2320" y="2854"/>
                    </a:lnTo>
                    <a:lnTo>
                      <a:pt x="2316" y="2850"/>
                    </a:lnTo>
                    <a:lnTo>
                      <a:pt x="2316" y="2850"/>
                    </a:lnTo>
                    <a:lnTo>
                      <a:pt x="2312" y="2846"/>
                    </a:lnTo>
                    <a:lnTo>
                      <a:pt x="2310" y="2842"/>
                    </a:lnTo>
                    <a:lnTo>
                      <a:pt x="2310" y="2832"/>
                    </a:lnTo>
                    <a:lnTo>
                      <a:pt x="2310" y="2826"/>
                    </a:lnTo>
                    <a:lnTo>
                      <a:pt x="2310" y="2820"/>
                    </a:lnTo>
                    <a:lnTo>
                      <a:pt x="2306" y="2810"/>
                    </a:lnTo>
                    <a:lnTo>
                      <a:pt x="2300" y="2798"/>
                    </a:lnTo>
                    <a:lnTo>
                      <a:pt x="2300" y="2798"/>
                    </a:lnTo>
                    <a:lnTo>
                      <a:pt x="2290" y="2776"/>
                    </a:lnTo>
                    <a:lnTo>
                      <a:pt x="2286" y="2762"/>
                    </a:lnTo>
                    <a:lnTo>
                      <a:pt x="2282" y="2748"/>
                    </a:lnTo>
                    <a:lnTo>
                      <a:pt x="2276" y="2730"/>
                    </a:lnTo>
                    <a:lnTo>
                      <a:pt x="2276" y="2730"/>
                    </a:lnTo>
                    <a:lnTo>
                      <a:pt x="2270" y="2718"/>
                    </a:lnTo>
                    <a:lnTo>
                      <a:pt x="2264" y="2708"/>
                    </a:lnTo>
                    <a:lnTo>
                      <a:pt x="2250" y="2690"/>
                    </a:lnTo>
                    <a:lnTo>
                      <a:pt x="2236" y="2672"/>
                    </a:lnTo>
                    <a:lnTo>
                      <a:pt x="2230" y="2662"/>
                    </a:lnTo>
                    <a:lnTo>
                      <a:pt x="2224" y="2648"/>
                    </a:lnTo>
                    <a:lnTo>
                      <a:pt x="2224" y="2648"/>
                    </a:lnTo>
                    <a:lnTo>
                      <a:pt x="2220" y="2636"/>
                    </a:lnTo>
                    <a:lnTo>
                      <a:pt x="2214" y="2624"/>
                    </a:lnTo>
                    <a:lnTo>
                      <a:pt x="2198" y="2604"/>
                    </a:lnTo>
                    <a:lnTo>
                      <a:pt x="2182" y="2584"/>
                    </a:lnTo>
                    <a:lnTo>
                      <a:pt x="2168" y="2564"/>
                    </a:lnTo>
                    <a:lnTo>
                      <a:pt x="2168" y="2564"/>
                    </a:lnTo>
                    <a:lnTo>
                      <a:pt x="2160" y="2550"/>
                    </a:lnTo>
                    <a:lnTo>
                      <a:pt x="2154" y="2534"/>
                    </a:lnTo>
                    <a:lnTo>
                      <a:pt x="2148" y="2516"/>
                    </a:lnTo>
                    <a:lnTo>
                      <a:pt x="2144" y="2498"/>
                    </a:lnTo>
                    <a:lnTo>
                      <a:pt x="2142" y="2482"/>
                    </a:lnTo>
                    <a:lnTo>
                      <a:pt x="2142" y="2470"/>
                    </a:lnTo>
                    <a:lnTo>
                      <a:pt x="2144" y="2466"/>
                    </a:lnTo>
                    <a:lnTo>
                      <a:pt x="2146" y="2464"/>
                    </a:lnTo>
                    <a:lnTo>
                      <a:pt x="2148" y="2464"/>
                    </a:lnTo>
                    <a:lnTo>
                      <a:pt x="2154" y="2466"/>
                    </a:lnTo>
                    <a:lnTo>
                      <a:pt x="2154" y="2466"/>
                    </a:lnTo>
                    <a:lnTo>
                      <a:pt x="2168" y="2474"/>
                    </a:lnTo>
                    <a:lnTo>
                      <a:pt x="2172" y="2476"/>
                    </a:lnTo>
                    <a:lnTo>
                      <a:pt x="2178" y="2474"/>
                    </a:lnTo>
                    <a:lnTo>
                      <a:pt x="2186" y="2478"/>
                    </a:lnTo>
                    <a:lnTo>
                      <a:pt x="2186" y="2478"/>
                    </a:lnTo>
                    <a:lnTo>
                      <a:pt x="2198" y="2484"/>
                    </a:lnTo>
                    <a:lnTo>
                      <a:pt x="2202" y="2488"/>
                    </a:lnTo>
                    <a:lnTo>
                      <a:pt x="2206" y="2492"/>
                    </a:lnTo>
                    <a:lnTo>
                      <a:pt x="2214" y="2508"/>
                    </a:lnTo>
                    <a:lnTo>
                      <a:pt x="2222" y="2536"/>
                    </a:lnTo>
                    <a:lnTo>
                      <a:pt x="2222" y="2536"/>
                    </a:lnTo>
                    <a:lnTo>
                      <a:pt x="2228" y="2556"/>
                    </a:lnTo>
                    <a:lnTo>
                      <a:pt x="2236" y="2574"/>
                    </a:lnTo>
                    <a:lnTo>
                      <a:pt x="2244" y="2594"/>
                    </a:lnTo>
                    <a:lnTo>
                      <a:pt x="2254" y="2612"/>
                    </a:lnTo>
                    <a:lnTo>
                      <a:pt x="2264" y="2628"/>
                    </a:lnTo>
                    <a:lnTo>
                      <a:pt x="2276" y="2642"/>
                    </a:lnTo>
                    <a:lnTo>
                      <a:pt x="2288" y="2654"/>
                    </a:lnTo>
                    <a:lnTo>
                      <a:pt x="2300" y="2664"/>
                    </a:lnTo>
                    <a:lnTo>
                      <a:pt x="2300" y="2664"/>
                    </a:lnTo>
                    <a:lnTo>
                      <a:pt x="2308" y="2672"/>
                    </a:lnTo>
                    <a:lnTo>
                      <a:pt x="2314" y="2678"/>
                    </a:lnTo>
                    <a:lnTo>
                      <a:pt x="2320" y="2694"/>
                    </a:lnTo>
                    <a:lnTo>
                      <a:pt x="2324" y="2700"/>
                    </a:lnTo>
                    <a:lnTo>
                      <a:pt x="2328" y="2706"/>
                    </a:lnTo>
                    <a:lnTo>
                      <a:pt x="2338" y="2714"/>
                    </a:lnTo>
                    <a:lnTo>
                      <a:pt x="2352" y="2722"/>
                    </a:lnTo>
                    <a:lnTo>
                      <a:pt x="2352" y="2722"/>
                    </a:lnTo>
                    <a:lnTo>
                      <a:pt x="2360" y="2724"/>
                    </a:lnTo>
                    <a:lnTo>
                      <a:pt x="2364" y="2728"/>
                    </a:lnTo>
                    <a:lnTo>
                      <a:pt x="2368" y="2732"/>
                    </a:lnTo>
                    <a:lnTo>
                      <a:pt x="2370" y="2736"/>
                    </a:lnTo>
                    <a:lnTo>
                      <a:pt x="2368" y="2746"/>
                    </a:lnTo>
                    <a:lnTo>
                      <a:pt x="2366" y="2754"/>
                    </a:lnTo>
                    <a:lnTo>
                      <a:pt x="2364" y="2764"/>
                    </a:lnTo>
                    <a:lnTo>
                      <a:pt x="2362" y="2772"/>
                    </a:lnTo>
                    <a:lnTo>
                      <a:pt x="2364" y="2776"/>
                    </a:lnTo>
                    <a:lnTo>
                      <a:pt x="2368" y="2782"/>
                    </a:lnTo>
                    <a:lnTo>
                      <a:pt x="2372" y="2786"/>
                    </a:lnTo>
                    <a:lnTo>
                      <a:pt x="2380" y="2790"/>
                    </a:lnTo>
                    <a:lnTo>
                      <a:pt x="2380" y="2790"/>
                    </a:lnTo>
                    <a:lnTo>
                      <a:pt x="2394" y="2798"/>
                    </a:lnTo>
                    <a:lnTo>
                      <a:pt x="2402" y="2804"/>
                    </a:lnTo>
                    <a:lnTo>
                      <a:pt x="2408" y="2810"/>
                    </a:lnTo>
                    <a:lnTo>
                      <a:pt x="2410" y="2816"/>
                    </a:lnTo>
                    <a:lnTo>
                      <a:pt x="2422" y="2834"/>
                    </a:lnTo>
                    <a:lnTo>
                      <a:pt x="2432" y="2848"/>
                    </a:lnTo>
                    <a:lnTo>
                      <a:pt x="2450" y="2864"/>
                    </a:lnTo>
                    <a:lnTo>
                      <a:pt x="2450" y="2864"/>
                    </a:lnTo>
                    <a:lnTo>
                      <a:pt x="2476" y="2890"/>
                    </a:lnTo>
                    <a:lnTo>
                      <a:pt x="2494" y="2912"/>
                    </a:lnTo>
                    <a:lnTo>
                      <a:pt x="2504" y="2928"/>
                    </a:lnTo>
                    <a:lnTo>
                      <a:pt x="2512" y="2942"/>
                    </a:lnTo>
                    <a:lnTo>
                      <a:pt x="2516" y="2954"/>
                    </a:lnTo>
                    <a:lnTo>
                      <a:pt x="2518" y="2964"/>
                    </a:lnTo>
                    <a:lnTo>
                      <a:pt x="2522" y="2976"/>
                    </a:lnTo>
                    <a:lnTo>
                      <a:pt x="2526" y="2988"/>
                    </a:lnTo>
                    <a:lnTo>
                      <a:pt x="2526" y="2988"/>
                    </a:lnTo>
                    <a:lnTo>
                      <a:pt x="2530" y="2998"/>
                    </a:lnTo>
                    <a:lnTo>
                      <a:pt x="2530" y="3010"/>
                    </a:lnTo>
                    <a:lnTo>
                      <a:pt x="2528" y="3020"/>
                    </a:lnTo>
                    <a:lnTo>
                      <a:pt x="2524" y="3028"/>
                    </a:lnTo>
                    <a:lnTo>
                      <a:pt x="2518" y="3038"/>
                    </a:lnTo>
                    <a:lnTo>
                      <a:pt x="2516" y="3050"/>
                    </a:lnTo>
                    <a:lnTo>
                      <a:pt x="2516" y="3060"/>
                    </a:lnTo>
                    <a:lnTo>
                      <a:pt x="2520" y="3072"/>
                    </a:lnTo>
                    <a:lnTo>
                      <a:pt x="2520" y="3072"/>
                    </a:lnTo>
                    <a:lnTo>
                      <a:pt x="2528" y="3084"/>
                    </a:lnTo>
                    <a:lnTo>
                      <a:pt x="2534" y="3094"/>
                    </a:lnTo>
                    <a:lnTo>
                      <a:pt x="2550" y="3106"/>
                    </a:lnTo>
                    <a:lnTo>
                      <a:pt x="2570" y="3120"/>
                    </a:lnTo>
                    <a:lnTo>
                      <a:pt x="2580" y="3130"/>
                    </a:lnTo>
                    <a:lnTo>
                      <a:pt x="2594" y="3140"/>
                    </a:lnTo>
                    <a:lnTo>
                      <a:pt x="2594" y="3140"/>
                    </a:lnTo>
                    <a:lnTo>
                      <a:pt x="2606" y="3152"/>
                    </a:lnTo>
                    <a:lnTo>
                      <a:pt x="2618" y="3158"/>
                    </a:lnTo>
                    <a:lnTo>
                      <a:pt x="2628" y="3162"/>
                    </a:lnTo>
                    <a:lnTo>
                      <a:pt x="2638" y="3164"/>
                    </a:lnTo>
                    <a:lnTo>
                      <a:pt x="2648" y="3168"/>
                    </a:lnTo>
                    <a:lnTo>
                      <a:pt x="2658" y="3170"/>
                    </a:lnTo>
                    <a:lnTo>
                      <a:pt x="2668" y="3176"/>
                    </a:lnTo>
                    <a:lnTo>
                      <a:pt x="2680" y="3186"/>
                    </a:lnTo>
                    <a:lnTo>
                      <a:pt x="2680" y="3186"/>
                    </a:lnTo>
                    <a:lnTo>
                      <a:pt x="2694" y="3198"/>
                    </a:lnTo>
                    <a:lnTo>
                      <a:pt x="2714" y="3210"/>
                    </a:lnTo>
                    <a:lnTo>
                      <a:pt x="2736" y="3224"/>
                    </a:lnTo>
                    <a:lnTo>
                      <a:pt x="2762" y="3236"/>
                    </a:lnTo>
                    <a:lnTo>
                      <a:pt x="2814" y="3260"/>
                    </a:lnTo>
                    <a:lnTo>
                      <a:pt x="2862" y="3278"/>
                    </a:lnTo>
                    <a:lnTo>
                      <a:pt x="2862" y="3278"/>
                    </a:lnTo>
                    <a:lnTo>
                      <a:pt x="2880" y="3282"/>
                    </a:lnTo>
                    <a:lnTo>
                      <a:pt x="2894" y="3282"/>
                    </a:lnTo>
                    <a:lnTo>
                      <a:pt x="2906" y="3278"/>
                    </a:lnTo>
                    <a:lnTo>
                      <a:pt x="2916" y="3272"/>
                    </a:lnTo>
                    <a:lnTo>
                      <a:pt x="2926" y="3266"/>
                    </a:lnTo>
                    <a:lnTo>
                      <a:pt x="2938" y="3260"/>
                    </a:lnTo>
                    <a:lnTo>
                      <a:pt x="2950" y="3258"/>
                    </a:lnTo>
                    <a:lnTo>
                      <a:pt x="2968" y="3260"/>
                    </a:lnTo>
                    <a:lnTo>
                      <a:pt x="2968" y="3260"/>
                    </a:lnTo>
                    <a:lnTo>
                      <a:pt x="2984" y="3264"/>
                    </a:lnTo>
                    <a:lnTo>
                      <a:pt x="2996" y="3272"/>
                    </a:lnTo>
                    <a:lnTo>
                      <a:pt x="3006" y="3280"/>
                    </a:lnTo>
                    <a:lnTo>
                      <a:pt x="3014" y="3290"/>
                    </a:lnTo>
                    <a:lnTo>
                      <a:pt x="3032" y="3314"/>
                    </a:lnTo>
                    <a:lnTo>
                      <a:pt x="3042" y="3326"/>
                    </a:lnTo>
                    <a:lnTo>
                      <a:pt x="3054" y="3338"/>
                    </a:lnTo>
                    <a:lnTo>
                      <a:pt x="3054" y="3338"/>
                    </a:lnTo>
                    <a:lnTo>
                      <a:pt x="3072" y="3356"/>
                    </a:lnTo>
                    <a:lnTo>
                      <a:pt x="3086" y="3364"/>
                    </a:lnTo>
                    <a:lnTo>
                      <a:pt x="3094" y="3368"/>
                    </a:lnTo>
                    <a:lnTo>
                      <a:pt x="3104" y="3368"/>
                    </a:lnTo>
                    <a:lnTo>
                      <a:pt x="3104" y="3368"/>
                    </a:lnTo>
                    <a:lnTo>
                      <a:pt x="3116" y="3368"/>
                    </a:lnTo>
                    <a:lnTo>
                      <a:pt x="3124" y="3370"/>
                    </a:lnTo>
                    <a:lnTo>
                      <a:pt x="3140" y="3376"/>
                    </a:lnTo>
                    <a:lnTo>
                      <a:pt x="3140" y="3376"/>
                    </a:lnTo>
                    <a:lnTo>
                      <a:pt x="3146" y="3382"/>
                    </a:lnTo>
                    <a:lnTo>
                      <a:pt x="3150" y="3386"/>
                    </a:lnTo>
                    <a:lnTo>
                      <a:pt x="3152" y="3388"/>
                    </a:lnTo>
                    <a:lnTo>
                      <a:pt x="3160" y="3390"/>
                    </a:lnTo>
                    <a:lnTo>
                      <a:pt x="3160" y="3390"/>
                    </a:lnTo>
                    <a:lnTo>
                      <a:pt x="3174" y="3392"/>
                    </a:lnTo>
                    <a:lnTo>
                      <a:pt x="3186" y="3398"/>
                    </a:lnTo>
                    <a:lnTo>
                      <a:pt x="3196" y="3404"/>
                    </a:lnTo>
                    <a:lnTo>
                      <a:pt x="3204" y="3406"/>
                    </a:lnTo>
                    <a:lnTo>
                      <a:pt x="3204" y="3406"/>
                    </a:lnTo>
                    <a:lnTo>
                      <a:pt x="3204" y="3406"/>
                    </a:lnTo>
                    <a:lnTo>
                      <a:pt x="3204" y="3404"/>
                    </a:lnTo>
                    <a:lnTo>
                      <a:pt x="3202" y="3402"/>
                    </a:lnTo>
                    <a:lnTo>
                      <a:pt x="3202" y="3400"/>
                    </a:lnTo>
                    <a:lnTo>
                      <a:pt x="3210" y="3404"/>
                    </a:lnTo>
                    <a:lnTo>
                      <a:pt x="3210" y="3404"/>
                    </a:lnTo>
                    <a:lnTo>
                      <a:pt x="3212" y="3406"/>
                    </a:lnTo>
                    <a:lnTo>
                      <a:pt x="3218" y="3406"/>
                    </a:lnTo>
                    <a:lnTo>
                      <a:pt x="3226" y="3406"/>
                    </a:lnTo>
                    <a:lnTo>
                      <a:pt x="3234" y="3404"/>
                    </a:lnTo>
                    <a:lnTo>
                      <a:pt x="3236" y="3402"/>
                    </a:lnTo>
                    <a:lnTo>
                      <a:pt x="3234" y="3400"/>
                    </a:lnTo>
                    <a:lnTo>
                      <a:pt x="3234" y="3400"/>
                    </a:lnTo>
                    <a:lnTo>
                      <a:pt x="3230" y="3398"/>
                    </a:lnTo>
                    <a:lnTo>
                      <a:pt x="3230" y="3396"/>
                    </a:lnTo>
                    <a:lnTo>
                      <a:pt x="3230" y="3394"/>
                    </a:lnTo>
                    <a:lnTo>
                      <a:pt x="3232" y="3394"/>
                    </a:lnTo>
                    <a:lnTo>
                      <a:pt x="3232" y="3394"/>
                    </a:lnTo>
                    <a:lnTo>
                      <a:pt x="3236" y="3396"/>
                    </a:lnTo>
                    <a:lnTo>
                      <a:pt x="3238" y="3396"/>
                    </a:lnTo>
                    <a:lnTo>
                      <a:pt x="3240" y="3392"/>
                    </a:lnTo>
                    <a:lnTo>
                      <a:pt x="3240" y="3392"/>
                    </a:lnTo>
                    <a:lnTo>
                      <a:pt x="3242" y="3398"/>
                    </a:lnTo>
                    <a:lnTo>
                      <a:pt x="3242" y="3398"/>
                    </a:lnTo>
                    <a:lnTo>
                      <a:pt x="3248" y="3406"/>
                    </a:lnTo>
                    <a:lnTo>
                      <a:pt x="3252" y="3410"/>
                    </a:lnTo>
                    <a:lnTo>
                      <a:pt x="3254" y="3412"/>
                    </a:lnTo>
                    <a:lnTo>
                      <a:pt x="3252" y="3416"/>
                    </a:lnTo>
                    <a:lnTo>
                      <a:pt x="3252" y="3416"/>
                    </a:lnTo>
                    <a:lnTo>
                      <a:pt x="3250" y="3418"/>
                    </a:lnTo>
                    <a:lnTo>
                      <a:pt x="3250" y="3418"/>
                    </a:lnTo>
                    <a:lnTo>
                      <a:pt x="3246" y="3416"/>
                    </a:lnTo>
                    <a:lnTo>
                      <a:pt x="3244" y="3412"/>
                    </a:lnTo>
                    <a:lnTo>
                      <a:pt x="3242" y="3412"/>
                    </a:lnTo>
                    <a:lnTo>
                      <a:pt x="3240" y="3414"/>
                    </a:lnTo>
                    <a:lnTo>
                      <a:pt x="3240" y="3414"/>
                    </a:lnTo>
                    <a:lnTo>
                      <a:pt x="3238" y="3418"/>
                    </a:lnTo>
                    <a:lnTo>
                      <a:pt x="3242" y="3422"/>
                    </a:lnTo>
                    <a:lnTo>
                      <a:pt x="3246" y="3426"/>
                    </a:lnTo>
                    <a:lnTo>
                      <a:pt x="3252" y="3434"/>
                    </a:lnTo>
                    <a:lnTo>
                      <a:pt x="3252" y="3434"/>
                    </a:lnTo>
                    <a:lnTo>
                      <a:pt x="3258" y="3442"/>
                    </a:lnTo>
                    <a:lnTo>
                      <a:pt x="3266" y="3448"/>
                    </a:lnTo>
                    <a:lnTo>
                      <a:pt x="3274" y="3454"/>
                    </a:lnTo>
                    <a:lnTo>
                      <a:pt x="3278" y="3460"/>
                    </a:lnTo>
                    <a:lnTo>
                      <a:pt x="3282" y="3466"/>
                    </a:lnTo>
                    <a:lnTo>
                      <a:pt x="3282" y="3466"/>
                    </a:lnTo>
                    <a:lnTo>
                      <a:pt x="3288" y="3478"/>
                    </a:lnTo>
                    <a:lnTo>
                      <a:pt x="3294" y="3486"/>
                    </a:lnTo>
                    <a:lnTo>
                      <a:pt x="3304" y="3494"/>
                    </a:lnTo>
                    <a:lnTo>
                      <a:pt x="3316" y="3506"/>
                    </a:lnTo>
                    <a:lnTo>
                      <a:pt x="3316" y="3506"/>
                    </a:lnTo>
                    <a:lnTo>
                      <a:pt x="3318" y="3510"/>
                    </a:lnTo>
                    <a:lnTo>
                      <a:pt x="3318" y="3512"/>
                    </a:lnTo>
                    <a:lnTo>
                      <a:pt x="3314" y="3514"/>
                    </a:lnTo>
                    <a:lnTo>
                      <a:pt x="3310" y="3518"/>
                    </a:lnTo>
                    <a:lnTo>
                      <a:pt x="3310" y="3518"/>
                    </a:lnTo>
                    <a:lnTo>
                      <a:pt x="3310" y="3520"/>
                    </a:lnTo>
                    <a:lnTo>
                      <a:pt x="3310" y="3520"/>
                    </a:lnTo>
                    <a:lnTo>
                      <a:pt x="3316" y="3522"/>
                    </a:lnTo>
                    <a:lnTo>
                      <a:pt x="3318" y="3522"/>
                    </a:lnTo>
                    <a:lnTo>
                      <a:pt x="3318" y="3522"/>
                    </a:lnTo>
                    <a:lnTo>
                      <a:pt x="3318" y="3528"/>
                    </a:lnTo>
                    <a:lnTo>
                      <a:pt x="3318" y="3528"/>
                    </a:lnTo>
                    <a:lnTo>
                      <a:pt x="3318" y="3534"/>
                    </a:lnTo>
                    <a:lnTo>
                      <a:pt x="3316" y="3534"/>
                    </a:lnTo>
                    <a:lnTo>
                      <a:pt x="3314" y="3536"/>
                    </a:lnTo>
                    <a:lnTo>
                      <a:pt x="3312" y="3540"/>
                    </a:lnTo>
                    <a:lnTo>
                      <a:pt x="3312" y="3540"/>
                    </a:lnTo>
                    <a:lnTo>
                      <a:pt x="3312" y="3550"/>
                    </a:lnTo>
                    <a:lnTo>
                      <a:pt x="3314" y="3558"/>
                    </a:lnTo>
                    <a:lnTo>
                      <a:pt x="3318" y="3564"/>
                    </a:lnTo>
                    <a:lnTo>
                      <a:pt x="3322" y="3566"/>
                    </a:lnTo>
                    <a:lnTo>
                      <a:pt x="3322" y="3566"/>
                    </a:lnTo>
                    <a:lnTo>
                      <a:pt x="3330" y="3570"/>
                    </a:lnTo>
                    <a:lnTo>
                      <a:pt x="3334" y="3574"/>
                    </a:lnTo>
                    <a:lnTo>
                      <a:pt x="3338" y="3578"/>
                    </a:lnTo>
                    <a:lnTo>
                      <a:pt x="3338" y="3578"/>
                    </a:lnTo>
                    <a:lnTo>
                      <a:pt x="3340" y="3582"/>
                    </a:lnTo>
                    <a:lnTo>
                      <a:pt x="3342" y="3580"/>
                    </a:lnTo>
                    <a:lnTo>
                      <a:pt x="3348" y="3574"/>
                    </a:lnTo>
                    <a:lnTo>
                      <a:pt x="3348" y="3574"/>
                    </a:lnTo>
                    <a:lnTo>
                      <a:pt x="3350" y="3572"/>
                    </a:lnTo>
                    <a:lnTo>
                      <a:pt x="3350" y="3570"/>
                    </a:lnTo>
                    <a:lnTo>
                      <a:pt x="3348" y="3566"/>
                    </a:lnTo>
                    <a:lnTo>
                      <a:pt x="3338" y="3558"/>
                    </a:lnTo>
                    <a:lnTo>
                      <a:pt x="3338" y="3558"/>
                    </a:lnTo>
                    <a:lnTo>
                      <a:pt x="3336" y="3554"/>
                    </a:lnTo>
                    <a:lnTo>
                      <a:pt x="3336" y="3552"/>
                    </a:lnTo>
                    <a:lnTo>
                      <a:pt x="3336" y="3550"/>
                    </a:lnTo>
                    <a:lnTo>
                      <a:pt x="3338" y="3552"/>
                    </a:lnTo>
                    <a:lnTo>
                      <a:pt x="3338" y="3552"/>
                    </a:lnTo>
                    <a:lnTo>
                      <a:pt x="3342" y="3554"/>
                    </a:lnTo>
                    <a:lnTo>
                      <a:pt x="3348" y="3558"/>
                    </a:lnTo>
                    <a:lnTo>
                      <a:pt x="3354" y="3562"/>
                    </a:lnTo>
                    <a:lnTo>
                      <a:pt x="3358" y="3566"/>
                    </a:lnTo>
                    <a:lnTo>
                      <a:pt x="3358" y="3566"/>
                    </a:lnTo>
                    <a:lnTo>
                      <a:pt x="3358" y="3576"/>
                    </a:lnTo>
                    <a:lnTo>
                      <a:pt x="3360" y="3578"/>
                    </a:lnTo>
                    <a:lnTo>
                      <a:pt x="3362" y="3582"/>
                    </a:lnTo>
                    <a:lnTo>
                      <a:pt x="3362" y="3582"/>
                    </a:lnTo>
                    <a:lnTo>
                      <a:pt x="3366" y="3584"/>
                    </a:lnTo>
                    <a:lnTo>
                      <a:pt x="3368" y="3586"/>
                    </a:lnTo>
                    <a:lnTo>
                      <a:pt x="3374" y="3586"/>
                    </a:lnTo>
                    <a:lnTo>
                      <a:pt x="3384" y="3592"/>
                    </a:lnTo>
                    <a:lnTo>
                      <a:pt x="3384" y="3592"/>
                    </a:lnTo>
                    <a:lnTo>
                      <a:pt x="3398" y="3604"/>
                    </a:lnTo>
                    <a:lnTo>
                      <a:pt x="3402" y="3608"/>
                    </a:lnTo>
                    <a:lnTo>
                      <a:pt x="3402" y="3612"/>
                    </a:lnTo>
                    <a:lnTo>
                      <a:pt x="3402" y="3612"/>
                    </a:lnTo>
                    <a:lnTo>
                      <a:pt x="3402" y="3620"/>
                    </a:lnTo>
                    <a:lnTo>
                      <a:pt x="3400" y="3624"/>
                    </a:lnTo>
                    <a:lnTo>
                      <a:pt x="3398" y="3626"/>
                    </a:lnTo>
                    <a:lnTo>
                      <a:pt x="3398" y="3626"/>
                    </a:lnTo>
                    <a:lnTo>
                      <a:pt x="3398" y="3628"/>
                    </a:lnTo>
                    <a:lnTo>
                      <a:pt x="3396" y="3630"/>
                    </a:lnTo>
                    <a:lnTo>
                      <a:pt x="3400" y="3634"/>
                    </a:lnTo>
                    <a:lnTo>
                      <a:pt x="3404" y="3636"/>
                    </a:lnTo>
                    <a:lnTo>
                      <a:pt x="3408" y="3638"/>
                    </a:lnTo>
                    <a:lnTo>
                      <a:pt x="3408" y="3638"/>
                    </a:lnTo>
                    <a:lnTo>
                      <a:pt x="3410" y="3640"/>
                    </a:lnTo>
                    <a:lnTo>
                      <a:pt x="3414" y="3640"/>
                    </a:lnTo>
                    <a:lnTo>
                      <a:pt x="3414" y="3642"/>
                    </a:lnTo>
                    <a:lnTo>
                      <a:pt x="3416" y="3640"/>
                    </a:lnTo>
                    <a:lnTo>
                      <a:pt x="3416" y="3640"/>
                    </a:lnTo>
                    <a:lnTo>
                      <a:pt x="3416" y="3636"/>
                    </a:lnTo>
                    <a:lnTo>
                      <a:pt x="3414" y="3634"/>
                    </a:lnTo>
                    <a:lnTo>
                      <a:pt x="3410" y="3630"/>
                    </a:lnTo>
                    <a:lnTo>
                      <a:pt x="3406" y="3626"/>
                    </a:lnTo>
                    <a:lnTo>
                      <a:pt x="3408" y="3626"/>
                    </a:lnTo>
                    <a:lnTo>
                      <a:pt x="3410" y="3624"/>
                    </a:lnTo>
                    <a:lnTo>
                      <a:pt x="3410" y="3624"/>
                    </a:lnTo>
                    <a:lnTo>
                      <a:pt x="3414" y="3622"/>
                    </a:lnTo>
                    <a:lnTo>
                      <a:pt x="3414" y="3624"/>
                    </a:lnTo>
                    <a:lnTo>
                      <a:pt x="3416" y="3628"/>
                    </a:lnTo>
                    <a:lnTo>
                      <a:pt x="3418" y="3630"/>
                    </a:lnTo>
                    <a:lnTo>
                      <a:pt x="3418" y="3630"/>
                    </a:lnTo>
                    <a:lnTo>
                      <a:pt x="3420" y="3630"/>
                    </a:lnTo>
                    <a:lnTo>
                      <a:pt x="3422" y="3632"/>
                    </a:lnTo>
                    <a:lnTo>
                      <a:pt x="3422" y="3636"/>
                    </a:lnTo>
                    <a:lnTo>
                      <a:pt x="3422" y="3642"/>
                    </a:lnTo>
                    <a:lnTo>
                      <a:pt x="3422" y="3646"/>
                    </a:lnTo>
                    <a:lnTo>
                      <a:pt x="3422" y="3646"/>
                    </a:lnTo>
                    <a:lnTo>
                      <a:pt x="3428" y="3654"/>
                    </a:lnTo>
                    <a:lnTo>
                      <a:pt x="3430" y="3656"/>
                    </a:lnTo>
                    <a:lnTo>
                      <a:pt x="3432" y="3656"/>
                    </a:lnTo>
                    <a:lnTo>
                      <a:pt x="3432" y="3656"/>
                    </a:lnTo>
                    <a:lnTo>
                      <a:pt x="3434" y="3648"/>
                    </a:lnTo>
                    <a:lnTo>
                      <a:pt x="3436" y="3646"/>
                    </a:lnTo>
                    <a:lnTo>
                      <a:pt x="3440" y="3644"/>
                    </a:lnTo>
                    <a:lnTo>
                      <a:pt x="3440" y="3644"/>
                    </a:lnTo>
                    <a:lnTo>
                      <a:pt x="3452" y="3646"/>
                    </a:lnTo>
                    <a:lnTo>
                      <a:pt x="3464" y="3650"/>
                    </a:lnTo>
                    <a:lnTo>
                      <a:pt x="3472" y="3652"/>
                    </a:lnTo>
                    <a:lnTo>
                      <a:pt x="3476" y="3654"/>
                    </a:lnTo>
                    <a:lnTo>
                      <a:pt x="3476" y="3654"/>
                    </a:lnTo>
                    <a:lnTo>
                      <a:pt x="3478" y="3652"/>
                    </a:lnTo>
                    <a:lnTo>
                      <a:pt x="3480" y="3654"/>
                    </a:lnTo>
                    <a:lnTo>
                      <a:pt x="3482" y="3662"/>
                    </a:lnTo>
                    <a:lnTo>
                      <a:pt x="3482" y="3662"/>
                    </a:lnTo>
                    <a:lnTo>
                      <a:pt x="3484" y="3666"/>
                    </a:lnTo>
                    <a:lnTo>
                      <a:pt x="3484" y="3670"/>
                    </a:lnTo>
                    <a:lnTo>
                      <a:pt x="3486" y="3672"/>
                    </a:lnTo>
                    <a:lnTo>
                      <a:pt x="3490" y="3676"/>
                    </a:lnTo>
                    <a:lnTo>
                      <a:pt x="3490" y="3676"/>
                    </a:lnTo>
                    <a:lnTo>
                      <a:pt x="3496" y="3678"/>
                    </a:lnTo>
                    <a:lnTo>
                      <a:pt x="3498" y="3678"/>
                    </a:lnTo>
                    <a:lnTo>
                      <a:pt x="3498" y="3674"/>
                    </a:lnTo>
                    <a:lnTo>
                      <a:pt x="3498" y="3674"/>
                    </a:lnTo>
                    <a:lnTo>
                      <a:pt x="3500" y="3668"/>
                    </a:lnTo>
                    <a:lnTo>
                      <a:pt x="3502" y="3666"/>
                    </a:lnTo>
                    <a:lnTo>
                      <a:pt x="3504" y="3666"/>
                    </a:lnTo>
                    <a:lnTo>
                      <a:pt x="3504" y="3668"/>
                    </a:lnTo>
                    <a:lnTo>
                      <a:pt x="3504" y="3668"/>
                    </a:lnTo>
                    <a:lnTo>
                      <a:pt x="3504" y="3672"/>
                    </a:lnTo>
                    <a:lnTo>
                      <a:pt x="3508" y="3680"/>
                    </a:lnTo>
                    <a:lnTo>
                      <a:pt x="3510" y="3686"/>
                    </a:lnTo>
                    <a:lnTo>
                      <a:pt x="3510" y="3694"/>
                    </a:lnTo>
                    <a:lnTo>
                      <a:pt x="3510" y="3694"/>
                    </a:lnTo>
                    <a:lnTo>
                      <a:pt x="3510" y="3696"/>
                    </a:lnTo>
                    <a:lnTo>
                      <a:pt x="3510" y="3698"/>
                    </a:lnTo>
                    <a:lnTo>
                      <a:pt x="3516" y="3698"/>
                    </a:lnTo>
                    <a:lnTo>
                      <a:pt x="3528" y="3696"/>
                    </a:lnTo>
                    <a:lnTo>
                      <a:pt x="3528" y="3696"/>
                    </a:lnTo>
                    <a:lnTo>
                      <a:pt x="3530" y="3696"/>
                    </a:lnTo>
                    <a:lnTo>
                      <a:pt x="3532" y="3696"/>
                    </a:lnTo>
                    <a:lnTo>
                      <a:pt x="3532" y="3692"/>
                    </a:lnTo>
                    <a:lnTo>
                      <a:pt x="3532" y="3690"/>
                    </a:lnTo>
                    <a:lnTo>
                      <a:pt x="3538" y="3688"/>
                    </a:lnTo>
                    <a:lnTo>
                      <a:pt x="3538" y="3688"/>
                    </a:lnTo>
                    <a:lnTo>
                      <a:pt x="3544" y="3688"/>
                    </a:lnTo>
                    <a:lnTo>
                      <a:pt x="3546" y="3686"/>
                    </a:lnTo>
                    <a:lnTo>
                      <a:pt x="3548" y="3684"/>
                    </a:lnTo>
                    <a:lnTo>
                      <a:pt x="3546" y="3680"/>
                    </a:lnTo>
                    <a:lnTo>
                      <a:pt x="3542" y="3672"/>
                    </a:lnTo>
                    <a:lnTo>
                      <a:pt x="3542" y="3672"/>
                    </a:lnTo>
                    <a:lnTo>
                      <a:pt x="3536" y="3664"/>
                    </a:lnTo>
                    <a:lnTo>
                      <a:pt x="3534" y="3660"/>
                    </a:lnTo>
                    <a:lnTo>
                      <a:pt x="3534" y="3658"/>
                    </a:lnTo>
                    <a:lnTo>
                      <a:pt x="3532" y="3658"/>
                    </a:lnTo>
                    <a:lnTo>
                      <a:pt x="3532" y="3658"/>
                    </a:lnTo>
                    <a:lnTo>
                      <a:pt x="3530" y="3658"/>
                    </a:lnTo>
                    <a:lnTo>
                      <a:pt x="3528" y="3656"/>
                    </a:lnTo>
                    <a:lnTo>
                      <a:pt x="3526" y="3652"/>
                    </a:lnTo>
                    <a:lnTo>
                      <a:pt x="3528" y="3648"/>
                    </a:lnTo>
                    <a:lnTo>
                      <a:pt x="3530" y="3646"/>
                    </a:lnTo>
                    <a:lnTo>
                      <a:pt x="3532" y="3646"/>
                    </a:lnTo>
                    <a:lnTo>
                      <a:pt x="3532" y="3646"/>
                    </a:lnTo>
                    <a:lnTo>
                      <a:pt x="3538" y="3644"/>
                    </a:lnTo>
                    <a:lnTo>
                      <a:pt x="3544" y="3642"/>
                    </a:lnTo>
                    <a:lnTo>
                      <a:pt x="3550" y="3636"/>
                    </a:lnTo>
                    <a:lnTo>
                      <a:pt x="3556" y="3628"/>
                    </a:lnTo>
                    <a:lnTo>
                      <a:pt x="3556" y="3628"/>
                    </a:lnTo>
                    <a:lnTo>
                      <a:pt x="3558" y="3624"/>
                    </a:lnTo>
                    <a:lnTo>
                      <a:pt x="3558" y="3622"/>
                    </a:lnTo>
                    <a:lnTo>
                      <a:pt x="3558" y="3618"/>
                    </a:lnTo>
                    <a:lnTo>
                      <a:pt x="3562" y="3616"/>
                    </a:lnTo>
                    <a:lnTo>
                      <a:pt x="3562" y="3616"/>
                    </a:lnTo>
                    <a:lnTo>
                      <a:pt x="3566" y="3614"/>
                    </a:lnTo>
                    <a:lnTo>
                      <a:pt x="3568" y="3612"/>
                    </a:lnTo>
                    <a:lnTo>
                      <a:pt x="3570" y="3610"/>
                    </a:lnTo>
                    <a:lnTo>
                      <a:pt x="3576" y="3610"/>
                    </a:lnTo>
                    <a:lnTo>
                      <a:pt x="3576" y="3610"/>
                    </a:lnTo>
                    <a:lnTo>
                      <a:pt x="3586" y="3612"/>
                    </a:lnTo>
                    <a:lnTo>
                      <a:pt x="3598" y="3620"/>
                    </a:lnTo>
                    <a:lnTo>
                      <a:pt x="3606" y="3626"/>
                    </a:lnTo>
                    <a:lnTo>
                      <a:pt x="3608" y="3630"/>
                    </a:lnTo>
                    <a:lnTo>
                      <a:pt x="3608" y="3632"/>
                    </a:lnTo>
                    <a:lnTo>
                      <a:pt x="3608" y="3632"/>
                    </a:lnTo>
                    <a:lnTo>
                      <a:pt x="3606" y="3636"/>
                    </a:lnTo>
                    <a:lnTo>
                      <a:pt x="3608" y="3638"/>
                    </a:lnTo>
                    <a:lnTo>
                      <a:pt x="3610" y="3640"/>
                    </a:lnTo>
                    <a:lnTo>
                      <a:pt x="3612" y="3640"/>
                    </a:lnTo>
                    <a:lnTo>
                      <a:pt x="3612" y="3640"/>
                    </a:lnTo>
                    <a:lnTo>
                      <a:pt x="3616" y="3638"/>
                    </a:lnTo>
                    <a:lnTo>
                      <a:pt x="3616" y="3638"/>
                    </a:lnTo>
                    <a:lnTo>
                      <a:pt x="3618" y="3638"/>
                    </a:lnTo>
                    <a:lnTo>
                      <a:pt x="3620" y="3638"/>
                    </a:lnTo>
                    <a:lnTo>
                      <a:pt x="3620" y="3638"/>
                    </a:lnTo>
                    <a:lnTo>
                      <a:pt x="3622" y="3638"/>
                    </a:lnTo>
                    <a:lnTo>
                      <a:pt x="3620" y="3640"/>
                    </a:lnTo>
                    <a:lnTo>
                      <a:pt x="3618" y="3648"/>
                    </a:lnTo>
                    <a:lnTo>
                      <a:pt x="3614" y="3658"/>
                    </a:lnTo>
                    <a:lnTo>
                      <a:pt x="3612" y="3662"/>
                    </a:lnTo>
                    <a:lnTo>
                      <a:pt x="3614" y="3666"/>
                    </a:lnTo>
                    <a:lnTo>
                      <a:pt x="3614" y="3666"/>
                    </a:lnTo>
                    <a:lnTo>
                      <a:pt x="3622" y="3682"/>
                    </a:lnTo>
                    <a:lnTo>
                      <a:pt x="3626" y="3690"/>
                    </a:lnTo>
                    <a:lnTo>
                      <a:pt x="3632" y="3696"/>
                    </a:lnTo>
                    <a:lnTo>
                      <a:pt x="3632" y="3696"/>
                    </a:lnTo>
                    <a:lnTo>
                      <a:pt x="3636" y="3700"/>
                    </a:lnTo>
                    <a:lnTo>
                      <a:pt x="3638" y="3702"/>
                    </a:lnTo>
                    <a:lnTo>
                      <a:pt x="3640" y="3704"/>
                    </a:lnTo>
                    <a:lnTo>
                      <a:pt x="3640" y="3708"/>
                    </a:lnTo>
                    <a:lnTo>
                      <a:pt x="3672" y="3654"/>
                    </a:lnTo>
                    <a:lnTo>
                      <a:pt x="3672" y="3654"/>
                    </a:lnTo>
                    <a:lnTo>
                      <a:pt x="3654" y="3626"/>
                    </a:lnTo>
                    <a:lnTo>
                      <a:pt x="3654" y="3626"/>
                    </a:lnTo>
                    <a:close/>
                    <a:moveTo>
                      <a:pt x="3590" y="1870"/>
                    </a:moveTo>
                    <a:lnTo>
                      <a:pt x="3590" y="1870"/>
                    </a:lnTo>
                    <a:lnTo>
                      <a:pt x="3570" y="1886"/>
                    </a:lnTo>
                    <a:lnTo>
                      <a:pt x="3558" y="1894"/>
                    </a:lnTo>
                    <a:lnTo>
                      <a:pt x="3546" y="1900"/>
                    </a:lnTo>
                    <a:lnTo>
                      <a:pt x="3546" y="1900"/>
                    </a:lnTo>
                    <a:lnTo>
                      <a:pt x="3536" y="1904"/>
                    </a:lnTo>
                    <a:lnTo>
                      <a:pt x="3524" y="1910"/>
                    </a:lnTo>
                    <a:lnTo>
                      <a:pt x="3508" y="1920"/>
                    </a:lnTo>
                    <a:lnTo>
                      <a:pt x="3488" y="1932"/>
                    </a:lnTo>
                    <a:lnTo>
                      <a:pt x="3488" y="1932"/>
                    </a:lnTo>
                    <a:lnTo>
                      <a:pt x="3466" y="1938"/>
                    </a:lnTo>
                    <a:lnTo>
                      <a:pt x="3448" y="1942"/>
                    </a:lnTo>
                    <a:lnTo>
                      <a:pt x="3434" y="1942"/>
                    </a:lnTo>
                    <a:lnTo>
                      <a:pt x="3426" y="1940"/>
                    </a:lnTo>
                    <a:lnTo>
                      <a:pt x="3426" y="1940"/>
                    </a:lnTo>
                    <a:lnTo>
                      <a:pt x="3424" y="1938"/>
                    </a:lnTo>
                    <a:lnTo>
                      <a:pt x="3424" y="1938"/>
                    </a:lnTo>
                    <a:lnTo>
                      <a:pt x="3430" y="1936"/>
                    </a:lnTo>
                    <a:lnTo>
                      <a:pt x="3434" y="1936"/>
                    </a:lnTo>
                    <a:lnTo>
                      <a:pt x="3434" y="1934"/>
                    </a:lnTo>
                    <a:lnTo>
                      <a:pt x="3434" y="1934"/>
                    </a:lnTo>
                    <a:lnTo>
                      <a:pt x="3434" y="1934"/>
                    </a:lnTo>
                    <a:lnTo>
                      <a:pt x="3426" y="1932"/>
                    </a:lnTo>
                    <a:lnTo>
                      <a:pt x="3418" y="1930"/>
                    </a:lnTo>
                    <a:lnTo>
                      <a:pt x="3410" y="1930"/>
                    </a:lnTo>
                    <a:lnTo>
                      <a:pt x="3408" y="1928"/>
                    </a:lnTo>
                    <a:lnTo>
                      <a:pt x="3406" y="1926"/>
                    </a:lnTo>
                    <a:lnTo>
                      <a:pt x="3406" y="1926"/>
                    </a:lnTo>
                    <a:lnTo>
                      <a:pt x="3408" y="1922"/>
                    </a:lnTo>
                    <a:lnTo>
                      <a:pt x="3410" y="1916"/>
                    </a:lnTo>
                    <a:lnTo>
                      <a:pt x="3414" y="1910"/>
                    </a:lnTo>
                    <a:lnTo>
                      <a:pt x="3416" y="1900"/>
                    </a:lnTo>
                    <a:lnTo>
                      <a:pt x="3416" y="1900"/>
                    </a:lnTo>
                    <a:lnTo>
                      <a:pt x="3420" y="1892"/>
                    </a:lnTo>
                    <a:lnTo>
                      <a:pt x="3422" y="1890"/>
                    </a:lnTo>
                    <a:lnTo>
                      <a:pt x="3426" y="1886"/>
                    </a:lnTo>
                    <a:lnTo>
                      <a:pt x="3430" y="1880"/>
                    </a:lnTo>
                    <a:lnTo>
                      <a:pt x="3430" y="1880"/>
                    </a:lnTo>
                    <a:lnTo>
                      <a:pt x="3434" y="1872"/>
                    </a:lnTo>
                    <a:lnTo>
                      <a:pt x="3436" y="1870"/>
                    </a:lnTo>
                    <a:lnTo>
                      <a:pt x="3438" y="1872"/>
                    </a:lnTo>
                    <a:lnTo>
                      <a:pt x="3440" y="1880"/>
                    </a:lnTo>
                    <a:lnTo>
                      <a:pt x="3440" y="1880"/>
                    </a:lnTo>
                    <a:lnTo>
                      <a:pt x="3446" y="1882"/>
                    </a:lnTo>
                    <a:lnTo>
                      <a:pt x="3448" y="1884"/>
                    </a:lnTo>
                    <a:lnTo>
                      <a:pt x="3450" y="1886"/>
                    </a:lnTo>
                    <a:lnTo>
                      <a:pt x="3448" y="1888"/>
                    </a:lnTo>
                    <a:lnTo>
                      <a:pt x="3442" y="1892"/>
                    </a:lnTo>
                    <a:lnTo>
                      <a:pt x="3432" y="1894"/>
                    </a:lnTo>
                    <a:lnTo>
                      <a:pt x="3432" y="1894"/>
                    </a:lnTo>
                    <a:lnTo>
                      <a:pt x="3426" y="1894"/>
                    </a:lnTo>
                    <a:lnTo>
                      <a:pt x="3424" y="1896"/>
                    </a:lnTo>
                    <a:lnTo>
                      <a:pt x="3422" y="1898"/>
                    </a:lnTo>
                    <a:lnTo>
                      <a:pt x="3422" y="1902"/>
                    </a:lnTo>
                    <a:lnTo>
                      <a:pt x="3422" y="1904"/>
                    </a:lnTo>
                    <a:lnTo>
                      <a:pt x="3424" y="1906"/>
                    </a:lnTo>
                    <a:lnTo>
                      <a:pt x="3428" y="1908"/>
                    </a:lnTo>
                    <a:lnTo>
                      <a:pt x="3432" y="1908"/>
                    </a:lnTo>
                    <a:lnTo>
                      <a:pt x="3432" y="1908"/>
                    </a:lnTo>
                    <a:lnTo>
                      <a:pt x="3438" y="1908"/>
                    </a:lnTo>
                    <a:lnTo>
                      <a:pt x="3442" y="1910"/>
                    </a:lnTo>
                    <a:lnTo>
                      <a:pt x="3444" y="1912"/>
                    </a:lnTo>
                    <a:lnTo>
                      <a:pt x="3446" y="1910"/>
                    </a:lnTo>
                    <a:lnTo>
                      <a:pt x="3446" y="1910"/>
                    </a:lnTo>
                    <a:lnTo>
                      <a:pt x="3450" y="1904"/>
                    </a:lnTo>
                    <a:lnTo>
                      <a:pt x="3456" y="1900"/>
                    </a:lnTo>
                    <a:lnTo>
                      <a:pt x="3466" y="1896"/>
                    </a:lnTo>
                    <a:lnTo>
                      <a:pt x="3466" y="1896"/>
                    </a:lnTo>
                    <a:lnTo>
                      <a:pt x="3470" y="1892"/>
                    </a:lnTo>
                    <a:lnTo>
                      <a:pt x="3474" y="1888"/>
                    </a:lnTo>
                    <a:lnTo>
                      <a:pt x="3482" y="1880"/>
                    </a:lnTo>
                    <a:lnTo>
                      <a:pt x="3488" y="1876"/>
                    </a:lnTo>
                    <a:lnTo>
                      <a:pt x="3496" y="1874"/>
                    </a:lnTo>
                    <a:lnTo>
                      <a:pt x="3504" y="1874"/>
                    </a:lnTo>
                    <a:lnTo>
                      <a:pt x="3518" y="1876"/>
                    </a:lnTo>
                    <a:lnTo>
                      <a:pt x="3518" y="1876"/>
                    </a:lnTo>
                    <a:lnTo>
                      <a:pt x="3534" y="1880"/>
                    </a:lnTo>
                    <a:lnTo>
                      <a:pt x="3538" y="1880"/>
                    </a:lnTo>
                    <a:lnTo>
                      <a:pt x="3536" y="1878"/>
                    </a:lnTo>
                    <a:lnTo>
                      <a:pt x="3532" y="1876"/>
                    </a:lnTo>
                    <a:lnTo>
                      <a:pt x="3532" y="1872"/>
                    </a:lnTo>
                    <a:lnTo>
                      <a:pt x="3532" y="1870"/>
                    </a:lnTo>
                    <a:lnTo>
                      <a:pt x="3532" y="1870"/>
                    </a:lnTo>
                    <a:lnTo>
                      <a:pt x="3536" y="1866"/>
                    </a:lnTo>
                    <a:lnTo>
                      <a:pt x="3540" y="1864"/>
                    </a:lnTo>
                    <a:lnTo>
                      <a:pt x="3560" y="1862"/>
                    </a:lnTo>
                    <a:lnTo>
                      <a:pt x="3560" y="1862"/>
                    </a:lnTo>
                    <a:lnTo>
                      <a:pt x="3580" y="1860"/>
                    </a:lnTo>
                    <a:lnTo>
                      <a:pt x="3584" y="1860"/>
                    </a:lnTo>
                    <a:lnTo>
                      <a:pt x="3586" y="1858"/>
                    </a:lnTo>
                    <a:lnTo>
                      <a:pt x="3586" y="1858"/>
                    </a:lnTo>
                    <a:lnTo>
                      <a:pt x="3586" y="1854"/>
                    </a:lnTo>
                    <a:lnTo>
                      <a:pt x="3586" y="1852"/>
                    </a:lnTo>
                    <a:lnTo>
                      <a:pt x="3588" y="1850"/>
                    </a:lnTo>
                    <a:lnTo>
                      <a:pt x="3588" y="1850"/>
                    </a:lnTo>
                    <a:lnTo>
                      <a:pt x="3590" y="1850"/>
                    </a:lnTo>
                    <a:lnTo>
                      <a:pt x="3592" y="1852"/>
                    </a:lnTo>
                    <a:lnTo>
                      <a:pt x="3594" y="1858"/>
                    </a:lnTo>
                    <a:lnTo>
                      <a:pt x="3592" y="1864"/>
                    </a:lnTo>
                    <a:lnTo>
                      <a:pt x="3590" y="1870"/>
                    </a:lnTo>
                    <a:lnTo>
                      <a:pt x="3590" y="1870"/>
                    </a:lnTo>
                    <a:close/>
                    <a:moveTo>
                      <a:pt x="3578" y="1812"/>
                    </a:moveTo>
                    <a:lnTo>
                      <a:pt x="3578" y="1812"/>
                    </a:lnTo>
                    <a:lnTo>
                      <a:pt x="3586" y="1806"/>
                    </a:lnTo>
                    <a:lnTo>
                      <a:pt x="3596" y="1804"/>
                    </a:lnTo>
                    <a:lnTo>
                      <a:pt x="3624" y="1798"/>
                    </a:lnTo>
                    <a:lnTo>
                      <a:pt x="3624" y="1798"/>
                    </a:lnTo>
                    <a:lnTo>
                      <a:pt x="3636" y="1796"/>
                    </a:lnTo>
                    <a:lnTo>
                      <a:pt x="3642" y="1794"/>
                    </a:lnTo>
                    <a:lnTo>
                      <a:pt x="3656" y="1802"/>
                    </a:lnTo>
                    <a:lnTo>
                      <a:pt x="3656" y="1802"/>
                    </a:lnTo>
                    <a:lnTo>
                      <a:pt x="3662" y="1804"/>
                    </a:lnTo>
                    <a:lnTo>
                      <a:pt x="3664" y="1804"/>
                    </a:lnTo>
                    <a:lnTo>
                      <a:pt x="3668" y="1804"/>
                    </a:lnTo>
                    <a:lnTo>
                      <a:pt x="3668" y="1802"/>
                    </a:lnTo>
                    <a:lnTo>
                      <a:pt x="3672" y="1794"/>
                    </a:lnTo>
                    <a:lnTo>
                      <a:pt x="3674" y="1790"/>
                    </a:lnTo>
                    <a:lnTo>
                      <a:pt x="3678" y="1788"/>
                    </a:lnTo>
                    <a:lnTo>
                      <a:pt x="3678" y="1788"/>
                    </a:lnTo>
                    <a:lnTo>
                      <a:pt x="3686" y="1782"/>
                    </a:lnTo>
                    <a:lnTo>
                      <a:pt x="3696" y="1778"/>
                    </a:lnTo>
                    <a:lnTo>
                      <a:pt x="3706" y="1776"/>
                    </a:lnTo>
                    <a:lnTo>
                      <a:pt x="3716" y="1770"/>
                    </a:lnTo>
                    <a:lnTo>
                      <a:pt x="3716" y="1770"/>
                    </a:lnTo>
                    <a:lnTo>
                      <a:pt x="3714" y="1774"/>
                    </a:lnTo>
                    <a:lnTo>
                      <a:pt x="3712" y="1778"/>
                    </a:lnTo>
                    <a:lnTo>
                      <a:pt x="3708" y="1782"/>
                    </a:lnTo>
                    <a:lnTo>
                      <a:pt x="3702" y="1784"/>
                    </a:lnTo>
                    <a:lnTo>
                      <a:pt x="3702" y="1784"/>
                    </a:lnTo>
                    <a:lnTo>
                      <a:pt x="3698" y="1786"/>
                    </a:lnTo>
                    <a:lnTo>
                      <a:pt x="3694" y="1790"/>
                    </a:lnTo>
                    <a:lnTo>
                      <a:pt x="3696" y="1794"/>
                    </a:lnTo>
                    <a:lnTo>
                      <a:pt x="3698" y="1798"/>
                    </a:lnTo>
                    <a:lnTo>
                      <a:pt x="3698" y="1798"/>
                    </a:lnTo>
                    <a:lnTo>
                      <a:pt x="3702" y="1800"/>
                    </a:lnTo>
                    <a:lnTo>
                      <a:pt x="3702" y="1802"/>
                    </a:lnTo>
                    <a:lnTo>
                      <a:pt x="3700" y="1806"/>
                    </a:lnTo>
                    <a:lnTo>
                      <a:pt x="3700" y="1814"/>
                    </a:lnTo>
                    <a:lnTo>
                      <a:pt x="3700" y="1814"/>
                    </a:lnTo>
                    <a:lnTo>
                      <a:pt x="3700" y="1820"/>
                    </a:lnTo>
                    <a:lnTo>
                      <a:pt x="3696" y="1822"/>
                    </a:lnTo>
                    <a:lnTo>
                      <a:pt x="3690" y="1826"/>
                    </a:lnTo>
                    <a:lnTo>
                      <a:pt x="3684" y="1830"/>
                    </a:lnTo>
                    <a:lnTo>
                      <a:pt x="3684" y="1830"/>
                    </a:lnTo>
                    <a:lnTo>
                      <a:pt x="3680" y="1834"/>
                    </a:lnTo>
                    <a:lnTo>
                      <a:pt x="3676" y="1836"/>
                    </a:lnTo>
                    <a:lnTo>
                      <a:pt x="3662" y="1838"/>
                    </a:lnTo>
                    <a:lnTo>
                      <a:pt x="3648" y="1838"/>
                    </a:lnTo>
                    <a:lnTo>
                      <a:pt x="3638" y="1834"/>
                    </a:lnTo>
                    <a:lnTo>
                      <a:pt x="3638" y="1834"/>
                    </a:lnTo>
                    <a:lnTo>
                      <a:pt x="3628" y="1832"/>
                    </a:lnTo>
                    <a:lnTo>
                      <a:pt x="3616" y="1830"/>
                    </a:lnTo>
                    <a:lnTo>
                      <a:pt x="3604" y="1832"/>
                    </a:lnTo>
                    <a:lnTo>
                      <a:pt x="3594" y="1834"/>
                    </a:lnTo>
                    <a:lnTo>
                      <a:pt x="3594" y="1834"/>
                    </a:lnTo>
                    <a:lnTo>
                      <a:pt x="3588" y="1838"/>
                    </a:lnTo>
                    <a:lnTo>
                      <a:pt x="3582" y="1840"/>
                    </a:lnTo>
                    <a:lnTo>
                      <a:pt x="3574" y="1842"/>
                    </a:lnTo>
                    <a:lnTo>
                      <a:pt x="3574" y="1842"/>
                    </a:lnTo>
                    <a:lnTo>
                      <a:pt x="3568" y="1842"/>
                    </a:lnTo>
                    <a:lnTo>
                      <a:pt x="3562" y="1842"/>
                    </a:lnTo>
                    <a:lnTo>
                      <a:pt x="3560" y="1840"/>
                    </a:lnTo>
                    <a:lnTo>
                      <a:pt x="3558" y="1838"/>
                    </a:lnTo>
                    <a:lnTo>
                      <a:pt x="3558" y="1834"/>
                    </a:lnTo>
                    <a:lnTo>
                      <a:pt x="3560" y="1828"/>
                    </a:lnTo>
                    <a:lnTo>
                      <a:pt x="3560" y="1828"/>
                    </a:lnTo>
                    <a:lnTo>
                      <a:pt x="3564" y="1820"/>
                    </a:lnTo>
                    <a:lnTo>
                      <a:pt x="3570" y="1818"/>
                    </a:lnTo>
                    <a:lnTo>
                      <a:pt x="3574" y="1816"/>
                    </a:lnTo>
                    <a:lnTo>
                      <a:pt x="3578" y="1812"/>
                    </a:lnTo>
                    <a:lnTo>
                      <a:pt x="3578" y="1812"/>
                    </a:lnTo>
                    <a:close/>
                    <a:moveTo>
                      <a:pt x="3092" y="1606"/>
                    </a:moveTo>
                    <a:lnTo>
                      <a:pt x="3092" y="1606"/>
                    </a:lnTo>
                    <a:lnTo>
                      <a:pt x="3104" y="1594"/>
                    </a:lnTo>
                    <a:lnTo>
                      <a:pt x="3118" y="1586"/>
                    </a:lnTo>
                    <a:lnTo>
                      <a:pt x="3158" y="1566"/>
                    </a:lnTo>
                    <a:lnTo>
                      <a:pt x="3158" y="1566"/>
                    </a:lnTo>
                    <a:lnTo>
                      <a:pt x="3164" y="1564"/>
                    </a:lnTo>
                    <a:lnTo>
                      <a:pt x="3164" y="1564"/>
                    </a:lnTo>
                    <a:lnTo>
                      <a:pt x="3168" y="1560"/>
                    </a:lnTo>
                    <a:lnTo>
                      <a:pt x="3172" y="1556"/>
                    </a:lnTo>
                    <a:lnTo>
                      <a:pt x="3176" y="1544"/>
                    </a:lnTo>
                    <a:lnTo>
                      <a:pt x="3176" y="1544"/>
                    </a:lnTo>
                    <a:lnTo>
                      <a:pt x="3180" y="1538"/>
                    </a:lnTo>
                    <a:lnTo>
                      <a:pt x="3184" y="1534"/>
                    </a:lnTo>
                    <a:lnTo>
                      <a:pt x="3188" y="1534"/>
                    </a:lnTo>
                    <a:lnTo>
                      <a:pt x="3190" y="1536"/>
                    </a:lnTo>
                    <a:lnTo>
                      <a:pt x="3190" y="1538"/>
                    </a:lnTo>
                    <a:lnTo>
                      <a:pt x="3190" y="1542"/>
                    </a:lnTo>
                    <a:lnTo>
                      <a:pt x="3190" y="1542"/>
                    </a:lnTo>
                    <a:lnTo>
                      <a:pt x="3188" y="1548"/>
                    </a:lnTo>
                    <a:lnTo>
                      <a:pt x="3192" y="1544"/>
                    </a:lnTo>
                    <a:lnTo>
                      <a:pt x="3196" y="1536"/>
                    </a:lnTo>
                    <a:lnTo>
                      <a:pt x="3200" y="1524"/>
                    </a:lnTo>
                    <a:lnTo>
                      <a:pt x="3200" y="1524"/>
                    </a:lnTo>
                    <a:lnTo>
                      <a:pt x="3204" y="1516"/>
                    </a:lnTo>
                    <a:lnTo>
                      <a:pt x="3206" y="1516"/>
                    </a:lnTo>
                    <a:lnTo>
                      <a:pt x="3208" y="1516"/>
                    </a:lnTo>
                    <a:lnTo>
                      <a:pt x="3208" y="1522"/>
                    </a:lnTo>
                    <a:lnTo>
                      <a:pt x="3206" y="1532"/>
                    </a:lnTo>
                    <a:lnTo>
                      <a:pt x="3206" y="1532"/>
                    </a:lnTo>
                    <a:lnTo>
                      <a:pt x="3204" y="1538"/>
                    </a:lnTo>
                    <a:lnTo>
                      <a:pt x="3204" y="1540"/>
                    </a:lnTo>
                    <a:lnTo>
                      <a:pt x="3204" y="1540"/>
                    </a:lnTo>
                    <a:lnTo>
                      <a:pt x="3216" y="1532"/>
                    </a:lnTo>
                    <a:lnTo>
                      <a:pt x="3216" y="1532"/>
                    </a:lnTo>
                    <a:lnTo>
                      <a:pt x="3218" y="1530"/>
                    </a:lnTo>
                    <a:lnTo>
                      <a:pt x="3220" y="1526"/>
                    </a:lnTo>
                    <a:lnTo>
                      <a:pt x="3218" y="1520"/>
                    </a:lnTo>
                    <a:lnTo>
                      <a:pt x="3216" y="1514"/>
                    </a:lnTo>
                    <a:lnTo>
                      <a:pt x="3216" y="1512"/>
                    </a:lnTo>
                    <a:lnTo>
                      <a:pt x="3216" y="1510"/>
                    </a:lnTo>
                    <a:lnTo>
                      <a:pt x="3216" y="1510"/>
                    </a:lnTo>
                    <a:lnTo>
                      <a:pt x="3220" y="1508"/>
                    </a:lnTo>
                    <a:lnTo>
                      <a:pt x="3224" y="1510"/>
                    </a:lnTo>
                    <a:lnTo>
                      <a:pt x="3236" y="1514"/>
                    </a:lnTo>
                    <a:lnTo>
                      <a:pt x="3248" y="1520"/>
                    </a:lnTo>
                    <a:lnTo>
                      <a:pt x="3254" y="1522"/>
                    </a:lnTo>
                    <a:lnTo>
                      <a:pt x="3260" y="1522"/>
                    </a:lnTo>
                    <a:lnTo>
                      <a:pt x="3260" y="1522"/>
                    </a:lnTo>
                    <a:lnTo>
                      <a:pt x="3268" y="1522"/>
                    </a:lnTo>
                    <a:lnTo>
                      <a:pt x="3272" y="1522"/>
                    </a:lnTo>
                    <a:lnTo>
                      <a:pt x="3276" y="1522"/>
                    </a:lnTo>
                    <a:lnTo>
                      <a:pt x="3284" y="1522"/>
                    </a:lnTo>
                    <a:lnTo>
                      <a:pt x="3284" y="1522"/>
                    </a:lnTo>
                    <a:lnTo>
                      <a:pt x="3288" y="1524"/>
                    </a:lnTo>
                    <a:lnTo>
                      <a:pt x="3292" y="1528"/>
                    </a:lnTo>
                    <a:lnTo>
                      <a:pt x="3296" y="1542"/>
                    </a:lnTo>
                    <a:lnTo>
                      <a:pt x="3298" y="1550"/>
                    </a:lnTo>
                    <a:lnTo>
                      <a:pt x="3302" y="1558"/>
                    </a:lnTo>
                    <a:lnTo>
                      <a:pt x="3308" y="1566"/>
                    </a:lnTo>
                    <a:lnTo>
                      <a:pt x="3314" y="1570"/>
                    </a:lnTo>
                    <a:lnTo>
                      <a:pt x="3314" y="1570"/>
                    </a:lnTo>
                    <a:lnTo>
                      <a:pt x="3320" y="1572"/>
                    </a:lnTo>
                    <a:lnTo>
                      <a:pt x="3328" y="1572"/>
                    </a:lnTo>
                    <a:lnTo>
                      <a:pt x="3340" y="1570"/>
                    </a:lnTo>
                    <a:lnTo>
                      <a:pt x="3344" y="1570"/>
                    </a:lnTo>
                    <a:lnTo>
                      <a:pt x="3348" y="1570"/>
                    </a:lnTo>
                    <a:lnTo>
                      <a:pt x="3348" y="1574"/>
                    </a:lnTo>
                    <a:lnTo>
                      <a:pt x="3346" y="1580"/>
                    </a:lnTo>
                    <a:lnTo>
                      <a:pt x="3346" y="1580"/>
                    </a:lnTo>
                    <a:lnTo>
                      <a:pt x="3344" y="1588"/>
                    </a:lnTo>
                    <a:lnTo>
                      <a:pt x="3346" y="1594"/>
                    </a:lnTo>
                    <a:lnTo>
                      <a:pt x="3358" y="1604"/>
                    </a:lnTo>
                    <a:lnTo>
                      <a:pt x="3358" y="1604"/>
                    </a:lnTo>
                    <a:lnTo>
                      <a:pt x="3360" y="1606"/>
                    </a:lnTo>
                    <a:lnTo>
                      <a:pt x="3360" y="1610"/>
                    </a:lnTo>
                    <a:lnTo>
                      <a:pt x="3358" y="1618"/>
                    </a:lnTo>
                    <a:lnTo>
                      <a:pt x="3354" y="1624"/>
                    </a:lnTo>
                    <a:lnTo>
                      <a:pt x="3354" y="1626"/>
                    </a:lnTo>
                    <a:lnTo>
                      <a:pt x="3356" y="1630"/>
                    </a:lnTo>
                    <a:lnTo>
                      <a:pt x="3356" y="1630"/>
                    </a:lnTo>
                    <a:lnTo>
                      <a:pt x="3362" y="1630"/>
                    </a:lnTo>
                    <a:lnTo>
                      <a:pt x="3364" y="1630"/>
                    </a:lnTo>
                    <a:lnTo>
                      <a:pt x="3366" y="1630"/>
                    </a:lnTo>
                    <a:lnTo>
                      <a:pt x="3368" y="1632"/>
                    </a:lnTo>
                    <a:lnTo>
                      <a:pt x="3368" y="1632"/>
                    </a:lnTo>
                    <a:lnTo>
                      <a:pt x="3370" y="1634"/>
                    </a:lnTo>
                    <a:lnTo>
                      <a:pt x="3368" y="1636"/>
                    </a:lnTo>
                    <a:lnTo>
                      <a:pt x="3364" y="1640"/>
                    </a:lnTo>
                    <a:lnTo>
                      <a:pt x="3362" y="1642"/>
                    </a:lnTo>
                    <a:lnTo>
                      <a:pt x="3362" y="1648"/>
                    </a:lnTo>
                    <a:lnTo>
                      <a:pt x="3362" y="1648"/>
                    </a:lnTo>
                    <a:lnTo>
                      <a:pt x="3362" y="1652"/>
                    </a:lnTo>
                    <a:lnTo>
                      <a:pt x="3364" y="1654"/>
                    </a:lnTo>
                    <a:lnTo>
                      <a:pt x="3372" y="1652"/>
                    </a:lnTo>
                    <a:lnTo>
                      <a:pt x="3380" y="1652"/>
                    </a:lnTo>
                    <a:lnTo>
                      <a:pt x="3382" y="1652"/>
                    </a:lnTo>
                    <a:lnTo>
                      <a:pt x="3382" y="1656"/>
                    </a:lnTo>
                    <a:lnTo>
                      <a:pt x="3382" y="1656"/>
                    </a:lnTo>
                    <a:lnTo>
                      <a:pt x="3382" y="1662"/>
                    </a:lnTo>
                    <a:lnTo>
                      <a:pt x="3386" y="1664"/>
                    </a:lnTo>
                    <a:lnTo>
                      <a:pt x="3392" y="1666"/>
                    </a:lnTo>
                    <a:lnTo>
                      <a:pt x="3402" y="1668"/>
                    </a:lnTo>
                    <a:lnTo>
                      <a:pt x="3402" y="1668"/>
                    </a:lnTo>
                    <a:lnTo>
                      <a:pt x="3416" y="1672"/>
                    </a:lnTo>
                    <a:lnTo>
                      <a:pt x="3430" y="1674"/>
                    </a:lnTo>
                    <a:lnTo>
                      <a:pt x="3446" y="1674"/>
                    </a:lnTo>
                    <a:lnTo>
                      <a:pt x="3460" y="1676"/>
                    </a:lnTo>
                    <a:lnTo>
                      <a:pt x="3460" y="1676"/>
                    </a:lnTo>
                    <a:lnTo>
                      <a:pt x="3470" y="1676"/>
                    </a:lnTo>
                    <a:lnTo>
                      <a:pt x="3478" y="1676"/>
                    </a:lnTo>
                    <a:lnTo>
                      <a:pt x="3484" y="1678"/>
                    </a:lnTo>
                    <a:lnTo>
                      <a:pt x="3484" y="1678"/>
                    </a:lnTo>
                    <a:lnTo>
                      <a:pt x="3484" y="1680"/>
                    </a:lnTo>
                    <a:lnTo>
                      <a:pt x="3484" y="1680"/>
                    </a:lnTo>
                    <a:lnTo>
                      <a:pt x="3484" y="1682"/>
                    </a:lnTo>
                    <a:lnTo>
                      <a:pt x="3484" y="1684"/>
                    </a:lnTo>
                    <a:lnTo>
                      <a:pt x="3490" y="1686"/>
                    </a:lnTo>
                    <a:lnTo>
                      <a:pt x="3508" y="1686"/>
                    </a:lnTo>
                    <a:lnTo>
                      <a:pt x="3508" y="1686"/>
                    </a:lnTo>
                    <a:lnTo>
                      <a:pt x="3514" y="1688"/>
                    </a:lnTo>
                    <a:lnTo>
                      <a:pt x="3518" y="1692"/>
                    </a:lnTo>
                    <a:lnTo>
                      <a:pt x="3526" y="1704"/>
                    </a:lnTo>
                    <a:lnTo>
                      <a:pt x="3532" y="1716"/>
                    </a:lnTo>
                    <a:lnTo>
                      <a:pt x="3534" y="1718"/>
                    </a:lnTo>
                    <a:lnTo>
                      <a:pt x="3536" y="1718"/>
                    </a:lnTo>
                    <a:lnTo>
                      <a:pt x="3536" y="1718"/>
                    </a:lnTo>
                    <a:lnTo>
                      <a:pt x="3540" y="1716"/>
                    </a:lnTo>
                    <a:lnTo>
                      <a:pt x="3542" y="1716"/>
                    </a:lnTo>
                    <a:lnTo>
                      <a:pt x="3544" y="1720"/>
                    </a:lnTo>
                    <a:lnTo>
                      <a:pt x="3544" y="1726"/>
                    </a:lnTo>
                    <a:lnTo>
                      <a:pt x="3544" y="1726"/>
                    </a:lnTo>
                    <a:lnTo>
                      <a:pt x="3544" y="1730"/>
                    </a:lnTo>
                    <a:lnTo>
                      <a:pt x="3546" y="1734"/>
                    </a:lnTo>
                    <a:lnTo>
                      <a:pt x="3552" y="1742"/>
                    </a:lnTo>
                    <a:lnTo>
                      <a:pt x="3556" y="1748"/>
                    </a:lnTo>
                    <a:lnTo>
                      <a:pt x="3560" y="1756"/>
                    </a:lnTo>
                    <a:lnTo>
                      <a:pt x="3560" y="1756"/>
                    </a:lnTo>
                    <a:lnTo>
                      <a:pt x="3558" y="1758"/>
                    </a:lnTo>
                    <a:lnTo>
                      <a:pt x="3558" y="1758"/>
                    </a:lnTo>
                    <a:lnTo>
                      <a:pt x="3554" y="1754"/>
                    </a:lnTo>
                    <a:lnTo>
                      <a:pt x="3548" y="1750"/>
                    </a:lnTo>
                    <a:lnTo>
                      <a:pt x="3546" y="1750"/>
                    </a:lnTo>
                    <a:lnTo>
                      <a:pt x="3544" y="1750"/>
                    </a:lnTo>
                    <a:lnTo>
                      <a:pt x="3544" y="1750"/>
                    </a:lnTo>
                    <a:lnTo>
                      <a:pt x="3542" y="1752"/>
                    </a:lnTo>
                    <a:lnTo>
                      <a:pt x="3542" y="1754"/>
                    </a:lnTo>
                    <a:lnTo>
                      <a:pt x="3546" y="1760"/>
                    </a:lnTo>
                    <a:lnTo>
                      <a:pt x="3548" y="1766"/>
                    </a:lnTo>
                    <a:lnTo>
                      <a:pt x="3546" y="1768"/>
                    </a:lnTo>
                    <a:lnTo>
                      <a:pt x="3544" y="1770"/>
                    </a:lnTo>
                    <a:lnTo>
                      <a:pt x="3544" y="1770"/>
                    </a:lnTo>
                    <a:lnTo>
                      <a:pt x="3542" y="1772"/>
                    </a:lnTo>
                    <a:lnTo>
                      <a:pt x="3538" y="1770"/>
                    </a:lnTo>
                    <a:lnTo>
                      <a:pt x="3530" y="1764"/>
                    </a:lnTo>
                    <a:lnTo>
                      <a:pt x="3520" y="1760"/>
                    </a:lnTo>
                    <a:lnTo>
                      <a:pt x="3516" y="1758"/>
                    </a:lnTo>
                    <a:lnTo>
                      <a:pt x="3512" y="1760"/>
                    </a:lnTo>
                    <a:lnTo>
                      <a:pt x="3512" y="1760"/>
                    </a:lnTo>
                    <a:lnTo>
                      <a:pt x="3508" y="1762"/>
                    </a:lnTo>
                    <a:lnTo>
                      <a:pt x="3508" y="1758"/>
                    </a:lnTo>
                    <a:lnTo>
                      <a:pt x="3508" y="1754"/>
                    </a:lnTo>
                    <a:lnTo>
                      <a:pt x="3508" y="1754"/>
                    </a:lnTo>
                    <a:lnTo>
                      <a:pt x="3504" y="1754"/>
                    </a:lnTo>
                    <a:lnTo>
                      <a:pt x="3504" y="1754"/>
                    </a:lnTo>
                    <a:lnTo>
                      <a:pt x="3502" y="1754"/>
                    </a:lnTo>
                    <a:lnTo>
                      <a:pt x="3502" y="1754"/>
                    </a:lnTo>
                    <a:lnTo>
                      <a:pt x="3504" y="1750"/>
                    </a:lnTo>
                    <a:lnTo>
                      <a:pt x="3506" y="1746"/>
                    </a:lnTo>
                    <a:lnTo>
                      <a:pt x="3504" y="1744"/>
                    </a:lnTo>
                    <a:lnTo>
                      <a:pt x="3502" y="1742"/>
                    </a:lnTo>
                    <a:lnTo>
                      <a:pt x="3502" y="1742"/>
                    </a:lnTo>
                    <a:lnTo>
                      <a:pt x="3498" y="1742"/>
                    </a:lnTo>
                    <a:lnTo>
                      <a:pt x="3496" y="1740"/>
                    </a:lnTo>
                    <a:lnTo>
                      <a:pt x="3494" y="1734"/>
                    </a:lnTo>
                    <a:lnTo>
                      <a:pt x="3494" y="1728"/>
                    </a:lnTo>
                    <a:lnTo>
                      <a:pt x="3492" y="1728"/>
                    </a:lnTo>
                    <a:lnTo>
                      <a:pt x="3490" y="1726"/>
                    </a:lnTo>
                    <a:lnTo>
                      <a:pt x="3490" y="1726"/>
                    </a:lnTo>
                    <a:lnTo>
                      <a:pt x="3486" y="1726"/>
                    </a:lnTo>
                    <a:lnTo>
                      <a:pt x="3482" y="1726"/>
                    </a:lnTo>
                    <a:lnTo>
                      <a:pt x="3480" y="1724"/>
                    </a:lnTo>
                    <a:lnTo>
                      <a:pt x="3478" y="1726"/>
                    </a:lnTo>
                    <a:lnTo>
                      <a:pt x="3478" y="1726"/>
                    </a:lnTo>
                    <a:lnTo>
                      <a:pt x="3480" y="1730"/>
                    </a:lnTo>
                    <a:lnTo>
                      <a:pt x="3484" y="1736"/>
                    </a:lnTo>
                    <a:lnTo>
                      <a:pt x="3490" y="1744"/>
                    </a:lnTo>
                    <a:lnTo>
                      <a:pt x="3496" y="1756"/>
                    </a:lnTo>
                    <a:lnTo>
                      <a:pt x="3496" y="1756"/>
                    </a:lnTo>
                    <a:lnTo>
                      <a:pt x="3496" y="1762"/>
                    </a:lnTo>
                    <a:lnTo>
                      <a:pt x="3494" y="1766"/>
                    </a:lnTo>
                    <a:lnTo>
                      <a:pt x="3486" y="1776"/>
                    </a:lnTo>
                    <a:lnTo>
                      <a:pt x="3482" y="1782"/>
                    </a:lnTo>
                    <a:lnTo>
                      <a:pt x="3480" y="1788"/>
                    </a:lnTo>
                    <a:lnTo>
                      <a:pt x="3476" y="1796"/>
                    </a:lnTo>
                    <a:lnTo>
                      <a:pt x="3476" y="1806"/>
                    </a:lnTo>
                    <a:lnTo>
                      <a:pt x="3476" y="1806"/>
                    </a:lnTo>
                    <a:lnTo>
                      <a:pt x="3476" y="1826"/>
                    </a:lnTo>
                    <a:lnTo>
                      <a:pt x="3476" y="1832"/>
                    </a:lnTo>
                    <a:lnTo>
                      <a:pt x="3472" y="1838"/>
                    </a:lnTo>
                    <a:lnTo>
                      <a:pt x="3468" y="1842"/>
                    </a:lnTo>
                    <a:lnTo>
                      <a:pt x="3464" y="1844"/>
                    </a:lnTo>
                    <a:lnTo>
                      <a:pt x="3448" y="1852"/>
                    </a:lnTo>
                    <a:lnTo>
                      <a:pt x="3448" y="1852"/>
                    </a:lnTo>
                    <a:lnTo>
                      <a:pt x="3446" y="1846"/>
                    </a:lnTo>
                    <a:lnTo>
                      <a:pt x="3444" y="1838"/>
                    </a:lnTo>
                    <a:lnTo>
                      <a:pt x="3440" y="1818"/>
                    </a:lnTo>
                    <a:lnTo>
                      <a:pt x="3438" y="1808"/>
                    </a:lnTo>
                    <a:lnTo>
                      <a:pt x="3434" y="1802"/>
                    </a:lnTo>
                    <a:lnTo>
                      <a:pt x="3428" y="1796"/>
                    </a:lnTo>
                    <a:lnTo>
                      <a:pt x="3424" y="1796"/>
                    </a:lnTo>
                    <a:lnTo>
                      <a:pt x="3424" y="1796"/>
                    </a:lnTo>
                    <a:lnTo>
                      <a:pt x="3418" y="1798"/>
                    </a:lnTo>
                    <a:lnTo>
                      <a:pt x="3414" y="1800"/>
                    </a:lnTo>
                    <a:lnTo>
                      <a:pt x="3408" y="1808"/>
                    </a:lnTo>
                    <a:lnTo>
                      <a:pt x="3404" y="1816"/>
                    </a:lnTo>
                    <a:lnTo>
                      <a:pt x="3400" y="1818"/>
                    </a:lnTo>
                    <a:lnTo>
                      <a:pt x="3398" y="1820"/>
                    </a:lnTo>
                    <a:lnTo>
                      <a:pt x="3398" y="1820"/>
                    </a:lnTo>
                    <a:lnTo>
                      <a:pt x="3394" y="1818"/>
                    </a:lnTo>
                    <a:lnTo>
                      <a:pt x="3392" y="1816"/>
                    </a:lnTo>
                    <a:lnTo>
                      <a:pt x="3388" y="1810"/>
                    </a:lnTo>
                    <a:lnTo>
                      <a:pt x="3390" y="1802"/>
                    </a:lnTo>
                    <a:lnTo>
                      <a:pt x="3392" y="1798"/>
                    </a:lnTo>
                    <a:lnTo>
                      <a:pt x="3394" y="1796"/>
                    </a:lnTo>
                    <a:lnTo>
                      <a:pt x="3394" y="1796"/>
                    </a:lnTo>
                    <a:lnTo>
                      <a:pt x="3400" y="1790"/>
                    </a:lnTo>
                    <a:lnTo>
                      <a:pt x="3406" y="1784"/>
                    </a:lnTo>
                    <a:lnTo>
                      <a:pt x="3410" y="1776"/>
                    </a:lnTo>
                    <a:lnTo>
                      <a:pt x="3412" y="1764"/>
                    </a:lnTo>
                    <a:lnTo>
                      <a:pt x="3412" y="1764"/>
                    </a:lnTo>
                    <a:lnTo>
                      <a:pt x="3412" y="1758"/>
                    </a:lnTo>
                    <a:lnTo>
                      <a:pt x="3412" y="1754"/>
                    </a:lnTo>
                    <a:lnTo>
                      <a:pt x="3410" y="1746"/>
                    </a:lnTo>
                    <a:lnTo>
                      <a:pt x="3408" y="1740"/>
                    </a:lnTo>
                    <a:lnTo>
                      <a:pt x="3408" y="1738"/>
                    </a:lnTo>
                    <a:lnTo>
                      <a:pt x="3410" y="1738"/>
                    </a:lnTo>
                    <a:lnTo>
                      <a:pt x="3410" y="1738"/>
                    </a:lnTo>
                    <a:lnTo>
                      <a:pt x="3414" y="1736"/>
                    </a:lnTo>
                    <a:lnTo>
                      <a:pt x="3414" y="1734"/>
                    </a:lnTo>
                    <a:lnTo>
                      <a:pt x="3410" y="1728"/>
                    </a:lnTo>
                    <a:lnTo>
                      <a:pt x="3402" y="1722"/>
                    </a:lnTo>
                    <a:lnTo>
                      <a:pt x="3392" y="1716"/>
                    </a:lnTo>
                    <a:lnTo>
                      <a:pt x="3392" y="1716"/>
                    </a:lnTo>
                    <a:lnTo>
                      <a:pt x="3382" y="1712"/>
                    </a:lnTo>
                    <a:lnTo>
                      <a:pt x="3380" y="1708"/>
                    </a:lnTo>
                    <a:lnTo>
                      <a:pt x="3378" y="1706"/>
                    </a:lnTo>
                    <a:lnTo>
                      <a:pt x="3372" y="1704"/>
                    </a:lnTo>
                    <a:lnTo>
                      <a:pt x="3372" y="1704"/>
                    </a:lnTo>
                    <a:lnTo>
                      <a:pt x="3366" y="1702"/>
                    </a:lnTo>
                    <a:lnTo>
                      <a:pt x="3362" y="1698"/>
                    </a:lnTo>
                    <a:lnTo>
                      <a:pt x="3358" y="1696"/>
                    </a:lnTo>
                    <a:lnTo>
                      <a:pt x="3356" y="1696"/>
                    </a:lnTo>
                    <a:lnTo>
                      <a:pt x="3352" y="1698"/>
                    </a:lnTo>
                    <a:lnTo>
                      <a:pt x="3346" y="1702"/>
                    </a:lnTo>
                    <a:lnTo>
                      <a:pt x="3346" y="1702"/>
                    </a:lnTo>
                    <a:lnTo>
                      <a:pt x="3342" y="1706"/>
                    </a:lnTo>
                    <a:lnTo>
                      <a:pt x="3340" y="1710"/>
                    </a:lnTo>
                    <a:lnTo>
                      <a:pt x="3342" y="1712"/>
                    </a:lnTo>
                    <a:lnTo>
                      <a:pt x="3344" y="1714"/>
                    </a:lnTo>
                    <a:lnTo>
                      <a:pt x="3346" y="1718"/>
                    </a:lnTo>
                    <a:lnTo>
                      <a:pt x="3340" y="1720"/>
                    </a:lnTo>
                    <a:lnTo>
                      <a:pt x="3340" y="1720"/>
                    </a:lnTo>
                    <a:lnTo>
                      <a:pt x="3334" y="1722"/>
                    </a:lnTo>
                    <a:lnTo>
                      <a:pt x="3330" y="1726"/>
                    </a:lnTo>
                    <a:lnTo>
                      <a:pt x="3328" y="1732"/>
                    </a:lnTo>
                    <a:lnTo>
                      <a:pt x="3328" y="1738"/>
                    </a:lnTo>
                    <a:lnTo>
                      <a:pt x="3326" y="1748"/>
                    </a:lnTo>
                    <a:lnTo>
                      <a:pt x="3324" y="1752"/>
                    </a:lnTo>
                    <a:lnTo>
                      <a:pt x="3322" y="1752"/>
                    </a:lnTo>
                    <a:lnTo>
                      <a:pt x="3322" y="1752"/>
                    </a:lnTo>
                    <a:lnTo>
                      <a:pt x="3320" y="1752"/>
                    </a:lnTo>
                    <a:lnTo>
                      <a:pt x="3318" y="1748"/>
                    </a:lnTo>
                    <a:lnTo>
                      <a:pt x="3318" y="1738"/>
                    </a:lnTo>
                    <a:lnTo>
                      <a:pt x="3318" y="1734"/>
                    </a:lnTo>
                    <a:lnTo>
                      <a:pt x="3316" y="1734"/>
                    </a:lnTo>
                    <a:lnTo>
                      <a:pt x="3314" y="1736"/>
                    </a:lnTo>
                    <a:lnTo>
                      <a:pt x="3308" y="1744"/>
                    </a:lnTo>
                    <a:lnTo>
                      <a:pt x="3308" y="1744"/>
                    </a:lnTo>
                    <a:lnTo>
                      <a:pt x="3300" y="1752"/>
                    </a:lnTo>
                    <a:lnTo>
                      <a:pt x="3296" y="1754"/>
                    </a:lnTo>
                    <a:lnTo>
                      <a:pt x="3294" y="1756"/>
                    </a:lnTo>
                    <a:lnTo>
                      <a:pt x="3294" y="1766"/>
                    </a:lnTo>
                    <a:lnTo>
                      <a:pt x="3294" y="1766"/>
                    </a:lnTo>
                    <a:lnTo>
                      <a:pt x="3296" y="1772"/>
                    </a:lnTo>
                    <a:lnTo>
                      <a:pt x="3294" y="1778"/>
                    </a:lnTo>
                    <a:lnTo>
                      <a:pt x="3290" y="1786"/>
                    </a:lnTo>
                    <a:lnTo>
                      <a:pt x="3286" y="1792"/>
                    </a:lnTo>
                    <a:lnTo>
                      <a:pt x="3286" y="1796"/>
                    </a:lnTo>
                    <a:lnTo>
                      <a:pt x="3286" y="1800"/>
                    </a:lnTo>
                    <a:lnTo>
                      <a:pt x="3286" y="1800"/>
                    </a:lnTo>
                    <a:lnTo>
                      <a:pt x="3288" y="1808"/>
                    </a:lnTo>
                    <a:lnTo>
                      <a:pt x="3286" y="1812"/>
                    </a:lnTo>
                    <a:lnTo>
                      <a:pt x="3284" y="1818"/>
                    </a:lnTo>
                    <a:lnTo>
                      <a:pt x="3286" y="1828"/>
                    </a:lnTo>
                    <a:lnTo>
                      <a:pt x="3286" y="1828"/>
                    </a:lnTo>
                    <a:lnTo>
                      <a:pt x="3292" y="1840"/>
                    </a:lnTo>
                    <a:lnTo>
                      <a:pt x="3294" y="1852"/>
                    </a:lnTo>
                    <a:lnTo>
                      <a:pt x="3296" y="1862"/>
                    </a:lnTo>
                    <a:lnTo>
                      <a:pt x="3294" y="1872"/>
                    </a:lnTo>
                    <a:lnTo>
                      <a:pt x="3294" y="1880"/>
                    </a:lnTo>
                    <a:lnTo>
                      <a:pt x="3290" y="1890"/>
                    </a:lnTo>
                    <a:lnTo>
                      <a:pt x="3282" y="1908"/>
                    </a:lnTo>
                    <a:lnTo>
                      <a:pt x="3282" y="1908"/>
                    </a:lnTo>
                    <a:lnTo>
                      <a:pt x="3276" y="1916"/>
                    </a:lnTo>
                    <a:lnTo>
                      <a:pt x="3270" y="1922"/>
                    </a:lnTo>
                    <a:lnTo>
                      <a:pt x="3264" y="1928"/>
                    </a:lnTo>
                    <a:lnTo>
                      <a:pt x="3258" y="1930"/>
                    </a:lnTo>
                    <a:lnTo>
                      <a:pt x="3252" y="1930"/>
                    </a:lnTo>
                    <a:lnTo>
                      <a:pt x="3246" y="1926"/>
                    </a:lnTo>
                    <a:lnTo>
                      <a:pt x="3242" y="1922"/>
                    </a:lnTo>
                    <a:lnTo>
                      <a:pt x="3236" y="1914"/>
                    </a:lnTo>
                    <a:lnTo>
                      <a:pt x="3236" y="1914"/>
                    </a:lnTo>
                    <a:lnTo>
                      <a:pt x="3232" y="1904"/>
                    </a:lnTo>
                    <a:lnTo>
                      <a:pt x="3230" y="1898"/>
                    </a:lnTo>
                    <a:lnTo>
                      <a:pt x="3230" y="1884"/>
                    </a:lnTo>
                    <a:lnTo>
                      <a:pt x="3230" y="1872"/>
                    </a:lnTo>
                    <a:lnTo>
                      <a:pt x="3230" y="1864"/>
                    </a:lnTo>
                    <a:lnTo>
                      <a:pt x="3230" y="1856"/>
                    </a:lnTo>
                    <a:lnTo>
                      <a:pt x="3230" y="1856"/>
                    </a:lnTo>
                    <a:lnTo>
                      <a:pt x="3228" y="1842"/>
                    </a:lnTo>
                    <a:lnTo>
                      <a:pt x="3228" y="1834"/>
                    </a:lnTo>
                    <a:lnTo>
                      <a:pt x="3232" y="1824"/>
                    </a:lnTo>
                    <a:lnTo>
                      <a:pt x="3234" y="1810"/>
                    </a:lnTo>
                    <a:lnTo>
                      <a:pt x="3234" y="1810"/>
                    </a:lnTo>
                    <a:lnTo>
                      <a:pt x="3234" y="1802"/>
                    </a:lnTo>
                    <a:lnTo>
                      <a:pt x="3236" y="1796"/>
                    </a:lnTo>
                    <a:lnTo>
                      <a:pt x="3238" y="1792"/>
                    </a:lnTo>
                    <a:lnTo>
                      <a:pt x="3240" y="1792"/>
                    </a:lnTo>
                    <a:lnTo>
                      <a:pt x="3242" y="1790"/>
                    </a:lnTo>
                    <a:lnTo>
                      <a:pt x="3242" y="1784"/>
                    </a:lnTo>
                    <a:lnTo>
                      <a:pt x="3242" y="1784"/>
                    </a:lnTo>
                    <a:lnTo>
                      <a:pt x="3240" y="1780"/>
                    </a:lnTo>
                    <a:lnTo>
                      <a:pt x="3242" y="1776"/>
                    </a:lnTo>
                    <a:lnTo>
                      <a:pt x="3246" y="1764"/>
                    </a:lnTo>
                    <a:lnTo>
                      <a:pt x="3248" y="1754"/>
                    </a:lnTo>
                    <a:lnTo>
                      <a:pt x="3248" y="1752"/>
                    </a:lnTo>
                    <a:lnTo>
                      <a:pt x="3246" y="1748"/>
                    </a:lnTo>
                    <a:lnTo>
                      <a:pt x="3246" y="1748"/>
                    </a:lnTo>
                    <a:lnTo>
                      <a:pt x="3240" y="1748"/>
                    </a:lnTo>
                    <a:lnTo>
                      <a:pt x="3238" y="1752"/>
                    </a:lnTo>
                    <a:lnTo>
                      <a:pt x="3234" y="1758"/>
                    </a:lnTo>
                    <a:lnTo>
                      <a:pt x="3228" y="1764"/>
                    </a:lnTo>
                    <a:lnTo>
                      <a:pt x="3228" y="1764"/>
                    </a:lnTo>
                    <a:lnTo>
                      <a:pt x="3226" y="1766"/>
                    </a:lnTo>
                    <a:lnTo>
                      <a:pt x="3224" y="1766"/>
                    </a:lnTo>
                    <a:lnTo>
                      <a:pt x="3224" y="1758"/>
                    </a:lnTo>
                    <a:lnTo>
                      <a:pt x="3226" y="1750"/>
                    </a:lnTo>
                    <a:lnTo>
                      <a:pt x="3230" y="1746"/>
                    </a:lnTo>
                    <a:lnTo>
                      <a:pt x="3232" y="1742"/>
                    </a:lnTo>
                    <a:lnTo>
                      <a:pt x="3232" y="1742"/>
                    </a:lnTo>
                    <a:lnTo>
                      <a:pt x="3236" y="1740"/>
                    </a:lnTo>
                    <a:lnTo>
                      <a:pt x="3238" y="1736"/>
                    </a:lnTo>
                    <a:lnTo>
                      <a:pt x="3240" y="1732"/>
                    </a:lnTo>
                    <a:lnTo>
                      <a:pt x="3244" y="1726"/>
                    </a:lnTo>
                    <a:lnTo>
                      <a:pt x="3244" y="1726"/>
                    </a:lnTo>
                    <a:lnTo>
                      <a:pt x="3252" y="1714"/>
                    </a:lnTo>
                    <a:lnTo>
                      <a:pt x="3258" y="1700"/>
                    </a:lnTo>
                    <a:lnTo>
                      <a:pt x="3264" y="1692"/>
                    </a:lnTo>
                    <a:lnTo>
                      <a:pt x="3266" y="1690"/>
                    </a:lnTo>
                    <a:lnTo>
                      <a:pt x="3266" y="1692"/>
                    </a:lnTo>
                    <a:lnTo>
                      <a:pt x="3266" y="1692"/>
                    </a:lnTo>
                    <a:lnTo>
                      <a:pt x="3268" y="1696"/>
                    </a:lnTo>
                    <a:lnTo>
                      <a:pt x="3270" y="1696"/>
                    </a:lnTo>
                    <a:lnTo>
                      <a:pt x="3274" y="1694"/>
                    </a:lnTo>
                    <a:lnTo>
                      <a:pt x="3278" y="1692"/>
                    </a:lnTo>
                    <a:lnTo>
                      <a:pt x="3280" y="1692"/>
                    </a:lnTo>
                    <a:lnTo>
                      <a:pt x="3278" y="1698"/>
                    </a:lnTo>
                    <a:lnTo>
                      <a:pt x="3278" y="1698"/>
                    </a:lnTo>
                    <a:lnTo>
                      <a:pt x="3278" y="1702"/>
                    </a:lnTo>
                    <a:lnTo>
                      <a:pt x="3278" y="1702"/>
                    </a:lnTo>
                    <a:lnTo>
                      <a:pt x="3284" y="1696"/>
                    </a:lnTo>
                    <a:lnTo>
                      <a:pt x="3292" y="1688"/>
                    </a:lnTo>
                    <a:lnTo>
                      <a:pt x="3296" y="1686"/>
                    </a:lnTo>
                    <a:lnTo>
                      <a:pt x="3300" y="1684"/>
                    </a:lnTo>
                    <a:lnTo>
                      <a:pt x="3300" y="1684"/>
                    </a:lnTo>
                    <a:lnTo>
                      <a:pt x="3310" y="1684"/>
                    </a:lnTo>
                    <a:lnTo>
                      <a:pt x="3314" y="1684"/>
                    </a:lnTo>
                    <a:lnTo>
                      <a:pt x="3320" y="1678"/>
                    </a:lnTo>
                    <a:lnTo>
                      <a:pt x="3324" y="1676"/>
                    </a:lnTo>
                    <a:lnTo>
                      <a:pt x="3328" y="1678"/>
                    </a:lnTo>
                    <a:lnTo>
                      <a:pt x="3336" y="1680"/>
                    </a:lnTo>
                    <a:lnTo>
                      <a:pt x="3346" y="1686"/>
                    </a:lnTo>
                    <a:lnTo>
                      <a:pt x="3346" y="1686"/>
                    </a:lnTo>
                    <a:lnTo>
                      <a:pt x="3352" y="1690"/>
                    </a:lnTo>
                    <a:lnTo>
                      <a:pt x="3354" y="1690"/>
                    </a:lnTo>
                    <a:lnTo>
                      <a:pt x="3356" y="1688"/>
                    </a:lnTo>
                    <a:lnTo>
                      <a:pt x="3358" y="1686"/>
                    </a:lnTo>
                    <a:lnTo>
                      <a:pt x="3358" y="1682"/>
                    </a:lnTo>
                    <a:lnTo>
                      <a:pt x="3360" y="1680"/>
                    </a:lnTo>
                    <a:lnTo>
                      <a:pt x="3362" y="1680"/>
                    </a:lnTo>
                    <a:lnTo>
                      <a:pt x="3362" y="1680"/>
                    </a:lnTo>
                    <a:lnTo>
                      <a:pt x="3370" y="1684"/>
                    </a:lnTo>
                    <a:lnTo>
                      <a:pt x="3380" y="1686"/>
                    </a:lnTo>
                    <a:lnTo>
                      <a:pt x="3386" y="1684"/>
                    </a:lnTo>
                    <a:lnTo>
                      <a:pt x="3388" y="1682"/>
                    </a:lnTo>
                    <a:lnTo>
                      <a:pt x="3388" y="1678"/>
                    </a:lnTo>
                    <a:lnTo>
                      <a:pt x="3388" y="1678"/>
                    </a:lnTo>
                    <a:lnTo>
                      <a:pt x="3384" y="1674"/>
                    </a:lnTo>
                    <a:lnTo>
                      <a:pt x="3380" y="1672"/>
                    </a:lnTo>
                    <a:lnTo>
                      <a:pt x="3376" y="1670"/>
                    </a:lnTo>
                    <a:lnTo>
                      <a:pt x="3374" y="1662"/>
                    </a:lnTo>
                    <a:lnTo>
                      <a:pt x="3374" y="1662"/>
                    </a:lnTo>
                    <a:lnTo>
                      <a:pt x="3374" y="1658"/>
                    </a:lnTo>
                    <a:lnTo>
                      <a:pt x="3372" y="1658"/>
                    </a:lnTo>
                    <a:lnTo>
                      <a:pt x="3368" y="1658"/>
                    </a:lnTo>
                    <a:lnTo>
                      <a:pt x="3360" y="1658"/>
                    </a:lnTo>
                    <a:lnTo>
                      <a:pt x="3348" y="1654"/>
                    </a:lnTo>
                    <a:lnTo>
                      <a:pt x="3348" y="1654"/>
                    </a:lnTo>
                    <a:lnTo>
                      <a:pt x="3346" y="1652"/>
                    </a:lnTo>
                    <a:lnTo>
                      <a:pt x="3344" y="1650"/>
                    </a:lnTo>
                    <a:lnTo>
                      <a:pt x="3344" y="1644"/>
                    </a:lnTo>
                    <a:lnTo>
                      <a:pt x="3346" y="1638"/>
                    </a:lnTo>
                    <a:lnTo>
                      <a:pt x="3344" y="1638"/>
                    </a:lnTo>
                    <a:lnTo>
                      <a:pt x="3340" y="1640"/>
                    </a:lnTo>
                    <a:lnTo>
                      <a:pt x="3340" y="1640"/>
                    </a:lnTo>
                    <a:lnTo>
                      <a:pt x="3330" y="1642"/>
                    </a:lnTo>
                    <a:lnTo>
                      <a:pt x="3314" y="1644"/>
                    </a:lnTo>
                    <a:lnTo>
                      <a:pt x="3300" y="1646"/>
                    </a:lnTo>
                    <a:lnTo>
                      <a:pt x="3294" y="1648"/>
                    </a:lnTo>
                    <a:lnTo>
                      <a:pt x="3288" y="1652"/>
                    </a:lnTo>
                    <a:lnTo>
                      <a:pt x="3288" y="1652"/>
                    </a:lnTo>
                    <a:lnTo>
                      <a:pt x="3280" y="1656"/>
                    </a:lnTo>
                    <a:lnTo>
                      <a:pt x="3274" y="1656"/>
                    </a:lnTo>
                    <a:lnTo>
                      <a:pt x="3268" y="1656"/>
                    </a:lnTo>
                    <a:lnTo>
                      <a:pt x="3258" y="1654"/>
                    </a:lnTo>
                    <a:lnTo>
                      <a:pt x="3258" y="1654"/>
                    </a:lnTo>
                    <a:lnTo>
                      <a:pt x="3252" y="1654"/>
                    </a:lnTo>
                    <a:lnTo>
                      <a:pt x="3250" y="1652"/>
                    </a:lnTo>
                    <a:lnTo>
                      <a:pt x="3244" y="1646"/>
                    </a:lnTo>
                    <a:lnTo>
                      <a:pt x="3238" y="1636"/>
                    </a:lnTo>
                    <a:lnTo>
                      <a:pt x="3234" y="1632"/>
                    </a:lnTo>
                    <a:lnTo>
                      <a:pt x="3228" y="1630"/>
                    </a:lnTo>
                    <a:lnTo>
                      <a:pt x="3228" y="1630"/>
                    </a:lnTo>
                    <a:lnTo>
                      <a:pt x="3222" y="1628"/>
                    </a:lnTo>
                    <a:lnTo>
                      <a:pt x="3218" y="1628"/>
                    </a:lnTo>
                    <a:lnTo>
                      <a:pt x="3210" y="1632"/>
                    </a:lnTo>
                    <a:lnTo>
                      <a:pt x="3208" y="1634"/>
                    </a:lnTo>
                    <a:lnTo>
                      <a:pt x="3206" y="1634"/>
                    </a:lnTo>
                    <a:lnTo>
                      <a:pt x="3206" y="1632"/>
                    </a:lnTo>
                    <a:lnTo>
                      <a:pt x="3204" y="1628"/>
                    </a:lnTo>
                    <a:lnTo>
                      <a:pt x="3204" y="1628"/>
                    </a:lnTo>
                    <a:lnTo>
                      <a:pt x="3202" y="1618"/>
                    </a:lnTo>
                    <a:lnTo>
                      <a:pt x="3200" y="1616"/>
                    </a:lnTo>
                    <a:lnTo>
                      <a:pt x="3198" y="1614"/>
                    </a:lnTo>
                    <a:lnTo>
                      <a:pt x="3190" y="1618"/>
                    </a:lnTo>
                    <a:lnTo>
                      <a:pt x="3180" y="1628"/>
                    </a:lnTo>
                    <a:lnTo>
                      <a:pt x="3180" y="1628"/>
                    </a:lnTo>
                    <a:lnTo>
                      <a:pt x="3176" y="1632"/>
                    </a:lnTo>
                    <a:lnTo>
                      <a:pt x="3170" y="1634"/>
                    </a:lnTo>
                    <a:lnTo>
                      <a:pt x="3164" y="1636"/>
                    </a:lnTo>
                    <a:lnTo>
                      <a:pt x="3156" y="1636"/>
                    </a:lnTo>
                    <a:lnTo>
                      <a:pt x="3150" y="1638"/>
                    </a:lnTo>
                    <a:lnTo>
                      <a:pt x="3144" y="1642"/>
                    </a:lnTo>
                    <a:lnTo>
                      <a:pt x="3144" y="1642"/>
                    </a:lnTo>
                    <a:lnTo>
                      <a:pt x="3134" y="1648"/>
                    </a:lnTo>
                    <a:lnTo>
                      <a:pt x="3126" y="1650"/>
                    </a:lnTo>
                    <a:lnTo>
                      <a:pt x="3118" y="1648"/>
                    </a:lnTo>
                    <a:lnTo>
                      <a:pt x="3110" y="1648"/>
                    </a:lnTo>
                    <a:lnTo>
                      <a:pt x="3110" y="1648"/>
                    </a:lnTo>
                    <a:lnTo>
                      <a:pt x="3106" y="1650"/>
                    </a:lnTo>
                    <a:lnTo>
                      <a:pt x="3104" y="1648"/>
                    </a:lnTo>
                    <a:lnTo>
                      <a:pt x="3108" y="1640"/>
                    </a:lnTo>
                    <a:lnTo>
                      <a:pt x="3112" y="1632"/>
                    </a:lnTo>
                    <a:lnTo>
                      <a:pt x="3110" y="1630"/>
                    </a:lnTo>
                    <a:lnTo>
                      <a:pt x="3108" y="1628"/>
                    </a:lnTo>
                    <a:lnTo>
                      <a:pt x="3108" y="1628"/>
                    </a:lnTo>
                    <a:lnTo>
                      <a:pt x="3104" y="1628"/>
                    </a:lnTo>
                    <a:lnTo>
                      <a:pt x="3098" y="1630"/>
                    </a:lnTo>
                    <a:lnTo>
                      <a:pt x="3086" y="1636"/>
                    </a:lnTo>
                    <a:lnTo>
                      <a:pt x="3074" y="1642"/>
                    </a:lnTo>
                    <a:lnTo>
                      <a:pt x="3068" y="1642"/>
                    </a:lnTo>
                    <a:lnTo>
                      <a:pt x="3062" y="1642"/>
                    </a:lnTo>
                    <a:lnTo>
                      <a:pt x="3062" y="1642"/>
                    </a:lnTo>
                    <a:lnTo>
                      <a:pt x="3058" y="1640"/>
                    </a:lnTo>
                    <a:lnTo>
                      <a:pt x="3058" y="1638"/>
                    </a:lnTo>
                    <a:lnTo>
                      <a:pt x="3060" y="1636"/>
                    </a:lnTo>
                    <a:lnTo>
                      <a:pt x="3064" y="1632"/>
                    </a:lnTo>
                    <a:lnTo>
                      <a:pt x="3076" y="1620"/>
                    </a:lnTo>
                    <a:lnTo>
                      <a:pt x="3092" y="1606"/>
                    </a:lnTo>
                    <a:lnTo>
                      <a:pt x="3092" y="1606"/>
                    </a:lnTo>
                    <a:close/>
                  </a:path>
                </a:pathLst>
              </a:custGeom>
              <a:grpFill/>
              <a:ln w="6350">
                <a:noFill/>
                <a:round/>
                <a:headEnd/>
                <a:tailEnd/>
              </a:ln>
            </p:spPr>
            <p:txBody>
              <a:bodyPr/>
              <a:lstStyle/>
              <a:p>
                <a:endParaRPr lang="da-DK" sz="2800" b="1"/>
              </a:p>
            </p:txBody>
          </p:sp>
          <p:sp>
            <p:nvSpPr>
              <p:cNvPr id="72" name="Freeform 6087">
                <a:extLst>
                  <a:ext uri="{FF2B5EF4-FFF2-40B4-BE49-F238E27FC236}">
                    <a16:creationId xmlns:a16="http://schemas.microsoft.com/office/drawing/2014/main" id="{2D2CFB3B-5EF3-453F-BF94-2E3A9DF58E7A}"/>
                  </a:ext>
                </a:extLst>
              </p:cNvPr>
              <p:cNvSpPr>
                <a:spLocks/>
              </p:cNvSpPr>
              <p:nvPr/>
            </p:nvSpPr>
            <p:spPr bwMode="auto">
              <a:xfrm>
                <a:off x="1927860" y="823913"/>
                <a:ext cx="304800" cy="171450"/>
              </a:xfrm>
              <a:custGeom>
                <a:avLst/>
                <a:gdLst/>
                <a:ahLst/>
                <a:cxnLst>
                  <a:cxn ang="0">
                    <a:pos x="78" y="174"/>
                  </a:cxn>
                  <a:cxn ang="0">
                    <a:pos x="110" y="166"/>
                  </a:cxn>
                  <a:cxn ang="0">
                    <a:pos x="110" y="174"/>
                  </a:cxn>
                  <a:cxn ang="0">
                    <a:pos x="176" y="164"/>
                  </a:cxn>
                  <a:cxn ang="0">
                    <a:pos x="174" y="172"/>
                  </a:cxn>
                  <a:cxn ang="0">
                    <a:pos x="118" y="192"/>
                  </a:cxn>
                  <a:cxn ang="0">
                    <a:pos x="108" y="204"/>
                  </a:cxn>
                  <a:cxn ang="0">
                    <a:pos x="148" y="238"/>
                  </a:cxn>
                  <a:cxn ang="0">
                    <a:pos x="224" y="268"/>
                  </a:cxn>
                  <a:cxn ang="0">
                    <a:pos x="260" y="262"/>
                  </a:cxn>
                  <a:cxn ang="0">
                    <a:pos x="268" y="252"/>
                  </a:cxn>
                  <a:cxn ang="0">
                    <a:pos x="288" y="260"/>
                  </a:cxn>
                  <a:cxn ang="0">
                    <a:pos x="282" y="242"/>
                  </a:cxn>
                  <a:cxn ang="0">
                    <a:pos x="296" y="246"/>
                  </a:cxn>
                  <a:cxn ang="0">
                    <a:pos x="322" y="266"/>
                  </a:cxn>
                  <a:cxn ang="0">
                    <a:pos x="328" y="246"/>
                  </a:cxn>
                  <a:cxn ang="0">
                    <a:pos x="340" y="234"/>
                  </a:cxn>
                  <a:cxn ang="0">
                    <a:pos x="364" y="230"/>
                  </a:cxn>
                  <a:cxn ang="0">
                    <a:pos x="426" y="192"/>
                  </a:cxn>
                  <a:cxn ang="0">
                    <a:pos x="480" y="174"/>
                  </a:cxn>
                  <a:cxn ang="0">
                    <a:pos x="472" y="166"/>
                  </a:cxn>
                  <a:cxn ang="0">
                    <a:pos x="438" y="146"/>
                  </a:cxn>
                  <a:cxn ang="0">
                    <a:pos x="400" y="146"/>
                  </a:cxn>
                  <a:cxn ang="0">
                    <a:pos x="390" y="142"/>
                  </a:cxn>
                  <a:cxn ang="0">
                    <a:pos x="400" y="122"/>
                  </a:cxn>
                  <a:cxn ang="0">
                    <a:pos x="382" y="108"/>
                  </a:cxn>
                  <a:cxn ang="0">
                    <a:pos x="376" y="86"/>
                  </a:cxn>
                  <a:cxn ang="0">
                    <a:pos x="352" y="78"/>
                  </a:cxn>
                  <a:cxn ang="0">
                    <a:pos x="328" y="90"/>
                  </a:cxn>
                  <a:cxn ang="0">
                    <a:pos x="326" y="102"/>
                  </a:cxn>
                  <a:cxn ang="0">
                    <a:pos x="306" y="92"/>
                  </a:cxn>
                  <a:cxn ang="0">
                    <a:pos x="306" y="74"/>
                  </a:cxn>
                  <a:cxn ang="0">
                    <a:pos x="274" y="68"/>
                  </a:cxn>
                  <a:cxn ang="0">
                    <a:pos x="192" y="20"/>
                  </a:cxn>
                  <a:cxn ang="0">
                    <a:pos x="134" y="0"/>
                  </a:cxn>
                  <a:cxn ang="0">
                    <a:pos x="100" y="4"/>
                  </a:cxn>
                  <a:cxn ang="0">
                    <a:pos x="112" y="20"/>
                  </a:cxn>
                  <a:cxn ang="0">
                    <a:pos x="98" y="28"/>
                  </a:cxn>
                  <a:cxn ang="0">
                    <a:pos x="66" y="32"/>
                  </a:cxn>
                  <a:cxn ang="0">
                    <a:pos x="54" y="54"/>
                  </a:cxn>
                  <a:cxn ang="0">
                    <a:pos x="26" y="76"/>
                  </a:cxn>
                  <a:cxn ang="0">
                    <a:pos x="18" y="92"/>
                  </a:cxn>
                  <a:cxn ang="0">
                    <a:pos x="50" y="100"/>
                  </a:cxn>
                  <a:cxn ang="0">
                    <a:pos x="90" y="104"/>
                  </a:cxn>
                  <a:cxn ang="0">
                    <a:pos x="72" y="112"/>
                  </a:cxn>
                  <a:cxn ang="0">
                    <a:pos x="4" y="106"/>
                  </a:cxn>
                  <a:cxn ang="0">
                    <a:pos x="2" y="116"/>
                  </a:cxn>
                  <a:cxn ang="0">
                    <a:pos x="32" y="148"/>
                  </a:cxn>
                </a:cxnLst>
                <a:rect l="0" t="0" r="r" b="b"/>
                <a:pathLst>
                  <a:path w="480" h="270">
                    <a:moveTo>
                      <a:pt x="54" y="164"/>
                    </a:moveTo>
                    <a:lnTo>
                      <a:pt x="54" y="164"/>
                    </a:lnTo>
                    <a:lnTo>
                      <a:pt x="66" y="172"/>
                    </a:lnTo>
                    <a:lnTo>
                      <a:pt x="78" y="174"/>
                    </a:lnTo>
                    <a:lnTo>
                      <a:pt x="88" y="172"/>
                    </a:lnTo>
                    <a:lnTo>
                      <a:pt x="98" y="170"/>
                    </a:lnTo>
                    <a:lnTo>
                      <a:pt x="108" y="164"/>
                    </a:lnTo>
                    <a:lnTo>
                      <a:pt x="110" y="166"/>
                    </a:lnTo>
                    <a:lnTo>
                      <a:pt x="108" y="170"/>
                    </a:lnTo>
                    <a:lnTo>
                      <a:pt x="108" y="170"/>
                    </a:lnTo>
                    <a:lnTo>
                      <a:pt x="108" y="172"/>
                    </a:lnTo>
                    <a:lnTo>
                      <a:pt x="110" y="174"/>
                    </a:lnTo>
                    <a:lnTo>
                      <a:pt x="116" y="176"/>
                    </a:lnTo>
                    <a:lnTo>
                      <a:pt x="142" y="168"/>
                    </a:lnTo>
                    <a:lnTo>
                      <a:pt x="168" y="162"/>
                    </a:lnTo>
                    <a:lnTo>
                      <a:pt x="176" y="164"/>
                    </a:lnTo>
                    <a:lnTo>
                      <a:pt x="176" y="164"/>
                    </a:lnTo>
                    <a:lnTo>
                      <a:pt x="176" y="168"/>
                    </a:lnTo>
                    <a:lnTo>
                      <a:pt x="176" y="168"/>
                    </a:lnTo>
                    <a:lnTo>
                      <a:pt x="174" y="172"/>
                    </a:lnTo>
                    <a:lnTo>
                      <a:pt x="170" y="174"/>
                    </a:lnTo>
                    <a:lnTo>
                      <a:pt x="158" y="180"/>
                    </a:lnTo>
                    <a:lnTo>
                      <a:pt x="130" y="188"/>
                    </a:lnTo>
                    <a:lnTo>
                      <a:pt x="118" y="192"/>
                    </a:lnTo>
                    <a:lnTo>
                      <a:pt x="108" y="196"/>
                    </a:lnTo>
                    <a:lnTo>
                      <a:pt x="104" y="200"/>
                    </a:lnTo>
                    <a:lnTo>
                      <a:pt x="106" y="202"/>
                    </a:lnTo>
                    <a:lnTo>
                      <a:pt x="108" y="204"/>
                    </a:lnTo>
                    <a:lnTo>
                      <a:pt x="108" y="204"/>
                    </a:lnTo>
                    <a:lnTo>
                      <a:pt x="122" y="214"/>
                    </a:lnTo>
                    <a:lnTo>
                      <a:pt x="134" y="226"/>
                    </a:lnTo>
                    <a:lnTo>
                      <a:pt x="148" y="238"/>
                    </a:lnTo>
                    <a:lnTo>
                      <a:pt x="166" y="250"/>
                    </a:lnTo>
                    <a:lnTo>
                      <a:pt x="166" y="250"/>
                    </a:lnTo>
                    <a:lnTo>
                      <a:pt x="194" y="260"/>
                    </a:lnTo>
                    <a:lnTo>
                      <a:pt x="224" y="268"/>
                    </a:lnTo>
                    <a:lnTo>
                      <a:pt x="238" y="270"/>
                    </a:lnTo>
                    <a:lnTo>
                      <a:pt x="250" y="270"/>
                    </a:lnTo>
                    <a:lnTo>
                      <a:pt x="258" y="266"/>
                    </a:lnTo>
                    <a:lnTo>
                      <a:pt x="260" y="262"/>
                    </a:lnTo>
                    <a:lnTo>
                      <a:pt x="262" y="260"/>
                    </a:lnTo>
                    <a:lnTo>
                      <a:pt x="262" y="260"/>
                    </a:lnTo>
                    <a:lnTo>
                      <a:pt x="262" y="254"/>
                    </a:lnTo>
                    <a:lnTo>
                      <a:pt x="268" y="252"/>
                    </a:lnTo>
                    <a:lnTo>
                      <a:pt x="274" y="254"/>
                    </a:lnTo>
                    <a:lnTo>
                      <a:pt x="280" y="256"/>
                    </a:lnTo>
                    <a:lnTo>
                      <a:pt x="284" y="258"/>
                    </a:lnTo>
                    <a:lnTo>
                      <a:pt x="288" y="260"/>
                    </a:lnTo>
                    <a:lnTo>
                      <a:pt x="290" y="258"/>
                    </a:lnTo>
                    <a:lnTo>
                      <a:pt x="286" y="250"/>
                    </a:lnTo>
                    <a:lnTo>
                      <a:pt x="286" y="250"/>
                    </a:lnTo>
                    <a:lnTo>
                      <a:pt x="282" y="242"/>
                    </a:lnTo>
                    <a:lnTo>
                      <a:pt x="280" y="236"/>
                    </a:lnTo>
                    <a:lnTo>
                      <a:pt x="282" y="236"/>
                    </a:lnTo>
                    <a:lnTo>
                      <a:pt x="284" y="236"/>
                    </a:lnTo>
                    <a:lnTo>
                      <a:pt x="296" y="246"/>
                    </a:lnTo>
                    <a:lnTo>
                      <a:pt x="314" y="260"/>
                    </a:lnTo>
                    <a:lnTo>
                      <a:pt x="314" y="260"/>
                    </a:lnTo>
                    <a:lnTo>
                      <a:pt x="320" y="266"/>
                    </a:lnTo>
                    <a:lnTo>
                      <a:pt x="322" y="266"/>
                    </a:lnTo>
                    <a:lnTo>
                      <a:pt x="324" y="266"/>
                    </a:lnTo>
                    <a:lnTo>
                      <a:pt x="326" y="262"/>
                    </a:lnTo>
                    <a:lnTo>
                      <a:pt x="328" y="254"/>
                    </a:lnTo>
                    <a:lnTo>
                      <a:pt x="328" y="246"/>
                    </a:lnTo>
                    <a:lnTo>
                      <a:pt x="330" y="240"/>
                    </a:lnTo>
                    <a:lnTo>
                      <a:pt x="334" y="236"/>
                    </a:lnTo>
                    <a:lnTo>
                      <a:pt x="336" y="234"/>
                    </a:lnTo>
                    <a:lnTo>
                      <a:pt x="340" y="234"/>
                    </a:lnTo>
                    <a:lnTo>
                      <a:pt x="340" y="234"/>
                    </a:lnTo>
                    <a:lnTo>
                      <a:pt x="348" y="236"/>
                    </a:lnTo>
                    <a:lnTo>
                      <a:pt x="356" y="234"/>
                    </a:lnTo>
                    <a:lnTo>
                      <a:pt x="364" y="230"/>
                    </a:lnTo>
                    <a:lnTo>
                      <a:pt x="374" y="226"/>
                    </a:lnTo>
                    <a:lnTo>
                      <a:pt x="414" y="198"/>
                    </a:lnTo>
                    <a:lnTo>
                      <a:pt x="414" y="198"/>
                    </a:lnTo>
                    <a:lnTo>
                      <a:pt x="426" y="192"/>
                    </a:lnTo>
                    <a:lnTo>
                      <a:pt x="440" y="186"/>
                    </a:lnTo>
                    <a:lnTo>
                      <a:pt x="466" y="180"/>
                    </a:lnTo>
                    <a:lnTo>
                      <a:pt x="474" y="176"/>
                    </a:lnTo>
                    <a:lnTo>
                      <a:pt x="480" y="174"/>
                    </a:lnTo>
                    <a:lnTo>
                      <a:pt x="480" y="172"/>
                    </a:lnTo>
                    <a:lnTo>
                      <a:pt x="480" y="170"/>
                    </a:lnTo>
                    <a:lnTo>
                      <a:pt x="472" y="166"/>
                    </a:lnTo>
                    <a:lnTo>
                      <a:pt x="472" y="166"/>
                    </a:lnTo>
                    <a:lnTo>
                      <a:pt x="464" y="162"/>
                    </a:lnTo>
                    <a:lnTo>
                      <a:pt x="456" y="156"/>
                    </a:lnTo>
                    <a:lnTo>
                      <a:pt x="444" y="148"/>
                    </a:lnTo>
                    <a:lnTo>
                      <a:pt x="438" y="146"/>
                    </a:lnTo>
                    <a:lnTo>
                      <a:pt x="430" y="144"/>
                    </a:lnTo>
                    <a:lnTo>
                      <a:pt x="418" y="144"/>
                    </a:lnTo>
                    <a:lnTo>
                      <a:pt x="400" y="146"/>
                    </a:lnTo>
                    <a:lnTo>
                      <a:pt x="400" y="146"/>
                    </a:lnTo>
                    <a:lnTo>
                      <a:pt x="388" y="148"/>
                    </a:lnTo>
                    <a:lnTo>
                      <a:pt x="384" y="148"/>
                    </a:lnTo>
                    <a:lnTo>
                      <a:pt x="386" y="146"/>
                    </a:lnTo>
                    <a:lnTo>
                      <a:pt x="390" y="142"/>
                    </a:lnTo>
                    <a:lnTo>
                      <a:pt x="396" y="136"/>
                    </a:lnTo>
                    <a:lnTo>
                      <a:pt x="400" y="130"/>
                    </a:lnTo>
                    <a:lnTo>
                      <a:pt x="400" y="126"/>
                    </a:lnTo>
                    <a:lnTo>
                      <a:pt x="400" y="122"/>
                    </a:lnTo>
                    <a:lnTo>
                      <a:pt x="396" y="118"/>
                    </a:lnTo>
                    <a:lnTo>
                      <a:pt x="392" y="114"/>
                    </a:lnTo>
                    <a:lnTo>
                      <a:pt x="392" y="114"/>
                    </a:lnTo>
                    <a:lnTo>
                      <a:pt x="382" y="108"/>
                    </a:lnTo>
                    <a:lnTo>
                      <a:pt x="376" y="100"/>
                    </a:lnTo>
                    <a:lnTo>
                      <a:pt x="376" y="96"/>
                    </a:lnTo>
                    <a:lnTo>
                      <a:pt x="376" y="90"/>
                    </a:lnTo>
                    <a:lnTo>
                      <a:pt x="376" y="86"/>
                    </a:lnTo>
                    <a:lnTo>
                      <a:pt x="372" y="82"/>
                    </a:lnTo>
                    <a:lnTo>
                      <a:pt x="366" y="80"/>
                    </a:lnTo>
                    <a:lnTo>
                      <a:pt x="352" y="78"/>
                    </a:lnTo>
                    <a:lnTo>
                      <a:pt x="352" y="78"/>
                    </a:lnTo>
                    <a:lnTo>
                      <a:pt x="338" y="76"/>
                    </a:lnTo>
                    <a:lnTo>
                      <a:pt x="330" y="80"/>
                    </a:lnTo>
                    <a:lnTo>
                      <a:pt x="328" y="84"/>
                    </a:lnTo>
                    <a:lnTo>
                      <a:pt x="328" y="90"/>
                    </a:lnTo>
                    <a:lnTo>
                      <a:pt x="330" y="96"/>
                    </a:lnTo>
                    <a:lnTo>
                      <a:pt x="328" y="100"/>
                    </a:lnTo>
                    <a:lnTo>
                      <a:pt x="328" y="102"/>
                    </a:lnTo>
                    <a:lnTo>
                      <a:pt x="326" y="102"/>
                    </a:lnTo>
                    <a:lnTo>
                      <a:pt x="318" y="100"/>
                    </a:lnTo>
                    <a:lnTo>
                      <a:pt x="318" y="100"/>
                    </a:lnTo>
                    <a:lnTo>
                      <a:pt x="310" y="96"/>
                    </a:lnTo>
                    <a:lnTo>
                      <a:pt x="306" y="92"/>
                    </a:lnTo>
                    <a:lnTo>
                      <a:pt x="306" y="86"/>
                    </a:lnTo>
                    <a:lnTo>
                      <a:pt x="308" y="82"/>
                    </a:lnTo>
                    <a:lnTo>
                      <a:pt x="308" y="78"/>
                    </a:lnTo>
                    <a:lnTo>
                      <a:pt x="306" y="74"/>
                    </a:lnTo>
                    <a:lnTo>
                      <a:pt x="298" y="70"/>
                    </a:lnTo>
                    <a:lnTo>
                      <a:pt x="284" y="70"/>
                    </a:lnTo>
                    <a:lnTo>
                      <a:pt x="284" y="70"/>
                    </a:lnTo>
                    <a:lnTo>
                      <a:pt x="274" y="68"/>
                    </a:lnTo>
                    <a:lnTo>
                      <a:pt x="266" y="66"/>
                    </a:lnTo>
                    <a:lnTo>
                      <a:pt x="248" y="56"/>
                    </a:lnTo>
                    <a:lnTo>
                      <a:pt x="212" y="32"/>
                    </a:lnTo>
                    <a:lnTo>
                      <a:pt x="192" y="20"/>
                    </a:lnTo>
                    <a:lnTo>
                      <a:pt x="170" y="10"/>
                    </a:lnTo>
                    <a:lnTo>
                      <a:pt x="158" y="6"/>
                    </a:lnTo>
                    <a:lnTo>
                      <a:pt x="146" y="2"/>
                    </a:lnTo>
                    <a:lnTo>
                      <a:pt x="134" y="0"/>
                    </a:lnTo>
                    <a:lnTo>
                      <a:pt x="118" y="0"/>
                    </a:lnTo>
                    <a:lnTo>
                      <a:pt x="118" y="0"/>
                    </a:lnTo>
                    <a:lnTo>
                      <a:pt x="104" y="2"/>
                    </a:lnTo>
                    <a:lnTo>
                      <a:pt x="100" y="4"/>
                    </a:lnTo>
                    <a:lnTo>
                      <a:pt x="100" y="6"/>
                    </a:lnTo>
                    <a:lnTo>
                      <a:pt x="102" y="10"/>
                    </a:lnTo>
                    <a:lnTo>
                      <a:pt x="108" y="14"/>
                    </a:lnTo>
                    <a:lnTo>
                      <a:pt x="112" y="20"/>
                    </a:lnTo>
                    <a:lnTo>
                      <a:pt x="114" y="24"/>
                    </a:lnTo>
                    <a:lnTo>
                      <a:pt x="114" y="24"/>
                    </a:lnTo>
                    <a:lnTo>
                      <a:pt x="110" y="26"/>
                    </a:lnTo>
                    <a:lnTo>
                      <a:pt x="98" y="28"/>
                    </a:lnTo>
                    <a:lnTo>
                      <a:pt x="98" y="28"/>
                    </a:lnTo>
                    <a:lnTo>
                      <a:pt x="82" y="28"/>
                    </a:lnTo>
                    <a:lnTo>
                      <a:pt x="70" y="30"/>
                    </a:lnTo>
                    <a:lnTo>
                      <a:pt x="66" y="32"/>
                    </a:lnTo>
                    <a:lnTo>
                      <a:pt x="64" y="36"/>
                    </a:lnTo>
                    <a:lnTo>
                      <a:pt x="58" y="48"/>
                    </a:lnTo>
                    <a:lnTo>
                      <a:pt x="58" y="48"/>
                    </a:lnTo>
                    <a:lnTo>
                      <a:pt x="54" y="54"/>
                    </a:lnTo>
                    <a:lnTo>
                      <a:pt x="52" y="58"/>
                    </a:lnTo>
                    <a:lnTo>
                      <a:pt x="42" y="64"/>
                    </a:lnTo>
                    <a:lnTo>
                      <a:pt x="32" y="72"/>
                    </a:lnTo>
                    <a:lnTo>
                      <a:pt x="26" y="76"/>
                    </a:lnTo>
                    <a:lnTo>
                      <a:pt x="20" y="84"/>
                    </a:lnTo>
                    <a:lnTo>
                      <a:pt x="20" y="84"/>
                    </a:lnTo>
                    <a:lnTo>
                      <a:pt x="18" y="88"/>
                    </a:lnTo>
                    <a:lnTo>
                      <a:pt x="18" y="92"/>
                    </a:lnTo>
                    <a:lnTo>
                      <a:pt x="20" y="94"/>
                    </a:lnTo>
                    <a:lnTo>
                      <a:pt x="24" y="96"/>
                    </a:lnTo>
                    <a:lnTo>
                      <a:pt x="34" y="98"/>
                    </a:lnTo>
                    <a:lnTo>
                      <a:pt x="50" y="100"/>
                    </a:lnTo>
                    <a:lnTo>
                      <a:pt x="78" y="102"/>
                    </a:lnTo>
                    <a:lnTo>
                      <a:pt x="86" y="102"/>
                    </a:lnTo>
                    <a:lnTo>
                      <a:pt x="88" y="102"/>
                    </a:lnTo>
                    <a:lnTo>
                      <a:pt x="90" y="104"/>
                    </a:lnTo>
                    <a:lnTo>
                      <a:pt x="90" y="104"/>
                    </a:lnTo>
                    <a:lnTo>
                      <a:pt x="86" y="108"/>
                    </a:lnTo>
                    <a:lnTo>
                      <a:pt x="82" y="110"/>
                    </a:lnTo>
                    <a:lnTo>
                      <a:pt x="72" y="112"/>
                    </a:lnTo>
                    <a:lnTo>
                      <a:pt x="58" y="112"/>
                    </a:lnTo>
                    <a:lnTo>
                      <a:pt x="42" y="110"/>
                    </a:lnTo>
                    <a:lnTo>
                      <a:pt x="14" y="106"/>
                    </a:lnTo>
                    <a:lnTo>
                      <a:pt x="4" y="106"/>
                    </a:lnTo>
                    <a:lnTo>
                      <a:pt x="2" y="108"/>
                    </a:lnTo>
                    <a:lnTo>
                      <a:pt x="0" y="110"/>
                    </a:lnTo>
                    <a:lnTo>
                      <a:pt x="0" y="110"/>
                    </a:lnTo>
                    <a:lnTo>
                      <a:pt x="2" y="116"/>
                    </a:lnTo>
                    <a:lnTo>
                      <a:pt x="4" y="122"/>
                    </a:lnTo>
                    <a:lnTo>
                      <a:pt x="8" y="128"/>
                    </a:lnTo>
                    <a:lnTo>
                      <a:pt x="14" y="134"/>
                    </a:lnTo>
                    <a:lnTo>
                      <a:pt x="32" y="148"/>
                    </a:lnTo>
                    <a:lnTo>
                      <a:pt x="54" y="164"/>
                    </a:lnTo>
                    <a:lnTo>
                      <a:pt x="54" y="164"/>
                    </a:lnTo>
                    <a:close/>
                  </a:path>
                </a:pathLst>
              </a:custGeom>
              <a:grpFill/>
              <a:ln w="6350">
                <a:noFill/>
                <a:round/>
                <a:headEnd/>
                <a:tailEnd/>
              </a:ln>
            </p:spPr>
            <p:txBody>
              <a:bodyPr/>
              <a:lstStyle/>
              <a:p>
                <a:endParaRPr lang="da-DK" sz="2800" b="1"/>
              </a:p>
            </p:txBody>
          </p:sp>
          <p:sp>
            <p:nvSpPr>
              <p:cNvPr id="73" name="Freeform 6088">
                <a:extLst>
                  <a:ext uri="{FF2B5EF4-FFF2-40B4-BE49-F238E27FC236}">
                    <a16:creationId xmlns:a16="http://schemas.microsoft.com/office/drawing/2014/main" id="{0F6FF6E2-E6CF-489A-A96F-5A32094743C2}"/>
                  </a:ext>
                </a:extLst>
              </p:cNvPr>
              <p:cNvSpPr>
                <a:spLocks/>
              </p:cNvSpPr>
              <p:nvPr/>
            </p:nvSpPr>
            <p:spPr bwMode="auto">
              <a:xfrm>
                <a:off x="2100580" y="1206183"/>
                <a:ext cx="734060" cy="539750"/>
              </a:xfrm>
              <a:custGeom>
                <a:avLst/>
                <a:gdLst/>
                <a:ahLst/>
                <a:cxnLst>
                  <a:cxn ang="0">
                    <a:pos x="1088" y="504"/>
                  </a:cxn>
                  <a:cxn ang="0">
                    <a:pos x="1060" y="480"/>
                  </a:cxn>
                  <a:cxn ang="0">
                    <a:pos x="960" y="426"/>
                  </a:cxn>
                  <a:cxn ang="0">
                    <a:pos x="890" y="396"/>
                  </a:cxn>
                  <a:cxn ang="0">
                    <a:pos x="890" y="348"/>
                  </a:cxn>
                  <a:cxn ang="0">
                    <a:pos x="926" y="328"/>
                  </a:cxn>
                  <a:cxn ang="0">
                    <a:pos x="926" y="298"/>
                  </a:cxn>
                  <a:cxn ang="0">
                    <a:pos x="846" y="276"/>
                  </a:cxn>
                  <a:cxn ang="0">
                    <a:pos x="844" y="232"/>
                  </a:cxn>
                  <a:cxn ang="0">
                    <a:pos x="782" y="204"/>
                  </a:cxn>
                  <a:cxn ang="0">
                    <a:pos x="706" y="174"/>
                  </a:cxn>
                  <a:cxn ang="0">
                    <a:pos x="642" y="134"/>
                  </a:cxn>
                  <a:cxn ang="0">
                    <a:pos x="560" y="98"/>
                  </a:cxn>
                  <a:cxn ang="0">
                    <a:pos x="462" y="112"/>
                  </a:cxn>
                  <a:cxn ang="0">
                    <a:pos x="404" y="110"/>
                  </a:cxn>
                  <a:cxn ang="0">
                    <a:pos x="388" y="90"/>
                  </a:cxn>
                  <a:cxn ang="0">
                    <a:pos x="352" y="18"/>
                  </a:cxn>
                  <a:cxn ang="0">
                    <a:pos x="200" y="50"/>
                  </a:cxn>
                  <a:cxn ang="0">
                    <a:pos x="174" y="84"/>
                  </a:cxn>
                  <a:cxn ang="0">
                    <a:pos x="168" y="138"/>
                  </a:cxn>
                  <a:cxn ang="0">
                    <a:pos x="222" y="180"/>
                  </a:cxn>
                  <a:cxn ang="0">
                    <a:pos x="150" y="122"/>
                  </a:cxn>
                  <a:cxn ang="0">
                    <a:pos x="188" y="26"/>
                  </a:cxn>
                  <a:cxn ang="0">
                    <a:pos x="116" y="8"/>
                  </a:cxn>
                  <a:cxn ang="0">
                    <a:pos x="18" y="90"/>
                  </a:cxn>
                  <a:cxn ang="0">
                    <a:pos x="58" y="196"/>
                  </a:cxn>
                  <a:cxn ang="0">
                    <a:pos x="40" y="216"/>
                  </a:cxn>
                  <a:cxn ang="0">
                    <a:pos x="118" y="270"/>
                  </a:cxn>
                  <a:cxn ang="0">
                    <a:pos x="234" y="288"/>
                  </a:cxn>
                  <a:cxn ang="0">
                    <a:pos x="336" y="290"/>
                  </a:cxn>
                  <a:cxn ang="0">
                    <a:pos x="358" y="284"/>
                  </a:cxn>
                  <a:cxn ang="0">
                    <a:pos x="462" y="284"/>
                  </a:cxn>
                  <a:cxn ang="0">
                    <a:pos x="498" y="274"/>
                  </a:cxn>
                  <a:cxn ang="0">
                    <a:pos x="580" y="338"/>
                  </a:cxn>
                  <a:cxn ang="0">
                    <a:pos x="538" y="376"/>
                  </a:cxn>
                  <a:cxn ang="0">
                    <a:pos x="654" y="402"/>
                  </a:cxn>
                  <a:cxn ang="0">
                    <a:pos x="712" y="474"/>
                  </a:cxn>
                  <a:cxn ang="0">
                    <a:pos x="640" y="558"/>
                  </a:cxn>
                  <a:cxn ang="0">
                    <a:pos x="628" y="608"/>
                  </a:cxn>
                  <a:cxn ang="0">
                    <a:pos x="510" y="624"/>
                  </a:cxn>
                  <a:cxn ang="0">
                    <a:pos x="514" y="688"/>
                  </a:cxn>
                  <a:cxn ang="0">
                    <a:pos x="616" y="688"/>
                  </a:cxn>
                  <a:cxn ang="0">
                    <a:pos x="656" y="674"/>
                  </a:cxn>
                  <a:cxn ang="0">
                    <a:pos x="736" y="724"/>
                  </a:cxn>
                  <a:cxn ang="0">
                    <a:pos x="732" y="752"/>
                  </a:cxn>
                  <a:cxn ang="0">
                    <a:pos x="854" y="818"/>
                  </a:cxn>
                  <a:cxn ang="0">
                    <a:pos x="966" y="822"/>
                  </a:cxn>
                  <a:cxn ang="0">
                    <a:pos x="854" y="724"/>
                  </a:cxn>
                  <a:cxn ang="0">
                    <a:pos x="908" y="744"/>
                  </a:cxn>
                  <a:cxn ang="0">
                    <a:pos x="1012" y="814"/>
                  </a:cxn>
                  <a:cxn ang="0">
                    <a:pos x="1018" y="766"/>
                  </a:cxn>
                  <a:cxn ang="0">
                    <a:pos x="1022" y="724"/>
                  </a:cxn>
                  <a:cxn ang="0">
                    <a:pos x="1000" y="694"/>
                  </a:cxn>
                  <a:cxn ang="0">
                    <a:pos x="942" y="632"/>
                  </a:cxn>
                  <a:cxn ang="0">
                    <a:pos x="890" y="586"/>
                  </a:cxn>
                  <a:cxn ang="0">
                    <a:pos x="902" y="544"/>
                  </a:cxn>
                  <a:cxn ang="0">
                    <a:pos x="942" y="544"/>
                  </a:cxn>
                  <a:cxn ang="0">
                    <a:pos x="990" y="580"/>
                  </a:cxn>
                  <a:cxn ang="0">
                    <a:pos x="1070" y="648"/>
                  </a:cxn>
                  <a:cxn ang="0">
                    <a:pos x="1102" y="596"/>
                  </a:cxn>
                  <a:cxn ang="0">
                    <a:pos x="1128" y="568"/>
                  </a:cxn>
                  <a:cxn ang="0">
                    <a:pos x="1148" y="514"/>
                  </a:cxn>
                </a:cxnLst>
                <a:rect l="0" t="0" r="r" b="b"/>
                <a:pathLst>
                  <a:path w="1156" h="850">
                    <a:moveTo>
                      <a:pt x="1148" y="514"/>
                    </a:moveTo>
                    <a:lnTo>
                      <a:pt x="1148" y="514"/>
                    </a:lnTo>
                    <a:lnTo>
                      <a:pt x="1144" y="506"/>
                    </a:lnTo>
                    <a:lnTo>
                      <a:pt x="1138" y="502"/>
                    </a:lnTo>
                    <a:lnTo>
                      <a:pt x="1134" y="500"/>
                    </a:lnTo>
                    <a:lnTo>
                      <a:pt x="1128" y="498"/>
                    </a:lnTo>
                    <a:lnTo>
                      <a:pt x="1116" y="498"/>
                    </a:lnTo>
                    <a:lnTo>
                      <a:pt x="1106" y="502"/>
                    </a:lnTo>
                    <a:lnTo>
                      <a:pt x="1096" y="506"/>
                    </a:lnTo>
                    <a:lnTo>
                      <a:pt x="1090" y="508"/>
                    </a:lnTo>
                    <a:lnTo>
                      <a:pt x="1088" y="506"/>
                    </a:lnTo>
                    <a:lnTo>
                      <a:pt x="1088" y="504"/>
                    </a:lnTo>
                    <a:lnTo>
                      <a:pt x="1090" y="496"/>
                    </a:lnTo>
                    <a:lnTo>
                      <a:pt x="1090" y="496"/>
                    </a:lnTo>
                    <a:lnTo>
                      <a:pt x="1092" y="486"/>
                    </a:lnTo>
                    <a:lnTo>
                      <a:pt x="1090" y="482"/>
                    </a:lnTo>
                    <a:lnTo>
                      <a:pt x="1088" y="480"/>
                    </a:lnTo>
                    <a:lnTo>
                      <a:pt x="1084" y="480"/>
                    </a:lnTo>
                    <a:lnTo>
                      <a:pt x="1076" y="482"/>
                    </a:lnTo>
                    <a:lnTo>
                      <a:pt x="1062" y="486"/>
                    </a:lnTo>
                    <a:lnTo>
                      <a:pt x="1060" y="486"/>
                    </a:lnTo>
                    <a:lnTo>
                      <a:pt x="1058" y="486"/>
                    </a:lnTo>
                    <a:lnTo>
                      <a:pt x="1060" y="480"/>
                    </a:lnTo>
                    <a:lnTo>
                      <a:pt x="1060" y="480"/>
                    </a:lnTo>
                    <a:lnTo>
                      <a:pt x="1062" y="472"/>
                    </a:lnTo>
                    <a:lnTo>
                      <a:pt x="1062" y="466"/>
                    </a:lnTo>
                    <a:lnTo>
                      <a:pt x="1060" y="462"/>
                    </a:lnTo>
                    <a:lnTo>
                      <a:pt x="1056" y="458"/>
                    </a:lnTo>
                    <a:lnTo>
                      <a:pt x="1042" y="450"/>
                    </a:lnTo>
                    <a:lnTo>
                      <a:pt x="1022" y="436"/>
                    </a:lnTo>
                    <a:lnTo>
                      <a:pt x="1022" y="436"/>
                    </a:lnTo>
                    <a:lnTo>
                      <a:pt x="1010" y="430"/>
                    </a:lnTo>
                    <a:lnTo>
                      <a:pt x="996" y="428"/>
                    </a:lnTo>
                    <a:lnTo>
                      <a:pt x="984" y="426"/>
                    </a:lnTo>
                    <a:lnTo>
                      <a:pt x="970" y="426"/>
                    </a:lnTo>
                    <a:lnTo>
                      <a:pt x="960" y="426"/>
                    </a:lnTo>
                    <a:lnTo>
                      <a:pt x="950" y="424"/>
                    </a:lnTo>
                    <a:lnTo>
                      <a:pt x="944" y="420"/>
                    </a:lnTo>
                    <a:lnTo>
                      <a:pt x="942" y="416"/>
                    </a:lnTo>
                    <a:lnTo>
                      <a:pt x="940" y="410"/>
                    </a:lnTo>
                    <a:lnTo>
                      <a:pt x="940" y="410"/>
                    </a:lnTo>
                    <a:lnTo>
                      <a:pt x="938" y="406"/>
                    </a:lnTo>
                    <a:lnTo>
                      <a:pt x="936" y="402"/>
                    </a:lnTo>
                    <a:lnTo>
                      <a:pt x="930" y="400"/>
                    </a:lnTo>
                    <a:lnTo>
                      <a:pt x="926" y="398"/>
                    </a:lnTo>
                    <a:lnTo>
                      <a:pt x="914" y="396"/>
                    </a:lnTo>
                    <a:lnTo>
                      <a:pt x="900" y="396"/>
                    </a:lnTo>
                    <a:lnTo>
                      <a:pt x="890" y="396"/>
                    </a:lnTo>
                    <a:lnTo>
                      <a:pt x="882" y="394"/>
                    </a:lnTo>
                    <a:lnTo>
                      <a:pt x="882" y="394"/>
                    </a:lnTo>
                    <a:lnTo>
                      <a:pt x="882" y="392"/>
                    </a:lnTo>
                    <a:lnTo>
                      <a:pt x="890" y="384"/>
                    </a:lnTo>
                    <a:lnTo>
                      <a:pt x="890" y="384"/>
                    </a:lnTo>
                    <a:lnTo>
                      <a:pt x="896" y="380"/>
                    </a:lnTo>
                    <a:lnTo>
                      <a:pt x="900" y="376"/>
                    </a:lnTo>
                    <a:lnTo>
                      <a:pt x="902" y="372"/>
                    </a:lnTo>
                    <a:lnTo>
                      <a:pt x="902" y="366"/>
                    </a:lnTo>
                    <a:lnTo>
                      <a:pt x="900" y="360"/>
                    </a:lnTo>
                    <a:lnTo>
                      <a:pt x="894" y="352"/>
                    </a:lnTo>
                    <a:lnTo>
                      <a:pt x="890" y="348"/>
                    </a:lnTo>
                    <a:lnTo>
                      <a:pt x="888" y="344"/>
                    </a:lnTo>
                    <a:lnTo>
                      <a:pt x="890" y="344"/>
                    </a:lnTo>
                    <a:lnTo>
                      <a:pt x="902" y="346"/>
                    </a:lnTo>
                    <a:lnTo>
                      <a:pt x="902" y="346"/>
                    </a:lnTo>
                    <a:lnTo>
                      <a:pt x="916" y="348"/>
                    </a:lnTo>
                    <a:lnTo>
                      <a:pt x="928" y="348"/>
                    </a:lnTo>
                    <a:lnTo>
                      <a:pt x="938" y="346"/>
                    </a:lnTo>
                    <a:lnTo>
                      <a:pt x="942" y="342"/>
                    </a:lnTo>
                    <a:lnTo>
                      <a:pt x="944" y="340"/>
                    </a:lnTo>
                    <a:lnTo>
                      <a:pt x="944" y="338"/>
                    </a:lnTo>
                    <a:lnTo>
                      <a:pt x="938" y="334"/>
                    </a:lnTo>
                    <a:lnTo>
                      <a:pt x="926" y="328"/>
                    </a:lnTo>
                    <a:lnTo>
                      <a:pt x="906" y="324"/>
                    </a:lnTo>
                    <a:lnTo>
                      <a:pt x="906" y="324"/>
                    </a:lnTo>
                    <a:lnTo>
                      <a:pt x="876" y="318"/>
                    </a:lnTo>
                    <a:lnTo>
                      <a:pt x="876" y="318"/>
                    </a:lnTo>
                    <a:lnTo>
                      <a:pt x="876" y="318"/>
                    </a:lnTo>
                    <a:lnTo>
                      <a:pt x="880" y="316"/>
                    </a:lnTo>
                    <a:lnTo>
                      <a:pt x="900" y="312"/>
                    </a:lnTo>
                    <a:lnTo>
                      <a:pt x="910" y="308"/>
                    </a:lnTo>
                    <a:lnTo>
                      <a:pt x="920" y="304"/>
                    </a:lnTo>
                    <a:lnTo>
                      <a:pt x="920" y="304"/>
                    </a:lnTo>
                    <a:lnTo>
                      <a:pt x="924" y="300"/>
                    </a:lnTo>
                    <a:lnTo>
                      <a:pt x="926" y="298"/>
                    </a:lnTo>
                    <a:lnTo>
                      <a:pt x="926" y="294"/>
                    </a:lnTo>
                    <a:lnTo>
                      <a:pt x="926" y="290"/>
                    </a:lnTo>
                    <a:lnTo>
                      <a:pt x="922" y="284"/>
                    </a:lnTo>
                    <a:lnTo>
                      <a:pt x="914" y="278"/>
                    </a:lnTo>
                    <a:lnTo>
                      <a:pt x="904" y="272"/>
                    </a:lnTo>
                    <a:lnTo>
                      <a:pt x="894" y="268"/>
                    </a:lnTo>
                    <a:lnTo>
                      <a:pt x="886" y="268"/>
                    </a:lnTo>
                    <a:lnTo>
                      <a:pt x="880" y="270"/>
                    </a:lnTo>
                    <a:lnTo>
                      <a:pt x="880" y="270"/>
                    </a:lnTo>
                    <a:lnTo>
                      <a:pt x="872" y="274"/>
                    </a:lnTo>
                    <a:lnTo>
                      <a:pt x="864" y="276"/>
                    </a:lnTo>
                    <a:lnTo>
                      <a:pt x="846" y="276"/>
                    </a:lnTo>
                    <a:lnTo>
                      <a:pt x="842" y="276"/>
                    </a:lnTo>
                    <a:lnTo>
                      <a:pt x="840" y="274"/>
                    </a:lnTo>
                    <a:lnTo>
                      <a:pt x="842" y="270"/>
                    </a:lnTo>
                    <a:lnTo>
                      <a:pt x="852" y="266"/>
                    </a:lnTo>
                    <a:lnTo>
                      <a:pt x="852" y="266"/>
                    </a:lnTo>
                    <a:lnTo>
                      <a:pt x="874" y="258"/>
                    </a:lnTo>
                    <a:lnTo>
                      <a:pt x="880" y="254"/>
                    </a:lnTo>
                    <a:lnTo>
                      <a:pt x="882" y="252"/>
                    </a:lnTo>
                    <a:lnTo>
                      <a:pt x="878" y="248"/>
                    </a:lnTo>
                    <a:lnTo>
                      <a:pt x="872" y="244"/>
                    </a:lnTo>
                    <a:lnTo>
                      <a:pt x="844" y="232"/>
                    </a:lnTo>
                    <a:lnTo>
                      <a:pt x="844" y="232"/>
                    </a:lnTo>
                    <a:lnTo>
                      <a:pt x="826" y="226"/>
                    </a:lnTo>
                    <a:lnTo>
                      <a:pt x="812" y="226"/>
                    </a:lnTo>
                    <a:lnTo>
                      <a:pt x="802" y="228"/>
                    </a:lnTo>
                    <a:lnTo>
                      <a:pt x="794" y="230"/>
                    </a:lnTo>
                    <a:lnTo>
                      <a:pt x="790" y="232"/>
                    </a:lnTo>
                    <a:lnTo>
                      <a:pt x="786" y="232"/>
                    </a:lnTo>
                    <a:lnTo>
                      <a:pt x="786" y="230"/>
                    </a:lnTo>
                    <a:lnTo>
                      <a:pt x="786" y="220"/>
                    </a:lnTo>
                    <a:lnTo>
                      <a:pt x="786" y="220"/>
                    </a:lnTo>
                    <a:lnTo>
                      <a:pt x="788" y="210"/>
                    </a:lnTo>
                    <a:lnTo>
                      <a:pt x="784" y="206"/>
                    </a:lnTo>
                    <a:lnTo>
                      <a:pt x="782" y="204"/>
                    </a:lnTo>
                    <a:lnTo>
                      <a:pt x="776" y="204"/>
                    </a:lnTo>
                    <a:lnTo>
                      <a:pt x="768" y="206"/>
                    </a:lnTo>
                    <a:lnTo>
                      <a:pt x="764" y="204"/>
                    </a:lnTo>
                    <a:lnTo>
                      <a:pt x="762" y="198"/>
                    </a:lnTo>
                    <a:lnTo>
                      <a:pt x="762" y="198"/>
                    </a:lnTo>
                    <a:lnTo>
                      <a:pt x="762" y="190"/>
                    </a:lnTo>
                    <a:lnTo>
                      <a:pt x="756" y="184"/>
                    </a:lnTo>
                    <a:lnTo>
                      <a:pt x="748" y="178"/>
                    </a:lnTo>
                    <a:lnTo>
                      <a:pt x="738" y="174"/>
                    </a:lnTo>
                    <a:lnTo>
                      <a:pt x="728" y="170"/>
                    </a:lnTo>
                    <a:lnTo>
                      <a:pt x="716" y="170"/>
                    </a:lnTo>
                    <a:lnTo>
                      <a:pt x="706" y="174"/>
                    </a:lnTo>
                    <a:lnTo>
                      <a:pt x="696" y="182"/>
                    </a:lnTo>
                    <a:lnTo>
                      <a:pt x="696" y="182"/>
                    </a:lnTo>
                    <a:lnTo>
                      <a:pt x="686" y="190"/>
                    </a:lnTo>
                    <a:lnTo>
                      <a:pt x="680" y="192"/>
                    </a:lnTo>
                    <a:lnTo>
                      <a:pt x="674" y="190"/>
                    </a:lnTo>
                    <a:lnTo>
                      <a:pt x="670" y="186"/>
                    </a:lnTo>
                    <a:lnTo>
                      <a:pt x="666" y="178"/>
                    </a:lnTo>
                    <a:lnTo>
                      <a:pt x="662" y="168"/>
                    </a:lnTo>
                    <a:lnTo>
                      <a:pt x="652" y="148"/>
                    </a:lnTo>
                    <a:lnTo>
                      <a:pt x="652" y="148"/>
                    </a:lnTo>
                    <a:lnTo>
                      <a:pt x="648" y="138"/>
                    </a:lnTo>
                    <a:lnTo>
                      <a:pt x="642" y="134"/>
                    </a:lnTo>
                    <a:lnTo>
                      <a:pt x="638" y="134"/>
                    </a:lnTo>
                    <a:lnTo>
                      <a:pt x="632" y="134"/>
                    </a:lnTo>
                    <a:lnTo>
                      <a:pt x="628" y="134"/>
                    </a:lnTo>
                    <a:lnTo>
                      <a:pt x="622" y="134"/>
                    </a:lnTo>
                    <a:lnTo>
                      <a:pt x="616" y="128"/>
                    </a:lnTo>
                    <a:lnTo>
                      <a:pt x="610" y="120"/>
                    </a:lnTo>
                    <a:lnTo>
                      <a:pt x="610" y="120"/>
                    </a:lnTo>
                    <a:lnTo>
                      <a:pt x="602" y="110"/>
                    </a:lnTo>
                    <a:lnTo>
                      <a:pt x="594" y="104"/>
                    </a:lnTo>
                    <a:lnTo>
                      <a:pt x="586" y="100"/>
                    </a:lnTo>
                    <a:lnTo>
                      <a:pt x="578" y="100"/>
                    </a:lnTo>
                    <a:lnTo>
                      <a:pt x="560" y="98"/>
                    </a:lnTo>
                    <a:lnTo>
                      <a:pt x="552" y="98"/>
                    </a:lnTo>
                    <a:lnTo>
                      <a:pt x="546" y="94"/>
                    </a:lnTo>
                    <a:lnTo>
                      <a:pt x="546" y="94"/>
                    </a:lnTo>
                    <a:lnTo>
                      <a:pt x="528" y="88"/>
                    </a:lnTo>
                    <a:lnTo>
                      <a:pt x="518" y="84"/>
                    </a:lnTo>
                    <a:lnTo>
                      <a:pt x="506" y="82"/>
                    </a:lnTo>
                    <a:lnTo>
                      <a:pt x="494" y="84"/>
                    </a:lnTo>
                    <a:lnTo>
                      <a:pt x="484" y="88"/>
                    </a:lnTo>
                    <a:lnTo>
                      <a:pt x="474" y="94"/>
                    </a:lnTo>
                    <a:lnTo>
                      <a:pt x="466" y="106"/>
                    </a:lnTo>
                    <a:lnTo>
                      <a:pt x="466" y="106"/>
                    </a:lnTo>
                    <a:lnTo>
                      <a:pt x="462" y="112"/>
                    </a:lnTo>
                    <a:lnTo>
                      <a:pt x="460" y="116"/>
                    </a:lnTo>
                    <a:lnTo>
                      <a:pt x="456" y="118"/>
                    </a:lnTo>
                    <a:lnTo>
                      <a:pt x="452" y="118"/>
                    </a:lnTo>
                    <a:lnTo>
                      <a:pt x="444" y="116"/>
                    </a:lnTo>
                    <a:lnTo>
                      <a:pt x="436" y="112"/>
                    </a:lnTo>
                    <a:lnTo>
                      <a:pt x="428" y="106"/>
                    </a:lnTo>
                    <a:lnTo>
                      <a:pt x="420" y="104"/>
                    </a:lnTo>
                    <a:lnTo>
                      <a:pt x="416" y="102"/>
                    </a:lnTo>
                    <a:lnTo>
                      <a:pt x="412" y="104"/>
                    </a:lnTo>
                    <a:lnTo>
                      <a:pt x="408" y="106"/>
                    </a:lnTo>
                    <a:lnTo>
                      <a:pt x="404" y="110"/>
                    </a:lnTo>
                    <a:lnTo>
                      <a:pt x="404" y="110"/>
                    </a:lnTo>
                    <a:lnTo>
                      <a:pt x="396" y="118"/>
                    </a:lnTo>
                    <a:lnTo>
                      <a:pt x="388" y="124"/>
                    </a:lnTo>
                    <a:lnTo>
                      <a:pt x="380" y="130"/>
                    </a:lnTo>
                    <a:lnTo>
                      <a:pt x="376" y="132"/>
                    </a:lnTo>
                    <a:lnTo>
                      <a:pt x="372" y="132"/>
                    </a:lnTo>
                    <a:lnTo>
                      <a:pt x="370" y="130"/>
                    </a:lnTo>
                    <a:lnTo>
                      <a:pt x="372" y="126"/>
                    </a:lnTo>
                    <a:lnTo>
                      <a:pt x="376" y="118"/>
                    </a:lnTo>
                    <a:lnTo>
                      <a:pt x="376" y="118"/>
                    </a:lnTo>
                    <a:lnTo>
                      <a:pt x="382" y="110"/>
                    </a:lnTo>
                    <a:lnTo>
                      <a:pt x="386" y="100"/>
                    </a:lnTo>
                    <a:lnTo>
                      <a:pt x="388" y="90"/>
                    </a:lnTo>
                    <a:lnTo>
                      <a:pt x="388" y="82"/>
                    </a:lnTo>
                    <a:lnTo>
                      <a:pt x="386" y="72"/>
                    </a:lnTo>
                    <a:lnTo>
                      <a:pt x="382" y="64"/>
                    </a:lnTo>
                    <a:lnTo>
                      <a:pt x="376" y="58"/>
                    </a:lnTo>
                    <a:lnTo>
                      <a:pt x="368" y="54"/>
                    </a:lnTo>
                    <a:lnTo>
                      <a:pt x="368" y="54"/>
                    </a:lnTo>
                    <a:lnTo>
                      <a:pt x="360" y="50"/>
                    </a:lnTo>
                    <a:lnTo>
                      <a:pt x="356" y="44"/>
                    </a:lnTo>
                    <a:lnTo>
                      <a:pt x="356" y="38"/>
                    </a:lnTo>
                    <a:lnTo>
                      <a:pt x="354" y="32"/>
                    </a:lnTo>
                    <a:lnTo>
                      <a:pt x="354" y="24"/>
                    </a:lnTo>
                    <a:lnTo>
                      <a:pt x="352" y="18"/>
                    </a:lnTo>
                    <a:lnTo>
                      <a:pt x="346" y="14"/>
                    </a:lnTo>
                    <a:lnTo>
                      <a:pt x="338" y="12"/>
                    </a:lnTo>
                    <a:lnTo>
                      <a:pt x="338" y="12"/>
                    </a:lnTo>
                    <a:lnTo>
                      <a:pt x="326" y="10"/>
                    </a:lnTo>
                    <a:lnTo>
                      <a:pt x="306" y="12"/>
                    </a:lnTo>
                    <a:lnTo>
                      <a:pt x="282" y="14"/>
                    </a:lnTo>
                    <a:lnTo>
                      <a:pt x="260" y="18"/>
                    </a:lnTo>
                    <a:lnTo>
                      <a:pt x="236" y="24"/>
                    </a:lnTo>
                    <a:lnTo>
                      <a:pt x="218" y="32"/>
                    </a:lnTo>
                    <a:lnTo>
                      <a:pt x="210" y="38"/>
                    </a:lnTo>
                    <a:lnTo>
                      <a:pt x="204" y="44"/>
                    </a:lnTo>
                    <a:lnTo>
                      <a:pt x="200" y="50"/>
                    </a:lnTo>
                    <a:lnTo>
                      <a:pt x="198" y="56"/>
                    </a:lnTo>
                    <a:lnTo>
                      <a:pt x="198" y="56"/>
                    </a:lnTo>
                    <a:lnTo>
                      <a:pt x="198" y="62"/>
                    </a:lnTo>
                    <a:lnTo>
                      <a:pt x="196" y="66"/>
                    </a:lnTo>
                    <a:lnTo>
                      <a:pt x="194" y="68"/>
                    </a:lnTo>
                    <a:lnTo>
                      <a:pt x="192" y="70"/>
                    </a:lnTo>
                    <a:lnTo>
                      <a:pt x="186" y="72"/>
                    </a:lnTo>
                    <a:lnTo>
                      <a:pt x="178" y="70"/>
                    </a:lnTo>
                    <a:lnTo>
                      <a:pt x="174" y="72"/>
                    </a:lnTo>
                    <a:lnTo>
                      <a:pt x="172" y="72"/>
                    </a:lnTo>
                    <a:lnTo>
                      <a:pt x="172" y="74"/>
                    </a:lnTo>
                    <a:lnTo>
                      <a:pt x="174" y="84"/>
                    </a:lnTo>
                    <a:lnTo>
                      <a:pt x="182" y="100"/>
                    </a:lnTo>
                    <a:lnTo>
                      <a:pt x="182" y="100"/>
                    </a:lnTo>
                    <a:lnTo>
                      <a:pt x="188" y="116"/>
                    </a:lnTo>
                    <a:lnTo>
                      <a:pt x="188" y="122"/>
                    </a:lnTo>
                    <a:lnTo>
                      <a:pt x="188" y="126"/>
                    </a:lnTo>
                    <a:lnTo>
                      <a:pt x="188" y="130"/>
                    </a:lnTo>
                    <a:lnTo>
                      <a:pt x="184" y="130"/>
                    </a:lnTo>
                    <a:lnTo>
                      <a:pt x="180" y="132"/>
                    </a:lnTo>
                    <a:lnTo>
                      <a:pt x="174" y="132"/>
                    </a:lnTo>
                    <a:lnTo>
                      <a:pt x="168" y="134"/>
                    </a:lnTo>
                    <a:lnTo>
                      <a:pt x="168" y="136"/>
                    </a:lnTo>
                    <a:lnTo>
                      <a:pt x="168" y="138"/>
                    </a:lnTo>
                    <a:lnTo>
                      <a:pt x="174" y="148"/>
                    </a:lnTo>
                    <a:lnTo>
                      <a:pt x="174" y="148"/>
                    </a:lnTo>
                    <a:lnTo>
                      <a:pt x="184" y="158"/>
                    </a:lnTo>
                    <a:lnTo>
                      <a:pt x="192" y="164"/>
                    </a:lnTo>
                    <a:lnTo>
                      <a:pt x="200" y="166"/>
                    </a:lnTo>
                    <a:lnTo>
                      <a:pt x="208" y="166"/>
                    </a:lnTo>
                    <a:lnTo>
                      <a:pt x="212" y="164"/>
                    </a:lnTo>
                    <a:lnTo>
                      <a:pt x="218" y="166"/>
                    </a:lnTo>
                    <a:lnTo>
                      <a:pt x="220" y="168"/>
                    </a:lnTo>
                    <a:lnTo>
                      <a:pt x="222" y="176"/>
                    </a:lnTo>
                    <a:lnTo>
                      <a:pt x="222" y="176"/>
                    </a:lnTo>
                    <a:lnTo>
                      <a:pt x="222" y="180"/>
                    </a:lnTo>
                    <a:lnTo>
                      <a:pt x="220" y="182"/>
                    </a:lnTo>
                    <a:lnTo>
                      <a:pt x="216" y="184"/>
                    </a:lnTo>
                    <a:lnTo>
                      <a:pt x="210" y="184"/>
                    </a:lnTo>
                    <a:lnTo>
                      <a:pt x="196" y="180"/>
                    </a:lnTo>
                    <a:lnTo>
                      <a:pt x="180" y="174"/>
                    </a:lnTo>
                    <a:lnTo>
                      <a:pt x="164" y="164"/>
                    </a:lnTo>
                    <a:lnTo>
                      <a:pt x="152" y="150"/>
                    </a:lnTo>
                    <a:lnTo>
                      <a:pt x="148" y="144"/>
                    </a:lnTo>
                    <a:lnTo>
                      <a:pt x="146" y="136"/>
                    </a:lnTo>
                    <a:lnTo>
                      <a:pt x="146" y="130"/>
                    </a:lnTo>
                    <a:lnTo>
                      <a:pt x="150" y="122"/>
                    </a:lnTo>
                    <a:lnTo>
                      <a:pt x="150" y="122"/>
                    </a:lnTo>
                    <a:lnTo>
                      <a:pt x="154" y="110"/>
                    </a:lnTo>
                    <a:lnTo>
                      <a:pt x="152" y="102"/>
                    </a:lnTo>
                    <a:lnTo>
                      <a:pt x="150" y="98"/>
                    </a:lnTo>
                    <a:lnTo>
                      <a:pt x="144" y="94"/>
                    </a:lnTo>
                    <a:lnTo>
                      <a:pt x="142" y="90"/>
                    </a:lnTo>
                    <a:lnTo>
                      <a:pt x="140" y="84"/>
                    </a:lnTo>
                    <a:lnTo>
                      <a:pt x="144" y="74"/>
                    </a:lnTo>
                    <a:lnTo>
                      <a:pt x="154" y="60"/>
                    </a:lnTo>
                    <a:lnTo>
                      <a:pt x="154" y="60"/>
                    </a:lnTo>
                    <a:lnTo>
                      <a:pt x="168" y="44"/>
                    </a:lnTo>
                    <a:lnTo>
                      <a:pt x="180" y="34"/>
                    </a:lnTo>
                    <a:lnTo>
                      <a:pt x="188" y="26"/>
                    </a:lnTo>
                    <a:lnTo>
                      <a:pt x="198" y="22"/>
                    </a:lnTo>
                    <a:lnTo>
                      <a:pt x="208" y="16"/>
                    </a:lnTo>
                    <a:lnTo>
                      <a:pt x="212" y="14"/>
                    </a:lnTo>
                    <a:lnTo>
                      <a:pt x="212" y="10"/>
                    </a:lnTo>
                    <a:lnTo>
                      <a:pt x="212" y="10"/>
                    </a:lnTo>
                    <a:lnTo>
                      <a:pt x="212" y="8"/>
                    </a:lnTo>
                    <a:lnTo>
                      <a:pt x="210" y="6"/>
                    </a:lnTo>
                    <a:lnTo>
                      <a:pt x="200" y="2"/>
                    </a:lnTo>
                    <a:lnTo>
                      <a:pt x="184" y="0"/>
                    </a:lnTo>
                    <a:lnTo>
                      <a:pt x="164" y="0"/>
                    </a:lnTo>
                    <a:lnTo>
                      <a:pt x="140" y="2"/>
                    </a:lnTo>
                    <a:lnTo>
                      <a:pt x="116" y="8"/>
                    </a:lnTo>
                    <a:lnTo>
                      <a:pt x="92" y="16"/>
                    </a:lnTo>
                    <a:lnTo>
                      <a:pt x="70" y="26"/>
                    </a:lnTo>
                    <a:lnTo>
                      <a:pt x="70" y="26"/>
                    </a:lnTo>
                    <a:lnTo>
                      <a:pt x="52" y="38"/>
                    </a:lnTo>
                    <a:lnTo>
                      <a:pt x="40" y="48"/>
                    </a:lnTo>
                    <a:lnTo>
                      <a:pt x="34" y="56"/>
                    </a:lnTo>
                    <a:lnTo>
                      <a:pt x="32" y="62"/>
                    </a:lnTo>
                    <a:lnTo>
                      <a:pt x="30" y="72"/>
                    </a:lnTo>
                    <a:lnTo>
                      <a:pt x="28" y="76"/>
                    </a:lnTo>
                    <a:lnTo>
                      <a:pt x="24" y="82"/>
                    </a:lnTo>
                    <a:lnTo>
                      <a:pt x="24" y="82"/>
                    </a:lnTo>
                    <a:lnTo>
                      <a:pt x="18" y="90"/>
                    </a:lnTo>
                    <a:lnTo>
                      <a:pt x="14" y="96"/>
                    </a:lnTo>
                    <a:lnTo>
                      <a:pt x="8" y="112"/>
                    </a:lnTo>
                    <a:lnTo>
                      <a:pt x="4" y="132"/>
                    </a:lnTo>
                    <a:lnTo>
                      <a:pt x="2" y="156"/>
                    </a:lnTo>
                    <a:lnTo>
                      <a:pt x="2" y="156"/>
                    </a:lnTo>
                    <a:lnTo>
                      <a:pt x="0" y="168"/>
                    </a:lnTo>
                    <a:lnTo>
                      <a:pt x="0" y="178"/>
                    </a:lnTo>
                    <a:lnTo>
                      <a:pt x="2" y="184"/>
                    </a:lnTo>
                    <a:lnTo>
                      <a:pt x="8" y="188"/>
                    </a:lnTo>
                    <a:lnTo>
                      <a:pt x="14" y="192"/>
                    </a:lnTo>
                    <a:lnTo>
                      <a:pt x="26" y="194"/>
                    </a:lnTo>
                    <a:lnTo>
                      <a:pt x="58" y="196"/>
                    </a:lnTo>
                    <a:lnTo>
                      <a:pt x="58" y="196"/>
                    </a:lnTo>
                    <a:lnTo>
                      <a:pt x="76" y="200"/>
                    </a:lnTo>
                    <a:lnTo>
                      <a:pt x="90" y="202"/>
                    </a:lnTo>
                    <a:lnTo>
                      <a:pt x="100" y="208"/>
                    </a:lnTo>
                    <a:lnTo>
                      <a:pt x="106" y="212"/>
                    </a:lnTo>
                    <a:lnTo>
                      <a:pt x="106" y="216"/>
                    </a:lnTo>
                    <a:lnTo>
                      <a:pt x="102" y="218"/>
                    </a:lnTo>
                    <a:lnTo>
                      <a:pt x="94" y="220"/>
                    </a:lnTo>
                    <a:lnTo>
                      <a:pt x="78" y="218"/>
                    </a:lnTo>
                    <a:lnTo>
                      <a:pt x="78" y="218"/>
                    </a:lnTo>
                    <a:lnTo>
                      <a:pt x="50" y="216"/>
                    </a:lnTo>
                    <a:lnTo>
                      <a:pt x="40" y="216"/>
                    </a:lnTo>
                    <a:lnTo>
                      <a:pt x="32" y="218"/>
                    </a:lnTo>
                    <a:lnTo>
                      <a:pt x="32" y="220"/>
                    </a:lnTo>
                    <a:lnTo>
                      <a:pt x="30" y="222"/>
                    </a:lnTo>
                    <a:lnTo>
                      <a:pt x="32" y="228"/>
                    </a:lnTo>
                    <a:lnTo>
                      <a:pt x="40" y="238"/>
                    </a:lnTo>
                    <a:lnTo>
                      <a:pt x="52" y="250"/>
                    </a:lnTo>
                    <a:lnTo>
                      <a:pt x="52" y="250"/>
                    </a:lnTo>
                    <a:lnTo>
                      <a:pt x="68" y="262"/>
                    </a:lnTo>
                    <a:lnTo>
                      <a:pt x="82" y="268"/>
                    </a:lnTo>
                    <a:lnTo>
                      <a:pt x="94" y="270"/>
                    </a:lnTo>
                    <a:lnTo>
                      <a:pt x="106" y="270"/>
                    </a:lnTo>
                    <a:lnTo>
                      <a:pt x="118" y="270"/>
                    </a:lnTo>
                    <a:lnTo>
                      <a:pt x="130" y="270"/>
                    </a:lnTo>
                    <a:lnTo>
                      <a:pt x="142" y="272"/>
                    </a:lnTo>
                    <a:lnTo>
                      <a:pt x="152" y="278"/>
                    </a:lnTo>
                    <a:lnTo>
                      <a:pt x="152" y="278"/>
                    </a:lnTo>
                    <a:lnTo>
                      <a:pt x="162" y="284"/>
                    </a:lnTo>
                    <a:lnTo>
                      <a:pt x="174" y="288"/>
                    </a:lnTo>
                    <a:lnTo>
                      <a:pt x="184" y="290"/>
                    </a:lnTo>
                    <a:lnTo>
                      <a:pt x="194" y="288"/>
                    </a:lnTo>
                    <a:lnTo>
                      <a:pt x="208" y="286"/>
                    </a:lnTo>
                    <a:lnTo>
                      <a:pt x="218" y="286"/>
                    </a:lnTo>
                    <a:lnTo>
                      <a:pt x="218" y="286"/>
                    </a:lnTo>
                    <a:lnTo>
                      <a:pt x="234" y="288"/>
                    </a:lnTo>
                    <a:lnTo>
                      <a:pt x="244" y="290"/>
                    </a:lnTo>
                    <a:lnTo>
                      <a:pt x="260" y="290"/>
                    </a:lnTo>
                    <a:lnTo>
                      <a:pt x="268" y="290"/>
                    </a:lnTo>
                    <a:lnTo>
                      <a:pt x="276" y="290"/>
                    </a:lnTo>
                    <a:lnTo>
                      <a:pt x="288" y="292"/>
                    </a:lnTo>
                    <a:lnTo>
                      <a:pt x="304" y="296"/>
                    </a:lnTo>
                    <a:lnTo>
                      <a:pt x="304" y="296"/>
                    </a:lnTo>
                    <a:lnTo>
                      <a:pt x="316" y="300"/>
                    </a:lnTo>
                    <a:lnTo>
                      <a:pt x="324" y="298"/>
                    </a:lnTo>
                    <a:lnTo>
                      <a:pt x="328" y="296"/>
                    </a:lnTo>
                    <a:lnTo>
                      <a:pt x="332" y="292"/>
                    </a:lnTo>
                    <a:lnTo>
                      <a:pt x="336" y="290"/>
                    </a:lnTo>
                    <a:lnTo>
                      <a:pt x="340" y="290"/>
                    </a:lnTo>
                    <a:lnTo>
                      <a:pt x="346" y="292"/>
                    </a:lnTo>
                    <a:lnTo>
                      <a:pt x="356" y="298"/>
                    </a:lnTo>
                    <a:lnTo>
                      <a:pt x="356" y="298"/>
                    </a:lnTo>
                    <a:lnTo>
                      <a:pt x="374" y="312"/>
                    </a:lnTo>
                    <a:lnTo>
                      <a:pt x="378" y="314"/>
                    </a:lnTo>
                    <a:lnTo>
                      <a:pt x="380" y="312"/>
                    </a:lnTo>
                    <a:lnTo>
                      <a:pt x="378" y="310"/>
                    </a:lnTo>
                    <a:lnTo>
                      <a:pt x="376" y="306"/>
                    </a:lnTo>
                    <a:lnTo>
                      <a:pt x="362" y="292"/>
                    </a:lnTo>
                    <a:lnTo>
                      <a:pt x="362" y="292"/>
                    </a:lnTo>
                    <a:lnTo>
                      <a:pt x="358" y="284"/>
                    </a:lnTo>
                    <a:lnTo>
                      <a:pt x="358" y="282"/>
                    </a:lnTo>
                    <a:lnTo>
                      <a:pt x="360" y="282"/>
                    </a:lnTo>
                    <a:lnTo>
                      <a:pt x="368" y="282"/>
                    </a:lnTo>
                    <a:lnTo>
                      <a:pt x="380" y="284"/>
                    </a:lnTo>
                    <a:lnTo>
                      <a:pt x="410" y="290"/>
                    </a:lnTo>
                    <a:lnTo>
                      <a:pt x="444" y="296"/>
                    </a:lnTo>
                    <a:lnTo>
                      <a:pt x="444" y="296"/>
                    </a:lnTo>
                    <a:lnTo>
                      <a:pt x="450" y="296"/>
                    </a:lnTo>
                    <a:lnTo>
                      <a:pt x="454" y="296"/>
                    </a:lnTo>
                    <a:lnTo>
                      <a:pt x="458" y="294"/>
                    </a:lnTo>
                    <a:lnTo>
                      <a:pt x="460" y="290"/>
                    </a:lnTo>
                    <a:lnTo>
                      <a:pt x="462" y="284"/>
                    </a:lnTo>
                    <a:lnTo>
                      <a:pt x="460" y="274"/>
                    </a:lnTo>
                    <a:lnTo>
                      <a:pt x="456" y="260"/>
                    </a:lnTo>
                    <a:lnTo>
                      <a:pt x="456" y="260"/>
                    </a:lnTo>
                    <a:lnTo>
                      <a:pt x="458" y="260"/>
                    </a:lnTo>
                    <a:lnTo>
                      <a:pt x="464" y="264"/>
                    </a:lnTo>
                    <a:lnTo>
                      <a:pt x="464" y="264"/>
                    </a:lnTo>
                    <a:lnTo>
                      <a:pt x="472" y="270"/>
                    </a:lnTo>
                    <a:lnTo>
                      <a:pt x="478" y="272"/>
                    </a:lnTo>
                    <a:lnTo>
                      <a:pt x="484" y="272"/>
                    </a:lnTo>
                    <a:lnTo>
                      <a:pt x="490" y="272"/>
                    </a:lnTo>
                    <a:lnTo>
                      <a:pt x="494" y="272"/>
                    </a:lnTo>
                    <a:lnTo>
                      <a:pt x="498" y="274"/>
                    </a:lnTo>
                    <a:lnTo>
                      <a:pt x="500" y="278"/>
                    </a:lnTo>
                    <a:lnTo>
                      <a:pt x="502" y="286"/>
                    </a:lnTo>
                    <a:lnTo>
                      <a:pt x="502" y="286"/>
                    </a:lnTo>
                    <a:lnTo>
                      <a:pt x="502" y="294"/>
                    </a:lnTo>
                    <a:lnTo>
                      <a:pt x="504" y="302"/>
                    </a:lnTo>
                    <a:lnTo>
                      <a:pt x="508" y="306"/>
                    </a:lnTo>
                    <a:lnTo>
                      <a:pt x="512" y="310"/>
                    </a:lnTo>
                    <a:lnTo>
                      <a:pt x="528" y="318"/>
                    </a:lnTo>
                    <a:lnTo>
                      <a:pt x="556" y="326"/>
                    </a:lnTo>
                    <a:lnTo>
                      <a:pt x="556" y="326"/>
                    </a:lnTo>
                    <a:lnTo>
                      <a:pt x="570" y="332"/>
                    </a:lnTo>
                    <a:lnTo>
                      <a:pt x="580" y="338"/>
                    </a:lnTo>
                    <a:lnTo>
                      <a:pt x="584" y="344"/>
                    </a:lnTo>
                    <a:lnTo>
                      <a:pt x="584" y="348"/>
                    </a:lnTo>
                    <a:lnTo>
                      <a:pt x="580" y="352"/>
                    </a:lnTo>
                    <a:lnTo>
                      <a:pt x="574" y="356"/>
                    </a:lnTo>
                    <a:lnTo>
                      <a:pt x="568" y="356"/>
                    </a:lnTo>
                    <a:lnTo>
                      <a:pt x="558" y="356"/>
                    </a:lnTo>
                    <a:lnTo>
                      <a:pt x="558" y="356"/>
                    </a:lnTo>
                    <a:lnTo>
                      <a:pt x="550" y="358"/>
                    </a:lnTo>
                    <a:lnTo>
                      <a:pt x="542" y="360"/>
                    </a:lnTo>
                    <a:lnTo>
                      <a:pt x="538" y="366"/>
                    </a:lnTo>
                    <a:lnTo>
                      <a:pt x="538" y="370"/>
                    </a:lnTo>
                    <a:lnTo>
                      <a:pt x="538" y="376"/>
                    </a:lnTo>
                    <a:lnTo>
                      <a:pt x="544" y="378"/>
                    </a:lnTo>
                    <a:lnTo>
                      <a:pt x="550" y="380"/>
                    </a:lnTo>
                    <a:lnTo>
                      <a:pt x="562" y="378"/>
                    </a:lnTo>
                    <a:lnTo>
                      <a:pt x="562" y="378"/>
                    </a:lnTo>
                    <a:lnTo>
                      <a:pt x="576" y="374"/>
                    </a:lnTo>
                    <a:lnTo>
                      <a:pt x="590" y="374"/>
                    </a:lnTo>
                    <a:lnTo>
                      <a:pt x="606" y="376"/>
                    </a:lnTo>
                    <a:lnTo>
                      <a:pt x="618" y="380"/>
                    </a:lnTo>
                    <a:lnTo>
                      <a:pt x="630" y="384"/>
                    </a:lnTo>
                    <a:lnTo>
                      <a:pt x="640" y="390"/>
                    </a:lnTo>
                    <a:lnTo>
                      <a:pt x="648" y="396"/>
                    </a:lnTo>
                    <a:lnTo>
                      <a:pt x="654" y="402"/>
                    </a:lnTo>
                    <a:lnTo>
                      <a:pt x="654" y="402"/>
                    </a:lnTo>
                    <a:lnTo>
                      <a:pt x="656" y="406"/>
                    </a:lnTo>
                    <a:lnTo>
                      <a:pt x="662" y="408"/>
                    </a:lnTo>
                    <a:lnTo>
                      <a:pt x="674" y="414"/>
                    </a:lnTo>
                    <a:lnTo>
                      <a:pt x="682" y="416"/>
                    </a:lnTo>
                    <a:lnTo>
                      <a:pt x="688" y="420"/>
                    </a:lnTo>
                    <a:lnTo>
                      <a:pt x="692" y="428"/>
                    </a:lnTo>
                    <a:lnTo>
                      <a:pt x="696" y="438"/>
                    </a:lnTo>
                    <a:lnTo>
                      <a:pt x="696" y="438"/>
                    </a:lnTo>
                    <a:lnTo>
                      <a:pt x="698" y="450"/>
                    </a:lnTo>
                    <a:lnTo>
                      <a:pt x="704" y="460"/>
                    </a:lnTo>
                    <a:lnTo>
                      <a:pt x="712" y="474"/>
                    </a:lnTo>
                    <a:lnTo>
                      <a:pt x="716" y="480"/>
                    </a:lnTo>
                    <a:lnTo>
                      <a:pt x="718" y="486"/>
                    </a:lnTo>
                    <a:lnTo>
                      <a:pt x="716" y="490"/>
                    </a:lnTo>
                    <a:lnTo>
                      <a:pt x="710" y="494"/>
                    </a:lnTo>
                    <a:lnTo>
                      <a:pt x="710" y="494"/>
                    </a:lnTo>
                    <a:lnTo>
                      <a:pt x="696" y="504"/>
                    </a:lnTo>
                    <a:lnTo>
                      <a:pt x="682" y="518"/>
                    </a:lnTo>
                    <a:lnTo>
                      <a:pt x="668" y="532"/>
                    </a:lnTo>
                    <a:lnTo>
                      <a:pt x="648" y="548"/>
                    </a:lnTo>
                    <a:lnTo>
                      <a:pt x="648" y="548"/>
                    </a:lnTo>
                    <a:lnTo>
                      <a:pt x="644" y="554"/>
                    </a:lnTo>
                    <a:lnTo>
                      <a:pt x="640" y="558"/>
                    </a:lnTo>
                    <a:lnTo>
                      <a:pt x="640" y="564"/>
                    </a:lnTo>
                    <a:lnTo>
                      <a:pt x="642" y="570"/>
                    </a:lnTo>
                    <a:lnTo>
                      <a:pt x="646" y="580"/>
                    </a:lnTo>
                    <a:lnTo>
                      <a:pt x="654" y="590"/>
                    </a:lnTo>
                    <a:lnTo>
                      <a:pt x="666" y="604"/>
                    </a:lnTo>
                    <a:lnTo>
                      <a:pt x="666" y="606"/>
                    </a:lnTo>
                    <a:lnTo>
                      <a:pt x="666" y="608"/>
                    </a:lnTo>
                    <a:lnTo>
                      <a:pt x="656" y="606"/>
                    </a:lnTo>
                    <a:lnTo>
                      <a:pt x="656" y="606"/>
                    </a:lnTo>
                    <a:lnTo>
                      <a:pt x="646" y="602"/>
                    </a:lnTo>
                    <a:lnTo>
                      <a:pt x="636" y="604"/>
                    </a:lnTo>
                    <a:lnTo>
                      <a:pt x="628" y="608"/>
                    </a:lnTo>
                    <a:lnTo>
                      <a:pt x="620" y="612"/>
                    </a:lnTo>
                    <a:lnTo>
                      <a:pt x="608" y="616"/>
                    </a:lnTo>
                    <a:lnTo>
                      <a:pt x="594" y="620"/>
                    </a:lnTo>
                    <a:lnTo>
                      <a:pt x="576" y="620"/>
                    </a:lnTo>
                    <a:lnTo>
                      <a:pt x="552" y="614"/>
                    </a:lnTo>
                    <a:lnTo>
                      <a:pt x="552" y="614"/>
                    </a:lnTo>
                    <a:lnTo>
                      <a:pt x="528" y="610"/>
                    </a:lnTo>
                    <a:lnTo>
                      <a:pt x="516" y="608"/>
                    </a:lnTo>
                    <a:lnTo>
                      <a:pt x="510" y="608"/>
                    </a:lnTo>
                    <a:lnTo>
                      <a:pt x="510" y="612"/>
                    </a:lnTo>
                    <a:lnTo>
                      <a:pt x="510" y="616"/>
                    </a:lnTo>
                    <a:lnTo>
                      <a:pt x="510" y="624"/>
                    </a:lnTo>
                    <a:lnTo>
                      <a:pt x="504" y="630"/>
                    </a:lnTo>
                    <a:lnTo>
                      <a:pt x="494" y="638"/>
                    </a:lnTo>
                    <a:lnTo>
                      <a:pt x="494" y="638"/>
                    </a:lnTo>
                    <a:lnTo>
                      <a:pt x="488" y="642"/>
                    </a:lnTo>
                    <a:lnTo>
                      <a:pt x="484" y="648"/>
                    </a:lnTo>
                    <a:lnTo>
                      <a:pt x="482" y="652"/>
                    </a:lnTo>
                    <a:lnTo>
                      <a:pt x="480" y="658"/>
                    </a:lnTo>
                    <a:lnTo>
                      <a:pt x="482" y="664"/>
                    </a:lnTo>
                    <a:lnTo>
                      <a:pt x="484" y="668"/>
                    </a:lnTo>
                    <a:lnTo>
                      <a:pt x="494" y="678"/>
                    </a:lnTo>
                    <a:lnTo>
                      <a:pt x="506" y="686"/>
                    </a:lnTo>
                    <a:lnTo>
                      <a:pt x="514" y="688"/>
                    </a:lnTo>
                    <a:lnTo>
                      <a:pt x="522" y="690"/>
                    </a:lnTo>
                    <a:lnTo>
                      <a:pt x="532" y="690"/>
                    </a:lnTo>
                    <a:lnTo>
                      <a:pt x="542" y="690"/>
                    </a:lnTo>
                    <a:lnTo>
                      <a:pt x="552" y="686"/>
                    </a:lnTo>
                    <a:lnTo>
                      <a:pt x="562" y="682"/>
                    </a:lnTo>
                    <a:lnTo>
                      <a:pt x="562" y="682"/>
                    </a:lnTo>
                    <a:lnTo>
                      <a:pt x="580" y="676"/>
                    </a:lnTo>
                    <a:lnTo>
                      <a:pt x="592" y="674"/>
                    </a:lnTo>
                    <a:lnTo>
                      <a:pt x="602" y="676"/>
                    </a:lnTo>
                    <a:lnTo>
                      <a:pt x="608" y="680"/>
                    </a:lnTo>
                    <a:lnTo>
                      <a:pt x="612" y="684"/>
                    </a:lnTo>
                    <a:lnTo>
                      <a:pt x="616" y="688"/>
                    </a:lnTo>
                    <a:lnTo>
                      <a:pt x="622" y="686"/>
                    </a:lnTo>
                    <a:lnTo>
                      <a:pt x="628" y="680"/>
                    </a:lnTo>
                    <a:lnTo>
                      <a:pt x="628" y="680"/>
                    </a:lnTo>
                    <a:lnTo>
                      <a:pt x="634" y="674"/>
                    </a:lnTo>
                    <a:lnTo>
                      <a:pt x="640" y="674"/>
                    </a:lnTo>
                    <a:lnTo>
                      <a:pt x="642" y="676"/>
                    </a:lnTo>
                    <a:lnTo>
                      <a:pt x="644" y="680"/>
                    </a:lnTo>
                    <a:lnTo>
                      <a:pt x="646" y="688"/>
                    </a:lnTo>
                    <a:lnTo>
                      <a:pt x="648" y="690"/>
                    </a:lnTo>
                    <a:lnTo>
                      <a:pt x="650" y="686"/>
                    </a:lnTo>
                    <a:lnTo>
                      <a:pt x="650" y="686"/>
                    </a:lnTo>
                    <a:lnTo>
                      <a:pt x="656" y="674"/>
                    </a:lnTo>
                    <a:lnTo>
                      <a:pt x="658" y="672"/>
                    </a:lnTo>
                    <a:lnTo>
                      <a:pt x="662" y="672"/>
                    </a:lnTo>
                    <a:lnTo>
                      <a:pt x="666" y="674"/>
                    </a:lnTo>
                    <a:lnTo>
                      <a:pt x="672" y="680"/>
                    </a:lnTo>
                    <a:lnTo>
                      <a:pt x="696" y="706"/>
                    </a:lnTo>
                    <a:lnTo>
                      <a:pt x="696" y="706"/>
                    </a:lnTo>
                    <a:lnTo>
                      <a:pt x="708" y="720"/>
                    </a:lnTo>
                    <a:lnTo>
                      <a:pt x="718" y="726"/>
                    </a:lnTo>
                    <a:lnTo>
                      <a:pt x="724" y="728"/>
                    </a:lnTo>
                    <a:lnTo>
                      <a:pt x="728" y="728"/>
                    </a:lnTo>
                    <a:lnTo>
                      <a:pt x="732" y="726"/>
                    </a:lnTo>
                    <a:lnTo>
                      <a:pt x="736" y="724"/>
                    </a:lnTo>
                    <a:lnTo>
                      <a:pt x="742" y="726"/>
                    </a:lnTo>
                    <a:lnTo>
                      <a:pt x="750" y="732"/>
                    </a:lnTo>
                    <a:lnTo>
                      <a:pt x="750" y="732"/>
                    </a:lnTo>
                    <a:lnTo>
                      <a:pt x="756" y="738"/>
                    </a:lnTo>
                    <a:lnTo>
                      <a:pt x="756" y="740"/>
                    </a:lnTo>
                    <a:lnTo>
                      <a:pt x="754" y="742"/>
                    </a:lnTo>
                    <a:lnTo>
                      <a:pt x="750" y="744"/>
                    </a:lnTo>
                    <a:lnTo>
                      <a:pt x="742" y="744"/>
                    </a:lnTo>
                    <a:lnTo>
                      <a:pt x="734" y="746"/>
                    </a:lnTo>
                    <a:lnTo>
                      <a:pt x="732" y="748"/>
                    </a:lnTo>
                    <a:lnTo>
                      <a:pt x="732" y="750"/>
                    </a:lnTo>
                    <a:lnTo>
                      <a:pt x="732" y="752"/>
                    </a:lnTo>
                    <a:lnTo>
                      <a:pt x="734" y="756"/>
                    </a:lnTo>
                    <a:lnTo>
                      <a:pt x="744" y="768"/>
                    </a:lnTo>
                    <a:lnTo>
                      <a:pt x="744" y="768"/>
                    </a:lnTo>
                    <a:lnTo>
                      <a:pt x="754" y="776"/>
                    </a:lnTo>
                    <a:lnTo>
                      <a:pt x="766" y="780"/>
                    </a:lnTo>
                    <a:lnTo>
                      <a:pt x="792" y="788"/>
                    </a:lnTo>
                    <a:lnTo>
                      <a:pt x="816" y="794"/>
                    </a:lnTo>
                    <a:lnTo>
                      <a:pt x="826" y="798"/>
                    </a:lnTo>
                    <a:lnTo>
                      <a:pt x="834" y="804"/>
                    </a:lnTo>
                    <a:lnTo>
                      <a:pt x="834" y="804"/>
                    </a:lnTo>
                    <a:lnTo>
                      <a:pt x="842" y="812"/>
                    </a:lnTo>
                    <a:lnTo>
                      <a:pt x="854" y="818"/>
                    </a:lnTo>
                    <a:lnTo>
                      <a:pt x="868" y="824"/>
                    </a:lnTo>
                    <a:lnTo>
                      <a:pt x="882" y="828"/>
                    </a:lnTo>
                    <a:lnTo>
                      <a:pt x="916" y="836"/>
                    </a:lnTo>
                    <a:lnTo>
                      <a:pt x="948" y="846"/>
                    </a:lnTo>
                    <a:lnTo>
                      <a:pt x="948" y="846"/>
                    </a:lnTo>
                    <a:lnTo>
                      <a:pt x="962" y="850"/>
                    </a:lnTo>
                    <a:lnTo>
                      <a:pt x="970" y="850"/>
                    </a:lnTo>
                    <a:lnTo>
                      <a:pt x="972" y="848"/>
                    </a:lnTo>
                    <a:lnTo>
                      <a:pt x="974" y="846"/>
                    </a:lnTo>
                    <a:lnTo>
                      <a:pt x="974" y="840"/>
                    </a:lnTo>
                    <a:lnTo>
                      <a:pt x="972" y="832"/>
                    </a:lnTo>
                    <a:lnTo>
                      <a:pt x="966" y="822"/>
                    </a:lnTo>
                    <a:lnTo>
                      <a:pt x="958" y="812"/>
                    </a:lnTo>
                    <a:lnTo>
                      <a:pt x="948" y="802"/>
                    </a:lnTo>
                    <a:lnTo>
                      <a:pt x="948" y="802"/>
                    </a:lnTo>
                    <a:lnTo>
                      <a:pt x="936" y="792"/>
                    </a:lnTo>
                    <a:lnTo>
                      <a:pt x="920" y="780"/>
                    </a:lnTo>
                    <a:lnTo>
                      <a:pt x="888" y="758"/>
                    </a:lnTo>
                    <a:lnTo>
                      <a:pt x="872" y="748"/>
                    </a:lnTo>
                    <a:lnTo>
                      <a:pt x="862" y="738"/>
                    </a:lnTo>
                    <a:lnTo>
                      <a:pt x="854" y="732"/>
                    </a:lnTo>
                    <a:lnTo>
                      <a:pt x="854" y="728"/>
                    </a:lnTo>
                    <a:lnTo>
                      <a:pt x="854" y="724"/>
                    </a:lnTo>
                    <a:lnTo>
                      <a:pt x="854" y="724"/>
                    </a:lnTo>
                    <a:lnTo>
                      <a:pt x="854" y="724"/>
                    </a:lnTo>
                    <a:lnTo>
                      <a:pt x="858" y="722"/>
                    </a:lnTo>
                    <a:lnTo>
                      <a:pt x="864" y="724"/>
                    </a:lnTo>
                    <a:lnTo>
                      <a:pt x="880" y="736"/>
                    </a:lnTo>
                    <a:lnTo>
                      <a:pt x="894" y="748"/>
                    </a:lnTo>
                    <a:lnTo>
                      <a:pt x="900" y="748"/>
                    </a:lnTo>
                    <a:lnTo>
                      <a:pt x="902" y="748"/>
                    </a:lnTo>
                    <a:lnTo>
                      <a:pt x="902" y="746"/>
                    </a:lnTo>
                    <a:lnTo>
                      <a:pt x="902" y="746"/>
                    </a:lnTo>
                    <a:lnTo>
                      <a:pt x="902" y="742"/>
                    </a:lnTo>
                    <a:lnTo>
                      <a:pt x="904" y="742"/>
                    </a:lnTo>
                    <a:lnTo>
                      <a:pt x="908" y="744"/>
                    </a:lnTo>
                    <a:lnTo>
                      <a:pt x="924" y="754"/>
                    </a:lnTo>
                    <a:lnTo>
                      <a:pt x="932" y="762"/>
                    </a:lnTo>
                    <a:lnTo>
                      <a:pt x="944" y="770"/>
                    </a:lnTo>
                    <a:lnTo>
                      <a:pt x="956" y="776"/>
                    </a:lnTo>
                    <a:lnTo>
                      <a:pt x="968" y="778"/>
                    </a:lnTo>
                    <a:lnTo>
                      <a:pt x="968" y="778"/>
                    </a:lnTo>
                    <a:lnTo>
                      <a:pt x="980" y="782"/>
                    </a:lnTo>
                    <a:lnTo>
                      <a:pt x="990" y="788"/>
                    </a:lnTo>
                    <a:lnTo>
                      <a:pt x="998" y="798"/>
                    </a:lnTo>
                    <a:lnTo>
                      <a:pt x="1004" y="806"/>
                    </a:lnTo>
                    <a:lnTo>
                      <a:pt x="1010" y="812"/>
                    </a:lnTo>
                    <a:lnTo>
                      <a:pt x="1012" y="814"/>
                    </a:lnTo>
                    <a:lnTo>
                      <a:pt x="1014" y="812"/>
                    </a:lnTo>
                    <a:lnTo>
                      <a:pt x="1012" y="802"/>
                    </a:lnTo>
                    <a:lnTo>
                      <a:pt x="1012" y="802"/>
                    </a:lnTo>
                    <a:lnTo>
                      <a:pt x="1012" y="792"/>
                    </a:lnTo>
                    <a:lnTo>
                      <a:pt x="1012" y="788"/>
                    </a:lnTo>
                    <a:lnTo>
                      <a:pt x="1014" y="788"/>
                    </a:lnTo>
                    <a:lnTo>
                      <a:pt x="1016" y="788"/>
                    </a:lnTo>
                    <a:lnTo>
                      <a:pt x="1018" y="788"/>
                    </a:lnTo>
                    <a:lnTo>
                      <a:pt x="1020" y="786"/>
                    </a:lnTo>
                    <a:lnTo>
                      <a:pt x="1020" y="780"/>
                    </a:lnTo>
                    <a:lnTo>
                      <a:pt x="1018" y="766"/>
                    </a:lnTo>
                    <a:lnTo>
                      <a:pt x="1018" y="766"/>
                    </a:lnTo>
                    <a:lnTo>
                      <a:pt x="1016" y="750"/>
                    </a:lnTo>
                    <a:lnTo>
                      <a:pt x="1018" y="752"/>
                    </a:lnTo>
                    <a:lnTo>
                      <a:pt x="1020" y="754"/>
                    </a:lnTo>
                    <a:lnTo>
                      <a:pt x="1022" y="758"/>
                    </a:lnTo>
                    <a:lnTo>
                      <a:pt x="1026" y="760"/>
                    </a:lnTo>
                    <a:lnTo>
                      <a:pt x="1028" y="756"/>
                    </a:lnTo>
                    <a:lnTo>
                      <a:pt x="1032" y="746"/>
                    </a:lnTo>
                    <a:lnTo>
                      <a:pt x="1032" y="746"/>
                    </a:lnTo>
                    <a:lnTo>
                      <a:pt x="1032" y="734"/>
                    </a:lnTo>
                    <a:lnTo>
                      <a:pt x="1030" y="728"/>
                    </a:lnTo>
                    <a:lnTo>
                      <a:pt x="1026" y="724"/>
                    </a:lnTo>
                    <a:lnTo>
                      <a:pt x="1022" y="724"/>
                    </a:lnTo>
                    <a:lnTo>
                      <a:pt x="1018" y="722"/>
                    </a:lnTo>
                    <a:lnTo>
                      <a:pt x="1014" y="722"/>
                    </a:lnTo>
                    <a:lnTo>
                      <a:pt x="1014" y="720"/>
                    </a:lnTo>
                    <a:lnTo>
                      <a:pt x="1018" y="714"/>
                    </a:lnTo>
                    <a:lnTo>
                      <a:pt x="1018" y="714"/>
                    </a:lnTo>
                    <a:lnTo>
                      <a:pt x="1022" y="708"/>
                    </a:lnTo>
                    <a:lnTo>
                      <a:pt x="1020" y="704"/>
                    </a:lnTo>
                    <a:lnTo>
                      <a:pt x="1016" y="702"/>
                    </a:lnTo>
                    <a:lnTo>
                      <a:pt x="1012" y="700"/>
                    </a:lnTo>
                    <a:lnTo>
                      <a:pt x="1006" y="700"/>
                    </a:lnTo>
                    <a:lnTo>
                      <a:pt x="1000" y="698"/>
                    </a:lnTo>
                    <a:lnTo>
                      <a:pt x="1000" y="694"/>
                    </a:lnTo>
                    <a:lnTo>
                      <a:pt x="1002" y="688"/>
                    </a:lnTo>
                    <a:lnTo>
                      <a:pt x="1002" y="688"/>
                    </a:lnTo>
                    <a:lnTo>
                      <a:pt x="1006" y="682"/>
                    </a:lnTo>
                    <a:lnTo>
                      <a:pt x="1010" y="676"/>
                    </a:lnTo>
                    <a:lnTo>
                      <a:pt x="1008" y="672"/>
                    </a:lnTo>
                    <a:lnTo>
                      <a:pt x="1006" y="668"/>
                    </a:lnTo>
                    <a:lnTo>
                      <a:pt x="1000" y="664"/>
                    </a:lnTo>
                    <a:lnTo>
                      <a:pt x="992" y="660"/>
                    </a:lnTo>
                    <a:lnTo>
                      <a:pt x="966" y="648"/>
                    </a:lnTo>
                    <a:lnTo>
                      <a:pt x="966" y="648"/>
                    </a:lnTo>
                    <a:lnTo>
                      <a:pt x="952" y="642"/>
                    </a:lnTo>
                    <a:lnTo>
                      <a:pt x="942" y="632"/>
                    </a:lnTo>
                    <a:lnTo>
                      <a:pt x="936" y="622"/>
                    </a:lnTo>
                    <a:lnTo>
                      <a:pt x="930" y="612"/>
                    </a:lnTo>
                    <a:lnTo>
                      <a:pt x="928" y="602"/>
                    </a:lnTo>
                    <a:lnTo>
                      <a:pt x="924" y="596"/>
                    </a:lnTo>
                    <a:lnTo>
                      <a:pt x="918" y="592"/>
                    </a:lnTo>
                    <a:lnTo>
                      <a:pt x="912" y="592"/>
                    </a:lnTo>
                    <a:lnTo>
                      <a:pt x="912" y="592"/>
                    </a:lnTo>
                    <a:lnTo>
                      <a:pt x="904" y="594"/>
                    </a:lnTo>
                    <a:lnTo>
                      <a:pt x="896" y="594"/>
                    </a:lnTo>
                    <a:lnTo>
                      <a:pt x="892" y="592"/>
                    </a:lnTo>
                    <a:lnTo>
                      <a:pt x="890" y="590"/>
                    </a:lnTo>
                    <a:lnTo>
                      <a:pt x="890" y="586"/>
                    </a:lnTo>
                    <a:lnTo>
                      <a:pt x="894" y="584"/>
                    </a:lnTo>
                    <a:lnTo>
                      <a:pt x="900" y="580"/>
                    </a:lnTo>
                    <a:lnTo>
                      <a:pt x="908" y="578"/>
                    </a:lnTo>
                    <a:lnTo>
                      <a:pt x="908" y="578"/>
                    </a:lnTo>
                    <a:lnTo>
                      <a:pt x="912" y="576"/>
                    </a:lnTo>
                    <a:lnTo>
                      <a:pt x="916" y="576"/>
                    </a:lnTo>
                    <a:lnTo>
                      <a:pt x="916" y="572"/>
                    </a:lnTo>
                    <a:lnTo>
                      <a:pt x="916" y="570"/>
                    </a:lnTo>
                    <a:lnTo>
                      <a:pt x="914" y="564"/>
                    </a:lnTo>
                    <a:lnTo>
                      <a:pt x="910" y="556"/>
                    </a:lnTo>
                    <a:lnTo>
                      <a:pt x="902" y="546"/>
                    </a:lnTo>
                    <a:lnTo>
                      <a:pt x="902" y="544"/>
                    </a:lnTo>
                    <a:lnTo>
                      <a:pt x="904" y="544"/>
                    </a:lnTo>
                    <a:lnTo>
                      <a:pt x="910" y="546"/>
                    </a:lnTo>
                    <a:lnTo>
                      <a:pt x="910" y="546"/>
                    </a:lnTo>
                    <a:lnTo>
                      <a:pt x="918" y="548"/>
                    </a:lnTo>
                    <a:lnTo>
                      <a:pt x="924" y="546"/>
                    </a:lnTo>
                    <a:lnTo>
                      <a:pt x="928" y="542"/>
                    </a:lnTo>
                    <a:lnTo>
                      <a:pt x="930" y="538"/>
                    </a:lnTo>
                    <a:lnTo>
                      <a:pt x="932" y="536"/>
                    </a:lnTo>
                    <a:lnTo>
                      <a:pt x="934" y="534"/>
                    </a:lnTo>
                    <a:lnTo>
                      <a:pt x="938" y="536"/>
                    </a:lnTo>
                    <a:lnTo>
                      <a:pt x="942" y="544"/>
                    </a:lnTo>
                    <a:lnTo>
                      <a:pt x="942" y="544"/>
                    </a:lnTo>
                    <a:lnTo>
                      <a:pt x="950" y="552"/>
                    </a:lnTo>
                    <a:lnTo>
                      <a:pt x="954" y="556"/>
                    </a:lnTo>
                    <a:lnTo>
                      <a:pt x="958" y="558"/>
                    </a:lnTo>
                    <a:lnTo>
                      <a:pt x="962" y="558"/>
                    </a:lnTo>
                    <a:lnTo>
                      <a:pt x="968" y="560"/>
                    </a:lnTo>
                    <a:lnTo>
                      <a:pt x="972" y="562"/>
                    </a:lnTo>
                    <a:lnTo>
                      <a:pt x="974" y="568"/>
                    </a:lnTo>
                    <a:lnTo>
                      <a:pt x="974" y="568"/>
                    </a:lnTo>
                    <a:lnTo>
                      <a:pt x="976" y="574"/>
                    </a:lnTo>
                    <a:lnTo>
                      <a:pt x="980" y="576"/>
                    </a:lnTo>
                    <a:lnTo>
                      <a:pt x="986" y="580"/>
                    </a:lnTo>
                    <a:lnTo>
                      <a:pt x="990" y="580"/>
                    </a:lnTo>
                    <a:lnTo>
                      <a:pt x="992" y="582"/>
                    </a:lnTo>
                    <a:lnTo>
                      <a:pt x="994" y="586"/>
                    </a:lnTo>
                    <a:lnTo>
                      <a:pt x="994" y="592"/>
                    </a:lnTo>
                    <a:lnTo>
                      <a:pt x="994" y="592"/>
                    </a:lnTo>
                    <a:lnTo>
                      <a:pt x="994" y="596"/>
                    </a:lnTo>
                    <a:lnTo>
                      <a:pt x="996" y="600"/>
                    </a:lnTo>
                    <a:lnTo>
                      <a:pt x="1008" y="614"/>
                    </a:lnTo>
                    <a:lnTo>
                      <a:pt x="1022" y="626"/>
                    </a:lnTo>
                    <a:lnTo>
                      <a:pt x="1040" y="638"/>
                    </a:lnTo>
                    <a:lnTo>
                      <a:pt x="1056" y="646"/>
                    </a:lnTo>
                    <a:lnTo>
                      <a:pt x="1064" y="648"/>
                    </a:lnTo>
                    <a:lnTo>
                      <a:pt x="1070" y="648"/>
                    </a:lnTo>
                    <a:lnTo>
                      <a:pt x="1074" y="646"/>
                    </a:lnTo>
                    <a:lnTo>
                      <a:pt x="1078" y="642"/>
                    </a:lnTo>
                    <a:lnTo>
                      <a:pt x="1080" y="636"/>
                    </a:lnTo>
                    <a:lnTo>
                      <a:pt x="1078" y="628"/>
                    </a:lnTo>
                    <a:lnTo>
                      <a:pt x="1078" y="628"/>
                    </a:lnTo>
                    <a:lnTo>
                      <a:pt x="1078" y="618"/>
                    </a:lnTo>
                    <a:lnTo>
                      <a:pt x="1078" y="612"/>
                    </a:lnTo>
                    <a:lnTo>
                      <a:pt x="1080" y="606"/>
                    </a:lnTo>
                    <a:lnTo>
                      <a:pt x="1082" y="602"/>
                    </a:lnTo>
                    <a:lnTo>
                      <a:pt x="1086" y="600"/>
                    </a:lnTo>
                    <a:lnTo>
                      <a:pt x="1092" y="598"/>
                    </a:lnTo>
                    <a:lnTo>
                      <a:pt x="1102" y="596"/>
                    </a:lnTo>
                    <a:lnTo>
                      <a:pt x="1118" y="598"/>
                    </a:lnTo>
                    <a:lnTo>
                      <a:pt x="1122" y="596"/>
                    </a:lnTo>
                    <a:lnTo>
                      <a:pt x="1122" y="596"/>
                    </a:lnTo>
                    <a:lnTo>
                      <a:pt x="1122" y="592"/>
                    </a:lnTo>
                    <a:lnTo>
                      <a:pt x="1122" y="588"/>
                    </a:lnTo>
                    <a:lnTo>
                      <a:pt x="1122" y="588"/>
                    </a:lnTo>
                    <a:lnTo>
                      <a:pt x="1118" y="582"/>
                    </a:lnTo>
                    <a:lnTo>
                      <a:pt x="1118" y="576"/>
                    </a:lnTo>
                    <a:lnTo>
                      <a:pt x="1120" y="574"/>
                    </a:lnTo>
                    <a:lnTo>
                      <a:pt x="1122" y="574"/>
                    </a:lnTo>
                    <a:lnTo>
                      <a:pt x="1128" y="570"/>
                    </a:lnTo>
                    <a:lnTo>
                      <a:pt x="1128" y="568"/>
                    </a:lnTo>
                    <a:lnTo>
                      <a:pt x="1126" y="564"/>
                    </a:lnTo>
                    <a:lnTo>
                      <a:pt x="1126" y="564"/>
                    </a:lnTo>
                    <a:lnTo>
                      <a:pt x="1126" y="560"/>
                    </a:lnTo>
                    <a:lnTo>
                      <a:pt x="1126" y="558"/>
                    </a:lnTo>
                    <a:lnTo>
                      <a:pt x="1130" y="554"/>
                    </a:lnTo>
                    <a:lnTo>
                      <a:pt x="1144" y="548"/>
                    </a:lnTo>
                    <a:lnTo>
                      <a:pt x="1150" y="544"/>
                    </a:lnTo>
                    <a:lnTo>
                      <a:pt x="1154" y="536"/>
                    </a:lnTo>
                    <a:lnTo>
                      <a:pt x="1156" y="532"/>
                    </a:lnTo>
                    <a:lnTo>
                      <a:pt x="1154" y="528"/>
                    </a:lnTo>
                    <a:lnTo>
                      <a:pt x="1148" y="514"/>
                    </a:lnTo>
                    <a:lnTo>
                      <a:pt x="1148" y="514"/>
                    </a:lnTo>
                    <a:close/>
                  </a:path>
                </a:pathLst>
              </a:custGeom>
              <a:grpFill/>
              <a:ln w="6350">
                <a:noFill/>
                <a:round/>
                <a:headEnd/>
                <a:tailEnd/>
              </a:ln>
            </p:spPr>
            <p:txBody>
              <a:bodyPr/>
              <a:lstStyle/>
              <a:p>
                <a:endParaRPr lang="da-DK" sz="2800" b="1"/>
              </a:p>
            </p:txBody>
          </p:sp>
          <p:sp>
            <p:nvSpPr>
              <p:cNvPr id="74" name="Freeform 6089">
                <a:extLst>
                  <a:ext uri="{FF2B5EF4-FFF2-40B4-BE49-F238E27FC236}">
                    <a16:creationId xmlns:a16="http://schemas.microsoft.com/office/drawing/2014/main" id="{C7B378E0-C5CE-4324-8A84-B7ECD7A28741}"/>
                  </a:ext>
                </a:extLst>
              </p:cNvPr>
              <p:cNvSpPr>
                <a:spLocks/>
              </p:cNvSpPr>
              <p:nvPr/>
            </p:nvSpPr>
            <p:spPr bwMode="auto">
              <a:xfrm>
                <a:off x="2731770" y="1751013"/>
                <a:ext cx="20320" cy="15240"/>
              </a:xfrm>
              <a:custGeom>
                <a:avLst/>
                <a:gdLst/>
                <a:ahLst/>
                <a:cxnLst>
                  <a:cxn ang="0">
                    <a:pos x="6" y="0"/>
                  </a:cxn>
                  <a:cxn ang="0">
                    <a:pos x="6" y="0"/>
                  </a:cxn>
                  <a:cxn ang="0">
                    <a:pos x="2" y="4"/>
                  </a:cxn>
                  <a:cxn ang="0">
                    <a:pos x="0" y="8"/>
                  </a:cxn>
                  <a:cxn ang="0">
                    <a:pos x="2" y="12"/>
                  </a:cxn>
                  <a:cxn ang="0">
                    <a:pos x="8" y="18"/>
                  </a:cxn>
                  <a:cxn ang="0">
                    <a:pos x="14" y="22"/>
                  </a:cxn>
                  <a:cxn ang="0">
                    <a:pos x="20" y="24"/>
                  </a:cxn>
                  <a:cxn ang="0">
                    <a:pos x="26" y="24"/>
                  </a:cxn>
                  <a:cxn ang="0">
                    <a:pos x="30" y="22"/>
                  </a:cxn>
                  <a:cxn ang="0">
                    <a:pos x="30" y="22"/>
                  </a:cxn>
                  <a:cxn ang="0">
                    <a:pos x="32" y="16"/>
                  </a:cxn>
                  <a:cxn ang="0">
                    <a:pos x="32" y="12"/>
                  </a:cxn>
                  <a:cxn ang="0">
                    <a:pos x="32" y="8"/>
                  </a:cxn>
                  <a:cxn ang="0">
                    <a:pos x="28" y="4"/>
                  </a:cxn>
                  <a:cxn ang="0">
                    <a:pos x="24" y="2"/>
                  </a:cxn>
                  <a:cxn ang="0">
                    <a:pos x="20" y="0"/>
                  </a:cxn>
                  <a:cxn ang="0">
                    <a:pos x="14" y="0"/>
                  </a:cxn>
                  <a:cxn ang="0">
                    <a:pos x="6" y="0"/>
                  </a:cxn>
                  <a:cxn ang="0">
                    <a:pos x="6" y="0"/>
                  </a:cxn>
                </a:cxnLst>
                <a:rect l="0" t="0" r="r" b="b"/>
                <a:pathLst>
                  <a:path w="32" h="24">
                    <a:moveTo>
                      <a:pt x="6" y="0"/>
                    </a:moveTo>
                    <a:lnTo>
                      <a:pt x="6" y="0"/>
                    </a:lnTo>
                    <a:lnTo>
                      <a:pt x="2" y="4"/>
                    </a:lnTo>
                    <a:lnTo>
                      <a:pt x="0" y="8"/>
                    </a:lnTo>
                    <a:lnTo>
                      <a:pt x="2" y="12"/>
                    </a:lnTo>
                    <a:lnTo>
                      <a:pt x="8" y="18"/>
                    </a:lnTo>
                    <a:lnTo>
                      <a:pt x="14" y="22"/>
                    </a:lnTo>
                    <a:lnTo>
                      <a:pt x="20" y="24"/>
                    </a:lnTo>
                    <a:lnTo>
                      <a:pt x="26" y="24"/>
                    </a:lnTo>
                    <a:lnTo>
                      <a:pt x="30" y="22"/>
                    </a:lnTo>
                    <a:lnTo>
                      <a:pt x="30" y="22"/>
                    </a:lnTo>
                    <a:lnTo>
                      <a:pt x="32" y="16"/>
                    </a:lnTo>
                    <a:lnTo>
                      <a:pt x="32" y="12"/>
                    </a:lnTo>
                    <a:lnTo>
                      <a:pt x="32" y="8"/>
                    </a:lnTo>
                    <a:lnTo>
                      <a:pt x="28" y="4"/>
                    </a:lnTo>
                    <a:lnTo>
                      <a:pt x="24" y="2"/>
                    </a:lnTo>
                    <a:lnTo>
                      <a:pt x="20" y="0"/>
                    </a:lnTo>
                    <a:lnTo>
                      <a:pt x="14" y="0"/>
                    </a:lnTo>
                    <a:lnTo>
                      <a:pt x="6" y="0"/>
                    </a:lnTo>
                    <a:lnTo>
                      <a:pt x="6" y="0"/>
                    </a:lnTo>
                    <a:close/>
                  </a:path>
                </a:pathLst>
              </a:custGeom>
              <a:grpFill/>
              <a:ln w="6350">
                <a:noFill/>
                <a:round/>
                <a:headEnd/>
                <a:tailEnd/>
              </a:ln>
            </p:spPr>
            <p:txBody>
              <a:bodyPr/>
              <a:lstStyle/>
              <a:p>
                <a:endParaRPr lang="da-DK" sz="2800" b="1"/>
              </a:p>
            </p:txBody>
          </p:sp>
          <p:sp>
            <p:nvSpPr>
              <p:cNvPr id="75" name="Freeform 6091">
                <a:extLst>
                  <a:ext uri="{FF2B5EF4-FFF2-40B4-BE49-F238E27FC236}">
                    <a16:creationId xmlns:a16="http://schemas.microsoft.com/office/drawing/2014/main" id="{730C0E35-07D0-48BC-9E51-9AEE04C7A6F2}"/>
                  </a:ext>
                </a:extLst>
              </p:cNvPr>
              <p:cNvSpPr>
                <a:spLocks/>
              </p:cNvSpPr>
              <p:nvPr/>
            </p:nvSpPr>
            <p:spPr bwMode="auto">
              <a:xfrm>
                <a:off x="2656840" y="1799273"/>
                <a:ext cx="13970" cy="15240"/>
              </a:xfrm>
              <a:custGeom>
                <a:avLst/>
                <a:gdLst/>
                <a:ahLst/>
                <a:cxnLst>
                  <a:cxn ang="0">
                    <a:pos x="4" y="24"/>
                  </a:cxn>
                  <a:cxn ang="0">
                    <a:pos x="4" y="24"/>
                  </a:cxn>
                  <a:cxn ang="0">
                    <a:pos x="12" y="22"/>
                  </a:cxn>
                  <a:cxn ang="0">
                    <a:pos x="20" y="16"/>
                  </a:cxn>
                  <a:cxn ang="0">
                    <a:pos x="22" y="12"/>
                  </a:cxn>
                  <a:cxn ang="0">
                    <a:pos x="22" y="10"/>
                  </a:cxn>
                  <a:cxn ang="0">
                    <a:pos x="22" y="6"/>
                  </a:cxn>
                  <a:cxn ang="0">
                    <a:pos x="18" y="2"/>
                  </a:cxn>
                  <a:cxn ang="0">
                    <a:pos x="18" y="2"/>
                  </a:cxn>
                  <a:cxn ang="0">
                    <a:pos x="14" y="0"/>
                  </a:cxn>
                  <a:cxn ang="0">
                    <a:pos x="10" y="2"/>
                  </a:cxn>
                  <a:cxn ang="0">
                    <a:pos x="6" y="4"/>
                  </a:cxn>
                  <a:cxn ang="0">
                    <a:pos x="2" y="10"/>
                  </a:cxn>
                  <a:cxn ang="0">
                    <a:pos x="0" y="14"/>
                  </a:cxn>
                  <a:cxn ang="0">
                    <a:pos x="0" y="18"/>
                  </a:cxn>
                  <a:cxn ang="0">
                    <a:pos x="2" y="22"/>
                  </a:cxn>
                  <a:cxn ang="0">
                    <a:pos x="4" y="24"/>
                  </a:cxn>
                  <a:cxn ang="0">
                    <a:pos x="4" y="24"/>
                  </a:cxn>
                </a:cxnLst>
                <a:rect l="0" t="0" r="r" b="b"/>
                <a:pathLst>
                  <a:path w="22" h="24">
                    <a:moveTo>
                      <a:pt x="4" y="24"/>
                    </a:moveTo>
                    <a:lnTo>
                      <a:pt x="4" y="24"/>
                    </a:lnTo>
                    <a:lnTo>
                      <a:pt x="12" y="22"/>
                    </a:lnTo>
                    <a:lnTo>
                      <a:pt x="20" y="16"/>
                    </a:lnTo>
                    <a:lnTo>
                      <a:pt x="22" y="12"/>
                    </a:lnTo>
                    <a:lnTo>
                      <a:pt x="22" y="10"/>
                    </a:lnTo>
                    <a:lnTo>
                      <a:pt x="22" y="6"/>
                    </a:lnTo>
                    <a:lnTo>
                      <a:pt x="18" y="2"/>
                    </a:lnTo>
                    <a:lnTo>
                      <a:pt x="18" y="2"/>
                    </a:lnTo>
                    <a:lnTo>
                      <a:pt x="14" y="0"/>
                    </a:lnTo>
                    <a:lnTo>
                      <a:pt x="10" y="2"/>
                    </a:lnTo>
                    <a:lnTo>
                      <a:pt x="6" y="4"/>
                    </a:lnTo>
                    <a:lnTo>
                      <a:pt x="2" y="10"/>
                    </a:lnTo>
                    <a:lnTo>
                      <a:pt x="0" y="14"/>
                    </a:lnTo>
                    <a:lnTo>
                      <a:pt x="0" y="18"/>
                    </a:lnTo>
                    <a:lnTo>
                      <a:pt x="2" y="22"/>
                    </a:lnTo>
                    <a:lnTo>
                      <a:pt x="4" y="24"/>
                    </a:lnTo>
                    <a:lnTo>
                      <a:pt x="4" y="24"/>
                    </a:lnTo>
                    <a:close/>
                  </a:path>
                </a:pathLst>
              </a:custGeom>
              <a:grpFill/>
              <a:ln w="6350">
                <a:noFill/>
                <a:round/>
                <a:headEnd/>
                <a:tailEnd/>
              </a:ln>
            </p:spPr>
            <p:txBody>
              <a:bodyPr/>
              <a:lstStyle/>
              <a:p>
                <a:endParaRPr lang="da-DK" sz="2800" b="1"/>
              </a:p>
            </p:txBody>
          </p:sp>
          <p:sp>
            <p:nvSpPr>
              <p:cNvPr id="76" name="Freeform 6092">
                <a:extLst>
                  <a:ext uri="{FF2B5EF4-FFF2-40B4-BE49-F238E27FC236}">
                    <a16:creationId xmlns:a16="http://schemas.microsoft.com/office/drawing/2014/main" id="{63F4AE90-BA2A-4996-9CC2-9F9D2EA86C09}"/>
                  </a:ext>
                </a:extLst>
              </p:cNvPr>
              <p:cNvSpPr>
                <a:spLocks/>
              </p:cNvSpPr>
              <p:nvPr/>
            </p:nvSpPr>
            <p:spPr bwMode="auto">
              <a:xfrm>
                <a:off x="2352040" y="1724343"/>
                <a:ext cx="22860" cy="34290"/>
              </a:xfrm>
              <a:custGeom>
                <a:avLst/>
                <a:gdLst/>
                <a:ahLst/>
                <a:cxnLst>
                  <a:cxn ang="0">
                    <a:pos x="20" y="54"/>
                  </a:cxn>
                  <a:cxn ang="0">
                    <a:pos x="20" y="54"/>
                  </a:cxn>
                  <a:cxn ang="0">
                    <a:pos x="26" y="50"/>
                  </a:cxn>
                  <a:cxn ang="0">
                    <a:pos x="30" y="42"/>
                  </a:cxn>
                  <a:cxn ang="0">
                    <a:pos x="34" y="32"/>
                  </a:cxn>
                  <a:cxn ang="0">
                    <a:pos x="36" y="22"/>
                  </a:cxn>
                  <a:cxn ang="0">
                    <a:pos x="36" y="12"/>
                  </a:cxn>
                  <a:cxn ang="0">
                    <a:pos x="34" y="4"/>
                  </a:cxn>
                  <a:cxn ang="0">
                    <a:pos x="32" y="2"/>
                  </a:cxn>
                  <a:cxn ang="0">
                    <a:pos x="28" y="0"/>
                  </a:cxn>
                  <a:cxn ang="0">
                    <a:pos x="24" y="0"/>
                  </a:cxn>
                  <a:cxn ang="0">
                    <a:pos x="18" y="0"/>
                  </a:cxn>
                  <a:cxn ang="0">
                    <a:pos x="18" y="0"/>
                  </a:cxn>
                  <a:cxn ang="0">
                    <a:pos x="14" y="2"/>
                  </a:cxn>
                  <a:cxn ang="0">
                    <a:pos x="8" y="6"/>
                  </a:cxn>
                  <a:cxn ang="0">
                    <a:pos x="4" y="12"/>
                  </a:cxn>
                  <a:cxn ang="0">
                    <a:pos x="0" y="22"/>
                  </a:cxn>
                  <a:cxn ang="0">
                    <a:pos x="2" y="32"/>
                  </a:cxn>
                  <a:cxn ang="0">
                    <a:pos x="4" y="40"/>
                  </a:cxn>
                  <a:cxn ang="0">
                    <a:pos x="8" y="48"/>
                  </a:cxn>
                  <a:cxn ang="0">
                    <a:pos x="14" y="52"/>
                  </a:cxn>
                  <a:cxn ang="0">
                    <a:pos x="20" y="54"/>
                  </a:cxn>
                  <a:cxn ang="0">
                    <a:pos x="20" y="54"/>
                  </a:cxn>
                </a:cxnLst>
                <a:rect l="0" t="0" r="r" b="b"/>
                <a:pathLst>
                  <a:path w="36" h="54">
                    <a:moveTo>
                      <a:pt x="20" y="54"/>
                    </a:moveTo>
                    <a:lnTo>
                      <a:pt x="20" y="54"/>
                    </a:lnTo>
                    <a:lnTo>
                      <a:pt x="26" y="50"/>
                    </a:lnTo>
                    <a:lnTo>
                      <a:pt x="30" y="42"/>
                    </a:lnTo>
                    <a:lnTo>
                      <a:pt x="34" y="32"/>
                    </a:lnTo>
                    <a:lnTo>
                      <a:pt x="36" y="22"/>
                    </a:lnTo>
                    <a:lnTo>
                      <a:pt x="36" y="12"/>
                    </a:lnTo>
                    <a:lnTo>
                      <a:pt x="34" y="4"/>
                    </a:lnTo>
                    <a:lnTo>
                      <a:pt x="32" y="2"/>
                    </a:lnTo>
                    <a:lnTo>
                      <a:pt x="28" y="0"/>
                    </a:lnTo>
                    <a:lnTo>
                      <a:pt x="24" y="0"/>
                    </a:lnTo>
                    <a:lnTo>
                      <a:pt x="18" y="0"/>
                    </a:lnTo>
                    <a:lnTo>
                      <a:pt x="18" y="0"/>
                    </a:lnTo>
                    <a:lnTo>
                      <a:pt x="14" y="2"/>
                    </a:lnTo>
                    <a:lnTo>
                      <a:pt x="8" y="6"/>
                    </a:lnTo>
                    <a:lnTo>
                      <a:pt x="4" y="12"/>
                    </a:lnTo>
                    <a:lnTo>
                      <a:pt x="0" y="22"/>
                    </a:lnTo>
                    <a:lnTo>
                      <a:pt x="2" y="32"/>
                    </a:lnTo>
                    <a:lnTo>
                      <a:pt x="4" y="40"/>
                    </a:lnTo>
                    <a:lnTo>
                      <a:pt x="8" y="48"/>
                    </a:lnTo>
                    <a:lnTo>
                      <a:pt x="14" y="52"/>
                    </a:lnTo>
                    <a:lnTo>
                      <a:pt x="20" y="54"/>
                    </a:lnTo>
                    <a:lnTo>
                      <a:pt x="20" y="54"/>
                    </a:lnTo>
                    <a:close/>
                  </a:path>
                </a:pathLst>
              </a:custGeom>
              <a:grpFill/>
              <a:ln w="6350">
                <a:noFill/>
                <a:round/>
                <a:headEnd/>
                <a:tailEnd/>
              </a:ln>
            </p:spPr>
            <p:txBody>
              <a:bodyPr/>
              <a:lstStyle/>
              <a:p>
                <a:endParaRPr lang="da-DK" sz="2800" b="1"/>
              </a:p>
            </p:txBody>
          </p:sp>
          <p:sp>
            <p:nvSpPr>
              <p:cNvPr id="77" name="Freeform 6094">
                <a:extLst>
                  <a:ext uri="{FF2B5EF4-FFF2-40B4-BE49-F238E27FC236}">
                    <a16:creationId xmlns:a16="http://schemas.microsoft.com/office/drawing/2014/main" id="{201DF85D-390F-4360-8F8D-C707B3EAD67E}"/>
                  </a:ext>
                </a:extLst>
              </p:cNvPr>
              <p:cNvSpPr>
                <a:spLocks/>
              </p:cNvSpPr>
              <p:nvPr/>
            </p:nvSpPr>
            <p:spPr bwMode="auto">
              <a:xfrm>
                <a:off x="2428240" y="1463993"/>
                <a:ext cx="59690" cy="48260"/>
              </a:xfrm>
              <a:custGeom>
                <a:avLst/>
                <a:gdLst/>
                <a:ahLst/>
                <a:cxnLst>
                  <a:cxn ang="0">
                    <a:pos x="8" y="26"/>
                  </a:cxn>
                  <a:cxn ang="0">
                    <a:pos x="8" y="26"/>
                  </a:cxn>
                  <a:cxn ang="0">
                    <a:pos x="4" y="36"/>
                  </a:cxn>
                  <a:cxn ang="0">
                    <a:pos x="0" y="46"/>
                  </a:cxn>
                  <a:cxn ang="0">
                    <a:pos x="0" y="56"/>
                  </a:cxn>
                  <a:cxn ang="0">
                    <a:pos x="2" y="64"/>
                  </a:cxn>
                  <a:cxn ang="0">
                    <a:pos x="8" y="70"/>
                  </a:cxn>
                  <a:cxn ang="0">
                    <a:pos x="18" y="74"/>
                  </a:cxn>
                  <a:cxn ang="0">
                    <a:pos x="34" y="76"/>
                  </a:cxn>
                  <a:cxn ang="0">
                    <a:pos x="54" y="76"/>
                  </a:cxn>
                  <a:cxn ang="0">
                    <a:pos x="54" y="76"/>
                  </a:cxn>
                  <a:cxn ang="0">
                    <a:pos x="72" y="74"/>
                  </a:cxn>
                  <a:cxn ang="0">
                    <a:pos x="84" y="70"/>
                  </a:cxn>
                  <a:cxn ang="0">
                    <a:pos x="90" y="64"/>
                  </a:cxn>
                  <a:cxn ang="0">
                    <a:pos x="94" y="58"/>
                  </a:cxn>
                  <a:cxn ang="0">
                    <a:pos x="92" y="50"/>
                  </a:cxn>
                  <a:cxn ang="0">
                    <a:pos x="92" y="40"/>
                  </a:cxn>
                  <a:cxn ang="0">
                    <a:pos x="90" y="32"/>
                  </a:cxn>
                  <a:cxn ang="0">
                    <a:pos x="92" y="22"/>
                  </a:cxn>
                  <a:cxn ang="0">
                    <a:pos x="92" y="22"/>
                  </a:cxn>
                  <a:cxn ang="0">
                    <a:pos x="92" y="18"/>
                  </a:cxn>
                  <a:cxn ang="0">
                    <a:pos x="90" y="14"/>
                  </a:cxn>
                  <a:cxn ang="0">
                    <a:pos x="88" y="10"/>
                  </a:cxn>
                  <a:cxn ang="0">
                    <a:pos x="84" y="6"/>
                  </a:cxn>
                  <a:cxn ang="0">
                    <a:pos x="74" y="2"/>
                  </a:cxn>
                  <a:cxn ang="0">
                    <a:pos x="60" y="0"/>
                  </a:cxn>
                  <a:cxn ang="0">
                    <a:pos x="46" y="2"/>
                  </a:cxn>
                  <a:cxn ang="0">
                    <a:pos x="32" y="6"/>
                  </a:cxn>
                  <a:cxn ang="0">
                    <a:pos x="18" y="14"/>
                  </a:cxn>
                  <a:cxn ang="0">
                    <a:pos x="14" y="20"/>
                  </a:cxn>
                  <a:cxn ang="0">
                    <a:pos x="8" y="26"/>
                  </a:cxn>
                  <a:cxn ang="0">
                    <a:pos x="8" y="26"/>
                  </a:cxn>
                </a:cxnLst>
                <a:rect l="0" t="0" r="r" b="b"/>
                <a:pathLst>
                  <a:path w="94" h="76">
                    <a:moveTo>
                      <a:pt x="8" y="26"/>
                    </a:moveTo>
                    <a:lnTo>
                      <a:pt x="8" y="26"/>
                    </a:lnTo>
                    <a:lnTo>
                      <a:pt x="4" y="36"/>
                    </a:lnTo>
                    <a:lnTo>
                      <a:pt x="0" y="46"/>
                    </a:lnTo>
                    <a:lnTo>
                      <a:pt x="0" y="56"/>
                    </a:lnTo>
                    <a:lnTo>
                      <a:pt x="2" y="64"/>
                    </a:lnTo>
                    <a:lnTo>
                      <a:pt x="8" y="70"/>
                    </a:lnTo>
                    <a:lnTo>
                      <a:pt x="18" y="74"/>
                    </a:lnTo>
                    <a:lnTo>
                      <a:pt x="34" y="76"/>
                    </a:lnTo>
                    <a:lnTo>
                      <a:pt x="54" y="76"/>
                    </a:lnTo>
                    <a:lnTo>
                      <a:pt x="54" y="76"/>
                    </a:lnTo>
                    <a:lnTo>
                      <a:pt x="72" y="74"/>
                    </a:lnTo>
                    <a:lnTo>
                      <a:pt x="84" y="70"/>
                    </a:lnTo>
                    <a:lnTo>
                      <a:pt x="90" y="64"/>
                    </a:lnTo>
                    <a:lnTo>
                      <a:pt x="94" y="58"/>
                    </a:lnTo>
                    <a:lnTo>
                      <a:pt x="92" y="50"/>
                    </a:lnTo>
                    <a:lnTo>
                      <a:pt x="92" y="40"/>
                    </a:lnTo>
                    <a:lnTo>
                      <a:pt x="90" y="32"/>
                    </a:lnTo>
                    <a:lnTo>
                      <a:pt x="92" y="22"/>
                    </a:lnTo>
                    <a:lnTo>
                      <a:pt x="92" y="22"/>
                    </a:lnTo>
                    <a:lnTo>
                      <a:pt x="92" y="18"/>
                    </a:lnTo>
                    <a:lnTo>
                      <a:pt x="90" y="14"/>
                    </a:lnTo>
                    <a:lnTo>
                      <a:pt x="88" y="10"/>
                    </a:lnTo>
                    <a:lnTo>
                      <a:pt x="84" y="6"/>
                    </a:lnTo>
                    <a:lnTo>
                      <a:pt x="74" y="2"/>
                    </a:lnTo>
                    <a:lnTo>
                      <a:pt x="60" y="0"/>
                    </a:lnTo>
                    <a:lnTo>
                      <a:pt x="46" y="2"/>
                    </a:lnTo>
                    <a:lnTo>
                      <a:pt x="32" y="6"/>
                    </a:lnTo>
                    <a:lnTo>
                      <a:pt x="18" y="14"/>
                    </a:lnTo>
                    <a:lnTo>
                      <a:pt x="14" y="20"/>
                    </a:lnTo>
                    <a:lnTo>
                      <a:pt x="8" y="26"/>
                    </a:lnTo>
                    <a:lnTo>
                      <a:pt x="8" y="26"/>
                    </a:lnTo>
                    <a:close/>
                  </a:path>
                </a:pathLst>
              </a:custGeom>
              <a:grpFill/>
              <a:ln w="6350">
                <a:noFill/>
                <a:round/>
                <a:headEnd/>
                <a:tailEnd/>
              </a:ln>
            </p:spPr>
            <p:txBody>
              <a:bodyPr/>
              <a:lstStyle/>
              <a:p>
                <a:endParaRPr lang="da-DK" sz="2800" b="1"/>
              </a:p>
            </p:txBody>
          </p:sp>
          <p:sp>
            <p:nvSpPr>
              <p:cNvPr id="78" name="Freeform 6098">
                <a:extLst>
                  <a:ext uri="{FF2B5EF4-FFF2-40B4-BE49-F238E27FC236}">
                    <a16:creationId xmlns:a16="http://schemas.microsoft.com/office/drawing/2014/main" id="{D25A625D-F7FE-4159-A74F-662B97F63E87}"/>
                  </a:ext>
                </a:extLst>
              </p:cNvPr>
              <p:cNvSpPr>
                <a:spLocks/>
              </p:cNvSpPr>
              <p:nvPr/>
            </p:nvSpPr>
            <p:spPr bwMode="auto">
              <a:xfrm>
                <a:off x="1668780" y="1211263"/>
                <a:ext cx="63500" cy="43180"/>
              </a:xfrm>
              <a:custGeom>
                <a:avLst/>
                <a:gdLst/>
                <a:ahLst/>
                <a:cxnLst>
                  <a:cxn ang="0">
                    <a:pos x="46" y="2"/>
                  </a:cxn>
                  <a:cxn ang="0">
                    <a:pos x="46" y="2"/>
                  </a:cxn>
                  <a:cxn ang="0">
                    <a:pos x="32" y="4"/>
                  </a:cxn>
                  <a:cxn ang="0">
                    <a:pos x="20" y="6"/>
                  </a:cxn>
                  <a:cxn ang="0">
                    <a:pos x="10" y="10"/>
                  </a:cxn>
                  <a:cxn ang="0">
                    <a:pos x="4" y="12"/>
                  </a:cxn>
                  <a:cxn ang="0">
                    <a:pos x="0" y="16"/>
                  </a:cxn>
                  <a:cxn ang="0">
                    <a:pos x="0" y="20"/>
                  </a:cxn>
                  <a:cxn ang="0">
                    <a:pos x="2" y="22"/>
                  </a:cxn>
                  <a:cxn ang="0">
                    <a:pos x="8" y="24"/>
                  </a:cxn>
                  <a:cxn ang="0">
                    <a:pos x="8" y="24"/>
                  </a:cxn>
                  <a:cxn ang="0">
                    <a:pos x="20" y="28"/>
                  </a:cxn>
                  <a:cxn ang="0">
                    <a:pos x="28" y="32"/>
                  </a:cxn>
                  <a:cxn ang="0">
                    <a:pos x="32" y="36"/>
                  </a:cxn>
                  <a:cxn ang="0">
                    <a:pos x="34" y="40"/>
                  </a:cxn>
                  <a:cxn ang="0">
                    <a:pos x="34" y="40"/>
                  </a:cxn>
                  <a:cxn ang="0">
                    <a:pos x="38" y="46"/>
                  </a:cxn>
                  <a:cxn ang="0">
                    <a:pos x="44" y="50"/>
                  </a:cxn>
                  <a:cxn ang="0">
                    <a:pos x="54" y="56"/>
                  </a:cxn>
                  <a:cxn ang="0">
                    <a:pos x="64" y="66"/>
                  </a:cxn>
                  <a:cxn ang="0">
                    <a:pos x="64" y="66"/>
                  </a:cxn>
                  <a:cxn ang="0">
                    <a:pos x="68" y="68"/>
                  </a:cxn>
                  <a:cxn ang="0">
                    <a:pos x="70" y="68"/>
                  </a:cxn>
                  <a:cxn ang="0">
                    <a:pos x="70" y="66"/>
                  </a:cxn>
                  <a:cxn ang="0">
                    <a:pos x="70" y="66"/>
                  </a:cxn>
                  <a:cxn ang="0">
                    <a:pos x="70" y="62"/>
                  </a:cxn>
                  <a:cxn ang="0">
                    <a:pos x="74" y="60"/>
                  </a:cxn>
                  <a:cxn ang="0">
                    <a:pos x="80" y="56"/>
                  </a:cxn>
                  <a:cxn ang="0">
                    <a:pos x="86" y="48"/>
                  </a:cxn>
                  <a:cxn ang="0">
                    <a:pos x="86" y="48"/>
                  </a:cxn>
                  <a:cxn ang="0">
                    <a:pos x="100" y="26"/>
                  </a:cxn>
                  <a:cxn ang="0">
                    <a:pos x="100" y="20"/>
                  </a:cxn>
                  <a:cxn ang="0">
                    <a:pos x="100" y="16"/>
                  </a:cxn>
                  <a:cxn ang="0">
                    <a:pos x="98" y="14"/>
                  </a:cxn>
                  <a:cxn ang="0">
                    <a:pos x="94" y="10"/>
                  </a:cxn>
                  <a:cxn ang="0">
                    <a:pos x="94" y="10"/>
                  </a:cxn>
                  <a:cxn ang="0">
                    <a:pos x="86" y="6"/>
                  </a:cxn>
                  <a:cxn ang="0">
                    <a:pos x="80" y="2"/>
                  </a:cxn>
                  <a:cxn ang="0">
                    <a:pos x="70" y="0"/>
                  </a:cxn>
                  <a:cxn ang="0">
                    <a:pos x="46" y="2"/>
                  </a:cxn>
                  <a:cxn ang="0">
                    <a:pos x="46" y="2"/>
                  </a:cxn>
                </a:cxnLst>
                <a:rect l="0" t="0" r="r" b="b"/>
                <a:pathLst>
                  <a:path w="100" h="68">
                    <a:moveTo>
                      <a:pt x="46" y="2"/>
                    </a:moveTo>
                    <a:lnTo>
                      <a:pt x="46" y="2"/>
                    </a:lnTo>
                    <a:lnTo>
                      <a:pt x="32" y="4"/>
                    </a:lnTo>
                    <a:lnTo>
                      <a:pt x="20" y="6"/>
                    </a:lnTo>
                    <a:lnTo>
                      <a:pt x="10" y="10"/>
                    </a:lnTo>
                    <a:lnTo>
                      <a:pt x="4" y="12"/>
                    </a:lnTo>
                    <a:lnTo>
                      <a:pt x="0" y="16"/>
                    </a:lnTo>
                    <a:lnTo>
                      <a:pt x="0" y="20"/>
                    </a:lnTo>
                    <a:lnTo>
                      <a:pt x="2" y="22"/>
                    </a:lnTo>
                    <a:lnTo>
                      <a:pt x="8" y="24"/>
                    </a:lnTo>
                    <a:lnTo>
                      <a:pt x="8" y="24"/>
                    </a:lnTo>
                    <a:lnTo>
                      <a:pt x="20" y="28"/>
                    </a:lnTo>
                    <a:lnTo>
                      <a:pt x="28" y="32"/>
                    </a:lnTo>
                    <a:lnTo>
                      <a:pt x="32" y="36"/>
                    </a:lnTo>
                    <a:lnTo>
                      <a:pt x="34" y="40"/>
                    </a:lnTo>
                    <a:lnTo>
                      <a:pt x="34" y="40"/>
                    </a:lnTo>
                    <a:lnTo>
                      <a:pt x="38" y="46"/>
                    </a:lnTo>
                    <a:lnTo>
                      <a:pt x="44" y="50"/>
                    </a:lnTo>
                    <a:lnTo>
                      <a:pt x="54" y="56"/>
                    </a:lnTo>
                    <a:lnTo>
                      <a:pt x="64" y="66"/>
                    </a:lnTo>
                    <a:lnTo>
                      <a:pt x="64" y="66"/>
                    </a:lnTo>
                    <a:lnTo>
                      <a:pt x="68" y="68"/>
                    </a:lnTo>
                    <a:lnTo>
                      <a:pt x="70" y="68"/>
                    </a:lnTo>
                    <a:lnTo>
                      <a:pt x="70" y="66"/>
                    </a:lnTo>
                    <a:lnTo>
                      <a:pt x="70" y="66"/>
                    </a:lnTo>
                    <a:lnTo>
                      <a:pt x="70" y="62"/>
                    </a:lnTo>
                    <a:lnTo>
                      <a:pt x="74" y="60"/>
                    </a:lnTo>
                    <a:lnTo>
                      <a:pt x="80" y="56"/>
                    </a:lnTo>
                    <a:lnTo>
                      <a:pt x="86" y="48"/>
                    </a:lnTo>
                    <a:lnTo>
                      <a:pt x="86" y="48"/>
                    </a:lnTo>
                    <a:lnTo>
                      <a:pt x="100" y="26"/>
                    </a:lnTo>
                    <a:lnTo>
                      <a:pt x="100" y="20"/>
                    </a:lnTo>
                    <a:lnTo>
                      <a:pt x="100" y="16"/>
                    </a:lnTo>
                    <a:lnTo>
                      <a:pt x="98" y="14"/>
                    </a:lnTo>
                    <a:lnTo>
                      <a:pt x="94" y="10"/>
                    </a:lnTo>
                    <a:lnTo>
                      <a:pt x="94" y="10"/>
                    </a:lnTo>
                    <a:lnTo>
                      <a:pt x="86" y="6"/>
                    </a:lnTo>
                    <a:lnTo>
                      <a:pt x="80" y="2"/>
                    </a:lnTo>
                    <a:lnTo>
                      <a:pt x="70" y="0"/>
                    </a:lnTo>
                    <a:lnTo>
                      <a:pt x="46" y="2"/>
                    </a:lnTo>
                    <a:lnTo>
                      <a:pt x="46" y="2"/>
                    </a:lnTo>
                    <a:close/>
                  </a:path>
                </a:pathLst>
              </a:custGeom>
              <a:grpFill/>
              <a:ln w="6350">
                <a:noFill/>
                <a:round/>
                <a:headEnd/>
                <a:tailEnd/>
              </a:ln>
            </p:spPr>
            <p:txBody>
              <a:bodyPr/>
              <a:lstStyle/>
              <a:p>
                <a:endParaRPr lang="da-DK" sz="2800" b="1"/>
              </a:p>
            </p:txBody>
          </p:sp>
          <p:sp>
            <p:nvSpPr>
              <p:cNvPr id="79" name="Freeform 6099">
                <a:extLst>
                  <a:ext uri="{FF2B5EF4-FFF2-40B4-BE49-F238E27FC236}">
                    <a16:creationId xmlns:a16="http://schemas.microsoft.com/office/drawing/2014/main" id="{17451151-5DD1-45DA-AC62-2519A45830B9}"/>
                  </a:ext>
                </a:extLst>
              </p:cNvPr>
              <p:cNvSpPr>
                <a:spLocks/>
              </p:cNvSpPr>
              <p:nvPr/>
            </p:nvSpPr>
            <p:spPr bwMode="auto">
              <a:xfrm>
                <a:off x="1733550" y="1088073"/>
                <a:ext cx="48260" cy="10160"/>
              </a:xfrm>
              <a:custGeom>
                <a:avLst/>
                <a:gdLst/>
                <a:ahLst/>
                <a:cxnLst>
                  <a:cxn ang="0">
                    <a:pos x="76" y="2"/>
                  </a:cxn>
                  <a:cxn ang="0">
                    <a:pos x="76" y="2"/>
                  </a:cxn>
                  <a:cxn ang="0">
                    <a:pos x="68" y="0"/>
                  </a:cxn>
                  <a:cxn ang="0">
                    <a:pos x="56" y="0"/>
                  </a:cxn>
                  <a:cxn ang="0">
                    <a:pos x="30" y="2"/>
                  </a:cxn>
                  <a:cxn ang="0">
                    <a:pos x="16" y="6"/>
                  </a:cxn>
                  <a:cxn ang="0">
                    <a:pos x="6" y="8"/>
                  </a:cxn>
                  <a:cxn ang="0">
                    <a:pos x="0" y="12"/>
                  </a:cxn>
                  <a:cxn ang="0">
                    <a:pos x="0" y="14"/>
                  </a:cxn>
                  <a:cxn ang="0">
                    <a:pos x="2" y="16"/>
                  </a:cxn>
                  <a:cxn ang="0">
                    <a:pos x="2" y="16"/>
                  </a:cxn>
                  <a:cxn ang="0">
                    <a:pos x="8" y="16"/>
                  </a:cxn>
                  <a:cxn ang="0">
                    <a:pos x="20" y="16"/>
                  </a:cxn>
                  <a:cxn ang="0">
                    <a:pos x="48" y="14"/>
                  </a:cxn>
                  <a:cxn ang="0">
                    <a:pos x="70" y="8"/>
                  </a:cxn>
                  <a:cxn ang="0">
                    <a:pos x="76" y="4"/>
                  </a:cxn>
                  <a:cxn ang="0">
                    <a:pos x="76" y="2"/>
                  </a:cxn>
                  <a:cxn ang="0">
                    <a:pos x="76" y="2"/>
                  </a:cxn>
                  <a:cxn ang="0">
                    <a:pos x="76" y="2"/>
                  </a:cxn>
                </a:cxnLst>
                <a:rect l="0" t="0" r="r" b="b"/>
                <a:pathLst>
                  <a:path w="76" h="16">
                    <a:moveTo>
                      <a:pt x="76" y="2"/>
                    </a:moveTo>
                    <a:lnTo>
                      <a:pt x="76" y="2"/>
                    </a:lnTo>
                    <a:lnTo>
                      <a:pt x="68" y="0"/>
                    </a:lnTo>
                    <a:lnTo>
                      <a:pt x="56" y="0"/>
                    </a:lnTo>
                    <a:lnTo>
                      <a:pt x="30" y="2"/>
                    </a:lnTo>
                    <a:lnTo>
                      <a:pt x="16" y="6"/>
                    </a:lnTo>
                    <a:lnTo>
                      <a:pt x="6" y="8"/>
                    </a:lnTo>
                    <a:lnTo>
                      <a:pt x="0" y="12"/>
                    </a:lnTo>
                    <a:lnTo>
                      <a:pt x="0" y="14"/>
                    </a:lnTo>
                    <a:lnTo>
                      <a:pt x="2" y="16"/>
                    </a:lnTo>
                    <a:lnTo>
                      <a:pt x="2" y="16"/>
                    </a:lnTo>
                    <a:lnTo>
                      <a:pt x="8" y="16"/>
                    </a:lnTo>
                    <a:lnTo>
                      <a:pt x="20" y="16"/>
                    </a:lnTo>
                    <a:lnTo>
                      <a:pt x="48" y="14"/>
                    </a:lnTo>
                    <a:lnTo>
                      <a:pt x="70" y="8"/>
                    </a:lnTo>
                    <a:lnTo>
                      <a:pt x="76" y="4"/>
                    </a:lnTo>
                    <a:lnTo>
                      <a:pt x="76" y="2"/>
                    </a:lnTo>
                    <a:lnTo>
                      <a:pt x="76" y="2"/>
                    </a:lnTo>
                    <a:lnTo>
                      <a:pt x="76" y="2"/>
                    </a:lnTo>
                    <a:close/>
                  </a:path>
                </a:pathLst>
              </a:custGeom>
              <a:grpFill/>
              <a:ln w="6350">
                <a:noFill/>
                <a:round/>
                <a:headEnd/>
                <a:tailEnd/>
              </a:ln>
            </p:spPr>
            <p:txBody>
              <a:bodyPr/>
              <a:lstStyle/>
              <a:p>
                <a:endParaRPr lang="da-DK" sz="2800" b="1"/>
              </a:p>
            </p:txBody>
          </p:sp>
          <p:sp>
            <p:nvSpPr>
              <p:cNvPr id="80" name="Freeform 6100">
                <a:extLst>
                  <a:ext uri="{FF2B5EF4-FFF2-40B4-BE49-F238E27FC236}">
                    <a16:creationId xmlns:a16="http://schemas.microsoft.com/office/drawing/2014/main" id="{A7A9D80A-4399-4984-9CB6-9FD91A6834CF}"/>
                  </a:ext>
                </a:extLst>
              </p:cNvPr>
              <p:cNvSpPr>
                <a:spLocks/>
              </p:cNvSpPr>
              <p:nvPr/>
            </p:nvSpPr>
            <p:spPr bwMode="auto">
              <a:xfrm>
                <a:off x="1723390" y="1129983"/>
                <a:ext cx="30480" cy="20320"/>
              </a:xfrm>
              <a:custGeom>
                <a:avLst/>
                <a:gdLst/>
                <a:ahLst/>
                <a:cxnLst>
                  <a:cxn ang="0">
                    <a:pos x="0" y="20"/>
                  </a:cxn>
                  <a:cxn ang="0">
                    <a:pos x="0" y="20"/>
                  </a:cxn>
                  <a:cxn ang="0">
                    <a:pos x="0" y="22"/>
                  </a:cxn>
                  <a:cxn ang="0">
                    <a:pos x="2" y="26"/>
                  </a:cxn>
                  <a:cxn ang="0">
                    <a:pos x="8" y="30"/>
                  </a:cxn>
                  <a:cxn ang="0">
                    <a:pos x="16" y="32"/>
                  </a:cxn>
                  <a:cxn ang="0">
                    <a:pos x="26" y="32"/>
                  </a:cxn>
                  <a:cxn ang="0">
                    <a:pos x="34" y="30"/>
                  </a:cxn>
                  <a:cxn ang="0">
                    <a:pos x="42" y="28"/>
                  </a:cxn>
                  <a:cxn ang="0">
                    <a:pos x="46" y="22"/>
                  </a:cxn>
                  <a:cxn ang="0">
                    <a:pos x="48" y="20"/>
                  </a:cxn>
                  <a:cxn ang="0">
                    <a:pos x="48" y="18"/>
                  </a:cxn>
                  <a:cxn ang="0">
                    <a:pos x="48" y="18"/>
                  </a:cxn>
                  <a:cxn ang="0">
                    <a:pos x="44" y="12"/>
                  </a:cxn>
                  <a:cxn ang="0">
                    <a:pos x="38" y="6"/>
                  </a:cxn>
                  <a:cxn ang="0">
                    <a:pos x="30" y="2"/>
                  </a:cxn>
                  <a:cxn ang="0">
                    <a:pos x="22" y="0"/>
                  </a:cxn>
                  <a:cxn ang="0">
                    <a:pos x="14" y="0"/>
                  </a:cxn>
                  <a:cxn ang="0">
                    <a:pos x="6" y="2"/>
                  </a:cxn>
                  <a:cxn ang="0">
                    <a:pos x="2" y="8"/>
                  </a:cxn>
                  <a:cxn ang="0">
                    <a:pos x="0" y="20"/>
                  </a:cxn>
                  <a:cxn ang="0">
                    <a:pos x="0" y="20"/>
                  </a:cxn>
                </a:cxnLst>
                <a:rect l="0" t="0" r="r" b="b"/>
                <a:pathLst>
                  <a:path w="48" h="32">
                    <a:moveTo>
                      <a:pt x="0" y="20"/>
                    </a:moveTo>
                    <a:lnTo>
                      <a:pt x="0" y="20"/>
                    </a:lnTo>
                    <a:lnTo>
                      <a:pt x="0" y="22"/>
                    </a:lnTo>
                    <a:lnTo>
                      <a:pt x="2" y="26"/>
                    </a:lnTo>
                    <a:lnTo>
                      <a:pt x="8" y="30"/>
                    </a:lnTo>
                    <a:lnTo>
                      <a:pt x="16" y="32"/>
                    </a:lnTo>
                    <a:lnTo>
                      <a:pt x="26" y="32"/>
                    </a:lnTo>
                    <a:lnTo>
                      <a:pt x="34" y="30"/>
                    </a:lnTo>
                    <a:lnTo>
                      <a:pt x="42" y="28"/>
                    </a:lnTo>
                    <a:lnTo>
                      <a:pt x="46" y="22"/>
                    </a:lnTo>
                    <a:lnTo>
                      <a:pt x="48" y="20"/>
                    </a:lnTo>
                    <a:lnTo>
                      <a:pt x="48" y="18"/>
                    </a:lnTo>
                    <a:lnTo>
                      <a:pt x="48" y="18"/>
                    </a:lnTo>
                    <a:lnTo>
                      <a:pt x="44" y="12"/>
                    </a:lnTo>
                    <a:lnTo>
                      <a:pt x="38" y="6"/>
                    </a:lnTo>
                    <a:lnTo>
                      <a:pt x="30" y="2"/>
                    </a:lnTo>
                    <a:lnTo>
                      <a:pt x="22" y="0"/>
                    </a:lnTo>
                    <a:lnTo>
                      <a:pt x="14" y="0"/>
                    </a:lnTo>
                    <a:lnTo>
                      <a:pt x="6" y="2"/>
                    </a:lnTo>
                    <a:lnTo>
                      <a:pt x="2" y="8"/>
                    </a:lnTo>
                    <a:lnTo>
                      <a:pt x="0" y="20"/>
                    </a:lnTo>
                    <a:lnTo>
                      <a:pt x="0" y="20"/>
                    </a:lnTo>
                    <a:close/>
                  </a:path>
                </a:pathLst>
              </a:custGeom>
              <a:grpFill/>
              <a:ln w="6350">
                <a:noFill/>
                <a:round/>
                <a:headEnd/>
                <a:tailEnd/>
              </a:ln>
            </p:spPr>
            <p:txBody>
              <a:bodyPr/>
              <a:lstStyle/>
              <a:p>
                <a:endParaRPr lang="da-DK" sz="2800" b="1"/>
              </a:p>
            </p:txBody>
          </p:sp>
          <p:sp>
            <p:nvSpPr>
              <p:cNvPr id="81" name="Freeform 6101">
                <a:extLst>
                  <a:ext uri="{FF2B5EF4-FFF2-40B4-BE49-F238E27FC236}">
                    <a16:creationId xmlns:a16="http://schemas.microsoft.com/office/drawing/2014/main" id="{6FAC2903-A85A-46F6-A0C6-370C22CB6C46}"/>
                  </a:ext>
                </a:extLst>
              </p:cNvPr>
              <p:cNvSpPr>
                <a:spLocks/>
              </p:cNvSpPr>
              <p:nvPr/>
            </p:nvSpPr>
            <p:spPr bwMode="auto">
              <a:xfrm>
                <a:off x="1728470" y="1065213"/>
                <a:ext cx="44450" cy="21590"/>
              </a:xfrm>
              <a:custGeom>
                <a:avLst/>
                <a:gdLst/>
                <a:ahLst/>
                <a:cxnLst>
                  <a:cxn ang="0">
                    <a:pos x="62" y="18"/>
                  </a:cxn>
                  <a:cxn ang="0">
                    <a:pos x="62" y="18"/>
                  </a:cxn>
                  <a:cxn ang="0">
                    <a:pos x="52" y="16"/>
                  </a:cxn>
                  <a:cxn ang="0">
                    <a:pos x="44" y="14"/>
                  </a:cxn>
                  <a:cxn ang="0">
                    <a:pos x="34" y="6"/>
                  </a:cxn>
                  <a:cxn ang="0">
                    <a:pos x="30" y="2"/>
                  </a:cxn>
                  <a:cxn ang="0">
                    <a:pos x="24" y="0"/>
                  </a:cxn>
                  <a:cxn ang="0">
                    <a:pos x="18" y="2"/>
                  </a:cxn>
                  <a:cxn ang="0">
                    <a:pos x="8" y="6"/>
                  </a:cxn>
                  <a:cxn ang="0">
                    <a:pos x="8" y="6"/>
                  </a:cxn>
                  <a:cxn ang="0">
                    <a:pos x="2" y="8"/>
                  </a:cxn>
                  <a:cxn ang="0">
                    <a:pos x="0" y="12"/>
                  </a:cxn>
                  <a:cxn ang="0">
                    <a:pos x="2" y="18"/>
                  </a:cxn>
                  <a:cxn ang="0">
                    <a:pos x="8" y="28"/>
                  </a:cxn>
                  <a:cxn ang="0">
                    <a:pos x="8" y="28"/>
                  </a:cxn>
                  <a:cxn ang="0">
                    <a:pos x="12" y="30"/>
                  </a:cxn>
                  <a:cxn ang="0">
                    <a:pos x="16" y="32"/>
                  </a:cxn>
                  <a:cxn ang="0">
                    <a:pos x="26" y="34"/>
                  </a:cxn>
                  <a:cxn ang="0">
                    <a:pos x="40" y="32"/>
                  </a:cxn>
                  <a:cxn ang="0">
                    <a:pos x="52" y="30"/>
                  </a:cxn>
                  <a:cxn ang="0">
                    <a:pos x="62" y="28"/>
                  </a:cxn>
                  <a:cxn ang="0">
                    <a:pos x="68" y="24"/>
                  </a:cxn>
                  <a:cxn ang="0">
                    <a:pos x="70" y="22"/>
                  </a:cxn>
                  <a:cxn ang="0">
                    <a:pos x="70" y="20"/>
                  </a:cxn>
                  <a:cxn ang="0">
                    <a:pos x="62" y="18"/>
                  </a:cxn>
                  <a:cxn ang="0">
                    <a:pos x="62" y="18"/>
                  </a:cxn>
                </a:cxnLst>
                <a:rect l="0" t="0" r="r" b="b"/>
                <a:pathLst>
                  <a:path w="70" h="34">
                    <a:moveTo>
                      <a:pt x="62" y="18"/>
                    </a:moveTo>
                    <a:lnTo>
                      <a:pt x="62" y="18"/>
                    </a:lnTo>
                    <a:lnTo>
                      <a:pt x="52" y="16"/>
                    </a:lnTo>
                    <a:lnTo>
                      <a:pt x="44" y="14"/>
                    </a:lnTo>
                    <a:lnTo>
                      <a:pt x="34" y="6"/>
                    </a:lnTo>
                    <a:lnTo>
                      <a:pt x="30" y="2"/>
                    </a:lnTo>
                    <a:lnTo>
                      <a:pt x="24" y="0"/>
                    </a:lnTo>
                    <a:lnTo>
                      <a:pt x="18" y="2"/>
                    </a:lnTo>
                    <a:lnTo>
                      <a:pt x="8" y="6"/>
                    </a:lnTo>
                    <a:lnTo>
                      <a:pt x="8" y="6"/>
                    </a:lnTo>
                    <a:lnTo>
                      <a:pt x="2" y="8"/>
                    </a:lnTo>
                    <a:lnTo>
                      <a:pt x="0" y="12"/>
                    </a:lnTo>
                    <a:lnTo>
                      <a:pt x="2" y="18"/>
                    </a:lnTo>
                    <a:lnTo>
                      <a:pt x="8" y="28"/>
                    </a:lnTo>
                    <a:lnTo>
                      <a:pt x="8" y="28"/>
                    </a:lnTo>
                    <a:lnTo>
                      <a:pt x="12" y="30"/>
                    </a:lnTo>
                    <a:lnTo>
                      <a:pt x="16" y="32"/>
                    </a:lnTo>
                    <a:lnTo>
                      <a:pt x="26" y="34"/>
                    </a:lnTo>
                    <a:lnTo>
                      <a:pt x="40" y="32"/>
                    </a:lnTo>
                    <a:lnTo>
                      <a:pt x="52" y="30"/>
                    </a:lnTo>
                    <a:lnTo>
                      <a:pt x="62" y="28"/>
                    </a:lnTo>
                    <a:lnTo>
                      <a:pt x="68" y="24"/>
                    </a:lnTo>
                    <a:lnTo>
                      <a:pt x="70" y="22"/>
                    </a:lnTo>
                    <a:lnTo>
                      <a:pt x="70" y="20"/>
                    </a:lnTo>
                    <a:lnTo>
                      <a:pt x="62" y="18"/>
                    </a:lnTo>
                    <a:lnTo>
                      <a:pt x="62" y="18"/>
                    </a:lnTo>
                    <a:close/>
                  </a:path>
                </a:pathLst>
              </a:custGeom>
              <a:grpFill/>
              <a:ln w="6350">
                <a:noFill/>
                <a:round/>
                <a:headEnd/>
                <a:tailEnd/>
              </a:ln>
            </p:spPr>
            <p:txBody>
              <a:bodyPr/>
              <a:lstStyle/>
              <a:p>
                <a:endParaRPr lang="da-DK" sz="2800" b="1"/>
              </a:p>
            </p:txBody>
          </p:sp>
          <p:sp>
            <p:nvSpPr>
              <p:cNvPr id="82" name="Freeform 6102">
                <a:extLst>
                  <a:ext uri="{FF2B5EF4-FFF2-40B4-BE49-F238E27FC236}">
                    <a16:creationId xmlns:a16="http://schemas.microsoft.com/office/drawing/2014/main" id="{53E1AC9E-48DD-4553-8402-45B8BF1DBCB6}"/>
                  </a:ext>
                </a:extLst>
              </p:cNvPr>
              <p:cNvSpPr>
                <a:spLocks/>
              </p:cNvSpPr>
              <p:nvPr/>
            </p:nvSpPr>
            <p:spPr bwMode="auto">
              <a:xfrm>
                <a:off x="1922780" y="1048703"/>
                <a:ext cx="449580" cy="129540"/>
              </a:xfrm>
              <a:custGeom>
                <a:avLst/>
                <a:gdLst/>
                <a:ahLst/>
                <a:cxnLst>
                  <a:cxn ang="0">
                    <a:pos x="342" y="198"/>
                  </a:cxn>
                  <a:cxn ang="0">
                    <a:pos x="406" y="202"/>
                  </a:cxn>
                  <a:cxn ang="0">
                    <a:pos x="530" y="198"/>
                  </a:cxn>
                  <a:cxn ang="0">
                    <a:pos x="560" y="176"/>
                  </a:cxn>
                  <a:cxn ang="0">
                    <a:pos x="566" y="188"/>
                  </a:cxn>
                  <a:cxn ang="0">
                    <a:pos x="624" y="200"/>
                  </a:cxn>
                  <a:cxn ang="0">
                    <a:pos x="680" y="190"/>
                  </a:cxn>
                  <a:cxn ang="0">
                    <a:pos x="688" y="174"/>
                  </a:cxn>
                  <a:cxn ang="0">
                    <a:pos x="708" y="168"/>
                  </a:cxn>
                  <a:cxn ang="0">
                    <a:pos x="694" y="158"/>
                  </a:cxn>
                  <a:cxn ang="0">
                    <a:pos x="700" y="144"/>
                  </a:cxn>
                  <a:cxn ang="0">
                    <a:pos x="700" y="126"/>
                  </a:cxn>
                  <a:cxn ang="0">
                    <a:pos x="672" y="110"/>
                  </a:cxn>
                  <a:cxn ang="0">
                    <a:pos x="642" y="104"/>
                  </a:cxn>
                  <a:cxn ang="0">
                    <a:pos x="600" y="96"/>
                  </a:cxn>
                  <a:cxn ang="0">
                    <a:pos x="480" y="110"/>
                  </a:cxn>
                  <a:cxn ang="0">
                    <a:pos x="442" y="126"/>
                  </a:cxn>
                  <a:cxn ang="0">
                    <a:pos x="416" y="122"/>
                  </a:cxn>
                  <a:cxn ang="0">
                    <a:pos x="374" y="120"/>
                  </a:cxn>
                  <a:cxn ang="0">
                    <a:pos x="346" y="114"/>
                  </a:cxn>
                  <a:cxn ang="0">
                    <a:pos x="330" y="110"/>
                  </a:cxn>
                  <a:cxn ang="0">
                    <a:pos x="324" y="124"/>
                  </a:cxn>
                  <a:cxn ang="0">
                    <a:pos x="310" y="116"/>
                  </a:cxn>
                  <a:cxn ang="0">
                    <a:pos x="310" y="102"/>
                  </a:cxn>
                  <a:cxn ang="0">
                    <a:pos x="294" y="84"/>
                  </a:cxn>
                  <a:cxn ang="0">
                    <a:pos x="268" y="84"/>
                  </a:cxn>
                  <a:cxn ang="0">
                    <a:pos x="262" y="76"/>
                  </a:cxn>
                  <a:cxn ang="0">
                    <a:pos x="308" y="74"/>
                  </a:cxn>
                  <a:cxn ang="0">
                    <a:pos x="316" y="66"/>
                  </a:cxn>
                  <a:cxn ang="0">
                    <a:pos x="278" y="52"/>
                  </a:cxn>
                  <a:cxn ang="0">
                    <a:pos x="240" y="34"/>
                  </a:cxn>
                  <a:cxn ang="0">
                    <a:pos x="182" y="36"/>
                  </a:cxn>
                  <a:cxn ang="0">
                    <a:pos x="154" y="30"/>
                  </a:cxn>
                  <a:cxn ang="0">
                    <a:pos x="124" y="10"/>
                  </a:cxn>
                  <a:cxn ang="0">
                    <a:pos x="78" y="6"/>
                  </a:cxn>
                  <a:cxn ang="0">
                    <a:pos x="10" y="0"/>
                  </a:cxn>
                  <a:cxn ang="0">
                    <a:pos x="2" y="12"/>
                  </a:cxn>
                  <a:cxn ang="0">
                    <a:pos x="18" y="32"/>
                  </a:cxn>
                  <a:cxn ang="0">
                    <a:pos x="58" y="52"/>
                  </a:cxn>
                  <a:cxn ang="0">
                    <a:pos x="66" y="66"/>
                  </a:cxn>
                  <a:cxn ang="0">
                    <a:pos x="112" y="66"/>
                  </a:cxn>
                  <a:cxn ang="0">
                    <a:pos x="160" y="60"/>
                  </a:cxn>
                  <a:cxn ang="0">
                    <a:pos x="186" y="84"/>
                  </a:cxn>
                  <a:cxn ang="0">
                    <a:pos x="202" y="98"/>
                  </a:cxn>
                  <a:cxn ang="0">
                    <a:pos x="194" y="120"/>
                  </a:cxn>
                  <a:cxn ang="0">
                    <a:pos x="186" y="142"/>
                  </a:cxn>
                  <a:cxn ang="0">
                    <a:pos x="198" y="154"/>
                  </a:cxn>
                  <a:cxn ang="0">
                    <a:pos x="206" y="182"/>
                  </a:cxn>
                  <a:cxn ang="0">
                    <a:pos x="232" y="190"/>
                  </a:cxn>
                  <a:cxn ang="0">
                    <a:pos x="250" y="186"/>
                  </a:cxn>
                  <a:cxn ang="0">
                    <a:pos x="282" y="198"/>
                  </a:cxn>
                  <a:cxn ang="0">
                    <a:pos x="326" y="188"/>
                  </a:cxn>
                  <a:cxn ang="0">
                    <a:pos x="342" y="188"/>
                  </a:cxn>
                </a:cxnLst>
                <a:rect l="0" t="0" r="r" b="b"/>
                <a:pathLst>
                  <a:path w="708" h="204">
                    <a:moveTo>
                      <a:pt x="342" y="188"/>
                    </a:moveTo>
                    <a:lnTo>
                      <a:pt x="342" y="188"/>
                    </a:lnTo>
                    <a:lnTo>
                      <a:pt x="342" y="196"/>
                    </a:lnTo>
                    <a:lnTo>
                      <a:pt x="342" y="198"/>
                    </a:lnTo>
                    <a:lnTo>
                      <a:pt x="344" y="200"/>
                    </a:lnTo>
                    <a:lnTo>
                      <a:pt x="352" y="202"/>
                    </a:lnTo>
                    <a:lnTo>
                      <a:pt x="364" y="204"/>
                    </a:lnTo>
                    <a:lnTo>
                      <a:pt x="406" y="202"/>
                    </a:lnTo>
                    <a:lnTo>
                      <a:pt x="472" y="202"/>
                    </a:lnTo>
                    <a:lnTo>
                      <a:pt x="472" y="202"/>
                    </a:lnTo>
                    <a:lnTo>
                      <a:pt x="506" y="202"/>
                    </a:lnTo>
                    <a:lnTo>
                      <a:pt x="530" y="198"/>
                    </a:lnTo>
                    <a:lnTo>
                      <a:pt x="546" y="192"/>
                    </a:lnTo>
                    <a:lnTo>
                      <a:pt x="554" y="186"/>
                    </a:lnTo>
                    <a:lnTo>
                      <a:pt x="558" y="180"/>
                    </a:lnTo>
                    <a:lnTo>
                      <a:pt x="560" y="176"/>
                    </a:lnTo>
                    <a:lnTo>
                      <a:pt x="562" y="178"/>
                    </a:lnTo>
                    <a:lnTo>
                      <a:pt x="562" y="184"/>
                    </a:lnTo>
                    <a:lnTo>
                      <a:pt x="562" y="184"/>
                    </a:lnTo>
                    <a:lnTo>
                      <a:pt x="566" y="188"/>
                    </a:lnTo>
                    <a:lnTo>
                      <a:pt x="570" y="190"/>
                    </a:lnTo>
                    <a:lnTo>
                      <a:pt x="584" y="196"/>
                    </a:lnTo>
                    <a:lnTo>
                      <a:pt x="604" y="200"/>
                    </a:lnTo>
                    <a:lnTo>
                      <a:pt x="624" y="200"/>
                    </a:lnTo>
                    <a:lnTo>
                      <a:pt x="646" y="200"/>
                    </a:lnTo>
                    <a:lnTo>
                      <a:pt x="664" y="198"/>
                    </a:lnTo>
                    <a:lnTo>
                      <a:pt x="676" y="192"/>
                    </a:lnTo>
                    <a:lnTo>
                      <a:pt x="680" y="190"/>
                    </a:lnTo>
                    <a:lnTo>
                      <a:pt x="682" y="186"/>
                    </a:lnTo>
                    <a:lnTo>
                      <a:pt x="682" y="186"/>
                    </a:lnTo>
                    <a:lnTo>
                      <a:pt x="684" y="178"/>
                    </a:lnTo>
                    <a:lnTo>
                      <a:pt x="688" y="174"/>
                    </a:lnTo>
                    <a:lnTo>
                      <a:pt x="694" y="172"/>
                    </a:lnTo>
                    <a:lnTo>
                      <a:pt x="700" y="170"/>
                    </a:lnTo>
                    <a:lnTo>
                      <a:pt x="706" y="168"/>
                    </a:lnTo>
                    <a:lnTo>
                      <a:pt x="708" y="168"/>
                    </a:lnTo>
                    <a:lnTo>
                      <a:pt x="708" y="166"/>
                    </a:lnTo>
                    <a:lnTo>
                      <a:pt x="700" y="162"/>
                    </a:lnTo>
                    <a:lnTo>
                      <a:pt x="700" y="162"/>
                    </a:lnTo>
                    <a:lnTo>
                      <a:pt x="694" y="158"/>
                    </a:lnTo>
                    <a:lnTo>
                      <a:pt x="690" y="154"/>
                    </a:lnTo>
                    <a:lnTo>
                      <a:pt x="692" y="152"/>
                    </a:lnTo>
                    <a:lnTo>
                      <a:pt x="696" y="148"/>
                    </a:lnTo>
                    <a:lnTo>
                      <a:pt x="700" y="144"/>
                    </a:lnTo>
                    <a:lnTo>
                      <a:pt x="702" y="140"/>
                    </a:lnTo>
                    <a:lnTo>
                      <a:pt x="704" y="134"/>
                    </a:lnTo>
                    <a:lnTo>
                      <a:pt x="700" y="126"/>
                    </a:lnTo>
                    <a:lnTo>
                      <a:pt x="700" y="126"/>
                    </a:lnTo>
                    <a:lnTo>
                      <a:pt x="694" y="118"/>
                    </a:lnTo>
                    <a:lnTo>
                      <a:pt x="688" y="114"/>
                    </a:lnTo>
                    <a:lnTo>
                      <a:pt x="680" y="112"/>
                    </a:lnTo>
                    <a:lnTo>
                      <a:pt x="672" y="110"/>
                    </a:lnTo>
                    <a:lnTo>
                      <a:pt x="654" y="110"/>
                    </a:lnTo>
                    <a:lnTo>
                      <a:pt x="648" y="108"/>
                    </a:lnTo>
                    <a:lnTo>
                      <a:pt x="642" y="104"/>
                    </a:lnTo>
                    <a:lnTo>
                      <a:pt x="642" y="104"/>
                    </a:lnTo>
                    <a:lnTo>
                      <a:pt x="636" y="98"/>
                    </a:lnTo>
                    <a:lnTo>
                      <a:pt x="626" y="96"/>
                    </a:lnTo>
                    <a:lnTo>
                      <a:pt x="614" y="94"/>
                    </a:lnTo>
                    <a:lnTo>
                      <a:pt x="600" y="96"/>
                    </a:lnTo>
                    <a:lnTo>
                      <a:pt x="560" y="98"/>
                    </a:lnTo>
                    <a:lnTo>
                      <a:pt x="506" y="106"/>
                    </a:lnTo>
                    <a:lnTo>
                      <a:pt x="506" y="106"/>
                    </a:lnTo>
                    <a:lnTo>
                      <a:pt x="480" y="110"/>
                    </a:lnTo>
                    <a:lnTo>
                      <a:pt x="464" y="114"/>
                    </a:lnTo>
                    <a:lnTo>
                      <a:pt x="454" y="120"/>
                    </a:lnTo>
                    <a:lnTo>
                      <a:pt x="446" y="124"/>
                    </a:lnTo>
                    <a:lnTo>
                      <a:pt x="442" y="126"/>
                    </a:lnTo>
                    <a:lnTo>
                      <a:pt x="438" y="128"/>
                    </a:lnTo>
                    <a:lnTo>
                      <a:pt x="430" y="126"/>
                    </a:lnTo>
                    <a:lnTo>
                      <a:pt x="416" y="122"/>
                    </a:lnTo>
                    <a:lnTo>
                      <a:pt x="416" y="122"/>
                    </a:lnTo>
                    <a:lnTo>
                      <a:pt x="402" y="118"/>
                    </a:lnTo>
                    <a:lnTo>
                      <a:pt x="390" y="118"/>
                    </a:lnTo>
                    <a:lnTo>
                      <a:pt x="382" y="118"/>
                    </a:lnTo>
                    <a:lnTo>
                      <a:pt x="374" y="120"/>
                    </a:lnTo>
                    <a:lnTo>
                      <a:pt x="368" y="122"/>
                    </a:lnTo>
                    <a:lnTo>
                      <a:pt x="362" y="122"/>
                    </a:lnTo>
                    <a:lnTo>
                      <a:pt x="354" y="120"/>
                    </a:lnTo>
                    <a:lnTo>
                      <a:pt x="346" y="114"/>
                    </a:lnTo>
                    <a:lnTo>
                      <a:pt x="346" y="114"/>
                    </a:lnTo>
                    <a:lnTo>
                      <a:pt x="338" y="110"/>
                    </a:lnTo>
                    <a:lnTo>
                      <a:pt x="332" y="108"/>
                    </a:lnTo>
                    <a:lnTo>
                      <a:pt x="330" y="110"/>
                    </a:lnTo>
                    <a:lnTo>
                      <a:pt x="328" y="114"/>
                    </a:lnTo>
                    <a:lnTo>
                      <a:pt x="328" y="118"/>
                    </a:lnTo>
                    <a:lnTo>
                      <a:pt x="326" y="122"/>
                    </a:lnTo>
                    <a:lnTo>
                      <a:pt x="324" y="124"/>
                    </a:lnTo>
                    <a:lnTo>
                      <a:pt x="318" y="122"/>
                    </a:lnTo>
                    <a:lnTo>
                      <a:pt x="318" y="122"/>
                    </a:lnTo>
                    <a:lnTo>
                      <a:pt x="312" y="118"/>
                    </a:lnTo>
                    <a:lnTo>
                      <a:pt x="310" y="116"/>
                    </a:lnTo>
                    <a:lnTo>
                      <a:pt x="310" y="112"/>
                    </a:lnTo>
                    <a:lnTo>
                      <a:pt x="310" y="110"/>
                    </a:lnTo>
                    <a:lnTo>
                      <a:pt x="312" y="106"/>
                    </a:lnTo>
                    <a:lnTo>
                      <a:pt x="310" y="102"/>
                    </a:lnTo>
                    <a:lnTo>
                      <a:pt x="308" y="96"/>
                    </a:lnTo>
                    <a:lnTo>
                      <a:pt x="300" y="90"/>
                    </a:lnTo>
                    <a:lnTo>
                      <a:pt x="300" y="90"/>
                    </a:lnTo>
                    <a:lnTo>
                      <a:pt x="294" y="84"/>
                    </a:lnTo>
                    <a:lnTo>
                      <a:pt x="286" y="82"/>
                    </a:lnTo>
                    <a:lnTo>
                      <a:pt x="280" y="82"/>
                    </a:lnTo>
                    <a:lnTo>
                      <a:pt x="276" y="82"/>
                    </a:lnTo>
                    <a:lnTo>
                      <a:pt x="268" y="84"/>
                    </a:lnTo>
                    <a:lnTo>
                      <a:pt x="266" y="82"/>
                    </a:lnTo>
                    <a:lnTo>
                      <a:pt x="264" y="78"/>
                    </a:lnTo>
                    <a:lnTo>
                      <a:pt x="264" y="78"/>
                    </a:lnTo>
                    <a:lnTo>
                      <a:pt x="262" y="76"/>
                    </a:lnTo>
                    <a:lnTo>
                      <a:pt x="264" y="74"/>
                    </a:lnTo>
                    <a:lnTo>
                      <a:pt x="270" y="72"/>
                    </a:lnTo>
                    <a:lnTo>
                      <a:pt x="290" y="72"/>
                    </a:lnTo>
                    <a:lnTo>
                      <a:pt x="308" y="74"/>
                    </a:lnTo>
                    <a:lnTo>
                      <a:pt x="314" y="72"/>
                    </a:lnTo>
                    <a:lnTo>
                      <a:pt x="316" y="70"/>
                    </a:lnTo>
                    <a:lnTo>
                      <a:pt x="316" y="66"/>
                    </a:lnTo>
                    <a:lnTo>
                      <a:pt x="316" y="66"/>
                    </a:lnTo>
                    <a:lnTo>
                      <a:pt x="314" y="62"/>
                    </a:lnTo>
                    <a:lnTo>
                      <a:pt x="308" y="58"/>
                    </a:lnTo>
                    <a:lnTo>
                      <a:pt x="296" y="56"/>
                    </a:lnTo>
                    <a:lnTo>
                      <a:pt x="278" y="52"/>
                    </a:lnTo>
                    <a:lnTo>
                      <a:pt x="268" y="48"/>
                    </a:lnTo>
                    <a:lnTo>
                      <a:pt x="258" y="44"/>
                    </a:lnTo>
                    <a:lnTo>
                      <a:pt x="258" y="44"/>
                    </a:lnTo>
                    <a:lnTo>
                      <a:pt x="240" y="34"/>
                    </a:lnTo>
                    <a:lnTo>
                      <a:pt x="232" y="32"/>
                    </a:lnTo>
                    <a:lnTo>
                      <a:pt x="224" y="30"/>
                    </a:lnTo>
                    <a:lnTo>
                      <a:pt x="204" y="32"/>
                    </a:lnTo>
                    <a:lnTo>
                      <a:pt x="182" y="36"/>
                    </a:lnTo>
                    <a:lnTo>
                      <a:pt x="182" y="36"/>
                    </a:lnTo>
                    <a:lnTo>
                      <a:pt x="170" y="36"/>
                    </a:lnTo>
                    <a:lnTo>
                      <a:pt x="162" y="34"/>
                    </a:lnTo>
                    <a:lnTo>
                      <a:pt x="154" y="30"/>
                    </a:lnTo>
                    <a:lnTo>
                      <a:pt x="148" y="24"/>
                    </a:lnTo>
                    <a:lnTo>
                      <a:pt x="136" y="14"/>
                    </a:lnTo>
                    <a:lnTo>
                      <a:pt x="130" y="10"/>
                    </a:lnTo>
                    <a:lnTo>
                      <a:pt x="124" y="10"/>
                    </a:lnTo>
                    <a:lnTo>
                      <a:pt x="124" y="10"/>
                    </a:lnTo>
                    <a:lnTo>
                      <a:pt x="114" y="10"/>
                    </a:lnTo>
                    <a:lnTo>
                      <a:pt x="104" y="10"/>
                    </a:lnTo>
                    <a:lnTo>
                      <a:pt x="78" y="6"/>
                    </a:lnTo>
                    <a:lnTo>
                      <a:pt x="48" y="2"/>
                    </a:lnTo>
                    <a:lnTo>
                      <a:pt x="14" y="0"/>
                    </a:lnTo>
                    <a:lnTo>
                      <a:pt x="14" y="0"/>
                    </a:lnTo>
                    <a:lnTo>
                      <a:pt x="10" y="0"/>
                    </a:lnTo>
                    <a:lnTo>
                      <a:pt x="4" y="2"/>
                    </a:lnTo>
                    <a:lnTo>
                      <a:pt x="2" y="4"/>
                    </a:lnTo>
                    <a:lnTo>
                      <a:pt x="0" y="8"/>
                    </a:lnTo>
                    <a:lnTo>
                      <a:pt x="2" y="12"/>
                    </a:lnTo>
                    <a:lnTo>
                      <a:pt x="4" y="18"/>
                    </a:lnTo>
                    <a:lnTo>
                      <a:pt x="10" y="24"/>
                    </a:lnTo>
                    <a:lnTo>
                      <a:pt x="18" y="32"/>
                    </a:lnTo>
                    <a:lnTo>
                      <a:pt x="18" y="32"/>
                    </a:lnTo>
                    <a:lnTo>
                      <a:pt x="26" y="38"/>
                    </a:lnTo>
                    <a:lnTo>
                      <a:pt x="36" y="42"/>
                    </a:lnTo>
                    <a:lnTo>
                      <a:pt x="50" y="48"/>
                    </a:lnTo>
                    <a:lnTo>
                      <a:pt x="58" y="52"/>
                    </a:lnTo>
                    <a:lnTo>
                      <a:pt x="62" y="56"/>
                    </a:lnTo>
                    <a:lnTo>
                      <a:pt x="62" y="60"/>
                    </a:lnTo>
                    <a:lnTo>
                      <a:pt x="62" y="60"/>
                    </a:lnTo>
                    <a:lnTo>
                      <a:pt x="66" y="66"/>
                    </a:lnTo>
                    <a:lnTo>
                      <a:pt x="70" y="68"/>
                    </a:lnTo>
                    <a:lnTo>
                      <a:pt x="78" y="70"/>
                    </a:lnTo>
                    <a:lnTo>
                      <a:pt x="88" y="70"/>
                    </a:lnTo>
                    <a:lnTo>
                      <a:pt x="112" y="66"/>
                    </a:lnTo>
                    <a:lnTo>
                      <a:pt x="138" y="60"/>
                    </a:lnTo>
                    <a:lnTo>
                      <a:pt x="138" y="60"/>
                    </a:lnTo>
                    <a:lnTo>
                      <a:pt x="150" y="60"/>
                    </a:lnTo>
                    <a:lnTo>
                      <a:pt x="160" y="60"/>
                    </a:lnTo>
                    <a:lnTo>
                      <a:pt x="166" y="62"/>
                    </a:lnTo>
                    <a:lnTo>
                      <a:pt x="170" y="66"/>
                    </a:lnTo>
                    <a:lnTo>
                      <a:pt x="180" y="78"/>
                    </a:lnTo>
                    <a:lnTo>
                      <a:pt x="186" y="84"/>
                    </a:lnTo>
                    <a:lnTo>
                      <a:pt x="194" y="90"/>
                    </a:lnTo>
                    <a:lnTo>
                      <a:pt x="194" y="90"/>
                    </a:lnTo>
                    <a:lnTo>
                      <a:pt x="198" y="94"/>
                    </a:lnTo>
                    <a:lnTo>
                      <a:pt x="202" y="98"/>
                    </a:lnTo>
                    <a:lnTo>
                      <a:pt x="202" y="102"/>
                    </a:lnTo>
                    <a:lnTo>
                      <a:pt x="202" y="106"/>
                    </a:lnTo>
                    <a:lnTo>
                      <a:pt x="200" y="114"/>
                    </a:lnTo>
                    <a:lnTo>
                      <a:pt x="194" y="120"/>
                    </a:lnTo>
                    <a:lnTo>
                      <a:pt x="190" y="128"/>
                    </a:lnTo>
                    <a:lnTo>
                      <a:pt x="186" y="134"/>
                    </a:lnTo>
                    <a:lnTo>
                      <a:pt x="184" y="140"/>
                    </a:lnTo>
                    <a:lnTo>
                      <a:pt x="186" y="142"/>
                    </a:lnTo>
                    <a:lnTo>
                      <a:pt x="190" y="144"/>
                    </a:lnTo>
                    <a:lnTo>
                      <a:pt x="190" y="144"/>
                    </a:lnTo>
                    <a:lnTo>
                      <a:pt x="196" y="150"/>
                    </a:lnTo>
                    <a:lnTo>
                      <a:pt x="198" y="154"/>
                    </a:lnTo>
                    <a:lnTo>
                      <a:pt x="200" y="164"/>
                    </a:lnTo>
                    <a:lnTo>
                      <a:pt x="200" y="170"/>
                    </a:lnTo>
                    <a:lnTo>
                      <a:pt x="202" y="176"/>
                    </a:lnTo>
                    <a:lnTo>
                      <a:pt x="206" y="182"/>
                    </a:lnTo>
                    <a:lnTo>
                      <a:pt x="216" y="186"/>
                    </a:lnTo>
                    <a:lnTo>
                      <a:pt x="216" y="186"/>
                    </a:lnTo>
                    <a:lnTo>
                      <a:pt x="224" y="190"/>
                    </a:lnTo>
                    <a:lnTo>
                      <a:pt x="232" y="190"/>
                    </a:lnTo>
                    <a:lnTo>
                      <a:pt x="236" y="190"/>
                    </a:lnTo>
                    <a:lnTo>
                      <a:pt x="240" y="188"/>
                    </a:lnTo>
                    <a:lnTo>
                      <a:pt x="244" y="186"/>
                    </a:lnTo>
                    <a:lnTo>
                      <a:pt x="250" y="186"/>
                    </a:lnTo>
                    <a:lnTo>
                      <a:pt x="260" y="188"/>
                    </a:lnTo>
                    <a:lnTo>
                      <a:pt x="274" y="194"/>
                    </a:lnTo>
                    <a:lnTo>
                      <a:pt x="274" y="194"/>
                    </a:lnTo>
                    <a:lnTo>
                      <a:pt x="282" y="198"/>
                    </a:lnTo>
                    <a:lnTo>
                      <a:pt x="290" y="198"/>
                    </a:lnTo>
                    <a:lnTo>
                      <a:pt x="304" y="198"/>
                    </a:lnTo>
                    <a:lnTo>
                      <a:pt x="316" y="194"/>
                    </a:lnTo>
                    <a:lnTo>
                      <a:pt x="326" y="188"/>
                    </a:lnTo>
                    <a:lnTo>
                      <a:pt x="340" y="180"/>
                    </a:lnTo>
                    <a:lnTo>
                      <a:pt x="342" y="180"/>
                    </a:lnTo>
                    <a:lnTo>
                      <a:pt x="342" y="180"/>
                    </a:lnTo>
                    <a:lnTo>
                      <a:pt x="342" y="188"/>
                    </a:lnTo>
                    <a:lnTo>
                      <a:pt x="342" y="188"/>
                    </a:lnTo>
                    <a:close/>
                  </a:path>
                </a:pathLst>
              </a:custGeom>
              <a:grpFill/>
              <a:ln w="6350">
                <a:noFill/>
                <a:round/>
                <a:headEnd/>
                <a:tailEnd/>
              </a:ln>
            </p:spPr>
            <p:txBody>
              <a:bodyPr/>
              <a:lstStyle/>
              <a:p>
                <a:endParaRPr lang="da-DK" sz="2800" b="1"/>
              </a:p>
            </p:txBody>
          </p:sp>
          <p:sp>
            <p:nvSpPr>
              <p:cNvPr id="83" name="Freeform 6103">
                <a:extLst>
                  <a:ext uri="{FF2B5EF4-FFF2-40B4-BE49-F238E27FC236}">
                    <a16:creationId xmlns:a16="http://schemas.microsoft.com/office/drawing/2014/main" id="{6F1A44FA-D2CF-4D04-8CF2-B18313E773BB}"/>
                  </a:ext>
                </a:extLst>
              </p:cNvPr>
              <p:cNvSpPr>
                <a:spLocks/>
              </p:cNvSpPr>
              <p:nvPr/>
            </p:nvSpPr>
            <p:spPr bwMode="auto">
              <a:xfrm>
                <a:off x="1936750" y="1119823"/>
                <a:ext cx="81280" cy="49530"/>
              </a:xfrm>
              <a:custGeom>
                <a:avLst/>
                <a:gdLst/>
                <a:ahLst/>
                <a:cxnLst>
                  <a:cxn ang="0">
                    <a:pos x="94" y="78"/>
                  </a:cxn>
                  <a:cxn ang="0">
                    <a:pos x="94" y="78"/>
                  </a:cxn>
                  <a:cxn ang="0">
                    <a:pos x="110" y="76"/>
                  </a:cxn>
                  <a:cxn ang="0">
                    <a:pos x="120" y="72"/>
                  </a:cxn>
                  <a:cxn ang="0">
                    <a:pos x="126" y="66"/>
                  </a:cxn>
                  <a:cxn ang="0">
                    <a:pos x="128" y="58"/>
                  </a:cxn>
                  <a:cxn ang="0">
                    <a:pos x="126" y="48"/>
                  </a:cxn>
                  <a:cxn ang="0">
                    <a:pos x="120" y="38"/>
                  </a:cxn>
                  <a:cxn ang="0">
                    <a:pos x="114" y="28"/>
                  </a:cxn>
                  <a:cxn ang="0">
                    <a:pos x="104" y="16"/>
                  </a:cxn>
                  <a:cxn ang="0">
                    <a:pos x="104" y="16"/>
                  </a:cxn>
                  <a:cxn ang="0">
                    <a:pos x="92" y="8"/>
                  </a:cxn>
                  <a:cxn ang="0">
                    <a:pos x="80" y="2"/>
                  </a:cxn>
                  <a:cxn ang="0">
                    <a:pos x="68" y="0"/>
                  </a:cxn>
                  <a:cxn ang="0">
                    <a:pos x="58" y="0"/>
                  </a:cxn>
                  <a:cxn ang="0">
                    <a:pos x="46" y="2"/>
                  </a:cxn>
                  <a:cxn ang="0">
                    <a:pos x="34" y="8"/>
                  </a:cxn>
                  <a:cxn ang="0">
                    <a:pos x="24" y="14"/>
                  </a:cxn>
                  <a:cxn ang="0">
                    <a:pos x="16" y="24"/>
                  </a:cxn>
                  <a:cxn ang="0">
                    <a:pos x="16" y="24"/>
                  </a:cxn>
                  <a:cxn ang="0">
                    <a:pos x="6" y="36"/>
                  </a:cxn>
                  <a:cxn ang="0">
                    <a:pos x="2" y="42"/>
                  </a:cxn>
                  <a:cxn ang="0">
                    <a:pos x="0" y="48"/>
                  </a:cxn>
                  <a:cxn ang="0">
                    <a:pos x="0" y="52"/>
                  </a:cxn>
                  <a:cxn ang="0">
                    <a:pos x="4" y="56"/>
                  </a:cxn>
                  <a:cxn ang="0">
                    <a:pos x="10" y="58"/>
                  </a:cxn>
                  <a:cxn ang="0">
                    <a:pos x="22" y="60"/>
                  </a:cxn>
                  <a:cxn ang="0">
                    <a:pos x="22" y="60"/>
                  </a:cxn>
                  <a:cxn ang="0">
                    <a:pos x="32" y="62"/>
                  </a:cxn>
                  <a:cxn ang="0">
                    <a:pos x="40" y="64"/>
                  </a:cxn>
                  <a:cxn ang="0">
                    <a:pos x="54" y="70"/>
                  </a:cxn>
                  <a:cxn ang="0">
                    <a:pos x="68" y="76"/>
                  </a:cxn>
                  <a:cxn ang="0">
                    <a:pos x="80" y="76"/>
                  </a:cxn>
                  <a:cxn ang="0">
                    <a:pos x="94" y="78"/>
                  </a:cxn>
                  <a:cxn ang="0">
                    <a:pos x="94" y="78"/>
                  </a:cxn>
                </a:cxnLst>
                <a:rect l="0" t="0" r="r" b="b"/>
                <a:pathLst>
                  <a:path w="128" h="78">
                    <a:moveTo>
                      <a:pt x="94" y="78"/>
                    </a:moveTo>
                    <a:lnTo>
                      <a:pt x="94" y="78"/>
                    </a:lnTo>
                    <a:lnTo>
                      <a:pt x="110" y="76"/>
                    </a:lnTo>
                    <a:lnTo>
                      <a:pt x="120" y="72"/>
                    </a:lnTo>
                    <a:lnTo>
                      <a:pt x="126" y="66"/>
                    </a:lnTo>
                    <a:lnTo>
                      <a:pt x="128" y="58"/>
                    </a:lnTo>
                    <a:lnTo>
                      <a:pt x="126" y="48"/>
                    </a:lnTo>
                    <a:lnTo>
                      <a:pt x="120" y="38"/>
                    </a:lnTo>
                    <a:lnTo>
                      <a:pt x="114" y="28"/>
                    </a:lnTo>
                    <a:lnTo>
                      <a:pt x="104" y="16"/>
                    </a:lnTo>
                    <a:lnTo>
                      <a:pt x="104" y="16"/>
                    </a:lnTo>
                    <a:lnTo>
                      <a:pt x="92" y="8"/>
                    </a:lnTo>
                    <a:lnTo>
                      <a:pt x="80" y="2"/>
                    </a:lnTo>
                    <a:lnTo>
                      <a:pt x="68" y="0"/>
                    </a:lnTo>
                    <a:lnTo>
                      <a:pt x="58" y="0"/>
                    </a:lnTo>
                    <a:lnTo>
                      <a:pt x="46" y="2"/>
                    </a:lnTo>
                    <a:lnTo>
                      <a:pt x="34" y="8"/>
                    </a:lnTo>
                    <a:lnTo>
                      <a:pt x="24" y="14"/>
                    </a:lnTo>
                    <a:lnTo>
                      <a:pt x="16" y="24"/>
                    </a:lnTo>
                    <a:lnTo>
                      <a:pt x="16" y="24"/>
                    </a:lnTo>
                    <a:lnTo>
                      <a:pt x="6" y="36"/>
                    </a:lnTo>
                    <a:lnTo>
                      <a:pt x="2" y="42"/>
                    </a:lnTo>
                    <a:lnTo>
                      <a:pt x="0" y="48"/>
                    </a:lnTo>
                    <a:lnTo>
                      <a:pt x="0" y="52"/>
                    </a:lnTo>
                    <a:lnTo>
                      <a:pt x="4" y="56"/>
                    </a:lnTo>
                    <a:lnTo>
                      <a:pt x="10" y="58"/>
                    </a:lnTo>
                    <a:lnTo>
                      <a:pt x="22" y="60"/>
                    </a:lnTo>
                    <a:lnTo>
                      <a:pt x="22" y="60"/>
                    </a:lnTo>
                    <a:lnTo>
                      <a:pt x="32" y="62"/>
                    </a:lnTo>
                    <a:lnTo>
                      <a:pt x="40" y="64"/>
                    </a:lnTo>
                    <a:lnTo>
                      <a:pt x="54" y="70"/>
                    </a:lnTo>
                    <a:lnTo>
                      <a:pt x="68" y="76"/>
                    </a:lnTo>
                    <a:lnTo>
                      <a:pt x="80" y="76"/>
                    </a:lnTo>
                    <a:lnTo>
                      <a:pt x="94" y="78"/>
                    </a:lnTo>
                    <a:lnTo>
                      <a:pt x="94" y="78"/>
                    </a:lnTo>
                    <a:close/>
                  </a:path>
                </a:pathLst>
              </a:custGeom>
              <a:grpFill/>
              <a:ln w="6350">
                <a:noFill/>
                <a:round/>
                <a:headEnd/>
                <a:tailEnd/>
              </a:ln>
            </p:spPr>
            <p:txBody>
              <a:bodyPr/>
              <a:lstStyle/>
              <a:p>
                <a:endParaRPr lang="da-DK" sz="2800" b="1"/>
              </a:p>
            </p:txBody>
          </p:sp>
          <p:sp>
            <p:nvSpPr>
              <p:cNvPr id="84" name="Freeform 6104">
                <a:extLst>
                  <a:ext uri="{FF2B5EF4-FFF2-40B4-BE49-F238E27FC236}">
                    <a16:creationId xmlns:a16="http://schemas.microsoft.com/office/drawing/2014/main" id="{A763A55E-590D-4FFB-8080-AB692FA5043E}"/>
                  </a:ext>
                </a:extLst>
              </p:cNvPr>
              <p:cNvSpPr>
                <a:spLocks/>
              </p:cNvSpPr>
              <p:nvPr/>
            </p:nvSpPr>
            <p:spPr bwMode="auto">
              <a:xfrm>
                <a:off x="1940560" y="1010603"/>
                <a:ext cx="80010" cy="19050"/>
              </a:xfrm>
              <a:custGeom>
                <a:avLst/>
                <a:gdLst/>
                <a:ahLst/>
                <a:cxnLst>
                  <a:cxn ang="0">
                    <a:pos x="92" y="28"/>
                  </a:cxn>
                  <a:cxn ang="0">
                    <a:pos x="92" y="28"/>
                  </a:cxn>
                  <a:cxn ang="0">
                    <a:pos x="108" y="28"/>
                  </a:cxn>
                  <a:cxn ang="0">
                    <a:pos x="120" y="26"/>
                  </a:cxn>
                  <a:cxn ang="0">
                    <a:pos x="124" y="22"/>
                  </a:cxn>
                  <a:cxn ang="0">
                    <a:pos x="126" y="20"/>
                  </a:cxn>
                  <a:cxn ang="0">
                    <a:pos x="126" y="16"/>
                  </a:cxn>
                  <a:cxn ang="0">
                    <a:pos x="122" y="12"/>
                  </a:cxn>
                  <a:cxn ang="0">
                    <a:pos x="112" y="8"/>
                  </a:cxn>
                  <a:cxn ang="0">
                    <a:pos x="100" y="4"/>
                  </a:cxn>
                  <a:cxn ang="0">
                    <a:pos x="82" y="2"/>
                  </a:cxn>
                  <a:cxn ang="0">
                    <a:pos x="82" y="2"/>
                  </a:cxn>
                  <a:cxn ang="0">
                    <a:pos x="48" y="0"/>
                  </a:cxn>
                  <a:cxn ang="0">
                    <a:pos x="22" y="4"/>
                  </a:cxn>
                  <a:cxn ang="0">
                    <a:pos x="14" y="6"/>
                  </a:cxn>
                  <a:cxn ang="0">
                    <a:pos x="6" y="8"/>
                  </a:cxn>
                  <a:cxn ang="0">
                    <a:pos x="2" y="12"/>
                  </a:cxn>
                  <a:cxn ang="0">
                    <a:pos x="0" y="18"/>
                  </a:cxn>
                  <a:cxn ang="0">
                    <a:pos x="0" y="18"/>
                  </a:cxn>
                  <a:cxn ang="0">
                    <a:pos x="2" y="24"/>
                  </a:cxn>
                  <a:cxn ang="0">
                    <a:pos x="6" y="26"/>
                  </a:cxn>
                  <a:cxn ang="0">
                    <a:pos x="16" y="28"/>
                  </a:cxn>
                  <a:cxn ang="0">
                    <a:pos x="26" y="30"/>
                  </a:cxn>
                  <a:cxn ang="0">
                    <a:pos x="56" y="28"/>
                  </a:cxn>
                  <a:cxn ang="0">
                    <a:pos x="92" y="28"/>
                  </a:cxn>
                  <a:cxn ang="0">
                    <a:pos x="92" y="28"/>
                  </a:cxn>
                </a:cxnLst>
                <a:rect l="0" t="0" r="r" b="b"/>
                <a:pathLst>
                  <a:path w="126" h="30">
                    <a:moveTo>
                      <a:pt x="92" y="28"/>
                    </a:moveTo>
                    <a:lnTo>
                      <a:pt x="92" y="28"/>
                    </a:lnTo>
                    <a:lnTo>
                      <a:pt x="108" y="28"/>
                    </a:lnTo>
                    <a:lnTo>
                      <a:pt x="120" y="26"/>
                    </a:lnTo>
                    <a:lnTo>
                      <a:pt x="124" y="22"/>
                    </a:lnTo>
                    <a:lnTo>
                      <a:pt x="126" y="20"/>
                    </a:lnTo>
                    <a:lnTo>
                      <a:pt x="126" y="16"/>
                    </a:lnTo>
                    <a:lnTo>
                      <a:pt x="122" y="12"/>
                    </a:lnTo>
                    <a:lnTo>
                      <a:pt x="112" y="8"/>
                    </a:lnTo>
                    <a:lnTo>
                      <a:pt x="100" y="4"/>
                    </a:lnTo>
                    <a:lnTo>
                      <a:pt x="82" y="2"/>
                    </a:lnTo>
                    <a:lnTo>
                      <a:pt x="82" y="2"/>
                    </a:lnTo>
                    <a:lnTo>
                      <a:pt x="48" y="0"/>
                    </a:lnTo>
                    <a:lnTo>
                      <a:pt x="22" y="4"/>
                    </a:lnTo>
                    <a:lnTo>
                      <a:pt x="14" y="6"/>
                    </a:lnTo>
                    <a:lnTo>
                      <a:pt x="6" y="8"/>
                    </a:lnTo>
                    <a:lnTo>
                      <a:pt x="2" y="12"/>
                    </a:lnTo>
                    <a:lnTo>
                      <a:pt x="0" y="18"/>
                    </a:lnTo>
                    <a:lnTo>
                      <a:pt x="0" y="18"/>
                    </a:lnTo>
                    <a:lnTo>
                      <a:pt x="2" y="24"/>
                    </a:lnTo>
                    <a:lnTo>
                      <a:pt x="6" y="26"/>
                    </a:lnTo>
                    <a:lnTo>
                      <a:pt x="16" y="28"/>
                    </a:lnTo>
                    <a:lnTo>
                      <a:pt x="26" y="30"/>
                    </a:lnTo>
                    <a:lnTo>
                      <a:pt x="56" y="28"/>
                    </a:lnTo>
                    <a:lnTo>
                      <a:pt x="92" y="28"/>
                    </a:lnTo>
                    <a:lnTo>
                      <a:pt x="92" y="28"/>
                    </a:lnTo>
                    <a:close/>
                  </a:path>
                </a:pathLst>
              </a:custGeom>
              <a:grpFill/>
              <a:ln w="6350">
                <a:noFill/>
                <a:round/>
                <a:headEnd/>
                <a:tailEnd/>
              </a:ln>
            </p:spPr>
            <p:txBody>
              <a:bodyPr/>
              <a:lstStyle/>
              <a:p>
                <a:endParaRPr lang="da-DK" sz="2800" b="1"/>
              </a:p>
            </p:txBody>
          </p:sp>
          <p:sp>
            <p:nvSpPr>
              <p:cNvPr id="85" name="Freeform 6105">
                <a:extLst>
                  <a:ext uri="{FF2B5EF4-FFF2-40B4-BE49-F238E27FC236}">
                    <a16:creationId xmlns:a16="http://schemas.microsoft.com/office/drawing/2014/main" id="{7D40BD46-4E8E-4272-8DC6-D35430A08321}"/>
                  </a:ext>
                </a:extLst>
              </p:cNvPr>
              <p:cNvSpPr>
                <a:spLocks/>
              </p:cNvSpPr>
              <p:nvPr/>
            </p:nvSpPr>
            <p:spPr bwMode="auto">
              <a:xfrm>
                <a:off x="2194560" y="944563"/>
                <a:ext cx="34290" cy="12700"/>
              </a:xfrm>
              <a:custGeom>
                <a:avLst/>
                <a:gdLst/>
                <a:ahLst/>
                <a:cxnLst>
                  <a:cxn ang="0">
                    <a:pos x="54" y="4"/>
                  </a:cxn>
                  <a:cxn ang="0">
                    <a:pos x="54" y="4"/>
                  </a:cxn>
                  <a:cxn ang="0">
                    <a:pos x="54" y="2"/>
                  </a:cxn>
                  <a:cxn ang="0">
                    <a:pos x="50" y="0"/>
                  </a:cxn>
                  <a:cxn ang="0">
                    <a:pos x="36" y="0"/>
                  </a:cxn>
                  <a:cxn ang="0">
                    <a:pos x="18" y="6"/>
                  </a:cxn>
                  <a:cxn ang="0">
                    <a:pos x="8" y="10"/>
                  </a:cxn>
                  <a:cxn ang="0">
                    <a:pos x="2" y="14"/>
                  </a:cxn>
                  <a:cxn ang="0">
                    <a:pos x="2" y="14"/>
                  </a:cxn>
                  <a:cxn ang="0">
                    <a:pos x="0" y="18"/>
                  </a:cxn>
                  <a:cxn ang="0">
                    <a:pos x="4" y="20"/>
                  </a:cxn>
                  <a:cxn ang="0">
                    <a:pos x="20" y="18"/>
                  </a:cxn>
                  <a:cxn ang="0">
                    <a:pos x="42" y="12"/>
                  </a:cxn>
                  <a:cxn ang="0">
                    <a:pos x="50" y="8"/>
                  </a:cxn>
                  <a:cxn ang="0">
                    <a:pos x="54" y="4"/>
                  </a:cxn>
                  <a:cxn ang="0">
                    <a:pos x="54" y="4"/>
                  </a:cxn>
                </a:cxnLst>
                <a:rect l="0" t="0" r="r" b="b"/>
                <a:pathLst>
                  <a:path w="54" h="20">
                    <a:moveTo>
                      <a:pt x="54" y="4"/>
                    </a:moveTo>
                    <a:lnTo>
                      <a:pt x="54" y="4"/>
                    </a:lnTo>
                    <a:lnTo>
                      <a:pt x="54" y="2"/>
                    </a:lnTo>
                    <a:lnTo>
                      <a:pt x="50" y="0"/>
                    </a:lnTo>
                    <a:lnTo>
                      <a:pt x="36" y="0"/>
                    </a:lnTo>
                    <a:lnTo>
                      <a:pt x="18" y="6"/>
                    </a:lnTo>
                    <a:lnTo>
                      <a:pt x="8" y="10"/>
                    </a:lnTo>
                    <a:lnTo>
                      <a:pt x="2" y="14"/>
                    </a:lnTo>
                    <a:lnTo>
                      <a:pt x="2" y="14"/>
                    </a:lnTo>
                    <a:lnTo>
                      <a:pt x="0" y="18"/>
                    </a:lnTo>
                    <a:lnTo>
                      <a:pt x="4" y="20"/>
                    </a:lnTo>
                    <a:lnTo>
                      <a:pt x="20" y="18"/>
                    </a:lnTo>
                    <a:lnTo>
                      <a:pt x="42" y="12"/>
                    </a:lnTo>
                    <a:lnTo>
                      <a:pt x="50" y="8"/>
                    </a:lnTo>
                    <a:lnTo>
                      <a:pt x="54" y="4"/>
                    </a:lnTo>
                    <a:lnTo>
                      <a:pt x="54" y="4"/>
                    </a:lnTo>
                    <a:close/>
                  </a:path>
                </a:pathLst>
              </a:custGeom>
              <a:grpFill/>
              <a:ln w="6350">
                <a:noFill/>
                <a:round/>
                <a:headEnd/>
                <a:tailEnd/>
              </a:ln>
            </p:spPr>
            <p:txBody>
              <a:bodyPr/>
              <a:lstStyle/>
              <a:p>
                <a:endParaRPr lang="da-DK" sz="2800" b="1"/>
              </a:p>
            </p:txBody>
          </p:sp>
          <p:sp>
            <p:nvSpPr>
              <p:cNvPr id="86" name="Freeform 6106">
                <a:extLst>
                  <a:ext uri="{FF2B5EF4-FFF2-40B4-BE49-F238E27FC236}">
                    <a16:creationId xmlns:a16="http://schemas.microsoft.com/office/drawing/2014/main" id="{245CB820-B0CB-4EA9-B787-D5CC194D0F4B}"/>
                  </a:ext>
                </a:extLst>
              </p:cNvPr>
              <p:cNvSpPr>
                <a:spLocks/>
              </p:cNvSpPr>
              <p:nvPr/>
            </p:nvSpPr>
            <p:spPr bwMode="auto">
              <a:xfrm>
                <a:off x="2057400" y="727393"/>
                <a:ext cx="784860" cy="367030"/>
              </a:xfrm>
              <a:custGeom>
                <a:avLst/>
                <a:gdLst/>
                <a:ahLst/>
                <a:cxnLst>
                  <a:cxn ang="0">
                    <a:pos x="68" y="162"/>
                  </a:cxn>
                  <a:cxn ang="0">
                    <a:pos x="122" y="204"/>
                  </a:cxn>
                  <a:cxn ang="0">
                    <a:pos x="246" y="182"/>
                  </a:cxn>
                  <a:cxn ang="0">
                    <a:pos x="202" y="210"/>
                  </a:cxn>
                  <a:cxn ang="0">
                    <a:pos x="334" y="210"/>
                  </a:cxn>
                  <a:cxn ang="0">
                    <a:pos x="494" y="186"/>
                  </a:cxn>
                  <a:cxn ang="0">
                    <a:pos x="540" y="190"/>
                  </a:cxn>
                  <a:cxn ang="0">
                    <a:pos x="450" y="222"/>
                  </a:cxn>
                  <a:cxn ang="0">
                    <a:pos x="402" y="274"/>
                  </a:cxn>
                  <a:cxn ang="0">
                    <a:pos x="402" y="298"/>
                  </a:cxn>
                  <a:cxn ang="0">
                    <a:pos x="246" y="240"/>
                  </a:cxn>
                  <a:cxn ang="0">
                    <a:pos x="226" y="284"/>
                  </a:cxn>
                  <a:cxn ang="0">
                    <a:pos x="296" y="336"/>
                  </a:cxn>
                  <a:cxn ang="0">
                    <a:pos x="336" y="356"/>
                  </a:cxn>
                  <a:cxn ang="0">
                    <a:pos x="298" y="364"/>
                  </a:cxn>
                  <a:cxn ang="0">
                    <a:pos x="168" y="410"/>
                  </a:cxn>
                  <a:cxn ang="0">
                    <a:pos x="226" y="422"/>
                  </a:cxn>
                  <a:cxn ang="0">
                    <a:pos x="256" y="440"/>
                  </a:cxn>
                  <a:cxn ang="0">
                    <a:pos x="330" y="460"/>
                  </a:cxn>
                  <a:cxn ang="0">
                    <a:pos x="342" y="464"/>
                  </a:cxn>
                  <a:cxn ang="0">
                    <a:pos x="238" y="460"/>
                  </a:cxn>
                  <a:cxn ang="0">
                    <a:pos x="140" y="450"/>
                  </a:cxn>
                  <a:cxn ang="0">
                    <a:pos x="160" y="502"/>
                  </a:cxn>
                  <a:cxn ang="0">
                    <a:pos x="92" y="546"/>
                  </a:cxn>
                  <a:cxn ang="0">
                    <a:pos x="146" y="562"/>
                  </a:cxn>
                  <a:cxn ang="0">
                    <a:pos x="244" y="562"/>
                  </a:cxn>
                  <a:cxn ang="0">
                    <a:pos x="322" y="552"/>
                  </a:cxn>
                  <a:cxn ang="0">
                    <a:pos x="438" y="548"/>
                  </a:cxn>
                  <a:cxn ang="0">
                    <a:pos x="462" y="578"/>
                  </a:cxn>
                  <a:cxn ang="0">
                    <a:pos x="560" y="538"/>
                  </a:cxn>
                  <a:cxn ang="0">
                    <a:pos x="518" y="514"/>
                  </a:cxn>
                  <a:cxn ang="0">
                    <a:pos x="550" y="472"/>
                  </a:cxn>
                  <a:cxn ang="0">
                    <a:pos x="550" y="432"/>
                  </a:cxn>
                  <a:cxn ang="0">
                    <a:pos x="668" y="402"/>
                  </a:cxn>
                  <a:cxn ang="0">
                    <a:pos x="684" y="372"/>
                  </a:cxn>
                  <a:cxn ang="0">
                    <a:pos x="686" y="348"/>
                  </a:cxn>
                  <a:cxn ang="0">
                    <a:pos x="658" y="326"/>
                  </a:cxn>
                  <a:cxn ang="0">
                    <a:pos x="588" y="318"/>
                  </a:cxn>
                  <a:cxn ang="0">
                    <a:pos x="752" y="284"/>
                  </a:cxn>
                  <a:cxn ang="0">
                    <a:pos x="832" y="278"/>
                  </a:cxn>
                  <a:cxn ang="0">
                    <a:pos x="1076" y="154"/>
                  </a:cxn>
                  <a:cxn ang="0">
                    <a:pos x="1000" y="142"/>
                  </a:cxn>
                  <a:cxn ang="0">
                    <a:pos x="1232" y="76"/>
                  </a:cxn>
                  <a:cxn ang="0">
                    <a:pos x="1168" y="54"/>
                  </a:cxn>
                  <a:cxn ang="0">
                    <a:pos x="1094" y="20"/>
                  </a:cxn>
                  <a:cxn ang="0">
                    <a:pos x="962" y="40"/>
                  </a:cxn>
                  <a:cxn ang="0">
                    <a:pos x="1006" y="20"/>
                  </a:cxn>
                  <a:cxn ang="0">
                    <a:pos x="858" y="2"/>
                  </a:cxn>
                  <a:cxn ang="0">
                    <a:pos x="690" y="10"/>
                  </a:cxn>
                  <a:cxn ang="0">
                    <a:pos x="500" y="14"/>
                  </a:cxn>
                  <a:cxn ang="0">
                    <a:pos x="412" y="24"/>
                  </a:cxn>
                  <a:cxn ang="0">
                    <a:pos x="392" y="42"/>
                  </a:cxn>
                  <a:cxn ang="0">
                    <a:pos x="340" y="70"/>
                  </a:cxn>
                  <a:cxn ang="0">
                    <a:pos x="264" y="52"/>
                  </a:cxn>
                  <a:cxn ang="0">
                    <a:pos x="224" y="76"/>
                  </a:cxn>
                  <a:cxn ang="0">
                    <a:pos x="248" y="98"/>
                  </a:cxn>
                  <a:cxn ang="0">
                    <a:pos x="130" y="92"/>
                  </a:cxn>
                  <a:cxn ang="0">
                    <a:pos x="50" y="104"/>
                  </a:cxn>
                  <a:cxn ang="0">
                    <a:pos x="12" y="144"/>
                  </a:cxn>
                </a:cxnLst>
                <a:rect l="0" t="0" r="r" b="b"/>
                <a:pathLst>
                  <a:path w="1236" h="578">
                    <a:moveTo>
                      <a:pt x="44" y="148"/>
                    </a:moveTo>
                    <a:lnTo>
                      <a:pt x="44" y="148"/>
                    </a:lnTo>
                    <a:lnTo>
                      <a:pt x="50" y="150"/>
                    </a:lnTo>
                    <a:lnTo>
                      <a:pt x="58" y="152"/>
                    </a:lnTo>
                    <a:lnTo>
                      <a:pt x="74" y="150"/>
                    </a:lnTo>
                    <a:lnTo>
                      <a:pt x="80" y="150"/>
                    </a:lnTo>
                    <a:lnTo>
                      <a:pt x="80" y="152"/>
                    </a:lnTo>
                    <a:lnTo>
                      <a:pt x="74" y="156"/>
                    </a:lnTo>
                    <a:lnTo>
                      <a:pt x="74" y="156"/>
                    </a:lnTo>
                    <a:lnTo>
                      <a:pt x="68" y="162"/>
                    </a:lnTo>
                    <a:lnTo>
                      <a:pt x="62" y="168"/>
                    </a:lnTo>
                    <a:lnTo>
                      <a:pt x="62" y="172"/>
                    </a:lnTo>
                    <a:lnTo>
                      <a:pt x="62" y="178"/>
                    </a:lnTo>
                    <a:lnTo>
                      <a:pt x="66" y="182"/>
                    </a:lnTo>
                    <a:lnTo>
                      <a:pt x="72" y="186"/>
                    </a:lnTo>
                    <a:lnTo>
                      <a:pt x="82" y="190"/>
                    </a:lnTo>
                    <a:lnTo>
                      <a:pt x="94" y="194"/>
                    </a:lnTo>
                    <a:lnTo>
                      <a:pt x="94" y="194"/>
                    </a:lnTo>
                    <a:lnTo>
                      <a:pt x="108" y="200"/>
                    </a:lnTo>
                    <a:lnTo>
                      <a:pt x="122" y="204"/>
                    </a:lnTo>
                    <a:lnTo>
                      <a:pt x="144" y="212"/>
                    </a:lnTo>
                    <a:lnTo>
                      <a:pt x="156" y="216"/>
                    </a:lnTo>
                    <a:lnTo>
                      <a:pt x="166" y="214"/>
                    </a:lnTo>
                    <a:lnTo>
                      <a:pt x="178" y="212"/>
                    </a:lnTo>
                    <a:lnTo>
                      <a:pt x="192" y="204"/>
                    </a:lnTo>
                    <a:lnTo>
                      <a:pt x="192" y="204"/>
                    </a:lnTo>
                    <a:lnTo>
                      <a:pt x="206" y="194"/>
                    </a:lnTo>
                    <a:lnTo>
                      <a:pt x="222" y="188"/>
                    </a:lnTo>
                    <a:lnTo>
                      <a:pt x="234" y="184"/>
                    </a:lnTo>
                    <a:lnTo>
                      <a:pt x="246" y="182"/>
                    </a:lnTo>
                    <a:lnTo>
                      <a:pt x="254" y="182"/>
                    </a:lnTo>
                    <a:lnTo>
                      <a:pt x="258" y="182"/>
                    </a:lnTo>
                    <a:lnTo>
                      <a:pt x="256" y="184"/>
                    </a:lnTo>
                    <a:lnTo>
                      <a:pt x="250" y="186"/>
                    </a:lnTo>
                    <a:lnTo>
                      <a:pt x="250" y="186"/>
                    </a:lnTo>
                    <a:lnTo>
                      <a:pt x="224" y="194"/>
                    </a:lnTo>
                    <a:lnTo>
                      <a:pt x="212" y="200"/>
                    </a:lnTo>
                    <a:lnTo>
                      <a:pt x="204" y="206"/>
                    </a:lnTo>
                    <a:lnTo>
                      <a:pt x="202" y="208"/>
                    </a:lnTo>
                    <a:lnTo>
                      <a:pt x="202" y="210"/>
                    </a:lnTo>
                    <a:lnTo>
                      <a:pt x="204" y="214"/>
                    </a:lnTo>
                    <a:lnTo>
                      <a:pt x="208" y="216"/>
                    </a:lnTo>
                    <a:lnTo>
                      <a:pt x="224" y="220"/>
                    </a:lnTo>
                    <a:lnTo>
                      <a:pt x="254" y="224"/>
                    </a:lnTo>
                    <a:lnTo>
                      <a:pt x="254" y="224"/>
                    </a:lnTo>
                    <a:lnTo>
                      <a:pt x="284" y="224"/>
                    </a:lnTo>
                    <a:lnTo>
                      <a:pt x="304" y="224"/>
                    </a:lnTo>
                    <a:lnTo>
                      <a:pt x="318" y="220"/>
                    </a:lnTo>
                    <a:lnTo>
                      <a:pt x="326" y="216"/>
                    </a:lnTo>
                    <a:lnTo>
                      <a:pt x="334" y="210"/>
                    </a:lnTo>
                    <a:lnTo>
                      <a:pt x="338" y="210"/>
                    </a:lnTo>
                    <a:lnTo>
                      <a:pt x="346" y="214"/>
                    </a:lnTo>
                    <a:lnTo>
                      <a:pt x="346" y="214"/>
                    </a:lnTo>
                    <a:lnTo>
                      <a:pt x="358" y="218"/>
                    </a:lnTo>
                    <a:lnTo>
                      <a:pt x="374" y="218"/>
                    </a:lnTo>
                    <a:lnTo>
                      <a:pt x="394" y="216"/>
                    </a:lnTo>
                    <a:lnTo>
                      <a:pt x="418" y="212"/>
                    </a:lnTo>
                    <a:lnTo>
                      <a:pt x="442" y="206"/>
                    </a:lnTo>
                    <a:lnTo>
                      <a:pt x="468" y="196"/>
                    </a:lnTo>
                    <a:lnTo>
                      <a:pt x="494" y="186"/>
                    </a:lnTo>
                    <a:lnTo>
                      <a:pt x="520" y="174"/>
                    </a:lnTo>
                    <a:lnTo>
                      <a:pt x="520" y="174"/>
                    </a:lnTo>
                    <a:lnTo>
                      <a:pt x="546" y="160"/>
                    </a:lnTo>
                    <a:lnTo>
                      <a:pt x="544" y="162"/>
                    </a:lnTo>
                    <a:lnTo>
                      <a:pt x="540" y="168"/>
                    </a:lnTo>
                    <a:lnTo>
                      <a:pt x="536" y="176"/>
                    </a:lnTo>
                    <a:lnTo>
                      <a:pt x="534" y="180"/>
                    </a:lnTo>
                    <a:lnTo>
                      <a:pt x="534" y="184"/>
                    </a:lnTo>
                    <a:lnTo>
                      <a:pt x="536" y="186"/>
                    </a:lnTo>
                    <a:lnTo>
                      <a:pt x="540" y="190"/>
                    </a:lnTo>
                    <a:lnTo>
                      <a:pt x="548" y="192"/>
                    </a:lnTo>
                    <a:lnTo>
                      <a:pt x="558" y="192"/>
                    </a:lnTo>
                    <a:lnTo>
                      <a:pt x="558" y="192"/>
                    </a:lnTo>
                    <a:lnTo>
                      <a:pt x="576" y="194"/>
                    </a:lnTo>
                    <a:lnTo>
                      <a:pt x="584" y="196"/>
                    </a:lnTo>
                    <a:lnTo>
                      <a:pt x="584" y="196"/>
                    </a:lnTo>
                    <a:lnTo>
                      <a:pt x="580" y="198"/>
                    </a:lnTo>
                    <a:lnTo>
                      <a:pt x="570" y="200"/>
                    </a:lnTo>
                    <a:lnTo>
                      <a:pt x="524" y="208"/>
                    </a:lnTo>
                    <a:lnTo>
                      <a:pt x="450" y="222"/>
                    </a:lnTo>
                    <a:lnTo>
                      <a:pt x="450" y="222"/>
                    </a:lnTo>
                    <a:lnTo>
                      <a:pt x="388" y="236"/>
                    </a:lnTo>
                    <a:lnTo>
                      <a:pt x="370" y="238"/>
                    </a:lnTo>
                    <a:lnTo>
                      <a:pt x="360" y="242"/>
                    </a:lnTo>
                    <a:lnTo>
                      <a:pt x="358" y="242"/>
                    </a:lnTo>
                    <a:lnTo>
                      <a:pt x="358" y="244"/>
                    </a:lnTo>
                    <a:lnTo>
                      <a:pt x="362" y="248"/>
                    </a:lnTo>
                    <a:lnTo>
                      <a:pt x="386" y="264"/>
                    </a:lnTo>
                    <a:lnTo>
                      <a:pt x="386" y="264"/>
                    </a:lnTo>
                    <a:lnTo>
                      <a:pt x="402" y="274"/>
                    </a:lnTo>
                    <a:lnTo>
                      <a:pt x="418" y="282"/>
                    </a:lnTo>
                    <a:lnTo>
                      <a:pt x="442" y="292"/>
                    </a:lnTo>
                    <a:lnTo>
                      <a:pt x="450" y="296"/>
                    </a:lnTo>
                    <a:lnTo>
                      <a:pt x="452" y="298"/>
                    </a:lnTo>
                    <a:lnTo>
                      <a:pt x="448" y="302"/>
                    </a:lnTo>
                    <a:lnTo>
                      <a:pt x="436" y="304"/>
                    </a:lnTo>
                    <a:lnTo>
                      <a:pt x="436" y="304"/>
                    </a:lnTo>
                    <a:lnTo>
                      <a:pt x="422" y="304"/>
                    </a:lnTo>
                    <a:lnTo>
                      <a:pt x="410" y="302"/>
                    </a:lnTo>
                    <a:lnTo>
                      <a:pt x="402" y="298"/>
                    </a:lnTo>
                    <a:lnTo>
                      <a:pt x="394" y="292"/>
                    </a:lnTo>
                    <a:lnTo>
                      <a:pt x="378" y="276"/>
                    </a:lnTo>
                    <a:lnTo>
                      <a:pt x="368" y="268"/>
                    </a:lnTo>
                    <a:lnTo>
                      <a:pt x="356" y="260"/>
                    </a:lnTo>
                    <a:lnTo>
                      <a:pt x="356" y="260"/>
                    </a:lnTo>
                    <a:lnTo>
                      <a:pt x="338" y="254"/>
                    </a:lnTo>
                    <a:lnTo>
                      <a:pt x="316" y="248"/>
                    </a:lnTo>
                    <a:lnTo>
                      <a:pt x="292" y="244"/>
                    </a:lnTo>
                    <a:lnTo>
                      <a:pt x="268" y="242"/>
                    </a:lnTo>
                    <a:lnTo>
                      <a:pt x="246" y="240"/>
                    </a:lnTo>
                    <a:lnTo>
                      <a:pt x="228" y="242"/>
                    </a:lnTo>
                    <a:lnTo>
                      <a:pt x="220" y="244"/>
                    </a:lnTo>
                    <a:lnTo>
                      <a:pt x="216" y="246"/>
                    </a:lnTo>
                    <a:lnTo>
                      <a:pt x="212" y="250"/>
                    </a:lnTo>
                    <a:lnTo>
                      <a:pt x="210" y="254"/>
                    </a:lnTo>
                    <a:lnTo>
                      <a:pt x="210" y="254"/>
                    </a:lnTo>
                    <a:lnTo>
                      <a:pt x="210" y="270"/>
                    </a:lnTo>
                    <a:lnTo>
                      <a:pt x="212" y="274"/>
                    </a:lnTo>
                    <a:lnTo>
                      <a:pt x="214" y="278"/>
                    </a:lnTo>
                    <a:lnTo>
                      <a:pt x="226" y="284"/>
                    </a:lnTo>
                    <a:lnTo>
                      <a:pt x="250" y="292"/>
                    </a:lnTo>
                    <a:lnTo>
                      <a:pt x="250" y="292"/>
                    </a:lnTo>
                    <a:lnTo>
                      <a:pt x="262" y="298"/>
                    </a:lnTo>
                    <a:lnTo>
                      <a:pt x="276" y="304"/>
                    </a:lnTo>
                    <a:lnTo>
                      <a:pt x="294" y="318"/>
                    </a:lnTo>
                    <a:lnTo>
                      <a:pt x="300" y="326"/>
                    </a:lnTo>
                    <a:lnTo>
                      <a:pt x="302" y="330"/>
                    </a:lnTo>
                    <a:lnTo>
                      <a:pt x="302" y="334"/>
                    </a:lnTo>
                    <a:lnTo>
                      <a:pt x="296" y="336"/>
                    </a:lnTo>
                    <a:lnTo>
                      <a:pt x="296" y="336"/>
                    </a:lnTo>
                    <a:lnTo>
                      <a:pt x="290" y="338"/>
                    </a:lnTo>
                    <a:lnTo>
                      <a:pt x="286" y="340"/>
                    </a:lnTo>
                    <a:lnTo>
                      <a:pt x="284" y="344"/>
                    </a:lnTo>
                    <a:lnTo>
                      <a:pt x="286" y="346"/>
                    </a:lnTo>
                    <a:lnTo>
                      <a:pt x="290" y="348"/>
                    </a:lnTo>
                    <a:lnTo>
                      <a:pt x="296" y="352"/>
                    </a:lnTo>
                    <a:lnTo>
                      <a:pt x="308" y="354"/>
                    </a:lnTo>
                    <a:lnTo>
                      <a:pt x="320" y="356"/>
                    </a:lnTo>
                    <a:lnTo>
                      <a:pt x="320" y="356"/>
                    </a:lnTo>
                    <a:lnTo>
                      <a:pt x="336" y="356"/>
                    </a:lnTo>
                    <a:lnTo>
                      <a:pt x="348" y="360"/>
                    </a:lnTo>
                    <a:lnTo>
                      <a:pt x="356" y="362"/>
                    </a:lnTo>
                    <a:lnTo>
                      <a:pt x="362" y="366"/>
                    </a:lnTo>
                    <a:lnTo>
                      <a:pt x="364" y="368"/>
                    </a:lnTo>
                    <a:lnTo>
                      <a:pt x="360" y="368"/>
                    </a:lnTo>
                    <a:lnTo>
                      <a:pt x="352" y="368"/>
                    </a:lnTo>
                    <a:lnTo>
                      <a:pt x="340" y="368"/>
                    </a:lnTo>
                    <a:lnTo>
                      <a:pt x="340" y="368"/>
                    </a:lnTo>
                    <a:lnTo>
                      <a:pt x="320" y="366"/>
                    </a:lnTo>
                    <a:lnTo>
                      <a:pt x="298" y="364"/>
                    </a:lnTo>
                    <a:lnTo>
                      <a:pt x="250" y="366"/>
                    </a:lnTo>
                    <a:lnTo>
                      <a:pt x="228" y="368"/>
                    </a:lnTo>
                    <a:lnTo>
                      <a:pt x="208" y="372"/>
                    </a:lnTo>
                    <a:lnTo>
                      <a:pt x="192" y="376"/>
                    </a:lnTo>
                    <a:lnTo>
                      <a:pt x="182" y="382"/>
                    </a:lnTo>
                    <a:lnTo>
                      <a:pt x="182" y="382"/>
                    </a:lnTo>
                    <a:lnTo>
                      <a:pt x="176" y="388"/>
                    </a:lnTo>
                    <a:lnTo>
                      <a:pt x="172" y="394"/>
                    </a:lnTo>
                    <a:lnTo>
                      <a:pt x="170" y="402"/>
                    </a:lnTo>
                    <a:lnTo>
                      <a:pt x="168" y="410"/>
                    </a:lnTo>
                    <a:lnTo>
                      <a:pt x="170" y="416"/>
                    </a:lnTo>
                    <a:lnTo>
                      <a:pt x="176" y="420"/>
                    </a:lnTo>
                    <a:lnTo>
                      <a:pt x="184" y="422"/>
                    </a:lnTo>
                    <a:lnTo>
                      <a:pt x="196" y="420"/>
                    </a:lnTo>
                    <a:lnTo>
                      <a:pt x="196" y="420"/>
                    </a:lnTo>
                    <a:lnTo>
                      <a:pt x="208" y="418"/>
                    </a:lnTo>
                    <a:lnTo>
                      <a:pt x="216" y="418"/>
                    </a:lnTo>
                    <a:lnTo>
                      <a:pt x="220" y="418"/>
                    </a:lnTo>
                    <a:lnTo>
                      <a:pt x="224" y="420"/>
                    </a:lnTo>
                    <a:lnTo>
                      <a:pt x="226" y="422"/>
                    </a:lnTo>
                    <a:lnTo>
                      <a:pt x="230" y="424"/>
                    </a:lnTo>
                    <a:lnTo>
                      <a:pt x="236" y="424"/>
                    </a:lnTo>
                    <a:lnTo>
                      <a:pt x="246" y="424"/>
                    </a:lnTo>
                    <a:lnTo>
                      <a:pt x="246" y="424"/>
                    </a:lnTo>
                    <a:lnTo>
                      <a:pt x="256" y="422"/>
                    </a:lnTo>
                    <a:lnTo>
                      <a:pt x="260" y="422"/>
                    </a:lnTo>
                    <a:lnTo>
                      <a:pt x="260" y="424"/>
                    </a:lnTo>
                    <a:lnTo>
                      <a:pt x="260" y="428"/>
                    </a:lnTo>
                    <a:lnTo>
                      <a:pt x="258" y="434"/>
                    </a:lnTo>
                    <a:lnTo>
                      <a:pt x="256" y="440"/>
                    </a:lnTo>
                    <a:lnTo>
                      <a:pt x="258" y="450"/>
                    </a:lnTo>
                    <a:lnTo>
                      <a:pt x="266" y="460"/>
                    </a:lnTo>
                    <a:lnTo>
                      <a:pt x="266" y="460"/>
                    </a:lnTo>
                    <a:lnTo>
                      <a:pt x="270" y="464"/>
                    </a:lnTo>
                    <a:lnTo>
                      <a:pt x="276" y="468"/>
                    </a:lnTo>
                    <a:lnTo>
                      <a:pt x="282" y="470"/>
                    </a:lnTo>
                    <a:lnTo>
                      <a:pt x="288" y="472"/>
                    </a:lnTo>
                    <a:lnTo>
                      <a:pt x="302" y="470"/>
                    </a:lnTo>
                    <a:lnTo>
                      <a:pt x="316" y="466"/>
                    </a:lnTo>
                    <a:lnTo>
                      <a:pt x="330" y="460"/>
                    </a:lnTo>
                    <a:lnTo>
                      <a:pt x="342" y="450"/>
                    </a:lnTo>
                    <a:lnTo>
                      <a:pt x="354" y="442"/>
                    </a:lnTo>
                    <a:lnTo>
                      <a:pt x="366" y="432"/>
                    </a:lnTo>
                    <a:lnTo>
                      <a:pt x="366" y="432"/>
                    </a:lnTo>
                    <a:lnTo>
                      <a:pt x="372" y="426"/>
                    </a:lnTo>
                    <a:lnTo>
                      <a:pt x="372" y="428"/>
                    </a:lnTo>
                    <a:lnTo>
                      <a:pt x="372" y="430"/>
                    </a:lnTo>
                    <a:lnTo>
                      <a:pt x="366" y="440"/>
                    </a:lnTo>
                    <a:lnTo>
                      <a:pt x="356" y="452"/>
                    </a:lnTo>
                    <a:lnTo>
                      <a:pt x="342" y="464"/>
                    </a:lnTo>
                    <a:lnTo>
                      <a:pt x="326" y="476"/>
                    </a:lnTo>
                    <a:lnTo>
                      <a:pt x="316" y="482"/>
                    </a:lnTo>
                    <a:lnTo>
                      <a:pt x="306" y="484"/>
                    </a:lnTo>
                    <a:lnTo>
                      <a:pt x="296" y="486"/>
                    </a:lnTo>
                    <a:lnTo>
                      <a:pt x="286" y="486"/>
                    </a:lnTo>
                    <a:lnTo>
                      <a:pt x="286" y="486"/>
                    </a:lnTo>
                    <a:lnTo>
                      <a:pt x="270" y="482"/>
                    </a:lnTo>
                    <a:lnTo>
                      <a:pt x="256" y="476"/>
                    </a:lnTo>
                    <a:lnTo>
                      <a:pt x="246" y="468"/>
                    </a:lnTo>
                    <a:lnTo>
                      <a:pt x="238" y="460"/>
                    </a:lnTo>
                    <a:lnTo>
                      <a:pt x="228" y="452"/>
                    </a:lnTo>
                    <a:lnTo>
                      <a:pt x="218" y="446"/>
                    </a:lnTo>
                    <a:lnTo>
                      <a:pt x="206" y="440"/>
                    </a:lnTo>
                    <a:lnTo>
                      <a:pt x="190" y="438"/>
                    </a:lnTo>
                    <a:lnTo>
                      <a:pt x="190" y="438"/>
                    </a:lnTo>
                    <a:lnTo>
                      <a:pt x="160" y="440"/>
                    </a:lnTo>
                    <a:lnTo>
                      <a:pt x="150" y="440"/>
                    </a:lnTo>
                    <a:lnTo>
                      <a:pt x="144" y="444"/>
                    </a:lnTo>
                    <a:lnTo>
                      <a:pt x="140" y="446"/>
                    </a:lnTo>
                    <a:lnTo>
                      <a:pt x="140" y="450"/>
                    </a:lnTo>
                    <a:lnTo>
                      <a:pt x="144" y="456"/>
                    </a:lnTo>
                    <a:lnTo>
                      <a:pt x="150" y="462"/>
                    </a:lnTo>
                    <a:lnTo>
                      <a:pt x="150" y="462"/>
                    </a:lnTo>
                    <a:lnTo>
                      <a:pt x="166" y="476"/>
                    </a:lnTo>
                    <a:lnTo>
                      <a:pt x="182" y="490"/>
                    </a:lnTo>
                    <a:lnTo>
                      <a:pt x="184" y="494"/>
                    </a:lnTo>
                    <a:lnTo>
                      <a:pt x="184" y="496"/>
                    </a:lnTo>
                    <a:lnTo>
                      <a:pt x="182" y="498"/>
                    </a:lnTo>
                    <a:lnTo>
                      <a:pt x="174" y="500"/>
                    </a:lnTo>
                    <a:lnTo>
                      <a:pt x="160" y="502"/>
                    </a:lnTo>
                    <a:lnTo>
                      <a:pt x="160" y="502"/>
                    </a:lnTo>
                    <a:lnTo>
                      <a:pt x="142" y="502"/>
                    </a:lnTo>
                    <a:lnTo>
                      <a:pt x="124" y="506"/>
                    </a:lnTo>
                    <a:lnTo>
                      <a:pt x="110" y="512"/>
                    </a:lnTo>
                    <a:lnTo>
                      <a:pt x="98" y="518"/>
                    </a:lnTo>
                    <a:lnTo>
                      <a:pt x="90" y="526"/>
                    </a:lnTo>
                    <a:lnTo>
                      <a:pt x="88" y="534"/>
                    </a:lnTo>
                    <a:lnTo>
                      <a:pt x="88" y="538"/>
                    </a:lnTo>
                    <a:lnTo>
                      <a:pt x="88" y="542"/>
                    </a:lnTo>
                    <a:lnTo>
                      <a:pt x="92" y="546"/>
                    </a:lnTo>
                    <a:lnTo>
                      <a:pt x="96" y="550"/>
                    </a:lnTo>
                    <a:lnTo>
                      <a:pt x="96" y="550"/>
                    </a:lnTo>
                    <a:lnTo>
                      <a:pt x="100" y="552"/>
                    </a:lnTo>
                    <a:lnTo>
                      <a:pt x="104" y="552"/>
                    </a:lnTo>
                    <a:lnTo>
                      <a:pt x="114" y="552"/>
                    </a:lnTo>
                    <a:lnTo>
                      <a:pt x="124" y="552"/>
                    </a:lnTo>
                    <a:lnTo>
                      <a:pt x="130" y="554"/>
                    </a:lnTo>
                    <a:lnTo>
                      <a:pt x="138" y="558"/>
                    </a:lnTo>
                    <a:lnTo>
                      <a:pt x="138" y="558"/>
                    </a:lnTo>
                    <a:lnTo>
                      <a:pt x="146" y="562"/>
                    </a:lnTo>
                    <a:lnTo>
                      <a:pt x="154" y="566"/>
                    </a:lnTo>
                    <a:lnTo>
                      <a:pt x="162" y="566"/>
                    </a:lnTo>
                    <a:lnTo>
                      <a:pt x="170" y="564"/>
                    </a:lnTo>
                    <a:lnTo>
                      <a:pt x="186" y="560"/>
                    </a:lnTo>
                    <a:lnTo>
                      <a:pt x="200" y="552"/>
                    </a:lnTo>
                    <a:lnTo>
                      <a:pt x="200" y="552"/>
                    </a:lnTo>
                    <a:lnTo>
                      <a:pt x="206" y="552"/>
                    </a:lnTo>
                    <a:lnTo>
                      <a:pt x="212" y="552"/>
                    </a:lnTo>
                    <a:lnTo>
                      <a:pt x="226" y="556"/>
                    </a:lnTo>
                    <a:lnTo>
                      <a:pt x="244" y="562"/>
                    </a:lnTo>
                    <a:lnTo>
                      <a:pt x="256" y="566"/>
                    </a:lnTo>
                    <a:lnTo>
                      <a:pt x="272" y="566"/>
                    </a:lnTo>
                    <a:lnTo>
                      <a:pt x="272" y="566"/>
                    </a:lnTo>
                    <a:lnTo>
                      <a:pt x="286" y="566"/>
                    </a:lnTo>
                    <a:lnTo>
                      <a:pt x="294" y="564"/>
                    </a:lnTo>
                    <a:lnTo>
                      <a:pt x="298" y="560"/>
                    </a:lnTo>
                    <a:lnTo>
                      <a:pt x="302" y="556"/>
                    </a:lnTo>
                    <a:lnTo>
                      <a:pt x="306" y="554"/>
                    </a:lnTo>
                    <a:lnTo>
                      <a:pt x="312" y="552"/>
                    </a:lnTo>
                    <a:lnTo>
                      <a:pt x="322" y="552"/>
                    </a:lnTo>
                    <a:lnTo>
                      <a:pt x="336" y="558"/>
                    </a:lnTo>
                    <a:lnTo>
                      <a:pt x="336" y="558"/>
                    </a:lnTo>
                    <a:lnTo>
                      <a:pt x="346" y="560"/>
                    </a:lnTo>
                    <a:lnTo>
                      <a:pt x="356" y="560"/>
                    </a:lnTo>
                    <a:lnTo>
                      <a:pt x="376" y="560"/>
                    </a:lnTo>
                    <a:lnTo>
                      <a:pt x="394" y="556"/>
                    </a:lnTo>
                    <a:lnTo>
                      <a:pt x="412" y="552"/>
                    </a:lnTo>
                    <a:lnTo>
                      <a:pt x="426" y="548"/>
                    </a:lnTo>
                    <a:lnTo>
                      <a:pt x="436" y="548"/>
                    </a:lnTo>
                    <a:lnTo>
                      <a:pt x="438" y="548"/>
                    </a:lnTo>
                    <a:lnTo>
                      <a:pt x="440" y="550"/>
                    </a:lnTo>
                    <a:lnTo>
                      <a:pt x="442" y="554"/>
                    </a:lnTo>
                    <a:lnTo>
                      <a:pt x="440" y="560"/>
                    </a:lnTo>
                    <a:lnTo>
                      <a:pt x="440" y="560"/>
                    </a:lnTo>
                    <a:lnTo>
                      <a:pt x="438" y="564"/>
                    </a:lnTo>
                    <a:lnTo>
                      <a:pt x="438" y="570"/>
                    </a:lnTo>
                    <a:lnTo>
                      <a:pt x="440" y="572"/>
                    </a:lnTo>
                    <a:lnTo>
                      <a:pt x="442" y="576"/>
                    </a:lnTo>
                    <a:lnTo>
                      <a:pt x="450" y="578"/>
                    </a:lnTo>
                    <a:lnTo>
                      <a:pt x="462" y="578"/>
                    </a:lnTo>
                    <a:lnTo>
                      <a:pt x="474" y="574"/>
                    </a:lnTo>
                    <a:lnTo>
                      <a:pt x="486" y="570"/>
                    </a:lnTo>
                    <a:lnTo>
                      <a:pt x="510" y="558"/>
                    </a:lnTo>
                    <a:lnTo>
                      <a:pt x="510" y="558"/>
                    </a:lnTo>
                    <a:lnTo>
                      <a:pt x="518" y="552"/>
                    </a:lnTo>
                    <a:lnTo>
                      <a:pt x="528" y="552"/>
                    </a:lnTo>
                    <a:lnTo>
                      <a:pt x="544" y="550"/>
                    </a:lnTo>
                    <a:lnTo>
                      <a:pt x="550" y="550"/>
                    </a:lnTo>
                    <a:lnTo>
                      <a:pt x="556" y="546"/>
                    </a:lnTo>
                    <a:lnTo>
                      <a:pt x="560" y="538"/>
                    </a:lnTo>
                    <a:lnTo>
                      <a:pt x="562" y="526"/>
                    </a:lnTo>
                    <a:lnTo>
                      <a:pt x="562" y="526"/>
                    </a:lnTo>
                    <a:lnTo>
                      <a:pt x="562" y="520"/>
                    </a:lnTo>
                    <a:lnTo>
                      <a:pt x="560" y="518"/>
                    </a:lnTo>
                    <a:lnTo>
                      <a:pt x="558" y="514"/>
                    </a:lnTo>
                    <a:lnTo>
                      <a:pt x="556" y="514"/>
                    </a:lnTo>
                    <a:lnTo>
                      <a:pt x="546" y="512"/>
                    </a:lnTo>
                    <a:lnTo>
                      <a:pt x="536" y="512"/>
                    </a:lnTo>
                    <a:lnTo>
                      <a:pt x="526" y="514"/>
                    </a:lnTo>
                    <a:lnTo>
                      <a:pt x="518" y="514"/>
                    </a:lnTo>
                    <a:lnTo>
                      <a:pt x="512" y="512"/>
                    </a:lnTo>
                    <a:lnTo>
                      <a:pt x="510" y="510"/>
                    </a:lnTo>
                    <a:lnTo>
                      <a:pt x="508" y="506"/>
                    </a:lnTo>
                    <a:lnTo>
                      <a:pt x="508" y="506"/>
                    </a:lnTo>
                    <a:lnTo>
                      <a:pt x="510" y="500"/>
                    </a:lnTo>
                    <a:lnTo>
                      <a:pt x="512" y="494"/>
                    </a:lnTo>
                    <a:lnTo>
                      <a:pt x="514" y="490"/>
                    </a:lnTo>
                    <a:lnTo>
                      <a:pt x="520" y="488"/>
                    </a:lnTo>
                    <a:lnTo>
                      <a:pt x="532" y="482"/>
                    </a:lnTo>
                    <a:lnTo>
                      <a:pt x="550" y="472"/>
                    </a:lnTo>
                    <a:lnTo>
                      <a:pt x="550" y="472"/>
                    </a:lnTo>
                    <a:lnTo>
                      <a:pt x="554" y="468"/>
                    </a:lnTo>
                    <a:lnTo>
                      <a:pt x="556" y="464"/>
                    </a:lnTo>
                    <a:lnTo>
                      <a:pt x="556" y="460"/>
                    </a:lnTo>
                    <a:lnTo>
                      <a:pt x="556" y="456"/>
                    </a:lnTo>
                    <a:lnTo>
                      <a:pt x="552" y="448"/>
                    </a:lnTo>
                    <a:lnTo>
                      <a:pt x="548" y="442"/>
                    </a:lnTo>
                    <a:lnTo>
                      <a:pt x="546" y="436"/>
                    </a:lnTo>
                    <a:lnTo>
                      <a:pt x="548" y="434"/>
                    </a:lnTo>
                    <a:lnTo>
                      <a:pt x="550" y="432"/>
                    </a:lnTo>
                    <a:lnTo>
                      <a:pt x="560" y="430"/>
                    </a:lnTo>
                    <a:lnTo>
                      <a:pt x="582" y="434"/>
                    </a:lnTo>
                    <a:lnTo>
                      <a:pt x="582" y="434"/>
                    </a:lnTo>
                    <a:lnTo>
                      <a:pt x="602" y="436"/>
                    </a:lnTo>
                    <a:lnTo>
                      <a:pt x="620" y="434"/>
                    </a:lnTo>
                    <a:lnTo>
                      <a:pt x="636" y="430"/>
                    </a:lnTo>
                    <a:lnTo>
                      <a:pt x="650" y="424"/>
                    </a:lnTo>
                    <a:lnTo>
                      <a:pt x="660" y="418"/>
                    </a:lnTo>
                    <a:lnTo>
                      <a:pt x="666" y="410"/>
                    </a:lnTo>
                    <a:lnTo>
                      <a:pt x="668" y="402"/>
                    </a:lnTo>
                    <a:lnTo>
                      <a:pt x="668" y="400"/>
                    </a:lnTo>
                    <a:lnTo>
                      <a:pt x="666" y="396"/>
                    </a:lnTo>
                    <a:lnTo>
                      <a:pt x="666" y="396"/>
                    </a:lnTo>
                    <a:lnTo>
                      <a:pt x="664" y="394"/>
                    </a:lnTo>
                    <a:lnTo>
                      <a:pt x="664" y="392"/>
                    </a:lnTo>
                    <a:lnTo>
                      <a:pt x="666" y="388"/>
                    </a:lnTo>
                    <a:lnTo>
                      <a:pt x="680" y="382"/>
                    </a:lnTo>
                    <a:lnTo>
                      <a:pt x="684" y="378"/>
                    </a:lnTo>
                    <a:lnTo>
                      <a:pt x="684" y="376"/>
                    </a:lnTo>
                    <a:lnTo>
                      <a:pt x="684" y="372"/>
                    </a:lnTo>
                    <a:lnTo>
                      <a:pt x="678" y="366"/>
                    </a:lnTo>
                    <a:lnTo>
                      <a:pt x="662" y="356"/>
                    </a:lnTo>
                    <a:lnTo>
                      <a:pt x="662" y="356"/>
                    </a:lnTo>
                    <a:lnTo>
                      <a:pt x="648" y="350"/>
                    </a:lnTo>
                    <a:lnTo>
                      <a:pt x="644" y="348"/>
                    </a:lnTo>
                    <a:lnTo>
                      <a:pt x="644" y="346"/>
                    </a:lnTo>
                    <a:lnTo>
                      <a:pt x="650" y="346"/>
                    </a:lnTo>
                    <a:lnTo>
                      <a:pt x="662" y="348"/>
                    </a:lnTo>
                    <a:lnTo>
                      <a:pt x="674" y="348"/>
                    </a:lnTo>
                    <a:lnTo>
                      <a:pt x="686" y="348"/>
                    </a:lnTo>
                    <a:lnTo>
                      <a:pt x="690" y="348"/>
                    </a:lnTo>
                    <a:lnTo>
                      <a:pt x="694" y="346"/>
                    </a:lnTo>
                    <a:lnTo>
                      <a:pt x="696" y="344"/>
                    </a:lnTo>
                    <a:lnTo>
                      <a:pt x="694" y="340"/>
                    </a:lnTo>
                    <a:lnTo>
                      <a:pt x="694" y="340"/>
                    </a:lnTo>
                    <a:lnTo>
                      <a:pt x="690" y="332"/>
                    </a:lnTo>
                    <a:lnTo>
                      <a:pt x="684" y="328"/>
                    </a:lnTo>
                    <a:lnTo>
                      <a:pt x="680" y="324"/>
                    </a:lnTo>
                    <a:lnTo>
                      <a:pt x="674" y="324"/>
                    </a:lnTo>
                    <a:lnTo>
                      <a:pt x="658" y="326"/>
                    </a:lnTo>
                    <a:lnTo>
                      <a:pt x="638" y="328"/>
                    </a:lnTo>
                    <a:lnTo>
                      <a:pt x="638" y="328"/>
                    </a:lnTo>
                    <a:lnTo>
                      <a:pt x="614" y="328"/>
                    </a:lnTo>
                    <a:lnTo>
                      <a:pt x="592" y="328"/>
                    </a:lnTo>
                    <a:lnTo>
                      <a:pt x="584" y="328"/>
                    </a:lnTo>
                    <a:lnTo>
                      <a:pt x="578" y="326"/>
                    </a:lnTo>
                    <a:lnTo>
                      <a:pt x="576" y="324"/>
                    </a:lnTo>
                    <a:lnTo>
                      <a:pt x="580" y="320"/>
                    </a:lnTo>
                    <a:lnTo>
                      <a:pt x="580" y="320"/>
                    </a:lnTo>
                    <a:lnTo>
                      <a:pt x="588" y="318"/>
                    </a:lnTo>
                    <a:lnTo>
                      <a:pt x="602" y="314"/>
                    </a:lnTo>
                    <a:lnTo>
                      <a:pt x="644" y="312"/>
                    </a:lnTo>
                    <a:lnTo>
                      <a:pt x="692" y="310"/>
                    </a:lnTo>
                    <a:lnTo>
                      <a:pt x="730" y="306"/>
                    </a:lnTo>
                    <a:lnTo>
                      <a:pt x="730" y="306"/>
                    </a:lnTo>
                    <a:lnTo>
                      <a:pt x="742" y="304"/>
                    </a:lnTo>
                    <a:lnTo>
                      <a:pt x="750" y="300"/>
                    </a:lnTo>
                    <a:lnTo>
                      <a:pt x="752" y="296"/>
                    </a:lnTo>
                    <a:lnTo>
                      <a:pt x="752" y="290"/>
                    </a:lnTo>
                    <a:lnTo>
                      <a:pt x="752" y="284"/>
                    </a:lnTo>
                    <a:lnTo>
                      <a:pt x="754" y="284"/>
                    </a:lnTo>
                    <a:lnTo>
                      <a:pt x="762" y="286"/>
                    </a:lnTo>
                    <a:lnTo>
                      <a:pt x="762" y="286"/>
                    </a:lnTo>
                    <a:lnTo>
                      <a:pt x="770" y="290"/>
                    </a:lnTo>
                    <a:lnTo>
                      <a:pt x="780" y="292"/>
                    </a:lnTo>
                    <a:lnTo>
                      <a:pt x="790" y="294"/>
                    </a:lnTo>
                    <a:lnTo>
                      <a:pt x="800" y="292"/>
                    </a:lnTo>
                    <a:lnTo>
                      <a:pt x="812" y="290"/>
                    </a:lnTo>
                    <a:lnTo>
                      <a:pt x="822" y="286"/>
                    </a:lnTo>
                    <a:lnTo>
                      <a:pt x="832" y="278"/>
                    </a:lnTo>
                    <a:lnTo>
                      <a:pt x="842" y="270"/>
                    </a:lnTo>
                    <a:lnTo>
                      <a:pt x="842" y="270"/>
                    </a:lnTo>
                    <a:lnTo>
                      <a:pt x="852" y="260"/>
                    </a:lnTo>
                    <a:lnTo>
                      <a:pt x="866" y="248"/>
                    </a:lnTo>
                    <a:lnTo>
                      <a:pt x="882" y="238"/>
                    </a:lnTo>
                    <a:lnTo>
                      <a:pt x="902" y="228"/>
                    </a:lnTo>
                    <a:lnTo>
                      <a:pt x="954" y="204"/>
                    </a:lnTo>
                    <a:lnTo>
                      <a:pt x="1020" y="178"/>
                    </a:lnTo>
                    <a:lnTo>
                      <a:pt x="1020" y="178"/>
                    </a:lnTo>
                    <a:lnTo>
                      <a:pt x="1076" y="154"/>
                    </a:lnTo>
                    <a:lnTo>
                      <a:pt x="1092" y="146"/>
                    </a:lnTo>
                    <a:lnTo>
                      <a:pt x="1098" y="142"/>
                    </a:lnTo>
                    <a:lnTo>
                      <a:pt x="1098" y="140"/>
                    </a:lnTo>
                    <a:lnTo>
                      <a:pt x="1094" y="140"/>
                    </a:lnTo>
                    <a:lnTo>
                      <a:pt x="1084" y="140"/>
                    </a:lnTo>
                    <a:lnTo>
                      <a:pt x="1038" y="142"/>
                    </a:lnTo>
                    <a:lnTo>
                      <a:pt x="1038" y="142"/>
                    </a:lnTo>
                    <a:lnTo>
                      <a:pt x="1014" y="144"/>
                    </a:lnTo>
                    <a:lnTo>
                      <a:pt x="1002" y="144"/>
                    </a:lnTo>
                    <a:lnTo>
                      <a:pt x="1000" y="142"/>
                    </a:lnTo>
                    <a:lnTo>
                      <a:pt x="1000" y="142"/>
                    </a:lnTo>
                    <a:lnTo>
                      <a:pt x="1006" y="138"/>
                    </a:lnTo>
                    <a:lnTo>
                      <a:pt x="1034" y="130"/>
                    </a:lnTo>
                    <a:lnTo>
                      <a:pt x="1072" y="122"/>
                    </a:lnTo>
                    <a:lnTo>
                      <a:pt x="1072" y="122"/>
                    </a:lnTo>
                    <a:lnTo>
                      <a:pt x="1118" y="112"/>
                    </a:lnTo>
                    <a:lnTo>
                      <a:pt x="1172" y="100"/>
                    </a:lnTo>
                    <a:lnTo>
                      <a:pt x="1198" y="92"/>
                    </a:lnTo>
                    <a:lnTo>
                      <a:pt x="1218" y="84"/>
                    </a:lnTo>
                    <a:lnTo>
                      <a:pt x="1232" y="76"/>
                    </a:lnTo>
                    <a:lnTo>
                      <a:pt x="1236" y="72"/>
                    </a:lnTo>
                    <a:lnTo>
                      <a:pt x="1236" y="68"/>
                    </a:lnTo>
                    <a:lnTo>
                      <a:pt x="1236" y="68"/>
                    </a:lnTo>
                    <a:lnTo>
                      <a:pt x="1236" y="64"/>
                    </a:lnTo>
                    <a:lnTo>
                      <a:pt x="1234" y="62"/>
                    </a:lnTo>
                    <a:lnTo>
                      <a:pt x="1224" y="58"/>
                    </a:lnTo>
                    <a:lnTo>
                      <a:pt x="1210" y="58"/>
                    </a:lnTo>
                    <a:lnTo>
                      <a:pt x="1196" y="56"/>
                    </a:lnTo>
                    <a:lnTo>
                      <a:pt x="1182" y="56"/>
                    </a:lnTo>
                    <a:lnTo>
                      <a:pt x="1168" y="54"/>
                    </a:lnTo>
                    <a:lnTo>
                      <a:pt x="1160" y="50"/>
                    </a:lnTo>
                    <a:lnTo>
                      <a:pt x="1158" y="48"/>
                    </a:lnTo>
                    <a:lnTo>
                      <a:pt x="1156" y="44"/>
                    </a:lnTo>
                    <a:lnTo>
                      <a:pt x="1156" y="44"/>
                    </a:lnTo>
                    <a:lnTo>
                      <a:pt x="1156" y="40"/>
                    </a:lnTo>
                    <a:lnTo>
                      <a:pt x="1154" y="36"/>
                    </a:lnTo>
                    <a:lnTo>
                      <a:pt x="1146" y="30"/>
                    </a:lnTo>
                    <a:lnTo>
                      <a:pt x="1136" y="26"/>
                    </a:lnTo>
                    <a:lnTo>
                      <a:pt x="1122" y="24"/>
                    </a:lnTo>
                    <a:lnTo>
                      <a:pt x="1094" y="20"/>
                    </a:lnTo>
                    <a:lnTo>
                      <a:pt x="1078" y="20"/>
                    </a:lnTo>
                    <a:lnTo>
                      <a:pt x="1078" y="20"/>
                    </a:lnTo>
                    <a:lnTo>
                      <a:pt x="1062" y="22"/>
                    </a:lnTo>
                    <a:lnTo>
                      <a:pt x="1050" y="22"/>
                    </a:lnTo>
                    <a:lnTo>
                      <a:pt x="1038" y="22"/>
                    </a:lnTo>
                    <a:lnTo>
                      <a:pt x="1018" y="30"/>
                    </a:lnTo>
                    <a:lnTo>
                      <a:pt x="1018" y="30"/>
                    </a:lnTo>
                    <a:lnTo>
                      <a:pt x="1004" y="34"/>
                    </a:lnTo>
                    <a:lnTo>
                      <a:pt x="990" y="38"/>
                    </a:lnTo>
                    <a:lnTo>
                      <a:pt x="962" y="40"/>
                    </a:lnTo>
                    <a:lnTo>
                      <a:pt x="948" y="40"/>
                    </a:lnTo>
                    <a:lnTo>
                      <a:pt x="948" y="40"/>
                    </a:lnTo>
                    <a:lnTo>
                      <a:pt x="948" y="38"/>
                    </a:lnTo>
                    <a:lnTo>
                      <a:pt x="958" y="36"/>
                    </a:lnTo>
                    <a:lnTo>
                      <a:pt x="958" y="36"/>
                    </a:lnTo>
                    <a:lnTo>
                      <a:pt x="986" y="30"/>
                    </a:lnTo>
                    <a:lnTo>
                      <a:pt x="1004" y="24"/>
                    </a:lnTo>
                    <a:lnTo>
                      <a:pt x="1008" y="22"/>
                    </a:lnTo>
                    <a:lnTo>
                      <a:pt x="1008" y="20"/>
                    </a:lnTo>
                    <a:lnTo>
                      <a:pt x="1006" y="20"/>
                    </a:lnTo>
                    <a:lnTo>
                      <a:pt x="998" y="18"/>
                    </a:lnTo>
                    <a:lnTo>
                      <a:pt x="980" y="16"/>
                    </a:lnTo>
                    <a:lnTo>
                      <a:pt x="980" y="16"/>
                    </a:lnTo>
                    <a:lnTo>
                      <a:pt x="958" y="16"/>
                    </a:lnTo>
                    <a:lnTo>
                      <a:pt x="942" y="14"/>
                    </a:lnTo>
                    <a:lnTo>
                      <a:pt x="912" y="6"/>
                    </a:lnTo>
                    <a:lnTo>
                      <a:pt x="900" y="2"/>
                    </a:lnTo>
                    <a:lnTo>
                      <a:pt x="888" y="0"/>
                    </a:lnTo>
                    <a:lnTo>
                      <a:pt x="874" y="0"/>
                    </a:lnTo>
                    <a:lnTo>
                      <a:pt x="858" y="2"/>
                    </a:lnTo>
                    <a:lnTo>
                      <a:pt x="858" y="2"/>
                    </a:lnTo>
                    <a:lnTo>
                      <a:pt x="830" y="4"/>
                    </a:lnTo>
                    <a:lnTo>
                      <a:pt x="808" y="4"/>
                    </a:lnTo>
                    <a:lnTo>
                      <a:pt x="788" y="4"/>
                    </a:lnTo>
                    <a:lnTo>
                      <a:pt x="776" y="6"/>
                    </a:lnTo>
                    <a:lnTo>
                      <a:pt x="762" y="10"/>
                    </a:lnTo>
                    <a:lnTo>
                      <a:pt x="762" y="10"/>
                    </a:lnTo>
                    <a:lnTo>
                      <a:pt x="746" y="14"/>
                    </a:lnTo>
                    <a:lnTo>
                      <a:pt x="728" y="14"/>
                    </a:lnTo>
                    <a:lnTo>
                      <a:pt x="690" y="10"/>
                    </a:lnTo>
                    <a:lnTo>
                      <a:pt x="666" y="10"/>
                    </a:lnTo>
                    <a:lnTo>
                      <a:pt x="640" y="10"/>
                    </a:lnTo>
                    <a:lnTo>
                      <a:pt x="608" y="12"/>
                    </a:lnTo>
                    <a:lnTo>
                      <a:pt x="574" y="20"/>
                    </a:lnTo>
                    <a:lnTo>
                      <a:pt x="574" y="20"/>
                    </a:lnTo>
                    <a:lnTo>
                      <a:pt x="556" y="22"/>
                    </a:lnTo>
                    <a:lnTo>
                      <a:pt x="540" y="22"/>
                    </a:lnTo>
                    <a:lnTo>
                      <a:pt x="526" y="20"/>
                    </a:lnTo>
                    <a:lnTo>
                      <a:pt x="514" y="16"/>
                    </a:lnTo>
                    <a:lnTo>
                      <a:pt x="500" y="14"/>
                    </a:lnTo>
                    <a:lnTo>
                      <a:pt x="490" y="12"/>
                    </a:lnTo>
                    <a:lnTo>
                      <a:pt x="478" y="14"/>
                    </a:lnTo>
                    <a:lnTo>
                      <a:pt x="466" y="18"/>
                    </a:lnTo>
                    <a:lnTo>
                      <a:pt x="466" y="18"/>
                    </a:lnTo>
                    <a:lnTo>
                      <a:pt x="454" y="22"/>
                    </a:lnTo>
                    <a:lnTo>
                      <a:pt x="442" y="24"/>
                    </a:lnTo>
                    <a:lnTo>
                      <a:pt x="432" y="24"/>
                    </a:lnTo>
                    <a:lnTo>
                      <a:pt x="422" y="24"/>
                    </a:lnTo>
                    <a:lnTo>
                      <a:pt x="416" y="22"/>
                    </a:lnTo>
                    <a:lnTo>
                      <a:pt x="412" y="24"/>
                    </a:lnTo>
                    <a:lnTo>
                      <a:pt x="416" y="28"/>
                    </a:lnTo>
                    <a:lnTo>
                      <a:pt x="424" y="36"/>
                    </a:lnTo>
                    <a:lnTo>
                      <a:pt x="424" y="36"/>
                    </a:lnTo>
                    <a:lnTo>
                      <a:pt x="430" y="44"/>
                    </a:lnTo>
                    <a:lnTo>
                      <a:pt x="430" y="46"/>
                    </a:lnTo>
                    <a:lnTo>
                      <a:pt x="430" y="48"/>
                    </a:lnTo>
                    <a:lnTo>
                      <a:pt x="424" y="48"/>
                    </a:lnTo>
                    <a:lnTo>
                      <a:pt x="414" y="46"/>
                    </a:lnTo>
                    <a:lnTo>
                      <a:pt x="404" y="44"/>
                    </a:lnTo>
                    <a:lnTo>
                      <a:pt x="392" y="42"/>
                    </a:lnTo>
                    <a:lnTo>
                      <a:pt x="384" y="44"/>
                    </a:lnTo>
                    <a:lnTo>
                      <a:pt x="380" y="46"/>
                    </a:lnTo>
                    <a:lnTo>
                      <a:pt x="378" y="50"/>
                    </a:lnTo>
                    <a:lnTo>
                      <a:pt x="378" y="50"/>
                    </a:lnTo>
                    <a:lnTo>
                      <a:pt x="376" y="58"/>
                    </a:lnTo>
                    <a:lnTo>
                      <a:pt x="372" y="62"/>
                    </a:lnTo>
                    <a:lnTo>
                      <a:pt x="366" y="66"/>
                    </a:lnTo>
                    <a:lnTo>
                      <a:pt x="360" y="68"/>
                    </a:lnTo>
                    <a:lnTo>
                      <a:pt x="352" y="70"/>
                    </a:lnTo>
                    <a:lnTo>
                      <a:pt x="340" y="70"/>
                    </a:lnTo>
                    <a:lnTo>
                      <a:pt x="312" y="68"/>
                    </a:lnTo>
                    <a:lnTo>
                      <a:pt x="312" y="68"/>
                    </a:lnTo>
                    <a:lnTo>
                      <a:pt x="300" y="66"/>
                    </a:lnTo>
                    <a:lnTo>
                      <a:pt x="292" y="64"/>
                    </a:lnTo>
                    <a:lnTo>
                      <a:pt x="290" y="60"/>
                    </a:lnTo>
                    <a:lnTo>
                      <a:pt x="290" y="58"/>
                    </a:lnTo>
                    <a:lnTo>
                      <a:pt x="290" y="56"/>
                    </a:lnTo>
                    <a:lnTo>
                      <a:pt x="288" y="54"/>
                    </a:lnTo>
                    <a:lnTo>
                      <a:pt x="280" y="52"/>
                    </a:lnTo>
                    <a:lnTo>
                      <a:pt x="264" y="52"/>
                    </a:lnTo>
                    <a:lnTo>
                      <a:pt x="264" y="52"/>
                    </a:lnTo>
                    <a:lnTo>
                      <a:pt x="250" y="52"/>
                    </a:lnTo>
                    <a:lnTo>
                      <a:pt x="244" y="52"/>
                    </a:lnTo>
                    <a:lnTo>
                      <a:pt x="244" y="56"/>
                    </a:lnTo>
                    <a:lnTo>
                      <a:pt x="246" y="60"/>
                    </a:lnTo>
                    <a:lnTo>
                      <a:pt x="248" y="64"/>
                    </a:lnTo>
                    <a:lnTo>
                      <a:pt x="248" y="66"/>
                    </a:lnTo>
                    <a:lnTo>
                      <a:pt x="248" y="68"/>
                    </a:lnTo>
                    <a:lnTo>
                      <a:pt x="240" y="72"/>
                    </a:lnTo>
                    <a:lnTo>
                      <a:pt x="224" y="76"/>
                    </a:lnTo>
                    <a:lnTo>
                      <a:pt x="224" y="76"/>
                    </a:lnTo>
                    <a:lnTo>
                      <a:pt x="208" y="78"/>
                    </a:lnTo>
                    <a:lnTo>
                      <a:pt x="206" y="78"/>
                    </a:lnTo>
                    <a:lnTo>
                      <a:pt x="206" y="80"/>
                    </a:lnTo>
                    <a:lnTo>
                      <a:pt x="212" y="82"/>
                    </a:lnTo>
                    <a:lnTo>
                      <a:pt x="224" y="86"/>
                    </a:lnTo>
                    <a:lnTo>
                      <a:pt x="248" y="92"/>
                    </a:lnTo>
                    <a:lnTo>
                      <a:pt x="254" y="94"/>
                    </a:lnTo>
                    <a:lnTo>
                      <a:pt x="252" y="96"/>
                    </a:lnTo>
                    <a:lnTo>
                      <a:pt x="248" y="98"/>
                    </a:lnTo>
                    <a:lnTo>
                      <a:pt x="248" y="98"/>
                    </a:lnTo>
                    <a:lnTo>
                      <a:pt x="238" y="98"/>
                    </a:lnTo>
                    <a:lnTo>
                      <a:pt x="228" y="98"/>
                    </a:lnTo>
                    <a:lnTo>
                      <a:pt x="206" y="92"/>
                    </a:lnTo>
                    <a:lnTo>
                      <a:pt x="194" y="90"/>
                    </a:lnTo>
                    <a:lnTo>
                      <a:pt x="180" y="88"/>
                    </a:lnTo>
                    <a:lnTo>
                      <a:pt x="166" y="86"/>
                    </a:lnTo>
                    <a:lnTo>
                      <a:pt x="146" y="88"/>
                    </a:lnTo>
                    <a:lnTo>
                      <a:pt x="146" y="88"/>
                    </a:lnTo>
                    <a:lnTo>
                      <a:pt x="130" y="92"/>
                    </a:lnTo>
                    <a:lnTo>
                      <a:pt x="120" y="94"/>
                    </a:lnTo>
                    <a:lnTo>
                      <a:pt x="112" y="98"/>
                    </a:lnTo>
                    <a:lnTo>
                      <a:pt x="108" y="102"/>
                    </a:lnTo>
                    <a:lnTo>
                      <a:pt x="104" y="106"/>
                    </a:lnTo>
                    <a:lnTo>
                      <a:pt x="100" y="106"/>
                    </a:lnTo>
                    <a:lnTo>
                      <a:pt x="92" y="108"/>
                    </a:lnTo>
                    <a:lnTo>
                      <a:pt x="80" y="106"/>
                    </a:lnTo>
                    <a:lnTo>
                      <a:pt x="80" y="106"/>
                    </a:lnTo>
                    <a:lnTo>
                      <a:pt x="66" y="104"/>
                    </a:lnTo>
                    <a:lnTo>
                      <a:pt x="50" y="104"/>
                    </a:lnTo>
                    <a:lnTo>
                      <a:pt x="36" y="108"/>
                    </a:lnTo>
                    <a:lnTo>
                      <a:pt x="22" y="112"/>
                    </a:lnTo>
                    <a:lnTo>
                      <a:pt x="12" y="118"/>
                    </a:lnTo>
                    <a:lnTo>
                      <a:pt x="4" y="124"/>
                    </a:lnTo>
                    <a:lnTo>
                      <a:pt x="0" y="130"/>
                    </a:lnTo>
                    <a:lnTo>
                      <a:pt x="2" y="134"/>
                    </a:lnTo>
                    <a:lnTo>
                      <a:pt x="4" y="138"/>
                    </a:lnTo>
                    <a:lnTo>
                      <a:pt x="4" y="138"/>
                    </a:lnTo>
                    <a:lnTo>
                      <a:pt x="8" y="142"/>
                    </a:lnTo>
                    <a:lnTo>
                      <a:pt x="12" y="144"/>
                    </a:lnTo>
                    <a:lnTo>
                      <a:pt x="16" y="144"/>
                    </a:lnTo>
                    <a:lnTo>
                      <a:pt x="22" y="144"/>
                    </a:lnTo>
                    <a:lnTo>
                      <a:pt x="32" y="144"/>
                    </a:lnTo>
                    <a:lnTo>
                      <a:pt x="36" y="144"/>
                    </a:lnTo>
                    <a:lnTo>
                      <a:pt x="44" y="148"/>
                    </a:lnTo>
                    <a:lnTo>
                      <a:pt x="44" y="148"/>
                    </a:lnTo>
                    <a:close/>
                  </a:path>
                </a:pathLst>
              </a:custGeom>
              <a:grpFill/>
              <a:ln w="6350">
                <a:noFill/>
                <a:round/>
                <a:headEnd/>
                <a:tailEnd/>
              </a:ln>
            </p:spPr>
            <p:txBody>
              <a:bodyPr/>
              <a:lstStyle/>
              <a:p>
                <a:endParaRPr lang="da-DK" sz="2800" b="1"/>
              </a:p>
            </p:txBody>
          </p:sp>
          <p:sp>
            <p:nvSpPr>
              <p:cNvPr id="87" name="Freeform 6107">
                <a:extLst>
                  <a:ext uri="{FF2B5EF4-FFF2-40B4-BE49-F238E27FC236}">
                    <a16:creationId xmlns:a16="http://schemas.microsoft.com/office/drawing/2014/main" id="{5E86B04C-2BB5-4C20-BC48-64014F0403A6}"/>
                  </a:ext>
                </a:extLst>
              </p:cNvPr>
              <p:cNvSpPr>
                <a:spLocks/>
              </p:cNvSpPr>
              <p:nvPr/>
            </p:nvSpPr>
            <p:spPr bwMode="auto">
              <a:xfrm>
                <a:off x="2335530" y="1211263"/>
                <a:ext cx="121920" cy="48260"/>
              </a:xfrm>
              <a:custGeom>
                <a:avLst/>
                <a:gdLst/>
                <a:ahLst/>
                <a:cxnLst>
                  <a:cxn ang="0">
                    <a:pos x="2" y="16"/>
                  </a:cxn>
                  <a:cxn ang="0">
                    <a:pos x="2" y="16"/>
                  </a:cxn>
                  <a:cxn ang="0">
                    <a:pos x="0" y="24"/>
                  </a:cxn>
                  <a:cxn ang="0">
                    <a:pos x="2" y="30"/>
                  </a:cxn>
                  <a:cxn ang="0">
                    <a:pos x="6" y="34"/>
                  </a:cxn>
                  <a:cxn ang="0">
                    <a:pos x="18" y="38"/>
                  </a:cxn>
                  <a:cxn ang="0">
                    <a:pos x="18" y="38"/>
                  </a:cxn>
                  <a:cxn ang="0">
                    <a:pos x="22" y="42"/>
                  </a:cxn>
                  <a:cxn ang="0">
                    <a:pos x="26" y="46"/>
                  </a:cxn>
                  <a:cxn ang="0">
                    <a:pos x="26" y="52"/>
                  </a:cxn>
                  <a:cxn ang="0">
                    <a:pos x="28" y="56"/>
                  </a:cxn>
                  <a:cxn ang="0">
                    <a:pos x="30" y="62"/>
                  </a:cxn>
                  <a:cxn ang="0">
                    <a:pos x="36" y="66"/>
                  </a:cxn>
                  <a:cxn ang="0">
                    <a:pos x="46" y="72"/>
                  </a:cxn>
                  <a:cxn ang="0">
                    <a:pos x="46" y="72"/>
                  </a:cxn>
                  <a:cxn ang="0">
                    <a:pos x="56" y="76"/>
                  </a:cxn>
                  <a:cxn ang="0">
                    <a:pos x="66" y="76"/>
                  </a:cxn>
                  <a:cxn ang="0">
                    <a:pos x="72" y="76"/>
                  </a:cxn>
                  <a:cxn ang="0">
                    <a:pos x="80" y="74"/>
                  </a:cxn>
                  <a:cxn ang="0">
                    <a:pos x="94" y="68"/>
                  </a:cxn>
                  <a:cxn ang="0">
                    <a:pos x="104" y="66"/>
                  </a:cxn>
                  <a:cxn ang="0">
                    <a:pos x="118" y="68"/>
                  </a:cxn>
                  <a:cxn ang="0">
                    <a:pos x="118" y="68"/>
                  </a:cxn>
                  <a:cxn ang="0">
                    <a:pos x="148" y="70"/>
                  </a:cxn>
                  <a:cxn ang="0">
                    <a:pos x="176" y="72"/>
                  </a:cxn>
                  <a:cxn ang="0">
                    <a:pos x="184" y="70"/>
                  </a:cxn>
                  <a:cxn ang="0">
                    <a:pos x="192" y="68"/>
                  </a:cxn>
                  <a:cxn ang="0">
                    <a:pos x="192" y="66"/>
                  </a:cxn>
                  <a:cxn ang="0">
                    <a:pos x="192" y="62"/>
                  </a:cxn>
                  <a:cxn ang="0">
                    <a:pos x="188" y="58"/>
                  </a:cxn>
                  <a:cxn ang="0">
                    <a:pos x="188" y="58"/>
                  </a:cxn>
                  <a:cxn ang="0">
                    <a:pos x="174" y="42"/>
                  </a:cxn>
                  <a:cxn ang="0">
                    <a:pos x="166" y="34"/>
                  </a:cxn>
                  <a:cxn ang="0">
                    <a:pos x="156" y="26"/>
                  </a:cxn>
                  <a:cxn ang="0">
                    <a:pos x="144" y="18"/>
                  </a:cxn>
                  <a:cxn ang="0">
                    <a:pos x="130" y="12"/>
                  </a:cxn>
                  <a:cxn ang="0">
                    <a:pos x="114" y="10"/>
                  </a:cxn>
                  <a:cxn ang="0">
                    <a:pos x="96" y="10"/>
                  </a:cxn>
                  <a:cxn ang="0">
                    <a:pos x="96" y="10"/>
                  </a:cxn>
                  <a:cxn ang="0">
                    <a:pos x="76" y="8"/>
                  </a:cxn>
                  <a:cxn ang="0">
                    <a:pos x="58" y="6"/>
                  </a:cxn>
                  <a:cxn ang="0">
                    <a:pos x="30" y="2"/>
                  </a:cxn>
                  <a:cxn ang="0">
                    <a:pos x="18" y="0"/>
                  </a:cxn>
                  <a:cxn ang="0">
                    <a:pos x="10" y="2"/>
                  </a:cxn>
                  <a:cxn ang="0">
                    <a:pos x="8" y="4"/>
                  </a:cxn>
                  <a:cxn ang="0">
                    <a:pos x="4" y="6"/>
                  </a:cxn>
                  <a:cxn ang="0">
                    <a:pos x="2" y="16"/>
                  </a:cxn>
                  <a:cxn ang="0">
                    <a:pos x="2" y="16"/>
                  </a:cxn>
                </a:cxnLst>
                <a:rect l="0" t="0" r="r" b="b"/>
                <a:pathLst>
                  <a:path w="192" h="76">
                    <a:moveTo>
                      <a:pt x="2" y="16"/>
                    </a:moveTo>
                    <a:lnTo>
                      <a:pt x="2" y="16"/>
                    </a:lnTo>
                    <a:lnTo>
                      <a:pt x="0" y="24"/>
                    </a:lnTo>
                    <a:lnTo>
                      <a:pt x="2" y="30"/>
                    </a:lnTo>
                    <a:lnTo>
                      <a:pt x="6" y="34"/>
                    </a:lnTo>
                    <a:lnTo>
                      <a:pt x="18" y="38"/>
                    </a:lnTo>
                    <a:lnTo>
                      <a:pt x="18" y="38"/>
                    </a:lnTo>
                    <a:lnTo>
                      <a:pt x="22" y="42"/>
                    </a:lnTo>
                    <a:lnTo>
                      <a:pt x="26" y="46"/>
                    </a:lnTo>
                    <a:lnTo>
                      <a:pt x="26" y="52"/>
                    </a:lnTo>
                    <a:lnTo>
                      <a:pt x="28" y="56"/>
                    </a:lnTo>
                    <a:lnTo>
                      <a:pt x="30" y="62"/>
                    </a:lnTo>
                    <a:lnTo>
                      <a:pt x="36" y="66"/>
                    </a:lnTo>
                    <a:lnTo>
                      <a:pt x="46" y="72"/>
                    </a:lnTo>
                    <a:lnTo>
                      <a:pt x="46" y="72"/>
                    </a:lnTo>
                    <a:lnTo>
                      <a:pt x="56" y="76"/>
                    </a:lnTo>
                    <a:lnTo>
                      <a:pt x="66" y="76"/>
                    </a:lnTo>
                    <a:lnTo>
                      <a:pt x="72" y="76"/>
                    </a:lnTo>
                    <a:lnTo>
                      <a:pt x="80" y="74"/>
                    </a:lnTo>
                    <a:lnTo>
                      <a:pt x="94" y="68"/>
                    </a:lnTo>
                    <a:lnTo>
                      <a:pt x="104" y="66"/>
                    </a:lnTo>
                    <a:lnTo>
                      <a:pt x="118" y="68"/>
                    </a:lnTo>
                    <a:lnTo>
                      <a:pt x="118" y="68"/>
                    </a:lnTo>
                    <a:lnTo>
                      <a:pt x="148" y="70"/>
                    </a:lnTo>
                    <a:lnTo>
                      <a:pt x="176" y="72"/>
                    </a:lnTo>
                    <a:lnTo>
                      <a:pt x="184" y="70"/>
                    </a:lnTo>
                    <a:lnTo>
                      <a:pt x="192" y="68"/>
                    </a:lnTo>
                    <a:lnTo>
                      <a:pt x="192" y="66"/>
                    </a:lnTo>
                    <a:lnTo>
                      <a:pt x="192" y="62"/>
                    </a:lnTo>
                    <a:lnTo>
                      <a:pt x="188" y="58"/>
                    </a:lnTo>
                    <a:lnTo>
                      <a:pt x="188" y="58"/>
                    </a:lnTo>
                    <a:lnTo>
                      <a:pt x="174" y="42"/>
                    </a:lnTo>
                    <a:lnTo>
                      <a:pt x="166" y="34"/>
                    </a:lnTo>
                    <a:lnTo>
                      <a:pt x="156" y="26"/>
                    </a:lnTo>
                    <a:lnTo>
                      <a:pt x="144" y="18"/>
                    </a:lnTo>
                    <a:lnTo>
                      <a:pt x="130" y="12"/>
                    </a:lnTo>
                    <a:lnTo>
                      <a:pt x="114" y="10"/>
                    </a:lnTo>
                    <a:lnTo>
                      <a:pt x="96" y="10"/>
                    </a:lnTo>
                    <a:lnTo>
                      <a:pt x="96" y="10"/>
                    </a:lnTo>
                    <a:lnTo>
                      <a:pt x="76" y="8"/>
                    </a:lnTo>
                    <a:lnTo>
                      <a:pt x="58" y="6"/>
                    </a:lnTo>
                    <a:lnTo>
                      <a:pt x="30" y="2"/>
                    </a:lnTo>
                    <a:lnTo>
                      <a:pt x="18" y="0"/>
                    </a:lnTo>
                    <a:lnTo>
                      <a:pt x="10" y="2"/>
                    </a:lnTo>
                    <a:lnTo>
                      <a:pt x="8" y="4"/>
                    </a:lnTo>
                    <a:lnTo>
                      <a:pt x="4" y="6"/>
                    </a:lnTo>
                    <a:lnTo>
                      <a:pt x="2" y="16"/>
                    </a:lnTo>
                    <a:lnTo>
                      <a:pt x="2" y="16"/>
                    </a:lnTo>
                    <a:close/>
                  </a:path>
                </a:pathLst>
              </a:custGeom>
              <a:grpFill/>
              <a:ln w="6350">
                <a:noFill/>
                <a:round/>
                <a:headEnd/>
                <a:tailEnd/>
              </a:ln>
            </p:spPr>
            <p:txBody>
              <a:bodyPr/>
              <a:lstStyle/>
              <a:p>
                <a:endParaRPr lang="da-DK" sz="2800" b="1"/>
              </a:p>
            </p:txBody>
          </p:sp>
          <p:sp>
            <p:nvSpPr>
              <p:cNvPr id="88" name="Freeform 6108">
                <a:extLst>
                  <a:ext uri="{FF2B5EF4-FFF2-40B4-BE49-F238E27FC236}">
                    <a16:creationId xmlns:a16="http://schemas.microsoft.com/office/drawing/2014/main" id="{DD49682A-91BB-4648-AB93-5E0209B75BB7}"/>
                  </a:ext>
                </a:extLst>
              </p:cNvPr>
              <p:cNvSpPr>
                <a:spLocks/>
              </p:cNvSpPr>
              <p:nvPr/>
            </p:nvSpPr>
            <p:spPr bwMode="auto">
              <a:xfrm>
                <a:off x="1762760" y="1103313"/>
                <a:ext cx="29210" cy="11430"/>
              </a:xfrm>
              <a:custGeom>
                <a:avLst/>
                <a:gdLst/>
                <a:ahLst/>
                <a:cxnLst>
                  <a:cxn ang="0">
                    <a:pos x="2" y="18"/>
                  </a:cxn>
                  <a:cxn ang="0">
                    <a:pos x="2" y="18"/>
                  </a:cxn>
                  <a:cxn ang="0">
                    <a:pos x="8" y="18"/>
                  </a:cxn>
                  <a:cxn ang="0">
                    <a:pos x="14" y="18"/>
                  </a:cxn>
                  <a:cxn ang="0">
                    <a:pos x="30" y="12"/>
                  </a:cxn>
                  <a:cxn ang="0">
                    <a:pos x="42" y="4"/>
                  </a:cxn>
                  <a:cxn ang="0">
                    <a:pos x="46" y="2"/>
                  </a:cxn>
                  <a:cxn ang="0">
                    <a:pos x="44" y="0"/>
                  </a:cxn>
                  <a:cxn ang="0">
                    <a:pos x="44" y="0"/>
                  </a:cxn>
                  <a:cxn ang="0">
                    <a:pos x="32" y="2"/>
                  </a:cxn>
                  <a:cxn ang="0">
                    <a:pos x="16" y="6"/>
                  </a:cxn>
                  <a:cxn ang="0">
                    <a:pos x="2" y="14"/>
                  </a:cxn>
                  <a:cxn ang="0">
                    <a:pos x="0" y="16"/>
                  </a:cxn>
                  <a:cxn ang="0">
                    <a:pos x="2" y="18"/>
                  </a:cxn>
                  <a:cxn ang="0">
                    <a:pos x="2" y="18"/>
                  </a:cxn>
                </a:cxnLst>
                <a:rect l="0" t="0" r="r" b="b"/>
                <a:pathLst>
                  <a:path w="46" h="18">
                    <a:moveTo>
                      <a:pt x="2" y="18"/>
                    </a:moveTo>
                    <a:lnTo>
                      <a:pt x="2" y="18"/>
                    </a:lnTo>
                    <a:lnTo>
                      <a:pt x="8" y="18"/>
                    </a:lnTo>
                    <a:lnTo>
                      <a:pt x="14" y="18"/>
                    </a:lnTo>
                    <a:lnTo>
                      <a:pt x="30" y="12"/>
                    </a:lnTo>
                    <a:lnTo>
                      <a:pt x="42" y="4"/>
                    </a:lnTo>
                    <a:lnTo>
                      <a:pt x="46" y="2"/>
                    </a:lnTo>
                    <a:lnTo>
                      <a:pt x="44" y="0"/>
                    </a:lnTo>
                    <a:lnTo>
                      <a:pt x="44" y="0"/>
                    </a:lnTo>
                    <a:lnTo>
                      <a:pt x="32" y="2"/>
                    </a:lnTo>
                    <a:lnTo>
                      <a:pt x="16" y="6"/>
                    </a:lnTo>
                    <a:lnTo>
                      <a:pt x="2" y="14"/>
                    </a:lnTo>
                    <a:lnTo>
                      <a:pt x="0" y="16"/>
                    </a:lnTo>
                    <a:lnTo>
                      <a:pt x="2" y="18"/>
                    </a:lnTo>
                    <a:lnTo>
                      <a:pt x="2" y="18"/>
                    </a:lnTo>
                    <a:close/>
                  </a:path>
                </a:pathLst>
              </a:custGeom>
              <a:grpFill/>
              <a:ln w="6350">
                <a:noFill/>
                <a:round/>
                <a:headEnd/>
                <a:tailEnd/>
              </a:ln>
            </p:spPr>
            <p:txBody>
              <a:bodyPr/>
              <a:lstStyle/>
              <a:p>
                <a:endParaRPr lang="da-DK" sz="2800" b="1"/>
              </a:p>
            </p:txBody>
          </p:sp>
          <p:sp>
            <p:nvSpPr>
              <p:cNvPr id="89" name="Freeform 6109">
                <a:extLst>
                  <a:ext uri="{FF2B5EF4-FFF2-40B4-BE49-F238E27FC236}">
                    <a16:creationId xmlns:a16="http://schemas.microsoft.com/office/drawing/2014/main" id="{825AB81C-FFC9-4DFA-BC29-7CE2B8212BAB}"/>
                  </a:ext>
                </a:extLst>
              </p:cNvPr>
              <p:cNvSpPr>
                <a:spLocks/>
              </p:cNvSpPr>
              <p:nvPr/>
            </p:nvSpPr>
            <p:spPr bwMode="auto">
              <a:xfrm>
                <a:off x="1954530" y="1190943"/>
                <a:ext cx="138430" cy="102870"/>
              </a:xfrm>
              <a:custGeom>
                <a:avLst/>
                <a:gdLst/>
                <a:ahLst/>
                <a:cxnLst>
                  <a:cxn ang="0">
                    <a:pos x="166" y="92"/>
                  </a:cxn>
                  <a:cxn ang="0">
                    <a:pos x="186" y="66"/>
                  </a:cxn>
                  <a:cxn ang="0">
                    <a:pos x="216" y="36"/>
                  </a:cxn>
                  <a:cxn ang="0">
                    <a:pos x="218" y="28"/>
                  </a:cxn>
                  <a:cxn ang="0">
                    <a:pos x="216" y="22"/>
                  </a:cxn>
                  <a:cxn ang="0">
                    <a:pos x="204" y="16"/>
                  </a:cxn>
                  <a:cxn ang="0">
                    <a:pos x="190" y="12"/>
                  </a:cxn>
                  <a:cxn ang="0">
                    <a:pos x="172" y="12"/>
                  </a:cxn>
                  <a:cxn ang="0">
                    <a:pos x="156" y="16"/>
                  </a:cxn>
                  <a:cxn ang="0">
                    <a:pos x="140" y="12"/>
                  </a:cxn>
                  <a:cxn ang="0">
                    <a:pos x="122" y="4"/>
                  </a:cxn>
                  <a:cxn ang="0">
                    <a:pos x="106" y="0"/>
                  </a:cxn>
                  <a:cxn ang="0">
                    <a:pos x="84" y="0"/>
                  </a:cxn>
                  <a:cxn ang="0">
                    <a:pos x="48" y="6"/>
                  </a:cxn>
                  <a:cxn ang="0">
                    <a:pos x="20" y="16"/>
                  </a:cxn>
                  <a:cxn ang="0">
                    <a:pos x="16" y="24"/>
                  </a:cxn>
                  <a:cxn ang="0">
                    <a:pos x="22" y="30"/>
                  </a:cxn>
                  <a:cxn ang="0">
                    <a:pos x="18" y="32"/>
                  </a:cxn>
                  <a:cxn ang="0">
                    <a:pos x="6" y="32"/>
                  </a:cxn>
                  <a:cxn ang="0">
                    <a:pos x="0" y="48"/>
                  </a:cxn>
                  <a:cxn ang="0">
                    <a:pos x="0" y="74"/>
                  </a:cxn>
                  <a:cxn ang="0">
                    <a:pos x="2" y="98"/>
                  </a:cxn>
                  <a:cxn ang="0">
                    <a:pos x="10" y="114"/>
                  </a:cxn>
                  <a:cxn ang="0">
                    <a:pos x="20" y="134"/>
                  </a:cxn>
                  <a:cxn ang="0">
                    <a:pos x="20" y="142"/>
                  </a:cxn>
                  <a:cxn ang="0">
                    <a:pos x="22" y="154"/>
                  </a:cxn>
                  <a:cxn ang="0">
                    <a:pos x="30" y="156"/>
                  </a:cxn>
                  <a:cxn ang="0">
                    <a:pos x="54" y="156"/>
                  </a:cxn>
                  <a:cxn ang="0">
                    <a:pos x="62" y="160"/>
                  </a:cxn>
                  <a:cxn ang="0">
                    <a:pos x="70" y="160"/>
                  </a:cxn>
                  <a:cxn ang="0">
                    <a:pos x="76" y="146"/>
                  </a:cxn>
                  <a:cxn ang="0">
                    <a:pos x="82" y="138"/>
                  </a:cxn>
                  <a:cxn ang="0">
                    <a:pos x="90" y="132"/>
                  </a:cxn>
                  <a:cxn ang="0">
                    <a:pos x="90" y="122"/>
                  </a:cxn>
                  <a:cxn ang="0">
                    <a:pos x="86" y="114"/>
                  </a:cxn>
                  <a:cxn ang="0">
                    <a:pos x="84" y="106"/>
                  </a:cxn>
                  <a:cxn ang="0">
                    <a:pos x="88" y="104"/>
                  </a:cxn>
                  <a:cxn ang="0">
                    <a:pos x="112" y="106"/>
                  </a:cxn>
                  <a:cxn ang="0">
                    <a:pos x="142" y="106"/>
                  </a:cxn>
                  <a:cxn ang="0">
                    <a:pos x="156" y="102"/>
                  </a:cxn>
                  <a:cxn ang="0">
                    <a:pos x="166" y="92"/>
                  </a:cxn>
                </a:cxnLst>
                <a:rect l="0" t="0" r="r" b="b"/>
                <a:pathLst>
                  <a:path w="218" h="162">
                    <a:moveTo>
                      <a:pt x="166" y="92"/>
                    </a:moveTo>
                    <a:lnTo>
                      <a:pt x="166" y="92"/>
                    </a:lnTo>
                    <a:lnTo>
                      <a:pt x="176" y="80"/>
                    </a:lnTo>
                    <a:lnTo>
                      <a:pt x="186" y="66"/>
                    </a:lnTo>
                    <a:lnTo>
                      <a:pt x="208" y="46"/>
                    </a:lnTo>
                    <a:lnTo>
                      <a:pt x="216" y="36"/>
                    </a:lnTo>
                    <a:lnTo>
                      <a:pt x="218" y="32"/>
                    </a:lnTo>
                    <a:lnTo>
                      <a:pt x="218" y="28"/>
                    </a:lnTo>
                    <a:lnTo>
                      <a:pt x="218" y="24"/>
                    </a:lnTo>
                    <a:lnTo>
                      <a:pt x="216" y="22"/>
                    </a:lnTo>
                    <a:lnTo>
                      <a:pt x="210" y="18"/>
                    </a:lnTo>
                    <a:lnTo>
                      <a:pt x="204" y="16"/>
                    </a:lnTo>
                    <a:lnTo>
                      <a:pt x="204" y="16"/>
                    </a:lnTo>
                    <a:lnTo>
                      <a:pt x="190" y="12"/>
                    </a:lnTo>
                    <a:lnTo>
                      <a:pt x="180" y="12"/>
                    </a:lnTo>
                    <a:lnTo>
                      <a:pt x="172" y="12"/>
                    </a:lnTo>
                    <a:lnTo>
                      <a:pt x="166" y="14"/>
                    </a:lnTo>
                    <a:lnTo>
                      <a:pt x="156" y="16"/>
                    </a:lnTo>
                    <a:lnTo>
                      <a:pt x="148" y="16"/>
                    </a:lnTo>
                    <a:lnTo>
                      <a:pt x="140" y="12"/>
                    </a:lnTo>
                    <a:lnTo>
                      <a:pt x="140" y="12"/>
                    </a:lnTo>
                    <a:lnTo>
                      <a:pt x="122" y="4"/>
                    </a:lnTo>
                    <a:lnTo>
                      <a:pt x="114" y="2"/>
                    </a:lnTo>
                    <a:lnTo>
                      <a:pt x="106" y="0"/>
                    </a:lnTo>
                    <a:lnTo>
                      <a:pt x="96" y="0"/>
                    </a:lnTo>
                    <a:lnTo>
                      <a:pt x="84" y="0"/>
                    </a:lnTo>
                    <a:lnTo>
                      <a:pt x="48" y="6"/>
                    </a:lnTo>
                    <a:lnTo>
                      <a:pt x="48" y="6"/>
                    </a:lnTo>
                    <a:lnTo>
                      <a:pt x="30" y="10"/>
                    </a:lnTo>
                    <a:lnTo>
                      <a:pt x="20" y="16"/>
                    </a:lnTo>
                    <a:lnTo>
                      <a:pt x="16" y="20"/>
                    </a:lnTo>
                    <a:lnTo>
                      <a:pt x="16" y="24"/>
                    </a:lnTo>
                    <a:lnTo>
                      <a:pt x="22" y="30"/>
                    </a:lnTo>
                    <a:lnTo>
                      <a:pt x="22" y="30"/>
                    </a:lnTo>
                    <a:lnTo>
                      <a:pt x="18" y="32"/>
                    </a:lnTo>
                    <a:lnTo>
                      <a:pt x="18" y="32"/>
                    </a:lnTo>
                    <a:lnTo>
                      <a:pt x="8" y="30"/>
                    </a:lnTo>
                    <a:lnTo>
                      <a:pt x="6" y="32"/>
                    </a:lnTo>
                    <a:lnTo>
                      <a:pt x="4" y="36"/>
                    </a:lnTo>
                    <a:lnTo>
                      <a:pt x="0" y="48"/>
                    </a:lnTo>
                    <a:lnTo>
                      <a:pt x="0" y="74"/>
                    </a:lnTo>
                    <a:lnTo>
                      <a:pt x="0" y="74"/>
                    </a:lnTo>
                    <a:lnTo>
                      <a:pt x="0" y="88"/>
                    </a:lnTo>
                    <a:lnTo>
                      <a:pt x="2" y="98"/>
                    </a:lnTo>
                    <a:lnTo>
                      <a:pt x="6" y="108"/>
                    </a:lnTo>
                    <a:lnTo>
                      <a:pt x="10" y="114"/>
                    </a:lnTo>
                    <a:lnTo>
                      <a:pt x="18" y="126"/>
                    </a:lnTo>
                    <a:lnTo>
                      <a:pt x="20" y="134"/>
                    </a:lnTo>
                    <a:lnTo>
                      <a:pt x="20" y="142"/>
                    </a:lnTo>
                    <a:lnTo>
                      <a:pt x="20" y="142"/>
                    </a:lnTo>
                    <a:lnTo>
                      <a:pt x="20" y="150"/>
                    </a:lnTo>
                    <a:lnTo>
                      <a:pt x="22" y="154"/>
                    </a:lnTo>
                    <a:lnTo>
                      <a:pt x="26" y="156"/>
                    </a:lnTo>
                    <a:lnTo>
                      <a:pt x="30" y="156"/>
                    </a:lnTo>
                    <a:lnTo>
                      <a:pt x="46" y="156"/>
                    </a:lnTo>
                    <a:lnTo>
                      <a:pt x="54" y="156"/>
                    </a:lnTo>
                    <a:lnTo>
                      <a:pt x="62" y="160"/>
                    </a:lnTo>
                    <a:lnTo>
                      <a:pt x="62" y="160"/>
                    </a:lnTo>
                    <a:lnTo>
                      <a:pt x="68" y="162"/>
                    </a:lnTo>
                    <a:lnTo>
                      <a:pt x="70" y="160"/>
                    </a:lnTo>
                    <a:lnTo>
                      <a:pt x="76" y="146"/>
                    </a:lnTo>
                    <a:lnTo>
                      <a:pt x="76" y="146"/>
                    </a:lnTo>
                    <a:lnTo>
                      <a:pt x="78" y="140"/>
                    </a:lnTo>
                    <a:lnTo>
                      <a:pt x="82" y="138"/>
                    </a:lnTo>
                    <a:lnTo>
                      <a:pt x="88" y="134"/>
                    </a:lnTo>
                    <a:lnTo>
                      <a:pt x="90" y="132"/>
                    </a:lnTo>
                    <a:lnTo>
                      <a:pt x="90" y="128"/>
                    </a:lnTo>
                    <a:lnTo>
                      <a:pt x="90" y="122"/>
                    </a:lnTo>
                    <a:lnTo>
                      <a:pt x="86" y="114"/>
                    </a:lnTo>
                    <a:lnTo>
                      <a:pt x="86" y="114"/>
                    </a:lnTo>
                    <a:lnTo>
                      <a:pt x="84" y="110"/>
                    </a:lnTo>
                    <a:lnTo>
                      <a:pt x="84" y="106"/>
                    </a:lnTo>
                    <a:lnTo>
                      <a:pt x="86" y="104"/>
                    </a:lnTo>
                    <a:lnTo>
                      <a:pt x="88" y="104"/>
                    </a:lnTo>
                    <a:lnTo>
                      <a:pt x="98" y="104"/>
                    </a:lnTo>
                    <a:lnTo>
                      <a:pt x="112" y="106"/>
                    </a:lnTo>
                    <a:lnTo>
                      <a:pt x="128" y="108"/>
                    </a:lnTo>
                    <a:lnTo>
                      <a:pt x="142" y="106"/>
                    </a:lnTo>
                    <a:lnTo>
                      <a:pt x="150" y="106"/>
                    </a:lnTo>
                    <a:lnTo>
                      <a:pt x="156" y="102"/>
                    </a:lnTo>
                    <a:lnTo>
                      <a:pt x="162" y="98"/>
                    </a:lnTo>
                    <a:lnTo>
                      <a:pt x="166" y="92"/>
                    </a:lnTo>
                    <a:lnTo>
                      <a:pt x="166" y="92"/>
                    </a:lnTo>
                    <a:close/>
                  </a:path>
                </a:pathLst>
              </a:custGeom>
              <a:grpFill/>
              <a:ln w="6350">
                <a:noFill/>
                <a:round/>
                <a:headEnd/>
                <a:tailEnd/>
              </a:ln>
            </p:spPr>
            <p:txBody>
              <a:bodyPr/>
              <a:lstStyle/>
              <a:p>
                <a:endParaRPr lang="da-DK" sz="2800" b="1"/>
              </a:p>
            </p:txBody>
          </p:sp>
          <p:sp>
            <p:nvSpPr>
              <p:cNvPr id="90" name="Freeform 6110">
                <a:extLst>
                  <a:ext uri="{FF2B5EF4-FFF2-40B4-BE49-F238E27FC236}">
                    <a16:creationId xmlns:a16="http://schemas.microsoft.com/office/drawing/2014/main" id="{CC1D0D87-25AD-4320-9640-35B55F5F4FCB}"/>
                  </a:ext>
                </a:extLst>
              </p:cNvPr>
              <p:cNvSpPr>
                <a:spLocks/>
              </p:cNvSpPr>
              <p:nvPr/>
            </p:nvSpPr>
            <p:spPr bwMode="auto">
              <a:xfrm>
                <a:off x="2172970" y="1573213"/>
                <a:ext cx="176530" cy="121920"/>
              </a:xfrm>
              <a:custGeom>
                <a:avLst/>
                <a:gdLst/>
                <a:ahLst/>
                <a:cxnLst>
                  <a:cxn ang="0">
                    <a:pos x="272" y="132"/>
                  </a:cxn>
                  <a:cxn ang="0">
                    <a:pos x="258" y="122"/>
                  </a:cxn>
                  <a:cxn ang="0">
                    <a:pos x="250" y="126"/>
                  </a:cxn>
                  <a:cxn ang="0">
                    <a:pos x="236" y="124"/>
                  </a:cxn>
                  <a:cxn ang="0">
                    <a:pos x="228" y="120"/>
                  </a:cxn>
                  <a:cxn ang="0">
                    <a:pos x="220" y="102"/>
                  </a:cxn>
                  <a:cxn ang="0">
                    <a:pos x="212" y="88"/>
                  </a:cxn>
                  <a:cxn ang="0">
                    <a:pos x="192" y="78"/>
                  </a:cxn>
                  <a:cxn ang="0">
                    <a:pos x="178" y="72"/>
                  </a:cxn>
                  <a:cxn ang="0">
                    <a:pos x="140" y="46"/>
                  </a:cxn>
                  <a:cxn ang="0">
                    <a:pos x="122" y="34"/>
                  </a:cxn>
                  <a:cxn ang="0">
                    <a:pos x="110" y="34"/>
                  </a:cxn>
                  <a:cxn ang="0">
                    <a:pos x="106" y="36"/>
                  </a:cxn>
                  <a:cxn ang="0">
                    <a:pos x="100" y="40"/>
                  </a:cxn>
                  <a:cxn ang="0">
                    <a:pos x="96" y="38"/>
                  </a:cxn>
                  <a:cxn ang="0">
                    <a:pos x="86" y="24"/>
                  </a:cxn>
                  <a:cxn ang="0">
                    <a:pos x="76" y="8"/>
                  </a:cxn>
                  <a:cxn ang="0">
                    <a:pos x="66" y="0"/>
                  </a:cxn>
                  <a:cxn ang="0">
                    <a:pos x="62" y="2"/>
                  </a:cxn>
                  <a:cxn ang="0">
                    <a:pos x="54" y="6"/>
                  </a:cxn>
                  <a:cxn ang="0">
                    <a:pos x="42" y="26"/>
                  </a:cxn>
                  <a:cxn ang="0">
                    <a:pos x="36" y="58"/>
                  </a:cxn>
                  <a:cxn ang="0">
                    <a:pos x="34" y="90"/>
                  </a:cxn>
                  <a:cxn ang="0">
                    <a:pos x="38" y="106"/>
                  </a:cxn>
                  <a:cxn ang="0">
                    <a:pos x="38" y="116"/>
                  </a:cxn>
                  <a:cxn ang="0">
                    <a:pos x="34" y="124"/>
                  </a:cxn>
                  <a:cxn ang="0">
                    <a:pos x="18" y="134"/>
                  </a:cxn>
                  <a:cxn ang="0">
                    <a:pos x="4" y="142"/>
                  </a:cxn>
                  <a:cxn ang="0">
                    <a:pos x="0" y="150"/>
                  </a:cxn>
                  <a:cxn ang="0">
                    <a:pos x="4" y="158"/>
                  </a:cxn>
                  <a:cxn ang="0">
                    <a:pos x="4" y="160"/>
                  </a:cxn>
                  <a:cxn ang="0">
                    <a:pos x="16" y="162"/>
                  </a:cxn>
                  <a:cxn ang="0">
                    <a:pos x="50" y="156"/>
                  </a:cxn>
                  <a:cxn ang="0">
                    <a:pos x="64" y="156"/>
                  </a:cxn>
                  <a:cxn ang="0">
                    <a:pos x="66" y="162"/>
                  </a:cxn>
                  <a:cxn ang="0">
                    <a:pos x="66" y="166"/>
                  </a:cxn>
                  <a:cxn ang="0">
                    <a:pos x="70" y="182"/>
                  </a:cxn>
                  <a:cxn ang="0">
                    <a:pos x="82" y="190"/>
                  </a:cxn>
                  <a:cxn ang="0">
                    <a:pos x="96" y="190"/>
                  </a:cxn>
                  <a:cxn ang="0">
                    <a:pos x="110" y="176"/>
                  </a:cxn>
                  <a:cxn ang="0">
                    <a:pos x="114" y="166"/>
                  </a:cxn>
                  <a:cxn ang="0">
                    <a:pos x="124" y="160"/>
                  </a:cxn>
                  <a:cxn ang="0">
                    <a:pos x="134" y="158"/>
                  </a:cxn>
                  <a:cxn ang="0">
                    <a:pos x="142" y="150"/>
                  </a:cxn>
                  <a:cxn ang="0">
                    <a:pos x="144" y="142"/>
                  </a:cxn>
                  <a:cxn ang="0">
                    <a:pos x="154" y="128"/>
                  </a:cxn>
                  <a:cxn ang="0">
                    <a:pos x="170" y="124"/>
                  </a:cxn>
                  <a:cxn ang="0">
                    <a:pos x="184" y="130"/>
                  </a:cxn>
                  <a:cxn ang="0">
                    <a:pos x="192" y="142"/>
                  </a:cxn>
                  <a:cxn ang="0">
                    <a:pos x="194" y="148"/>
                  </a:cxn>
                  <a:cxn ang="0">
                    <a:pos x="198" y="154"/>
                  </a:cxn>
                  <a:cxn ang="0">
                    <a:pos x="214" y="156"/>
                  </a:cxn>
                  <a:cxn ang="0">
                    <a:pos x="232" y="160"/>
                  </a:cxn>
                  <a:cxn ang="0">
                    <a:pos x="254" y="162"/>
                  </a:cxn>
                  <a:cxn ang="0">
                    <a:pos x="272" y="158"/>
                  </a:cxn>
                  <a:cxn ang="0">
                    <a:pos x="278" y="148"/>
                  </a:cxn>
                  <a:cxn ang="0">
                    <a:pos x="272" y="132"/>
                  </a:cxn>
                </a:cxnLst>
                <a:rect l="0" t="0" r="r" b="b"/>
                <a:pathLst>
                  <a:path w="278" h="192">
                    <a:moveTo>
                      <a:pt x="272" y="132"/>
                    </a:moveTo>
                    <a:lnTo>
                      <a:pt x="272" y="132"/>
                    </a:lnTo>
                    <a:lnTo>
                      <a:pt x="262" y="122"/>
                    </a:lnTo>
                    <a:lnTo>
                      <a:pt x="258" y="122"/>
                    </a:lnTo>
                    <a:lnTo>
                      <a:pt x="256" y="122"/>
                    </a:lnTo>
                    <a:lnTo>
                      <a:pt x="250" y="126"/>
                    </a:lnTo>
                    <a:lnTo>
                      <a:pt x="244" y="126"/>
                    </a:lnTo>
                    <a:lnTo>
                      <a:pt x="236" y="124"/>
                    </a:lnTo>
                    <a:lnTo>
                      <a:pt x="236" y="124"/>
                    </a:lnTo>
                    <a:lnTo>
                      <a:pt x="228" y="120"/>
                    </a:lnTo>
                    <a:lnTo>
                      <a:pt x="224" y="114"/>
                    </a:lnTo>
                    <a:lnTo>
                      <a:pt x="220" y="102"/>
                    </a:lnTo>
                    <a:lnTo>
                      <a:pt x="218" y="96"/>
                    </a:lnTo>
                    <a:lnTo>
                      <a:pt x="212" y="88"/>
                    </a:lnTo>
                    <a:lnTo>
                      <a:pt x="204" y="82"/>
                    </a:lnTo>
                    <a:lnTo>
                      <a:pt x="192" y="78"/>
                    </a:lnTo>
                    <a:lnTo>
                      <a:pt x="192" y="78"/>
                    </a:lnTo>
                    <a:lnTo>
                      <a:pt x="178" y="72"/>
                    </a:lnTo>
                    <a:lnTo>
                      <a:pt x="164" y="64"/>
                    </a:lnTo>
                    <a:lnTo>
                      <a:pt x="140" y="46"/>
                    </a:lnTo>
                    <a:lnTo>
                      <a:pt x="130" y="38"/>
                    </a:lnTo>
                    <a:lnTo>
                      <a:pt x="122" y="34"/>
                    </a:lnTo>
                    <a:lnTo>
                      <a:pt x="114" y="32"/>
                    </a:lnTo>
                    <a:lnTo>
                      <a:pt x="110" y="34"/>
                    </a:lnTo>
                    <a:lnTo>
                      <a:pt x="106" y="36"/>
                    </a:lnTo>
                    <a:lnTo>
                      <a:pt x="106" y="36"/>
                    </a:lnTo>
                    <a:lnTo>
                      <a:pt x="104" y="38"/>
                    </a:lnTo>
                    <a:lnTo>
                      <a:pt x="100" y="40"/>
                    </a:lnTo>
                    <a:lnTo>
                      <a:pt x="98" y="40"/>
                    </a:lnTo>
                    <a:lnTo>
                      <a:pt x="96" y="38"/>
                    </a:lnTo>
                    <a:lnTo>
                      <a:pt x="90" y="32"/>
                    </a:lnTo>
                    <a:lnTo>
                      <a:pt x="86" y="24"/>
                    </a:lnTo>
                    <a:lnTo>
                      <a:pt x="82" y="14"/>
                    </a:lnTo>
                    <a:lnTo>
                      <a:pt x="76" y="8"/>
                    </a:lnTo>
                    <a:lnTo>
                      <a:pt x="70" y="2"/>
                    </a:lnTo>
                    <a:lnTo>
                      <a:pt x="66" y="0"/>
                    </a:lnTo>
                    <a:lnTo>
                      <a:pt x="62" y="2"/>
                    </a:lnTo>
                    <a:lnTo>
                      <a:pt x="62" y="2"/>
                    </a:lnTo>
                    <a:lnTo>
                      <a:pt x="58" y="2"/>
                    </a:lnTo>
                    <a:lnTo>
                      <a:pt x="54" y="6"/>
                    </a:lnTo>
                    <a:lnTo>
                      <a:pt x="48" y="14"/>
                    </a:lnTo>
                    <a:lnTo>
                      <a:pt x="42" y="26"/>
                    </a:lnTo>
                    <a:lnTo>
                      <a:pt x="38" y="42"/>
                    </a:lnTo>
                    <a:lnTo>
                      <a:pt x="36" y="58"/>
                    </a:lnTo>
                    <a:lnTo>
                      <a:pt x="34" y="74"/>
                    </a:lnTo>
                    <a:lnTo>
                      <a:pt x="34" y="90"/>
                    </a:lnTo>
                    <a:lnTo>
                      <a:pt x="38" y="106"/>
                    </a:lnTo>
                    <a:lnTo>
                      <a:pt x="38" y="106"/>
                    </a:lnTo>
                    <a:lnTo>
                      <a:pt x="38" y="112"/>
                    </a:lnTo>
                    <a:lnTo>
                      <a:pt x="38" y="116"/>
                    </a:lnTo>
                    <a:lnTo>
                      <a:pt x="36" y="122"/>
                    </a:lnTo>
                    <a:lnTo>
                      <a:pt x="34" y="124"/>
                    </a:lnTo>
                    <a:lnTo>
                      <a:pt x="26" y="130"/>
                    </a:lnTo>
                    <a:lnTo>
                      <a:pt x="18" y="134"/>
                    </a:lnTo>
                    <a:lnTo>
                      <a:pt x="10" y="138"/>
                    </a:lnTo>
                    <a:lnTo>
                      <a:pt x="4" y="142"/>
                    </a:lnTo>
                    <a:lnTo>
                      <a:pt x="2" y="146"/>
                    </a:lnTo>
                    <a:lnTo>
                      <a:pt x="0" y="150"/>
                    </a:lnTo>
                    <a:lnTo>
                      <a:pt x="2" y="154"/>
                    </a:lnTo>
                    <a:lnTo>
                      <a:pt x="4" y="158"/>
                    </a:lnTo>
                    <a:lnTo>
                      <a:pt x="4" y="158"/>
                    </a:lnTo>
                    <a:lnTo>
                      <a:pt x="4" y="160"/>
                    </a:lnTo>
                    <a:lnTo>
                      <a:pt x="8" y="162"/>
                    </a:lnTo>
                    <a:lnTo>
                      <a:pt x="16" y="162"/>
                    </a:lnTo>
                    <a:lnTo>
                      <a:pt x="38" y="158"/>
                    </a:lnTo>
                    <a:lnTo>
                      <a:pt x="50" y="156"/>
                    </a:lnTo>
                    <a:lnTo>
                      <a:pt x="60" y="156"/>
                    </a:lnTo>
                    <a:lnTo>
                      <a:pt x="64" y="156"/>
                    </a:lnTo>
                    <a:lnTo>
                      <a:pt x="66" y="158"/>
                    </a:lnTo>
                    <a:lnTo>
                      <a:pt x="66" y="162"/>
                    </a:lnTo>
                    <a:lnTo>
                      <a:pt x="66" y="166"/>
                    </a:lnTo>
                    <a:lnTo>
                      <a:pt x="66" y="166"/>
                    </a:lnTo>
                    <a:lnTo>
                      <a:pt x="66" y="174"/>
                    </a:lnTo>
                    <a:lnTo>
                      <a:pt x="70" y="182"/>
                    </a:lnTo>
                    <a:lnTo>
                      <a:pt x="74" y="188"/>
                    </a:lnTo>
                    <a:lnTo>
                      <a:pt x="82" y="190"/>
                    </a:lnTo>
                    <a:lnTo>
                      <a:pt x="88" y="192"/>
                    </a:lnTo>
                    <a:lnTo>
                      <a:pt x="96" y="190"/>
                    </a:lnTo>
                    <a:lnTo>
                      <a:pt x="104" y="184"/>
                    </a:lnTo>
                    <a:lnTo>
                      <a:pt x="110" y="176"/>
                    </a:lnTo>
                    <a:lnTo>
                      <a:pt x="110" y="176"/>
                    </a:lnTo>
                    <a:lnTo>
                      <a:pt x="114" y="166"/>
                    </a:lnTo>
                    <a:lnTo>
                      <a:pt x="120" y="162"/>
                    </a:lnTo>
                    <a:lnTo>
                      <a:pt x="124" y="160"/>
                    </a:lnTo>
                    <a:lnTo>
                      <a:pt x="130" y="158"/>
                    </a:lnTo>
                    <a:lnTo>
                      <a:pt x="134" y="158"/>
                    </a:lnTo>
                    <a:lnTo>
                      <a:pt x="138" y="156"/>
                    </a:lnTo>
                    <a:lnTo>
                      <a:pt x="142" y="150"/>
                    </a:lnTo>
                    <a:lnTo>
                      <a:pt x="144" y="142"/>
                    </a:lnTo>
                    <a:lnTo>
                      <a:pt x="144" y="142"/>
                    </a:lnTo>
                    <a:lnTo>
                      <a:pt x="148" y="134"/>
                    </a:lnTo>
                    <a:lnTo>
                      <a:pt x="154" y="128"/>
                    </a:lnTo>
                    <a:lnTo>
                      <a:pt x="162" y="124"/>
                    </a:lnTo>
                    <a:lnTo>
                      <a:pt x="170" y="124"/>
                    </a:lnTo>
                    <a:lnTo>
                      <a:pt x="178" y="126"/>
                    </a:lnTo>
                    <a:lnTo>
                      <a:pt x="184" y="130"/>
                    </a:lnTo>
                    <a:lnTo>
                      <a:pt x="190" y="136"/>
                    </a:lnTo>
                    <a:lnTo>
                      <a:pt x="192" y="142"/>
                    </a:lnTo>
                    <a:lnTo>
                      <a:pt x="192" y="142"/>
                    </a:lnTo>
                    <a:lnTo>
                      <a:pt x="194" y="148"/>
                    </a:lnTo>
                    <a:lnTo>
                      <a:pt x="196" y="152"/>
                    </a:lnTo>
                    <a:lnTo>
                      <a:pt x="198" y="154"/>
                    </a:lnTo>
                    <a:lnTo>
                      <a:pt x="202" y="156"/>
                    </a:lnTo>
                    <a:lnTo>
                      <a:pt x="214" y="156"/>
                    </a:lnTo>
                    <a:lnTo>
                      <a:pt x="232" y="160"/>
                    </a:lnTo>
                    <a:lnTo>
                      <a:pt x="232" y="160"/>
                    </a:lnTo>
                    <a:lnTo>
                      <a:pt x="244" y="162"/>
                    </a:lnTo>
                    <a:lnTo>
                      <a:pt x="254" y="162"/>
                    </a:lnTo>
                    <a:lnTo>
                      <a:pt x="264" y="160"/>
                    </a:lnTo>
                    <a:lnTo>
                      <a:pt x="272" y="158"/>
                    </a:lnTo>
                    <a:lnTo>
                      <a:pt x="276" y="154"/>
                    </a:lnTo>
                    <a:lnTo>
                      <a:pt x="278" y="148"/>
                    </a:lnTo>
                    <a:lnTo>
                      <a:pt x="278" y="140"/>
                    </a:lnTo>
                    <a:lnTo>
                      <a:pt x="272" y="132"/>
                    </a:lnTo>
                    <a:lnTo>
                      <a:pt x="272" y="132"/>
                    </a:lnTo>
                    <a:close/>
                  </a:path>
                </a:pathLst>
              </a:custGeom>
              <a:grpFill/>
              <a:ln w="6350">
                <a:noFill/>
                <a:round/>
                <a:headEnd/>
                <a:tailEnd/>
              </a:ln>
            </p:spPr>
            <p:txBody>
              <a:bodyPr/>
              <a:lstStyle/>
              <a:p>
                <a:endParaRPr lang="da-DK" sz="2800" b="1"/>
              </a:p>
            </p:txBody>
          </p:sp>
          <p:sp>
            <p:nvSpPr>
              <p:cNvPr id="91" name="Freeform 6111">
                <a:extLst>
                  <a:ext uri="{FF2B5EF4-FFF2-40B4-BE49-F238E27FC236}">
                    <a16:creationId xmlns:a16="http://schemas.microsoft.com/office/drawing/2014/main" id="{E22D3017-D582-4FD2-95C3-A6604E18EB8D}"/>
                  </a:ext>
                </a:extLst>
              </p:cNvPr>
              <p:cNvSpPr>
                <a:spLocks/>
              </p:cNvSpPr>
              <p:nvPr/>
            </p:nvSpPr>
            <p:spPr bwMode="auto">
              <a:xfrm>
                <a:off x="2178050" y="1465263"/>
                <a:ext cx="15240" cy="24130"/>
              </a:xfrm>
              <a:custGeom>
                <a:avLst/>
                <a:gdLst/>
                <a:ahLst/>
                <a:cxnLst>
                  <a:cxn ang="0">
                    <a:pos x="4" y="28"/>
                  </a:cxn>
                  <a:cxn ang="0">
                    <a:pos x="4" y="28"/>
                  </a:cxn>
                  <a:cxn ang="0">
                    <a:pos x="12" y="36"/>
                  </a:cxn>
                  <a:cxn ang="0">
                    <a:pos x="16" y="38"/>
                  </a:cxn>
                  <a:cxn ang="0">
                    <a:pos x="18" y="38"/>
                  </a:cxn>
                  <a:cxn ang="0">
                    <a:pos x="22" y="36"/>
                  </a:cxn>
                  <a:cxn ang="0">
                    <a:pos x="24" y="30"/>
                  </a:cxn>
                  <a:cxn ang="0">
                    <a:pos x="24" y="12"/>
                  </a:cxn>
                  <a:cxn ang="0">
                    <a:pos x="20" y="0"/>
                  </a:cxn>
                  <a:cxn ang="0">
                    <a:pos x="20" y="0"/>
                  </a:cxn>
                  <a:cxn ang="0">
                    <a:pos x="18" y="0"/>
                  </a:cxn>
                  <a:cxn ang="0">
                    <a:pos x="14" y="0"/>
                  </a:cxn>
                  <a:cxn ang="0">
                    <a:pos x="10" y="2"/>
                  </a:cxn>
                  <a:cxn ang="0">
                    <a:pos x="6" y="6"/>
                  </a:cxn>
                  <a:cxn ang="0">
                    <a:pos x="2" y="10"/>
                  </a:cxn>
                  <a:cxn ang="0">
                    <a:pos x="0" y="16"/>
                  </a:cxn>
                  <a:cxn ang="0">
                    <a:pos x="0" y="22"/>
                  </a:cxn>
                  <a:cxn ang="0">
                    <a:pos x="4" y="28"/>
                  </a:cxn>
                  <a:cxn ang="0">
                    <a:pos x="4" y="28"/>
                  </a:cxn>
                </a:cxnLst>
                <a:rect l="0" t="0" r="r" b="b"/>
                <a:pathLst>
                  <a:path w="24" h="38">
                    <a:moveTo>
                      <a:pt x="4" y="28"/>
                    </a:moveTo>
                    <a:lnTo>
                      <a:pt x="4" y="28"/>
                    </a:lnTo>
                    <a:lnTo>
                      <a:pt x="12" y="36"/>
                    </a:lnTo>
                    <a:lnTo>
                      <a:pt x="16" y="38"/>
                    </a:lnTo>
                    <a:lnTo>
                      <a:pt x="18" y="38"/>
                    </a:lnTo>
                    <a:lnTo>
                      <a:pt x="22" y="36"/>
                    </a:lnTo>
                    <a:lnTo>
                      <a:pt x="24" y="30"/>
                    </a:lnTo>
                    <a:lnTo>
                      <a:pt x="24" y="12"/>
                    </a:lnTo>
                    <a:lnTo>
                      <a:pt x="20" y="0"/>
                    </a:lnTo>
                    <a:lnTo>
                      <a:pt x="20" y="0"/>
                    </a:lnTo>
                    <a:lnTo>
                      <a:pt x="18" y="0"/>
                    </a:lnTo>
                    <a:lnTo>
                      <a:pt x="14" y="0"/>
                    </a:lnTo>
                    <a:lnTo>
                      <a:pt x="10" y="2"/>
                    </a:lnTo>
                    <a:lnTo>
                      <a:pt x="6" y="6"/>
                    </a:lnTo>
                    <a:lnTo>
                      <a:pt x="2" y="10"/>
                    </a:lnTo>
                    <a:lnTo>
                      <a:pt x="0" y="16"/>
                    </a:lnTo>
                    <a:lnTo>
                      <a:pt x="0" y="22"/>
                    </a:lnTo>
                    <a:lnTo>
                      <a:pt x="4" y="28"/>
                    </a:lnTo>
                    <a:lnTo>
                      <a:pt x="4" y="28"/>
                    </a:lnTo>
                    <a:close/>
                  </a:path>
                </a:pathLst>
              </a:custGeom>
              <a:grpFill/>
              <a:ln w="6350">
                <a:noFill/>
                <a:round/>
                <a:headEnd/>
                <a:tailEnd/>
              </a:ln>
            </p:spPr>
            <p:txBody>
              <a:bodyPr/>
              <a:lstStyle/>
              <a:p>
                <a:endParaRPr lang="da-DK" sz="2800" b="1"/>
              </a:p>
            </p:txBody>
          </p:sp>
          <p:sp>
            <p:nvSpPr>
              <p:cNvPr id="92" name="Freeform 6112">
                <a:extLst>
                  <a:ext uri="{FF2B5EF4-FFF2-40B4-BE49-F238E27FC236}">
                    <a16:creationId xmlns:a16="http://schemas.microsoft.com/office/drawing/2014/main" id="{666DEB0A-7AAA-487D-9C2D-9BFF61260CDB}"/>
                  </a:ext>
                </a:extLst>
              </p:cNvPr>
              <p:cNvSpPr>
                <a:spLocks/>
              </p:cNvSpPr>
              <p:nvPr/>
            </p:nvSpPr>
            <p:spPr bwMode="auto">
              <a:xfrm>
                <a:off x="2258060" y="1697673"/>
                <a:ext cx="52070" cy="36830"/>
              </a:xfrm>
              <a:custGeom>
                <a:avLst/>
                <a:gdLst/>
                <a:ahLst/>
                <a:cxnLst>
                  <a:cxn ang="0">
                    <a:pos x="78" y="4"/>
                  </a:cxn>
                  <a:cxn ang="0">
                    <a:pos x="78" y="4"/>
                  </a:cxn>
                  <a:cxn ang="0">
                    <a:pos x="72" y="2"/>
                  </a:cxn>
                  <a:cxn ang="0">
                    <a:pos x="68" y="0"/>
                  </a:cxn>
                  <a:cxn ang="0">
                    <a:pos x="54" y="2"/>
                  </a:cxn>
                  <a:cxn ang="0">
                    <a:pos x="38" y="6"/>
                  </a:cxn>
                  <a:cxn ang="0">
                    <a:pos x="24" y="14"/>
                  </a:cxn>
                  <a:cxn ang="0">
                    <a:pos x="12" y="22"/>
                  </a:cxn>
                  <a:cxn ang="0">
                    <a:pos x="4" y="32"/>
                  </a:cxn>
                  <a:cxn ang="0">
                    <a:pos x="0" y="38"/>
                  </a:cxn>
                  <a:cxn ang="0">
                    <a:pos x="0" y="42"/>
                  </a:cxn>
                  <a:cxn ang="0">
                    <a:pos x="2" y="48"/>
                  </a:cxn>
                  <a:cxn ang="0">
                    <a:pos x="6" y="52"/>
                  </a:cxn>
                  <a:cxn ang="0">
                    <a:pos x="6" y="52"/>
                  </a:cxn>
                  <a:cxn ang="0">
                    <a:pos x="10" y="56"/>
                  </a:cxn>
                  <a:cxn ang="0">
                    <a:pos x="16" y="58"/>
                  </a:cxn>
                  <a:cxn ang="0">
                    <a:pos x="22" y="58"/>
                  </a:cxn>
                  <a:cxn ang="0">
                    <a:pos x="28" y="56"/>
                  </a:cxn>
                  <a:cxn ang="0">
                    <a:pos x="42" y="50"/>
                  </a:cxn>
                  <a:cxn ang="0">
                    <a:pos x="58" y="42"/>
                  </a:cxn>
                  <a:cxn ang="0">
                    <a:pos x="70" y="32"/>
                  </a:cxn>
                  <a:cxn ang="0">
                    <a:pos x="78" y="20"/>
                  </a:cxn>
                  <a:cxn ang="0">
                    <a:pos x="80" y="16"/>
                  </a:cxn>
                  <a:cxn ang="0">
                    <a:pos x="82" y="10"/>
                  </a:cxn>
                  <a:cxn ang="0">
                    <a:pos x="80" y="6"/>
                  </a:cxn>
                  <a:cxn ang="0">
                    <a:pos x="78" y="4"/>
                  </a:cxn>
                  <a:cxn ang="0">
                    <a:pos x="78" y="4"/>
                  </a:cxn>
                </a:cxnLst>
                <a:rect l="0" t="0" r="r" b="b"/>
                <a:pathLst>
                  <a:path w="82" h="58">
                    <a:moveTo>
                      <a:pt x="78" y="4"/>
                    </a:moveTo>
                    <a:lnTo>
                      <a:pt x="78" y="4"/>
                    </a:lnTo>
                    <a:lnTo>
                      <a:pt x="72" y="2"/>
                    </a:lnTo>
                    <a:lnTo>
                      <a:pt x="68" y="0"/>
                    </a:lnTo>
                    <a:lnTo>
                      <a:pt x="54" y="2"/>
                    </a:lnTo>
                    <a:lnTo>
                      <a:pt x="38" y="6"/>
                    </a:lnTo>
                    <a:lnTo>
                      <a:pt x="24" y="14"/>
                    </a:lnTo>
                    <a:lnTo>
                      <a:pt x="12" y="22"/>
                    </a:lnTo>
                    <a:lnTo>
                      <a:pt x="4" y="32"/>
                    </a:lnTo>
                    <a:lnTo>
                      <a:pt x="0" y="38"/>
                    </a:lnTo>
                    <a:lnTo>
                      <a:pt x="0" y="42"/>
                    </a:lnTo>
                    <a:lnTo>
                      <a:pt x="2" y="48"/>
                    </a:lnTo>
                    <a:lnTo>
                      <a:pt x="6" y="52"/>
                    </a:lnTo>
                    <a:lnTo>
                      <a:pt x="6" y="52"/>
                    </a:lnTo>
                    <a:lnTo>
                      <a:pt x="10" y="56"/>
                    </a:lnTo>
                    <a:lnTo>
                      <a:pt x="16" y="58"/>
                    </a:lnTo>
                    <a:lnTo>
                      <a:pt x="22" y="58"/>
                    </a:lnTo>
                    <a:lnTo>
                      <a:pt x="28" y="56"/>
                    </a:lnTo>
                    <a:lnTo>
                      <a:pt x="42" y="50"/>
                    </a:lnTo>
                    <a:lnTo>
                      <a:pt x="58" y="42"/>
                    </a:lnTo>
                    <a:lnTo>
                      <a:pt x="70" y="32"/>
                    </a:lnTo>
                    <a:lnTo>
                      <a:pt x="78" y="20"/>
                    </a:lnTo>
                    <a:lnTo>
                      <a:pt x="80" y="16"/>
                    </a:lnTo>
                    <a:lnTo>
                      <a:pt x="82" y="10"/>
                    </a:lnTo>
                    <a:lnTo>
                      <a:pt x="80" y="6"/>
                    </a:lnTo>
                    <a:lnTo>
                      <a:pt x="78" y="4"/>
                    </a:lnTo>
                    <a:lnTo>
                      <a:pt x="78" y="4"/>
                    </a:lnTo>
                    <a:close/>
                  </a:path>
                </a:pathLst>
              </a:custGeom>
              <a:grpFill/>
              <a:ln w="6350">
                <a:noFill/>
                <a:round/>
                <a:headEnd/>
                <a:tailEnd/>
              </a:ln>
            </p:spPr>
            <p:txBody>
              <a:bodyPr/>
              <a:lstStyle/>
              <a:p>
                <a:endParaRPr lang="da-DK" sz="2800" b="1"/>
              </a:p>
            </p:txBody>
          </p:sp>
          <p:sp>
            <p:nvSpPr>
              <p:cNvPr id="93" name="Freeform 6113">
                <a:extLst>
                  <a:ext uri="{FF2B5EF4-FFF2-40B4-BE49-F238E27FC236}">
                    <a16:creationId xmlns:a16="http://schemas.microsoft.com/office/drawing/2014/main" id="{0EDBBC4B-1831-4132-B664-A1DE473D4A76}"/>
                  </a:ext>
                </a:extLst>
              </p:cNvPr>
              <p:cNvSpPr>
                <a:spLocks/>
              </p:cNvSpPr>
              <p:nvPr/>
            </p:nvSpPr>
            <p:spPr bwMode="auto">
              <a:xfrm>
                <a:off x="1357630" y="1230313"/>
                <a:ext cx="467360" cy="227330"/>
              </a:xfrm>
              <a:custGeom>
                <a:avLst/>
                <a:gdLst/>
                <a:ahLst/>
                <a:cxnLst>
                  <a:cxn ang="0">
                    <a:pos x="700" y="272"/>
                  </a:cxn>
                  <a:cxn ang="0">
                    <a:pos x="720" y="274"/>
                  </a:cxn>
                  <a:cxn ang="0">
                    <a:pos x="736" y="254"/>
                  </a:cxn>
                  <a:cxn ang="0">
                    <a:pos x="708" y="238"/>
                  </a:cxn>
                  <a:cxn ang="0">
                    <a:pos x="684" y="224"/>
                  </a:cxn>
                  <a:cxn ang="0">
                    <a:pos x="646" y="206"/>
                  </a:cxn>
                  <a:cxn ang="0">
                    <a:pos x="608" y="190"/>
                  </a:cxn>
                  <a:cxn ang="0">
                    <a:pos x="586" y="166"/>
                  </a:cxn>
                  <a:cxn ang="0">
                    <a:pos x="592" y="128"/>
                  </a:cxn>
                  <a:cxn ang="0">
                    <a:pos x="560" y="58"/>
                  </a:cxn>
                  <a:cxn ang="0">
                    <a:pos x="506" y="10"/>
                  </a:cxn>
                  <a:cxn ang="0">
                    <a:pos x="482" y="10"/>
                  </a:cxn>
                  <a:cxn ang="0">
                    <a:pos x="438" y="8"/>
                  </a:cxn>
                  <a:cxn ang="0">
                    <a:pos x="450" y="68"/>
                  </a:cxn>
                  <a:cxn ang="0">
                    <a:pos x="478" y="114"/>
                  </a:cxn>
                  <a:cxn ang="0">
                    <a:pos x="456" y="132"/>
                  </a:cxn>
                  <a:cxn ang="0">
                    <a:pos x="420" y="68"/>
                  </a:cxn>
                  <a:cxn ang="0">
                    <a:pos x="382" y="40"/>
                  </a:cxn>
                  <a:cxn ang="0">
                    <a:pos x="354" y="26"/>
                  </a:cxn>
                  <a:cxn ang="0">
                    <a:pos x="352" y="40"/>
                  </a:cxn>
                  <a:cxn ang="0">
                    <a:pos x="372" y="58"/>
                  </a:cxn>
                  <a:cxn ang="0">
                    <a:pos x="336" y="62"/>
                  </a:cxn>
                  <a:cxn ang="0">
                    <a:pos x="318" y="74"/>
                  </a:cxn>
                  <a:cxn ang="0">
                    <a:pos x="296" y="40"/>
                  </a:cxn>
                  <a:cxn ang="0">
                    <a:pos x="224" y="38"/>
                  </a:cxn>
                  <a:cxn ang="0">
                    <a:pos x="190" y="60"/>
                  </a:cxn>
                  <a:cxn ang="0">
                    <a:pos x="206" y="32"/>
                  </a:cxn>
                  <a:cxn ang="0">
                    <a:pos x="196" y="2"/>
                  </a:cxn>
                  <a:cxn ang="0">
                    <a:pos x="100" y="26"/>
                  </a:cxn>
                  <a:cxn ang="0">
                    <a:pos x="22" y="72"/>
                  </a:cxn>
                  <a:cxn ang="0">
                    <a:pos x="40" y="86"/>
                  </a:cxn>
                  <a:cxn ang="0">
                    <a:pos x="2" y="116"/>
                  </a:cxn>
                  <a:cxn ang="0">
                    <a:pos x="14" y="130"/>
                  </a:cxn>
                  <a:cxn ang="0">
                    <a:pos x="34" y="146"/>
                  </a:cxn>
                  <a:cxn ang="0">
                    <a:pos x="116" y="140"/>
                  </a:cxn>
                  <a:cxn ang="0">
                    <a:pos x="76" y="160"/>
                  </a:cxn>
                  <a:cxn ang="0">
                    <a:pos x="44" y="192"/>
                  </a:cxn>
                  <a:cxn ang="0">
                    <a:pos x="110" y="204"/>
                  </a:cxn>
                  <a:cxn ang="0">
                    <a:pos x="210" y="202"/>
                  </a:cxn>
                  <a:cxn ang="0">
                    <a:pos x="276" y="214"/>
                  </a:cxn>
                  <a:cxn ang="0">
                    <a:pos x="294" y="230"/>
                  </a:cxn>
                  <a:cxn ang="0">
                    <a:pos x="168" y="230"/>
                  </a:cxn>
                  <a:cxn ang="0">
                    <a:pos x="70" y="254"/>
                  </a:cxn>
                  <a:cxn ang="0">
                    <a:pos x="122" y="300"/>
                  </a:cxn>
                  <a:cxn ang="0">
                    <a:pos x="222" y="308"/>
                  </a:cxn>
                  <a:cxn ang="0">
                    <a:pos x="232" y="350"/>
                  </a:cxn>
                  <a:cxn ang="0">
                    <a:pos x="314" y="358"/>
                  </a:cxn>
                  <a:cxn ang="0">
                    <a:pos x="420" y="332"/>
                  </a:cxn>
                  <a:cxn ang="0">
                    <a:pos x="478" y="318"/>
                  </a:cxn>
                  <a:cxn ang="0">
                    <a:pos x="490" y="296"/>
                  </a:cxn>
                  <a:cxn ang="0">
                    <a:pos x="516" y="294"/>
                  </a:cxn>
                  <a:cxn ang="0">
                    <a:pos x="540" y="312"/>
                  </a:cxn>
                  <a:cxn ang="0">
                    <a:pos x="560" y="324"/>
                  </a:cxn>
                  <a:cxn ang="0">
                    <a:pos x="592" y="328"/>
                  </a:cxn>
                  <a:cxn ang="0">
                    <a:pos x="640" y="334"/>
                  </a:cxn>
                  <a:cxn ang="0">
                    <a:pos x="680" y="324"/>
                  </a:cxn>
                  <a:cxn ang="0">
                    <a:pos x="700" y="306"/>
                  </a:cxn>
                  <a:cxn ang="0">
                    <a:pos x="692" y="288"/>
                  </a:cxn>
                  <a:cxn ang="0">
                    <a:pos x="648" y="300"/>
                  </a:cxn>
                  <a:cxn ang="0">
                    <a:pos x="632" y="278"/>
                  </a:cxn>
                  <a:cxn ang="0">
                    <a:pos x="660" y="282"/>
                  </a:cxn>
                  <a:cxn ang="0">
                    <a:pos x="668" y="272"/>
                  </a:cxn>
                </a:cxnLst>
                <a:rect l="0" t="0" r="r" b="b"/>
                <a:pathLst>
                  <a:path w="736" h="358">
                    <a:moveTo>
                      <a:pt x="674" y="264"/>
                    </a:moveTo>
                    <a:lnTo>
                      <a:pt x="674" y="264"/>
                    </a:lnTo>
                    <a:lnTo>
                      <a:pt x="682" y="262"/>
                    </a:lnTo>
                    <a:lnTo>
                      <a:pt x="686" y="262"/>
                    </a:lnTo>
                    <a:lnTo>
                      <a:pt x="690" y="264"/>
                    </a:lnTo>
                    <a:lnTo>
                      <a:pt x="694" y="268"/>
                    </a:lnTo>
                    <a:lnTo>
                      <a:pt x="700" y="272"/>
                    </a:lnTo>
                    <a:lnTo>
                      <a:pt x="702" y="274"/>
                    </a:lnTo>
                    <a:lnTo>
                      <a:pt x="704" y="272"/>
                    </a:lnTo>
                    <a:lnTo>
                      <a:pt x="704" y="272"/>
                    </a:lnTo>
                    <a:lnTo>
                      <a:pt x="710" y="268"/>
                    </a:lnTo>
                    <a:lnTo>
                      <a:pt x="714" y="268"/>
                    </a:lnTo>
                    <a:lnTo>
                      <a:pt x="718" y="272"/>
                    </a:lnTo>
                    <a:lnTo>
                      <a:pt x="720" y="274"/>
                    </a:lnTo>
                    <a:lnTo>
                      <a:pt x="726" y="274"/>
                    </a:lnTo>
                    <a:lnTo>
                      <a:pt x="726" y="274"/>
                    </a:lnTo>
                    <a:lnTo>
                      <a:pt x="730" y="274"/>
                    </a:lnTo>
                    <a:lnTo>
                      <a:pt x="734" y="272"/>
                    </a:lnTo>
                    <a:lnTo>
                      <a:pt x="736" y="268"/>
                    </a:lnTo>
                    <a:lnTo>
                      <a:pt x="736" y="264"/>
                    </a:lnTo>
                    <a:lnTo>
                      <a:pt x="736" y="254"/>
                    </a:lnTo>
                    <a:lnTo>
                      <a:pt x="734" y="244"/>
                    </a:lnTo>
                    <a:lnTo>
                      <a:pt x="734" y="244"/>
                    </a:lnTo>
                    <a:lnTo>
                      <a:pt x="732" y="240"/>
                    </a:lnTo>
                    <a:lnTo>
                      <a:pt x="728" y="238"/>
                    </a:lnTo>
                    <a:lnTo>
                      <a:pt x="720" y="238"/>
                    </a:lnTo>
                    <a:lnTo>
                      <a:pt x="712" y="238"/>
                    </a:lnTo>
                    <a:lnTo>
                      <a:pt x="708" y="238"/>
                    </a:lnTo>
                    <a:lnTo>
                      <a:pt x="708" y="234"/>
                    </a:lnTo>
                    <a:lnTo>
                      <a:pt x="708" y="234"/>
                    </a:lnTo>
                    <a:lnTo>
                      <a:pt x="706" y="230"/>
                    </a:lnTo>
                    <a:lnTo>
                      <a:pt x="704" y="230"/>
                    </a:lnTo>
                    <a:lnTo>
                      <a:pt x="698" y="228"/>
                    </a:lnTo>
                    <a:lnTo>
                      <a:pt x="692" y="228"/>
                    </a:lnTo>
                    <a:lnTo>
                      <a:pt x="684" y="224"/>
                    </a:lnTo>
                    <a:lnTo>
                      <a:pt x="674" y="218"/>
                    </a:lnTo>
                    <a:lnTo>
                      <a:pt x="660" y="210"/>
                    </a:lnTo>
                    <a:lnTo>
                      <a:pt x="660" y="210"/>
                    </a:lnTo>
                    <a:lnTo>
                      <a:pt x="652" y="204"/>
                    </a:lnTo>
                    <a:lnTo>
                      <a:pt x="648" y="200"/>
                    </a:lnTo>
                    <a:lnTo>
                      <a:pt x="644" y="202"/>
                    </a:lnTo>
                    <a:lnTo>
                      <a:pt x="646" y="206"/>
                    </a:lnTo>
                    <a:lnTo>
                      <a:pt x="646" y="206"/>
                    </a:lnTo>
                    <a:lnTo>
                      <a:pt x="646" y="208"/>
                    </a:lnTo>
                    <a:lnTo>
                      <a:pt x="642" y="210"/>
                    </a:lnTo>
                    <a:lnTo>
                      <a:pt x="632" y="208"/>
                    </a:lnTo>
                    <a:lnTo>
                      <a:pt x="618" y="200"/>
                    </a:lnTo>
                    <a:lnTo>
                      <a:pt x="612" y="196"/>
                    </a:lnTo>
                    <a:lnTo>
                      <a:pt x="608" y="190"/>
                    </a:lnTo>
                    <a:lnTo>
                      <a:pt x="608" y="190"/>
                    </a:lnTo>
                    <a:lnTo>
                      <a:pt x="602" y="184"/>
                    </a:lnTo>
                    <a:lnTo>
                      <a:pt x="598" y="180"/>
                    </a:lnTo>
                    <a:lnTo>
                      <a:pt x="590" y="174"/>
                    </a:lnTo>
                    <a:lnTo>
                      <a:pt x="586" y="172"/>
                    </a:lnTo>
                    <a:lnTo>
                      <a:pt x="584" y="168"/>
                    </a:lnTo>
                    <a:lnTo>
                      <a:pt x="586" y="166"/>
                    </a:lnTo>
                    <a:lnTo>
                      <a:pt x="588" y="162"/>
                    </a:lnTo>
                    <a:lnTo>
                      <a:pt x="588" y="162"/>
                    </a:lnTo>
                    <a:lnTo>
                      <a:pt x="594" y="152"/>
                    </a:lnTo>
                    <a:lnTo>
                      <a:pt x="596" y="146"/>
                    </a:lnTo>
                    <a:lnTo>
                      <a:pt x="596" y="140"/>
                    </a:lnTo>
                    <a:lnTo>
                      <a:pt x="594" y="134"/>
                    </a:lnTo>
                    <a:lnTo>
                      <a:pt x="592" y="128"/>
                    </a:lnTo>
                    <a:lnTo>
                      <a:pt x="588" y="124"/>
                    </a:lnTo>
                    <a:lnTo>
                      <a:pt x="582" y="118"/>
                    </a:lnTo>
                    <a:lnTo>
                      <a:pt x="582" y="118"/>
                    </a:lnTo>
                    <a:lnTo>
                      <a:pt x="576" y="112"/>
                    </a:lnTo>
                    <a:lnTo>
                      <a:pt x="572" y="102"/>
                    </a:lnTo>
                    <a:lnTo>
                      <a:pt x="566" y="82"/>
                    </a:lnTo>
                    <a:lnTo>
                      <a:pt x="560" y="58"/>
                    </a:lnTo>
                    <a:lnTo>
                      <a:pt x="554" y="48"/>
                    </a:lnTo>
                    <a:lnTo>
                      <a:pt x="548" y="38"/>
                    </a:lnTo>
                    <a:lnTo>
                      <a:pt x="548" y="38"/>
                    </a:lnTo>
                    <a:lnTo>
                      <a:pt x="540" y="28"/>
                    </a:lnTo>
                    <a:lnTo>
                      <a:pt x="532" y="24"/>
                    </a:lnTo>
                    <a:lnTo>
                      <a:pt x="522" y="20"/>
                    </a:lnTo>
                    <a:lnTo>
                      <a:pt x="506" y="10"/>
                    </a:lnTo>
                    <a:lnTo>
                      <a:pt x="506" y="10"/>
                    </a:lnTo>
                    <a:lnTo>
                      <a:pt x="498" y="6"/>
                    </a:lnTo>
                    <a:lnTo>
                      <a:pt x="492" y="4"/>
                    </a:lnTo>
                    <a:lnTo>
                      <a:pt x="490" y="4"/>
                    </a:lnTo>
                    <a:lnTo>
                      <a:pt x="488" y="6"/>
                    </a:lnTo>
                    <a:lnTo>
                      <a:pt x="486" y="8"/>
                    </a:lnTo>
                    <a:lnTo>
                      <a:pt x="482" y="10"/>
                    </a:lnTo>
                    <a:lnTo>
                      <a:pt x="476" y="10"/>
                    </a:lnTo>
                    <a:lnTo>
                      <a:pt x="464" y="6"/>
                    </a:lnTo>
                    <a:lnTo>
                      <a:pt x="464" y="6"/>
                    </a:lnTo>
                    <a:lnTo>
                      <a:pt x="450" y="2"/>
                    </a:lnTo>
                    <a:lnTo>
                      <a:pt x="446" y="2"/>
                    </a:lnTo>
                    <a:lnTo>
                      <a:pt x="440" y="4"/>
                    </a:lnTo>
                    <a:lnTo>
                      <a:pt x="438" y="8"/>
                    </a:lnTo>
                    <a:lnTo>
                      <a:pt x="436" y="12"/>
                    </a:lnTo>
                    <a:lnTo>
                      <a:pt x="436" y="20"/>
                    </a:lnTo>
                    <a:lnTo>
                      <a:pt x="440" y="28"/>
                    </a:lnTo>
                    <a:lnTo>
                      <a:pt x="440" y="28"/>
                    </a:lnTo>
                    <a:lnTo>
                      <a:pt x="444" y="38"/>
                    </a:lnTo>
                    <a:lnTo>
                      <a:pt x="446" y="48"/>
                    </a:lnTo>
                    <a:lnTo>
                      <a:pt x="450" y="68"/>
                    </a:lnTo>
                    <a:lnTo>
                      <a:pt x="454" y="78"/>
                    </a:lnTo>
                    <a:lnTo>
                      <a:pt x="458" y="88"/>
                    </a:lnTo>
                    <a:lnTo>
                      <a:pt x="464" y="98"/>
                    </a:lnTo>
                    <a:lnTo>
                      <a:pt x="472" y="106"/>
                    </a:lnTo>
                    <a:lnTo>
                      <a:pt x="472" y="106"/>
                    </a:lnTo>
                    <a:lnTo>
                      <a:pt x="476" y="110"/>
                    </a:lnTo>
                    <a:lnTo>
                      <a:pt x="478" y="114"/>
                    </a:lnTo>
                    <a:lnTo>
                      <a:pt x="478" y="116"/>
                    </a:lnTo>
                    <a:lnTo>
                      <a:pt x="474" y="118"/>
                    </a:lnTo>
                    <a:lnTo>
                      <a:pt x="468" y="122"/>
                    </a:lnTo>
                    <a:lnTo>
                      <a:pt x="462" y="128"/>
                    </a:lnTo>
                    <a:lnTo>
                      <a:pt x="462" y="128"/>
                    </a:lnTo>
                    <a:lnTo>
                      <a:pt x="458" y="130"/>
                    </a:lnTo>
                    <a:lnTo>
                      <a:pt x="456" y="132"/>
                    </a:lnTo>
                    <a:lnTo>
                      <a:pt x="452" y="130"/>
                    </a:lnTo>
                    <a:lnTo>
                      <a:pt x="446" y="122"/>
                    </a:lnTo>
                    <a:lnTo>
                      <a:pt x="434" y="104"/>
                    </a:lnTo>
                    <a:lnTo>
                      <a:pt x="434" y="104"/>
                    </a:lnTo>
                    <a:lnTo>
                      <a:pt x="430" y="94"/>
                    </a:lnTo>
                    <a:lnTo>
                      <a:pt x="426" y="84"/>
                    </a:lnTo>
                    <a:lnTo>
                      <a:pt x="420" y="68"/>
                    </a:lnTo>
                    <a:lnTo>
                      <a:pt x="418" y="62"/>
                    </a:lnTo>
                    <a:lnTo>
                      <a:pt x="412" y="56"/>
                    </a:lnTo>
                    <a:lnTo>
                      <a:pt x="406" y="50"/>
                    </a:lnTo>
                    <a:lnTo>
                      <a:pt x="396" y="46"/>
                    </a:lnTo>
                    <a:lnTo>
                      <a:pt x="396" y="46"/>
                    </a:lnTo>
                    <a:lnTo>
                      <a:pt x="384" y="42"/>
                    </a:lnTo>
                    <a:lnTo>
                      <a:pt x="382" y="40"/>
                    </a:lnTo>
                    <a:lnTo>
                      <a:pt x="384" y="38"/>
                    </a:lnTo>
                    <a:lnTo>
                      <a:pt x="384" y="36"/>
                    </a:lnTo>
                    <a:lnTo>
                      <a:pt x="384" y="34"/>
                    </a:lnTo>
                    <a:lnTo>
                      <a:pt x="380" y="32"/>
                    </a:lnTo>
                    <a:lnTo>
                      <a:pt x="372" y="30"/>
                    </a:lnTo>
                    <a:lnTo>
                      <a:pt x="372" y="30"/>
                    </a:lnTo>
                    <a:lnTo>
                      <a:pt x="354" y="26"/>
                    </a:lnTo>
                    <a:lnTo>
                      <a:pt x="340" y="26"/>
                    </a:lnTo>
                    <a:lnTo>
                      <a:pt x="338" y="28"/>
                    </a:lnTo>
                    <a:lnTo>
                      <a:pt x="338" y="30"/>
                    </a:lnTo>
                    <a:lnTo>
                      <a:pt x="340" y="32"/>
                    </a:lnTo>
                    <a:lnTo>
                      <a:pt x="346" y="36"/>
                    </a:lnTo>
                    <a:lnTo>
                      <a:pt x="346" y="36"/>
                    </a:lnTo>
                    <a:lnTo>
                      <a:pt x="352" y="40"/>
                    </a:lnTo>
                    <a:lnTo>
                      <a:pt x="356" y="44"/>
                    </a:lnTo>
                    <a:lnTo>
                      <a:pt x="358" y="46"/>
                    </a:lnTo>
                    <a:lnTo>
                      <a:pt x="356" y="48"/>
                    </a:lnTo>
                    <a:lnTo>
                      <a:pt x="356" y="52"/>
                    </a:lnTo>
                    <a:lnTo>
                      <a:pt x="362" y="54"/>
                    </a:lnTo>
                    <a:lnTo>
                      <a:pt x="362" y="54"/>
                    </a:lnTo>
                    <a:lnTo>
                      <a:pt x="372" y="58"/>
                    </a:lnTo>
                    <a:lnTo>
                      <a:pt x="376" y="62"/>
                    </a:lnTo>
                    <a:lnTo>
                      <a:pt x="376" y="64"/>
                    </a:lnTo>
                    <a:lnTo>
                      <a:pt x="372" y="64"/>
                    </a:lnTo>
                    <a:lnTo>
                      <a:pt x="354" y="60"/>
                    </a:lnTo>
                    <a:lnTo>
                      <a:pt x="354" y="60"/>
                    </a:lnTo>
                    <a:lnTo>
                      <a:pt x="344" y="60"/>
                    </a:lnTo>
                    <a:lnTo>
                      <a:pt x="336" y="62"/>
                    </a:lnTo>
                    <a:lnTo>
                      <a:pt x="332" y="66"/>
                    </a:lnTo>
                    <a:lnTo>
                      <a:pt x="330" y="70"/>
                    </a:lnTo>
                    <a:lnTo>
                      <a:pt x="328" y="76"/>
                    </a:lnTo>
                    <a:lnTo>
                      <a:pt x="326" y="78"/>
                    </a:lnTo>
                    <a:lnTo>
                      <a:pt x="322" y="78"/>
                    </a:lnTo>
                    <a:lnTo>
                      <a:pt x="318" y="74"/>
                    </a:lnTo>
                    <a:lnTo>
                      <a:pt x="318" y="74"/>
                    </a:lnTo>
                    <a:lnTo>
                      <a:pt x="314" y="68"/>
                    </a:lnTo>
                    <a:lnTo>
                      <a:pt x="314" y="64"/>
                    </a:lnTo>
                    <a:lnTo>
                      <a:pt x="318" y="56"/>
                    </a:lnTo>
                    <a:lnTo>
                      <a:pt x="318" y="52"/>
                    </a:lnTo>
                    <a:lnTo>
                      <a:pt x="316" y="48"/>
                    </a:lnTo>
                    <a:lnTo>
                      <a:pt x="310" y="44"/>
                    </a:lnTo>
                    <a:lnTo>
                      <a:pt x="296" y="40"/>
                    </a:lnTo>
                    <a:lnTo>
                      <a:pt x="296" y="40"/>
                    </a:lnTo>
                    <a:lnTo>
                      <a:pt x="268" y="34"/>
                    </a:lnTo>
                    <a:lnTo>
                      <a:pt x="250" y="30"/>
                    </a:lnTo>
                    <a:lnTo>
                      <a:pt x="238" y="32"/>
                    </a:lnTo>
                    <a:lnTo>
                      <a:pt x="230" y="36"/>
                    </a:lnTo>
                    <a:lnTo>
                      <a:pt x="230" y="36"/>
                    </a:lnTo>
                    <a:lnTo>
                      <a:pt x="224" y="38"/>
                    </a:lnTo>
                    <a:lnTo>
                      <a:pt x="224" y="42"/>
                    </a:lnTo>
                    <a:lnTo>
                      <a:pt x="226" y="46"/>
                    </a:lnTo>
                    <a:lnTo>
                      <a:pt x="224" y="48"/>
                    </a:lnTo>
                    <a:lnTo>
                      <a:pt x="220" y="50"/>
                    </a:lnTo>
                    <a:lnTo>
                      <a:pt x="198" y="58"/>
                    </a:lnTo>
                    <a:lnTo>
                      <a:pt x="198" y="58"/>
                    </a:lnTo>
                    <a:lnTo>
                      <a:pt x="190" y="60"/>
                    </a:lnTo>
                    <a:lnTo>
                      <a:pt x="186" y="60"/>
                    </a:lnTo>
                    <a:lnTo>
                      <a:pt x="192" y="54"/>
                    </a:lnTo>
                    <a:lnTo>
                      <a:pt x="204" y="44"/>
                    </a:lnTo>
                    <a:lnTo>
                      <a:pt x="206" y="40"/>
                    </a:lnTo>
                    <a:lnTo>
                      <a:pt x="206" y="36"/>
                    </a:lnTo>
                    <a:lnTo>
                      <a:pt x="206" y="36"/>
                    </a:lnTo>
                    <a:lnTo>
                      <a:pt x="206" y="32"/>
                    </a:lnTo>
                    <a:lnTo>
                      <a:pt x="206" y="28"/>
                    </a:lnTo>
                    <a:lnTo>
                      <a:pt x="208" y="20"/>
                    </a:lnTo>
                    <a:lnTo>
                      <a:pt x="208" y="16"/>
                    </a:lnTo>
                    <a:lnTo>
                      <a:pt x="208" y="12"/>
                    </a:lnTo>
                    <a:lnTo>
                      <a:pt x="204" y="8"/>
                    </a:lnTo>
                    <a:lnTo>
                      <a:pt x="196" y="2"/>
                    </a:lnTo>
                    <a:lnTo>
                      <a:pt x="196" y="2"/>
                    </a:lnTo>
                    <a:lnTo>
                      <a:pt x="186" y="0"/>
                    </a:lnTo>
                    <a:lnTo>
                      <a:pt x="176" y="0"/>
                    </a:lnTo>
                    <a:lnTo>
                      <a:pt x="162" y="4"/>
                    </a:lnTo>
                    <a:lnTo>
                      <a:pt x="150" y="8"/>
                    </a:lnTo>
                    <a:lnTo>
                      <a:pt x="122" y="18"/>
                    </a:lnTo>
                    <a:lnTo>
                      <a:pt x="100" y="26"/>
                    </a:lnTo>
                    <a:lnTo>
                      <a:pt x="100" y="26"/>
                    </a:lnTo>
                    <a:lnTo>
                      <a:pt x="82" y="32"/>
                    </a:lnTo>
                    <a:lnTo>
                      <a:pt x="66" y="40"/>
                    </a:lnTo>
                    <a:lnTo>
                      <a:pt x="32" y="60"/>
                    </a:lnTo>
                    <a:lnTo>
                      <a:pt x="32" y="60"/>
                    </a:lnTo>
                    <a:lnTo>
                      <a:pt x="24" y="66"/>
                    </a:lnTo>
                    <a:lnTo>
                      <a:pt x="22" y="70"/>
                    </a:lnTo>
                    <a:lnTo>
                      <a:pt x="22" y="72"/>
                    </a:lnTo>
                    <a:lnTo>
                      <a:pt x="26" y="74"/>
                    </a:lnTo>
                    <a:lnTo>
                      <a:pt x="36" y="78"/>
                    </a:lnTo>
                    <a:lnTo>
                      <a:pt x="40" y="80"/>
                    </a:lnTo>
                    <a:lnTo>
                      <a:pt x="42" y="82"/>
                    </a:lnTo>
                    <a:lnTo>
                      <a:pt x="42" y="82"/>
                    </a:lnTo>
                    <a:lnTo>
                      <a:pt x="42" y="86"/>
                    </a:lnTo>
                    <a:lnTo>
                      <a:pt x="40" y="86"/>
                    </a:lnTo>
                    <a:lnTo>
                      <a:pt x="32" y="90"/>
                    </a:lnTo>
                    <a:lnTo>
                      <a:pt x="20" y="94"/>
                    </a:lnTo>
                    <a:lnTo>
                      <a:pt x="16" y="98"/>
                    </a:lnTo>
                    <a:lnTo>
                      <a:pt x="10" y="104"/>
                    </a:lnTo>
                    <a:lnTo>
                      <a:pt x="10" y="104"/>
                    </a:lnTo>
                    <a:lnTo>
                      <a:pt x="4" y="110"/>
                    </a:lnTo>
                    <a:lnTo>
                      <a:pt x="2" y="116"/>
                    </a:lnTo>
                    <a:lnTo>
                      <a:pt x="0" y="122"/>
                    </a:lnTo>
                    <a:lnTo>
                      <a:pt x="0" y="126"/>
                    </a:lnTo>
                    <a:lnTo>
                      <a:pt x="2" y="130"/>
                    </a:lnTo>
                    <a:lnTo>
                      <a:pt x="6" y="132"/>
                    </a:lnTo>
                    <a:lnTo>
                      <a:pt x="10" y="132"/>
                    </a:lnTo>
                    <a:lnTo>
                      <a:pt x="14" y="130"/>
                    </a:lnTo>
                    <a:lnTo>
                      <a:pt x="14" y="130"/>
                    </a:lnTo>
                    <a:lnTo>
                      <a:pt x="20" y="128"/>
                    </a:lnTo>
                    <a:lnTo>
                      <a:pt x="24" y="126"/>
                    </a:lnTo>
                    <a:lnTo>
                      <a:pt x="26" y="128"/>
                    </a:lnTo>
                    <a:lnTo>
                      <a:pt x="28" y="130"/>
                    </a:lnTo>
                    <a:lnTo>
                      <a:pt x="30" y="138"/>
                    </a:lnTo>
                    <a:lnTo>
                      <a:pt x="34" y="146"/>
                    </a:lnTo>
                    <a:lnTo>
                      <a:pt x="34" y="146"/>
                    </a:lnTo>
                    <a:lnTo>
                      <a:pt x="38" y="150"/>
                    </a:lnTo>
                    <a:lnTo>
                      <a:pt x="44" y="150"/>
                    </a:lnTo>
                    <a:lnTo>
                      <a:pt x="64" y="150"/>
                    </a:lnTo>
                    <a:lnTo>
                      <a:pt x="88" y="144"/>
                    </a:lnTo>
                    <a:lnTo>
                      <a:pt x="104" y="140"/>
                    </a:lnTo>
                    <a:lnTo>
                      <a:pt x="104" y="140"/>
                    </a:lnTo>
                    <a:lnTo>
                      <a:pt x="116" y="140"/>
                    </a:lnTo>
                    <a:lnTo>
                      <a:pt x="120" y="142"/>
                    </a:lnTo>
                    <a:lnTo>
                      <a:pt x="122" y="144"/>
                    </a:lnTo>
                    <a:lnTo>
                      <a:pt x="120" y="146"/>
                    </a:lnTo>
                    <a:lnTo>
                      <a:pt x="114" y="150"/>
                    </a:lnTo>
                    <a:lnTo>
                      <a:pt x="98" y="156"/>
                    </a:lnTo>
                    <a:lnTo>
                      <a:pt x="76" y="160"/>
                    </a:lnTo>
                    <a:lnTo>
                      <a:pt x="76" y="160"/>
                    </a:lnTo>
                    <a:lnTo>
                      <a:pt x="46" y="168"/>
                    </a:lnTo>
                    <a:lnTo>
                      <a:pt x="38" y="170"/>
                    </a:lnTo>
                    <a:lnTo>
                      <a:pt x="34" y="174"/>
                    </a:lnTo>
                    <a:lnTo>
                      <a:pt x="32" y="178"/>
                    </a:lnTo>
                    <a:lnTo>
                      <a:pt x="34" y="182"/>
                    </a:lnTo>
                    <a:lnTo>
                      <a:pt x="38" y="188"/>
                    </a:lnTo>
                    <a:lnTo>
                      <a:pt x="44" y="192"/>
                    </a:lnTo>
                    <a:lnTo>
                      <a:pt x="44" y="192"/>
                    </a:lnTo>
                    <a:lnTo>
                      <a:pt x="56" y="202"/>
                    </a:lnTo>
                    <a:lnTo>
                      <a:pt x="66" y="206"/>
                    </a:lnTo>
                    <a:lnTo>
                      <a:pt x="76" y="206"/>
                    </a:lnTo>
                    <a:lnTo>
                      <a:pt x="94" y="204"/>
                    </a:lnTo>
                    <a:lnTo>
                      <a:pt x="94" y="204"/>
                    </a:lnTo>
                    <a:lnTo>
                      <a:pt x="110" y="204"/>
                    </a:lnTo>
                    <a:lnTo>
                      <a:pt x="120" y="206"/>
                    </a:lnTo>
                    <a:lnTo>
                      <a:pt x="132" y="208"/>
                    </a:lnTo>
                    <a:lnTo>
                      <a:pt x="152" y="208"/>
                    </a:lnTo>
                    <a:lnTo>
                      <a:pt x="152" y="208"/>
                    </a:lnTo>
                    <a:lnTo>
                      <a:pt x="176" y="206"/>
                    </a:lnTo>
                    <a:lnTo>
                      <a:pt x="194" y="202"/>
                    </a:lnTo>
                    <a:lnTo>
                      <a:pt x="210" y="202"/>
                    </a:lnTo>
                    <a:lnTo>
                      <a:pt x="220" y="202"/>
                    </a:lnTo>
                    <a:lnTo>
                      <a:pt x="232" y="204"/>
                    </a:lnTo>
                    <a:lnTo>
                      <a:pt x="232" y="204"/>
                    </a:lnTo>
                    <a:lnTo>
                      <a:pt x="250" y="208"/>
                    </a:lnTo>
                    <a:lnTo>
                      <a:pt x="262" y="210"/>
                    </a:lnTo>
                    <a:lnTo>
                      <a:pt x="268" y="210"/>
                    </a:lnTo>
                    <a:lnTo>
                      <a:pt x="276" y="214"/>
                    </a:lnTo>
                    <a:lnTo>
                      <a:pt x="276" y="214"/>
                    </a:lnTo>
                    <a:lnTo>
                      <a:pt x="290" y="220"/>
                    </a:lnTo>
                    <a:lnTo>
                      <a:pt x="302" y="226"/>
                    </a:lnTo>
                    <a:lnTo>
                      <a:pt x="306" y="228"/>
                    </a:lnTo>
                    <a:lnTo>
                      <a:pt x="306" y="230"/>
                    </a:lnTo>
                    <a:lnTo>
                      <a:pt x="294" y="230"/>
                    </a:lnTo>
                    <a:lnTo>
                      <a:pt x="294" y="230"/>
                    </a:lnTo>
                    <a:lnTo>
                      <a:pt x="280" y="230"/>
                    </a:lnTo>
                    <a:lnTo>
                      <a:pt x="276" y="232"/>
                    </a:lnTo>
                    <a:lnTo>
                      <a:pt x="268" y="232"/>
                    </a:lnTo>
                    <a:lnTo>
                      <a:pt x="246" y="230"/>
                    </a:lnTo>
                    <a:lnTo>
                      <a:pt x="246" y="230"/>
                    </a:lnTo>
                    <a:lnTo>
                      <a:pt x="210" y="228"/>
                    </a:lnTo>
                    <a:lnTo>
                      <a:pt x="168" y="230"/>
                    </a:lnTo>
                    <a:lnTo>
                      <a:pt x="126" y="234"/>
                    </a:lnTo>
                    <a:lnTo>
                      <a:pt x="90" y="240"/>
                    </a:lnTo>
                    <a:lnTo>
                      <a:pt x="90" y="240"/>
                    </a:lnTo>
                    <a:lnTo>
                      <a:pt x="76" y="244"/>
                    </a:lnTo>
                    <a:lnTo>
                      <a:pt x="70" y="250"/>
                    </a:lnTo>
                    <a:lnTo>
                      <a:pt x="70" y="252"/>
                    </a:lnTo>
                    <a:lnTo>
                      <a:pt x="70" y="254"/>
                    </a:lnTo>
                    <a:lnTo>
                      <a:pt x="72" y="262"/>
                    </a:lnTo>
                    <a:lnTo>
                      <a:pt x="78" y="268"/>
                    </a:lnTo>
                    <a:lnTo>
                      <a:pt x="86" y="274"/>
                    </a:lnTo>
                    <a:lnTo>
                      <a:pt x="100" y="290"/>
                    </a:lnTo>
                    <a:lnTo>
                      <a:pt x="100" y="290"/>
                    </a:lnTo>
                    <a:lnTo>
                      <a:pt x="110" y="296"/>
                    </a:lnTo>
                    <a:lnTo>
                      <a:pt x="122" y="300"/>
                    </a:lnTo>
                    <a:lnTo>
                      <a:pt x="138" y="302"/>
                    </a:lnTo>
                    <a:lnTo>
                      <a:pt x="156" y="304"/>
                    </a:lnTo>
                    <a:lnTo>
                      <a:pt x="190" y="304"/>
                    </a:lnTo>
                    <a:lnTo>
                      <a:pt x="214" y="304"/>
                    </a:lnTo>
                    <a:lnTo>
                      <a:pt x="214" y="304"/>
                    </a:lnTo>
                    <a:lnTo>
                      <a:pt x="220" y="306"/>
                    </a:lnTo>
                    <a:lnTo>
                      <a:pt x="222" y="308"/>
                    </a:lnTo>
                    <a:lnTo>
                      <a:pt x="224" y="314"/>
                    </a:lnTo>
                    <a:lnTo>
                      <a:pt x="224" y="320"/>
                    </a:lnTo>
                    <a:lnTo>
                      <a:pt x="222" y="332"/>
                    </a:lnTo>
                    <a:lnTo>
                      <a:pt x="222" y="338"/>
                    </a:lnTo>
                    <a:lnTo>
                      <a:pt x="224" y="342"/>
                    </a:lnTo>
                    <a:lnTo>
                      <a:pt x="224" y="342"/>
                    </a:lnTo>
                    <a:lnTo>
                      <a:pt x="232" y="350"/>
                    </a:lnTo>
                    <a:lnTo>
                      <a:pt x="238" y="356"/>
                    </a:lnTo>
                    <a:lnTo>
                      <a:pt x="246" y="358"/>
                    </a:lnTo>
                    <a:lnTo>
                      <a:pt x="260" y="358"/>
                    </a:lnTo>
                    <a:lnTo>
                      <a:pt x="260" y="358"/>
                    </a:lnTo>
                    <a:lnTo>
                      <a:pt x="282" y="358"/>
                    </a:lnTo>
                    <a:lnTo>
                      <a:pt x="300" y="358"/>
                    </a:lnTo>
                    <a:lnTo>
                      <a:pt x="314" y="358"/>
                    </a:lnTo>
                    <a:lnTo>
                      <a:pt x="324" y="356"/>
                    </a:lnTo>
                    <a:lnTo>
                      <a:pt x="324" y="356"/>
                    </a:lnTo>
                    <a:lnTo>
                      <a:pt x="342" y="352"/>
                    </a:lnTo>
                    <a:lnTo>
                      <a:pt x="370" y="348"/>
                    </a:lnTo>
                    <a:lnTo>
                      <a:pt x="398" y="342"/>
                    </a:lnTo>
                    <a:lnTo>
                      <a:pt x="412" y="338"/>
                    </a:lnTo>
                    <a:lnTo>
                      <a:pt x="420" y="332"/>
                    </a:lnTo>
                    <a:lnTo>
                      <a:pt x="420" y="332"/>
                    </a:lnTo>
                    <a:lnTo>
                      <a:pt x="428" y="328"/>
                    </a:lnTo>
                    <a:lnTo>
                      <a:pt x="436" y="326"/>
                    </a:lnTo>
                    <a:lnTo>
                      <a:pt x="450" y="326"/>
                    </a:lnTo>
                    <a:lnTo>
                      <a:pt x="462" y="324"/>
                    </a:lnTo>
                    <a:lnTo>
                      <a:pt x="470" y="322"/>
                    </a:lnTo>
                    <a:lnTo>
                      <a:pt x="478" y="318"/>
                    </a:lnTo>
                    <a:lnTo>
                      <a:pt x="478" y="318"/>
                    </a:lnTo>
                    <a:lnTo>
                      <a:pt x="486" y="312"/>
                    </a:lnTo>
                    <a:lnTo>
                      <a:pt x="488" y="308"/>
                    </a:lnTo>
                    <a:lnTo>
                      <a:pt x="490" y="304"/>
                    </a:lnTo>
                    <a:lnTo>
                      <a:pt x="490" y="302"/>
                    </a:lnTo>
                    <a:lnTo>
                      <a:pt x="490" y="300"/>
                    </a:lnTo>
                    <a:lnTo>
                      <a:pt x="490" y="296"/>
                    </a:lnTo>
                    <a:lnTo>
                      <a:pt x="494" y="294"/>
                    </a:lnTo>
                    <a:lnTo>
                      <a:pt x="500" y="290"/>
                    </a:lnTo>
                    <a:lnTo>
                      <a:pt x="500" y="290"/>
                    </a:lnTo>
                    <a:lnTo>
                      <a:pt x="506" y="288"/>
                    </a:lnTo>
                    <a:lnTo>
                      <a:pt x="512" y="290"/>
                    </a:lnTo>
                    <a:lnTo>
                      <a:pt x="514" y="292"/>
                    </a:lnTo>
                    <a:lnTo>
                      <a:pt x="516" y="294"/>
                    </a:lnTo>
                    <a:lnTo>
                      <a:pt x="514" y="304"/>
                    </a:lnTo>
                    <a:lnTo>
                      <a:pt x="514" y="304"/>
                    </a:lnTo>
                    <a:lnTo>
                      <a:pt x="514" y="312"/>
                    </a:lnTo>
                    <a:lnTo>
                      <a:pt x="514" y="312"/>
                    </a:lnTo>
                    <a:lnTo>
                      <a:pt x="518" y="312"/>
                    </a:lnTo>
                    <a:lnTo>
                      <a:pt x="530" y="310"/>
                    </a:lnTo>
                    <a:lnTo>
                      <a:pt x="540" y="312"/>
                    </a:lnTo>
                    <a:lnTo>
                      <a:pt x="554" y="314"/>
                    </a:lnTo>
                    <a:lnTo>
                      <a:pt x="554" y="314"/>
                    </a:lnTo>
                    <a:lnTo>
                      <a:pt x="564" y="318"/>
                    </a:lnTo>
                    <a:lnTo>
                      <a:pt x="568" y="320"/>
                    </a:lnTo>
                    <a:lnTo>
                      <a:pt x="568" y="322"/>
                    </a:lnTo>
                    <a:lnTo>
                      <a:pt x="566" y="322"/>
                    </a:lnTo>
                    <a:lnTo>
                      <a:pt x="560" y="324"/>
                    </a:lnTo>
                    <a:lnTo>
                      <a:pt x="562" y="326"/>
                    </a:lnTo>
                    <a:lnTo>
                      <a:pt x="568" y="330"/>
                    </a:lnTo>
                    <a:lnTo>
                      <a:pt x="568" y="330"/>
                    </a:lnTo>
                    <a:lnTo>
                      <a:pt x="576" y="332"/>
                    </a:lnTo>
                    <a:lnTo>
                      <a:pt x="582" y="332"/>
                    </a:lnTo>
                    <a:lnTo>
                      <a:pt x="588" y="330"/>
                    </a:lnTo>
                    <a:lnTo>
                      <a:pt x="592" y="328"/>
                    </a:lnTo>
                    <a:lnTo>
                      <a:pt x="596" y="328"/>
                    </a:lnTo>
                    <a:lnTo>
                      <a:pt x="602" y="328"/>
                    </a:lnTo>
                    <a:lnTo>
                      <a:pt x="612" y="332"/>
                    </a:lnTo>
                    <a:lnTo>
                      <a:pt x="612" y="332"/>
                    </a:lnTo>
                    <a:lnTo>
                      <a:pt x="628" y="336"/>
                    </a:lnTo>
                    <a:lnTo>
                      <a:pt x="636" y="336"/>
                    </a:lnTo>
                    <a:lnTo>
                      <a:pt x="640" y="334"/>
                    </a:lnTo>
                    <a:lnTo>
                      <a:pt x="648" y="336"/>
                    </a:lnTo>
                    <a:lnTo>
                      <a:pt x="648" y="336"/>
                    </a:lnTo>
                    <a:lnTo>
                      <a:pt x="654" y="336"/>
                    </a:lnTo>
                    <a:lnTo>
                      <a:pt x="658" y="336"/>
                    </a:lnTo>
                    <a:lnTo>
                      <a:pt x="668" y="332"/>
                    </a:lnTo>
                    <a:lnTo>
                      <a:pt x="676" y="326"/>
                    </a:lnTo>
                    <a:lnTo>
                      <a:pt x="680" y="324"/>
                    </a:lnTo>
                    <a:lnTo>
                      <a:pt x="686" y="324"/>
                    </a:lnTo>
                    <a:lnTo>
                      <a:pt x="686" y="324"/>
                    </a:lnTo>
                    <a:lnTo>
                      <a:pt x="694" y="322"/>
                    </a:lnTo>
                    <a:lnTo>
                      <a:pt x="700" y="316"/>
                    </a:lnTo>
                    <a:lnTo>
                      <a:pt x="702" y="314"/>
                    </a:lnTo>
                    <a:lnTo>
                      <a:pt x="702" y="310"/>
                    </a:lnTo>
                    <a:lnTo>
                      <a:pt x="700" y="306"/>
                    </a:lnTo>
                    <a:lnTo>
                      <a:pt x="696" y="304"/>
                    </a:lnTo>
                    <a:lnTo>
                      <a:pt x="696" y="304"/>
                    </a:lnTo>
                    <a:lnTo>
                      <a:pt x="692" y="300"/>
                    </a:lnTo>
                    <a:lnTo>
                      <a:pt x="690" y="298"/>
                    </a:lnTo>
                    <a:lnTo>
                      <a:pt x="692" y="294"/>
                    </a:lnTo>
                    <a:lnTo>
                      <a:pt x="694" y="290"/>
                    </a:lnTo>
                    <a:lnTo>
                      <a:pt x="692" y="288"/>
                    </a:lnTo>
                    <a:lnTo>
                      <a:pt x="688" y="286"/>
                    </a:lnTo>
                    <a:lnTo>
                      <a:pt x="688" y="286"/>
                    </a:lnTo>
                    <a:lnTo>
                      <a:pt x="682" y="286"/>
                    </a:lnTo>
                    <a:lnTo>
                      <a:pt x="674" y="288"/>
                    </a:lnTo>
                    <a:lnTo>
                      <a:pt x="660" y="296"/>
                    </a:lnTo>
                    <a:lnTo>
                      <a:pt x="648" y="300"/>
                    </a:lnTo>
                    <a:lnTo>
                      <a:pt x="648" y="300"/>
                    </a:lnTo>
                    <a:lnTo>
                      <a:pt x="650" y="296"/>
                    </a:lnTo>
                    <a:lnTo>
                      <a:pt x="650" y="296"/>
                    </a:lnTo>
                    <a:lnTo>
                      <a:pt x="652" y="290"/>
                    </a:lnTo>
                    <a:lnTo>
                      <a:pt x="650" y="286"/>
                    </a:lnTo>
                    <a:lnTo>
                      <a:pt x="646" y="284"/>
                    </a:lnTo>
                    <a:lnTo>
                      <a:pt x="642" y="280"/>
                    </a:lnTo>
                    <a:lnTo>
                      <a:pt x="632" y="278"/>
                    </a:lnTo>
                    <a:lnTo>
                      <a:pt x="630" y="276"/>
                    </a:lnTo>
                    <a:lnTo>
                      <a:pt x="632" y="274"/>
                    </a:lnTo>
                    <a:lnTo>
                      <a:pt x="632" y="274"/>
                    </a:lnTo>
                    <a:lnTo>
                      <a:pt x="634" y="272"/>
                    </a:lnTo>
                    <a:lnTo>
                      <a:pt x="638" y="272"/>
                    </a:lnTo>
                    <a:lnTo>
                      <a:pt x="650" y="278"/>
                    </a:lnTo>
                    <a:lnTo>
                      <a:pt x="660" y="282"/>
                    </a:lnTo>
                    <a:lnTo>
                      <a:pt x="666" y="282"/>
                    </a:lnTo>
                    <a:lnTo>
                      <a:pt x="670" y="280"/>
                    </a:lnTo>
                    <a:lnTo>
                      <a:pt x="670" y="280"/>
                    </a:lnTo>
                    <a:lnTo>
                      <a:pt x="672" y="278"/>
                    </a:lnTo>
                    <a:lnTo>
                      <a:pt x="672" y="276"/>
                    </a:lnTo>
                    <a:lnTo>
                      <a:pt x="670" y="272"/>
                    </a:lnTo>
                    <a:lnTo>
                      <a:pt x="668" y="272"/>
                    </a:lnTo>
                    <a:lnTo>
                      <a:pt x="668" y="270"/>
                    </a:lnTo>
                    <a:lnTo>
                      <a:pt x="670" y="266"/>
                    </a:lnTo>
                    <a:lnTo>
                      <a:pt x="674" y="264"/>
                    </a:lnTo>
                    <a:lnTo>
                      <a:pt x="674" y="264"/>
                    </a:lnTo>
                    <a:close/>
                  </a:path>
                </a:pathLst>
              </a:custGeom>
              <a:grpFill/>
              <a:ln w="6350">
                <a:noFill/>
                <a:round/>
                <a:headEnd/>
                <a:tailEnd/>
              </a:ln>
            </p:spPr>
            <p:txBody>
              <a:bodyPr/>
              <a:lstStyle/>
              <a:p>
                <a:endParaRPr lang="da-DK" sz="2800" b="1"/>
              </a:p>
            </p:txBody>
          </p:sp>
          <p:sp>
            <p:nvSpPr>
              <p:cNvPr id="94" name="Freeform 6115">
                <a:extLst>
                  <a:ext uri="{FF2B5EF4-FFF2-40B4-BE49-F238E27FC236}">
                    <a16:creationId xmlns:a16="http://schemas.microsoft.com/office/drawing/2014/main" id="{FA08B666-506C-4F8C-A508-2818E32E68DE}"/>
                  </a:ext>
                </a:extLst>
              </p:cNvPr>
              <p:cNvSpPr>
                <a:spLocks/>
              </p:cNvSpPr>
              <p:nvPr/>
            </p:nvSpPr>
            <p:spPr bwMode="auto">
              <a:xfrm>
                <a:off x="1776730" y="1203643"/>
                <a:ext cx="165100" cy="125730"/>
              </a:xfrm>
              <a:custGeom>
                <a:avLst/>
                <a:gdLst/>
                <a:ahLst/>
                <a:cxnLst>
                  <a:cxn ang="0">
                    <a:pos x="256" y="98"/>
                  </a:cxn>
                  <a:cxn ang="0">
                    <a:pos x="250" y="90"/>
                  </a:cxn>
                  <a:cxn ang="0">
                    <a:pos x="242" y="92"/>
                  </a:cxn>
                  <a:cxn ang="0">
                    <a:pos x="234" y="94"/>
                  </a:cxn>
                  <a:cxn ang="0">
                    <a:pos x="222" y="84"/>
                  </a:cxn>
                  <a:cxn ang="0">
                    <a:pos x="216" y="74"/>
                  </a:cxn>
                  <a:cxn ang="0">
                    <a:pos x="192" y="60"/>
                  </a:cxn>
                  <a:cxn ang="0">
                    <a:pos x="188" y="56"/>
                  </a:cxn>
                  <a:cxn ang="0">
                    <a:pos x="196" y="52"/>
                  </a:cxn>
                  <a:cxn ang="0">
                    <a:pos x="208" y="48"/>
                  </a:cxn>
                  <a:cxn ang="0">
                    <a:pos x="226" y="42"/>
                  </a:cxn>
                  <a:cxn ang="0">
                    <a:pos x="222" y="38"/>
                  </a:cxn>
                  <a:cxn ang="0">
                    <a:pos x="216" y="32"/>
                  </a:cxn>
                  <a:cxn ang="0">
                    <a:pos x="222" y="24"/>
                  </a:cxn>
                  <a:cxn ang="0">
                    <a:pos x="230" y="20"/>
                  </a:cxn>
                  <a:cxn ang="0">
                    <a:pos x="230" y="10"/>
                  </a:cxn>
                  <a:cxn ang="0">
                    <a:pos x="218" y="4"/>
                  </a:cxn>
                  <a:cxn ang="0">
                    <a:pos x="194" y="4"/>
                  </a:cxn>
                  <a:cxn ang="0">
                    <a:pos x="180" y="8"/>
                  </a:cxn>
                  <a:cxn ang="0">
                    <a:pos x="152" y="12"/>
                  </a:cxn>
                  <a:cxn ang="0">
                    <a:pos x="130" y="6"/>
                  </a:cxn>
                  <a:cxn ang="0">
                    <a:pos x="110" y="0"/>
                  </a:cxn>
                  <a:cxn ang="0">
                    <a:pos x="86" y="4"/>
                  </a:cxn>
                  <a:cxn ang="0">
                    <a:pos x="64" y="14"/>
                  </a:cxn>
                  <a:cxn ang="0">
                    <a:pos x="50" y="24"/>
                  </a:cxn>
                  <a:cxn ang="0">
                    <a:pos x="48" y="34"/>
                  </a:cxn>
                  <a:cxn ang="0">
                    <a:pos x="62" y="44"/>
                  </a:cxn>
                  <a:cxn ang="0">
                    <a:pos x="70" y="48"/>
                  </a:cxn>
                  <a:cxn ang="0">
                    <a:pos x="88" y="58"/>
                  </a:cxn>
                  <a:cxn ang="0">
                    <a:pos x="96" y="68"/>
                  </a:cxn>
                  <a:cxn ang="0">
                    <a:pos x="92" y="78"/>
                  </a:cxn>
                  <a:cxn ang="0">
                    <a:pos x="78" y="88"/>
                  </a:cxn>
                  <a:cxn ang="0">
                    <a:pos x="74" y="88"/>
                  </a:cxn>
                  <a:cxn ang="0">
                    <a:pos x="58" y="86"/>
                  </a:cxn>
                  <a:cxn ang="0">
                    <a:pos x="38" y="74"/>
                  </a:cxn>
                  <a:cxn ang="0">
                    <a:pos x="20" y="64"/>
                  </a:cxn>
                  <a:cxn ang="0">
                    <a:pos x="10" y="64"/>
                  </a:cxn>
                  <a:cxn ang="0">
                    <a:pos x="2" y="72"/>
                  </a:cxn>
                  <a:cxn ang="0">
                    <a:pos x="0" y="78"/>
                  </a:cxn>
                  <a:cxn ang="0">
                    <a:pos x="6" y="94"/>
                  </a:cxn>
                  <a:cxn ang="0">
                    <a:pos x="26" y="110"/>
                  </a:cxn>
                  <a:cxn ang="0">
                    <a:pos x="56" y="124"/>
                  </a:cxn>
                  <a:cxn ang="0">
                    <a:pos x="74" y="132"/>
                  </a:cxn>
                  <a:cxn ang="0">
                    <a:pos x="104" y="148"/>
                  </a:cxn>
                  <a:cxn ang="0">
                    <a:pos x="124" y="168"/>
                  </a:cxn>
                  <a:cxn ang="0">
                    <a:pos x="150" y="194"/>
                  </a:cxn>
                  <a:cxn ang="0">
                    <a:pos x="162" y="198"/>
                  </a:cxn>
                  <a:cxn ang="0">
                    <a:pos x="176" y="194"/>
                  </a:cxn>
                  <a:cxn ang="0">
                    <a:pos x="180" y="184"/>
                  </a:cxn>
                  <a:cxn ang="0">
                    <a:pos x="182" y="174"/>
                  </a:cxn>
                  <a:cxn ang="0">
                    <a:pos x="192" y="170"/>
                  </a:cxn>
                  <a:cxn ang="0">
                    <a:pos x="200" y="172"/>
                  </a:cxn>
                  <a:cxn ang="0">
                    <a:pos x="220" y="170"/>
                  </a:cxn>
                  <a:cxn ang="0">
                    <a:pos x="238" y="162"/>
                  </a:cxn>
                  <a:cxn ang="0">
                    <a:pos x="250" y="148"/>
                  </a:cxn>
                  <a:cxn ang="0">
                    <a:pos x="252" y="138"/>
                  </a:cxn>
                  <a:cxn ang="0">
                    <a:pos x="252" y="124"/>
                  </a:cxn>
                  <a:cxn ang="0">
                    <a:pos x="258" y="114"/>
                  </a:cxn>
                  <a:cxn ang="0">
                    <a:pos x="258" y="106"/>
                  </a:cxn>
                  <a:cxn ang="0">
                    <a:pos x="256" y="98"/>
                  </a:cxn>
                </a:cxnLst>
                <a:rect l="0" t="0" r="r" b="b"/>
                <a:pathLst>
                  <a:path w="260" h="198">
                    <a:moveTo>
                      <a:pt x="256" y="98"/>
                    </a:moveTo>
                    <a:lnTo>
                      <a:pt x="256" y="98"/>
                    </a:lnTo>
                    <a:lnTo>
                      <a:pt x="254" y="92"/>
                    </a:lnTo>
                    <a:lnTo>
                      <a:pt x="250" y="90"/>
                    </a:lnTo>
                    <a:lnTo>
                      <a:pt x="246" y="90"/>
                    </a:lnTo>
                    <a:lnTo>
                      <a:pt x="242" y="92"/>
                    </a:lnTo>
                    <a:lnTo>
                      <a:pt x="238" y="94"/>
                    </a:lnTo>
                    <a:lnTo>
                      <a:pt x="234" y="94"/>
                    </a:lnTo>
                    <a:lnTo>
                      <a:pt x="228" y="90"/>
                    </a:lnTo>
                    <a:lnTo>
                      <a:pt x="222" y="84"/>
                    </a:lnTo>
                    <a:lnTo>
                      <a:pt x="222" y="84"/>
                    </a:lnTo>
                    <a:lnTo>
                      <a:pt x="216" y="74"/>
                    </a:lnTo>
                    <a:lnTo>
                      <a:pt x="208" y="68"/>
                    </a:lnTo>
                    <a:lnTo>
                      <a:pt x="192" y="60"/>
                    </a:lnTo>
                    <a:lnTo>
                      <a:pt x="190" y="58"/>
                    </a:lnTo>
                    <a:lnTo>
                      <a:pt x="188" y="56"/>
                    </a:lnTo>
                    <a:lnTo>
                      <a:pt x="190" y="54"/>
                    </a:lnTo>
                    <a:lnTo>
                      <a:pt x="196" y="52"/>
                    </a:lnTo>
                    <a:lnTo>
                      <a:pt x="208" y="48"/>
                    </a:lnTo>
                    <a:lnTo>
                      <a:pt x="208" y="48"/>
                    </a:lnTo>
                    <a:lnTo>
                      <a:pt x="220" y="46"/>
                    </a:lnTo>
                    <a:lnTo>
                      <a:pt x="226" y="42"/>
                    </a:lnTo>
                    <a:lnTo>
                      <a:pt x="226" y="40"/>
                    </a:lnTo>
                    <a:lnTo>
                      <a:pt x="222" y="38"/>
                    </a:lnTo>
                    <a:lnTo>
                      <a:pt x="218" y="34"/>
                    </a:lnTo>
                    <a:lnTo>
                      <a:pt x="216" y="32"/>
                    </a:lnTo>
                    <a:lnTo>
                      <a:pt x="216" y="28"/>
                    </a:lnTo>
                    <a:lnTo>
                      <a:pt x="222" y="24"/>
                    </a:lnTo>
                    <a:lnTo>
                      <a:pt x="222" y="24"/>
                    </a:lnTo>
                    <a:lnTo>
                      <a:pt x="230" y="20"/>
                    </a:lnTo>
                    <a:lnTo>
                      <a:pt x="232" y="16"/>
                    </a:lnTo>
                    <a:lnTo>
                      <a:pt x="230" y="10"/>
                    </a:lnTo>
                    <a:lnTo>
                      <a:pt x="226" y="6"/>
                    </a:lnTo>
                    <a:lnTo>
                      <a:pt x="218" y="4"/>
                    </a:lnTo>
                    <a:lnTo>
                      <a:pt x="208" y="4"/>
                    </a:lnTo>
                    <a:lnTo>
                      <a:pt x="194" y="4"/>
                    </a:lnTo>
                    <a:lnTo>
                      <a:pt x="180" y="8"/>
                    </a:lnTo>
                    <a:lnTo>
                      <a:pt x="180" y="8"/>
                    </a:lnTo>
                    <a:lnTo>
                      <a:pt x="164" y="12"/>
                    </a:lnTo>
                    <a:lnTo>
                      <a:pt x="152" y="12"/>
                    </a:lnTo>
                    <a:lnTo>
                      <a:pt x="140" y="10"/>
                    </a:lnTo>
                    <a:lnTo>
                      <a:pt x="130" y="6"/>
                    </a:lnTo>
                    <a:lnTo>
                      <a:pt x="120" y="4"/>
                    </a:lnTo>
                    <a:lnTo>
                      <a:pt x="110" y="0"/>
                    </a:lnTo>
                    <a:lnTo>
                      <a:pt x="98" y="0"/>
                    </a:lnTo>
                    <a:lnTo>
                      <a:pt x="86" y="4"/>
                    </a:lnTo>
                    <a:lnTo>
                      <a:pt x="86" y="4"/>
                    </a:lnTo>
                    <a:lnTo>
                      <a:pt x="64" y="14"/>
                    </a:lnTo>
                    <a:lnTo>
                      <a:pt x="56" y="20"/>
                    </a:lnTo>
                    <a:lnTo>
                      <a:pt x="50" y="24"/>
                    </a:lnTo>
                    <a:lnTo>
                      <a:pt x="46" y="28"/>
                    </a:lnTo>
                    <a:lnTo>
                      <a:pt x="48" y="34"/>
                    </a:lnTo>
                    <a:lnTo>
                      <a:pt x="52" y="38"/>
                    </a:lnTo>
                    <a:lnTo>
                      <a:pt x="62" y="44"/>
                    </a:lnTo>
                    <a:lnTo>
                      <a:pt x="70" y="48"/>
                    </a:lnTo>
                    <a:lnTo>
                      <a:pt x="70" y="48"/>
                    </a:lnTo>
                    <a:lnTo>
                      <a:pt x="82" y="52"/>
                    </a:lnTo>
                    <a:lnTo>
                      <a:pt x="88" y="58"/>
                    </a:lnTo>
                    <a:lnTo>
                      <a:pt x="94" y="62"/>
                    </a:lnTo>
                    <a:lnTo>
                      <a:pt x="96" y="68"/>
                    </a:lnTo>
                    <a:lnTo>
                      <a:pt x="94" y="74"/>
                    </a:lnTo>
                    <a:lnTo>
                      <a:pt x="92" y="78"/>
                    </a:lnTo>
                    <a:lnTo>
                      <a:pt x="86" y="84"/>
                    </a:lnTo>
                    <a:lnTo>
                      <a:pt x="78" y="88"/>
                    </a:lnTo>
                    <a:lnTo>
                      <a:pt x="78" y="88"/>
                    </a:lnTo>
                    <a:lnTo>
                      <a:pt x="74" y="88"/>
                    </a:lnTo>
                    <a:lnTo>
                      <a:pt x="68" y="90"/>
                    </a:lnTo>
                    <a:lnTo>
                      <a:pt x="58" y="86"/>
                    </a:lnTo>
                    <a:lnTo>
                      <a:pt x="48" y="80"/>
                    </a:lnTo>
                    <a:lnTo>
                      <a:pt x="38" y="74"/>
                    </a:lnTo>
                    <a:lnTo>
                      <a:pt x="28" y="68"/>
                    </a:lnTo>
                    <a:lnTo>
                      <a:pt x="20" y="64"/>
                    </a:lnTo>
                    <a:lnTo>
                      <a:pt x="16" y="64"/>
                    </a:lnTo>
                    <a:lnTo>
                      <a:pt x="10" y="64"/>
                    </a:lnTo>
                    <a:lnTo>
                      <a:pt x="6" y="66"/>
                    </a:lnTo>
                    <a:lnTo>
                      <a:pt x="2" y="72"/>
                    </a:lnTo>
                    <a:lnTo>
                      <a:pt x="2" y="72"/>
                    </a:lnTo>
                    <a:lnTo>
                      <a:pt x="0" y="78"/>
                    </a:lnTo>
                    <a:lnTo>
                      <a:pt x="0" y="86"/>
                    </a:lnTo>
                    <a:lnTo>
                      <a:pt x="6" y="94"/>
                    </a:lnTo>
                    <a:lnTo>
                      <a:pt x="14" y="102"/>
                    </a:lnTo>
                    <a:lnTo>
                      <a:pt x="26" y="110"/>
                    </a:lnTo>
                    <a:lnTo>
                      <a:pt x="40" y="118"/>
                    </a:lnTo>
                    <a:lnTo>
                      <a:pt x="56" y="124"/>
                    </a:lnTo>
                    <a:lnTo>
                      <a:pt x="74" y="132"/>
                    </a:lnTo>
                    <a:lnTo>
                      <a:pt x="74" y="132"/>
                    </a:lnTo>
                    <a:lnTo>
                      <a:pt x="90" y="138"/>
                    </a:lnTo>
                    <a:lnTo>
                      <a:pt x="104" y="148"/>
                    </a:lnTo>
                    <a:lnTo>
                      <a:pt x="116" y="158"/>
                    </a:lnTo>
                    <a:lnTo>
                      <a:pt x="124" y="168"/>
                    </a:lnTo>
                    <a:lnTo>
                      <a:pt x="142" y="188"/>
                    </a:lnTo>
                    <a:lnTo>
                      <a:pt x="150" y="194"/>
                    </a:lnTo>
                    <a:lnTo>
                      <a:pt x="162" y="198"/>
                    </a:lnTo>
                    <a:lnTo>
                      <a:pt x="162" y="198"/>
                    </a:lnTo>
                    <a:lnTo>
                      <a:pt x="170" y="198"/>
                    </a:lnTo>
                    <a:lnTo>
                      <a:pt x="176" y="194"/>
                    </a:lnTo>
                    <a:lnTo>
                      <a:pt x="178" y="190"/>
                    </a:lnTo>
                    <a:lnTo>
                      <a:pt x="180" y="184"/>
                    </a:lnTo>
                    <a:lnTo>
                      <a:pt x="182" y="178"/>
                    </a:lnTo>
                    <a:lnTo>
                      <a:pt x="182" y="174"/>
                    </a:lnTo>
                    <a:lnTo>
                      <a:pt x="186" y="170"/>
                    </a:lnTo>
                    <a:lnTo>
                      <a:pt x="192" y="170"/>
                    </a:lnTo>
                    <a:lnTo>
                      <a:pt x="192" y="170"/>
                    </a:lnTo>
                    <a:lnTo>
                      <a:pt x="200" y="172"/>
                    </a:lnTo>
                    <a:lnTo>
                      <a:pt x="210" y="172"/>
                    </a:lnTo>
                    <a:lnTo>
                      <a:pt x="220" y="170"/>
                    </a:lnTo>
                    <a:lnTo>
                      <a:pt x="230" y="166"/>
                    </a:lnTo>
                    <a:lnTo>
                      <a:pt x="238" y="162"/>
                    </a:lnTo>
                    <a:lnTo>
                      <a:pt x="246" y="156"/>
                    </a:lnTo>
                    <a:lnTo>
                      <a:pt x="250" y="148"/>
                    </a:lnTo>
                    <a:lnTo>
                      <a:pt x="252" y="138"/>
                    </a:lnTo>
                    <a:lnTo>
                      <a:pt x="252" y="138"/>
                    </a:lnTo>
                    <a:lnTo>
                      <a:pt x="252" y="130"/>
                    </a:lnTo>
                    <a:lnTo>
                      <a:pt x="252" y="124"/>
                    </a:lnTo>
                    <a:lnTo>
                      <a:pt x="256" y="118"/>
                    </a:lnTo>
                    <a:lnTo>
                      <a:pt x="258" y="114"/>
                    </a:lnTo>
                    <a:lnTo>
                      <a:pt x="260" y="112"/>
                    </a:lnTo>
                    <a:lnTo>
                      <a:pt x="258" y="106"/>
                    </a:lnTo>
                    <a:lnTo>
                      <a:pt x="256" y="98"/>
                    </a:lnTo>
                    <a:lnTo>
                      <a:pt x="256" y="98"/>
                    </a:lnTo>
                    <a:close/>
                  </a:path>
                </a:pathLst>
              </a:custGeom>
              <a:grpFill/>
              <a:ln w="6350">
                <a:noFill/>
                <a:round/>
                <a:headEnd/>
                <a:tailEnd/>
              </a:ln>
            </p:spPr>
            <p:txBody>
              <a:bodyPr/>
              <a:lstStyle/>
              <a:p>
                <a:endParaRPr lang="da-DK" sz="2800" b="1"/>
              </a:p>
            </p:txBody>
          </p:sp>
          <p:sp>
            <p:nvSpPr>
              <p:cNvPr id="95" name="Freeform 6116">
                <a:extLst>
                  <a:ext uri="{FF2B5EF4-FFF2-40B4-BE49-F238E27FC236}">
                    <a16:creationId xmlns:a16="http://schemas.microsoft.com/office/drawing/2014/main" id="{83FF2EE7-1C05-406C-BA78-E7E286FDD658}"/>
                  </a:ext>
                </a:extLst>
              </p:cNvPr>
              <p:cNvSpPr>
                <a:spLocks/>
              </p:cNvSpPr>
              <p:nvPr/>
            </p:nvSpPr>
            <p:spPr bwMode="auto">
              <a:xfrm>
                <a:off x="1750060" y="1098233"/>
                <a:ext cx="34290" cy="8890"/>
              </a:xfrm>
              <a:custGeom>
                <a:avLst/>
                <a:gdLst/>
                <a:ahLst/>
                <a:cxnLst>
                  <a:cxn ang="0">
                    <a:pos x="2" y="14"/>
                  </a:cxn>
                  <a:cxn ang="0">
                    <a:pos x="2" y="14"/>
                  </a:cxn>
                  <a:cxn ang="0">
                    <a:pos x="8" y="14"/>
                  </a:cxn>
                  <a:cxn ang="0">
                    <a:pos x="16" y="14"/>
                  </a:cxn>
                  <a:cxn ang="0">
                    <a:pos x="36" y="10"/>
                  </a:cxn>
                  <a:cxn ang="0">
                    <a:pos x="50" y="4"/>
                  </a:cxn>
                  <a:cxn ang="0">
                    <a:pos x="54" y="2"/>
                  </a:cxn>
                  <a:cxn ang="0">
                    <a:pos x="54" y="2"/>
                  </a:cxn>
                  <a:cxn ang="0">
                    <a:pos x="54" y="0"/>
                  </a:cxn>
                  <a:cxn ang="0">
                    <a:pos x="54" y="0"/>
                  </a:cxn>
                  <a:cxn ang="0">
                    <a:pos x="48" y="0"/>
                  </a:cxn>
                  <a:cxn ang="0">
                    <a:pos x="38" y="0"/>
                  </a:cxn>
                  <a:cxn ang="0">
                    <a:pos x="18" y="4"/>
                  </a:cxn>
                  <a:cxn ang="0">
                    <a:pos x="2" y="10"/>
                  </a:cxn>
                  <a:cxn ang="0">
                    <a:pos x="0" y="12"/>
                  </a:cxn>
                  <a:cxn ang="0">
                    <a:pos x="2" y="14"/>
                  </a:cxn>
                  <a:cxn ang="0">
                    <a:pos x="2" y="14"/>
                  </a:cxn>
                </a:cxnLst>
                <a:rect l="0" t="0" r="r" b="b"/>
                <a:pathLst>
                  <a:path w="54" h="14">
                    <a:moveTo>
                      <a:pt x="2" y="14"/>
                    </a:moveTo>
                    <a:lnTo>
                      <a:pt x="2" y="14"/>
                    </a:lnTo>
                    <a:lnTo>
                      <a:pt x="8" y="14"/>
                    </a:lnTo>
                    <a:lnTo>
                      <a:pt x="16" y="14"/>
                    </a:lnTo>
                    <a:lnTo>
                      <a:pt x="36" y="10"/>
                    </a:lnTo>
                    <a:lnTo>
                      <a:pt x="50" y="4"/>
                    </a:lnTo>
                    <a:lnTo>
                      <a:pt x="54" y="2"/>
                    </a:lnTo>
                    <a:lnTo>
                      <a:pt x="54" y="2"/>
                    </a:lnTo>
                    <a:lnTo>
                      <a:pt x="54" y="0"/>
                    </a:lnTo>
                    <a:lnTo>
                      <a:pt x="54" y="0"/>
                    </a:lnTo>
                    <a:lnTo>
                      <a:pt x="48" y="0"/>
                    </a:lnTo>
                    <a:lnTo>
                      <a:pt x="38" y="0"/>
                    </a:lnTo>
                    <a:lnTo>
                      <a:pt x="18" y="4"/>
                    </a:lnTo>
                    <a:lnTo>
                      <a:pt x="2" y="10"/>
                    </a:lnTo>
                    <a:lnTo>
                      <a:pt x="0" y="12"/>
                    </a:lnTo>
                    <a:lnTo>
                      <a:pt x="2" y="14"/>
                    </a:lnTo>
                    <a:lnTo>
                      <a:pt x="2" y="14"/>
                    </a:lnTo>
                    <a:close/>
                  </a:path>
                </a:pathLst>
              </a:custGeom>
              <a:grpFill/>
              <a:ln w="6350">
                <a:noFill/>
                <a:round/>
                <a:headEnd/>
                <a:tailEnd/>
              </a:ln>
            </p:spPr>
            <p:txBody>
              <a:bodyPr/>
              <a:lstStyle/>
              <a:p>
                <a:endParaRPr lang="da-DK" sz="2800" b="1"/>
              </a:p>
            </p:txBody>
          </p:sp>
          <p:sp>
            <p:nvSpPr>
              <p:cNvPr id="96" name="Freeform 6117">
                <a:extLst>
                  <a:ext uri="{FF2B5EF4-FFF2-40B4-BE49-F238E27FC236}">
                    <a16:creationId xmlns:a16="http://schemas.microsoft.com/office/drawing/2014/main" id="{B98F1ADF-F6A5-40FF-BE79-673F32494587}"/>
                  </a:ext>
                </a:extLst>
              </p:cNvPr>
              <p:cNvSpPr>
                <a:spLocks/>
              </p:cNvSpPr>
              <p:nvPr/>
            </p:nvSpPr>
            <p:spPr bwMode="auto">
              <a:xfrm>
                <a:off x="1854200" y="1394143"/>
                <a:ext cx="114300" cy="66040"/>
              </a:xfrm>
              <a:custGeom>
                <a:avLst/>
                <a:gdLst/>
                <a:ahLst/>
                <a:cxnLst>
                  <a:cxn ang="0">
                    <a:pos x="42" y="32"/>
                  </a:cxn>
                  <a:cxn ang="0">
                    <a:pos x="42" y="32"/>
                  </a:cxn>
                  <a:cxn ang="0">
                    <a:pos x="32" y="42"/>
                  </a:cxn>
                  <a:cxn ang="0">
                    <a:pos x="24" y="50"/>
                  </a:cxn>
                  <a:cxn ang="0">
                    <a:pos x="14" y="52"/>
                  </a:cxn>
                  <a:cxn ang="0">
                    <a:pos x="8" y="54"/>
                  </a:cxn>
                  <a:cxn ang="0">
                    <a:pos x="2" y="56"/>
                  </a:cxn>
                  <a:cxn ang="0">
                    <a:pos x="0" y="58"/>
                  </a:cxn>
                  <a:cxn ang="0">
                    <a:pos x="2" y="62"/>
                  </a:cxn>
                  <a:cxn ang="0">
                    <a:pos x="10" y="68"/>
                  </a:cxn>
                  <a:cxn ang="0">
                    <a:pos x="10" y="68"/>
                  </a:cxn>
                  <a:cxn ang="0">
                    <a:pos x="20" y="74"/>
                  </a:cxn>
                  <a:cxn ang="0">
                    <a:pos x="34" y="78"/>
                  </a:cxn>
                  <a:cxn ang="0">
                    <a:pos x="72" y="86"/>
                  </a:cxn>
                  <a:cxn ang="0">
                    <a:pos x="72" y="86"/>
                  </a:cxn>
                  <a:cxn ang="0">
                    <a:pos x="84" y="88"/>
                  </a:cxn>
                  <a:cxn ang="0">
                    <a:pos x="94" y="92"/>
                  </a:cxn>
                  <a:cxn ang="0">
                    <a:pos x="112" y="100"/>
                  </a:cxn>
                  <a:cxn ang="0">
                    <a:pos x="120" y="102"/>
                  </a:cxn>
                  <a:cxn ang="0">
                    <a:pos x="128" y="104"/>
                  </a:cxn>
                  <a:cxn ang="0">
                    <a:pos x="136" y="102"/>
                  </a:cxn>
                  <a:cxn ang="0">
                    <a:pos x="142" y="96"/>
                  </a:cxn>
                  <a:cxn ang="0">
                    <a:pos x="142" y="96"/>
                  </a:cxn>
                  <a:cxn ang="0">
                    <a:pos x="150" y="90"/>
                  </a:cxn>
                  <a:cxn ang="0">
                    <a:pos x="156" y="88"/>
                  </a:cxn>
                  <a:cxn ang="0">
                    <a:pos x="164" y="86"/>
                  </a:cxn>
                  <a:cxn ang="0">
                    <a:pos x="170" y="86"/>
                  </a:cxn>
                  <a:cxn ang="0">
                    <a:pos x="174" y="84"/>
                  </a:cxn>
                  <a:cxn ang="0">
                    <a:pos x="178" y="78"/>
                  </a:cxn>
                  <a:cxn ang="0">
                    <a:pos x="178" y="78"/>
                  </a:cxn>
                  <a:cxn ang="0">
                    <a:pos x="180" y="74"/>
                  </a:cxn>
                  <a:cxn ang="0">
                    <a:pos x="180" y="72"/>
                  </a:cxn>
                  <a:cxn ang="0">
                    <a:pos x="174" y="72"/>
                  </a:cxn>
                  <a:cxn ang="0">
                    <a:pos x="170" y="72"/>
                  </a:cxn>
                  <a:cxn ang="0">
                    <a:pos x="164" y="70"/>
                  </a:cxn>
                  <a:cxn ang="0">
                    <a:pos x="158" y="66"/>
                  </a:cxn>
                  <a:cxn ang="0">
                    <a:pos x="152" y="58"/>
                  </a:cxn>
                  <a:cxn ang="0">
                    <a:pos x="152" y="58"/>
                  </a:cxn>
                  <a:cxn ang="0">
                    <a:pos x="148" y="50"/>
                  </a:cxn>
                  <a:cxn ang="0">
                    <a:pos x="144" y="44"/>
                  </a:cxn>
                  <a:cxn ang="0">
                    <a:pos x="140" y="42"/>
                  </a:cxn>
                  <a:cxn ang="0">
                    <a:pos x="136" y="42"/>
                  </a:cxn>
                  <a:cxn ang="0">
                    <a:pos x="124" y="36"/>
                  </a:cxn>
                  <a:cxn ang="0">
                    <a:pos x="116" y="30"/>
                  </a:cxn>
                  <a:cxn ang="0">
                    <a:pos x="106" y="20"/>
                  </a:cxn>
                  <a:cxn ang="0">
                    <a:pos x="106" y="20"/>
                  </a:cxn>
                  <a:cxn ang="0">
                    <a:pos x="94" y="10"/>
                  </a:cxn>
                  <a:cxn ang="0">
                    <a:pos x="86" y="2"/>
                  </a:cxn>
                  <a:cxn ang="0">
                    <a:pos x="78" y="0"/>
                  </a:cxn>
                  <a:cxn ang="0">
                    <a:pos x="70" y="0"/>
                  </a:cxn>
                  <a:cxn ang="0">
                    <a:pos x="64" y="4"/>
                  </a:cxn>
                  <a:cxn ang="0">
                    <a:pos x="56" y="10"/>
                  </a:cxn>
                  <a:cxn ang="0">
                    <a:pos x="42" y="32"/>
                  </a:cxn>
                  <a:cxn ang="0">
                    <a:pos x="42" y="32"/>
                  </a:cxn>
                </a:cxnLst>
                <a:rect l="0" t="0" r="r" b="b"/>
                <a:pathLst>
                  <a:path w="180" h="104">
                    <a:moveTo>
                      <a:pt x="42" y="32"/>
                    </a:moveTo>
                    <a:lnTo>
                      <a:pt x="42" y="32"/>
                    </a:lnTo>
                    <a:lnTo>
                      <a:pt x="32" y="42"/>
                    </a:lnTo>
                    <a:lnTo>
                      <a:pt x="24" y="50"/>
                    </a:lnTo>
                    <a:lnTo>
                      <a:pt x="14" y="52"/>
                    </a:lnTo>
                    <a:lnTo>
                      <a:pt x="8" y="54"/>
                    </a:lnTo>
                    <a:lnTo>
                      <a:pt x="2" y="56"/>
                    </a:lnTo>
                    <a:lnTo>
                      <a:pt x="0" y="58"/>
                    </a:lnTo>
                    <a:lnTo>
                      <a:pt x="2" y="62"/>
                    </a:lnTo>
                    <a:lnTo>
                      <a:pt x="10" y="68"/>
                    </a:lnTo>
                    <a:lnTo>
                      <a:pt x="10" y="68"/>
                    </a:lnTo>
                    <a:lnTo>
                      <a:pt x="20" y="74"/>
                    </a:lnTo>
                    <a:lnTo>
                      <a:pt x="34" y="78"/>
                    </a:lnTo>
                    <a:lnTo>
                      <a:pt x="72" y="86"/>
                    </a:lnTo>
                    <a:lnTo>
                      <a:pt x="72" y="86"/>
                    </a:lnTo>
                    <a:lnTo>
                      <a:pt x="84" y="88"/>
                    </a:lnTo>
                    <a:lnTo>
                      <a:pt x="94" y="92"/>
                    </a:lnTo>
                    <a:lnTo>
                      <a:pt x="112" y="100"/>
                    </a:lnTo>
                    <a:lnTo>
                      <a:pt x="120" y="102"/>
                    </a:lnTo>
                    <a:lnTo>
                      <a:pt x="128" y="104"/>
                    </a:lnTo>
                    <a:lnTo>
                      <a:pt x="136" y="102"/>
                    </a:lnTo>
                    <a:lnTo>
                      <a:pt x="142" y="96"/>
                    </a:lnTo>
                    <a:lnTo>
                      <a:pt x="142" y="96"/>
                    </a:lnTo>
                    <a:lnTo>
                      <a:pt x="150" y="90"/>
                    </a:lnTo>
                    <a:lnTo>
                      <a:pt x="156" y="88"/>
                    </a:lnTo>
                    <a:lnTo>
                      <a:pt x="164" y="86"/>
                    </a:lnTo>
                    <a:lnTo>
                      <a:pt x="170" y="86"/>
                    </a:lnTo>
                    <a:lnTo>
                      <a:pt x="174" y="84"/>
                    </a:lnTo>
                    <a:lnTo>
                      <a:pt x="178" y="78"/>
                    </a:lnTo>
                    <a:lnTo>
                      <a:pt x="178" y="78"/>
                    </a:lnTo>
                    <a:lnTo>
                      <a:pt x="180" y="74"/>
                    </a:lnTo>
                    <a:lnTo>
                      <a:pt x="180" y="72"/>
                    </a:lnTo>
                    <a:lnTo>
                      <a:pt x="174" y="72"/>
                    </a:lnTo>
                    <a:lnTo>
                      <a:pt x="170" y="72"/>
                    </a:lnTo>
                    <a:lnTo>
                      <a:pt x="164" y="70"/>
                    </a:lnTo>
                    <a:lnTo>
                      <a:pt x="158" y="66"/>
                    </a:lnTo>
                    <a:lnTo>
                      <a:pt x="152" y="58"/>
                    </a:lnTo>
                    <a:lnTo>
                      <a:pt x="152" y="58"/>
                    </a:lnTo>
                    <a:lnTo>
                      <a:pt x="148" y="50"/>
                    </a:lnTo>
                    <a:lnTo>
                      <a:pt x="144" y="44"/>
                    </a:lnTo>
                    <a:lnTo>
                      <a:pt x="140" y="42"/>
                    </a:lnTo>
                    <a:lnTo>
                      <a:pt x="136" y="42"/>
                    </a:lnTo>
                    <a:lnTo>
                      <a:pt x="124" y="36"/>
                    </a:lnTo>
                    <a:lnTo>
                      <a:pt x="116" y="30"/>
                    </a:lnTo>
                    <a:lnTo>
                      <a:pt x="106" y="20"/>
                    </a:lnTo>
                    <a:lnTo>
                      <a:pt x="106" y="20"/>
                    </a:lnTo>
                    <a:lnTo>
                      <a:pt x="94" y="10"/>
                    </a:lnTo>
                    <a:lnTo>
                      <a:pt x="86" y="2"/>
                    </a:lnTo>
                    <a:lnTo>
                      <a:pt x="78" y="0"/>
                    </a:lnTo>
                    <a:lnTo>
                      <a:pt x="70" y="0"/>
                    </a:lnTo>
                    <a:lnTo>
                      <a:pt x="64" y="4"/>
                    </a:lnTo>
                    <a:lnTo>
                      <a:pt x="56" y="10"/>
                    </a:lnTo>
                    <a:lnTo>
                      <a:pt x="42" y="32"/>
                    </a:lnTo>
                    <a:lnTo>
                      <a:pt x="42" y="32"/>
                    </a:lnTo>
                    <a:close/>
                  </a:path>
                </a:pathLst>
              </a:custGeom>
              <a:grpFill/>
              <a:ln w="6350">
                <a:noFill/>
                <a:round/>
                <a:headEnd/>
                <a:tailEnd/>
              </a:ln>
            </p:spPr>
            <p:txBody>
              <a:bodyPr/>
              <a:lstStyle/>
              <a:p>
                <a:endParaRPr lang="da-DK" sz="2800" b="1"/>
              </a:p>
            </p:txBody>
          </p:sp>
          <p:sp>
            <p:nvSpPr>
              <p:cNvPr id="97" name="Freeform 6118">
                <a:extLst>
                  <a:ext uri="{FF2B5EF4-FFF2-40B4-BE49-F238E27FC236}">
                    <a16:creationId xmlns:a16="http://schemas.microsoft.com/office/drawing/2014/main" id="{89D583E7-24E9-4A2A-9C60-FB72BD1BC9D1}"/>
                  </a:ext>
                </a:extLst>
              </p:cNvPr>
              <p:cNvSpPr>
                <a:spLocks/>
              </p:cNvSpPr>
              <p:nvPr/>
            </p:nvSpPr>
            <p:spPr bwMode="auto">
              <a:xfrm>
                <a:off x="2529839" y="699453"/>
                <a:ext cx="1550670" cy="1127760"/>
              </a:xfrm>
              <a:custGeom>
                <a:avLst/>
                <a:gdLst/>
                <a:ahLst/>
                <a:cxnLst>
                  <a:cxn ang="0">
                    <a:pos x="220" y="296"/>
                  </a:cxn>
                  <a:cxn ang="0">
                    <a:pos x="150" y="400"/>
                  </a:cxn>
                  <a:cxn ang="0">
                    <a:pos x="96" y="502"/>
                  </a:cxn>
                  <a:cxn ang="0">
                    <a:pos x="62" y="558"/>
                  </a:cxn>
                  <a:cxn ang="0">
                    <a:pos x="228" y="618"/>
                  </a:cxn>
                  <a:cxn ang="0">
                    <a:pos x="350" y="620"/>
                  </a:cxn>
                  <a:cxn ang="0">
                    <a:pos x="584" y="666"/>
                  </a:cxn>
                  <a:cxn ang="0">
                    <a:pos x="674" y="786"/>
                  </a:cxn>
                  <a:cxn ang="0">
                    <a:pos x="706" y="902"/>
                  </a:cxn>
                  <a:cxn ang="0">
                    <a:pos x="744" y="990"/>
                  </a:cxn>
                  <a:cxn ang="0">
                    <a:pos x="836" y="1010"/>
                  </a:cxn>
                  <a:cxn ang="0">
                    <a:pos x="750" y="1050"/>
                  </a:cxn>
                  <a:cxn ang="0">
                    <a:pos x="890" y="1110"/>
                  </a:cxn>
                  <a:cxn ang="0">
                    <a:pos x="788" y="1212"/>
                  </a:cxn>
                  <a:cxn ang="0">
                    <a:pos x="782" y="1328"/>
                  </a:cxn>
                  <a:cxn ang="0">
                    <a:pos x="834" y="1452"/>
                  </a:cxn>
                  <a:cxn ang="0">
                    <a:pos x="922" y="1474"/>
                  </a:cxn>
                  <a:cxn ang="0">
                    <a:pos x="860" y="1502"/>
                  </a:cxn>
                  <a:cxn ang="0">
                    <a:pos x="908" y="1598"/>
                  </a:cxn>
                  <a:cxn ang="0">
                    <a:pos x="966" y="1678"/>
                  </a:cxn>
                  <a:cxn ang="0">
                    <a:pos x="1032" y="1712"/>
                  </a:cxn>
                  <a:cxn ang="0">
                    <a:pos x="1090" y="1738"/>
                  </a:cxn>
                  <a:cxn ang="0">
                    <a:pos x="1196" y="1768"/>
                  </a:cxn>
                  <a:cxn ang="0">
                    <a:pos x="1232" y="1622"/>
                  </a:cxn>
                  <a:cxn ang="0">
                    <a:pos x="1262" y="1566"/>
                  </a:cxn>
                  <a:cxn ang="0">
                    <a:pos x="1262" y="1486"/>
                  </a:cxn>
                  <a:cxn ang="0">
                    <a:pos x="1332" y="1420"/>
                  </a:cxn>
                  <a:cxn ang="0">
                    <a:pos x="1402" y="1376"/>
                  </a:cxn>
                  <a:cxn ang="0">
                    <a:pos x="1412" y="1372"/>
                  </a:cxn>
                  <a:cxn ang="0">
                    <a:pos x="1468" y="1372"/>
                  </a:cxn>
                  <a:cxn ang="0">
                    <a:pos x="1628" y="1238"/>
                  </a:cxn>
                  <a:cxn ang="0">
                    <a:pos x="1748" y="1208"/>
                  </a:cxn>
                  <a:cxn ang="0">
                    <a:pos x="2012" y="1102"/>
                  </a:cxn>
                  <a:cxn ang="0">
                    <a:pos x="1846" y="1076"/>
                  </a:cxn>
                  <a:cxn ang="0">
                    <a:pos x="1800" y="1058"/>
                  </a:cxn>
                  <a:cxn ang="0">
                    <a:pos x="1842" y="970"/>
                  </a:cxn>
                  <a:cxn ang="0">
                    <a:pos x="2060" y="1056"/>
                  </a:cxn>
                  <a:cxn ang="0">
                    <a:pos x="2054" y="956"/>
                  </a:cxn>
                  <a:cxn ang="0">
                    <a:pos x="1916" y="858"/>
                  </a:cxn>
                  <a:cxn ang="0">
                    <a:pos x="2100" y="830"/>
                  </a:cxn>
                  <a:cxn ang="0">
                    <a:pos x="2142" y="768"/>
                  </a:cxn>
                  <a:cxn ang="0">
                    <a:pos x="2154" y="698"/>
                  </a:cxn>
                  <a:cxn ang="0">
                    <a:pos x="2066" y="608"/>
                  </a:cxn>
                  <a:cxn ang="0">
                    <a:pos x="2144" y="562"/>
                  </a:cxn>
                  <a:cxn ang="0">
                    <a:pos x="2144" y="504"/>
                  </a:cxn>
                  <a:cxn ang="0">
                    <a:pos x="2096" y="408"/>
                  </a:cxn>
                  <a:cxn ang="0">
                    <a:pos x="2228" y="310"/>
                  </a:cxn>
                  <a:cxn ang="0">
                    <a:pos x="2278" y="276"/>
                  </a:cxn>
                  <a:cxn ang="0">
                    <a:pos x="2298" y="244"/>
                  </a:cxn>
                  <a:cxn ang="0">
                    <a:pos x="2322" y="150"/>
                  </a:cxn>
                  <a:cxn ang="0">
                    <a:pos x="2050" y="210"/>
                  </a:cxn>
                  <a:cxn ang="0">
                    <a:pos x="1962" y="152"/>
                  </a:cxn>
                  <a:cxn ang="0">
                    <a:pos x="1616" y="174"/>
                  </a:cxn>
                  <a:cxn ang="0">
                    <a:pos x="2034" y="78"/>
                  </a:cxn>
                  <a:cxn ang="0">
                    <a:pos x="1724" y="52"/>
                  </a:cxn>
                  <a:cxn ang="0">
                    <a:pos x="1618" y="2"/>
                  </a:cxn>
                  <a:cxn ang="0">
                    <a:pos x="1402" y="44"/>
                  </a:cxn>
                  <a:cxn ang="0">
                    <a:pos x="1048" y="56"/>
                  </a:cxn>
                  <a:cxn ang="0">
                    <a:pos x="1110" y="74"/>
                  </a:cxn>
                  <a:cxn ang="0">
                    <a:pos x="1108" y="158"/>
                  </a:cxn>
                  <a:cxn ang="0">
                    <a:pos x="900" y="148"/>
                  </a:cxn>
                  <a:cxn ang="0">
                    <a:pos x="756" y="114"/>
                  </a:cxn>
                </a:cxnLst>
                <a:rect l="0" t="0" r="r" b="b"/>
                <a:pathLst>
                  <a:path w="2442" h="1776">
                    <a:moveTo>
                      <a:pt x="470" y="176"/>
                    </a:moveTo>
                    <a:lnTo>
                      <a:pt x="470" y="176"/>
                    </a:lnTo>
                    <a:lnTo>
                      <a:pt x="476" y="186"/>
                    </a:lnTo>
                    <a:lnTo>
                      <a:pt x="478" y="194"/>
                    </a:lnTo>
                    <a:lnTo>
                      <a:pt x="480" y="202"/>
                    </a:lnTo>
                    <a:lnTo>
                      <a:pt x="478" y="210"/>
                    </a:lnTo>
                    <a:lnTo>
                      <a:pt x="474" y="216"/>
                    </a:lnTo>
                    <a:lnTo>
                      <a:pt x="466" y="218"/>
                    </a:lnTo>
                    <a:lnTo>
                      <a:pt x="458" y="220"/>
                    </a:lnTo>
                    <a:lnTo>
                      <a:pt x="446" y="218"/>
                    </a:lnTo>
                    <a:lnTo>
                      <a:pt x="446" y="218"/>
                    </a:lnTo>
                    <a:lnTo>
                      <a:pt x="426" y="212"/>
                    </a:lnTo>
                    <a:lnTo>
                      <a:pt x="406" y="210"/>
                    </a:lnTo>
                    <a:lnTo>
                      <a:pt x="386" y="210"/>
                    </a:lnTo>
                    <a:lnTo>
                      <a:pt x="368" y="212"/>
                    </a:lnTo>
                    <a:lnTo>
                      <a:pt x="350" y="216"/>
                    </a:lnTo>
                    <a:lnTo>
                      <a:pt x="334" y="222"/>
                    </a:lnTo>
                    <a:lnTo>
                      <a:pt x="318" y="230"/>
                    </a:lnTo>
                    <a:lnTo>
                      <a:pt x="304" y="238"/>
                    </a:lnTo>
                    <a:lnTo>
                      <a:pt x="304" y="238"/>
                    </a:lnTo>
                    <a:lnTo>
                      <a:pt x="272" y="256"/>
                    </a:lnTo>
                    <a:lnTo>
                      <a:pt x="244" y="270"/>
                    </a:lnTo>
                    <a:lnTo>
                      <a:pt x="232" y="276"/>
                    </a:lnTo>
                    <a:lnTo>
                      <a:pt x="222" y="284"/>
                    </a:lnTo>
                    <a:lnTo>
                      <a:pt x="218" y="290"/>
                    </a:lnTo>
                    <a:lnTo>
                      <a:pt x="218" y="292"/>
                    </a:lnTo>
                    <a:lnTo>
                      <a:pt x="220" y="296"/>
                    </a:lnTo>
                    <a:lnTo>
                      <a:pt x="220" y="296"/>
                    </a:lnTo>
                    <a:lnTo>
                      <a:pt x="226" y="300"/>
                    </a:lnTo>
                    <a:lnTo>
                      <a:pt x="234" y="304"/>
                    </a:lnTo>
                    <a:lnTo>
                      <a:pt x="244" y="308"/>
                    </a:lnTo>
                    <a:lnTo>
                      <a:pt x="256" y="308"/>
                    </a:lnTo>
                    <a:lnTo>
                      <a:pt x="280" y="308"/>
                    </a:lnTo>
                    <a:lnTo>
                      <a:pt x="302" y="306"/>
                    </a:lnTo>
                    <a:lnTo>
                      <a:pt x="302" y="306"/>
                    </a:lnTo>
                    <a:lnTo>
                      <a:pt x="310" y="306"/>
                    </a:lnTo>
                    <a:lnTo>
                      <a:pt x="316" y="310"/>
                    </a:lnTo>
                    <a:lnTo>
                      <a:pt x="318" y="318"/>
                    </a:lnTo>
                    <a:lnTo>
                      <a:pt x="320" y="326"/>
                    </a:lnTo>
                    <a:lnTo>
                      <a:pt x="318" y="338"/>
                    </a:lnTo>
                    <a:lnTo>
                      <a:pt x="314" y="348"/>
                    </a:lnTo>
                    <a:lnTo>
                      <a:pt x="308" y="360"/>
                    </a:lnTo>
                    <a:lnTo>
                      <a:pt x="300" y="370"/>
                    </a:lnTo>
                    <a:lnTo>
                      <a:pt x="300" y="370"/>
                    </a:lnTo>
                    <a:lnTo>
                      <a:pt x="290" y="380"/>
                    </a:lnTo>
                    <a:lnTo>
                      <a:pt x="280" y="384"/>
                    </a:lnTo>
                    <a:lnTo>
                      <a:pt x="268" y="386"/>
                    </a:lnTo>
                    <a:lnTo>
                      <a:pt x="254" y="386"/>
                    </a:lnTo>
                    <a:lnTo>
                      <a:pt x="224" y="382"/>
                    </a:lnTo>
                    <a:lnTo>
                      <a:pt x="206" y="382"/>
                    </a:lnTo>
                    <a:lnTo>
                      <a:pt x="188" y="384"/>
                    </a:lnTo>
                    <a:lnTo>
                      <a:pt x="188" y="384"/>
                    </a:lnTo>
                    <a:lnTo>
                      <a:pt x="172" y="388"/>
                    </a:lnTo>
                    <a:lnTo>
                      <a:pt x="162" y="392"/>
                    </a:lnTo>
                    <a:lnTo>
                      <a:pt x="154" y="396"/>
                    </a:lnTo>
                    <a:lnTo>
                      <a:pt x="150" y="400"/>
                    </a:lnTo>
                    <a:lnTo>
                      <a:pt x="142" y="404"/>
                    </a:lnTo>
                    <a:lnTo>
                      <a:pt x="130" y="408"/>
                    </a:lnTo>
                    <a:lnTo>
                      <a:pt x="112" y="412"/>
                    </a:lnTo>
                    <a:lnTo>
                      <a:pt x="84" y="418"/>
                    </a:lnTo>
                    <a:lnTo>
                      <a:pt x="84" y="418"/>
                    </a:lnTo>
                    <a:lnTo>
                      <a:pt x="54" y="422"/>
                    </a:lnTo>
                    <a:lnTo>
                      <a:pt x="32" y="428"/>
                    </a:lnTo>
                    <a:lnTo>
                      <a:pt x="16" y="434"/>
                    </a:lnTo>
                    <a:lnTo>
                      <a:pt x="4" y="440"/>
                    </a:lnTo>
                    <a:lnTo>
                      <a:pt x="0" y="448"/>
                    </a:lnTo>
                    <a:lnTo>
                      <a:pt x="0" y="456"/>
                    </a:lnTo>
                    <a:lnTo>
                      <a:pt x="4" y="464"/>
                    </a:lnTo>
                    <a:lnTo>
                      <a:pt x="12" y="472"/>
                    </a:lnTo>
                    <a:lnTo>
                      <a:pt x="12" y="472"/>
                    </a:lnTo>
                    <a:lnTo>
                      <a:pt x="20" y="478"/>
                    </a:lnTo>
                    <a:lnTo>
                      <a:pt x="28" y="482"/>
                    </a:lnTo>
                    <a:lnTo>
                      <a:pt x="38" y="484"/>
                    </a:lnTo>
                    <a:lnTo>
                      <a:pt x="48" y="484"/>
                    </a:lnTo>
                    <a:lnTo>
                      <a:pt x="52" y="486"/>
                    </a:lnTo>
                    <a:lnTo>
                      <a:pt x="56" y="490"/>
                    </a:lnTo>
                    <a:lnTo>
                      <a:pt x="56" y="490"/>
                    </a:lnTo>
                    <a:lnTo>
                      <a:pt x="62" y="494"/>
                    </a:lnTo>
                    <a:lnTo>
                      <a:pt x="68" y="496"/>
                    </a:lnTo>
                    <a:lnTo>
                      <a:pt x="78" y="496"/>
                    </a:lnTo>
                    <a:lnTo>
                      <a:pt x="88" y="496"/>
                    </a:lnTo>
                    <a:lnTo>
                      <a:pt x="92" y="498"/>
                    </a:lnTo>
                    <a:lnTo>
                      <a:pt x="96" y="502"/>
                    </a:lnTo>
                    <a:lnTo>
                      <a:pt x="96" y="502"/>
                    </a:lnTo>
                    <a:lnTo>
                      <a:pt x="102" y="506"/>
                    </a:lnTo>
                    <a:lnTo>
                      <a:pt x="108" y="510"/>
                    </a:lnTo>
                    <a:lnTo>
                      <a:pt x="116" y="514"/>
                    </a:lnTo>
                    <a:lnTo>
                      <a:pt x="124" y="514"/>
                    </a:lnTo>
                    <a:lnTo>
                      <a:pt x="144" y="516"/>
                    </a:lnTo>
                    <a:lnTo>
                      <a:pt x="174" y="516"/>
                    </a:lnTo>
                    <a:lnTo>
                      <a:pt x="174" y="516"/>
                    </a:lnTo>
                    <a:lnTo>
                      <a:pt x="192" y="516"/>
                    </a:lnTo>
                    <a:lnTo>
                      <a:pt x="208" y="514"/>
                    </a:lnTo>
                    <a:lnTo>
                      <a:pt x="238" y="508"/>
                    </a:lnTo>
                    <a:lnTo>
                      <a:pt x="250" y="506"/>
                    </a:lnTo>
                    <a:lnTo>
                      <a:pt x="260" y="506"/>
                    </a:lnTo>
                    <a:lnTo>
                      <a:pt x="268" y="506"/>
                    </a:lnTo>
                    <a:lnTo>
                      <a:pt x="272" y="512"/>
                    </a:lnTo>
                    <a:lnTo>
                      <a:pt x="272" y="512"/>
                    </a:lnTo>
                    <a:lnTo>
                      <a:pt x="272" y="516"/>
                    </a:lnTo>
                    <a:lnTo>
                      <a:pt x="268" y="520"/>
                    </a:lnTo>
                    <a:lnTo>
                      <a:pt x="260" y="524"/>
                    </a:lnTo>
                    <a:lnTo>
                      <a:pt x="248" y="524"/>
                    </a:lnTo>
                    <a:lnTo>
                      <a:pt x="174" y="528"/>
                    </a:lnTo>
                    <a:lnTo>
                      <a:pt x="174" y="528"/>
                    </a:lnTo>
                    <a:lnTo>
                      <a:pt x="128" y="534"/>
                    </a:lnTo>
                    <a:lnTo>
                      <a:pt x="106" y="538"/>
                    </a:lnTo>
                    <a:lnTo>
                      <a:pt x="86" y="542"/>
                    </a:lnTo>
                    <a:lnTo>
                      <a:pt x="72" y="546"/>
                    </a:lnTo>
                    <a:lnTo>
                      <a:pt x="62" y="552"/>
                    </a:lnTo>
                    <a:lnTo>
                      <a:pt x="60" y="554"/>
                    </a:lnTo>
                    <a:lnTo>
                      <a:pt x="62" y="558"/>
                    </a:lnTo>
                    <a:lnTo>
                      <a:pt x="64" y="562"/>
                    </a:lnTo>
                    <a:lnTo>
                      <a:pt x="68" y="564"/>
                    </a:lnTo>
                    <a:lnTo>
                      <a:pt x="68" y="564"/>
                    </a:lnTo>
                    <a:lnTo>
                      <a:pt x="84" y="570"/>
                    </a:lnTo>
                    <a:lnTo>
                      <a:pt x="102" y="574"/>
                    </a:lnTo>
                    <a:lnTo>
                      <a:pt x="140" y="580"/>
                    </a:lnTo>
                    <a:lnTo>
                      <a:pt x="154" y="584"/>
                    </a:lnTo>
                    <a:lnTo>
                      <a:pt x="162" y="586"/>
                    </a:lnTo>
                    <a:lnTo>
                      <a:pt x="162" y="588"/>
                    </a:lnTo>
                    <a:lnTo>
                      <a:pt x="160" y="590"/>
                    </a:lnTo>
                    <a:lnTo>
                      <a:pt x="148" y="594"/>
                    </a:lnTo>
                    <a:lnTo>
                      <a:pt x="148" y="594"/>
                    </a:lnTo>
                    <a:lnTo>
                      <a:pt x="136" y="598"/>
                    </a:lnTo>
                    <a:lnTo>
                      <a:pt x="132" y="602"/>
                    </a:lnTo>
                    <a:lnTo>
                      <a:pt x="132" y="604"/>
                    </a:lnTo>
                    <a:lnTo>
                      <a:pt x="132" y="606"/>
                    </a:lnTo>
                    <a:lnTo>
                      <a:pt x="136" y="608"/>
                    </a:lnTo>
                    <a:lnTo>
                      <a:pt x="146" y="614"/>
                    </a:lnTo>
                    <a:lnTo>
                      <a:pt x="182" y="624"/>
                    </a:lnTo>
                    <a:lnTo>
                      <a:pt x="224" y="636"/>
                    </a:lnTo>
                    <a:lnTo>
                      <a:pt x="224" y="636"/>
                    </a:lnTo>
                    <a:lnTo>
                      <a:pt x="242" y="642"/>
                    </a:lnTo>
                    <a:lnTo>
                      <a:pt x="248" y="642"/>
                    </a:lnTo>
                    <a:lnTo>
                      <a:pt x="248" y="642"/>
                    </a:lnTo>
                    <a:lnTo>
                      <a:pt x="248" y="640"/>
                    </a:lnTo>
                    <a:lnTo>
                      <a:pt x="242" y="634"/>
                    </a:lnTo>
                    <a:lnTo>
                      <a:pt x="230" y="622"/>
                    </a:lnTo>
                    <a:lnTo>
                      <a:pt x="228" y="618"/>
                    </a:lnTo>
                    <a:lnTo>
                      <a:pt x="228" y="616"/>
                    </a:lnTo>
                    <a:lnTo>
                      <a:pt x="232" y="614"/>
                    </a:lnTo>
                    <a:lnTo>
                      <a:pt x="232" y="614"/>
                    </a:lnTo>
                    <a:lnTo>
                      <a:pt x="238" y="612"/>
                    </a:lnTo>
                    <a:lnTo>
                      <a:pt x="242" y="614"/>
                    </a:lnTo>
                    <a:lnTo>
                      <a:pt x="246" y="620"/>
                    </a:lnTo>
                    <a:lnTo>
                      <a:pt x="250" y="622"/>
                    </a:lnTo>
                    <a:lnTo>
                      <a:pt x="254" y="622"/>
                    </a:lnTo>
                    <a:lnTo>
                      <a:pt x="262" y="622"/>
                    </a:lnTo>
                    <a:lnTo>
                      <a:pt x="272" y="618"/>
                    </a:lnTo>
                    <a:lnTo>
                      <a:pt x="272" y="618"/>
                    </a:lnTo>
                    <a:lnTo>
                      <a:pt x="282" y="614"/>
                    </a:lnTo>
                    <a:lnTo>
                      <a:pt x="286" y="614"/>
                    </a:lnTo>
                    <a:lnTo>
                      <a:pt x="286" y="616"/>
                    </a:lnTo>
                    <a:lnTo>
                      <a:pt x="286" y="618"/>
                    </a:lnTo>
                    <a:lnTo>
                      <a:pt x="284" y="622"/>
                    </a:lnTo>
                    <a:lnTo>
                      <a:pt x="286" y="626"/>
                    </a:lnTo>
                    <a:lnTo>
                      <a:pt x="290" y="630"/>
                    </a:lnTo>
                    <a:lnTo>
                      <a:pt x="300" y="630"/>
                    </a:lnTo>
                    <a:lnTo>
                      <a:pt x="300" y="630"/>
                    </a:lnTo>
                    <a:lnTo>
                      <a:pt x="312" y="630"/>
                    </a:lnTo>
                    <a:lnTo>
                      <a:pt x="320" y="626"/>
                    </a:lnTo>
                    <a:lnTo>
                      <a:pt x="326" y="622"/>
                    </a:lnTo>
                    <a:lnTo>
                      <a:pt x="330" y="618"/>
                    </a:lnTo>
                    <a:lnTo>
                      <a:pt x="334" y="616"/>
                    </a:lnTo>
                    <a:lnTo>
                      <a:pt x="338" y="614"/>
                    </a:lnTo>
                    <a:lnTo>
                      <a:pt x="344" y="614"/>
                    </a:lnTo>
                    <a:lnTo>
                      <a:pt x="350" y="620"/>
                    </a:lnTo>
                    <a:lnTo>
                      <a:pt x="350" y="620"/>
                    </a:lnTo>
                    <a:lnTo>
                      <a:pt x="358" y="624"/>
                    </a:lnTo>
                    <a:lnTo>
                      <a:pt x="364" y="624"/>
                    </a:lnTo>
                    <a:lnTo>
                      <a:pt x="368" y="622"/>
                    </a:lnTo>
                    <a:lnTo>
                      <a:pt x="370" y="618"/>
                    </a:lnTo>
                    <a:lnTo>
                      <a:pt x="374" y="614"/>
                    </a:lnTo>
                    <a:lnTo>
                      <a:pt x="380" y="610"/>
                    </a:lnTo>
                    <a:lnTo>
                      <a:pt x="386" y="610"/>
                    </a:lnTo>
                    <a:lnTo>
                      <a:pt x="396" y="612"/>
                    </a:lnTo>
                    <a:lnTo>
                      <a:pt x="396" y="612"/>
                    </a:lnTo>
                    <a:lnTo>
                      <a:pt x="408" y="616"/>
                    </a:lnTo>
                    <a:lnTo>
                      <a:pt x="420" y="618"/>
                    </a:lnTo>
                    <a:lnTo>
                      <a:pt x="446" y="618"/>
                    </a:lnTo>
                    <a:lnTo>
                      <a:pt x="468" y="620"/>
                    </a:lnTo>
                    <a:lnTo>
                      <a:pt x="476" y="622"/>
                    </a:lnTo>
                    <a:lnTo>
                      <a:pt x="484" y="628"/>
                    </a:lnTo>
                    <a:lnTo>
                      <a:pt x="484" y="628"/>
                    </a:lnTo>
                    <a:lnTo>
                      <a:pt x="488" y="632"/>
                    </a:lnTo>
                    <a:lnTo>
                      <a:pt x="492" y="634"/>
                    </a:lnTo>
                    <a:lnTo>
                      <a:pt x="500" y="634"/>
                    </a:lnTo>
                    <a:lnTo>
                      <a:pt x="506" y="634"/>
                    </a:lnTo>
                    <a:lnTo>
                      <a:pt x="512" y="634"/>
                    </a:lnTo>
                    <a:lnTo>
                      <a:pt x="522" y="638"/>
                    </a:lnTo>
                    <a:lnTo>
                      <a:pt x="534" y="642"/>
                    </a:lnTo>
                    <a:lnTo>
                      <a:pt x="534" y="642"/>
                    </a:lnTo>
                    <a:lnTo>
                      <a:pt x="560" y="654"/>
                    </a:lnTo>
                    <a:lnTo>
                      <a:pt x="578" y="664"/>
                    </a:lnTo>
                    <a:lnTo>
                      <a:pt x="584" y="666"/>
                    </a:lnTo>
                    <a:lnTo>
                      <a:pt x="584" y="670"/>
                    </a:lnTo>
                    <a:lnTo>
                      <a:pt x="584" y="674"/>
                    </a:lnTo>
                    <a:lnTo>
                      <a:pt x="578" y="680"/>
                    </a:lnTo>
                    <a:lnTo>
                      <a:pt x="578" y="680"/>
                    </a:lnTo>
                    <a:lnTo>
                      <a:pt x="576" y="684"/>
                    </a:lnTo>
                    <a:lnTo>
                      <a:pt x="576" y="688"/>
                    </a:lnTo>
                    <a:lnTo>
                      <a:pt x="578" y="692"/>
                    </a:lnTo>
                    <a:lnTo>
                      <a:pt x="582" y="696"/>
                    </a:lnTo>
                    <a:lnTo>
                      <a:pt x="596" y="704"/>
                    </a:lnTo>
                    <a:lnTo>
                      <a:pt x="612" y="714"/>
                    </a:lnTo>
                    <a:lnTo>
                      <a:pt x="642" y="734"/>
                    </a:lnTo>
                    <a:lnTo>
                      <a:pt x="652" y="742"/>
                    </a:lnTo>
                    <a:lnTo>
                      <a:pt x="654" y="746"/>
                    </a:lnTo>
                    <a:lnTo>
                      <a:pt x="654" y="750"/>
                    </a:lnTo>
                    <a:lnTo>
                      <a:pt x="654" y="750"/>
                    </a:lnTo>
                    <a:lnTo>
                      <a:pt x="650" y="756"/>
                    </a:lnTo>
                    <a:lnTo>
                      <a:pt x="644" y="764"/>
                    </a:lnTo>
                    <a:lnTo>
                      <a:pt x="632" y="776"/>
                    </a:lnTo>
                    <a:lnTo>
                      <a:pt x="628" y="780"/>
                    </a:lnTo>
                    <a:lnTo>
                      <a:pt x="628" y="782"/>
                    </a:lnTo>
                    <a:lnTo>
                      <a:pt x="632" y="784"/>
                    </a:lnTo>
                    <a:lnTo>
                      <a:pt x="642" y="780"/>
                    </a:lnTo>
                    <a:lnTo>
                      <a:pt x="642" y="780"/>
                    </a:lnTo>
                    <a:lnTo>
                      <a:pt x="660" y="776"/>
                    </a:lnTo>
                    <a:lnTo>
                      <a:pt x="666" y="776"/>
                    </a:lnTo>
                    <a:lnTo>
                      <a:pt x="668" y="776"/>
                    </a:lnTo>
                    <a:lnTo>
                      <a:pt x="670" y="782"/>
                    </a:lnTo>
                    <a:lnTo>
                      <a:pt x="674" y="786"/>
                    </a:lnTo>
                    <a:lnTo>
                      <a:pt x="678" y="790"/>
                    </a:lnTo>
                    <a:lnTo>
                      <a:pt x="678" y="790"/>
                    </a:lnTo>
                    <a:lnTo>
                      <a:pt x="684" y="794"/>
                    </a:lnTo>
                    <a:lnTo>
                      <a:pt x="686" y="798"/>
                    </a:lnTo>
                    <a:lnTo>
                      <a:pt x="684" y="802"/>
                    </a:lnTo>
                    <a:lnTo>
                      <a:pt x="682" y="806"/>
                    </a:lnTo>
                    <a:lnTo>
                      <a:pt x="680" y="810"/>
                    </a:lnTo>
                    <a:lnTo>
                      <a:pt x="680" y="814"/>
                    </a:lnTo>
                    <a:lnTo>
                      <a:pt x="686" y="818"/>
                    </a:lnTo>
                    <a:lnTo>
                      <a:pt x="696" y="824"/>
                    </a:lnTo>
                    <a:lnTo>
                      <a:pt x="696" y="824"/>
                    </a:lnTo>
                    <a:lnTo>
                      <a:pt x="704" y="828"/>
                    </a:lnTo>
                    <a:lnTo>
                      <a:pt x="708" y="834"/>
                    </a:lnTo>
                    <a:lnTo>
                      <a:pt x="706" y="838"/>
                    </a:lnTo>
                    <a:lnTo>
                      <a:pt x="702" y="844"/>
                    </a:lnTo>
                    <a:lnTo>
                      <a:pt x="700" y="850"/>
                    </a:lnTo>
                    <a:lnTo>
                      <a:pt x="698" y="854"/>
                    </a:lnTo>
                    <a:lnTo>
                      <a:pt x="702" y="858"/>
                    </a:lnTo>
                    <a:lnTo>
                      <a:pt x="710" y="862"/>
                    </a:lnTo>
                    <a:lnTo>
                      <a:pt x="710" y="862"/>
                    </a:lnTo>
                    <a:lnTo>
                      <a:pt x="720" y="864"/>
                    </a:lnTo>
                    <a:lnTo>
                      <a:pt x="726" y="870"/>
                    </a:lnTo>
                    <a:lnTo>
                      <a:pt x="730" y="876"/>
                    </a:lnTo>
                    <a:lnTo>
                      <a:pt x="730" y="882"/>
                    </a:lnTo>
                    <a:lnTo>
                      <a:pt x="728" y="888"/>
                    </a:lnTo>
                    <a:lnTo>
                      <a:pt x="722" y="894"/>
                    </a:lnTo>
                    <a:lnTo>
                      <a:pt x="716" y="898"/>
                    </a:lnTo>
                    <a:lnTo>
                      <a:pt x="706" y="902"/>
                    </a:lnTo>
                    <a:lnTo>
                      <a:pt x="706" y="902"/>
                    </a:lnTo>
                    <a:lnTo>
                      <a:pt x="698" y="904"/>
                    </a:lnTo>
                    <a:lnTo>
                      <a:pt x="694" y="906"/>
                    </a:lnTo>
                    <a:lnTo>
                      <a:pt x="690" y="910"/>
                    </a:lnTo>
                    <a:lnTo>
                      <a:pt x="690" y="916"/>
                    </a:lnTo>
                    <a:lnTo>
                      <a:pt x="690" y="922"/>
                    </a:lnTo>
                    <a:lnTo>
                      <a:pt x="694" y="928"/>
                    </a:lnTo>
                    <a:lnTo>
                      <a:pt x="704" y="942"/>
                    </a:lnTo>
                    <a:lnTo>
                      <a:pt x="704" y="942"/>
                    </a:lnTo>
                    <a:lnTo>
                      <a:pt x="708" y="948"/>
                    </a:lnTo>
                    <a:lnTo>
                      <a:pt x="708" y="952"/>
                    </a:lnTo>
                    <a:lnTo>
                      <a:pt x="704" y="956"/>
                    </a:lnTo>
                    <a:lnTo>
                      <a:pt x="698" y="956"/>
                    </a:lnTo>
                    <a:lnTo>
                      <a:pt x="686" y="960"/>
                    </a:lnTo>
                    <a:lnTo>
                      <a:pt x="682" y="960"/>
                    </a:lnTo>
                    <a:lnTo>
                      <a:pt x="684" y="964"/>
                    </a:lnTo>
                    <a:lnTo>
                      <a:pt x="684" y="964"/>
                    </a:lnTo>
                    <a:lnTo>
                      <a:pt x="690" y="972"/>
                    </a:lnTo>
                    <a:lnTo>
                      <a:pt x="696" y="980"/>
                    </a:lnTo>
                    <a:lnTo>
                      <a:pt x="698" y="984"/>
                    </a:lnTo>
                    <a:lnTo>
                      <a:pt x="702" y="986"/>
                    </a:lnTo>
                    <a:lnTo>
                      <a:pt x="706" y="986"/>
                    </a:lnTo>
                    <a:lnTo>
                      <a:pt x="710" y="984"/>
                    </a:lnTo>
                    <a:lnTo>
                      <a:pt x="710" y="984"/>
                    </a:lnTo>
                    <a:lnTo>
                      <a:pt x="716" y="984"/>
                    </a:lnTo>
                    <a:lnTo>
                      <a:pt x="722" y="984"/>
                    </a:lnTo>
                    <a:lnTo>
                      <a:pt x="738" y="988"/>
                    </a:lnTo>
                    <a:lnTo>
                      <a:pt x="744" y="990"/>
                    </a:lnTo>
                    <a:lnTo>
                      <a:pt x="752" y="988"/>
                    </a:lnTo>
                    <a:lnTo>
                      <a:pt x="758" y="984"/>
                    </a:lnTo>
                    <a:lnTo>
                      <a:pt x="764" y="974"/>
                    </a:lnTo>
                    <a:lnTo>
                      <a:pt x="764" y="974"/>
                    </a:lnTo>
                    <a:lnTo>
                      <a:pt x="768" y="970"/>
                    </a:lnTo>
                    <a:lnTo>
                      <a:pt x="770" y="966"/>
                    </a:lnTo>
                    <a:lnTo>
                      <a:pt x="780" y="960"/>
                    </a:lnTo>
                    <a:lnTo>
                      <a:pt x="790" y="960"/>
                    </a:lnTo>
                    <a:lnTo>
                      <a:pt x="800" y="960"/>
                    </a:lnTo>
                    <a:lnTo>
                      <a:pt x="808" y="962"/>
                    </a:lnTo>
                    <a:lnTo>
                      <a:pt x="816" y="966"/>
                    </a:lnTo>
                    <a:lnTo>
                      <a:pt x="818" y="970"/>
                    </a:lnTo>
                    <a:lnTo>
                      <a:pt x="818" y="972"/>
                    </a:lnTo>
                    <a:lnTo>
                      <a:pt x="818" y="972"/>
                    </a:lnTo>
                    <a:lnTo>
                      <a:pt x="818" y="972"/>
                    </a:lnTo>
                    <a:lnTo>
                      <a:pt x="812" y="978"/>
                    </a:lnTo>
                    <a:lnTo>
                      <a:pt x="810" y="980"/>
                    </a:lnTo>
                    <a:lnTo>
                      <a:pt x="812" y="982"/>
                    </a:lnTo>
                    <a:lnTo>
                      <a:pt x="818" y="982"/>
                    </a:lnTo>
                    <a:lnTo>
                      <a:pt x="822" y="984"/>
                    </a:lnTo>
                    <a:lnTo>
                      <a:pt x="828" y="986"/>
                    </a:lnTo>
                    <a:lnTo>
                      <a:pt x="828" y="990"/>
                    </a:lnTo>
                    <a:lnTo>
                      <a:pt x="826" y="994"/>
                    </a:lnTo>
                    <a:lnTo>
                      <a:pt x="826" y="994"/>
                    </a:lnTo>
                    <a:lnTo>
                      <a:pt x="824" y="998"/>
                    </a:lnTo>
                    <a:lnTo>
                      <a:pt x="824" y="1000"/>
                    </a:lnTo>
                    <a:lnTo>
                      <a:pt x="828" y="1006"/>
                    </a:lnTo>
                    <a:lnTo>
                      <a:pt x="836" y="1010"/>
                    </a:lnTo>
                    <a:lnTo>
                      <a:pt x="846" y="1014"/>
                    </a:lnTo>
                    <a:lnTo>
                      <a:pt x="866" y="1020"/>
                    </a:lnTo>
                    <a:lnTo>
                      <a:pt x="872" y="1022"/>
                    </a:lnTo>
                    <a:lnTo>
                      <a:pt x="874" y="1024"/>
                    </a:lnTo>
                    <a:lnTo>
                      <a:pt x="874" y="1024"/>
                    </a:lnTo>
                    <a:lnTo>
                      <a:pt x="874" y="1024"/>
                    </a:lnTo>
                    <a:lnTo>
                      <a:pt x="868" y="1034"/>
                    </a:lnTo>
                    <a:lnTo>
                      <a:pt x="866" y="1040"/>
                    </a:lnTo>
                    <a:lnTo>
                      <a:pt x="868" y="1044"/>
                    </a:lnTo>
                    <a:lnTo>
                      <a:pt x="874" y="1050"/>
                    </a:lnTo>
                    <a:lnTo>
                      <a:pt x="874" y="1050"/>
                    </a:lnTo>
                    <a:lnTo>
                      <a:pt x="874" y="1052"/>
                    </a:lnTo>
                    <a:lnTo>
                      <a:pt x="872" y="1054"/>
                    </a:lnTo>
                    <a:lnTo>
                      <a:pt x="862" y="1052"/>
                    </a:lnTo>
                    <a:lnTo>
                      <a:pt x="848" y="1048"/>
                    </a:lnTo>
                    <a:lnTo>
                      <a:pt x="832" y="1040"/>
                    </a:lnTo>
                    <a:lnTo>
                      <a:pt x="832" y="1040"/>
                    </a:lnTo>
                    <a:lnTo>
                      <a:pt x="822" y="1036"/>
                    </a:lnTo>
                    <a:lnTo>
                      <a:pt x="810" y="1032"/>
                    </a:lnTo>
                    <a:lnTo>
                      <a:pt x="784" y="1028"/>
                    </a:lnTo>
                    <a:lnTo>
                      <a:pt x="758" y="1028"/>
                    </a:lnTo>
                    <a:lnTo>
                      <a:pt x="748" y="1030"/>
                    </a:lnTo>
                    <a:lnTo>
                      <a:pt x="742" y="1032"/>
                    </a:lnTo>
                    <a:lnTo>
                      <a:pt x="742" y="1032"/>
                    </a:lnTo>
                    <a:lnTo>
                      <a:pt x="738" y="1036"/>
                    </a:lnTo>
                    <a:lnTo>
                      <a:pt x="740" y="1042"/>
                    </a:lnTo>
                    <a:lnTo>
                      <a:pt x="744" y="1046"/>
                    </a:lnTo>
                    <a:lnTo>
                      <a:pt x="750" y="1050"/>
                    </a:lnTo>
                    <a:lnTo>
                      <a:pt x="764" y="1056"/>
                    </a:lnTo>
                    <a:lnTo>
                      <a:pt x="782" y="1060"/>
                    </a:lnTo>
                    <a:lnTo>
                      <a:pt x="782" y="1060"/>
                    </a:lnTo>
                    <a:lnTo>
                      <a:pt x="796" y="1060"/>
                    </a:lnTo>
                    <a:lnTo>
                      <a:pt x="804" y="1064"/>
                    </a:lnTo>
                    <a:lnTo>
                      <a:pt x="810" y="1068"/>
                    </a:lnTo>
                    <a:lnTo>
                      <a:pt x="816" y="1072"/>
                    </a:lnTo>
                    <a:lnTo>
                      <a:pt x="820" y="1078"/>
                    </a:lnTo>
                    <a:lnTo>
                      <a:pt x="824" y="1082"/>
                    </a:lnTo>
                    <a:lnTo>
                      <a:pt x="832" y="1086"/>
                    </a:lnTo>
                    <a:lnTo>
                      <a:pt x="844" y="1088"/>
                    </a:lnTo>
                    <a:lnTo>
                      <a:pt x="844" y="1088"/>
                    </a:lnTo>
                    <a:lnTo>
                      <a:pt x="856" y="1090"/>
                    </a:lnTo>
                    <a:lnTo>
                      <a:pt x="864" y="1092"/>
                    </a:lnTo>
                    <a:lnTo>
                      <a:pt x="868" y="1096"/>
                    </a:lnTo>
                    <a:lnTo>
                      <a:pt x="870" y="1098"/>
                    </a:lnTo>
                    <a:lnTo>
                      <a:pt x="866" y="1108"/>
                    </a:lnTo>
                    <a:lnTo>
                      <a:pt x="866" y="1112"/>
                    </a:lnTo>
                    <a:lnTo>
                      <a:pt x="868" y="1118"/>
                    </a:lnTo>
                    <a:lnTo>
                      <a:pt x="868" y="1118"/>
                    </a:lnTo>
                    <a:lnTo>
                      <a:pt x="872" y="1122"/>
                    </a:lnTo>
                    <a:lnTo>
                      <a:pt x="876" y="1120"/>
                    </a:lnTo>
                    <a:lnTo>
                      <a:pt x="880" y="1118"/>
                    </a:lnTo>
                    <a:lnTo>
                      <a:pt x="882" y="1114"/>
                    </a:lnTo>
                    <a:lnTo>
                      <a:pt x="888" y="1106"/>
                    </a:lnTo>
                    <a:lnTo>
                      <a:pt x="888" y="1106"/>
                    </a:lnTo>
                    <a:lnTo>
                      <a:pt x="890" y="1110"/>
                    </a:lnTo>
                    <a:lnTo>
                      <a:pt x="890" y="1110"/>
                    </a:lnTo>
                    <a:lnTo>
                      <a:pt x="888" y="1116"/>
                    </a:lnTo>
                    <a:lnTo>
                      <a:pt x="888" y="1122"/>
                    </a:lnTo>
                    <a:lnTo>
                      <a:pt x="882" y="1134"/>
                    </a:lnTo>
                    <a:lnTo>
                      <a:pt x="876" y="1148"/>
                    </a:lnTo>
                    <a:lnTo>
                      <a:pt x="872" y="1164"/>
                    </a:lnTo>
                    <a:lnTo>
                      <a:pt x="872" y="1164"/>
                    </a:lnTo>
                    <a:lnTo>
                      <a:pt x="870" y="1170"/>
                    </a:lnTo>
                    <a:lnTo>
                      <a:pt x="872" y="1176"/>
                    </a:lnTo>
                    <a:lnTo>
                      <a:pt x="876" y="1182"/>
                    </a:lnTo>
                    <a:lnTo>
                      <a:pt x="876" y="1184"/>
                    </a:lnTo>
                    <a:lnTo>
                      <a:pt x="876" y="1186"/>
                    </a:lnTo>
                    <a:lnTo>
                      <a:pt x="866" y="1192"/>
                    </a:lnTo>
                    <a:lnTo>
                      <a:pt x="866" y="1192"/>
                    </a:lnTo>
                    <a:lnTo>
                      <a:pt x="858" y="1194"/>
                    </a:lnTo>
                    <a:lnTo>
                      <a:pt x="850" y="1196"/>
                    </a:lnTo>
                    <a:lnTo>
                      <a:pt x="838" y="1192"/>
                    </a:lnTo>
                    <a:lnTo>
                      <a:pt x="828" y="1190"/>
                    </a:lnTo>
                    <a:lnTo>
                      <a:pt x="822" y="1190"/>
                    </a:lnTo>
                    <a:lnTo>
                      <a:pt x="818" y="1194"/>
                    </a:lnTo>
                    <a:lnTo>
                      <a:pt x="818" y="1194"/>
                    </a:lnTo>
                    <a:lnTo>
                      <a:pt x="812" y="1196"/>
                    </a:lnTo>
                    <a:lnTo>
                      <a:pt x="806" y="1198"/>
                    </a:lnTo>
                    <a:lnTo>
                      <a:pt x="796" y="1202"/>
                    </a:lnTo>
                    <a:lnTo>
                      <a:pt x="788" y="1204"/>
                    </a:lnTo>
                    <a:lnTo>
                      <a:pt x="786" y="1206"/>
                    </a:lnTo>
                    <a:lnTo>
                      <a:pt x="788" y="1210"/>
                    </a:lnTo>
                    <a:lnTo>
                      <a:pt x="788" y="1210"/>
                    </a:lnTo>
                    <a:lnTo>
                      <a:pt x="788" y="1212"/>
                    </a:lnTo>
                    <a:lnTo>
                      <a:pt x="788" y="1214"/>
                    </a:lnTo>
                    <a:lnTo>
                      <a:pt x="784" y="1214"/>
                    </a:lnTo>
                    <a:lnTo>
                      <a:pt x="784" y="1216"/>
                    </a:lnTo>
                    <a:lnTo>
                      <a:pt x="784" y="1216"/>
                    </a:lnTo>
                    <a:lnTo>
                      <a:pt x="790" y="1222"/>
                    </a:lnTo>
                    <a:lnTo>
                      <a:pt x="790" y="1222"/>
                    </a:lnTo>
                    <a:lnTo>
                      <a:pt x="794" y="1226"/>
                    </a:lnTo>
                    <a:lnTo>
                      <a:pt x="794" y="1228"/>
                    </a:lnTo>
                    <a:lnTo>
                      <a:pt x="792" y="1232"/>
                    </a:lnTo>
                    <a:lnTo>
                      <a:pt x="788" y="1234"/>
                    </a:lnTo>
                    <a:lnTo>
                      <a:pt x="778" y="1240"/>
                    </a:lnTo>
                    <a:lnTo>
                      <a:pt x="774" y="1242"/>
                    </a:lnTo>
                    <a:lnTo>
                      <a:pt x="774" y="1246"/>
                    </a:lnTo>
                    <a:lnTo>
                      <a:pt x="774" y="1246"/>
                    </a:lnTo>
                    <a:lnTo>
                      <a:pt x="774" y="1252"/>
                    </a:lnTo>
                    <a:lnTo>
                      <a:pt x="772" y="1260"/>
                    </a:lnTo>
                    <a:lnTo>
                      <a:pt x="762" y="1284"/>
                    </a:lnTo>
                    <a:lnTo>
                      <a:pt x="762" y="1284"/>
                    </a:lnTo>
                    <a:lnTo>
                      <a:pt x="762" y="1292"/>
                    </a:lnTo>
                    <a:lnTo>
                      <a:pt x="762" y="1296"/>
                    </a:lnTo>
                    <a:lnTo>
                      <a:pt x="766" y="1300"/>
                    </a:lnTo>
                    <a:lnTo>
                      <a:pt x="772" y="1302"/>
                    </a:lnTo>
                    <a:lnTo>
                      <a:pt x="788" y="1306"/>
                    </a:lnTo>
                    <a:lnTo>
                      <a:pt x="810" y="1306"/>
                    </a:lnTo>
                    <a:lnTo>
                      <a:pt x="810" y="1306"/>
                    </a:lnTo>
                    <a:lnTo>
                      <a:pt x="800" y="1312"/>
                    </a:lnTo>
                    <a:lnTo>
                      <a:pt x="790" y="1320"/>
                    </a:lnTo>
                    <a:lnTo>
                      <a:pt x="782" y="1328"/>
                    </a:lnTo>
                    <a:lnTo>
                      <a:pt x="776" y="1338"/>
                    </a:lnTo>
                    <a:lnTo>
                      <a:pt x="772" y="1346"/>
                    </a:lnTo>
                    <a:lnTo>
                      <a:pt x="772" y="1354"/>
                    </a:lnTo>
                    <a:lnTo>
                      <a:pt x="774" y="1362"/>
                    </a:lnTo>
                    <a:lnTo>
                      <a:pt x="780" y="1368"/>
                    </a:lnTo>
                    <a:lnTo>
                      <a:pt x="780" y="1368"/>
                    </a:lnTo>
                    <a:lnTo>
                      <a:pt x="786" y="1374"/>
                    </a:lnTo>
                    <a:lnTo>
                      <a:pt x="790" y="1378"/>
                    </a:lnTo>
                    <a:lnTo>
                      <a:pt x="792" y="1384"/>
                    </a:lnTo>
                    <a:lnTo>
                      <a:pt x="792" y="1390"/>
                    </a:lnTo>
                    <a:lnTo>
                      <a:pt x="792" y="1392"/>
                    </a:lnTo>
                    <a:lnTo>
                      <a:pt x="796" y="1392"/>
                    </a:lnTo>
                    <a:lnTo>
                      <a:pt x="796" y="1392"/>
                    </a:lnTo>
                    <a:lnTo>
                      <a:pt x="806" y="1394"/>
                    </a:lnTo>
                    <a:lnTo>
                      <a:pt x="812" y="1400"/>
                    </a:lnTo>
                    <a:lnTo>
                      <a:pt x="818" y="1406"/>
                    </a:lnTo>
                    <a:lnTo>
                      <a:pt x="818" y="1410"/>
                    </a:lnTo>
                    <a:lnTo>
                      <a:pt x="818" y="1414"/>
                    </a:lnTo>
                    <a:lnTo>
                      <a:pt x="818" y="1414"/>
                    </a:lnTo>
                    <a:lnTo>
                      <a:pt x="818" y="1420"/>
                    </a:lnTo>
                    <a:lnTo>
                      <a:pt x="818" y="1422"/>
                    </a:lnTo>
                    <a:lnTo>
                      <a:pt x="824" y="1426"/>
                    </a:lnTo>
                    <a:lnTo>
                      <a:pt x="828" y="1430"/>
                    </a:lnTo>
                    <a:lnTo>
                      <a:pt x="830" y="1434"/>
                    </a:lnTo>
                    <a:lnTo>
                      <a:pt x="830" y="1440"/>
                    </a:lnTo>
                    <a:lnTo>
                      <a:pt x="830" y="1440"/>
                    </a:lnTo>
                    <a:lnTo>
                      <a:pt x="830" y="1450"/>
                    </a:lnTo>
                    <a:lnTo>
                      <a:pt x="834" y="1452"/>
                    </a:lnTo>
                    <a:lnTo>
                      <a:pt x="836" y="1454"/>
                    </a:lnTo>
                    <a:lnTo>
                      <a:pt x="836" y="1462"/>
                    </a:lnTo>
                    <a:lnTo>
                      <a:pt x="836" y="1462"/>
                    </a:lnTo>
                    <a:lnTo>
                      <a:pt x="836" y="1476"/>
                    </a:lnTo>
                    <a:lnTo>
                      <a:pt x="836" y="1482"/>
                    </a:lnTo>
                    <a:lnTo>
                      <a:pt x="840" y="1488"/>
                    </a:lnTo>
                    <a:lnTo>
                      <a:pt x="842" y="1490"/>
                    </a:lnTo>
                    <a:lnTo>
                      <a:pt x="848" y="1488"/>
                    </a:lnTo>
                    <a:lnTo>
                      <a:pt x="852" y="1482"/>
                    </a:lnTo>
                    <a:lnTo>
                      <a:pt x="860" y="1470"/>
                    </a:lnTo>
                    <a:lnTo>
                      <a:pt x="860" y="1470"/>
                    </a:lnTo>
                    <a:lnTo>
                      <a:pt x="870" y="1454"/>
                    </a:lnTo>
                    <a:lnTo>
                      <a:pt x="872" y="1454"/>
                    </a:lnTo>
                    <a:lnTo>
                      <a:pt x="874" y="1456"/>
                    </a:lnTo>
                    <a:lnTo>
                      <a:pt x="876" y="1462"/>
                    </a:lnTo>
                    <a:lnTo>
                      <a:pt x="878" y="1462"/>
                    </a:lnTo>
                    <a:lnTo>
                      <a:pt x="882" y="1460"/>
                    </a:lnTo>
                    <a:lnTo>
                      <a:pt x="882" y="1460"/>
                    </a:lnTo>
                    <a:lnTo>
                      <a:pt x="888" y="1456"/>
                    </a:lnTo>
                    <a:lnTo>
                      <a:pt x="894" y="1454"/>
                    </a:lnTo>
                    <a:lnTo>
                      <a:pt x="900" y="1452"/>
                    </a:lnTo>
                    <a:lnTo>
                      <a:pt x="906" y="1454"/>
                    </a:lnTo>
                    <a:lnTo>
                      <a:pt x="912" y="1456"/>
                    </a:lnTo>
                    <a:lnTo>
                      <a:pt x="916" y="1458"/>
                    </a:lnTo>
                    <a:lnTo>
                      <a:pt x="918" y="1464"/>
                    </a:lnTo>
                    <a:lnTo>
                      <a:pt x="920" y="1470"/>
                    </a:lnTo>
                    <a:lnTo>
                      <a:pt x="920" y="1470"/>
                    </a:lnTo>
                    <a:lnTo>
                      <a:pt x="922" y="1474"/>
                    </a:lnTo>
                    <a:lnTo>
                      <a:pt x="920" y="1474"/>
                    </a:lnTo>
                    <a:lnTo>
                      <a:pt x="912" y="1470"/>
                    </a:lnTo>
                    <a:lnTo>
                      <a:pt x="902" y="1464"/>
                    </a:lnTo>
                    <a:lnTo>
                      <a:pt x="896" y="1462"/>
                    </a:lnTo>
                    <a:lnTo>
                      <a:pt x="890" y="1464"/>
                    </a:lnTo>
                    <a:lnTo>
                      <a:pt x="890" y="1464"/>
                    </a:lnTo>
                    <a:lnTo>
                      <a:pt x="888" y="1466"/>
                    </a:lnTo>
                    <a:lnTo>
                      <a:pt x="888" y="1468"/>
                    </a:lnTo>
                    <a:lnTo>
                      <a:pt x="894" y="1474"/>
                    </a:lnTo>
                    <a:lnTo>
                      <a:pt x="898" y="1474"/>
                    </a:lnTo>
                    <a:lnTo>
                      <a:pt x="898" y="1476"/>
                    </a:lnTo>
                    <a:lnTo>
                      <a:pt x="896" y="1478"/>
                    </a:lnTo>
                    <a:lnTo>
                      <a:pt x="890" y="1478"/>
                    </a:lnTo>
                    <a:lnTo>
                      <a:pt x="890" y="1478"/>
                    </a:lnTo>
                    <a:lnTo>
                      <a:pt x="884" y="1480"/>
                    </a:lnTo>
                    <a:lnTo>
                      <a:pt x="880" y="1480"/>
                    </a:lnTo>
                    <a:lnTo>
                      <a:pt x="880" y="1484"/>
                    </a:lnTo>
                    <a:lnTo>
                      <a:pt x="880" y="1486"/>
                    </a:lnTo>
                    <a:lnTo>
                      <a:pt x="880" y="1488"/>
                    </a:lnTo>
                    <a:lnTo>
                      <a:pt x="880" y="1490"/>
                    </a:lnTo>
                    <a:lnTo>
                      <a:pt x="876" y="1492"/>
                    </a:lnTo>
                    <a:lnTo>
                      <a:pt x="868" y="1492"/>
                    </a:lnTo>
                    <a:lnTo>
                      <a:pt x="868" y="1492"/>
                    </a:lnTo>
                    <a:lnTo>
                      <a:pt x="856" y="1494"/>
                    </a:lnTo>
                    <a:lnTo>
                      <a:pt x="856" y="1496"/>
                    </a:lnTo>
                    <a:lnTo>
                      <a:pt x="856" y="1496"/>
                    </a:lnTo>
                    <a:lnTo>
                      <a:pt x="860" y="1500"/>
                    </a:lnTo>
                    <a:lnTo>
                      <a:pt x="860" y="1502"/>
                    </a:lnTo>
                    <a:lnTo>
                      <a:pt x="858" y="1504"/>
                    </a:lnTo>
                    <a:lnTo>
                      <a:pt x="858" y="1504"/>
                    </a:lnTo>
                    <a:lnTo>
                      <a:pt x="854" y="1506"/>
                    </a:lnTo>
                    <a:lnTo>
                      <a:pt x="854" y="1506"/>
                    </a:lnTo>
                    <a:lnTo>
                      <a:pt x="856" y="1510"/>
                    </a:lnTo>
                    <a:lnTo>
                      <a:pt x="860" y="1514"/>
                    </a:lnTo>
                    <a:lnTo>
                      <a:pt x="862" y="1516"/>
                    </a:lnTo>
                    <a:lnTo>
                      <a:pt x="860" y="1518"/>
                    </a:lnTo>
                    <a:lnTo>
                      <a:pt x="860" y="1518"/>
                    </a:lnTo>
                    <a:lnTo>
                      <a:pt x="860" y="1522"/>
                    </a:lnTo>
                    <a:lnTo>
                      <a:pt x="860" y="1526"/>
                    </a:lnTo>
                    <a:lnTo>
                      <a:pt x="862" y="1534"/>
                    </a:lnTo>
                    <a:lnTo>
                      <a:pt x="874" y="1554"/>
                    </a:lnTo>
                    <a:lnTo>
                      <a:pt x="874" y="1554"/>
                    </a:lnTo>
                    <a:lnTo>
                      <a:pt x="878" y="1558"/>
                    </a:lnTo>
                    <a:lnTo>
                      <a:pt x="882" y="1560"/>
                    </a:lnTo>
                    <a:lnTo>
                      <a:pt x="890" y="1562"/>
                    </a:lnTo>
                    <a:lnTo>
                      <a:pt x="898" y="1562"/>
                    </a:lnTo>
                    <a:lnTo>
                      <a:pt x="898" y="1564"/>
                    </a:lnTo>
                    <a:lnTo>
                      <a:pt x="898" y="1568"/>
                    </a:lnTo>
                    <a:lnTo>
                      <a:pt x="898" y="1568"/>
                    </a:lnTo>
                    <a:lnTo>
                      <a:pt x="896" y="1572"/>
                    </a:lnTo>
                    <a:lnTo>
                      <a:pt x="898" y="1576"/>
                    </a:lnTo>
                    <a:lnTo>
                      <a:pt x="902" y="1582"/>
                    </a:lnTo>
                    <a:lnTo>
                      <a:pt x="906" y="1590"/>
                    </a:lnTo>
                    <a:lnTo>
                      <a:pt x="908" y="1594"/>
                    </a:lnTo>
                    <a:lnTo>
                      <a:pt x="908" y="1598"/>
                    </a:lnTo>
                    <a:lnTo>
                      <a:pt x="908" y="1598"/>
                    </a:lnTo>
                    <a:lnTo>
                      <a:pt x="908" y="1606"/>
                    </a:lnTo>
                    <a:lnTo>
                      <a:pt x="910" y="1610"/>
                    </a:lnTo>
                    <a:lnTo>
                      <a:pt x="914" y="1614"/>
                    </a:lnTo>
                    <a:lnTo>
                      <a:pt x="926" y="1618"/>
                    </a:lnTo>
                    <a:lnTo>
                      <a:pt x="926" y="1618"/>
                    </a:lnTo>
                    <a:lnTo>
                      <a:pt x="932" y="1622"/>
                    </a:lnTo>
                    <a:lnTo>
                      <a:pt x="934" y="1626"/>
                    </a:lnTo>
                    <a:lnTo>
                      <a:pt x="936" y="1630"/>
                    </a:lnTo>
                    <a:lnTo>
                      <a:pt x="934" y="1634"/>
                    </a:lnTo>
                    <a:lnTo>
                      <a:pt x="934" y="1640"/>
                    </a:lnTo>
                    <a:lnTo>
                      <a:pt x="934" y="1640"/>
                    </a:lnTo>
                    <a:lnTo>
                      <a:pt x="938" y="1640"/>
                    </a:lnTo>
                    <a:lnTo>
                      <a:pt x="938" y="1640"/>
                    </a:lnTo>
                    <a:lnTo>
                      <a:pt x="942" y="1640"/>
                    </a:lnTo>
                    <a:lnTo>
                      <a:pt x="944" y="1640"/>
                    </a:lnTo>
                    <a:lnTo>
                      <a:pt x="946" y="1648"/>
                    </a:lnTo>
                    <a:lnTo>
                      <a:pt x="946" y="1654"/>
                    </a:lnTo>
                    <a:lnTo>
                      <a:pt x="948" y="1656"/>
                    </a:lnTo>
                    <a:lnTo>
                      <a:pt x="950" y="1656"/>
                    </a:lnTo>
                    <a:lnTo>
                      <a:pt x="950" y="1656"/>
                    </a:lnTo>
                    <a:lnTo>
                      <a:pt x="956" y="1656"/>
                    </a:lnTo>
                    <a:lnTo>
                      <a:pt x="958" y="1656"/>
                    </a:lnTo>
                    <a:lnTo>
                      <a:pt x="958" y="1662"/>
                    </a:lnTo>
                    <a:lnTo>
                      <a:pt x="954" y="1672"/>
                    </a:lnTo>
                    <a:lnTo>
                      <a:pt x="954" y="1672"/>
                    </a:lnTo>
                    <a:lnTo>
                      <a:pt x="952" y="1676"/>
                    </a:lnTo>
                    <a:lnTo>
                      <a:pt x="956" y="1678"/>
                    </a:lnTo>
                    <a:lnTo>
                      <a:pt x="966" y="1678"/>
                    </a:lnTo>
                    <a:lnTo>
                      <a:pt x="978" y="1678"/>
                    </a:lnTo>
                    <a:lnTo>
                      <a:pt x="980" y="1680"/>
                    </a:lnTo>
                    <a:lnTo>
                      <a:pt x="980" y="1684"/>
                    </a:lnTo>
                    <a:lnTo>
                      <a:pt x="980" y="1684"/>
                    </a:lnTo>
                    <a:lnTo>
                      <a:pt x="978" y="1690"/>
                    </a:lnTo>
                    <a:lnTo>
                      <a:pt x="978" y="1692"/>
                    </a:lnTo>
                    <a:lnTo>
                      <a:pt x="980" y="1694"/>
                    </a:lnTo>
                    <a:lnTo>
                      <a:pt x="982" y="1694"/>
                    </a:lnTo>
                    <a:lnTo>
                      <a:pt x="990" y="1694"/>
                    </a:lnTo>
                    <a:lnTo>
                      <a:pt x="994" y="1696"/>
                    </a:lnTo>
                    <a:lnTo>
                      <a:pt x="996" y="1698"/>
                    </a:lnTo>
                    <a:lnTo>
                      <a:pt x="996" y="1698"/>
                    </a:lnTo>
                    <a:lnTo>
                      <a:pt x="998" y="1700"/>
                    </a:lnTo>
                    <a:lnTo>
                      <a:pt x="996" y="1702"/>
                    </a:lnTo>
                    <a:lnTo>
                      <a:pt x="994" y="1704"/>
                    </a:lnTo>
                    <a:lnTo>
                      <a:pt x="990" y="1706"/>
                    </a:lnTo>
                    <a:lnTo>
                      <a:pt x="990" y="1708"/>
                    </a:lnTo>
                    <a:lnTo>
                      <a:pt x="990" y="1712"/>
                    </a:lnTo>
                    <a:lnTo>
                      <a:pt x="990" y="1712"/>
                    </a:lnTo>
                    <a:lnTo>
                      <a:pt x="992" y="1722"/>
                    </a:lnTo>
                    <a:lnTo>
                      <a:pt x="996" y="1724"/>
                    </a:lnTo>
                    <a:lnTo>
                      <a:pt x="1000" y="1726"/>
                    </a:lnTo>
                    <a:lnTo>
                      <a:pt x="1004" y="1726"/>
                    </a:lnTo>
                    <a:lnTo>
                      <a:pt x="1010" y="1726"/>
                    </a:lnTo>
                    <a:lnTo>
                      <a:pt x="1016" y="1722"/>
                    </a:lnTo>
                    <a:lnTo>
                      <a:pt x="1024" y="1718"/>
                    </a:lnTo>
                    <a:lnTo>
                      <a:pt x="1024" y="1718"/>
                    </a:lnTo>
                    <a:lnTo>
                      <a:pt x="1032" y="1712"/>
                    </a:lnTo>
                    <a:lnTo>
                      <a:pt x="1038" y="1712"/>
                    </a:lnTo>
                    <a:lnTo>
                      <a:pt x="1040" y="1712"/>
                    </a:lnTo>
                    <a:lnTo>
                      <a:pt x="1044" y="1714"/>
                    </a:lnTo>
                    <a:lnTo>
                      <a:pt x="1048" y="1716"/>
                    </a:lnTo>
                    <a:lnTo>
                      <a:pt x="1050" y="1716"/>
                    </a:lnTo>
                    <a:lnTo>
                      <a:pt x="1054" y="1714"/>
                    </a:lnTo>
                    <a:lnTo>
                      <a:pt x="1054" y="1714"/>
                    </a:lnTo>
                    <a:lnTo>
                      <a:pt x="1064" y="1708"/>
                    </a:lnTo>
                    <a:lnTo>
                      <a:pt x="1072" y="1704"/>
                    </a:lnTo>
                    <a:lnTo>
                      <a:pt x="1080" y="1700"/>
                    </a:lnTo>
                    <a:lnTo>
                      <a:pt x="1080" y="1696"/>
                    </a:lnTo>
                    <a:lnTo>
                      <a:pt x="1080" y="1692"/>
                    </a:lnTo>
                    <a:lnTo>
                      <a:pt x="1080" y="1692"/>
                    </a:lnTo>
                    <a:lnTo>
                      <a:pt x="1080" y="1688"/>
                    </a:lnTo>
                    <a:lnTo>
                      <a:pt x="1082" y="1686"/>
                    </a:lnTo>
                    <a:lnTo>
                      <a:pt x="1084" y="1688"/>
                    </a:lnTo>
                    <a:lnTo>
                      <a:pt x="1086" y="1690"/>
                    </a:lnTo>
                    <a:lnTo>
                      <a:pt x="1088" y="1694"/>
                    </a:lnTo>
                    <a:lnTo>
                      <a:pt x="1090" y="1698"/>
                    </a:lnTo>
                    <a:lnTo>
                      <a:pt x="1090" y="1704"/>
                    </a:lnTo>
                    <a:lnTo>
                      <a:pt x="1086" y="1710"/>
                    </a:lnTo>
                    <a:lnTo>
                      <a:pt x="1086" y="1710"/>
                    </a:lnTo>
                    <a:lnTo>
                      <a:pt x="1078" y="1718"/>
                    </a:lnTo>
                    <a:lnTo>
                      <a:pt x="1076" y="1726"/>
                    </a:lnTo>
                    <a:lnTo>
                      <a:pt x="1076" y="1728"/>
                    </a:lnTo>
                    <a:lnTo>
                      <a:pt x="1078" y="1732"/>
                    </a:lnTo>
                    <a:lnTo>
                      <a:pt x="1090" y="1738"/>
                    </a:lnTo>
                    <a:lnTo>
                      <a:pt x="1090" y="1738"/>
                    </a:lnTo>
                    <a:lnTo>
                      <a:pt x="1098" y="1740"/>
                    </a:lnTo>
                    <a:lnTo>
                      <a:pt x="1106" y="1740"/>
                    </a:lnTo>
                    <a:lnTo>
                      <a:pt x="1120" y="1738"/>
                    </a:lnTo>
                    <a:lnTo>
                      <a:pt x="1124" y="1738"/>
                    </a:lnTo>
                    <a:lnTo>
                      <a:pt x="1126" y="1740"/>
                    </a:lnTo>
                    <a:lnTo>
                      <a:pt x="1126" y="1744"/>
                    </a:lnTo>
                    <a:lnTo>
                      <a:pt x="1120" y="1752"/>
                    </a:lnTo>
                    <a:lnTo>
                      <a:pt x="1120" y="1752"/>
                    </a:lnTo>
                    <a:lnTo>
                      <a:pt x="1116" y="1758"/>
                    </a:lnTo>
                    <a:lnTo>
                      <a:pt x="1116" y="1762"/>
                    </a:lnTo>
                    <a:lnTo>
                      <a:pt x="1118" y="1766"/>
                    </a:lnTo>
                    <a:lnTo>
                      <a:pt x="1122" y="1768"/>
                    </a:lnTo>
                    <a:lnTo>
                      <a:pt x="1126" y="1770"/>
                    </a:lnTo>
                    <a:lnTo>
                      <a:pt x="1132" y="1770"/>
                    </a:lnTo>
                    <a:lnTo>
                      <a:pt x="1136" y="1768"/>
                    </a:lnTo>
                    <a:lnTo>
                      <a:pt x="1140" y="1766"/>
                    </a:lnTo>
                    <a:lnTo>
                      <a:pt x="1140" y="1766"/>
                    </a:lnTo>
                    <a:lnTo>
                      <a:pt x="1150" y="1760"/>
                    </a:lnTo>
                    <a:lnTo>
                      <a:pt x="1154" y="1758"/>
                    </a:lnTo>
                    <a:lnTo>
                      <a:pt x="1156" y="1758"/>
                    </a:lnTo>
                    <a:lnTo>
                      <a:pt x="1162" y="1762"/>
                    </a:lnTo>
                    <a:lnTo>
                      <a:pt x="1170" y="1770"/>
                    </a:lnTo>
                    <a:lnTo>
                      <a:pt x="1170" y="1770"/>
                    </a:lnTo>
                    <a:lnTo>
                      <a:pt x="1182" y="1776"/>
                    </a:lnTo>
                    <a:lnTo>
                      <a:pt x="1186" y="1776"/>
                    </a:lnTo>
                    <a:lnTo>
                      <a:pt x="1190" y="1776"/>
                    </a:lnTo>
                    <a:lnTo>
                      <a:pt x="1194" y="1774"/>
                    </a:lnTo>
                    <a:lnTo>
                      <a:pt x="1196" y="1768"/>
                    </a:lnTo>
                    <a:lnTo>
                      <a:pt x="1198" y="1764"/>
                    </a:lnTo>
                    <a:lnTo>
                      <a:pt x="1200" y="1756"/>
                    </a:lnTo>
                    <a:lnTo>
                      <a:pt x="1200" y="1756"/>
                    </a:lnTo>
                    <a:lnTo>
                      <a:pt x="1200" y="1750"/>
                    </a:lnTo>
                    <a:lnTo>
                      <a:pt x="1198" y="1746"/>
                    </a:lnTo>
                    <a:lnTo>
                      <a:pt x="1194" y="1746"/>
                    </a:lnTo>
                    <a:lnTo>
                      <a:pt x="1192" y="1746"/>
                    </a:lnTo>
                    <a:lnTo>
                      <a:pt x="1186" y="1746"/>
                    </a:lnTo>
                    <a:lnTo>
                      <a:pt x="1186" y="1746"/>
                    </a:lnTo>
                    <a:lnTo>
                      <a:pt x="1186" y="1744"/>
                    </a:lnTo>
                    <a:lnTo>
                      <a:pt x="1186" y="1744"/>
                    </a:lnTo>
                    <a:lnTo>
                      <a:pt x="1190" y="1740"/>
                    </a:lnTo>
                    <a:lnTo>
                      <a:pt x="1194" y="1738"/>
                    </a:lnTo>
                    <a:lnTo>
                      <a:pt x="1204" y="1734"/>
                    </a:lnTo>
                    <a:lnTo>
                      <a:pt x="1208" y="1732"/>
                    </a:lnTo>
                    <a:lnTo>
                      <a:pt x="1210" y="1728"/>
                    </a:lnTo>
                    <a:lnTo>
                      <a:pt x="1212" y="1724"/>
                    </a:lnTo>
                    <a:lnTo>
                      <a:pt x="1212" y="1718"/>
                    </a:lnTo>
                    <a:lnTo>
                      <a:pt x="1212" y="1718"/>
                    </a:lnTo>
                    <a:lnTo>
                      <a:pt x="1210" y="1712"/>
                    </a:lnTo>
                    <a:lnTo>
                      <a:pt x="1214" y="1702"/>
                    </a:lnTo>
                    <a:lnTo>
                      <a:pt x="1224" y="1676"/>
                    </a:lnTo>
                    <a:lnTo>
                      <a:pt x="1234" y="1652"/>
                    </a:lnTo>
                    <a:lnTo>
                      <a:pt x="1236" y="1640"/>
                    </a:lnTo>
                    <a:lnTo>
                      <a:pt x="1236" y="1630"/>
                    </a:lnTo>
                    <a:lnTo>
                      <a:pt x="1236" y="1630"/>
                    </a:lnTo>
                    <a:lnTo>
                      <a:pt x="1234" y="1624"/>
                    </a:lnTo>
                    <a:lnTo>
                      <a:pt x="1232" y="1622"/>
                    </a:lnTo>
                    <a:lnTo>
                      <a:pt x="1230" y="1622"/>
                    </a:lnTo>
                    <a:lnTo>
                      <a:pt x="1228" y="1622"/>
                    </a:lnTo>
                    <a:lnTo>
                      <a:pt x="1226" y="1622"/>
                    </a:lnTo>
                    <a:lnTo>
                      <a:pt x="1222" y="1622"/>
                    </a:lnTo>
                    <a:lnTo>
                      <a:pt x="1220" y="1620"/>
                    </a:lnTo>
                    <a:lnTo>
                      <a:pt x="1214" y="1616"/>
                    </a:lnTo>
                    <a:lnTo>
                      <a:pt x="1214" y="1616"/>
                    </a:lnTo>
                    <a:lnTo>
                      <a:pt x="1212" y="1610"/>
                    </a:lnTo>
                    <a:lnTo>
                      <a:pt x="1212" y="1610"/>
                    </a:lnTo>
                    <a:lnTo>
                      <a:pt x="1222" y="1612"/>
                    </a:lnTo>
                    <a:lnTo>
                      <a:pt x="1232" y="1614"/>
                    </a:lnTo>
                    <a:lnTo>
                      <a:pt x="1236" y="1614"/>
                    </a:lnTo>
                    <a:lnTo>
                      <a:pt x="1236" y="1610"/>
                    </a:lnTo>
                    <a:lnTo>
                      <a:pt x="1236" y="1610"/>
                    </a:lnTo>
                    <a:lnTo>
                      <a:pt x="1234" y="1604"/>
                    </a:lnTo>
                    <a:lnTo>
                      <a:pt x="1232" y="1602"/>
                    </a:lnTo>
                    <a:lnTo>
                      <a:pt x="1226" y="1600"/>
                    </a:lnTo>
                    <a:lnTo>
                      <a:pt x="1220" y="1598"/>
                    </a:lnTo>
                    <a:lnTo>
                      <a:pt x="1220" y="1596"/>
                    </a:lnTo>
                    <a:lnTo>
                      <a:pt x="1222" y="1592"/>
                    </a:lnTo>
                    <a:lnTo>
                      <a:pt x="1222" y="1592"/>
                    </a:lnTo>
                    <a:lnTo>
                      <a:pt x="1226" y="1590"/>
                    </a:lnTo>
                    <a:lnTo>
                      <a:pt x="1230" y="1588"/>
                    </a:lnTo>
                    <a:lnTo>
                      <a:pt x="1244" y="1584"/>
                    </a:lnTo>
                    <a:lnTo>
                      <a:pt x="1250" y="1582"/>
                    </a:lnTo>
                    <a:lnTo>
                      <a:pt x="1256" y="1580"/>
                    </a:lnTo>
                    <a:lnTo>
                      <a:pt x="1260" y="1574"/>
                    </a:lnTo>
                    <a:lnTo>
                      <a:pt x="1262" y="1566"/>
                    </a:lnTo>
                    <a:lnTo>
                      <a:pt x="1262" y="1566"/>
                    </a:lnTo>
                    <a:lnTo>
                      <a:pt x="1264" y="1560"/>
                    </a:lnTo>
                    <a:lnTo>
                      <a:pt x="1266" y="1558"/>
                    </a:lnTo>
                    <a:lnTo>
                      <a:pt x="1268" y="1558"/>
                    </a:lnTo>
                    <a:lnTo>
                      <a:pt x="1272" y="1560"/>
                    </a:lnTo>
                    <a:lnTo>
                      <a:pt x="1278" y="1562"/>
                    </a:lnTo>
                    <a:lnTo>
                      <a:pt x="1280" y="1560"/>
                    </a:lnTo>
                    <a:lnTo>
                      <a:pt x="1280" y="1556"/>
                    </a:lnTo>
                    <a:lnTo>
                      <a:pt x="1280" y="1556"/>
                    </a:lnTo>
                    <a:lnTo>
                      <a:pt x="1282" y="1550"/>
                    </a:lnTo>
                    <a:lnTo>
                      <a:pt x="1284" y="1546"/>
                    </a:lnTo>
                    <a:lnTo>
                      <a:pt x="1294" y="1538"/>
                    </a:lnTo>
                    <a:lnTo>
                      <a:pt x="1300" y="1530"/>
                    </a:lnTo>
                    <a:lnTo>
                      <a:pt x="1302" y="1526"/>
                    </a:lnTo>
                    <a:lnTo>
                      <a:pt x="1302" y="1520"/>
                    </a:lnTo>
                    <a:lnTo>
                      <a:pt x="1302" y="1520"/>
                    </a:lnTo>
                    <a:lnTo>
                      <a:pt x="1300" y="1510"/>
                    </a:lnTo>
                    <a:lnTo>
                      <a:pt x="1300" y="1502"/>
                    </a:lnTo>
                    <a:lnTo>
                      <a:pt x="1300" y="1500"/>
                    </a:lnTo>
                    <a:lnTo>
                      <a:pt x="1298" y="1500"/>
                    </a:lnTo>
                    <a:lnTo>
                      <a:pt x="1286" y="1498"/>
                    </a:lnTo>
                    <a:lnTo>
                      <a:pt x="1286" y="1498"/>
                    </a:lnTo>
                    <a:lnTo>
                      <a:pt x="1278" y="1498"/>
                    </a:lnTo>
                    <a:lnTo>
                      <a:pt x="1270" y="1496"/>
                    </a:lnTo>
                    <a:lnTo>
                      <a:pt x="1266" y="1492"/>
                    </a:lnTo>
                    <a:lnTo>
                      <a:pt x="1262" y="1490"/>
                    </a:lnTo>
                    <a:lnTo>
                      <a:pt x="1260" y="1486"/>
                    </a:lnTo>
                    <a:lnTo>
                      <a:pt x="1262" y="1486"/>
                    </a:lnTo>
                    <a:lnTo>
                      <a:pt x="1264" y="1484"/>
                    </a:lnTo>
                    <a:lnTo>
                      <a:pt x="1270" y="1486"/>
                    </a:lnTo>
                    <a:lnTo>
                      <a:pt x="1270" y="1486"/>
                    </a:lnTo>
                    <a:lnTo>
                      <a:pt x="1276" y="1486"/>
                    </a:lnTo>
                    <a:lnTo>
                      <a:pt x="1280" y="1486"/>
                    </a:lnTo>
                    <a:lnTo>
                      <a:pt x="1288" y="1484"/>
                    </a:lnTo>
                    <a:lnTo>
                      <a:pt x="1294" y="1482"/>
                    </a:lnTo>
                    <a:lnTo>
                      <a:pt x="1300" y="1482"/>
                    </a:lnTo>
                    <a:lnTo>
                      <a:pt x="1300" y="1482"/>
                    </a:lnTo>
                    <a:lnTo>
                      <a:pt x="1308" y="1482"/>
                    </a:lnTo>
                    <a:lnTo>
                      <a:pt x="1308" y="1482"/>
                    </a:lnTo>
                    <a:lnTo>
                      <a:pt x="1308" y="1478"/>
                    </a:lnTo>
                    <a:lnTo>
                      <a:pt x="1302" y="1470"/>
                    </a:lnTo>
                    <a:lnTo>
                      <a:pt x="1290" y="1454"/>
                    </a:lnTo>
                    <a:lnTo>
                      <a:pt x="1290" y="1454"/>
                    </a:lnTo>
                    <a:lnTo>
                      <a:pt x="1282" y="1448"/>
                    </a:lnTo>
                    <a:lnTo>
                      <a:pt x="1280" y="1442"/>
                    </a:lnTo>
                    <a:lnTo>
                      <a:pt x="1280" y="1438"/>
                    </a:lnTo>
                    <a:lnTo>
                      <a:pt x="1284" y="1434"/>
                    </a:lnTo>
                    <a:lnTo>
                      <a:pt x="1288" y="1434"/>
                    </a:lnTo>
                    <a:lnTo>
                      <a:pt x="1296" y="1434"/>
                    </a:lnTo>
                    <a:lnTo>
                      <a:pt x="1310" y="1438"/>
                    </a:lnTo>
                    <a:lnTo>
                      <a:pt x="1310" y="1438"/>
                    </a:lnTo>
                    <a:lnTo>
                      <a:pt x="1316" y="1438"/>
                    </a:lnTo>
                    <a:lnTo>
                      <a:pt x="1320" y="1436"/>
                    </a:lnTo>
                    <a:lnTo>
                      <a:pt x="1324" y="1434"/>
                    </a:lnTo>
                    <a:lnTo>
                      <a:pt x="1326" y="1430"/>
                    </a:lnTo>
                    <a:lnTo>
                      <a:pt x="1332" y="1420"/>
                    </a:lnTo>
                    <a:lnTo>
                      <a:pt x="1334" y="1418"/>
                    </a:lnTo>
                    <a:lnTo>
                      <a:pt x="1338" y="1418"/>
                    </a:lnTo>
                    <a:lnTo>
                      <a:pt x="1338" y="1418"/>
                    </a:lnTo>
                    <a:lnTo>
                      <a:pt x="1344" y="1420"/>
                    </a:lnTo>
                    <a:lnTo>
                      <a:pt x="1346" y="1418"/>
                    </a:lnTo>
                    <a:lnTo>
                      <a:pt x="1344" y="1414"/>
                    </a:lnTo>
                    <a:lnTo>
                      <a:pt x="1334" y="1408"/>
                    </a:lnTo>
                    <a:lnTo>
                      <a:pt x="1334" y="1408"/>
                    </a:lnTo>
                    <a:lnTo>
                      <a:pt x="1326" y="1404"/>
                    </a:lnTo>
                    <a:lnTo>
                      <a:pt x="1324" y="1404"/>
                    </a:lnTo>
                    <a:lnTo>
                      <a:pt x="1326" y="1402"/>
                    </a:lnTo>
                    <a:lnTo>
                      <a:pt x="1330" y="1402"/>
                    </a:lnTo>
                    <a:lnTo>
                      <a:pt x="1338" y="1400"/>
                    </a:lnTo>
                    <a:lnTo>
                      <a:pt x="1338" y="1400"/>
                    </a:lnTo>
                    <a:lnTo>
                      <a:pt x="1344" y="1398"/>
                    </a:lnTo>
                    <a:lnTo>
                      <a:pt x="1352" y="1398"/>
                    </a:lnTo>
                    <a:lnTo>
                      <a:pt x="1360" y="1400"/>
                    </a:lnTo>
                    <a:lnTo>
                      <a:pt x="1370" y="1398"/>
                    </a:lnTo>
                    <a:lnTo>
                      <a:pt x="1370" y="1398"/>
                    </a:lnTo>
                    <a:lnTo>
                      <a:pt x="1380" y="1396"/>
                    </a:lnTo>
                    <a:lnTo>
                      <a:pt x="1388" y="1396"/>
                    </a:lnTo>
                    <a:lnTo>
                      <a:pt x="1394" y="1396"/>
                    </a:lnTo>
                    <a:lnTo>
                      <a:pt x="1398" y="1390"/>
                    </a:lnTo>
                    <a:lnTo>
                      <a:pt x="1398" y="1390"/>
                    </a:lnTo>
                    <a:lnTo>
                      <a:pt x="1400" y="1386"/>
                    </a:lnTo>
                    <a:lnTo>
                      <a:pt x="1398" y="1384"/>
                    </a:lnTo>
                    <a:lnTo>
                      <a:pt x="1396" y="1380"/>
                    </a:lnTo>
                    <a:lnTo>
                      <a:pt x="1402" y="1376"/>
                    </a:lnTo>
                    <a:lnTo>
                      <a:pt x="1402" y="1376"/>
                    </a:lnTo>
                    <a:lnTo>
                      <a:pt x="1404" y="1372"/>
                    </a:lnTo>
                    <a:lnTo>
                      <a:pt x="1404" y="1368"/>
                    </a:lnTo>
                    <a:lnTo>
                      <a:pt x="1404" y="1364"/>
                    </a:lnTo>
                    <a:lnTo>
                      <a:pt x="1410" y="1360"/>
                    </a:lnTo>
                    <a:lnTo>
                      <a:pt x="1410" y="1360"/>
                    </a:lnTo>
                    <a:lnTo>
                      <a:pt x="1414" y="1356"/>
                    </a:lnTo>
                    <a:lnTo>
                      <a:pt x="1416" y="1354"/>
                    </a:lnTo>
                    <a:lnTo>
                      <a:pt x="1414" y="1352"/>
                    </a:lnTo>
                    <a:lnTo>
                      <a:pt x="1412" y="1350"/>
                    </a:lnTo>
                    <a:lnTo>
                      <a:pt x="1406" y="1346"/>
                    </a:lnTo>
                    <a:lnTo>
                      <a:pt x="1406" y="1344"/>
                    </a:lnTo>
                    <a:lnTo>
                      <a:pt x="1406" y="1344"/>
                    </a:lnTo>
                    <a:lnTo>
                      <a:pt x="1406" y="1344"/>
                    </a:lnTo>
                    <a:lnTo>
                      <a:pt x="1410" y="1342"/>
                    </a:lnTo>
                    <a:lnTo>
                      <a:pt x="1414" y="1344"/>
                    </a:lnTo>
                    <a:lnTo>
                      <a:pt x="1420" y="1344"/>
                    </a:lnTo>
                    <a:lnTo>
                      <a:pt x="1430" y="1344"/>
                    </a:lnTo>
                    <a:lnTo>
                      <a:pt x="1430" y="1344"/>
                    </a:lnTo>
                    <a:lnTo>
                      <a:pt x="1436" y="1344"/>
                    </a:lnTo>
                    <a:lnTo>
                      <a:pt x="1434" y="1348"/>
                    </a:lnTo>
                    <a:lnTo>
                      <a:pt x="1428" y="1352"/>
                    </a:lnTo>
                    <a:lnTo>
                      <a:pt x="1424" y="1358"/>
                    </a:lnTo>
                    <a:lnTo>
                      <a:pt x="1424" y="1358"/>
                    </a:lnTo>
                    <a:lnTo>
                      <a:pt x="1422" y="1362"/>
                    </a:lnTo>
                    <a:lnTo>
                      <a:pt x="1418" y="1364"/>
                    </a:lnTo>
                    <a:lnTo>
                      <a:pt x="1414" y="1368"/>
                    </a:lnTo>
                    <a:lnTo>
                      <a:pt x="1412" y="1372"/>
                    </a:lnTo>
                    <a:lnTo>
                      <a:pt x="1412" y="1372"/>
                    </a:lnTo>
                    <a:lnTo>
                      <a:pt x="1410" y="1378"/>
                    </a:lnTo>
                    <a:lnTo>
                      <a:pt x="1408" y="1386"/>
                    </a:lnTo>
                    <a:lnTo>
                      <a:pt x="1406" y="1392"/>
                    </a:lnTo>
                    <a:lnTo>
                      <a:pt x="1406" y="1394"/>
                    </a:lnTo>
                    <a:lnTo>
                      <a:pt x="1408" y="1396"/>
                    </a:lnTo>
                    <a:lnTo>
                      <a:pt x="1408" y="1396"/>
                    </a:lnTo>
                    <a:lnTo>
                      <a:pt x="1414" y="1398"/>
                    </a:lnTo>
                    <a:lnTo>
                      <a:pt x="1420" y="1398"/>
                    </a:lnTo>
                    <a:lnTo>
                      <a:pt x="1426" y="1396"/>
                    </a:lnTo>
                    <a:lnTo>
                      <a:pt x="1432" y="1390"/>
                    </a:lnTo>
                    <a:lnTo>
                      <a:pt x="1432" y="1390"/>
                    </a:lnTo>
                    <a:lnTo>
                      <a:pt x="1440" y="1380"/>
                    </a:lnTo>
                    <a:lnTo>
                      <a:pt x="1444" y="1380"/>
                    </a:lnTo>
                    <a:lnTo>
                      <a:pt x="1448" y="1384"/>
                    </a:lnTo>
                    <a:lnTo>
                      <a:pt x="1448" y="1384"/>
                    </a:lnTo>
                    <a:lnTo>
                      <a:pt x="1452" y="1386"/>
                    </a:lnTo>
                    <a:lnTo>
                      <a:pt x="1454" y="1384"/>
                    </a:lnTo>
                    <a:lnTo>
                      <a:pt x="1454" y="1382"/>
                    </a:lnTo>
                    <a:lnTo>
                      <a:pt x="1452" y="1378"/>
                    </a:lnTo>
                    <a:lnTo>
                      <a:pt x="1452" y="1378"/>
                    </a:lnTo>
                    <a:lnTo>
                      <a:pt x="1452" y="1376"/>
                    </a:lnTo>
                    <a:lnTo>
                      <a:pt x="1452" y="1374"/>
                    </a:lnTo>
                    <a:lnTo>
                      <a:pt x="1456" y="1372"/>
                    </a:lnTo>
                    <a:lnTo>
                      <a:pt x="1462" y="1370"/>
                    </a:lnTo>
                    <a:lnTo>
                      <a:pt x="1466" y="1370"/>
                    </a:lnTo>
                    <a:lnTo>
                      <a:pt x="1468" y="1372"/>
                    </a:lnTo>
                    <a:lnTo>
                      <a:pt x="1468" y="1372"/>
                    </a:lnTo>
                    <a:lnTo>
                      <a:pt x="1472" y="1372"/>
                    </a:lnTo>
                    <a:lnTo>
                      <a:pt x="1476" y="1372"/>
                    </a:lnTo>
                    <a:lnTo>
                      <a:pt x="1484" y="1370"/>
                    </a:lnTo>
                    <a:lnTo>
                      <a:pt x="1498" y="1362"/>
                    </a:lnTo>
                    <a:lnTo>
                      <a:pt x="1498" y="1362"/>
                    </a:lnTo>
                    <a:lnTo>
                      <a:pt x="1502" y="1360"/>
                    </a:lnTo>
                    <a:lnTo>
                      <a:pt x="1502" y="1354"/>
                    </a:lnTo>
                    <a:lnTo>
                      <a:pt x="1502" y="1350"/>
                    </a:lnTo>
                    <a:lnTo>
                      <a:pt x="1502" y="1350"/>
                    </a:lnTo>
                    <a:lnTo>
                      <a:pt x="1504" y="1350"/>
                    </a:lnTo>
                    <a:lnTo>
                      <a:pt x="1504" y="1350"/>
                    </a:lnTo>
                    <a:lnTo>
                      <a:pt x="1508" y="1350"/>
                    </a:lnTo>
                    <a:lnTo>
                      <a:pt x="1510" y="1352"/>
                    </a:lnTo>
                    <a:lnTo>
                      <a:pt x="1510" y="1354"/>
                    </a:lnTo>
                    <a:lnTo>
                      <a:pt x="1512" y="1354"/>
                    </a:lnTo>
                    <a:lnTo>
                      <a:pt x="1512" y="1354"/>
                    </a:lnTo>
                    <a:lnTo>
                      <a:pt x="1520" y="1350"/>
                    </a:lnTo>
                    <a:lnTo>
                      <a:pt x="1532" y="1344"/>
                    </a:lnTo>
                    <a:lnTo>
                      <a:pt x="1558" y="1324"/>
                    </a:lnTo>
                    <a:lnTo>
                      <a:pt x="1570" y="1314"/>
                    </a:lnTo>
                    <a:lnTo>
                      <a:pt x="1580" y="1302"/>
                    </a:lnTo>
                    <a:lnTo>
                      <a:pt x="1588" y="1290"/>
                    </a:lnTo>
                    <a:lnTo>
                      <a:pt x="1592" y="1280"/>
                    </a:lnTo>
                    <a:lnTo>
                      <a:pt x="1592" y="1280"/>
                    </a:lnTo>
                    <a:lnTo>
                      <a:pt x="1600" y="1264"/>
                    </a:lnTo>
                    <a:lnTo>
                      <a:pt x="1610" y="1250"/>
                    </a:lnTo>
                    <a:lnTo>
                      <a:pt x="1622" y="1242"/>
                    </a:lnTo>
                    <a:lnTo>
                      <a:pt x="1628" y="1238"/>
                    </a:lnTo>
                    <a:lnTo>
                      <a:pt x="1634" y="1238"/>
                    </a:lnTo>
                    <a:lnTo>
                      <a:pt x="1634" y="1238"/>
                    </a:lnTo>
                    <a:lnTo>
                      <a:pt x="1642" y="1236"/>
                    </a:lnTo>
                    <a:lnTo>
                      <a:pt x="1646" y="1234"/>
                    </a:lnTo>
                    <a:lnTo>
                      <a:pt x="1648" y="1232"/>
                    </a:lnTo>
                    <a:lnTo>
                      <a:pt x="1648" y="1228"/>
                    </a:lnTo>
                    <a:lnTo>
                      <a:pt x="1646" y="1222"/>
                    </a:lnTo>
                    <a:lnTo>
                      <a:pt x="1640" y="1214"/>
                    </a:lnTo>
                    <a:lnTo>
                      <a:pt x="1632" y="1204"/>
                    </a:lnTo>
                    <a:lnTo>
                      <a:pt x="1632" y="1204"/>
                    </a:lnTo>
                    <a:lnTo>
                      <a:pt x="1626" y="1198"/>
                    </a:lnTo>
                    <a:lnTo>
                      <a:pt x="1624" y="1194"/>
                    </a:lnTo>
                    <a:lnTo>
                      <a:pt x="1636" y="1200"/>
                    </a:lnTo>
                    <a:lnTo>
                      <a:pt x="1670" y="1222"/>
                    </a:lnTo>
                    <a:lnTo>
                      <a:pt x="1670" y="1222"/>
                    </a:lnTo>
                    <a:lnTo>
                      <a:pt x="1684" y="1226"/>
                    </a:lnTo>
                    <a:lnTo>
                      <a:pt x="1694" y="1228"/>
                    </a:lnTo>
                    <a:lnTo>
                      <a:pt x="1702" y="1228"/>
                    </a:lnTo>
                    <a:lnTo>
                      <a:pt x="1710" y="1226"/>
                    </a:lnTo>
                    <a:lnTo>
                      <a:pt x="1718" y="1224"/>
                    </a:lnTo>
                    <a:lnTo>
                      <a:pt x="1724" y="1218"/>
                    </a:lnTo>
                    <a:lnTo>
                      <a:pt x="1730" y="1212"/>
                    </a:lnTo>
                    <a:lnTo>
                      <a:pt x="1730" y="1212"/>
                    </a:lnTo>
                    <a:lnTo>
                      <a:pt x="1732" y="1206"/>
                    </a:lnTo>
                    <a:lnTo>
                      <a:pt x="1734" y="1204"/>
                    </a:lnTo>
                    <a:lnTo>
                      <a:pt x="1738" y="1204"/>
                    </a:lnTo>
                    <a:lnTo>
                      <a:pt x="1742" y="1206"/>
                    </a:lnTo>
                    <a:lnTo>
                      <a:pt x="1748" y="1208"/>
                    </a:lnTo>
                    <a:lnTo>
                      <a:pt x="1756" y="1208"/>
                    </a:lnTo>
                    <a:lnTo>
                      <a:pt x="1766" y="1208"/>
                    </a:lnTo>
                    <a:lnTo>
                      <a:pt x="1782" y="1202"/>
                    </a:lnTo>
                    <a:lnTo>
                      <a:pt x="1782" y="1202"/>
                    </a:lnTo>
                    <a:lnTo>
                      <a:pt x="1800" y="1196"/>
                    </a:lnTo>
                    <a:lnTo>
                      <a:pt x="1818" y="1190"/>
                    </a:lnTo>
                    <a:lnTo>
                      <a:pt x="1856" y="1184"/>
                    </a:lnTo>
                    <a:lnTo>
                      <a:pt x="1886" y="1178"/>
                    </a:lnTo>
                    <a:lnTo>
                      <a:pt x="1898" y="1172"/>
                    </a:lnTo>
                    <a:lnTo>
                      <a:pt x="1906" y="1166"/>
                    </a:lnTo>
                    <a:lnTo>
                      <a:pt x="1906" y="1166"/>
                    </a:lnTo>
                    <a:lnTo>
                      <a:pt x="1920" y="1154"/>
                    </a:lnTo>
                    <a:lnTo>
                      <a:pt x="1934" y="1142"/>
                    </a:lnTo>
                    <a:lnTo>
                      <a:pt x="1950" y="1132"/>
                    </a:lnTo>
                    <a:lnTo>
                      <a:pt x="1960" y="1128"/>
                    </a:lnTo>
                    <a:lnTo>
                      <a:pt x="1970" y="1128"/>
                    </a:lnTo>
                    <a:lnTo>
                      <a:pt x="1970" y="1128"/>
                    </a:lnTo>
                    <a:lnTo>
                      <a:pt x="1978" y="1126"/>
                    </a:lnTo>
                    <a:lnTo>
                      <a:pt x="1982" y="1122"/>
                    </a:lnTo>
                    <a:lnTo>
                      <a:pt x="1982" y="1120"/>
                    </a:lnTo>
                    <a:lnTo>
                      <a:pt x="1982" y="1116"/>
                    </a:lnTo>
                    <a:lnTo>
                      <a:pt x="1982" y="1112"/>
                    </a:lnTo>
                    <a:lnTo>
                      <a:pt x="1982" y="1108"/>
                    </a:lnTo>
                    <a:lnTo>
                      <a:pt x="1986" y="1106"/>
                    </a:lnTo>
                    <a:lnTo>
                      <a:pt x="1994" y="1106"/>
                    </a:lnTo>
                    <a:lnTo>
                      <a:pt x="1994" y="1106"/>
                    </a:lnTo>
                    <a:lnTo>
                      <a:pt x="2008" y="1104"/>
                    </a:lnTo>
                    <a:lnTo>
                      <a:pt x="2012" y="1102"/>
                    </a:lnTo>
                    <a:lnTo>
                      <a:pt x="2012" y="1102"/>
                    </a:lnTo>
                    <a:lnTo>
                      <a:pt x="2016" y="1096"/>
                    </a:lnTo>
                    <a:lnTo>
                      <a:pt x="2022" y="1092"/>
                    </a:lnTo>
                    <a:lnTo>
                      <a:pt x="2030" y="1088"/>
                    </a:lnTo>
                    <a:lnTo>
                      <a:pt x="2030" y="1088"/>
                    </a:lnTo>
                    <a:lnTo>
                      <a:pt x="2046" y="1080"/>
                    </a:lnTo>
                    <a:lnTo>
                      <a:pt x="2046" y="1078"/>
                    </a:lnTo>
                    <a:lnTo>
                      <a:pt x="2044" y="1076"/>
                    </a:lnTo>
                    <a:lnTo>
                      <a:pt x="2028" y="1076"/>
                    </a:lnTo>
                    <a:lnTo>
                      <a:pt x="2000" y="1080"/>
                    </a:lnTo>
                    <a:lnTo>
                      <a:pt x="2000" y="1080"/>
                    </a:lnTo>
                    <a:lnTo>
                      <a:pt x="1984" y="1080"/>
                    </a:lnTo>
                    <a:lnTo>
                      <a:pt x="1970" y="1076"/>
                    </a:lnTo>
                    <a:lnTo>
                      <a:pt x="1956" y="1070"/>
                    </a:lnTo>
                    <a:lnTo>
                      <a:pt x="1944" y="1064"/>
                    </a:lnTo>
                    <a:lnTo>
                      <a:pt x="1932" y="1058"/>
                    </a:lnTo>
                    <a:lnTo>
                      <a:pt x="1920" y="1056"/>
                    </a:lnTo>
                    <a:lnTo>
                      <a:pt x="1914" y="1056"/>
                    </a:lnTo>
                    <a:lnTo>
                      <a:pt x="1906" y="1058"/>
                    </a:lnTo>
                    <a:lnTo>
                      <a:pt x="1900" y="1060"/>
                    </a:lnTo>
                    <a:lnTo>
                      <a:pt x="1892" y="1064"/>
                    </a:lnTo>
                    <a:lnTo>
                      <a:pt x="1892" y="1064"/>
                    </a:lnTo>
                    <a:lnTo>
                      <a:pt x="1884" y="1068"/>
                    </a:lnTo>
                    <a:lnTo>
                      <a:pt x="1878" y="1070"/>
                    </a:lnTo>
                    <a:lnTo>
                      <a:pt x="1866" y="1070"/>
                    </a:lnTo>
                    <a:lnTo>
                      <a:pt x="1860" y="1070"/>
                    </a:lnTo>
                    <a:lnTo>
                      <a:pt x="1854" y="1072"/>
                    </a:lnTo>
                    <a:lnTo>
                      <a:pt x="1846" y="1076"/>
                    </a:lnTo>
                    <a:lnTo>
                      <a:pt x="1838" y="1082"/>
                    </a:lnTo>
                    <a:lnTo>
                      <a:pt x="1838" y="1082"/>
                    </a:lnTo>
                    <a:lnTo>
                      <a:pt x="1834" y="1086"/>
                    </a:lnTo>
                    <a:lnTo>
                      <a:pt x="1828" y="1090"/>
                    </a:lnTo>
                    <a:lnTo>
                      <a:pt x="1824" y="1090"/>
                    </a:lnTo>
                    <a:lnTo>
                      <a:pt x="1820" y="1090"/>
                    </a:lnTo>
                    <a:lnTo>
                      <a:pt x="1818" y="1088"/>
                    </a:lnTo>
                    <a:lnTo>
                      <a:pt x="1820" y="1084"/>
                    </a:lnTo>
                    <a:lnTo>
                      <a:pt x="1824" y="1078"/>
                    </a:lnTo>
                    <a:lnTo>
                      <a:pt x="1832" y="1070"/>
                    </a:lnTo>
                    <a:lnTo>
                      <a:pt x="1832" y="1070"/>
                    </a:lnTo>
                    <a:lnTo>
                      <a:pt x="1840" y="1064"/>
                    </a:lnTo>
                    <a:lnTo>
                      <a:pt x="1848" y="1062"/>
                    </a:lnTo>
                    <a:lnTo>
                      <a:pt x="1852" y="1062"/>
                    </a:lnTo>
                    <a:lnTo>
                      <a:pt x="1856" y="1062"/>
                    </a:lnTo>
                    <a:lnTo>
                      <a:pt x="1864" y="1064"/>
                    </a:lnTo>
                    <a:lnTo>
                      <a:pt x="1866" y="1064"/>
                    </a:lnTo>
                    <a:lnTo>
                      <a:pt x="1870" y="1062"/>
                    </a:lnTo>
                    <a:lnTo>
                      <a:pt x="1870" y="1062"/>
                    </a:lnTo>
                    <a:lnTo>
                      <a:pt x="1876" y="1058"/>
                    </a:lnTo>
                    <a:lnTo>
                      <a:pt x="1878" y="1056"/>
                    </a:lnTo>
                    <a:lnTo>
                      <a:pt x="1878" y="1054"/>
                    </a:lnTo>
                    <a:lnTo>
                      <a:pt x="1874" y="1052"/>
                    </a:lnTo>
                    <a:lnTo>
                      <a:pt x="1868" y="1052"/>
                    </a:lnTo>
                    <a:lnTo>
                      <a:pt x="1844" y="1054"/>
                    </a:lnTo>
                    <a:lnTo>
                      <a:pt x="1844" y="1054"/>
                    </a:lnTo>
                    <a:lnTo>
                      <a:pt x="1816" y="1058"/>
                    </a:lnTo>
                    <a:lnTo>
                      <a:pt x="1800" y="1058"/>
                    </a:lnTo>
                    <a:lnTo>
                      <a:pt x="1798" y="1056"/>
                    </a:lnTo>
                    <a:lnTo>
                      <a:pt x="1796" y="1052"/>
                    </a:lnTo>
                    <a:lnTo>
                      <a:pt x="1798" y="1046"/>
                    </a:lnTo>
                    <a:lnTo>
                      <a:pt x="1804" y="1038"/>
                    </a:lnTo>
                    <a:lnTo>
                      <a:pt x="1804" y="1038"/>
                    </a:lnTo>
                    <a:lnTo>
                      <a:pt x="1814" y="1022"/>
                    </a:lnTo>
                    <a:lnTo>
                      <a:pt x="1818" y="1014"/>
                    </a:lnTo>
                    <a:lnTo>
                      <a:pt x="1820" y="1012"/>
                    </a:lnTo>
                    <a:lnTo>
                      <a:pt x="1822" y="1010"/>
                    </a:lnTo>
                    <a:lnTo>
                      <a:pt x="1828" y="1016"/>
                    </a:lnTo>
                    <a:lnTo>
                      <a:pt x="1828" y="1016"/>
                    </a:lnTo>
                    <a:lnTo>
                      <a:pt x="1836" y="1022"/>
                    </a:lnTo>
                    <a:lnTo>
                      <a:pt x="1840" y="1022"/>
                    </a:lnTo>
                    <a:lnTo>
                      <a:pt x="1844" y="1022"/>
                    </a:lnTo>
                    <a:lnTo>
                      <a:pt x="1882" y="1010"/>
                    </a:lnTo>
                    <a:lnTo>
                      <a:pt x="1882" y="1010"/>
                    </a:lnTo>
                    <a:lnTo>
                      <a:pt x="1896" y="1006"/>
                    </a:lnTo>
                    <a:lnTo>
                      <a:pt x="1904" y="1000"/>
                    </a:lnTo>
                    <a:lnTo>
                      <a:pt x="1908" y="996"/>
                    </a:lnTo>
                    <a:lnTo>
                      <a:pt x="1910" y="992"/>
                    </a:lnTo>
                    <a:lnTo>
                      <a:pt x="1906" y="986"/>
                    </a:lnTo>
                    <a:lnTo>
                      <a:pt x="1898" y="984"/>
                    </a:lnTo>
                    <a:lnTo>
                      <a:pt x="1888" y="980"/>
                    </a:lnTo>
                    <a:lnTo>
                      <a:pt x="1874" y="978"/>
                    </a:lnTo>
                    <a:lnTo>
                      <a:pt x="1874" y="978"/>
                    </a:lnTo>
                    <a:lnTo>
                      <a:pt x="1850" y="974"/>
                    </a:lnTo>
                    <a:lnTo>
                      <a:pt x="1844" y="972"/>
                    </a:lnTo>
                    <a:lnTo>
                      <a:pt x="1842" y="970"/>
                    </a:lnTo>
                    <a:lnTo>
                      <a:pt x="1844" y="968"/>
                    </a:lnTo>
                    <a:lnTo>
                      <a:pt x="1850" y="966"/>
                    </a:lnTo>
                    <a:lnTo>
                      <a:pt x="1870" y="966"/>
                    </a:lnTo>
                    <a:lnTo>
                      <a:pt x="1870" y="966"/>
                    </a:lnTo>
                    <a:lnTo>
                      <a:pt x="1892" y="970"/>
                    </a:lnTo>
                    <a:lnTo>
                      <a:pt x="1906" y="976"/>
                    </a:lnTo>
                    <a:lnTo>
                      <a:pt x="1918" y="980"/>
                    </a:lnTo>
                    <a:lnTo>
                      <a:pt x="1932" y="986"/>
                    </a:lnTo>
                    <a:lnTo>
                      <a:pt x="1932" y="986"/>
                    </a:lnTo>
                    <a:lnTo>
                      <a:pt x="1946" y="992"/>
                    </a:lnTo>
                    <a:lnTo>
                      <a:pt x="1954" y="998"/>
                    </a:lnTo>
                    <a:lnTo>
                      <a:pt x="1958" y="1008"/>
                    </a:lnTo>
                    <a:lnTo>
                      <a:pt x="1960" y="1022"/>
                    </a:lnTo>
                    <a:lnTo>
                      <a:pt x="1960" y="1022"/>
                    </a:lnTo>
                    <a:lnTo>
                      <a:pt x="1964" y="1030"/>
                    </a:lnTo>
                    <a:lnTo>
                      <a:pt x="1970" y="1038"/>
                    </a:lnTo>
                    <a:lnTo>
                      <a:pt x="1978" y="1044"/>
                    </a:lnTo>
                    <a:lnTo>
                      <a:pt x="1988" y="1050"/>
                    </a:lnTo>
                    <a:lnTo>
                      <a:pt x="1998" y="1052"/>
                    </a:lnTo>
                    <a:lnTo>
                      <a:pt x="2008" y="1054"/>
                    </a:lnTo>
                    <a:lnTo>
                      <a:pt x="2016" y="1054"/>
                    </a:lnTo>
                    <a:lnTo>
                      <a:pt x="2022" y="1052"/>
                    </a:lnTo>
                    <a:lnTo>
                      <a:pt x="2022" y="1052"/>
                    </a:lnTo>
                    <a:lnTo>
                      <a:pt x="2030" y="1048"/>
                    </a:lnTo>
                    <a:lnTo>
                      <a:pt x="2036" y="1050"/>
                    </a:lnTo>
                    <a:lnTo>
                      <a:pt x="2046" y="1052"/>
                    </a:lnTo>
                    <a:lnTo>
                      <a:pt x="2060" y="1056"/>
                    </a:lnTo>
                    <a:lnTo>
                      <a:pt x="2060" y="1056"/>
                    </a:lnTo>
                    <a:lnTo>
                      <a:pt x="2068" y="1054"/>
                    </a:lnTo>
                    <a:lnTo>
                      <a:pt x="2070" y="1050"/>
                    </a:lnTo>
                    <a:lnTo>
                      <a:pt x="2072" y="1042"/>
                    </a:lnTo>
                    <a:lnTo>
                      <a:pt x="2070" y="1032"/>
                    </a:lnTo>
                    <a:lnTo>
                      <a:pt x="2066" y="1008"/>
                    </a:lnTo>
                    <a:lnTo>
                      <a:pt x="2064" y="996"/>
                    </a:lnTo>
                    <a:lnTo>
                      <a:pt x="2064" y="984"/>
                    </a:lnTo>
                    <a:lnTo>
                      <a:pt x="2064" y="984"/>
                    </a:lnTo>
                    <a:lnTo>
                      <a:pt x="2062" y="976"/>
                    </a:lnTo>
                    <a:lnTo>
                      <a:pt x="2062" y="974"/>
                    </a:lnTo>
                    <a:lnTo>
                      <a:pt x="2060" y="974"/>
                    </a:lnTo>
                    <a:lnTo>
                      <a:pt x="2056" y="976"/>
                    </a:lnTo>
                    <a:lnTo>
                      <a:pt x="2050" y="980"/>
                    </a:lnTo>
                    <a:lnTo>
                      <a:pt x="2044" y="986"/>
                    </a:lnTo>
                    <a:lnTo>
                      <a:pt x="2038" y="990"/>
                    </a:lnTo>
                    <a:lnTo>
                      <a:pt x="2032" y="990"/>
                    </a:lnTo>
                    <a:lnTo>
                      <a:pt x="2030" y="988"/>
                    </a:lnTo>
                    <a:lnTo>
                      <a:pt x="2030" y="986"/>
                    </a:lnTo>
                    <a:lnTo>
                      <a:pt x="2030" y="986"/>
                    </a:lnTo>
                    <a:lnTo>
                      <a:pt x="2028" y="976"/>
                    </a:lnTo>
                    <a:lnTo>
                      <a:pt x="2028" y="974"/>
                    </a:lnTo>
                    <a:lnTo>
                      <a:pt x="2032" y="974"/>
                    </a:lnTo>
                    <a:lnTo>
                      <a:pt x="2038" y="972"/>
                    </a:lnTo>
                    <a:lnTo>
                      <a:pt x="2044" y="968"/>
                    </a:lnTo>
                    <a:lnTo>
                      <a:pt x="2050" y="962"/>
                    </a:lnTo>
                    <a:lnTo>
                      <a:pt x="2050" y="962"/>
                    </a:lnTo>
                    <a:lnTo>
                      <a:pt x="2054" y="956"/>
                    </a:lnTo>
                    <a:lnTo>
                      <a:pt x="2054" y="956"/>
                    </a:lnTo>
                    <a:lnTo>
                      <a:pt x="2054" y="954"/>
                    </a:lnTo>
                    <a:lnTo>
                      <a:pt x="2044" y="958"/>
                    </a:lnTo>
                    <a:lnTo>
                      <a:pt x="2032" y="962"/>
                    </a:lnTo>
                    <a:lnTo>
                      <a:pt x="2030" y="960"/>
                    </a:lnTo>
                    <a:lnTo>
                      <a:pt x="2030" y="956"/>
                    </a:lnTo>
                    <a:lnTo>
                      <a:pt x="2030" y="956"/>
                    </a:lnTo>
                    <a:lnTo>
                      <a:pt x="2032" y="950"/>
                    </a:lnTo>
                    <a:lnTo>
                      <a:pt x="2030" y="944"/>
                    </a:lnTo>
                    <a:lnTo>
                      <a:pt x="2026" y="940"/>
                    </a:lnTo>
                    <a:lnTo>
                      <a:pt x="2020" y="938"/>
                    </a:lnTo>
                    <a:lnTo>
                      <a:pt x="2002" y="932"/>
                    </a:lnTo>
                    <a:lnTo>
                      <a:pt x="1980" y="926"/>
                    </a:lnTo>
                    <a:lnTo>
                      <a:pt x="1980" y="926"/>
                    </a:lnTo>
                    <a:lnTo>
                      <a:pt x="1960" y="918"/>
                    </a:lnTo>
                    <a:lnTo>
                      <a:pt x="1948" y="912"/>
                    </a:lnTo>
                    <a:lnTo>
                      <a:pt x="1944" y="908"/>
                    </a:lnTo>
                    <a:lnTo>
                      <a:pt x="1944" y="904"/>
                    </a:lnTo>
                    <a:lnTo>
                      <a:pt x="1944" y="900"/>
                    </a:lnTo>
                    <a:lnTo>
                      <a:pt x="1944" y="896"/>
                    </a:lnTo>
                    <a:lnTo>
                      <a:pt x="1942" y="892"/>
                    </a:lnTo>
                    <a:lnTo>
                      <a:pt x="1934" y="886"/>
                    </a:lnTo>
                    <a:lnTo>
                      <a:pt x="1934" y="886"/>
                    </a:lnTo>
                    <a:lnTo>
                      <a:pt x="1924" y="880"/>
                    </a:lnTo>
                    <a:lnTo>
                      <a:pt x="1922" y="874"/>
                    </a:lnTo>
                    <a:lnTo>
                      <a:pt x="1922" y="870"/>
                    </a:lnTo>
                    <a:lnTo>
                      <a:pt x="1924" y="866"/>
                    </a:lnTo>
                    <a:lnTo>
                      <a:pt x="1922" y="862"/>
                    </a:lnTo>
                    <a:lnTo>
                      <a:pt x="1916" y="858"/>
                    </a:lnTo>
                    <a:lnTo>
                      <a:pt x="1902" y="852"/>
                    </a:lnTo>
                    <a:lnTo>
                      <a:pt x="1878" y="846"/>
                    </a:lnTo>
                    <a:lnTo>
                      <a:pt x="1878" y="846"/>
                    </a:lnTo>
                    <a:lnTo>
                      <a:pt x="1888" y="846"/>
                    </a:lnTo>
                    <a:lnTo>
                      <a:pt x="1896" y="844"/>
                    </a:lnTo>
                    <a:lnTo>
                      <a:pt x="1904" y="842"/>
                    </a:lnTo>
                    <a:lnTo>
                      <a:pt x="1910" y="838"/>
                    </a:lnTo>
                    <a:lnTo>
                      <a:pt x="1926" y="828"/>
                    </a:lnTo>
                    <a:lnTo>
                      <a:pt x="1948" y="818"/>
                    </a:lnTo>
                    <a:lnTo>
                      <a:pt x="1948" y="818"/>
                    </a:lnTo>
                    <a:lnTo>
                      <a:pt x="1954" y="816"/>
                    </a:lnTo>
                    <a:lnTo>
                      <a:pt x="1960" y="816"/>
                    </a:lnTo>
                    <a:lnTo>
                      <a:pt x="1974" y="818"/>
                    </a:lnTo>
                    <a:lnTo>
                      <a:pt x="1988" y="824"/>
                    </a:lnTo>
                    <a:lnTo>
                      <a:pt x="2002" y="832"/>
                    </a:lnTo>
                    <a:lnTo>
                      <a:pt x="2016" y="838"/>
                    </a:lnTo>
                    <a:lnTo>
                      <a:pt x="2030" y="842"/>
                    </a:lnTo>
                    <a:lnTo>
                      <a:pt x="2038" y="844"/>
                    </a:lnTo>
                    <a:lnTo>
                      <a:pt x="2044" y="842"/>
                    </a:lnTo>
                    <a:lnTo>
                      <a:pt x="2052" y="840"/>
                    </a:lnTo>
                    <a:lnTo>
                      <a:pt x="2058" y="836"/>
                    </a:lnTo>
                    <a:lnTo>
                      <a:pt x="2058" y="836"/>
                    </a:lnTo>
                    <a:lnTo>
                      <a:pt x="2070" y="830"/>
                    </a:lnTo>
                    <a:lnTo>
                      <a:pt x="2078" y="826"/>
                    </a:lnTo>
                    <a:lnTo>
                      <a:pt x="2086" y="826"/>
                    </a:lnTo>
                    <a:lnTo>
                      <a:pt x="2092" y="828"/>
                    </a:lnTo>
                    <a:lnTo>
                      <a:pt x="2096" y="830"/>
                    </a:lnTo>
                    <a:lnTo>
                      <a:pt x="2100" y="830"/>
                    </a:lnTo>
                    <a:lnTo>
                      <a:pt x="2106" y="826"/>
                    </a:lnTo>
                    <a:lnTo>
                      <a:pt x="2112" y="818"/>
                    </a:lnTo>
                    <a:lnTo>
                      <a:pt x="2112" y="818"/>
                    </a:lnTo>
                    <a:lnTo>
                      <a:pt x="2118" y="810"/>
                    </a:lnTo>
                    <a:lnTo>
                      <a:pt x="2118" y="806"/>
                    </a:lnTo>
                    <a:lnTo>
                      <a:pt x="2116" y="802"/>
                    </a:lnTo>
                    <a:lnTo>
                      <a:pt x="2112" y="796"/>
                    </a:lnTo>
                    <a:lnTo>
                      <a:pt x="2104" y="792"/>
                    </a:lnTo>
                    <a:lnTo>
                      <a:pt x="2092" y="790"/>
                    </a:lnTo>
                    <a:lnTo>
                      <a:pt x="2080" y="788"/>
                    </a:lnTo>
                    <a:lnTo>
                      <a:pt x="2054" y="786"/>
                    </a:lnTo>
                    <a:lnTo>
                      <a:pt x="2054" y="786"/>
                    </a:lnTo>
                    <a:lnTo>
                      <a:pt x="2044" y="786"/>
                    </a:lnTo>
                    <a:lnTo>
                      <a:pt x="2040" y="784"/>
                    </a:lnTo>
                    <a:lnTo>
                      <a:pt x="2040" y="780"/>
                    </a:lnTo>
                    <a:lnTo>
                      <a:pt x="2040" y="776"/>
                    </a:lnTo>
                    <a:lnTo>
                      <a:pt x="2046" y="768"/>
                    </a:lnTo>
                    <a:lnTo>
                      <a:pt x="2054" y="762"/>
                    </a:lnTo>
                    <a:lnTo>
                      <a:pt x="2066" y="758"/>
                    </a:lnTo>
                    <a:lnTo>
                      <a:pt x="2078" y="754"/>
                    </a:lnTo>
                    <a:lnTo>
                      <a:pt x="2092" y="752"/>
                    </a:lnTo>
                    <a:lnTo>
                      <a:pt x="2092" y="752"/>
                    </a:lnTo>
                    <a:lnTo>
                      <a:pt x="2104" y="754"/>
                    </a:lnTo>
                    <a:lnTo>
                      <a:pt x="2112" y="758"/>
                    </a:lnTo>
                    <a:lnTo>
                      <a:pt x="2122" y="766"/>
                    </a:lnTo>
                    <a:lnTo>
                      <a:pt x="2128" y="768"/>
                    </a:lnTo>
                    <a:lnTo>
                      <a:pt x="2132" y="770"/>
                    </a:lnTo>
                    <a:lnTo>
                      <a:pt x="2142" y="768"/>
                    </a:lnTo>
                    <a:lnTo>
                      <a:pt x="2152" y="766"/>
                    </a:lnTo>
                    <a:lnTo>
                      <a:pt x="2152" y="766"/>
                    </a:lnTo>
                    <a:lnTo>
                      <a:pt x="2162" y="762"/>
                    </a:lnTo>
                    <a:lnTo>
                      <a:pt x="2164" y="758"/>
                    </a:lnTo>
                    <a:lnTo>
                      <a:pt x="2166" y="754"/>
                    </a:lnTo>
                    <a:lnTo>
                      <a:pt x="2162" y="750"/>
                    </a:lnTo>
                    <a:lnTo>
                      <a:pt x="2154" y="746"/>
                    </a:lnTo>
                    <a:lnTo>
                      <a:pt x="2146" y="742"/>
                    </a:lnTo>
                    <a:lnTo>
                      <a:pt x="2134" y="740"/>
                    </a:lnTo>
                    <a:lnTo>
                      <a:pt x="2120" y="738"/>
                    </a:lnTo>
                    <a:lnTo>
                      <a:pt x="2120" y="738"/>
                    </a:lnTo>
                    <a:lnTo>
                      <a:pt x="2112" y="738"/>
                    </a:lnTo>
                    <a:lnTo>
                      <a:pt x="2108" y="736"/>
                    </a:lnTo>
                    <a:lnTo>
                      <a:pt x="2104" y="732"/>
                    </a:lnTo>
                    <a:lnTo>
                      <a:pt x="2102" y="728"/>
                    </a:lnTo>
                    <a:lnTo>
                      <a:pt x="2100" y="718"/>
                    </a:lnTo>
                    <a:lnTo>
                      <a:pt x="2102" y="708"/>
                    </a:lnTo>
                    <a:lnTo>
                      <a:pt x="2108" y="700"/>
                    </a:lnTo>
                    <a:lnTo>
                      <a:pt x="2114" y="694"/>
                    </a:lnTo>
                    <a:lnTo>
                      <a:pt x="2118" y="692"/>
                    </a:lnTo>
                    <a:lnTo>
                      <a:pt x="2122" y="692"/>
                    </a:lnTo>
                    <a:lnTo>
                      <a:pt x="2124" y="692"/>
                    </a:lnTo>
                    <a:lnTo>
                      <a:pt x="2126" y="696"/>
                    </a:lnTo>
                    <a:lnTo>
                      <a:pt x="2126" y="696"/>
                    </a:lnTo>
                    <a:lnTo>
                      <a:pt x="2132" y="700"/>
                    </a:lnTo>
                    <a:lnTo>
                      <a:pt x="2140" y="702"/>
                    </a:lnTo>
                    <a:lnTo>
                      <a:pt x="2148" y="702"/>
                    </a:lnTo>
                    <a:lnTo>
                      <a:pt x="2154" y="698"/>
                    </a:lnTo>
                    <a:lnTo>
                      <a:pt x="2158" y="692"/>
                    </a:lnTo>
                    <a:lnTo>
                      <a:pt x="2162" y="686"/>
                    </a:lnTo>
                    <a:lnTo>
                      <a:pt x="2160" y="678"/>
                    </a:lnTo>
                    <a:lnTo>
                      <a:pt x="2156" y="670"/>
                    </a:lnTo>
                    <a:lnTo>
                      <a:pt x="2156" y="670"/>
                    </a:lnTo>
                    <a:lnTo>
                      <a:pt x="2150" y="662"/>
                    </a:lnTo>
                    <a:lnTo>
                      <a:pt x="2150" y="658"/>
                    </a:lnTo>
                    <a:lnTo>
                      <a:pt x="2154" y="656"/>
                    </a:lnTo>
                    <a:lnTo>
                      <a:pt x="2156" y="656"/>
                    </a:lnTo>
                    <a:lnTo>
                      <a:pt x="2160" y="656"/>
                    </a:lnTo>
                    <a:lnTo>
                      <a:pt x="2160" y="654"/>
                    </a:lnTo>
                    <a:lnTo>
                      <a:pt x="2144" y="646"/>
                    </a:lnTo>
                    <a:lnTo>
                      <a:pt x="2144" y="646"/>
                    </a:lnTo>
                    <a:lnTo>
                      <a:pt x="2132" y="640"/>
                    </a:lnTo>
                    <a:lnTo>
                      <a:pt x="2128" y="636"/>
                    </a:lnTo>
                    <a:lnTo>
                      <a:pt x="2128" y="634"/>
                    </a:lnTo>
                    <a:lnTo>
                      <a:pt x="2130" y="632"/>
                    </a:lnTo>
                    <a:lnTo>
                      <a:pt x="2140" y="628"/>
                    </a:lnTo>
                    <a:lnTo>
                      <a:pt x="2142" y="624"/>
                    </a:lnTo>
                    <a:lnTo>
                      <a:pt x="2142" y="620"/>
                    </a:lnTo>
                    <a:lnTo>
                      <a:pt x="2142" y="620"/>
                    </a:lnTo>
                    <a:lnTo>
                      <a:pt x="2140" y="616"/>
                    </a:lnTo>
                    <a:lnTo>
                      <a:pt x="2136" y="614"/>
                    </a:lnTo>
                    <a:lnTo>
                      <a:pt x="2126" y="612"/>
                    </a:lnTo>
                    <a:lnTo>
                      <a:pt x="2098" y="612"/>
                    </a:lnTo>
                    <a:lnTo>
                      <a:pt x="2084" y="612"/>
                    </a:lnTo>
                    <a:lnTo>
                      <a:pt x="2074" y="612"/>
                    </a:lnTo>
                    <a:lnTo>
                      <a:pt x="2066" y="608"/>
                    </a:lnTo>
                    <a:lnTo>
                      <a:pt x="2064" y="606"/>
                    </a:lnTo>
                    <a:lnTo>
                      <a:pt x="2062" y="602"/>
                    </a:lnTo>
                    <a:lnTo>
                      <a:pt x="2062" y="602"/>
                    </a:lnTo>
                    <a:lnTo>
                      <a:pt x="2062" y="598"/>
                    </a:lnTo>
                    <a:lnTo>
                      <a:pt x="2060" y="594"/>
                    </a:lnTo>
                    <a:lnTo>
                      <a:pt x="2056" y="590"/>
                    </a:lnTo>
                    <a:lnTo>
                      <a:pt x="2048" y="586"/>
                    </a:lnTo>
                    <a:lnTo>
                      <a:pt x="2040" y="582"/>
                    </a:lnTo>
                    <a:lnTo>
                      <a:pt x="2032" y="580"/>
                    </a:lnTo>
                    <a:lnTo>
                      <a:pt x="2028" y="578"/>
                    </a:lnTo>
                    <a:lnTo>
                      <a:pt x="2026" y="576"/>
                    </a:lnTo>
                    <a:lnTo>
                      <a:pt x="2028" y="574"/>
                    </a:lnTo>
                    <a:lnTo>
                      <a:pt x="2032" y="568"/>
                    </a:lnTo>
                    <a:lnTo>
                      <a:pt x="2032" y="568"/>
                    </a:lnTo>
                    <a:lnTo>
                      <a:pt x="2040" y="566"/>
                    </a:lnTo>
                    <a:lnTo>
                      <a:pt x="2046" y="566"/>
                    </a:lnTo>
                    <a:lnTo>
                      <a:pt x="2050" y="570"/>
                    </a:lnTo>
                    <a:lnTo>
                      <a:pt x="2054" y="574"/>
                    </a:lnTo>
                    <a:lnTo>
                      <a:pt x="2058" y="578"/>
                    </a:lnTo>
                    <a:lnTo>
                      <a:pt x="2064" y="580"/>
                    </a:lnTo>
                    <a:lnTo>
                      <a:pt x="2072" y="580"/>
                    </a:lnTo>
                    <a:lnTo>
                      <a:pt x="2082" y="574"/>
                    </a:lnTo>
                    <a:lnTo>
                      <a:pt x="2082" y="574"/>
                    </a:lnTo>
                    <a:lnTo>
                      <a:pt x="2094" y="566"/>
                    </a:lnTo>
                    <a:lnTo>
                      <a:pt x="2106" y="562"/>
                    </a:lnTo>
                    <a:lnTo>
                      <a:pt x="2120" y="560"/>
                    </a:lnTo>
                    <a:lnTo>
                      <a:pt x="2132" y="560"/>
                    </a:lnTo>
                    <a:lnTo>
                      <a:pt x="2144" y="562"/>
                    </a:lnTo>
                    <a:lnTo>
                      <a:pt x="2156" y="564"/>
                    </a:lnTo>
                    <a:lnTo>
                      <a:pt x="2178" y="574"/>
                    </a:lnTo>
                    <a:lnTo>
                      <a:pt x="2178" y="574"/>
                    </a:lnTo>
                    <a:lnTo>
                      <a:pt x="2188" y="576"/>
                    </a:lnTo>
                    <a:lnTo>
                      <a:pt x="2196" y="574"/>
                    </a:lnTo>
                    <a:lnTo>
                      <a:pt x="2202" y="570"/>
                    </a:lnTo>
                    <a:lnTo>
                      <a:pt x="2206" y="564"/>
                    </a:lnTo>
                    <a:lnTo>
                      <a:pt x="2208" y="556"/>
                    </a:lnTo>
                    <a:lnTo>
                      <a:pt x="2206" y="546"/>
                    </a:lnTo>
                    <a:lnTo>
                      <a:pt x="2202" y="536"/>
                    </a:lnTo>
                    <a:lnTo>
                      <a:pt x="2194" y="528"/>
                    </a:lnTo>
                    <a:lnTo>
                      <a:pt x="2194" y="528"/>
                    </a:lnTo>
                    <a:lnTo>
                      <a:pt x="2186" y="522"/>
                    </a:lnTo>
                    <a:lnTo>
                      <a:pt x="2180" y="522"/>
                    </a:lnTo>
                    <a:lnTo>
                      <a:pt x="2176" y="524"/>
                    </a:lnTo>
                    <a:lnTo>
                      <a:pt x="2172" y="528"/>
                    </a:lnTo>
                    <a:lnTo>
                      <a:pt x="2166" y="532"/>
                    </a:lnTo>
                    <a:lnTo>
                      <a:pt x="2158" y="534"/>
                    </a:lnTo>
                    <a:lnTo>
                      <a:pt x="2148" y="532"/>
                    </a:lnTo>
                    <a:lnTo>
                      <a:pt x="2132" y="524"/>
                    </a:lnTo>
                    <a:lnTo>
                      <a:pt x="2132" y="524"/>
                    </a:lnTo>
                    <a:lnTo>
                      <a:pt x="2106" y="506"/>
                    </a:lnTo>
                    <a:lnTo>
                      <a:pt x="2102" y="502"/>
                    </a:lnTo>
                    <a:lnTo>
                      <a:pt x="2102" y="500"/>
                    </a:lnTo>
                    <a:lnTo>
                      <a:pt x="2102" y="498"/>
                    </a:lnTo>
                    <a:lnTo>
                      <a:pt x="2106" y="498"/>
                    </a:lnTo>
                    <a:lnTo>
                      <a:pt x="2116" y="498"/>
                    </a:lnTo>
                    <a:lnTo>
                      <a:pt x="2144" y="504"/>
                    </a:lnTo>
                    <a:lnTo>
                      <a:pt x="2144" y="504"/>
                    </a:lnTo>
                    <a:lnTo>
                      <a:pt x="2170" y="508"/>
                    </a:lnTo>
                    <a:lnTo>
                      <a:pt x="2174" y="508"/>
                    </a:lnTo>
                    <a:lnTo>
                      <a:pt x="2174" y="506"/>
                    </a:lnTo>
                    <a:lnTo>
                      <a:pt x="2168" y="502"/>
                    </a:lnTo>
                    <a:lnTo>
                      <a:pt x="2156" y="496"/>
                    </a:lnTo>
                    <a:lnTo>
                      <a:pt x="2120" y="480"/>
                    </a:lnTo>
                    <a:lnTo>
                      <a:pt x="2120" y="480"/>
                    </a:lnTo>
                    <a:lnTo>
                      <a:pt x="2100" y="474"/>
                    </a:lnTo>
                    <a:lnTo>
                      <a:pt x="2086" y="474"/>
                    </a:lnTo>
                    <a:lnTo>
                      <a:pt x="2078" y="476"/>
                    </a:lnTo>
                    <a:lnTo>
                      <a:pt x="2074" y="482"/>
                    </a:lnTo>
                    <a:lnTo>
                      <a:pt x="2070" y="494"/>
                    </a:lnTo>
                    <a:lnTo>
                      <a:pt x="2066" y="500"/>
                    </a:lnTo>
                    <a:lnTo>
                      <a:pt x="2060" y="504"/>
                    </a:lnTo>
                    <a:lnTo>
                      <a:pt x="2060" y="504"/>
                    </a:lnTo>
                    <a:lnTo>
                      <a:pt x="2056" y="504"/>
                    </a:lnTo>
                    <a:lnTo>
                      <a:pt x="2054" y="502"/>
                    </a:lnTo>
                    <a:lnTo>
                      <a:pt x="2052" y="500"/>
                    </a:lnTo>
                    <a:lnTo>
                      <a:pt x="2052" y="498"/>
                    </a:lnTo>
                    <a:lnTo>
                      <a:pt x="2054" y="490"/>
                    </a:lnTo>
                    <a:lnTo>
                      <a:pt x="2060" y="478"/>
                    </a:lnTo>
                    <a:lnTo>
                      <a:pt x="2072" y="454"/>
                    </a:lnTo>
                    <a:lnTo>
                      <a:pt x="2080" y="440"/>
                    </a:lnTo>
                    <a:lnTo>
                      <a:pt x="2086" y="426"/>
                    </a:lnTo>
                    <a:lnTo>
                      <a:pt x="2086" y="426"/>
                    </a:lnTo>
                    <a:lnTo>
                      <a:pt x="2090" y="414"/>
                    </a:lnTo>
                    <a:lnTo>
                      <a:pt x="2096" y="408"/>
                    </a:lnTo>
                    <a:lnTo>
                      <a:pt x="2104" y="404"/>
                    </a:lnTo>
                    <a:lnTo>
                      <a:pt x="2110" y="404"/>
                    </a:lnTo>
                    <a:lnTo>
                      <a:pt x="2124" y="404"/>
                    </a:lnTo>
                    <a:lnTo>
                      <a:pt x="2130" y="404"/>
                    </a:lnTo>
                    <a:lnTo>
                      <a:pt x="2134" y="402"/>
                    </a:lnTo>
                    <a:lnTo>
                      <a:pt x="2134" y="402"/>
                    </a:lnTo>
                    <a:lnTo>
                      <a:pt x="2146" y="392"/>
                    </a:lnTo>
                    <a:lnTo>
                      <a:pt x="2160" y="382"/>
                    </a:lnTo>
                    <a:lnTo>
                      <a:pt x="2166" y="376"/>
                    </a:lnTo>
                    <a:lnTo>
                      <a:pt x="2168" y="372"/>
                    </a:lnTo>
                    <a:lnTo>
                      <a:pt x="2168" y="370"/>
                    </a:lnTo>
                    <a:lnTo>
                      <a:pt x="2166" y="368"/>
                    </a:lnTo>
                    <a:lnTo>
                      <a:pt x="2160" y="366"/>
                    </a:lnTo>
                    <a:lnTo>
                      <a:pt x="2160" y="366"/>
                    </a:lnTo>
                    <a:lnTo>
                      <a:pt x="2152" y="362"/>
                    </a:lnTo>
                    <a:lnTo>
                      <a:pt x="2146" y="358"/>
                    </a:lnTo>
                    <a:lnTo>
                      <a:pt x="2144" y="354"/>
                    </a:lnTo>
                    <a:lnTo>
                      <a:pt x="2144" y="348"/>
                    </a:lnTo>
                    <a:lnTo>
                      <a:pt x="2146" y="344"/>
                    </a:lnTo>
                    <a:lnTo>
                      <a:pt x="2150" y="338"/>
                    </a:lnTo>
                    <a:lnTo>
                      <a:pt x="2158" y="336"/>
                    </a:lnTo>
                    <a:lnTo>
                      <a:pt x="2168" y="334"/>
                    </a:lnTo>
                    <a:lnTo>
                      <a:pt x="2168" y="334"/>
                    </a:lnTo>
                    <a:lnTo>
                      <a:pt x="2190" y="334"/>
                    </a:lnTo>
                    <a:lnTo>
                      <a:pt x="2204" y="330"/>
                    </a:lnTo>
                    <a:lnTo>
                      <a:pt x="2216" y="322"/>
                    </a:lnTo>
                    <a:lnTo>
                      <a:pt x="2228" y="310"/>
                    </a:lnTo>
                    <a:lnTo>
                      <a:pt x="2228" y="310"/>
                    </a:lnTo>
                    <a:lnTo>
                      <a:pt x="2230" y="306"/>
                    </a:lnTo>
                    <a:lnTo>
                      <a:pt x="2230" y="304"/>
                    </a:lnTo>
                    <a:lnTo>
                      <a:pt x="2228" y="302"/>
                    </a:lnTo>
                    <a:lnTo>
                      <a:pt x="2226" y="300"/>
                    </a:lnTo>
                    <a:lnTo>
                      <a:pt x="2214" y="300"/>
                    </a:lnTo>
                    <a:lnTo>
                      <a:pt x="2200" y="300"/>
                    </a:lnTo>
                    <a:lnTo>
                      <a:pt x="2162" y="308"/>
                    </a:lnTo>
                    <a:lnTo>
                      <a:pt x="2142" y="312"/>
                    </a:lnTo>
                    <a:lnTo>
                      <a:pt x="2124" y="318"/>
                    </a:lnTo>
                    <a:lnTo>
                      <a:pt x="2124" y="318"/>
                    </a:lnTo>
                    <a:lnTo>
                      <a:pt x="2112" y="322"/>
                    </a:lnTo>
                    <a:lnTo>
                      <a:pt x="2108" y="320"/>
                    </a:lnTo>
                    <a:lnTo>
                      <a:pt x="2106" y="320"/>
                    </a:lnTo>
                    <a:lnTo>
                      <a:pt x="2106" y="316"/>
                    </a:lnTo>
                    <a:lnTo>
                      <a:pt x="2108" y="314"/>
                    </a:lnTo>
                    <a:lnTo>
                      <a:pt x="2114" y="306"/>
                    </a:lnTo>
                    <a:lnTo>
                      <a:pt x="2124" y="298"/>
                    </a:lnTo>
                    <a:lnTo>
                      <a:pt x="2138" y="292"/>
                    </a:lnTo>
                    <a:lnTo>
                      <a:pt x="2152" y="288"/>
                    </a:lnTo>
                    <a:lnTo>
                      <a:pt x="2160" y="288"/>
                    </a:lnTo>
                    <a:lnTo>
                      <a:pt x="2168" y="288"/>
                    </a:lnTo>
                    <a:lnTo>
                      <a:pt x="2168" y="288"/>
                    </a:lnTo>
                    <a:lnTo>
                      <a:pt x="2182" y="292"/>
                    </a:lnTo>
                    <a:lnTo>
                      <a:pt x="2198" y="292"/>
                    </a:lnTo>
                    <a:lnTo>
                      <a:pt x="2214" y="292"/>
                    </a:lnTo>
                    <a:lnTo>
                      <a:pt x="2228" y="290"/>
                    </a:lnTo>
                    <a:lnTo>
                      <a:pt x="2256" y="284"/>
                    </a:lnTo>
                    <a:lnTo>
                      <a:pt x="2278" y="276"/>
                    </a:lnTo>
                    <a:lnTo>
                      <a:pt x="2278" y="276"/>
                    </a:lnTo>
                    <a:lnTo>
                      <a:pt x="2284" y="270"/>
                    </a:lnTo>
                    <a:lnTo>
                      <a:pt x="2286" y="268"/>
                    </a:lnTo>
                    <a:lnTo>
                      <a:pt x="2284" y="268"/>
                    </a:lnTo>
                    <a:lnTo>
                      <a:pt x="2280" y="264"/>
                    </a:lnTo>
                    <a:lnTo>
                      <a:pt x="2270" y="262"/>
                    </a:lnTo>
                    <a:lnTo>
                      <a:pt x="2244" y="260"/>
                    </a:lnTo>
                    <a:lnTo>
                      <a:pt x="2232" y="260"/>
                    </a:lnTo>
                    <a:lnTo>
                      <a:pt x="2220" y="262"/>
                    </a:lnTo>
                    <a:lnTo>
                      <a:pt x="2220" y="262"/>
                    </a:lnTo>
                    <a:lnTo>
                      <a:pt x="2206" y="264"/>
                    </a:lnTo>
                    <a:lnTo>
                      <a:pt x="2188" y="264"/>
                    </a:lnTo>
                    <a:lnTo>
                      <a:pt x="2154" y="262"/>
                    </a:lnTo>
                    <a:lnTo>
                      <a:pt x="2134" y="258"/>
                    </a:lnTo>
                    <a:lnTo>
                      <a:pt x="2150" y="258"/>
                    </a:lnTo>
                    <a:lnTo>
                      <a:pt x="2150" y="258"/>
                    </a:lnTo>
                    <a:lnTo>
                      <a:pt x="2168" y="260"/>
                    </a:lnTo>
                    <a:lnTo>
                      <a:pt x="2182" y="258"/>
                    </a:lnTo>
                    <a:lnTo>
                      <a:pt x="2192" y="256"/>
                    </a:lnTo>
                    <a:lnTo>
                      <a:pt x="2200" y="252"/>
                    </a:lnTo>
                    <a:lnTo>
                      <a:pt x="2214" y="248"/>
                    </a:lnTo>
                    <a:lnTo>
                      <a:pt x="2222" y="246"/>
                    </a:lnTo>
                    <a:lnTo>
                      <a:pt x="2232" y="248"/>
                    </a:lnTo>
                    <a:lnTo>
                      <a:pt x="2232" y="248"/>
                    </a:lnTo>
                    <a:lnTo>
                      <a:pt x="2244" y="250"/>
                    </a:lnTo>
                    <a:lnTo>
                      <a:pt x="2254" y="250"/>
                    </a:lnTo>
                    <a:lnTo>
                      <a:pt x="2274" y="248"/>
                    </a:lnTo>
                    <a:lnTo>
                      <a:pt x="2298" y="244"/>
                    </a:lnTo>
                    <a:lnTo>
                      <a:pt x="2330" y="242"/>
                    </a:lnTo>
                    <a:lnTo>
                      <a:pt x="2330" y="242"/>
                    </a:lnTo>
                    <a:lnTo>
                      <a:pt x="2342" y="240"/>
                    </a:lnTo>
                    <a:lnTo>
                      <a:pt x="2344" y="238"/>
                    </a:lnTo>
                    <a:lnTo>
                      <a:pt x="2344" y="238"/>
                    </a:lnTo>
                    <a:lnTo>
                      <a:pt x="2342" y="232"/>
                    </a:lnTo>
                    <a:lnTo>
                      <a:pt x="2336" y="228"/>
                    </a:lnTo>
                    <a:lnTo>
                      <a:pt x="2330" y="224"/>
                    </a:lnTo>
                    <a:lnTo>
                      <a:pt x="2328" y="220"/>
                    </a:lnTo>
                    <a:lnTo>
                      <a:pt x="2330" y="220"/>
                    </a:lnTo>
                    <a:lnTo>
                      <a:pt x="2334" y="218"/>
                    </a:lnTo>
                    <a:lnTo>
                      <a:pt x="2348" y="218"/>
                    </a:lnTo>
                    <a:lnTo>
                      <a:pt x="2348" y="218"/>
                    </a:lnTo>
                    <a:lnTo>
                      <a:pt x="2360" y="216"/>
                    </a:lnTo>
                    <a:lnTo>
                      <a:pt x="2372" y="214"/>
                    </a:lnTo>
                    <a:lnTo>
                      <a:pt x="2382" y="212"/>
                    </a:lnTo>
                    <a:lnTo>
                      <a:pt x="2392" y="206"/>
                    </a:lnTo>
                    <a:lnTo>
                      <a:pt x="2412" y="196"/>
                    </a:lnTo>
                    <a:lnTo>
                      <a:pt x="2436" y="182"/>
                    </a:lnTo>
                    <a:lnTo>
                      <a:pt x="2436" y="182"/>
                    </a:lnTo>
                    <a:lnTo>
                      <a:pt x="2440" y="180"/>
                    </a:lnTo>
                    <a:lnTo>
                      <a:pt x="2442" y="176"/>
                    </a:lnTo>
                    <a:lnTo>
                      <a:pt x="2438" y="174"/>
                    </a:lnTo>
                    <a:lnTo>
                      <a:pt x="2434" y="170"/>
                    </a:lnTo>
                    <a:lnTo>
                      <a:pt x="2414" y="164"/>
                    </a:lnTo>
                    <a:lnTo>
                      <a:pt x="2388" y="158"/>
                    </a:lnTo>
                    <a:lnTo>
                      <a:pt x="2356" y="154"/>
                    </a:lnTo>
                    <a:lnTo>
                      <a:pt x="2322" y="150"/>
                    </a:lnTo>
                    <a:lnTo>
                      <a:pt x="2292" y="148"/>
                    </a:lnTo>
                    <a:lnTo>
                      <a:pt x="2264" y="150"/>
                    </a:lnTo>
                    <a:lnTo>
                      <a:pt x="2264" y="150"/>
                    </a:lnTo>
                    <a:lnTo>
                      <a:pt x="2244" y="152"/>
                    </a:lnTo>
                    <a:lnTo>
                      <a:pt x="2230" y="158"/>
                    </a:lnTo>
                    <a:lnTo>
                      <a:pt x="2220" y="164"/>
                    </a:lnTo>
                    <a:lnTo>
                      <a:pt x="2214" y="172"/>
                    </a:lnTo>
                    <a:lnTo>
                      <a:pt x="2210" y="180"/>
                    </a:lnTo>
                    <a:lnTo>
                      <a:pt x="2204" y="184"/>
                    </a:lnTo>
                    <a:lnTo>
                      <a:pt x="2198" y="186"/>
                    </a:lnTo>
                    <a:lnTo>
                      <a:pt x="2188" y="186"/>
                    </a:lnTo>
                    <a:lnTo>
                      <a:pt x="2188" y="186"/>
                    </a:lnTo>
                    <a:lnTo>
                      <a:pt x="2176" y="184"/>
                    </a:lnTo>
                    <a:lnTo>
                      <a:pt x="2162" y="182"/>
                    </a:lnTo>
                    <a:lnTo>
                      <a:pt x="2140" y="184"/>
                    </a:lnTo>
                    <a:lnTo>
                      <a:pt x="2126" y="184"/>
                    </a:lnTo>
                    <a:lnTo>
                      <a:pt x="2126" y="182"/>
                    </a:lnTo>
                    <a:lnTo>
                      <a:pt x="2126" y="182"/>
                    </a:lnTo>
                    <a:lnTo>
                      <a:pt x="2130" y="178"/>
                    </a:lnTo>
                    <a:lnTo>
                      <a:pt x="2130" y="178"/>
                    </a:lnTo>
                    <a:lnTo>
                      <a:pt x="2134" y="172"/>
                    </a:lnTo>
                    <a:lnTo>
                      <a:pt x="2134" y="170"/>
                    </a:lnTo>
                    <a:lnTo>
                      <a:pt x="2128" y="170"/>
                    </a:lnTo>
                    <a:lnTo>
                      <a:pt x="2120" y="172"/>
                    </a:lnTo>
                    <a:lnTo>
                      <a:pt x="2108" y="176"/>
                    </a:lnTo>
                    <a:lnTo>
                      <a:pt x="2092" y="184"/>
                    </a:lnTo>
                    <a:lnTo>
                      <a:pt x="2074" y="196"/>
                    </a:lnTo>
                    <a:lnTo>
                      <a:pt x="2050" y="210"/>
                    </a:lnTo>
                    <a:lnTo>
                      <a:pt x="2050" y="210"/>
                    </a:lnTo>
                    <a:lnTo>
                      <a:pt x="2028" y="224"/>
                    </a:lnTo>
                    <a:lnTo>
                      <a:pt x="2010" y="234"/>
                    </a:lnTo>
                    <a:lnTo>
                      <a:pt x="1996" y="242"/>
                    </a:lnTo>
                    <a:lnTo>
                      <a:pt x="1986" y="244"/>
                    </a:lnTo>
                    <a:lnTo>
                      <a:pt x="1984" y="244"/>
                    </a:lnTo>
                    <a:lnTo>
                      <a:pt x="1982" y="244"/>
                    </a:lnTo>
                    <a:lnTo>
                      <a:pt x="1984" y="238"/>
                    </a:lnTo>
                    <a:lnTo>
                      <a:pt x="1992" y="228"/>
                    </a:lnTo>
                    <a:lnTo>
                      <a:pt x="2008" y="216"/>
                    </a:lnTo>
                    <a:lnTo>
                      <a:pt x="2008" y="216"/>
                    </a:lnTo>
                    <a:lnTo>
                      <a:pt x="2026" y="200"/>
                    </a:lnTo>
                    <a:lnTo>
                      <a:pt x="2040" y="186"/>
                    </a:lnTo>
                    <a:lnTo>
                      <a:pt x="2050" y="172"/>
                    </a:lnTo>
                    <a:lnTo>
                      <a:pt x="2052" y="166"/>
                    </a:lnTo>
                    <a:lnTo>
                      <a:pt x="2052" y="160"/>
                    </a:lnTo>
                    <a:lnTo>
                      <a:pt x="2052" y="156"/>
                    </a:lnTo>
                    <a:lnTo>
                      <a:pt x="2050" y="150"/>
                    </a:lnTo>
                    <a:lnTo>
                      <a:pt x="2048" y="146"/>
                    </a:lnTo>
                    <a:lnTo>
                      <a:pt x="2042" y="144"/>
                    </a:lnTo>
                    <a:lnTo>
                      <a:pt x="2036" y="140"/>
                    </a:lnTo>
                    <a:lnTo>
                      <a:pt x="2028" y="138"/>
                    </a:lnTo>
                    <a:lnTo>
                      <a:pt x="2004" y="138"/>
                    </a:lnTo>
                    <a:lnTo>
                      <a:pt x="2004" y="138"/>
                    </a:lnTo>
                    <a:lnTo>
                      <a:pt x="1984" y="138"/>
                    </a:lnTo>
                    <a:lnTo>
                      <a:pt x="1972" y="142"/>
                    </a:lnTo>
                    <a:lnTo>
                      <a:pt x="1964" y="146"/>
                    </a:lnTo>
                    <a:lnTo>
                      <a:pt x="1962" y="152"/>
                    </a:lnTo>
                    <a:lnTo>
                      <a:pt x="1960" y="156"/>
                    </a:lnTo>
                    <a:lnTo>
                      <a:pt x="1958" y="162"/>
                    </a:lnTo>
                    <a:lnTo>
                      <a:pt x="1952" y="168"/>
                    </a:lnTo>
                    <a:lnTo>
                      <a:pt x="1940" y="172"/>
                    </a:lnTo>
                    <a:lnTo>
                      <a:pt x="1940" y="172"/>
                    </a:lnTo>
                    <a:lnTo>
                      <a:pt x="1910" y="178"/>
                    </a:lnTo>
                    <a:lnTo>
                      <a:pt x="1886" y="182"/>
                    </a:lnTo>
                    <a:lnTo>
                      <a:pt x="1878" y="182"/>
                    </a:lnTo>
                    <a:lnTo>
                      <a:pt x="1876" y="180"/>
                    </a:lnTo>
                    <a:lnTo>
                      <a:pt x="1880" y="176"/>
                    </a:lnTo>
                    <a:lnTo>
                      <a:pt x="1890" y="172"/>
                    </a:lnTo>
                    <a:lnTo>
                      <a:pt x="1890" y="172"/>
                    </a:lnTo>
                    <a:lnTo>
                      <a:pt x="1916" y="160"/>
                    </a:lnTo>
                    <a:lnTo>
                      <a:pt x="1922" y="154"/>
                    </a:lnTo>
                    <a:lnTo>
                      <a:pt x="1924" y="152"/>
                    </a:lnTo>
                    <a:lnTo>
                      <a:pt x="1924" y="150"/>
                    </a:lnTo>
                    <a:lnTo>
                      <a:pt x="1924" y="148"/>
                    </a:lnTo>
                    <a:lnTo>
                      <a:pt x="1920" y="148"/>
                    </a:lnTo>
                    <a:lnTo>
                      <a:pt x="1906" y="144"/>
                    </a:lnTo>
                    <a:lnTo>
                      <a:pt x="1884" y="142"/>
                    </a:lnTo>
                    <a:lnTo>
                      <a:pt x="1852" y="140"/>
                    </a:lnTo>
                    <a:lnTo>
                      <a:pt x="1852" y="140"/>
                    </a:lnTo>
                    <a:lnTo>
                      <a:pt x="1812" y="142"/>
                    </a:lnTo>
                    <a:lnTo>
                      <a:pt x="1770" y="146"/>
                    </a:lnTo>
                    <a:lnTo>
                      <a:pt x="1730" y="152"/>
                    </a:lnTo>
                    <a:lnTo>
                      <a:pt x="1694" y="160"/>
                    </a:lnTo>
                    <a:lnTo>
                      <a:pt x="1636" y="172"/>
                    </a:lnTo>
                    <a:lnTo>
                      <a:pt x="1616" y="174"/>
                    </a:lnTo>
                    <a:lnTo>
                      <a:pt x="1610" y="174"/>
                    </a:lnTo>
                    <a:lnTo>
                      <a:pt x="1608" y="174"/>
                    </a:lnTo>
                    <a:lnTo>
                      <a:pt x="1608" y="174"/>
                    </a:lnTo>
                    <a:lnTo>
                      <a:pt x="1604" y="170"/>
                    </a:lnTo>
                    <a:lnTo>
                      <a:pt x="1602" y="168"/>
                    </a:lnTo>
                    <a:lnTo>
                      <a:pt x="1604" y="164"/>
                    </a:lnTo>
                    <a:lnTo>
                      <a:pt x="1606" y="162"/>
                    </a:lnTo>
                    <a:lnTo>
                      <a:pt x="1618" y="156"/>
                    </a:lnTo>
                    <a:lnTo>
                      <a:pt x="1636" y="152"/>
                    </a:lnTo>
                    <a:lnTo>
                      <a:pt x="1686" y="142"/>
                    </a:lnTo>
                    <a:lnTo>
                      <a:pt x="1744" y="134"/>
                    </a:lnTo>
                    <a:lnTo>
                      <a:pt x="1744" y="134"/>
                    </a:lnTo>
                    <a:lnTo>
                      <a:pt x="1772" y="130"/>
                    </a:lnTo>
                    <a:lnTo>
                      <a:pt x="1802" y="130"/>
                    </a:lnTo>
                    <a:lnTo>
                      <a:pt x="1864" y="130"/>
                    </a:lnTo>
                    <a:lnTo>
                      <a:pt x="1926" y="130"/>
                    </a:lnTo>
                    <a:lnTo>
                      <a:pt x="1956" y="128"/>
                    </a:lnTo>
                    <a:lnTo>
                      <a:pt x="1984" y="124"/>
                    </a:lnTo>
                    <a:lnTo>
                      <a:pt x="1984" y="124"/>
                    </a:lnTo>
                    <a:lnTo>
                      <a:pt x="2020" y="114"/>
                    </a:lnTo>
                    <a:lnTo>
                      <a:pt x="2054" y="104"/>
                    </a:lnTo>
                    <a:lnTo>
                      <a:pt x="2066" y="98"/>
                    </a:lnTo>
                    <a:lnTo>
                      <a:pt x="2072" y="92"/>
                    </a:lnTo>
                    <a:lnTo>
                      <a:pt x="2072" y="90"/>
                    </a:lnTo>
                    <a:lnTo>
                      <a:pt x="2070" y="88"/>
                    </a:lnTo>
                    <a:lnTo>
                      <a:pt x="2062" y="84"/>
                    </a:lnTo>
                    <a:lnTo>
                      <a:pt x="2062" y="84"/>
                    </a:lnTo>
                    <a:lnTo>
                      <a:pt x="2034" y="78"/>
                    </a:lnTo>
                    <a:lnTo>
                      <a:pt x="2004" y="72"/>
                    </a:lnTo>
                    <a:lnTo>
                      <a:pt x="1988" y="70"/>
                    </a:lnTo>
                    <a:lnTo>
                      <a:pt x="1970" y="68"/>
                    </a:lnTo>
                    <a:lnTo>
                      <a:pt x="1952" y="70"/>
                    </a:lnTo>
                    <a:lnTo>
                      <a:pt x="1932" y="72"/>
                    </a:lnTo>
                    <a:lnTo>
                      <a:pt x="1932" y="72"/>
                    </a:lnTo>
                    <a:lnTo>
                      <a:pt x="1914" y="76"/>
                    </a:lnTo>
                    <a:lnTo>
                      <a:pt x="1916" y="74"/>
                    </a:lnTo>
                    <a:lnTo>
                      <a:pt x="1922" y="70"/>
                    </a:lnTo>
                    <a:lnTo>
                      <a:pt x="1930" y="64"/>
                    </a:lnTo>
                    <a:lnTo>
                      <a:pt x="1936" y="58"/>
                    </a:lnTo>
                    <a:lnTo>
                      <a:pt x="1938" y="56"/>
                    </a:lnTo>
                    <a:lnTo>
                      <a:pt x="1938" y="52"/>
                    </a:lnTo>
                    <a:lnTo>
                      <a:pt x="1936" y="50"/>
                    </a:lnTo>
                    <a:lnTo>
                      <a:pt x="1932" y="46"/>
                    </a:lnTo>
                    <a:lnTo>
                      <a:pt x="1932" y="46"/>
                    </a:lnTo>
                    <a:lnTo>
                      <a:pt x="1922" y="42"/>
                    </a:lnTo>
                    <a:lnTo>
                      <a:pt x="1912" y="42"/>
                    </a:lnTo>
                    <a:lnTo>
                      <a:pt x="1898" y="42"/>
                    </a:lnTo>
                    <a:lnTo>
                      <a:pt x="1884" y="46"/>
                    </a:lnTo>
                    <a:lnTo>
                      <a:pt x="1866" y="48"/>
                    </a:lnTo>
                    <a:lnTo>
                      <a:pt x="1846" y="50"/>
                    </a:lnTo>
                    <a:lnTo>
                      <a:pt x="1822" y="52"/>
                    </a:lnTo>
                    <a:lnTo>
                      <a:pt x="1794" y="50"/>
                    </a:lnTo>
                    <a:lnTo>
                      <a:pt x="1794" y="50"/>
                    </a:lnTo>
                    <a:lnTo>
                      <a:pt x="1766" y="48"/>
                    </a:lnTo>
                    <a:lnTo>
                      <a:pt x="1744" y="48"/>
                    </a:lnTo>
                    <a:lnTo>
                      <a:pt x="1724" y="52"/>
                    </a:lnTo>
                    <a:lnTo>
                      <a:pt x="1708" y="54"/>
                    </a:lnTo>
                    <a:lnTo>
                      <a:pt x="1678" y="60"/>
                    </a:lnTo>
                    <a:lnTo>
                      <a:pt x="1660" y="60"/>
                    </a:lnTo>
                    <a:lnTo>
                      <a:pt x="1638" y="60"/>
                    </a:lnTo>
                    <a:lnTo>
                      <a:pt x="1638" y="60"/>
                    </a:lnTo>
                    <a:lnTo>
                      <a:pt x="1622" y="58"/>
                    </a:lnTo>
                    <a:lnTo>
                      <a:pt x="1616" y="56"/>
                    </a:lnTo>
                    <a:lnTo>
                      <a:pt x="1618" y="54"/>
                    </a:lnTo>
                    <a:lnTo>
                      <a:pt x="1628" y="52"/>
                    </a:lnTo>
                    <a:lnTo>
                      <a:pt x="1692" y="46"/>
                    </a:lnTo>
                    <a:lnTo>
                      <a:pt x="1692" y="46"/>
                    </a:lnTo>
                    <a:lnTo>
                      <a:pt x="1734" y="44"/>
                    </a:lnTo>
                    <a:lnTo>
                      <a:pt x="1794" y="42"/>
                    </a:lnTo>
                    <a:lnTo>
                      <a:pt x="1852" y="38"/>
                    </a:lnTo>
                    <a:lnTo>
                      <a:pt x="1894" y="34"/>
                    </a:lnTo>
                    <a:lnTo>
                      <a:pt x="1894" y="34"/>
                    </a:lnTo>
                    <a:lnTo>
                      <a:pt x="1900" y="32"/>
                    </a:lnTo>
                    <a:lnTo>
                      <a:pt x="1902" y="32"/>
                    </a:lnTo>
                    <a:lnTo>
                      <a:pt x="1902" y="30"/>
                    </a:lnTo>
                    <a:lnTo>
                      <a:pt x="1898" y="28"/>
                    </a:lnTo>
                    <a:lnTo>
                      <a:pt x="1882" y="24"/>
                    </a:lnTo>
                    <a:lnTo>
                      <a:pt x="1858" y="20"/>
                    </a:lnTo>
                    <a:lnTo>
                      <a:pt x="1798" y="12"/>
                    </a:lnTo>
                    <a:lnTo>
                      <a:pt x="1732" y="6"/>
                    </a:lnTo>
                    <a:lnTo>
                      <a:pt x="1732" y="6"/>
                    </a:lnTo>
                    <a:lnTo>
                      <a:pt x="1686" y="2"/>
                    </a:lnTo>
                    <a:lnTo>
                      <a:pt x="1648" y="0"/>
                    </a:lnTo>
                    <a:lnTo>
                      <a:pt x="1618" y="2"/>
                    </a:lnTo>
                    <a:lnTo>
                      <a:pt x="1594" y="2"/>
                    </a:lnTo>
                    <a:lnTo>
                      <a:pt x="1552" y="6"/>
                    </a:lnTo>
                    <a:lnTo>
                      <a:pt x="1528" y="8"/>
                    </a:lnTo>
                    <a:lnTo>
                      <a:pt x="1504" y="6"/>
                    </a:lnTo>
                    <a:lnTo>
                      <a:pt x="1504" y="6"/>
                    </a:lnTo>
                    <a:lnTo>
                      <a:pt x="1480" y="6"/>
                    </a:lnTo>
                    <a:lnTo>
                      <a:pt x="1466" y="8"/>
                    </a:lnTo>
                    <a:lnTo>
                      <a:pt x="1460" y="10"/>
                    </a:lnTo>
                    <a:lnTo>
                      <a:pt x="1458" y="14"/>
                    </a:lnTo>
                    <a:lnTo>
                      <a:pt x="1458" y="16"/>
                    </a:lnTo>
                    <a:lnTo>
                      <a:pt x="1458" y="18"/>
                    </a:lnTo>
                    <a:lnTo>
                      <a:pt x="1452" y="18"/>
                    </a:lnTo>
                    <a:lnTo>
                      <a:pt x="1442" y="16"/>
                    </a:lnTo>
                    <a:lnTo>
                      <a:pt x="1442" y="16"/>
                    </a:lnTo>
                    <a:lnTo>
                      <a:pt x="1420" y="12"/>
                    </a:lnTo>
                    <a:lnTo>
                      <a:pt x="1410" y="14"/>
                    </a:lnTo>
                    <a:lnTo>
                      <a:pt x="1400" y="16"/>
                    </a:lnTo>
                    <a:lnTo>
                      <a:pt x="1384" y="18"/>
                    </a:lnTo>
                    <a:lnTo>
                      <a:pt x="1384" y="18"/>
                    </a:lnTo>
                    <a:lnTo>
                      <a:pt x="1374" y="18"/>
                    </a:lnTo>
                    <a:lnTo>
                      <a:pt x="1368" y="20"/>
                    </a:lnTo>
                    <a:lnTo>
                      <a:pt x="1366" y="24"/>
                    </a:lnTo>
                    <a:lnTo>
                      <a:pt x="1366" y="28"/>
                    </a:lnTo>
                    <a:lnTo>
                      <a:pt x="1370" y="32"/>
                    </a:lnTo>
                    <a:lnTo>
                      <a:pt x="1378" y="36"/>
                    </a:lnTo>
                    <a:lnTo>
                      <a:pt x="1388" y="40"/>
                    </a:lnTo>
                    <a:lnTo>
                      <a:pt x="1402" y="44"/>
                    </a:lnTo>
                    <a:lnTo>
                      <a:pt x="1402" y="44"/>
                    </a:lnTo>
                    <a:lnTo>
                      <a:pt x="1412" y="46"/>
                    </a:lnTo>
                    <a:lnTo>
                      <a:pt x="1416" y="46"/>
                    </a:lnTo>
                    <a:lnTo>
                      <a:pt x="1412" y="48"/>
                    </a:lnTo>
                    <a:lnTo>
                      <a:pt x="1406" y="50"/>
                    </a:lnTo>
                    <a:lnTo>
                      <a:pt x="1386" y="52"/>
                    </a:lnTo>
                    <a:lnTo>
                      <a:pt x="1378" y="54"/>
                    </a:lnTo>
                    <a:lnTo>
                      <a:pt x="1372" y="56"/>
                    </a:lnTo>
                    <a:lnTo>
                      <a:pt x="1372" y="56"/>
                    </a:lnTo>
                    <a:lnTo>
                      <a:pt x="1356" y="62"/>
                    </a:lnTo>
                    <a:lnTo>
                      <a:pt x="1332" y="64"/>
                    </a:lnTo>
                    <a:lnTo>
                      <a:pt x="1318" y="66"/>
                    </a:lnTo>
                    <a:lnTo>
                      <a:pt x="1304" y="64"/>
                    </a:lnTo>
                    <a:lnTo>
                      <a:pt x="1290" y="62"/>
                    </a:lnTo>
                    <a:lnTo>
                      <a:pt x="1278" y="56"/>
                    </a:lnTo>
                    <a:lnTo>
                      <a:pt x="1278" y="56"/>
                    </a:lnTo>
                    <a:lnTo>
                      <a:pt x="1254" y="46"/>
                    </a:lnTo>
                    <a:lnTo>
                      <a:pt x="1242" y="42"/>
                    </a:lnTo>
                    <a:lnTo>
                      <a:pt x="1228" y="38"/>
                    </a:lnTo>
                    <a:lnTo>
                      <a:pt x="1212" y="36"/>
                    </a:lnTo>
                    <a:lnTo>
                      <a:pt x="1194" y="34"/>
                    </a:lnTo>
                    <a:lnTo>
                      <a:pt x="1176" y="36"/>
                    </a:lnTo>
                    <a:lnTo>
                      <a:pt x="1154" y="38"/>
                    </a:lnTo>
                    <a:lnTo>
                      <a:pt x="1154" y="38"/>
                    </a:lnTo>
                    <a:lnTo>
                      <a:pt x="1114" y="44"/>
                    </a:lnTo>
                    <a:lnTo>
                      <a:pt x="1078" y="48"/>
                    </a:lnTo>
                    <a:lnTo>
                      <a:pt x="1064" y="50"/>
                    </a:lnTo>
                    <a:lnTo>
                      <a:pt x="1054" y="54"/>
                    </a:lnTo>
                    <a:lnTo>
                      <a:pt x="1048" y="56"/>
                    </a:lnTo>
                    <a:lnTo>
                      <a:pt x="1048" y="58"/>
                    </a:lnTo>
                    <a:lnTo>
                      <a:pt x="1048" y="60"/>
                    </a:lnTo>
                    <a:lnTo>
                      <a:pt x="1048" y="60"/>
                    </a:lnTo>
                    <a:lnTo>
                      <a:pt x="1054" y="64"/>
                    </a:lnTo>
                    <a:lnTo>
                      <a:pt x="1062" y="66"/>
                    </a:lnTo>
                    <a:lnTo>
                      <a:pt x="1092" y="68"/>
                    </a:lnTo>
                    <a:lnTo>
                      <a:pt x="1128" y="66"/>
                    </a:lnTo>
                    <a:lnTo>
                      <a:pt x="1170" y="66"/>
                    </a:lnTo>
                    <a:lnTo>
                      <a:pt x="1170" y="66"/>
                    </a:lnTo>
                    <a:lnTo>
                      <a:pt x="1208" y="68"/>
                    </a:lnTo>
                    <a:lnTo>
                      <a:pt x="1246" y="72"/>
                    </a:lnTo>
                    <a:lnTo>
                      <a:pt x="1280" y="76"/>
                    </a:lnTo>
                    <a:lnTo>
                      <a:pt x="1314" y="82"/>
                    </a:lnTo>
                    <a:lnTo>
                      <a:pt x="1314" y="82"/>
                    </a:lnTo>
                    <a:lnTo>
                      <a:pt x="1326" y="86"/>
                    </a:lnTo>
                    <a:lnTo>
                      <a:pt x="1332" y="88"/>
                    </a:lnTo>
                    <a:lnTo>
                      <a:pt x="1332" y="90"/>
                    </a:lnTo>
                    <a:lnTo>
                      <a:pt x="1332" y="90"/>
                    </a:lnTo>
                    <a:lnTo>
                      <a:pt x="1326" y="92"/>
                    </a:lnTo>
                    <a:lnTo>
                      <a:pt x="1308" y="92"/>
                    </a:lnTo>
                    <a:lnTo>
                      <a:pt x="1294" y="90"/>
                    </a:lnTo>
                    <a:lnTo>
                      <a:pt x="1282" y="88"/>
                    </a:lnTo>
                    <a:lnTo>
                      <a:pt x="1282" y="88"/>
                    </a:lnTo>
                    <a:lnTo>
                      <a:pt x="1268" y="84"/>
                    </a:lnTo>
                    <a:lnTo>
                      <a:pt x="1252" y="82"/>
                    </a:lnTo>
                    <a:lnTo>
                      <a:pt x="1214" y="78"/>
                    </a:lnTo>
                    <a:lnTo>
                      <a:pt x="1110" y="74"/>
                    </a:lnTo>
                    <a:lnTo>
                      <a:pt x="1110" y="74"/>
                    </a:lnTo>
                    <a:lnTo>
                      <a:pt x="1092" y="76"/>
                    </a:lnTo>
                    <a:lnTo>
                      <a:pt x="1090" y="76"/>
                    </a:lnTo>
                    <a:lnTo>
                      <a:pt x="1092" y="78"/>
                    </a:lnTo>
                    <a:lnTo>
                      <a:pt x="1106" y="84"/>
                    </a:lnTo>
                    <a:lnTo>
                      <a:pt x="1126" y="92"/>
                    </a:lnTo>
                    <a:lnTo>
                      <a:pt x="1148" y="100"/>
                    </a:lnTo>
                    <a:lnTo>
                      <a:pt x="1164" y="108"/>
                    </a:lnTo>
                    <a:lnTo>
                      <a:pt x="1168" y="110"/>
                    </a:lnTo>
                    <a:lnTo>
                      <a:pt x="1168" y="114"/>
                    </a:lnTo>
                    <a:lnTo>
                      <a:pt x="1164" y="116"/>
                    </a:lnTo>
                    <a:lnTo>
                      <a:pt x="1154" y="116"/>
                    </a:lnTo>
                    <a:lnTo>
                      <a:pt x="1154" y="116"/>
                    </a:lnTo>
                    <a:lnTo>
                      <a:pt x="1146" y="118"/>
                    </a:lnTo>
                    <a:lnTo>
                      <a:pt x="1142" y="120"/>
                    </a:lnTo>
                    <a:lnTo>
                      <a:pt x="1138" y="122"/>
                    </a:lnTo>
                    <a:lnTo>
                      <a:pt x="1138" y="126"/>
                    </a:lnTo>
                    <a:lnTo>
                      <a:pt x="1136" y="132"/>
                    </a:lnTo>
                    <a:lnTo>
                      <a:pt x="1138" y="140"/>
                    </a:lnTo>
                    <a:lnTo>
                      <a:pt x="1142" y="148"/>
                    </a:lnTo>
                    <a:lnTo>
                      <a:pt x="1142" y="156"/>
                    </a:lnTo>
                    <a:lnTo>
                      <a:pt x="1142" y="158"/>
                    </a:lnTo>
                    <a:lnTo>
                      <a:pt x="1140" y="160"/>
                    </a:lnTo>
                    <a:lnTo>
                      <a:pt x="1136" y="162"/>
                    </a:lnTo>
                    <a:lnTo>
                      <a:pt x="1132" y="164"/>
                    </a:lnTo>
                    <a:lnTo>
                      <a:pt x="1132" y="164"/>
                    </a:lnTo>
                    <a:lnTo>
                      <a:pt x="1122" y="164"/>
                    </a:lnTo>
                    <a:lnTo>
                      <a:pt x="1114" y="162"/>
                    </a:lnTo>
                    <a:lnTo>
                      <a:pt x="1108" y="158"/>
                    </a:lnTo>
                    <a:lnTo>
                      <a:pt x="1102" y="152"/>
                    </a:lnTo>
                    <a:lnTo>
                      <a:pt x="1094" y="146"/>
                    </a:lnTo>
                    <a:lnTo>
                      <a:pt x="1084" y="142"/>
                    </a:lnTo>
                    <a:lnTo>
                      <a:pt x="1070" y="136"/>
                    </a:lnTo>
                    <a:lnTo>
                      <a:pt x="1052" y="132"/>
                    </a:lnTo>
                    <a:lnTo>
                      <a:pt x="1052" y="132"/>
                    </a:lnTo>
                    <a:lnTo>
                      <a:pt x="1034" y="128"/>
                    </a:lnTo>
                    <a:lnTo>
                      <a:pt x="1016" y="124"/>
                    </a:lnTo>
                    <a:lnTo>
                      <a:pt x="986" y="114"/>
                    </a:lnTo>
                    <a:lnTo>
                      <a:pt x="954" y="104"/>
                    </a:lnTo>
                    <a:lnTo>
                      <a:pt x="936" y="100"/>
                    </a:lnTo>
                    <a:lnTo>
                      <a:pt x="916" y="98"/>
                    </a:lnTo>
                    <a:lnTo>
                      <a:pt x="916" y="98"/>
                    </a:lnTo>
                    <a:lnTo>
                      <a:pt x="896" y="98"/>
                    </a:lnTo>
                    <a:lnTo>
                      <a:pt x="884" y="100"/>
                    </a:lnTo>
                    <a:lnTo>
                      <a:pt x="876" y="102"/>
                    </a:lnTo>
                    <a:lnTo>
                      <a:pt x="874" y="104"/>
                    </a:lnTo>
                    <a:lnTo>
                      <a:pt x="874" y="106"/>
                    </a:lnTo>
                    <a:lnTo>
                      <a:pt x="876" y="112"/>
                    </a:lnTo>
                    <a:lnTo>
                      <a:pt x="884" y="118"/>
                    </a:lnTo>
                    <a:lnTo>
                      <a:pt x="914" y="138"/>
                    </a:lnTo>
                    <a:lnTo>
                      <a:pt x="914" y="138"/>
                    </a:lnTo>
                    <a:lnTo>
                      <a:pt x="926" y="146"/>
                    </a:lnTo>
                    <a:lnTo>
                      <a:pt x="928" y="148"/>
                    </a:lnTo>
                    <a:lnTo>
                      <a:pt x="928" y="150"/>
                    </a:lnTo>
                    <a:lnTo>
                      <a:pt x="922" y="150"/>
                    </a:lnTo>
                    <a:lnTo>
                      <a:pt x="912" y="148"/>
                    </a:lnTo>
                    <a:lnTo>
                      <a:pt x="900" y="148"/>
                    </a:lnTo>
                    <a:lnTo>
                      <a:pt x="888" y="148"/>
                    </a:lnTo>
                    <a:lnTo>
                      <a:pt x="884" y="148"/>
                    </a:lnTo>
                    <a:lnTo>
                      <a:pt x="882" y="150"/>
                    </a:lnTo>
                    <a:lnTo>
                      <a:pt x="882" y="154"/>
                    </a:lnTo>
                    <a:lnTo>
                      <a:pt x="884" y="158"/>
                    </a:lnTo>
                    <a:lnTo>
                      <a:pt x="884" y="158"/>
                    </a:lnTo>
                    <a:lnTo>
                      <a:pt x="886" y="160"/>
                    </a:lnTo>
                    <a:lnTo>
                      <a:pt x="886" y="162"/>
                    </a:lnTo>
                    <a:lnTo>
                      <a:pt x="878" y="160"/>
                    </a:lnTo>
                    <a:lnTo>
                      <a:pt x="866" y="156"/>
                    </a:lnTo>
                    <a:lnTo>
                      <a:pt x="850" y="150"/>
                    </a:lnTo>
                    <a:lnTo>
                      <a:pt x="834" y="148"/>
                    </a:lnTo>
                    <a:lnTo>
                      <a:pt x="824" y="148"/>
                    </a:lnTo>
                    <a:lnTo>
                      <a:pt x="814" y="148"/>
                    </a:lnTo>
                    <a:lnTo>
                      <a:pt x="806" y="152"/>
                    </a:lnTo>
                    <a:lnTo>
                      <a:pt x="796" y="156"/>
                    </a:lnTo>
                    <a:lnTo>
                      <a:pt x="788" y="164"/>
                    </a:lnTo>
                    <a:lnTo>
                      <a:pt x="782" y="172"/>
                    </a:lnTo>
                    <a:lnTo>
                      <a:pt x="782" y="172"/>
                    </a:lnTo>
                    <a:lnTo>
                      <a:pt x="770" y="190"/>
                    </a:lnTo>
                    <a:lnTo>
                      <a:pt x="772" y="180"/>
                    </a:lnTo>
                    <a:lnTo>
                      <a:pt x="776" y="168"/>
                    </a:lnTo>
                    <a:lnTo>
                      <a:pt x="776" y="154"/>
                    </a:lnTo>
                    <a:lnTo>
                      <a:pt x="774" y="138"/>
                    </a:lnTo>
                    <a:lnTo>
                      <a:pt x="772" y="132"/>
                    </a:lnTo>
                    <a:lnTo>
                      <a:pt x="766" y="124"/>
                    </a:lnTo>
                    <a:lnTo>
                      <a:pt x="766" y="124"/>
                    </a:lnTo>
                    <a:lnTo>
                      <a:pt x="756" y="114"/>
                    </a:lnTo>
                    <a:lnTo>
                      <a:pt x="746" y="108"/>
                    </a:lnTo>
                    <a:lnTo>
                      <a:pt x="732" y="108"/>
                    </a:lnTo>
                    <a:lnTo>
                      <a:pt x="716" y="110"/>
                    </a:lnTo>
                    <a:lnTo>
                      <a:pt x="672" y="120"/>
                    </a:lnTo>
                    <a:lnTo>
                      <a:pt x="640" y="126"/>
                    </a:lnTo>
                    <a:lnTo>
                      <a:pt x="598" y="130"/>
                    </a:lnTo>
                    <a:lnTo>
                      <a:pt x="598" y="130"/>
                    </a:lnTo>
                    <a:lnTo>
                      <a:pt x="558" y="136"/>
                    </a:lnTo>
                    <a:lnTo>
                      <a:pt x="526" y="140"/>
                    </a:lnTo>
                    <a:lnTo>
                      <a:pt x="502" y="146"/>
                    </a:lnTo>
                    <a:lnTo>
                      <a:pt x="484" y="152"/>
                    </a:lnTo>
                    <a:lnTo>
                      <a:pt x="472" y="156"/>
                    </a:lnTo>
                    <a:lnTo>
                      <a:pt x="466" y="164"/>
                    </a:lnTo>
                    <a:lnTo>
                      <a:pt x="466" y="166"/>
                    </a:lnTo>
                    <a:lnTo>
                      <a:pt x="466" y="170"/>
                    </a:lnTo>
                    <a:lnTo>
                      <a:pt x="470" y="176"/>
                    </a:lnTo>
                    <a:lnTo>
                      <a:pt x="470" y="176"/>
                    </a:lnTo>
                    <a:close/>
                  </a:path>
                </a:pathLst>
              </a:custGeom>
              <a:grpFill/>
              <a:ln w="6350">
                <a:noFill/>
                <a:round/>
                <a:headEnd/>
                <a:tailEnd/>
              </a:ln>
            </p:spPr>
            <p:txBody>
              <a:bodyPr/>
              <a:lstStyle/>
              <a:p>
                <a:endParaRPr lang="da-DK" sz="2800" b="1"/>
              </a:p>
            </p:txBody>
          </p:sp>
        </p:grpSp>
        <p:sp>
          <p:nvSpPr>
            <p:cNvPr id="44" name="Freeform 6134">
              <a:extLst>
                <a:ext uri="{FF2B5EF4-FFF2-40B4-BE49-F238E27FC236}">
                  <a16:creationId xmlns:a16="http://schemas.microsoft.com/office/drawing/2014/main" id="{F21F67DB-15ED-44B2-A64F-B21421E9E7E2}"/>
                </a:ext>
              </a:extLst>
            </p:cNvPr>
            <p:cNvSpPr>
              <a:spLocks/>
            </p:cNvSpPr>
            <p:nvPr/>
          </p:nvSpPr>
          <p:spPr bwMode="auto">
            <a:xfrm>
              <a:off x="3549028" y="3600798"/>
              <a:ext cx="3810" cy="5079"/>
            </a:xfrm>
            <a:custGeom>
              <a:avLst/>
              <a:gdLst/>
              <a:ahLst/>
              <a:cxnLst>
                <a:cxn ang="0">
                  <a:pos x="2" y="8"/>
                </a:cxn>
                <a:cxn ang="0">
                  <a:pos x="2" y="8"/>
                </a:cxn>
                <a:cxn ang="0">
                  <a:pos x="4" y="8"/>
                </a:cxn>
                <a:cxn ang="0">
                  <a:pos x="6" y="4"/>
                </a:cxn>
                <a:cxn ang="0">
                  <a:pos x="6" y="2"/>
                </a:cxn>
                <a:cxn ang="0">
                  <a:pos x="6" y="0"/>
                </a:cxn>
                <a:cxn ang="0">
                  <a:pos x="6" y="0"/>
                </a:cxn>
                <a:cxn ang="0">
                  <a:pos x="4" y="2"/>
                </a:cxn>
                <a:cxn ang="0">
                  <a:pos x="2" y="4"/>
                </a:cxn>
                <a:cxn ang="0">
                  <a:pos x="0" y="6"/>
                </a:cxn>
                <a:cxn ang="0">
                  <a:pos x="2" y="8"/>
                </a:cxn>
                <a:cxn ang="0">
                  <a:pos x="2" y="8"/>
                </a:cxn>
              </a:cxnLst>
              <a:rect l="0" t="0" r="r" b="b"/>
              <a:pathLst>
                <a:path w="6" h="8">
                  <a:moveTo>
                    <a:pt x="2" y="8"/>
                  </a:moveTo>
                  <a:lnTo>
                    <a:pt x="2" y="8"/>
                  </a:lnTo>
                  <a:lnTo>
                    <a:pt x="4" y="8"/>
                  </a:lnTo>
                  <a:lnTo>
                    <a:pt x="6" y="4"/>
                  </a:lnTo>
                  <a:lnTo>
                    <a:pt x="6" y="2"/>
                  </a:lnTo>
                  <a:lnTo>
                    <a:pt x="6" y="0"/>
                  </a:lnTo>
                  <a:lnTo>
                    <a:pt x="6" y="0"/>
                  </a:lnTo>
                  <a:lnTo>
                    <a:pt x="4" y="2"/>
                  </a:lnTo>
                  <a:lnTo>
                    <a:pt x="2" y="4"/>
                  </a:lnTo>
                  <a:lnTo>
                    <a:pt x="0" y="6"/>
                  </a:lnTo>
                  <a:lnTo>
                    <a:pt x="2" y="8"/>
                  </a:lnTo>
                  <a:lnTo>
                    <a:pt x="2" y="8"/>
                  </a:lnTo>
                  <a:close/>
                </a:path>
              </a:pathLst>
            </a:custGeom>
            <a:grpFill/>
            <a:ln w="6350">
              <a:noFill/>
              <a:round/>
              <a:headEnd/>
              <a:tailEnd/>
            </a:ln>
          </p:spPr>
          <p:txBody>
            <a:bodyPr/>
            <a:lstStyle/>
            <a:p>
              <a:endParaRPr lang="da-DK" sz="2800" b="1"/>
            </a:p>
          </p:txBody>
        </p:sp>
        <p:sp>
          <p:nvSpPr>
            <p:cNvPr id="45" name="Freeform 6135">
              <a:extLst>
                <a:ext uri="{FF2B5EF4-FFF2-40B4-BE49-F238E27FC236}">
                  <a16:creationId xmlns:a16="http://schemas.microsoft.com/office/drawing/2014/main" id="{A5864DE7-91DE-49B1-A904-77167DC9678D}"/>
                </a:ext>
              </a:extLst>
            </p:cNvPr>
            <p:cNvSpPr>
              <a:spLocks/>
            </p:cNvSpPr>
            <p:nvPr/>
          </p:nvSpPr>
          <p:spPr bwMode="auto">
            <a:xfrm>
              <a:off x="3554396" y="3592522"/>
              <a:ext cx="1587" cy="1587"/>
            </a:xfrm>
            <a:custGeom>
              <a:avLst/>
              <a:gdLst/>
              <a:ahLst/>
              <a:cxnLst>
                <a:cxn ang="0">
                  <a:pos x="0" y="4"/>
                </a:cxn>
                <a:cxn ang="0">
                  <a:pos x="0" y="4"/>
                </a:cxn>
                <a:cxn ang="0">
                  <a:pos x="2" y="4"/>
                </a:cxn>
                <a:cxn ang="0">
                  <a:pos x="4" y="2"/>
                </a:cxn>
                <a:cxn ang="0">
                  <a:pos x="4" y="0"/>
                </a:cxn>
                <a:cxn ang="0">
                  <a:pos x="4" y="0"/>
                </a:cxn>
                <a:cxn ang="0">
                  <a:pos x="2" y="0"/>
                </a:cxn>
                <a:cxn ang="0">
                  <a:pos x="0" y="0"/>
                </a:cxn>
                <a:cxn ang="0">
                  <a:pos x="0" y="2"/>
                </a:cxn>
                <a:cxn ang="0">
                  <a:pos x="0" y="4"/>
                </a:cxn>
                <a:cxn ang="0">
                  <a:pos x="0" y="4"/>
                </a:cxn>
              </a:cxnLst>
              <a:rect l="0" t="0" r="r" b="b"/>
              <a:pathLst>
                <a:path w="4" h="4">
                  <a:moveTo>
                    <a:pt x="0" y="4"/>
                  </a:moveTo>
                  <a:lnTo>
                    <a:pt x="0" y="4"/>
                  </a:lnTo>
                  <a:lnTo>
                    <a:pt x="2" y="4"/>
                  </a:lnTo>
                  <a:lnTo>
                    <a:pt x="4" y="2"/>
                  </a:lnTo>
                  <a:lnTo>
                    <a:pt x="4" y="0"/>
                  </a:lnTo>
                  <a:lnTo>
                    <a:pt x="4" y="0"/>
                  </a:lnTo>
                  <a:lnTo>
                    <a:pt x="2" y="0"/>
                  </a:lnTo>
                  <a:lnTo>
                    <a:pt x="0" y="0"/>
                  </a:lnTo>
                  <a:lnTo>
                    <a:pt x="0" y="2"/>
                  </a:lnTo>
                  <a:lnTo>
                    <a:pt x="0" y="4"/>
                  </a:lnTo>
                  <a:lnTo>
                    <a:pt x="0" y="4"/>
                  </a:lnTo>
                  <a:close/>
                </a:path>
              </a:pathLst>
            </a:custGeom>
            <a:grpFill/>
            <a:ln w="6350">
              <a:noFill/>
              <a:round/>
              <a:headEnd/>
              <a:tailEnd/>
            </a:ln>
          </p:spPr>
          <p:txBody>
            <a:bodyPr/>
            <a:lstStyle/>
            <a:p>
              <a:endParaRPr lang="da-DK" sz="2800" b="1"/>
            </a:p>
          </p:txBody>
        </p:sp>
        <p:sp>
          <p:nvSpPr>
            <p:cNvPr id="46" name="Freeform 6136">
              <a:extLst>
                <a:ext uri="{FF2B5EF4-FFF2-40B4-BE49-F238E27FC236}">
                  <a16:creationId xmlns:a16="http://schemas.microsoft.com/office/drawing/2014/main" id="{7A32448D-E894-442D-ABCA-915E86F1C6CB}"/>
                </a:ext>
              </a:extLst>
            </p:cNvPr>
            <p:cNvSpPr>
              <a:spLocks/>
            </p:cNvSpPr>
            <p:nvPr/>
          </p:nvSpPr>
          <p:spPr bwMode="auto">
            <a:xfrm>
              <a:off x="3542678" y="3591909"/>
              <a:ext cx="3810" cy="5079"/>
            </a:xfrm>
            <a:custGeom>
              <a:avLst/>
              <a:gdLst/>
              <a:ahLst/>
              <a:cxnLst>
                <a:cxn ang="0">
                  <a:pos x="6" y="2"/>
                </a:cxn>
                <a:cxn ang="0">
                  <a:pos x="6" y="2"/>
                </a:cxn>
                <a:cxn ang="0">
                  <a:pos x="4" y="0"/>
                </a:cxn>
                <a:cxn ang="0">
                  <a:pos x="0" y="2"/>
                </a:cxn>
                <a:cxn ang="0">
                  <a:pos x="0" y="6"/>
                </a:cxn>
                <a:cxn ang="0">
                  <a:pos x="0" y="8"/>
                </a:cxn>
                <a:cxn ang="0">
                  <a:pos x="0" y="8"/>
                </a:cxn>
                <a:cxn ang="0">
                  <a:pos x="4" y="6"/>
                </a:cxn>
                <a:cxn ang="0">
                  <a:pos x="6" y="4"/>
                </a:cxn>
                <a:cxn ang="0">
                  <a:pos x="6" y="2"/>
                </a:cxn>
                <a:cxn ang="0">
                  <a:pos x="6" y="2"/>
                </a:cxn>
              </a:cxnLst>
              <a:rect l="0" t="0" r="r" b="b"/>
              <a:pathLst>
                <a:path w="6" h="8">
                  <a:moveTo>
                    <a:pt x="6" y="2"/>
                  </a:moveTo>
                  <a:lnTo>
                    <a:pt x="6" y="2"/>
                  </a:lnTo>
                  <a:lnTo>
                    <a:pt x="4" y="0"/>
                  </a:lnTo>
                  <a:lnTo>
                    <a:pt x="0" y="2"/>
                  </a:lnTo>
                  <a:lnTo>
                    <a:pt x="0" y="6"/>
                  </a:lnTo>
                  <a:lnTo>
                    <a:pt x="0" y="8"/>
                  </a:lnTo>
                  <a:lnTo>
                    <a:pt x="0" y="8"/>
                  </a:lnTo>
                  <a:lnTo>
                    <a:pt x="4" y="6"/>
                  </a:lnTo>
                  <a:lnTo>
                    <a:pt x="6" y="4"/>
                  </a:lnTo>
                  <a:lnTo>
                    <a:pt x="6" y="2"/>
                  </a:lnTo>
                  <a:lnTo>
                    <a:pt x="6" y="2"/>
                  </a:lnTo>
                  <a:close/>
                </a:path>
              </a:pathLst>
            </a:custGeom>
            <a:grpFill/>
            <a:ln w="6350">
              <a:noFill/>
              <a:round/>
              <a:headEnd/>
              <a:tailEnd/>
            </a:ln>
          </p:spPr>
          <p:txBody>
            <a:bodyPr/>
            <a:lstStyle/>
            <a:p>
              <a:endParaRPr lang="da-DK" sz="2800" b="1"/>
            </a:p>
          </p:txBody>
        </p:sp>
        <p:sp>
          <p:nvSpPr>
            <p:cNvPr id="47" name="Freeform 6138">
              <a:extLst>
                <a:ext uri="{FF2B5EF4-FFF2-40B4-BE49-F238E27FC236}">
                  <a16:creationId xmlns:a16="http://schemas.microsoft.com/office/drawing/2014/main" id="{E2A8FD72-A011-4169-AD9D-FCF6B9649AF7}"/>
                </a:ext>
              </a:extLst>
            </p:cNvPr>
            <p:cNvSpPr>
              <a:spLocks/>
            </p:cNvSpPr>
            <p:nvPr/>
          </p:nvSpPr>
          <p:spPr bwMode="auto">
            <a:xfrm>
              <a:off x="3543948" y="3604608"/>
              <a:ext cx="2540" cy="3810"/>
            </a:xfrm>
            <a:custGeom>
              <a:avLst/>
              <a:gdLst/>
              <a:ahLst/>
              <a:cxnLst>
                <a:cxn ang="0">
                  <a:pos x="2" y="0"/>
                </a:cxn>
                <a:cxn ang="0">
                  <a:pos x="2" y="0"/>
                </a:cxn>
                <a:cxn ang="0">
                  <a:pos x="0" y="0"/>
                </a:cxn>
                <a:cxn ang="0">
                  <a:pos x="0" y="2"/>
                </a:cxn>
                <a:cxn ang="0">
                  <a:pos x="0" y="4"/>
                </a:cxn>
                <a:cxn ang="0">
                  <a:pos x="2" y="6"/>
                </a:cxn>
                <a:cxn ang="0">
                  <a:pos x="2" y="6"/>
                </a:cxn>
                <a:cxn ang="0">
                  <a:pos x="4" y="6"/>
                </a:cxn>
                <a:cxn ang="0">
                  <a:pos x="4" y="4"/>
                </a:cxn>
                <a:cxn ang="0">
                  <a:pos x="4" y="2"/>
                </a:cxn>
                <a:cxn ang="0">
                  <a:pos x="2" y="0"/>
                </a:cxn>
                <a:cxn ang="0">
                  <a:pos x="2" y="0"/>
                </a:cxn>
              </a:cxnLst>
              <a:rect l="0" t="0" r="r" b="b"/>
              <a:pathLst>
                <a:path w="4" h="6">
                  <a:moveTo>
                    <a:pt x="2" y="0"/>
                  </a:moveTo>
                  <a:lnTo>
                    <a:pt x="2" y="0"/>
                  </a:lnTo>
                  <a:lnTo>
                    <a:pt x="0" y="0"/>
                  </a:lnTo>
                  <a:lnTo>
                    <a:pt x="0" y="2"/>
                  </a:lnTo>
                  <a:lnTo>
                    <a:pt x="0" y="4"/>
                  </a:lnTo>
                  <a:lnTo>
                    <a:pt x="2" y="6"/>
                  </a:lnTo>
                  <a:lnTo>
                    <a:pt x="2" y="6"/>
                  </a:lnTo>
                  <a:lnTo>
                    <a:pt x="4" y="6"/>
                  </a:lnTo>
                  <a:lnTo>
                    <a:pt x="4" y="4"/>
                  </a:lnTo>
                  <a:lnTo>
                    <a:pt x="4" y="2"/>
                  </a:lnTo>
                  <a:lnTo>
                    <a:pt x="2" y="0"/>
                  </a:lnTo>
                  <a:lnTo>
                    <a:pt x="2" y="0"/>
                  </a:lnTo>
                  <a:close/>
                </a:path>
              </a:pathLst>
            </a:custGeom>
            <a:grpFill/>
            <a:ln w="6350">
              <a:noFill/>
              <a:round/>
              <a:headEnd/>
              <a:tailEnd/>
            </a:ln>
          </p:spPr>
          <p:txBody>
            <a:bodyPr/>
            <a:lstStyle/>
            <a:p>
              <a:endParaRPr lang="da-DK" sz="2800" b="1"/>
            </a:p>
          </p:txBody>
        </p:sp>
        <p:sp>
          <p:nvSpPr>
            <p:cNvPr id="48" name="Freeform 6144">
              <a:extLst>
                <a:ext uri="{FF2B5EF4-FFF2-40B4-BE49-F238E27FC236}">
                  <a16:creationId xmlns:a16="http://schemas.microsoft.com/office/drawing/2014/main" id="{CCA5C82C-14B6-4ACB-B832-B9F1A69E353F}"/>
                </a:ext>
              </a:extLst>
            </p:cNvPr>
            <p:cNvSpPr>
              <a:spLocks/>
            </p:cNvSpPr>
            <p:nvPr/>
          </p:nvSpPr>
          <p:spPr bwMode="auto">
            <a:xfrm>
              <a:off x="3540139" y="3583020"/>
              <a:ext cx="5080" cy="3810"/>
            </a:xfrm>
            <a:custGeom>
              <a:avLst/>
              <a:gdLst/>
              <a:ahLst/>
              <a:cxnLst>
                <a:cxn ang="0">
                  <a:pos x="8" y="2"/>
                </a:cxn>
                <a:cxn ang="0">
                  <a:pos x="8" y="2"/>
                </a:cxn>
                <a:cxn ang="0">
                  <a:pos x="8" y="0"/>
                </a:cxn>
                <a:cxn ang="0">
                  <a:pos x="6" y="0"/>
                </a:cxn>
                <a:cxn ang="0">
                  <a:pos x="4" y="0"/>
                </a:cxn>
                <a:cxn ang="0">
                  <a:pos x="0" y="2"/>
                </a:cxn>
                <a:cxn ang="0">
                  <a:pos x="0" y="4"/>
                </a:cxn>
                <a:cxn ang="0">
                  <a:pos x="0" y="6"/>
                </a:cxn>
                <a:cxn ang="0">
                  <a:pos x="0" y="6"/>
                </a:cxn>
                <a:cxn ang="0">
                  <a:pos x="4" y="6"/>
                </a:cxn>
                <a:cxn ang="0">
                  <a:pos x="8" y="2"/>
                </a:cxn>
                <a:cxn ang="0">
                  <a:pos x="8" y="2"/>
                </a:cxn>
              </a:cxnLst>
              <a:rect l="0" t="0" r="r" b="b"/>
              <a:pathLst>
                <a:path w="8" h="6">
                  <a:moveTo>
                    <a:pt x="8" y="2"/>
                  </a:moveTo>
                  <a:lnTo>
                    <a:pt x="8" y="2"/>
                  </a:lnTo>
                  <a:lnTo>
                    <a:pt x="8" y="0"/>
                  </a:lnTo>
                  <a:lnTo>
                    <a:pt x="6" y="0"/>
                  </a:lnTo>
                  <a:lnTo>
                    <a:pt x="4" y="0"/>
                  </a:lnTo>
                  <a:lnTo>
                    <a:pt x="0" y="2"/>
                  </a:lnTo>
                  <a:lnTo>
                    <a:pt x="0" y="4"/>
                  </a:lnTo>
                  <a:lnTo>
                    <a:pt x="0" y="6"/>
                  </a:lnTo>
                  <a:lnTo>
                    <a:pt x="0" y="6"/>
                  </a:lnTo>
                  <a:lnTo>
                    <a:pt x="4" y="6"/>
                  </a:lnTo>
                  <a:lnTo>
                    <a:pt x="8" y="2"/>
                  </a:lnTo>
                  <a:lnTo>
                    <a:pt x="8" y="2"/>
                  </a:lnTo>
                  <a:close/>
                </a:path>
              </a:pathLst>
            </a:custGeom>
            <a:grpFill/>
            <a:ln w="6350">
              <a:noFill/>
              <a:round/>
              <a:headEnd/>
              <a:tailEnd/>
            </a:ln>
          </p:spPr>
          <p:txBody>
            <a:bodyPr/>
            <a:lstStyle/>
            <a:p>
              <a:endParaRPr lang="da-DK" sz="2800" b="1"/>
            </a:p>
          </p:txBody>
        </p:sp>
        <p:sp>
          <p:nvSpPr>
            <p:cNvPr id="49" name="Freeform 6149">
              <a:extLst>
                <a:ext uri="{FF2B5EF4-FFF2-40B4-BE49-F238E27FC236}">
                  <a16:creationId xmlns:a16="http://schemas.microsoft.com/office/drawing/2014/main" id="{92482C87-ECD0-452B-88D1-3767111FD29F}"/>
                </a:ext>
              </a:extLst>
            </p:cNvPr>
            <p:cNvSpPr>
              <a:spLocks/>
            </p:cNvSpPr>
            <p:nvPr/>
          </p:nvSpPr>
          <p:spPr bwMode="auto">
            <a:xfrm>
              <a:off x="3533758" y="3592522"/>
              <a:ext cx="3175" cy="1587"/>
            </a:xfrm>
            <a:custGeom>
              <a:avLst/>
              <a:gdLst/>
              <a:ahLst/>
              <a:cxnLst>
                <a:cxn ang="0">
                  <a:pos x="0" y="4"/>
                </a:cxn>
                <a:cxn ang="0">
                  <a:pos x="0" y="4"/>
                </a:cxn>
                <a:cxn ang="0">
                  <a:pos x="2" y="4"/>
                </a:cxn>
                <a:cxn ang="0">
                  <a:pos x="6" y="2"/>
                </a:cxn>
                <a:cxn ang="0">
                  <a:pos x="6" y="2"/>
                </a:cxn>
                <a:cxn ang="0">
                  <a:pos x="6" y="0"/>
                </a:cxn>
                <a:cxn ang="0">
                  <a:pos x="2" y="2"/>
                </a:cxn>
                <a:cxn ang="0">
                  <a:pos x="0" y="2"/>
                </a:cxn>
                <a:cxn ang="0">
                  <a:pos x="0" y="4"/>
                </a:cxn>
                <a:cxn ang="0">
                  <a:pos x="0" y="4"/>
                </a:cxn>
              </a:cxnLst>
              <a:rect l="0" t="0" r="r" b="b"/>
              <a:pathLst>
                <a:path w="6" h="4">
                  <a:moveTo>
                    <a:pt x="0" y="4"/>
                  </a:moveTo>
                  <a:lnTo>
                    <a:pt x="0" y="4"/>
                  </a:lnTo>
                  <a:lnTo>
                    <a:pt x="2" y="4"/>
                  </a:lnTo>
                  <a:lnTo>
                    <a:pt x="6" y="2"/>
                  </a:lnTo>
                  <a:lnTo>
                    <a:pt x="6" y="2"/>
                  </a:lnTo>
                  <a:lnTo>
                    <a:pt x="6" y="0"/>
                  </a:lnTo>
                  <a:lnTo>
                    <a:pt x="2" y="2"/>
                  </a:lnTo>
                  <a:lnTo>
                    <a:pt x="0" y="2"/>
                  </a:lnTo>
                  <a:lnTo>
                    <a:pt x="0" y="4"/>
                  </a:lnTo>
                  <a:lnTo>
                    <a:pt x="0" y="4"/>
                  </a:lnTo>
                  <a:close/>
                </a:path>
              </a:pathLst>
            </a:custGeom>
            <a:grpFill/>
            <a:ln w="6350">
              <a:noFill/>
              <a:round/>
              <a:headEnd/>
              <a:tailEnd/>
            </a:ln>
          </p:spPr>
          <p:txBody>
            <a:bodyPr/>
            <a:lstStyle/>
            <a:p>
              <a:endParaRPr lang="da-DK" sz="2800" b="1"/>
            </a:p>
          </p:txBody>
        </p:sp>
        <p:sp>
          <p:nvSpPr>
            <p:cNvPr id="50" name="Freeform 6150">
              <a:extLst>
                <a:ext uri="{FF2B5EF4-FFF2-40B4-BE49-F238E27FC236}">
                  <a16:creationId xmlns:a16="http://schemas.microsoft.com/office/drawing/2014/main" id="{CB088F5A-280C-4515-A7A2-3EF86025EE61}"/>
                </a:ext>
              </a:extLst>
            </p:cNvPr>
            <p:cNvSpPr>
              <a:spLocks/>
            </p:cNvSpPr>
            <p:nvPr/>
          </p:nvSpPr>
          <p:spPr bwMode="auto">
            <a:xfrm>
              <a:off x="3536329" y="3600798"/>
              <a:ext cx="3810" cy="2540"/>
            </a:xfrm>
            <a:custGeom>
              <a:avLst/>
              <a:gdLst/>
              <a:ahLst/>
              <a:cxnLst>
                <a:cxn ang="0">
                  <a:pos x="4" y="0"/>
                </a:cxn>
                <a:cxn ang="0">
                  <a:pos x="4" y="0"/>
                </a:cxn>
                <a:cxn ang="0">
                  <a:pos x="2" y="2"/>
                </a:cxn>
                <a:cxn ang="0">
                  <a:pos x="0" y="2"/>
                </a:cxn>
                <a:cxn ang="0">
                  <a:pos x="2" y="4"/>
                </a:cxn>
                <a:cxn ang="0">
                  <a:pos x="4" y="4"/>
                </a:cxn>
                <a:cxn ang="0">
                  <a:pos x="4" y="4"/>
                </a:cxn>
                <a:cxn ang="0">
                  <a:pos x="6" y="2"/>
                </a:cxn>
                <a:cxn ang="0">
                  <a:pos x="6" y="2"/>
                </a:cxn>
                <a:cxn ang="0">
                  <a:pos x="4" y="0"/>
                </a:cxn>
                <a:cxn ang="0">
                  <a:pos x="4" y="0"/>
                </a:cxn>
              </a:cxnLst>
              <a:rect l="0" t="0" r="r" b="b"/>
              <a:pathLst>
                <a:path w="6" h="4">
                  <a:moveTo>
                    <a:pt x="4" y="0"/>
                  </a:moveTo>
                  <a:lnTo>
                    <a:pt x="4" y="0"/>
                  </a:lnTo>
                  <a:lnTo>
                    <a:pt x="2" y="2"/>
                  </a:lnTo>
                  <a:lnTo>
                    <a:pt x="0" y="2"/>
                  </a:lnTo>
                  <a:lnTo>
                    <a:pt x="2" y="4"/>
                  </a:lnTo>
                  <a:lnTo>
                    <a:pt x="4" y="4"/>
                  </a:lnTo>
                  <a:lnTo>
                    <a:pt x="4" y="4"/>
                  </a:lnTo>
                  <a:lnTo>
                    <a:pt x="6" y="2"/>
                  </a:lnTo>
                  <a:lnTo>
                    <a:pt x="6" y="2"/>
                  </a:lnTo>
                  <a:lnTo>
                    <a:pt x="4" y="0"/>
                  </a:lnTo>
                  <a:lnTo>
                    <a:pt x="4" y="0"/>
                  </a:lnTo>
                  <a:close/>
                </a:path>
              </a:pathLst>
            </a:custGeom>
            <a:grpFill/>
            <a:ln w="6350">
              <a:noFill/>
              <a:round/>
              <a:headEnd/>
              <a:tailEnd/>
            </a:ln>
          </p:spPr>
          <p:txBody>
            <a:bodyPr/>
            <a:lstStyle/>
            <a:p>
              <a:endParaRPr lang="da-DK" sz="2800" b="1"/>
            </a:p>
          </p:txBody>
        </p:sp>
      </p:grpSp>
      <p:sp>
        <p:nvSpPr>
          <p:cNvPr id="98" name="Oval 97">
            <a:extLst>
              <a:ext uri="{FF2B5EF4-FFF2-40B4-BE49-F238E27FC236}">
                <a16:creationId xmlns:a16="http://schemas.microsoft.com/office/drawing/2014/main" id="{92807911-ECE3-40E5-B2B5-23C12B170699}"/>
              </a:ext>
            </a:extLst>
          </p:cNvPr>
          <p:cNvSpPr/>
          <p:nvPr/>
        </p:nvSpPr>
        <p:spPr>
          <a:xfrm>
            <a:off x="18129061" y="9651066"/>
            <a:ext cx="2470315" cy="247031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rPr>
              <a:t>25%</a:t>
            </a:r>
          </a:p>
        </p:txBody>
      </p:sp>
      <p:sp>
        <p:nvSpPr>
          <p:cNvPr id="99" name="Oval 98">
            <a:extLst>
              <a:ext uri="{FF2B5EF4-FFF2-40B4-BE49-F238E27FC236}">
                <a16:creationId xmlns:a16="http://schemas.microsoft.com/office/drawing/2014/main" id="{8054216E-E469-466E-A308-CA6706CD91E3}"/>
              </a:ext>
            </a:extLst>
          </p:cNvPr>
          <p:cNvSpPr/>
          <p:nvPr/>
        </p:nvSpPr>
        <p:spPr>
          <a:xfrm>
            <a:off x="19491214" y="3689454"/>
            <a:ext cx="2470315" cy="247031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rPr>
              <a:t>75%</a:t>
            </a:r>
          </a:p>
        </p:txBody>
      </p:sp>
      <p:sp>
        <p:nvSpPr>
          <p:cNvPr id="100" name="Oval 99">
            <a:extLst>
              <a:ext uri="{FF2B5EF4-FFF2-40B4-BE49-F238E27FC236}">
                <a16:creationId xmlns:a16="http://schemas.microsoft.com/office/drawing/2014/main" id="{54A879F8-A92B-4339-8D51-9F3152ACD32C}"/>
              </a:ext>
            </a:extLst>
          </p:cNvPr>
          <p:cNvSpPr/>
          <p:nvPr/>
        </p:nvSpPr>
        <p:spPr>
          <a:xfrm>
            <a:off x="9522435" y="3198930"/>
            <a:ext cx="2470315" cy="247031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rPr>
              <a:t>60%</a:t>
            </a:r>
          </a:p>
        </p:txBody>
      </p:sp>
      <p:sp>
        <p:nvSpPr>
          <p:cNvPr id="101" name="Oval 100">
            <a:extLst>
              <a:ext uri="{FF2B5EF4-FFF2-40B4-BE49-F238E27FC236}">
                <a16:creationId xmlns:a16="http://schemas.microsoft.com/office/drawing/2014/main" id="{D1C788FD-FEEB-47C6-952C-CC47F4EA8679}"/>
              </a:ext>
            </a:extLst>
          </p:cNvPr>
          <p:cNvSpPr/>
          <p:nvPr/>
        </p:nvSpPr>
        <p:spPr>
          <a:xfrm>
            <a:off x="7589641" y="6433230"/>
            <a:ext cx="2470315" cy="247031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rPr>
              <a:t>35%</a:t>
            </a:r>
          </a:p>
        </p:txBody>
      </p:sp>
      <p:sp>
        <p:nvSpPr>
          <p:cNvPr id="102" name="Oval 101">
            <a:extLst>
              <a:ext uri="{FF2B5EF4-FFF2-40B4-BE49-F238E27FC236}">
                <a16:creationId xmlns:a16="http://schemas.microsoft.com/office/drawing/2014/main" id="{4C8D2778-D499-4664-85CB-035F3F7EA4E8}"/>
              </a:ext>
            </a:extLst>
          </p:cNvPr>
          <p:cNvSpPr/>
          <p:nvPr/>
        </p:nvSpPr>
        <p:spPr>
          <a:xfrm>
            <a:off x="9504557" y="9651066"/>
            <a:ext cx="2470315" cy="247031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rPr>
              <a:t>80%</a:t>
            </a:r>
          </a:p>
        </p:txBody>
      </p:sp>
      <p:sp>
        <p:nvSpPr>
          <p:cNvPr id="103" name="Oval 102">
            <a:extLst>
              <a:ext uri="{FF2B5EF4-FFF2-40B4-BE49-F238E27FC236}">
                <a16:creationId xmlns:a16="http://schemas.microsoft.com/office/drawing/2014/main" id="{960F4B1C-0832-4075-8DDF-AA63E7F3EF2C}"/>
              </a:ext>
            </a:extLst>
          </p:cNvPr>
          <p:cNvSpPr/>
          <p:nvPr/>
        </p:nvSpPr>
        <p:spPr>
          <a:xfrm>
            <a:off x="15386258" y="2996208"/>
            <a:ext cx="2470315" cy="247031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rPr>
              <a:t>50%</a:t>
            </a:r>
          </a:p>
        </p:txBody>
      </p:sp>
      <p:graphicFrame>
        <p:nvGraphicFramePr>
          <p:cNvPr id="104" name="Chart 103">
            <a:extLst>
              <a:ext uri="{FF2B5EF4-FFF2-40B4-BE49-F238E27FC236}">
                <a16:creationId xmlns:a16="http://schemas.microsoft.com/office/drawing/2014/main" id="{BCAF83FE-EAD5-4360-A052-7614361672BD}"/>
              </a:ext>
            </a:extLst>
          </p:cNvPr>
          <p:cNvGraphicFramePr/>
          <p:nvPr/>
        </p:nvGraphicFramePr>
        <p:xfrm>
          <a:off x="18005546" y="9554591"/>
          <a:ext cx="2717349" cy="266326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5" name="Chart 104">
            <a:extLst>
              <a:ext uri="{FF2B5EF4-FFF2-40B4-BE49-F238E27FC236}">
                <a16:creationId xmlns:a16="http://schemas.microsoft.com/office/drawing/2014/main" id="{8AAC29FD-3B6F-4B09-B23E-92C332A3FF6C}"/>
              </a:ext>
            </a:extLst>
          </p:cNvPr>
          <p:cNvGraphicFramePr/>
          <p:nvPr/>
        </p:nvGraphicFramePr>
        <p:xfrm>
          <a:off x="19367701" y="3592981"/>
          <a:ext cx="2717349" cy="266326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6" name="Chart 105">
            <a:extLst>
              <a:ext uri="{FF2B5EF4-FFF2-40B4-BE49-F238E27FC236}">
                <a16:creationId xmlns:a16="http://schemas.microsoft.com/office/drawing/2014/main" id="{F5AFEB1A-9CED-4D12-9F2A-AF2D53C1F8B0}"/>
              </a:ext>
            </a:extLst>
          </p:cNvPr>
          <p:cNvGraphicFramePr/>
          <p:nvPr/>
        </p:nvGraphicFramePr>
        <p:xfrm>
          <a:off x="9398918" y="3096150"/>
          <a:ext cx="2717349" cy="266326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7" name="Chart 106">
            <a:extLst>
              <a:ext uri="{FF2B5EF4-FFF2-40B4-BE49-F238E27FC236}">
                <a16:creationId xmlns:a16="http://schemas.microsoft.com/office/drawing/2014/main" id="{E051AC9C-8787-43C9-9894-BB4C4ED16409}"/>
              </a:ext>
            </a:extLst>
          </p:cNvPr>
          <p:cNvGraphicFramePr/>
          <p:nvPr/>
        </p:nvGraphicFramePr>
        <p:xfrm>
          <a:off x="9381042" y="9554591"/>
          <a:ext cx="2717349" cy="266326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8" name="Chart 107">
            <a:extLst>
              <a:ext uri="{FF2B5EF4-FFF2-40B4-BE49-F238E27FC236}">
                <a16:creationId xmlns:a16="http://schemas.microsoft.com/office/drawing/2014/main" id="{06622DFF-C5AB-492E-A67E-81A68FB3B9DA}"/>
              </a:ext>
            </a:extLst>
          </p:cNvPr>
          <p:cNvGraphicFramePr/>
          <p:nvPr/>
        </p:nvGraphicFramePr>
        <p:xfrm>
          <a:off x="7466126" y="6336757"/>
          <a:ext cx="2717349" cy="266326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9" name="Chart 108">
            <a:extLst>
              <a:ext uri="{FF2B5EF4-FFF2-40B4-BE49-F238E27FC236}">
                <a16:creationId xmlns:a16="http://schemas.microsoft.com/office/drawing/2014/main" id="{5548A5B4-5BAD-4221-A875-8E5CA1C574F8}"/>
              </a:ext>
            </a:extLst>
          </p:cNvPr>
          <p:cNvGraphicFramePr/>
          <p:nvPr/>
        </p:nvGraphicFramePr>
        <p:xfrm>
          <a:off x="15262743" y="2899735"/>
          <a:ext cx="2717349" cy="2663265"/>
        </p:xfrm>
        <a:graphic>
          <a:graphicData uri="http://schemas.openxmlformats.org/drawingml/2006/chart">
            <c:chart xmlns:c="http://schemas.openxmlformats.org/drawingml/2006/chart" xmlns:r="http://schemas.openxmlformats.org/officeDocument/2006/relationships" r:id="rId7"/>
          </a:graphicData>
        </a:graphic>
      </p:graphicFrame>
      <p:sp>
        <p:nvSpPr>
          <p:cNvPr id="110" name="Oval 109">
            <a:extLst>
              <a:ext uri="{FF2B5EF4-FFF2-40B4-BE49-F238E27FC236}">
                <a16:creationId xmlns:a16="http://schemas.microsoft.com/office/drawing/2014/main" id="{EDBD0F1D-6576-47C9-A84B-D246BFC5A5A2}"/>
              </a:ext>
            </a:extLst>
          </p:cNvPr>
          <p:cNvSpPr/>
          <p:nvPr/>
        </p:nvSpPr>
        <p:spPr>
          <a:xfrm>
            <a:off x="13781715" y="6847158"/>
            <a:ext cx="111811" cy="111811"/>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cxnSp>
        <p:nvCxnSpPr>
          <p:cNvPr id="111" name="Connector: Elbow 110">
            <a:extLst>
              <a:ext uri="{FF2B5EF4-FFF2-40B4-BE49-F238E27FC236}">
                <a16:creationId xmlns:a16="http://schemas.microsoft.com/office/drawing/2014/main" id="{4FE69E66-88F1-4981-BAF9-98E4BE96860A}"/>
              </a:ext>
            </a:extLst>
          </p:cNvPr>
          <p:cNvCxnSpPr>
            <a:stCxn id="100" idx="6"/>
            <a:endCxn id="110" idx="2"/>
          </p:cNvCxnSpPr>
          <p:nvPr/>
        </p:nvCxnSpPr>
        <p:spPr>
          <a:xfrm>
            <a:off x="11992750" y="4434088"/>
            <a:ext cx="1788964" cy="246897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0152578F-0186-4C10-991E-87BC0BAABA49}"/>
              </a:ext>
            </a:extLst>
          </p:cNvPr>
          <p:cNvSpPr/>
          <p:nvPr/>
        </p:nvSpPr>
        <p:spPr>
          <a:xfrm>
            <a:off x="10645781" y="6554209"/>
            <a:ext cx="111811" cy="11181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cxnSp>
        <p:nvCxnSpPr>
          <p:cNvPr id="113" name="Connector: Elbow 112">
            <a:extLst>
              <a:ext uri="{FF2B5EF4-FFF2-40B4-BE49-F238E27FC236}">
                <a16:creationId xmlns:a16="http://schemas.microsoft.com/office/drawing/2014/main" id="{DC65BECF-9314-46A7-9121-9CCF05C3942A}"/>
              </a:ext>
            </a:extLst>
          </p:cNvPr>
          <p:cNvCxnSpPr>
            <a:cxnSpLocks/>
            <a:stCxn id="101" idx="6"/>
            <a:endCxn id="112" idx="2"/>
          </p:cNvCxnSpPr>
          <p:nvPr/>
        </p:nvCxnSpPr>
        <p:spPr>
          <a:xfrm flipV="1">
            <a:off x="10059957" y="6610115"/>
            <a:ext cx="585824" cy="1058273"/>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4" name="Oval 113">
            <a:extLst>
              <a:ext uri="{FF2B5EF4-FFF2-40B4-BE49-F238E27FC236}">
                <a16:creationId xmlns:a16="http://schemas.microsoft.com/office/drawing/2014/main" id="{AB2F52C3-AC20-498C-AD5E-4FE5B8415EF4}"/>
              </a:ext>
            </a:extLst>
          </p:cNvPr>
          <p:cNvSpPr/>
          <p:nvPr/>
        </p:nvSpPr>
        <p:spPr>
          <a:xfrm>
            <a:off x="14438048" y="8631309"/>
            <a:ext cx="111811" cy="11181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cxnSp>
        <p:nvCxnSpPr>
          <p:cNvPr id="115" name="Connector: Elbow 114">
            <a:extLst>
              <a:ext uri="{FF2B5EF4-FFF2-40B4-BE49-F238E27FC236}">
                <a16:creationId xmlns:a16="http://schemas.microsoft.com/office/drawing/2014/main" id="{65DAF8AB-6540-4BA4-977C-74E0275311D9}"/>
              </a:ext>
            </a:extLst>
          </p:cNvPr>
          <p:cNvCxnSpPr>
            <a:cxnSpLocks/>
            <a:stCxn id="102" idx="6"/>
            <a:endCxn id="114" idx="2"/>
          </p:cNvCxnSpPr>
          <p:nvPr/>
        </p:nvCxnSpPr>
        <p:spPr>
          <a:xfrm flipV="1">
            <a:off x="11974872" y="8687215"/>
            <a:ext cx="2463176" cy="2199009"/>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Oval 115">
            <a:extLst>
              <a:ext uri="{FF2B5EF4-FFF2-40B4-BE49-F238E27FC236}">
                <a16:creationId xmlns:a16="http://schemas.microsoft.com/office/drawing/2014/main" id="{2B3AF0A7-9A4D-4952-BC22-77CF6BAC9D34}"/>
              </a:ext>
            </a:extLst>
          </p:cNvPr>
          <p:cNvSpPr/>
          <p:nvPr/>
        </p:nvSpPr>
        <p:spPr>
          <a:xfrm>
            <a:off x="17450998" y="7071949"/>
            <a:ext cx="111811" cy="111811"/>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cxnSp>
        <p:nvCxnSpPr>
          <p:cNvPr id="117" name="Connector: Elbow 116">
            <a:extLst>
              <a:ext uri="{FF2B5EF4-FFF2-40B4-BE49-F238E27FC236}">
                <a16:creationId xmlns:a16="http://schemas.microsoft.com/office/drawing/2014/main" id="{E4CB6D33-1328-4813-B09B-D1DCF1BC66A6}"/>
              </a:ext>
            </a:extLst>
          </p:cNvPr>
          <p:cNvCxnSpPr>
            <a:cxnSpLocks/>
            <a:stCxn id="103" idx="4"/>
            <a:endCxn id="116" idx="0"/>
          </p:cNvCxnSpPr>
          <p:nvPr/>
        </p:nvCxnSpPr>
        <p:spPr>
          <a:xfrm rot="16200000" flipH="1">
            <a:off x="16261448" y="5826489"/>
            <a:ext cx="1605425" cy="885490"/>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Oval 117">
            <a:extLst>
              <a:ext uri="{FF2B5EF4-FFF2-40B4-BE49-F238E27FC236}">
                <a16:creationId xmlns:a16="http://schemas.microsoft.com/office/drawing/2014/main" id="{0FF4760C-CE9F-45C2-BA4F-CE184395D0A4}"/>
              </a:ext>
            </a:extLst>
          </p:cNvPr>
          <p:cNvSpPr/>
          <p:nvPr/>
        </p:nvSpPr>
        <p:spPr>
          <a:xfrm>
            <a:off x="18371838" y="8091859"/>
            <a:ext cx="111811" cy="11181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cxnSp>
        <p:nvCxnSpPr>
          <p:cNvPr id="119" name="Connector: Elbow 118">
            <a:extLst>
              <a:ext uri="{FF2B5EF4-FFF2-40B4-BE49-F238E27FC236}">
                <a16:creationId xmlns:a16="http://schemas.microsoft.com/office/drawing/2014/main" id="{91483BBB-6E1F-4EF9-AB50-26F045FBAD04}"/>
              </a:ext>
            </a:extLst>
          </p:cNvPr>
          <p:cNvCxnSpPr>
            <a:cxnSpLocks/>
            <a:stCxn id="105" idx="2"/>
            <a:endCxn id="118" idx="6"/>
          </p:cNvCxnSpPr>
          <p:nvPr/>
        </p:nvCxnSpPr>
        <p:spPr>
          <a:xfrm rot="5400000">
            <a:off x="18659253" y="6080641"/>
            <a:ext cx="1891519" cy="2242726"/>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9A41A179-D58B-4B15-ADA7-9F322EFFEBE7}"/>
              </a:ext>
            </a:extLst>
          </p:cNvPr>
          <p:cNvSpPr/>
          <p:nvPr/>
        </p:nvSpPr>
        <p:spPr>
          <a:xfrm>
            <a:off x="15958597" y="9925819"/>
            <a:ext cx="111811" cy="11181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cxnSp>
        <p:nvCxnSpPr>
          <p:cNvPr id="121" name="Connector: Elbow 120">
            <a:extLst>
              <a:ext uri="{FF2B5EF4-FFF2-40B4-BE49-F238E27FC236}">
                <a16:creationId xmlns:a16="http://schemas.microsoft.com/office/drawing/2014/main" id="{E8D3E566-2D85-4664-B4D4-4B496CAA731A}"/>
              </a:ext>
            </a:extLst>
          </p:cNvPr>
          <p:cNvCxnSpPr>
            <a:cxnSpLocks/>
            <a:stCxn id="120" idx="6"/>
            <a:endCxn id="104" idx="0"/>
          </p:cNvCxnSpPr>
          <p:nvPr/>
        </p:nvCxnSpPr>
        <p:spPr>
          <a:xfrm flipV="1">
            <a:off x="16070408" y="9554592"/>
            <a:ext cx="3293812" cy="427134"/>
          </a:xfrm>
          <a:prstGeom prst="bentConnector4">
            <a:avLst>
              <a:gd name="adj1" fmla="val 29375"/>
              <a:gd name="adj2" fmla="val 20703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01E91275-6717-0740-A6A1-234FE2C6072B}"/>
              </a:ext>
            </a:extLst>
          </p:cNvPr>
          <p:cNvSpPr/>
          <p:nvPr/>
        </p:nvSpPr>
        <p:spPr>
          <a:xfrm>
            <a:off x="1257299" y="7114463"/>
            <a:ext cx="5459585" cy="2585323"/>
          </a:xfrm>
          <a:prstGeom prst="rect">
            <a:avLst/>
          </a:prstGeom>
        </p:spPr>
        <p:txBody>
          <a:bodyPr wrap="square" lIns="0" tIns="0" rIns="0" bIns="0">
            <a:spAutoFit/>
          </a:bodyPr>
          <a:lstStyle/>
          <a:p>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Duis </a:t>
            </a:r>
            <a:r>
              <a:rPr lang="en-US" sz="2800" dirty="0" err="1"/>
              <a:t>suscipit</a:t>
            </a:r>
            <a:r>
              <a:rPr lang="en-US" sz="2800" dirty="0"/>
              <a:t> in </a:t>
            </a:r>
            <a:r>
              <a:rPr lang="en-US" sz="2800" dirty="0" err="1"/>
              <a:t>tellus</a:t>
            </a:r>
            <a:r>
              <a:rPr lang="en-US" sz="2800" dirty="0"/>
              <a:t> ac </a:t>
            </a:r>
            <a:r>
              <a:rPr lang="en-US" sz="2800" dirty="0" err="1"/>
              <a:t>bibendum</a:t>
            </a:r>
            <a:r>
              <a:rPr lang="en-US" sz="2800" dirty="0"/>
              <a:t>. Sed </a:t>
            </a:r>
            <a:r>
              <a:rPr lang="en-US" sz="2800" dirty="0" err="1"/>
              <a:t>congue</a:t>
            </a:r>
            <a:r>
              <a:rPr lang="en-US" sz="2800" dirty="0"/>
              <a:t> </a:t>
            </a:r>
            <a:r>
              <a:rPr lang="en-US" sz="2800" dirty="0" err="1"/>
              <a:t>lacus</a:t>
            </a:r>
            <a:r>
              <a:rPr lang="en-US" sz="2800" dirty="0"/>
              <a:t> vitae </a:t>
            </a:r>
            <a:r>
              <a:rPr lang="en-US" sz="2800" dirty="0" err="1"/>
              <a:t>tellus</a:t>
            </a:r>
            <a:r>
              <a:rPr lang="en-US" sz="2800" dirty="0"/>
              <a:t> </a:t>
            </a:r>
            <a:r>
              <a:rPr lang="en-US" sz="2800" dirty="0" err="1"/>
              <a:t>finibus</a:t>
            </a:r>
            <a:r>
              <a:rPr lang="en-US" sz="2800" dirty="0"/>
              <a:t>, </a:t>
            </a:r>
            <a:r>
              <a:rPr lang="en-US" sz="2800" dirty="0" err="1"/>
              <a:t>eu</a:t>
            </a:r>
            <a:r>
              <a:rPr lang="en-US" sz="2800" dirty="0"/>
              <a:t> </a:t>
            </a:r>
            <a:r>
              <a:rPr lang="en-US" sz="2800" dirty="0" err="1"/>
              <a:t>faucibus</a:t>
            </a:r>
            <a:r>
              <a:rPr lang="en-US" sz="2800" dirty="0"/>
              <a:t> nisi </a:t>
            </a:r>
            <a:r>
              <a:rPr lang="en-US" sz="2800" dirty="0" err="1"/>
              <a:t>ullamcorper</a:t>
            </a:r>
            <a:r>
              <a:rPr lang="en-US" sz="2800" dirty="0"/>
              <a:t>. </a:t>
            </a:r>
          </a:p>
        </p:txBody>
      </p:sp>
    </p:spTree>
    <p:extLst>
      <p:ext uri="{BB962C8B-B14F-4D97-AF65-F5344CB8AC3E}">
        <p14:creationId xmlns:p14="http://schemas.microsoft.com/office/powerpoint/2010/main" val="226479941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arallelogram 8">
            <a:extLst>
              <a:ext uri="{FF2B5EF4-FFF2-40B4-BE49-F238E27FC236}">
                <a16:creationId xmlns:a16="http://schemas.microsoft.com/office/drawing/2014/main" id="{075E2362-2438-4FB5-AE62-41592F151462}"/>
              </a:ext>
            </a:extLst>
          </p:cNvPr>
          <p:cNvSpPr/>
          <p:nvPr/>
        </p:nvSpPr>
        <p:spPr>
          <a:xfrm>
            <a:off x="10787948" y="3164412"/>
            <a:ext cx="11864570" cy="2171559"/>
          </a:xfrm>
          <a:prstGeom prst="parallelogram">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45" name="Parallelogram 44">
            <a:extLst>
              <a:ext uri="{FF2B5EF4-FFF2-40B4-BE49-F238E27FC236}">
                <a16:creationId xmlns:a16="http://schemas.microsoft.com/office/drawing/2014/main" id="{1C4590A3-D344-4733-96F0-F01B49F63CB3}"/>
              </a:ext>
            </a:extLst>
          </p:cNvPr>
          <p:cNvSpPr/>
          <p:nvPr/>
        </p:nvSpPr>
        <p:spPr>
          <a:xfrm>
            <a:off x="10787948" y="6014807"/>
            <a:ext cx="11864570" cy="2171559"/>
          </a:xfrm>
          <a:prstGeom prst="parallelogram">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46" name="Parallelogram 45">
            <a:extLst>
              <a:ext uri="{FF2B5EF4-FFF2-40B4-BE49-F238E27FC236}">
                <a16:creationId xmlns:a16="http://schemas.microsoft.com/office/drawing/2014/main" id="{040944CF-086E-4C9E-96B1-6A8D82B206AD}"/>
              </a:ext>
            </a:extLst>
          </p:cNvPr>
          <p:cNvSpPr/>
          <p:nvPr/>
        </p:nvSpPr>
        <p:spPr>
          <a:xfrm>
            <a:off x="10787948" y="8865201"/>
            <a:ext cx="11864570" cy="2171559"/>
          </a:xfrm>
          <a:prstGeom prst="parallelogram">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43" name="Rectangle 42">
            <a:extLst>
              <a:ext uri="{FF2B5EF4-FFF2-40B4-BE49-F238E27FC236}">
                <a16:creationId xmlns:a16="http://schemas.microsoft.com/office/drawing/2014/main" id="{642B5FEB-DE04-4A0F-90D7-ABE72EFF2ADB}"/>
              </a:ext>
            </a:extLst>
          </p:cNvPr>
          <p:cNvSpPr/>
          <p:nvPr/>
        </p:nvSpPr>
        <p:spPr>
          <a:xfrm>
            <a:off x="1248333" y="2860675"/>
            <a:ext cx="10942874" cy="88661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prstClr val="white"/>
              </a:solidFill>
            </a:endParaRPr>
          </a:p>
        </p:txBody>
      </p:sp>
      <p:sp>
        <p:nvSpPr>
          <p:cNvPr id="143" name="Slide Number Placeholder 142">
            <a:extLst>
              <a:ext uri="{FF2B5EF4-FFF2-40B4-BE49-F238E27FC236}">
                <a16:creationId xmlns:a16="http://schemas.microsoft.com/office/drawing/2014/main" id="{F0C912A4-DC8D-4B44-AACF-327C575270BF}"/>
              </a:ext>
            </a:extLst>
          </p:cNvPr>
          <p:cNvSpPr>
            <a:spLocks noGrp="1"/>
          </p:cNvSpPr>
          <p:nvPr>
            <p:ph type="sldNum" sz="quarter" idx="12"/>
          </p:nvPr>
        </p:nvSpPr>
        <p:spPr>
          <a:xfrm>
            <a:off x="5259648" y="6561451"/>
            <a:ext cx="2743200" cy="184666"/>
          </a:xfrm>
          <a:prstGeom prst="rect">
            <a:avLst/>
          </a:prstGeom>
        </p:spPr>
        <p:txBody>
          <a:bodyPr vert="horz" lIns="0" tIns="0" rIns="0" bIns="0" rtlCol="0" anchor="ctr">
            <a:spAutoFit/>
          </a:bodyPr>
          <a:lstStyle>
            <a:defPPr>
              <a:defRPr lang="en-US"/>
            </a:defPPr>
            <a:lvl1pPr marL="0" algn="ctr" defTabSz="914400" rtl="0" eaLnBrk="1" latinLnBrk="0" hangingPunct="1">
              <a:defRPr sz="1200"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598DBAD-472B-4D31-8670-5164AECB0621}" type="slidenum">
              <a:rPr lang="en-US" smtClean="0"/>
              <a:pPr/>
              <a:t>53</a:t>
            </a:fld>
            <a:endParaRPr lang="en-US"/>
          </a:p>
        </p:txBody>
      </p:sp>
      <p:graphicFrame>
        <p:nvGraphicFramePr>
          <p:cNvPr id="7" name="Chart 6">
            <a:extLst>
              <a:ext uri="{FF2B5EF4-FFF2-40B4-BE49-F238E27FC236}">
                <a16:creationId xmlns:a16="http://schemas.microsoft.com/office/drawing/2014/main" id="{1A190952-B576-4D53-BD1F-F3A7AE60BE88}"/>
              </a:ext>
            </a:extLst>
          </p:cNvPr>
          <p:cNvGraphicFramePr/>
          <p:nvPr/>
        </p:nvGraphicFramePr>
        <p:xfrm>
          <a:off x="1414300" y="3578072"/>
          <a:ext cx="10759741" cy="7173161"/>
        </p:xfrm>
        <a:graphic>
          <a:graphicData uri="http://schemas.openxmlformats.org/drawingml/2006/chart">
            <c:chart xmlns:c="http://schemas.openxmlformats.org/drawingml/2006/chart" xmlns:r="http://schemas.openxmlformats.org/officeDocument/2006/relationships" r:id="rId2"/>
          </a:graphicData>
        </a:graphic>
      </p:graphicFrame>
      <p:sp>
        <p:nvSpPr>
          <p:cNvPr id="47" name="TextBox 46">
            <a:extLst>
              <a:ext uri="{FF2B5EF4-FFF2-40B4-BE49-F238E27FC236}">
                <a16:creationId xmlns:a16="http://schemas.microsoft.com/office/drawing/2014/main" id="{08B83C82-DBFC-4E4E-82C6-7FEB3AF90C11}"/>
              </a:ext>
            </a:extLst>
          </p:cNvPr>
          <p:cNvSpPr txBox="1"/>
          <p:nvPr/>
        </p:nvSpPr>
        <p:spPr>
          <a:xfrm>
            <a:off x="12428050" y="3388417"/>
            <a:ext cx="8030319" cy="1723549"/>
          </a:xfrm>
          <a:prstGeom prst="rect">
            <a:avLst/>
          </a:prstGeom>
          <a:noFill/>
          <a:ln w="6350">
            <a:noFill/>
            <a:prstDash val="dash"/>
          </a:ln>
        </p:spPr>
        <p:txBody>
          <a:bodyPr wrap="square" lIns="0" tIns="0" rIns="0" bIns="0" rtlCol="0" anchor="ctr">
            <a:spAutoFit/>
          </a:bodyPr>
          <a:lstStyle/>
          <a:p>
            <a:r>
              <a:rPr lang="en-US" sz="2800" dirty="0">
                <a:solidFill>
                  <a:schemeClr val="bg1"/>
                </a:solidFill>
              </a:rPr>
              <a:t>Lorem ipsum dolor sit </a:t>
            </a:r>
            <a:r>
              <a:rPr lang="en-US" sz="2800" dirty="0" err="1">
                <a:solidFill>
                  <a:schemeClr val="bg1"/>
                </a:solidFill>
              </a:rPr>
              <a:t>amet</a:t>
            </a:r>
            <a:r>
              <a:rPr lang="en-US" sz="2800" dirty="0">
                <a:solidFill>
                  <a:schemeClr val="bg1"/>
                </a:solidFill>
              </a:rPr>
              <a:t>, </a:t>
            </a:r>
            <a:r>
              <a:rPr lang="en-US" sz="2800" dirty="0" err="1">
                <a:solidFill>
                  <a:schemeClr val="bg1"/>
                </a:solidFill>
              </a:rPr>
              <a:t>consectetur</a:t>
            </a:r>
            <a:r>
              <a:rPr lang="en-US" sz="2800" dirty="0">
                <a:solidFill>
                  <a:schemeClr val="bg1"/>
                </a:solidFill>
              </a:rPr>
              <a:t> </a:t>
            </a:r>
            <a:r>
              <a:rPr lang="en-US" sz="2800" dirty="0" err="1">
                <a:solidFill>
                  <a:schemeClr val="bg1"/>
                </a:solidFill>
              </a:rPr>
              <a:t>adipiscing</a:t>
            </a:r>
            <a:r>
              <a:rPr lang="en-US" sz="2800" dirty="0">
                <a:solidFill>
                  <a:schemeClr val="bg1"/>
                </a:solidFill>
              </a:rPr>
              <a:t> </a:t>
            </a:r>
            <a:r>
              <a:rPr lang="en-US" sz="2800" dirty="0" err="1">
                <a:solidFill>
                  <a:schemeClr val="bg1"/>
                </a:solidFill>
              </a:rPr>
              <a:t>elit</a:t>
            </a:r>
            <a:r>
              <a:rPr lang="en-US" sz="2800" dirty="0">
                <a:solidFill>
                  <a:schemeClr val="bg1"/>
                </a:solidFill>
              </a:rPr>
              <a:t>. </a:t>
            </a:r>
            <a:r>
              <a:rPr lang="en-US" sz="2800" dirty="0" err="1">
                <a:solidFill>
                  <a:schemeClr val="bg1"/>
                </a:solidFill>
              </a:rPr>
              <a:t>Pellentesque</a:t>
            </a:r>
            <a:r>
              <a:rPr lang="en-US" sz="2800" dirty="0">
                <a:solidFill>
                  <a:schemeClr val="bg1"/>
                </a:solidFill>
              </a:rPr>
              <a:t> sit </a:t>
            </a:r>
            <a:r>
              <a:rPr lang="en-US" sz="2800" dirty="0" err="1">
                <a:solidFill>
                  <a:schemeClr val="bg1"/>
                </a:solidFill>
              </a:rPr>
              <a:t>amet</a:t>
            </a:r>
            <a:r>
              <a:rPr lang="en-US" sz="2800" dirty="0">
                <a:solidFill>
                  <a:schemeClr val="bg1"/>
                </a:solidFill>
              </a:rPr>
              <a:t> </a:t>
            </a:r>
            <a:r>
              <a:rPr lang="en-US" sz="2800" dirty="0" err="1">
                <a:solidFill>
                  <a:schemeClr val="bg1"/>
                </a:solidFill>
              </a:rPr>
              <a:t>feugiat</a:t>
            </a:r>
            <a:r>
              <a:rPr lang="en-US" sz="2800" dirty="0">
                <a:solidFill>
                  <a:schemeClr val="bg1"/>
                </a:solidFill>
              </a:rPr>
              <a:t> mi. Maecenas </a:t>
            </a:r>
            <a:r>
              <a:rPr lang="en-US" sz="2800" dirty="0" err="1">
                <a:solidFill>
                  <a:schemeClr val="bg1"/>
                </a:solidFill>
              </a:rPr>
              <a:t>volutpat</a:t>
            </a:r>
            <a:r>
              <a:rPr lang="en-US" sz="2800" dirty="0">
                <a:solidFill>
                  <a:schemeClr val="bg1"/>
                </a:solidFill>
              </a:rPr>
              <a:t> </a:t>
            </a:r>
            <a:r>
              <a:rPr lang="en-US" sz="2800" dirty="0" err="1">
                <a:solidFill>
                  <a:schemeClr val="bg1"/>
                </a:solidFill>
              </a:rPr>
              <a:t>hendrerit</a:t>
            </a:r>
            <a:r>
              <a:rPr lang="en-US" sz="2800" dirty="0">
                <a:solidFill>
                  <a:schemeClr val="bg1"/>
                </a:solidFill>
              </a:rPr>
              <a:t> </a:t>
            </a:r>
            <a:r>
              <a:rPr lang="en-US" sz="2800" dirty="0" err="1">
                <a:solidFill>
                  <a:schemeClr val="bg1"/>
                </a:solidFill>
              </a:rPr>
              <a:t>odio</a:t>
            </a:r>
            <a:r>
              <a:rPr lang="en-US" sz="2800" dirty="0">
                <a:solidFill>
                  <a:schemeClr val="bg1"/>
                </a:solidFill>
              </a:rPr>
              <a:t> </a:t>
            </a:r>
            <a:r>
              <a:rPr lang="en-US" sz="2800" dirty="0" err="1">
                <a:solidFill>
                  <a:schemeClr val="bg1"/>
                </a:solidFill>
              </a:rPr>
              <a:t>quis</a:t>
            </a:r>
            <a:r>
              <a:rPr lang="en-US" sz="2800" dirty="0">
                <a:solidFill>
                  <a:schemeClr val="bg1"/>
                </a:solidFill>
              </a:rPr>
              <a:t> </a:t>
            </a:r>
            <a:r>
              <a:rPr lang="en-US" sz="2800" dirty="0" err="1">
                <a:solidFill>
                  <a:schemeClr val="bg1"/>
                </a:solidFill>
              </a:rPr>
              <a:t>mattis</a:t>
            </a:r>
            <a:r>
              <a:rPr lang="en-US" sz="2800" dirty="0">
                <a:solidFill>
                  <a:schemeClr val="bg1"/>
                </a:solidFill>
              </a:rPr>
              <a:t>. </a:t>
            </a:r>
            <a:r>
              <a:rPr lang="en-US" sz="2800" dirty="0" err="1">
                <a:solidFill>
                  <a:schemeClr val="bg1"/>
                </a:solidFill>
              </a:rPr>
              <a:t>Quisque</a:t>
            </a:r>
            <a:r>
              <a:rPr lang="en-US" sz="2800" dirty="0">
                <a:solidFill>
                  <a:schemeClr val="bg1"/>
                </a:solidFill>
              </a:rPr>
              <a:t> </a:t>
            </a:r>
            <a:r>
              <a:rPr lang="en-US" sz="2800" dirty="0" err="1">
                <a:solidFill>
                  <a:schemeClr val="bg1"/>
                </a:solidFill>
              </a:rPr>
              <a:t>eget</a:t>
            </a:r>
            <a:r>
              <a:rPr lang="en-US" sz="2800" dirty="0">
                <a:solidFill>
                  <a:schemeClr val="bg1"/>
                </a:solidFill>
              </a:rPr>
              <a:t> </a:t>
            </a:r>
            <a:r>
              <a:rPr lang="en-US" sz="2800" dirty="0" err="1">
                <a:solidFill>
                  <a:schemeClr val="bg1"/>
                </a:solidFill>
              </a:rPr>
              <a:t>leo</a:t>
            </a:r>
            <a:r>
              <a:rPr lang="en-US" sz="2800" dirty="0">
                <a:solidFill>
                  <a:schemeClr val="bg1"/>
                </a:solidFill>
              </a:rPr>
              <a:t> sit </a:t>
            </a:r>
            <a:r>
              <a:rPr lang="en-US" sz="2800" dirty="0" err="1">
                <a:solidFill>
                  <a:schemeClr val="bg1"/>
                </a:solidFill>
              </a:rPr>
              <a:t>amet</a:t>
            </a:r>
            <a:r>
              <a:rPr lang="en-US" sz="2800" dirty="0">
                <a:solidFill>
                  <a:schemeClr val="bg1"/>
                </a:solidFill>
              </a:rPr>
              <a:t> </a:t>
            </a:r>
            <a:r>
              <a:rPr lang="en-US" sz="2800" dirty="0" err="1">
                <a:solidFill>
                  <a:schemeClr val="bg1"/>
                </a:solidFill>
              </a:rPr>
              <a:t>nulla</a:t>
            </a:r>
            <a:r>
              <a:rPr lang="en-US" sz="2800" dirty="0">
                <a:solidFill>
                  <a:schemeClr val="bg1"/>
                </a:solidFill>
              </a:rPr>
              <a:t> </a:t>
            </a:r>
            <a:r>
              <a:rPr lang="en-US" sz="2800" dirty="0" err="1">
                <a:solidFill>
                  <a:schemeClr val="bg1"/>
                </a:solidFill>
              </a:rPr>
              <a:t>dapibus</a:t>
            </a:r>
            <a:r>
              <a:rPr lang="en-US" sz="2800" dirty="0">
                <a:solidFill>
                  <a:schemeClr val="bg1"/>
                </a:solidFill>
              </a:rPr>
              <a:t> </a:t>
            </a:r>
            <a:r>
              <a:rPr lang="en-US" sz="2800" dirty="0" err="1">
                <a:solidFill>
                  <a:schemeClr val="bg1"/>
                </a:solidFill>
              </a:rPr>
              <a:t>lobortis</a:t>
            </a:r>
            <a:r>
              <a:rPr lang="en-US" sz="2800" dirty="0">
                <a:solidFill>
                  <a:schemeClr val="bg1"/>
                </a:solidFill>
              </a:rPr>
              <a:t> id </a:t>
            </a:r>
            <a:r>
              <a:rPr lang="en-US" sz="2800" dirty="0" err="1">
                <a:solidFill>
                  <a:schemeClr val="bg1"/>
                </a:solidFill>
              </a:rPr>
              <a:t>nec</a:t>
            </a:r>
            <a:r>
              <a:rPr lang="en-US" sz="2800" dirty="0">
                <a:solidFill>
                  <a:schemeClr val="bg1"/>
                </a:solidFill>
              </a:rPr>
              <a:t> </a:t>
            </a:r>
            <a:r>
              <a:rPr lang="en-US" sz="2800" dirty="0" err="1">
                <a:solidFill>
                  <a:schemeClr val="bg1"/>
                </a:solidFill>
              </a:rPr>
              <a:t>felis</a:t>
            </a:r>
            <a:r>
              <a:rPr lang="en-US" sz="2800" dirty="0">
                <a:solidFill>
                  <a:schemeClr val="bg1"/>
                </a:solidFill>
              </a:rPr>
              <a:t>. </a:t>
            </a:r>
          </a:p>
        </p:txBody>
      </p:sp>
      <p:sp>
        <p:nvSpPr>
          <p:cNvPr id="48" name="TextBox 47">
            <a:extLst>
              <a:ext uri="{FF2B5EF4-FFF2-40B4-BE49-F238E27FC236}">
                <a16:creationId xmlns:a16="http://schemas.microsoft.com/office/drawing/2014/main" id="{9AB44567-747F-471B-B451-E58A5B525EFD}"/>
              </a:ext>
            </a:extLst>
          </p:cNvPr>
          <p:cNvSpPr txBox="1"/>
          <p:nvPr/>
        </p:nvSpPr>
        <p:spPr>
          <a:xfrm>
            <a:off x="12428050" y="6302878"/>
            <a:ext cx="8030319" cy="1723549"/>
          </a:xfrm>
          <a:prstGeom prst="rect">
            <a:avLst/>
          </a:prstGeom>
          <a:noFill/>
          <a:ln w="6350">
            <a:noFill/>
            <a:prstDash val="dash"/>
          </a:ln>
        </p:spPr>
        <p:txBody>
          <a:bodyPr wrap="square" lIns="0" tIns="0" rIns="0" bIns="0" rtlCol="0" anchor="ctr">
            <a:spAutoFit/>
          </a:bodyPr>
          <a:lstStyle/>
          <a:p>
            <a:r>
              <a:rPr lang="en-US" sz="2800" dirty="0">
                <a:solidFill>
                  <a:schemeClr val="bg1"/>
                </a:solidFill>
              </a:rPr>
              <a:t>Lorem ipsum dolor sit </a:t>
            </a:r>
            <a:r>
              <a:rPr lang="en-US" sz="2800" dirty="0" err="1">
                <a:solidFill>
                  <a:schemeClr val="bg1"/>
                </a:solidFill>
              </a:rPr>
              <a:t>amet</a:t>
            </a:r>
            <a:r>
              <a:rPr lang="en-US" sz="2800" dirty="0">
                <a:solidFill>
                  <a:schemeClr val="bg1"/>
                </a:solidFill>
              </a:rPr>
              <a:t>, </a:t>
            </a:r>
            <a:r>
              <a:rPr lang="en-US" sz="2800" dirty="0" err="1">
                <a:solidFill>
                  <a:schemeClr val="bg1"/>
                </a:solidFill>
              </a:rPr>
              <a:t>consectetur</a:t>
            </a:r>
            <a:r>
              <a:rPr lang="en-US" sz="2800" dirty="0">
                <a:solidFill>
                  <a:schemeClr val="bg1"/>
                </a:solidFill>
              </a:rPr>
              <a:t> </a:t>
            </a:r>
            <a:r>
              <a:rPr lang="en-US" sz="2800" dirty="0" err="1">
                <a:solidFill>
                  <a:schemeClr val="bg1"/>
                </a:solidFill>
              </a:rPr>
              <a:t>adipiscing</a:t>
            </a:r>
            <a:r>
              <a:rPr lang="en-US" sz="2800" dirty="0">
                <a:solidFill>
                  <a:schemeClr val="bg1"/>
                </a:solidFill>
              </a:rPr>
              <a:t> </a:t>
            </a:r>
            <a:r>
              <a:rPr lang="en-US" sz="2800" dirty="0" err="1">
                <a:solidFill>
                  <a:schemeClr val="bg1"/>
                </a:solidFill>
              </a:rPr>
              <a:t>elit</a:t>
            </a:r>
            <a:r>
              <a:rPr lang="en-US" sz="2800" dirty="0">
                <a:solidFill>
                  <a:schemeClr val="bg1"/>
                </a:solidFill>
              </a:rPr>
              <a:t>. </a:t>
            </a:r>
            <a:r>
              <a:rPr lang="en-US" sz="2800" dirty="0" err="1">
                <a:solidFill>
                  <a:schemeClr val="bg1"/>
                </a:solidFill>
              </a:rPr>
              <a:t>Pellentesque</a:t>
            </a:r>
            <a:r>
              <a:rPr lang="en-US" sz="2800" dirty="0">
                <a:solidFill>
                  <a:schemeClr val="bg1"/>
                </a:solidFill>
              </a:rPr>
              <a:t> sit </a:t>
            </a:r>
            <a:r>
              <a:rPr lang="en-US" sz="2800" dirty="0" err="1">
                <a:solidFill>
                  <a:schemeClr val="bg1"/>
                </a:solidFill>
              </a:rPr>
              <a:t>amet</a:t>
            </a:r>
            <a:r>
              <a:rPr lang="en-US" sz="2800" dirty="0">
                <a:solidFill>
                  <a:schemeClr val="bg1"/>
                </a:solidFill>
              </a:rPr>
              <a:t> </a:t>
            </a:r>
            <a:r>
              <a:rPr lang="en-US" sz="2800" dirty="0" err="1">
                <a:solidFill>
                  <a:schemeClr val="bg1"/>
                </a:solidFill>
              </a:rPr>
              <a:t>feugiat</a:t>
            </a:r>
            <a:r>
              <a:rPr lang="en-US" sz="2800" dirty="0">
                <a:solidFill>
                  <a:schemeClr val="bg1"/>
                </a:solidFill>
              </a:rPr>
              <a:t> mi. Maecenas </a:t>
            </a:r>
            <a:r>
              <a:rPr lang="en-US" sz="2800" dirty="0" err="1">
                <a:solidFill>
                  <a:schemeClr val="bg1"/>
                </a:solidFill>
              </a:rPr>
              <a:t>volutpat</a:t>
            </a:r>
            <a:r>
              <a:rPr lang="en-US" sz="2800" dirty="0">
                <a:solidFill>
                  <a:schemeClr val="bg1"/>
                </a:solidFill>
              </a:rPr>
              <a:t> </a:t>
            </a:r>
            <a:r>
              <a:rPr lang="en-US" sz="2800" dirty="0" err="1">
                <a:solidFill>
                  <a:schemeClr val="bg1"/>
                </a:solidFill>
              </a:rPr>
              <a:t>hendrerit</a:t>
            </a:r>
            <a:r>
              <a:rPr lang="en-US" sz="2800" dirty="0">
                <a:solidFill>
                  <a:schemeClr val="bg1"/>
                </a:solidFill>
              </a:rPr>
              <a:t> </a:t>
            </a:r>
            <a:r>
              <a:rPr lang="en-US" sz="2800" dirty="0" err="1">
                <a:solidFill>
                  <a:schemeClr val="bg1"/>
                </a:solidFill>
              </a:rPr>
              <a:t>odio</a:t>
            </a:r>
            <a:r>
              <a:rPr lang="en-US" sz="2800" dirty="0">
                <a:solidFill>
                  <a:schemeClr val="bg1"/>
                </a:solidFill>
              </a:rPr>
              <a:t> </a:t>
            </a:r>
            <a:r>
              <a:rPr lang="en-US" sz="2800" dirty="0" err="1">
                <a:solidFill>
                  <a:schemeClr val="bg1"/>
                </a:solidFill>
              </a:rPr>
              <a:t>quis</a:t>
            </a:r>
            <a:r>
              <a:rPr lang="en-US" sz="2800" dirty="0">
                <a:solidFill>
                  <a:schemeClr val="bg1"/>
                </a:solidFill>
              </a:rPr>
              <a:t> </a:t>
            </a:r>
            <a:r>
              <a:rPr lang="en-US" sz="2800" dirty="0" err="1">
                <a:solidFill>
                  <a:schemeClr val="bg1"/>
                </a:solidFill>
              </a:rPr>
              <a:t>mattis</a:t>
            </a:r>
            <a:r>
              <a:rPr lang="en-US" sz="2800" dirty="0">
                <a:solidFill>
                  <a:schemeClr val="bg1"/>
                </a:solidFill>
              </a:rPr>
              <a:t>. </a:t>
            </a:r>
            <a:r>
              <a:rPr lang="en-US" sz="2800" dirty="0" err="1">
                <a:solidFill>
                  <a:schemeClr val="bg1"/>
                </a:solidFill>
              </a:rPr>
              <a:t>Quisque</a:t>
            </a:r>
            <a:r>
              <a:rPr lang="en-US" sz="2800" dirty="0">
                <a:solidFill>
                  <a:schemeClr val="bg1"/>
                </a:solidFill>
              </a:rPr>
              <a:t> </a:t>
            </a:r>
            <a:r>
              <a:rPr lang="en-US" sz="2800" dirty="0" err="1">
                <a:solidFill>
                  <a:schemeClr val="bg1"/>
                </a:solidFill>
              </a:rPr>
              <a:t>eget</a:t>
            </a:r>
            <a:r>
              <a:rPr lang="en-US" sz="2800" dirty="0">
                <a:solidFill>
                  <a:schemeClr val="bg1"/>
                </a:solidFill>
              </a:rPr>
              <a:t> </a:t>
            </a:r>
            <a:r>
              <a:rPr lang="en-US" sz="2800" dirty="0" err="1">
                <a:solidFill>
                  <a:schemeClr val="bg1"/>
                </a:solidFill>
              </a:rPr>
              <a:t>leo</a:t>
            </a:r>
            <a:r>
              <a:rPr lang="en-US" sz="2800" dirty="0">
                <a:solidFill>
                  <a:schemeClr val="bg1"/>
                </a:solidFill>
              </a:rPr>
              <a:t> sit </a:t>
            </a:r>
            <a:r>
              <a:rPr lang="en-US" sz="2800" dirty="0" err="1">
                <a:solidFill>
                  <a:schemeClr val="bg1"/>
                </a:solidFill>
              </a:rPr>
              <a:t>amet</a:t>
            </a:r>
            <a:r>
              <a:rPr lang="en-US" sz="2800" dirty="0">
                <a:solidFill>
                  <a:schemeClr val="bg1"/>
                </a:solidFill>
              </a:rPr>
              <a:t> </a:t>
            </a:r>
            <a:r>
              <a:rPr lang="en-US" sz="2800" dirty="0" err="1">
                <a:solidFill>
                  <a:schemeClr val="bg1"/>
                </a:solidFill>
              </a:rPr>
              <a:t>nulla</a:t>
            </a:r>
            <a:r>
              <a:rPr lang="en-US" sz="2800" dirty="0">
                <a:solidFill>
                  <a:schemeClr val="bg1"/>
                </a:solidFill>
              </a:rPr>
              <a:t> </a:t>
            </a:r>
            <a:r>
              <a:rPr lang="en-US" sz="2800" dirty="0" err="1">
                <a:solidFill>
                  <a:schemeClr val="bg1"/>
                </a:solidFill>
              </a:rPr>
              <a:t>dapibus</a:t>
            </a:r>
            <a:r>
              <a:rPr lang="en-US" sz="2800" dirty="0">
                <a:solidFill>
                  <a:schemeClr val="bg1"/>
                </a:solidFill>
              </a:rPr>
              <a:t> </a:t>
            </a:r>
            <a:r>
              <a:rPr lang="en-US" sz="2800" dirty="0" err="1">
                <a:solidFill>
                  <a:schemeClr val="bg1"/>
                </a:solidFill>
              </a:rPr>
              <a:t>lobortis</a:t>
            </a:r>
            <a:r>
              <a:rPr lang="en-US" sz="2800" dirty="0">
                <a:solidFill>
                  <a:schemeClr val="bg1"/>
                </a:solidFill>
              </a:rPr>
              <a:t> id </a:t>
            </a:r>
            <a:r>
              <a:rPr lang="en-US" sz="2800" dirty="0" err="1">
                <a:solidFill>
                  <a:schemeClr val="bg1"/>
                </a:solidFill>
              </a:rPr>
              <a:t>nec</a:t>
            </a:r>
            <a:r>
              <a:rPr lang="en-US" sz="2800" dirty="0">
                <a:solidFill>
                  <a:schemeClr val="bg1"/>
                </a:solidFill>
              </a:rPr>
              <a:t> </a:t>
            </a:r>
            <a:r>
              <a:rPr lang="en-US" sz="2800" dirty="0" err="1">
                <a:solidFill>
                  <a:schemeClr val="bg1"/>
                </a:solidFill>
              </a:rPr>
              <a:t>felis</a:t>
            </a:r>
            <a:r>
              <a:rPr lang="en-US" sz="2800" dirty="0">
                <a:solidFill>
                  <a:schemeClr val="bg1"/>
                </a:solidFill>
              </a:rPr>
              <a:t>. </a:t>
            </a:r>
          </a:p>
        </p:txBody>
      </p:sp>
      <p:sp>
        <p:nvSpPr>
          <p:cNvPr id="49" name="TextBox 48">
            <a:extLst>
              <a:ext uri="{FF2B5EF4-FFF2-40B4-BE49-F238E27FC236}">
                <a16:creationId xmlns:a16="http://schemas.microsoft.com/office/drawing/2014/main" id="{1ED1646D-0E2A-4C8B-9349-00EE0E0FFAE2}"/>
              </a:ext>
            </a:extLst>
          </p:cNvPr>
          <p:cNvSpPr txBox="1"/>
          <p:nvPr/>
        </p:nvSpPr>
        <p:spPr>
          <a:xfrm>
            <a:off x="12428050" y="9095650"/>
            <a:ext cx="8030319" cy="1723549"/>
          </a:xfrm>
          <a:prstGeom prst="rect">
            <a:avLst/>
          </a:prstGeom>
          <a:noFill/>
          <a:ln w="6350">
            <a:noFill/>
            <a:prstDash val="dash"/>
          </a:ln>
        </p:spPr>
        <p:txBody>
          <a:bodyPr wrap="square" lIns="0" tIns="0" rIns="0" bIns="0" rtlCol="0" anchor="ctr">
            <a:spAutoFit/>
          </a:bodyPr>
          <a:lstStyle/>
          <a:p>
            <a:r>
              <a:rPr lang="en-US" sz="2800" dirty="0">
                <a:solidFill>
                  <a:schemeClr val="bg1"/>
                </a:solidFill>
              </a:rPr>
              <a:t>Lorem ipsum dolor sit </a:t>
            </a:r>
            <a:r>
              <a:rPr lang="en-US" sz="2800" dirty="0" err="1">
                <a:solidFill>
                  <a:schemeClr val="bg1"/>
                </a:solidFill>
              </a:rPr>
              <a:t>amet</a:t>
            </a:r>
            <a:r>
              <a:rPr lang="en-US" sz="2800" dirty="0">
                <a:solidFill>
                  <a:schemeClr val="bg1"/>
                </a:solidFill>
              </a:rPr>
              <a:t>, </a:t>
            </a:r>
            <a:r>
              <a:rPr lang="en-US" sz="2800" dirty="0" err="1">
                <a:solidFill>
                  <a:schemeClr val="bg1"/>
                </a:solidFill>
              </a:rPr>
              <a:t>consectetur</a:t>
            </a:r>
            <a:r>
              <a:rPr lang="en-US" sz="2800" dirty="0">
                <a:solidFill>
                  <a:schemeClr val="bg1"/>
                </a:solidFill>
              </a:rPr>
              <a:t> </a:t>
            </a:r>
            <a:r>
              <a:rPr lang="en-US" sz="2800" dirty="0" err="1">
                <a:solidFill>
                  <a:schemeClr val="bg1"/>
                </a:solidFill>
              </a:rPr>
              <a:t>adipiscing</a:t>
            </a:r>
            <a:r>
              <a:rPr lang="en-US" sz="2800" dirty="0">
                <a:solidFill>
                  <a:schemeClr val="bg1"/>
                </a:solidFill>
              </a:rPr>
              <a:t> </a:t>
            </a:r>
            <a:r>
              <a:rPr lang="en-US" sz="2800" dirty="0" err="1">
                <a:solidFill>
                  <a:schemeClr val="bg1"/>
                </a:solidFill>
              </a:rPr>
              <a:t>elit</a:t>
            </a:r>
            <a:r>
              <a:rPr lang="en-US" sz="2800" dirty="0">
                <a:solidFill>
                  <a:schemeClr val="bg1"/>
                </a:solidFill>
              </a:rPr>
              <a:t>. </a:t>
            </a:r>
            <a:r>
              <a:rPr lang="en-US" sz="2800" dirty="0" err="1">
                <a:solidFill>
                  <a:schemeClr val="bg1"/>
                </a:solidFill>
              </a:rPr>
              <a:t>Pellentesque</a:t>
            </a:r>
            <a:r>
              <a:rPr lang="en-US" sz="2800" dirty="0">
                <a:solidFill>
                  <a:schemeClr val="bg1"/>
                </a:solidFill>
              </a:rPr>
              <a:t> sit </a:t>
            </a:r>
            <a:r>
              <a:rPr lang="en-US" sz="2800" dirty="0" err="1">
                <a:solidFill>
                  <a:schemeClr val="bg1"/>
                </a:solidFill>
              </a:rPr>
              <a:t>amet</a:t>
            </a:r>
            <a:r>
              <a:rPr lang="en-US" sz="2800" dirty="0">
                <a:solidFill>
                  <a:schemeClr val="bg1"/>
                </a:solidFill>
              </a:rPr>
              <a:t> </a:t>
            </a:r>
            <a:r>
              <a:rPr lang="en-US" sz="2800" dirty="0" err="1">
                <a:solidFill>
                  <a:schemeClr val="bg1"/>
                </a:solidFill>
              </a:rPr>
              <a:t>feugiat</a:t>
            </a:r>
            <a:r>
              <a:rPr lang="en-US" sz="2800" dirty="0">
                <a:solidFill>
                  <a:schemeClr val="bg1"/>
                </a:solidFill>
              </a:rPr>
              <a:t> mi. Maecenas </a:t>
            </a:r>
            <a:r>
              <a:rPr lang="en-US" sz="2800" dirty="0" err="1">
                <a:solidFill>
                  <a:schemeClr val="bg1"/>
                </a:solidFill>
              </a:rPr>
              <a:t>volutpat</a:t>
            </a:r>
            <a:r>
              <a:rPr lang="en-US" sz="2800" dirty="0">
                <a:solidFill>
                  <a:schemeClr val="bg1"/>
                </a:solidFill>
              </a:rPr>
              <a:t> </a:t>
            </a:r>
            <a:r>
              <a:rPr lang="en-US" sz="2800" dirty="0" err="1">
                <a:solidFill>
                  <a:schemeClr val="bg1"/>
                </a:solidFill>
              </a:rPr>
              <a:t>hendrerit</a:t>
            </a:r>
            <a:r>
              <a:rPr lang="en-US" sz="2800" dirty="0">
                <a:solidFill>
                  <a:schemeClr val="bg1"/>
                </a:solidFill>
              </a:rPr>
              <a:t> </a:t>
            </a:r>
            <a:r>
              <a:rPr lang="en-US" sz="2800" dirty="0" err="1">
                <a:solidFill>
                  <a:schemeClr val="bg1"/>
                </a:solidFill>
              </a:rPr>
              <a:t>odio</a:t>
            </a:r>
            <a:r>
              <a:rPr lang="en-US" sz="2800" dirty="0">
                <a:solidFill>
                  <a:schemeClr val="bg1"/>
                </a:solidFill>
              </a:rPr>
              <a:t> </a:t>
            </a:r>
            <a:r>
              <a:rPr lang="en-US" sz="2800" dirty="0" err="1">
                <a:solidFill>
                  <a:schemeClr val="bg1"/>
                </a:solidFill>
              </a:rPr>
              <a:t>quis</a:t>
            </a:r>
            <a:r>
              <a:rPr lang="en-US" sz="2800" dirty="0">
                <a:solidFill>
                  <a:schemeClr val="bg1"/>
                </a:solidFill>
              </a:rPr>
              <a:t> </a:t>
            </a:r>
            <a:r>
              <a:rPr lang="en-US" sz="2800" dirty="0" err="1">
                <a:solidFill>
                  <a:schemeClr val="bg1"/>
                </a:solidFill>
              </a:rPr>
              <a:t>mattis</a:t>
            </a:r>
            <a:r>
              <a:rPr lang="en-US" sz="2800" dirty="0">
                <a:solidFill>
                  <a:schemeClr val="bg1"/>
                </a:solidFill>
              </a:rPr>
              <a:t>. </a:t>
            </a:r>
            <a:r>
              <a:rPr lang="en-US" sz="2800" dirty="0" err="1">
                <a:solidFill>
                  <a:schemeClr val="bg1"/>
                </a:solidFill>
              </a:rPr>
              <a:t>Quisque</a:t>
            </a:r>
            <a:r>
              <a:rPr lang="en-US" sz="2800" dirty="0">
                <a:solidFill>
                  <a:schemeClr val="bg1"/>
                </a:solidFill>
              </a:rPr>
              <a:t> </a:t>
            </a:r>
            <a:r>
              <a:rPr lang="en-US" sz="2800" dirty="0" err="1">
                <a:solidFill>
                  <a:schemeClr val="bg1"/>
                </a:solidFill>
              </a:rPr>
              <a:t>eget</a:t>
            </a:r>
            <a:r>
              <a:rPr lang="en-US" sz="2800" dirty="0">
                <a:solidFill>
                  <a:schemeClr val="bg1"/>
                </a:solidFill>
              </a:rPr>
              <a:t> </a:t>
            </a:r>
            <a:r>
              <a:rPr lang="en-US" sz="2800" dirty="0" err="1">
                <a:solidFill>
                  <a:schemeClr val="bg1"/>
                </a:solidFill>
              </a:rPr>
              <a:t>leo</a:t>
            </a:r>
            <a:r>
              <a:rPr lang="en-US" sz="2800" dirty="0">
                <a:solidFill>
                  <a:schemeClr val="bg1"/>
                </a:solidFill>
              </a:rPr>
              <a:t> sit </a:t>
            </a:r>
            <a:r>
              <a:rPr lang="en-US" sz="2800" dirty="0" err="1">
                <a:solidFill>
                  <a:schemeClr val="bg1"/>
                </a:solidFill>
              </a:rPr>
              <a:t>amet</a:t>
            </a:r>
            <a:r>
              <a:rPr lang="en-US" sz="2800" dirty="0">
                <a:solidFill>
                  <a:schemeClr val="bg1"/>
                </a:solidFill>
              </a:rPr>
              <a:t> </a:t>
            </a:r>
            <a:r>
              <a:rPr lang="en-US" sz="2800" dirty="0" err="1">
                <a:solidFill>
                  <a:schemeClr val="bg1"/>
                </a:solidFill>
              </a:rPr>
              <a:t>nulla</a:t>
            </a:r>
            <a:r>
              <a:rPr lang="en-US" sz="2800" dirty="0">
                <a:solidFill>
                  <a:schemeClr val="bg1"/>
                </a:solidFill>
              </a:rPr>
              <a:t> </a:t>
            </a:r>
            <a:r>
              <a:rPr lang="en-US" sz="2800" dirty="0" err="1">
                <a:solidFill>
                  <a:schemeClr val="bg1"/>
                </a:solidFill>
              </a:rPr>
              <a:t>dapibus</a:t>
            </a:r>
            <a:r>
              <a:rPr lang="en-US" sz="2800" dirty="0">
                <a:solidFill>
                  <a:schemeClr val="bg1"/>
                </a:solidFill>
              </a:rPr>
              <a:t> </a:t>
            </a:r>
            <a:r>
              <a:rPr lang="en-US" sz="2800" dirty="0" err="1">
                <a:solidFill>
                  <a:schemeClr val="bg1"/>
                </a:solidFill>
              </a:rPr>
              <a:t>lobortis</a:t>
            </a:r>
            <a:r>
              <a:rPr lang="en-US" sz="2800" dirty="0">
                <a:solidFill>
                  <a:schemeClr val="bg1"/>
                </a:solidFill>
              </a:rPr>
              <a:t> id </a:t>
            </a:r>
            <a:r>
              <a:rPr lang="en-US" sz="2800" dirty="0" err="1">
                <a:solidFill>
                  <a:schemeClr val="bg1"/>
                </a:solidFill>
              </a:rPr>
              <a:t>nec</a:t>
            </a:r>
            <a:r>
              <a:rPr lang="en-US" sz="2800" dirty="0">
                <a:solidFill>
                  <a:schemeClr val="bg1"/>
                </a:solidFill>
              </a:rPr>
              <a:t> </a:t>
            </a:r>
            <a:r>
              <a:rPr lang="en-US" sz="2800" dirty="0" err="1">
                <a:solidFill>
                  <a:schemeClr val="bg1"/>
                </a:solidFill>
              </a:rPr>
              <a:t>felis</a:t>
            </a:r>
            <a:r>
              <a:rPr lang="en-US" sz="2800" dirty="0">
                <a:solidFill>
                  <a:schemeClr val="bg1"/>
                </a:solidFill>
              </a:rPr>
              <a:t>. </a:t>
            </a:r>
          </a:p>
        </p:txBody>
      </p:sp>
      <p:sp>
        <p:nvSpPr>
          <p:cNvPr id="3" name="Title 2">
            <a:extLst>
              <a:ext uri="{FF2B5EF4-FFF2-40B4-BE49-F238E27FC236}">
                <a16:creationId xmlns:a16="http://schemas.microsoft.com/office/drawing/2014/main" id="{24F49108-1258-F24A-872B-293B564759BD}"/>
              </a:ext>
            </a:extLst>
          </p:cNvPr>
          <p:cNvSpPr>
            <a:spLocks noGrp="1"/>
          </p:cNvSpPr>
          <p:nvPr>
            <p:ph type="title"/>
          </p:nvPr>
        </p:nvSpPr>
        <p:spPr/>
        <p:txBody>
          <a:bodyPr/>
          <a:lstStyle/>
          <a:p>
            <a:r>
              <a:rPr lang="en-US" dirty="0"/>
              <a:t>Bar chart with info</a:t>
            </a:r>
          </a:p>
        </p:txBody>
      </p:sp>
    </p:spTree>
    <p:extLst>
      <p:ext uri="{BB962C8B-B14F-4D97-AF65-F5344CB8AC3E}">
        <p14:creationId xmlns:p14="http://schemas.microsoft.com/office/powerpoint/2010/main" val="36783355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D4A116-7082-FA4B-8BE0-3A8FC0D77F49}"/>
              </a:ext>
            </a:extLst>
          </p:cNvPr>
          <p:cNvSpPr>
            <a:spLocks noGrp="1"/>
          </p:cNvSpPr>
          <p:nvPr>
            <p:ph type="title"/>
          </p:nvPr>
        </p:nvSpPr>
        <p:spPr/>
        <p:txBody>
          <a:bodyPr/>
          <a:lstStyle/>
          <a:p>
            <a:r>
              <a:rPr lang="en-US" dirty="0"/>
              <a:t>Agenda/process</a:t>
            </a:r>
          </a:p>
        </p:txBody>
      </p:sp>
      <p:sp>
        <p:nvSpPr>
          <p:cNvPr id="22" name="Slide Number Placeholder 21">
            <a:extLst>
              <a:ext uri="{FF2B5EF4-FFF2-40B4-BE49-F238E27FC236}">
                <a16:creationId xmlns:a16="http://schemas.microsoft.com/office/drawing/2014/main" id="{CD11656E-439A-437A-A928-6EB783087F35}"/>
              </a:ext>
            </a:extLst>
          </p:cNvPr>
          <p:cNvSpPr>
            <a:spLocks noGrp="1"/>
          </p:cNvSpPr>
          <p:nvPr>
            <p:ph type="sldNum" sz="quarter" idx="12"/>
          </p:nvPr>
        </p:nvSpPr>
        <p:spPr>
          <a:xfrm>
            <a:off x="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9940D52-AD77-4C6A-9DCC-3EEF87AE9DF8}" type="slidenum">
              <a:rPr lang="en-US" smtClean="0"/>
              <a:pPr/>
              <a:t>54</a:t>
            </a:fld>
            <a:endParaRPr lang="en-US"/>
          </a:p>
        </p:txBody>
      </p:sp>
      <p:grpSp>
        <p:nvGrpSpPr>
          <p:cNvPr id="25" name="Group 24">
            <a:extLst>
              <a:ext uri="{FF2B5EF4-FFF2-40B4-BE49-F238E27FC236}">
                <a16:creationId xmlns:a16="http://schemas.microsoft.com/office/drawing/2014/main" id="{7F6B01BD-63F4-4E3F-A3B4-98AD8ACF1F1D}"/>
              </a:ext>
            </a:extLst>
          </p:cNvPr>
          <p:cNvGrpSpPr/>
          <p:nvPr/>
        </p:nvGrpSpPr>
        <p:grpSpPr>
          <a:xfrm>
            <a:off x="1528174" y="4450206"/>
            <a:ext cx="5309030" cy="2605792"/>
            <a:chOff x="1093451" y="2307461"/>
            <a:chExt cx="2490725" cy="1222504"/>
          </a:xfrm>
        </p:grpSpPr>
        <p:sp>
          <p:nvSpPr>
            <p:cNvPr id="58" name="Freeform: Shape 57">
              <a:extLst>
                <a:ext uri="{FF2B5EF4-FFF2-40B4-BE49-F238E27FC236}">
                  <a16:creationId xmlns:a16="http://schemas.microsoft.com/office/drawing/2014/main" id="{CDCFAA09-1922-4EE4-B958-DD0F71FD93AD}"/>
                </a:ext>
              </a:extLst>
            </p:cNvPr>
            <p:cNvSpPr/>
            <p:nvPr/>
          </p:nvSpPr>
          <p:spPr>
            <a:xfrm rot="5400000">
              <a:off x="1093451" y="2307461"/>
              <a:ext cx="1222504" cy="1222504"/>
            </a:xfrm>
            <a:custGeom>
              <a:avLst/>
              <a:gdLst>
                <a:gd name="connsiteX0" fmla="*/ 0 w 1222504"/>
                <a:gd name="connsiteY0" fmla="*/ 0 h 1222504"/>
                <a:gd name="connsiteX1" fmla="*/ 1222504 w 1222504"/>
                <a:gd name="connsiteY1" fmla="*/ 0 h 1222504"/>
                <a:gd name="connsiteX2" fmla="*/ 1222504 w 1222504"/>
                <a:gd name="connsiteY2" fmla="*/ 1222504 h 1222504"/>
                <a:gd name="connsiteX3" fmla="*/ 1117914 w 1222504"/>
                <a:gd name="connsiteY3" fmla="*/ 1217222 h 1222504"/>
                <a:gd name="connsiteX4" fmla="*/ 5282 w 1222504"/>
                <a:gd name="connsiteY4" fmla="*/ 104590 h 1222504"/>
                <a:gd name="connsiteX5" fmla="*/ 0 w 1222504"/>
                <a:gd name="connsiteY5" fmla="*/ 0 h 1222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04" h="1222504">
                  <a:moveTo>
                    <a:pt x="0" y="0"/>
                  </a:moveTo>
                  <a:lnTo>
                    <a:pt x="1222504" y="0"/>
                  </a:lnTo>
                  <a:lnTo>
                    <a:pt x="1222504" y="1222504"/>
                  </a:lnTo>
                  <a:lnTo>
                    <a:pt x="1117914" y="1217222"/>
                  </a:lnTo>
                  <a:cubicBezTo>
                    <a:pt x="531255" y="1157644"/>
                    <a:pt x="64860" y="691249"/>
                    <a:pt x="5282" y="104590"/>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7" name="Freeform: Shape 56">
              <a:extLst>
                <a:ext uri="{FF2B5EF4-FFF2-40B4-BE49-F238E27FC236}">
                  <a16:creationId xmlns:a16="http://schemas.microsoft.com/office/drawing/2014/main" id="{ECCB6E89-34B2-4931-978C-EBE19B99F77F}"/>
                </a:ext>
              </a:extLst>
            </p:cNvPr>
            <p:cNvSpPr/>
            <p:nvPr/>
          </p:nvSpPr>
          <p:spPr>
            <a:xfrm rot="5400000">
              <a:off x="2361673" y="2307462"/>
              <a:ext cx="1222504" cy="1222502"/>
            </a:xfrm>
            <a:custGeom>
              <a:avLst/>
              <a:gdLst>
                <a:gd name="connsiteX0" fmla="*/ 0 w 1222504"/>
                <a:gd name="connsiteY0" fmla="*/ 1222502 h 1222502"/>
                <a:gd name="connsiteX1" fmla="*/ 5282 w 1222504"/>
                <a:gd name="connsiteY1" fmla="*/ 1117913 h 1222502"/>
                <a:gd name="connsiteX2" fmla="*/ 1117914 w 1222504"/>
                <a:gd name="connsiteY2" fmla="*/ 5281 h 1222502"/>
                <a:gd name="connsiteX3" fmla="*/ 1222504 w 1222504"/>
                <a:gd name="connsiteY3" fmla="*/ 0 h 1222502"/>
                <a:gd name="connsiteX4" fmla="*/ 1222504 w 1222504"/>
                <a:gd name="connsiteY4" fmla="*/ 1222502 h 1222502"/>
                <a:gd name="connsiteX5" fmla="*/ 0 w 1222504"/>
                <a:gd name="connsiteY5" fmla="*/ 1222502 h 1222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04" h="1222502">
                  <a:moveTo>
                    <a:pt x="0" y="1222502"/>
                  </a:moveTo>
                  <a:lnTo>
                    <a:pt x="5282" y="1117913"/>
                  </a:lnTo>
                  <a:cubicBezTo>
                    <a:pt x="64860" y="531254"/>
                    <a:pt x="531255" y="64859"/>
                    <a:pt x="1117914" y="5281"/>
                  </a:cubicBezTo>
                  <a:lnTo>
                    <a:pt x="1222504" y="0"/>
                  </a:lnTo>
                  <a:lnTo>
                    <a:pt x="1222504" y="1222502"/>
                  </a:lnTo>
                  <a:lnTo>
                    <a:pt x="0" y="1222502"/>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grpSp>
      <p:grpSp>
        <p:nvGrpSpPr>
          <p:cNvPr id="26" name="Group 25">
            <a:extLst>
              <a:ext uri="{FF2B5EF4-FFF2-40B4-BE49-F238E27FC236}">
                <a16:creationId xmlns:a16="http://schemas.microsoft.com/office/drawing/2014/main" id="{EB8EAFFB-BB79-49F0-808E-9270D9A028A1}"/>
              </a:ext>
            </a:extLst>
          </p:cNvPr>
          <p:cNvGrpSpPr/>
          <p:nvPr/>
        </p:nvGrpSpPr>
        <p:grpSpPr>
          <a:xfrm>
            <a:off x="6837205" y="7153449"/>
            <a:ext cx="5309026" cy="2605790"/>
            <a:chOff x="3584176" y="3575685"/>
            <a:chExt cx="2490724" cy="1222503"/>
          </a:xfrm>
        </p:grpSpPr>
        <p:sp>
          <p:nvSpPr>
            <p:cNvPr id="53" name="Freeform: Shape 52">
              <a:extLst>
                <a:ext uri="{FF2B5EF4-FFF2-40B4-BE49-F238E27FC236}">
                  <a16:creationId xmlns:a16="http://schemas.microsoft.com/office/drawing/2014/main" id="{FBFC7C05-0A79-4D04-98C7-6BC94E2485A0}"/>
                </a:ext>
              </a:extLst>
            </p:cNvPr>
            <p:cNvSpPr/>
            <p:nvPr/>
          </p:nvSpPr>
          <p:spPr>
            <a:xfrm rot="5400000">
              <a:off x="3584176" y="3575685"/>
              <a:ext cx="1222503" cy="1222504"/>
            </a:xfrm>
            <a:custGeom>
              <a:avLst/>
              <a:gdLst>
                <a:gd name="connsiteX0" fmla="*/ 0 w 1222503"/>
                <a:gd name="connsiteY0" fmla="*/ 1222504 h 1222504"/>
                <a:gd name="connsiteX1" fmla="*/ 0 w 1222503"/>
                <a:gd name="connsiteY1" fmla="*/ 0 h 1222504"/>
                <a:gd name="connsiteX2" fmla="*/ 1222503 w 1222503"/>
                <a:gd name="connsiteY2" fmla="*/ 0 h 1222504"/>
                <a:gd name="connsiteX3" fmla="*/ 1217221 w 1222503"/>
                <a:gd name="connsiteY3" fmla="*/ 104590 h 1222504"/>
                <a:gd name="connsiteX4" fmla="*/ 104589 w 1222503"/>
                <a:gd name="connsiteY4" fmla="*/ 1217222 h 1222504"/>
                <a:gd name="connsiteX5" fmla="*/ 0 w 1222503"/>
                <a:gd name="connsiteY5" fmla="*/ 1222504 h 1222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03" h="1222504">
                  <a:moveTo>
                    <a:pt x="0" y="1222504"/>
                  </a:moveTo>
                  <a:lnTo>
                    <a:pt x="0" y="0"/>
                  </a:lnTo>
                  <a:lnTo>
                    <a:pt x="1222503" y="0"/>
                  </a:lnTo>
                  <a:lnTo>
                    <a:pt x="1217221" y="104590"/>
                  </a:lnTo>
                  <a:cubicBezTo>
                    <a:pt x="1157643" y="691249"/>
                    <a:pt x="691248" y="1157644"/>
                    <a:pt x="104589" y="1217222"/>
                  </a:cubicBezTo>
                  <a:lnTo>
                    <a:pt x="0" y="122250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52" name="Freeform: Shape 51">
              <a:extLst>
                <a:ext uri="{FF2B5EF4-FFF2-40B4-BE49-F238E27FC236}">
                  <a16:creationId xmlns:a16="http://schemas.microsoft.com/office/drawing/2014/main" id="{78B7166A-E4DA-4F30-B220-95EAE77E9304}"/>
                </a:ext>
              </a:extLst>
            </p:cNvPr>
            <p:cNvSpPr/>
            <p:nvPr/>
          </p:nvSpPr>
          <p:spPr>
            <a:xfrm rot="5400000">
              <a:off x="4852398" y="3575685"/>
              <a:ext cx="1222502" cy="1222502"/>
            </a:xfrm>
            <a:custGeom>
              <a:avLst/>
              <a:gdLst>
                <a:gd name="connsiteX0" fmla="*/ 0 w 1222502"/>
                <a:gd name="connsiteY0" fmla="*/ 1222502 h 1222502"/>
                <a:gd name="connsiteX1" fmla="*/ 0 w 1222502"/>
                <a:gd name="connsiteY1" fmla="*/ 0 h 1222502"/>
                <a:gd name="connsiteX2" fmla="*/ 104589 w 1222502"/>
                <a:gd name="connsiteY2" fmla="*/ 5281 h 1222502"/>
                <a:gd name="connsiteX3" fmla="*/ 1217221 w 1222502"/>
                <a:gd name="connsiteY3" fmla="*/ 1117913 h 1222502"/>
                <a:gd name="connsiteX4" fmla="*/ 1222502 w 1222502"/>
                <a:gd name="connsiteY4" fmla="*/ 1222502 h 1222502"/>
                <a:gd name="connsiteX5" fmla="*/ 0 w 1222502"/>
                <a:gd name="connsiteY5" fmla="*/ 1222502 h 1222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02" h="1222502">
                  <a:moveTo>
                    <a:pt x="0" y="1222502"/>
                  </a:moveTo>
                  <a:lnTo>
                    <a:pt x="0" y="0"/>
                  </a:lnTo>
                  <a:lnTo>
                    <a:pt x="104589" y="5281"/>
                  </a:lnTo>
                  <a:cubicBezTo>
                    <a:pt x="691248" y="64859"/>
                    <a:pt x="1157643" y="531254"/>
                    <a:pt x="1217221" y="1117913"/>
                  </a:cubicBezTo>
                  <a:lnTo>
                    <a:pt x="1222502" y="1222502"/>
                  </a:lnTo>
                  <a:lnTo>
                    <a:pt x="0" y="1222502"/>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grpSp>
      <p:grpSp>
        <p:nvGrpSpPr>
          <p:cNvPr id="27" name="Group 26">
            <a:extLst>
              <a:ext uri="{FF2B5EF4-FFF2-40B4-BE49-F238E27FC236}">
                <a16:creationId xmlns:a16="http://schemas.microsoft.com/office/drawing/2014/main" id="{B5D2B08F-5678-4C24-91E6-4FC00C86C499}"/>
              </a:ext>
            </a:extLst>
          </p:cNvPr>
          <p:cNvGrpSpPr/>
          <p:nvPr/>
        </p:nvGrpSpPr>
        <p:grpSpPr>
          <a:xfrm>
            <a:off x="12236181" y="4450206"/>
            <a:ext cx="5309030" cy="2605792"/>
            <a:chOff x="6117100" y="2307461"/>
            <a:chExt cx="2490725" cy="1222504"/>
          </a:xfrm>
        </p:grpSpPr>
        <p:sp>
          <p:nvSpPr>
            <p:cNvPr id="68" name="Freeform: Shape 67">
              <a:extLst>
                <a:ext uri="{FF2B5EF4-FFF2-40B4-BE49-F238E27FC236}">
                  <a16:creationId xmlns:a16="http://schemas.microsoft.com/office/drawing/2014/main" id="{A6140376-98F0-4EDE-BA25-90077C84EC38}"/>
                </a:ext>
              </a:extLst>
            </p:cNvPr>
            <p:cNvSpPr/>
            <p:nvPr/>
          </p:nvSpPr>
          <p:spPr>
            <a:xfrm rot="5400000">
              <a:off x="6117100" y="2307461"/>
              <a:ext cx="1222504" cy="1222504"/>
            </a:xfrm>
            <a:custGeom>
              <a:avLst/>
              <a:gdLst>
                <a:gd name="connsiteX0" fmla="*/ 0 w 1222504"/>
                <a:gd name="connsiteY0" fmla="*/ 0 h 1222504"/>
                <a:gd name="connsiteX1" fmla="*/ 1222504 w 1222504"/>
                <a:gd name="connsiteY1" fmla="*/ 0 h 1222504"/>
                <a:gd name="connsiteX2" fmla="*/ 1222504 w 1222504"/>
                <a:gd name="connsiteY2" fmla="*/ 1222504 h 1222504"/>
                <a:gd name="connsiteX3" fmla="*/ 1117914 w 1222504"/>
                <a:gd name="connsiteY3" fmla="*/ 1217222 h 1222504"/>
                <a:gd name="connsiteX4" fmla="*/ 5282 w 1222504"/>
                <a:gd name="connsiteY4" fmla="*/ 104590 h 1222504"/>
                <a:gd name="connsiteX5" fmla="*/ 0 w 1222504"/>
                <a:gd name="connsiteY5" fmla="*/ 0 h 1222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04" h="1222504">
                  <a:moveTo>
                    <a:pt x="0" y="0"/>
                  </a:moveTo>
                  <a:lnTo>
                    <a:pt x="1222504" y="0"/>
                  </a:lnTo>
                  <a:lnTo>
                    <a:pt x="1222504" y="1222504"/>
                  </a:lnTo>
                  <a:lnTo>
                    <a:pt x="1117914" y="1217222"/>
                  </a:lnTo>
                  <a:cubicBezTo>
                    <a:pt x="531255" y="1157644"/>
                    <a:pt x="64860" y="691249"/>
                    <a:pt x="5282" y="104590"/>
                  </a:cubicBezTo>
                  <a:lnTo>
                    <a:pt x="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69" name="Freeform: Shape 68">
              <a:extLst>
                <a:ext uri="{FF2B5EF4-FFF2-40B4-BE49-F238E27FC236}">
                  <a16:creationId xmlns:a16="http://schemas.microsoft.com/office/drawing/2014/main" id="{2CDDF675-FDF6-4E3F-AA00-E1FE029385FA}"/>
                </a:ext>
              </a:extLst>
            </p:cNvPr>
            <p:cNvSpPr/>
            <p:nvPr/>
          </p:nvSpPr>
          <p:spPr>
            <a:xfrm rot="5400000">
              <a:off x="7385322" y="2307462"/>
              <a:ext cx="1222504" cy="1222502"/>
            </a:xfrm>
            <a:custGeom>
              <a:avLst/>
              <a:gdLst>
                <a:gd name="connsiteX0" fmla="*/ 0 w 1222504"/>
                <a:gd name="connsiteY0" fmla="*/ 1222502 h 1222502"/>
                <a:gd name="connsiteX1" fmla="*/ 5282 w 1222504"/>
                <a:gd name="connsiteY1" fmla="*/ 1117913 h 1222502"/>
                <a:gd name="connsiteX2" fmla="*/ 1117914 w 1222504"/>
                <a:gd name="connsiteY2" fmla="*/ 5281 h 1222502"/>
                <a:gd name="connsiteX3" fmla="*/ 1222504 w 1222504"/>
                <a:gd name="connsiteY3" fmla="*/ 0 h 1222502"/>
                <a:gd name="connsiteX4" fmla="*/ 1222504 w 1222504"/>
                <a:gd name="connsiteY4" fmla="*/ 1222502 h 1222502"/>
                <a:gd name="connsiteX5" fmla="*/ 0 w 1222504"/>
                <a:gd name="connsiteY5" fmla="*/ 1222502 h 1222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04" h="1222502">
                  <a:moveTo>
                    <a:pt x="0" y="1222502"/>
                  </a:moveTo>
                  <a:lnTo>
                    <a:pt x="5282" y="1117913"/>
                  </a:lnTo>
                  <a:cubicBezTo>
                    <a:pt x="64860" y="531254"/>
                    <a:pt x="531255" y="64859"/>
                    <a:pt x="1117914" y="5281"/>
                  </a:cubicBezTo>
                  <a:lnTo>
                    <a:pt x="1222504" y="0"/>
                  </a:lnTo>
                  <a:lnTo>
                    <a:pt x="1222504" y="1222502"/>
                  </a:lnTo>
                  <a:lnTo>
                    <a:pt x="0" y="122250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grpSp>
      <p:grpSp>
        <p:nvGrpSpPr>
          <p:cNvPr id="28" name="Group 27">
            <a:extLst>
              <a:ext uri="{FF2B5EF4-FFF2-40B4-BE49-F238E27FC236}">
                <a16:creationId xmlns:a16="http://schemas.microsoft.com/office/drawing/2014/main" id="{F4D44B41-9643-42C8-94CD-645849EC7037}"/>
              </a:ext>
            </a:extLst>
          </p:cNvPr>
          <p:cNvGrpSpPr/>
          <p:nvPr/>
        </p:nvGrpSpPr>
        <p:grpSpPr>
          <a:xfrm>
            <a:off x="17545212" y="7153449"/>
            <a:ext cx="5309026" cy="2605790"/>
            <a:chOff x="8607825" y="3575685"/>
            <a:chExt cx="2490724" cy="1222503"/>
          </a:xfrm>
        </p:grpSpPr>
        <p:sp>
          <p:nvSpPr>
            <p:cNvPr id="70" name="Freeform: Shape 69">
              <a:extLst>
                <a:ext uri="{FF2B5EF4-FFF2-40B4-BE49-F238E27FC236}">
                  <a16:creationId xmlns:a16="http://schemas.microsoft.com/office/drawing/2014/main" id="{F53809C0-33FA-4289-86CC-67BCA9321D40}"/>
                </a:ext>
              </a:extLst>
            </p:cNvPr>
            <p:cNvSpPr/>
            <p:nvPr/>
          </p:nvSpPr>
          <p:spPr>
            <a:xfrm rot="5400000">
              <a:off x="8607825" y="3575685"/>
              <a:ext cx="1222503" cy="1222504"/>
            </a:xfrm>
            <a:custGeom>
              <a:avLst/>
              <a:gdLst>
                <a:gd name="connsiteX0" fmla="*/ 0 w 1222503"/>
                <a:gd name="connsiteY0" fmla="*/ 1222504 h 1222504"/>
                <a:gd name="connsiteX1" fmla="*/ 0 w 1222503"/>
                <a:gd name="connsiteY1" fmla="*/ 0 h 1222504"/>
                <a:gd name="connsiteX2" fmla="*/ 1222503 w 1222503"/>
                <a:gd name="connsiteY2" fmla="*/ 0 h 1222504"/>
                <a:gd name="connsiteX3" fmla="*/ 1217221 w 1222503"/>
                <a:gd name="connsiteY3" fmla="*/ 104590 h 1222504"/>
                <a:gd name="connsiteX4" fmla="*/ 104589 w 1222503"/>
                <a:gd name="connsiteY4" fmla="*/ 1217222 h 1222504"/>
                <a:gd name="connsiteX5" fmla="*/ 0 w 1222503"/>
                <a:gd name="connsiteY5" fmla="*/ 1222504 h 1222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03" h="1222504">
                  <a:moveTo>
                    <a:pt x="0" y="1222504"/>
                  </a:moveTo>
                  <a:lnTo>
                    <a:pt x="0" y="0"/>
                  </a:lnTo>
                  <a:lnTo>
                    <a:pt x="1222503" y="0"/>
                  </a:lnTo>
                  <a:lnTo>
                    <a:pt x="1217221" y="104590"/>
                  </a:lnTo>
                  <a:cubicBezTo>
                    <a:pt x="1157643" y="691249"/>
                    <a:pt x="691248" y="1157644"/>
                    <a:pt x="104589" y="1217222"/>
                  </a:cubicBezTo>
                  <a:lnTo>
                    <a:pt x="0" y="1222504"/>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71" name="Freeform: Shape 70">
              <a:extLst>
                <a:ext uri="{FF2B5EF4-FFF2-40B4-BE49-F238E27FC236}">
                  <a16:creationId xmlns:a16="http://schemas.microsoft.com/office/drawing/2014/main" id="{081DFD5C-8B66-4381-83AD-2C9A687912E2}"/>
                </a:ext>
              </a:extLst>
            </p:cNvPr>
            <p:cNvSpPr/>
            <p:nvPr/>
          </p:nvSpPr>
          <p:spPr>
            <a:xfrm rot="5400000">
              <a:off x="9876047" y="3575685"/>
              <a:ext cx="1222502" cy="1222502"/>
            </a:xfrm>
            <a:custGeom>
              <a:avLst/>
              <a:gdLst>
                <a:gd name="connsiteX0" fmla="*/ 0 w 1222502"/>
                <a:gd name="connsiteY0" fmla="*/ 1222502 h 1222502"/>
                <a:gd name="connsiteX1" fmla="*/ 0 w 1222502"/>
                <a:gd name="connsiteY1" fmla="*/ 0 h 1222502"/>
                <a:gd name="connsiteX2" fmla="*/ 104589 w 1222502"/>
                <a:gd name="connsiteY2" fmla="*/ 5281 h 1222502"/>
                <a:gd name="connsiteX3" fmla="*/ 1217221 w 1222502"/>
                <a:gd name="connsiteY3" fmla="*/ 1117913 h 1222502"/>
                <a:gd name="connsiteX4" fmla="*/ 1222502 w 1222502"/>
                <a:gd name="connsiteY4" fmla="*/ 1222502 h 1222502"/>
                <a:gd name="connsiteX5" fmla="*/ 0 w 1222502"/>
                <a:gd name="connsiteY5" fmla="*/ 1222502 h 1222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02" h="1222502">
                  <a:moveTo>
                    <a:pt x="0" y="1222502"/>
                  </a:moveTo>
                  <a:lnTo>
                    <a:pt x="0" y="0"/>
                  </a:lnTo>
                  <a:lnTo>
                    <a:pt x="104589" y="5281"/>
                  </a:lnTo>
                  <a:cubicBezTo>
                    <a:pt x="691248" y="64859"/>
                    <a:pt x="1157643" y="531254"/>
                    <a:pt x="1217221" y="1117913"/>
                  </a:cubicBezTo>
                  <a:lnTo>
                    <a:pt x="1222502" y="1222502"/>
                  </a:lnTo>
                  <a:lnTo>
                    <a:pt x="0" y="122250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grpSp>
      <p:sp>
        <p:nvSpPr>
          <p:cNvPr id="72" name="TextBox 71">
            <a:extLst>
              <a:ext uri="{FF2B5EF4-FFF2-40B4-BE49-F238E27FC236}">
                <a16:creationId xmlns:a16="http://schemas.microsoft.com/office/drawing/2014/main" id="{E92450E5-7D89-4CCC-9D1D-D1564DE213AF}"/>
              </a:ext>
            </a:extLst>
          </p:cNvPr>
          <p:cNvSpPr txBox="1"/>
          <p:nvPr/>
        </p:nvSpPr>
        <p:spPr>
          <a:xfrm>
            <a:off x="2233589" y="5696359"/>
            <a:ext cx="1694408" cy="1107996"/>
          </a:xfrm>
          <a:prstGeom prst="rect">
            <a:avLst/>
          </a:prstGeom>
          <a:noFill/>
        </p:spPr>
        <p:txBody>
          <a:bodyPr wrap="square" lIns="0" tIns="0" rIns="0" bIns="0" rtlCol="0" anchor="ctr">
            <a:spAutoFit/>
          </a:bodyPr>
          <a:lstStyle/>
          <a:p>
            <a:pPr algn="ctr"/>
            <a:r>
              <a:rPr lang="en-US" sz="7200" b="1" dirty="0">
                <a:solidFill>
                  <a:schemeClr val="bg1"/>
                </a:solidFill>
                <a:latin typeface="+mj-lt"/>
              </a:rPr>
              <a:t>01</a:t>
            </a:r>
          </a:p>
        </p:txBody>
      </p:sp>
      <p:sp>
        <p:nvSpPr>
          <p:cNvPr id="73" name="TextBox 72">
            <a:extLst>
              <a:ext uri="{FF2B5EF4-FFF2-40B4-BE49-F238E27FC236}">
                <a16:creationId xmlns:a16="http://schemas.microsoft.com/office/drawing/2014/main" id="{DE98A262-735A-4290-8A1D-88AA73E4F2CE}"/>
              </a:ext>
            </a:extLst>
          </p:cNvPr>
          <p:cNvSpPr txBox="1"/>
          <p:nvPr/>
        </p:nvSpPr>
        <p:spPr>
          <a:xfrm>
            <a:off x="12810101" y="5696359"/>
            <a:ext cx="1694408" cy="1107996"/>
          </a:xfrm>
          <a:prstGeom prst="rect">
            <a:avLst/>
          </a:prstGeom>
          <a:noFill/>
        </p:spPr>
        <p:txBody>
          <a:bodyPr wrap="square" lIns="0" tIns="0" rIns="0" bIns="0" rtlCol="0" anchor="ctr">
            <a:spAutoFit/>
          </a:bodyPr>
          <a:lstStyle/>
          <a:p>
            <a:pPr algn="ctr"/>
            <a:r>
              <a:rPr lang="en-US" sz="7200" b="1" dirty="0">
                <a:solidFill>
                  <a:schemeClr val="bg1"/>
                </a:solidFill>
                <a:latin typeface="+mj-lt"/>
              </a:rPr>
              <a:t>03</a:t>
            </a:r>
          </a:p>
        </p:txBody>
      </p:sp>
      <p:sp>
        <p:nvSpPr>
          <p:cNvPr id="74" name="TextBox 73">
            <a:extLst>
              <a:ext uri="{FF2B5EF4-FFF2-40B4-BE49-F238E27FC236}">
                <a16:creationId xmlns:a16="http://schemas.microsoft.com/office/drawing/2014/main" id="{6DA78CAF-EE1E-46C1-88FE-711796FA5432}"/>
              </a:ext>
            </a:extLst>
          </p:cNvPr>
          <p:cNvSpPr txBox="1"/>
          <p:nvPr/>
        </p:nvSpPr>
        <p:spPr>
          <a:xfrm>
            <a:off x="7521845" y="7338986"/>
            <a:ext cx="1694408" cy="1107996"/>
          </a:xfrm>
          <a:prstGeom prst="rect">
            <a:avLst/>
          </a:prstGeom>
          <a:noFill/>
        </p:spPr>
        <p:txBody>
          <a:bodyPr wrap="square" lIns="0" tIns="0" rIns="0" bIns="0" rtlCol="0" anchor="ctr">
            <a:spAutoFit/>
          </a:bodyPr>
          <a:lstStyle/>
          <a:p>
            <a:pPr algn="ctr"/>
            <a:r>
              <a:rPr lang="en-US" sz="7200" b="1" dirty="0">
                <a:solidFill>
                  <a:schemeClr val="bg1"/>
                </a:solidFill>
                <a:latin typeface="+mj-lt"/>
              </a:rPr>
              <a:t>02</a:t>
            </a:r>
          </a:p>
        </p:txBody>
      </p:sp>
      <p:sp>
        <p:nvSpPr>
          <p:cNvPr id="75" name="TextBox 74">
            <a:extLst>
              <a:ext uri="{FF2B5EF4-FFF2-40B4-BE49-F238E27FC236}">
                <a16:creationId xmlns:a16="http://schemas.microsoft.com/office/drawing/2014/main" id="{0F6F944A-A29D-44A9-92F2-37FE9AE6AF55}"/>
              </a:ext>
            </a:extLst>
          </p:cNvPr>
          <p:cNvSpPr txBox="1"/>
          <p:nvPr/>
        </p:nvSpPr>
        <p:spPr>
          <a:xfrm>
            <a:off x="18098354" y="7338986"/>
            <a:ext cx="1694408" cy="1107996"/>
          </a:xfrm>
          <a:prstGeom prst="rect">
            <a:avLst/>
          </a:prstGeom>
          <a:noFill/>
        </p:spPr>
        <p:txBody>
          <a:bodyPr wrap="square" lIns="0" tIns="0" rIns="0" bIns="0" rtlCol="0" anchor="ctr">
            <a:spAutoFit/>
          </a:bodyPr>
          <a:lstStyle/>
          <a:p>
            <a:pPr algn="ctr"/>
            <a:r>
              <a:rPr lang="en-US" sz="7200" b="1" dirty="0">
                <a:solidFill>
                  <a:schemeClr val="bg1"/>
                </a:solidFill>
                <a:latin typeface="+mj-lt"/>
              </a:rPr>
              <a:t>04</a:t>
            </a:r>
          </a:p>
        </p:txBody>
      </p:sp>
      <p:grpSp>
        <p:nvGrpSpPr>
          <p:cNvPr id="76" name="Group 75">
            <a:extLst>
              <a:ext uri="{FF2B5EF4-FFF2-40B4-BE49-F238E27FC236}">
                <a16:creationId xmlns:a16="http://schemas.microsoft.com/office/drawing/2014/main" id="{4A7948EA-6127-4A18-A6DA-B073ED268839}"/>
              </a:ext>
            </a:extLst>
          </p:cNvPr>
          <p:cNvGrpSpPr/>
          <p:nvPr/>
        </p:nvGrpSpPr>
        <p:grpSpPr>
          <a:xfrm>
            <a:off x="15694602" y="5965398"/>
            <a:ext cx="611940" cy="569919"/>
            <a:chOff x="11035452" y="1366816"/>
            <a:chExt cx="287091" cy="267377"/>
          </a:xfrm>
          <a:solidFill>
            <a:schemeClr val="bg1"/>
          </a:solidFill>
        </p:grpSpPr>
        <p:sp>
          <p:nvSpPr>
            <p:cNvPr id="77" name="Freeform 255">
              <a:extLst>
                <a:ext uri="{FF2B5EF4-FFF2-40B4-BE49-F238E27FC236}">
                  <a16:creationId xmlns:a16="http://schemas.microsoft.com/office/drawing/2014/main" id="{12F4083D-D032-411A-93E9-7D874AE4243D}"/>
                </a:ext>
              </a:extLst>
            </p:cNvPr>
            <p:cNvSpPr>
              <a:spLocks noEditPoints="1"/>
            </p:cNvSpPr>
            <p:nvPr/>
          </p:nvSpPr>
          <p:spPr bwMode="auto">
            <a:xfrm>
              <a:off x="11035452" y="1453067"/>
              <a:ext cx="287091" cy="181126"/>
            </a:xfrm>
            <a:custGeom>
              <a:avLst/>
              <a:gdLst>
                <a:gd name="T0" fmla="*/ 31 w 932"/>
                <a:gd name="T1" fmla="*/ 31 h 591"/>
                <a:gd name="T2" fmla="*/ 901 w 932"/>
                <a:gd name="T3" fmla="*/ 31 h 591"/>
                <a:gd name="T4" fmla="*/ 901 w 932"/>
                <a:gd name="T5" fmla="*/ 520 h 591"/>
                <a:gd name="T6" fmla="*/ 901 w 932"/>
                <a:gd name="T7" fmla="*/ 528 h 591"/>
                <a:gd name="T8" fmla="*/ 897 w 932"/>
                <a:gd name="T9" fmla="*/ 536 h 591"/>
                <a:gd name="T10" fmla="*/ 894 w 932"/>
                <a:gd name="T11" fmla="*/ 542 h 591"/>
                <a:gd name="T12" fmla="*/ 889 w 932"/>
                <a:gd name="T13" fmla="*/ 548 h 591"/>
                <a:gd name="T14" fmla="*/ 883 w 932"/>
                <a:gd name="T15" fmla="*/ 552 h 591"/>
                <a:gd name="T16" fmla="*/ 876 w 932"/>
                <a:gd name="T17" fmla="*/ 557 h 591"/>
                <a:gd name="T18" fmla="*/ 868 w 932"/>
                <a:gd name="T19" fmla="*/ 559 h 591"/>
                <a:gd name="T20" fmla="*/ 859 w 932"/>
                <a:gd name="T21" fmla="*/ 560 h 591"/>
                <a:gd name="T22" fmla="*/ 72 w 932"/>
                <a:gd name="T23" fmla="*/ 560 h 591"/>
                <a:gd name="T24" fmla="*/ 64 w 932"/>
                <a:gd name="T25" fmla="*/ 559 h 591"/>
                <a:gd name="T26" fmla="*/ 56 w 932"/>
                <a:gd name="T27" fmla="*/ 557 h 591"/>
                <a:gd name="T28" fmla="*/ 48 w 932"/>
                <a:gd name="T29" fmla="*/ 552 h 591"/>
                <a:gd name="T30" fmla="*/ 43 w 932"/>
                <a:gd name="T31" fmla="*/ 548 h 591"/>
                <a:gd name="T32" fmla="*/ 37 w 932"/>
                <a:gd name="T33" fmla="*/ 542 h 591"/>
                <a:gd name="T34" fmla="*/ 34 w 932"/>
                <a:gd name="T35" fmla="*/ 536 h 591"/>
                <a:gd name="T36" fmla="*/ 32 w 932"/>
                <a:gd name="T37" fmla="*/ 528 h 591"/>
                <a:gd name="T38" fmla="*/ 31 w 932"/>
                <a:gd name="T39" fmla="*/ 520 h 591"/>
                <a:gd name="T40" fmla="*/ 31 w 932"/>
                <a:gd name="T41" fmla="*/ 31 h 591"/>
                <a:gd name="T42" fmla="*/ 0 w 932"/>
                <a:gd name="T43" fmla="*/ 520 h 591"/>
                <a:gd name="T44" fmla="*/ 0 w 932"/>
                <a:gd name="T45" fmla="*/ 527 h 591"/>
                <a:gd name="T46" fmla="*/ 1 w 932"/>
                <a:gd name="T47" fmla="*/ 534 h 591"/>
                <a:gd name="T48" fmla="*/ 3 w 932"/>
                <a:gd name="T49" fmla="*/ 540 h 591"/>
                <a:gd name="T50" fmla="*/ 5 w 932"/>
                <a:gd name="T51" fmla="*/ 547 h 591"/>
                <a:gd name="T52" fmla="*/ 8 w 932"/>
                <a:gd name="T53" fmla="*/ 554 h 591"/>
                <a:gd name="T54" fmla="*/ 12 w 932"/>
                <a:gd name="T55" fmla="*/ 559 h 591"/>
                <a:gd name="T56" fmla="*/ 16 w 932"/>
                <a:gd name="T57" fmla="*/ 565 h 591"/>
                <a:gd name="T58" fmla="*/ 21 w 932"/>
                <a:gd name="T59" fmla="*/ 569 h 591"/>
                <a:gd name="T60" fmla="*/ 26 w 932"/>
                <a:gd name="T61" fmla="*/ 575 h 591"/>
                <a:gd name="T62" fmla="*/ 32 w 932"/>
                <a:gd name="T63" fmla="*/ 578 h 591"/>
                <a:gd name="T64" fmla="*/ 37 w 932"/>
                <a:gd name="T65" fmla="*/ 582 h 591"/>
                <a:gd name="T66" fmla="*/ 44 w 932"/>
                <a:gd name="T67" fmla="*/ 585 h 591"/>
                <a:gd name="T68" fmla="*/ 49 w 932"/>
                <a:gd name="T69" fmla="*/ 588 h 591"/>
                <a:gd name="T70" fmla="*/ 57 w 932"/>
                <a:gd name="T71" fmla="*/ 589 h 591"/>
                <a:gd name="T72" fmla="*/ 64 w 932"/>
                <a:gd name="T73" fmla="*/ 590 h 591"/>
                <a:gd name="T74" fmla="*/ 72 w 932"/>
                <a:gd name="T75" fmla="*/ 591 h 591"/>
                <a:gd name="T76" fmla="*/ 861 w 932"/>
                <a:gd name="T77" fmla="*/ 591 h 591"/>
                <a:gd name="T78" fmla="*/ 861 w 932"/>
                <a:gd name="T79" fmla="*/ 591 h 591"/>
                <a:gd name="T80" fmla="*/ 868 w 932"/>
                <a:gd name="T81" fmla="*/ 590 h 591"/>
                <a:gd name="T82" fmla="*/ 875 w 932"/>
                <a:gd name="T83" fmla="*/ 589 h 591"/>
                <a:gd name="T84" fmla="*/ 882 w 932"/>
                <a:gd name="T85" fmla="*/ 588 h 591"/>
                <a:gd name="T86" fmla="*/ 888 w 932"/>
                <a:gd name="T87" fmla="*/ 585 h 591"/>
                <a:gd name="T88" fmla="*/ 895 w 932"/>
                <a:gd name="T89" fmla="*/ 582 h 591"/>
                <a:gd name="T90" fmla="*/ 901 w 932"/>
                <a:gd name="T91" fmla="*/ 578 h 591"/>
                <a:gd name="T92" fmla="*/ 906 w 932"/>
                <a:gd name="T93" fmla="*/ 575 h 591"/>
                <a:gd name="T94" fmla="*/ 911 w 932"/>
                <a:gd name="T95" fmla="*/ 569 h 591"/>
                <a:gd name="T96" fmla="*/ 916 w 932"/>
                <a:gd name="T97" fmla="*/ 565 h 591"/>
                <a:gd name="T98" fmla="*/ 919 w 932"/>
                <a:gd name="T99" fmla="*/ 559 h 591"/>
                <a:gd name="T100" fmla="*/ 924 w 932"/>
                <a:gd name="T101" fmla="*/ 554 h 591"/>
                <a:gd name="T102" fmla="*/ 926 w 932"/>
                <a:gd name="T103" fmla="*/ 547 h 591"/>
                <a:gd name="T104" fmla="*/ 928 w 932"/>
                <a:gd name="T105" fmla="*/ 540 h 591"/>
                <a:gd name="T106" fmla="*/ 931 w 932"/>
                <a:gd name="T107" fmla="*/ 534 h 591"/>
                <a:gd name="T108" fmla="*/ 932 w 932"/>
                <a:gd name="T109" fmla="*/ 527 h 591"/>
                <a:gd name="T110" fmla="*/ 932 w 932"/>
                <a:gd name="T111" fmla="*/ 520 h 591"/>
                <a:gd name="T112" fmla="*/ 932 w 932"/>
                <a:gd name="T113" fmla="*/ 0 h 591"/>
                <a:gd name="T114" fmla="*/ 0 w 932"/>
                <a:gd name="T115" fmla="*/ 0 h 591"/>
                <a:gd name="T116" fmla="*/ 0 w 932"/>
                <a:gd name="T117" fmla="*/ 52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32" h="591">
                  <a:moveTo>
                    <a:pt x="31" y="31"/>
                  </a:moveTo>
                  <a:lnTo>
                    <a:pt x="901" y="31"/>
                  </a:lnTo>
                  <a:lnTo>
                    <a:pt x="901" y="520"/>
                  </a:lnTo>
                  <a:lnTo>
                    <a:pt x="901" y="528"/>
                  </a:lnTo>
                  <a:lnTo>
                    <a:pt x="897" y="536"/>
                  </a:lnTo>
                  <a:lnTo>
                    <a:pt x="894" y="542"/>
                  </a:lnTo>
                  <a:lnTo>
                    <a:pt x="889" y="548"/>
                  </a:lnTo>
                  <a:lnTo>
                    <a:pt x="883" y="552"/>
                  </a:lnTo>
                  <a:lnTo>
                    <a:pt x="876" y="557"/>
                  </a:lnTo>
                  <a:lnTo>
                    <a:pt x="868" y="559"/>
                  </a:lnTo>
                  <a:lnTo>
                    <a:pt x="859" y="560"/>
                  </a:lnTo>
                  <a:lnTo>
                    <a:pt x="72" y="560"/>
                  </a:lnTo>
                  <a:lnTo>
                    <a:pt x="64" y="559"/>
                  </a:lnTo>
                  <a:lnTo>
                    <a:pt x="56" y="557"/>
                  </a:lnTo>
                  <a:lnTo>
                    <a:pt x="48" y="552"/>
                  </a:lnTo>
                  <a:lnTo>
                    <a:pt x="43" y="548"/>
                  </a:lnTo>
                  <a:lnTo>
                    <a:pt x="37" y="542"/>
                  </a:lnTo>
                  <a:lnTo>
                    <a:pt x="34" y="536"/>
                  </a:lnTo>
                  <a:lnTo>
                    <a:pt x="32" y="528"/>
                  </a:lnTo>
                  <a:lnTo>
                    <a:pt x="31" y="520"/>
                  </a:lnTo>
                  <a:lnTo>
                    <a:pt x="31" y="31"/>
                  </a:lnTo>
                  <a:close/>
                  <a:moveTo>
                    <a:pt x="0" y="520"/>
                  </a:moveTo>
                  <a:lnTo>
                    <a:pt x="0" y="527"/>
                  </a:lnTo>
                  <a:lnTo>
                    <a:pt x="1" y="534"/>
                  </a:lnTo>
                  <a:lnTo>
                    <a:pt x="3" y="540"/>
                  </a:lnTo>
                  <a:lnTo>
                    <a:pt x="5" y="547"/>
                  </a:lnTo>
                  <a:lnTo>
                    <a:pt x="8" y="554"/>
                  </a:lnTo>
                  <a:lnTo>
                    <a:pt x="12" y="559"/>
                  </a:lnTo>
                  <a:lnTo>
                    <a:pt x="16" y="565"/>
                  </a:lnTo>
                  <a:lnTo>
                    <a:pt x="21" y="569"/>
                  </a:lnTo>
                  <a:lnTo>
                    <a:pt x="26" y="575"/>
                  </a:lnTo>
                  <a:lnTo>
                    <a:pt x="32" y="578"/>
                  </a:lnTo>
                  <a:lnTo>
                    <a:pt x="37" y="582"/>
                  </a:lnTo>
                  <a:lnTo>
                    <a:pt x="44" y="585"/>
                  </a:lnTo>
                  <a:lnTo>
                    <a:pt x="49" y="588"/>
                  </a:lnTo>
                  <a:lnTo>
                    <a:pt x="57" y="589"/>
                  </a:lnTo>
                  <a:lnTo>
                    <a:pt x="64" y="590"/>
                  </a:lnTo>
                  <a:lnTo>
                    <a:pt x="72" y="591"/>
                  </a:lnTo>
                  <a:lnTo>
                    <a:pt x="861" y="591"/>
                  </a:lnTo>
                  <a:lnTo>
                    <a:pt x="861" y="591"/>
                  </a:lnTo>
                  <a:lnTo>
                    <a:pt x="868" y="590"/>
                  </a:lnTo>
                  <a:lnTo>
                    <a:pt x="875" y="589"/>
                  </a:lnTo>
                  <a:lnTo>
                    <a:pt x="882" y="588"/>
                  </a:lnTo>
                  <a:lnTo>
                    <a:pt x="888" y="585"/>
                  </a:lnTo>
                  <a:lnTo>
                    <a:pt x="895" y="582"/>
                  </a:lnTo>
                  <a:lnTo>
                    <a:pt x="901" y="578"/>
                  </a:lnTo>
                  <a:lnTo>
                    <a:pt x="906" y="575"/>
                  </a:lnTo>
                  <a:lnTo>
                    <a:pt x="911" y="569"/>
                  </a:lnTo>
                  <a:lnTo>
                    <a:pt x="916" y="565"/>
                  </a:lnTo>
                  <a:lnTo>
                    <a:pt x="919" y="559"/>
                  </a:lnTo>
                  <a:lnTo>
                    <a:pt x="924" y="554"/>
                  </a:lnTo>
                  <a:lnTo>
                    <a:pt x="926" y="547"/>
                  </a:lnTo>
                  <a:lnTo>
                    <a:pt x="928" y="540"/>
                  </a:lnTo>
                  <a:lnTo>
                    <a:pt x="931" y="534"/>
                  </a:lnTo>
                  <a:lnTo>
                    <a:pt x="932" y="527"/>
                  </a:lnTo>
                  <a:lnTo>
                    <a:pt x="932" y="520"/>
                  </a:lnTo>
                  <a:lnTo>
                    <a:pt x="932" y="0"/>
                  </a:lnTo>
                  <a:lnTo>
                    <a:pt x="0" y="0"/>
                  </a:lnTo>
                  <a:lnTo>
                    <a:pt x="0" y="5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78" name="Freeform 256">
              <a:extLst>
                <a:ext uri="{FF2B5EF4-FFF2-40B4-BE49-F238E27FC236}">
                  <a16:creationId xmlns:a16="http://schemas.microsoft.com/office/drawing/2014/main" id="{8FE6DEC3-1B2A-4799-83C8-87FC96129F90}"/>
                </a:ext>
              </a:extLst>
            </p:cNvPr>
            <p:cNvSpPr>
              <a:spLocks noEditPoints="1"/>
            </p:cNvSpPr>
            <p:nvPr/>
          </p:nvSpPr>
          <p:spPr bwMode="auto">
            <a:xfrm>
              <a:off x="11130328" y="1492495"/>
              <a:ext cx="107197" cy="105965"/>
            </a:xfrm>
            <a:custGeom>
              <a:avLst/>
              <a:gdLst>
                <a:gd name="T0" fmla="*/ 31 w 346"/>
                <a:gd name="T1" fmla="*/ 41 h 344"/>
                <a:gd name="T2" fmla="*/ 296 w 346"/>
                <a:gd name="T3" fmla="*/ 172 h 344"/>
                <a:gd name="T4" fmla="*/ 31 w 346"/>
                <a:gd name="T5" fmla="*/ 304 h 344"/>
                <a:gd name="T6" fmla="*/ 31 w 346"/>
                <a:gd name="T7" fmla="*/ 41 h 344"/>
                <a:gd name="T8" fmla="*/ 6 w 346"/>
                <a:gd name="T9" fmla="*/ 342 h 344"/>
                <a:gd name="T10" fmla="*/ 11 w 346"/>
                <a:gd name="T11" fmla="*/ 344 h 344"/>
                <a:gd name="T12" fmla="*/ 15 w 346"/>
                <a:gd name="T13" fmla="*/ 344 h 344"/>
                <a:gd name="T14" fmla="*/ 18 w 346"/>
                <a:gd name="T15" fmla="*/ 344 h 344"/>
                <a:gd name="T16" fmla="*/ 22 w 346"/>
                <a:gd name="T17" fmla="*/ 343 h 344"/>
                <a:gd name="T18" fmla="*/ 338 w 346"/>
                <a:gd name="T19" fmla="*/ 187 h 344"/>
                <a:gd name="T20" fmla="*/ 342 w 346"/>
                <a:gd name="T21" fmla="*/ 184 h 344"/>
                <a:gd name="T22" fmla="*/ 344 w 346"/>
                <a:gd name="T23" fmla="*/ 181 h 344"/>
                <a:gd name="T24" fmla="*/ 346 w 346"/>
                <a:gd name="T25" fmla="*/ 177 h 344"/>
                <a:gd name="T26" fmla="*/ 346 w 346"/>
                <a:gd name="T27" fmla="*/ 172 h 344"/>
                <a:gd name="T28" fmla="*/ 346 w 346"/>
                <a:gd name="T29" fmla="*/ 168 h 344"/>
                <a:gd name="T30" fmla="*/ 344 w 346"/>
                <a:gd name="T31" fmla="*/ 164 h 344"/>
                <a:gd name="T32" fmla="*/ 342 w 346"/>
                <a:gd name="T33" fmla="*/ 161 h 344"/>
                <a:gd name="T34" fmla="*/ 338 w 346"/>
                <a:gd name="T35" fmla="*/ 159 h 344"/>
                <a:gd name="T36" fmla="*/ 22 w 346"/>
                <a:gd name="T37" fmla="*/ 2 h 344"/>
                <a:gd name="T38" fmla="*/ 18 w 346"/>
                <a:gd name="T39" fmla="*/ 1 h 344"/>
                <a:gd name="T40" fmla="*/ 14 w 346"/>
                <a:gd name="T41" fmla="*/ 0 h 344"/>
                <a:gd name="T42" fmla="*/ 11 w 346"/>
                <a:gd name="T43" fmla="*/ 1 h 344"/>
                <a:gd name="T44" fmla="*/ 6 w 346"/>
                <a:gd name="T45" fmla="*/ 2 h 344"/>
                <a:gd name="T46" fmla="*/ 4 w 346"/>
                <a:gd name="T47" fmla="*/ 6 h 344"/>
                <a:gd name="T48" fmla="*/ 2 w 346"/>
                <a:gd name="T49" fmla="*/ 8 h 344"/>
                <a:gd name="T50" fmla="*/ 0 w 346"/>
                <a:gd name="T51" fmla="*/ 12 h 344"/>
                <a:gd name="T52" fmla="*/ 0 w 346"/>
                <a:gd name="T53" fmla="*/ 16 h 344"/>
                <a:gd name="T54" fmla="*/ 0 w 346"/>
                <a:gd name="T55" fmla="*/ 329 h 344"/>
                <a:gd name="T56" fmla="*/ 0 w 346"/>
                <a:gd name="T57" fmla="*/ 333 h 344"/>
                <a:gd name="T58" fmla="*/ 2 w 346"/>
                <a:gd name="T59" fmla="*/ 337 h 344"/>
                <a:gd name="T60" fmla="*/ 4 w 346"/>
                <a:gd name="T61" fmla="*/ 340 h 344"/>
                <a:gd name="T62" fmla="*/ 6 w 346"/>
                <a:gd name="T63" fmla="*/ 34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6" h="344">
                  <a:moveTo>
                    <a:pt x="31" y="41"/>
                  </a:moveTo>
                  <a:lnTo>
                    <a:pt x="296" y="172"/>
                  </a:lnTo>
                  <a:lnTo>
                    <a:pt x="31" y="304"/>
                  </a:lnTo>
                  <a:lnTo>
                    <a:pt x="31" y="41"/>
                  </a:lnTo>
                  <a:close/>
                  <a:moveTo>
                    <a:pt x="6" y="342"/>
                  </a:moveTo>
                  <a:lnTo>
                    <a:pt x="11" y="344"/>
                  </a:lnTo>
                  <a:lnTo>
                    <a:pt x="15" y="344"/>
                  </a:lnTo>
                  <a:lnTo>
                    <a:pt x="18" y="344"/>
                  </a:lnTo>
                  <a:lnTo>
                    <a:pt x="22" y="343"/>
                  </a:lnTo>
                  <a:lnTo>
                    <a:pt x="338" y="187"/>
                  </a:lnTo>
                  <a:lnTo>
                    <a:pt x="342" y="184"/>
                  </a:lnTo>
                  <a:lnTo>
                    <a:pt x="344" y="181"/>
                  </a:lnTo>
                  <a:lnTo>
                    <a:pt x="346" y="177"/>
                  </a:lnTo>
                  <a:lnTo>
                    <a:pt x="346" y="172"/>
                  </a:lnTo>
                  <a:lnTo>
                    <a:pt x="346" y="168"/>
                  </a:lnTo>
                  <a:lnTo>
                    <a:pt x="344" y="164"/>
                  </a:lnTo>
                  <a:lnTo>
                    <a:pt x="342" y="161"/>
                  </a:lnTo>
                  <a:lnTo>
                    <a:pt x="338" y="159"/>
                  </a:lnTo>
                  <a:lnTo>
                    <a:pt x="22" y="2"/>
                  </a:lnTo>
                  <a:lnTo>
                    <a:pt x="18" y="1"/>
                  </a:lnTo>
                  <a:lnTo>
                    <a:pt x="14" y="0"/>
                  </a:lnTo>
                  <a:lnTo>
                    <a:pt x="11" y="1"/>
                  </a:lnTo>
                  <a:lnTo>
                    <a:pt x="6" y="2"/>
                  </a:lnTo>
                  <a:lnTo>
                    <a:pt x="4" y="6"/>
                  </a:lnTo>
                  <a:lnTo>
                    <a:pt x="2" y="8"/>
                  </a:lnTo>
                  <a:lnTo>
                    <a:pt x="0" y="12"/>
                  </a:lnTo>
                  <a:lnTo>
                    <a:pt x="0" y="16"/>
                  </a:lnTo>
                  <a:lnTo>
                    <a:pt x="0" y="329"/>
                  </a:lnTo>
                  <a:lnTo>
                    <a:pt x="0" y="333"/>
                  </a:lnTo>
                  <a:lnTo>
                    <a:pt x="2" y="337"/>
                  </a:lnTo>
                  <a:lnTo>
                    <a:pt x="4" y="340"/>
                  </a:lnTo>
                  <a:lnTo>
                    <a:pt x="6"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79" name="Freeform 257">
              <a:extLst>
                <a:ext uri="{FF2B5EF4-FFF2-40B4-BE49-F238E27FC236}">
                  <a16:creationId xmlns:a16="http://schemas.microsoft.com/office/drawing/2014/main" id="{00C93D43-26AE-495F-B8D9-A18A254E05A0}"/>
                </a:ext>
              </a:extLst>
            </p:cNvPr>
            <p:cNvSpPr>
              <a:spLocks noEditPoints="1"/>
            </p:cNvSpPr>
            <p:nvPr/>
          </p:nvSpPr>
          <p:spPr bwMode="auto">
            <a:xfrm>
              <a:off x="11035452" y="1366816"/>
              <a:ext cx="287091" cy="76393"/>
            </a:xfrm>
            <a:custGeom>
              <a:avLst/>
              <a:gdLst>
                <a:gd name="T0" fmla="*/ 901 w 932"/>
                <a:gd name="T1" fmla="*/ 103 h 248"/>
                <a:gd name="T2" fmla="*/ 796 w 932"/>
                <a:gd name="T3" fmla="*/ 217 h 248"/>
                <a:gd name="T4" fmla="*/ 177 w 932"/>
                <a:gd name="T5" fmla="*/ 31 h 248"/>
                <a:gd name="T6" fmla="*/ 117 w 932"/>
                <a:gd name="T7" fmla="*/ 217 h 248"/>
                <a:gd name="T8" fmla="*/ 31 w 932"/>
                <a:gd name="T9" fmla="*/ 193 h 248"/>
                <a:gd name="T10" fmla="*/ 135 w 932"/>
                <a:gd name="T11" fmla="*/ 31 h 248"/>
                <a:gd name="T12" fmla="*/ 31 w 932"/>
                <a:gd name="T13" fmla="*/ 70 h 248"/>
                <a:gd name="T14" fmla="*/ 33 w 932"/>
                <a:gd name="T15" fmla="*/ 57 h 248"/>
                <a:gd name="T16" fmla="*/ 38 w 932"/>
                <a:gd name="T17" fmla="*/ 45 h 248"/>
                <a:gd name="T18" fmla="*/ 46 w 932"/>
                <a:gd name="T19" fmla="*/ 35 h 248"/>
                <a:gd name="T20" fmla="*/ 54 w 932"/>
                <a:gd name="T21" fmla="*/ 31 h 248"/>
                <a:gd name="T22" fmla="*/ 772 w 932"/>
                <a:gd name="T23" fmla="*/ 31 h 248"/>
                <a:gd name="T24" fmla="*/ 486 w 932"/>
                <a:gd name="T25" fmla="*/ 217 h 248"/>
                <a:gd name="T26" fmla="*/ 273 w 932"/>
                <a:gd name="T27" fmla="*/ 217 h 248"/>
                <a:gd name="T28" fmla="*/ 333 w 932"/>
                <a:gd name="T29" fmla="*/ 31 h 248"/>
                <a:gd name="T30" fmla="*/ 273 w 932"/>
                <a:gd name="T31" fmla="*/ 217 h 248"/>
                <a:gd name="T32" fmla="*/ 617 w 932"/>
                <a:gd name="T33" fmla="*/ 31 h 248"/>
                <a:gd name="T34" fmla="*/ 315 w 932"/>
                <a:gd name="T35" fmla="*/ 217 h 248"/>
                <a:gd name="T36" fmla="*/ 899 w 932"/>
                <a:gd name="T37" fmla="*/ 58 h 248"/>
                <a:gd name="T38" fmla="*/ 642 w 932"/>
                <a:gd name="T39" fmla="*/ 217 h 248"/>
                <a:gd name="T40" fmla="*/ 877 w 932"/>
                <a:gd name="T41" fmla="*/ 31 h 248"/>
                <a:gd name="T42" fmla="*/ 884 w 932"/>
                <a:gd name="T43" fmla="*/ 34 h 248"/>
                <a:gd name="T44" fmla="*/ 891 w 932"/>
                <a:gd name="T45" fmla="*/ 39 h 248"/>
                <a:gd name="T46" fmla="*/ 899 w 932"/>
                <a:gd name="T47" fmla="*/ 58 h 248"/>
                <a:gd name="T48" fmla="*/ 54 w 932"/>
                <a:gd name="T49" fmla="*/ 0 h 248"/>
                <a:gd name="T50" fmla="*/ 42 w 932"/>
                <a:gd name="T51" fmla="*/ 1 h 248"/>
                <a:gd name="T52" fmla="*/ 32 w 932"/>
                <a:gd name="T53" fmla="*/ 7 h 248"/>
                <a:gd name="T54" fmla="*/ 22 w 932"/>
                <a:gd name="T55" fmla="*/ 15 h 248"/>
                <a:gd name="T56" fmla="*/ 14 w 932"/>
                <a:gd name="T57" fmla="*/ 24 h 248"/>
                <a:gd name="T58" fmla="*/ 3 w 932"/>
                <a:gd name="T59" fmla="*/ 47 h 248"/>
                <a:gd name="T60" fmla="*/ 0 w 932"/>
                <a:gd name="T61" fmla="*/ 70 h 248"/>
                <a:gd name="T62" fmla="*/ 932 w 932"/>
                <a:gd name="T63" fmla="*/ 248 h 248"/>
                <a:gd name="T64" fmla="*/ 932 w 932"/>
                <a:gd name="T65" fmla="*/ 58 h 248"/>
                <a:gd name="T66" fmla="*/ 924 w 932"/>
                <a:gd name="T67" fmla="*/ 35 h 248"/>
                <a:gd name="T68" fmla="*/ 914 w 932"/>
                <a:gd name="T69" fmla="*/ 19 h 248"/>
                <a:gd name="T70" fmla="*/ 905 w 932"/>
                <a:gd name="T71" fmla="*/ 10 h 248"/>
                <a:gd name="T72" fmla="*/ 895 w 932"/>
                <a:gd name="T73" fmla="*/ 4 h 248"/>
                <a:gd name="T74" fmla="*/ 884 w 932"/>
                <a:gd name="T7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32" h="248">
                  <a:moveTo>
                    <a:pt x="796" y="217"/>
                  </a:moveTo>
                  <a:lnTo>
                    <a:pt x="901" y="103"/>
                  </a:lnTo>
                  <a:lnTo>
                    <a:pt x="901" y="217"/>
                  </a:lnTo>
                  <a:lnTo>
                    <a:pt x="796" y="217"/>
                  </a:lnTo>
                  <a:close/>
                  <a:moveTo>
                    <a:pt x="31" y="193"/>
                  </a:moveTo>
                  <a:lnTo>
                    <a:pt x="177" y="31"/>
                  </a:lnTo>
                  <a:lnTo>
                    <a:pt x="291" y="31"/>
                  </a:lnTo>
                  <a:lnTo>
                    <a:pt x="117" y="217"/>
                  </a:lnTo>
                  <a:lnTo>
                    <a:pt x="31" y="217"/>
                  </a:lnTo>
                  <a:lnTo>
                    <a:pt x="31" y="193"/>
                  </a:lnTo>
                  <a:close/>
                  <a:moveTo>
                    <a:pt x="54" y="31"/>
                  </a:moveTo>
                  <a:lnTo>
                    <a:pt x="135" y="31"/>
                  </a:lnTo>
                  <a:lnTo>
                    <a:pt x="31" y="146"/>
                  </a:lnTo>
                  <a:lnTo>
                    <a:pt x="31" y="70"/>
                  </a:lnTo>
                  <a:lnTo>
                    <a:pt x="31" y="64"/>
                  </a:lnTo>
                  <a:lnTo>
                    <a:pt x="33" y="57"/>
                  </a:lnTo>
                  <a:lnTo>
                    <a:pt x="35" y="50"/>
                  </a:lnTo>
                  <a:lnTo>
                    <a:pt x="38" y="45"/>
                  </a:lnTo>
                  <a:lnTo>
                    <a:pt x="42" y="39"/>
                  </a:lnTo>
                  <a:lnTo>
                    <a:pt x="46" y="35"/>
                  </a:lnTo>
                  <a:lnTo>
                    <a:pt x="49" y="31"/>
                  </a:lnTo>
                  <a:lnTo>
                    <a:pt x="54" y="31"/>
                  </a:lnTo>
                  <a:close/>
                  <a:moveTo>
                    <a:pt x="659" y="31"/>
                  </a:moveTo>
                  <a:lnTo>
                    <a:pt x="772" y="31"/>
                  </a:lnTo>
                  <a:lnTo>
                    <a:pt x="598" y="217"/>
                  </a:lnTo>
                  <a:lnTo>
                    <a:pt x="486" y="217"/>
                  </a:lnTo>
                  <a:lnTo>
                    <a:pt x="659" y="31"/>
                  </a:lnTo>
                  <a:close/>
                  <a:moveTo>
                    <a:pt x="273" y="217"/>
                  </a:moveTo>
                  <a:lnTo>
                    <a:pt x="159" y="217"/>
                  </a:lnTo>
                  <a:lnTo>
                    <a:pt x="333" y="31"/>
                  </a:lnTo>
                  <a:lnTo>
                    <a:pt x="446" y="31"/>
                  </a:lnTo>
                  <a:lnTo>
                    <a:pt x="273" y="217"/>
                  </a:lnTo>
                  <a:close/>
                  <a:moveTo>
                    <a:pt x="488" y="31"/>
                  </a:moveTo>
                  <a:lnTo>
                    <a:pt x="617" y="31"/>
                  </a:lnTo>
                  <a:lnTo>
                    <a:pt x="444" y="217"/>
                  </a:lnTo>
                  <a:lnTo>
                    <a:pt x="315" y="217"/>
                  </a:lnTo>
                  <a:lnTo>
                    <a:pt x="488" y="31"/>
                  </a:lnTo>
                  <a:close/>
                  <a:moveTo>
                    <a:pt x="899" y="58"/>
                  </a:moveTo>
                  <a:lnTo>
                    <a:pt x="754" y="217"/>
                  </a:lnTo>
                  <a:lnTo>
                    <a:pt x="642" y="217"/>
                  </a:lnTo>
                  <a:lnTo>
                    <a:pt x="815" y="31"/>
                  </a:lnTo>
                  <a:lnTo>
                    <a:pt x="877" y="31"/>
                  </a:lnTo>
                  <a:lnTo>
                    <a:pt x="881" y="31"/>
                  </a:lnTo>
                  <a:lnTo>
                    <a:pt x="884" y="34"/>
                  </a:lnTo>
                  <a:lnTo>
                    <a:pt x="887" y="36"/>
                  </a:lnTo>
                  <a:lnTo>
                    <a:pt x="891" y="39"/>
                  </a:lnTo>
                  <a:lnTo>
                    <a:pt x="895" y="48"/>
                  </a:lnTo>
                  <a:lnTo>
                    <a:pt x="899" y="58"/>
                  </a:lnTo>
                  <a:close/>
                  <a:moveTo>
                    <a:pt x="877" y="0"/>
                  </a:moveTo>
                  <a:lnTo>
                    <a:pt x="54" y="0"/>
                  </a:lnTo>
                  <a:lnTo>
                    <a:pt x="48" y="0"/>
                  </a:lnTo>
                  <a:lnTo>
                    <a:pt x="42" y="1"/>
                  </a:lnTo>
                  <a:lnTo>
                    <a:pt x="36" y="4"/>
                  </a:lnTo>
                  <a:lnTo>
                    <a:pt x="32" y="7"/>
                  </a:lnTo>
                  <a:lnTo>
                    <a:pt x="26" y="10"/>
                  </a:lnTo>
                  <a:lnTo>
                    <a:pt x="22" y="15"/>
                  </a:lnTo>
                  <a:lnTo>
                    <a:pt x="18" y="19"/>
                  </a:lnTo>
                  <a:lnTo>
                    <a:pt x="14" y="24"/>
                  </a:lnTo>
                  <a:lnTo>
                    <a:pt x="8" y="35"/>
                  </a:lnTo>
                  <a:lnTo>
                    <a:pt x="3" y="47"/>
                  </a:lnTo>
                  <a:lnTo>
                    <a:pt x="1" y="58"/>
                  </a:lnTo>
                  <a:lnTo>
                    <a:pt x="0" y="70"/>
                  </a:lnTo>
                  <a:lnTo>
                    <a:pt x="0" y="248"/>
                  </a:lnTo>
                  <a:lnTo>
                    <a:pt x="932" y="248"/>
                  </a:lnTo>
                  <a:lnTo>
                    <a:pt x="932" y="70"/>
                  </a:lnTo>
                  <a:lnTo>
                    <a:pt x="932" y="58"/>
                  </a:lnTo>
                  <a:lnTo>
                    <a:pt x="928" y="47"/>
                  </a:lnTo>
                  <a:lnTo>
                    <a:pt x="924" y="35"/>
                  </a:lnTo>
                  <a:lnTo>
                    <a:pt x="917" y="24"/>
                  </a:lnTo>
                  <a:lnTo>
                    <a:pt x="914" y="19"/>
                  </a:lnTo>
                  <a:lnTo>
                    <a:pt x="909" y="15"/>
                  </a:lnTo>
                  <a:lnTo>
                    <a:pt x="905" y="10"/>
                  </a:lnTo>
                  <a:lnTo>
                    <a:pt x="901" y="7"/>
                  </a:lnTo>
                  <a:lnTo>
                    <a:pt x="895" y="4"/>
                  </a:lnTo>
                  <a:lnTo>
                    <a:pt x="889" y="1"/>
                  </a:lnTo>
                  <a:lnTo>
                    <a:pt x="884" y="0"/>
                  </a:lnTo>
                  <a:lnTo>
                    <a:pt x="8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80" name="Group 79">
            <a:extLst>
              <a:ext uri="{FF2B5EF4-FFF2-40B4-BE49-F238E27FC236}">
                <a16:creationId xmlns:a16="http://schemas.microsoft.com/office/drawing/2014/main" id="{C38D10DF-C397-4CDD-85CC-CFA6F039E18D}"/>
              </a:ext>
            </a:extLst>
          </p:cNvPr>
          <p:cNvGrpSpPr/>
          <p:nvPr/>
        </p:nvGrpSpPr>
        <p:grpSpPr>
          <a:xfrm>
            <a:off x="21032915" y="7585699"/>
            <a:ext cx="614566" cy="614568"/>
            <a:chOff x="10412413" y="4229100"/>
            <a:chExt cx="288323" cy="288324"/>
          </a:xfrm>
          <a:solidFill>
            <a:schemeClr val="bg1"/>
          </a:solidFill>
        </p:grpSpPr>
        <p:sp>
          <p:nvSpPr>
            <p:cNvPr id="81" name="Freeform 438">
              <a:extLst>
                <a:ext uri="{FF2B5EF4-FFF2-40B4-BE49-F238E27FC236}">
                  <a16:creationId xmlns:a16="http://schemas.microsoft.com/office/drawing/2014/main" id="{6FA4175B-0D5A-4FAA-BD4E-92DAC90D9C19}"/>
                </a:ext>
              </a:extLst>
            </p:cNvPr>
            <p:cNvSpPr>
              <a:spLocks noEditPoints="1"/>
            </p:cNvSpPr>
            <p:nvPr/>
          </p:nvSpPr>
          <p:spPr bwMode="auto">
            <a:xfrm>
              <a:off x="10485110" y="4301797"/>
              <a:ext cx="142929" cy="142929"/>
            </a:xfrm>
            <a:custGeom>
              <a:avLst/>
              <a:gdLst>
                <a:gd name="T0" fmla="*/ 275 w 467"/>
                <a:gd name="T1" fmla="*/ 36 h 467"/>
                <a:gd name="T2" fmla="*/ 330 w 467"/>
                <a:gd name="T3" fmla="*/ 56 h 467"/>
                <a:gd name="T4" fmla="*/ 377 w 467"/>
                <a:gd name="T5" fmla="*/ 91 h 467"/>
                <a:gd name="T6" fmla="*/ 412 w 467"/>
                <a:gd name="T7" fmla="*/ 138 h 467"/>
                <a:gd name="T8" fmla="*/ 432 w 467"/>
                <a:gd name="T9" fmla="*/ 193 h 467"/>
                <a:gd name="T10" fmla="*/ 435 w 467"/>
                <a:gd name="T11" fmla="*/ 254 h 467"/>
                <a:gd name="T12" fmla="*/ 420 w 467"/>
                <a:gd name="T13" fmla="*/ 312 h 467"/>
                <a:gd name="T14" fmla="*/ 389 w 467"/>
                <a:gd name="T15" fmla="*/ 362 h 467"/>
                <a:gd name="T16" fmla="*/ 347 w 467"/>
                <a:gd name="T17" fmla="*/ 401 h 467"/>
                <a:gd name="T18" fmla="*/ 294 w 467"/>
                <a:gd name="T19" fmla="*/ 427 h 467"/>
                <a:gd name="T20" fmla="*/ 234 w 467"/>
                <a:gd name="T21" fmla="*/ 436 h 467"/>
                <a:gd name="T22" fmla="*/ 174 w 467"/>
                <a:gd name="T23" fmla="*/ 427 h 467"/>
                <a:gd name="T24" fmla="*/ 120 w 467"/>
                <a:gd name="T25" fmla="*/ 401 h 467"/>
                <a:gd name="T26" fmla="*/ 78 w 467"/>
                <a:gd name="T27" fmla="*/ 362 h 467"/>
                <a:gd name="T28" fmla="*/ 48 w 467"/>
                <a:gd name="T29" fmla="*/ 312 h 467"/>
                <a:gd name="T30" fmla="*/ 33 w 467"/>
                <a:gd name="T31" fmla="*/ 254 h 467"/>
                <a:gd name="T32" fmla="*/ 36 w 467"/>
                <a:gd name="T33" fmla="*/ 193 h 467"/>
                <a:gd name="T34" fmla="*/ 56 w 467"/>
                <a:gd name="T35" fmla="*/ 138 h 467"/>
                <a:gd name="T36" fmla="*/ 92 w 467"/>
                <a:gd name="T37" fmla="*/ 91 h 467"/>
                <a:gd name="T38" fmla="*/ 137 w 467"/>
                <a:gd name="T39" fmla="*/ 56 h 467"/>
                <a:gd name="T40" fmla="*/ 193 w 467"/>
                <a:gd name="T41" fmla="*/ 36 h 467"/>
                <a:gd name="T42" fmla="*/ 234 w 467"/>
                <a:gd name="T43" fmla="*/ 467 h 467"/>
                <a:gd name="T44" fmla="*/ 269 w 467"/>
                <a:gd name="T45" fmla="*/ 464 h 467"/>
                <a:gd name="T46" fmla="*/ 303 w 467"/>
                <a:gd name="T47" fmla="*/ 457 h 467"/>
                <a:gd name="T48" fmla="*/ 345 w 467"/>
                <a:gd name="T49" fmla="*/ 439 h 467"/>
                <a:gd name="T50" fmla="*/ 398 w 467"/>
                <a:gd name="T51" fmla="*/ 398 h 467"/>
                <a:gd name="T52" fmla="*/ 439 w 467"/>
                <a:gd name="T53" fmla="*/ 344 h 467"/>
                <a:gd name="T54" fmla="*/ 456 w 467"/>
                <a:gd name="T55" fmla="*/ 302 h 467"/>
                <a:gd name="T56" fmla="*/ 464 w 467"/>
                <a:gd name="T57" fmla="*/ 269 h 467"/>
                <a:gd name="T58" fmla="*/ 467 w 467"/>
                <a:gd name="T59" fmla="*/ 233 h 467"/>
                <a:gd name="T60" fmla="*/ 464 w 467"/>
                <a:gd name="T61" fmla="*/ 198 h 467"/>
                <a:gd name="T62" fmla="*/ 456 w 467"/>
                <a:gd name="T63" fmla="*/ 164 h 467"/>
                <a:gd name="T64" fmla="*/ 439 w 467"/>
                <a:gd name="T65" fmla="*/ 122 h 467"/>
                <a:gd name="T66" fmla="*/ 398 w 467"/>
                <a:gd name="T67" fmla="*/ 69 h 467"/>
                <a:gd name="T68" fmla="*/ 345 w 467"/>
                <a:gd name="T69" fmla="*/ 29 h 467"/>
                <a:gd name="T70" fmla="*/ 303 w 467"/>
                <a:gd name="T71" fmla="*/ 11 h 467"/>
                <a:gd name="T72" fmla="*/ 269 w 467"/>
                <a:gd name="T73" fmla="*/ 3 h 467"/>
                <a:gd name="T74" fmla="*/ 234 w 467"/>
                <a:gd name="T75" fmla="*/ 0 h 467"/>
                <a:gd name="T76" fmla="*/ 198 w 467"/>
                <a:gd name="T77" fmla="*/ 3 h 467"/>
                <a:gd name="T78" fmla="*/ 165 w 467"/>
                <a:gd name="T79" fmla="*/ 11 h 467"/>
                <a:gd name="T80" fmla="*/ 123 w 467"/>
                <a:gd name="T81" fmla="*/ 29 h 467"/>
                <a:gd name="T82" fmla="*/ 69 w 467"/>
                <a:gd name="T83" fmla="*/ 69 h 467"/>
                <a:gd name="T84" fmla="*/ 29 w 467"/>
                <a:gd name="T85" fmla="*/ 122 h 467"/>
                <a:gd name="T86" fmla="*/ 12 w 467"/>
                <a:gd name="T87" fmla="*/ 164 h 467"/>
                <a:gd name="T88" fmla="*/ 4 w 467"/>
                <a:gd name="T89" fmla="*/ 198 h 467"/>
                <a:gd name="T90" fmla="*/ 0 w 467"/>
                <a:gd name="T91" fmla="*/ 233 h 467"/>
                <a:gd name="T92" fmla="*/ 4 w 467"/>
                <a:gd name="T93" fmla="*/ 269 h 467"/>
                <a:gd name="T94" fmla="*/ 12 w 467"/>
                <a:gd name="T95" fmla="*/ 302 h 467"/>
                <a:gd name="T96" fmla="*/ 29 w 467"/>
                <a:gd name="T97" fmla="*/ 344 h 467"/>
                <a:gd name="T98" fmla="*/ 69 w 467"/>
                <a:gd name="T99" fmla="*/ 398 h 467"/>
                <a:gd name="T100" fmla="*/ 123 w 467"/>
                <a:gd name="T101" fmla="*/ 439 h 467"/>
                <a:gd name="T102" fmla="*/ 165 w 467"/>
                <a:gd name="T103" fmla="*/ 457 h 467"/>
                <a:gd name="T104" fmla="*/ 198 w 467"/>
                <a:gd name="T105" fmla="*/ 464 h 467"/>
                <a:gd name="T106" fmla="*/ 234 w 467"/>
                <a:gd name="T107"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7" h="467">
                  <a:moveTo>
                    <a:pt x="234" y="31"/>
                  </a:moveTo>
                  <a:lnTo>
                    <a:pt x="255" y="32"/>
                  </a:lnTo>
                  <a:lnTo>
                    <a:pt x="275" y="36"/>
                  </a:lnTo>
                  <a:lnTo>
                    <a:pt x="294" y="40"/>
                  </a:lnTo>
                  <a:lnTo>
                    <a:pt x="313" y="48"/>
                  </a:lnTo>
                  <a:lnTo>
                    <a:pt x="330" y="56"/>
                  </a:lnTo>
                  <a:lnTo>
                    <a:pt x="347" y="66"/>
                  </a:lnTo>
                  <a:lnTo>
                    <a:pt x="363" y="78"/>
                  </a:lnTo>
                  <a:lnTo>
                    <a:pt x="377" y="91"/>
                  </a:lnTo>
                  <a:lnTo>
                    <a:pt x="389" y="106"/>
                  </a:lnTo>
                  <a:lnTo>
                    <a:pt x="402" y="121"/>
                  </a:lnTo>
                  <a:lnTo>
                    <a:pt x="412" y="138"/>
                  </a:lnTo>
                  <a:lnTo>
                    <a:pt x="420" y="154"/>
                  </a:lnTo>
                  <a:lnTo>
                    <a:pt x="427" y="173"/>
                  </a:lnTo>
                  <a:lnTo>
                    <a:pt x="432" y="193"/>
                  </a:lnTo>
                  <a:lnTo>
                    <a:pt x="435" y="213"/>
                  </a:lnTo>
                  <a:lnTo>
                    <a:pt x="436" y="233"/>
                  </a:lnTo>
                  <a:lnTo>
                    <a:pt x="435" y="254"/>
                  </a:lnTo>
                  <a:lnTo>
                    <a:pt x="432" y="274"/>
                  </a:lnTo>
                  <a:lnTo>
                    <a:pt x="427" y="293"/>
                  </a:lnTo>
                  <a:lnTo>
                    <a:pt x="420" y="312"/>
                  </a:lnTo>
                  <a:lnTo>
                    <a:pt x="412" y="330"/>
                  </a:lnTo>
                  <a:lnTo>
                    <a:pt x="402" y="347"/>
                  </a:lnTo>
                  <a:lnTo>
                    <a:pt x="389" y="362"/>
                  </a:lnTo>
                  <a:lnTo>
                    <a:pt x="377" y="377"/>
                  </a:lnTo>
                  <a:lnTo>
                    <a:pt x="363" y="389"/>
                  </a:lnTo>
                  <a:lnTo>
                    <a:pt x="347" y="401"/>
                  </a:lnTo>
                  <a:lnTo>
                    <a:pt x="330" y="411"/>
                  </a:lnTo>
                  <a:lnTo>
                    <a:pt x="313" y="420"/>
                  </a:lnTo>
                  <a:lnTo>
                    <a:pt x="294" y="427"/>
                  </a:lnTo>
                  <a:lnTo>
                    <a:pt x="275" y="431"/>
                  </a:lnTo>
                  <a:lnTo>
                    <a:pt x="255" y="434"/>
                  </a:lnTo>
                  <a:lnTo>
                    <a:pt x="234" y="436"/>
                  </a:lnTo>
                  <a:lnTo>
                    <a:pt x="213" y="434"/>
                  </a:lnTo>
                  <a:lnTo>
                    <a:pt x="193" y="431"/>
                  </a:lnTo>
                  <a:lnTo>
                    <a:pt x="174" y="427"/>
                  </a:lnTo>
                  <a:lnTo>
                    <a:pt x="155" y="420"/>
                  </a:lnTo>
                  <a:lnTo>
                    <a:pt x="137" y="411"/>
                  </a:lnTo>
                  <a:lnTo>
                    <a:pt x="120" y="401"/>
                  </a:lnTo>
                  <a:lnTo>
                    <a:pt x="105" y="389"/>
                  </a:lnTo>
                  <a:lnTo>
                    <a:pt x="92" y="377"/>
                  </a:lnTo>
                  <a:lnTo>
                    <a:pt x="78" y="362"/>
                  </a:lnTo>
                  <a:lnTo>
                    <a:pt x="66" y="347"/>
                  </a:lnTo>
                  <a:lnTo>
                    <a:pt x="56" y="330"/>
                  </a:lnTo>
                  <a:lnTo>
                    <a:pt x="48" y="312"/>
                  </a:lnTo>
                  <a:lnTo>
                    <a:pt x="40" y="293"/>
                  </a:lnTo>
                  <a:lnTo>
                    <a:pt x="36" y="274"/>
                  </a:lnTo>
                  <a:lnTo>
                    <a:pt x="33" y="254"/>
                  </a:lnTo>
                  <a:lnTo>
                    <a:pt x="32" y="233"/>
                  </a:lnTo>
                  <a:lnTo>
                    <a:pt x="33" y="213"/>
                  </a:lnTo>
                  <a:lnTo>
                    <a:pt x="36" y="193"/>
                  </a:lnTo>
                  <a:lnTo>
                    <a:pt x="40" y="173"/>
                  </a:lnTo>
                  <a:lnTo>
                    <a:pt x="48" y="154"/>
                  </a:lnTo>
                  <a:lnTo>
                    <a:pt x="56" y="138"/>
                  </a:lnTo>
                  <a:lnTo>
                    <a:pt x="66" y="121"/>
                  </a:lnTo>
                  <a:lnTo>
                    <a:pt x="78" y="106"/>
                  </a:lnTo>
                  <a:lnTo>
                    <a:pt x="92" y="91"/>
                  </a:lnTo>
                  <a:lnTo>
                    <a:pt x="105" y="78"/>
                  </a:lnTo>
                  <a:lnTo>
                    <a:pt x="120" y="66"/>
                  </a:lnTo>
                  <a:lnTo>
                    <a:pt x="137" y="56"/>
                  </a:lnTo>
                  <a:lnTo>
                    <a:pt x="155" y="48"/>
                  </a:lnTo>
                  <a:lnTo>
                    <a:pt x="174" y="40"/>
                  </a:lnTo>
                  <a:lnTo>
                    <a:pt x="193" y="36"/>
                  </a:lnTo>
                  <a:lnTo>
                    <a:pt x="213" y="32"/>
                  </a:lnTo>
                  <a:lnTo>
                    <a:pt x="234" y="31"/>
                  </a:lnTo>
                  <a:close/>
                  <a:moveTo>
                    <a:pt x="234" y="467"/>
                  </a:moveTo>
                  <a:lnTo>
                    <a:pt x="246" y="467"/>
                  </a:lnTo>
                  <a:lnTo>
                    <a:pt x="257" y="466"/>
                  </a:lnTo>
                  <a:lnTo>
                    <a:pt x="269" y="464"/>
                  </a:lnTo>
                  <a:lnTo>
                    <a:pt x="280" y="462"/>
                  </a:lnTo>
                  <a:lnTo>
                    <a:pt x="292" y="459"/>
                  </a:lnTo>
                  <a:lnTo>
                    <a:pt x="303" y="457"/>
                  </a:lnTo>
                  <a:lnTo>
                    <a:pt x="314" y="452"/>
                  </a:lnTo>
                  <a:lnTo>
                    <a:pt x="325" y="448"/>
                  </a:lnTo>
                  <a:lnTo>
                    <a:pt x="345" y="439"/>
                  </a:lnTo>
                  <a:lnTo>
                    <a:pt x="364" y="427"/>
                  </a:lnTo>
                  <a:lnTo>
                    <a:pt x="382" y="413"/>
                  </a:lnTo>
                  <a:lnTo>
                    <a:pt x="398" y="398"/>
                  </a:lnTo>
                  <a:lnTo>
                    <a:pt x="414" y="382"/>
                  </a:lnTo>
                  <a:lnTo>
                    <a:pt x="427" y="363"/>
                  </a:lnTo>
                  <a:lnTo>
                    <a:pt x="439" y="344"/>
                  </a:lnTo>
                  <a:lnTo>
                    <a:pt x="448" y="324"/>
                  </a:lnTo>
                  <a:lnTo>
                    <a:pt x="453" y="313"/>
                  </a:lnTo>
                  <a:lnTo>
                    <a:pt x="456" y="302"/>
                  </a:lnTo>
                  <a:lnTo>
                    <a:pt x="459" y="292"/>
                  </a:lnTo>
                  <a:lnTo>
                    <a:pt x="463" y="280"/>
                  </a:lnTo>
                  <a:lnTo>
                    <a:pt x="464" y="269"/>
                  </a:lnTo>
                  <a:lnTo>
                    <a:pt x="466" y="258"/>
                  </a:lnTo>
                  <a:lnTo>
                    <a:pt x="467" y="246"/>
                  </a:lnTo>
                  <a:lnTo>
                    <a:pt x="467" y="233"/>
                  </a:lnTo>
                  <a:lnTo>
                    <a:pt x="467" y="221"/>
                  </a:lnTo>
                  <a:lnTo>
                    <a:pt x="466" y="210"/>
                  </a:lnTo>
                  <a:lnTo>
                    <a:pt x="464" y="198"/>
                  </a:lnTo>
                  <a:lnTo>
                    <a:pt x="463" y="187"/>
                  </a:lnTo>
                  <a:lnTo>
                    <a:pt x="459" y="176"/>
                  </a:lnTo>
                  <a:lnTo>
                    <a:pt x="456" y="164"/>
                  </a:lnTo>
                  <a:lnTo>
                    <a:pt x="453" y="153"/>
                  </a:lnTo>
                  <a:lnTo>
                    <a:pt x="448" y="143"/>
                  </a:lnTo>
                  <a:lnTo>
                    <a:pt x="439" y="122"/>
                  </a:lnTo>
                  <a:lnTo>
                    <a:pt x="427" y="103"/>
                  </a:lnTo>
                  <a:lnTo>
                    <a:pt x="414" y="86"/>
                  </a:lnTo>
                  <a:lnTo>
                    <a:pt x="398" y="69"/>
                  </a:lnTo>
                  <a:lnTo>
                    <a:pt x="382" y="53"/>
                  </a:lnTo>
                  <a:lnTo>
                    <a:pt x="364" y="40"/>
                  </a:lnTo>
                  <a:lnTo>
                    <a:pt x="345" y="29"/>
                  </a:lnTo>
                  <a:lnTo>
                    <a:pt x="325" y="19"/>
                  </a:lnTo>
                  <a:lnTo>
                    <a:pt x="314" y="14"/>
                  </a:lnTo>
                  <a:lnTo>
                    <a:pt x="303" y="11"/>
                  </a:lnTo>
                  <a:lnTo>
                    <a:pt x="292" y="8"/>
                  </a:lnTo>
                  <a:lnTo>
                    <a:pt x="280" y="6"/>
                  </a:lnTo>
                  <a:lnTo>
                    <a:pt x="269" y="3"/>
                  </a:lnTo>
                  <a:lnTo>
                    <a:pt x="257" y="1"/>
                  </a:lnTo>
                  <a:lnTo>
                    <a:pt x="246" y="1"/>
                  </a:lnTo>
                  <a:lnTo>
                    <a:pt x="234" y="0"/>
                  </a:lnTo>
                  <a:lnTo>
                    <a:pt x="222" y="1"/>
                  </a:lnTo>
                  <a:lnTo>
                    <a:pt x="210" y="1"/>
                  </a:lnTo>
                  <a:lnTo>
                    <a:pt x="198" y="3"/>
                  </a:lnTo>
                  <a:lnTo>
                    <a:pt x="187" y="6"/>
                  </a:lnTo>
                  <a:lnTo>
                    <a:pt x="176" y="8"/>
                  </a:lnTo>
                  <a:lnTo>
                    <a:pt x="165" y="11"/>
                  </a:lnTo>
                  <a:lnTo>
                    <a:pt x="154" y="14"/>
                  </a:lnTo>
                  <a:lnTo>
                    <a:pt x="143" y="19"/>
                  </a:lnTo>
                  <a:lnTo>
                    <a:pt x="123" y="29"/>
                  </a:lnTo>
                  <a:lnTo>
                    <a:pt x="104" y="40"/>
                  </a:lnTo>
                  <a:lnTo>
                    <a:pt x="86" y="53"/>
                  </a:lnTo>
                  <a:lnTo>
                    <a:pt x="69" y="69"/>
                  </a:lnTo>
                  <a:lnTo>
                    <a:pt x="54" y="86"/>
                  </a:lnTo>
                  <a:lnTo>
                    <a:pt x="40" y="103"/>
                  </a:lnTo>
                  <a:lnTo>
                    <a:pt x="29" y="122"/>
                  </a:lnTo>
                  <a:lnTo>
                    <a:pt x="19" y="143"/>
                  </a:lnTo>
                  <a:lnTo>
                    <a:pt x="15" y="153"/>
                  </a:lnTo>
                  <a:lnTo>
                    <a:pt x="12" y="164"/>
                  </a:lnTo>
                  <a:lnTo>
                    <a:pt x="8" y="176"/>
                  </a:lnTo>
                  <a:lnTo>
                    <a:pt x="5" y="187"/>
                  </a:lnTo>
                  <a:lnTo>
                    <a:pt x="4" y="198"/>
                  </a:lnTo>
                  <a:lnTo>
                    <a:pt x="2" y="210"/>
                  </a:lnTo>
                  <a:lnTo>
                    <a:pt x="0" y="221"/>
                  </a:lnTo>
                  <a:lnTo>
                    <a:pt x="0" y="233"/>
                  </a:lnTo>
                  <a:lnTo>
                    <a:pt x="0" y="246"/>
                  </a:lnTo>
                  <a:lnTo>
                    <a:pt x="2" y="258"/>
                  </a:lnTo>
                  <a:lnTo>
                    <a:pt x="4" y="269"/>
                  </a:lnTo>
                  <a:lnTo>
                    <a:pt x="5" y="280"/>
                  </a:lnTo>
                  <a:lnTo>
                    <a:pt x="8" y="292"/>
                  </a:lnTo>
                  <a:lnTo>
                    <a:pt x="12" y="302"/>
                  </a:lnTo>
                  <a:lnTo>
                    <a:pt x="15" y="313"/>
                  </a:lnTo>
                  <a:lnTo>
                    <a:pt x="19" y="324"/>
                  </a:lnTo>
                  <a:lnTo>
                    <a:pt x="29" y="344"/>
                  </a:lnTo>
                  <a:lnTo>
                    <a:pt x="40" y="363"/>
                  </a:lnTo>
                  <a:lnTo>
                    <a:pt x="54" y="382"/>
                  </a:lnTo>
                  <a:lnTo>
                    <a:pt x="69" y="398"/>
                  </a:lnTo>
                  <a:lnTo>
                    <a:pt x="86" y="413"/>
                  </a:lnTo>
                  <a:lnTo>
                    <a:pt x="104" y="427"/>
                  </a:lnTo>
                  <a:lnTo>
                    <a:pt x="123" y="439"/>
                  </a:lnTo>
                  <a:lnTo>
                    <a:pt x="143" y="448"/>
                  </a:lnTo>
                  <a:lnTo>
                    <a:pt x="154" y="452"/>
                  </a:lnTo>
                  <a:lnTo>
                    <a:pt x="165" y="457"/>
                  </a:lnTo>
                  <a:lnTo>
                    <a:pt x="176" y="459"/>
                  </a:lnTo>
                  <a:lnTo>
                    <a:pt x="187" y="462"/>
                  </a:lnTo>
                  <a:lnTo>
                    <a:pt x="198" y="464"/>
                  </a:lnTo>
                  <a:lnTo>
                    <a:pt x="210" y="466"/>
                  </a:lnTo>
                  <a:lnTo>
                    <a:pt x="222" y="467"/>
                  </a:lnTo>
                  <a:lnTo>
                    <a:pt x="234" y="4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82" name="Freeform 439">
              <a:extLst>
                <a:ext uri="{FF2B5EF4-FFF2-40B4-BE49-F238E27FC236}">
                  <a16:creationId xmlns:a16="http://schemas.microsoft.com/office/drawing/2014/main" id="{3D1FD188-2B13-4AB5-9B41-6B402C529042}"/>
                </a:ext>
              </a:extLst>
            </p:cNvPr>
            <p:cNvSpPr>
              <a:spLocks noEditPoints="1"/>
            </p:cNvSpPr>
            <p:nvPr/>
          </p:nvSpPr>
          <p:spPr bwMode="auto">
            <a:xfrm>
              <a:off x="10412413" y="4229100"/>
              <a:ext cx="288323" cy="197144"/>
            </a:xfrm>
            <a:custGeom>
              <a:avLst/>
              <a:gdLst>
                <a:gd name="T0" fmla="*/ 814 w 933"/>
                <a:gd name="T1" fmla="*/ 334 h 638"/>
                <a:gd name="T2" fmla="*/ 866 w 933"/>
                <a:gd name="T3" fmla="*/ 371 h 638"/>
                <a:gd name="T4" fmla="*/ 897 w 933"/>
                <a:gd name="T5" fmla="*/ 426 h 638"/>
                <a:gd name="T6" fmla="*/ 900 w 933"/>
                <a:gd name="T7" fmla="*/ 492 h 638"/>
                <a:gd name="T8" fmla="*/ 874 w 933"/>
                <a:gd name="T9" fmla="*/ 550 h 638"/>
                <a:gd name="T10" fmla="*/ 827 w 933"/>
                <a:gd name="T11" fmla="*/ 591 h 638"/>
                <a:gd name="T12" fmla="*/ 156 w 933"/>
                <a:gd name="T13" fmla="*/ 605 h 638"/>
                <a:gd name="T14" fmla="*/ 96 w 933"/>
                <a:gd name="T15" fmla="*/ 584 h 638"/>
                <a:gd name="T16" fmla="*/ 52 w 933"/>
                <a:gd name="T17" fmla="*/ 540 h 638"/>
                <a:gd name="T18" fmla="*/ 32 w 933"/>
                <a:gd name="T19" fmla="*/ 479 h 638"/>
                <a:gd name="T20" fmla="*/ 41 w 933"/>
                <a:gd name="T21" fmla="*/ 414 h 638"/>
                <a:gd name="T22" fmla="*/ 77 w 933"/>
                <a:gd name="T23" fmla="*/ 362 h 638"/>
                <a:gd name="T24" fmla="*/ 130 w 933"/>
                <a:gd name="T25" fmla="*/ 331 h 638"/>
                <a:gd name="T26" fmla="*/ 776 w 933"/>
                <a:gd name="T27" fmla="*/ 279 h 638"/>
                <a:gd name="T28" fmla="*/ 760 w 933"/>
                <a:gd name="T29" fmla="*/ 205 h 638"/>
                <a:gd name="T30" fmla="*/ 728 w 933"/>
                <a:gd name="T31" fmla="*/ 141 h 638"/>
                <a:gd name="T32" fmla="*/ 681 w 933"/>
                <a:gd name="T33" fmla="*/ 85 h 638"/>
                <a:gd name="T34" fmla="*/ 623 w 933"/>
                <a:gd name="T35" fmla="*/ 42 h 638"/>
                <a:gd name="T36" fmla="*/ 557 w 933"/>
                <a:gd name="T37" fmla="*/ 12 h 638"/>
                <a:gd name="T38" fmla="*/ 482 w 933"/>
                <a:gd name="T39" fmla="*/ 0 h 638"/>
                <a:gd name="T40" fmla="*/ 406 w 933"/>
                <a:gd name="T41" fmla="*/ 5 h 638"/>
                <a:gd name="T42" fmla="*/ 336 w 933"/>
                <a:gd name="T43" fmla="*/ 28 h 638"/>
                <a:gd name="T44" fmla="*/ 275 w 933"/>
                <a:gd name="T45" fmla="*/ 66 h 638"/>
                <a:gd name="T46" fmla="*/ 223 w 933"/>
                <a:gd name="T47" fmla="*/ 118 h 638"/>
                <a:gd name="T48" fmla="*/ 185 w 933"/>
                <a:gd name="T49" fmla="*/ 179 h 638"/>
                <a:gd name="T50" fmla="*/ 162 w 933"/>
                <a:gd name="T51" fmla="*/ 249 h 638"/>
                <a:gd name="T52" fmla="*/ 125 w 933"/>
                <a:gd name="T53" fmla="*/ 300 h 638"/>
                <a:gd name="T54" fmla="*/ 57 w 933"/>
                <a:gd name="T55" fmla="*/ 338 h 638"/>
                <a:gd name="T56" fmla="*/ 12 w 933"/>
                <a:gd name="T57" fmla="*/ 402 h 638"/>
                <a:gd name="T58" fmla="*/ 1 w 933"/>
                <a:gd name="T59" fmla="*/ 483 h 638"/>
                <a:gd name="T60" fmla="*/ 30 w 933"/>
                <a:gd name="T61" fmla="*/ 562 h 638"/>
                <a:gd name="T62" fmla="*/ 90 w 933"/>
                <a:gd name="T63" fmla="*/ 618 h 638"/>
                <a:gd name="T64" fmla="*/ 171 w 933"/>
                <a:gd name="T65" fmla="*/ 638 h 638"/>
                <a:gd name="T66" fmla="*/ 185 w 933"/>
                <a:gd name="T67" fmla="*/ 631 h 638"/>
                <a:gd name="T68" fmla="*/ 188 w 933"/>
                <a:gd name="T69" fmla="*/ 294 h 638"/>
                <a:gd name="T70" fmla="*/ 200 w 933"/>
                <a:gd name="T71" fmla="*/ 226 h 638"/>
                <a:gd name="T72" fmla="*/ 228 w 933"/>
                <a:gd name="T73" fmla="*/ 164 h 638"/>
                <a:gd name="T74" fmla="*/ 269 w 933"/>
                <a:gd name="T75" fmla="*/ 112 h 638"/>
                <a:gd name="T76" fmla="*/ 322 w 933"/>
                <a:gd name="T77" fmla="*/ 71 h 638"/>
                <a:gd name="T78" fmla="*/ 383 w 933"/>
                <a:gd name="T79" fmla="*/ 43 h 638"/>
                <a:gd name="T80" fmla="*/ 452 w 933"/>
                <a:gd name="T81" fmla="*/ 31 h 638"/>
                <a:gd name="T82" fmla="*/ 523 w 933"/>
                <a:gd name="T83" fmla="*/ 36 h 638"/>
                <a:gd name="T84" fmla="*/ 588 w 933"/>
                <a:gd name="T85" fmla="*/ 58 h 638"/>
                <a:gd name="T86" fmla="*/ 645 w 933"/>
                <a:gd name="T87" fmla="*/ 94 h 638"/>
                <a:gd name="T88" fmla="*/ 691 w 933"/>
                <a:gd name="T89" fmla="*/ 142 h 638"/>
                <a:gd name="T90" fmla="*/ 725 w 933"/>
                <a:gd name="T91" fmla="*/ 201 h 638"/>
                <a:gd name="T92" fmla="*/ 743 w 933"/>
                <a:gd name="T93" fmla="*/ 266 h 638"/>
                <a:gd name="T94" fmla="*/ 747 w 933"/>
                <a:gd name="T95" fmla="*/ 625 h 638"/>
                <a:gd name="T96" fmla="*/ 756 w 933"/>
                <a:gd name="T97" fmla="*/ 636 h 638"/>
                <a:gd name="T98" fmla="*/ 813 w 933"/>
                <a:gd name="T99" fmla="*/ 630 h 638"/>
                <a:gd name="T100" fmla="*/ 883 w 933"/>
                <a:gd name="T101" fmla="*/ 588 h 638"/>
                <a:gd name="T102" fmla="*/ 926 w 933"/>
                <a:gd name="T103" fmla="*/ 516 h 638"/>
                <a:gd name="T104" fmla="*/ 930 w 933"/>
                <a:gd name="T105" fmla="*/ 433 h 638"/>
                <a:gd name="T106" fmla="*/ 898 w 933"/>
                <a:gd name="T107" fmla="*/ 361 h 638"/>
                <a:gd name="T108" fmla="*/ 838 w 933"/>
                <a:gd name="T109" fmla="*/ 311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33" h="638">
                  <a:moveTo>
                    <a:pt x="778" y="605"/>
                  </a:moveTo>
                  <a:lnTo>
                    <a:pt x="778" y="325"/>
                  </a:lnTo>
                  <a:lnTo>
                    <a:pt x="790" y="328"/>
                  </a:lnTo>
                  <a:lnTo>
                    <a:pt x="803" y="331"/>
                  </a:lnTo>
                  <a:lnTo>
                    <a:pt x="814" y="334"/>
                  </a:lnTo>
                  <a:lnTo>
                    <a:pt x="827" y="340"/>
                  </a:lnTo>
                  <a:lnTo>
                    <a:pt x="838" y="346"/>
                  </a:lnTo>
                  <a:lnTo>
                    <a:pt x="848" y="354"/>
                  </a:lnTo>
                  <a:lnTo>
                    <a:pt x="857" y="362"/>
                  </a:lnTo>
                  <a:lnTo>
                    <a:pt x="866" y="371"/>
                  </a:lnTo>
                  <a:lnTo>
                    <a:pt x="874" y="381"/>
                  </a:lnTo>
                  <a:lnTo>
                    <a:pt x="881" y="391"/>
                  </a:lnTo>
                  <a:lnTo>
                    <a:pt x="887" y="402"/>
                  </a:lnTo>
                  <a:lnTo>
                    <a:pt x="892" y="414"/>
                  </a:lnTo>
                  <a:lnTo>
                    <a:pt x="897" y="426"/>
                  </a:lnTo>
                  <a:lnTo>
                    <a:pt x="900" y="439"/>
                  </a:lnTo>
                  <a:lnTo>
                    <a:pt x="901" y="452"/>
                  </a:lnTo>
                  <a:lnTo>
                    <a:pt x="902" y="465"/>
                  </a:lnTo>
                  <a:lnTo>
                    <a:pt x="901" y="479"/>
                  </a:lnTo>
                  <a:lnTo>
                    <a:pt x="900" y="492"/>
                  </a:lnTo>
                  <a:lnTo>
                    <a:pt x="897" y="504"/>
                  </a:lnTo>
                  <a:lnTo>
                    <a:pt x="892" y="516"/>
                  </a:lnTo>
                  <a:lnTo>
                    <a:pt x="887" y="529"/>
                  </a:lnTo>
                  <a:lnTo>
                    <a:pt x="881" y="540"/>
                  </a:lnTo>
                  <a:lnTo>
                    <a:pt x="874" y="550"/>
                  </a:lnTo>
                  <a:lnTo>
                    <a:pt x="866" y="560"/>
                  </a:lnTo>
                  <a:lnTo>
                    <a:pt x="857" y="569"/>
                  </a:lnTo>
                  <a:lnTo>
                    <a:pt x="848" y="578"/>
                  </a:lnTo>
                  <a:lnTo>
                    <a:pt x="838" y="584"/>
                  </a:lnTo>
                  <a:lnTo>
                    <a:pt x="827" y="591"/>
                  </a:lnTo>
                  <a:lnTo>
                    <a:pt x="814" y="596"/>
                  </a:lnTo>
                  <a:lnTo>
                    <a:pt x="803" y="601"/>
                  </a:lnTo>
                  <a:lnTo>
                    <a:pt x="790" y="604"/>
                  </a:lnTo>
                  <a:lnTo>
                    <a:pt x="778" y="605"/>
                  </a:lnTo>
                  <a:close/>
                  <a:moveTo>
                    <a:pt x="156" y="605"/>
                  </a:moveTo>
                  <a:lnTo>
                    <a:pt x="143" y="604"/>
                  </a:lnTo>
                  <a:lnTo>
                    <a:pt x="130" y="601"/>
                  </a:lnTo>
                  <a:lnTo>
                    <a:pt x="119" y="596"/>
                  </a:lnTo>
                  <a:lnTo>
                    <a:pt x="107" y="591"/>
                  </a:lnTo>
                  <a:lnTo>
                    <a:pt x="96" y="584"/>
                  </a:lnTo>
                  <a:lnTo>
                    <a:pt x="86" y="578"/>
                  </a:lnTo>
                  <a:lnTo>
                    <a:pt x="77" y="569"/>
                  </a:lnTo>
                  <a:lnTo>
                    <a:pt x="68" y="560"/>
                  </a:lnTo>
                  <a:lnTo>
                    <a:pt x="60" y="550"/>
                  </a:lnTo>
                  <a:lnTo>
                    <a:pt x="52" y="540"/>
                  </a:lnTo>
                  <a:lnTo>
                    <a:pt x="47" y="529"/>
                  </a:lnTo>
                  <a:lnTo>
                    <a:pt x="41" y="516"/>
                  </a:lnTo>
                  <a:lnTo>
                    <a:pt x="37" y="504"/>
                  </a:lnTo>
                  <a:lnTo>
                    <a:pt x="35" y="492"/>
                  </a:lnTo>
                  <a:lnTo>
                    <a:pt x="32" y="479"/>
                  </a:lnTo>
                  <a:lnTo>
                    <a:pt x="31" y="465"/>
                  </a:lnTo>
                  <a:lnTo>
                    <a:pt x="32" y="452"/>
                  </a:lnTo>
                  <a:lnTo>
                    <a:pt x="35" y="439"/>
                  </a:lnTo>
                  <a:lnTo>
                    <a:pt x="37" y="426"/>
                  </a:lnTo>
                  <a:lnTo>
                    <a:pt x="41" y="414"/>
                  </a:lnTo>
                  <a:lnTo>
                    <a:pt x="47" y="402"/>
                  </a:lnTo>
                  <a:lnTo>
                    <a:pt x="52" y="391"/>
                  </a:lnTo>
                  <a:lnTo>
                    <a:pt x="60" y="381"/>
                  </a:lnTo>
                  <a:lnTo>
                    <a:pt x="68" y="371"/>
                  </a:lnTo>
                  <a:lnTo>
                    <a:pt x="77" y="362"/>
                  </a:lnTo>
                  <a:lnTo>
                    <a:pt x="86" y="354"/>
                  </a:lnTo>
                  <a:lnTo>
                    <a:pt x="96" y="346"/>
                  </a:lnTo>
                  <a:lnTo>
                    <a:pt x="107" y="340"/>
                  </a:lnTo>
                  <a:lnTo>
                    <a:pt x="119" y="335"/>
                  </a:lnTo>
                  <a:lnTo>
                    <a:pt x="130" y="331"/>
                  </a:lnTo>
                  <a:lnTo>
                    <a:pt x="143" y="328"/>
                  </a:lnTo>
                  <a:lnTo>
                    <a:pt x="156" y="325"/>
                  </a:lnTo>
                  <a:lnTo>
                    <a:pt x="156" y="605"/>
                  </a:lnTo>
                  <a:close/>
                  <a:moveTo>
                    <a:pt x="777" y="294"/>
                  </a:moveTo>
                  <a:lnTo>
                    <a:pt x="776" y="279"/>
                  </a:lnTo>
                  <a:lnTo>
                    <a:pt x="775" y="263"/>
                  </a:lnTo>
                  <a:lnTo>
                    <a:pt x="771" y="249"/>
                  </a:lnTo>
                  <a:lnTo>
                    <a:pt x="768" y="234"/>
                  </a:lnTo>
                  <a:lnTo>
                    <a:pt x="765" y="220"/>
                  </a:lnTo>
                  <a:lnTo>
                    <a:pt x="760" y="205"/>
                  </a:lnTo>
                  <a:lnTo>
                    <a:pt x="755" y="192"/>
                  </a:lnTo>
                  <a:lnTo>
                    <a:pt x="749" y="179"/>
                  </a:lnTo>
                  <a:lnTo>
                    <a:pt x="742" y="165"/>
                  </a:lnTo>
                  <a:lnTo>
                    <a:pt x="735" y="153"/>
                  </a:lnTo>
                  <a:lnTo>
                    <a:pt x="728" y="141"/>
                  </a:lnTo>
                  <a:lnTo>
                    <a:pt x="719" y="129"/>
                  </a:lnTo>
                  <a:lnTo>
                    <a:pt x="710" y="118"/>
                  </a:lnTo>
                  <a:lnTo>
                    <a:pt x="701" y="106"/>
                  </a:lnTo>
                  <a:lnTo>
                    <a:pt x="691" y="95"/>
                  </a:lnTo>
                  <a:lnTo>
                    <a:pt x="681" y="85"/>
                  </a:lnTo>
                  <a:lnTo>
                    <a:pt x="671" y="75"/>
                  </a:lnTo>
                  <a:lnTo>
                    <a:pt x="659" y="66"/>
                  </a:lnTo>
                  <a:lnTo>
                    <a:pt x="648" y="58"/>
                  </a:lnTo>
                  <a:lnTo>
                    <a:pt x="636" y="50"/>
                  </a:lnTo>
                  <a:lnTo>
                    <a:pt x="623" y="42"/>
                  </a:lnTo>
                  <a:lnTo>
                    <a:pt x="611" y="34"/>
                  </a:lnTo>
                  <a:lnTo>
                    <a:pt x="598" y="29"/>
                  </a:lnTo>
                  <a:lnTo>
                    <a:pt x="585" y="22"/>
                  </a:lnTo>
                  <a:lnTo>
                    <a:pt x="570" y="18"/>
                  </a:lnTo>
                  <a:lnTo>
                    <a:pt x="557" y="12"/>
                  </a:lnTo>
                  <a:lnTo>
                    <a:pt x="542" y="9"/>
                  </a:lnTo>
                  <a:lnTo>
                    <a:pt x="528" y="5"/>
                  </a:lnTo>
                  <a:lnTo>
                    <a:pt x="512" y="3"/>
                  </a:lnTo>
                  <a:lnTo>
                    <a:pt x="498" y="1"/>
                  </a:lnTo>
                  <a:lnTo>
                    <a:pt x="482" y="0"/>
                  </a:lnTo>
                  <a:lnTo>
                    <a:pt x="467" y="0"/>
                  </a:lnTo>
                  <a:lnTo>
                    <a:pt x="451" y="0"/>
                  </a:lnTo>
                  <a:lnTo>
                    <a:pt x="436" y="1"/>
                  </a:lnTo>
                  <a:lnTo>
                    <a:pt x="421" y="3"/>
                  </a:lnTo>
                  <a:lnTo>
                    <a:pt x="406" y="5"/>
                  </a:lnTo>
                  <a:lnTo>
                    <a:pt x="391" y="9"/>
                  </a:lnTo>
                  <a:lnTo>
                    <a:pt x="377" y="12"/>
                  </a:lnTo>
                  <a:lnTo>
                    <a:pt x="363" y="16"/>
                  </a:lnTo>
                  <a:lnTo>
                    <a:pt x="349" y="22"/>
                  </a:lnTo>
                  <a:lnTo>
                    <a:pt x="336" y="28"/>
                  </a:lnTo>
                  <a:lnTo>
                    <a:pt x="322" y="34"/>
                  </a:lnTo>
                  <a:lnTo>
                    <a:pt x="310" y="42"/>
                  </a:lnTo>
                  <a:lnTo>
                    <a:pt x="298" y="50"/>
                  </a:lnTo>
                  <a:lnTo>
                    <a:pt x="286" y="58"/>
                  </a:lnTo>
                  <a:lnTo>
                    <a:pt x="275" y="66"/>
                  </a:lnTo>
                  <a:lnTo>
                    <a:pt x="263" y="75"/>
                  </a:lnTo>
                  <a:lnTo>
                    <a:pt x="252" y="85"/>
                  </a:lnTo>
                  <a:lnTo>
                    <a:pt x="242" y="95"/>
                  </a:lnTo>
                  <a:lnTo>
                    <a:pt x="232" y="106"/>
                  </a:lnTo>
                  <a:lnTo>
                    <a:pt x="223" y="118"/>
                  </a:lnTo>
                  <a:lnTo>
                    <a:pt x="215" y="129"/>
                  </a:lnTo>
                  <a:lnTo>
                    <a:pt x="207" y="141"/>
                  </a:lnTo>
                  <a:lnTo>
                    <a:pt x="199" y="153"/>
                  </a:lnTo>
                  <a:lnTo>
                    <a:pt x="191" y="165"/>
                  </a:lnTo>
                  <a:lnTo>
                    <a:pt x="185" y="179"/>
                  </a:lnTo>
                  <a:lnTo>
                    <a:pt x="179" y="192"/>
                  </a:lnTo>
                  <a:lnTo>
                    <a:pt x="175" y="206"/>
                  </a:lnTo>
                  <a:lnTo>
                    <a:pt x="169" y="220"/>
                  </a:lnTo>
                  <a:lnTo>
                    <a:pt x="166" y="234"/>
                  </a:lnTo>
                  <a:lnTo>
                    <a:pt x="162" y="249"/>
                  </a:lnTo>
                  <a:lnTo>
                    <a:pt x="160" y="263"/>
                  </a:lnTo>
                  <a:lnTo>
                    <a:pt x="158" y="279"/>
                  </a:lnTo>
                  <a:lnTo>
                    <a:pt x="157" y="294"/>
                  </a:lnTo>
                  <a:lnTo>
                    <a:pt x="140" y="296"/>
                  </a:lnTo>
                  <a:lnTo>
                    <a:pt x="125" y="300"/>
                  </a:lnTo>
                  <a:lnTo>
                    <a:pt x="110" y="305"/>
                  </a:lnTo>
                  <a:lnTo>
                    <a:pt x="96" y="311"/>
                  </a:lnTo>
                  <a:lnTo>
                    <a:pt x="82" y="319"/>
                  </a:lnTo>
                  <a:lnTo>
                    <a:pt x="69" y="328"/>
                  </a:lnTo>
                  <a:lnTo>
                    <a:pt x="57" y="338"/>
                  </a:lnTo>
                  <a:lnTo>
                    <a:pt x="46" y="349"/>
                  </a:lnTo>
                  <a:lnTo>
                    <a:pt x="36" y="361"/>
                  </a:lnTo>
                  <a:lnTo>
                    <a:pt x="27" y="374"/>
                  </a:lnTo>
                  <a:lnTo>
                    <a:pt x="19" y="388"/>
                  </a:lnTo>
                  <a:lnTo>
                    <a:pt x="12" y="402"/>
                  </a:lnTo>
                  <a:lnTo>
                    <a:pt x="8" y="416"/>
                  </a:lnTo>
                  <a:lnTo>
                    <a:pt x="3" y="433"/>
                  </a:lnTo>
                  <a:lnTo>
                    <a:pt x="1" y="449"/>
                  </a:lnTo>
                  <a:lnTo>
                    <a:pt x="0" y="465"/>
                  </a:lnTo>
                  <a:lnTo>
                    <a:pt x="1" y="483"/>
                  </a:lnTo>
                  <a:lnTo>
                    <a:pt x="5" y="500"/>
                  </a:lnTo>
                  <a:lnTo>
                    <a:pt x="8" y="516"/>
                  </a:lnTo>
                  <a:lnTo>
                    <a:pt x="15" y="532"/>
                  </a:lnTo>
                  <a:lnTo>
                    <a:pt x="21" y="548"/>
                  </a:lnTo>
                  <a:lnTo>
                    <a:pt x="30" y="562"/>
                  </a:lnTo>
                  <a:lnTo>
                    <a:pt x="40" y="575"/>
                  </a:lnTo>
                  <a:lnTo>
                    <a:pt x="51" y="588"/>
                  </a:lnTo>
                  <a:lnTo>
                    <a:pt x="62" y="599"/>
                  </a:lnTo>
                  <a:lnTo>
                    <a:pt x="76" y="609"/>
                  </a:lnTo>
                  <a:lnTo>
                    <a:pt x="90" y="618"/>
                  </a:lnTo>
                  <a:lnTo>
                    <a:pt x="105" y="624"/>
                  </a:lnTo>
                  <a:lnTo>
                    <a:pt x="121" y="630"/>
                  </a:lnTo>
                  <a:lnTo>
                    <a:pt x="137" y="634"/>
                  </a:lnTo>
                  <a:lnTo>
                    <a:pt x="155" y="636"/>
                  </a:lnTo>
                  <a:lnTo>
                    <a:pt x="171" y="638"/>
                  </a:lnTo>
                  <a:lnTo>
                    <a:pt x="175" y="638"/>
                  </a:lnTo>
                  <a:lnTo>
                    <a:pt x="178" y="636"/>
                  </a:lnTo>
                  <a:lnTo>
                    <a:pt x="180" y="635"/>
                  </a:lnTo>
                  <a:lnTo>
                    <a:pt x="182" y="633"/>
                  </a:lnTo>
                  <a:lnTo>
                    <a:pt x="185" y="631"/>
                  </a:lnTo>
                  <a:lnTo>
                    <a:pt x="186" y="629"/>
                  </a:lnTo>
                  <a:lnTo>
                    <a:pt x="187" y="625"/>
                  </a:lnTo>
                  <a:lnTo>
                    <a:pt x="187" y="622"/>
                  </a:lnTo>
                  <a:lnTo>
                    <a:pt x="187" y="309"/>
                  </a:lnTo>
                  <a:lnTo>
                    <a:pt x="188" y="294"/>
                  </a:lnTo>
                  <a:lnTo>
                    <a:pt x="189" y="280"/>
                  </a:lnTo>
                  <a:lnTo>
                    <a:pt x="190" y="266"/>
                  </a:lnTo>
                  <a:lnTo>
                    <a:pt x="192" y="253"/>
                  </a:lnTo>
                  <a:lnTo>
                    <a:pt x="196" y="239"/>
                  </a:lnTo>
                  <a:lnTo>
                    <a:pt x="200" y="226"/>
                  </a:lnTo>
                  <a:lnTo>
                    <a:pt x="205" y="213"/>
                  </a:lnTo>
                  <a:lnTo>
                    <a:pt x="209" y="201"/>
                  </a:lnTo>
                  <a:lnTo>
                    <a:pt x="215" y="188"/>
                  </a:lnTo>
                  <a:lnTo>
                    <a:pt x="221" y="176"/>
                  </a:lnTo>
                  <a:lnTo>
                    <a:pt x="228" y="164"/>
                  </a:lnTo>
                  <a:lnTo>
                    <a:pt x="235" y="153"/>
                  </a:lnTo>
                  <a:lnTo>
                    <a:pt x="242" y="142"/>
                  </a:lnTo>
                  <a:lnTo>
                    <a:pt x="251" y="132"/>
                  </a:lnTo>
                  <a:lnTo>
                    <a:pt x="260" y="122"/>
                  </a:lnTo>
                  <a:lnTo>
                    <a:pt x="269" y="112"/>
                  </a:lnTo>
                  <a:lnTo>
                    <a:pt x="279" y="103"/>
                  </a:lnTo>
                  <a:lnTo>
                    <a:pt x="289" y="94"/>
                  </a:lnTo>
                  <a:lnTo>
                    <a:pt x="299" y="85"/>
                  </a:lnTo>
                  <a:lnTo>
                    <a:pt x="310" y="78"/>
                  </a:lnTo>
                  <a:lnTo>
                    <a:pt x="322" y="71"/>
                  </a:lnTo>
                  <a:lnTo>
                    <a:pt x="333" y="64"/>
                  </a:lnTo>
                  <a:lnTo>
                    <a:pt x="346" y="58"/>
                  </a:lnTo>
                  <a:lnTo>
                    <a:pt x="358" y="52"/>
                  </a:lnTo>
                  <a:lnTo>
                    <a:pt x="371" y="48"/>
                  </a:lnTo>
                  <a:lnTo>
                    <a:pt x="383" y="43"/>
                  </a:lnTo>
                  <a:lnTo>
                    <a:pt x="397" y="39"/>
                  </a:lnTo>
                  <a:lnTo>
                    <a:pt x="410" y="36"/>
                  </a:lnTo>
                  <a:lnTo>
                    <a:pt x="425" y="33"/>
                  </a:lnTo>
                  <a:lnTo>
                    <a:pt x="438" y="32"/>
                  </a:lnTo>
                  <a:lnTo>
                    <a:pt x="452" y="31"/>
                  </a:lnTo>
                  <a:lnTo>
                    <a:pt x="467" y="31"/>
                  </a:lnTo>
                  <a:lnTo>
                    <a:pt x="481" y="31"/>
                  </a:lnTo>
                  <a:lnTo>
                    <a:pt x="496" y="32"/>
                  </a:lnTo>
                  <a:lnTo>
                    <a:pt x="509" y="33"/>
                  </a:lnTo>
                  <a:lnTo>
                    <a:pt x="523" y="36"/>
                  </a:lnTo>
                  <a:lnTo>
                    <a:pt x="537" y="39"/>
                  </a:lnTo>
                  <a:lnTo>
                    <a:pt x="550" y="43"/>
                  </a:lnTo>
                  <a:lnTo>
                    <a:pt x="563" y="48"/>
                  </a:lnTo>
                  <a:lnTo>
                    <a:pt x="576" y="52"/>
                  </a:lnTo>
                  <a:lnTo>
                    <a:pt x="588" y="58"/>
                  </a:lnTo>
                  <a:lnTo>
                    <a:pt x="600" y="64"/>
                  </a:lnTo>
                  <a:lnTo>
                    <a:pt x="612" y="71"/>
                  </a:lnTo>
                  <a:lnTo>
                    <a:pt x="623" y="78"/>
                  </a:lnTo>
                  <a:lnTo>
                    <a:pt x="635" y="85"/>
                  </a:lnTo>
                  <a:lnTo>
                    <a:pt x="645" y="94"/>
                  </a:lnTo>
                  <a:lnTo>
                    <a:pt x="655" y="103"/>
                  </a:lnTo>
                  <a:lnTo>
                    <a:pt x="665" y="112"/>
                  </a:lnTo>
                  <a:lnTo>
                    <a:pt x="673" y="122"/>
                  </a:lnTo>
                  <a:lnTo>
                    <a:pt x="682" y="132"/>
                  </a:lnTo>
                  <a:lnTo>
                    <a:pt x="691" y="142"/>
                  </a:lnTo>
                  <a:lnTo>
                    <a:pt x="699" y="153"/>
                  </a:lnTo>
                  <a:lnTo>
                    <a:pt x="706" y="164"/>
                  </a:lnTo>
                  <a:lnTo>
                    <a:pt x="712" y="176"/>
                  </a:lnTo>
                  <a:lnTo>
                    <a:pt x="719" y="188"/>
                  </a:lnTo>
                  <a:lnTo>
                    <a:pt x="725" y="201"/>
                  </a:lnTo>
                  <a:lnTo>
                    <a:pt x="730" y="213"/>
                  </a:lnTo>
                  <a:lnTo>
                    <a:pt x="735" y="226"/>
                  </a:lnTo>
                  <a:lnTo>
                    <a:pt x="738" y="239"/>
                  </a:lnTo>
                  <a:lnTo>
                    <a:pt x="741" y="253"/>
                  </a:lnTo>
                  <a:lnTo>
                    <a:pt x="743" y="266"/>
                  </a:lnTo>
                  <a:lnTo>
                    <a:pt x="746" y="280"/>
                  </a:lnTo>
                  <a:lnTo>
                    <a:pt x="747" y="294"/>
                  </a:lnTo>
                  <a:lnTo>
                    <a:pt x="747" y="309"/>
                  </a:lnTo>
                  <a:lnTo>
                    <a:pt x="747" y="622"/>
                  </a:lnTo>
                  <a:lnTo>
                    <a:pt x="747" y="625"/>
                  </a:lnTo>
                  <a:lnTo>
                    <a:pt x="748" y="629"/>
                  </a:lnTo>
                  <a:lnTo>
                    <a:pt x="749" y="631"/>
                  </a:lnTo>
                  <a:lnTo>
                    <a:pt x="751" y="633"/>
                  </a:lnTo>
                  <a:lnTo>
                    <a:pt x="753" y="635"/>
                  </a:lnTo>
                  <a:lnTo>
                    <a:pt x="756" y="636"/>
                  </a:lnTo>
                  <a:lnTo>
                    <a:pt x="759" y="638"/>
                  </a:lnTo>
                  <a:lnTo>
                    <a:pt x="762" y="638"/>
                  </a:lnTo>
                  <a:lnTo>
                    <a:pt x="780" y="636"/>
                  </a:lnTo>
                  <a:lnTo>
                    <a:pt x="797" y="634"/>
                  </a:lnTo>
                  <a:lnTo>
                    <a:pt x="813" y="630"/>
                  </a:lnTo>
                  <a:lnTo>
                    <a:pt x="829" y="624"/>
                  </a:lnTo>
                  <a:lnTo>
                    <a:pt x="843" y="618"/>
                  </a:lnTo>
                  <a:lnTo>
                    <a:pt x="858" y="609"/>
                  </a:lnTo>
                  <a:lnTo>
                    <a:pt x="871" y="599"/>
                  </a:lnTo>
                  <a:lnTo>
                    <a:pt x="883" y="588"/>
                  </a:lnTo>
                  <a:lnTo>
                    <a:pt x="894" y="575"/>
                  </a:lnTo>
                  <a:lnTo>
                    <a:pt x="903" y="562"/>
                  </a:lnTo>
                  <a:lnTo>
                    <a:pt x="912" y="548"/>
                  </a:lnTo>
                  <a:lnTo>
                    <a:pt x="920" y="532"/>
                  </a:lnTo>
                  <a:lnTo>
                    <a:pt x="926" y="516"/>
                  </a:lnTo>
                  <a:lnTo>
                    <a:pt x="930" y="500"/>
                  </a:lnTo>
                  <a:lnTo>
                    <a:pt x="932" y="483"/>
                  </a:lnTo>
                  <a:lnTo>
                    <a:pt x="933" y="465"/>
                  </a:lnTo>
                  <a:lnTo>
                    <a:pt x="932" y="449"/>
                  </a:lnTo>
                  <a:lnTo>
                    <a:pt x="930" y="433"/>
                  </a:lnTo>
                  <a:lnTo>
                    <a:pt x="926" y="416"/>
                  </a:lnTo>
                  <a:lnTo>
                    <a:pt x="921" y="402"/>
                  </a:lnTo>
                  <a:lnTo>
                    <a:pt x="914" y="388"/>
                  </a:lnTo>
                  <a:lnTo>
                    <a:pt x="907" y="374"/>
                  </a:lnTo>
                  <a:lnTo>
                    <a:pt x="898" y="361"/>
                  </a:lnTo>
                  <a:lnTo>
                    <a:pt x="888" y="349"/>
                  </a:lnTo>
                  <a:lnTo>
                    <a:pt x="877" y="338"/>
                  </a:lnTo>
                  <a:lnTo>
                    <a:pt x="864" y="328"/>
                  </a:lnTo>
                  <a:lnTo>
                    <a:pt x="852" y="319"/>
                  </a:lnTo>
                  <a:lnTo>
                    <a:pt x="838" y="311"/>
                  </a:lnTo>
                  <a:lnTo>
                    <a:pt x="823" y="305"/>
                  </a:lnTo>
                  <a:lnTo>
                    <a:pt x="809" y="300"/>
                  </a:lnTo>
                  <a:lnTo>
                    <a:pt x="793" y="296"/>
                  </a:lnTo>
                  <a:lnTo>
                    <a:pt x="777"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83" name="Freeform 440">
              <a:extLst>
                <a:ext uri="{FF2B5EF4-FFF2-40B4-BE49-F238E27FC236}">
                  <a16:creationId xmlns:a16="http://schemas.microsoft.com/office/drawing/2014/main" id="{9EAF532B-C84B-4D73-BDCF-9FB894F44D22}"/>
                </a:ext>
              </a:extLst>
            </p:cNvPr>
            <p:cNvSpPr>
              <a:spLocks noEditPoints="1"/>
            </p:cNvSpPr>
            <p:nvPr/>
          </p:nvSpPr>
          <p:spPr bwMode="auto">
            <a:xfrm>
              <a:off x="10455539" y="4469370"/>
              <a:ext cx="202073" cy="48054"/>
            </a:xfrm>
            <a:custGeom>
              <a:avLst/>
              <a:gdLst>
                <a:gd name="T0" fmla="*/ 34 w 658"/>
                <a:gd name="T1" fmla="*/ 115 h 156"/>
                <a:gd name="T2" fmla="*/ 40 w 658"/>
                <a:gd name="T3" fmla="*/ 97 h 156"/>
                <a:gd name="T4" fmla="*/ 49 w 658"/>
                <a:gd name="T5" fmla="*/ 80 h 156"/>
                <a:gd name="T6" fmla="*/ 60 w 658"/>
                <a:gd name="T7" fmla="*/ 66 h 156"/>
                <a:gd name="T8" fmla="*/ 73 w 658"/>
                <a:gd name="T9" fmla="*/ 53 h 156"/>
                <a:gd name="T10" fmla="*/ 89 w 658"/>
                <a:gd name="T11" fmla="*/ 43 h 156"/>
                <a:gd name="T12" fmla="*/ 105 w 658"/>
                <a:gd name="T13" fmla="*/ 36 h 156"/>
                <a:gd name="T14" fmla="*/ 123 w 658"/>
                <a:gd name="T15" fmla="*/ 32 h 156"/>
                <a:gd name="T16" fmla="*/ 524 w 658"/>
                <a:gd name="T17" fmla="*/ 32 h 156"/>
                <a:gd name="T18" fmla="*/ 543 w 658"/>
                <a:gd name="T19" fmla="*/ 34 h 156"/>
                <a:gd name="T20" fmla="*/ 560 w 658"/>
                <a:gd name="T21" fmla="*/ 39 h 156"/>
                <a:gd name="T22" fmla="*/ 577 w 658"/>
                <a:gd name="T23" fmla="*/ 47 h 156"/>
                <a:gd name="T24" fmla="*/ 591 w 658"/>
                <a:gd name="T25" fmla="*/ 59 h 156"/>
                <a:gd name="T26" fmla="*/ 603 w 658"/>
                <a:gd name="T27" fmla="*/ 73 h 156"/>
                <a:gd name="T28" fmla="*/ 613 w 658"/>
                <a:gd name="T29" fmla="*/ 88 h 156"/>
                <a:gd name="T30" fmla="*/ 621 w 658"/>
                <a:gd name="T31" fmla="*/ 106 h 156"/>
                <a:gd name="T32" fmla="*/ 625 w 658"/>
                <a:gd name="T33" fmla="*/ 125 h 156"/>
                <a:gd name="T34" fmla="*/ 524 w 658"/>
                <a:gd name="T35" fmla="*/ 0 h 156"/>
                <a:gd name="T36" fmla="*/ 120 w 658"/>
                <a:gd name="T37" fmla="*/ 2 h 156"/>
                <a:gd name="T38" fmla="*/ 94 w 658"/>
                <a:gd name="T39" fmla="*/ 7 h 156"/>
                <a:gd name="T40" fmla="*/ 70 w 658"/>
                <a:gd name="T41" fmla="*/ 17 h 156"/>
                <a:gd name="T42" fmla="*/ 49 w 658"/>
                <a:gd name="T43" fmla="*/ 33 h 156"/>
                <a:gd name="T44" fmla="*/ 31 w 658"/>
                <a:gd name="T45" fmla="*/ 52 h 156"/>
                <a:gd name="T46" fmla="*/ 17 w 658"/>
                <a:gd name="T47" fmla="*/ 74 h 156"/>
                <a:gd name="T48" fmla="*/ 5 w 658"/>
                <a:gd name="T49" fmla="*/ 99 h 156"/>
                <a:gd name="T50" fmla="*/ 1 w 658"/>
                <a:gd name="T51" fmla="*/ 126 h 156"/>
                <a:gd name="T52" fmla="*/ 0 w 658"/>
                <a:gd name="T53" fmla="*/ 144 h 156"/>
                <a:gd name="T54" fmla="*/ 2 w 658"/>
                <a:gd name="T55" fmla="*/ 149 h 156"/>
                <a:gd name="T56" fmla="*/ 7 w 658"/>
                <a:gd name="T57" fmla="*/ 153 h 156"/>
                <a:gd name="T58" fmla="*/ 12 w 658"/>
                <a:gd name="T59" fmla="*/ 156 h 156"/>
                <a:gd name="T60" fmla="*/ 642 w 658"/>
                <a:gd name="T61" fmla="*/ 156 h 156"/>
                <a:gd name="T62" fmla="*/ 649 w 658"/>
                <a:gd name="T63" fmla="*/ 155 h 156"/>
                <a:gd name="T64" fmla="*/ 653 w 658"/>
                <a:gd name="T65" fmla="*/ 152 h 156"/>
                <a:gd name="T66" fmla="*/ 656 w 658"/>
                <a:gd name="T67" fmla="*/ 146 h 156"/>
                <a:gd name="T68" fmla="*/ 658 w 658"/>
                <a:gd name="T69" fmla="*/ 140 h 156"/>
                <a:gd name="T70" fmla="*/ 655 w 658"/>
                <a:gd name="T71" fmla="*/ 113 h 156"/>
                <a:gd name="T72" fmla="*/ 648 w 658"/>
                <a:gd name="T73" fmla="*/ 86 h 156"/>
                <a:gd name="T74" fmla="*/ 634 w 658"/>
                <a:gd name="T75" fmla="*/ 63 h 156"/>
                <a:gd name="T76" fmla="*/ 619 w 658"/>
                <a:gd name="T77" fmla="*/ 42 h 156"/>
                <a:gd name="T78" fmla="*/ 599 w 658"/>
                <a:gd name="T79" fmla="*/ 25 h 156"/>
                <a:gd name="T80" fmla="*/ 577 w 658"/>
                <a:gd name="T81" fmla="*/ 12 h 156"/>
                <a:gd name="T82" fmla="*/ 551 w 658"/>
                <a:gd name="T83" fmla="*/ 4 h 156"/>
                <a:gd name="T84" fmla="*/ 524 w 658"/>
                <a:gd name="T85"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8" h="156">
                  <a:moveTo>
                    <a:pt x="32" y="125"/>
                  </a:moveTo>
                  <a:lnTo>
                    <a:pt x="34" y="115"/>
                  </a:lnTo>
                  <a:lnTo>
                    <a:pt x="37" y="106"/>
                  </a:lnTo>
                  <a:lnTo>
                    <a:pt x="40" y="97"/>
                  </a:lnTo>
                  <a:lnTo>
                    <a:pt x="44" y="88"/>
                  </a:lnTo>
                  <a:lnTo>
                    <a:pt x="49" y="80"/>
                  </a:lnTo>
                  <a:lnTo>
                    <a:pt x="54" y="73"/>
                  </a:lnTo>
                  <a:lnTo>
                    <a:pt x="60" y="66"/>
                  </a:lnTo>
                  <a:lnTo>
                    <a:pt x="67" y="59"/>
                  </a:lnTo>
                  <a:lnTo>
                    <a:pt x="73" y="53"/>
                  </a:lnTo>
                  <a:lnTo>
                    <a:pt x="81" y="47"/>
                  </a:lnTo>
                  <a:lnTo>
                    <a:pt x="89" y="43"/>
                  </a:lnTo>
                  <a:lnTo>
                    <a:pt x="98" y="39"/>
                  </a:lnTo>
                  <a:lnTo>
                    <a:pt x="105" y="36"/>
                  </a:lnTo>
                  <a:lnTo>
                    <a:pt x="114" y="34"/>
                  </a:lnTo>
                  <a:lnTo>
                    <a:pt x="123" y="32"/>
                  </a:lnTo>
                  <a:lnTo>
                    <a:pt x="133" y="32"/>
                  </a:lnTo>
                  <a:lnTo>
                    <a:pt x="524" y="32"/>
                  </a:lnTo>
                  <a:lnTo>
                    <a:pt x="534" y="32"/>
                  </a:lnTo>
                  <a:lnTo>
                    <a:pt x="543" y="34"/>
                  </a:lnTo>
                  <a:lnTo>
                    <a:pt x="552" y="36"/>
                  </a:lnTo>
                  <a:lnTo>
                    <a:pt x="560" y="39"/>
                  </a:lnTo>
                  <a:lnTo>
                    <a:pt x="569" y="43"/>
                  </a:lnTo>
                  <a:lnTo>
                    <a:pt x="577" y="47"/>
                  </a:lnTo>
                  <a:lnTo>
                    <a:pt x="584" y="53"/>
                  </a:lnTo>
                  <a:lnTo>
                    <a:pt x="591" y="59"/>
                  </a:lnTo>
                  <a:lnTo>
                    <a:pt x="598" y="66"/>
                  </a:lnTo>
                  <a:lnTo>
                    <a:pt x="603" y="73"/>
                  </a:lnTo>
                  <a:lnTo>
                    <a:pt x="609" y="80"/>
                  </a:lnTo>
                  <a:lnTo>
                    <a:pt x="613" y="88"/>
                  </a:lnTo>
                  <a:lnTo>
                    <a:pt x="618" y="97"/>
                  </a:lnTo>
                  <a:lnTo>
                    <a:pt x="621" y="106"/>
                  </a:lnTo>
                  <a:lnTo>
                    <a:pt x="624" y="115"/>
                  </a:lnTo>
                  <a:lnTo>
                    <a:pt x="625" y="125"/>
                  </a:lnTo>
                  <a:lnTo>
                    <a:pt x="32" y="125"/>
                  </a:lnTo>
                  <a:close/>
                  <a:moveTo>
                    <a:pt x="524" y="0"/>
                  </a:moveTo>
                  <a:lnTo>
                    <a:pt x="133" y="0"/>
                  </a:lnTo>
                  <a:lnTo>
                    <a:pt x="120" y="2"/>
                  </a:lnTo>
                  <a:lnTo>
                    <a:pt x="107" y="3"/>
                  </a:lnTo>
                  <a:lnTo>
                    <a:pt x="94" y="7"/>
                  </a:lnTo>
                  <a:lnTo>
                    <a:pt x="82" y="12"/>
                  </a:lnTo>
                  <a:lnTo>
                    <a:pt x="70" y="17"/>
                  </a:lnTo>
                  <a:lnTo>
                    <a:pt x="59" y="25"/>
                  </a:lnTo>
                  <a:lnTo>
                    <a:pt x="49" y="33"/>
                  </a:lnTo>
                  <a:lnTo>
                    <a:pt x="39" y="42"/>
                  </a:lnTo>
                  <a:lnTo>
                    <a:pt x="31" y="52"/>
                  </a:lnTo>
                  <a:lnTo>
                    <a:pt x="23" y="63"/>
                  </a:lnTo>
                  <a:lnTo>
                    <a:pt x="17" y="74"/>
                  </a:lnTo>
                  <a:lnTo>
                    <a:pt x="10" y="86"/>
                  </a:lnTo>
                  <a:lnTo>
                    <a:pt x="5" y="99"/>
                  </a:lnTo>
                  <a:lnTo>
                    <a:pt x="2" y="113"/>
                  </a:lnTo>
                  <a:lnTo>
                    <a:pt x="1" y="126"/>
                  </a:lnTo>
                  <a:lnTo>
                    <a:pt x="0" y="140"/>
                  </a:lnTo>
                  <a:lnTo>
                    <a:pt x="0" y="144"/>
                  </a:lnTo>
                  <a:lnTo>
                    <a:pt x="1" y="146"/>
                  </a:lnTo>
                  <a:lnTo>
                    <a:pt x="2" y="149"/>
                  </a:lnTo>
                  <a:lnTo>
                    <a:pt x="4" y="152"/>
                  </a:lnTo>
                  <a:lnTo>
                    <a:pt x="7" y="153"/>
                  </a:lnTo>
                  <a:lnTo>
                    <a:pt x="9" y="155"/>
                  </a:lnTo>
                  <a:lnTo>
                    <a:pt x="12" y="156"/>
                  </a:lnTo>
                  <a:lnTo>
                    <a:pt x="15" y="156"/>
                  </a:lnTo>
                  <a:lnTo>
                    <a:pt x="642" y="156"/>
                  </a:lnTo>
                  <a:lnTo>
                    <a:pt x="645" y="156"/>
                  </a:lnTo>
                  <a:lnTo>
                    <a:pt x="649" y="155"/>
                  </a:lnTo>
                  <a:lnTo>
                    <a:pt x="651" y="153"/>
                  </a:lnTo>
                  <a:lnTo>
                    <a:pt x="653" y="152"/>
                  </a:lnTo>
                  <a:lnTo>
                    <a:pt x="655" y="149"/>
                  </a:lnTo>
                  <a:lnTo>
                    <a:pt x="656" y="146"/>
                  </a:lnTo>
                  <a:lnTo>
                    <a:pt x="658" y="144"/>
                  </a:lnTo>
                  <a:lnTo>
                    <a:pt x="658" y="140"/>
                  </a:lnTo>
                  <a:lnTo>
                    <a:pt x="658" y="126"/>
                  </a:lnTo>
                  <a:lnTo>
                    <a:pt x="655" y="113"/>
                  </a:lnTo>
                  <a:lnTo>
                    <a:pt x="652" y="99"/>
                  </a:lnTo>
                  <a:lnTo>
                    <a:pt x="648" y="86"/>
                  </a:lnTo>
                  <a:lnTo>
                    <a:pt x="642" y="74"/>
                  </a:lnTo>
                  <a:lnTo>
                    <a:pt x="634" y="63"/>
                  </a:lnTo>
                  <a:lnTo>
                    <a:pt x="627" y="52"/>
                  </a:lnTo>
                  <a:lnTo>
                    <a:pt x="619" y="42"/>
                  </a:lnTo>
                  <a:lnTo>
                    <a:pt x="609" y="33"/>
                  </a:lnTo>
                  <a:lnTo>
                    <a:pt x="599" y="25"/>
                  </a:lnTo>
                  <a:lnTo>
                    <a:pt x="588" y="17"/>
                  </a:lnTo>
                  <a:lnTo>
                    <a:pt x="577" y="12"/>
                  </a:lnTo>
                  <a:lnTo>
                    <a:pt x="564" y="7"/>
                  </a:lnTo>
                  <a:lnTo>
                    <a:pt x="551" y="4"/>
                  </a:lnTo>
                  <a:lnTo>
                    <a:pt x="538" y="2"/>
                  </a:lnTo>
                  <a:lnTo>
                    <a:pt x="5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84" name="Group 83">
            <a:extLst>
              <a:ext uri="{FF2B5EF4-FFF2-40B4-BE49-F238E27FC236}">
                <a16:creationId xmlns:a16="http://schemas.microsoft.com/office/drawing/2014/main" id="{687B04E3-4681-4E3E-974A-AC0C9A045ED0}"/>
              </a:ext>
            </a:extLst>
          </p:cNvPr>
          <p:cNvGrpSpPr/>
          <p:nvPr/>
        </p:nvGrpSpPr>
        <p:grpSpPr>
          <a:xfrm>
            <a:off x="5016930" y="5974581"/>
            <a:ext cx="612466" cy="551558"/>
            <a:chOff x="877888" y="815975"/>
            <a:chExt cx="287338" cy="258763"/>
          </a:xfrm>
          <a:solidFill>
            <a:schemeClr val="bg1"/>
          </a:solidFill>
        </p:grpSpPr>
        <p:sp>
          <p:nvSpPr>
            <p:cNvPr id="85" name="Freeform 60">
              <a:extLst>
                <a:ext uri="{FF2B5EF4-FFF2-40B4-BE49-F238E27FC236}">
                  <a16:creationId xmlns:a16="http://schemas.microsoft.com/office/drawing/2014/main" id="{5346C34C-2B0E-4960-8FA5-92B3DDFE72E8}"/>
                </a:ext>
              </a:extLst>
            </p:cNvPr>
            <p:cNvSpPr>
              <a:spLocks noEditPoints="1"/>
            </p:cNvSpPr>
            <p:nvPr/>
          </p:nvSpPr>
          <p:spPr bwMode="auto">
            <a:xfrm>
              <a:off x="877888" y="815975"/>
              <a:ext cx="287338" cy="258763"/>
            </a:xfrm>
            <a:custGeom>
              <a:avLst/>
              <a:gdLst>
                <a:gd name="T0" fmla="*/ 67 w 903"/>
                <a:gd name="T1" fmla="*/ 692 h 813"/>
                <a:gd name="T2" fmla="*/ 44 w 903"/>
                <a:gd name="T3" fmla="*/ 680 h 813"/>
                <a:gd name="T4" fmla="*/ 31 w 903"/>
                <a:gd name="T5" fmla="*/ 656 h 813"/>
                <a:gd name="T6" fmla="*/ 873 w 903"/>
                <a:gd name="T7" fmla="*/ 573 h 813"/>
                <a:gd name="T8" fmla="*/ 870 w 903"/>
                <a:gd name="T9" fmla="*/ 665 h 813"/>
                <a:gd name="T10" fmla="*/ 854 w 903"/>
                <a:gd name="T11" fmla="*/ 685 h 813"/>
                <a:gd name="T12" fmla="*/ 828 w 903"/>
                <a:gd name="T13" fmla="*/ 693 h 813"/>
                <a:gd name="T14" fmla="*/ 838 w 903"/>
                <a:gd name="T15" fmla="*/ 31 h 813"/>
                <a:gd name="T16" fmla="*/ 860 w 903"/>
                <a:gd name="T17" fmla="*/ 44 h 813"/>
                <a:gd name="T18" fmla="*/ 872 w 903"/>
                <a:gd name="T19" fmla="*/ 66 h 813"/>
                <a:gd name="T20" fmla="*/ 30 w 903"/>
                <a:gd name="T21" fmla="*/ 543 h 813"/>
                <a:gd name="T22" fmla="*/ 34 w 903"/>
                <a:gd name="T23" fmla="*/ 58 h 813"/>
                <a:gd name="T24" fmla="*/ 50 w 903"/>
                <a:gd name="T25" fmla="*/ 38 h 813"/>
                <a:gd name="T26" fmla="*/ 75 w 903"/>
                <a:gd name="T27" fmla="*/ 31 h 813"/>
                <a:gd name="T28" fmla="*/ 75 w 903"/>
                <a:gd name="T29" fmla="*/ 0 h 813"/>
                <a:gd name="T30" fmla="*/ 54 w 903"/>
                <a:gd name="T31" fmla="*/ 4 h 813"/>
                <a:gd name="T32" fmla="*/ 33 w 903"/>
                <a:gd name="T33" fmla="*/ 13 h 813"/>
                <a:gd name="T34" fmla="*/ 17 w 903"/>
                <a:gd name="T35" fmla="*/ 28 h 813"/>
                <a:gd name="T36" fmla="*/ 7 w 903"/>
                <a:gd name="T37" fmla="*/ 46 h 813"/>
                <a:gd name="T38" fmla="*/ 1 w 903"/>
                <a:gd name="T39" fmla="*/ 67 h 813"/>
                <a:gd name="T40" fmla="*/ 1 w 903"/>
                <a:gd name="T41" fmla="*/ 655 h 813"/>
                <a:gd name="T42" fmla="*/ 7 w 903"/>
                <a:gd name="T43" fmla="*/ 677 h 813"/>
                <a:gd name="T44" fmla="*/ 17 w 903"/>
                <a:gd name="T45" fmla="*/ 695 h 813"/>
                <a:gd name="T46" fmla="*/ 33 w 903"/>
                <a:gd name="T47" fmla="*/ 710 h 813"/>
                <a:gd name="T48" fmla="*/ 54 w 903"/>
                <a:gd name="T49" fmla="*/ 720 h 813"/>
                <a:gd name="T50" fmla="*/ 75 w 903"/>
                <a:gd name="T51" fmla="*/ 723 h 813"/>
                <a:gd name="T52" fmla="*/ 196 w 903"/>
                <a:gd name="T53" fmla="*/ 783 h 813"/>
                <a:gd name="T54" fmla="*/ 188 w 903"/>
                <a:gd name="T55" fmla="*/ 786 h 813"/>
                <a:gd name="T56" fmla="*/ 182 w 903"/>
                <a:gd name="T57" fmla="*/ 792 h 813"/>
                <a:gd name="T58" fmla="*/ 181 w 903"/>
                <a:gd name="T59" fmla="*/ 801 h 813"/>
                <a:gd name="T60" fmla="*/ 186 w 903"/>
                <a:gd name="T61" fmla="*/ 809 h 813"/>
                <a:gd name="T62" fmla="*/ 193 w 903"/>
                <a:gd name="T63" fmla="*/ 813 h 813"/>
                <a:gd name="T64" fmla="*/ 741 w 903"/>
                <a:gd name="T65" fmla="*/ 813 h 813"/>
                <a:gd name="T66" fmla="*/ 749 w 903"/>
                <a:gd name="T67" fmla="*/ 809 h 813"/>
                <a:gd name="T68" fmla="*/ 753 w 903"/>
                <a:gd name="T69" fmla="*/ 801 h 813"/>
                <a:gd name="T70" fmla="*/ 752 w 903"/>
                <a:gd name="T71" fmla="*/ 792 h 813"/>
                <a:gd name="T72" fmla="*/ 747 w 903"/>
                <a:gd name="T73" fmla="*/ 786 h 813"/>
                <a:gd name="T74" fmla="*/ 738 w 903"/>
                <a:gd name="T75" fmla="*/ 783 h 813"/>
                <a:gd name="T76" fmla="*/ 828 w 903"/>
                <a:gd name="T77" fmla="*/ 723 h 813"/>
                <a:gd name="T78" fmla="*/ 851 w 903"/>
                <a:gd name="T79" fmla="*/ 720 h 813"/>
                <a:gd name="T80" fmla="*/ 870 w 903"/>
                <a:gd name="T81" fmla="*/ 710 h 813"/>
                <a:gd name="T82" fmla="*/ 886 w 903"/>
                <a:gd name="T83" fmla="*/ 695 h 813"/>
                <a:gd name="T84" fmla="*/ 898 w 903"/>
                <a:gd name="T85" fmla="*/ 677 h 813"/>
                <a:gd name="T86" fmla="*/ 903 w 903"/>
                <a:gd name="T87" fmla="*/ 655 h 813"/>
                <a:gd name="T88" fmla="*/ 903 w 903"/>
                <a:gd name="T89" fmla="*/ 67 h 813"/>
                <a:gd name="T90" fmla="*/ 898 w 903"/>
                <a:gd name="T91" fmla="*/ 46 h 813"/>
                <a:gd name="T92" fmla="*/ 886 w 903"/>
                <a:gd name="T93" fmla="*/ 28 h 813"/>
                <a:gd name="T94" fmla="*/ 870 w 903"/>
                <a:gd name="T95" fmla="*/ 13 h 813"/>
                <a:gd name="T96" fmla="*/ 851 w 903"/>
                <a:gd name="T97" fmla="*/ 4 h 813"/>
                <a:gd name="T98" fmla="*/ 828 w 903"/>
                <a:gd name="T99" fmla="*/ 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3" h="813">
                  <a:moveTo>
                    <a:pt x="828" y="693"/>
                  </a:moveTo>
                  <a:lnTo>
                    <a:pt x="75" y="693"/>
                  </a:lnTo>
                  <a:lnTo>
                    <a:pt x="67" y="692"/>
                  </a:lnTo>
                  <a:lnTo>
                    <a:pt x="58" y="689"/>
                  </a:lnTo>
                  <a:lnTo>
                    <a:pt x="50" y="685"/>
                  </a:lnTo>
                  <a:lnTo>
                    <a:pt x="44" y="680"/>
                  </a:lnTo>
                  <a:lnTo>
                    <a:pt x="38" y="672"/>
                  </a:lnTo>
                  <a:lnTo>
                    <a:pt x="34" y="665"/>
                  </a:lnTo>
                  <a:lnTo>
                    <a:pt x="31" y="656"/>
                  </a:lnTo>
                  <a:lnTo>
                    <a:pt x="30" y="648"/>
                  </a:lnTo>
                  <a:lnTo>
                    <a:pt x="30" y="573"/>
                  </a:lnTo>
                  <a:lnTo>
                    <a:pt x="873" y="573"/>
                  </a:lnTo>
                  <a:lnTo>
                    <a:pt x="873" y="648"/>
                  </a:lnTo>
                  <a:lnTo>
                    <a:pt x="872" y="656"/>
                  </a:lnTo>
                  <a:lnTo>
                    <a:pt x="870" y="665"/>
                  </a:lnTo>
                  <a:lnTo>
                    <a:pt x="866" y="672"/>
                  </a:lnTo>
                  <a:lnTo>
                    <a:pt x="860" y="680"/>
                  </a:lnTo>
                  <a:lnTo>
                    <a:pt x="854" y="685"/>
                  </a:lnTo>
                  <a:lnTo>
                    <a:pt x="845" y="689"/>
                  </a:lnTo>
                  <a:lnTo>
                    <a:pt x="838" y="692"/>
                  </a:lnTo>
                  <a:lnTo>
                    <a:pt x="828" y="693"/>
                  </a:lnTo>
                  <a:close/>
                  <a:moveTo>
                    <a:pt x="75" y="30"/>
                  </a:moveTo>
                  <a:lnTo>
                    <a:pt x="828" y="30"/>
                  </a:lnTo>
                  <a:lnTo>
                    <a:pt x="838" y="31"/>
                  </a:lnTo>
                  <a:lnTo>
                    <a:pt x="845" y="34"/>
                  </a:lnTo>
                  <a:lnTo>
                    <a:pt x="854" y="38"/>
                  </a:lnTo>
                  <a:lnTo>
                    <a:pt x="860" y="44"/>
                  </a:lnTo>
                  <a:lnTo>
                    <a:pt x="866" y="50"/>
                  </a:lnTo>
                  <a:lnTo>
                    <a:pt x="870" y="58"/>
                  </a:lnTo>
                  <a:lnTo>
                    <a:pt x="872" y="66"/>
                  </a:lnTo>
                  <a:lnTo>
                    <a:pt x="873" y="76"/>
                  </a:lnTo>
                  <a:lnTo>
                    <a:pt x="873" y="543"/>
                  </a:lnTo>
                  <a:lnTo>
                    <a:pt x="30" y="543"/>
                  </a:lnTo>
                  <a:lnTo>
                    <a:pt x="30" y="76"/>
                  </a:lnTo>
                  <a:lnTo>
                    <a:pt x="31" y="66"/>
                  </a:lnTo>
                  <a:lnTo>
                    <a:pt x="34" y="58"/>
                  </a:lnTo>
                  <a:lnTo>
                    <a:pt x="39" y="50"/>
                  </a:lnTo>
                  <a:lnTo>
                    <a:pt x="44" y="44"/>
                  </a:lnTo>
                  <a:lnTo>
                    <a:pt x="50" y="38"/>
                  </a:lnTo>
                  <a:lnTo>
                    <a:pt x="58" y="34"/>
                  </a:lnTo>
                  <a:lnTo>
                    <a:pt x="67" y="31"/>
                  </a:lnTo>
                  <a:lnTo>
                    <a:pt x="75" y="31"/>
                  </a:lnTo>
                  <a:lnTo>
                    <a:pt x="75" y="30"/>
                  </a:lnTo>
                  <a:close/>
                  <a:moveTo>
                    <a:pt x="828" y="0"/>
                  </a:moveTo>
                  <a:lnTo>
                    <a:pt x="75" y="0"/>
                  </a:lnTo>
                  <a:lnTo>
                    <a:pt x="68" y="1"/>
                  </a:lnTo>
                  <a:lnTo>
                    <a:pt x="60" y="2"/>
                  </a:lnTo>
                  <a:lnTo>
                    <a:pt x="54" y="4"/>
                  </a:lnTo>
                  <a:lnTo>
                    <a:pt x="46" y="6"/>
                  </a:lnTo>
                  <a:lnTo>
                    <a:pt x="40" y="9"/>
                  </a:lnTo>
                  <a:lnTo>
                    <a:pt x="33" y="13"/>
                  </a:lnTo>
                  <a:lnTo>
                    <a:pt x="28" y="17"/>
                  </a:lnTo>
                  <a:lnTo>
                    <a:pt x="23" y="22"/>
                  </a:lnTo>
                  <a:lnTo>
                    <a:pt x="17" y="28"/>
                  </a:lnTo>
                  <a:lnTo>
                    <a:pt x="13" y="33"/>
                  </a:lnTo>
                  <a:lnTo>
                    <a:pt x="10" y="39"/>
                  </a:lnTo>
                  <a:lnTo>
                    <a:pt x="7" y="46"/>
                  </a:lnTo>
                  <a:lnTo>
                    <a:pt x="3" y="53"/>
                  </a:lnTo>
                  <a:lnTo>
                    <a:pt x="2" y="60"/>
                  </a:lnTo>
                  <a:lnTo>
                    <a:pt x="1" y="67"/>
                  </a:lnTo>
                  <a:lnTo>
                    <a:pt x="0" y="76"/>
                  </a:lnTo>
                  <a:lnTo>
                    <a:pt x="0" y="648"/>
                  </a:lnTo>
                  <a:lnTo>
                    <a:pt x="1" y="655"/>
                  </a:lnTo>
                  <a:lnTo>
                    <a:pt x="2" y="663"/>
                  </a:lnTo>
                  <a:lnTo>
                    <a:pt x="3" y="670"/>
                  </a:lnTo>
                  <a:lnTo>
                    <a:pt x="7" y="677"/>
                  </a:lnTo>
                  <a:lnTo>
                    <a:pt x="10" y="683"/>
                  </a:lnTo>
                  <a:lnTo>
                    <a:pt x="13" y="689"/>
                  </a:lnTo>
                  <a:lnTo>
                    <a:pt x="17" y="695"/>
                  </a:lnTo>
                  <a:lnTo>
                    <a:pt x="23" y="700"/>
                  </a:lnTo>
                  <a:lnTo>
                    <a:pt x="28" y="706"/>
                  </a:lnTo>
                  <a:lnTo>
                    <a:pt x="33" y="710"/>
                  </a:lnTo>
                  <a:lnTo>
                    <a:pt x="40" y="714"/>
                  </a:lnTo>
                  <a:lnTo>
                    <a:pt x="46" y="717"/>
                  </a:lnTo>
                  <a:lnTo>
                    <a:pt x="54" y="720"/>
                  </a:lnTo>
                  <a:lnTo>
                    <a:pt x="60" y="722"/>
                  </a:lnTo>
                  <a:lnTo>
                    <a:pt x="68" y="723"/>
                  </a:lnTo>
                  <a:lnTo>
                    <a:pt x="75" y="723"/>
                  </a:lnTo>
                  <a:lnTo>
                    <a:pt x="437" y="723"/>
                  </a:lnTo>
                  <a:lnTo>
                    <a:pt x="437" y="783"/>
                  </a:lnTo>
                  <a:lnTo>
                    <a:pt x="196" y="783"/>
                  </a:lnTo>
                  <a:lnTo>
                    <a:pt x="193" y="784"/>
                  </a:lnTo>
                  <a:lnTo>
                    <a:pt x="190" y="784"/>
                  </a:lnTo>
                  <a:lnTo>
                    <a:pt x="188" y="786"/>
                  </a:lnTo>
                  <a:lnTo>
                    <a:pt x="186" y="787"/>
                  </a:lnTo>
                  <a:lnTo>
                    <a:pt x="183" y="789"/>
                  </a:lnTo>
                  <a:lnTo>
                    <a:pt x="182" y="792"/>
                  </a:lnTo>
                  <a:lnTo>
                    <a:pt x="181" y="795"/>
                  </a:lnTo>
                  <a:lnTo>
                    <a:pt x="181" y="798"/>
                  </a:lnTo>
                  <a:lnTo>
                    <a:pt x="181" y="801"/>
                  </a:lnTo>
                  <a:lnTo>
                    <a:pt x="182" y="804"/>
                  </a:lnTo>
                  <a:lnTo>
                    <a:pt x="183" y="806"/>
                  </a:lnTo>
                  <a:lnTo>
                    <a:pt x="186" y="809"/>
                  </a:lnTo>
                  <a:lnTo>
                    <a:pt x="188" y="811"/>
                  </a:lnTo>
                  <a:lnTo>
                    <a:pt x="190" y="812"/>
                  </a:lnTo>
                  <a:lnTo>
                    <a:pt x="193" y="813"/>
                  </a:lnTo>
                  <a:lnTo>
                    <a:pt x="196" y="813"/>
                  </a:lnTo>
                  <a:lnTo>
                    <a:pt x="738" y="813"/>
                  </a:lnTo>
                  <a:lnTo>
                    <a:pt x="741" y="813"/>
                  </a:lnTo>
                  <a:lnTo>
                    <a:pt x="743" y="812"/>
                  </a:lnTo>
                  <a:lnTo>
                    <a:pt x="747" y="811"/>
                  </a:lnTo>
                  <a:lnTo>
                    <a:pt x="749" y="809"/>
                  </a:lnTo>
                  <a:lnTo>
                    <a:pt x="751" y="806"/>
                  </a:lnTo>
                  <a:lnTo>
                    <a:pt x="752" y="804"/>
                  </a:lnTo>
                  <a:lnTo>
                    <a:pt x="753" y="801"/>
                  </a:lnTo>
                  <a:lnTo>
                    <a:pt x="753" y="798"/>
                  </a:lnTo>
                  <a:lnTo>
                    <a:pt x="753" y="795"/>
                  </a:lnTo>
                  <a:lnTo>
                    <a:pt x="752" y="792"/>
                  </a:lnTo>
                  <a:lnTo>
                    <a:pt x="751" y="789"/>
                  </a:lnTo>
                  <a:lnTo>
                    <a:pt x="749" y="787"/>
                  </a:lnTo>
                  <a:lnTo>
                    <a:pt x="747" y="786"/>
                  </a:lnTo>
                  <a:lnTo>
                    <a:pt x="743" y="784"/>
                  </a:lnTo>
                  <a:lnTo>
                    <a:pt x="741" y="784"/>
                  </a:lnTo>
                  <a:lnTo>
                    <a:pt x="738" y="783"/>
                  </a:lnTo>
                  <a:lnTo>
                    <a:pt x="467" y="783"/>
                  </a:lnTo>
                  <a:lnTo>
                    <a:pt x="467" y="723"/>
                  </a:lnTo>
                  <a:lnTo>
                    <a:pt x="828" y="723"/>
                  </a:lnTo>
                  <a:lnTo>
                    <a:pt x="836" y="723"/>
                  </a:lnTo>
                  <a:lnTo>
                    <a:pt x="843" y="722"/>
                  </a:lnTo>
                  <a:lnTo>
                    <a:pt x="851" y="720"/>
                  </a:lnTo>
                  <a:lnTo>
                    <a:pt x="857" y="716"/>
                  </a:lnTo>
                  <a:lnTo>
                    <a:pt x="865" y="714"/>
                  </a:lnTo>
                  <a:lnTo>
                    <a:pt x="870" y="710"/>
                  </a:lnTo>
                  <a:lnTo>
                    <a:pt x="876" y="706"/>
                  </a:lnTo>
                  <a:lnTo>
                    <a:pt x="882" y="700"/>
                  </a:lnTo>
                  <a:lnTo>
                    <a:pt x="886" y="695"/>
                  </a:lnTo>
                  <a:lnTo>
                    <a:pt x="890" y="689"/>
                  </a:lnTo>
                  <a:lnTo>
                    <a:pt x="895" y="683"/>
                  </a:lnTo>
                  <a:lnTo>
                    <a:pt x="898" y="677"/>
                  </a:lnTo>
                  <a:lnTo>
                    <a:pt x="900" y="670"/>
                  </a:lnTo>
                  <a:lnTo>
                    <a:pt x="902" y="663"/>
                  </a:lnTo>
                  <a:lnTo>
                    <a:pt x="903" y="655"/>
                  </a:lnTo>
                  <a:lnTo>
                    <a:pt x="903" y="648"/>
                  </a:lnTo>
                  <a:lnTo>
                    <a:pt x="903" y="76"/>
                  </a:lnTo>
                  <a:lnTo>
                    <a:pt x="903" y="67"/>
                  </a:lnTo>
                  <a:lnTo>
                    <a:pt x="902" y="60"/>
                  </a:lnTo>
                  <a:lnTo>
                    <a:pt x="900" y="53"/>
                  </a:lnTo>
                  <a:lnTo>
                    <a:pt x="898" y="46"/>
                  </a:lnTo>
                  <a:lnTo>
                    <a:pt x="895" y="39"/>
                  </a:lnTo>
                  <a:lnTo>
                    <a:pt x="890" y="33"/>
                  </a:lnTo>
                  <a:lnTo>
                    <a:pt x="886" y="28"/>
                  </a:lnTo>
                  <a:lnTo>
                    <a:pt x="882" y="22"/>
                  </a:lnTo>
                  <a:lnTo>
                    <a:pt x="876" y="17"/>
                  </a:lnTo>
                  <a:lnTo>
                    <a:pt x="870" y="13"/>
                  </a:lnTo>
                  <a:lnTo>
                    <a:pt x="865" y="9"/>
                  </a:lnTo>
                  <a:lnTo>
                    <a:pt x="857" y="6"/>
                  </a:lnTo>
                  <a:lnTo>
                    <a:pt x="851" y="4"/>
                  </a:lnTo>
                  <a:lnTo>
                    <a:pt x="843" y="2"/>
                  </a:lnTo>
                  <a:lnTo>
                    <a:pt x="836" y="1"/>
                  </a:lnTo>
                  <a:lnTo>
                    <a:pt x="8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86" name="Freeform 61">
              <a:extLst>
                <a:ext uri="{FF2B5EF4-FFF2-40B4-BE49-F238E27FC236}">
                  <a16:creationId xmlns:a16="http://schemas.microsoft.com/office/drawing/2014/main" id="{1FE5CD3D-4075-4F8F-AD54-AFC0748AC314}"/>
                </a:ext>
              </a:extLst>
            </p:cNvPr>
            <p:cNvSpPr>
              <a:spLocks noEditPoints="1"/>
            </p:cNvSpPr>
            <p:nvPr/>
          </p:nvSpPr>
          <p:spPr bwMode="auto">
            <a:xfrm>
              <a:off x="1012825" y="1008063"/>
              <a:ext cx="19050" cy="19050"/>
            </a:xfrm>
            <a:custGeom>
              <a:avLst/>
              <a:gdLst>
                <a:gd name="T0" fmla="*/ 30 w 60"/>
                <a:gd name="T1" fmla="*/ 45 h 60"/>
                <a:gd name="T2" fmla="*/ 30 w 60"/>
                <a:gd name="T3" fmla="*/ 30 h 60"/>
                <a:gd name="T4" fmla="*/ 30 w 60"/>
                <a:gd name="T5" fmla="*/ 30 h 60"/>
                <a:gd name="T6" fmla="*/ 30 w 60"/>
                <a:gd name="T7" fmla="*/ 30 h 60"/>
                <a:gd name="T8" fmla="*/ 30 w 60"/>
                <a:gd name="T9" fmla="*/ 45 h 60"/>
                <a:gd name="T10" fmla="*/ 30 w 60"/>
                <a:gd name="T11" fmla="*/ 0 h 60"/>
                <a:gd name="T12" fmla="*/ 24 w 60"/>
                <a:gd name="T13" fmla="*/ 0 h 60"/>
                <a:gd name="T14" fmla="*/ 18 w 60"/>
                <a:gd name="T15" fmla="*/ 2 h 60"/>
                <a:gd name="T16" fmla="*/ 14 w 60"/>
                <a:gd name="T17" fmla="*/ 5 h 60"/>
                <a:gd name="T18" fmla="*/ 8 w 60"/>
                <a:gd name="T19" fmla="*/ 8 h 60"/>
                <a:gd name="T20" fmla="*/ 5 w 60"/>
                <a:gd name="T21" fmla="*/ 12 h 60"/>
                <a:gd name="T22" fmla="*/ 2 w 60"/>
                <a:gd name="T23" fmla="*/ 18 h 60"/>
                <a:gd name="T24" fmla="*/ 1 w 60"/>
                <a:gd name="T25" fmla="*/ 23 h 60"/>
                <a:gd name="T26" fmla="*/ 0 w 60"/>
                <a:gd name="T27" fmla="*/ 30 h 60"/>
                <a:gd name="T28" fmla="*/ 1 w 60"/>
                <a:gd name="T29" fmla="*/ 36 h 60"/>
                <a:gd name="T30" fmla="*/ 2 w 60"/>
                <a:gd name="T31" fmla="*/ 41 h 60"/>
                <a:gd name="T32" fmla="*/ 5 w 60"/>
                <a:gd name="T33" fmla="*/ 47 h 60"/>
                <a:gd name="T34" fmla="*/ 8 w 60"/>
                <a:gd name="T35" fmla="*/ 51 h 60"/>
                <a:gd name="T36" fmla="*/ 14 w 60"/>
                <a:gd name="T37" fmla="*/ 54 h 60"/>
                <a:gd name="T38" fmla="*/ 18 w 60"/>
                <a:gd name="T39" fmla="*/ 58 h 60"/>
                <a:gd name="T40" fmla="*/ 24 w 60"/>
                <a:gd name="T41" fmla="*/ 59 h 60"/>
                <a:gd name="T42" fmla="*/ 30 w 60"/>
                <a:gd name="T43" fmla="*/ 60 h 60"/>
                <a:gd name="T44" fmla="*/ 36 w 60"/>
                <a:gd name="T45" fmla="*/ 59 h 60"/>
                <a:gd name="T46" fmla="*/ 41 w 60"/>
                <a:gd name="T47" fmla="*/ 58 h 60"/>
                <a:gd name="T48" fmla="*/ 47 w 60"/>
                <a:gd name="T49" fmla="*/ 54 h 60"/>
                <a:gd name="T50" fmla="*/ 51 w 60"/>
                <a:gd name="T51" fmla="*/ 51 h 60"/>
                <a:gd name="T52" fmla="*/ 55 w 60"/>
                <a:gd name="T53" fmla="*/ 47 h 60"/>
                <a:gd name="T54" fmla="*/ 57 w 60"/>
                <a:gd name="T55" fmla="*/ 41 h 60"/>
                <a:gd name="T56" fmla="*/ 60 w 60"/>
                <a:gd name="T57" fmla="*/ 36 h 60"/>
                <a:gd name="T58" fmla="*/ 60 w 60"/>
                <a:gd name="T59" fmla="*/ 30 h 60"/>
                <a:gd name="T60" fmla="*/ 60 w 60"/>
                <a:gd name="T61" fmla="*/ 23 h 60"/>
                <a:gd name="T62" fmla="*/ 57 w 60"/>
                <a:gd name="T63" fmla="*/ 18 h 60"/>
                <a:gd name="T64" fmla="*/ 55 w 60"/>
                <a:gd name="T65" fmla="*/ 12 h 60"/>
                <a:gd name="T66" fmla="*/ 51 w 60"/>
                <a:gd name="T67" fmla="*/ 8 h 60"/>
                <a:gd name="T68" fmla="*/ 47 w 60"/>
                <a:gd name="T69" fmla="*/ 5 h 60"/>
                <a:gd name="T70" fmla="*/ 41 w 60"/>
                <a:gd name="T71" fmla="*/ 2 h 60"/>
                <a:gd name="T72" fmla="*/ 36 w 60"/>
                <a:gd name="T73" fmla="*/ 0 h 60"/>
                <a:gd name="T74" fmla="*/ 30 w 60"/>
                <a:gd name="T75" fmla="*/ 0 h 60"/>
                <a:gd name="T76" fmla="*/ 30 w 60"/>
                <a:gd name="T7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 h="60">
                  <a:moveTo>
                    <a:pt x="30" y="45"/>
                  </a:moveTo>
                  <a:lnTo>
                    <a:pt x="30" y="30"/>
                  </a:lnTo>
                  <a:lnTo>
                    <a:pt x="30" y="30"/>
                  </a:lnTo>
                  <a:lnTo>
                    <a:pt x="30" y="30"/>
                  </a:lnTo>
                  <a:lnTo>
                    <a:pt x="30" y="45"/>
                  </a:lnTo>
                  <a:close/>
                  <a:moveTo>
                    <a:pt x="30" y="0"/>
                  </a:moveTo>
                  <a:lnTo>
                    <a:pt x="24" y="0"/>
                  </a:lnTo>
                  <a:lnTo>
                    <a:pt x="18" y="2"/>
                  </a:lnTo>
                  <a:lnTo>
                    <a:pt x="14" y="5"/>
                  </a:lnTo>
                  <a:lnTo>
                    <a:pt x="8" y="8"/>
                  </a:lnTo>
                  <a:lnTo>
                    <a:pt x="5" y="12"/>
                  </a:lnTo>
                  <a:lnTo>
                    <a:pt x="2" y="18"/>
                  </a:lnTo>
                  <a:lnTo>
                    <a:pt x="1" y="23"/>
                  </a:lnTo>
                  <a:lnTo>
                    <a:pt x="0" y="30"/>
                  </a:lnTo>
                  <a:lnTo>
                    <a:pt x="1" y="36"/>
                  </a:lnTo>
                  <a:lnTo>
                    <a:pt x="2" y="41"/>
                  </a:lnTo>
                  <a:lnTo>
                    <a:pt x="5" y="47"/>
                  </a:lnTo>
                  <a:lnTo>
                    <a:pt x="8" y="51"/>
                  </a:lnTo>
                  <a:lnTo>
                    <a:pt x="14" y="54"/>
                  </a:lnTo>
                  <a:lnTo>
                    <a:pt x="18" y="58"/>
                  </a:lnTo>
                  <a:lnTo>
                    <a:pt x="24" y="59"/>
                  </a:lnTo>
                  <a:lnTo>
                    <a:pt x="30" y="60"/>
                  </a:lnTo>
                  <a:lnTo>
                    <a:pt x="36" y="59"/>
                  </a:lnTo>
                  <a:lnTo>
                    <a:pt x="41" y="58"/>
                  </a:lnTo>
                  <a:lnTo>
                    <a:pt x="47" y="54"/>
                  </a:lnTo>
                  <a:lnTo>
                    <a:pt x="51" y="51"/>
                  </a:lnTo>
                  <a:lnTo>
                    <a:pt x="55" y="47"/>
                  </a:lnTo>
                  <a:lnTo>
                    <a:pt x="57" y="41"/>
                  </a:lnTo>
                  <a:lnTo>
                    <a:pt x="60" y="36"/>
                  </a:lnTo>
                  <a:lnTo>
                    <a:pt x="60" y="30"/>
                  </a:lnTo>
                  <a:lnTo>
                    <a:pt x="60" y="23"/>
                  </a:lnTo>
                  <a:lnTo>
                    <a:pt x="57" y="18"/>
                  </a:lnTo>
                  <a:lnTo>
                    <a:pt x="55" y="12"/>
                  </a:lnTo>
                  <a:lnTo>
                    <a:pt x="51" y="8"/>
                  </a:lnTo>
                  <a:lnTo>
                    <a:pt x="47" y="5"/>
                  </a:lnTo>
                  <a:lnTo>
                    <a:pt x="41" y="2"/>
                  </a:lnTo>
                  <a:lnTo>
                    <a:pt x="36" y="0"/>
                  </a:lnTo>
                  <a:lnTo>
                    <a:pt x="30" y="0"/>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87" name="Group 86">
            <a:extLst>
              <a:ext uri="{FF2B5EF4-FFF2-40B4-BE49-F238E27FC236}">
                <a16:creationId xmlns:a16="http://schemas.microsoft.com/office/drawing/2014/main" id="{4A0E40F6-C4E6-4778-8330-11738F87F8B4}"/>
              </a:ext>
            </a:extLst>
          </p:cNvPr>
          <p:cNvGrpSpPr/>
          <p:nvPr/>
        </p:nvGrpSpPr>
        <p:grpSpPr>
          <a:xfrm>
            <a:off x="10355767" y="7607054"/>
            <a:ext cx="612466" cy="571861"/>
            <a:chOff x="4319588" y="1379538"/>
            <a:chExt cx="287338" cy="268288"/>
          </a:xfrm>
          <a:solidFill>
            <a:schemeClr val="bg1"/>
          </a:solidFill>
        </p:grpSpPr>
        <p:sp>
          <p:nvSpPr>
            <p:cNvPr id="88" name="Freeform 116">
              <a:extLst>
                <a:ext uri="{FF2B5EF4-FFF2-40B4-BE49-F238E27FC236}">
                  <a16:creationId xmlns:a16="http://schemas.microsoft.com/office/drawing/2014/main" id="{6469FC37-569A-462A-9315-8DCD80319879}"/>
                </a:ext>
              </a:extLst>
            </p:cNvPr>
            <p:cNvSpPr>
              <a:spLocks noEditPoints="1"/>
            </p:cNvSpPr>
            <p:nvPr/>
          </p:nvSpPr>
          <p:spPr bwMode="auto">
            <a:xfrm>
              <a:off x="4319588" y="1455738"/>
              <a:ext cx="287338" cy="192088"/>
            </a:xfrm>
            <a:custGeom>
              <a:avLst/>
              <a:gdLst>
                <a:gd name="T0" fmla="*/ 870 w 904"/>
                <a:gd name="T1" fmla="*/ 364 h 602"/>
                <a:gd name="T2" fmla="*/ 853 w 904"/>
                <a:gd name="T3" fmla="*/ 384 h 602"/>
                <a:gd name="T4" fmla="*/ 828 w 904"/>
                <a:gd name="T5" fmla="*/ 392 h 602"/>
                <a:gd name="T6" fmla="*/ 723 w 904"/>
                <a:gd name="T7" fmla="*/ 283 h 602"/>
                <a:gd name="T8" fmla="*/ 718 w 904"/>
                <a:gd name="T9" fmla="*/ 276 h 602"/>
                <a:gd name="T10" fmla="*/ 711 w 904"/>
                <a:gd name="T11" fmla="*/ 272 h 602"/>
                <a:gd name="T12" fmla="*/ 193 w 904"/>
                <a:gd name="T13" fmla="*/ 272 h 602"/>
                <a:gd name="T14" fmla="*/ 185 w 904"/>
                <a:gd name="T15" fmla="*/ 276 h 602"/>
                <a:gd name="T16" fmla="*/ 181 w 904"/>
                <a:gd name="T17" fmla="*/ 283 h 602"/>
                <a:gd name="T18" fmla="*/ 76 w 904"/>
                <a:gd name="T19" fmla="*/ 392 h 602"/>
                <a:gd name="T20" fmla="*/ 50 w 904"/>
                <a:gd name="T21" fmla="*/ 384 h 602"/>
                <a:gd name="T22" fmla="*/ 34 w 904"/>
                <a:gd name="T23" fmla="*/ 364 h 602"/>
                <a:gd name="T24" fmla="*/ 31 w 904"/>
                <a:gd name="T25" fmla="*/ 75 h 602"/>
                <a:gd name="T26" fmla="*/ 38 w 904"/>
                <a:gd name="T27" fmla="*/ 51 h 602"/>
                <a:gd name="T28" fmla="*/ 58 w 904"/>
                <a:gd name="T29" fmla="*/ 34 h 602"/>
                <a:gd name="T30" fmla="*/ 828 w 904"/>
                <a:gd name="T31" fmla="*/ 30 h 602"/>
                <a:gd name="T32" fmla="*/ 853 w 904"/>
                <a:gd name="T33" fmla="*/ 38 h 602"/>
                <a:gd name="T34" fmla="*/ 870 w 904"/>
                <a:gd name="T35" fmla="*/ 58 h 602"/>
                <a:gd name="T36" fmla="*/ 874 w 904"/>
                <a:gd name="T37" fmla="*/ 347 h 602"/>
                <a:gd name="T38" fmla="*/ 211 w 904"/>
                <a:gd name="T39" fmla="*/ 302 h 602"/>
                <a:gd name="T40" fmla="*/ 828 w 904"/>
                <a:gd name="T41" fmla="*/ 0 h 602"/>
                <a:gd name="T42" fmla="*/ 61 w 904"/>
                <a:gd name="T43" fmla="*/ 1 h 602"/>
                <a:gd name="T44" fmla="*/ 39 w 904"/>
                <a:gd name="T45" fmla="*/ 10 h 602"/>
                <a:gd name="T46" fmla="*/ 22 w 904"/>
                <a:gd name="T47" fmla="*/ 23 h 602"/>
                <a:gd name="T48" fmla="*/ 9 w 904"/>
                <a:gd name="T49" fmla="*/ 40 h 602"/>
                <a:gd name="T50" fmla="*/ 2 w 904"/>
                <a:gd name="T51" fmla="*/ 60 h 602"/>
                <a:gd name="T52" fmla="*/ 0 w 904"/>
                <a:gd name="T53" fmla="*/ 347 h 602"/>
                <a:gd name="T54" fmla="*/ 4 w 904"/>
                <a:gd name="T55" fmla="*/ 369 h 602"/>
                <a:gd name="T56" fmla="*/ 13 w 904"/>
                <a:gd name="T57" fmla="*/ 389 h 602"/>
                <a:gd name="T58" fmla="*/ 28 w 904"/>
                <a:gd name="T59" fmla="*/ 405 h 602"/>
                <a:gd name="T60" fmla="*/ 46 w 904"/>
                <a:gd name="T61" fmla="*/ 415 h 602"/>
                <a:gd name="T62" fmla="*/ 67 w 904"/>
                <a:gd name="T63" fmla="*/ 422 h 602"/>
                <a:gd name="T64" fmla="*/ 181 w 904"/>
                <a:gd name="T65" fmla="*/ 587 h 602"/>
                <a:gd name="T66" fmla="*/ 183 w 904"/>
                <a:gd name="T67" fmla="*/ 596 h 602"/>
                <a:gd name="T68" fmla="*/ 190 w 904"/>
                <a:gd name="T69" fmla="*/ 601 h 602"/>
                <a:gd name="T70" fmla="*/ 708 w 904"/>
                <a:gd name="T71" fmla="*/ 602 h 602"/>
                <a:gd name="T72" fmla="*/ 716 w 904"/>
                <a:gd name="T73" fmla="*/ 600 h 602"/>
                <a:gd name="T74" fmla="*/ 721 w 904"/>
                <a:gd name="T75" fmla="*/ 593 h 602"/>
                <a:gd name="T76" fmla="*/ 723 w 904"/>
                <a:gd name="T77" fmla="*/ 422 h 602"/>
                <a:gd name="T78" fmla="*/ 844 w 904"/>
                <a:gd name="T79" fmla="*/ 421 h 602"/>
                <a:gd name="T80" fmla="*/ 864 w 904"/>
                <a:gd name="T81" fmla="*/ 413 h 602"/>
                <a:gd name="T82" fmla="*/ 881 w 904"/>
                <a:gd name="T83" fmla="*/ 399 h 602"/>
                <a:gd name="T84" fmla="*/ 894 w 904"/>
                <a:gd name="T85" fmla="*/ 382 h 602"/>
                <a:gd name="T86" fmla="*/ 902 w 904"/>
                <a:gd name="T87" fmla="*/ 362 h 602"/>
                <a:gd name="T88" fmla="*/ 904 w 904"/>
                <a:gd name="T89" fmla="*/ 75 h 602"/>
                <a:gd name="T90" fmla="*/ 900 w 904"/>
                <a:gd name="T91" fmla="*/ 53 h 602"/>
                <a:gd name="T92" fmla="*/ 891 w 904"/>
                <a:gd name="T93" fmla="*/ 34 h 602"/>
                <a:gd name="T94" fmla="*/ 876 w 904"/>
                <a:gd name="T95" fmla="*/ 17 h 602"/>
                <a:gd name="T96" fmla="*/ 858 w 904"/>
                <a:gd name="T97" fmla="*/ 7 h 602"/>
                <a:gd name="T98" fmla="*/ 836 w 904"/>
                <a:gd name="T99"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4" h="602">
                  <a:moveTo>
                    <a:pt x="874" y="347"/>
                  </a:moveTo>
                  <a:lnTo>
                    <a:pt x="873" y="355"/>
                  </a:lnTo>
                  <a:lnTo>
                    <a:pt x="870" y="364"/>
                  </a:lnTo>
                  <a:lnTo>
                    <a:pt x="865" y="371"/>
                  </a:lnTo>
                  <a:lnTo>
                    <a:pt x="860" y="379"/>
                  </a:lnTo>
                  <a:lnTo>
                    <a:pt x="853" y="384"/>
                  </a:lnTo>
                  <a:lnTo>
                    <a:pt x="846" y="389"/>
                  </a:lnTo>
                  <a:lnTo>
                    <a:pt x="837" y="391"/>
                  </a:lnTo>
                  <a:lnTo>
                    <a:pt x="828" y="392"/>
                  </a:lnTo>
                  <a:lnTo>
                    <a:pt x="723" y="392"/>
                  </a:lnTo>
                  <a:lnTo>
                    <a:pt x="723" y="287"/>
                  </a:lnTo>
                  <a:lnTo>
                    <a:pt x="723" y="283"/>
                  </a:lnTo>
                  <a:lnTo>
                    <a:pt x="721" y="280"/>
                  </a:lnTo>
                  <a:lnTo>
                    <a:pt x="720" y="278"/>
                  </a:lnTo>
                  <a:lnTo>
                    <a:pt x="718" y="276"/>
                  </a:lnTo>
                  <a:lnTo>
                    <a:pt x="716" y="274"/>
                  </a:lnTo>
                  <a:lnTo>
                    <a:pt x="714" y="273"/>
                  </a:lnTo>
                  <a:lnTo>
                    <a:pt x="711" y="272"/>
                  </a:lnTo>
                  <a:lnTo>
                    <a:pt x="708" y="272"/>
                  </a:lnTo>
                  <a:lnTo>
                    <a:pt x="196" y="272"/>
                  </a:lnTo>
                  <a:lnTo>
                    <a:pt x="193" y="272"/>
                  </a:lnTo>
                  <a:lnTo>
                    <a:pt x="190" y="273"/>
                  </a:lnTo>
                  <a:lnTo>
                    <a:pt x="187" y="274"/>
                  </a:lnTo>
                  <a:lnTo>
                    <a:pt x="185" y="276"/>
                  </a:lnTo>
                  <a:lnTo>
                    <a:pt x="183" y="278"/>
                  </a:lnTo>
                  <a:lnTo>
                    <a:pt x="182" y="280"/>
                  </a:lnTo>
                  <a:lnTo>
                    <a:pt x="181" y="283"/>
                  </a:lnTo>
                  <a:lnTo>
                    <a:pt x="181" y="287"/>
                  </a:lnTo>
                  <a:lnTo>
                    <a:pt x="181" y="392"/>
                  </a:lnTo>
                  <a:lnTo>
                    <a:pt x="76" y="392"/>
                  </a:lnTo>
                  <a:lnTo>
                    <a:pt x="66" y="391"/>
                  </a:lnTo>
                  <a:lnTo>
                    <a:pt x="58" y="389"/>
                  </a:lnTo>
                  <a:lnTo>
                    <a:pt x="50" y="384"/>
                  </a:lnTo>
                  <a:lnTo>
                    <a:pt x="44" y="379"/>
                  </a:lnTo>
                  <a:lnTo>
                    <a:pt x="38" y="371"/>
                  </a:lnTo>
                  <a:lnTo>
                    <a:pt x="34" y="364"/>
                  </a:lnTo>
                  <a:lnTo>
                    <a:pt x="31" y="355"/>
                  </a:lnTo>
                  <a:lnTo>
                    <a:pt x="31" y="347"/>
                  </a:lnTo>
                  <a:lnTo>
                    <a:pt x="31" y="75"/>
                  </a:lnTo>
                  <a:lnTo>
                    <a:pt x="31" y="67"/>
                  </a:lnTo>
                  <a:lnTo>
                    <a:pt x="34" y="58"/>
                  </a:lnTo>
                  <a:lnTo>
                    <a:pt x="38" y="51"/>
                  </a:lnTo>
                  <a:lnTo>
                    <a:pt x="44" y="43"/>
                  </a:lnTo>
                  <a:lnTo>
                    <a:pt x="50" y="38"/>
                  </a:lnTo>
                  <a:lnTo>
                    <a:pt x="58" y="34"/>
                  </a:lnTo>
                  <a:lnTo>
                    <a:pt x="66" y="31"/>
                  </a:lnTo>
                  <a:lnTo>
                    <a:pt x="76" y="30"/>
                  </a:lnTo>
                  <a:lnTo>
                    <a:pt x="828" y="30"/>
                  </a:lnTo>
                  <a:lnTo>
                    <a:pt x="837" y="31"/>
                  </a:lnTo>
                  <a:lnTo>
                    <a:pt x="846" y="34"/>
                  </a:lnTo>
                  <a:lnTo>
                    <a:pt x="853" y="38"/>
                  </a:lnTo>
                  <a:lnTo>
                    <a:pt x="860" y="43"/>
                  </a:lnTo>
                  <a:lnTo>
                    <a:pt x="865" y="51"/>
                  </a:lnTo>
                  <a:lnTo>
                    <a:pt x="870" y="58"/>
                  </a:lnTo>
                  <a:lnTo>
                    <a:pt x="873" y="67"/>
                  </a:lnTo>
                  <a:lnTo>
                    <a:pt x="873" y="75"/>
                  </a:lnTo>
                  <a:lnTo>
                    <a:pt x="874" y="347"/>
                  </a:lnTo>
                  <a:close/>
                  <a:moveTo>
                    <a:pt x="693" y="572"/>
                  </a:moveTo>
                  <a:lnTo>
                    <a:pt x="211" y="572"/>
                  </a:lnTo>
                  <a:lnTo>
                    <a:pt x="211" y="302"/>
                  </a:lnTo>
                  <a:lnTo>
                    <a:pt x="693" y="302"/>
                  </a:lnTo>
                  <a:lnTo>
                    <a:pt x="693" y="572"/>
                  </a:lnTo>
                  <a:close/>
                  <a:moveTo>
                    <a:pt x="828" y="0"/>
                  </a:moveTo>
                  <a:lnTo>
                    <a:pt x="76" y="0"/>
                  </a:lnTo>
                  <a:lnTo>
                    <a:pt x="67" y="0"/>
                  </a:lnTo>
                  <a:lnTo>
                    <a:pt x="61" y="1"/>
                  </a:lnTo>
                  <a:lnTo>
                    <a:pt x="53" y="4"/>
                  </a:lnTo>
                  <a:lnTo>
                    <a:pt x="46" y="7"/>
                  </a:lnTo>
                  <a:lnTo>
                    <a:pt x="39" y="10"/>
                  </a:lnTo>
                  <a:lnTo>
                    <a:pt x="33" y="13"/>
                  </a:lnTo>
                  <a:lnTo>
                    <a:pt x="28" y="17"/>
                  </a:lnTo>
                  <a:lnTo>
                    <a:pt x="22" y="23"/>
                  </a:lnTo>
                  <a:lnTo>
                    <a:pt x="17" y="28"/>
                  </a:lnTo>
                  <a:lnTo>
                    <a:pt x="13" y="34"/>
                  </a:lnTo>
                  <a:lnTo>
                    <a:pt x="9" y="40"/>
                  </a:lnTo>
                  <a:lnTo>
                    <a:pt x="6" y="46"/>
                  </a:lnTo>
                  <a:lnTo>
                    <a:pt x="4" y="53"/>
                  </a:lnTo>
                  <a:lnTo>
                    <a:pt x="2" y="60"/>
                  </a:lnTo>
                  <a:lnTo>
                    <a:pt x="1" y="68"/>
                  </a:lnTo>
                  <a:lnTo>
                    <a:pt x="0" y="75"/>
                  </a:lnTo>
                  <a:lnTo>
                    <a:pt x="0" y="347"/>
                  </a:lnTo>
                  <a:lnTo>
                    <a:pt x="1" y="354"/>
                  </a:lnTo>
                  <a:lnTo>
                    <a:pt x="2" y="362"/>
                  </a:lnTo>
                  <a:lnTo>
                    <a:pt x="4" y="369"/>
                  </a:lnTo>
                  <a:lnTo>
                    <a:pt x="6" y="376"/>
                  </a:lnTo>
                  <a:lnTo>
                    <a:pt x="9" y="382"/>
                  </a:lnTo>
                  <a:lnTo>
                    <a:pt x="13" y="389"/>
                  </a:lnTo>
                  <a:lnTo>
                    <a:pt x="18" y="394"/>
                  </a:lnTo>
                  <a:lnTo>
                    <a:pt x="22" y="399"/>
                  </a:lnTo>
                  <a:lnTo>
                    <a:pt x="28" y="405"/>
                  </a:lnTo>
                  <a:lnTo>
                    <a:pt x="33" y="409"/>
                  </a:lnTo>
                  <a:lnTo>
                    <a:pt x="39" y="413"/>
                  </a:lnTo>
                  <a:lnTo>
                    <a:pt x="46" y="415"/>
                  </a:lnTo>
                  <a:lnTo>
                    <a:pt x="53" y="419"/>
                  </a:lnTo>
                  <a:lnTo>
                    <a:pt x="61" y="421"/>
                  </a:lnTo>
                  <a:lnTo>
                    <a:pt x="67" y="422"/>
                  </a:lnTo>
                  <a:lnTo>
                    <a:pt x="76" y="422"/>
                  </a:lnTo>
                  <a:lnTo>
                    <a:pt x="181" y="422"/>
                  </a:lnTo>
                  <a:lnTo>
                    <a:pt x="181" y="587"/>
                  </a:lnTo>
                  <a:lnTo>
                    <a:pt x="181" y="590"/>
                  </a:lnTo>
                  <a:lnTo>
                    <a:pt x="182" y="593"/>
                  </a:lnTo>
                  <a:lnTo>
                    <a:pt x="183" y="596"/>
                  </a:lnTo>
                  <a:lnTo>
                    <a:pt x="185" y="598"/>
                  </a:lnTo>
                  <a:lnTo>
                    <a:pt x="187" y="600"/>
                  </a:lnTo>
                  <a:lnTo>
                    <a:pt x="190" y="601"/>
                  </a:lnTo>
                  <a:lnTo>
                    <a:pt x="193" y="602"/>
                  </a:lnTo>
                  <a:lnTo>
                    <a:pt x="196" y="602"/>
                  </a:lnTo>
                  <a:lnTo>
                    <a:pt x="708" y="602"/>
                  </a:lnTo>
                  <a:lnTo>
                    <a:pt x="711" y="602"/>
                  </a:lnTo>
                  <a:lnTo>
                    <a:pt x="714" y="601"/>
                  </a:lnTo>
                  <a:lnTo>
                    <a:pt x="716" y="600"/>
                  </a:lnTo>
                  <a:lnTo>
                    <a:pt x="718" y="598"/>
                  </a:lnTo>
                  <a:lnTo>
                    <a:pt x="720" y="596"/>
                  </a:lnTo>
                  <a:lnTo>
                    <a:pt x="721" y="593"/>
                  </a:lnTo>
                  <a:lnTo>
                    <a:pt x="723" y="590"/>
                  </a:lnTo>
                  <a:lnTo>
                    <a:pt x="723" y="587"/>
                  </a:lnTo>
                  <a:lnTo>
                    <a:pt x="723" y="422"/>
                  </a:lnTo>
                  <a:lnTo>
                    <a:pt x="828" y="422"/>
                  </a:lnTo>
                  <a:lnTo>
                    <a:pt x="836" y="422"/>
                  </a:lnTo>
                  <a:lnTo>
                    <a:pt x="844" y="421"/>
                  </a:lnTo>
                  <a:lnTo>
                    <a:pt x="850" y="419"/>
                  </a:lnTo>
                  <a:lnTo>
                    <a:pt x="858" y="415"/>
                  </a:lnTo>
                  <a:lnTo>
                    <a:pt x="864" y="413"/>
                  </a:lnTo>
                  <a:lnTo>
                    <a:pt x="871" y="409"/>
                  </a:lnTo>
                  <a:lnTo>
                    <a:pt x="876" y="405"/>
                  </a:lnTo>
                  <a:lnTo>
                    <a:pt x="881" y="399"/>
                  </a:lnTo>
                  <a:lnTo>
                    <a:pt x="887" y="394"/>
                  </a:lnTo>
                  <a:lnTo>
                    <a:pt x="891" y="389"/>
                  </a:lnTo>
                  <a:lnTo>
                    <a:pt x="894" y="382"/>
                  </a:lnTo>
                  <a:lnTo>
                    <a:pt x="897" y="376"/>
                  </a:lnTo>
                  <a:lnTo>
                    <a:pt x="900" y="369"/>
                  </a:lnTo>
                  <a:lnTo>
                    <a:pt x="902" y="362"/>
                  </a:lnTo>
                  <a:lnTo>
                    <a:pt x="903" y="354"/>
                  </a:lnTo>
                  <a:lnTo>
                    <a:pt x="904" y="347"/>
                  </a:lnTo>
                  <a:lnTo>
                    <a:pt x="904" y="75"/>
                  </a:lnTo>
                  <a:lnTo>
                    <a:pt x="903" y="68"/>
                  </a:lnTo>
                  <a:lnTo>
                    <a:pt x="902" y="60"/>
                  </a:lnTo>
                  <a:lnTo>
                    <a:pt x="900" y="53"/>
                  </a:lnTo>
                  <a:lnTo>
                    <a:pt x="897" y="46"/>
                  </a:lnTo>
                  <a:lnTo>
                    <a:pt x="894" y="40"/>
                  </a:lnTo>
                  <a:lnTo>
                    <a:pt x="891" y="34"/>
                  </a:lnTo>
                  <a:lnTo>
                    <a:pt x="887" y="28"/>
                  </a:lnTo>
                  <a:lnTo>
                    <a:pt x="881" y="23"/>
                  </a:lnTo>
                  <a:lnTo>
                    <a:pt x="876" y="17"/>
                  </a:lnTo>
                  <a:lnTo>
                    <a:pt x="871" y="13"/>
                  </a:lnTo>
                  <a:lnTo>
                    <a:pt x="864" y="10"/>
                  </a:lnTo>
                  <a:lnTo>
                    <a:pt x="858" y="7"/>
                  </a:lnTo>
                  <a:lnTo>
                    <a:pt x="850" y="4"/>
                  </a:lnTo>
                  <a:lnTo>
                    <a:pt x="844" y="1"/>
                  </a:lnTo>
                  <a:lnTo>
                    <a:pt x="836" y="0"/>
                  </a:lnTo>
                  <a:lnTo>
                    <a:pt x="8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89" name="Freeform 117">
              <a:extLst>
                <a:ext uri="{FF2B5EF4-FFF2-40B4-BE49-F238E27FC236}">
                  <a16:creationId xmlns:a16="http://schemas.microsoft.com/office/drawing/2014/main" id="{CA88DD31-4165-42A8-8FCA-58BA491423B0}"/>
                </a:ext>
              </a:extLst>
            </p:cNvPr>
            <p:cNvSpPr>
              <a:spLocks noEditPoints="1"/>
            </p:cNvSpPr>
            <p:nvPr/>
          </p:nvSpPr>
          <p:spPr bwMode="auto">
            <a:xfrm>
              <a:off x="4376738" y="1379538"/>
              <a:ext cx="171450" cy="66675"/>
            </a:xfrm>
            <a:custGeom>
              <a:avLst/>
              <a:gdLst>
                <a:gd name="T0" fmla="*/ 490 w 542"/>
                <a:gd name="T1" fmla="*/ 121 h 211"/>
                <a:gd name="T2" fmla="*/ 421 w 542"/>
                <a:gd name="T3" fmla="*/ 51 h 211"/>
                <a:gd name="T4" fmla="*/ 18 w 542"/>
                <a:gd name="T5" fmla="*/ 211 h 211"/>
                <a:gd name="T6" fmla="*/ 24 w 542"/>
                <a:gd name="T7" fmla="*/ 209 h 211"/>
                <a:gd name="T8" fmla="*/ 28 w 542"/>
                <a:gd name="T9" fmla="*/ 205 h 211"/>
                <a:gd name="T10" fmla="*/ 30 w 542"/>
                <a:gd name="T11" fmla="*/ 199 h 211"/>
                <a:gd name="T12" fmla="*/ 30 w 542"/>
                <a:gd name="T13" fmla="*/ 31 h 211"/>
                <a:gd name="T14" fmla="*/ 391 w 542"/>
                <a:gd name="T15" fmla="*/ 136 h 211"/>
                <a:gd name="T16" fmla="*/ 392 w 542"/>
                <a:gd name="T17" fmla="*/ 142 h 211"/>
                <a:gd name="T18" fmla="*/ 396 w 542"/>
                <a:gd name="T19" fmla="*/ 147 h 211"/>
                <a:gd name="T20" fmla="*/ 400 w 542"/>
                <a:gd name="T21" fmla="*/ 150 h 211"/>
                <a:gd name="T22" fmla="*/ 406 w 542"/>
                <a:gd name="T23" fmla="*/ 151 h 211"/>
                <a:gd name="T24" fmla="*/ 512 w 542"/>
                <a:gd name="T25" fmla="*/ 196 h 211"/>
                <a:gd name="T26" fmla="*/ 513 w 542"/>
                <a:gd name="T27" fmla="*/ 202 h 211"/>
                <a:gd name="T28" fmla="*/ 516 w 542"/>
                <a:gd name="T29" fmla="*/ 207 h 211"/>
                <a:gd name="T30" fmla="*/ 521 w 542"/>
                <a:gd name="T31" fmla="*/ 210 h 211"/>
                <a:gd name="T32" fmla="*/ 527 w 542"/>
                <a:gd name="T33" fmla="*/ 211 h 211"/>
                <a:gd name="T34" fmla="*/ 533 w 542"/>
                <a:gd name="T35" fmla="*/ 210 h 211"/>
                <a:gd name="T36" fmla="*/ 537 w 542"/>
                <a:gd name="T37" fmla="*/ 207 h 211"/>
                <a:gd name="T38" fmla="*/ 540 w 542"/>
                <a:gd name="T39" fmla="*/ 202 h 211"/>
                <a:gd name="T40" fmla="*/ 542 w 542"/>
                <a:gd name="T41" fmla="*/ 196 h 211"/>
                <a:gd name="T42" fmla="*/ 542 w 542"/>
                <a:gd name="T43" fmla="*/ 133 h 211"/>
                <a:gd name="T44" fmla="*/ 539 w 542"/>
                <a:gd name="T45" fmla="*/ 128 h 211"/>
                <a:gd name="T46" fmla="*/ 417 w 542"/>
                <a:gd name="T47" fmla="*/ 5 h 211"/>
                <a:gd name="T48" fmla="*/ 412 w 542"/>
                <a:gd name="T49" fmla="*/ 2 h 211"/>
                <a:gd name="T50" fmla="*/ 406 w 542"/>
                <a:gd name="T51" fmla="*/ 1 h 211"/>
                <a:gd name="T52" fmla="*/ 12 w 542"/>
                <a:gd name="T53" fmla="*/ 1 h 211"/>
                <a:gd name="T54" fmla="*/ 6 w 542"/>
                <a:gd name="T55" fmla="*/ 3 h 211"/>
                <a:gd name="T56" fmla="*/ 2 w 542"/>
                <a:gd name="T57" fmla="*/ 8 h 211"/>
                <a:gd name="T58" fmla="*/ 0 w 542"/>
                <a:gd name="T59" fmla="*/ 13 h 211"/>
                <a:gd name="T60" fmla="*/ 0 w 542"/>
                <a:gd name="T61" fmla="*/ 196 h 211"/>
                <a:gd name="T62" fmla="*/ 1 w 542"/>
                <a:gd name="T63" fmla="*/ 202 h 211"/>
                <a:gd name="T64" fmla="*/ 4 w 542"/>
                <a:gd name="T65" fmla="*/ 207 h 211"/>
                <a:gd name="T66" fmla="*/ 9 w 542"/>
                <a:gd name="T67" fmla="*/ 210 h 211"/>
                <a:gd name="T68" fmla="*/ 15 w 542"/>
                <a:gd name="T69"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2" h="211">
                  <a:moveTo>
                    <a:pt x="421" y="51"/>
                  </a:moveTo>
                  <a:lnTo>
                    <a:pt x="490" y="121"/>
                  </a:lnTo>
                  <a:lnTo>
                    <a:pt x="421" y="121"/>
                  </a:lnTo>
                  <a:lnTo>
                    <a:pt x="421" y="51"/>
                  </a:lnTo>
                  <a:close/>
                  <a:moveTo>
                    <a:pt x="15" y="211"/>
                  </a:moveTo>
                  <a:lnTo>
                    <a:pt x="18" y="211"/>
                  </a:lnTo>
                  <a:lnTo>
                    <a:pt x="20" y="210"/>
                  </a:lnTo>
                  <a:lnTo>
                    <a:pt x="24" y="209"/>
                  </a:lnTo>
                  <a:lnTo>
                    <a:pt x="26" y="207"/>
                  </a:lnTo>
                  <a:lnTo>
                    <a:pt x="28" y="205"/>
                  </a:lnTo>
                  <a:lnTo>
                    <a:pt x="29" y="202"/>
                  </a:lnTo>
                  <a:lnTo>
                    <a:pt x="30" y="199"/>
                  </a:lnTo>
                  <a:lnTo>
                    <a:pt x="30" y="196"/>
                  </a:lnTo>
                  <a:lnTo>
                    <a:pt x="30" y="31"/>
                  </a:lnTo>
                  <a:lnTo>
                    <a:pt x="391" y="31"/>
                  </a:lnTo>
                  <a:lnTo>
                    <a:pt x="391" y="136"/>
                  </a:lnTo>
                  <a:lnTo>
                    <a:pt x="391" y="139"/>
                  </a:lnTo>
                  <a:lnTo>
                    <a:pt x="392" y="142"/>
                  </a:lnTo>
                  <a:lnTo>
                    <a:pt x="394" y="145"/>
                  </a:lnTo>
                  <a:lnTo>
                    <a:pt x="396" y="147"/>
                  </a:lnTo>
                  <a:lnTo>
                    <a:pt x="398" y="148"/>
                  </a:lnTo>
                  <a:lnTo>
                    <a:pt x="400" y="150"/>
                  </a:lnTo>
                  <a:lnTo>
                    <a:pt x="403" y="151"/>
                  </a:lnTo>
                  <a:lnTo>
                    <a:pt x="406" y="151"/>
                  </a:lnTo>
                  <a:lnTo>
                    <a:pt x="512" y="151"/>
                  </a:lnTo>
                  <a:lnTo>
                    <a:pt x="512" y="196"/>
                  </a:lnTo>
                  <a:lnTo>
                    <a:pt x="512" y="199"/>
                  </a:lnTo>
                  <a:lnTo>
                    <a:pt x="513" y="202"/>
                  </a:lnTo>
                  <a:lnTo>
                    <a:pt x="514" y="205"/>
                  </a:lnTo>
                  <a:lnTo>
                    <a:pt x="516" y="207"/>
                  </a:lnTo>
                  <a:lnTo>
                    <a:pt x="518" y="209"/>
                  </a:lnTo>
                  <a:lnTo>
                    <a:pt x="521" y="210"/>
                  </a:lnTo>
                  <a:lnTo>
                    <a:pt x="523" y="211"/>
                  </a:lnTo>
                  <a:lnTo>
                    <a:pt x="527" y="211"/>
                  </a:lnTo>
                  <a:lnTo>
                    <a:pt x="530" y="211"/>
                  </a:lnTo>
                  <a:lnTo>
                    <a:pt x="533" y="210"/>
                  </a:lnTo>
                  <a:lnTo>
                    <a:pt x="535" y="209"/>
                  </a:lnTo>
                  <a:lnTo>
                    <a:pt x="537" y="207"/>
                  </a:lnTo>
                  <a:lnTo>
                    <a:pt x="539" y="205"/>
                  </a:lnTo>
                  <a:lnTo>
                    <a:pt x="540" y="202"/>
                  </a:lnTo>
                  <a:lnTo>
                    <a:pt x="542" y="199"/>
                  </a:lnTo>
                  <a:lnTo>
                    <a:pt x="542" y="196"/>
                  </a:lnTo>
                  <a:lnTo>
                    <a:pt x="542" y="136"/>
                  </a:lnTo>
                  <a:lnTo>
                    <a:pt x="542" y="133"/>
                  </a:lnTo>
                  <a:lnTo>
                    <a:pt x="540" y="130"/>
                  </a:lnTo>
                  <a:lnTo>
                    <a:pt x="539" y="128"/>
                  </a:lnTo>
                  <a:lnTo>
                    <a:pt x="537" y="125"/>
                  </a:lnTo>
                  <a:lnTo>
                    <a:pt x="417" y="5"/>
                  </a:lnTo>
                  <a:lnTo>
                    <a:pt x="415" y="3"/>
                  </a:lnTo>
                  <a:lnTo>
                    <a:pt x="412" y="2"/>
                  </a:lnTo>
                  <a:lnTo>
                    <a:pt x="410" y="1"/>
                  </a:lnTo>
                  <a:lnTo>
                    <a:pt x="406" y="1"/>
                  </a:lnTo>
                  <a:lnTo>
                    <a:pt x="15" y="0"/>
                  </a:lnTo>
                  <a:lnTo>
                    <a:pt x="12" y="1"/>
                  </a:lnTo>
                  <a:lnTo>
                    <a:pt x="9" y="2"/>
                  </a:lnTo>
                  <a:lnTo>
                    <a:pt x="6" y="3"/>
                  </a:lnTo>
                  <a:lnTo>
                    <a:pt x="4" y="5"/>
                  </a:lnTo>
                  <a:lnTo>
                    <a:pt x="2" y="8"/>
                  </a:lnTo>
                  <a:lnTo>
                    <a:pt x="1" y="10"/>
                  </a:lnTo>
                  <a:lnTo>
                    <a:pt x="0" y="13"/>
                  </a:lnTo>
                  <a:lnTo>
                    <a:pt x="0" y="16"/>
                  </a:lnTo>
                  <a:lnTo>
                    <a:pt x="0" y="196"/>
                  </a:lnTo>
                  <a:lnTo>
                    <a:pt x="0" y="199"/>
                  </a:lnTo>
                  <a:lnTo>
                    <a:pt x="1" y="202"/>
                  </a:lnTo>
                  <a:lnTo>
                    <a:pt x="2" y="205"/>
                  </a:lnTo>
                  <a:lnTo>
                    <a:pt x="4" y="207"/>
                  </a:lnTo>
                  <a:lnTo>
                    <a:pt x="6" y="209"/>
                  </a:lnTo>
                  <a:lnTo>
                    <a:pt x="9" y="210"/>
                  </a:lnTo>
                  <a:lnTo>
                    <a:pt x="12" y="211"/>
                  </a:lnTo>
                  <a:lnTo>
                    <a:pt x="15" y="211"/>
                  </a:lnTo>
                  <a:lnTo>
                    <a:pt x="15"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90" name="Freeform 118">
              <a:extLst>
                <a:ext uri="{FF2B5EF4-FFF2-40B4-BE49-F238E27FC236}">
                  <a16:creationId xmlns:a16="http://schemas.microsoft.com/office/drawing/2014/main" id="{12A0FC19-C873-4C24-BFF5-4C1C6B9B3BAA}"/>
                </a:ext>
              </a:extLst>
            </p:cNvPr>
            <p:cNvSpPr>
              <a:spLocks/>
            </p:cNvSpPr>
            <p:nvPr/>
          </p:nvSpPr>
          <p:spPr bwMode="auto">
            <a:xfrm>
              <a:off x="4405313" y="1571625"/>
              <a:ext cx="114300" cy="9525"/>
            </a:xfrm>
            <a:custGeom>
              <a:avLst/>
              <a:gdLst>
                <a:gd name="T0" fmla="*/ 346 w 361"/>
                <a:gd name="T1" fmla="*/ 0 h 30"/>
                <a:gd name="T2" fmla="*/ 15 w 361"/>
                <a:gd name="T3" fmla="*/ 0 h 30"/>
                <a:gd name="T4" fmla="*/ 12 w 361"/>
                <a:gd name="T5" fmla="*/ 0 h 30"/>
                <a:gd name="T6" fmla="*/ 10 w 361"/>
                <a:gd name="T7" fmla="*/ 1 h 30"/>
                <a:gd name="T8" fmla="*/ 6 w 361"/>
                <a:gd name="T9" fmla="*/ 2 h 30"/>
                <a:gd name="T10" fmla="*/ 4 w 361"/>
                <a:gd name="T11" fmla="*/ 4 h 30"/>
                <a:gd name="T12" fmla="*/ 3 w 361"/>
                <a:gd name="T13" fmla="*/ 6 h 30"/>
                <a:gd name="T14" fmla="*/ 1 w 361"/>
                <a:gd name="T15" fmla="*/ 8 h 30"/>
                <a:gd name="T16" fmla="*/ 0 w 361"/>
                <a:gd name="T17" fmla="*/ 12 h 30"/>
                <a:gd name="T18" fmla="*/ 0 w 361"/>
                <a:gd name="T19" fmla="*/ 15 h 30"/>
                <a:gd name="T20" fmla="*/ 0 w 361"/>
                <a:gd name="T21" fmla="*/ 18 h 30"/>
                <a:gd name="T22" fmla="*/ 1 w 361"/>
                <a:gd name="T23" fmla="*/ 20 h 30"/>
                <a:gd name="T24" fmla="*/ 3 w 361"/>
                <a:gd name="T25" fmla="*/ 23 h 30"/>
                <a:gd name="T26" fmla="*/ 4 w 361"/>
                <a:gd name="T27" fmla="*/ 26 h 30"/>
                <a:gd name="T28" fmla="*/ 6 w 361"/>
                <a:gd name="T29" fmla="*/ 28 h 30"/>
                <a:gd name="T30" fmla="*/ 10 w 361"/>
                <a:gd name="T31" fmla="*/ 29 h 30"/>
                <a:gd name="T32" fmla="*/ 12 w 361"/>
                <a:gd name="T33" fmla="*/ 30 h 30"/>
                <a:gd name="T34" fmla="*/ 15 w 361"/>
                <a:gd name="T35" fmla="*/ 30 h 30"/>
                <a:gd name="T36" fmla="*/ 346 w 361"/>
                <a:gd name="T37" fmla="*/ 30 h 30"/>
                <a:gd name="T38" fmla="*/ 350 w 361"/>
                <a:gd name="T39" fmla="*/ 30 h 30"/>
                <a:gd name="T40" fmla="*/ 352 w 361"/>
                <a:gd name="T41" fmla="*/ 29 h 30"/>
                <a:gd name="T42" fmla="*/ 355 w 361"/>
                <a:gd name="T43" fmla="*/ 28 h 30"/>
                <a:gd name="T44" fmla="*/ 357 w 361"/>
                <a:gd name="T45" fmla="*/ 26 h 30"/>
                <a:gd name="T46" fmla="*/ 359 w 361"/>
                <a:gd name="T47" fmla="*/ 23 h 30"/>
                <a:gd name="T48" fmla="*/ 360 w 361"/>
                <a:gd name="T49" fmla="*/ 20 h 30"/>
                <a:gd name="T50" fmla="*/ 361 w 361"/>
                <a:gd name="T51" fmla="*/ 18 h 30"/>
                <a:gd name="T52" fmla="*/ 361 w 361"/>
                <a:gd name="T53" fmla="*/ 15 h 30"/>
                <a:gd name="T54" fmla="*/ 361 w 361"/>
                <a:gd name="T55" fmla="*/ 12 h 30"/>
                <a:gd name="T56" fmla="*/ 360 w 361"/>
                <a:gd name="T57" fmla="*/ 8 h 30"/>
                <a:gd name="T58" fmla="*/ 359 w 361"/>
                <a:gd name="T59" fmla="*/ 6 h 30"/>
                <a:gd name="T60" fmla="*/ 357 w 361"/>
                <a:gd name="T61" fmla="*/ 4 h 30"/>
                <a:gd name="T62" fmla="*/ 355 w 361"/>
                <a:gd name="T63" fmla="*/ 2 h 30"/>
                <a:gd name="T64" fmla="*/ 352 w 361"/>
                <a:gd name="T65" fmla="*/ 1 h 30"/>
                <a:gd name="T66" fmla="*/ 350 w 361"/>
                <a:gd name="T67" fmla="*/ 0 h 30"/>
                <a:gd name="T68" fmla="*/ 346 w 361"/>
                <a:gd name="T69" fmla="*/ 0 h 30"/>
                <a:gd name="T70" fmla="*/ 346 w 361"/>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1" h="30">
                  <a:moveTo>
                    <a:pt x="346" y="0"/>
                  </a:moveTo>
                  <a:lnTo>
                    <a:pt x="15" y="0"/>
                  </a:lnTo>
                  <a:lnTo>
                    <a:pt x="12" y="0"/>
                  </a:lnTo>
                  <a:lnTo>
                    <a:pt x="10" y="1"/>
                  </a:lnTo>
                  <a:lnTo>
                    <a:pt x="6" y="2"/>
                  </a:lnTo>
                  <a:lnTo>
                    <a:pt x="4" y="4"/>
                  </a:lnTo>
                  <a:lnTo>
                    <a:pt x="3" y="6"/>
                  </a:lnTo>
                  <a:lnTo>
                    <a:pt x="1" y="8"/>
                  </a:lnTo>
                  <a:lnTo>
                    <a:pt x="0" y="12"/>
                  </a:lnTo>
                  <a:lnTo>
                    <a:pt x="0" y="15"/>
                  </a:lnTo>
                  <a:lnTo>
                    <a:pt x="0" y="18"/>
                  </a:lnTo>
                  <a:lnTo>
                    <a:pt x="1" y="20"/>
                  </a:lnTo>
                  <a:lnTo>
                    <a:pt x="3" y="23"/>
                  </a:lnTo>
                  <a:lnTo>
                    <a:pt x="4" y="26"/>
                  </a:lnTo>
                  <a:lnTo>
                    <a:pt x="6" y="28"/>
                  </a:lnTo>
                  <a:lnTo>
                    <a:pt x="10" y="29"/>
                  </a:lnTo>
                  <a:lnTo>
                    <a:pt x="12" y="30"/>
                  </a:lnTo>
                  <a:lnTo>
                    <a:pt x="15" y="30"/>
                  </a:lnTo>
                  <a:lnTo>
                    <a:pt x="346" y="30"/>
                  </a:lnTo>
                  <a:lnTo>
                    <a:pt x="350" y="30"/>
                  </a:lnTo>
                  <a:lnTo>
                    <a:pt x="352" y="29"/>
                  </a:lnTo>
                  <a:lnTo>
                    <a:pt x="355" y="28"/>
                  </a:lnTo>
                  <a:lnTo>
                    <a:pt x="357" y="26"/>
                  </a:lnTo>
                  <a:lnTo>
                    <a:pt x="359" y="23"/>
                  </a:lnTo>
                  <a:lnTo>
                    <a:pt x="360" y="20"/>
                  </a:lnTo>
                  <a:lnTo>
                    <a:pt x="361" y="18"/>
                  </a:lnTo>
                  <a:lnTo>
                    <a:pt x="361" y="15"/>
                  </a:lnTo>
                  <a:lnTo>
                    <a:pt x="361" y="12"/>
                  </a:lnTo>
                  <a:lnTo>
                    <a:pt x="360" y="8"/>
                  </a:lnTo>
                  <a:lnTo>
                    <a:pt x="359" y="6"/>
                  </a:lnTo>
                  <a:lnTo>
                    <a:pt x="357" y="4"/>
                  </a:lnTo>
                  <a:lnTo>
                    <a:pt x="355" y="2"/>
                  </a:lnTo>
                  <a:lnTo>
                    <a:pt x="352" y="1"/>
                  </a:lnTo>
                  <a:lnTo>
                    <a:pt x="350" y="0"/>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91" name="Freeform 119">
              <a:extLst>
                <a:ext uri="{FF2B5EF4-FFF2-40B4-BE49-F238E27FC236}">
                  <a16:creationId xmlns:a16="http://schemas.microsoft.com/office/drawing/2014/main" id="{FFCDBE1A-602E-4F3A-9CE4-367C53931E00}"/>
                </a:ext>
              </a:extLst>
            </p:cNvPr>
            <p:cNvSpPr>
              <a:spLocks/>
            </p:cNvSpPr>
            <p:nvPr/>
          </p:nvSpPr>
          <p:spPr bwMode="auto">
            <a:xfrm>
              <a:off x="4405313" y="1590675"/>
              <a:ext cx="114300" cy="9525"/>
            </a:xfrm>
            <a:custGeom>
              <a:avLst/>
              <a:gdLst>
                <a:gd name="T0" fmla="*/ 346 w 361"/>
                <a:gd name="T1" fmla="*/ 0 h 30"/>
                <a:gd name="T2" fmla="*/ 15 w 361"/>
                <a:gd name="T3" fmla="*/ 0 h 30"/>
                <a:gd name="T4" fmla="*/ 12 w 361"/>
                <a:gd name="T5" fmla="*/ 0 h 30"/>
                <a:gd name="T6" fmla="*/ 10 w 361"/>
                <a:gd name="T7" fmla="*/ 1 h 30"/>
                <a:gd name="T8" fmla="*/ 6 w 361"/>
                <a:gd name="T9" fmla="*/ 2 h 30"/>
                <a:gd name="T10" fmla="*/ 4 w 361"/>
                <a:gd name="T11" fmla="*/ 4 h 30"/>
                <a:gd name="T12" fmla="*/ 3 w 361"/>
                <a:gd name="T13" fmla="*/ 6 h 30"/>
                <a:gd name="T14" fmla="*/ 1 w 361"/>
                <a:gd name="T15" fmla="*/ 10 h 30"/>
                <a:gd name="T16" fmla="*/ 0 w 361"/>
                <a:gd name="T17" fmla="*/ 12 h 30"/>
                <a:gd name="T18" fmla="*/ 0 w 361"/>
                <a:gd name="T19" fmla="*/ 15 h 30"/>
                <a:gd name="T20" fmla="*/ 0 w 361"/>
                <a:gd name="T21" fmla="*/ 18 h 30"/>
                <a:gd name="T22" fmla="*/ 1 w 361"/>
                <a:gd name="T23" fmla="*/ 20 h 30"/>
                <a:gd name="T24" fmla="*/ 3 w 361"/>
                <a:gd name="T25" fmla="*/ 23 h 30"/>
                <a:gd name="T26" fmla="*/ 4 w 361"/>
                <a:gd name="T27" fmla="*/ 26 h 30"/>
                <a:gd name="T28" fmla="*/ 6 w 361"/>
                <a:gd name="T29" fmla="*/ 28 h 30"/>
                <a:gd name="T30" fmla="*/ 10 w 361"/>
                <a:gd name="T31" fmla="*/ 29 h 30"/>
                <a:gd name="T32" fmla="*/ 12 w 361"/>
                <a:gd name="T33" fmla="*/ 30 h 30"/>
                <a:gd name="T34" fmla="*/ 15 w 361"/>
                <a:gd name="T35" fmla="*/ 30 h 30"/>
                <a:gd name="T36" fmla="*/ 346 w 361"/>
                <a:gd name="T37" fmla="*/ 30 h 30"/>
                <a:gd name="T38" fmla="*/ 350 w 361"/>
                <a:gd name="T39" fmla="*/ 30 h 30"/>
                <a:gd name="T40" fmla="*/ 352 w 361"/>
                <a:gd name="T41" fmla="*/ 29 h 30"/>
                <a:gd name="T42" fmla="*/ 355 w 361"/>
                <a:gd name="T43" fmla="*/ 28 h 30"/>
                <a:gd name="T44" fmla="*/ 357 w 361"/>
                <a:gd name="T45" fmla="*/ 26 h 30"/>
                <a:gd name="T46" fmla="*/ 359 w 361"/>
                <a:gd name="T47" fmla="*/ 23 h 30"/>
                <a:gd name="T48" fmla="*/ 360 w 361"/>
                <a:gd name="T49" fmla="*/ 21 h 30"/>
                <a:gd name="T50" fmla="*/ 361 w 361"/>
                <a:gd name="T51" fmla="*/ 18 h 30"/>
                <a:gd name="T52" fmla="*/ 361 w 361"/>
                <a:gd name="T53" fmla="*/ 15 h 30"/>
                <a:gd name="T54" fmla="*/ 361 w 361"/>
                <a:gd name="T55" fmla="*/ 12 h 30"/>
                <a:gd name="T56" fmla="*/ 360 w 361"/>
                <a:gd name="T57" fmla="*/ 10 h 30"/>
                <a:gd name="T58" fmla="*/ 359 w 361"/>
                <a:gd name="T59" fmla="*/ 6 h 30"/>
                <a:gd name="T60" fmla="*/ 357 w 361"/>
                <a:gd name="T61" fmla="*/ 4 h 30"/>
                <a:gd name="T62" fmla="*/ 355 w 361"/>
                <a:gd name="T63" fmla="*/ 2 h 30"/>
                <a:gd name="T64" fmla="*/ 352 w 361"/>
                <a:gd name="T65" fmla="*/ 1 h 30"/>
                <a:gd name="T66" fmla="*/ 350 w 361"/>
                <a:gd name="T67" fmla="*/ 0 h 30"/>
                <a:gd name="T68" fmla="*/ 346 w 36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30">
                  <a:moveTo>
                    <a:pt x="346" y="0"/>
                  </a:moveTo>
                  <a:lnTo>
                    <a:pt x="15" y="0"/>
                  </a:lnTo>
                  <a:lnTo>
                    <a:pt x="12" y="0"/>
                  </a:lnTo>
                  <a:lnTo>
                    <a:pt x="10" y="1"/>
                  </a:lnTo>
                  <a:lnTo>
                    <a:pt x="6" y="2"/>
                  </a:lnTo>
                  <a:lnTo>
                    <a:pt x="4" y="4"/>
                  </a:lnTo>
                  <a:lnTo>
                    <a:pt x="3" y="6"/>
                  </a:lnTo>
                  <a:lnTo>
                    <a:pt x="1" y="10"/>
                  </a:lnTo>
                  <a:lnTo>
                    <a:pt x="0" y="12"/>
                  </a:lnTo>
                  <a:lnTo>
                    <a:pt x="0" y="15"/>
                  </a:lnTo>
                  <a:lnTo>
                    <a:pt x="0" y="18"/>
                  </a:lnTo>
                  <a:lnTo>
                    <a:pt x="1" y="20"/>
                  </a:lnTo>
                  <a:lnTo>
                    <a:pt x="3" y="23"/>
                  </a:lnTo>
                  <a:lnTo>
                    <a:pt x="4" y="26"/>
                  </a:lnTo>
                  <a:lnTo>
                    <a:pt x="6" y="28"/>
                  </a:lnTo>
                  <a:lnTo>
                    <a:pt x="10" y="29"/>
                  </a:lnTo>
                  <a:lnTo>
                    <a:pt x="12" y="30"/>
                  </a:lnTo>
                  <a:lnTo>
                    <a:pt x="15" y="30"/>
                  </a:lnTo>
                  <a:lnTo>
                    <a:pt x="346" y="30"/>
                  </a:lnTo>
                  <a:lnTo>
                    <a:pt x="350" y="30"/>
                  </a:lnTo>
                  <a:lnTo>
                    <a:pt x="352" y="29"/>
                  </a:lnTo>
                  <a:lnTo>
                    <a:pt x="355" y="28"/>
                  </a:lnTo>
                  <a:lnTo>
                    <a:pt x="357" y="26"/>
                  </a:lnTo>
                  <a:lnTo>
                    <a:pt x="359" y="23"/>
                  </a:lnTo>
                  <a:lnTo>
                    <a:pt x="360" y="21"/>
                  </a:lnTo>
                  <a:lnTo>
                    <a:pt x="361" y="18"/>
                  </a:lnTo>
                  <a:lnTo>
                    <a:pt x="361" y="15"/>
                  </a:lnTo>
                  <a:lnTo>
                    <a:pt x="361" y="12"/>
                  </a:lnTo>
                  <a:lnTo>
                    <a:pt x="360" y="10"/>
                  </a:lnTo>
                  <a:lnTo>
                    <a:pt x="359" y="6"/>
                  </a:lnTo>
                  <a:lnTo>
                    <a:pt x="357" y="4"/>
                  </a:lnTo>
                  <a:lnTo>
                    <a:pt x="355" y="2"/>
                  </a:lnTo>
                  <a:lnTo>
                    <a:pt x="352" y="1"/>
                  </a:lnTo>
                  <a:lnTo>
                    <a:pt x="350"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92" name="Freeform 120">
              <a:extLst>
                <a:ext uri="{FF2B5EF4-FFF2-40B4-BE49-F238E27FC236}">
                  <a16:creationId xmlns:a16="http://schemas.microsoft.com/office/drawing/2014/main" id="{87D2C3B2-623C-41A6-AF38-7F04B6463CC9}"/>
                </a:ext>
              </a:extLst>
            </p:cNvPr>
            <p:cNvSpPr>
              <a:spLocks/>
            </p:cNvSpPr>
            <p:nvPr/>
          </p:nvSpPr>
          <p:spPr bwMode="auto">
            <a:xfrm>
              <a:off x="4405313" y="1609725"/>
              <a:ext cx="114300" cy="9525"/>
            </a:xfrm>
            <a:custGeom>
              <a:avLst/>
              <a:gdLst>
                <a:gd name="T0" fmla="*/ 346 w 361"/>
                <a:gd name="T1" fmla="*/ 0 h 30"/>
                <a:gd name="T2" fmla="*/ 15 w 361"/>
                <a:gd name="T3" fmla="*/ 0 h 30"/>
                <a:gd name="T4" fmla="*/ 12 w 361"/>
                <a:gd name="T5" fmla="*/ 0 h 30"/>
                <a:gd name="T6" fmla="*/ 10 w 361"/>
                <a:gd name="T7" fmla="*/ 1 h 30"/>
                <a:gd name="T8" fmla="*/ 6 w 361"/>
                <a:gd name="T9" fmla="*/ 3 h 30"/>
                <a:gd name="T10" fmla="*/ 4 w 361"/>
                <a:gd name="T11" fmla="*/ 4 h 30"/>
                <a:gd name="T12" fmla="*/ 3 w 361"/>
                <a:gd name="T13" fmla="*/ 6 h 30"/>
                <a:gd name="T14" fmla="*/ 1 w 361"/>
                <a:gd name="T15" fmla="*/ 10 h 30"/>
                <a:gd name="T16" fmla="*/ 0 w 361"/>
                <a:gd name="T17" fmla="*/ 12 h 30"/>
                <a:gd name="T18" fmla="*/ 0 w 361"/>
                <a:gd name="T19" fmla="*/ 15 h 30"/>
                <a:gd name="T20" fmla="*/ 0 w 361"/>
                <a:gd name="T21" fmla="*/ 18 h 30"/>
                <a:gd name="T22" fmla="*/ 1 w 361"/>
                <a:gd name="T23" fmla="*/ 21 h 30"/>
                <a:gd name="T24" fmla="*/ 3 w 361"/>
                <a:gd name="T25" fmla="*/ 24 h 30"/>
                <a:gd name="T26" fmla="*/ 4 w 361"/>
                <a:gd name="T27" fmla="*/ 26 h 30"/>
                <a:gd name="T28" fmla="*/ 6 w 361"/>
                <a:gd name="T29" fmla="*/ 28 h 30"/>
                <a:gd name="T30" fmla="*/ 10 w 361"/>
                <a:gd name="T31" fmla="*/ 29 h 30"/>
                <a:gd name="T32" fmla="*/ 12 w 361"/>
                <a:gd name="T33" fmla="*/ 30 h 30"/>
                <a:gd name="T34" fmla="*/ 15 w 361"/>
                <a:gd name="T35" fmla="*/ 30 h 30"/>
                <a:gd name="T36" fmla="*/ 346 w 361"/>
                <a:gd name="T37" fmla="*/ 30 h 30"/>
                <a:gd name="T38" fmla="*/ 350 w 361"/>
                <a:gd name="T39" fmla="*/ 30 h 30"/>
                <a:gd name="T40" fmla="*/ 352 w 361"/>
                <a:gd name="T41" fmla="*/ 29 h 30"/>
                <a:gd name="T42" fmla="*/ 355 w 361"/>
                <a:gd name="T43" fmla="*/ 28 h 30"/>
                <a:gd name="T44" fmla="*/ 357 w 361"/>
                <a:gd name="T45" fmla="*/ 26 h 30"/>
                <a:gd name="T46" fmla="*/ 359 w 361"/>
                <a:gd name="T47" fmla="*/ 24 h 30"/>
                <a:gd name="T48" fmla="*/ 360 w 361"/>
                <a:gd name="T49" fmla="*/ 21 h 30"/>
                <a:gd name="T50" fmla="*/ 361 w 361"/>
                <a:gd name="T51" fmla="*/ 18 h 30"/>
                <a:gd name="T52" fmla="*/ 361 w 361"/>
                <a:gd name="T53" fmla="*/ 15 h 30"/>
                <a:gd name="T54" fmla="*/ 361 w 361"/>
                <a:gd name="T55" fmla="*/ 12 h 30"/>
                <a:gd name="T56" fmla="*/ 360 w 361"/>
                <a:gd name="T57" fmla="*/ 10 h 30"/>
                <a:gd name="T58" fmla="*/ 359 w 361"/>
                <a:gd name="T59" fmla="*/ 6 h 30"/>
                <a:gd name="T60" fmla="*/ 357 w 361"/>
                <a:gd name="T61" fmla="*/ 4 h 30"/>
                <a:gd name="T62" fmla="*/ 355 w 361"/>
                <a:gd name="T63" fmla="*/ 3 h 30"/>
                <a:gd name="T64" fmla="*/ 352 w 361"/>
                <a:gd name="T65" fmla="*/ 1 h 30"/>
                <a:gd name="T66" fmla="*/ 350 w 361"/>
                <a:gd name="T67" fmla="*/ 0 h 30"/>
                <a:gd name="T68" fmla="*/ 346 w 361"/>
                <a:gd name="T69" fmla="*/ 0 h 30"/>
                <a:gd name="T70" fmla="*/ 346 w 361"/>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1" h="30">
                  <a:moveTo>
                    <a:pt x="346" y="0"/>
                  </a:moveTo>
                  <a:lnTo>
                    <a:pt x="15" y="0"/>
                  </a:lnTo>
                  <a:lnTo>
                    <a:pt x="12" y="0"/>
                  </a:lnTo>
                  <a:lnTo>
                    <a:pt x="10" y="1"/>
                  </a:lnTo>
                  <a:lnTo>
                    <a:pt x="6" y="3"/>
                  </a:lnTo>
                  <a:lnTo>
                    <a:pt x="4" y="4"/>
                  </a:lnTo>
                  <a:lnTo>
                    <a:pt x="3" y="6"/>
                  </a:lnTo>
                  <a:lnTo>
                    <a:pt x="1" y="10"/>
                  </a:lnTo>
                  <a:lnTo>
                    <a:pt x="0" y="12"/>
                  </a:lnTo>
                  <a:lnTo>
                    <a:pt x="0" y="15"/>
                  </a:lnTo>
                  <a:lnTo>
                    <a:pt x="0" y="18"/>
                  </a:lnTo>
                  <a:lnTo>
                    <a:pt x="1" y="21"/>
                  </a:lnTo>
                  <a:lnTo>
                    <a:pt x="3" y="24"/>
                  </a:lnTo>
                  <a:lnTo>
                    <a:pt x="4" y="26"/>
                  </a:lnTo>
                  <a:lnTo>
                    <a:pt x="6" y="28"/>
                  </a:lnTo>
                  <a:lnTo>
                    <a:pt x="10" y="29"/>
                  </a:lnTo>
                  <a:lnTo>
                    <a:pt x="12" y="30"/>
                  </a:lnTo>
                  <a:lnTo>
                    <a:pt x="15" y="30"/>
                  </a:lnTo>
                  <a:lnTo>
                    <a:pt x="346" y="30"/>
                  </a:lnTo>
                  <a:lnTo>
                    <a:pt x="350" y="30"/>
                  </a:lnTo>
                  <a:lnTo>
                    <a:pt x="352" y="29"/>
                  </a:lnTo>
                  <a:lnTo>
                    <a:pt x="355" y="28"/>
                  </a:lnTo>
                  <a:lnTo>
                    <a:pt x="357" y="26"/>
                  </a:lnTo>
                  <a:lnTo>
                    <a:pt x="359" y="24"/>
                  </a:lnTo>
                  <a:lnTo>
                    <a:pt x="360" y="21"/>
                  </a:lnTo>
                  <a:lnTo>
                    <a:pt x="361" y="18"/>
                  </a:lnTo>
                  <a:lnTo>
                    <a:pt x="361" y="15"/>
                  </a:lnTo>
                  <a:lnTo>
                    <a:pt x="361" y="12"/>
                  </a:lnTo>
                  <a:lnTo>
                    <a:pt x="360" y="10"/>
                  </a:lnTo>
                  <a:lnTo>
                    <a:pt x="359" y="6"/>
                  </a:lnTo>
                  <a:lnTo>
                    <a:pt x="357" y="4"/>
                  </a:lnTo>
                  <a:lnTo>
                    <a:pt x="355" y="3"/>
                  </a:lnTo>
                  <a:lnTo>
                    <a:pt x="352" y="1"/>
                  </a:lnTo>
                  <a:lnTo>
                    <a:pt x="350" y="0"/>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93" name="Freeform 121">
              <a:extLst>
                <a:ext uri="{FF2B5EF4-FFF2-40B4-BE49-F238E27FC236}">
                  <a16:creationId xmlns:a16="http://schemas.microsoft.com/office/drawing/2014/main" id="{BCE6E6F5-FE6A-434D-AE1A-9759F0FC71E2}"/>
                </a:ext>
              </a:extLst>
            </p:cNvPr>
            <p:cNvSpPr>
              <a:spLocks noEditPoints="1"/>
            </p:cNvSpPr>
            <p:nvPr/>
          </p:nvSpPr>
          <p:spPr bwMode="auto">
            <a:xfrm>
              <a:off x="4338638" y="1474788"/>
              <a:ext cx="38100" cy="39688"/>
            </a:xfrm>
            <a:custGeom>
              <a:avLst/>
              <a:gdLst>
                <a:gd name="T0" fmla="*/ 53 w 120"/>
                <a:gd name="T1" fmla="*/ 90 h 121"/>
                <a:gd name="T2" fmla="*/ 43 w 120"/>
                <a:gd name="T3" fmla="*/ 86 h 121"/>
                <a:gd name="T4" fmla="*/ 34 w 120"/>
                <a:gd name="T5" fmla="*/ 78 h 121"/>
                <a:gd name="T6" fmla="*/ 30 w 120"/>
                <a:gd name="T7" fmla="*/ 67 h 121"/>
                <a:gd name="T8" fmla="*/ 30 w 120"/>
                <a:gd name="T9" fmla="*/ 55 h 121"/>
                <a:gd name="T10" fmla="*/ 34 w 120"/>
                <a:gd name="T11" fmla="*/ 44 h 121"/>
                <a:gd name="T12" fmla="*/ 43 w 120"/>
                <a:gd name="T13" fmla="*/ 36 h 121"/>
                <a:gd name="T14" fmla="*/ 53 w 120"/>
                <a:gd name="T15" fmla="*/ 31 h 121"/>
                <a:gd name="T16" fmla="*/ 65 w 120"/>
                <a:gd name="T17" fmla="*/ 31 h 121"/>
                <a:gd name="T18" fmla="*/ 76 w 120"/>
                <a:gd name="T19" fmla="*/ 36 h 121"/>
                <a:gd name="T20" fmla="*/ 85 w 120"/>
                <a:gd name="T21" fmla="*/ 44 h 121"/>
                <a:gd name="T22" fmla="*/ 89 w 120"/>
                <a:gd name="T23" fmla="*/ 55 h 121"/>
                <a:gd name="T24" fmla="*/ 89 w 120"/>
                <a:gd name="T25" fmla="*/ 67 h 121"/>
                <a:gd name="T26" fmla="*/ 85 w 120"/>
                <a:gd name="T27" fmla="*/ 78 h 121"/>
                <a:gd name="T28" fmla="*/ 76 w 120"/>
                <a:gd name="T29" fmla="*/ 86 h 121"/>
                <a:gd name="T30" fmla="*/ 65 w 120"/>
                <a:gd name="T31" fmla="*/ 90 h 121"/>
                <a:gd name="T32" fmla="*/ 60 w 120"/>
                <a:gd name="T33" fmla="*/ 0 h 121"/>
                <a:gd name="T34" fmla="*/ 47 w 120"/>
                <a:gd name="T35" fmla="*/ 1 h 121"/>
                <a:gd name="T36" fmla="*/ 36 w 120"/>
                <a:gd name="T37" fmla="*/ 6 h 121"/>
                <a:gd name="T38" fmla="*/ 26 w 120"/>
                <a:gd name="T39" fmla="*/ 11 h 121"/>
                <a:gd name="T40" fmla="*/ 17 w 120"/>
                <a:gd name="T41" fmla="*/ 19 h 121"/>
                <a:gd name="T42" fmla="*/ 9 w 120"/>
                <a:gd name="T43" fmla="*/ 27 h 121"/>
                <a:gd name="T44" fmla="*/ 4 w 120"/>
                <a:gd name="T45" fmla="*/ 37 h 121"/>
                <a:gd name="T46" fmla="*/ 1 w 120"/>
                <a:gd name="T47" fmla="*/ 49 h 121"/>
                <a:gd name="T48" fmla="*/ 0 w 120"/>
                <a:gd name="T49" fmla="*/ 60 h 121"/>
                <a:gd name="T50" fmla="*/ 1 w 120"/>
                <a:gd name="T51" fmla="*/ 73 h 121"/>
                <a:gd name="T52" fmla="*/ 4 w 120"/>
                <a:gd name="T53" fmla="*/ 84 h 121"/>
                <a:gd name="T54" fmla="*/ 9 w 120"/>
                <a:gd name="T55" fmla="*/ 95 h 121"/>
                <a:gd name="T56" fmla="*/ 17 w 120"/>
                <a:gd name="T57" fmla="*/ 103 h 121"/>
                <a:gd name="T58" fmla="*/ 26 w 120"/>
                <a:gd name="T59" fmla="*/ 111 h 121"/>
                <a:gd name="T60" fmla="*/ 36 w 120"/>
                <a:gd name="T61" fmla="*/ 116 h 121"/>
                <a:gd name="T62" fmla="*/ 47 w 120"/>
                <a:gd name="T63" fmla="*/ 119 h 121"/>
                <a:gd name="T64" fmla="*/ 60 w 120"/>
                <a:gd name="T65" fmla="*/ 121 h 121"/>
                <a:gd name="T66" fmla="*/ 72 w 120"/>
                <a:gd name="T67" fmla="*/ 119 h 121"/>
                <a:gd name="T68" fmla="*/ 83 w 120"/>
                <a:gd name="T69" fmla="*/ 116 h 121"/>
                <a:gd name="T70" fmla="*/ 93 w 120"/>
                <a:gd name="T71" fmla="*/ 111 h 121"/>
                <a:gd name="T72" fmla="*/ 102 w 120"/>
                <a:gd name="T73" fmla="*/ 103 h 121"/>
                <a:gd name="T74" fmla="*/ 109 w 120"/>
                <a:gd name="T75" fmla="*/ 95 h 121"/>
                <a:gd name="T76" fmla="*/ 115 w 120"/>
                <a:gd name="T77" fmla="*/ 84 h 121"/>
                <a:gd name="T78" fmla="*/ 119 w 120"/>
                <a:gd name="T79" fmla="*/ 73 h 121"/>
                <a:gd name="T80" fmla="*/ 120 w 120"/>
                <a:gd name="T81" fmla="*/ 60 h 121"/>
                <a:gd name="T82" fmla="*/ 119 w 120"/>
                <a:gd name="T83" fmla="*/ 49 h 121"/>
                <a:gd name="T84" fmla="*/ 115 w 120"/>
                <a:gd name="T85" fmla="*/ 37 h 121"/>
                <a:gd name="T86" fmla="*/ 109 w 120"/>
                <a:gd name="T87" fmla="*/ 27 h 121"/>
                <a:gd name="T88" fmla="*/ 102 w 120"/>
                <a:gd name="T89" fmla="*/ 19 h 121"/>
                <a:gd name="T90" fmla="*/ 93 w 120"/>
                <a:gd name="T91" fmla="*/ 11 h 121"/>
                <a:gd name="T92" fmla="*/ 83 w 120"/>
                <a:gd name="T93" fmla="*/ 6 h 121"/>
                <a:gd name="T94" fmla="*/ 72 w 120"/>
                <a:gd name="T95" fmla="*/ 1 h 121"/>
                <a:gd name="T96" fmla="*/ 60 w 120"/>
                <a:gd name="T9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 h="121">
                  <a:moveTo>
                    <a:pt x="60" y="90"/>
                  </a:moveTo>
                  <a:lnTo>
                    <a:pt x="53" y="90"/>
                  </a:lnTo>
                  <a:lnTo>
                    <a:pt x="48" y="88"/>
                  </a:lnTo>
                  <a:lnTo>
                    <a:pt x="43" y="86"/>
                  </a:lnTo>
                  <a:lnTo>
                    <a:pt x="38" y="82"/>
                  </a:lnTo>
                  <a:lnTo>
                    <a:pt x="34" y="78"/>
                  </a:lnTo>
                  <a:lnTo>
                    <a:pt x="32" y="72"/>
                  </a:lnTo>
                  <a:lnTo>
                    <a:pt x="30" y="67"/>
                  </a:lnTo>
                  <a:lnTo>
                    <a:pt x="30" y="60"/>
                  </a:lnTo>
                  <a:lnTo>
                    <a:pt x="30" y="55"/>
                  </a:lnTo>
                  <a:lnTo>
                    <a:pt x="32" y="49"/>
                  </a:lnTo>
                  <a:lnTo>
                    <a:pt x="34" y="44"/>
                  </a:lnTo>
                  <a:lnTo>
                    <a:pt x="38" y="39"/>
                  </a:lnTo>
                  <a:lnTo>
                    <a:pt x="43" y="36"/>
                  </a:lnTo>
                  <a:lnTo>
                    <a:pt x="48" y="33"/>
                  </a:lnTo>
                  <a:lnTo>
                    <a:pt x="53" y="31"/>
                  </a:lnTo>
                  <a:lnTo>
                    <a:pt x="60" y="30"/>
                  </a:lnTo>
                  <a:lnTo>
                    <a:pt x="65" y="31"/>
                  </a:lnTo>
                  <a:lnTo>
                    <a:pt x="72" y="33"/>
                  </a:lnTo>
                  <a:lnTo>
                    <a:pt x="76" y="36"/>
                  </a:lnTo>
                  <a:lnTo>
                    <a:pt x="81" y="39"/>
                  </a:lnTo>
                  <a:lnTo>
                    <a:pt x="85" y="44"/>
                  </a:lnTo>
                  <a:lnTo>
                    <a:pt x="88" y="49"/>
                  </a:lnTo>
                  <a:lnTo>
                    <a:pt x="89" y="55"/>
                  </a:lnTo>
                  <a:lnTo>
                    <a:pt x="90" y="60"/>
                  </a:lnTo>
                  <a:lnTo>
                    <a:pt x="89" y="67"/>
                  </a:lnTo>
                  <a:lnTo>
                    <a:pt x="88" y="72"/>
                  </a:lnTo>
                  <a:lnTo>
                    <a:pt x="85" y="78"/>
                  </a:lnTo>
                  <a:lnTo>
                    <a:pt x="81" y="82"/>
                  </a:lnTo>
                  <a:lnTo>
                    <a:pt x="76" y="86"/>
                  </a:lnTo>
                  <a:lnTo>
                    <a:pt x="72" y="88"/>
                  </a:lnTo>
                  <a:lnTo>
                    <a:pt x="65" y="90"/>
                  </a:lnTo>
                  <a:lnTo>
                    <a:pt x="60" y="90"/>
                  </a:lnTo>
                  <a:close/>
                  <a:moveTo>
                    <a:pt x="60" y="0"/>
                  </a:moveTo>
                  <a:lnTo>
                    <a:pt x="53" y="0"/>
                  </a:lnTo>
                  <a:lnTo>
                    <a:pt x="47" y="1"/>
                  </a:lnTo>
                  <a:lnTo>
                    <a:pt x="42" y="4"/>
                  </a:lnTo>
                  <a:lnTo>
                    <a:pt x="36" y="6"/>
                  </a:lnTo>
                  <a:lnTo>
                    <a:pt x="31" y="8"/>
                  </a:lnTo>
                  <a:lnTo>
                    <a:pt x="26" y="11"/>
                  </a:lnTo>
                  <a:lnTo>
                    <a:pt x="21" y="14"/>
                  </a:lnTo>
                  <a:lnTo>
                    <a:pt x="17" y="19"/>
                  </a:lnTo>
                  <a:lnTo>
                    <a:pt x="13" y="23"/>
                  </a:lnTo>
                  <a:lnTo>
                    <a:pt x="9" y="27"/>
                  </a:lnTo>
                  <a:lnTo>
                    <a:pt x="6" y="33"/>
                  </a:lnTo>
                  <a:lnTo>
                    <a:pt x="4" y="37"/>
                  </a:lnTo>
                  <a:lnTo>
                    <a:pt x="2" y="43"/>
                  </a:lnTo>
                  <a:lnTo>
                    <a:pt x="1" y="49"/>
                  </a:lnTo>
                  <a:lnTo>
                    <a:pt x="0" y="55"/>
                  </a:lnTo>
                  <a:lnTo>
                    <a:pt x="0" y="60"/>
                  </a:lnTo>
                  <a:lnTo>
                    <a:pt x="0" y="67"/>
                  </a:lnTo>
                  <a:lnTo>
                    <a:pt x="1" y="73"/>
                  </a:lnTo>
                  <a:lnTo>
                    <a:pt x="2" y="79"/>
                  </a:lnTo>
                  <a:lnTo>
                    <a:pt x="4" y="84"/>
                  </a:lnTo>
                  <a:lnTo>
                    <a:pt x="6" y="89"/>
                  </a:lnTo>
                  <a:lnTo>
                    <a:pt x="9" y="95"/>
                  </a:lnTo>
                  <a:lnTo>
                    <a:pt x="13" y="99"/>
                  </a:lnTo>
                  <a:lnTo>
                    <a:pt x="17" y="103"/>
                  </a:lnTo>
                  <a:lnTo>
                    <a:pt x="21" y="108"/>
                  </a:lnTo>
                  <a:lnTo>
                    <a:pt x="26" y="111"/>
                  </a:lnTo>
                  <a:lnTo>
                    <a:pt x="31" y="114"/>
                  </a:lnTo>
                  <a:lnTo>
                    <a:pt x="36" y="116"/>
                  </a:lnTo>
                  <a:lnTo>
                    <a:pt x="42" y="118"/>
                  </a:lnTo>
                  <a:lnTo>
                    <a:pt x="47" y="119"/>
                  </a:lnTo>
                  <a:lnTo>
                    <a:pt x="53" y="121"/>
                  </a:lnTo>
                  <a:lnTo>
                    <a:pt x="60" y="121"/>
                  </a:lnTo>
                  <a:lnTo>
                    <a:pt x="65" y="121"/>
                  </a:lnTo>
                  <a:lnTo>
                    <a:pt x="72" y="119"/>
                  </a:lnTo>
                  <a:lnTo>
                    <a:pt x="77" y="118"/>
                  </a:lnTo>
                  <a:lnTo>
                    <a:pt x="83" y="116"/>
                  </a:lnTo>
                  <a:lnTo>
                    <a:pt x="89" y="114"/>
                  </a:lnTo>
                  <a:lnTo>
                    <a:pt x="93" y="111"/>
                  </a:lnTo>
                  <a:lnTo>
                    <a:pt x="97" y="108"/>
                  </a:lnTo>
                  <a:lnTo>
                    <a:pt x="102" y="103"/>
                  </a:lnTo>
                  <a:lnTo>
                    <a:pt x="106" y="99"/>
                  </a:lnTo>
                  <a:lnTo>
                    <a:pt x="109" y="95"/>
                  </a:lnTo>
                  <a:lnTo>
                    <a:pt x="112" y="89"/>
                  </a:lnTo>
                  <a:lnTo>
                    <a:pt x="115" y="84"/>
                  </a:lnTo>
                  <a:lnTo>
                    <a:pt x="117" y="79"/>
                  </a:lnTo>
                  <a:lnTo>
                    <a:pt x="119" y="73"/>
                  </a:lnTo>
                  <a:lnTo>
                    <a:pt x="120" y="67"/>
                  </a:lnTo>
                  <a:lnTo>
                    <a:pt x="120" y="60"/>
                  </a:lnTo>
                  <a:lnTo>
                    <a:pt x="120" y="55"/>
                  </a:lnTo>
                  <a:lnTo>
                    <a:pt x="119" y="49"/>
                  </a:lnTo>
                  <a:lnTo>
                    <a:pt x="117" y="43"/>
                  </a:lnTo>
                  <a:lnTo>
                    <a:pt x="115" y="37"/>
                  </a:lnTo>
                  <a:lnTo>
                    <a:pt x="112" y="33"/>
                  </a:lnTo>
                  <a:lnTo>
                    <a:pt x="109" y="27"/>
                  </a:lnTo>
                  <a:lnTo>
                    <a:pt x="106" y="23"/>
                  </a:lnTo>
                  <a:lnTo>
                    <a:pt x="102" y="19"/>
                  </a:lnTo>
                  <a:lnTo>
                    <a:pt x="97" y="14"/>
                  </a:lnTo>
                  <a:lnTo>
                    <a:pt x="93" y="11"/>
                  </a:lnTo>
                  <a:lnTo>
                    <a:pt x="89" y="8"/>
                  </a:lnTo>
                  <a:lnTo>
                    <a:pt x="83" y="6"/>
                  </a:lnTo>
                  <a:lnTo>
                    <a:pt x="77" y="4"/>
                  </a:lnTo>
                  <a:lnTo>
                    <a:pt x="72" y="1"/>
                  </a:lnTo>
                  <a:lnTo>
                    <a:pt x="65" y="0"/>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sp>
        <p:nvSpPr>
          <p:cNvPr id="94" name="TextBox 93">
            <a:extLst>
              <a:ext uri="{FF2B5EF4-FFF2-40B4-BE49-F238E27FC236}">
                <a16:creationId xmlns:a16="http://schemas.microsoft.com/office/drawing/2014/main" id="{82452339-4922-4020-9435-ACDB9AA2EB22}"/>
              </a:ext>
            </a:extLst>
          </p:cNvPr>
          <p:cNvSpPr txBox="1"/>
          <p:nvPr/>
        </p:nvSpPr>
        <p:spPr>
          <a:xfrm>
            <a:off x="1907737" y="7551278"/>
            <a:ext cx="4549900" cy="2585323"/>
          </a:xfrm>
          <a:prstGeom prst="rect">
            <a:avLst/>
          </a:prstGeom>
          <a:noFill/>
          <a:ln>
            <a:noFill/>
          </a:ln>
        </p:spPr>
        <p:txBody>
          <a:bodyPr wrap="square" lIns="0" tIns="0" rIns="0" bIns="0" rtlCol="0" anchor="t">
            <a:spAutoFit/>
          </a:bodyPr>
          <a:lstStyle/>
          <a:p>
            <a:pPr>
              <a:buClr>
                <a:schemeClr val="accent1"/>
              </a:buClr>
            </a:pPr>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r>
              <a:rPr lang="en-US" sz="2800" dirty="0" err="1"/>
              <a:t>Aliquam</a:t>
            </a:r>
            <a:r>
              <a:rPr lang="en-US" sz="2800" dirty="0"/>
              <a:t> </a:t>
            </a:r>
            <a:r>
              <a:rPr lang="en-US" sz="2800" dirty="0" err="1"/>
              <a:t>eu</a:t>
            </a:r>
            <a:r>
              <a:rPr lang="en-US" sz="2800" dirty="0"/>
              <a:t> </a:t>
            </a:r>
            <a:r>
              <a:rPr lang="en-US" sz="2800" dirty="0" err="1"/>
              <a:t>lobortis</a:t>
            </a:r>
            <a:r>
              <a:rPr lang="en-US" sz="2800" dirty="0"/>
              <a:t> </a:t>
            </a:r>
            <a:r>
              <a:rPr lang="en-US" sz="2800" dirty="0" err="1"/>
              <a:t>eros</a:t>
            </a:r>
            <a:r>
              <a:rPr lang="en-US" sz="2800" dirty="0"/>
              <a:t>. </a:t>
            </a:r>
            <a:r>
              <a:rPr lang="en-US" sz="2800" dirty="0" err="1"/>
              <a:t>Pellentesque</a:t>
            </a:r>
            <a:r>
              <a:rPr lang="en-US" sz="2800" dirty="0"/>
              <a:t> sit </a:t>
            </a:r>
            <a:r>
              <a:rPr lang="en-US" sz="2800" dirty="0" err="1"/>
              <a:t>amet</a:t>
            </a:r>
            <a:r>
              <a:rPr lang="en-US" sz="2800" dirty="0"/>
              <a:t> </a:t>
            </a:r>
            <a:r>
              <a:rPr lang="en-US" sz="2800" dirty="0" err="1"/>
              <a:t>finibus</a:t>
            </a:r>
            <a:r>
              <a:rPr lang="en-US" sz="2800" dirty="0"/>
              <a:t> </a:t>
            </a:r>
            <a:r>
              <a:rPr lang="en-US" sz="2800" dirty="0" err="1"/>
              <a:t>sapien</a:t>
            </a:r>
            <a:r>
              <a:rPr lang="en-US" sz="2800" dirty="0"/>
              <a:t>. </a:t>
            </a:r>
            <a:r>
              <a:rPr lang="en-US" sz="2800" dirty="0" err="1"/>
              <a:t>Mauris</a:t>
            </a:r>
            <a:r>
              <a:rPr lang="en-US" sz="2800" dirty="0"/>
              <a:t> </a:t>
            </a:r>
            <a:r>
              <a:rPr lang="en-US" sz="2800" dirty="0" err="1"/>
              <a:t>tempor</a:t>
            </a:r>
            <a:r>
              <a:rPr lang="en-US" sz="2800" dirty="0"/>
              <a:t> </a:t>
            </a:r>
            <a:r>
              <a:rPr lang="en-US" sz="2800" dirty="0" err="1"/>
              <a:t>justo</a:t>
            </a:r>
            <a:r>
              <a:rPr lang="en-US" sz="2800" dirty="0"/>
              <a:t> vel </a:t>
            </a:r>
            <a:r>
              <a:rPr lang="en-US" sz="2800" dirty="0" err="1"/>
              <a:t>blandit</a:t>
            </a:r>
            <a:r>
              <a:rPr lang="en-US" sz="2800" dirty="0"/>
              <a:t> </a:t>
            </a:r>
            <a:r>
              <a:rPr lang="en-US" sz="2800" dirty="0" err="1"/>
              <a:t>molestie</a:t>
            </a:r>
            <a:r>
              <a:rPr lang="en-US" sz="2800" dirty="0"/>
              <a:t>. </a:t>
            </a:r>
          </a:p>
        </p:txBody>
      </p:sp>
      <p:sp>
        <p:nvSpPr>
          <p:cNvPr id="95" name="TextBox 94">
            <a:extLst>
              <a:ext uri="{FF2B5EF4-FFF2-40B4-BE49-F238E27FC236}">
                <a16:creationId xmlns:a16="http://schemas.microsoft.com/office/drawing/2014/main" id="{02AB37C9-EF0B-4B5B-A1E9-DDE984AD4B04}"/>
              </a:ext>
            </a:extLst>
          </p:cNvPr>
          <p:cNvSpPr txBox="1"/>
          <p:nvPr/>
        </p:nvSpPr>
        <p:spPr>
          <a:xfrm>
            <a:off x="12615744" y="7551278"/>
            <a:ext cx="4549900" cy="2585323"/>
          </a:xfrm>
          <a:prstGeom prst="rect">
            <a:avLst/>
          </a:prstGeom>
          <a:noFill/>
          <a:ln>
            <a:noFill/>
          </a:ln>
        </p:spPr>
        <p:txBody>
          <a:bodyPr wrap="square" lIns="0" tIns="0" rIns="0" bIns="0" rtlCol="0" anchor="t">
            <a:spAutoFit/>
          </a:bodyPr>
          <a:lstStyle/>
          <a:p>
            <a:pPr>
              <a:buClr>
                <a:schemeClr val="accent1"/>
              </a:buClr>
            </a:pPr>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r>
              <a:rPr lang="en-US" sz="2800" dirty="0" err="1"/>
              <a:t>Aliquam</a:t>
            </a:r>
            <a:r>
              <a:rPr lang="en-US" sz="2800" dirty="0"/>
              <a:t> </a:t>
            </a:r>
            <a:r>
              <a:rPr lang="en-US" sz="2800" dirty="0" err="1"/>
              <a:t>eu</a:t>
            </a:r>
            <a:r>
              <a:rPr lang="en-US" sz="2800" dirty="0"/>
              <a:t> </a:t>
            </a:r>
            <a:r>
              <a:rPr lang="en-US" sz="2800" dirty="0" err="1"/>
              <a:t>lobortis</a:t>
            </a:r>
            <a:r>
              <a:rPr lang="en-US" sz="2800" dirty="0"/>
              <a:t> </a:t>
            </a:r>
            <a:r>
              <a:rPr lang="en-US" sz="2800" dirty="0" err="1"/>
              <a:t>eros</a:t>
            </a:r>
            <a:r>
              <a:rPr lang="en-US" sz="2800" dirty="0"/>
              <a:t>. </a:t>
            </a:r>
            <a:r>
              <a:rPr lang="en-US" sz="2800" dirty="0" err="1"/>
              <a:t>Pellentesque</a:t>
            </a:r>
            <a:r>
              <a:rPr lang="en-US" sz="2800" dirty="0"/>
              <a:t> sit </a:t>
            </a:r>
            <a:r>
              <a:rPr lang="en-US" sz="2800" dirty="0" err="1"/>
              <a:t>amet</a:t>
            </a:r>
            <a:r>
              <a:rPr lang="en-US" sz="2800" dirty="0"/>
              <a:t> </a:t>
            </a:r>
            <a:r>
              <a:rPr lang="en-US" sz="2800" dirty="0" err="1"/>
              <a:t>finibus</a:t>
            </a:r>
            <a:r>
              <a:rPr lang="en-US" sz="2800" dirty="0"/>
              <a:t> </a:t>
            </a:r>
            <a:r>
              <a:rPr lang="en-US" sz="2800" dirty="0" err="1"/>
              <a:t>sapien</a:t>
            </a:r>
            <a:r>
              <a:rPr lang="en-US" sz="2800" dirty="0"/>
              <a:t>. </a:t>
            </a:r>
            <a:r>
              <a:rPr lang="en-US" sz="2800" dirty="0" err="1"/>
              <a:t>Mauris</a:t>
            </a:r>
            <a:r>
              <a:rPr lang="en-US" sz="2800" dirty="0"/>
              <a:t> </a:t>
            </a:r>
            <a:r>
              <a:rPr lang="en-US" sz="2800" dirty="0" err="1"/>
              <a:t>tempor</a:t>
            </a:r>
            <a:r>
              <a:rPr lang="en-US" sz="2800" dirty="0"/>
              <a:t> </a:t>
            </a:r>
            <a:r>
              <a:rPr lang="en-US" sz="2800" dirty="0" err="1"/>
              <a:t>justo</a:t>
            </a:r>
            <a:r>
              <a:rPr lang="en-US" sz="2800" dirty="0"/>
              <a:t> vel </a:t>
            </a:r>
            <a:r>
              <a:rPr lang="en-US" sz="2800" dirty="0" err="1"/>
              <a:t>blandit</a:t>
            </a:r>
            <a:r>
              <a:rPr lang="en-US" sz="2800" dirty="0"/>
              <a:t> </a:t>
            </a:r>
            <a:r>
              <a:rPr lang="en-US" sz="2800" dirty="0" err="1"/>
              <a:t>molestie</a:t>
            </a:r>
            <a:r>
              <a:rPr lang="en-US" sz="2800" dirty="0"/>
              <a:t>. </a:t>
            </a:r>
          </a:p>
        </p:txBody>
      </p:sp>
      <p:sp>
        <p:nvSpPr>
          <p:cNvPr id="96" name="TextBox 95">
            <a:extLst>
              <a:ext uri="{FF2B5EF4-FFF2-40B4-BE49-F238E27FC236}">
                <a16:creationId xmlns:a16="http://schemas.microsoft.com/office/drawing/2014/main" id="{E12EA28B-7A9E-4812-813C-FF6605B832D4}"/>
              </a:ext>
            </a:extLst>
          </p:cNvPr>
          <p:cNvSpPr txBox="1"/>
          <p:nvPr/>
        </p:nvSpPr>
        <p:spPr>
          <a:xfrm>
            <a:off x="1907737" y="3495023"/>
            <a:ext cx="4549900" cy="553998"/>
          </a:xfrm>
          <a:prstGeom prst="rect">
            <a:avLst/>
          </a:prstGeom>
          <a:noFill/>
          <a:ln>
            <a:noFill/>
          </a:ln>
        </p:spPr>
        <p:txBody>
          <a:bodyPr wrap="square" lIns="0" tIns="0" rIns="0" bIns="0" rtlCol="0" anchor="t">
            <a:spAutoFit/>
          </a:bodyPr>
          <a:lstStyle/>
          <a:p>
            <a:pPr>
              <a:buClr>
                <a:schemeClr val="accent1"/>
              </a:buClr>
            </a:pPr>
            <a:r>
              <a:rPr lang="en-US" sz="3600" b="1" dirty="0">
                <a:solidFill>
                  <a:schemeClr val="accent1"/>
                </a:solidFill>
                <a:latin typeface="+mj-lt"/>
              </a:rPr>
              <a:t>LOREM IPSUM</a:t>
            </a:r>
          </a:p>
        </p:txBody>
      </p:sp>
      <p:sp>
        <p:nvSpPr>
          <p:cNvPr id="97" name="TextBox 96">
            <a:extLst>
              <a:ext uri="{FF2B5EF4-FFF2-40B4-BE49-F238E27FC236}">
                <a16:creationId xmlns:a16="http://schemas.microsoft.com/office/drawing/2014/main" id="{D1ADD353-480D-47B0-9F99-87CDD0DF8BE5}"/>
              </a:ext>
            </a:extLst>
          </p:cNvPr>
          <p:cNvSpPr txBox="1"/>
          <p:nvPr/>
        </p:nvSpPr>
        <p:spPr>
          <a:xfrm>
            <a:off x="12615744" y="3495023"/>
            <a:ext cx="4549900" cy="553998"/>
          </a:xfrm>
          <a:prstGeom prst="rect">
            <a:avLst/>
          </a:prstGeom>
          <a:noFill/>
          <a:ln>
            <a:noFill/>
          </a:ln>
        </p:spPr>
        <p:txBody>
          <a:bodyPr wrap="square" lIns="0" tIns="0" rIns="0" bIns="0" rtlCol="0" anchor="t">
            <a:spAutoFit/>
          </a:bodyPr>
          <a:lstStyle/>
          <a:p>
            <a:pPr>
              <a:buClr>
                <a:schemeClr val="accent1"/>
              </a:buClr>
            </a:pPr>
            <a:r>
              <a:rPr lang="en-US" sz="3600" b="1" dirty="0">
                <a:solidFill>
                  <a:schemeClr val="accent1">
                    <a:lumMod val="75000"/>
                  </a:schemeClr>
                </a:solidFill>
                <a:latin typeface="+mj-lt"/>
              </a:rPr>
              <a:t>LOREM IPSUM</a:t>
            </a:r>
          </a:p>
        </p:txBody>
      </p:sp>
      <p:sp>
        <p:nvSpPr>
          <p:cNvPr id="98" name="TextBox 97">
            <a:extLst>
              <a:ext uri="{FF2B5EF4-FFF2-40B4-BE49-F238E27FC236}">
                <a16:creationId xmlns:a16="http://schemas.microsoft.com/office/drawing/2014/main" id="{BFAD141E-6379-44EF-A7ED-92643881CBBE}"/>
              </a:ext>
            </a:extLst>
          </p:cNvPr>
          <p:cNvSpPr txBox="1"/>
          <p:nvPr/>
        </p:nvSpPr>
        <p:spPr>
          <a:xfrm>
            <a:off x="7216768" y="10153517"/>
            <a:ext cx="4549900" cy="553998"/>
          </a:xfrm>
          <a:prstGeom prst="rect">
            <a:avLst/>
          </a:prstGeom>
          <a:noFill/>
          <a:ln>
            <a:noFill/>
          </a:ln>
        </p:spPr>
        <p:txBody>
          <a:bodyPr wrap="square" lIns="0" tIns="0" rIns="0" bIns="0" rtlCol="0" anchor="t">
            <a:spAutoFit/>
          </a:bodyPr>
          <a:lstStyle/>
          <a:p>
            <a:pPr>
              <a:buClr>
                <a:schemeClr val="accent1"/>
              </a:buClr>
            </a:pPr>
            <a:r>
              <a:rPr lang="en-US" sz="3600" b="1" dirty="0">
                <a:solidFill>
                  <a:schemeClr val="accent2"/>
                </a:solidFill>
                <a:latin typeface="+mj-lt"/>
              </a:rPr>
              <a:t>LOREM IPSUM</a:t>
            </a:r>
          </a:p>
        </p:txBody>
      </p:sp>
      <p:sp>
        <p:nvSpPr>
          <p:cNvPr id="99" name="TextBox 98">
            <a:extLst>
              <a:ext uri="{FF2B5EF4-FFF2-40B4-BE49-F238E27FC236}">
                <a16:creationId xmlns:a16="http://schemas.microsoft.com/office/drawing/2014/main" id="{9444E302-379F-47B6-B885-958B1C3FA994}"/>
              </a:ext>
            </a:extLst>
          </p:cNvPr>
          <p:cNvSpPr txBox="1"/>
          <p:nvPr/>
        </p:nvSpPr>
        <p:spPr>
          <a:xfrm>
            <a:off x="17924775" y="10153517"/>
            <a:ext cx="4549900" cy="553998"/>
          </a:xfrm>
          <a:prstGeom prst="rect">
            <a:avLst/>
          </a:prstGeom>
          <a:noFill/>
          <a:ln>
            <a:noFill/>
          </a:ln>
        </p:spPr>
        <p:txBody>
          <a:bodyPr wrap="square" lIns="0" tIns="0" rIns="0" bIns="0" rtlCol="0" anchor="t">
            <a:spAutoFit/>
          </a:bodyPr>
          <a:lstStyle/>
          <a:p>
            <a:pPr>
              <a:buClr>
                <a:schemeClr val="accent1"/>
              </a:buClr>
            </a:pPr>
            <a:r>
              <a:rPr lang="en-US" sz="3600" b="1" dirty="0">
                <a:solidFill>
                  <a:schemeClr val="accent2">
                    <a:lumMod val="75000"/>
                  </a:schemeClr>
                </a:solidFill>
                <a:latin typeface="+mj-lt"/>
              </a:rPr>
              <a:t>LOREM IPSUM</a:t>
            </a:r>
          </a:p>
        </p:txBody>
      </p:sp>
      <p:sp>
        <p:nvSpPr>
          <p:cNvPr id="100" name="TextBox 99">
            <a:extLst>
              <a:ext uri="{FF2B5EF4-FFF2-40B4-BE49-F238E27FC236}">
                <a16:creationId xmlns:a16="http://schemas.microsoft.com/office/drawing/2014/main" id="{CDDAE515-609E-4EE9-B2FA-4C4F39B259B1}"/>
              </a:ext>
            </a:extLst>
          </p:cNvPr>
          <p:cNvSpPr txBox="1"/>
          <p:nvPr/>
        </p:nvSpPr>
        <p:spPr>
          <a:xfrm>
            <a:off x="7216768" y="4056065"/>
            <a:ext cx="4549900" cy="2585323"/>
          </a:xfrm>
          <a:prstGeom prst="rect">
            <a:avLst/>
          </a:prstGeom>
          <a:noFill/>
          <a:ln>
            <a:noFill/>
          </a:ln>
        </p:spPr>
        <p:txBody>
          <a:bodyPr wrap="square" lIns="0" tIns="0" rIns="0" bIns="0" rtlCol="0" anchor="t">
            <a:spAutoFit/>
          </a:bodyPr>
          <a:lstStyle/>
          <a:p>
            <a:pPr>
              <a:buClr>
                <a:schemeClr val="accent1"/>
              </a:buClr>
            </a:pPr>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r>
              <a:rPr lang="en-US" sz="2800" dirty="0" err="1"/>
              <a:t>Aliquam</a:t>
            </a:r>
            <a:r>
              <a:rPr lang="en-US" sz="2800" dirty="0"/>
              <a:t> </a:t>
            </a:r>
            <a:r>
              <a:rPr lang="en-US" sz="2800" dirty="0" err="1"/>
              <a:t>eu</a:t>
            </a:r>
            <a:r>
              <a:rPr lang="en-US" sz="2800" dirty="0"/>
              <a:t> </a:t>
            </a:r>
            <a:r>
              <a:rPr lang="en-US" sz="2800" dirty="0" err="1"/>
              <a:t>lobortis</a:t>
            </a:r>
            <a:r>
              <a:rPr lang="en-US" sz="2800" dirty="0"/>
              <a:t> </a:t>
            </a:r>
            <a:r>
              <a:rPr lang="en-US" sz="2800" dirty="0" err="1"/>
              <a:t>eros</a:t>
            </a:r>
            <a:r>
              <a:rPr lang="en-US" sz="2800" dirty="0"/>
              <a:t>. </a:t>
            </a:r>
            <a:r>
              <a:rPr lang="en-US" sz="2800" dirty="0" err="1"/>
              <a:t>Pellentesque</a:t>
            </a:r>
            <a:r>
              <a:rPr lang="en-US" sz="2800" dirty="0"/>
              <a:t> sit </a:t>
            </a:r>
            <a:r>
              <a:rPr lang="en-US" sz="2800" dirty="0" err="1"/>
              <a:t>amet</a:t>
            </a:r>
            <a:r>
              <a:rPr lang="en-US" sz="2800" dirty="0"/>
              <a:t> </a:t>
            </a:r>
            <a:r>
              <a:rPr lang="en-US" sz="2800" dirty="0" err="1"/>
              <a:t>finibus</a:t>
            </a:r>
            <a:r>
              <a:rPr lang="en-US" sz="2800" dirty="0"/>
              <a:t> </a:t>
            </a:r>
            <a:r>
              <a:rPr lang="en-US" sz="2800" dirty="0" err="1"/>
              <a:t>sapien</a:t>
            </a:r>
            <a:r>
              <a:rPr lang="en-US" sz="2800" dirty="0"/>
              <a:t>. </a:t>
            </a:r>
            <a:r>
              <a:rPr lang="en-US" sz="2800" dirty="0" err="1"/>
              <a:t>Mauris</a:t>
            </a:r>
            <a:r>
              <a:rPr lang="en-US" sz="2800" dirty="0"/>
              <a:t> </a:t>
            </a:r>
            <a:r>
              <a:rPr lang="en-US" sz="2800" dirty="0" err="1"/>
              <a:t>tempor</a:t>
            </a:r>
            <a:r>
              <a:rPr lang="en-US" sz="2800" dirty="0"/>
              <a:t> </a:t>
            </a:r>
            <a:r>
              <a:rPr lang="en-US" sz="2800" dirty="0" err="1"/>
              <a:t>justo</a:t>
            </a:r>
            <a:r>
              <a:rPr lang="en-US" sz="2800" dirty="0"/>
              <a:t> vel </a:t>
            </a:r>
            <a:r>
              <a:rPr lang="en-US" sz="2800" dirty="0" err="1"/>
              <a:t>blandit</a:t>
            </a:r>
            <a:r>
              <a:rPr lang="en-US" sz="2800" dirty="0"/>
              <a:t> </a:t>
            </a:r>
            <a:r>
              <a:rPr lang="en-US" sz="2800" dirty="0" err="1"/>
              <a:t>molestie</a:t>
            </a:r>
            <a:r>
              <a:rPr lang="en-US" sz="2800" dirty="0"/>
              <a:t>. </a:t>
            </a:r>
          </a:p>
        </p:txBody>
      </p:sp>
      <p:sp>
        <p:nvSpPr>
          <p:cNvPr id="101" name="TextBox 100">
            <a:extLst>
              <a:ext uri="{FF2B5EF4-FFF2-40B4-BE49-F238E27FC236}">
                <a16:creationId xmlns:a16="http://schemas.microsoft.com/office/drawing/2014/main" id="{1119D2F3-3A58-4B8E-AE0C-74BCBE417949}"/>
              </a:ext>
            </a:extLst>
          </p:cNvPr>
          <p:cNvSpPr txBox="1"/>
          <p:nvPr/>
        </p:nvSpPr>
        <p:spPr>
          <a:xfrm>
            <a:off x="17924775" y="4056065"/>
            <a:ext cx="4549900" cy="2585323"/>
          </a:xfrm>
          <a:prstGeom prst="rect">
            <a:avLst/>
          </a:prstGeom>
          <a:noFill/>
          <a:ln>
            <a:noFill/>
          </a:ln>
        </p:spPr>
        <p:txBody>
          <a:bodyPr wrap="square" lIns="0" tIns="0" rIns="0" bIns="0" rtlCol="0" anchor="t">
            <a:spAutoFit/>
          </a:bodyPr>
          <a:lstStyle/>
          <a:p>
            <a:pPr>
              <a:buClr>
                <a:schemeClr val="accent1"/>
              </a:buClr>
            </a:pPr>
            <a:r>
              <a:rPr lang="en-US" sz="2800" dirty="0"/>
              <a:t>Lorem ipsum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r>
              <a:rPr lang="en-US" sz="2800" dirty="0" err="1"/>
              <a:t>Aliquam</a:t>
            </a:r>
            <a:r>
              <a:rPr lang="en-US" sz="2800" dirty="0"/>
              <a:t> </a:t>
            </a:r>
            <a:r>
              <a:rPr lang="en-US" sz="2800" dirty="0" err="1"/>
              <a:t>eu</a:t>
            </a:r>
            <a:r>
              <a:rPr lang="en-US" sz="2800" dirty="0"/>
              <a:t> </a:t>
            </a:r>
            <a:r>
              <a:rPr lang="en-US" sz="2800" dirty="0" err="1"/>
              <a:t>lobortis</a:t>
            </a:r>
            <a:r>
              <a:rPr lang="en-US" sz="2800" dirty="0"/>
              <a:t> </a:t>
            </a:r>
            <a:r>
              <a:rPr lang="en-US" sz="2800" dirty="0" err="1"/>
              <a:t>eros</a:t>
            </a:r>
            <a:r>
              <a:rPr lang="en-US" sz="2800" dirty="0"/>
              <a:t>. </a:t>
            </a:r>
            <a:r>
              <a:rPr lang="en-US" sz="2800" dirty="0" err="1"/>
              <a:t>Pellentesque</a:t>
            </a:r>
            <a:r>
              <a:rPr lang="en-US" sz="2800" dirty="0"/>
              <a:t> sit </a:t>
            </a:r>
            <a:r>
              <a:rPr lang="en-US" sz="2800" dirty="0" err="1"/>
              <a:t>amet</a:t>
            </a:r>
            <a:r>
              <a:rPr lang="en-US" sz="2800" dirty="0"/>
              <a:t> </a:t>
            </a:r>
            <a:r>
              <a:rPr lang="en-US" sz="2800" dirty="0" err="1"/>
              <a:t>finibus</a:t>
            </a:r>
            <a:r>
              <a:rPr lang="en-US" sz="2800" dirty="0"/>
              <a:t> </a:t>
            </a:r>
            <a:r>
              <a:rPr lang="en-US" sz="2800" dirty="0" err="1"/>
              <a:t>sapien</a:t>
            </a:r>
            <a:r>
              <a:rPr lang="en-US" sz="2800" dirty="0"/>
              <a:t>. </a:t>
            </a:r>
            <a:r>
              <a:rPr lang="en-US" sz="2800" dirty="0" err="1"/>
              <a:t>Mauris</a:t>
            </a:r>
            <a:r>
              <a:rPr lang="en-US" sz="2800" dirty="0"/>
              <a:t> </a:t>
            </a:r>
            <a:r>
              <a:rPr lang="en-US" sz="2800" dirty="0" err="1"/>
              <a:t>tempor</a:t>
            </a:r>
            <a:r>
              <a:rPr lang="en-US" sz="2800" dirty="0"/>
              <a:t> </a:t>
            </a:r>
            <a:r>
              <a:rPr lang="en-US" sz="2800" dirty="0" err="1"/>
              <a:t>justo</a:t>
            </a:r>
            <a:r>
              <a:rPr lang="en-US" sz="2800" dirty="0"/>
              <a:t> vel </a:t>
            </a:r>
            <a:r>
              <a:rPr lang="en-US" sz="2800" dirty="0" err="1"/>
              <a:t>blandit</a:t>
            </a:r>
            <a:r>
              <a:rPr lang="en-US" sz="2800" dirty="0"/>
              <a:t> </a:t>
            </a:r>
            <a:r>
              <a:rPr lang="en-US" sz="2800" dirty="0" err="1"/>
              <a:t>molestie</a:t>
            </a:r>
            <a:r>
              <a:rPr lang="en-US" sz="2800" dirty="0"/>
              <a:t>. </a:t>
            </a:r>
          </a:p>
        </p:txBody>
      </p:sp>
    </p:spTree>
    <p:extLst>
      <p:ext uri="{BB962C8B-B14F-4D97-AF65-F5344CB8AC3E}">
        <p14:creationId xmlns:p14="http://schemas.microsoft.com/office/powerpoint/2010/main" val="21718377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Title 1"/>
          <p:cNvSpPr txBox="1">
            <a:spLocks/>
          </p:cNvSpPr>
          <p:nvPr/>
        </p:nvSpPr>
        <p:spPr>
          <a:xfrm>
            <a:off x="1270802" y="6562729"/>
            <a:ext cx="1341055" cy="1231106"/>
          </a:xfrm>
          <a:prstGeom prst="rect">
            <a:avLst/>
          </a:prstGeom>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pPr>
            <a:r>
              <a:rPr lang="en-US" sz="8000" dirty="0">
                <a:solidFill>
                  <a:schemeClr val="accent3"/>
                </a:solidFill>
                <a:ea typeface="Segoe UI" panose="020B0502040204020203" pitchFamily="34" charset="0"/>
                <a:cs typeface="Segoe UI" panose="020B0502040204020203" pitchFamily="34" charset="0"/>
              </a:rPr>
              <a:t>02</a:t>
            </a:r>
          </a:p>
        </p:txBody>
      </p:sp>
      <p:sp>
        <p:nvSpPr>
          <p:cNvPr id="114" name="Title 1"/>
          <p:cNvSpPr txBox="1">
            <a:spLocks/>
          </p:cNvSpPr>
          <p:nvPr/>
        </p:nvSpPr>
        <p:spPr>
          <a:xfrm>
            <a:off x="1270802" y="8745553"/>
            <a:ext cx="1341055" cy="1231106"/>
          </a:xfrm>
          <a:prstGeom prst="rect">
            <a:avLst/>
          </a:prstGeom>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pPr>
            <a:r>
              <a:rPr lang="en-US" sz="8000" dirty="0">
                <a:solidFill>
                  <a:schemeClr val="accent4">
                    <a:lumMod val="75000"/>
                  </a:schemeClr>
                </a:solidFill>
                <a:ea typeface="Segoe UI" panose="020B0502040204020203" pitchFamily="34" charset="0"/>
                <a:cs typeface="Segoe UI" panose="020B0502040204020203" pitchFamily="34" charset="0"/>
              </a:rPr>
              <a:t>03</a:t>
            </a:r>
          </a:p>
        </p:txBody>
      </p:sp>
      <p:sp>
        <p:nvSpPr>
          <p:cNvPr id="112" name="Title 1"/>
          <p:cNvSpPr txBox="1">
            <a:spLocks/>
          </p:cNvSpPr>
          <p:nvPr/>
        </p:nvSpPr>
        <p:spPr>
          <a:xfrm>
            <a:off x="1270802" y="4397166"/>
            <a:ext cx="1341055" cy="1231106"/>
          </a:xfrm>
          <a:prstGeom prst="rect">
            <a:avLst/>
          </a:prstGeom>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pPr>
            <a:r>
              <a:rPr lang="en-US" sz="8000" dirty="0">
                <a:solidFill>
                  <a:schemeClr val="accent2"/>
                </a:solidFill>
                <a:ea typeface="Segoe UI" panose="020B0502040204020203" pitchFamily="34" charset="0"/>
                <a:cs typeface="Segoe UI" panose="020B0502040204020203" pitchFamily="34" charset="0"/>
              </a:rPr>
              <a:t>01</a:t>
            </a:r>
          </a:p>
        </p:txBody>
      </p:sp>
      <p:grpSp>
        <p:nvGrpSpPr>
          <p:cNvPr id="5" name="Group 4"/>
          <p:cNvGrpSpPr/>
          <p:nvPr/>
        </p:nvGrpSpPr>
        <p:grpSpPr>
          <a:xfrm>
            <a:off x="12191207" y="6750471"/>
            <a:ext cx="7837636" cy="5227916"/>
            <a:chOff x="6096000" y="3646713"/>
            <a:chExt cx="3919073" cy="2614128"/>
          </a:xfrm>
          <a:effectLst>
            <a:outerShdw blurRad="38100" dist="25400" dir="5400000" algn="ctr" rotWithShape="0">
              <a:srgbClr val="000000">
                <a:alpha val="20000"/>
              </a:srgbClr>
            </a:outerShdw>
          </a:effectLst>
        </p:grpSpPr>
        <p:sp>
          <p:nvSpPr>
            <p:cNvPr id="96" name="Freeform 5"/>
            <p:cNvSpPr>
              <a:spLocks/>
            </p:cNvSpPr>
            <p:nvPr/>
          </p:nvSpPr>
          <p:spPr bwMode="auto">
            <a:xfrm>
              <a:off x="6096000" y="3674296"/>
              <a:ext cx="3919073" cy="2586545"/>
            </a:xfrm>
            <a:custGeom>
              <a:avLst/>
              <a:gdLst>
                <a:gd name="T0" fmla="*/ 37 w 1723"/>
                <a:gd name="T1" fmla="*/ 721 h 1138"/>
                <a:gd name="T2" fmla="*/ 451 w 1723"/>
                <a:gd name="T3" fmla="*/ 0 h 1138"/>
                <a:gd name="T4" fmla="*/ 451 w 1723"/>
                <a:gd name="T5" fmla="*/ 0 h 1138"/>
                <a:gd name="T6" fmla="*/ 634 w 1723"/>
                <a:gd name="T7" fmla="*/ 605 h 1138"/>
                <a:gd name="T8" fmla="*/ 1330 w 1723"/>
                <a:gd name="T9" fmla="*/ 579 h 1138"/>
                <a:gd name="T10" fmla="*/ 1446 w 1723"/>
                <a:gd name="T11" fmla="*/ 325 h 1138"/>
                <a:gd name="T12" fmla="*/ 1277 w 1723"/>
                <a:gd name="T13" fmla="*/ 32 h 1138"/>
                <a:gd name="T14" fmla="*/ 1071 w 1723"/>
                <a:gd name="T15" fmla="*/ 1138 h 1138"/>
                <a:gd name="T16" fmla="*/ 1071 w 1723"/>
                <a:gd name="T17" fmla="*/ 1138 h 1138"/>
                <a:gd name="T18" fmla="*/ 279 w 1723"/>
                <a:gd name="T19" fmla="*/ 1138 h 1138"/>
                <a:gd name="T20" fmla="*/ 0 w 1723"/>
                <a:gd name="T21" fmla="*/ 860 h 1138"/>
                <a:gd name="T22" fmla="*/ 37 w 1723"/>
                <a:gd name="T23" fmla="*/ 721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3" h="1138">
                  <a:moveTo>
                    <a:pt x="37" y="721"/>
                  </a:moveTo>
                  <a:cubicBezTo>
                    <a:pt x="451" y="0"/>
                    <a:pt x="451" y="0"/>
                    <a:pt x="451" y="0"/>
                  </a:cubicBezTo>
                  <a:cubicBezTo>
                    <a:pt x="451" y="0"/>
                    <a:pt x="451" y="0"/>
                    <a:pt x="451" y="0"/>
                  </a:cubicBezTo>
                  <a:cubicBezTo>
                    <a:pt x="342" y="265"/>
                    <a:pt x="450" y="484"/>
                    <a:pt x="634" y="605"/>
                  </a:cubicBezTo>
                  <a:cubicBezTo>
                    <a:pt x="828" y="733"/>
                    <a:pt x="1106" y="750"/>
                    <a:pt x="1330" y="579"/>
                  </a:cubicBezTo>
                  <a:cubicBezTo>
                    <a:pt x="1401" y="517"/>
                    <a:pt x="1446" y="426"/>
                    <a:pt x="1446" y="325"/>
                  </a:cubicBezTo>
                  <a:cubicBezTo>
                    <a:pt x="1446" y="196"/>
                    <a:pt x="1378" y="96"/>
                    <a:pt x="1277" y="32"/>
                  </a:cubicBezTo>
                  <a:cubicBezTo>
                    <a:pt x="1723" y="311"/>
                    <a:pt x="1648" y="1131"/>
                    <a:pt x="1071" y="1138"/>
                  </a:cubicBezTo>
                  <a:cubicBezTo>
                    <a:pt x="1071" y="1138"/>
                    <a:pt x="1071" y="1138"/>
                    <a:pt x="1071" y="1138"/>
                  </a:cubicBezTo>
                  <a:cubicBezTo>
                    <a:pt x="279" y="1138"/>
                    <a:pt x="279" y="1138"/>
                    <a:pt x="279" y="1138"/>
                  </a:cubicBezTo>
                  <a:cubicBezTo>
                    <a:pt x="125" y="1138"/>
                    <a:pt x="0" y="1014"/>
                    <a:pt x="0" y="860"/>
                  </a:cubicBezTo>
                  <a:cubicBezTo>
                    <a:pt x="0" y="809"/>
                    <a:pt x="13" y="762"/>
                    <a:pt x="37" y="721"/>
                  </a:cubicBezTo>
                  <a:close/>
                </a:path>
              </a:pathLst>
            </a:custGeom>
            <a:solidFill>
              <a:schemeClr val="accent4">
                <a:lumMod val="75000"/>
              </a:schemeClr>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100" name="Freeform 9"/>
            <p:cNvSpPr>
              <a:spLocks/>
            </p:cNvSpPr>
            <p:nvPr/>
          </p:nvSpPr>
          <p:spPr bwMode="auto">
            <a:xfrm>
              <a:off x="6651927" y="3646713"/>
              <a:ext cx="2134589" cy="1979694"/>
            </a:xfrm>
            <a:custGeom>
              <a:avLst/>
              <a:gdLst>
                <a:gd name="T0" fmla="*/ 939 w 939"/>
                <a:gd name="T1" fmla="*/ 677 h 871"/>
                <a:gd name="T2" fmla="*/ 214 w 939"/>
                <a:gd name="T3" fmla="*/ 0 h 871"/>
                <a:gd name="T4" fmla="*/ 939 w 939"/>
                <a:gd name="T5" fmla="*/ 677 h 871"/>
              </a:gdLst>
              <a:ahLst/>
              <a:cxnLst>
                <a:cxn ang="0">
                  <a:pos x="T0" y="T1"/>
                </a:cxn>
                <a:cxn ang="0">
                  <a:pos x="T2" y="T3"/>
                </a:cxn>
                <a:cxn ang="0">
                  <a:pos x="T4" y="T5"/>
                </a:cxn>
              </a:cxnLst>
              <a:rect l="0" t="0" r="r" b="b"/>
              <a:pathLst>
                <a:path w="939" h="871">
                  <a:moveTo>
                    <a:pt x="939" y="677"/>
                  </a:moveTo>
                  <a:cubicBezTo>
                    <a:pt x="419" y="871"/>
                    <a:pt x="0" y="457"/>
                    <a:pt x="214" y="0"/>
                  </a:cubicBezTo>
                  <a:cubicBezTo>
                    <a:pt x="37" y="499"/>
                    <a:pt x="468" y="810"/>
                    <a:pt x="939" y="677"/>
                  </a:cubicBezTo>
                  <a:close/>
                </a:path>
              </a:pathLst>
            </a:custGeom>
            <a:solidFill>
              <a:schemeClr val="accent4"/>
            </a:solidFill>
            <a:ln>
              <a:noFill/>
            </a:ln>
          </p:spPr>
          <p:txBody>
            <a:bodyPr vert="horz" wrap="square" lIns="182868" tIns="91434" rIns="182868" bIns="91434" numCol="1" anchor="t" anchorCtr="0" compatLnSpc="1">
              <a:prstTxWarp prst="textNoShape">
                <a:avLst/>
              </a:prstTxWarp>
            </a:bodyPr>
            <a:lstStyle/>
            <a:p>
              <a:endParaRPr lang="en-US" sz="3600"/>
            </a:p>
          </p:txBody>
        </p:sp>
      </p:grpSp>
      <p:grpSp>
        <p:nvGrpSpPr>
          <p:cNvPr id="4" name="Group 3"/>
          <p:cNvGrpSpPr/>
          <p:nvPr/>
        </p:nvGrpSpPr>
        <p:grpSpPr>
          <a:xfrm>
            <a:off x="15692046" y="4501449"/>
            <a:ext cx="6577332" cy="7476939"/>
            <a:chOff x="7846534" y="2522128"/>
            <a:chExt cx="3288880" cy="3738713"/>
          </a:xfrm>
          <a:effectLst>
            <a:outerShdw blurRad="38100" dist="25400" dir="5400000" algn="ctr" rotWithShape="0">
              <a:srgbClr val="000000">
                <a:alpha val="20000"/>
              </a:srgbClr>
            </a:outerShdw>
          </a:effectLst>
        </p:grpSpPr>
        <p:sp>
          <p:nvSpPr>
            <p:cNvPr id="98" name="Freeform 7"/>
            <p:cNvSpPr>
              <a:spLocks/>
            </p:cNvSpPr>
            <p:nvPr/>
          </p:nvSpPr>
          <p:spPr bwMode="auto">
            <a:xfrm>
              <a:off x="7846534" y="2522128"/>
              <a:ext cx="3288880" cy="3738713"/>
            </a:xfrm>
            <a:custGeom>
              <a:avLst/>
              <a:gdLst>
                <a:gd name="T0" fmla="*/ 992 w 1446"/>
                <a:gd name="T1" fmla="*/ 501 h 1645"/>
                <a:gd name="T2" fmla="*/ 1409 w 1446"/>
                <a:gd name="T3" fmla="*/ 1228 h 1645"/>
                <a:gd name="T4" fmla="*/ 1446 w 1446"/>
                <a:gd name="T5" fmla="*/ 1367 h 1645"/>
                <a:gd name="T6" fmla="*/ 1167 w 1446"/>
                <a:gd name="T7" fmla="*/ 1645 h 1645"/>
                <a:gd name="T8" fmla="*/ 294 w 1446"/>
                <a:gd name="T9" fmla="*/ 1645 h 1645"/>
                <a:gd name="T10" fmla="*/ 507 w 1446"/>
                <a:gd name="T11" fmla="*/ 539 h 1645"/>
                <a:gd name="T12" fmla="*/ 338 w 1446"/>
                <a:gd name="T13" fmla="*/ 494 h 1645"/>
                <a:gd name="T14" fmla="*/ 0 w 1446"/>
                <a:gd name="T15" fmla="*/ 832 h 1645"/>
                <a:gd name="T16" fmla="*/ 992 w 1446"/>
                <a:gd name="T17" fmla="*/ 50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6" h="1645">
                  <a:moveTo>
                    <a:pt x="992" y="501"/>
                  </a:moveTo>
                  <a:cubicBezTo>
                    <a:pt x="1409" y="1228"/>
                    <a:pt x="1409" y="1228"/>
                    <a:pt x="1409" y="1228"/>
                  </a:cubicBezTo>
                  <a:cubicBezTo>
                    <a:pt x="1432" y="1269"/>
                    <a:pt x="1446" y="1316"/>
                    <a:pt x="1446" y="1367"/>
                  </a:cubicBezTo>
                  <a:cubicBezTo>
                    <a:pt x="1446" y="1521"/>
                    <a:pt x="1321" y="1645"/>
                    <a:pt x="1167" y="1645"/>
                  </a:cubicBezTo>
                  <a:cubicBezTo>
                    <a:pt x="294" y="1645"/>
                    <a:pt x="294" y="1645"/>
                    <a:pt x="294" y="1645"/>
                  </a:cubicBezTo>
                  <a:cubicBezTo>
                    <a:pt x="877" y="1645"/>
                    <a:pt x="955" y="819"/>
                    <a:pt x="507" y="539"/>
                  </a:cubicBezTo>
                  <a:cubicBezTo>
                    <a:pt x="457" y="510"/>
                    <a:pt x="399" y="494"/>
                    <a:pt x="338" y="494"/>
                  </a:cubicBezTo>
                  <a:cubicBezTo>
                    <a:pt x="151" y="494"/>
                    <a:pt x="0" y="645"/>
                    <a:pt x="0" y="832"/>
                  </a:cubicBezTo>
                  <a:cubicBezTo>
                    <a:pt x="0" y="315"/>
                    <a:pt x="699" y="0"/>
                    <a:pt x="992" y="501"/>
                  </a:cubicBezTo>
                  <a:close/>
                </a:path>
              </a:pathLst>
            </a:custGeom>
            <a:solidFill>
              <a:schemeClr val="accent3"/>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101" name="Freeform 10"/>
            <p:cNvSpPr>
              <a:spLocks/>
            </p:cNvSpPr>
            <p:nvPr/>
          </p:nvSpPr>
          <p:spPr bwMode="auto">
            <a:xfrm>
              <a:off x="8514918" y="3746439"/>
              <a:ext cx="1587150" cy="2514402"/>
            </a:xfrm>
            <a:custGeom>
              <a:avLst/>
              <a:gdLst>
                <a:gd name="T0" fmla="*/ 0 w 698"/>
                <a:gd name="T1" fmla="*/ 1106 h 1106"/>
                <a:gd name="T2" fmla="*/ 213 w 698"/>
                <a:gd name="T3" fmla="*/ 0 h 1106"/>
                <a:gd name="T4" fmla="*/ 0 w 698"/>
                <a:gd name="T5" fmla="*/ 1106 h 1106"/>
              </a:gdLst>
              <a:ahLst/>
              <a:cxnLst>
                <a:cxn ang="0">
                  <a:pos x="T0" y="T1"/>
                </a:cxn>
                <a:cxn ang="0">
                  <a:pos x="T2" y="T3"/>
                </a:cxn>
                <a:cxn ang="0">
                  <a:pos x="T4" y="T5"/>
                </a:cxn>
              </a:cxnLst>
              <a:rect l="0" t="0" r="r" b="b"/>
              <a:pathLst>
                <a:path w="698" h="1106">
                  <a:moveTo>
                    <a:pt x="0" y="1106"/>
                  </a:moveTo>
                  <a:cubicBezTo>
                    <a:pt x="583" y="1106"/>
                    <a:pt x="661" y="280"/>
                    <a:pt x="213" y="0"/>
                  </a:cubicBezTo>
                  <a:cubicBezTo>
                    <a:pt x="698" y="280"/>
                    <a:pt x="610" y="1106"/>
                    <a:pt x="0" y="1106"/>
                  </a:cubicBezTo>
                  <a:close/>
                </a:path>
              </a:pathLst>
            </a:custGeom>
            <a:solidFill>
              <a:schemeClr val="accent3">
                <a:lumMod val="60000"/>
                <a:lumOff val="40000"/>
              </a:schemeClr>
            </a:solidFill>
            <a:ln>
              <a:noFill/>
            </a:ln>
          </p:spPr>
          <p:txBody>
            <a:bodyPr vert="horz" wrap="square" lIns="182868" tIns="91434" rIns="182868" bIns="91434" numCol="1" anchor="t" anchorCtr="0" compatLnSpc="1">
              <a:prstTxWarp prst="textNoShape">
                <a:avLst/>
              </a:prstTxWarp>
            </a:bodyPr>
            <a:lstStyle/>
            <a:p>
              <a:endParaRPr lang="en-US" sz="3600"/>
            </a:p>
          </p:txBody>
        </p:sp>
      </p:grpSp>
      <p:grpSp>
        <p:nvGrpSpPr>
          <p:cNvPr id="3" name="Group 2"/>
          <p:cNvGrpSpPr/>
          <p:nvPr/>
        </p:nvGrpSpPr>
        <p:grpSpPr>
          <a:xfrm>
            <a:off x="13213878" y="2880456"/>
            <a:ext cx="6988947" cy="8020098"/>
            <a:chOff x="6607369" y="1711579"/>
            <a:chExt cx="3494701" cy="4010310"/>
          </a:xfrm>
          <a:effectLst>
            <a:outerShdw blurRad="38100" dist="25400" dir="5400000" algn="ctr" rotWithShape="0">
              <a:srgbClr val="000000">
                <a:alpha val="20000"/>
              </a:srgbClr>
            </a:outerShdw>
          </a:effectLst>
        </p:grpSpPr>
        <p:sp>
          <p:nvSpPr>
            <p:cNvPr id="97" name="Freeform 6"/>
            <p:cNvSpPr>
              <a:spLocks/>
            </p:cNvSpPr>
            <p:nvPr/>
          </p:nvSpPr>
          <p:spPr bwMode="auto">
            <a:xfrm>
              <a:off x="6607369" y="1711579"/>
              <a:ext cx="3494701" cy="4010310"/>
            </a:xfrm>
            <a:custGeom>
              <a:avLst/>
              <a:gdLst>
                <a:gd name="T0" fmla="*/ 226 w 1537"/>
                <a:gd name="T1" fmla="*/ 862 h 1764"/>
                <a:gd name="T2" fmla="*/ 640 w 1537"/>
                <a:gd name="T3" fmla="*/ 141 h 1764"/>
                <a:gd name="T4" fmla="*/ 883 w 1537"/>
                <a:gd name="T5" fmla="*/ 0 h 1764"/>
                <a:gd name="T6" fmla="*/ 1123 w 1537"/>
                <a:gd name="T7" fmla="*/ 136 h 1764"/>
                <a:gd name="T8" fmla="*/ 1537 w 1537"/>
                <a:gd name="T9" fmla="*/ 857 h 1764"/>
                <a:gd name="T10" fmla="*/ 1537 w 1537"/>
                <a:gd name="T11" fmla="*/ 857 h 1764"/>
                <a:gd name="T12" fmla="*/ 545 w 1537"/>
                <a:gd name="T13" fmla="*/ 1188 h 1764"/>
                <a:gd name="T14" fmla="*/ 883 w 1537"/>
                <a:gd name="T15" fmla="*/ 1525 h 1764"/>
                <a:gd name="T16" fmla="*/ 1094 w 1537"/>
                <a:gd name="T17" fmla="*/ 1451 h 1764"/>
                <a:gd name="T18" fmla="*/ 226 w 1537"/>
                <a:gd name="T19" fmla="*/ 863 h 1764"/>
                <a:gd name="T20" fmla="*/ 226 w 1537"/>
                <a:gd name="T21" fmla="*/ 86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37" h="1764">
                  <a:moveTo>
                    <a:pt x="226" y="862"/>
                  </a:moveTo>
                  <a:cubicBezTo>
                    <a:pt x="640" y="141"/>
                    <a:pt x="640" y="141"/>
                    <a:pt x="640" y="141"/>
                  </a:cubicBezTo>
                  <a:cubicBezTo>
                    <a:pt x="688" y="57"/>
                    <a:pt x="779" y="0"/>
                    <a:pt x="883" y="0"/>
                  </a:cubicBezTo>
                  <a:cubicBezTo>
                    <a:pt x="985" y="0"/>
                    <a:pt x="1074" y="55"/>
                    <a:pt x="1123" y="136"/>
                  </a:cubicBezTo>
                  <a:cubicBezTo>
                    <a:pt x="1537" y="857"/>
                    <a:pt x="1537" y="857"/>
                    <a:pt x="1537" y="857"/>
                  </a:cubicBezTo>
                  <a:cubicBezTo>
                    <a:pt x="1537" y="857"/>
                    <a:pt x="1537" y="857"/>
                    <a:pt x="1537" y="857"/>
                  </a:cubicBezTo>
                  <a:cubicBezTo>
                    <a:pt x="1244" y="356"/>
                    <a:pt x="545" y="671"/>
                    <a:pt x="545" y="1188"/>
                  </a:cubicBezTo>
                  <a:cubicBezTo>
                    <a:pt x="545" y="1374"/>
                    <a:pt x="696" y="1525"/>
                    <a:pt x="883" y="1525"/>
                  </a:cubicBezTo>
                  <a:cubicBezTo>
                    <a:pt x="963" y="1525"/>
                    <a:pt x="1036" y="1498"/>
                    <a:pt x="1094" y="1451"/>
                  </a:cubicBezTo>
                  <a:cubicBezTo>
                    <a:pt x="681" y="1764"/>
                    <a:pt x="0" y="1400"/>
                    <a:pt x="226" y="863"/>
                  </a:cubicBezTo>
                  <a:lnTo>
                    <a:pt x="226" y="862"/>
                  </a:lnTo>
                  <a:close/>
                </a:path>
              </a:pathLst>
            </a:custGeom>
            <a:solidFill>
              <a:schemeClr val="accent2"/>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99" name="Freeform 8"/>
            <p:cNvSpPr>
              <a:spLocks/>
            </p:cNvSpPr>
            <p:nvPr/>
          </p:nvSpPr>
          <p:spPr bwMode="auto">
            <a:xfrm>
              <a:off x="7810461" y="2522128"/>
              <a:ext cx="2291607" cy="1890576"/>
            </a:xfrm>
            <a:custGeom>
              <a:avLst/>
              <a:gdLst>
                <a:gd name="T0" fmla="*/ 16 w 1008"/>
                <a:gd name="T1" fmla="*/ 832 h 832"/>
                <a:gd name="T2" fmla="*/ 1008 w 1008"/>
                <a:gd name="T3" fmla="*/ 501 h 832"/>
                <a:gd name="T4" fmla="*/ 16 w 1008"/>
                <a:gd name="T5" fmla="*/ 832 h 832"/>
              </a:gdLst>
              <a:ahLst/>
              <a:cxnLst>
                <a:cxn ang="0">
                  <a:pos x="T0" y="T1"/>
                </a:cxn>
                <a:cxn ang="0">
                  <a:pos x="T2" y="T3"/>
                </a:cxn>
                <a:cxn ang="0">
                  <a:pos x="T4" y="T5"/>
                </a:cxn>
              </a:cxnLst>
              <a:rect l="0" t="0" r="r" b="b"/>
              <a:pathLst>
                <a:path w="1008" h="832">
                  <a:moveTo>
                    <a:pt x="16" y="832"/>
                  </a:moveTo>
                  <a:cubicBezTo>
                    <a:pt x="16" y="315"/>
                    <a:pt x="715" y="0"/>
                    <a:pt x="1008" y="501"/>
                  </a:cubicBezTo>
                  <a:cubicBezTo>
                    <a:pt x="715" y="1"/>
                    <a:pt x="0" y="253"/>
                    <a:pt x="16" y="832"/>
                  </a:cubicBezTo>
                  <a:close/>
                </a:path>
              </a:pathLst>
            </a:custGeom>
            <a:solidFill>
              <a:schemeClr val="accent2">
                <a:lumMod val="60000"/>
                <a:lumOff val="40000"/>
              </a:schemeClr>
            </a:solidFill>
            <a:ln>
              <a:noFill/>
            </a:ln>
          </p:spPr>
          <p:txBody>
            <a:bodyPr vert="horz" wrap="square" lIns="182868" tIns="91434" rIns="182868" bIns="91434" numCol="1" anchor="t" anchorCtr="0" compatLnSpc="1">
              <a:prstTxWarp prst="textNoShape">
                <a:avLst/>
              </a:prstTxWarp>
            </a:bodyPr>
            <a:lstStyle/>
            <a:p>
              <a:endParaRPr lang="en-US" sz="3600"/>
            </a:p>
          </p:txBody>
        </p:sp>
      </p:grpSp>
      <p:grpSp>
        <p:nvGrpSpPr>
          <p:cNvPr id="47" name="Group 46"/>
          <p:cNvGrpSpPr/>
          <p:nvPr/>
        </p:nvGrpSpPr>
        <p:grpSpPr>
          <a:xfrm>
            <a:off x="15979077" y="3579315"/>
            <a:ext cx="2505601" cy="2137265"/>
            <a:chOff x="3945559" y="1731025"/>
            <a:chExt cx="1252882" cy="1068702"/>
          </a:xfrm>
        </p:grpSpPr>
        <p:sp>
          <p:nvSpPr>
            <p:cNvPr id="72" name="Rectangle 71"/>
            <p:cNvSpPr/>
            <p:nvPr>
              <p:custDataLst>
                <p:tags r:id="rId5"/>
              </p:custDataLst>
            </p:nvPr>
          </p:nvSpPr>
          <p:spPr>
            <a:xfrm>
              <a:off x="3945559" y="2199523"/>
              <a:ext cx="1252882" cy="600204"/>
            </a:xfrm>
            <a:prstGeom prst="rect">
              <a:avLst/>
            </a:prstGeom>
          </p:spPr>
          <p:txBody>
            <a:bodyPr wrap="square">
              <a:spAutoFit/>
            </a:bodyPr>
            <a:lstStyle/>
            <a:p>
              <a:pPr algn="ctr"/>
              <a:r>
                <a:rPr lang="en-US" sz="2400" dirty="0">
                  <a:solidFill>
                    <a:schemeClr val="bg1"/>
                  </a:solidFill>
                </a:rPr>
                <a:t>Lorem Ipsum is simply dummy text.</a:t>
              </a:r>
            </a:p>
          </p:txBody>
        </p:sp>
        <p:sp>
          <p:nvSpPr>
            <p:cNvPr id="76" name="Rectangle 75"/>
            <p:cNvSpPr/>
            <p:nvPr>
              <p:custDataLst>
                <p:tags r:id="rId6"/>
              </p:custDataLst>
            </p:nvPr>
          </p:nvSpPr>
          <p:spPr>
            <a:xfrm>
              <a:off x="3945559" y="1731025"/>
              <a:ext cx="1252882" cy="538644"/>
            </a:xfrm>
            <a:prstGeom prst="rect">
              <a:avLst/>
            </a:prstGeom>
          </p:spPr>
          <p:txBody>
            <a:bodyPr wrap="square">
              <a:spAutoFit/>
            </a:bodyPr>
            <a:lstStyle/>
            <a:p>
              <a:pPr algn="ctr"/>
              <a:r>
                <a:rPr lang="en-US" sz="6400" dirty="0">
                  <a:solidFill>
                    <a:schemeClr val="bg1"/>
                  </a:solidFill>
                </a:rPr>
                <a:t>01</a:t>
              </a:r>
            </a:p>
          </p:txBody>
        </p:sp>
      </p:grpSp>
      <p:grpSp>
        <p:nvGrpSpPr>
          <p:cNvPr id="63" name="Group 62"/>
          <p:cNvGrpSpPr/>
          <p:nvPr/>
        </p:nvGrpSpPr>
        <p:grpSpPr>
          <a:xfrm>
            <a:off x="19289494" y="9515037"/>
            <a:ext cx="2505601" cy="2137265"/>
            <a:chOff x="3945559" y="1731025"/>
            <a:chExt cx="1252882" cy="1068702"/>
          </a:xfrm>
        </p:grpSpPr>
        <p:sp>
          <p:nvSpPr>
            <p:cNvPr id="70" name="Rectangle 69"/>
            <p:cNvSpPr/>
            <p:nvPr>
              <p:custDataLst>
                <p:tags r:id="rId3"/>
              </p:custDataLst>
            </p:nvPr>
          </p:nvSpPr>
          <p:spPr>
            <a:xfrm>
              <a:off x="3945559" y="2199523"/>
              <a:ext cx="1252882" cy="600204"/>
            </a:xfrm>
            <a:prstGeom prst="rect">
              <a:avLst/>
            </a:prstGeom>
          </p:spPr>
          <p:txBody>
            <a:bodyPr wrap="square">
              <a:spAutoFit/>
            </a:bodyPr>
            <a:lstStyle/>
            <a:p>
              <a:pPr algn="ctr"/>
              <a:r>
                <a:rPr lang="en-US" sz="2400" dirty="0">
                  <a:solidFill>
                    <a:schemeClr val="bg1"/>
                  </a:solidFill>
                </a:rPr>
                <a:t>Lorem Ipsum is simply dummy text.</a:t>
              </a:r>
            </a:p>
          </p:txBody>
        </p:sp>
        <p:sp>
          <p:nvSpPr>
            <p:cNvPr id="71" name="Rectangle 70"/>
            <p:cNvSpPr/>
            <p:nvPr>
              <p:custDataLst>
                <p:tags r:id="rId4"/>
              </p:custDataLst>
            </p:nvPr>
          </p:nvSpPr>
          <p:spPr>
            <a:xfrm>
              <a:off x="3945559" y="1731025"/>
              <a:ext cx="1252882" cy="538644"/>
            </a:xfrm>
            <a:prstGeom prst="rect">
              <a:avLst/>
            </a:prstGeom>
          </p:spPr>
          <p:txBody>
            <a:bodyPr wrap="square">
              <a:spAutoFit/>
            </a:bodyPr>
            <a:lstStyle/>
            <a:p>
              <a:pPr algn="ctr"/>
              <a:r>
                <a:rPr lang="en-US" sz="6400" dirty="0">
                  <a:solidFill>
                    <a:schemeClr val="bg1"/>
                  </a:solidFill>
                </a:rPr>
                <a:t>02</a:t>
              </a:r>
            </a:p>
          </p:txBody>
        </p:sp>
      </p:grpSp>
      <p:grpSp>
        <p:nvGrpSpPr>
          <p:cNvPr id="64" name="Group 63"/>
          <p:cNvGrpSpPr/>
          <p:nvPr/>
        </p:nvGrpSpPr>
        <p:grpSpPr>
          <a:xfrm>
            <a:off x="12770164" y="9515037"/>
            <a:ext cx="2505601" cy="2137265"/>
            <a:chOff x="3945559" y="1731025"/>
            <a:chExt cx="1252882" cy="1068702"/>
          </a:xfrm>
        </p:grpSpPr>
        <p:sp>
          <p:nvSpPr>
            <p:cNvPr id="68" name="Rectangle 67"/>
            <p:cNvSpPr/>
            <p:nvPr>
              <p:custDataLst>
                <p:tags r:id="rId1"/>
              </p:custDataLst>
            </p:nvPr>
          </p:nvSpPr>
          <p:spPr>
            <a:xfrm>
              <a:off x="3945559" y="2199523"/>
              <a:ext cx="1252882" cy="600204"/>
            </a:xfrm>
            <a:prstGeom prst="rect">
              <a:avLst/>
            </a:prstGeom>
          </p:spPr>
          <p:txBody>
            <a:bodyPr wrap="square">
              <a:spAutoFit/>
            </a:bodyPr>
            <a:lstStyle/>
            <a:p>
              <a:pPr algn="ctr"/>
              <a:r>
                <a:rPr lang="en-US" sz="2400" dirty="0">
                  <a:solidFill>
                    <a:schemeClr val="bg1"/>
                  </a:solidFill>
                </a:rPr>
                <a:t>Lorem Ipsum is simply dummy text.</a:t>
              </a:r>
            </a:p>
          </p:txBody>
        </p:sp>
        <p:sp>
          <p:nvSpPr>
            <p:cNvPr id="69" name="Rectangle 68"/>
            <p:cNvSpPr/>
            <p:nvPr>
              <p:custDataLst>
                <p:tags r:id="rId2"/>
              </p:custDataLst>
            </p:nvPr>
          </p:nvSpPr>
          <p:spPr>
            <a:xfrm>
              <a:off x="3945559" y="1731025"/>
              <a:ext cx="1252882" cy="538644"/>
            </a:xfrm>
            <a:prstGeom prst="rect">
              <a:avLst/>
            </a:prstGeom>
          </p:spPr>
          <p:txBody>
            <a:bodyPr wrap="square">
              <a:spAutoFit/>
            </a:bodyPr>
            <a:lstStyle/>
            <a:p>
              <a:pPr algn="ctr"/>
              <a:r>
                <a:rPr lang="en-US" sz="6400" dirty="0">
                  <a:solidFill>
                    <a:schemeClr val="bg1"/>
                  </a:solidFill>
                </a:rPr>
                <a:t>03</a:t>
              </a:r>
            </a:p>
          </p:txBody>
        </p:sp>
      </p:grpSp>
      <p:sp>
        <p:nvSpPr>
          <p:cNvPr id="102" name="TextBox 101"/>
          <p:cNvSpPr txBox="1"/>
          <p:nvPr/>
        </p:nvSpPr>
        <p:spPr>
          <a:xfrm>
            <a:off x="2742980" y="4274102"/>
            <a:ext cx="8606678" cy="1846659"/>
          </a:xfrm>
          <a:prstGeom prst="rect">
            <a:avLst/>
          </a:prstGeom>
          <a:noFill/>
          <a:ln w="6350">
            <a:noFill/>
            <a:prstDash val="dash"/>
          </a:ln>
        </p:spPr>
        <p:txBody>
          <a:bodyPr wrap="square" lIns="0" tIns="0" rIns="0" bIns="0" rtlCol="0">
            <a:spAutoFit/>
          </a:bodyPr>
          <a:lstStyle/>
          <a:p>
            <a:r>
              <a:rPr lang="en-US" sz="2400" dirty="0" err="1"/>
              <a:t>Lorem</a:t>
            </a:r>
            <a:r>
              <a:rPr lang="en-US" sz="2400" dirty="0"/>
              <a:t> </a:t>
            </a:r>
            <a:r>
              <a:rPr lang="en-US" sz="2400" dirty="0" err="1"/>
              <a:t>Ipsum</a:t>
            </a:r>
            <a:r>
              <a:rPr lang="en-US" sz="2400" dirty="0"/>
              <a:t> is simply dummy text of the printing and typesetting industry. Lorem Ipsum has been the industry's standard dummy text ever since the 1500s, when an unknown printer took a galley of type and scrambled it to make a type specimen book.</a:t>
            </a:r>
          </a:p>
        </p:txBody>
      </p:sp>
      <p:sp>
        <p:nvSpPr>
          <p:cNvPr id="103" name="TextBox 102"/>
          <p:cNvSpPr txBox="1"/>
          <p:nvPr/>
        </p:nvSpPr>
        <p:spPr>
          <a:xfrm>
            <a:off x="2742980" y="6448297"/>
            <a:ext cx="8606678" cy="1846659"/>
          </a:xfrm>
          <a:prstGeom prst="rect">
            <a:avLst/>
          </a:prstGeom>
          <a:noFill/>
          <a:ln w="6350">
            <a:noFill/>
            <a:prstDash val="dash"/>
          </a:ln>
        </p:spPr>
        <p:txBody>
          <a:bodyPr wrap="square" lIns="0" tIns="0" rIns="0" bIns="0" rtlCol="0">
            <a:spAutoFit/>
          </a:bodyPr>
          <a:lstStyle/>
          <a:p>
            <a:r>
              <a:rPr lang="en-US" sz="2400" dirty="0" err="1"/>
              <a:t>Lorem</a:t>
            </a:r>
            <a:r>
              <a:rPr lang="en-US" sz="2400" dirty="0"/>
              <a:t> </a:t>
            </a:r>
            <a:r>
              <a:rPr lang="en-US" sz="2400" dirty="0" err="1"/>
              <a:t>Ipsum</a:t>
            </a:r>
            <a:r>
              <a:rPr lang="en-US" sz="2400" dirty="0"/>
              <a:t> is simply dummy text of the printing and typesetting industry. Lorem Ipsum has been the industry's standard dummy text ever since the 1500s, when an unknown printer took a galley of type and scrambled it to make a type specimen book.</a:t>
            </a:r>
          </a:p>
        </p:txBody>
      </p:sp>
      <p:sp>
        <p:nvSpPr>
          <p:cNvPr id="104" name="TextBox 103"/>
          <p:cNvSpPr txBox="1"/>
          <p:nvPr/>
        </p:nvSpPr>
        <p:spPr>
          <a:xfrm>
            <a:off x="2742980" y="8622491"/>
            <a:ext cx="8606678" cy="1846659"/>
          </a:xfrm>
          <a:prstGeom prst="rect">
            <a:avLst/>
          </a:prstGeom>
          <a:noFill/>
          <a:ln w="6350">
            <a:noFill/>
            <a:prstDash val="dash"/>
          </a:ln>
        </p:spPr>
        <p:txBody>
          <a:bodyPr wrap="square" lIns="0" tIns="0" rIns="0" bIns="0" rtlCol="0">
            <a:spAutoFit/>
          </a:bodyPr>
          <a:lstStyle/>
          <a:p>
            <a:r>
              <a:rPr lang="en-US" sz="2400" dirty="0" err="1"/>
              <a:t>Lorem</a:t>
            </a:r>
            <a:r>
              <a:rPr lang="en-US" sz="2400" dirty="0"/>
              <a:t> </a:t>
            </a:r>
            <a:r>
              <a:rPr lang="en-US" sz="2400" dirty="0" err="1"/>
              <a:t>Ipsum</a:t>
            </a:r>
            <a:r>
              <a:rPr lang="en-US" sz="2400" dirty="0"/>
              <a:t> is simply dummy text of the printing and typesetting industry. Lorem Ipsum has been the industry's standard dummy text ever since the 1500s, when an unknown printer took a galley of type and scrambled it to make a type specimen book.</a:t>
            </a:r>
          </a:p>
        </p:txBody>
      </p:sp>
      <p:cxnSp>
        <p:nvCxnSpPr>
          <p:cNvPr id="109" name="Straight Connector 108"/>
          <p:cNvCxnSpPr/>
          <p:nvPr/>
        </p:nvCxnSpPr>
        <p:spPr>
          <a:xfrm flipH="1">
            <a:off x="2975474" y="6099814"/>
            <a:ext cx="8141686" cy="0"/>
          </a:xfrm>
          <a:prstGeom prst="line">
            <a:avLst/>
          </a:prstGeom>
          <a:ln w="6350">
            <a:solidFill>
              <a:srgbClr val="AAAAAA"/>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H="1">
            <a:off x="2975474" y="8274009"/>
            <a:ext cx="8141686" cy="0"/>
          </a:xfrm>
          <a:prstGeom prst="line">
            <a:avLst/>
          </a:prstGeom>
          <a:ln w="6350">
            <a:solidFill>
              <a:srgbClr val="AAAAAA"/>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4BFA8A3-89E0-794E-BD24-74DEB01967A0}"/>
              </a:ext>
            </a:extLst>
          </p:cNvPr>
          <p:cNvSpPr>
            <a:spLocks noGrp="1"/>
          </p:cNvSpPr>
          <p:nvPr>
            <p:ph type="title"/>
          </p:nvPr>
        </p:nvSpPr>
        <p:spPr/>
        <p:txBody>
          <a:bodyPr/>
          <a:lstStyle/>
          <a:p>
            <a:r>
              <a:rPr lang="en-US" dirty="0"/>
              <a:t>Cycle/process</a:t>
            </a:r>
          </a:p>
        </p:txBody>
      </p:sp>
      <p:sp>
        <p:nvSpPr>
          <p:cNvPr id="58" name="Freeform: Shape 5">
            <a:extLst>
              <a:ext uri="{FF2B5EF4-FFF2-40B4-BE49-F238E27FC236}">
                <a16:creationId xmlns:a16="http://schemas.microsoft.com/office/drawing/2014/main" id="{10C8C3E0-CACA-4547-8156-0EBF5A9E156E}"/>
              </a:ext>
            </a:extLst>
          </p:cNvPr>
          <p:cNvSpPr/>
          <p:nvPr/>
        </p:nvSpPr>
        <p:spPr>
          <a:xfrm>
            <a:off x="16529869" y="7435678"/>
            <a:ext cx="1442519" cy="1608480"/>
          </a:xfrm>
          <a:custGeom>
            <a:avLst/>
            <a:gdLst/>
            <a:ahLst/>
            <a:cxnLst>
              <a:cxn ang="3cd4">
                <a:pos x="hc" y="t"/>
              </a:cxn>
              <a:cxn ang="cd2">
                <a:pos x="l" y="vc"/>
              </a:cxn>
              <a:cxn ang="cd4">
                <a:pos x="hc" y="b"/>
              </a:cxn>
              <a:cxn ang="0">
                <a:pos x="r" y="vc"/>
              </a:cxn>
            </a:cxnLst>
            <a:rect l="l" t="t" r="r" b="b"/>
            <a:pathLst>
              <a:path w="4008" h="4469">
                <a:moveTo>
                  <a:pt x="2354" y="795"/>
                </a:moveTo>
                <a:cubicBezTo>
                  <a:pt x="2831" y="795"/>
                  <a:pt x="3213" y="1177"/>
                  <a:pt x="3213" y="1654"/>
                </a:cubicBezTo>
                <a:cubicBezTo>
                  <a:pt x="3213" y="1702"/>
                  <a:pt x="3261" y="1734"/>
                  <a:pt x="3292" y="1734"/>
                </a:cubicBezTo>
                <a:cubicBezTo>
                  <a:pt x="3340" y="1734"/>
                  <a:pt x="3372" y="1702"/>
                  <a:pt x="3372" y="1654"/>
                </a:cubicBezTo>
                <a:cubicBezTo>
                  <a:pt x="3372" y="1082"/>
                  <a:pt x="2927" y="636"/>
                  <a:pt x="2354" y="636"/>
                </a:cubicBezTo>
                <a:cubicBezTo>
                  <a:pt x="2322" y="636"/>
                  <a:pt x="2275" y="668"/>
                  <a:pt x="2275" y="716"/>
                </a:cubicBezTo>
                <a:cubicBezTo>
                  <a:pt x="2275" y="748"/>
                  <a:pt x="2322" y="795"/>
                  <a:pt x="2354" y="795"/>
                </a:cubicBezTo>
                <a:close/>
                <a:moveTo>
                  <a:pt x="2354" y="159"/>
                </a:moveTo>
                <a:cubicBezTo>
                  <a:pt x="3181" y="159"/>
                  <a:pt x="3849" y="827"/>
                  <a:pt x="3849" y="1654"/>
                </a:cubicBezTo>
                <a:cubicBezTo>
                  <a:pt x="3849" y="1702"/>
                  <a:pt x="3881" y="1734"/>
                  <a:pt x="3929" y="1734"/>
                </a:cubicBezTo>
                <a:cubicBezTo>
                  <a:pt x="3977" y="1734"/>
                  <a:pt x="4008" y="1702"/>
                  <a:pt x="4008" y="1654"/>
                </a:cubicBezTo>
                <a:cubicBezTo>
                  <a:pt x="4008" y="748"/>
                  <a:pt x="3261" y="0"/>
                  <a:pt x="2354" y="0"/>
                </a:cubicBezTo>
                <a:cubicBezTo>
                  <a:pt x="2322" y="0"/>
                  <a:pt x="2275" y="32"/>
                  <a:pt x="2275" y="79"/>
                </a:cubicBezTo>
                <a:cubicBezTo>
                  <a:pt x="2275" y="127"/>
                  <a:pt x="2322" y="159"/>
                  <a:pt x="2354" y="159"/>
                </a:cubicBezTo>
                <a:close/>
                <a:moveTo>
                  <a:pt x="0" y="4390"/>
                </a:moveTo>
                <a:cubicBezTo>
                  <a:pt x="0" y="4421"/>
                  <a:pt x="32" y="4469"/>
                  <a:pt x="80" y="4469"/>
                </a:cubicBezTo>
                <a:lnTo>
                  <a:pt x="2227" y="4469"/>
                </a:lnTo>
                <a:cubicBezTo>
                  <a:pt x="2275" y="4469"/>
                  <a:pt x="2307" y="4421"/>
                  <a:pt x="2307" y="4390"/>
                </a:cubicBezTo>
                <a:cubicBezTo>
                  <a:pt x="2307" y="4247"/>
                  <a:pt x="2275" y="4072"/>
                  <a:pt x="2211" y="3897"/>
                </a:cubicBezTo>
                <a:cubicBezTo>
                  <a:pt x="2561" y="3833"/>
                  <a:pt x="2863" y="3658"/>
                  <a:pt x="3022" y="3499"/>
                </a:cubicBezTo>
                <a:cubicBezTo>
                  <a:pt x="3038" y="3499"/>
                  <a:pt x="3033" y="3489"/>
                  <a:pt x="3038" y="3483"/>
                </a:cubicBezTo>
                <a:cubicBezTo>
                  <a:pt x="3340" y="3181"/>
                  <a:pt x="3197" y="2513"/>
                  <a:pt x="2688" y="1861"/>
                </a:cubicBezTo>
                <a:cubicBezTo>
                  <a:pt x="2736" y="1797"/>
                  <a:pt x="2752" y="1718"/>
                  <a:pt x="2752" y="1654"/>
                </a:cubicBezTo>
                <a:cubicBezTo>
                  <a:pt x="2752" y="1431"/>
                  <a:pt x="2577" y="1257"/>
                  <a:pt x="2354" y="1257"/>
                </a:cubicBezTo>
                <a:cubicBezTo>
                  <a:pt x="2290" y="1257"/>
                  <a:pt x="2227" y="1272"/>
                  <a:pt x="2163" y="1304"/>
                </a:cubicBezTo>
                <a:cubicBezTo>
                  <a:pt x="1495" y="731"/>
                  <a:pt x="796" y="557"/>
                  <a:pt x="477" y="875"/>
                </a:cubicBezTo>
                <a:cubicBezTo>
                  <a:pt x="462" y="875"/>
                  <a:pt x="467" y="886"/>
                  <a:pt x="462" y="891"/>
                </a:cubicBezTo>
                <a:lnTo>
                  <a:pt x="445" y="891"/>
                </a:lnTo>
                <a:cubicBezTo>
                  <a:pt x="32" y="1320"/>
                  <a:pt x="-318" y="2322"/>
                  <a:pt x="477" y="3245"/>
                </a:cubicBezTo>
                <a:cubicBezTo>
                  <a:pt x="207" y="3563"/>
                  <a:pt x="0" y="4040"/>
                  <a:pt x="0" y="4390"/>
                </a:cubicBezTo>
                <a:close/>
                <a:moveTo>
                  <a:pt x="2593" y="1654"/>
                </a:moveTo>
                <a:cubicBezTo>
                  <a:pt x="2593" y="1781"/>
                  <a:pt x="2481" y="1877"/>
                  <a:pt x="2354" y="1877"/>
                </a:cubicBezTo>
                <a:cubicBezTo>
                  <a:pt x="2322" y="1877"/>
                  <a:pt x="2290" y="1877"/>
                  <a:pt x="2259" y="1861"/>
                </a:cubicBezTo>
                <a:cubicBezTo>
                  <a:pt x="2243" y="1845"/>
                  <a:pt x="2243" y="1845"/>
                  <a:pt x="2227" y="1845"/>
                </a:cubicBezTo>
                <a:cubicBezTo>
                  <a:pt x="2163" y="1797"/>
                  <a:pt x="2132" y="1734"/>
                  <a:pt x="2132" y="1654"/>
                </a:cubicBezTo>
                <a:cubicBezTo>
                  <a:pt x="2132" y="1527"/>
                  <a:pt x="2227" y="1415"/>
                  <a:pt x="2354" y="1415"/>
                </a:cubicBezTo>
                <a:cubicBezTo>
                  <a:pt x="2481" y="1415"/>
                  <a:pt x="2593" y="1527"/>
                  <a:pt x="2593" y="1654"/>
                </a:cubicBezTo>
                <a:close/>
                <a:moveTo>
                  <a:pt x="2052" y="1415"/>
                </a:moveTo>
                <a:cubicBezTo>
                  <a:pt x="1989" y="1479"/>
                  <a:pt x="1972" y="1559"/>
                  <a:pt x="1972" y="1654"/>
                </a:cubicBezTo>
                <a:lnTo>
                  <a:pt x="1400" y="1797"/>
                </a:lnTo>
                <a:cubicBezTo>
                  <a:pt x="1352" y="1813"/>
                  <a:pt x="1336" y="1845"/>
                  <a:pt x="1336" y="1893"/>
                </a:cubicBezTo>
                <a:cubicBezTo>
                  <a:pt x="1352" y="1924"/>
                  <a:pt x="1384" y="1957"/>
                  <a:pt x="1416" y="1957"/>
                </a:cubicBezTo>
                <a:lnTo>
                  <a:pt x="1432" y="1957"/>
                </a:lnTo>
                <a:lnTo>
                  <a:pt x="2004" y="1813"/>
                </a:lnTo>
                <a:cubicBezTo>
                  <a:pt x="2020" y="1861"/>
                  <a:pt x="2068" y="1909"/>
                  <a:pt x="2116" y="1957"/>
                </a:cubicBezTo>
                <a:lnTo>
                  <a:pt x="1972" y="2481"/>
                </a:lnTo>
                <a:cubicBezTo>
                  <a:pt x="1956" y="2529"/>
                  <a:pt x="1989" y="2561"/>
                  <a:pt x="2020" y="2576"/>
                </a:cubicBezTo>
                <a:lnTo>
                  <a:pt x="2052" y="2576"/>
                </a:lnTo>
                <a:cubicBezTo>
                  <a:pt x="2084" y="2576"/>
                  <a:pt x="2116" y="2561"/>
                  <a:pt x="2116" y="2529"/>
                </a:cubicBezTo>
                <a:lnTo>
                  <a:pt x="2259" y="2036"/>
                </a:lnTo>
                <a:lnTo>
                  <a:pt x="2354" y="2036"/>
                </a:lnTo>
                <a:cubicBezTo>
                  <a:pt x="2450" y="2036"/>
                  <a:pt x="2513" y="2020"/>
                  <a:pt x="2577" y="1972"/>
                </a:cubicBezTo>
                <a:cubicBezTo>
                  <a:pt x="3022" y="2545"/>
                  <a:pt x="3165" y="3133"/>
                  <a:pt x="2927" y="3372"/>
                </a:cubicBezTo>
                <a:cubicBezTo>
                  <a:pt x="2847" y="3436"/>
                  <a:pt x="2752" y="3483"/>
                  <a:pt x="2608" y="3483"/>
                </a:cubicBezTo>
                <a:cubicBezTo>
                  <a:pt x="2227" y="3483"/>
                  <a:pt x="1670" y="3181"/>
                  <a:pt x="1225" y="2720"/>
                </a:cubicBezTo>
                <a:cubicBezTo>
                  <a:pt x="589" y="2084"/>
                  <a:pt x="287" y="1288"/>
                  <a:pt x="589" y="986"/>
                </a:cubicBezTo>
                <a:cubicBezTo>
                  <a:pt x="827" y="731"/>
                  <a:pt x="1463" y="922"/>
                  <a:pt x="2052" y="1415"/>
                </a:cubicBezTo>
                <a:close/>
                <a:moveTo>
                  <a:pt x="318" y="1384"/>
                </a:moveTo>
                <a:cubicBezTo>
                  <a:pt x="334" y="1797"/>
                  <a:pt x="620" y="2338"/>
                  <a:pt x="1114" y="2831"/>
                </a:cubicBezTo>
                <a:cubicBezTo>
                  <a:pt x="1575" y="3293"/>
                  <a:pt x="2099" y="3594"/>
                  <a:pt x="2513" y="3642"/>
                </a:cubicBezTo>
                <a:cubicBezTo>
                  <a:pt x="2338" y="3706"/>
                  <a:pt x="2116" y="3769"/>
                  <a:pt x="1877" y="3769"/>
                </a:cubicBezTo>
                <a:cubicBezTo>
                  <a:pt x="1432" y="3769"/>
                  <a:pt x="1034" y="3594"/>
                  <a:pt x="700" y="3245"/>
                </a:cubicBezTo>
                <a:cubicBezTo>
                  <a:pt x="0" y="2545"/>
                  <a:pt x="96" y="1829"/>
                  <a:pt x="318" y="1384"/>
                </a:cubicBezTo>
                <a:close/>
                <a:moveTo>
                  <a:pt x="589" y="3356"/>
                </a:moveTo>
                <a:cubicBezTo>
                  <a:pt x="954" y="3722"/>
                  <a:pt x="1400" y="3929"/>
                  <a:pt x="1877" y="3929"/>
                </a:cubicBezTo>
                <a:cubicBezTo>
                  <a:pt x="1925" y="3929"/>
                  <a:pt x="1989" y="3929"/>
                  <a:pt x="2052" y="3912"/>
                </a:cubicBezTo>
                <a:lnTo>
                  <a:pt x="2052" y="3929"/>
                </a:lnTo>
                <a:cubicBezTo>
                  <a:pt x="2099" y="4072"/>
                  <a:pt x="2132" y="4199"/>
                  <a:pt x="2147" y="4310"/>
                </a:cubicBezTo>
                <a:lnTo>
                  <a:pt x="159" y="4310"/>
                </a:lnTo>
                <a:cubicBezTo>
                  <a:pt x="191" y="4040"/>
                  <a:pt x="334" y="3658"/>
                  <a:pt x="589" y="335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5203799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Rounded Corners 86">
            <a:extLst>
              <a:ext uri="{FF2B5EF4-FFF2-40B4-BE49-F238E27FC236}">
                <a16:creationId xmlns:a16="http://schemas.microsoft.com/office/drawing/2014/main" id="{D6DFFCF8-DB65-4400-A7FF-B021D716F4F0}"/>
              </a:ext>
            </a:extLst>
          </p:cNvPr>
          <p:cNvSpPr/>
          <p:nvPr/>
        </p:nvSpPr>
        <p:spPr>
          <a:xfrm>
            <a:off x="1257300" y="7064456"/>
            <a:ext cx="21863050" cy="411256"/>
          </a:xfrm>
          <a:prstGeom prst="roundRect">
            <a:avLst>
              <a:gd name="adj" fmla="val 50000"/>
            </a:avLst>
          </a:prstGeom>
          <a:solidFill>
            <a:schemeClr val="accent6"/>
          </a:solidFill>
          <a:ln>
            <a:noFill/>
          </a:ln>
          <a:effectLst>
            <a:innerShdw blurRad="63500" dist="50800" dir="162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4" name="Slide Number Placeholder 3">
            <a:extLst>
              <a:ext uri="{FF2B5EF4-FFF2-40B4-BE49-F238E27FC236}">
                <a16:creationId xmlns:a16="http://schemas.microsoft.com/office/drawing/2014/main" id="{1F921426-A6EB-4EDF-86B7-7A7977246D7F}"/>
              </a:ext>
            </a:extLst>
          </p:cNvPr>
          <p:cNvSpPr>
            <a:spLocks noGrp="1"/>
          </p:cNvSpPr>
          <p:nvPr>
            <p:ph type="sldNum" sz="quarter" idx="12"/>
          </p:nvPr>
        </p:nvSpPr>
        <p:spPr>
          <a:xfrm>
            <a:off x="11730950" y="5794037"/>
            <a:ext cx="312499" cy="276999"/>
          </a:xfrm>
          <a:prstGeom prst="rect">
            <a:avLst/>
          </a:prstGeom>
        </p:spPr>
        <p:txBody>
          <a:bodyPr vert="horz" lIns="0" tIns="0" rIns="0" bIns="0" rtlCol="0" anchor="ctr">
            <a:norm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972270-7EB8-4EBA-87A9-AC2EA26E5165}" type="slidenum">
              <a:rPr lang="en-US" smtClean="0"/>
              <a:pPr/>
              <a:t>56</a:t>
            </a:fld>
            <a:endParaRPr lang="en-US" dirty="0"/>
          </a:p>
        </p:txBody>
      </p:sp>
      <p:grpSp>
        <p:nvGrpSpPr>
          <p:cNvPr id="5" name="Group 4">
            <a:extLst>
              <a:ext uri="{FF2B5EF4-FFF2-40B4-BE49-F238E27FC236}">
                <a16:creationId xmlns:a16="http://schemas.microsoft.com/office/drawing/2014/main" id="{55B827AD-98E7-4F48-9E3F-534D9646BB08}"/>
              </a:ext>
            </a:extLst>
          </p:cNvPr>
          <p:cNvGrpSpPr/>
          <p:nvPr/>
        </p:nvGrpSpPr>
        <p:grpSpPr>
          <a:xfrm>
            <a:off x="9862496" y="1889692"/>
            <a:ext cx="4657421" cy="4661470"/>
            <a:chOff x="3662363" y="1317626"/>
            <a:chExt cx="1824038" cy="1825624"/>
          </a:xfrm>
        </p:grpSpPr>
        <p:sp>
          <p:nvSpPr>
            <p:cNvPr id="6" name="Freeform 5">
              <a:extLst>
                <a:ext uri="{FF2B5EF4-FFF2-40B4-BE49-F238E27FC236}">
                  <a16:creationId xmlns:a16="http://schemas.microsoft.com/office/drawing/2014/main" id="{B9647D4A-D59F-4DD3-B8C9-4E71532498ED}"/>
                </a:ext>
              </a:extLst>
            </p:cNvPr>
            <p:cNvSpPr>
              <a:spLocks/>
            </p:cNvSpPr>
            <p:nvPr/>
          </p:nvSpPr>
          <p:spPr bwMode="auto">
            <a:xfrm>
              <a:off x="5129213" y="1747838"/>
              <a:ext cx="357188" cy="965200"/>
            </a:xfrm>
            <a:custGeom>
              <a:avLst/>
              <a:gdLst>
                <a:gd name="T0" fmla="*/ 18 w 73"/>
                <a:gd name="T1" fmla="*/ 98 h 197"/>
                <a:gd name="T2" fmla="*/ 0 w 73"/>
                <a:gd name="T3" fmla="*/ 32 h 197"/>
                <a:gd name="T4" fmla="*/ 45 w 73"/>
                <a:gd name="T5" fmla="*/ 0 h 197"/>
                <a:gd name="T6" fmla="*/ 73 w 73"/>
                <a:gd name="T7" fmla="*/ 98 h 197"/>
                <a:gd name="T8" fmla="*/ 45 w 73"/>
                <a:gd name="T9" fmla="*/ 197 h 197"/>
                <a:gd name="T10" fmla="*/ 0 w 73"/>
                <a:gd name="T11" fmla="*/ 164 h 197"/>
                <a:gd name="T12" fmla="*/ 18 w 73"/>
                <a:gd name="T13" fmla="*/ 98 h 197"/>
              </a:gdLst>
              <a:ahLst/>
              <a:cxnLst>
                <a:cxn ang="0">
                  <a:pos x="T0" y="T1"/>
                </a:cxn>
                <a:cxn ang="0">
                  <a:pos x="T2" y="T3"/>
                </a:cxn>
                <a:cxn ang="0">
                  <a:pos x="T4" y="T5"/>
                </a:cxn>
                <a:cxn ang="0">
                  <a:pos x="T6" y="T7"/>
                </a:cxn>
                <a:cxn ang="0">
                  <a:pos x="T8" y="T9"/>
                </a:cxn>
                <a:cxn ang="0">
                  <a:pos x="T10" y="T11"/>
                </a:cxn>
                <a:cxn ang="0">
                  <a:pos x="T12" y="T13"/>
                </a:cxn>
              </a:cxnLst>
              <a:rect l="0" t="0" r="r" b="b"/>
              <a:pathLst>
                <a:path w="73" h="197">
                  <a:moveTo>
                    <a:pt x="18" y="98"/>
                  </a:moveTo>
                  <a:cubicBezTo>
                    <a:pt x="18" y="74"/>
                    <a:pt x="12" y="51"/>
                    <a:pt x="0" y="32"/>
                  </a:cubicBezTo>
                  <a:cubicBezTo>
                    <a:pt x="45" y="0"/>
                    <a:pt x="45" y="0"/>
                    <a:pt x="45" y="0"/>
                  </a:cubicBezTo>
                  <a:cubicBezTo>
                    <a:pt x="62" y="28"/>
                    <a:pt x="73" y="62"/>
                    <a:pt x="73" y="98"/>
                  </a:cubicBezTo>
                  <a:cubicBezTo>
                    <a:pt x="73" y="134"/>
                    <a:pt x="62" y="168"/>
                    <a:pt x="45" y="197"/>
                  </a:cubicBezTo>
                  <a:cubicBezTo>
                    <a:pt x="0" y="164"/>
                    <a:pt x="0" y="164"/>
                    <a:pt x="0" y="164"/>
                  </a:cubicBezTo>
                  <a:cubicBezTo>
                    <a:pt x="12" y="145"/>
                    <a:pt x="18" y="122"/>
                    <a:pt x="18" y="9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7" name="Freeform 6">
              <a:extLst>
                <a:ext uri="{FF2B5EF4-FFF2-40B4-BE49-F238E27FC236}">
                  <a16:creationId xmlns:a16="http://schemas.microsoft.com/office/drawing/2014/main" id="{5C8DE653-E239-477A-9AE5-9EA08FD492E2}"/>
                </a:ext>
              </a:extLst>
            </p:cNvPr>
            <p:cNvSpPr>
              <a:spLocks/>
            </p:cNvSpPr>
            <p:nvPr/>
          </p:nvSpPr>
          <p:spPr bwMode="auto">
            <a:xfrm>
              <a:off x="4357688" y="2659063"/>
              <a:ext cx="914400" cy="484187"/>
            </a:xfrm>
            <a:custGeom>
              <a:avLst/>
              <a:gdLst>
                <a:gd name="T0" fmla="*/ 44 w 187"/>
                <a:gd name="T1" fmla="*/ 44 h 99"/>
                <a:gd name="T2" fmla="*/ 142 w 187"/>
                <a:gd name="T3" fmla="*/ 0 h 99"/>
                <a:gd name="T4" fmla="*/ 187 w 187"/>
                <a:gd name="T5" fmla="*/ 32 h 99"/>
                <a:gd name="T6" fmla="*/ 44 w 187"/>
                <a:gd name="T7" fmla="*/ 99 h 99"/>
                <a:gd name="T8" fmla="*/ 0 w 187"/>
                <a:gd name="T9" fmla="*/ 93 h 99"/>
                <a:gd name="T10" fmla="*/ 16 w 187"/>
                <a:gd name="T11" fmla="*/ 41 h 99"/>
                <a:gd name="T12" fmla="*/ 44 w 187"/>
                <a:gd name="T13" fmla="*/ 44 h 99"/>
              </a:gdLst>
              <a:ahLst/>
              <a:cxnLst>
                <a:cxn ang="0">
                  <a:pos x="T0" y="T1"/>
                </a:cxn>
                <a:cxn ang="0">
                  <a:pos x="T2" y="T3"/>
                </a:cxn>
                <a:cxn ang="0">
                  <a:pos x="T4" y="T5"/>
                </a:cxn>
                <a:cxn ang="0">
                  <a:pos x="T6" y="T7"/>
                </a:cxn>
                <a:cxn ang="0">
                  <a:pos x="T8" y="T9"/>
                </a:cxn>
                <a:cxn ang="0">
                  <a:pos x="T10" y="T11"/>
                </a:cxn>
                <a:cxn ang="0">
                  <a:pos x="T12" y="T13"/>
                </a:cxn>
              </a:cxnLst>
              <a:rect l="0" t="0" r="r" b="b"/>
              <a:pathLst>
                <a:path w="187" h="99">
                  <a:moveTo>
                    <a:pt x="44" y="44"/>
                  </a:moveTo>
                  <a:cubicBezTo>
                    <a:pt x="83" y="44"/>
                    <a:pt x="118" y="27"/>
                    <a:pt x="142" y="0"/>
                  </a:cubicBezTo>
                  <a:cubicBezTo>
                    <a:pt x="187" y="32"/>
                    <a:pt x="187" y="32"/>
                    <a:pt x="187" y="32"/>
                  </a:cubicBezTo>
                  <a:cubicBezTo>
                    <a:pt x="153" y="73"/>
                    <a:pt x="101" y="99"/>
                    <a:pt x="44" y="99"/>
                  </a:cubicBezTo>
                  <a:cubicBezTo>
                    <a:pt x="29" y="99"/>
                    <a:pt x="14" y="97"/>
                    <a:pt x="0" y="93"/>
                  </a:cubicBezTo>
                  <a:cubicBezTo>
                    <a:pt x="16" y="41"/>
                    <a:pt x="16" y="41"/>
                    <a:pt x="16" y="41"/>
                  </a:cubicBezTo>
                  <a:cubicBezTo>
                    <a:pt x="25" y="43"/>
                    <a:pt x="35" y="44"/>
                    <a:pt x="44" y="44"/>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8" name="Freeform 7">
              <a:extLst>
                <a:ext uri="{FF2B5EF4-FFF2-40B4-BE49-F238E27FC236}">
                  <a16:creationId xmlns:a16="http://schemas.microsoft.com/office/drawing/2014/main" id="{0C96D58D-A7B7-420D-92E0-6A96A27209CE}"/>
                </a:ext>
              </a:extLst>
            </p:cNvPr>
            <p:cNvSpPr>
              <a:spLocks/>
            </p:cNvSpPr>
            <p:nvPr/>
          </p:nvSpPr>
          <p:spPr bwMode="auto">
            <a:xfrm>
              <a:off x="3662363" y="2297113"/>
              <a:ext cx="650875" cy="777875"/>
            </a:xfrm>
            <a:custGeom>
              <a:avLst/>
              <a:gdLst>
                <a:gd name="T0" fmla="*/ 133 w 133"/>
                <a:gd name="T1" fmla="*/ 107 h 159"/>
                <a:gd name="T2" fmla="*/ 116 w 133"/>
                <a:gd name="T3" fmla="*/ 159 h 159"/>
                <a:gd name="T4" fmla="*/ 0 w 133"/>
                <a:gd name="T5" fmla="*/ 0 h 159"/>
                <a:gd name="T6" fmla="*/ 55 w 133"/>
                <a:gd name="T7" fmla="*/ 0 h 159"/>
                <a:gd name="T8" fmla="*/ 133 w 133"/>
                <a:gd name="T9" fmla="*/ 107 h 159"/>
              </a:gdLst>
              <a:ahLst/>
              <a:cxnLst>
                <a:cxn ang="0">
                  <a:pos x="T0" y="T1"/>
                </a:cxn>
                <a:cxn ang="0">
                  <a:pos x="T2" y="T3"/>
                </a:cxn>
                <a:cxn ang="0">
                  <a:pos x="T4" y="T5"/>
                </a:cxn>
                <a:cxn ang="0">
                  <a:pos x="T6" y="T7"/>
                </a:cxn>
                <a:cxn ang="0">
                  <a:pos x="T8" y="T9"/>
                </a:cxn>
              </a:cxnLst>
              <a:rect l="0" t="0" r="r" b="b"/>
              <a:pathLst>
                <a:path w="133" h="159">
                  <a:moveTo>
                    <a:pt x="133" y="107"/>
                  </a:moveTo>
                  <a:cubicBezTo>
                    <a:pt x="116" y="159"/>
                    <a:pt x="116" y="159"/>
                    <a:pt x="116" y="159"/>
                  </a:cubicBezTo>
                  <a:cubicBezTo>
                    <a:pt x="52" y="133"/>
                    <a:pt x="5" y="72"/>
                    <a:pt x="0" y="0"/>
                  </a:cubicBezTo>
                  <a:cubicBezTo>
                    <a:pt x="55" y="0"/>
                    <a:pt x="55" y="0"/>
                    <a:pt x="55" y="0"/>
                  </a:cubicBezTo>
                  <a:cubicBezTo>
                    <a:pt x="60" y="48"/>
                    <a:pt x="91" y="88"/>
                    <a:pt x="133" y="107"/>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dirty="0">
                <a:solidFill>
                  <a:prstClr val="black"/>
                </a:solidFill>
              </a:endParaRPr>
            </a:p>
          </p:txBody>
        </p:sp>
        <p:sp>
          <p:nvSpPr>
            <p:cNvPr id="9" name="Freeform 8">
              <a:extLst>
                <a:ext uri="{FF2B5EF4-FFF2-40B4-BE49-F238E27FC236}">
                  <a16:creationId xmlns:a16="http://schemas.microsoft.com/office/drawing/2014/main" id="{405A25A2-1858-496A-A4A9-60530A64E999}"/>
                </a:ext>
              </a:extLst>
            </p:cNvPr>
            <p:cNvSpPr>
              <a:spLocks/>
            </p:cNvSpPr>
            <p:nvPr/>
          </p:nvSpPr>
          <p:spPr bwMode="auto">
            <a:xfrm>
              <a:off x="4357688" y="1317626"/>
              <a:ext cx="914400" cy="479425"/>
            </a:xfrm>
            <a:custGeom>
              <a:avLst/>
              <a:gdLst>
                <a:gd name="T0" fmla="*/ 44 w 187"/>
                <a:gd name="T1" fmla="*/ 54 h 98"/>
                <a:gd name="T2" fmla="*/ 16 w 187"/>
                <a:gd name="T3" fmla="*/ 57 h 98"/>
                <a:gd name="T4" fmla="*/ 0 w 187"/>
                <a:gd name="T5" fmla="*/ 5 h 98"/>
                <a:gd name="T6" fmla="*/ 44 w 187"/>
                <a:gd name="T7" fmla="*/ 0 h 98"/>
                <a:gd name="T8" fmla="*/ 187 w 187"/>
                <a:gd name="T9" fmla="*/ 66 h 98"/>
                <a:gd name="T10" fmla="*/ 142 w 187"/>
                <a:gd name="T11" fmla="*/ 98 h 98"/>
                <a:gd name="T12" fmla="*/ 44 w 187"/>
                <a:gd name="T13" fmla="*/ 54 h 98"/>
              </a:gdLst>
              <a:ahLst/>
              <a:cxnLst>
                <a:cxn ang="0">
                  <a:pos x="T0" y="T1"/>
                </a:cxn>
                <a:cxn ang="0">
                  <a:pos x="T2" y="T3"/>
                </a:cxn>
                <a:cxn ang="0">
                  <a:pos x="T4" y="T5"/>
                </a:cxn>
                <a:cxn ang="0">
                  <a:pos x="T6" y="T7"/>
                </a:cxn>
                <a:cxn ang="0">
                  <a:pos x="T8" y="T9"/>
                </a:cxn>
                <a:cxn ang="0">
                  <a:pos x="T10" y="T11"/>
                </a:cxn>
                <a:cxn ang="0">
                  <a:pos x="T12" y="T13"/>
                </a:cxn>
              </a:cxnLst>
              <a:rect l="0" t="0" r="r" b="b"/>
              <a:pathLst>
                <a:path w="187" h="98">
                  <a:moveTo>
                    <a:pt x="44" y="54"/>
                  </a:moveTo>
                  <a:cubicBezTo>
                    <a:pt x="35" y="54"/>
                    <a:pt x="25" y="55"/>
                    <a:pt x="16" y="57"/>
                  </a:cubicBezTo>
                  <a:cubicBezTo>
                    <a:pt x="0" y="5"/>
                    <a:pt x="0" y="5"/>
                    <a:pt x="0" y="5"/>
                  </a:cubicBezTo>
                  <a:cubicBezTo>
                    <a:pt x="14" y="2"/>
                    <a:pt x="29" y="0"/>
                    <a:pt x="44" y="0"/>
                  </a:cubicBezTo>
                  <a:cubicBezTo>
                    <a:pt x="101" y="0"/>
                    <a:pt x="153" y="25"/>
                    <a:pt x="187" y="66"/>
                  </a:cubicBezTo>
                  <a:cubicBezTo>
                    <a:pt x="142" y="98"/>
                    <a:pt x="142" y="98"/>
                    <a:pt x="142" y="98"/>
                  </a:cubicBezTo>
                  <a:cubicBezTo>
                    <a:pt x="118" y="71"/>
                    <a:pt x="83" y="54"/>
                    <a:pt x="44"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0" name="Freeform 9">
              <a:extLst>
                <a:ext uri="{FF2B5EF4-FFF2-40B4-BE49-F238E27FC236}">
                  <a16:creationId xmlns:a16="http://schemas.microsoft.com/office/drawing/2014/main" id="{A85AA0DC-4862-49D6-9D46-E41FCE93BBE9}"/>
                </a:ext>
              </a:extLst>
            </p:cNvPr>
            <p:cNvSpPr>
              <a:spLocks/>
            </p:cNvSpPr>
            <p:nvPr/>
          </p:nvSpPr>
          <p:spPr bwMode="auto">
            <a:xfrm>
              <a:off x="3662363" y="1381125"/>
              <a:ext cx="650875" cy="782637"/>
            </a:xfrm>
            <a:custGeom>
              <a:avLst/>
              <a:gdLst>
                <a:gd name="T0" fmla="*/ 55 w 133"/>
                <a:gd name="T1" fmla="*/ 160 h 160"/>
                <a:gd name="T2" fmla="*/ 0 w 133"/>
                <a:gd name="T3" fmla="*/ 160 h 160"/>
                <a:gd name="T4" fmla="*/ 116 w 133"/>
                <a:gd name="T5" fmla="*/ 0 h 160"/>
                <a:gd name="T6" fmla="*/ 133 w 133"/>
                <a:gd name="T7" fmla="*/ 53 h 160"/>
                <a:gd name="T8" fmla="*/ 55 w 133"/>
                <a:gd name="T9" fmla="*/ 160 h 160"/>
              </a:gdLst>
              <a:ahLst/>
              <a:cxnLst>
                <a:cxn ang="0">
                  <a:pos x="T0" y="T1"/>
                </a:cxn>
                <a:cxn ang="0">
                  <a:pos x="T2" y="T3"/>
                </a:cxn>
                <a:cxn ang="0">
                  <a:pos x="T4" y="T5"/>
                </a:cxn>
                <a:cxn ang="0">
                  <a:pos x="T6" y="T7"/>
                </a:cxn>
                <a:cxn ang="0">
                  <a:pos x="T8" y="T9"/>
                </a:cxn>
              </a:cxnLst>
              <a:rect l="0" t="0" r="r" b="b"/>
              <a:pathLst>
                <a:path w="133" h="160">
                  <a:moveTo>
                    <a:pt x="55" y="160"/>
                  </a:moveTo>
                  <a:cubicBezTo>
                    <a:pt x="0" y="160"/>
                    <a:pt x="0" y="160"/>
                    <a:pt x="0" y="160"/>
                  </a:cubicBezTo>
                  <a:cubicBezTo>
                    <a:pt x="5" y="87"/>
                    <a:pt x="52" y="27"/>
                    <a:pt x="116" y="0"/>
                  </a:cubicBezTo>
                  <a:cubicBezTo>
                    <a:pt x="133" y="53"/>
                    <a:pt x="133" y="53"/>
                    <a:pt x="133" y="53"/>
                  </a:cubicBezTo>
                  <a:cubicBezTo>
                    <a:pt x="91" y="71"/>
                    <a:pt x="60" y="112"/>
                    <a:pt x="55" y="1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grpSp>
      <p:grpSp>
        <p:nvGrpSpPr>
          <p:cNvPr id="19" name="Group 18">
            <a:extLst>
              <a:ext uri="{FF2B5EF4-FFF2-40B4-BE49-F238E27FC236}">
                <a16:creationId xmlns:a16="http://schemas.microsoft.com/office/drawing/2014/main" id="{598B8190-F175-42DA-8100-D2D80F7F6E13}"/>
              </a:ext>
            </a:extLst>
          </p:cNvPr>
          <p:cNvGrpSpPr/>
          <p:nvPr/>
        </p:nvGrpSpPr>
        <p:grpSpPr>
          <a:xfrm>
            <a:off x="6779951" y="7867438"/>
            <a:ext cx="2131395" cy="2133247"/>
            <a:chOff x="3662363" y="1317626"/>
            <a:chExt cx="1824038" cy="1825624"/>
          </a:xfrm>
        </p:grpSpPr>
        <p:sp>
          <p:nvSpPr>
            <p:cNvPr id="20" name="Freeform 5">
              <a:extLst>
                <a:ext uri="{FF2B5EF4-FFF2-40B4-BE49-F238E27FC236}">
                  <a16:creationId xmlns:a16="http://schemas.microsoft.com/office/drawing/2014/main" id="{41562589-F2B9-469F-B091-77D26645D003}"/>
                </a:ext>
              </a:extLst>
            </p:cNvPr>
            <p:cNvSpPr>
              <a:spLocks/>
            </p:cNvSpPr>
            <p:nvPr/>
          </p:nvSpPr>
          <p:spPr bwMode="auto">
            <a:xfrm>
              <a:off x="5129213" y="1747838"/>
              <a:ext cx="357188" cy="965200"/>
            </a:xfrm>
            <a:custGeom>
              <a:avLst/>
              <a:gdLst>
                <a:gd name="T0" fmla="*/ 18 w 73"/>
                <a:gd name="T1" fmla="*/ 98 h 197"/>
                <a:gd name="T2" fmla="*/ 0 w 73"/>
                <a:gd name="T3" fmla="*/ 32 h 197"/>
                <a:gd name="T4" fmla="*/ 45 w 73"/>
                <a:gd name="T5" fmla="*/ 0 h 197"/>
                <a:gd name="T6" fmla="*/ 73 w 73"/>
                <a:gd name="T7" fmla="*/ 98 h 197"/>
                <a:gd name="T8" fmla="*/ 45 w 73"/>
                <a:gd name="T9" fmla="*/ 197 h 197"/>
                <a:gd name="T10" fmla="*/ 0 w 73"/>
                <a:gd name="T11" fmla="*/ 164 h 197"/>
                <a:gd name="T12" fmla="*/ 18 w 73"/>
                <a:gd name="T13" fmla="*/ 98 h 197"/>
              </a:gdLst>
              <a:ahLst/>
              <a:cxnLst>
                <a:cxn ang="0">
                  <a:pos x="T0" y="T1"/>
                </a:cxn>
                <a:cxn ang="0">
                  <a:pos x="T2" y="T3"/>
                </a:cxn>
                <a:cxn ang="0">
                  <a:pos x="T4" y="T5"/>
                </a:cxn>
                <a:cxn ang="0">
                  <a:pos x="T6" y="T7"/>
                </a:cxn>
                <a:cxn ang="0">
                  <a:pos x="T8" y="T9"/>
                </a:cxn>
                <a:cxn ang="0">
                  <a:pos x="T10" y="T11"/>
                </a:cxn>
                <a:cxn ang="0">
                  <a:pos x="T12" y="T13"/>
                </a:cxn>
              </a:cxnLst>
              <a:rect l="0" t="0" r="r" b="b"/>
              <a:pathLst>
                <a:path w="73" h="197">
                  <a:moveTo>
                    <a:pt x="18" y="98"/>
                  </a:moveTo>
                  <a:cubicBezTo>
                    <a:pt x="18" y="74"/>
                    <a:pt x="12" y="51"/>
                    <a:pt x="0" y="32"/>
                  </a:cubicBezTo>
                  <a:cubicBezTo>
                    <a:pt x="45" y="0"/>
                    <a:pt x="45" y="0"/>
                    <a:pt x="45" y="0"/>
                  </a:cubicBezTo>
                  <a:cubicBezTo>
                    <a:pt x="62" y="28"/>
                    <a:pt x="73" y="62"/>
                    <a:pt x="73" y="98"/>
                  </a:cubicBezTo>
                  <a:cubicBezTo>
                    <a:pt x="73" y="134"/>
                    <a:pt x="62" y="168"/>
                    <a:pt x="45" y="197"/>
                  </a:cubicBezTo>
                  <a:cubicBezTo>
                    <a:pt x="0" y="164"/>
                    <a:pt x="0" y="164"/>
                    <a:pt x="0" y="164"/>
                  </a:cubicBezTo>
                  <a:cubicBezTo>
                    <a:pt x="12" y="145"/>
                    <a:pt x="18" y="122"/>
                    <a:pt x="18" y="98"/>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1" name="Freeform 6">
              <a:extLst>
                <a:ext uri="{FF2B5EF4-FFF2-40B4-BE49-F238E27FC236}">
                  <a16:creationId xmlns:a16="http://schemas.microsoft.com/office/drawing/2014/main" id="{64E3D8FE-B99F-471D-9089-9B437688DF71}"/>
                </a:ext>
              </a:extLst>
            </p:cNvPr>
            <p:cNvSpPr>
              <a:spLocks/>
            </p:cNvSpPr>
            <p:nvPr/>
          </p:nvSpPr>
          <p:spPr bwMode="auto">
            <a:xfrm>
              <a:off x="4357688" y="2659063"/>
              <a:ext cx="914400" cy="484187"/>
            </a:xfrm>
            <a:custGeom>
              <a:avLst/>
              <a:gdLst>
                <a:gd name="T0" fmla="*/ 44 w 187"/>
                <a:gd name="T1" fmla="*/ 44 h 99"/>
                <a:gd name="T2" fmla="*/ 142 w 187"/>
                <a:gd name="T3" fmla="*/ 0 h 99"/>
                <a:gd name="T4" fmla="*/ 187 w 187"/>
                <a:gd name="T5" fmla="*/ 32 h 99"/>
                <a:gd name="T6" fmla="*/ 44 w 187"/>
                <a:gd name="T7" fmla="*/ 99 h 99"/>
                <a:gd name="T8" fmla="*/ 0 w 187"/>
                <a:gd name="T9" fmla="*/ 93 h 99"/>
                <a:gd name="T10" fmla="*/ 16 w 187"/>
                <a:gd name="T11" fmla="*/ 41 h 99"/>
                <a:gd name="T12" fmla="*/ 44 w 187"/>
                <a:gd name="T13" fmla="*/ 44 h 99"/>
              </a:gdLst>
              <a:ahLst/>
              <a:cxnLst>
                <a:cxn ang="0">
                  <a:pos x="T0" y="T1"/>
                </a:cxn>
                <a:cxn ang="0">
                  <a:pos x="T2" y="T3"/>
                </a:cxn>
                <a:cxn ang="0">
                  <a:pos x="T4" y="T5"/>
                </a:cxn>
                <a:cxn ang="0">
                  <a:pos x="T6" y="T7"/>
                </a:cxn>
                <a:cxn ang="0">
                  <a:pos x="T8" y="T9"/>
                </a:cxn>
                <a:cxn ang="0">
                  <a:pos x="T10" y="T11"/>
                </a:cxn>
                <a:cxn ang="0">
                  <a:pos x="T12" y="T13"/>
                </a:cxn>
              </a:cxnLst>
              <a:rect l="0" t="0" r="r" b="b"/>
              <a:pathLst>
                <a:path w="187" h="99">
                  <a:moveTo>
                    <a:pt x="44" y="44"/>
                  </a:moveTo>
                  <a:cubicBezTo>
                    <a:pt x="83" y="44"/>
                    <a:pt x="118" y="27"/>
                    <a:pt x="142" y="0"/>
                  </a:cubicBezTo>
                  <a:cubicBezTo>
                    <a:pt x="187" y="32"/>
                    <a:pt x="187" y="32"/>
                    <a:pt x="187" y="32"/>
                  </a:cubicBezTo>
                  <a:cubicBezTo>
                    <a:pt x="153" y="73"/>
                    <a:pt x="101" y="99"/>
                    <a:pt x="44" y="99"/>
                  </a:cubicBezTo>
                  <a:cubicBezTo>
                    <a:pt x="29" y="99"/>
                    <a:pt x="14" y="97"/>
                    <a:pt x="0" y="93"/>
                  </a:cubicBezTo>
                  <a:cubicBezTo>
                    <a:pt x="16" y="41"/>
                    <a:pt x="16" y="41"/>
                    <a:pt x="16" y="41"/>
                  </a:cubicBezTo>
                  <a:cubicBezTo>
                    <a:pt x="25" y="43"/>
                    <a:pt x="35" y="44"/>
                    <a:pt x="44" y="4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2" name="Freeform 7">
              <a:extLst>
                <a:ext uri="{FF2B5EF4-FFF2-40B4-BE49-F238E27FC236}">
                  <a16:creationId xmlns:a16="http://schemas.microsoft.com/office/drawing/2014/main" id="{4A1F1F6A-9B37-47BB-BA68-7FDC8F5460C5}"/>
                </a:ext>
              </a:extLst>
            </p:cNvPr>
            <p:cNvSpPr>
              <a:spLocks/>
            </p:cNvSpPr>
            <p:nvPr/>
          </p:nvSpPr>
          <p:spPr bwMode="auto">
            <a:xfrm>
              <a:off x="3662363" y="2297113"/>
              <a:ext cx="650875" cy="777875"/>
            </a:xfrm>
            <a:custGeom>
              <a:avLst/>
              <a:gdLst>
                <a:gd name="T0" fmla="*/ 133 w 133"/>
                <a:gd name="T1" fmla="*/ 107 h 159"/>
                <a:gd name="T2" fmla="*/ 116 w 133"/>
                <a:gd name="T3" fmla="*/ 159 h 159"/>
                <a:gd name="T4" fmla="*/ 0 w 133"/>
                <a:gd name="T5" fmla="*/ 0 h 159"/>
                <a:gd name="T6" fmla="*/ 55 w 133"/>
                <a:gd name="T7" fmla="*/ 0 h 159"/>
                <a:gd name="T8" fmla="*/ 133 w 133"/>
                <a:gd name="T9" fmla="*/ 107 h 159"/>
              </a:gdLst>
              <a:ahLst/>
              <a:cxnLst>
                <a:cxn ang="0">
                  <a:pos x="T0" y="T1"/>
                </a:cxn>
                <a:cxn ang="0">
                  <a:pos x="T2" y="T3"/>
                </a:cxn>
                <a:cxn ang="0">
                  <a:pos x="T4" y="T5"/>
                </a:cxn>
                <a:cxn ang="0">
                  <a:pos x="T6" y="T7"/>
                </a:cxn>
                <a:cxn ang="0">
                  <a:pos x="T8" y="T9"/>
                </a:cxn>
              </a:cxnLst>
              <a:rect l="0" t="0" r="r" b="b"/>
              <a:pathLst>
                <a:path w="133" h="159">
                  <a:moveTo>
                    <a:pt x="133" y="107"/>
                  </a:moveTo>
                  <a:cubicBezTo>
                    <a:pt x="116" y="159"/>
                    <a:pt x="116" y="159"/>
                    <a:pt x="116" y="159"/>
                  </a:cubicBezTo>
                  <a:cubicBezTo>
                    <a:pt x="52" y="133"/>
                    <a:pt x="5" y="72"/>
                    <a:pt x="0" y="0"/>
                  </a:cubicBezTo>
                  <a:cubicBezTo>
                    <a:pt x="55" y="0"/>
                    <a:pt x="55" y="0"/>
                    <a:pt x="55" y="0"/>
                  </a:cubicBezTo>
                  <a:cubicBezTo>
                    <a:pt x="60" y="48"/>
                    <a:pt x="91" y="88"/>
                    <a:pt x="133" y="107"/>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3" name="Freeform 8">
              <a:extLst>
                <a:ext uri="{FF2B5EF4-FFF2-40B4-BE49-F238E27FC236}">
                  <a16:creationId xmlns:a16="http://schemas.microsoft.com/office/drawing/2014/main" id="{F0FB62D7-FF7C-409C-B255-B4763E7C1022}"/>
                </a:ext>
              </a:extLst>
            </p:cNvPr>
            <p:cNvSpPr>
              <a:spLocks/>
            </p:cNvSpPr>
            <p:nvPr/>
          </p:nvSpPr>
          <p:spPr bwMode="auto">
            <a:xfrm>
              <a:off x="4357688" y="1317626"/>
              <a:ext cx="914400" cy="479425"/>
            </a:xfrm>
            <a:custGeom>
              <a:avLst/>
              <a:gdLst>
                <a:gd name="T0" fmla="*/ 44 w 187"/>
                <a:gd name="T1" fmla="*/ 54 h 98"/>
                <a:gd name="T2" fmla="*/ 16 w 187"/>
                <a:gd name="T3" fmla="*/ 57 h 98"/>
                <a:gd name="T4" fmla="*/ 0 w 187"/>
                <a:gd name="T5" fmla="*/ 5 h 98"/>
                <a:gd name="T6" fmla="*/ 44 w 187"/>
                <a:gd name="T7" fmla="*/ 0 h 98"/>
                <a:gd name="T8" fmla="*/ 187 w 187"/>
                <a:gd name="T9" fmla="*/ 66 h 98"/>
                <a:gd name="T10" fmla="*/ 142 w 187"/>
                <a:gd name="T11" fmla="*/ 98 h 98"/>
                <a:gd name="T12" fmla="*/ 44 w 187"/>
                <a:gd name="T13" fmla="*/ 54 h 98"/>
              </a:gdLst>
              <a:ahLst/>
              <a:cxnLst>
                <a:cxn ang="0">
                  <a:pos x="T0" y="T1"/>
                </a:cxn>
                <a:cxn ang="0">
                  <a:pos x="T2" y="T3"/>
                </a:cxn>
                <a:cxn ang="0">
                  <a:pos x="T4" y="T5"/>
                </a:cxn>
                <a:cxn ang="0">
                  <a:pos x="T6" y="T7"/>
                </a:cxn>
                <a:cxn ang="0">
                  <a:pos x="T8" y="T9"/>
                </a:cxn>
                <a:cxn ang="0">
                  <a:pos x="T10" y="T11"/>
                </a:cxn>
                <a:cxn ang="0">
                  <a:pos x="T12" y="T13"/>
                </a:cxn>
              </a:cxnLst>
              <a:rect l="0" t="0" r="r" b="b"/>
              <a:pathLst>
                <a:path w="187" h="98">
                  <a:moveTo>
                    <a:pt x="44" y="54"/>
                  </a:moveTo>
                  <a:cubicBezTo>
                    <a:pt x="35" y="54"/>
                    <a:pt x="25" y="55"/>
                    <a:pt x="16" y="57"/>
                  </a:cubicBezTo>
                  <a:cubicBezTo>
                    <a:pt x="0" y="5"/>
                    <a:pt x="0" y="5"/>
                    <a:pt x="0" y="5"/>
                  </a:cubicBezTo>
                  <a:cubicBezTo>
                    <a:pt x="14" y="2"/>
                    <a:pt x="29" y="0"/>
                    <a:pt x="44" y="0"/>
                  </a:cubicBezTo>
                  <a:cubicBezTo>
                    <a:pt x="101" y="0"/>
                    <a:pt x="153" y="25"/>
                    <a:pt x="187" y="66"/>
                  </a:cubicBezTo>
                  <a:cubicBezTo>
                    <a:pt x="142" y="98"/>
                    <a:pt x="142" y="98"/>
                    <a:pt x="142" y="98"/>
                  </a:cubicBezTo>
                  <a:cubicBezTo>
                    <a:pt x="118" y="71"/>
                    <a:pt x="83" y="54"/>
                    <a:pt x="44"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4" name="Freeform 9">
              <a:extLst>
                <a:ext uri="{FF2B5EF4-FFF2-40B4-BE49-F238E27FC236}">
                  <a16:creationId xmlns:a16="http://schemas.microsoft.com/office/drawing/2014/main" id="{638738EE-7BB3-4FE6-A27F-8A95A2652FD2}"/>
                </a:ext>
              </a:extLst>
            </p:cNvPr>
            <p:cNvSpPr>
              <a:spLocks/>
            </p:cNvSpPr>
            <p:nvPr/>
          </p:nvSpPr>
          <p:spPr bwMode="auto">
            <a:xfrm>
              <a:off x="3662363" y="1381125"/>
              <a:ext cx="650875" cy="782637"/>
            </a:xfrm>
            <a:custGeom>
              <a:avLst/>
              <a:gdLst>
                <a:gd name="T0" fmla="*/ 55 w 133"/>
                <a:gd name="T1" fmla="*/ 160 h 160"/>
                <a:gd name="T2" fmla="*/ 0 w 133"/>
                <a:gd name="T3" fmla="*/ 160 h 160"/>
                <a:gd name="T4" fmla="*/ 116 w 133"/>
                <a:gd name="T5" fmla="*/ 0 h 160"/>
                <a:gd name="T6" fmla="*/ 133 w 133"/>
                <a:gd name="T7" fmla="*/ 53 h 160"/>
                <a:gd name="T8" fmla="*/ 55 w 133"/>
                <a:gd name="T9" fmla="*/ 160 h 160"/>
              </a:gdLst>
              <a:ahLst/>
              <a:cxnLst>
                <a:cxn ang="0">
                  <a:pos x="T0" y="T1"/>
                </a:cxn>
                <a:cxn ang="0">
                  <a:pos x="T2" y="T3"/>
                </a:cxn>
                <a:cxn ang="0">
                  <a:pos x="T4" y="T5"/>
                </a:cxn>
                <a:cxn ang="0">
                  <a:pos x="T6" y="T7"/>
                </a:cxn>
                <a:cxn ang="0">
                  <a:pos x="T8" y="T9"/>
                </a:cxn>
              </a:cxnLst>
              <a:rect l="0" t="0" r="r" b="b"/>
              <a:pathLst>
                <a:path w="133" h="160">
                  <a:moveTo>
                    <a:pt x="55" y="160"/>
                  </a:moveTo>
                  <a:cubicBezTo>
                    <a:pt x="0" y="160"/>
                    <a:pt x="0" y="160"/>
                    <a:pt x="0" y="160"/>
                  </a:cubicBezTo>
                  <a:cubicBezTo>
                    <a:pt x="5" y="87"/>
                    <a:pt x="52" y="27"/>
                    <a:pt x="116" y="0"/>
                  </a:cubicBezTo>
                  <a:cubicBezTo>
                    <a:pt x="133" y="53"/>
                    <a:pt x="133" y="53"/>
                    <a:pt x="133" y="53"/>
                  </a:cubicBezTo>
                  <a:cubicBezTo>
                    <a:pt x="91" y="71"/>
                    <a:pt x="60" y="112"/>
                    <a:pt x="55" y="16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grpSp>
      <p:sp>
        <p:nvSpPr>
          <p:cNvPr id="25" name="TextBox 24">
            <a:extLst>
              <a:ext uri="{FF2B5EF4-FFF2-40B4-BE49-F238E27FC236}">
                <a16:creationId xmlns:a16="http://schemas.microsoft.com/office/drawing/2014/main" id="{8B2BC2C9-9A2A-4FE9-860D-E0F96A7CEF38}"/>
              </a:ext>
            </a:extLst>
          </p:cNvPr>
          <p:cNvSpPr txBox="1"/>
          <p:nvPr/>
        </p:nvSpPr>
        <p:spPr>
          <a:xfrm>
            <a:off x="6012084" y="10260827"/>
            <a:ext cx="3657362" cy="1292662"/>
          </a:xfrm>
          <a:prstGeom prst="rect">
            <a:avLst/>
          </a:prstGeom>
          <a:noFill/>
          <a:ln w="6350">
            <a:noFill/>
            <a:prstDash val="dash"/>
          </a:ln>
        </p:spPr>
        <p:txBody>
          <a:bodyPr wrap="square" lIns="0" tIns="0" rIns="0" bIns="0" rtlCol="0">
            <a:spAutoFit/>
          </a:bodyPr>
          <a:lstStyle/>
          <a:p>
            <a:pPr algn="ctr"/>
            <a:r>
              <a:rPr lang="en-US" sz="2800" dirty="0">
                <a:solidFill>
                  <a:prstClr val="black">
                    <a:lumMod val="75000"/>
                    <a:lumOff val="25000"/>
                  </a:prstClr>
                </a:solidFill>
              </a:rPr>
              <a:t>Lorem ipsum dolor sit </a:t>
            </a:r>
            <a:r>
              <a:rPr lang="en-US" sz="2800" dirty="0" err="1">
                <a:solidFill>
                  <a:prstClr val="black">
                    <a:lumMod val="75000"/>
                    <a:lumOff val="25000"/>
                  </a:prstClr>
                </a:solidFill>
              </a:rPr>
              <a:t>amet</a:t>
            </a:r>
            <a:r>
              <a:rPr lang="en-US" sz="2800" dirty="0">
                <a:solidFill>
                  <a:prstClr val="black">
                    <a:lumMod val="75000"/>
                    <a:lumOff val="25000"/>
                  </a:prstClr>
                </a:solidFill>
              </a:rPr>
              <a:t>, </a:t>
            </a:r>
            <a:r>
              <a:rPr lang="en-US" sz="2800" dirty="0" err="1">
                <a:solidFill>
                  <a:prstClr val="black">
                    <a:lumMod val="75000"/>
                    <a:lumOff val="25000"/>
                  </a:prstClr>
                </a:solidFill>
              </a:rPr>
              <a:t>consectetur</a:t>
            </a:r>
            <a:r>
              <a:rPr lang="en-US" sz="2800" dirty="0">
                <a:solidFill>
                  <a:prstClr val="black">
                    <a:lumMod val="75000"/>
                    <a:lumOff val="25000"/>
                  </a:prstClr>
                </a:solidFill>
              </a:rPr>
              <a:t> </a:t>
            </a:r>
            <a:r>
              <a:rPr lang="en-US" sz="2800" dirty="0" err="1">
                <a:solidFill>
                  <a:prstClr val="black">
                    <a:lumMod val="75000"/>
                    <a:lumOff val="25000"/>
                  </a:prstClr>
                </a:solidFill>
              </a:rPr>
              <a:t>adipiscing</a:t>
            </a:r>
            <a:r>
              <a:rPr lang="en-US" sz="2800" dirty="0">
                <a:solidFill>
                  <a:prstClr val="black">
                    <a:lumMod val="75000"/>
                    <a:lumOff val="25000"/>
                  </a:prstClr>
                </a:solidFill>
              </a:rPr>
              <a:t> </a:t>
            </a:r>
            <a:r>
              <a:rPr lang="en-US" sz="2800" dirty="0" err="1">
                <a:solidFill>
                  <a:prstClr val="black">
                    <a:lumMod val="75000"/>
                    <a:lumOff val="25000"/>
                  </a:prstClr>
                </a:solidFill>
              </a:rPr>
              <a:t>elit</a:t>
            </a:r>
            <a:r>
              <a:rPr lang="en-US" sz="2800" dirty="0">
                <a:solidFill>
                  <a:prstClr val="black">
                    <a:lumMod val="75000"/>
                    <a:lumOff val="25000"/>
                  </a:prstClr>
                </a:solidFill>
              </a:rPr>
              <a:t>. </a:t>
            </a:r>
          </a:p>
        </p:txBody>
      </p:sp>
      <p:grpSp>
        <p:nvGrpSpPr>
          <p:cNvPr id="26" name="Group 25">
            <a:extLst>
              <a:ext uri="{FF2B5EF4-FFF2-40B4-BE49-F238E27FC236}">
                <a16:creationId xmlns:a16="http://schemas.microsoft.com/office/drawing/2014/main" id="{8590F536-EF6F-4C82-B363-6E8169ADFC52}"/>
              </a:ext>
            </a:extLst>
          </p:cNvPr>
          <p:cNvGrpSpPr/>
          <p:nvPr/>
        </p:nvGrpSpPr>
        <p:grpSpPr>
          <a:xfrm>
            <a:off x="11125509" y="7867436"/>
            <a:ext cx="2131395" cy="2133247"/>
            <a:chOff x="3662363" y="1317626"/>
            <a:chExt cx="1824038" cy="1825624"/>
          </a:xfrm>
        </p:grpSpPr>
        <p:sp>
          <p:nvSpPr>
            <p:cNvPr id="27" name="Freeform 5">
              <a:extLst>
                <a:ext uri="{FF2B5EF4-FFF2-40B4-BE49-F238E27FC236}">
                  <a16:creationId xmlns:a16="http://schemas.microsoft.com/office/drawing/2014/main" id="{1845C38B-BB60-4C2D-8D44-B47C483FAFAD}"/>
                </a:ext>
              </a:extLst>
            </p:cNvPr>
            <p:cNvSpPr>
              <a:spLocks/>
            </p:cNvSpPr>
            <p:nvPr/>
          </p:nvSpPr>
          <p:spPr bwMode="auto">
            <a:xfrm>
              <a:off x="5129213" y="1747838"/>
              <a:ext cx="357188" cy="965200"/>
            </a:xfrm>
            <a:custGeom>
              <a:avLst/>
              <a:gdLst>
                <a:gd name="T0" fmla="*/ 18 w 73"/>
                <a:gd name="T1" fmla="*/ 98 h 197"/>
                <a:gd name="T2" fmla="*/ 0 w 73"/>
                <a:gd name="T3" fmla="*/ 32 h 197"/>
                <a:gd name="T4" fmla="*/ 45 w 73"/>
                <a:gd name="T5" fmla="*/ 0 h 197"/>
                <a:gd name="T6" fmla="*/ 73 w 73"/>
                <a:gd name="T7" fmla="*/ 98 h 197"/>
                <a:gd name="T8" fmla="*/ 45 w 73"/>
                <a:gd name="T9" fmla="*/ 197 h 197"/>
                <a:gd name="T10" fmla="*/ 0 w 73"/>
                <a:gd name="T11" fmla="*/ 164 h 197"/>
                <a:gd name="T12" fmla="*/ 18 w 73"/>
                <a:gd name="T13" fmla="*/ 98 h 197"/>
              </a:gdLst>
              <a:ahLst/>
              <a:cxnLst>
                <a:cxn ang="0">
                  <a:pos x="T0" y="T1"/>
                </a:cxn>
                <a:cxn ang="0">
                  <a:pos x="T2" y="T3"/>
                </a:cxn>
                <a:cxn ang="0">
                  <a:pos x="T4" y="T5"/>
                </a:cxn>
                <a:cxn ang="0">
                  <a:pos x="T6" y="T7"/>
                </a:cxn>
                <a:cxn ang="0">
                  <a:pos x="T8" y="T9"/>
                </a:cxn>
                <a:cxn ang="0">
                  <a:pos x="T10" y="T11"/>
                </a:cxn>
                <a:cxn ang="0">
                  <a:pos x="T12" y="T13"/>
                </a:cxn>
              </a:cxnLst>
              <a:rect l="0" t="0" r="r" b="b"/>
              <a:pathLst>
                <a:path w="73" h="197">
                  <a:moveTo>
                    <a:pt x="18" y="98"/>
                  </a:moveTo>
                  <a:cubicBezTo>
                    <a:pt x="18" y="74"/>
                    <a:pt x="12" y="51"/>
                    <a:pt x="0" y="32"/>
                  </a:cubicBezTo>
                  <a:cubicBezTo>
                    <a:pt x="45" y="0"/>
                    <a:pt x="45" y="0"/>
                    <a:pt x="45" y="0"/>
                  </a:cubicBezTo>
                  <a:cubicBezTo>
                    <a:pt x="62" y="28"/>
                    <a:pt x="73" y="62"/>
                    <a:pt x="73" y="98"/>
                  </a:cubicBezTo>
                  <a:cubicBezTo>
                    <a:pt x="73" y="134"/>
                    <a:pt x="62" y="168"/>
                    <a:pt x="45" y="197"/>
                  </a:cubicBezTo>
                  <a:cubicBezTo>
                    <a:pt x="0" y="164"/>
                    <a:pt x="0" y="164"/>
                    <a:pt x="0" y="164"/>
                  </a:cubicBezTo>
                  <a:cubicBezTo>
                    <a:pt x="12" y="145"/>
                    <a:pt x="18" y="122"/>
                    <a:pt x="18" y="9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8" name="Freeform 6">
              <a:extLst>
                <a:ext uri="{FF2B5EF4-FFF2-40B4-BE49-F238E27FC236}">
                  <a16:creationId xmlns:a16="http://schemas.microsoft.com/office/drawing/2014/main" id="{65C7698B-C314-40AF-9EC2-81AE26CE6621}"/>
                </a:ext>
              </a:extLst>
            </p:cNvPr>
            <p:cNvSpPr>
              <a:spLocks/>
            </p:cNvSpPr>
            <p:nvPr/>
          </p:nvSpPr>
          <p:spPr bwMode="auto">
            <a:xfrm>
              <a:off x="4357688" y="2659063"/>
              <a:ext cx="914400" cy="484187"/>
            </a:xfrm>
            <a:custGeom>
              <a:avLst/>
              <a:gdLst>
                <a:gd name="T0" fmla="*/ 44 w 187"/>
                <a:gd name="T1" fmla="*/ 44 h 99"/>
                <a:gd name="T2" fmla="*/ 142 w 187"/>
                <a:gd name="T3" fmla="*/ 0 h 99"/>
                <a:gd name="T4" fmla="*/ 187 w 187"/>
                <a:gd name="T5" fmla="*/ 32 h 99"/>
                <a:gd name="T6" fmla="*/ 44 w 187"/>
                <a:gd name="T7" fmla="*/ 99 h 99"/>
                <a:gd name="T8" fmla="*/ 0 w 187"/>
                <a:gd name="T9" fmla="*/ 93 h 99"/>
                <a:gd name="T10" fmla="*/ 16 w 187"/>
                <a:gd name="T11" fmla="*/ 41 h 99"/>
                <a:gd name="T12" fmla="*/ 44 w 187"/>
                <a:gd name="T13" fmla="*/ 44 h 99"/>
              </a:gdLst>
              <a:ahLst/>
              <a:cxnLst>
                <a:cxn ang="0">
                  <a:pos x="T0" y="T1"/>
                </a:cxn>
                <a:cxn ang="0">
                  <a:pos x="T2" y="T3"/>
                </a:cxn>
                <a:cxn ang="0">
                  <a:pos x="T4" y="T5"/>
                </a:cxn>
                <a:cxn ang="0">
                  <a:pos x="T6" y="T7"/>
                </a:cxn>
                <a:cxn ang="0">
                  <a:pos x="T8" y="T9"/>
                </a:cxn>
                <a:cxn ang="0">
                  <a:pos x="T10" y="T11"/>
                </a:cxn>
                <a:cxn ang="0">
                  <a:pos x="T12" y="T13"/>
                </a:cxn>
              </a:cxnLst>
              <a:rect l="0" t="0" r="r" b="b"/>
              <a:pathLst>
                <a:path w="187" h="99">
                  <a:moveTo>
                    <a:pt x="44" y="44"/>
                  </a:moveTo>
                  <a:cubicBezTo>
                    <a:pt x="83" y="44"/>
                    <a:pt x="118" y="27"/>
                    <a:pt x="142" y="0"/>
                  </a:cubicBezTo>
                  <a:cubicBezTo>
                    <a:pt x="187" y="32"/>
                    <a:pt x="187" y="32"/>
                    <a:pt x="187" y="32"/>
                  </a:cubicBezTo>
                  <a:cubicBezTo>
                    <a:pt x="153" y="73"/>
                    <a:pt x="101" y="99"/>
                    <a:pt x="44" y="99"/>
                  </a:cubicBezTo>
                  <a:cubicBezTo>
                    <a:pt x="29" y="99"/>
                    <a:pt x="14" y="97"/>
                    <a:pt x="0" y="93"/>
                  </a:cubicBezTo>
                  <a:cubicBezTo>
                    <a:pt x="16" y="41"/>
                    <a:pt x="16" y="41"/>
                    <a:pt x="16" y="41"/>
                  </a:cubicBezTo>
                  <a:cubicBezTo>
                    <a:pt x="25" y="43"/>
                    <a:pt x="35" y="44"/>
                    <a:pt x="44" y="4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9" name="Freeform 7">
              <a:extLst>
                <a:ext uri="{FF2B5EF4-FFF2-40B4-BE49-F238E27FC236}">
                  <a16:creationId xmlns:a16="http://schemas.microsoft.com/office/drawing/2014/main" id="{C51BEA97-358C-424E-8C79-3B9B34F399CC}"/>
                </a:ext>
              </a:extLst>
            </p:cNvPr>
            <p:cNvSpPr>
              <a:spLocks/>
            </p:cNvSpPr>
            <p:nvPr/>
          </p:nvSpPr>
          <p:spPr bwMode="auto">
            <a:xfrm>
              <a:off x="3662363" y="2297113"/>
              <a:ext cx="650875" cy="777875"/>
            </a:xfrm>
            <a:custGeom>
              <a:avLst/>
              <a:gdLst>
                <a:gd name="T0" fmla="*/ 133 w 133"/>
                <a:gd name="T1" fmla="*/ 107 h 159"/>
                <a:gd name="T2" fmla="*/ 116 w 133"/>
                <a:gd name="T3" fmla="*/ 159 h 159"/>
                <a:gd name="T4" fmla="*/ 0 w 133"/>
                <a:gd name="T5" fmla="*/ 0 h 159"/>
                <a:gd name="T6" fmla="*/ 55 w 133"/>
                <a:gd name="T7" fmla="*/ 0 h 159"/>
                <a:gd name="T8" fmla="*/ 133 w 133"/>
                <a:gd name="T9" fmla="*/ 107 h 159"/>
              </a:gdLst>
              <a:ahLst/>
              <a:cxnLst>
                <a:cxn ang="0">
                  <a:pos x="T0" y="T1"/>
                </a:cxn>
                <a:cxn ang="0">
                  <a:pos x="T2" y="T3"/>
                </a:cxn>
                <a:cxn ang="0">
                  <a:pos x="T4" y="T5"/>
                </a:cxn>
                <a:cxn ang="0">
                  <a:pos x="T6" y="T7"/>
                </a:cxn>
                <a:cxn ang="0">
                  <a:pos x="T8" y="T9"/>
                </a:cxn>
              </a:cxnLst>
              <a:rect l="0" t="0" r="r" b="b"/>
              <a:pathLst>
                <a:path w="133" h="159">
                  <a:moveTo>
                    <a:pt x="133" y="107"/>
                  </a:moveTo>
                  <a:cubicBezTo>
                    <a:pt x="116" y="159"/>
                    <a:pt x="116" y="159"/>
                    <a:pt x="116" y="159"/>
                  </a:cubicBezTo>
                  <a:cubicBezTo>
                    <a:pt x="52" y="133"/>
                    <a:pt x="5" y="72"/>
                    <a:pt x="0" y="0"/>
                  </a:cubicBezTo>
                  <a:cubicBezTo>
                    <a:pt x="55" y="0"/>
                    <a:pt x="55" y="0"/>
                    <a:pt x="55" y="0"/>
                  </a:cubicBezTo>
                  <a:cubicBezTo>
                    <a:pt x="60" y="48"/>
                    <a:pt x="91" y="88"/>
                    <a:pt x="133" y="107"/>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30" name="Freeform 8">
              <a:extLst>
                <a:ext uri="{FF2B5EF4-FFF2-40B4-BE49-F238E27FC236}">
                  <a16:creationId xmlns:a16="http://schemas.microsoft.com/office/drawing/2014/main" id="{D138051B-FD7F-4D07-9AC0-D1A635C99181}"/>
                </a:ext>
              </a:extLst>
            </p:cNvPr>
            <p:cNvSpPr>
              <a:spLocks/>
            </p:cNvSpPr>
            <p:nvPr/>
          </p:nvSpPr>
          <p:spPr bwMode="auto">
            <a:xfrm>
              <a:off x="4357688" y="1317626"/>
              <a:ext cx="914400" cy="479425"/>
            </a:xfrm>
            <a:custGeom>
              <a:avLst/>
              <a:gdLst>
                <a:gd name="T0" fmla="*/ 44 w 187"/>
                <a:gd name="T1" fmla="*/ 54 h 98"/>
                <a:gd name="T2" fmla="*/ 16 w 187"/>
                <a:gd name="T3" fmla="*/ 57 h 98"/>
                <a:gd name="T4" fmla="*/ 0 w 187"/>
                <a:gd name="T5" fmla="*/ 5 h 98"/>
                <a:gd name="T6" fmla="*/ 44 w 187"/>
                <a:gd name="T7" fmla="*/ 0 h 98"/>
                <a:gd name="T8" fmla="*/ 187 w 187"/>
                <a:gd name="T9" fmla="*/ 66 h 98"/>
                <a:gd name="T10" fmla="*/ 142 w 187"/>
                <a:gd name="T11" fmla="*/ 98 h 98"/>
                <a:gd name="T12" fmla="*/ 44 w 187"/>
                <a:gd name="T13" fmla="*/ 54 h 98"/>
              </a:gdLst>
              <a:ahLst/>
              <a:cxnLst>
                <a:cxn ang="0">
                  <a:pos x="T0" y="T1"/>
                </a:cxn>
                <a:cxn ang="0">
                  <a:pos x="T2" y="T3"/>
                </a:cxn>
                <a:cxn ang="0">
                  <a:pos x="T4" y="T5"/>
                </a:cxn>
                <a:cxn ang="0">
                  <a:pos x="T6" y="T7"/>
                </a:cxn>
                <a:cxn ang="0">
                  <a:pos x="T8" y="T9"/>
                </a:cxn>
                <a:cxn ang="0">
                  <a:pos x="T10" y="T11"/>
                </a:cxn>
                <a:cxn ang="0">
                  <a:pos x="T12" y="T13"/>
                </a:cxn>
              </a:cxnLst>
              <a:rect l="0" t="0" r="r" b="b"/>
              <a:pathLst>
                <a:path w="187" h="98">
                  <a:moveTo>
                    <a:pt x="44" y="54"/>
                  </a:moveTo>
                  <a:cubicBezTo>
                    <a:pt x="35" y="54"/>
                    <a:pt x="25" y="55"/>
                    <a:pt x="16" y="57"/>
                  </a:cubicBezTo>
                  <a:cubicBezTo>
                    <a:pt x="0" y="5"/>
                    <a:pt x="0" y="5"/>
                    <a:pt x="0" y="5"/>
                  </a:cubicBezTo>
                  <a:cubicBezTo>
                    <a:pt x="14" y="2"/>
                    <a:pt x="29" y="0"/>
                    <a:pt x="44" y="0"/>
                  </a:cubicBezTo>
                  <a:cubicBezTo>
                    <a:pt x="101" y="0"/>
                    <a:pt x="153" y="25"/>
                    <a:pt x="187" y="66"/>
                  </a:cubicBezTo>
                  <a:cubicBezTo>
                    <a:pt x="142" y="98"/>
                    <a:pt x="142" y="98"/>
                    <a:pt x="142" y="98"/>
                  </a:cubicBezTo>
                  <a:cubicBezTo>
                    <a:pt x="118" y="71"/>
                    <a:pt x="83" y="54"/>
                    <a:pt x="44" y="5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31" name="Freeform 9">
              <a:extLst>
                <a:ext uri="{FF2B5EF4-FFF2-40B4-BE49-F238E27FC236}">
                  <a16:creationId xmlns:a16="http://schemas.microsoft.com/office/drawing/2014/main" id="{A5D2D309-2F9F-48C1-A10A-E299DF63A282}"/>
                </a:ext>
              </a:extLst>
            </p:cNvPr>
            <p:cNvSpPr>
              <a:spLocks/>
            </p:cNvSpPr>
            <p:nvPr/>
          </p:nvSpPr>
          <p:spPr bwMode="auto">
            <a:xfrm>
              <a:off x="3662363" y="1381125"/>
              <a:ext cx="650875" cy="782637"/>
            </a:xfrm>
            <a:custGeom>
              <a:avLst/>
              <a:gdLst>
                <a:gd name="T0" fmla="*/ 55 w 133"/>
                <a:gd name="T1" fmla="*/ 160 h 160"/>
                <a:gd name="T2" fmla="*/ 0 w 133"/>
                <a:gd name="T3" fmla="*/ 160 h 160"/>
                <a:gd name="T4" fmla="*/ 116 w 133"/>
                <a:gd name="T5" fmla="*/ 0 h 160"/>
                <a:gd name="T6" fmla="*/ 133 w 133"/>
                <a:gd name="T7" fmla="*/ 53 h 160"/>
                <a:gd name="T8" fmla="*/ 55 w 133"/>
                <a:gd name="T9" fmla="*/ 160 h 160"/>
              </a:gdLst>
              <a:ahLst/>
              <a:cxnLst>
                <a:cxn ang="0">
                  <a:pos x="T0" y="T1"/>
                </a:cxn>
                <a:cxn ang="0">
                  <a:pos x="T2" y="T3"/>
                </a:cxn>
                <a:cxn ang="0">
                  <a:pos x="T4" y="T5"/>
                </a:cxn>
                <a:cxn ang="0">
                  <a:pos x="T6" y="T7"/>
                </a:cxn>
                <a:cxn ang="0">
                  <a:pos x="T8" y="T9"/>
                </a:cxn>
              </a:cxnLst>
              <a:rect l="0" t="0" r="r" b="b"/>
              <a:pathLst>
                <a:path w="133" h="160">
                  <a:moveTo>
                    <a:pt x="55" y="160"/>
                  </a:moveTo>
                  <a:cubicBezTo>
                    <a:pt x="0" y="160"/>
                    <a:pt x="0" y="160"/>
                    <a:pt x="0" y="160"/>
                  </a:cubicBezTo>
                  <a:cubicBezTo>
                    <a:pt x="5" y="87"/>
                    <a:pt x="52" y="27"/>
                    <a:pt x="116" y="0"/>
                  </a:cubicBezTo>
                  <a:cubicBezTo>
                    <a:pt x="133" y="53"/>
                    <a:pt x="133" y="53"/>
                    <a:pt x="133" y="53"/>
                  </a:cubicBezTo>
                  <a:cubicBezTo>
                    <a:pt x="91" y="71"/>
                    <a:pt x="60" y="112"/>
                    <a:pt x="55" y="16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grpSp>
      <p:sp>
        <p:nvSpPr>
          <p:cNvPr id="32" name="TextBox 31">
            <a:extLst>
              <a:ext uri="{FF2B5EF4-FFF2-40B4-BE49-F238E27FC236}">
                <a16:creationId xmlns:a16="http://schemas.microsoft.com/office/drawing/2014/main" id="{56595416-5B3F-429D-9955-F7A92DCA1BEA}"/>
              </a:ext>
            </a:extLst>
          </p:cNvPr>
          <p:cNvSpPr txBox="1"/>
          <p:nvPr/>
        </p:nvSpPr>
        <p:spPr>
          <a:xfrm>
            <a:off x="10357641" y="10260827"/>
            <a:ext cx="3657362" cy="1292662"/>
          </a:xfrm>
          <a:prstGeom prst="rect">
            <a:avLst/>
          </a:prstGeom>
          <a:noFill/>
          <a:ln w="6350">
            <a:noFill/>
            <a:prstDash val="dash"/>
          </a:ln>
        </p:spPr>
        <p:txBody>
          <a:bodyPr wrap="square" lIns="0" tIns="0" rIns="0" bIns="0" rtlCol="0">
            <a:spAutoFit/>
          </a:bodyPr>
          <a:lstStyle/>
          <a:p>
            <a:pPr algn="ctr"/>
            <a:r>
              <a:rPr lang="en-US" sz="2800" dirty="0">
                <a:solidFill>
                  <a:prstClr val="black">
                    <a:lumMod val="75000"/>
                    <a:lumOff val="25000"/>
                  </a:prstClr>
                </a:solidFill>
              </a:rPr>
              <a:t>Lorem ipsum dolor sit </a:t>
            </a:r>
            <a:r>
              <a:rPr lang="en-US" sz="2800" dirty="0" err="1">
                <a:solidFill>
                  <a:prstClr val="black">
                    <a:lumMod val="75000"/>
                    <a:lumOff val="25000"/>
                  </a:prstClr>
                </a:solidFill>
              </a:rPr>
              <a:t>amet</a:t>
            </a:r>
            <a:r>
              <a:rPr lang="en-US" sz="2800" dirty="0">
                <a:solidFill>
                  <a:prstClr val="black">
                    <a:lumMod val="75000"/>
                    <a:lumOff val="25000"/>
                  </a:prstClr>
                </a:solidFill>
              </a:rPr>
              <a:t>, </a:t>
            </a:r>
            <a:r>
              <a:rPr lang="en-US" sz="2800" dirty="0" err="1">
                <a:solidFill>
                  <a:prstClr val="black">
                    <a:lumMod val="75000"/>
                    <a:lumOff val="25000"/>
                  </a:prstClr>
                </a:solidFill>
              </a:rPr>
              <a:t>consectetur</a:t>
            </a:r>
            <a:r>
              <a:rPr lang="en-US" sz="2800" dirty="0">
                <a:solidFill>
                  <a:prstClr val="black">
                    <a:lumMod val="75000"/>
                    <a:lumOff val="25000"/>
                  </a:prstClr>
                </a:solidFill>
              </a:rPr>
              <a:t> </a:t>
            </a:r>
            <a:r>
              <a:rPr lang="en-US" sz="2800" dirty="0" err="1">
                <a:solidFill>
                  <a:prstClr val="black">
                    <a:lumMod val="75000"/>
                    <a:lumOff val="25000"/>
                  </a:prstClr>
                </a:solidFill>
              </a:rPr>
              <a:t>adipiscing</a:t>
            </a:r>
            <a:r>
              <a:rPr lang="en-US" sz="2800" dirty="0">
                <a:solidFill>
                  <a:prstClr val="black">
                    <a:lumMod val="75000"/>
                    <a:lumOff val="25000"/>
                  </a:prstClr>
                </a:solidFill>
              </a:rPr>
              <a:t> </a:t>
            </a:r>
            <a:r>
              <a:rPr lang="en-US" sz="2800" dirty="0" err="1">
                <a:solidFill>
                  <a:prstClr val="black">
                    <a:lumMod val="75000"/>
                    <a:lumOff val="25000"/>
                  </a:prstClr>
                </a:solidFill>
              </a:rPr>
              <a:t>elit</a:t>
            </a:r>
            <a:r>
              <a:rPr lang="en-US" sz="2800" dirty="0">
                <a:solidFill>
                  <a:prstClr val="black">
                    <a:lumMod val="75000"/>
                    <a:lumOff val="25000"/>
                  </a:prstClr>
                </a:solidFill>
              </a:rPr>
              <a:t>. </a:t>
            </a:r>
          </a:p>
        </p:txBody>
      </p:sp>
      <p:grpSp>
        <p:nvGrpSpPr>
          <p:cNvPr id="33" name="Group 32">
            <a:extLst>
              <a:ext uri="{FF2B5EF4-FFF2-40B4-BE49-F238E27FC236}">
                <a16:creationId xmlns:a16="http://schemas.microsoft.com/office/drawing/2014/main" id="{602BCAEE-5B1A-4B0F-A946-C9388192A38D}"/>
              </a:ext>
            </a:extLst>
          </p:cNvPr>
          <p:cNvGrpSpPr/>
          <p:nvPr/>
        </p:nvGrpSpPr>
        <p:grpSpPr>
          <a:xfrm>
            <a:off x="15471068" y="7867436"/>
            <a:ext cx="2131395" cy="2133247"/>
            <a:chOff x="3662363" y="1317626"/>
            <a:chExt cx="1824038" cy="1825624"/>
          </a:xfrm>
        </p:grpSpPr>
        <p:sp>
          <p:nvSpPr>
            <p:cNvPr id="34" name="Freeform 5">
              <a:extLst>
                <a:ext uri="{FF2B5EF4-FFF2-40B4-BE49-F238E27FC236}">
                  <a16:creationId xmlns:a16="http://schemas.microsoft.com/office/drawing/2014/main" id="{34B90C3D-B200-4DBE-B082-B1F3B004ADF8}"/>
                </a:ext>
              </a:extLst>
            </p:cNvPr>
            <p:cNvSpPr>
              <a:spLocks/>
            </p:cNvSpPr>
            <p:nvPr/>
          </p:nvSpPr>
          <p:spPr bwMode="auto">
            <a:xfrm>
              <a:off x="5129213" y="1747838"/>
              <a:ext cx="357188" cy="965200"/>
            </a:xfrm>
            <a:custGeom>
              <a:avLst/>
              <a:gdLst>
                <a:gd name="T0" fmla="*/ 18 w 73"/>
                <a:gd name="T1" fmla="*/ 98 h 197"/>
                <a:gd name="T2" fmla="*/ 0 w 73"/>
                <a:gd name="T3" fmla="*/ 32 h 197"/>
                <a:gd name="T4" fmla="*/ 45 w 73"/>
                <a:gd name="T5" fmla="*/ 0 h 197"/>
                <a:gd name="T6" fmla="*/ 73 w 73"/>
                <a:gd name="T7" fmla="*/ 98 h 197"/>
                <a:gd name="T8" fmla="*/ 45 w 73"/>
                <a:gd name="T9" fmla="*/ 197 h 197"/>
                <a:gd name="T10" fmla="*/ 0 w 73"/>
                <a:gd name="T11" fmla="*/ 164 h 197"/>
                <a:gd name="T12" fmla="*/ 18 w 73"/>
                <a:gd name="T13" fmla="*/ 98 h 197"/>
              </a:gdLst>
              <a:ahLst/>
              <a:cxnLst>
                <a:cxn ang="0">
                  <a:pos x="T0" y="T1"/>
                </a:cxn>
                <a:cxn ang="0">
                  <a:pos x="T2" y="T3"/>
                </a:cxn>
                <a:cxn ang="0">
                  <a:pos x="T4" y="T5"/>
                </a:cxn>
                <a:cxn ang="0">
                  <a:pos x="T6" y="T7"/>
                </a:cxn>
                <a:cxn ang="0">
                  <a:pos x="T8" y="T9"/>
                </a:cxn>
                <a:cxn ang="0">
                  <a:pos x="T10" y="T11"/>
                </a:cxn>
                <a:cxn ang="0">
                  <a:pos x="T12" y="T13"/>
                </a:cxn>
              </a:cxnLst>
              <a:rect l="0" t="0" r="r" b="b"/>
              <a:pathLst>
                <a:path w="73" h="197">
                  <a:moveTo>
                    <a:pt x="18" y="98"/>
                  </a:moveTo>
                  <a:cubicBezTo>
                    <a:pt x="18" y="74"/>
                    <a:pt x="12" y="51"/>
                    <a:pt x="0" y="32"/>
                  </a:cubicBezTo>
                  <a:cubicBezTo>
                    <a:pt x="45" y="0"/>
                    <a:pt x="45" y="0"/>
                    <a:pt x="45" y="0"/>
                  </a:cubicBezTo>
                  <a:cubicBezTo>
                    <a:pt x="62" y="28"/>
                    <a:pt x="73" y="62"/>
                    <a:pt x="73" y="98"/>
                  </a:cubicBezTo>
                  <a:cubicBezTo>
                    <a:pt x="73" y="134"/>
                    <a:pt x="62" y="168"/>
                    <a:pt x="45" y="197"/>
                  </a:cubicBezTo>
                  <a:cubicBezTo>
                    <a:pt x="0" y="164"/>
                    <a:pt x="0" y="164"/>
                    <a:pt x="0" y="164"/>
                  </a:cubicBezTo>
                  <a:cubicBezTo>
                    <a:pt x="12" y="145"/>
                    <a:pt x="18" y="122"/>
                    <a:pt x="18" y="98"/>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35" name="Freeform 6">
              <a:extLst>
                <a:ext uri="{FF2B5EF4-FFF2-40B4-BE49-F238E27FC236}">
                  <a16:creationId xmlns:a16="http://schemas.microsoft.com/office/drawing/2014/main" id="{6D19B47E-B7C2-4F4A-924B-FD5484DB90FC}"/>
                </a:ext>
              </a:extLst>
            </p:cNvPr>
            <p:cNvSpPr>
              <a:spLocks/>
            </p:cNvSpPr>
            <p:nvPr/>
          </p:nvSpPr>
          <p:spPr bwMode="auto">
            <a:xfrm>
              <a:off x="4357688" y="2659063"/>
              <a:ext cx="914400" cy="484187"/>
            </a:xfrm>
            <a:custGeom>
              <a:avLst/>
              <a:gdLst>
                <a:gd name="T0" fmla="*/ 44 w 187"/>
                <a:gd name="T1" fmla="*/ 44 h 99"/>
                <a:gd name="T2" fmla="*/ 142 w 187"/>
                <a:gd name="T3" fmla="*/ 0 h 99"/>
                <a:gd name="T4" fmla="*/ 187 w 187"/>
                <a:gd name="T5" fmla="*/ 32 h 99"/>
                <a:gd name="T6" fmla="*/ 44 w 187"/>
                <a:gd name="T7" fmla="*/ 99 h 99"/>
                <a:gd name="T8" fmla="*/ 0 w 187"/>
                <a:gd name="T9" fmla="*/ 93 h 99"/>
                <a:gd name="T10" fmla="*/ 16 w 187"/>
                <a:gd name="T11" fmla="*/ 41 h 99"/>
                <a:gd name="T12" fmla="*/ 44 w 187"/>
                <a:gd name="T13" fmla="*/ 44 h 99"/>
              </a:gdLst>
              <a:ahLst/>
              <a:cxnLst>
                <a:cxn ang="0">
                  <a:pos x="T0" y="T1"/>
                </a:cxn>
                <a:cxn ang="0">
                  <a:pos x="T2" y="T3"/>
                </a:cxn>
                <a:cxn ang="0">
                  <a:pos x="T4" y="T5"/>
                </a:cxn>
                <a:cxn ang="0">
                  <a:pos x="T6" y="T7"/>
                </a:cxn>
                <a:cxn ang="0">
                  <a:pos x="T8" y="T9"/>
                </a:cxn>
                <a:cxn ang="0">
                  <a:pos x="T10" y="T11"/>
                </a:cxn>
                <a:cxn ang="0">
                  <a:pos x="T12" y="T13"/>
                </a:cxn>
              </a:cxnLst>
              <a:rect l="0" t="0" r="r" b="b"/>
              <a:pathLst>
                <a:path w="187" h="99">
                  <a:moveTo>
                    <a:pt x="44" y="44"/>
                  </a:moveTo>
                  <a:cubicBezTo>
                    <a:pt x="83" y="44"/>
                    <a:pt x="118" y="27"/>
                    <a:pt x="142" y="0"/>
                  </a:cubicBezTo>
                  <a:cubicBezTo>
                    <a:pt x="187" y="32"/>
                    <a:pt x="187" y="32"/>
                    <a:pt x="187" y="32"/>
                  </a:cubicBezTo>
                  <a:cubicBezTo>
                    <a:pt x="153" y="73"/>
                    <a:pt x="101" y="99"/>
                    <a:pt x="44" y="99"/>
                  </a:cubicBezTo>
                  <a:cubicBezTo>
                    <a:pt x="29" y="99"/>
                    <a:pt x="14" y="97"/>
                    <a:pt x="0" y="93"/>
                  </a:cubicBezTo>
                  <a:cubicBezTo>
                    <a:pt x="16" y="41"/>
                    <a:pt x="16" y="41"/>
                    <a:pt x="16" y="41"/>
                  </a:cubicBezTo>
                  <a:cubicBezTo>
                    <a:pt x="25" y="43"/>
                    <a:pt x="35" y="44"/>
                    <a:pt x="44" y="44"/>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36" name="Freeform 7">
              <a:extLst>
                <a:ext uri="{FF2B5EF4-FFF2-40B4-BE49-F238E27FC236}">
                  <a16:creationId xmlns:a16="http://schemas.microsoft.com/office/drawing/2014/main" id="{1294D078-72EC-486C-A26B-759DF534020A}"/>
                </a:ext>
              </a:extLst>
            </p:cNvPr>
            <p:cNvSpPr>
              <a:spLocks/>
            </p:cNvSpPr>
            <p:nvPr/>
          </p:nvSpPr>
          <p:spPr bwMode="auto">
            <a:xfrm>
              <a:off x="3662363" y="2297113"/>
              <a:ext cx="650875" cy="777875"/>
            </a:xfrm>
            <a:custGeom>
              <a:avLst/>
              <a:gdLst>
                <a:gd name="T0" fmla="*/ 133 w 133"/>
                <a:gd name="T1" fmla="*/ 107 h 159"/>
                <a:gd name="T2" fmla="*/ 116 w 133"/>
                <a:gd name="T3" fmla="*/ 159 h 159"/>
                <a:gd name="T4" fmla="*/ 0 w 133"/>
                <a:gd name="T5" fmla="*/ 0 h 159"/>
                <a:gd name="T6" fmla="*/ 55 w 133"/>
                <a:gd name="T7" fmla="*/ 0 h 159"/>
                <a:gd name="T8" fmla="*/ 133 w 133"/>
                <a:gd name="T9" fmla="*/ 107 h 159"/>
              </a:gdLst>
              <a:ahLst/>
              <a:cxnLst>
                <a:cxn ang="0">
                  <a:pos x="T0" y="T1"/>
                </a:cxn>
                <a:cxn ang="0">
                  <a:pos x="T2" y="T3"/>
                </a:cxn>
                <a:cxn ang="0">
                  <a:pos x="T4" y="T5"/>
                </a:cxn>
                <a:cxn ang="0">
                  <a:pos x="T6" y="T7"/>
                </a:cxn>
                <a:cxn ang="0">
                  <a:pos x="T8" y="T9"/>
                </a:cxn>
              </a:cxnLst>
              <a:rect l="0" t="0" r="r" b="b"/>
              <a:pathLst>
                <a:path w="133" h="159">
                  <a:moveTo>
                    <a:pt x="133" y="107"/>
                  </a:moveTo>
                  <a:cubicBezTo>
                    <a:pt x="116" y="159"/>
                    <a:pt x="116" y="159"/>
                    <a:pt x="116" y="159"/>
                  </a:cubicBezTo>
                  <a:cubicBezTo>
                    <a:pt x="52" y="133"/>
                    <a:pt x="5" y="72"/>
                    <a:pt x="0" y="0"/>
                  </a:cubicBezTo>
                  <a:cubicBezTo>
                    <a:pt x="55" y="0"/>
                    <a:pt x="55" y="0"/>
                    <a:pt x="55" y="0"/>
                  </a:cubicBezTo>
                  <a:cubicBezTo>
                    <a:pt x="60" y="48"/>
                    <a:pt x="91" y="88"/>
                    <a:pt x="133" y="107"/>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37" name="Freeform 8">
              <a:extLst>
                <a:ext uri="{FF2B5EF4-FFF2-40B4-BE49-F238E27FC236}">
                  <a16:creationId xmlns:a16="http://schemas.microsoft.com/office/drawing/2014/main" id="{11D490D0-5096-4B6B-AFB0-E894A84AA9AC}"/>
                </a:ext>
              </a:extLst>
            </p:cNvPr>
            <p:cNvSpPr>
              <a:spLocks/>
            </p:cNvSpPr>
            <p:nvPr/>
          </p:nvSpPr>
          <p:spPr bwMode="auto">
            <a:xfrm>
              <a:off x="4357688" y="1317626"/>
              <a:ext cx="914400" cy="479425"/>
            </a:xfrm>
            <a:custGeom>
              <a:avLst/>
              <a:gdLst>
                <a:gd name="T0" fmla="*/ 44 w 187"/>
                <a:gd name="T1" fmla="*/ 54 h 98"/>
                <a:gd name="T2" fmla="*/ 16 w 187"/>
                <a:gd name="T3" fmla="*/ 57 h 98"/>
                <a:gd name="T4" fmla="*/ 0 w 187"/>
                <a:gd name="T5" fmla="*/ 5 h 98"/>
                <a:gd name="T6" fmla="*/ 44 w 187"/>
                <a:gd name="T7" fmla="*/ 0 h 98"/>
                <a:gd name="T8" fmla="*/ 187 w 187"/>
                <a:gd name="T9" fmla="*/ 66 h 98"/>
                <a:gd name="T10" fmla="*/ 142 w 187"/>
                <a:gd name="T11" fmla="*/ 98 h 98"/>
                <a:gd name="T12" fmla="*/ 44 w 187"/>
                <a:gd name="T13" fmla="*/ 54 h 98"/>
              </a:gdLst>
              <a:ahLst/>
              <a:cxnLst>
                <a:cxn ang="0">
                  <a:pos x="T0" y="T1"/>
                </a:cxn>
                <a:cxn ang="0">
                  <a:pos x="T2" y="T3"/>
                </a:cxn>
                <a:cxn ang="0">
                  <a:pos x="T4" y="T5"/>
                </a:cxn>
                <a:cxn ang="0">
                  <a:pos x="T6" y="T7"/>
                </a:cxn>
                <a:cxn ang="0">
                  <a:pos x="T8" y="T9"/>
                </a:cxn>
                <a:cxn ang="0">
                  <a:pos x="T10" y="T11"/>
                </a:cxn>
                <a:cxn ang="0">
                  <a:pos x="T12" y="T13"/>
                </a:cxn>
              </a:cxnLst>
              <a:rect l="0" t="0" r="r" b="b"/>
              <a:pathLst>
                <a:path w="187" h="98">
                  <a:moveTo>
                    <a:pt x="44" y="54"/>
                  </a:moveTo>
                  <a:cubicBezTo>
                    <a:pt x="35" y="54"/>
                    <a:pt x="25" y="55"/>
                    <a:pt x="16" y="57"/>
                  </a:cubicBezTo>
                  <a:cubicBezTo>
                    <a:pt x="0" y="5"/>
                    <a:pt x="0" y="5"/>
                    <a:pt x="0" y="5"/>
                  </a:cubicBezTo>
                  <a:cubicBezTo>
                    <a:pt x="14" y="2"/>
                    <a:pt x="29" y="0"/>
                    <a:pt x="44" y="0"/>
                  </a:cubicBezTo>
                  <a:cubicBezTo>
                    <a:pt x="101" y="0"/>
                    <a:pt x="153" y="25"/>
                    <a:pt x="187" y="66"/>
                  </a:cubicBezTo>
                  <a:cubicBezTo>
                    <a:pt x="142" y="98"/>
                    <a:pt x="142" y="98"/>
                    <a:pt x="142" y="98"/>
                  </a:cubicBezTo>
                  <a:cubicBezTo>
                    <a:pt x="118" y="71"/>
                    <a:pt x="83" y="54"/>
                    <a:pt x="44" y="5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38" name="Freeform 9">
              <a:extLst>
                <a:ext uri="{FF2B5EF4-FFF2-40B4-BE49-F238E27FC236}">
                  <a16:creationId xmlns:a16="http://schemas.microsoft.com/office/drawing/2014/main" id="{29E39ECF-2603-4133-BB1E-1D274395F866}"/>
                </a:ext>
              </a:extLst>
            </p:cNvPr>
            <p:cNvSpPr>
              <a:spLocks/>
            </p:cNvSpPr>
            <p:nvPr/>
          </p:nvSpPr>
          <p:spPr bwMode="auto">
            <a:xfrm>
              <a:off x="3662363" y="1381125"/>
              <a:ext cx="650875" cy="782637"/>
            </a:xfrm>
            <a:custGeom>
              <a:avLst/>
              <a:gdLst>
                <a:gd name="T0" fmla="*/ 55 w 133"/>
                <a:gd name="T1" fmla="*/ 160 h 160"/>
                <a:gd name="T2" fmla="*/ 0 w 133"/>
                <a:gd name="T3" fmla="*/ 160 h 160"/>
                <a:gd name="T4" fmla="*/ 116 w 133"/>
                <a:gd name="T5" fmla="*/ 0 h 160"/>
                <a:gd name="T6" fmla="*/ 133 w 133"/>
                <a:gd name="T7" fmla="*/ 53 h 160"/>
                <a:gd name="T8" fmla="*/ 55 w 133"/>
                <a:gd name="T9" fmla="*/ 160 h 160"/>
              </a:gdLst>
              <a:ahLst/>
              <a:cxnLst>
                <a:cxn ang="0">
                  <a:pos x="T0" y="T1"/>
                </a:cxn>
                <a:cxn ang="0">
                  <a:pos x="T2" y="T3"/>
                </a:cxn>
                <a:cxn ang="0">
                  <a:pos x="T4" y="T5"/>
                </a:cxn>
                <a:cxn ang="0">
                  <a:pos x="T6" y="T7"/>
                </a:cxn>
                <a:cxn ang="0">
                  <a:pos x="T8" y="T9"/>
                </a:cxn>
              </a:cxnLst>
              <a:rect l="0" t="0" r="r" b="b"/>
              <a:pathLst>
                <a:path w="133" h="160">
                  <a:moveTo>
                    <a:pt x="55" y="160"/>
                  </a:moveTo>
                  <a:cubicBezTo>
                    <a:pt x="0" y="160"/>
                    <a:pt x="0" y="160"/>
                    <a:pt x="0" y="160"/>
                  </a:cubicBezTo>
                  <a:cubicBezTo>
                    <a:pt x="5" y="87"/>
                    <a:pt x="52" y="27"/>
                    <a:pt x="116" y="0"/>
                  </a:cubicBezTo>
                  <a:cubicBezTo>
                    <a:pt x="133" y="53"/>
                    <a:pt x="133" y="53"/>
                    <a:pt x="133" y="53"/>
                  </a:cubicBezTo>
                  <a:cubicBezTo>
                    <a:pt x="91" y="71"/>
                    <a:pt x="60" y="112"/>
                    <a:pt x="55" y="16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grpSp>
      <p:sp>
        <p:nvSpPr>
          <p:cNvPr id="39" name="TextBox 38">
            <a:extLst>
              <a:ext uri="{FF2B5EF4-FFF2-40B4-BE49-F238E27FC236}">
                <a16:creationId xmlns:a16="http://schemas.microsoft.com/office/drawing/2014/main" id="{B8EB155D-165E-4DD9-8D56-5253B1AF5D73}"/>
              </a:ext>
            </a:extLst>
          </p:cNvPr>
          <p:cNvSpPr txBox="1"/>
          <p:nvPr/>
        </p:nvSpPr>
        <p:spPr>
          <a:xfrm>
            <a:off x="14703200" y="10260827"/>
            <a:ext cx="3657362" cy="1292662"/>
          </a:xfrm>
          <a:prstGeom prst="rect">
            <a:avLst/>
          </a:prstGeom>
          <a:noFill/>
          <a:ln w="6350">
            <a:noFill/>
            <a:prstDash val="dash"/>
          </a:ln>
        </p:spPr>
        <p:txBody>
          <a:bodyPr wrap="square" lIns="0" tIns="0" rIns="0" bIns="0" rtlCol="0">
            <a:spAutoFit/>
          </a:bodyPr>
          <a:lstStyle/>
          <a:p>
            <a:pPr algn="ctr"/>
            <a:r>
              <a:rPr lang="en-US" sz="2800" dirty="0">
                <a:solidFill>
                  <a:prstClr val="black">
                    <a:lumMod val="75000"/>
                    <a:lumOff val="25000"/>
                  </a:prstClr>
                </a:solidFill>
              </a:rPr>
              <a:t>Lorem ipsum dolor sit </a:t>
            </a:r>
            <a:r>
              <a:rPr lang="en-US" sz="2800" dirty="0" err="1">
                <a:solidFill>
                  <a:prstClr val="black">
                    <a:lumMod val="75000"/>
                    <a:lumOff val="25000"/>
                  </a:prstClr>
                </a:solidFill>
              </a:rPr>
              <a:t>amet</a:t>
            </a:r>
            <a:r>
              <a:rPr lang="en-US" sz="2800" dirty="0">
                <a:solidFill>
                  <a:prstClr val="black">
                    <a:lumMod val="75000"/>
                    <a:lumOff val="25000"/>
                  </a:prstClr>
                </a:solidFill>
              </a:rPr>
              <a:t>, </a:t>
            </a:r>
            <a:r>
              <a:rPr lang="en-US" sz="2800" dirty="0" err="1">
                <a:solidFill>
                  <a:prstClr val="black">
                    <a:lumMod val="75000"/>
                    <a:lumOff val="25000"/>
                  </a:prstClr>
                </a:solidFill>
              </a:rPr>
              <a:t>consectetur</a:t>
            </a:r>
            <a:r>
              <a:rPr lang="en-US" sz="2800" dirty="0">
                <a:solidFill>
                  <a:prstClr val="black">
                    <a:lumMod val="75000"/>
                    <a:lumOff val="25000"/>
                  </a:prstClr>
                </a:solidFill>
              </a:rPr>
              <a:t> </a:t>
            </a:r>
            <a:r>
              <a:rPr lang="en-US" sz="2800" dirty="0" err="1">
                <a:solidFill>
                  <a:prstClr val="black">
                    <a:lumMod val="75000"/>
                    <a:lumOff val="25000"/>
                  </a:prstClr>
                </a:solidFill>
              </a:rPr>
              <a:t>adipiscing</a:t>
            </a:r>
            <a:r>
              <a:rPr lang="en-US" sz="2800" dirty="0">
                <a:solidFill>
                  <a:prstClr val="black">
                    <a:lumMod val="75000"/>
                    <a:lumOff val="25000"/>
                  </a:prstClr>
                </a:solidFill>
              </a:rPr>
              <a:t> </a:t>
            </a:r>
            <a:r>
              <a:rPr lang="en-US" sz="2800" dirty="0" err="1">
                <a:solidFill>
                  <a:prstClr val="black">
                    <a:lumMod val="75000"/>
                    <a:lumOff val="25000"/>
                  </a:prstClr>
                </a:solidFill>
              </a:rPr>
              <a:t>elit</a:t>
            </a:r>
            <a:r>
              <a:rPr lang="en-US" sz="2800" dirty="0">
                <a:solidFill>
                  <a:prstClr val="black">
                    <a:lumMod val="75000"/>
                    <a:lumOff val="25000"/>
                  </a:prstClr>
                </a:solidFill>
              </a:rPr>
              <a:t>. </a:t>
            </a:r>
          </a:p>
        </p:txBody>
      </p:sp>
      <p:grpSp>
        <p:nvGrpSpPr>
          <p:cNvPr id="12" name="Group 11">
            <a:extLst>
              <a:ext uri="{FF2B5EF4-FFF2-40B4-BE49-F238E27FC236}">
                <a16:creationId xmlns:a16="http://schemas.microsoft.com/office/drawing/2014/main" id="{2513AB7A-D300-4268-94B3-6F3E8D802133}"/>
              </a:ext>
            </a:extLst>
          </p:cNvPr>
          <p:cNvGrpSpPr/>
          <p:nvPr/>
        </p:nvGrpSpPr>
        <p:grpSpPr>
          <a:xfrm>
            <a:off x="2434392" y="7867436"/>
            <a:ext cx="2131395" cy="2133247"/>
            <a:chOff x="3662363" y="1317626"/>
            <a:chExt cx="1824038" cy="1825624"/>
          </a:xfrm>
        </p:grpSpPr>
        <p:sp>
          <p:nvSpPr>
            <p:cNvPr id="14" name="Freeform 5">
              <a:extLst>
                <a:ext uri="{FF2B5EF4-FFF2-40B4-BE49-F238E27FC236}">
                  <a16:creationId xmlns:a16="http://schemas.microsoft.com/office/drawing/2014/main" id="{B837F62D-CD8B-4CF3-941C-384A459EB848}"/>
                </a:ext>
              </a:extLst>
            </p:cNvPr>
            <p:cNvSpPr>
              <a:spLocks/>
            </p:cNvSpPr>
            <p:nvPr/>
          </p:nvSpPr>
          <p:spPr bwMode="auto">
            <a:xfrm>
              <a:off x="5129213" y="1747838"/>
              <a:ext cx="357188" cy="965200"/>
            </a:xfrm>
            <a:custGeom>
              <a:avLst/>
              <a:gdLst>
                <a:gd name="T0" fmla="*/ 18 w 73"/>
                <a:gd name="T1" fmla="*/ 98 h 197"/>
                <a:gd name="T2" fmla="*/ 0 w 73"/>
                <a:gd name="T3" fmla="*/ 32 h 197"/>
                <a:gd name="T4" fmla="*/ 45 w 73"/>
                <a:gd name="T5" fmla="*/ 0 h 197"/>
                <a:gd name="T6" fmla="*/ 73 w 73"/>
                <a:gd name="T7" fmla="*/ 98 h 197"/>
                <a:gd name="T8" fmla="*/ 45 w 73"/>
                <a:gd name="T9" fmla="*/ 197 h 197"/>
                <a:gd name="T10" fmla="*/ 0 w 73"/>
                <a:gd name="T11" fmla="*/ 164 h 197"/>
                <a:gd name="T12" fmla="*/ 18 w 73"/>
                <a:gd name="T13" fmla="*/ 98 h 197"/>
              </a:gdLst>
              <a:ahLst/>
              <a:cxnLst>
                <a:cxn ang="0">
                  <a:pos x="T0" y="T1"/>
                </a:cxn>
                <a:cxn ang="0">
                  <a:pos x="T2" y="T3"/>
                </a:cxn>
                <a:cxn ang="0">
                  <a:pos x="T4" y="T5"/>
                </a:cxn>
                <a:cxn ang="0">
                  <a:pos x="T6" y="T7"/>
                </a:cxn>
                <a:cxn ang="0">
                  <a:pos x="T8" y="T9"/>
                </a:cxn>
                <a:cxn ang="0">
                  <a:pos x="T10" y="T11"/>
                </a:cxn>
                <a:cxn ang="0">
                  <a:pos x="T12" y="T13"/>
                </a:cxn>
              </a:cxnLst>
              <a:rect l="0" t="0" r="r" b="b"/>
              <a:pathLst>
                <a:path w="73" h="197">
                  <a:moveTo>
                    <a:pt x="18" y="98"/>
                  </a:moveTo>
                  <a:cubicBezTo>
                    <a:pt x="18" y="74"/>
                    <a:pt x="12" y="51"/>
                    <a:pt x="0" y="32"/>
                  </a:cubicBezTo>
                  <a:cubicBezTo>
                    <a:pt x="45" y="0"/>
                    <a:pt x="45" y="0"/>
                    <a:pt x="45" y="0"/>
                  </a:cubicBezTo>
                  <a:cubicBezTo>
                    <a:pt x="62" y="28"/>
                    <a:pt x="73" y="62"/>
                    <a:pt x="73" y="98"/>
                  </a:cubicBezTo>
                  <a:cubicBezTo>
                    <a:pt x="73" y="134"/>
                    <a:pt x="62" y="168"/>
                    <a:pt x="45" y="197"/>
                  </a:cubicBezTo>
                  <a:cubicBezTo>
                    <a:pt x="0" y="164"/>
                    <a:pt x="0" y="164"/>
                    <a:pt x="0" y="164"/>
                  </a:cubicBezTo>
                  <a:cubicBezTo>
                    <a:pt x="12" y="145"/>
                    <a:pt x="18" y="122"/>
                    <a:pt x="18" y="98"/>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5" name="Freeform 6">
              <a:extLst>
                <a:ext uri="{FF2B5EF4-FFF2-40B4-BE49-F238E27FC236}">
                  <a16:creationId xmlns:a16="http://schemas.microsoft.com/office/drawing/2014/main" id="{A5464044-7745-4049-BBE0-4457B08D54CC}"/>
                </a:ext>
              </a:extLst>
            </p:cNvPr>
            <p:cNvSpPr>
              <a:spLocks/>
            </p:cNvSpPr>
            <p:nvPr/>
          </p:nvSpPr>
          <p:spPr bwMode="auto">
            <a:xfrm>
              <a:off x="4357688" y="2659063"/>
              <a:ext cx="914400" cy="484187"/>
            </a:xfrm>
            <a:custGeom>
              <a:avLst/>
              <a:gdLst>
                <a:gd name="T0" fmla="*/ 44 w 187"/>
                <a:gd name="T1" fmla="*/ 44 h 99"/>
                <a:gd name="T2" fmla="*/ 142 w 187"/>
                <a:gd name="T3" fmla="*/ 0 h 99"/>
                <a:gd name="T4" fmla="*/ 187 w 187"/>
                <a:gd name="T5" fmla="*/ 32 h 99"/>
                <a:gd name="T6" fmla="*/ 44 w 187"/>
                <a:gd name="T7" fmla="*/ 99 h 99"/>
                <a:gd name="T8" fmla="*/ 0 w 187"/>
                <a:gd name="T9" fmla="*/ 93 h 99"/>
                <a:gd name="T10" fmla="*/ 16 w 187"/>
                <a:gd name="T11" fmla="*/ 41 h 99"/>
                <a:gd name="T12" fmla="*/ 44 w 187"/>
                <a:gd name="T13" fmla="*/ 44 h 99"/>
              </a:gdLst>
              <a:ahLst/>
              <a:cxnLst>
                <a:cxn ang="0">
                  <a:pos x="T0" y="T1"/>
                </a:cxn>
                <a:cxn ang="0">
                  <a:pos x="T2" y="T3"/>
                </a:cxn>
                <a:cxn ang="0">
                  <a:pos x="T4" y="T5"/>
                </a:cxn>
                <a:cxn ang="0">
                  <a:pos x="T6" y="T7"/>
                </a:cxn>
                <a:cxn ang="0">
                  <a:pos x="T8" y="T9"/>
                </a:cxn>
                <a:cxn ang="0">
                  <a:pos x="T10" y="T11"/>
                </a:cxn>
                <a:cxn ang="0">
                  <a:pos x="T12" y="T13"/>
                </a:cxn>
              </a:cxnLst>
              <a:rect l="0" t="0" r="r" b="b"/>
              <a:pathLst>
                <a:path w="187" h="99">
                  <a:moveTo>
                    <a:pt x="44" y="44"/>
                  </a:moveTo>
                  <a:cubicBezTo>
                    <a:pt x="83" y="44"/>
                    <a:pt x="118" y="27"/>
                    <a:pt x="142" y="0"/>
                  </a:cubicBezTo>
                  <a:cubicBezTo>
                    <a:pt x="187" y="32"/>
                    <a:pt x="187" y="32"/>
                    <a:pt x="187" y="32"/>
                  </a:cubicBezTo>
                  <a:cubicBezTo>
                    <a:pt x="153" y="73"/>
                    <a:pt x="101" y="99"/>
                    <a:pt x="44" y="99"/>
                  </a:cubicBezTo>
                  <a:cubicBezTo>
                    <a:pt x="29" y="99"/>
                    <a:pt x="14" y="97"/>
                    <a:pt x="0" y="93"/>
                  </a:cubicBezTo>
                  <a:cubicBezTo>
                    <a:pt x="16" y="41"/>
                    <a:pt x="16" y="41"/>
                    <a:pt x="16" y="41"/>
                  </a:cubicBezTo>
                  <a:cubicBezTo>
                    <a:pt x="25" y="43"/>
                    <a:pt x="35" y="44"/>
                    <a:pt x="44" y="4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6" name="Freeform 7">
              <a:extLst>
                <a:ext uri="{FF2B5EF4-FFF2-40B4-BE49-F238E27FC236}">
                  <a16:creationId xmlns:a16="http://schemas.microsoft.com/office/drawing/2014/main" id="{CE858777-A3F1-4AE7-BC4C-63F99EB22F23}"/>
                </a:ext>
              </a:extLst>
            </p:cNvPr>
            <p:cNvSpPr>
              <a:spLocks/>
            </p:cNvSpPr>
            <p:nvPr/>
          </p:nvSpPr>
          <p:spPr bwMode="auto">
            <a:xfrm>
              <a:off x="3662363" y="2297113"/>
              <a:ext cx="650875" cy="777875"/>
            </a:xfrm>
            <a:custGeom>
              <a:avLst/>
              <a:gdLst>
                <a:gd name="T0" fmla="*/ 133 w 133"/>
                <a:gd name="T1" fmla="*/ 107 h 159"/>
                <a:gd name="T2" fmla="*/ 116 w 133"/>
                <a:gd name="T3" fmla="*/ 159 h 159"/>
                <a:gd name="T4" fmla="*/ 0 w 133"/>
                <a:gd name="T5" fmla="*/ 0 h 159"/>
                <a:gd name="T6" fmla="*/ 55 w 133"/>
                <a:gd name="T7" fmla="*/ 0 h 159"/>
                <a:gd name="T8" fmla="*/ 133 w 133"/>
                <a:gd name="T9" fmla="*/ 107 h 159"/>
              </a:gdLst>
              <a:ahLst/>
              <a:cxnLst>
                <a:cxn ang="0">
                  <a:pos x="T0" y="T1"/>
                </a:cxn>
                <a:cxn ang="0">
                  <a:pos x="T2" y="T3"/>
                </a:cxn>
                <a:cxn ang="0">
                  <a:pos x="T4" y="T5"/>
                </a:cxn>
                <a:cxn ang="0">
                  <a:pos x="T6" y="T7"/>
                </a:cxn>
                <a:cxn ang="0">
                  <a:pos x="T8" y="T9"/>
                </a:cxn>
              </a:cxnLst>
              <a:rect l="0" t="0" r="r" b="b"/>
              <a:pathLst>
                <a:path w="133" h="159">
                  <a:moveTo>
                    <a:pt x="133" y="107"/>
                  </a:moveTo>
                  <a:cubicBezTo>
                    <a:pt x="116" y="159"/>
                    <a:pt x="116" y="159"/>
                    <a:pt x="116" y="159"/>
                  </a:cubicBezTo>
                  <a:cubicBezTo>
                    <a:pt x="52" y="133"/>
                    <a:pt x="5" y="72"/>
                    <a:pt x="0" y="0"/>
                  </a:cubicBezTo>
                  <a:cubicBezTo>
                    <a:pt x="55" y="0"/>
                    <a:pt x="55" y="0"/>
                    <a:pt x="55" y="0"/>
                  </a:cubicBezTo>
                  <a:cubicBezTo>
                    <a:pt x="60" y="48"/>
                    <a:pt x="91" y="88"/>
                    <a:pt x="133" y="107"/>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7" name="Freeform 8">
              <a:extLst>
                <a:ext uri="{FF2B5EF4-FFF2-40B4-BE49-F238E27FC236}">
                  <a16:creationId xmlns:a16="http://schemas.microsoft.com/office/drawing/2014/main" id="{2CFA11CC-EEAB-4496-BFC1-F2F442DC1BE1}"/>
                </a:ext>
              </a:extLst>
            </p:cNvPr>
            <p:cNvSpPr>
              <a:spLocks/>
            </p:cNvSpPr>
            <p:nvPr/>
          </p:nvSpPr>
          <p:spPr bwMode="auto">
            <a:xfrm>
              <a:off x="4357688" y="1317626"/>
              <a:ext cx="914400" cy="479425"/>
            </a:xfrm>
            <a:custGeom>
              <a:avLst/>
              <a:gdLst>
                <a:gd name="T0" fmla="*/ 44 w 187"/>
                <a:gd name="T1" fmla="*/ 54 h 98"/>
                <a:gd name="T2" fmla="*/ 16 w 187"/>
                <a:gd name="T3" fmla="*/ 57 h 98"/>
                <a:gd name="T4" fmla="*/ 0 w 187"/>
                <a:gd name="T5" fmla="*/ 5 h 98"/>
                <a:gd name="T6" fmla="*/ 44 w 187"/>
                <a:gd name="T7" fmla="*/ 0 h 98"/>
                <a:gd name="T8" fmla="*/ 187 w 187"/>
                <a:gd name="T9" fmla="*/ 66 h 98"/>
                <a:gd name="T10" fmla="*/ 142 w 187"/>
                <a:gd name="T11" fmla="*/ 98 h 98"/>
                <a:gd name="T12" fmla="*/ 44 w 187"/>
                <a:gd name="T13" fmla="*/ 54 h 98"/>
              </a:gdLst>
              <a:ahLst/>
              <a:cxnLst>
                <a:cxn ang="0">
                  <a:pos x="T0" y="T1"/>
                </a:cxn>
                <a:cxn ang="0">
                  <a:pos x="T2" y="T3"/>
                </a:cxn>
                <a:cxn ang="0">
                  <a:pos x="T4" y="T5"/>
                </a:cxn>
                <a:cxn ang="0">
                  <a:pos x="T6" y="T7"/>
                </a:cxn>
                <a:cxn ang="0">
                  <a:pos x="T8" y="T9"/>
                </a:cxn>
                <a:cxn ang="0">
                  <a:pos x="T10" y="T11"/>
                </a:cxn>
                <a:cxn ang="0">
                  <a:pos x="T12" y="T13"/>
                </a:cxn>
              </a:cxnLst>
              <a:rect l="0" t="0" r="r" b="b"/>
              <a:pathLst>
                <a:path w="187" h="98">
                  <a:moveTo>
                    <a:pt x="44" y="54"/>
                  </a:moveTo>
                  <a:cubicBezTo>
                    <a:pt x="35" y="54"/>
                    <a:pt x="25" y="55"/>
                    <a:pt x="16" y="57"/>
                  </a:cubicBezTo>
                  <a:cubicBezTo>
                    <a:pt x="0" y="5"/>
                    <a:pt x="0" y="5"/>
                    <a:pt x="0" y="5"/>
                  </a:cubicBezTo>
                  <a:cubicBezTo>
                    <a:pt x="14" y="2"/>
                    <a:pt x="29" y="0"/>
                    <a:pt x="44" y="0"/>
                  </a:cubicBezTo>
                  <a:cubicBezTo>
                    <a:pt x="101" y="0"/>
                    <a:pt x="153" y="25"/>
                    <a:pt x="187" y="66"/>
                  </a:cubicBezTo>
                  <a:cubicBezTo>
                    <a:pt x="142" y="98"/>
                    <a:pt x="142" y="98"/>
                    <a:pt x="142" y="98"/>
                  </a:cubicBezTo>
                  <a:cubicBezTo>
                    <a:pt x="118" y="71"/>
                    <a:pt x="83" y="54"/>
                    <a:pt x="44" y="5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8" name="Freeform 9">
              <a:extLst>
                <a:ext uri="{FF2B5EF4-FFF2-40B4-BE49-F238E27FC236}">
                  <a16:creationId xmlns:a16="http://schemas.microsoft.com/office/drawing/2014/main" id="{955ABBBA-7215-461D-B0E8-338E766E62BA}"/>
                </a:ext>
              </a:extLst>
            </p:cNvPr>
            <p:cNvSpPr>
              <a:spLocks/>
            </p:cNvSpPr>
            <p:nvPr/>
          </p:nvSpPr>
          <p:spPr bwMode="auto">
            <a:xfrm>
              <a:off x="3662363" y="1381125"/>
              <a:ext cx="650875" cy="782637"/>
            </a:xfrm>
            <a:custGeom>
              <a:avLst/>
              <a:gdLst>
                <a:gd name="T0" fmla="*/ 55 w 133"/>
                <a:gd name="T1" fmla="*/ 160 h 160"/>
                <a:gd name="T2" fmla="*/ 0 w 133"/>
                <a:gd name="T3" fmla="*/ 160 h 160"/>
                <a:gd name="T4" fmla="*/ 116 w 133"/>
                <a:gd name="T5" fmla="*/ 0 h 160"/>
                <a:gd name="T6" fmla="*/ 133 w 133"/>
                <a:gd name="T7" fmla="*/ 53 h 160"/>
                <a:gd name="T8" fmla="*/ 55 w 133"/>
                <a:gd name="T9" fmla="*/ 160 h 160"/>
              </a:gdLst>
              <a:ahLst/>
              <a:cxnLst>
                <a:cxn ang="0">
                  <a:pos x="T0" y="T1"/>
                </a:cxn>
                <a:cxn ang="0">
                  <a:pos x="T2" y="T3"/>
                </a:cxn>
                <a:cxn ang="0">
                  <a:pos x="T4" y="T5"/>
                </a:cxn>
                <a:cxn ang="0">
                  <a:pos x="T6" y="T7"/>
                </a:cxn>
                <a:cxn ang="0">
                  <a:pos x="T8" y="T9"/>
                </a:cxn>
              </a:cxnLst>
              <a:rect l="0" t="0" r="r" b="b"/>
              <a:pathLst>
                <a:path w="133" h="160">
                  <a:moveTo>
                    <a:pt x="55" y="160"/>
                  </a:moveTo>
                  <a:cubicBezTo>
                    <a:pt x="0" y="160"/>
                    <a:pt x="0" y="160"/>
                    <a:pt x="0" y="160"/>
                  </a:cubicBezTo>
                  <a:cubicBezTo>
                    <a:pt x="5" y="87"/>
                    <a:pt x="52" y="27"/>
                    <a:pt x="116" y="0"/>
                  </a:cubicBezTo>
                  <a:cubicBezTo>
                    <a:pt x="133" y="53"/>
                    <a:pt x="133" y="53"/>
                    <a:pt x="133" y="53"/>
                  </a:cubicBezTo>
                  <a:cubicBezTo>
                    <a:pt x="91" y="71"/>
                    <a:pt x="60" y="112"/>
                    <a:pt x="55" y="1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grpSp>
      <p:sp>
        <p:nvSpPr>
          <p:cNvPr id="13" name="TextBox 12">
            <a:extLst>
              <a:ext uri="{FF2B5EF4-FFF2-40B4-BE49-F238E27FC236}">
                <a16:creationId xmlns:a16="http://schemas.microsoft.com/office/drawing/2014/main" id="{C5EA82B3-5F54-496E-A2C1-2FB848117E3A}"/>
              </a:ext>
            </a:extLst>
          </p:cNvPr>
          <p:cNvSpPr txBox="1"/>
          <p:nvPr/>
        </p:nvSpPr>
        <p:spPr>
          <a:xfrm>
            <a:off x="1666527" y="10260829"/>
            <a:ext cx="3657362" cy="1292662"/>
          </a:xfrm>
          <a:prstGeom prst="rect">
            <a:avLst/>
          </a:prstGeom>
          <a:noFill/>
          <a:ln w="6350">
            <a:noFill/>
            <a:prstDash val="dash"/>
          </a:ln>
        </p:spPr>
        <p:txBody>
          <a:bodyPr wrap="square" lIns="0" tIns="0" rIns="0" bIns="0" rtlCol="0">
            <a:spAutoFit/>
          </a:bodyPr>
          <a:lstStyle/>
          <a:p>
            <a:pPr algn="ctr"/>
            <a:r>
              <a:rPr lang="en-US" sz="2800" dirty="0">
                <a:solidFill>
                  <a:prstClr val="black">
                    <a:lumMod val="75000"/>
                    <a:lumOff val="25000"/>
                  </a:prstClr>
                </a:solidFill>
              </a:rPr>
              <a:t>Lorem ipsum dolor sit </a:t>
            </a:r>
            <a:r>
              <a:rPr lang="en-US" sz="2800" dirty="0" err="1">
                <a:solidFill>
                  <a:prstClr val="black">
                    <a:lumMod val="75000"/>
                    <a:lumOff val="25000"/>
                  </a:prstClr>
                </a:solidFill>
              </a:rPr>
              <a:t>amet</a:t>
            </a:r>
            <a:r>
              <a:rPr lang="en-US" sz="2800" dirty="0">
                <a:solidFill>
                  <a:prstClr val="black">
                    <a:lumMod val="75000"/>
                    <a:lumOff val="25000"/>
                  </a:prstClr>
                </a:solidFill>
              </a:rPr>
              <a:t>, </a:t>
            </a:r>
            <a:r>
              <a:rPr lang="en-US" sz="2800" dirty="0" err="1">
                <a:solidFill>
                  <a:prstClr val="black">
                    <a:lumMod val="75000"/>
                    <a:lumOff val="25000"/>
                  </a:prstClr>
                </a:solidFill>
              </a:rPr>
              <a:t>consectetur</a:t>
            </a:r>
            <a:r>
              <a:rPr lang="en-US" sz="2800" dirty="0">
                <a:solidFill>
                  <a:prstClr val="black">
                    <a:lumMod val="75000"/>
                    <a:lumOff val="25000"/>
                  </a:prstClr>
                </a:solidFill>
              </a:rPr>
              <a:t> </a:t>
            </a:r>
            <a:r>
              <a:rPr lang="en-US" sz="2800" dirty="0" err="1">
                <a:solidFill>
                  <a:prstClr val="black">
                    <a:lumMod val="75000"/>
                    <a:lumOff val="25000"/>
                  </a:prstClr>
                </a:solidFill>
              </a:rPr>
              <a:t>adipiscing</a:t>
            </a:r>
            <a:r>
              <a:rPr lang="en-US" sz="2800" dirty="0">
                <a:solidFill>
                  <a:prstClr val="black">
                    <a:lumMod val="75000"/>
                    <a:lumOff val="25000"/>
                  </a:prstClr>
                </a:solidFill>
              </a:rPr>
              <a:t> </a:t>
            </a:r>
            <a:r>
              <a:rPr lang="en-US" sz="2800" dirty="0" err="1">
                <a:solidFill>
                  <a:prstClr val="black">
                    <a:lumMod val="75000"/>
                    <a:lumOff val="25000"/>
                  </a:prstClr>
                </a:solidFill>
              </a:rPr>
              <a:t>elit</a:t>
            </a:r>
            <a:r>
              <a:rPr lang="en-US" sz="2800" dirty="0">
                <a:solidFill>
                  <a:prstClr val="black">
                    <a:lumMod val="75000"/>
                    <a:lumOff val="25000"/>
                  </a:prstClr>
                </a:solidFill>
              </a:rPr>
              <a:t>. </a:t>
            </a:r>
          </a:p>
        </p:txBody>
      </p:sp>
      <p:grpSp>
        <p:nvGrpSpPr>
          <p:cNvPr id="40" name="Group 39">
            <a:extLst>
              <a:ext uri="{FF2B5EF4-FFF2-40B4-BE49-F238E27FC236}">
                <a16:creationId xmlns:a16="http://schemas.microsoft.com/office/drawing/2014/main" id="{D5AD50F1-33CA-4784-8C1E-9EBD42DBDCB0}"/>
              </a:ext>
            </a:extLst>
          </p:cNvPr>
          <p:cNvGrpSpPr/>
          <p:nvPr/>
        </p:nvGrpSpPr>
        <p:grpSpPr>
          <a:xfrm>
            <a:off x="19816627" y="7867436"/>
            <a:ext cx="2131395" cy="2133247"/>
            <a:chOff x="3662363" y="1317626"/>
            <a:chExt cx="1824038" cy="1825624"/>
          </a:xfrm>
        </p:grpSpPr>
        <p:sp>
          <p:nvSpPr>
            <p:cNvPr id="41" name="Freeform 5">
              <a:extLst>
                <a:ext uri="{FF2B5EF4-FFF2-40B4-BE49-F238E27FC236}">
                  <a16:creationId xmlns:a16="http://schemas.microsoft.com/office/drawing/2014/main" id="{61D1AE8A-640E-40A3-A23C-EAE304E43B8B}"/>
                </a:ext>
              </a:extLst>
            </p:cNvPr>
            <p:cNvSpPr>
              <a:spLocks/>
            </p:cNvSpPr>
            <p:nvPr/>
          </p:nvSpPr>
          <p:spPr bwMode="auto">
            <a:xfrm>
              <a:off x="5129213" y="1747838"/>
              <a:ext cx="357188" cy="965200"/>
            </a:xfrm>
            <a:custGeom>
              <a:avLst/>
              <a:gdLst>
                <a:gd name="T0" fmla="*/ 18 w 73"/>
                <a:gd name="T1" fmla="*/ 98 h 197"/>
                <a:gd name="T2" fmla="*/ 0 w 73"/>
                <a:gd name="T3" fmla="*/ 32 h 197"/>
                <a:gd name="T4" fmla="*/ 45 w 73"/>
                <a:gd name="T5" fmla="*/ 0 h 197"/>
                <a:gd name="T6" fmla="*/ 73 w 73"/>
                <a:gd name="T7" fmla="*/ 98 h 197"/>
                <a:gd name="T8" fmla="*/ 45 w 73"/>
                <a:gd name="T9" fmla="*/ 197 h 197"/>
                <a:gd name="T10" fmla="*/ 0 w 73"/>
                <a:gd name="T11" fmla="*/ 164 h 197"/>
                <a:gd name="T12" fmla="*/ 18 w 73"/>
                <a:gd name="T13" fmla="*/ 98 h 197"/>
              </a:gdLst>
              <a:ahLst/>
              <a:cxnLst>
                <a:cxn ang="0">
                  <a:pos x="T0" y="T1"/>
                </a:cxn>
                <a:cxn ang="0">
                  <a:pos x="T2" y="T3"/>
                </a:cxn>
                <a:cxn ang="0">
                  <a:pos x="T4" y="T5"/>
                </a:cxn>
                <a:cxn ang="0">
                  <a:pos x="T6" y="T7"/>
                </a:cxn>
                <a:cxn ang="0">
                  <a:pos x="T8" y="T9"/>
                </a:cxn>
                <a:cxn ang="0">
                  <a:pos x="T10" y="T11"/>
                </a:cxn>
                <a:cxn ang="0">
                  <a:pos x="T12" y="T13"/>
                </a:cxn>
              </a:cxnLst>
              <a:rect l="0" t="0" r="r" b="b"/>
              <a:pathLst>
                <a:path w="73" h="197">
                  <a:moveTo>
                    <a:pt x="18" y="98"/>
                  </a:moveTo>
                  <a:cubicBezTo>
                    <a:pt x="18" y="74"/>
                    <a:pt x="12" y="51"/>
                    <a:pt x="0" y="32"/>
                  </a:cubicBezTo>
                  <a:cubicBezTo>
                    <a:pt x="45" y="0"/>
                    <a:pt x="45" y="0"/>
                    <a:pt x="45" y="0"/>
                  </a:cubicBezTo>
                  <a:cubicBezTo>
                    <a:pt x="62" y="28"/>
                    <a:pt x="73" y="62"/>
                    <a:pt x="73" y="98"/>
                  </a:cubicBezTo>
                  <a:cubicBezTo>
                    <a:pt x="73" y="134"/>
                    <a:pt x="62" y="168"/>
                    <a:pt x="45" y="197"/>
                  </a:cubicBezTo>
                  <a:cubicBezTo>
                    <a:pt x="0" y="164"/>
                    <a:pt x="0" y="164"/>
                    <a:pt x="0" y="164"/>
                  </a:cubicBezTo>
                  <a:cubicBezTo>
                    <a:pt x="12" y="145"/>
                    <a:pt x="18" y="122"/>
                    <a:pt x="18" y="98"/>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42" name="Freeform 6">
              <a:extLst>
                <a:ext uri="{FF2B5EF4-FFF2-40B4-BE49-F238E27FC236}">
                  <a16:creationId xmlns:a16="http://schemas.microsoft.com/office/drawing/2014/main" id="{1A30979F-C822-427A-B2A1-EEFF8343272D}"/>
                </a:ext>
              </a:extLst>
            </p:cNvPr>
            <p:cNvSpPr>
              <a:spLocks/>
            </p:cNvSpPr>
            <p:nvPr/>
          </p:nvSpPr>
          <p:spPr bwMode="auto">
            <a:xfrm>
              <a:off x="4357688" y="2659063"/>
              <a:ext cx="914400" cy="484187"/>
            </a:xfrm>
            <a:custGeom>
              <a:avLst/>
              <a:gdLst>
                <a:gd name="T0" fmla="*/ 44 w 187"/>
                <a:gd name="T1" fmla="*/ 44 h 99"/>
                <a:gd name="T2" fmla="*/ 142 w 187"/>
                <a:gd name="T3" fmla="*/ 0 h 99"/>
                <a:gd name="T4" fmla="*/ 187 w 187"/>
                <a:gd name="T5" fmla="*/ 32 h 99"/>
                <a:gd name="T6" fmla="*/ 44 w 187"/>
                <a:gd name="T7" fmla="*/ 99 h 99"/>
                <a:gd name="T8" fmla="*/ 0 w 187"/>
                <a:gd name="T9" fmla="*/ 93 h 99"/>
                <a:gd name="T10" fmla="*/ 16 w 187"/>
                <a:gd name="T11" fmla="*/ 41 h 99"/>
                <a:gd name="T12" fmla="*/ 44 w 187"/>
                <a:gd name="T13" fmla="*/ 44 h 99"/>
              </a:gdLst>
              <a:ahLst/>
              <a:cxnLst>
                <a:cxn ang="0">
                  <a:pos x="T0" y="T1"/>
                </a:cxn>
                <a:cxn ang="0">
                  <a:pos x="T2" y="T3"/>
                </a:cxn>
                <a:cxn ang="0">
                  <a:pos x="T4" y="T5"/>
                </a:cxn>
                <a:cxn ang="0">
                  <a:pos x="T6" y="T7"/>
                </a:cxn>
                <a:cxn ang="0">
                  <a:pos x="T8" y="T9"/>
                </a:cxn>
                <a:cxn ang="0">
                  <a:pos x="T10" y="T11"/>
                </a:cxn>
                <a:cxn ang="0">
                  <a:pos x="T12" y="T13"/>
                </a:cxn>
              </a:cxnLst>
              <a:rect l="0" t="0" r="r" b="b"/>
              <a:pathLst>
                <a:path w="187" h="99">
                  <a:moveTo>
                    <a:pt x="44" y="44"/>
                  </a:moveTo>
                  <a:cubicBezTo>
                    <a:pt x="83" y="44"/>
                    <a:pt x="118" y="27"/>
                    <a:pt x="142" y="0"/>
                  </a:cubicBezTo>
                  <a:cubicBezTo>
                    <a:pt x="187" y="32"/>
                    <a:pt x="187" y="32"/>
                    <a:pt x="187" y="32"/>
                  </a:cubicBezTo>
                  <a:cubicBezTo>
                    <a:pt x="153" y="73"/>
                    <a:pt x="101" y="99"/>
                    <a:pt x="44" y="99"/>
                  </a:cubicBezTo>
                  <a:cubicBezTo>
                    <a:pt x="29" y="99"/>
                    <a:pt x="14" y="97"/>
                    <a:pt x="0" y="93"/>
                  </a:cubicBezTo>
                  <a:cubicBezTo>
                    <a:pt x="16" y="41"/>
                    <a:pt x="16" y="41"/>
                    <a:pt x="16" y="41"/>
                  </a:cubicBezTo>
                  <a:cubicBezTo>
                    <a:pt x="25" y="43"/>
                    <a:pt x="35" y="44"/>
                    <a:pt x="44" y="4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43" name="Freeform 7">
              <a:extLst>
                <a:ext uri="{FF2B5EF4-FFF2-40B4-BE49-F238E27FC236}">
                  <a16:creationId xmlns:a16="http://schemas.microsoft.com/office/drawing/2014/main" id="{FD62F396-F119-44C2-BB0A-ADA1F2FCAD5E}"/>
                </a:ext>
              </a:extLst>
            </p:cNvPr>
            <p:cNvSpPr>
              <a:spLocks/>
            </p:cNvSpPr>
            <p:nvPr/>
          </p:nvSpPr>
          <p:spPr bwMode="auto">
            <a:xfrm>
              <a:off x="3662363" y="2297113"/>
              <a:ext cx="650875" cy="777875"/>
            </a:xfrm>
            <a:custGeom>
              <a:avLst/>
              <a:gdLst>
                <a:gd name="T0" fmla="*/ 133 w 133"/>
                <a:gd name="T1" fmla="*/ 107 h 159"/>
                <a:gd name="T2" fmla="*/ 116 w 133"/>
                <a:gd name="T3" fmla="*/ 159 h 159"/>
                <a:gd name="T4" fmla="*/ 0 w 133"/>
                <a:gd name="T5" fmla="*/ 0 h 159"/>
                <a:gd name="T6" fmla="*/ 55 w 133"/>
                <a:gd name="T7" fmla="*/ 0 h 159"/>
                <a:gd name="T8" fmla="*/ 133 w 133"/>
                <a:gd name="T9" fmla="*/ 107 h 159"/>
              </a:gdLst>
              <a:ahLst/>
              <a:cxnLst>
                <a:cxn ang="0">
                  <a:pos x="T0" y="T1"/>
                </a:cxn>
                <a:cxn ang="0">
                  <a:pos x="T2" y="T3"/>
                </a:cxn>
                <a:cxn ang="0">
                  <a:pos x="T4" y="T5"/>
                </a:cxn>
                <a:cxn ang="0">
                  <a:pos x="T6" y="T7"/>
                </a:cxn>
                <a:cxn ang="0">
                  <a:pos x="T8" y="T9"/>
                </a:cxn>
              </a:cxnLst>
              <a:rect l="0" t="0" r="r" b="b"/>
              <a:pathLst>
                <a:path w="133" h="159">
                  <a:moveTo>
                    <a:pt x="133" y="107"/>
                  </a:moveTo>
                  <a:cubicBezTo>
                    <a:pt x="116" y="159"/>
                    <a:pt x="116" y="159"/>
                    <a:pt x="116" y="159"/>
                  </a:cubicBezTo>
                  <a:cubicBezTo>
                    <a:pt x="52" y="133"/>
                    <a:pt x="5" y="72"/>
                    <a:pt x="0" y="0"/>
                  </a:cubicBezTo>
                  <a:cubicBezTo>
                    <a:pt x="55" y="0"/>
                    <a:pt x="55" y="0"/>
                    <a:pt x="55" y="0"/>
                  </a:cubicBezTo>
                  <a:cubicBezTo>
                    <a:pt x="60" y="48"/>
                    <a:pt x="91" y="88"/>
                    <a:pt x="133" y="107"/>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44" name="Freeform 8">
              <a:extLst>
                <a:ext uri="{FF2B5EF4-FFF2-40B4-BE49-F238E27FC236}">
                  <a16:creationId xmlns:a16="http://schemas.microsoft.com/office/drawing/2014/main" id="{211273B0-1B34-4499-832A-B41F8B49DCD3}"/>
                </a:ext>
              </a:extLst>
            </p:cNvPr>
            <p:cNvSpPr>
              <a:spLocks/>
            </p:cNvSpPr>
            <p:nvPr/>
          </p:nvSpPr>
          <p:spPr bwMode="auto">
            <a:xfrm>
              <a:off x="4357688" y="1317626"/>
              <a:ext cx="914400" cy="479425"/>
            </a:xfrm>
            <a:custGeom>
              <a:avLst/>
              <a:gdLst>
                <a:gd name="T0" fmla="*/ 44 w 187"/>
                <a:gd name="T1" fmla="*/ 54 h 98"/>
                <a:gd name="T2" fmla="*/ 16 w 187"/>
                <a:gd name="T3" fmla="*/ 57 h 98"/>
                <a:gd name="T4" fmla="*/ 0 w 187"/>
                <a:gd name="T5" fmla="*/ 5 h 98"/>
                <a:gd name="T6" fmla="*/ 44 w 187"/>
                <a:gd name="T7" fmla="*/ 0 h 98"/>
                <a:gd name="T8" fmla="*/ 187 w 187"/>
                <a:gd name="T9" fmla="*/ 66 h 98"/>
                <a:gd name="T10" fmla="*/ 142 w 187"/>
                <a:gd name="T11" fmla="*/ 98 h 98"/>
                <a:gd name="T12" fmla="*/ 44 w 187"/>
                <a:gd name="T13" fmla="*/ 54 h 98"/>
              </a:gdLst>
              <a:ahLst/>
              <a:cxnLst>
                <a:cxn ang="0">
                  <a:pos x="T0" y="T1"/>
                </a:cxn>
                <a:cxn ang="0">
                  <a:pos x="T2" y="T3"/>
                </a:cxn>
                <a:cxn ang="0">
                  <a:pos x="T4" y="T5"/>
                </a:cxn>
                <a:cxn ang="0">
                  <a:pos x="T6" y="T7"/>
                </a:cxn>
                <a:cxn ang="0">
                  <a:pos x="T8" y="T9"/>
                </a:cxn>
                <a:cxn ang="0">
                  <a:pos x="T10" y="T11"/>
                </a:cxn>
                <a:cxn ang="0">
                  <a:pos x="T12" y="T13"/>
                </a:cxn>
              </a:cxnLst>
              <a:rect l="0" t="0" r="r" b="b"/>
              <a:pathLst>
                <a:path w="187" h="98">
                  <a:moveTo>
                    <a:pt x="44" y="54"/>
                  </a:moveTo>
                  <a:cubicBezTo>
                    <a:pt x="35" y="54"/>
                    <a:pt x="25" y="55"/>
                    <a:pt x="16" y="57"/>
                  </a:cubicBezTo>
                  <a:cubicBezTo>
                    <a:pt x="0" y="5"/>
                    <a:pt x="0" y="5"/>
                    <a:pt x="0" y="5"/>
                  </a:cubicBezTo>
                  <a:cubicBezTo>
                    <a:pt x="14" y="2"/>
                    <a:pt x="29" y="0"/>
                    <a:pt x="44" y="0"/>
                  </a:cubicBezTo>
                  <a:cubicBezTo>
                    <a:pt x="101" y="0"/>
                    <a:pt x="153" y="25"/>
                    <a:pt x="187" y="66"/>
                  </a:cubicBezTo>
                  <a:cubicBezTo>
                    <a:pt x="142" y="98"/>
                    <a:pt x="142" y="98"/>
                    <a:pt x="142" y="98"/>
                  </a:cubicBezTo>
                  <a:cubicBezTo>
                    <a:pt x="118" y="71"/>
                    <a:pt x="83" y="54"/>
                    <a:pt x="44" y="5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45" name="Freeform 9">
              <a:extLst>
                <a:ext uri="{FF2B5EF4-FFF2-40B4-BE49-F238E27FC236}">
                  <a16:creationId xmlns:a16="http://schemas.microsoft.com/office/drawing/2014/main" id="{C8553AF9-0999-4879-92B3-E8CEEAE7167A}"/>
                </a:ext>
              </a:extLst>
            </p:cNvPr>
            <p:cNvSpPr>
              <a:spLocks/>
            </p:cNvSpPr>
            <p:nvPr/>
          </p:nvSpPr>
          <p:spPr bwMode="auto">
            <a:xfrm>
              <a:off x="3662363" y="1381125"/>
              <a:ext cx="650875" cy="782637"/>
            </a:xfrm>
            <a:custGeom>
              <a:avLst/>
              <a:gdLst>
                <a:gd name="T0" fmla="*/ 55 w 133"/>
                <a:gd name="T1" fmla="*/ 160 h 160"/>
                <a:gd name="T2" fmla="*/ 0 w 133"/>
                <a:gd name="T3" fmla="*/ 160 h 160"/>
                <a:gd name="T4" fmla="*/ 116 w 133"/>
                <a:gd name="T5" fmla="*/ 0 h 160"/>
                <a:gd name="T6" fmla="*/ 133 w 133"/>
                <a:gd name="T7" fmla="*/ 53 h 160"/>
                <a:gd name="T8" fmla="*/ 55 w 133"/>
                <a:gd name="T9" fmla="*/ 160 h 160"/>
              </a:gdLst>
              <a:ahLst/>
              <a:cxnLst>
                <a:cxn ang="0">
                  <a:pos x="T0" y="T1"/>
                </a:cxn>
                <a:cxn ang="0">
                  <a:pos x="T2" y="T3"/>
                </a:cxn>
                <a:cxn ang="0">
                  <a:pos x="T4" y="T5"/>
                </a:cxn>
                <a:cxn ang="0">
                  <a:pos x="T6" y="T7"/>
                </a:cxn>
                <a:cxn ang="0">
                  <a:pos x="T8" y="T9"/>
                </a:cxn>
              </a:cxnLst>
              <a:rect l="0" t="0" r="r" b="b"/>
              <a:pathLst>
                <a:path w="133" h="160">
                  <a:moveTo>
                    <a:pt x="55" y="160"/>
                  </a:moveTo>
                  <a:cubicBezTo>
                    <a:pt x="0" y="160"/>
                    <a:pt x="0" y="160"/>
                    <a:pt x="0" y="160"/>
                  </a:cubicBezTo>
                  <a:cubicBezTo>
                    <a:pt x="5" y="87"/>
                    <a:pt x="52" y="27"/>
                    <a:pt x="116" y="0"/>
                  </a:cubicBezTo>
                  <a:cubicBezTo>
                    <a:pt x="133" y="53"/>
                    <a:pt x="133" y="53"/>
                    <a:pt x="133" y="53"/>
                  </a:cubicBezTo>
                  <a:cubicBezTo>
                    <a:pt x="91" y="71"/>
                    <a:pt x="60" y="112"/>
                    <a:pt x="55" y="16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grpSp>
      <p:sp>
        <p:nvSpPr>
          <p:cNvPr id="46" name="TextBox 45">
            <a:extLst>
              <a:ext uri="{FF2B5EF4-FFF2-40B4-BE49-F238E27FC236}">
                <a16:creationId xmlns:a16="http://schemas.microsoft.com/office/drawing/2014/main" id="{CE8DBF0E-DFE4-4643-8B9E-249DE19632AE}"/>
              </a:ext>
            </a:extLst>
          </p:cNvPr>
          <p:cNvSpPr txBox="1"/>
          <p:nvPr/>
        </p:nvSpPr>
        <p:spPr>
          <a:xfrm>
            <a:off x="19048759" y="10260827"/>
            <a:ext cx="3657362" cy="1292662"/>
          </a:xfrm>
          <a:prstGeom prst="rect">
            <a:avLst/>
          </a:prstGeom>
          <a:noFill/>
          <a:ln w="6350">
            <a:noFill/>
            <a:prstDash val="dash"/>
          </a:ln>
        </p:spPr>
        <p:txBody>
          <a:bodyPr wrap="square" lIns="0" tIns="0" rIns="0" bIns="0" rtlCol="0">
            <a:spAutoFit/>
          </a:bodyPr>
          <a:lstStyle/>
          <a:p>
            <a:pPr algn="ctr"/>
            <a:r>
              <a:rPr lang="en-US" sz="2800" dirty="0">
                <a:solidFill>
                  <a:prstClr val="black">
                    <a:lumMod val="75000"/>
                    <a:lumOff val="25000"/>
                  </a:prstClr>
                </a:solidFill>
              </a:rPr>
              <a:t>Lorem ipsum dolor sit </a:t>
            </a:r>
            <a:r>
              <a:rPr lang="en-US" sz="2800" dirty="0" err="1">
                <a:solidFill>
                  <a:prstClr val="black">
                    <a:lumMod val="75000"/>
                    <a:lumOff val="25000"/>
                  </a:prstClr>
                </a:solidFill>
              </a:rPr>
              <a:t>amet</a:t>
            </a:r>
            <a:r>
              <a:rPr lang="en-US" sz="2800" dirty="0">
                <a:solidFill>
                  <a:prstClr val="black">
                    <a:lumMod val="75000"/>
                    <a:lumOff val="25000"/>
                  </a:prstClr>
                </a:solidFill>
              </a:rPr>
              <a:t>, </a:t>
            </a:r>
            <a:r>
              <a:rPr lang="en-US" sz="2800" dirty="0" err="1">
                <a:solidFill>
                  <a:prstClr val="black">
                    <a:lumMod val="75000"/>
                    <a:lumOff val="25000"/>
                  </a:prstClr>
                </a:solidFill>
              </a:rPr>
              <a:t>consectetur</a:t>
            </a:r>
            <a:r>
              <a:rPr lang="en-US" sz="2800" dirty="0">
                <a:solidFill>
                  <a:prstClr val="black">
                    <a:lumMod val="75000"/>
                    <a:lumOff val="25000"/>
                  </a:prstClr>
                </a:solidFill>
              </a:rPr>
              <a:t> </a:t>
            </a:r>
            <a:r>
              <a:rPr lang="en-US" sz="2800" dirty="0" err="1">
                <a:solidFill>
                  <a:prstClr val="black">
                    <a:lumMod val="75000"/>
                    <a:lumOff val="25000"/>
                  </a:prstClr>
                </a:solidFill>
              </a:rPr>
              <a:t>adipiscing</a:t>
            </a:r>
            <a:r>
              <a:rPr lang="en-US" sz="2800" dirty="0">
                <a:solidFill>
                  <a:prstClr val="black">
                    <a:lumMod val="75000"/>
                    <a:lumOff val="25000"/>
                  </a:prstClr>
                </a:solidFill>
              </a:rPr>
              <a:t> </a:t>
            </a:r>
            <a:r>
              <a:rPr lang="en-US" sz="2800" dirty="0" err="1">
                <a:solidFill>
                  <a:prstClr val="black">
                    <a:lumMod val="75000"/>
                    <a:lumOff val="25000"/>
                  </a:prstClr>
                </a:solidFill>
              </a:rPr>
              <a:t>elit</a:t>
            </a:r>
            <a:r>
              <a:rPr lang="en-US" sz="2800" dirty="0">
                <a:solidFill>
                  <a:prstClr val="black">
                    <a:lumMod val="75000"/>
                    <a:lumOff val="25000"/>
                  </a:prstClr>
                </a:solidFill>
              </a:rPr>
              <a:t>. </a:t>
            </a:r>
          </a:p>
        </p:txBody>
      </p:sp>
      <p:sp>
        <p:nvSpPr>
          <p:cNvPr id="94" name="Oval 93">
            <a:extLst>
              <a:ext uri="{FF2B5EF4-FFF2-40B4-BE49-F238E27FC236}">
                <a16:creationId xmlns:a16="http://schemas.microsoft.com/office/drawing/2014/main" id="{700C0816-FB1F-4CCC-85F0-8501B0FAA9F3}"/>
              </a:ext>
            </a:extLst>
          </p:cNvPr>
          <p:cNvSpPr/>
          <p:nvPr/>
        </p:nvSpPr>
        <p:spPr>
          <a:xfrm>
            <a:off x="10808260" y="2837479"/>
            <a:ext cx="2765892" cy="2765892"/>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96" name="Oval 95">
            <a:extLst>
              <a:ext uri="{FF2B5EF4-FFF2-40B4-BE49-F238E27FC236}">
                <a16:creationId xmlns:a16="http://schemas.microsoft.com/office/drawing/2014/main" id="{76F9308F-D1B8-40CC-ACBD-4E5325313C1F}"/>
              </a:ext>
            </a:extLst>
          </p:cNvPr>
          <p:cNvSpPr/>
          <p:nvPr/>
        </p:nvSpPr>
        <p:spPr>
          <a:xfrm>
            <a:off x="3116490" y="6835251"/>
            <a:ext cx="767200" cy="767200"/>
          </a:xfrm>
          <a:prstGeom prst="ellipse">
            <a:avLst/>
          </a:prstGeom>
          <a:solidFill>
            <a:schemeClr val="accent1"/>
          </a:solidFill>
          <a:ln w="25400">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1</a:t>
            </a:r>
          </a:p>
        </p:txBody>
      </p:sp>
      <p:sp>
        <p:nvSpPr>
          <p:cNvPr id="97" name="Oval 96">
            <a:extLst>
              <a:ext uri="{FF2B5EF4-FFF2-40B4-BE49-F238E27FC236}">
                <a16:creationId xmlns:a16="http://schemas.microsoft.com/office/drawing/2014/main" id="{B1CF5433-837F-4946-A83E-59DC13E3FDE2}"/>
              </a:ext>
            </a:extLst>
          </p:cNvPr>
          <p:cNvSpPr/>
          <p:nvPr/>
        </p:nvSpPr>
        <p:spPr>
          <a:xfrm>
            <a:off x="7462047" y="6835251"/>
            <a:ext cx="767200" cy="767200"/>
          </a:xfrm>
          <a:prstGeom prst="ellipse">
            <a:avLst/>
          </a:prstGeom>
          <a:solidFill>
            <a:schemeClr val="accent2"/>
          </a:solidFill>
          <a:ln w="25400">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2</a:t>
            </a:r>
          </a:p>
        </p:txBody>
      </p:sp>
      <p:sp>
        <p:nvSpPr>
          <p:cNvPr id="98" name="Oval 97">
            <a:extLst>
              <a:ext uri="{FF2B5EF4-FFF2-40B4-BE49-F238E27FC236}">
                <a16:creationId xmlns:a16="http://schemas.microsoft.com/office/drawing/2014/main" id="{3E622400-DB35-41CC-BDA5-B15D667D06A7}"/>
              </a:ext>
            </a:extLst>
          </p:cNvPr>
          <p:cNvSpPr/>
          <p:nvPr/>
        </p:nvSpPr>
        <p:spPr>
          <a:xfrm>
            <a:off x="11807608" y="6835251"/>
            <a:ext cx="767200" cy="767200"/>
          </a:xfrm>
          <a:prstGeom prst="ellipse">
            <a:avLst/>
          </a:prstGeom>
          <a:solidFill>
            <a:schemeClr val="accent3"/>
          </a:solidFill>
          <a:ln w="25400">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3</a:t>
            </a:r>
          </a:p>
        </p:txBody>
      </p:sp>
      <p:sp>
        <p:nvSpPr>
          <p:cNvPr id="99" name="Oval 98">
            <a:extLst>
              <a:ext uri="{FF2B5EF4-FFF2-40B4-BE49-F238E27FC236}">
                <a16:creationId xmlns:a16="http://schemas.microsoft.com/office/drawing/2014/main" id="{7FD1D966-7FE4-4EEC-A5A8-9822E0E5C316}"/>
              </a:ext>
            </a:extLst>
          </p:cNvPr>
          <p:cNvSpPr/>
          <p:nvPr/>
        </p:nvSpPr>
        <p:spPr>
          <a:xfrm>
            <a:off x="16153163" y="6835251"/>
            <a:ext cx="767200" cy="767200"/>
          </a:xfrm>
          <a:prstGeom prst="ellipse">
            <a:avLst/>
          </a:prstGeom>
          <a:solidFill>
            <a:schemeClr val="accent1">
              <a:lumMod val="75000"/>
            </a:schemeClr>
          </a:solidFill>
          <a:ln w="25400">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4</a:t>
            </a:r>
          </a:p>
        </p:txBody>
      </p:sp>
      <p:sp>
        <p:nvSpPr>
          <p:cNvPr id="100" name="Oval 99">
            <a:extLst>
              <a:ext uri="{FF2B5EF4-FFF2-40B4-BE49-F238E27FC236}">
                <a16:creationId xmlns:a16="http://schemas.microsoft.com/office/drawing/2014/main" id="{C355C795-7FF8-446D-8129-28FCB86E5D94}"/>
              </a:ext>
            </a:extLst>
          </p:cNvPr>
          <p:cNvSpPr/>
          <p:nvPr/>
        </p:nvSpPr>
        <p:spPr>
          <a:xfrm>
            <a:off x="20498718" y="6835251"/>
            <a:ext cx="767200" cy="767200"/>
          </a:xfrm>
          <a:prstGeom prst="ellipse">
            <a:avLst/>
          </a:prstGeom>
          <a:solidFill>
            <a:schemeClr val="accent4"/>
          </a:solidFill>
          <a:ln w="25400">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5</a:t>
            </a:r>
          </a:p>
        </p:txBody>
      </p:sp>
      <p:sp>
        <p:nvSpPr>
          <p:cNvPr id="101" name="Oval 100">
            <a:extLst>
              <a:ext uri="{FF2B5EF4-FFF2-40B4-BE49-F238E27FC236}">
                <a16:creationId xmlns:a16="http://schemas.microsoft.com/office/drawing/2014/main" id="{1696EE49-639E-41C2-9DC6-EC5885353BFC}"/>
              </a:ext>
            </a:extLst>
          </p:cNvPr>
          <p:cNvSpPr/>
          <p:nvPr/>
        </p:nvSpPr>
        <p:spPr>
          <a:xfrm>
            <a:off x="2918177" y="8349367"/>
            <a:ext cx="1163822" cy="1163822"/>
          </a:xfrm>
          <a:prstGeom prst="ellipse">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02" name="Oval 101">
            <a:extLst>
              <a:ext uri="{FF2B5EF4-FFF2-40B4-BE49-F238E27FC236}">
                <a16:creationId xmlns:a16="http://schemas.microsoft.com/office/drawing/2014/main" id="{19C722DF-C93F-44F7-BE9A-DD135EBB6983}"/>
              </a:ext>
            </a:extLst>
          </p:cNvPr>
          <p:cNvSpPr/>
          <p:nvPr/>
        </p:nvSpPr>
        <p:spPr>
          <a:xfrm>
            <a:off x="7272405" y="8349367"/>
            <a:ext cx="1163822" cy="1163822"/>
          </a:xfrm>
          <a:prstGeom prst="ellipse">
            <a:avLst/>
          </a:prstGeom>
          <a:solidFill>
            <a:schemeClr val="accent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03" name="Oval 102">
            <a:extLst>
              <a:ext uri="{FF2B5EF4-FFF2-40B4-BE49-F238E27FC236}">
                <a16:creationId xmlns:a16="http://schemas.microsoft.com/office/drawing/2014/main" id="{35E5B8D9-2F0A-4A99-A921-36F506217720}"/>
              </a:ext>
            </a:extLst>
          </p:cNvPr>
          <p:cNvSpPr/>
          <p:nvPr/>
        </p:nvSpPr>
        <p:spPr>
          <a:xfrm>
            <a:off x="11609297" y="8349367"/>
            <a:ext cx="1163822" cy="1163822"/>
          </a:xfrm>
          <a:prstGeom prst="ellipse">
            <a:avLst/>
          </a:prstGeom>
          <a:solidFill>
            <a:schemeClr val="accent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04" name="Oval 103">
            <a:extLst>
              <a:ext uri="{FF2B5EF4-FFF2-40B4-BE49-F238E27FC236}">
                <a16:creationId xmlns:a16="http://schemas.microsoft.com/office/drawing/2014/main" id="{DCE59506-C329-4550-9CCC-3D3BD5F6259B}"/>
              </a:ext>
            </a:extLst>
          </p:cNvPr>
          <p:cNvSpPr/>
          <p:nvPr/>
        </p:nvSpPr>
        <p:spPr>
          <a:xfrm>
            <a:off x="15952070" y="8349367"/>
            <a:ext cx="1163822" cy="1163822"/>
          </a:xfrm>
          <a:prstGeom prst="ellipse">
            <a:avLst/>
          </a:prstGeom>
          <a:solidFill>
            <a:schemeClr val="accent1">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05" name="Oval 104">
            <a:extLst>
              <a:ext uri="{FF2B5EF4-FFF2-40B4-BE49-F238E27FC236}">
                <a16:creationId xmlns:a16="http://schemas.microsoft.com/office/drawing/2014/main" id="{7E7CD7CB-C434-46BC-A6B2-A4D3BE81BD4D}"/>
              </a:ext>
            </a:extLst>
          </p:cNvPr>
          <p:cNvSpPr/>
          <p:nvPr/>
        </p:nvSpPr>
        <p:spPr>
          <a:xfrm>
            <a:off x="20297629" y="8349367"/>
            <a:ext cx="1163822" cy="1163822"/>
          </a:xfrm>
          <a:prstGeom prst="ellipse">
            <a:avLst/>
          </a:prstGeom>
          <a:solidFill>
            <a:schemeClr val="accent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83" name="Freeform: Shape 28">
            <a:extLst>
              <a:ext uri="{FF2B5EF4-FFF2-40B4-BE49-F238E27FC236}">
                <a16:creationId xmlns:a16="http://schemas.microsoft.com/office/drawing/2014/main" id="{32CC70D2-EA2B-2B48-AEAC-5A5964CC101B}"/>
              </a:ext>
            </a:extLst>
          </p:cNvPr>
          <p:cNvSpPr/>
          <p:nvPr/>
        </p:nvSpPr>
        <p:spPr>
          <a:xfrm>
            <a:off x="11429041" y="3529662"/>
            <a:ext cx="1543137" cy="1480691"/>
          </a:xfrm>
          <a:custGeom>
            <a:avLst/>
            <a:gdLst/>
            <a:ahLst/>
            <a:cxnLst>
              <a:cxn ang="3cd4">
                <a:pos x="hc" y="t"/>
              </a:cxn>
              <a:cxn ang="cd2">
                <a:pos x="l" y="vc"/>
              </a:cxn>
              <a:cxn ang="cd4">
                <a:pos x="hc" y="b"/>
              </a:cxn>
              <a:cxn ang="0">
                <a:pos x="r" y="vc"/>
              </a:cxn>
            </a:cxnLst>
            <a:rect l="l" t="t" r="r" b="b"/>
            <a:pathLst>
              <a:path w="5314" h="5099">
                <a:moveTo>
                  <a:pt x="2880" y="4224"/>
                </a:moveTo>
                <a:cubicBezTo>
                  <a:pt x="2912" y="4224"/>
                  <a:pt x="2960" y="4177"/>
                  <a:pt x="2960" y="4145"/>
                </a:cubicBezTo>
                <a:lnTo>
                  <a:pt x="2960" y="1775"/>
                </a:lnTo>
                <a:cubicBezTo>
                  <a:pt x="2960" y="1727"/>
                  <a:pt x="2912" y="1695"/>
                  <a:pt x="2880" y="1695"/>
                </a:cubicBezTo>
                <a:cubicBezTo>
                  <a:pt x="2832" y="1695"/>
                  <a:pt x="2801" y="1727"/>
                  <a:pt x="2801" y="1775"/>
                </a:cubicBezTo>
                <a:lnTo>
                  <a:pt x="2801" y="4145"/>
                </a:lnTo>
                <a:cubicBezTo>
                  <a:pt x="2801" y="4177"/>
                  <a:pt x="2832" y="4224"/>
                  <a:pt x="2880" y="4224"/>
                </a:cubicBezTo>
                <a:close/>
                <a:moveTo>
                  <a:pt x="2626" y="4335"/>
                </a:moveTo>
                <a:cubicBezTo>
                  <a:pt x="2626" y="4383"/>
                  <a:pt x="2674" y="4415"/>
                  <a:pt x="2705" y="4415"/>
                </a:cubicBezTo>
                <a:lnTo>
                  <a:pt x="4662" y="4415"/>
                </a:lnTo>
                <a:cubicBezTo>
                  <a:pt x="4709" y="4415"/>
                  <a:pt x="4741" y="4383"/>
                  <a:pt x="4741" y="4335"/>
                </a:cubicBezTo>
                <a:cubicBezTo>
                  <a:pt x="4741" y="4288"/>
                  <a:pt x="4709" y="4256"/>
                  <a:pt x="4662" y="4256"/>
                </a:cubicBezTo>
                <a:lnTo>
                  <a:pt x="2705" y="4256"/>
                </a:lnTo>
                <a:cubicBezTo>
                  <a:pt x="2674" y="4256"/>
                  <a:pt x="2626" y="4288"/>
                  <a:pt x="2626" y="4335"/>
                </a:cubicBezTo>
                <a:close/>
                <a:moveTo>
                  <a:pt x="3198" y="4224"/>
                </a:moveTo>
                <a:cubicBezTo>
                  <a:pt x="3246" y="4224"/>
                  <a:pt x="3278" y="4177"/>
                  <a:pt x="3278" y="4145"/>
                </a:cubicBezTo>
                <a:lnTo>
                  <a:pt x="3278" y="2204"/>
                </a:lnTo>
                <a:cubicBezTo>
                  <a:pt x="3278" y="2157"/>
                  <a:pt x="3246" y="2125"/>
                  <a:pt x="3198" y="2125"/>
                </a:cubicBezTo>
                <a:cubicBezTo>
                  <a:pt x="3166" y="2125"/>
                  <a:pt x="3119" y="2157"/>
                  <a:pt x="3119" y="2204"/>
                </a:cubicBezTo>
                <a:lnTo>
                  <a:pt x="3119" y="4145"/>
                </a:lnTo>
                <a:cubicBezTo>
                  <a:pt x="3119" y="4177"/>
                  <a:pt x="3166" y="4224"/>
                  <a:pt x="3198" y="4224"/>
                </a:cubicBezTo>
                <a:close/>
                <a:moveTo>
                  <a:pt x="3596" y="4224"/>
                </a:moveTo>
                <a:cubicBezTo>
                  <a:pt x="3644" y="4224"/>
                  <a:pt x="3675" y="4177"/>
                  <a:pt x="3675" y="4145"/>
                </a:cubicBezTo>
                <a:lnTo>
                  <a:pt x="3675" y="3047"/>
                </a:lnTo>
                <a:cubicBezTo>
                  <a:pt x="3675" y="2999"/>
                  <a:pt x="3644" y="2968"/>
                  <a:pt x="3596" y="2968"/>
                </a:cubicBezTo>
                <a:cubicBezTo>
                  <a:pt x="3548" y="2968"/>
                  <a:pt x="3516" y="2999"/>
                  <a:pt x="3516" y="3047"/>
                </a:cubicBezTo>
                <a:lnTo>
                  <a:pt x="3516" y="4145"/>
                </a:lnTo>
                <a:cubicBezTo>
                  <a:pt x="3516" y="4177"/>
                  <a:pt x="3548" y="4224"/>
                  <a:pt x="3596" y="4224"/>
                </a:cubicBezTo>
                <a:close/>
                <a:moveTo>
                  <a:pt x="3978" y="4224"/>
                </a:moveTo>
                <a:cubicBezTo>
                  <a:pt x="4025" y="4224"/>
                  <a:pt x="4057" y="4177"/>
                  <a:pt x="4057" y="4145"/>
                </a:cubicBezTo>
                <a:lnTo>
                  <a:pt x="4057" y="2793"/>
                </a:lnTo>
                <a:cubicBezTo>
                  <a:pt x="4057" y="2745"/>
                  <a:pt x="4025" y="2713"/>
                  <a:pt x="3978" y="2713"/>
                </a:cubicBezTo>
                <a:cubicBezTo>
                  <a:pt x="3946" y="2713"/>
                  <a:pt x="3898" y="2745"/>
                  <a:pt x="3898" y="2793"/>
                </a:cubicBezTo>
                <a:lnTo>
                  <a:pt x="3898" y="4145"/>
                </a:lnTo>
                <a:cubicBezTo>
                  <a:pt x="3898" y="4177"/>
                  <a:pt x="3946" y="4224"/>
                  <a:pt x="3978" y="4224"/>
                </a:cubicBezTo>
                <a:close/>
                <a:moveTo>
                  <a:pt x="4375" y="4224"/>
                </a:moveTo>
                <a:cubicBezTo>
                  <a:pt x="4423" y="4224"/>
                  <a:pt x="4455" y="4177"/>
                  <a:pt x="4455" y="4145"/>
                </a:cubicBezTo>
                <a:lnTo>
                  <a:pt x="4455" y="3111"/>
                </a:lnTo>
                <a:cubicBezTo>
                  <a:pt x="4455" y="3063"/>
                  <a:pt x="4423" y="3031"/>
                  <a:pt x="4375" y="3031"/>
                </a:cubicBezTo>
                <a:cubicBezTo>
                  <a:pt x="4328" y="3031"/>
                  <a:pt x="4296" y="3063"/>
                  <a:pt x="4296" y="3111"/>
                </a:cubicBezTo>
                <a:lnTo>
                  <a:pt x="4296" y="4145"/>
                </a:lnTo>
                <a:cubicBezTo>
                  <a:pt x="4296" y="4177"/>
                  <a:pt x="4328" y="4224"/>
                  <a:pt x="4375" y="4224"/>
                </a:cubicBezTo>
                <a:close/>
                <a:moveTo>
                  <a:pt x="558" y="3524"/>
                </a:moveTo>
                <a:cubicBezTo>
                  <a:pt x="574" y="3540"/>
                  <a:pt x="590" y="3556"/>
                  <a:pt x="606" y="3556"/>
                </a:cubicBezTo>
                <a:lnTo>
                  <a:pt x="621" y="3556"/>
                </a:lnTo>
                <a:cubicBezTo>
                  <a:pt x="638" y="3556"/>
                  <a:pt x="653" y="3540"/>
                  <a:pt x="669" y="3524"/>
                </a:cubicBezTo>
                <a:lnTo>
                  <a:pt x="1735" y="2236"/>
                </a:lnTo>
                <a:cubicBezTo>
                  <a:pt x="1751" y="2220"/>
                  <a:pt x="1767" y="2188"/>
                  <a:pt x="1767" y="2172"/>
                </a:cubicBezTo>
                <a:cubicBezTo>
                  <a:pt x="1751" y="2141"/>
                  <a:pt x="1735" y="2125"/>
                  <a:pt x="1719" y="2109"/>
                </a:cubicBezTo>
                <a:lnTo>
                  <a:pt x="272" y="1282"/>
                </a:lnTo>
                <a:cubicBezTo>
                  <a:pt x="240" y="1266"/>
                  <a:pt x="224" y="1266"/>
                  <a:pt x="208" y="1282"/>
                </a:cubicBezTo>
                <a:cubicBezTo>
                  <a:pt x="176" y="1282"/>
                  <a:pt x="160" y="1297"/>
                  <a:pt x="160" y="1330"/>
                </a:cubicBezTo>
                <a:cubicBezTo>
                  <a:pt x="-15" y="1727"/>
                  <a:pt x="-46" y="2172"/>
                  <a:pt x="65" y="2586"/>
                </a:cubicBezTo>
                <a:cubicBezTo>
                  <a:pt x="145" y="2936"/>
                  <a:pt x="320" y="3254"/>
                  <a:pt x="558" y="3524"/>
                </a:cubicBezTo>
                <a:close/>
                <a:moveTo>
                  <a:pt x="272" y="1473"/>
                </a:moveTo>
                <a:lnTo>
                  <a:pt x="1560" y="2204"/>
                </a:lnTo>
                <a:lnTo>
                  <a:pt x="606" y="3350"/>
                </a:lnTo>
                <a:cubicBezTo>
                  <a:pt x="415" y="3111"/>
                  <a:pt x="288" y="2841"/>
                  <a:pt x="208" y="2554"/>
                </a:cubicBezTo>
                <a:cubicBezTo>
                  <a:pt x="129" y="2188"/>
                  <a:pt x="145" y="1823"/>
                  <a:pt x="272" y="1473"/>
                </a:cubicBezTo>
                <a:close/>
                <a:moveTo>
                  <a:pt x="463" y="948"/>
                </a:moveTo>
                <a:lnTo>
                  <a:pt x="1990" y="1806"/>
                </a:lnTo>
                <a:lnTo>
                  <a:pt x="1990" y="2554"/>
                </a:lnTo>
                <a:lnTo>
                  <a:pt x="972" y="3779"/>
                </a:lnTo>
                <a:cubicBezTo>
                  <a:pt x="956" y="3795"/>
                  <a:pt x="956" y="3811"/>
                  <a:pt x="956" y="3842"/>
                </a:cubicBezTo>
                <a:cubicBezTo>
                  <a:pt x="956" y="3859"/>
                  <a:pt x="972" y="3874"/>
                  <a:pt x="987" y="3890"/>
                </a:cubicBezTo>
                <a:cubicBezTo>
                  <a:pt x="1290" y="4081"/>
                  <a:pt x="1639" y="4177"/>
                  <a:pt x="1990" y="4208"/>
                </a:cubicBezTo>
                <a:lnTo>
                  <a:pt x="1990" y="5019"/>
                </a:lnTo>
                <a:cubicBezTo>
                  <a:pt x="1990" y="5067"/>
                  <a:pt x="2021" y="5099"/>
                  <a:pt x="2069" y="5099"/>
                </a:cubicBezTo>
                <a:lnTo>
                  <a:pt x="5234" y="5099"/>
                </a:lnTo>
                <a:cubicBezTo>
                  <a:pt x="5282" y="5099"/>
                  <a:pt x="5314" y="5067"/>
                  <a:pt x="5314" y="5019"/>
                </a:cubicBezTo>
                <a:lnTo>
                  <a:pt x="5314" y="2125"/>
                </a:lnTo>
                <a:cubicBezTo>
                  <a:pt x="5314" y="2093"/>
                  <a:pt x="5314" y="2077"/>
                  <a:pt x="5298" y="2061"/>
                </a:cubicBezTo>
                <a:lnTo>
                  <a:pt x="4137" y="916"/>
                </a:lnTo>
                <a:cubicBezTo>
                  <a:pt x="4121" y="900"/>
                  <a:pt x="4105" y="900"/>
                  <a:pt x="4073" y="900"/>
                </a:cubicBezTo>
                <a:lnTo>
                  <a:pt x="3230" y="900"/>
                </a:lnTo>
                <a:lnTo>
                  <a:pt x="3516" y="661"/>
                </a:lnTo>
                <a:cubicBezTo>
                  <a:pt x="3532" y="645"/>
                  <a:pt x="3532" y="630"/>
                  <a:pt x="3532" y="598"/>
                </a:cubicBezTo>
                <a:cubicBezTo>
                  <a:pt x="3548" y="582"/>
                  <a:pt x="3532" y="566"/>
                  <a:pt x="3516" y="550"/>
                </a:cubicBezTo>
                <a:cubicBezTo>
                  <a:pt x="2992" y="73"/>
                  <a:pt x="2292" y="-102"/>
                  <a:pt x="1608" y="57"/>
                </a:cubicBezTo>
                <a:cubicBezTo>
                  <a:pt x="1147" y="169"/>
                  <a:pt x="733" y="439"/>
                  <a:pt x="431" y="821"/>
                </a:cubicBezTo>
                <a:cubicBezTo>
                  <a:pt x="415" y="836"/>
                  <a:pt x="415" y="868"/>
                  <a:pt x="415" y="884"/>
                </a:cubicBezTo>
                <a:cubicBezTo>
                  <a:pt x="431" y="916"/>
                  <a:pt x="447" y="932"/>
                  <a:pt x="463" y="948"/>
                </a:cubicBezTo>
                <a:close/>
                <a:moveTo>
                  <a:pt x="1162" y="3795"/>
                </a:moveTo>
                <a:lnTo>
                  <a:pt x="1990" y="2793"/>
                </a:lnTo>
                <a:lnTo>
                  <a:pt x="1990" y="4049"/>
                </a:lnTo>
                <a:cubicBezTo>
                  <a:pt x="1703" y="4017"/>
                  <a:pt x="1417" y="3938"/>
                  <a:pt x="1162" y="3795"/>
                </a:cubicBezTo>
                <a:close/>
                <a:moveTo>
                  <a:pt x="4200" y="1218"/>
                </a:moveTo>
                <a:lnTo>
                  <a:pt x="5027" y="2029"/>
                </a:lnTo>
                <a:lnTo>
                  <a:pt x="4200" y="2029"/>
                </a:lnTo>
                <a:close/>
                <a:moveTo>
                  <a:pt x="4041" y="1059"/>
                </a:moveTo>
                <a:lnTo>
                  <a:pt x="4041" y="2109"/>
                </a:lnTo>
                <a:cubicBezTo>
                  <a:pt x="4041" y="2141"/>
                  <a:pt x="4089" y="2188"/>
                  <a:pt x="4121" y="2188"/>
                </a:cubicBezTo>
                <a:lnTo>
                  <a:pt x="5155" y="2188"/>
                </a:lnTo>
                <a:lnTo>
                  <a:pt x="5155" y="4940"/>
                </a:lnTo>
                <a:lnTo>
                  <a:pt x="2148" y="4940"/>
                </a:lnTo>
                <a:lnTo>
                  <a:pt x="2148" y="4129"/>
                </a:lnTo>
                <a:lnTo>
                  <a:pt x="2148" y="2586"/>
                </a:lnTo>
                <a:lnTo>
                  <a:pt x="2148" y="1759"/>
                </a:lnTo>
                <a:lnTo>
                  <a:pt x="2148" y="1059"/>
                </a:lnTo>
                <a:lnTo>
                  <a:pt x="3023" y="1059"/>
                </a:lnTo>
                <a:close/>
                <a:moveTo>
                  <a:pt x="1656" y="216"/>
                </a:moveTo>
                <a:cubicBezTo>
                  <a:pt x="2244" y="73"/>
                  <a:pt x="2864" y="216"/>
                  <a:pt x="3341" y="598"/>
                </a:cubicBezTo>
                <a:lnTo>
                  <a:pt x="2992" y="900"/>
                </a:lnTo>
                <a:lnTo>
                  <a:pt x="2069" y="900"/>
                </a:lnTo>
                <a:cubicBezTo>
                  <a:pt x="2021" y="900"/>
                  <a:pt x="1990" y="932"/>
                  <a:pt x="1990" y="979"/>
                </a:cubicBezTo>
                <a:lnTo>
                  <a:pt x="1990" y="1632"/>
                </a:lnTo>
                <a:lnTo>
                  <a:pt x="621" y="852"/>
                </a:lnTo>
                <a:cubicBezTo>
                  <a:pt x="892" y="534"/>
                  <a:pt x="1242" y="312"/>
                  <a:pt x="1656" y="21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 name="Title 10">
            <a:extLst>
              <a:ext uri="{FF2B5EF4-FFF2-40B4-BE49-F238E27FC236}">
                <a16:creationId xmlns:a16="http://schemas.microsoft.com/office/drawing/2014/main" id="{89790BE6-3297-6645-8D79-7A81C70E5A85}"/>
              </a:ext>
            </a:extLst>
          </p:cNvPr>
          <p:cNvSpPr>
            <a:spLocks noGrp="1"/>
          </p:cNvSpPr>
          <p:nvPr>
            <p:ph type="title"/>
          </p:nvPr>
        </p:nvSpPr>
        <p:spPr/>
        <p:txBody>
          <a:bodyPr/>
          <a:lstStyle/>
          <a:p>
            <a:r>
              <a:rPr lang="en-US" dirty="0"/>
              <a:t>Process</a:t>
            </a:r>
          </a:p>
        </p:txBody>
      </p:sp>
    </p:spTree>
    <p:extLst>
      <p:ext uri="{BB962C8B-B14F-4D97-AF65-F5344CB8AC3E}">
        <p14:creationId xmlns:p14="http://schemas.microsoft.com/office/powerpoint/2010/main" val="311296367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 name="Freeform 14"/>
          <p:cNvSpPr>
            <a:spLocks/>
          </p:cNvSpPr>
          <p:nvPr/>
        </p:nvSpPr>
        <p:spPr bwMode="auto">
          <a:xfrm>
            <a:off x="16129043" y="5564172"/>
            <a:ext cx="6048016" cy="4947642"/>
          </a:xfrm>
          <a:custGeom>
            <a:avLst/>
            <a:gdLst>
              <a:gd name="T0" fmla="*/ 473 w 946"/>
              <a:gd name="T1" fmla="*/ 772 h 772"/>
              <a:gd name="T2" fmla="*/ 325 w 946"/>
              <a:gd name="T3" fmla="*/ 688 h 772"/>
              <a:gd name="T4" fmla="*/ 42 w 946"/>
              <a:gd name="T5" fmla="*/ 260 h 772"/>
              <a:gd name="T6" fmla="*/ 29 w 946"/>
              <a:gd name="T7" fmla="*/ 85 h 772"/>
              <a:gd name="T8" fmla="*/ 182 w 946"/>
              <a:gd name="T9" fmla="*/ 0 h 772"/>
              <a:gd name="T10" fmla="*/ 764 w 946"/>
              <a:gd name="T11" fmla="*/ 0 h 772"/>
              <a:gd name="T12" fmla="*/ 917 w 946"/>
              <a:gd name="T13" fmla="*/ 85 h 772"/>
              <a:gd name="T14" fmla="*/ 904 w 946"/>
              <a:gd name="T15" fmla="*/ 260 h 772"/>
              <a:gd name="T16" fmla="*/ 621 w 946"/>
              <a:gd name="T17" fmla="*/ 688 h 772"/>
              <a:gd name="T18" fmla="*/ 473 w 946"/>
              <a:gd name="T19"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6" h="772">
                <a:moveTo>
                  <a:pt x="473" y="772"/>
                </a:moveTo>
                <a:cubicBezTo>
                  <a:pt x="414" y="772"/>
                  <a:pt x="360" y="741"/>
                  <a:pt x="325" y="688"/>
                </a:cubicBezTo>
                <a:cubicBezTo>
                  <a:pt x="42" y="260"/>
                  <a:pt x="42" y="260"/>
                  <a:pt x="42" y="260"/>
                </a:cubicBezTo>
                <a:cubicBezTo>
                  <a:pt x="5" y="204"/>
                  <a:pt x="0" y="138"/>
                  <a:pt x="29" y="85"/>
                </a:cubicBezTo>
                <a:cubicBezTo>
                  <a:pt x="58" y="32"/>
                  <a:pt x="115" y="0"/>
                  <a:pt x="182" y="0"/>
                </a:cubicBezTo>
                <a:cubicBezTo>
                  <a:pt x="764" y="0"/>
                  <a:pt x="764" y="0"/>
                  <a:pt x="764" y="0"/>
                </a:cubicBezTo>
                <a:cubicBezTo>
                  <a:pt x="831" y="0"/>
                  <a:pt x="888" y="32"/>
                  <a:pt x="917" y="85"/>
                </a:cubicBezTo>
                <a:cubicBezTo>
                  <a:pt x="946" y="138"/>
                  <a:pt x="941" y="204"/>
                  <a:pt x="904" y="260"/>
                </a:cubicBezTo>
                <a:cubicBezTo>
                  <a:pt x="621" y="688"/>
                  <a:pt x="621" y="688"/>
                  <a:pt x="621" y="688"/>
                </a:cubicBezTo>
                <a:cubicBezTo>
                  <a:pt x="586" y="741"/>
                  <a:pt x="532" y="772"/>
                  <a:pt x="473" y="772"/>
                </a:cubicBezTo>
                <a:close/>
              </a:path>
            </a:pathLst>
          </a:custGeom>
          <a:solidFill>
            <a:schemeClr val="accent6"/>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14" name="Freeform 10"/>
          <p:cNvSpPr>
            <a:spLocks/>
          </p:cNvSpPr>
          <p:nvPr/>
        </p:nvSpPr>
        <p:spPr bwMode="auto">
          <a:xfrm>
            <a:off x="12649473" y="5564172"/>
            <a:ext cx="6042609" cy="4947642"/>
          </a:xfrm>
          <a:custGeom>
            <a:avLst/>
            <a:gdLst>
              <a:gd name="T0" fmla="*/ 472 w 945"/>
              <a:gd name="T1" fmla="*/ 0 h 772"/>
              <a:gd name="T2" fmla="*/ 325 w 945"/>
              <a:gd name="T3" fmla="*/ 83 h 772"/>
              <a:gd name="T4" fmla="*/ 42 w 945"/>
              <a:gd name="T5" fmla="*/ 512 h 772"/>
              <a:gd name="T6" fmla="*/ 29 w 945"/>
              <a:gd name="T7" fmla="*/ 687 h 772"/>
              <a:gd name="T8" fmla="*/ 182 w 945"/>
              <a:gd name="T9" fmla="*/ 772 h 772"/>
              <a:gd name="T10" fmla="*/ 763 w 945"/>
              <a:gd name="T11" fmla="*/ 772 h 772"/>
              <a:gd name="T12" fmla="*/ 916 w 945"/>
              <a:gd name="T13" fmla="*/ 687 h 772"/>
              <a:gd name="T14" fmla="*/ 903 w 945"/>
              <a:gd name="T15" fmla="*/ 512 h 772"/>
              <a:gd name="T16" fmla="*/ 620 w 945"/>
              <a:gd name="T17" fmla="*/ 83 h 772"/>
              <a:gd name="T18" fmla="*/ 472 w 945"/>
              <a:gd name="T19"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5" h="772">
                <a:moveTo>
                  <a:pt x="472" y="0"/>
                </a:moveTo>
                <a:cubicBezTo>
                  <a:pt x="414" y="0"/>
                  <a:pt x="360" y="30"/>
                  <a:pt x="325" y="83"/>
                </a:cubicBezTo>
                <a:cubicBezTo>
                  <a:pt x="42" y="512"/>
                  <a:pt x="42" y="512"/>
                  <a:pt x="42" y="512"/>
                </a:cubicBezTo>
                <a:cubicBezTo>
                  <a:pt x="5" y="568"/>
                  <a:pt x="0" y="633"/>
                  <a:pt x="29" y="687"/>
                </a:cubicBezTo>
                <a:cubicBezTo>
                  <a:pt x="57" y="740"/>
                  <a:pt x="115" y="772"/>
                  <a:pt x="182" y="772"/>
                </a:cubicBezTo>
                <a:cubicBezTo>
                  <a:pt x="763" y="772"/>
                  <a:pt x="763" y="772"/>
                  <a:pt x="763" y="772"/>
                </a:cubicBezTo>
                <a:cubicBezTo>
                  <a:pt x="830" y="772"/>
                  <a:pt x="888" y="740"/>
                  <a:pt x="916" y="687"/>
                </a:cubicBezTo>
                <a:cubicBezTo>
                  <a:pt x="945" y="633"/>
                  <a:pt x="940" y="568"/>
                  <a:pt x="903" y="512"/>
                </a:cubicBezTo>
                <a:cubicBezTo>
                  <a:pt x="620" y="83"/>
                  <a:pt x="620" y="83"/>
                  <a:pt x="620" y="83"/>
                </a:cubicBezTo>
                <a:cubicBezTo>
                  <a:pt x="585" y="30"/>
                  <a:pt x="531" y="0"/>
                  <a:pt x="472" y="0"/>
                </a:cubicBezTo>
                <a:close/>
              </a:path>
            </a:pathLst>
          </a:custGeom>
          <a:solidFill>
            <a:schemeClr val="accent6"/>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15" name="Freeform 12"/>
          <p:cNvSpPr>
            <a:spLocks/>
          </p:cNvSpPr>
          <p:nvPr/>
        </p:nvSpPr>
        <p:spPr bwMode="auto">
          <a:xfrm>
            <a:off x="9167198" y="5564172"/>
            <a:ext cx="6048016" cy="4947642"/>
          </a:xfrm>
          <a:custGeom>
            <a:avLst/>
            <a:gdLst>
              <a:gd name="T0" fmla="*/ 473 w 946"/>
              <a:gd name="T1" fmla="*/ 772 h 772"/>
              <a:gd name="T2" fmla="*/ 325 w 946"/>
              <a:gd name="T3" fmla="*/ 688 h 772"/>
              <a:gd name="T4" fmla="*/ 42 w 946"/>
              <a:gd name="T5" fmla="*/ 260 h 772"/>
              <a:gd name="T6" fmla="*/ 29 w 946"/>
              <a:gd name="T7" fmla="*/ 85 h 772"/>
              <a:gd name="T8" fmla="*/ 182 w 946"/>
              <a:gd name="T9" fmla="*/ 0 h 772"/>
              <a:gd name="T10" fmla="*/ 764 w 946"/>
              <a:gd name="T11" fmla="*/ 0 h 772"/>
              <a:gd name="T12" fmla="*/ 917 w 946"/>
              <a:gd name="T13" fmla="*/ 85 h 772"/>
              <a:gd name="T14" fmla="*/ 904 w 946"/>
              <a:gd name="T15" fmla="*/ 260 h 772"/>
              <a:gd name="T16" fmla="*/ 621 w 946"/>
              <a:gd name="T17" fmla="*/ 688 h 772"/>
              <a:gd name="T18" fmla="*/ 473 w 946"/>
              <a:gd name="T19"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6" h="772">
                <a:moveTo>
                  <a:pt x="473" y="772"/>
                </a:moveTo>
                <a:cubicBezTo>
                  <a:pt x="414" y="772"/>
                  <a:pt x="360" y="741"/>
                  <a:pt x="325" y="688"/>
                </a:cubicBezTo>
                <a:cubicBezTo>
                  <a:pt x="42" y="260"/>
                  <a:pt x="42" y="260"/>
                  <a:pt x="42" y="260"/>
                </a:cubicBezTo>
                <a:cubicBezTo>
                  <a:pt x="5" y="204"/>
                  <a:pt x="0" y="138"/>
                  <a:pt x="29" y="85"/>
                </a:cubicBezTo>
                <a:cubicBezTo>
                  <a:pt x="58" y="32"/>
                  <a:pt x="115" y="0"/>
                  <a:pt x="182" y="0"/>
                </a:cubicBezTo>
                <a:cubicBezTo>
                  <a:pt x="764" y="0"/>
                  <a:pt x="764" y="0"/>
                  <a:pt x="764" y="0"/>
                </a:cubicBezTo>
                <a:cubicBezTo>
                  <a:pt x="831" y="0"/>
                  <a:pt x="888" y="32"/>
                  <a:pt x="917" y="85"/>
                </a:cubicBezTo>
                <a:cubicBezTo>
                  <a:pt x="946" y="138"/>
                  <a:pt x="941" y="204"/>
                  <a:pt x="904" y="260"/>
                </a:cubicBezTo>
                <a:cubicBezTo>
                  <a:pt x="621" y="688"/>
                  <a:pt x="621" y="688"/>
                  <a:pt x="621" y="688"/>
                </a:cubicBezTo>
                <a:cubicBezTo>
                  <a:pt x="586" y="741"/>
                  <a:pt x="532" y="772"/>
                  <a:pt x="473" y="772"/>
                </a:cubicBezTo>
                <a:close/>
              </a:path>
            </a:pathLst>
          </a:custGeom>
          <a:solidFill>
            <a:schemeClr val="accent6"/>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16" name="Freeform 8"/>
          <p:cNvSpPr>
            <a:spLocks/>
          </p:cNvSpPr>
          <p:nvPr/>
        </p:nvSpPr>
        <p:spPr bwMode="auto">
          <a:xfrm>
            <a:off x="5687630" y="5564172"/>
            <a:ext cx="6042609" cy="4947642"/>
          </a:xfrm>
          <a:custGeom>
            <a:avLst/>
            <a:gdLst>
              <a:gd name="T0" fmla="*/ 472 w 945"/>
              <a:gd name="T1" fmla="*/ 0 h 772"/>
              <a:gd name="T2" fmla="*/ 325 w 945"/>
              <a:gd name="T3" fmla="*/ 83 h 772"/>
              <a:gd name="T4" fmla="*/ 42 w 945"/>
              <a:gd name="T5" fmla="*/ 512 h 772"/>
              <a:gd name="T6" fmla="*/ 29 w 945"/>
              <a:gd name="T7" fmla="*/ 687 h 772"/>
              <a:gd name="T8" fmla="*/ 182 w 945"/>
              <a:gd name="T9" fmla="*/ 772 h 772"/>
              <a:gd name="T10" fmla="*/ 763 w 945"/>
              <a:gd name="T11" fmla="*/ 772 h 772"/>
              <a:gd name="T12" fmla="*/ 916 w 945"/>
              <a:gd name="T13" fmla="*/ 687 h 772"/>
              <a:gd name="T14" fmla="*/ 903 w 945"/>
              <a:gd name="T15" fmla="*/ 512 h 772"/>
              <a:gd name="T16" fmla="*/ 620 w 945"/>
              <a:gd name="T17" fmla="*/ 83 h 772"/>
              <a:gd name="T18" fmla="*/ 472 w 945"/>
              <a:gd name="T19"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5" h="772">
                <a:moveTo>
                  <a:pt x="472" y="0"/>
                </a:moveTo>
                <a:cubicBezTo>
                  <a:pt x="414" y="0"/>
                  <a:pt x="360" y="30"/>
                  <a:pt x="325" y="83"/>
                </a:cubicBezTo>
                <a:cubicBezTo>
                  <a:pt x="42" y="512"/>
                  <a:pt x="42" y="512"/>
                  <a:pt x="42" y="512"/>
                </a:cubicBezTo>
                <a:cubicBezTo>
                  <a:pt x="5" y="568"/>
                  <a:pt x="0" y="633"/>
                  <a:pt x="29" y="687"/>
                </a:cubicBezTo>
                <a:cubicBezTo>
                  <a:pt x="57" y="740"/>
                  <a:pt x="115" y="772"/>
                  <a:pt x="182" y="772"/>
                </a:cubicBezTo>
                <a:cubicBezTo>
                  <a:pt x="763" y="772"/>
                  <a:pt x="763" y="772"/>
                  <a:pt x="763" y="772"/>
                </a:cubicBezTo>
                <a:cubicBezTo>
                  <a:pt x="830" y="772"/>
                  <a:pt x="888" y="740"/>
                  <a:pt x="916" y="687"/>
                </a:cubicBezTo>
                <a:cubicBezTo>
                  <a:pt x="945" y="633"/>
                  <a:pt x="940" y="568"/>
                  <a:pt x="903" y="512"/>
                </a:cubicBezTo>
                <a:cubicBezTo>
                  <a:pt x="620" y="83"/>
                  <a:pt x="620" y="83"/>
                  <a:pt x="620" y="83"/>
                </a:cubicBezTo>
                <a:cubicBezTo>
                  <a:pt x="585" y="30"/>
                  <a:pt x="531" y="0"/>
                  <a:pt x="472" y="0"/>
                </a:cubicBezTo>
                <a:close/>
              </a:path>
            </a:pathLst>
          </a:custGeom>
          <a:solidFill>
            <a:schemeClr val="accent6"/>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17" name="Freeform 6"/>
          <p:cNvSpPr>
            <a:spLocks/>
          </p:cNvSpPr>
          <p:nvPr/>
        </p:nvSpPr>
        <p:spPr bwMode="auto">
          <a:xfrm>
            <a:off x="2205355" y="5564172"/>
            <a:ext cx="6048016" cy="4947642"/>
          </a:xfrm>
          <a:custGeom>
            <a:avLst/>
            <a:gdLst>
              <a:gd name="T0" fmla="*/ 473 w 946"/>
              <a:gd name="T1" fmla="*/ 772 h 772"/>
              <a:gd name="T2" fmla="*/ 325 w 946"/>
              <a:gd name="T3" fmla="*/ 688 h 772"/>
              <a:gd name="T4" fmla="*/ 42 w 946"/>
              <a:gd name="T5" fmla="*/ 260 h 772"/>
              <a:gd name="T6" fmla="*/ 29 w 946"/>
              <a:gd name="T7" fmla="*/ 85 h 772"/>
              <a:gd name="T8" fmla="*/ 182 w 946"/>
              <a:gd name="T9" fmla="*/ 0 h 772"/>
              <a:gd name="T10" fmla="*/ 764 w 946"/>
              <a:gd name="T11" fmla="*/ 0 h 772"/>
              <a:gd name="T12" fmla="*/ 917 w 946"/>
              <a:gd name="T13" fmla="*/ 85 h 772"/>
              <a:gd name="T14" fmla="*/ 904 w 946"/>
              <a:gd name="T15" fmla="*/ 260 h 772"/>
              <a:gd name="T16" fmla="*/ 621 w 946"/>
              <a:gd name="T17" fmla="*/ 688 h 772"/>
              <a:gd name="T18" fmla="*/ 473 w 946"/>
              <a:gd name="T19"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6" h="772">
                <a:moveTo>
                  <a:pt x="473" y="772"/>
                </a:moveTo>
                <a:cubicBezTo>
                  <a:pt x="414" y="772"/>
                  <a:pt x="360" y="741"/>
                  <a:pt x="325" y="688"/>
                </a:cubicBezTo>
                <a:cubicBezTo>
                  <a:pt x="42" y="260"/>
                  <a:pt x="42" y="260"/>
                  <a:pt x="42" y="260"/>
                </a:cubicBezTo>
                <a:cubicBezTo>
                  <a:pt x="5" y="204"/>
                  <a:pt x="0" y="138"/>
                  <a:pt x="29" y="85"/>
                </a:cubicBezTo>
                <a:cubicBezTo>
                  <a:pt x="58" y="32"/>
                  <a:pt x="115" y="0"/>
                  <a:pt x="182" y="0"/>
                </a:cubicBezTo>
                <a:cubicBezTo>
                  <a:pt x="764" y="0"/>
                  <a:pt x="764" y="0"/>
                  <a:pt x="764" y="0"/>
                </a:cubicBezTo>
                <a:cubicBezTo>
                  <a:pt x="831" y="0"/>
                  <a:pt x="888" y="32"/>
                  <a:pt x="917" y="85"/>
                </a:cubicBezTo>
                <a:cubicBezTo>
                  <a:pt x="946" y="138"/>
                  <a:pt x="941" y="204"/>
                  <a:pt x="904" y="260"/>
                </a:cubicBezTo>
                <a:cubicBezTo>
                  <a:pt x="621" y="688"/>
                  <a:pt x="621" y="688"/>
                  <a:pt x="621" y="688"/>
                </a:cubicBezTo>
                <a:cubicBezTo>
                  <a:pt x="586" y="741"/>
                  <a:pt x="532" y="772"/>
                  <a:pt x="473" y="772"/>
                </a:cubicBezTo>
                <a:close/>
              </a:path>
            </a:pathLst>
          </a:custGeom>
          <a:solidFill>
            <a:schemeClr val="accent6"/>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kern="0" dirty="0">
              <a:solidFill>
                <a:prstClr val="black"/>
              </a:solidFill>
              <a:latin typeface="Calibri"/>
            </a:endParaRPr>
          </a:p>
        </p:txBody>
      </p:sp>
      <p:sp>
        <p:nvSpPr>
          <p:cNvPr id="218" name="Freeform 7"/>
          <p:cNvSpPr>
            <a:spLocks/>
          </p:cNvSpPr>
          <p:nvPr/>
        </p:nvSpPr>
        <p:spPr bwMode="auto">
          <a:xfrm>
            <a:off x="2984000" y="6364446"/>
            <a:ext cx="4488022" cy="3403870"/>
          </a:xfrm>
          <a:custGeom>
            <a:avLst/>
            <a:gdLst>
              <a:gd name="T0" fmla="*/ 272 w 702"/>
              <a:gd name="T1" fmla="*/ 0 h 531"/>
              <a:gd name="T2" fmla="*/ 430 w 702"/>
              <a:gd name="T3" fmla="*/ 0 h 531"/>
              <a:gd name="T4" fmla="*/ 642 w 702"/>
              <a:gd name="T5" fmla="*/ 0 h 531"/>
              <a:gd name="T6" fmla="*/ 678 w 702"/>
              <a:gd name="T7" fmla="*/ 66 h 531"/>
              <a:gd name="T8" fmla="*/ 580 w 702"/>
              <a:gd name="T9" fmla="*/ 214 h 531"/>
              <a:gd name="T10" fmla="*/ 492 w 702"/>
              <a:gd name="T11" fmla="*/ 347 h 531"/>
              <a:gd name="T12" fmla="*/ 395 w 702"/>
              <a:gd name="T13" fmla="*/ 495 h 531"/>
              <a:gd name="T14" fmla="*/ 307 w 702"/>
              <a:gd name="T15" fmla="*/ 495 h 531"/>
              <a:gd name="T16" fmla="*/ 210 w 702"/>
              <a:gd name="T17" fmla="*/ 347 h 531"/>
              <a:gd name="T18" fmla="*/ 122 w 702"/>
              <a:gd name="T19" fmla="*/ 214 h 531"/>
              <a:gd name="T20" fmla="*/ 24 w 702"/>
              <a:gd name="T21" fmla="*/ 66 h 531"/>
              <a:gd name="T22" fmla="*/ 60 w 702"/>
              <a:gd name="T23" fmla="*/ 0 h 531"/>
              <a:gd name="T24" fmla="*/ 272 w 702"/>
              <a:gd name="T25"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2" h="531">
                <a:moveTo>
                  <a:pt x="272" y="0"/>
                </a:moveTo>
                <a:cubicBezTo>
                  <a:pt x="315" y="0"/>
                  <a:pt x="387" y="0"/>
                  <a:pt x="430" y="0"/>
                </a:cubicBezTo>
                <a:cubicBezTo>
                  <a:pt x="642" y="0"/>
                  <a:pt x="642" y="0"/>
                  <a:pt x="642" y="0"/>
                </a:cubicBezTo>
                <a:cubicBezTo>
                  <a:pt x="685" y="0"/>
                  <a:pt x="702" y="29"/>
                  <a:pt x="678" y="66"/>
                </a:cubicBezTo>
                <a:cubicBezTo>
                  <a:pt x="580" y="214"/>
                  <a:pt x="580" y="214"/>
                  <a:pt x="580" y="214"/>
                </a:cubicBezTo>
                <a:cubicBezTo>
                  <a:pt x="556" y="251"/>
                  <a:pt x="516" y="310"/>
                  <a:pt x="492" y="347"/>
                </a:cubicBezTo>
                <a:cubicBezTo>
                  <a:pt x="395" y="495"/>
                  <a:pt x="395" y="495"/>
                  <a:pt x="395" y="495"/>
                </a:cubicBezTo>
                <a:cubicBezTo>
                  <a:pt x="371" y="531"/>
                  <a:pt x="331" y="531"/>
                  <a:pt x="307" y="495"/>
                </a:cubicBezTo>
                <a:cubicBezTo>
                  <a:pt x="210" y="347"/>
                  <a:pt x="210" y="347"/>
                  <a:pt x="210" y="347"/>
                </a:cubicBezTo>
                <a:cubicBezTo>
                  <a:pt x="186" y="310"/>
                  <a:pt x="146" y="251"/>
                  <a:pt x="122" y="214"/>
                </a:cubicBezTo>
                <a:cubicBezTo>
                  <a:pt x="24" y="66"/>
                  <a:pt x="24" y="66"/>
                  <a:pt x="24" y="66"/>
                </a:cubicBezTo>
                <a:cubicBezTo>
                  <a:pt x="0" y="29"/>
                  <a:pt x="17" y="0"/>
                  <a:pt x="60" y="0"/>
                </a:cubicBezTo>
                <a:lnTo>
                  <a:pt x="272" y="0"/>
                </a:lnTo>
                <a:close/>
              </a:path>
            </a:pathLst>
          </a:custGeom>
          <a:solidFill>
            <a:sysClr val="window" lastClr="FFFFFF"/>
          </a:solidFill>
          <a:ln w="14288" cap="flat">
            <a:noFill/>
            <a:prstDash val="solid"/>
            <a:miter lim="800000"/>
            <a:headEnd/>
            <a:tailEnd/>
          </a:ln>
          <a:effectLst>
            <a:outerShdw blurRad="50800" dist="38100" dir="16200000"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19" name="Freeform 9"/>
          <p:cNvSpPr>
            <a:spLocks/>
          </p:cNvSpPr>
          <p:nvPr/>
        </p:nvSpPr>
        <p:spPr bwMode="auto">
          <a:xfrm>
            <a:off x="6468977" y="6307670"/>
            <a:ext cx="4479912" cy="3403870"/>
          </a:xfrm>
          <a:custGeom>
            <a:avLst/>
            <a:gdLst>
              <a:gd name="T0" fmla="*/ 271 w 701"/>
              <a:gd name="T1" fmla="*/ 531 h 531"/>
              <a:gd name="T2" fmla="*/ 430 w 701"/>
              <a:gd name="T3" fmla="*/ 531 h 531"/>
              <a:gd name="T4" fmla="*/ 641 w 701"/>
              <a:gd name="T5" fmla="*/ 531 h 531"/>
              <a:gd name="T6" fmla="*/ 677 w 701"/>
              <a:gd name="T7" fmla="*/ 465 h 531"/>
              <a:gd name="T8" fmla="*/ 579 w 701"/>
              <a:gd name="T9" fmla="*/ 317 h 531"/>
              <a:gd name="T10" fmla="*/ 492 w 701"/>
              <a:gd name="T11" fmla="*/ 184 h 531"/>
              <a:gd name="T12" fmla="*/ 394 w 701"/>
              <a:gd name="T13" fmla="*/ 36 h 531"/>
              <a:gd name="T14" fmla="*/ 307 w 701"/>
              <a:gd name="T15" fmla="*/ 36 h 531"/>
              <a:gd name="T16" fmla="*/ 209 w 701"/>
              <a:gd name="T17" fmla="*/ 184 h 531"/>
              <a:gd name="T18" fmla="*/ 122 w 701"/>
              <a:gd name="T19" fmla="*/ 317 h 531"/>
              <a:gd name="T20" fmla="*/ 24 w 701"/>
              <a:gd name="T21" fmla="*/ 465 h 531"/>
              <a:gd name="T22" fmla="*/ 60 w 701"/>
              <a:gd name="T23" fmla="*/ 531 h 531"/>
              <a:gd name="T24" fmla="*/ 271 w 701"/>
              <a:gd name="T25" fmla="*/ 531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1" h="531">
                <a:moveTo>
                  <a:pt x="271" y="531"/>
                </a:moveTo>
                <a:cubicBezTo>
                  <a:pt x="315" y="531"/>
                  <a:pt x="386" y="531"/>
                  <a:pt x="430" y="531"/>
                </a:cubicBezTo>
                <a:cubicBezTo>
                  <a:pt x="641" y="531"/>
                  <a:pt x="641" y="531"/>
                  <a:pt x="641" y="531"/>
                </a:cubicBezTo>
                <a:cubicBezTo>
                  <a:pt x="685" y="531"/>
                  <a:pt x="701" y="501"/>
                  <a:pt x="677" y="465"/>
                </a:cubicBezTo>
                <a:cubicBezTo>
                  <a:pt x="579" y="317"/>
                  <a:pt x="579" y="317"/>
                  <a:pt x="579" y="317"/>
                </a:cubicBezTo>
                <a:cubicBezTo>
                  <a:pt x="555" y="280"/>
                  <a:pt x="516" y="221"/>
                  <a:pt x="492" y="184"/>
                </a:cubicBezTo>
                <a:cubicBezTo>
                  <a:pt x="394" y="36"/>
                  <a:pt x="394" y="36"/>
                  <a:pt x="394" y="36"/>
                </a:cubicBezTo>
                <a:cubicBezTo>
                  <a:pt x="370" y="0"/>
                  <a:pt x="331" y="0"/>
                  <a:pt x="307" y="36"/>
                </a:cubicBezTo>
                <a:cubicBezTo>
                  <a:pt x="209" y="184"/>
                  <a:pt x="209" y="184"/>
                  <a:pt x="209" y="184"/>
                </a:cubicBezTo>
                <a:cubicBezTo>
                  <a:pt x="185" y="221"/>
                  <a:pt x="146" y="280"/>
                  <a:pt x="122" y="317"/>
                </a:cubicBezTo>
                <a:cubicBezTo>
                  <a:pt x="24" y="465"/>
                  <a:pt x="24" y="465"/>
                  <a:pt x="24" y="465"/>
                </a:cubicBezTo>
                <a:cubicBezTo>
                  <a:pt x="0" y="501"/>
                  <a:pt x="16" y="531"/>
                  <a:pt x="60" y="531"/>
                </a:cubicBezTo>
                <a:lnTo>
                  <a:pt x="271" y="531"/>
                </a:lnTo>
                <a:close/>
              </a:path>
            </a:pathLst>
          </a:custGeom>
          <a:solidFill>
            <a:sysClr val="window" lastClr="FFFFFF"/>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20" name="Freeform 11"/>
          <p:cNvSpPr>
            <a:spLocks/>
          </p:cNvSpPr>
          <p:nvPr/>
        </p:nvSpPr>
        <p:spPr bwMode="auto">
          <a:xfrm>
            <a:off x="13430821" y="6307670"/>
            <a:ext cx="4479912" cy="3403870"/>
          </a:xfrm>
          <a:custGeom>
            <a:avLst/>
            <a:gdLst>
              <a:gd name="T0" fmla="*/ 271 w 701"/>
              <a:gd name="T1" fmla="*/ 531 h 531"/>
              <a:gd name="T2" fmla="*/ 430 w 701"/>
              <a:gd name="T3" fmla="*/ 531 h 531"/>
              <a:gd name="T4" fmla="*/ 641 w 701"/>
              <a:gd name="T5" fmla="*/ 531 h 531"/>
              <a:gd name="T6" fmla="*/ 677 w 701"/>
              <a:gd name="T7" fmla="*/ 465 h 531"/>
              <a:gd name="T8" fmla="*/ 579 w 701"/>
              <a:gd name="T9" fmla="*/ 317 h 531"/>
              <a:gd name="T10" fmla="*/ 492 w 701"/>
              <a:gd name="T11" fmla="*/ 184 h 531"/>
              <a:gd name="T12" fmla="*/ 394 w 701"/>
              <a:gd name="T13" fmla="*/ 36 h 531"/>
              <a:gd name="T14" fmla="*/ 307 w 701"/>
              <a:gd name="T15" fmla="*/ 36 h 531"/>
              <a:gd name="T16" fmla="*/ 209 w 701"/>
              <a:gd name="T17" fmla="*/ 184 h 531"/>
              <a:gd name="T18" fmla="*/ 122 w 701"/>
              <a:gd name="T19" fmla="*/ 317 h 531"/>
              <a:gd name="T20" fmla="*/ 24 w 701"/>
              <a:gd name="T21" fmla="*/ 465 h 531"/>
              <a:gd name="T22" fmla="*/ 60 w 701"/>
              <a:gd name="T23" fmla="*/ 531 h 531"/>
              <a:gd name="T24" fmla="*/ 271 w 701"/>
              <a:gd name="T25" fmla="*/ 531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1" h="531">
                <a:moveTo>
                  <a:pt x="271" y="531"/>
                </a:moveTo>
                <a:cubicBezTo>
                  <a:pt x="315" y="531"/>
                  <a:pt x="386" y="531"/>
                  <a:pt x="430" y="531"/>
                </a:cubicBezTo>
                <a:cubicBezTo>
                  <a:pt x="641" y="531"/>
                  <a:pt x="641" y="531"/>
                  <a:pt x="641" y="531"/>
                </a:cubicBezTo>
                <a:cubicBezTo>
                  <a:pt x="685" y="531"/>
                  <a:pt x="701" y="501"/>
                  <a:pt x="677" y="465"/>
                </a:cubicBezTo>
                <a:cubicBezTo>
                  <a:pt x="579" y="317"/>
                  <a:pt x="579" y="317"/>
                  <a:pt x="579" y="317"/>
                </a:cubicBezTo>
                <a:cubicBezTo>
                  <a:pt x="555" y="280"/>
                  <a:pt x="516" y="221"/>
                  <a:pt x="492" y="184"/>
                </a:cubicBezTo>
                <a:cubicBezTo>
                  <a:pt x="394" y="36"/>
                  <a:pt x="394" y="36"/>
                  <a:pt x="394" y="36"/>
                </a:cubicBezTo>
                <a:cubicBezTo>
                  <a:pt x="370" y="0"/>
                  <a:pt x="331" y="0"/>
                  <a:pt x="307" y="36"/>
                </a:cubicBezTo>
                <a:cubicBezTo>
                  <a:pt x="209" y="184"/>
                  <a:pt x="209" y="184"/>
                  <a:pt x="209" y="184"/>
                </a:cubicBezTo>
                <a:cubicBezTo>
                  <a:pt x="185" y="221"/>
                  <a:pt x="146" y="280"/>
                  <a:pt x="122" y="317"/>
                </a:cubicBezTo>
                <a:cubicBezTo>
                  <a:pt x="24" y="465"/>
                  <a:pt x="24" y="465"/>
                  <a:pt x="24" y="465"/>
                </a:cubicBezTo>
                <a:cubicBezTo>
                  <a:pt x="0" y="501"/>
                  <a:pt x="16" y="531"/>
                  <a:pt x="60" y="531"/>
                </a:cubicBezTo>
                <a:lnTo>
                  <a:pt x="271" y="531"/>
                </a:lnTo>
                <a:close/>
              </a:path>
            </a:pathLst>
          </a:custGeom>
          <a:solidFill>
            <a:sysClr val="window" lastClr="FFFFFF"/>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21" name="Freeform 13"/>
          <p:cNvSpPr>
            <a:spLocks/>
          </p:cNvSpPr>
          <p:nvPr/>
        </p:nvSpPr>
        <p:spPr bwMode="auto">
          <a:xfrm>
            <a:off x="9945843" y="6364446"/>
            <a:ext cx="4488022" cy="3403870"/>
          </a:xfrm>
          <a:custGeom>
            <a:avLst/>
            <a:gdLst>
              <a:gd name="T0" fmla="*/ 272 w 702"/>
              <a:gd name="T1" fmla="*/ 0 h 531"/>
              <a:gd name="T2" fmla="*/ 430 w 702"/>
              <a:gd name="T3" fmla="*/ 0 h 531"/>
              <a:gd name="T4" fmla="*/ 642 w 702"/>
              <a:gd name="T5" fmla="*/ 0 h 531"/>
              <a:gd name="T6" fmla="*/ 678 w 702"/>
              <a:gd name="T7" fmla="*/ 66 h 531"/>
              <a:gd name="T8" fmla="*/ 580 w 702"/>
              <a:gd name="T9" fmla="*/ 214 h 531"/>
              <a:gd name="T10" fmla="*/ 492 w 702"/>
              <a:gd name="T11" fmla="*/ 347 h 531"/>
              <a:gd name="T12" fmla="*/ 395 w 702"/>
              <a:gd name="T13" fmla="*/ 495 h 531"/>
              <a:gd name="T14" fmla="*/ 307 w 702"/>
              <a:gd name="T15" fmla="*/ 495 h 531"/>
              <a:gd name="T16" fmla="*/ 210 w 702"/>
              <a:gd name="T17" fmla="*/ 347 h 531"/>
              <a:gd name="T18" fmla="*/ 122 w 702"/>
              <a:gd name="T19" fmla="*/ 214 h 531"/>
              <a:gd name="T20" fmla="*/ 24 w 702"/>
              <a:gd name="T21" fmla="*/ 66 h 531"/>
              <a:gd name="T22" fmla="*/ 60 w 702"/>
              <a:gd name="T23" fmla="*/ 0 h 531"/>
              <a:gd name="T24" fmla="*/ 272 w 702"/>
              <a:gd name="T25"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2" h="531">
                <a:moveTo>
                  <a:pt x="272" y="0"/>
                </a:moveTo>
                <a:cubicBezTo>
                  <a:pt x="315" y="0"/>
                  <a:pt x="387" y="0"/>
                  <a:pt x="430" y="0"/>
                </a:cubicBezTo>
                <a:cubicBezTo>
                  <a:pt x="642" y="0"/>
                  <a:pt x="642" y="0"/>
                  <a:pt x="642" y="0"/>
                </a:cubicBezTo>
                <a:cubicBezTo>
                  <a:pt x="685" y="0"/>
                  <a:pt x="702" y="29"/>
                  <a:pt x="678" y="66"/>
                </a:cubicBezTo>
                <a:cubicBezTo>
                  <a:pt x="580" y="214"/>
                  <a:pt x="580" y="214"/>
                  <a:pt x="580" y="214"/>
                </a:cubicBezTo>
                <a:cubicBezTo>
                  <a:pt x="556" y="251"/>
                  <a:pt x="516" y="310"/>
                  <a:pt x="492" y="347"/>
                </a:cubicBezTo>
                <a:cubicBezTo>
                  <a:pt x="395" y="495"/>
                  <a:pt x="395" y="495"/>
                  <a:pt x="395" y="495"/>
                </a:cubicBezTo>
                <a:cubicBezTo>
                  <a:pt x="371" y="531"/>
                  <a:pt x="331" y="531"/>
                  <a:pt x="307" y="495"/>
                </a:cubicBezTo>
                <a:cubicBezTo>
                  <a:pt x="210" y="347"/>
                  <a:pt x="210" y="347"/>
                  <a:pt x="210" y="347"/>
                </a:cubicBezTo>
                <a:cubicBezTo>
                  <a:pt x="186" y="310"/>
                  <a:pt x="146" y="251"/>
                  <a:pt x="122" y="214"/>
                </a:cubicBezTo>
                <a:cubicBezTo>
                  <a:pt x="24" y="66"/>
                  <a:pt x="24" y="66"/>
                  <a:pt x="24" y="66"/>
                </a:cubicBezTo>
                <a:cubicBezTo>
                  <a:pt x="0" y="29"/>
                  <a:pt x="17" y="0"/>
                  <a:pt x="60" y="0"/>
                </a:cubicBezTo>
                <a:lnTo>
                  <a:pt x="272" y="0"/>
                </a:lnTo>
                <a:close/>
              </a:path>
            </a:pathLst>
          </a:custGeom>
          <a:solidFill>
            <a:sysClr val="window" lastClr="FFFFFF"/>
          </a:solidFill>
          <a:ln w="14288" cap="flat">
            <a:noFill/>
            <a:prstDash val="solid"/>
            <a:miter lim="800000"/>
            <a:headEnd/>
            <a:tailEnd/>
          </a:ln>
          <a:effectLst>
            <a:outerShdw blurRad="50800" dist="38100" dir="16200000"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22" name="Freeform 15"/>
          <p:cNvSpPr>
            <a:spLocks/>
          </p:cNvSpPr>
          <p:nvPr/>
        </p:nvSpPr>
        <p:spPr bwMode="auto">
          <a:xfrm>
            <a:off x="16907688" y="6364446"/>
            <a:ext cx="4488022" cy="3403870"/>
          </a:xfrm>
          <a:custGeom>
            <a:avLst/>
            <a:gdLst>
              <a:gd name="T0" fmla="*/ 272 w 702"/>
              <a:gd name="T1" fmla="*/ 0 h 531"/>
              <a:gd name="T2" fmla="*/ 430 w 702"/>
              <a:gd name="T3" fmla="*/ 0 h 531"/>
              <a:gd name="T4" fmla="*/ 642 w 702"/>
              <a:gd name="T5" fmla="*/ 0 h 531"/>
              <a:gd name="T6" fmla="*/ 678 w 702"/>
              <a:gd name="T7" fmla="*/ 66 h 531"/>
              <a:gd name="T8" fmla="*/ 580 w 702"/>
              <a:gd name="T9" fmla="*/ 214 h 531"/>
              <a:gd name="T10" fmla="*/ 492 w 702"/>
              <a:gd name="T11" fmla="*/ 347 h 531"/>
              <a:gd name="T12" fmla="*/ 395 w 702"/>
              <a:gd name="T13" fmla="*/ 495 h 531"/>
              <a:gd name="T14" fmla="*/ 307 w 702"/>
              <a:gd name="T15" fmla="*/ 495 h 531"/>
              <a:gd name="T16" fmla="*/ 210 w 702"/>
              <a:gd name="T17" fmla="*/ 347 h 531"/>
              <a:gd name="T18" fmla="*/ 122 w 702"/>
              <a:gd name="T19" fmla="*/ 214 h 531"/>
              <a:gd name="T20" fmla="*/ 24 w 702"/>
              <a:gd name="T21" fmla="*/ 66 h 531"/>
              <a:gd name="T22" fmla="*/ 60 w 702"/>
              <a:gd name="T23" fmla="*/ 0 h 531"/>
              <a:gd name="T24" fmla="*/ 272 w 702"/>
              <a:gd name="T25"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2" h="531">
                <a:moveTo>
                  <a:pt x="272" y="0"/>
                </a:moveTo>
                <a:cubicBezTo>
                  <a:pt x="315" y="0"/>
                  <a:pt x="387" y="0"/>
                  <a:pt x="430" y="0"/>
                </a:cubicBezTo>
                <a:cubicBezTo>
                  <a:pt x="642" y="0"/>
                  <a:pt x="642" y="0"/>
                  <a:pt x="642" y="0"/>
                </a:cubicBezTo>
                <a:cubicBezTo>
                  <a:pt x="685" y="0"/>
                  <a:pt x="702" y="29"/>
                  <a:pt x="678" y="66"/>
                </a:cubicBezTo>
                <a:cubicBezTo>
                  <a:pt x="580" y="214"/>
                  <a:pt x="580" y="214"/>
                  <a:pt x="580" y="214"/>
                </a:cubicBezTo>
                <a:cubicBezTo>
                  <a:pt x="556" y="251"/>
                  <a:pt x="516" y="310"/>
                  <a:pt x="492" y="347"/>
                </a:cubicBezTo>
                <a:cubicBezTo>
                  <a:pt x="395" y="495"/>
                  <a:pt x="395" y="495"/>
                  <a:pt x="395" y="495"/>
                </a:cubicBezTo>
                <a:cubicBezTo>
                  <a:pt x="371" y="531"/>
                  <a:pt x="331" y="531"/>
                  <a:pt x="307" y="495"/>
                </a:cubicBezTo>
                <a:cubicBezTo>
                  <a:pt x="210" y="347"/>
                  <a:pt x="210" y="347"/>
                  <a:pt x="210" y="347"/>
                </a:cubicBezTo>
                <a:cubicBezTo>
                  <a:pt x="186" y="310"/>
                  <a:pt x="146" y="251"/>
                  <a:pt x="122" y="214"/>
                </a:cubicBezTo>
                <a:cubicBezTo>
                  <a:pt x="24" y="66"/>
                  <a:pt x="24" y="66"/>
                  <a:pt x="24" y="66"/>
                </a:cubicBezTo>
                <a:cubicBezTo>
                  <a:pt x="0" y="29"/>
                  <a:pt x="17" y="0"/>
                  <a:pt x="60" y="0"/>
                </a:cubicBezTo>
                <a:lnTo>
                  <a:pt x="272" y="0"/>
                </a:lnTo>
                <a:close/>
              </a:path>
            </a:pathLst>
          </a:custGeom>
          <a:solidFill>
            <a:sysClr val="window" lastClr="FFFFFF"/>
          </a:solidFill>
          <a:ln w="14288" cap="flat">
            <a:noFill/>
            <a:prstDash val="solid"/>
            <a:miter lim="800000"/>
            <a:headEnd/>
            <a:tailEnd/>
          </a:ln>
          <a:effectLst>
            <a:outerShdw blurRad="50800" dist="38100" dir="16200000"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23" name="Freeform 17"/>
          <p:cNvSpPr>
            <a:spLocks/>
          </p:cNvSpPr>
          <p:nvPr/>
        </p:nvSpPr>
        <p:spPr bwMode="auto">
          <a:xfrm>
            <a:off x="6614974" y="5564172"/>
            <a:ext cx="4155475" cy="2711739"/>
          </a:xfrm>
          <a:custGeom>
            <a:avLst/>
            <a:gdLst>
              <a:gd name="T0" fmla="*/ 327 w 650"/>
              <a:gd name="T1" fmla="*/ 0 h 423"/>
              <a:gd name="T2" fmla="*/ 180 w 650"/>
              <a:gd name="T3" fmla="*/ 83 h 423"/>
              <a:gd name="T4" fmla="*/ 0 w 650"/>
              <a:gd name="T5" fmla="*/ 356 h 423"/>
              <a:gd name="T6" fmla="*/ 105 w 650"/>
              <a:gd name="T7" fmla="*/ 423 h 423"/>
              <a:gd name="T8" fmla="*/ 186 w 650"/>
              <a:gd name="T9" fmla="*/ 300 h 423"/>
              <a:gd name="T10" fmla="*/ 284 w 650"/>
              <a:gd name="T11" fmla="*/ 152 h 423"/>
              <a:gd name="T12" fmla="*/ 371 w 650"/>
              <a:gd name="T13" fmla="*/ 152 h 423"/>
              <a:gd name="T14" fmla="*/ 469 w 650"/>
              <a:gd name="T15" fmla="*/ 300 h 423"/>
              <a:gd name="T16" fmla="*/ 547 w 650"/>
              <a:gd name="T17" fmla="*/ 419 h 423"/>
              <a:gd name="T18" fmla="*/ 621 w 650"/>
              <a:gd name="T19" fmla="*/ 419 h 423"/>
              <a:gd name="T20" fmla="*/ 650 w 650"/>
              <a:gd name="T21" fmla="*/ 349 h 423"/>
              <a:gd name="T22" fmla="*/ 650 w 650"/>
              <a:gd name="T23" fmla="*/ 348 h 423"/>
              <a:gd name="T24" fmla="*/ 475 w 650"/>
              <a:gd name="T25" fmla="*/ 83 h 423"/>
              <a:gd name="T26" fmla="*/ 327 w 650"/>
              <a:gd name="T27" fmla="*/ 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0" h="423">
                <a:moveTo>
                  <a:pt x="327" y="0"/>
                </a:moveTo>
                <a:cubicBezTo>
                  <a:pt x="269" y="0"/>
                  <a:pt x="215" y="30"/>
                  <a:pt x="180" y="83"/>
                </a:cubicBezTo>
                <a:cubicBezTo>
                  <a:pt x="0" y="356"/>
                  <a:pt x="0" y="356"/>
                  <a:pt x="0" y="356"/>
                </a:cubicBezTo>
                <a:cubicBezTo>
                  <a:pt x="105" y="423"/>
                  <a:pt x="105" y="423"/>
                  <a:pt x="105" y="423"/>
                </a:cubicBezTo>
                <a:cubicBezTo>
                  <a:pt x="129" y="386"/>
                  <a:pt x="164" y="333"/>
                  <a:pt x="186" y="300"/>
                </a:cubicBezTo>
                <a:cubicBezTo>
                  <a:pt x="284" y="152"/>
                  <a:pt x="284" y="152"/>
                  <a:pt x="284" y="152"/>
                </a:cubicBezTo>
                <a:cubicBezTo>
                  <a:pt x="308" y="116"/>
                  <a:pt x="347" y="116"/>
                  <a:pt x="371" y="152"/>
                </a:cubicBezTo>
                <a:cubicBezTo>
                  <a:pt x="469" y="300"/>
                  <a:pt x="469" y="300"/>
                  <a:pt x="469" y="300"/>
                </a:cubicBezTo>
                <a:cubicBezTo>
                  <a:pt x="490" y="332"/>
                  <a:pt x="523" y="382"/>
                  <a:pt x="547" y="419"/>
                </a:cubicBezTo>
                <a:cubicBezTo>
                  <a:pt x="621" y="419"/>
                  <a:pt x="621" y="419"/>
                  <a:pt x="621" y="419"/>
                </a:cubicBezTo>
                <a:cubicBezTo>
                  <a:pt x="650" y="349"/>
                  <a:pt x="650" y="349"/>
                  <a:pt x="650" y="349"/>
                </a:cubicBezTo>
                <a:cubicBezTo>
                  <a:pt x="650" y="348"/>
                  <a:pt x="650" y="348"/>
                  <a:pt x="650" y="348"/>
                </a:cubicBezTo>
                <a:cubicBezTo>
                  <a:pt x="475" y="83"/>
                  <a:pt x="475" y="83"/>
                  <a:pt x="475" y="83"/>
                </a:cubicBezTo>
                <a:cubicBezTo>
                  <a:pt x="440" y="30"/>
                  <a:pt x="386" y="0"/>
                  <a:pt x="327" y="0"/>
                </a:cubicBezTo>
                <a:close/>
              </a:path>
            </a:pathLst>
          </a:custGeom>
          <a:solidFill>
            <a:schemeClr val="accent3"/>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24" name="Freeform 19"/>
          <p:cNvSpPr>
            <a:spLocks/>
          </p:cNvSpPr>
          <p:nvPr/>
        </p:nvSpPr>
        <p:spPr bwMode="auto">
          <a:xfrm>
            <a:off x="17075311" y="7794666"/>
            <a:ext cx="4155475" cy="2703630"/>
          </a:xfrm>
          <a:custGeom>
            <a:avLst/>
            <a:gdLst>
              <a:gd name="T0" fmla="*/ 619 w 650"/>
              <a:gd name="T1" fmla="*/ 6 h 422"/>
              <a:gd name="T2" fmla="*/ 544 w 650"/>
              <a:gd name="T3" fmla="*/ 5 h 422"/>
              <a:gd name="T4" fmla="*/ 467 w 650"/>
              <a:gd name="T5" fmla="*/ 122 h 422"/>
              <a:gd name="T6" fmla="*/ 369 w 650"/>
              <a:gd name="T7" fmla="*/ 270 h 422"/>
              <a:gd name="T8" fmla="*/ 282 w 650"/>
              <a:gd name="T9" fmla="*/ 270 h 422"/>
              <a:gd name="T10" fmla="*/ 184 w 650"/>
              <a:gd name="T11" fmla="*/ 122 h 422"/>
              <a:gd name="T12" fmla="*/ 104 w 650"/>
              <a:gd name="T13" fmla="*/ 0 h 422"/>
              <a:gd name="T14" fmla="*/ 104 w 650"/>
              <a:gd name="T15" fmla="*/ 0 h 422"/>
              <a:gd name="T16" fmla="*/ 74 w 650"/>
              <a:gd name="T17" fmla="*/ 70 h 422"/>
              <a:gd name="T18" fmla="*/ 0 w 650"/>
              <a:gd name="T19" fmla="*/ 70 h 422"/>
              <a:gd name="T20" fmla="*/ 178 w 650"/>
              <a:gd name="T21" fmla="*/ 339 h 422"/>
              <a:gd name="T22" fmla="*/ 289 w 650"/>
              <a:gd name="T23" fmla="*/ 418 h 422"/>
              <a:gd name="T24" fmla="*/ 322 w 650"/>
              <a:gd name="T25" fmla="*/ 422 h 422"/>
              <a:gd name="T26" fmla="*/ 325 w 650"/>
              <a:gd name="T27" fmla="*/ 422 h 422"/>
              <a:gd name="T28" fmla="*/ 473 w 650"/>
              <a:gd name="T29" fmla="*/ 339 h 422"/>
              <a:gd name="T30" fmla="*/ 650 w 650"/>
              <a:gd name="T31" fmla="*/ 72 h 422"/>
              <a:gd name="T32" fmla="*/ 619 w 650"/>
              <a:gd name="T33" fmla="*/ 6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422">
                <a:moveTo>
                  <a:pt x="619" y="6"/>
                </a:moveTo>
                <a:cubicBezTo>
                  <a:pt x="544" y="5"/>
                  <a:pt x="544" y="5"/>
                  <a:pt x="544" y="5"/>
                </a:cubicBezTo>
                <a:cubicBezTo>
                  <a:pt x="520" y="41"/>
                  <a:pt x="488" y="90"/>
                  <a:pt x="467" y="122"/>
                </a:cubicBezTo>
                <a:cubicBezTo>
                  <a:pt x="369" y="270"/>
                  <a:pt x="369" y="270"/>
                  <a:pt x="369" y="270"/>
                </a:cubicBezTo>
                <a:cubicBezTo>
                  <a:pt x="345" y="307"/>
                  <a:pt x="306" y="307"/>
                  <a:pt x="282" y="270"/>
                </a:cubicBezTo>
                <a:cubicBezTo>
                  <a:pt x="184" y="122"/>
                  <a:pt x="184" y="122"/>
                  <a:pt x="184" y="122"/>
                </a:cubicBezTo>
                <a:cubicBezTo>
                  <a:pt x="162" y="89"/>
                  <a:pt x="128" y="37"/>
                  <a:pt x="104" y="0"/>
                </a:cubicBezTo>
                <a:cubicBezTo>
                  <a:pt x="104" y="0"/>
                  <a:pt x="104" y="0"/>
                  <a:pt x="104" y="0"/>
                </a:cubicBezTo>
                <a:cubicBezTo>
                  <a:pt x="74" y="70"/>
                  <a:pt x="74" y="70"/>
                  <a:pt x="74" y="70"/>
                </a:cubicBezTo>
                <a:cubicBezTo>
                  <a:pt x="0" y="70"/>
                  <a:pt x="0" y="70"/>
                  <a:pt x="0" y="70"/>
                </a:cubicBezTo>
                <a:cubicBezTo>
                  <a:pt x="178" y="339"/>
                  <a:pt x="178" y="339"/>
                  <a:pt x="178" y="339"/>
                </a:cubicBezTo>
                <a:cubicBezTo>
                  <a:pt x="205" y="381"/>
                  <a:pt x="245" y="409"/>
                  <a:pt x="289" y="418"/>
                </a:cubicBezTo>
                <a:cubicBezTo>
                  <a:pt x="322" y="422"/>
                  <a:pt x="322" y="422"/>
                  <a:pt x="322" y="422"/>
                </a:cubicBezTo>
                <a:cubicBezTo>
                  <a:pt x="323" y="422"/>
                  <a:pt x="324" y="422"/>
                  <a:pt x="325" y="422"/>
                </a:cubicBezTo>
                <a:cubicBezTo>
                  <a:pt x="384" y="422"/>
                  <a:pt x="438" y="392"/>
                  <a:pt x="473" y="339"/>
                </a:cubicBezTo>
                <a:cubicBezTo>
                  <a:pt x="650" y="72"/>
                  <a:pt x="650" y="72"/>
                  <a:pt x="650" y="72"/>
                </a:cubicBezTo>
                <a:lnTo>
                  <a:pt x="619" y="6"/>
                </a:lnTo>
                <a:close/>
              </a:path>
            </a:pathLst>
          </a:custGeom>
          <a:solidFill>
            <a:schemeClr val="accent3"/>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25" name="Freeform 20"/>
          <p:cNvSpPr>
            <a:spLocks/>
          </p:cNvSpPr>
          <p:nvPr/>
        </p:nvSpPr>
        <p:spPr bwMode="auto">
          <a:xfrm>
            <a:off x="13576817" y="5556062"/>
            <a:ext cx="4155475" cy="2706334"/>
          </a:xfrm>
          <a:custGeom>
            <a:avLst/>
            <a:gdLst>
              <a:gd name="T0" fmla="*/ 327 w 650"/>
              <a:gd name="T1" fmla="*/ 0 h 422"/>
              <a:gd name="T2" fmla="*/ 179 w 650"/>
              <a:gd name="T3" fmla="*/ 83 h 422"/>
              <a:gd name="T4" fmla="*/ 0 w 650"/>
              <a:gd name="T5" fmla="*/ 356 h 422"/>
              <a:gd name="T6" fmla="*/ 105 w 650"/>
              <a:gd name="T7" fmla="*/ 422 h 422"/>
              <a:gd name="T8" fmla="*/ 186 w 650"/>
              <a:gd name="T9" fmla="*/ 300 h 422"/>
              <a:gd name="T10" fmla="*/ 284 w 650"/>
              <a:gd name="T11" fmla="*/ 152 h 422"/>
              <a:gd name="T12" fmla="*/ 371 w 650"/>
              <a:gd name="T13" fmla="*/ 152 h 422"/>
              <a:gd name="T14" fmla="*/ 469 w 650"/>
              <a:gd name="T15" fmla="*/ 300 h 422"/>
              <a:gd name="T16" fmla="*/ 547 w 650"/>
              <a:gd name="T17" fmla="*/ 419 h 422"/>
              <a:gd name="T18" fmla="*/ 620 w 650"/>
              <a:gd name="T19" fmla="*/ 419 h 422"/>
              <a:gd name="T20" fmla="*/ 650 w 650"/>
              <a:gd name="T21" fmla="*/ 348 h 422"/>
              <a:gd name="T22" fmla="*/ 650 w 650"/>
              <a:gd name="T23" fmla="*/ 348 h 422"/>
              <a:gd name="T24" fmla="*/ 475 w 650"/>
              <a:gd name="T25" fmla="*/ 83 h 422"/>
              <a:gd name="T26" fmla="*/ 327 w 650"/>
              <a:gd name="T27"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0" h="422">
                <a:moveTo>
                  <a:pt x="327" y="0"/>
                </a:moveTo>
                <a:cubicBezTo>
                  <a:pt x="268" y="0"/>
                  <a:pt x="214" y="30"/>
                  <a:pt x="179" y="83"/>
                </a:cubicBezTo>
                <a:cubicBezTo>
                  <a:pt x="0" y="356"/>
                  <a:pt x="0" y="356"/>
                  <a:pt x="0" y="356"/>
                </a:cubicBezTo>
                <a:cubicBezTo>
                  <a:pt x="105" y="422"/>
                  <a:pt x="105" y="422"/>
                  <a:pt x="105" y="422"/>
                </a:cubicBezTo>
                <a:cubicBezTo>
                  <a:pt x="129" y="386"/>
                  <a:pt x="164" y="333"/>
                  <a:pt x="186" y="300"/>
                </a:cubicBezTo>
                <a:cubicBezTo>
                  <a:pt x="284" y="152"/>
                  <a:pt x="284" y="152"/>
                  <a:pt x="284" y="152"/>
                </a:cubicBezTo>
                <a:cubicBezTo>
                  <a:pt x="308" y="115"/>
                  <a:pt x="347" y="115"/>
                  <a:pt x="371" y="152"/>
                </a:cubicBezTo>
                <a:cubicBezTo>
                  <a:pt x="469" y="300"/>
                  <a:pt x="469" y="300"/>
                  <a:pt x="469" y="300"/>
                </a:cubicBezTo>
                <a:cubicBezTo>
                  <a:pt x="490" y="332"/>
                  <a:pt x="523" y="382"/>
                  <a:pt x="547" y="419"/>
                </a:cubicBezTo>
                <a:cubicBezTo>
                  <a:pt x="620" y="419"/>
                  <a:pt x="620" y="419"/>
                  <a:pt x="620" y="419"/>
                </a:cubicBezTo>
                <a:cubicBezTo>
                  <a:pt x="650" y="348"/>
                  <a:pt x="650" y="348"/>
                  <a:pt x="650" y="348"/>
                </a:cubicBezTo>
                <a:cubicBezTo>
                  <a:pt x="650" y="348"/>
                  <a:pt x="650" y="348"/>
                  <a:pt x="650" y="348"/>
                </a:cubicBezTo>
                <a:cubicBezTo>
                  <a:pt x="475" y="83"/>
                  <a:pt x="475" y="83"/>
                  <a:pt x="475" y="83"/>
                </a:cubicBezTo>
                <a:cubicBezTo>
                  <a:pt x="440" y="30"/>
                  <a:pt x="386" y="0"/>
                  <a:pt x="327" y="0"/>
                </a:cubicBezTo>
                <a:close/>
              </a:path>
            </a:pathLst>
          </a:custGeom>
          <a:solidFill>
            <a:schemeClr val="accent2"/>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26" name="Freeform 16"/>
          <p:cNvSpPr>
            <a:spLocks/>
          </p:cNvSpPr>
          <p:nvPr/>
        </p:nvSpPr>
        <p:spPr bwMode="auto">
          <a:xfrm>
            <a:off x="3151628" y="7805479"/>
            <a:ext cx="4147364" cy="2706334"/>
          </a:xfrm>
          <a:custGeom>
            <a:avLst/>
            <a:gdLst>
              <a:gd name="T0" fmla="*/ 619 w 649"/>
              <a:gd name="T1" fmla="*/ 5 h 422"/>
              <a:gd name="T2" fmla="*/ 544 w 649"/>
              <a:gd name="T3" fmla="*/ 4 h 422"/>
              <a:gd name="T4" fmla="*/ 466 w 649"/>
              <a:gd name="T5" fmla="*/ 122 h 422"/>
              <a:gd name="T6" fmla="*/ 369 w 649"/>
              <a:gd name="T7" fmla="*/ 270 h 422"/>
              <a:gd name="T8" fmla="*/ 281 w 649"/>
              <a:gd name="T9" fmla="*/ 270 h 422"/>
              <a:gd name="T10" fmla="*/ 184 w 649"/>
              <a:gd name="T11" fmla="*/ 122 h 422"/>
              <a:gd name="T12" fmla="*/ 103 w 649"/>
              <a:gd name="T13" fmla="*/ 0 h 422"/>
              <a:gd name="T14" fmla="*/ 103 w 649"/>
              <a:gd name="T15" fmla="*/ 0 h 422"/>
              <a:gd name="T16" fmla="*/ 73 w 649"/>
              <a:gd name="T17" fmla="*/ 70 h 422"/>
              <a:gd name="T18" fmla="*/ 0 w 649"/>
              <a:gd name="T19" fmla="*/ 70 h 422"/>
              <a:gd name="T20" fmla="*/ 177 w 649"/>
              <a:gd name="T21" fmla="*/ 338 h 422"/>
              <a:gd name="T22" fmla="*/ 289 w 649"/>
              <a:gd name="T23" fmla="*/ 418 h 422"/>
              <a:gd name="T24" fmla="*/ 321 w 649"/>
              <a:gd name="T25" fmla="*/ 422 h 422"/>
              <a:gd name="T26" fmla="*/ 325 w 649"/>
              <a:gd name="T27" fmla="*/ 422 h 422"/>
              <a:gd name="T28" fmla="*/ 473 w 649"/>
              <a:gd name="T29" fmla="*/ 338 h 422"/>
              <a:gd name="T30" fmla="*/ 649 w 649"/>
              <a:gd name="T31" fmla="*/ 71 h 422"/>
              <a:gd name="T32" fmla="*/ 619 w 649"/>
              <a:gd name="T33" fmla="*/ 5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9" h="422">
                <a:moveTo>
                  <a:pt x="619" y="5"/>
                </a:moveTo>
                <a:cubicBezTo>
                  <a:pt x="544" y="4"/>
                  <a:pt x="544" y="4"/>
                  <a:pt x="544" y="4"/>
                </a:cubicBezTo>
                <a:cubicBezTo>
                  <a:pt x="520" y="40"/>
                  <a:pt x="487" y="90"/>
                  <a:pt x="466" y="122"/>
                </a:cubicBezTo>
                <a:cubicBezTo>
                  <a:pt x="369" y="270"/>
                  <a:pt x="369" y="270"/>
                  <a:pt x="369" y="270"/>
                </a:cubicBezTo>
                <a:cubicBezTo>
                  <a:pt x="345" y="306"/>
                  <a:pt x="305" y="306"/>
                  <a:pt x="281" y="270"/>
                </a:cubicBezTo>
                <a:cubicBezTo>
                  <a:pt x="184" y="122"/>
                  <a:pt x="184" y="122"/>
                  <a:pt x="184" y="122"/>
                </a:cubicBezTo>
                <a:cubicBezTo>
                  <a:pt x="162" y="89"/>
                  <a:pt x="127" y="36"/>
                  <a:pt x="103" y="0"/>
                </a:cubicBezTo>
                <a:cubicBezTo>
                  <a:pt x="103" y="0"/>
                  <a:pt x="103" y="0"/>
                  <a:pt x="103" y="0"/>
                </a:cubicBezTo>
                <a:cubicBezTo>
                  <a:pt x="73" y="70"/>
                  <a:pt x="73" y="70"/>
                  <a:pt x="73" y="70"/>
                </a:cubicBezTo>
                <a:cubicBezTo>
                  <a:pt x="0" y="70"/>
                  <a:pt x="0" y="70"/>
                  <a:pt x="0" y="70"/>
                </a:cubicBezTo>
                <a:cubicBezTo>
                  <a:pt x="177" y="338"/>
                  <a:pt x="177" y="338"/>
                  <a:pt x="177" y="338"/>
                </a:cubicBezTo>
                <a:cubicBezTo>
                  <a:pt x="205" y="380"/>
                  <a:pt x="244" y="408"/>
                  <a:pt x="289" y="418"/>
                </a:cubicBezTo>
                <a:cubicBezTo>
                  <a:pt x="321" y="422"/>
                  <a:pt x="321" y="422"/>
                  <a:pt x="321" y="422"/>
                </a:cubicBezTo>
                <a:cubicBezTo>
                  <a:pt x="323" y="422"/>
                  <a:pt x="324" y="422"/>
                  <a:pt x="325" y="422"/>
                </a:cubicBezTo>
                <a:cubicBezTo>
                  <a:pt x="384" y="422"/>
                  <a:pt x="438" y="391"/>
                  <a:pt x="473" y="338"/>
                </a:cubicBezTo>
                <a:cubicBezTo>
                  <a:pt x="649" y="71"/>
                  <a:pt x="649" y="71"/>
                  <a:pt x="649" y="71"/>
                </a:cubicBezTo>
                <a:lnTo>
                  <a:pt x="619" y="5"/>
                </a:lnTo>
                <a:close/>
              </a:path>
            </a:pathLst>
          </a:custGeom>
          <a:solidFill>
            <a:schemeClr val="accent2"/>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27" name="Freeform 18"/>
          <p:cNvSpPr>
            <a:spLocks/>
          </p:cNvSpPr>
          <p:nvPr/>
        </p:nvSpPr>
        <p:spPr bwMode="auto">
          <a:xfrm>
            <a:off x="10113468" y="7794666"/>
            <a:ext cx="4147364" cy="2703630"/>
          </a:xfrm>
          <a:custGeom>
            <a:avLst/>
            <a:gdLst>
              <a:gd name="T0" fmla="*/ 618 w 649"/>
              <a:gd name="T1" fmla="*/ 6 h 422"/>
              <a:gd name="T2" fmla="*/ 544 w 649"/>
              <a:gd name="T3" fmla="*/ 5 h 422"/>
              <a:gd name="T4" fmla="*/ 466 w 649"/>
              <a:gd name="T5" fmla="*/ 122 h 422"/>
              <a:gd name="T6" fmla="*/ 369 w 649"/>
              <a:gd name="T7" fmla="*/ 270 h 422"/>
              <a:gd name="T8" fmla="*/ 281 w 649"/>
              <a:gd name="T9" fmla="*/ 270 h 422"/>
              <a:gd name="T10" fmla="*/ 183 w 649"/>
              <a:gd name="T11" fmla="*/ 122 h 422"/>
              <a:gd name="T12" fmla="*/ 103 w 649"/>
              <a:gd name="T13" fmla="*/ 0 h 422"/>
              <a:gd name="T14" fmla="*/ 103 w 649"/>
              <a:gd name="T15" fmla="*/ 0 h 422"/>
              <a:gd name="T16" fmla="*/ 73 w 649"/>
              <a:gd name="T17" fmla="*/ 70 h 422"/>
              <a:gd name="T18" fmla="*/ 0 w 649"/>
              <a:gd name="T19" fmla="*/ 70 h 422"/>
              <a:gd name="T20" fmla="*/ 177 w 649"/>
              <a:gd name="T21" fmla="*/ 339 h 422"/>
              <a:gd name="T22" fmla="*/ 288 w 649"/>
              <a:gd name="T23" fmla="*/ 418 h 422"/>
              <a:gd name="T24" fmla="*/ 321 w 649"/>
              <a:gd name="T25" fmla="*/ 422 h 422"/>
              <a:gd name="T26" fmla="*/ 325 w 649"/>
              <a:gd name="T27" fmla="*/ 422 h 422"/>
              <a:gd name="T28" fmla="*/ 473 w 649"/>
              <a:gd name="T29" fmla="*/ 339 h 422"/>
              <a:gd name="T30" fmla="*/ 649 w 649"/>
              <a:gd name="T31" fmla="*/ 72 h 422"/>
              <a:gd name="T32" fmla="*/ 618 w 649"/>
              <a:gd name="T33" fmla="*/ 6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9" h="422">
                <a:moveTo>
                  <a:pt x="618" y="6"/>
                </a:moveTo>
                <a:cubicBezTo>
                  <a:pt x="544" y="5"/>
                  <a:pt x="544" y="5"/>
                  <a:pt x="544" y="5"/>
                </a:cubicBezTo>
                <a:cubicBezTo>
                  <a:pt x="520" y="41"/>
                  <a:pt x="487" y="90"/>
                  <a:pt x="466" y="122"/>
                </a:cubicBezTo>
                <a:cubicBezTo>
                  <a:pt x="369" y="270"/>
                  <a:pt x="369" y="270"/>
                  <a:pt x="369" y="270"/>
                </a:cubicBezTo>
                <a:cubicBezTo>
                  <a:pt x="344" y="307"/>
                  <a:pt x="305" y="307"/>
                  <a:pt x="281" y="270"/>
                </a:cubicBezTo>
                <a:cubicBezTo>
                  <a:pt x="183" y="122"/>
                  <a:pt x="183" y="122"/>
                  <a:pt x="183" y="122"/>
                </a:cubicBezTo>
                <a:cubicBezTo>
                  <a:pt x="162" y="89"/>
                  <a:pt x="127" y="37"/>
                  <a:pt x="103" y="0"/>
                </a:cubicBezTo>
                <a:cubicBezTo>
                  <a:pt x="103" y="0"/>
                  <a:pt x="103" y="0"/>
                  <a:pt x="103" y="0"/>
                </a:cubicBezTo>
                <a:cubicBezTo>
                  <a:pt x="73" y="70"/>
                  <a:pt x="73" y="70"/>
                  <a:pt x="73" y="70"/>
                </a:cubicBezTo>
                <a:cubicBezTo>
                  <a:pt x="0" y="70"/>
                  <a:pt x="0" y="70"/>
                  <a:pt x="0" y="70"/>
                </a:cubicBezTo>
                <a:cubicBezTo>
                  <a:pt x="177" y="339"/>
                  <a:pt x="177" y="339"/>
                  <a:pt x="177" y="339"/>
                </a:cubicBezTo>
                <a:cubicBezTo>
                  <a:pt x="205" y="381"/>
                  <a:pt x="244" y="409"/>
                  <a:pt x="288" y="418"/>
                </a:cubicBezTo>
                <a:cubicBezTo>
                  <a:pt x="321" y="422"/>
                  <a:pt x="321" y="422"/>
                  <a:pt x="321" y="422"/>
                </a:cubicBezTo>
                <a:cubicBezTo>
                  <a:pt x="322" y="422"/>
                  <a:pt x="324" y="422"/>
                  <a:pt x="325" y="422"/>
                </a:cubicBezTo>
                <a:cubicBezTo>
                  <a:pt x="384" y="422"/>
                  <a:pt x="438" y="392"/>
                  <a:pt x="473" y="339"/>
                </a:cubicBezTo>
                <a:cubicBezTo>
                  <a:pt x="649" y="72"/>
                  <a:pt x="649" y="72"/>
                  <a:pt x="649" y="72"/>
                </a:cubicBezTo>
                <a:lnTo>
                  <a:pt x="618" y="6"/>
                </a:lnTo>
                <a:close/>
              </a:path>
            </a:pathLst>
          </a:custGeom>
          <a:solidFill>
            <a:schemeClr val="accent1">
              <a:lumMod val="60000"/>
              <a:lumOff val="40000"/>
            </a:schemeClr>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29" name="TextBox 228"/>
          <p:cNvSpPr txBox="1"/>
          <p:nvPr/>
        </p:nvSpPr>
        <p:spPr>
          <a:xfrm>
            <a:off x="4508785" y="7135654"/>
            <a:ext cx="1438452" cy="369332"/>
          </a:xfrm>
          <a:prstGeom prst="rect">
            <a:avLst/>
          </a:prstGeom>
          <a:noFill/>
          <a:ln w="6350">
            <a:noFill/>
            <a:prstDash val="dash"/>
          </a:ln>
        </p:spPr>
        <p:txBody>
          <a:bodyPr wrap="square" lIns="0" tIns="0" rIns="0" bIns="0" rtlCol="0">
            <a:spAutoFit/>
          </a:bodyPr>
          <a:lstStyle/>
          <a:p>
            <a:pPr algn="ctr" defTabSz="1828709">
              <a:defRPr/>
            </a:pPr>
            <a:r>
              <a:rPr lang="en-US" sz="2400" b="1" kern="0" dirty="0"/>
              <a:t>Plan</a:t>
            </a:r>
          </a:p>
        </p:txBody>
      </p:sp>
      <p:grpSp>
        <p:nvGrpSpPr>
          <p:cNvPr id="230" name="Group 229"/>
          <p:cNvGrpSpPr>
            <a:grpSpLocks noChangeAspect="1"/>
          </p:cNvGrpSpPr>
          <p:nvPr/>
        </p:nvGrpSpPr>
        <p:grpSpPr>
          <a:xfrm>
            <a:off x="4834813" y="7621852"/>
            <a:ext cx="786397" cy="897650"/>
            <a:chOff x="2005013" y="1858963"/>
            <a:chExt cx="325437" cy="371476"/>
          </a:xfrm>
          <a:solidFill>
            <a:schemeClr val="accent1">
              <a:lumMod val="60000"/>
              <a:lumOff val="40000"/>
            </a:schemeClr>
          </a:solidFill>
        </p:grpSpPr>
        <p:sp>
          <p:nvSpPr>
            <p:cNvPr id="231" name="Freeform 26"/>
            <p:cNvSpPr>
              <a:spLocks noEditPoints="1"/>
            </p:cNvSpPr>
            <p:nvPr/>
          </p:nvSpPr>
          <p:spPr bwMode="auto">
            <a:xfrm>
              <a:off x="2051050" y="1905001"/>
              <a:ext cx="231775" cy="233363"/>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4 h 60"/>
                <a:gd name="T12" fmla="*/ 4 w 60"/>
                <a:gd name="T13" fmla="*/ 30 h 60"/>
                <a:gd name="T14" fmla="*/ 30 w 60"/>
                <a:gd name="T15" fmla="*/ 56 h 60"/>
                <a:gd name="T16" fmla="*/ 56 w 60"/>
                <a:gd name="T17" fmla="*/ 30 h 60"/>
                <a:gd name="T18" fmla="*/ 30 w 60"/>
                <a:gd name="T19"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3"/>
                    <a:pt x="60" y="30"/>
                  </a:cubicBezTo>
                  <a:cubicBezTo>
                    <a:pt x="60" y="47"/>
                    <a:pt x="47" y="60"/>
                    <a:pt x="30" y="60"/>
                  </a:cubicBezTo>
                  <a:close/>
                  <a:moveTo>
                    <a:pt x="30" y="4"/>
                  </a:moveTo>
                  <a:cubicBezTo>
                    <a:pt x="16" y="4"/>
                    <a:pt x="4" y="16"/>
                    <a:pt x="4" y="30"/>
                  </a:cubicBezTo>
                  <a:cubicBezTo>
                    <a:pt x="4" y="44"/>
                    <a:pt x="16" y="56"/>
                    <a:pt x="30" y="56"/>
                  </a:cubicBezTo>
                  <a:cubicBezTo>
                    <a:pt x="44" y="56"/>
                    <a:pt x="56" y="44"/>
                    <a:pt x="56" y="30"/>
                  </a:cubicBezTo>
                  <a:cubicBezTo>
                    <a:pt x="56" y="16"/>
                    <a:pt x="44"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32" name="Freeform 27"/>
            <p:cNvSpPr>
              <a:spLocks/>
            </p:cNvSpPr>
            <p:nvPr/>
          </p:nvSpPr>
          <p:spPr bwMode="auto">
            <a:xfrm>
              <a:off x="2112963" y="2122488"/>
              <a:ext cx="107950" cy="46038"/>
            </a:xfrm>
            <a:custGeom>
              <a:avLst/>
              <a:gdLst>
                <a:gd name="T0" fmla="*/ 26 w 28"/>
                <a:gd name="T1" fmla="*/ 12 h 12"/>
                <a:gd name="T2" fmla="*/ 2 w 28"/>
                <a:gd name="T3" fmla="*/ 12 h 12"/>
                <a:gd name="T4" fmla="*/ 0 w 28"/>
                <a:gd name="T5" fmla="*/ 10 h 12"/>
                <a:gd name="T6" fmla="*/ 0 w 28"/>
                <a:gd name="T7" fmla="*/ 0 h 12"/>
                <a:gd name="T8" fmla="*/ 4 w 28"/>
                <a:gd name="T9" fmla="*/ 0 h 12"/>
                <a:gd name="T10" fmla="*/ 4 w 28"/>
                <a:gd name="T11" fmla="*/ 8 h 12"/>
                <a:gd name="T12" fmla="*/ 24 w 28"/>
                <a:gd name="T13" fmla="*/ 8 h 12"/>
                <a:gd name="T14" fmla="*/ 24 w 28"/>
                <a:gd name="T15" fmla="*/ 0 h 12"/>
                <a:gd name="T16" fmla="*/ 28 w 28"/>
                <a:gd name="T17" fmla="*/ 0 h 12"/>
                <a:gd name="T18" fmla="*/ 28 w 28"/>
                <a:gd name="T19" fmla="*/ 10 h 12"/>
                <a:gd name="T20" fmla="*/ 26 w 28"/>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2">
                  <a:moveTo>
                    <a:pt x="26" y="12"/>
                  </a:moveTo>
                  <a:cubicBezTo>
                    <a:pt x="2" y="12"/>
                    <a:pt x="2" y="12"/>
                    <a:pt x="2" y="12"/>
                  </a:cubicBezTo>
                  <a:cubicBezTo>
                    <a:pt x="1" y="12"/>
                    <a:pt x="0" y="11"/>
                    <a:pt x="0" y="10"/>
                  </a:cubicBezTo>
                  <a:cubicBezTo>
                    <a:pt x="0" y="0"/>
                    <a:pt x="0" y="0"/>
                    <a:pt x="0" y="0"/>
                  </a:cubicBezTo>
                  <a:cubicBezTo>
                    <a:pt x="4" y="0"/>
                    <a:pt x="4" y="0"/>
                    <a:pt x="4" y="0"/>
                  </a:cubicBezTo>
                  <a:cubicBezTo>
                    <a:pt x="4" y="8"/>
                    <a:pt x="4" y="8"/>
                    <a:pt x="4" y="8"/>
                  </a:cubicBezTo>
                  <a:cubicBezTo>
                    <a:pt x="24" y="8"/>
                    <a:pt x="24" y="8"/>
                    <a:pt x="24" y="8"/>
                  </a:cubicBezTo>
                  <a:cubicBezTo>
                    <a:pt x="24" y="0"/>
                    <a:pt x="24" y="0"/>
                    <a:pt x="24" y="0"/>
                  </a:cubicBezTo>
                  <a:cubicBezTo>
                    <a:pt x="28" y="0"/>
                    <a:pt x="28" y="0"/>
                    <a:pt x="28" y="0"/>
                  </a:cubicBezTo>
                  <a:cubicBezTo>
                    <a:pt x="28" y="10"/>
                    <a:pt x="28" y="10"/>
                    <a:pt x="28" y="10"/>
                  </a:cubicBezTo>
                  <a:cubicBezTo>
                    <a:pt x="28" y="11"/>
                    <a:pt x="27"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33" name="Freeform 28"/>
            <p:cNvSpPr>
              <a:spLocks noEditPoints="1"/>
            </p:cNvSpPr>
            <p:nvPr/>
          </p:nvSpPr>
          <p:spPr bwMode="auto">
            <a:xfrm>
              <a:off x="2128838" y="2152651"/>
              <a:ext cx="76200" cy="47625"/>
            </a:xfrm>
            <a:custGeom>
              <a:avLst/>
              <a:gdLst>
                <a:gd name="T0" fmla="*/ 18 w 20"/>
                <a:gd name="T1" fmla="*/ 12 h 12"/>
                <a:gd name="T2" fmla="*/ 2 w 20"/>
                <a:gd name="T3" fmla="*/ 12 h 12"/>
                <a:gd name="T4" fmla="*/ 0 w 20"/>
                <a:gd name="T5" fmla="*/ 10 h 12"/>
                <a:gd name="T6" fmla="*/ 0 w 20"/>
                <a:gd name="T7" fmla="*/ 2 h 12"/>
                <a:gd name="T8" fmla="*/ 2 w 20"/>
                <a:gd name="T9" fmla="*/ 0 h 12"/>
                <a:gd name="T10" fmla="*/ 18 w 20"/>
                <a:gd name="T11" fmla="*/ 0 h 12"/>
                <a:gd name="T12" fmla="*/ 20 w 20"/>
                <a:gd name="T13" fmla="*/ 2 h 12"/>
                <a:gd name="T14" fmla="*/ 20 w 20"/>
                <a:gd name="T15" fmla="*/ 10 h 12"/>
                <a:gd name="T16" fmla="*/ 18 w 20"/>
                <a:gd name="T17" fmla="*/ 12 h 12"/>
                <a:gd name="T18" fmla="*/ 4 w 20"/>
                <a:gd name="T19" fmla="*/ 8 h 12"/>
                <a:gd name="T20" fmla="*/ 16 w 20"/>
                <a:gd name="T21" fmla="*/ 8 h 12"/>
                <a:gd name="T22" fmla="*/ 16 w 20"/>
                <a:gd name="T23" fmla="*/ 4 h 12"/>
                <a:gd name="T24" fmla="*/ 4 w 20"/>
                <a:gd name="T25" fmla="*/ 4 h 12"/>
                <a:gd name="T26" fmla="*/ 4 w 20"/>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2">
                  <a:moveTo>
                    <a:pt x="18" y="12"/>
                  </a:moveTo>
                  <a:cubicBezTo>
                    <a:pt x="2" y="12"/>
                    <a:pt x="2" y="12"/>
                    <a:pt x="2" y="12"/>
                  </a:cubicBezTo>
                  <a:cubicBezTo>
                    <a:pt x="1" y="12"/>
                    <a:pt x="0" y="11"/>
                    <a:pt x="0" y="10"/>
                  </a:cubicBezTo>
                  <a:cubicBezTo>
                    <a:pt x="0" y="2"/>
                    <a:pt x="0" y="2"/>
                    <a:pt x="0" y="2"/>
                  </a:cubicBezTo>
                  <a:cubicBezTo>
                    <a:pt x="0" y="1"/>
                    <a:pt x="1" y="0"/>
                    <a:pt x="2" y="0"/>
                  </a:cubicBezTo>
                  <a:cubicBezTo>
                    <a:pt x="18" y="0"/>
                    <a:pt x="18" y="0"/>
                    <a:pt x="18" y="0"/>
                  </a:cubicBezTo>
                  <a:cubicBezTo>
                    <a:pt x="19" y="0"/>
                    <a:pt x="20" y="1"/>
                    <a:pt x="20" y="2"/>
                  </a:cubicBezTo>
                  <a:cubicBezTo>
                    <a:pt x="20" y="10"/>
                    <a:pt x="20" y="10"/>
                    <a:pt x="20" y="10"/>
                  </a:cubicBezTo>
                  <a:cubicBezTo>
                    <a:pt x="20" y="11"/>
                    <a:pt x="19" y="12"/>
                    <a:pt x="18" y="12"/>
                  </a:cubicBezTo>
                  <a:close/>
                  <a:moveTo>
                    <a:pt x="4" y="8"/>
                  </a:moveTo>
                  <a:cubicBezTo>
                    <a:pt x="16" y="8"/>
                    <a:pt x="16" y="8"/>
                    <a:pt x="16" y="8"/>
                  </a:cubicBezTo>
                  <a:cubicBezTo>
                    <a:pt x="16" y="4"/>
                    <a:pt x="16" y="4"/>
                    <a:pt x="16"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34" name="Freeform 29"/>
            <p:cNvSpPr>
              <a:spLocks/>
            </p:cNvSpPr>
            <p:nvPr/>
          </p:nvSpPr>
          <p:spPr bwMode="auto">
            <a:xfrm>
              <a:off x="2159000" y="2184401"/>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35" name="Freeform 30"/>
            <p:cNvSpPr>
              <a:spLocks/>
            </p:cNvSpPr>
            <p:nvPr/>
          </p:nvSpPr>
          <p:spPr bwMode="auto">
            <a:xfrm>
              <a:off x="2159000" y="1858963"/>
              <a:ext cx="15875" cy="3175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36" name="Freeform 31"/>
            <p:cNvSpPr>
              <a:spLocks/>
            </p:cNvSpPr>
            <p:nvPr/>
          </p:nvSpPr>
          <p:spPr bwMode="auto">
            <a:xfrm>
              <a:off x="2255838" y="1905001"/>
              <a:ext cx="26987" cy="26988"/>
            </a:xfrm>
            <a:custGeom>
              <a:avLst/>
              <a:gdLst>
                <a:gd name="T0" fmla="*/ 2 w 7"/>
                <a:gd name="T1" fmla="*/ 7 h 7"/>
                <a:gd name="T2" fmla="*/ 1 w 7"/>
                <a:gd name="T3" fmla="*/ 6 h 7"/>
                <a:gd name="T4" fmla="*/ 1 w 7"/>
                <a:gd name="T5" fmla="*/ 3 h 7"/>
                <a:gd name="T6" fmla="*/ 4 w 7"/>
                <a:gd name="T7" fmla="*/ 0 h 7"/>
                <a:gd name="T8" fmla="*/ 7 w 7"/>
                <a:gd name="T9" fmla="*/ 0 h 7"/>
                <a:gd name="T10" fmla="*/ 7 w 7"/>
                <a:gd name="T11" fmla="*/ 3 h 7"/>
                <a:gd name="T12" fmla="*/ 4 w 7"/>
                <a:gd name="T13" fmla="*/ 6 h 7"/>
                <a:gd name="T14" fmla="*/ 2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7"/>
                  </a:moveTo>
                  <a:cubicBezTo>
                    <a:pt x="2" y="7"/>
                    <a:pt x="1" y="6"/>
                    <a:pt x="1" y="6"/>
                  </a:cubicBezTo>
                  <a:cubicBezTo>
                    <a:pt x="0" y="5"/>
                    <a:pt x="0" y="4"/>
                    <a:pt x="1" y="3"/>
                  </a:cubicBezTo>
                  <a:cubicBezTo>
                    <a:pt x="4" y="0"/>
                    <a:pt x="4" y="0"/>
                    <a:pt x="4" y="0"/>
                  </a:cubicBezTo>
                  <a:cubicBezTo>
                    <a:pt x="5" y="0"/>
                    <a:pt x="6" y="0"/>
                    <a:pt x="7" y="0"/>
                  </a:cubicBezTo>
                  <a:cubicBezTo>
                    <a:pt x="7" y="1"/>
                    <a:pt x="7" y="2"/>
                    <a:pt x="7" y="3"/>
                  </a:cubicBezTo>
                  <a:cubicBezTo>
                    <a:pt x="4" y="6"/>
                    <a:pt x="4" y="6"/>
                    <a:pt x="4" y="6"/>
                  </a:cubicBezTo>
                  <a:cubicBezTo>
                    <a:pt x="3" y="6"/>
                    <a:pt x="3"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37" name="Freeform 32"/>
            <p:cNvSpPr>
              <a:spLocks/>
            </p:cNvSpPr>
            <p:nvPr/>
          </p:nvSpPr>
          <p:spPr bwMode="auto">
            <a:xfrm>
              <a:off x="2298700" y="2014538"/>
              <a:ext cx="31750" cy="14288"/>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38" name="Freeform 33"/>
            <p:cNvSpPr>
              <a:spLocks/>
            </p:cNvSpPr>
            <p:nvPr/>
          </p:nvSpPr>
          <p:spPr bwMode="auto">
            <a:xfrm>
              <a:off x="2255838" y="2109788"/>
              <a:ext cx="26987" cy="28575"/>
            </a:xfrm>
            <a:custGeom>
              <a:avLst/>
              <a:gdLst>
                <a:gd name="T0" fmla="*/ 5 w 7"/>
                <a:gd name="T1" fmla="*/ 7 h 7"/>
                <a:gd name="T2" fmla="*/ 4 w 7"/>
                <a:gd name="T3" fmla="*/ 7 h 7"/>
                <a:gd name="T4" fmla="*/ 1 w 7"/>
                <a:gd name="T5" fmla="*/ 4 h 7"/>
                <a:gd name="T6" fmla="*/ 1 w 7"/>
                <a:gd name="T7" fmla="*/ 1 h 7"/>
                <a:gd name="T8" fmla="*/ 4 w 7"/>
                <a:gd name="T9" fmla="*/ 1 h 7"/>
                <a:gd name="T10" fmla="*/ 7 w 7"/>
                <a:gd name="T11" fmla="*/ 4 h 7"/>
                <a:gd name="T12" fmla="*/ 7 w 7"/>
                <a:gd name="T13" fmla="*/ 7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cubicBezTo>
                    <a:pt x="5" y="7"/>
                    <a:pt x="4" y="7"/>
                    <a:pt x="4" y="7"/>
                  </a:cubicBezTo>
                  <a:cubicBezTo>
                    <a:pt x="1" y="4"/>
                    <a:pt x="1" y="4"/>
                    <a:pt x="1" y="4"/>
                  </a:cubicBezTo>
                  <a:cubicBezTo>
                    <a:pt x="0" y="3"/>
                    <a:pt x="0" y="2"/>
                    <a:pt x="1" y="1"/>
                  </a:cubicBezTo>
                  <a:cubicBezTo>
                    <a:pt x="2" y="0"/>
                    <a:pt x="3" y="0"/>
                    <a:pt x="4" y="1"/>
                  </a:cubicBezTo>
                  <a:cubicBezTo>
                    <a:pt x="7" y="4"/>
                    <a:pt x="7" y="4"/>
                    <a:pt x="7" y="4"/>
                  </a:cubicBezTo>
                  <a:cubicBezTo>
                    <a:pt x="7" y="5"/>
                    <a:pt x="7" y="6"/>
                    <a:pt x="7" y="7"/>
                  </a:cubicBezTo>
                  <a:cubicBezTo>
                    <a:pt x="6" y="7"/>
                    <a:pt x="6"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39" name="Freeform 34"/>
            <p:cNvSpPr>
              <a:spLocks/>
            </p:cNvSpPr>
            <p:nvPr/>
          </p:nvSpPr>
          <p:spPr bwMode="auto">
            <a:xfrm>
              <a:off x="2051050" y="1905001"/>
              <a:ext cx="26987" cy="26988"/>
            </a:xfrm>
            <a:custGeom>
              <a:avLst/>
              <a:gdLst>
                <a:gd name="T0" fmla="*/ 5 w 7"/>
                <a:gd name="T1" fmla="*/ 7 h 7"/>
                <a:gd name="T2" fmla="*/ 3 w 7"/>
                <a:gd name="T3" fmla="*/ 6 h 7"/>
                <a:gd name="T4" fmla="*/ 0 w 7"/>
                <a:gd name="T5" fmla="*/ 3 h 7"/>
                <a:gd name="T6" fmla="*/ 0 w 7"/>
                <a:gd name="T7" fmla="*/ 0 h 7"/>
                <a:gd name="T8" fmla="*/ 3 w 7"/>
                <a:gd name="T9" fmla="*/ 0 h 7"/>
                <a:gd name="T10" fmla="*/ 6 w 7"/>
                <a:gd name="T11" fmla="*/ 3 h 7"/>
                <a:gd name="T12" fmla="*/ 6 w 7"/>
                <a:gd name="T13" fmla="*/ 6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cubicBezTo>
                    <a:pt x="4" y="7"/>
                    <a:pt x="4" y="6"/>
                    <a:pt x="3" y="6"/>
                  </a:cubicBezTo>
                  <a:cubicBezTo>
                    <a:pt x="0" y="3"/>
                    <a:pt x="0" y="3"/>
                    <a:pt x="0" y="3"/>
                  </a:cubicBezTo>
                  <a:cubicBezTo>
                    <a:pt x="0" y="2"/>
                    <a:pt x="0" y="1"/>
                    <a:pt x="0" y="0"/>
                  </a:cubicBezTo>
                  <a:cubicBezTo>
                    <a:pt x="1" y="0"/>
                    <a:pt x="2" y="0"/>
                    <a:pt x="3" y="0"/>
                  </a:cubicBezTo>
                  <a:cubicBezTo>
                    <a:pt x="6" y="3"/>
                    <a:pt x="6" y="3"/>
                    <a:pt x="6" y="3"/>
                  </a:cubicBezTo>
                  <a:cubicBezTo>
                    <a:pt x="7" y="4"/>
                    <a:pt x="7" y="5"/>
                    <a:pt x="6" y="6"/>
                  </a:cubicBezTo>
                  <a:cubicBezTo>
                    <a:pt x="6" y="6"/>
                    <a:pt x="5"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40" name="Freeform 35"/>
            <p:cNvSpPr>
              <a:spLocks/>
            </p:cNvSpPr>
            <p:nvPr/>
          </p:nvSpPr>
          <p:spPr bwMode="auto">
            <a:xfrm>
              <a:off x="2005013" y="2014538"/>
              <a:ext cx="30162" cy="14288"/>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41" name="Freeform 36"/>
            <p:cNvSpPr>
              <a:spLocks/>
            </p:cNvSpPr>
            <p:nvPr/>
          </p:nvSpPr>
          <p:spPr bwMode="auto">
            <a:xfrm>
              <a:off x="2051050" y="2109788"/>
              <a:ext cx="26987" cy="28575"/>
            </a:xfrm>
            <a:custGeom>
              <a:avLst/>
              <a:gdLst>
                <a:gd name="T0" fmla="*/ 2 w 7"/>
                <a:gd name="T1" fmla="*/ 7 h 7"/>
                <a:gd name="T2" fmla="*/ 0 w 7"/>
                <a:gd name="T3" fmla="*/ 7 h 7"/>
                <a:gd name="T4" fmla="*/ 0 w 7"/>
                <a:gd name="T5" fmla="*/ 4 h 7"/>
                <a:gd name="T6" fmla="*/ 3 w 7"/>
                <a:gd name="T7" fmla="*/ 1 h 7"/>
                <a:gd name="T8" fmla="*/ 6 w 7"/>
                <a:gd name="T9" fmla="*/ 1 h 7"/>
                <a:gd name="T10" fmla="*/ 6 w 7"/>
                <a:gd name="T11" fmla="*/ 4 h 7"/>
                <a:gd name="T12" fmla="*/ 3 w 7"/>
                <a:gd name="T13" fmla="*/ 7 h 7"/>
                <a:gd name="T14" fmla="*/ 2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7"/>
                  </a:moveTo>
                  <a:cubicBezTo>
                    <a:pt x="1" y="7"/>
                    <a:pt x="1" y="7"/>
                    <a:pt x="0" y="7"/>
                  </a:cubicBezTo>
                  <a:cubicBezTo>
                    <a:pt x="0" y="6"/>
                    <a:pt x="0" y="5"/>
                    <a:pt x="0" y="4"/>
                  </a:cubicBezTo>
                  <a:cubicBezTo>
                    <a:pt x="3" y="1"/>
                    <a:pt x="3" y="1"/>
                    <a:pt x="3" y="1"/>
                  </a:cubicBezTo>
                  <a:cubicBezTo>
                    <a:pt x="4" y="0"/>
                    <a:pt x="5" y="0"/>
                    <a:pt x="6" y="1"/>
                  </a:cubicBezTo>
                  <a:cubicBezTo>
                    <a:pt x="7" y="2"/>
                    <a:pt x="7" y="3"/>
                    <a:pt x="6" y="4"/>
                  </a:cubicBezTo>
                  <a:cubicBezTo>
                    <a:pt x="3" y="7"/>
                    <a:pt x="3" y="7"/>
                    <a:pt x="3" y="7"/>
                  </a:cubicBezTo>
                  <a:cubicBezTo>
                    <a:pt x="3" y="7"/>
                    <a:pt x="2"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42" name="Freeform 37"/>
            <p:cNvSpPr>
              <a:spLocks noEditPoints="1"/>
            </p:cNvSpPr>
            <p:nvPr/>
          </p:nvSpPr>
          <p:spPr bwMode="auto">
            <a:xfrm>
              <a:off x="2097088" y="2014538"/>
              <a:ext cx="139700" cy="115888"/>
            </a:xfrm>
            <a:custGeom>
              <a:avLst/>
              <a:gdLst>
                <a:gd name="T0" fmla="*/ 20 w 36"/>
                <a:gd name="T1" fmla="*/ 30 h 30"/>
                <a:gd name="T2" fmla="*/ 20 w 36"/>
                <a:gd name="T3" fmla="*/ 30 h 30"/>
                <a:gd name="T4" fmla="*/ 18 w 36"/>
                <a:gd name="T5" fmla="*/ 28 h 30"/>
                <a:gd name="T6" fmla="*/ 16 w 36"/>
                <a:gd name="T7" fmla="*/ 30 h 30"/>
                <a:gd name="T8" fmla="*/ 14 w 36"/>
                <a:gd name="T9" fmla="*/ 28 h 30"/>
                <a:gd name="T10" fmla="*/ 10 w 36"/>
                <a:gd name="T11" fmla="*/ 12 h 30"/>
                <a:gd name="T12" fmla="*/ 6 w 36"/>
                <a:gd name="T13" fmla="*/ 12 h 30"/>
                <a:gd name="T14" fmla="*/ 0 w 36"/>
                <a:gd name="T15" fmla="*/ 6 h 30"/>
                <a:gd name="T16" fmla="*/ 6 w 36"/>
                <a:gd name="T17" fmla="*/ 0 h 30"/>
                <a:gd name="T18" fmla="*/ 13 w 36"/>
                <a:gd name="T19" fmla="*/ 5 h 30"/>
                <a:gd name="T20" fmla="*/ 13 w 36"/>
                <a:gd name="T21" fmla="*/ 8 h 30"/>
                <a:gd name="T22" fmla="*/ 23 w 36"/>
                <a:gd name="T23" fmla="*/ 8 h 30"/>
                <a:gd name="T24" fmla="*/ 23 w 36"/>
                <a:gd name="T25" fmla="*/ 5 h 30"/>
                <a:gd name="T26" fmla="*/ 30 w 36"/>
                <a:gd name="T27" fmla="*/ 0 h 30"/>
                <a:gd name="T28" fmla="*/ 36 w 36"/>
                <a:gd name="T29" fmla="*/ 6 h 30"/>
                <a:gd name="T30" fmla="*/ 30 w 36"/>
                <a:gd name="T31" fmla="*/ 12 h 30"/>
                <a:gd name="T32" fmla="*/ 26 w 36"/>
                <a:gd name="T33" fmla="*/ 12 h 30"/>
                <a:gd name="T34" fmla="*/ 22 w 36"/>
                <a:gd name="T35" fmla="*/ 28 h 30"/>
                <a:gd name="T36" fmla="*/ 20 w 36"/>
                <a:gd name="T37" fmla="*/ 30 h 30"/>
                <a:gd name="T38" fmla="*/ 14 w 36"/>
                <a:gd name="T39" fmla="*/ 12 h 30"/>
                <a:gd name="T40" fmla="*/ 18 w 36"/>
                <a:gd name="T41" fmla="*/ 28 h 30"/>
                <a:gd name="T42" fmla="*/ 18 w 36"/>
                <a:gd name="T43" fmla="*/ 28 h 30"/>
                <a:gd name="T44" fmla="*/ 18 w 36"/>
                <a:gd name="T45" fmla="*/ 28 h 30"/>
                <a:gd name="T46" fmla="*/ 22 w 36"/>
                <a:gd name="T47" fmla="*/ 12 h 30"/>
                <a:gd name="T48" fmla="*/ 14 w 36"/>
                <a:gd name="T49" fmla="*/ 12 h 30"/>
                <a:gd name="T50" fmla="*/ 27 w 36"/>
                <a:gd name="T51" fmla="*/ 8 h 30"/>
                <a:gd name="T52" fmla="*/ 30 w 36"/>
                <a:gd name="T53" fmla="*/ 8 h 30"/>
                <a:gd name="T54" fmla="*/ 32 w 36"/>
                <a:gd name="T55" fmla="*/ 6 h 30"/>
                <a:gd name="T56" fmla="*/ 30 w 36"/>
                <a:gd name="T57" fmla="*/ 4 h 30"/>
                <a:gd name="T58" fmla="*/ 27 w 36"/>
                <a:gd name="T59" fmla="*/ 6 h 30"/>
                <a:gd name="T60" fmla="*/ 27 w 36"/>
                <a:gd name="T61" fmla="*/ 8 h 30"/>
                <a:gd name="T62" fmla="*/ 6 w 36"/>
                <a:gd name="T63" fmla="*/ 4 h 30"/>
                <a:gd name="T64" fmla="*/ 4 w 36"/>
                <a:gd name="T65" fmla="*/ 6 h 30"/>
                <a:gd name="T66" fmla="*/ 6 w 36"/>
                <a:gd name="T67" fmla="*/ 8 h 30"/>
                <a:gd name="T68" fmla="*/ 9 w 36"/>
                <a:gd name="T69" fmla="*/ 8 h 30"/>
                <a:gd name="T70" fmla="*/ 9 w 36"/>
                <a:gd name="T71" fmla="*/ 6 h 30"/>
                <a:gd name="T72" fmla="*/ 6 w 36"/>
                <a:gd name="T7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0">
                  <a:moveTo>
                    <a:pt x="20" y="30"/>
                  </a:moveTo>
                  <a:cubicBezTo>
                    <a:pt x="20" y="30"/>
                    <a:pt x="20" y="30"/>
                    <a:pt x="20" y="30"/>
                  </a:cubicBezTo>
                  <a:cubicBezTo>
                    <a:pt x="19" y="30"/>
                    <a:pt x="18" y="29"/>
                    <a:pt x="18" y="28"/>
                  </a:cubicBezTo>
                  <a:cubicBezTo>
                    <a:pt x="18" y="29"/>
                    <a:pt x="17" y="30"/>
                    <a:pt x="16" y="30"/>
                  </a:cubicBezTo>
                  <a:cubicBezTo>
                    <a:pt x="15" y="30"/>
                    <a:pt x="14" y="30"/>
                    <a:pt x="14" y="28"/>
                  </a:cubicBezTo>
                  <a:cubicBezTo>
                    <a:pt x="10" y="12"/>
                    <a:pt x="10" y="12"/>
                    <a:pt x="10" y="12"/>
                  </a:cubicBezTo>
                  <a:cubicBezTo>
                    <a:pt x="6" y="12"/>
                    <a:pt x="6" y="12"/>
                    <a:pt x="6" y="12"/>
                  </a:cubicBezTo>
                  <a:cubicBezTo>
                    <a:pt x="3" y="12"/>
                    <a:pt x="0" y="9"/>
                    <a:pt x="0" y="6"/>
                  </a:cubicBezTo>
                  <a:cubicBezTo>
                    <a:pt x="0" y="3"/>
                    <a:pt x="3" y="0"/>
                    <a:pt x="6" y="0"/>
                  </a:cubicBezTo>
                  <a:cubicBezTo>
                    <a:pt x="9" y="0"/>
                    <a:pt x="12" y="2"/>
                    <a:pt x="13" y="5"/>
                  </a:cubicBezTo>
                  <a:cubicBezTo>
                    <a:pt x="13" y="8"/>
                    <a:pt x="13" y="8"/>
                    <a:pt x="13" y="8"/>
                  </a:cubicBezTo>
                  <a:cubicBezTo>
                    <a:pt x="23" y="8"/>
                    <a:pt x="23" y="8"/>
                    <a:pt x="23" y="8"/>
                  </a:cubicBezTo>
                  <a:cubicBezTo>
                    <a:pt x="23" y="5"/>
                    <a:pt x="23" y="5"/>
                    <a:pt x="23" y="5"/>
                  </a:cubicBezTo>
                  <a:cubicBezTo>
                    <a:pt x="24" y="2"/>
                    <a:pt x="27" y="0"/>
                    <a:pt x="30" y="0"/>
                  </a:cubicBezTo>
                  <a:cubicBezTo>
                    <a:pt x="33" y="0"/>
                    <a:pt x="36" y="3"/>
                    <a:pt x="36" y="6"/>
                  </a:cubicBezTo>
                  <a:cubicBezTo>
                    <a:pt x="36" y="9"/>
                    <a:pt x="33" y="12"/>
                    <a:pt x="30" y="12"/>
                  </a:cubicBezTo>
                  <a:cubicBezTo>
                    <a:pt x="26" y="12"/>
                    <a:pt x="26" y="12"/>
                    <a:pt x="26" y="12"/>
                  </a:cubicBezTo>
                  <a:cubicBezTo>
                    <a:pt x="22" y="28"/>
                    <a:pt x="22" y="28"/>
                    <a:pt x="22" y="28"/>
                  </a:cubicBezTo>
                  <a:cubicBezTo>
                    <a:pt x="22" y="29"/>
                    <a:pt x="21" y="30"/>
                    <a:pt x="20" y="30"/>
                  </a:cubicBezTo>
                  <a:close/>
                  <a:moveTo>
                    <a:pt x="14" y="12"/>
                  </a:moveTo>
                  <a:cubicBezTo>
                    <a:pt x="18" y="28"/>
                    <a:pt x="18" y="28"/>
                    <a:pt x="18" y="28"/>
                  </a:cubicBezTo>
                  <a:cubicBezTo>
                    <a:pt x="18" y="28"/>
                    <a:pt x="18" y="28"/>
                    <a:pt x="18" y="28"/>
                  </a:cubicBezTo>
                  <a:cubicBezTo>
                    <a:pt x="18" y="28"/>
                    <a:pt x="18" y="28"/>
                    <a:pt x="18" y="28"/>
                  </a:cubicBezTo>
                  <a:cubicBezTo>
                    <a:pt x="22" y="12"/>
                    <a:pt x="22" y="12"/>
                    <a:pt x="22" y="12"/>
                  </a:cubicBezTo>
                  <a:lnTo>
                    <a:pt x="14" y="12"/>
                  </a:lnTo>
                  <a:close/>
                  <a:moveTo>
                    <a:pt x="27" y="8"/>
                  </a:moveTo>
                  <a:cubicBezTo>
                    <a:pt x="30" y="8"/>
                    <a:pt x="30" y="8"/>
                    <a:pt x="30" y="8"/>
                  </a:cubicBezTo>
                  <a:cubicBezTo>
                    <a:pt x="31" y="8"/>
                    <a:pt x="32" y="7"/>
                    <a:pt x="32" y="6"/>
                  </a:cubicBezTo>
                  <a:cubicBezTo>
                    <a:pt x="32" y="5"/>
                    <a:pt x="31" y="4"/>
                    <a:pt x="30" y="4"/>
                  </a:cubicBezTo>
                  <a:cubicBezTo>
                    <a:pt x="29" y="4"/>
                    <a:pt x="27" y="5"/>
                    <a:pt x="27" y="6"/>
                  </a:cubicBezTo>
                  <a:lnTo>
                    <a:pt x="27" y="8"/>
                  </a:lnTo>
                  <a:close/>
                  <a:moveTo>
                    <a:pt x="6" y="4"/>
                  </a:moveTo>
                  <a:cubicBezTo>
                    <a:pt x="5" y="4"/>
                    <a:pt x="4" y="5"/>
                    <a:pt x="4" y="6"/>
                  </a:cubicBezTo>
                  <a:cubicBezTo>
                    <a:pt x="4" y="7"/>
                    <a:pt x="5" y="8"/>
                    <a:pt x="6" y="8"/>
                  </a:cubicBezTo>
                  <a:cubicBezTo>
                    <a:pt x="9" y="8"/>
                    <a:pt x="9" y="8"/>
                    <a:pt x="9" y="8"/>
                  </a:cubicBezTo>
                  <a:cubicBezTo>
                    <a:pt x="9" y="6"/>
                    <a:pt x="9" y="6"/>
                    <a:pt x="9" y="6"/>
                  </a:cubicBezTo>
                  <a:cubicBezTo>
                    <a:pt x="9"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grpSp>
      <p:sp>
        <p:nvSpPr>
          <p:cNvPr id="243" name="TextBox 242"/>
          <p:cNvSpPr txBox="1"/>
          <p:nvPr/>
        </p:nvSpPr>
        <p:spPr>
          <a:xfrm>
            <a:off x="7799297" y="8640362"/>
            <a:ext cx="1819276" cy="369332"/>
          </a:xfrm>
          <a:prstGeom prst="rect">
            <a:avLst/>
          </a:prstGeom>
          <a:noFill/>
          <a:ln w="6350">
            <a:noFill/>
            <a:prstDash val="dash"/>
          </a:ln>
        </p:spPr>
        <p:txBody>
          <a:bodyPr wrap="square" lIns="0" tIns="0" rIns="0" bIns="0" rtlCol="0">
            <a:spAutoFit/>
          </a:bodyPr>
          <a:lstStyle/>
          <a:p>
            <a:pPr algn="ctr" defTabSz="1828709">
              <a:defRPr/>
            </a:pPr>
            <a:r>
              <a:rPr lang="en-US" sz="2400" b="1" kern="0" dirty="0"/>
              <a:t>Discover</a:t>
            </a:r>
          </a:p>
        </p:txBody>
      </p:sp>
      <p:sp>
        <p:nvSpPr>
          <p:cNvPr id="244" name="TextBox 243"/>
          <p:cNvSpPr txBox="1"/>
          <p:nvPr/>
        </p:nvSpPr>
        <p:spPr>
          <a:xfrm>
            <a:off x="11219184" y="7135653"/>
            <a:ext cx="1821294" cy="369332"/>
          </a:xfrm>
          <a:prstGeom prst="rect">
            <a:avLst/>
          </a:prstGeom>
          <a:noFill/>
          <a:ln w="6350">
            <a:noFill/>
            <a:prstDash val="dash"/>
          </a:ln>
        </p:spPr>
        <p:txBody>
          <a:bodyPr wrap="square" lIns="0" tIns="0" rIns="0" bIns="0" rtlCol="0">
            <a:spAutoFit/>
          </a:bodyPr>
          <a:lstStyle/>
          <a:p>
            <a:pPr algn="ctr" defTabSz="1828709">
              <a:defRPr/>
            </a:pPr>
            <a:r>
              <a:rPr lang="en-US" sz="2400" b="1" kern="0" dirty="0"/>
              <a:t>Analyze</a:t>
            </a:r>
          </a:p>
        </p:txBody>
      </p:sp>
      <p:sp>
        <p:nvSpPr>
          <p:cNvPr id="245" name="TextBox 244"/>
          <p:cNvSpPr txBox="1"/>
          <p:nvPr/>
        </p:nvSpPr>
        <p:spPr>
          <a:xfrm>
            <a:off x="17942088" y="7135654"/>
            <a:ext cx="2419218" cy="369332"/>
          </a:xfrm>
          <a:prstGeom prst="rect">
            <a:avLst/>
          </a:prstGeom>
          <a:noFill/>
          <a:ln w="6350">
            <a:noFill/>
            <a:prstDash val="dash"/>
          </a:ln>
        </p:spPr>
        <p:txBody>
          <a:bodyPr wrap="square" lIns="0" tIns="0" rIns="0" bIns="0" rtlCol="0">
            <a:spAutoFit/>
          </a:bodyPr>
          <a:lstStyle/>
          <a:p>
            <a:pPr algn="ctr" defTabSz="1828709">
              <a:defRPr/>
            </a:pPr>
            <a:r>
              <a:rPr lang="en-US" sz="2400" b="1" kern="0" dirty="0"/>
              <a:t>Implement</a:t>
            </a:r>
          </a:p>
        </p:txBody>
      </p:sp>
      <p:grpSp>
        <p:nvGrpSpPr>
          <p:cNvPr id="246" name="Group 245"/>
          <p:cNvGrpSpPr>
            <a:grpSpLocks noChangeAspect="1"/>
          </p:cNvGrpSpPr>
          <p:nvPr/>
        </p:nvGrpSpPr>
        <p:grpSpPr>
          <a:xfrm>
            <a:off x="8260108" y="7621852"/>
            <a:ext cx="897650" cy="897650"/>
            <a:chOff x="3903073" y="3496769"/>
            <a:chExt cx="360000" cy="360000"/>
          </a:xfrm>
          <a:solidFill>
            <a:schemeClr val="accent2"/>
          </a:solidFill>
        </p:grpSpPr>
        <p:sp>
          <p:nvSpPr>
            <p:cNvPr id="247" name="Freeform 79"/>
            <p:cNvSpPr>
              <a:spLocks noEditPoints="1"/>
            </p:cNvSpPr>
            <p:nvPr/>
          </p:nvSpPr>
          <p:spPr bwMode="auto">
            <a:xfrm>
              <a:off x="3903073" y="3496769"/>
              <a:ext cx="255385" cy="255385"/>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4 h 68"/>
                <a:gd name="T12" fmla="*/ 4 w 68"/>
                <a:gd name="T13" fmla="*/ 34 h 68"/>
                <a:gd name="T14" fmla="*/ 34 w 68"/>
                <a:gd name="T15" fmla="*/ 64 h 68"/>
                <a:gd name="T16" fmla="*/ 64 w 68"/>
                <a:gd name="T17" fmla="*/ 34 h 68"/>
                <a:gd name="T18" fmla="*/ 34 w 68"/>
                <a:gd name="T19" fmla="*/ 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5" y="68"/>
                    <a:pt x="0" y="53"/>
                    <a:pt x="0" y="34"/>
                  </a:cubicBezTo>
                  <a:cubicBezTo>
                    <a:pt x="0" y="15"/>
                    <a:pt x="15" y="0"/>
                    <a:pt x="34" y="0"/>
                  </a:cubicBezTo>
                  <a:cubicBezTo>
                    <a:pt x="53" y="0"/>
                    <a:pt x="68" y="15"/>
                    <a:pt x="68" y="34"/>
                  </a:cubicBezTo>
                  <a:cubicBezTo>
                    <a:pt x="68" y="53"/>
                    <a:pt x="53" y="68"/>
                    <a:pt x="34" y="68"/>
                  </a:cubicBezTo>
                  <a:close/>
                  <a:moveTo>
                    <a:pt x="34" y="4"/>
                  </a:moveTo>
                  <a:cubicBezTo>
                    <a:pt x="17" y="4"/>
                    <a:pt x="4" y="17"/>
                    <a:pt x="4" y="34"/>
                  </a:cubicBezTo>
                  <a:cubicBezTo>
                    <a:pt x="4" y="51"/>
                    <a:pt x="17" y="64"/>
                    <a:pt x="34" y="64"/>
                  </a:cubicBezTo>
                  <a:cubicBezTo>
                    <a:pt x="51" y="64"/>
                    <a:pt x="64" y="51"/>
                    <a:pt x="64" y="34"/>
                  </a:cubicBezTo>
                  <a:cubicBezTo>
                    <a:pt x="64" y="17"/>
                    <a:pt x="51" y="4"/>
                    <a:pt x="3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48" name="Freeform 80"/>
            <p:cNvSpPr>
              <a:spLocks/>
            </p:cNvSpPr>
            <p:nvPr/>
          </p:nvSpPr>
          <p:spPr bwMode="auto">
            <a:xfrm>
              <a:off x="4106150" y="3699846"/>
              <a:ext cx="156923" cy="156923"/>
            </a:xfrm>
            <a:custGeom>
              <a:avLst/>
              <a:gdLst>
                <a:gd name="T0" fmla="*/ 40 w 42"/>
                <a:gd name="T1" fmla="*/ 42 h 42"/>
                <a:gd name="T2" fmla="*/ 39 w 42"/>
                <a:gd name="T3" fmla="*/ 41 h 42"/>
                <a:gd name="T4" fmla="*/ 1 w 42"/>
                <a:gd name="T5" fmla="*/ 4 h 42"/>
                <a:gd name="T6" fmla="*/ 1 w 42"/>
                <a:gd name="T7" fmla="*/ 1 h 42"/>
                <a:gd name="T8" fmla="*/ 4 w 42"/>
                <a:gd name="T9" fmla="*/ 1 h 42"/>
                <a:gd name="T10" fmla="*/ 41 w 42"/>
                <a:gd name="T11" fmla="*/ 39 h 42"/>
                <a:gd name="T12" fmla="*/ 41 w 42"/>
                <a:gd name="T13" fmla="*/ 41 h 42"/>
                <a:gd name="T14" fmla="*/ 40 w 42"/>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40" y="42"/>
                  </a:moveTo>
                  <a:cubicBezTo>
                    <a:pt x="39" y="42"/>
                    <a:pt x="39" y="42"/>
                    <a:pt x="39" y="41"/>
                  </a:cubicBezTo>
                  <a:cubicBezTo>
                    <a:pt x="1" y="4"/>
                    <a:pt x="1" y="4"/>
                    <a:pt x="1" y="4"/>
                  </a:cubicBezTo>
                  <a:cubicBezTo>
                    <a:pt x="0" y="3"/>
                    <a:pt x="0" y="2"/>
                    <a:pt x="1" y="1"/>
                  </a:cubicBezTo>
                  <a:cubicBezTo>
                    <a:pt x="2" y="0"/>
                    <a:pt x="3" y="0"/>
                    <a:pt x="4" y="1"/>
                  </a:cubicBezTo>
                  <a:cubicBezTo>
                    <a:pt x="41" y="39"/>
                    <a:pt x="41" y="39"/>
                    <a:pt x="41" y="39"/>
                  </a:cubicBezTo>
                  <a:cubicBezTo>
                    <a:pt x="42" y="39"/>
                    <a:pt x="42" y="41"/>
                    <a:pt x="41" y="41"/>
                  </a:cubicBezTo>
                  <a:cubicBezTo>
                    <a:pt x="41" y="42"/>
                    <a:pt x="41" y="42"/>
                    <a:pt x="40"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grpSp>
      <p:grpSp>
        <p:nvGrpSpPr>
          <p:cNvPr id="249" name="Group 248"/>
          <p:cNvGrpSpPr>
            <a:grpSpLocks noChangeAspect="1"/>
          </p:cNvGrpSpPr>
          <p:nvPr/>
        </p:nvGrpSpPr>
        <p:grpSpPr>
          <a:xfrm>
            <a:off x="11818924" y="7777642"/>
            <a:ext cx="741860" cy="741860"/>
            <a:chOff x="-879475" y="2054225"/>
            <a:chExt cx="371475" cy="371475"/>
          </a:xfrm>
          <a:solidFill>
            <a:schemeClr val="accent3"/>
          </a:solidFill>
        </p:grpSpPr>
        <p:sp>
          <p:nvSpPr>
            <p:cNvPr id="250" name="Freeform 41"/>
            <p:cNvSpPr>
              <a:spLocks noEditPoints="1"/>
            </p:cNvSpPr>
            <p:nvPr/>
          </p:nvSpPr>
          <p:spPr bwMode="auto">
            <a:xfrm>
              <a:off x="-879475" y="2054225"/>
              <a:ext cx="325438" cy="325438"/>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4 h 84"/>
                <a:gd name="T12" fmla="*/ 4 w 84"/>
                <a:gd name="T13" fmla="*/ 42 h 84"/>
                <a:gd name="T14" fmla="*/ 42 w 84"/>
                <a:gd name="T15" fmla="*/ 80 h 84"/>
                <a:gd name="T16" fmla="*/ 80 w 84"/>
                <a:gd name="T17" fmla="*/ 42 h 84"/>
                <a:gd name="T18" fmla="*/ 42 w 84"/>
                <a:gd name="T19" fmla="*/ 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4"/>
                  </a:moveTo>
                  <a:cubicBezTo>
                    <a:pt x="21" y="4"/>
                    <a:pt x="4" y="21"/>
                    <a:pt x="4" y="42"/>
                  </a:cubicBezTo>
                  <a:cubicBezTo>
                    <a:pt x="4" y="63"/>
                    <a:pt x="21" y="80"/>
                    <a:pt x="42" y="80"/>
                  </a:cubicBezTo>
                  <a:cubicBezTo>
                    <a:pt x="63" y="80"/>
                    <a:pt x="80" y="63"/>
                    <a:pt x="80" y="42"/>
                  </a:cubicBezTo>
                  <a:cubicBezTo>
                    <a:pt x="80" y="21"/>
                    <a:pt x="63" y="4"/>
                    <a:pt x="4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51" name="Freeform 42"/>
            <p:cNvSpPr>
              <a:spLocks/>
            </p:cNvSpPr>
            <p:nvPr/>
          </p:nvSpPr>
          <p:spPr bwMode="auto">
            <a:xfrm>
              <a:off x="-615950" y="2317750"/>
              <a:ext cx="107950" cy="107950"/>
            </a:xfrm>
            <a:custGeom>
              <a:avLst/>
              <a:gdLst>
                <a:gd name="T0" fmla="*/ 26 w 28"/>
                <a:gd name="T1" fmla="*/ 28 h 28"/>
                <a:gd name="T2" fmla="*/ 25 w 28"/>
                <a:gd name="T3" fmla="*/ 27 h 28"/>
                <a:gd name="T4" fmla="*/ 1 w 28"/>
                <a:gd name="T5" fmla="*/ 4 h 28"/>
                <a:gd name="T6" fmla="*/ 1 w 28"/>
                <a:gd name="T7" fmla="*/ 1 h 28"/>
                <a:gd name="T8" fmla="*/ 4 w 28"/>
                <a:gd name="T9" fmla="*/ 1 h 28"/>
                <a:gd name="T10" fmla="*/ 27 w 28"/>
                <a:gd name="T11" fmla="*/ 25 h 28"/>
                <a:gd name="T12" fmla="*/ 27 w 28"/>
                <a:gd name="T13" fmla="*/ 27 h 28"/>
                <a:gd name="T14" fmla="*/ 26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6" y="28"/>
                  </a:moveTo>
                  <a:cubicBezTo>
                    <a:pt x="25" y="28"/>
                    <a:pt x="25" y="28"/>
                    <a:pt x="25" y="27"/>
                  </a:cubicBezTo>
                  <a:cubicBezTo>
                    <a:pt x="1" y="4"/>
                    <a:pt x="1" y="4"/>
                    <a:pt x="1" y="4"/>
                  </a:cubicBezTo>
                  <a:cubicBezTo>
                    <a:pt x="0" y="3"/>
                    <a:pt x="0" y="2"/>
                    <a:pt x="1" y="1"/>
                  </a:cubicBezTo>
                  <a:cubicBezTo>
                    <a:pt x="2" y="0"/>
                    <a:pt x="3" y="0"/>
                    <a:pt x="4" y="1"/>
                  </a:cubicBezTo>
                  <a:cubicBezTo>
                    <a:pt x="27" y="25"/>
                    <a:pt x="27" y="25"/>
                    <a:pt x="27" y="25"/>
                  </a:cubicBezTo>
                  <a:cubicBezTo>
                    <a:pt x="28" y="25"/>
                    <a:pt x="28" y="27"/>
                    <a:pt x="27" y="27"/>
                  </a:cubicBezTo>
                  <a:cubicBezTo>
                    <a:pt x="27" y="28"/>
                    <a:pt x="27" y="28"/>
                    <a:pt x="2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52" name="Freeform 43"/>
            <p:cNvSpPr>
              <a:spLocks noEditPoints="1"/>
            </p:cNvSpPr>
            <p:nvPr/>
          </p:nvSpPr>
          <p:spPr bwMode="auto">
            <a:xfrm>
              <a:off x="-825500" y="2108200"/>
              <a:ext cx="217488" cy="217488"/>
            </a:xfrm>
            <a:custGeom>
              <a:avLst/>
              <a:gdLst>
                <a:gd name="T0" fmla="*/ 22 w 56"/>
                <a:gd name="T1" fmla="*/ 56 h 56"/>
                <a:gd name="T2" fmla="*/ 20 w 56"/>
                <a:gd name="T3" fmla="*/ 48 h 56"/>
                <a:gd name="T4" fmla="*/ 9 w 56"/>
                <a:gd name="T5" fmla="*/ 48 h 56"/>
                <a:gd name="T6" fmla="*/ 1 w 56"/>
                <a:gd name="T7" fmla="*/ 37 h 56"/>
                <a:gd name="T8" fmla="*/ 1 w 56"/>
                <a:gd name="T9" fmla="*/ 34 h 56"/>
                <a:gd name="T10" fmla="*/ 6 w 56"/>
                <a:gd name="T11" fmla="*/ 25 h 56"/>
                <a:gd name="T12" fmla="*/ 1 w 56"/>
                <a:gd name="T13" fmla="*/ 19 h 56"/>
                <a:gd name="T14" fmla="*/ 9 w 56"/>
                <a:gd name="T15" fmla="*/ 8 h 56"/>
                <a:gd name="T16" fmla="*/ 20 w 56"/>
                <a:gd name="T17" fmla="*/ 8 h 56"/>
                <a:gd name="T18" fmla="*/ 22 w 56"/>
                <a:gd name="T19" fmla="*/ 0 h 56"/>
                <a:gd name="T20" fmla="*/ 36 w 56"/>
                <a:gd name="T21" fmla="*/ 2 h 56"/>
                <a:gd name="T22" fmla="*/ 42 w 56"/>
                <a:gd name="T23" fmla="*/ 11 h 56"/>
                <a:gd name="T24" fmla="*/ 49 w 56"/>
                <a:gd name="T25" fmla="*/ 9 h 56"/>
                <a:gd name="T26" fmla="*/ 55 w 56"/>
                <a:gd name="T27" fmla="*/ 21 h 56"/>
                <a:gd name="T28" fmla="*/ 50 w 56"/>
                <a:gd name="T29" fmla="*/ 25 h 56"/>
                <a:gd name="T30" fmla="*/ 55 w 56"/>
                <a:gd name="T31" fmla="*/ 34 h 56"/>
                <a:gd name="T32" fmla="*/ 55 w 56"/>
                <a:gd name="T33" fmla="*/ 37 h 56"/>
                <a:gd name="T34" fmla="*/ 47 w 56"/>
                <a:gd name="T35" fmla="*/ 48 h 56"/>
                <a:gd name="T36" fmla="*/ 36 w 56"/>
                <a:gd name="T37" fmla="*/ 48 h 56"/>
                <a:gd name="T38" fmla="*/ 34 w 56"/>
                <a:gd name="T39" fmla="*/ 56 h 56"/>
                <a:gd name="T40" fmla="*/ 32 w 56"/>
                <a:gd name="T41" fmla="*/ 52 h 56"/>
                <a:gd name="T42" fmla="*/ 33 w 56"/>
                <a:gd name="T43" fmla="*/ 45 h 56"/>
                <a:gd name="T44" fmla="*/ 42 w 56"/>
                <a:gd name="T45" fmla="*/ 41 h 56"/>
                <a:gd name="T46" fmla="*/ 51 w 56"/>
                <a:gd name="T47" fmla="*/ 37 h 56"/>
                <a:gd name="T48" fmla="*/ 45 w 56"/>
                <a:gd name="T49" fmla="*/ 32 h 56"/>
                <a:gd name="T50" fmla="*/ 46 w 56"/>
                <a:gd name="T51" fmla="*/ 22 h 56"/>
                <a:gd name="T52" fmla="*/ 47 w 56"/>
                <a:gd name="T53" fmla="*/ 13 h 56"/>
                <a:gd name="T54" fmla="*/ 40 w 56"/>
                <a:gd name="T55" fmla="*/ 15 h 56"/>
                <a:gd name="T56" fmla="*/ 32 w 56"/>
                <a:gd name="T57" fmla="*/ 9 h 56"/>
                <a:gd name="T58" fmla="*/ 24 w 56"/>
                <a:gd name="T59" fmla="*/ 4 h 56"/>
                <a:gd name="T60" fmla="*/ 23 w 56"/>
                <a:gd name="T61" fmla="*/ 11 h 56"/>
                <a:gd name="T62" fmla="*/ 14 w 56"/>
                <a:gd name="T63" fmla="*/ 15 h 56"/>
                <a:gd name="T64" fmla="*/ 5 w 56"/>
                <a:gd name="T65" fmla="*/ 19 h 56"/>
                <a:gd name="T66" fmla="*/ 11 w 56"/>
                <a:gd name="T67" fmla="*/ 24 h 56"/>
                <a:gd name="T68" fmla="*/ 10 w 56"/>
                <a:gd name="T69" fmla="*/ 34 h 56"/>
                <a:gd name="T70" fmla="*/ 9 w 56"/>
                <a:gd name="T71" fmla="*/ 43 h 56"/>
                <a:gd name="T72" fmla="*/ 16 w 56"/>
                <a:gd name="T73" fmla="*/ 41 h 56"/>
                <a:gd name="T74" fmla="*/ 24 w 56"/>
                <a:gd name="T75" fmla="*/ 4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56">
                  <a:moveTo>
                    <a:pt x="34" y="56"/>
                  </a:moveTo>
                  <a:cubicBezTo>
                    <a:pt x="22" y="56"/>
                    <a:pt x="22" y="56"/>
                    <a:pt x="22" y="56"/>
                  </a:cubicBezTo>
                  <a:cubicBezTo>
                    <a:pt x="21" y="56"/>
                    <a:pt x="20" y="55"/>
                    <a:pt x="20" y="54"/>
                  </a:cubicBezTo>
                  <a:cubicBezTo>
                    <a:pt x="20" y="48"/>
                    <a:pt x="20" y="48"/>
                    <a:pt x="20" y="48"/>
                  </a:cubicBezTo>
                  <a:cubicBezTo>
                    <a:pt x="18" y="48"/>
                    <a:pt x="16" y="47"/>
                    <a:pt x="14" y="45"/>
                  </a:cubicBezTo>
                  <a:cubicBezTo>
                    <a:pt x="9" y="48"/>
                    <a:pt x="9" y="48"/>
                    <a:pt x="9" y="48"/>
                  </a:cubicBezTo>
                  <a:cubicBezTo>
                    <a:pt x="9" y="48"/>
                    <a:pt x="7" y="48"/>
                    <a:pt x="7" y="47"/>
                  </a:cubicBezTo>
                  <a:cubicBezTo>
                    <a:pt x="1" y="37"/>
                    <a:pt x="1" y="37"/>
                    <a:pt x="1" y="37"/>
                  </a:cubicBezTo>
                  <a:cubicBezTo>
                    <a:pt x="0" y="36"/>
                    <a:pt x="0" y="36"/>
                    <a:pt x="1" y="35"/>
                  </a:cubicBezTo>
                  <a:cubicBezTo>
                    <a:pt x="1" y="35"/>
                    <a:pt x="1" y="34"/>
                    <a:pt x="1" y="34"/>
                  </a:cubicBezTo>
                  <a:cubicBezTo>
                    <a:pt x="6" y="31"/>
                    <a:pt x="6" y="31"/>
                    <a:pt x="6" y="31"/>
                  </a:cubicBezTo>
                  <a:cubicBezTo>
                    <a:pt x="6" y="29"/>
                    <a:pt x="6" y="27"/>
                    <a:pt x="6" y="25"/>
                  </a:cubicBezTo>
                  <a:cubicBezTo>
                    <a:pt x="1" y="22"/>
                    <a:pt x="1" y="22"/>
                    <a:pt x="1" y="22"/>
                  </a:cubicBezTo>
                  <a:cubicBezTo>
                    <a:pt x="1" y="21"/>
                    <a:pt x="0" y="20"/>
                    <a:pt x="1" y="19"/>
                  </a:cubicBezTo>
                  <a:cubicBezTo>
                    <a:pt x="7" y="9"/>
                    <a:pt x="7" y="9"/>
                    <a:pt x="7" y="9"/>
                  </a:cubicBezTo>
                  <a:cubicBezTo>
                    <a:pt x="7" y="8"/>
                    <a:pt x="9" y="8"/>
                    <a:pt x="9" y="8"/>
                  </a:cubicBezTo>
                  <a:cubicBezTo>
                    <a:pt x="14" y="11"/>
                    <a:pt x="14" y="11"/>
                    <a:pt x="14" y="11"/>
                  </a:cubicBezTo>
                  <a:cubicBezTo>
                    <a:pt x="16" y="9"/>
                    <a:pt x="18" y="8"/>
                    <a:pt x="20" y="8"/>
                  </a:cubicBezTo>
                  <a:cubicBezTo>
                    <a:pt x="20" y="2"/>
                    <a:pt x="20" y="2"/>
                    <a:pt x="20" y="2"/>
                  </a:cubicBezTo>
                  <a:cubicBezTo>
                    <a:pt x="20" y="1"/>
                    <a:pt x="21" y="0"/>
                    <a:pt x="22" y="0"/>
                  </a:cubicBezTo>
                  <a:cubicBezTo>
                    <a:pt x="34" y="0"/>
                    <a:pt x="34" y="0"/>
                    <a:pt x="34" y="0"/>
                  </a:cubicBezTo>
                  <a:cubicBezTo>
                    <a:pt x="35" y="0"/>
                    <a:pt x="36" y="1"/>
                    <a:pt x="36" y="2"/>
                  </a:cubicBezTo>
                  <a:cubicBezTo>
                    <a:pt x="36" y="8"/>
                    <a:pt x="36" y="8"/>
                    <a:pt x="36" y="8"/>
                  </a:cubicBezTo>
                  <a:cubicBezTo>
                    <a:pt x="38" y="8"/>
                    <a:pt x="40" y="9"/>
                    <a:pt x="42" y="11"/>
                  </a:cubicBezTo>
                  <a:cubicBezTo>
                    <a:pt x="47" y="8"/>
                    <a:pt x="47" y="8"/>
                    <a:pt x="47" y="8"/>
                  </a:cubicBezTo>
                  <a:cubicBezTo>
                    <a:pt x="47" y="8"/>
                    <a:pt x="49" y="8"/>
                    <a:pt x="49" y="9"/>
                  </a:cubicBezTo>
                  <a:cubicBezTo>
                    <a:pt x="55" y="19"/>
                    <a:pt x="55" y="19"/>
                    <a:pt x="55" y="19"/>
                  </a:cubicBezTo>
                  <a:cubicBezTo>
                    <a:pt x="56" y="20"/>
                    <a:pt x="56" y="20"/>
                    <a:pt x="55" y="21"/>
                  </a:cubicBezTo>
                  <a:cubicBezTo>
                    <a:pt x="55" y="21"/>
                    <a:pt x="55" y="22"/>
                    <a:pt x="55" y="22"/>
                  </a:cubicBezTo>
                  <a:cubicBezTo>
                    <a:pt x="50" y="25"/>
                    <a:pt x="50" y="25"/>
                    <a:pt x="50" y="25"/>
                  </a:cubicBezTo>
                  <a:cubicBezTo>
                    <a:pt x="50" y="27"/>
                    <a:pt x="50" y="29"/>
                    <a:pt x="50" y="31"/>
                  </a:cubicBezTo>
                  <a:cubicBezTo>
                    <a:pt x="55" y="34"/>
                    <a:pt x="55" y="34"/>
                    <a:pt x="55" y="34"/>
                  </a:cubicBezTo>
                  <a:cubicBezTo>
                    <a:pt x="55" y="34"/>
                    <a:pt x="55" y="35"/>
                    <a:pt x="55" y="35"/>
                  </a:cubicBezTo>
                  <a:cubicBezTo>
                    <a:pt x="56" y="36"/>
                    <a:pt x="56" y="36"/>
                    <a:pt x="55" y="37"/>
                  </a:cubicBezTo>
                  <a:cubicBezTo>
                    <a:pt x="49" y="47"/>
                    <a:pt x="49" y="47"/>
                    <a:pt x="49" y="47"/>
                  </a:cubicBezTo>
                  <a:cubicBezTo>
                    <a:pt x="49" y="48"/>
                    <a:pt x="47" y="48"/>
                    <a:pt x="47" y="48"/>
                  </a:cubicBezTo>
                  <a:cubicBezTo>
                    <a:pt x="42" y="45"/>
                    <a:pt x="42" y="45"/>
                    <a:pt x="42" y="45"/>
                  </a:cubicBezTo>
                  <a:cubicBezTo>
                    <a:pt x="40" y="47"/>
                    <a:pt x="38" y="48"/>
                    <a:pt x="36" y="48"/>
                  </a:cubicBezTo>
                  <a:cubicBezTo>
                    <a:pt x="36" y="54"/>
                    <a:pt x="36" y="54"/>
                    <a:pt x="36" y="54"/>
                  </a:cubicBezTo>
                  <a:cubicBezTo>
                    <a:pt x="36" y="55"/>
                    <a:pt x="35" y="56"/>
                    <a:pt x="34" y="56"/>
                  </a:cubicBezTo>
                  <a:close/>
                  <a:moveTo>
                    <a:pt x="24" y="52"/>
                  </a:moveTo>
                  <a:cubicBezTo>
                    <a:pt x="32" y="52"/>
                    <a:pt x="32" y="52"/>
                    <a:pt x="32" y="52"/>
                  </a:cubicBezTo>
                  <a:cubicBezTo>
                    <a:pt x="32" y="47"/>
                    <a:pt x="32" y="47"/>
                    <a:pt x="32" y="47"/>
                  </a:cubicBezTo>
                  <a:cubicBezTo>
                    <a:pt x="32" y="46"/>
                    <a:pt x="33" y="45"/>
                    <a:pt x="33" y="45"/>
                  </a:cubicBezTo>
                  <a:cubicBezTo>
                    <a:pt x="36" y="44"/>
                    <a:pt x="38" y="43"/>
                    <a:pt x="40" y="41"/>
                  </a:cubicBezTo>
                  <a:cubicBezTo>
                    <a:pt x="41" y="41"/>
                    <a:pt x="42" y="41"/>
                    <a:pt x="42" y="41"/>
                  </a:cubicBezTo>
                  <a:cubicBezTo>
                    <a:pt x="47" y="43"/>
                    <a:pt x="47" y="43"/>
                    <a:pt x="47" y="43"/>
                  </a:cubicBezTo>
                  <a:cubicBezTo>
                    <a:pt x="51" y="37"/>
                    <a:pt x="51" y="37"/>
                    <a:pt x="51" y="37"/>
                  </a:cubicBezTo>
                  <a:cubicBezTo>
                    <a:pt x="46" y="34"/>
                    <a:pt x="46" y="34"/>
                    <a:pt x="46" y="34"/>
                  </a:cubicBezTo>
                  <a:cubicBezTo>
                    <a:pt x="46" y="34"/>
                    <a:pt x="45" y="33"/>
                    <a:pt x="45" y="32"/>
                  </a:cubicBezTo>
                  <a:cubicBezTo>
                    <a:pt x="46" y="29"/>
                    <a:pt x="46" y="27"/>
                    <a:pt x="45" y="24"/>
                  </a:cubicBezTo>
                  <a:cubicBezTo>
                    <a:pt x="45" y="23"/>
                    <a:pt x="46" y="22"/>
                    <a:pt x="46" y="22"/>
                  </a:cubicBezTo>
                  <a:cubicBezTo>
                    <a:pt x="51" y="19"/>
                    <a:pt x="51" y="19"/>
                    <a:pt x="51" y="19"/>
                  </a:cubicBezTo>
                  <a:cubicBezTo>
                    <a:pt x="47" y="13"/>
                    <a:pt x="47" y="13"/>
                    <a:pt x="47" y="13"/>
                  </a:cubicBezTo>
                  <a:cubicBezTo>
                    <a:pt x="42" y="15"/>
                    <a:pt x="42" y="15"/>
                    <a:pt x="42" y="15"/>
                  </a:cubicBezTo>
                  <a:cubicBezTo>
                    <a:pt x="42" y="15"/>
                    <a:pt x="41" y="15"/>
                    <a:pt x="40" y="15"/>
                  </a:cubicBezTo>
                  <a:cubicBezTo>
                    <a:pt x="38" y="13"/>
                    <a:pt x="36" y="12"/>
                    <a:pt x="33" y="11"/>
                  </a:cubicBezTo>
                  <a:cubicBezTo>
                    <a:pt x="33" y="11"/>
                    <a:pt x="32" y="10"/>
                    <a:pt x="32" y="9"/>
                  </a:cubicBezTo>
                  <a:cubicBezTo>
                    <a:pt x="32" y="4"/>
                    <a:pt x="32" y="4"/>
                    <a:pt x="32" y="4"/>
                  </a:cubicBezTo>
                  <a:cubicBezTo>
                    <a:pt x="24" y="4"/>
                    <a:pt x="24" y="4"/>
                    <a:pt x="24" y="4"/>
                  </a:cubicBezTo>
                  <a:cubicBezTo>
                    <a:pt x="24" y="9"/>
                    <a:pt x="24" y="9"/>
                    <a:pt x="24" y="9"/>
                  </a:cubicBezTo>
                  <a:cubicBezTo>
                    <a:pt x="24" y="10"/>
                    <a:pt x="23" y="11"/>
                    <a:pt x="23" y="11"/>
                  </a:cubicBezTo>
                  <a:cubicBezTo>
                    <a:pt x="20" y="12"/>
                    <a:pt x="18" y="13"/>
                    <a:pt x="16" y="15"/>
                  </a:cubicBezTo>
                  <a:cubicBezTo>
                    <a:pt x="15" y="15"/>
                    <a:pt x="14" y="15"/>
                    <a:pt x="14" y="15"/>
                  </a:cubicBezTo>
                  <a:cubicBezTo>
                    <a:pt x="9" y="13"/>
                    <a:pt x="9" y="13"/>
                    <a:pt x="9" y="13"/>
                  </a:cubicBezTo>
                  <a:cubicBezTo>
                    <a:pt x="5" y="19"/>
                    <a:pt x="5" y="19"/>
                    <a:pt x="5" y="19"/>
                  </a:cubicBezTo>
                  <a:cubicBezTo>
                    <a:pt x="10" y="22"/>
                    <a:pt x="10" y="22"/>
                    <a:pt x="10" y="22"/>
                  </a:cubicBezTo>
                  <a:cubicBezTo>
                    <a:pt x="10" y="22"/>
                    <a:pt x="11" y="23"/>
                    <a:pt x="11" y="24"/>
                  </a:cubicBezTo>
                  <a:cubicBezTo>
                    <a:pt x="10" y="27"/>
                    <a:pt x="10" y="29"/>
                    <a:pt x="11" y="32"/>
                  </a:cubicBezTo>
                  <a:cubicBezTo>
                    <a:pt x="11" y="33"/>
                    <a:pt x="10" y="34"/>
                    <a:pt x="10" y="34"/>
                  </a:cubicBezTo>
                  <a:cubicBezTo>
                    <a:pt x="5" y="37"/>
                    <a:pt x="5" y="37"/>
                    <a:pt x="5" y="37"/>
                  </a:cubicBezTo>
                  <a:cubicBezTo>
                    <a:pt x="9" y="43"/>
                    <a:pt x="9" y="43"/>
                    <a:pt x="9" y="43"/>
                  </a:cubicBezTo>
                  <a:cubicBezTo>
                    <a:pt x="14" y="41"/>
                    <a:pt x="14" y="41"/>
                    <a:pt x="14" y="41"/>
                  </a:cubicBezTo>
                  <a:cubicBezTo>
                    <a:pt x="14" y="41"/>
                    <a:pt x="15" y="41"/>
                    <a:pt x="16" y="41"/>
                  </a:cubicBezTo>
                  <a:cubicBezTo>
                    <a:pt x="18" y="43"/>
                    <a:pt x="20" y="44"/>
                    <a:pt x="23" y="45"/>
                  </a:cubicBezTo>
                  <a:cubicBezTo>
                    <a:pt x="23" y="45"/>
                    <a:pt x="24" y="46"/>
                    <a:pt x="24" y="47"/>
                  </a:cubicBezTo>
                  <a:lnTo>
                    <a:pt x="24"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53" name="Freeform 44"/>
            <p:cNvSpPr>
              <a:spLocks noEditPoints="1"/>
            </p:cNvSpPr>
            <p:nvPr/>
          </p:nvSpPr>
          <p:spPr bwMode="auto">
            <a:xfrm>
              <a:off x="-755650" y="2178050"/>
              <a:ext cx="77788"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6"/>
                    <a:pt x="0" y="10"/>
                  </a:cubicBezTo>
                  <a:cubicBezTo>
                    <a:pt x="0" y="4"/>
                    <a:pt x="4"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grpSp>
      <p:sp>
        <p:nvSpPr>
          <p:cNvPr id="255" name="TextBox 254"/>
          <p:cNvSpPr txBox="1"/>
          <p:nvPr/>
        </p:nvSpPr>
        <p:spPr>
          <a:xfrm>
            <a:off x="14704762" y="8640364"/>
            <a:ext cx="1932030" cy="369332"/>
          </a:xfrm>
          <a:prstGeom prst="rect">
            <a:avLst/>
          </a:prstGeom>
          <a:noFill/>
          <a:ln w="6350">
            <a:noFill/>
            <a:prstDash val="dash"/>
          </a:ln>
        </p:spPr>
        <p:txBody>
          <a:bodyPr wrap="square" lIns="0" tIns="0" rIns="0" bIns="0" rtlCol="0">
            <a:spAutoFit/>
          </a:bodyPr>
          <a:lstStyle/>
          <a:p>
            <a:pPr algn="ctr" defTabSz="1828709">
              <a:defRPr/>
            </a:pPr>
            <a:r>
              <a:rPr lang="en-US" sz="2400" b="1" kern="0" dirty="0"/>
              <a:t>Re-model</a:t>
            </a:r>
          </a:p>
        </p:txBody>
      </p:sp>
      <p:sp>
        <p:nvSpPr>
          <p:cNvPr id="256" name="Freeform 48"/>
          <p:cNvSpPr>
            <a:spLocks noChangeAspect="1" noEditPoints="1"/>
          </p:cNvSpPr>
          <p:nvPr/>
        </p:nvSpPr>
        <p:spPr bwMode="auto">
          <a:xfrm>
            <a:off x="15263791" y="7729571"/>
            <a:ext cx="813973" cy="789933"/>
          </a:xfrm>
          <a:custGeom>
            <a:avLst/>
            <a:gdLst>
              <a:gd name="T0" fmla="*/ 10 w 97"/>
              <a:gd name="T1" fmla="*/ 94 h 94"/>
              <a:gd name="T2" fmla="*/ 3 w 97"/>
              <a:gd name="T3" fmla="*/ 91 h 94"/>
              <a:gd name="T4" fmla="*/ 0 w 97"/>
              <a:gd name="T5" fmla="*/ 84 h 94"/>
              <a:gd name="T6" fmla="*/ 3 w 97"/>
              <a:gd name="T7" fmla="*/ 77 h 94"/>
              <a:gd name="T8" fmla="*/ 41 w 97"/>
              <a:gd name="T9" fmla="*/ 39 h 94"/>
              <a:gd name="T10" fmla="*/ 47 w 97"/>
              <a:gd name="T11" fmla="*/ 8 h 94"/>
              <a:gd name="T12" fmla="*/ 67 w 97"/>
              <a:gd name="T13" fmla="*/ 0 h 94"/>
              <a:gd name="T14" fmla="*/ 79 w 97"/>
              <a:gd name="T15" fmla="*/ 3 h 94"/>
              <a:gd name="T16" fmla="*/ 80 w 97"/>
              <a:gd name="T17" fmla="*/ 4 h 94"/>
              <a:gd name="T18" fmla="*/ 80 w 97"/>
              <a:gd name="T19" fmla="*/ 6 h 94"/>
              <a:gd name="T20" fmla="*/ 68 w 97"/>
              <a:gd name="T21" fmla="*/ 19 h 94"/>
              <a:gd name="T22" fmla="*/ 68 w 97"/>
              <a:gd name="T23" fmla="*/ 27 h 94"/>
              <a:gd name="T24" fmla="*/ 75 w 97"/>
              <a:gd name="T25" fmla="*/ 27 h 94"/>
              <a:gd name="T26" fmla="*/ 88 w 97"/>
              <a:gd name="T27" fmla="*/ 14 h 94"/>
              <a:gd name="T28" fmla="*/ 90 w 97"/>
              <a:gd name="T29" fmla="*/ 14 h 94"/>
              <a:gd name="T30" fmla="*/ 91 w 97"/>
              <a:gd name="T31" fmla="*/ 15 h 94"/>
              <a:gd name="T32" fmla="*/ 86 w 97"/>
              <a:gd name="T33" fmla="*/ 47 h 94"/>
              <a:gd name="T34" fmla="*/ 66 w 97"/>
              <a:gd name="T35" fmla="*/ 56 h 94"/>
              <a:gd name="T36" fmla="*/ 66 w 97"/>
              <a:gd name="T37" fmla="*/ 56 h 94"/>
              <a:gd name="T38" fmla="*/ 55 w 97"/>
              <a:gd name="T39" fmla="*/ 53 h 94"/>
              <a:gd name="T40" fmla="*/ 17 w 97"/>
              <a:gd name="T41" fmla="*/ 91 h 94"/>
              <a:gd name="T42" fmla="*/ 10 w 97"/>
              <a:gd name="T43" fmla="*/ 94 h 94"/>
              <a:gd name="T44" fmla="*/ 67 w 97"/>
              <a:gd name="T45" fmla="*/ 4 h 94"/>
              <a:gd name="T46" fmla="*/ 50 w 97"/>
              <a:gd name="T47" fmla="*/ 11 h 94"/>
              <a:gd name="T48" fmla="*/ 45 w 97"/>
              <a:gd name="T49" fmla="*/ 39 h 94"/>
              <a:gd name="T50" fmla="*/ 45 w 97"/>
              <a:gd name="T51" fmla="*/ 41 h 94"/>
              <a:gd name="T52" fmla="*/ 5 w 97"/>
              <a:gd name="T53" fmla="*/ 80 h 94"/>
              <a:gd name="T54" fmla="*/ 4 w 97"/>
              <a:gd name="T55" fmla="*/ 84 h 94"/>
              <a:gd name="T56" fmla="*/ 5 w 97"/>
              <a:gd name="T57" fmla="*/ 89 h 94"/>
              <a:gd name="T58" fmla="*/ 14 w 97"/>
              <a:gd name="T59" fmla="*/ 89 h 94"/>
              <a:gd name="T60" fmla="*/ 53 w 97"/>
              <a:gd name="T61" fmla="*/ 49 h 94"/>
              <a:gd name="T62" fmla="*/ 55 w 97"/>
              <a:gd name="T63" fmla="*/ 49 h 94"/>
              <a:gd name="T64" fmla="*/ 66 w 97"/>
              <a:gd name="T65" fmla="*/ 52 h 94"/>
              <a:gd name="T66" fmla="*/ 83 w 97"/>
              <a:gd name="T67" fmla="*/ 45 h 94"/>
              <a:gd name="T68" fmla="*/ 89 w 97"/>
              <a:gd name="T69" fmla="*/ 19 h 94"/>
              <a:gd name="T70" fmla="*/ 78 w 97"/>
              <a:gd name="T71" fmla="*/ 30 h 94"/>
              <a:gd name="T72" fmla="*/ 76 w 97"/>
              <a:gd name="T73" fmla="*/ 31 h 94"/>
              <a:gd name="T74" fmla="*/ 66 w 97"/>
              <a:gd name="T75" fmla="*/ 31 h 94"/>
              <a:gd name="T76" fmla="*/ 64 w 97"/>
              <a:gd name="T77" fmla="*/ 29 h 94"/>
              <a:gd name="T78" fmla="*/ 64 w 97"/>
              <a:gd name="T79" fmla="*/ 18 h 94"/>
              <a:gd name="T80" fmla="*/ 64 w 97"/>
              <a:gd name="T81" fmla="*/ 16 h 94"/>
              <a:gd name="T82" fmla="*/ 75 w 97"/>
              <a:gd name="T83" fmla="*/ 5 h 94"/>
              <a:gd name="T84" fmla="*/ 67 w 97"/>
              <a:gd name="T85" fmla="*/ 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4">
                <a:moveTo>
                  <a:pt x="10" y="94"/>
                </a:moveTo>
                <a:cubicBezTo>
                  <a:pt x="7" y="94"/>
                  <a:pt x="4" y="93"/>
                  <a:pt x="3" y="91"/>
                </a:cubicBezTo>
                <a:cubicBezTo>
                  <a:pt x="1" y="90"/>
                  <a:pt x="0" y="87"/>
                  <a:pt x="0" y="84"/>
                </a:cubicBezTo>
                <a:cubicBezTo>
                  <a:pt x="0" y="82"/>
                  <a:pt x="1" y="79"/>
                  <a:pt x="3" y="77"/>
                </a:cubicBezTo>
                <a:cubicBezTo>
                  <a:pt x="41" y="39"/>
                  <a:pt x="41" y="39"/>
                  <a:pt x="41" y="39"/>
                </a:cubicBezTo>
                <a:cubicBezTo>
                  <a:pt x="36" y="28"/>
                  <a:pt x="38" y="16"/>
                  <a:pt x="47" y="8"/>
                </a:cubicBezTo>
                <a:cubicBezTo>
                  <a:pt x="52" y="3"/>
                  <a:pt x="59" y="0"/>
                  <a:pt x="67" y="0"/>
                </a:cubicBezTo>
                <a:cubicBezTo>
                  <a:pt x="71" y="0"/>
                  <a:pt x="76" y="1"/>
                  <a:pt x="79" y="3"/>
                </a:cubicBezTo>
                <a:cubicBezTo>
                  <a:pt x="80" y="3"/>
                  <a:pt x="80" y="4"/>
                  <a:pt x="80" y="4"/>
                </a:cubicBezTo>
                <a:cubicBezTo>
                  <a:pt x="81" y="5"/>
                  <a:pt x="80" y="5"/>
                  <a:pt x="80" y="6"/>
                </a:cubicBezTo>
                <a:cubicBezTo>
                  <a:pt x="68" y="19"/>
                  <a:pt x="68" y="19"/>
                  <a:pt x="68" y="19"/>
                </a:cubicBezTo>
                <a:cubicBezTo>
                  <a:pt x="68" y="27"/>
                  <a:pt x="68" y="27"/>
                  <a:pt x="68" y="27"/>
                </a:cubicBezTo>
                <a:cubicBezTo>
                  <a:pt x="75" y="27"/>
                  <a:pt x="75" y="27"/>
                  <a:pt x="75" y="27"/>
                </a:cubicBezTo>
                <a:cubicBezTo>
                  <a:pt x="88" y="14"/>
                  <a:pt x="88" y="14"/>
                  <a:pt x="88" y="14"/>
                </a:cubicBezTo>
                <a:cubicBezTo>
                  <a:pt x="89" y="14"/>
                  <a:pt x="89" y="14"/>
                  <a:pt x="90" y="14"/>
                </a:cubicBezTo>
                <a:cubicBezTo>
                  <a:pt x="90" y="14"/>
                  <a:pt x="91" y="14"/>
                  <a:pt x="91" y="15"/>
                </a:cubicBezTo>
                <a:cubicBezTo>
                  <a:pt x="97" y="26"/>
                  <a:pt x="95" y="39"/>
                  <a:pt x="86" y="47"/>
                </a:cubicBezTo>
                <a:cubicBezTo>
                  <a:pt x="81" y="53"/>
                  <a:pt x="74" y="56"/>
                  <a:pt x="66" y="56"/>
                </a:cubicBezTo>
                <a:cubicBezTo>
                  <a:pt x="66" y="56"/>
                  <a:pt x="66" y="56"/>
                  <a:pt x="66" y="56"/>
                </a:cubicBezTo>
                <a:cubicBezTo>
                  <a:pt x="62" y="56"/>
                  <a:pt x="59" y="55"/>
                  <a:pt x="55" y="53"/>
                </a:cubicBezTo>
                <a:cubicBezTo>
                  <a:pt x="17" y="91"/>
                  <a:pt x="17" y="91"/>
                  <a:pt x="17" y="91"/>
                </a:cubicBezTo>
                <a:cubicBezTo>
                  <a:pt x="15" y="93"/>
                  <a:pt x="12" y="94"/>
                  <a:pt x="10" y="94"/>
                </a:cubicBezTo>
                <a:close/>
                <a:moveTo>
                  <a:pt x="67" y="4"/>
                </a:moveTo>
                <a:cubicBezTo>
                  <a:pt x="60" y="4"/>
                  <a:pt x="54" y="6"/>
                  <a:pt x="50" y="11"/>
                </a:cubicBezTo>
                <a:cubicBezTo>
                  <a:pt x="42" y="18"/>
                  <a:pt x="40" y="29"/>
                  <a:pt x="45" y="39"/>
                </a:cubicBezTo>
                <a:cubicBezTo>
                  <a:pt x="45" y="39"/>
                  <a:pt x="45" y="40"/>
                  <a:pt x="45" y="41"/>
                </a:cubicBezTo>
                <a:cubicBezTo>
                  <a:pt x="5" y="80"/>
                  <a:pt x="5" y="80"/>
                  <a:pt x="5" y="80"/>
                </a:cubicBezTo>
                <a:cubicBezTo>
                  <a:pt x="4" y="81"/>
                  <a:pt x="4" y="83"/>
                  <a:pt x="4" y="84"/>
                </a:cubicBezTo>
                <a:cubicBezTo>
                  <a:pt x="4" y="86"/>
                  <a:pt x="4" y="87"/>
                  <a:pt x="5" y="89"/>
                </a:cubicBezTo>
                <a:cubicBezTo>
                  <a:pt x="8" y="91"/>
                  <a:pt x="12" y="91"/>
                  <a:pt x="14" y="89"/>
                </a:cubicBezTo>
                <a:cubicBezTo>
                  <a:pt x="53" y="49"/>
                  <a:pt x="53" y="49"/>
                  <a:pt x="53" y="49"/>
                </a:cubicBezTo>
                <a:cubicBezTo>
                  <a:pt x="54" y="49"/>
                  <a:pt x="55" y="49"/>
                  <a:pt x="55" y="49"/>
                </a:cubicBezTo>
                <a:cubicBezTo>
                  <a:pt x="59" y="51"/>
                  <a:pt x="63" y="52"/>
                  <a:pt x="66" y="52"/>
                </a:cubicBezTo>
                <a:cubicBezTo>
                  <a:pt x="73" y="52"/>
                  <a:pt x="79" y="49"/>
                  <a:pt x="83" y="45"/>
                </a:cubicBezTo>
                <a:cubicBezTo>
                  <a:pt x="90" y="38"/>
                  <a:pt x="92" y="28"/>
                  <a:pt x="89" y="19"/>
                </a:cubicBezTo>
                <a:cubicBezTo>
                  <a:pt x="78" y="30"/>
                  <a:pt x="78" y="30"/>
                  <a:pt x="78" y="30"/>
                </a:cubicBezTo>
                <a:cubicBezTo>
                  <a:pt x="77" y="31"/>
                  <a:pt x="77" y="31"/>
                  <a:pt x="76" y="31"/>
                </a:cubicBezTo>
                <a:cubicBezTo>
                  <a:pt x="66" y="31"/>
                  <a:pt x="66" y="31"/>
                  <a:pt x="66" y="31"/>
                </a:cubicBezTo>
                <a:cubicBezTo>
                  <a:pt x="65" y="31"/>
                  <a:pt x="64" y="30"/>
                  <a:pt x="64" y="29"/>
                </a:cubicBezTo>
                <a:cubicBezTo>
                  <a:pt x="64" y="18"/>
                  <a:pt x="64" y="18"/>
                  <a:pt x="64" y="18"/>
                </a:cubicBezTo>
                <a:cubicBezTo>
                  <a:pt x="64" y="17"/>
                  <a:pt x="64" y="17"/>
                  <a:pt x="64" y="16"/>
                </a:cubicBezTo>
                <a:cubicBezTo>
                  <a:pt x="75" y="5"/>
                  <a:pt x="75" y="5"/>
                  <a:pt x="75" y="5"/>
                </a:cubicBezTo>
                <a:cubicBezTo>
                  <a:pt x="72" y="4"/>
                  <a:pt x="70" y="4"/>
                  <a:pt x="67" y="4"/>
                </a:cubicBezTo>
                <a:close/>
              </a:path>
            </a:pathLst>
          </a:custGeom>
          <a:solidFill>
            <a:schemeClr val="accent4"/>
          </a:solidFill>
          <a:ln>
            <a:noFill/>
          </a:ln>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grpSp>
        <p:nvGrpSpPr>
          <p:cNvPr id="257" name="Group 256"/>
          <p:cNvGrpSpPr>
            <a:grpSpLocks noChangeAspect="1"/>
          </p:cNvGrpSpPr>
          <p:nvPr/>
        </p:nvGrpSpPr>
        <p:grpSpPr>
          <a:xfrm>
            <a:off x="18702873" y="7621852"/>
            <a:ext cx="897652" cy="897650"/>
            <a:chOff x="5988050" y="1774825"/>
            <a:chExt cx="371476" cy="371475"/>
          </a:xfrm>
          <a:solidFill>
            <a:schemeClr val="accent5"/>
          </a:solidFill>
        </p:grpSpPr>
        <p:sp>
          <p:nvSpPr>
            <p:cNvPr id="258" name="Freeform 52"/>
            <p:cNvSpPr>
              <a:spLocks noEditPoints="1"/>
            </p:cNvSpPr>
            <p:nvPr/>
          </p:nvSpPr>
          <p:spPr bwMode="auto">
            <a:xfrm>
              <a:off x="6065838" y="1960563"/>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59" name="Freeform 53"/>
            <p:cNvSpPr>
              <a:spLocks noEditPoints="1"/>
            </p:cNvSpPr>
            <p:nvPr/>
          </p:nvSpPr>
          <p:spPr bwMode="auto">
            <a:xfrm>
              <a:off x="5988050" y="1882775"/>
              <a:ext cx="263525" cy="263525"/>
            </a:xfrm>
            <a:custGeom>
              <a:avLst/>
              <a:gdLst>
                <a:gd name="T0" fmla="*/ 26 w 68"/>
                <a:gd name="T1" fmla="*/ 68 h 68"/>
                <a:gd name="T2" fmla="*/ 24 w 68"/>
                <a:gd name="T3" fmla="*/ 60 h 68"/>
                <a:gd name="T4" fmla="*/ 11 w 68"/>
                <a:gd name="T5" fmla="*/ 59 h 68"/>
                <a:gd name="T6" fmla="*/ 1 w 68"/>
                <a:gd name="T7" fmla="*/ 44 h 68"/>
                <a:gd name="T8" fmla="*/ 1 w 68"/>
                <a:gd name="T9" fmla="*/ 41 h 68"/>
                <a:gd name="T10" fmla="*/ 6 w 68"/>
                <a:gd name="T11" fmla="*/ 30 h 68"/>
                <a:gd name="T12" fmla="*/ 1 w 68"/>
                <a:gd name="T13" fmla="*/ 24 h 68"/>
                <a:gd name="T14" fmla="*/ 10 w 68"/>
                <a:gd name="T15" fmla="*/ 9 h 68"/>
                <a:gd name="T16" fmla="*/ 16 w 68"/>
                <a:gd name="T17" fmla="*/ 12 h 68"/>
                <a:gd name="T18" fmla="*/ 24 w 68"/>
                <a:gd name="T19" fmla="*/ 2 h 68"/>
                <a:gd name="T20" fmla="*/ 42 w 68"/>
                <a:gd name="T21" fmla="*/ 0 h 68"/>
                <a:gd name="T22" fmla="*/ 44 w 68"/>
                <a:gd name="T23" fmla="*/ 8 h 68"/>
                <a:gd name="T24" fmla="*/ 57 w 68"/>
                <a:gd name="T25" fmla="*/ 9 h 68"/>
                <a:gd name="T26" fmla="*/ 67 w 68"/>
                <a:gd name="T27" fmla="*/ 24 h 68"/>
                <a:gd name="T28" fmla="*/ 62 w 68"/>
                <a:gd name="T29" fmla="*/ 30 h 68"/>
                <a:gd name="T30" fmla="*/ 67 w 68"/>
                <a:gd name="T31" fmla="*/ 41 h 68"/>
                <a:gd name="T32" fmla="*/ 67 w 68"/>
                <a:gd name="T33" fmla="*/ 44 h 68"/>
                <a:gd name="T34" fmla="*/ 58 w 68"/>
                <a:gd name="T35" fmla="*/ 59 h 68"/>
                <a:gd name="T36" fmla="*/ 52 w 68"/>
                <a:gd name="T37" fmla="*/ 56 h 68"/>
                <a:gd name="T38" fmla="*/ 44 w 68"/>
                <a:gd name="T39" fmla="*/ 66 h 68"/>
                <a:gd name="T40" fmla="*/ 28 w 68"/>
                <a:gd name="T41" fmla="*/ 64 h 68"/>
                <a:gd name="T42" fmla="*/ 40 w 68"/>
                <a:gd name="T43" fmla="*/ 59 h 68"/>
                <a:gd name="T44" fmla="*/ 50 w 68"/>
                <a:gd name="T45" fmla="*/ 52 h 68"/>
                <a:gd name="T46" fmla="*/ 57 w 68"/>
                <a:gd name="T47" fmla="*/ 54 h 68"/>
                <a:gd name="T48" fmla="*/ 58 w 68"/>
                <a:gd name="T49" fmla="*/ 41 h 68"/>
                <a:gd name="T50" fmla="*/ 57 w 68"/>
                <a:gd name="T51" fmla="*/ 29 h 68"/>
                <a:gd name="T52" fmla="*/ 63 w 68"/>
                <a:gd name="T53" fmla="*/ 24 h 68"/>
                <a:gd name="T54" fmla="*/ 52 w 68"/>
                <a:gd name="T55" fmla="*/ 16 h 68"/>
                <a:gd name="T56" fmla="*/ 41 w 68"/>
                <a:gd name="T57" fmla="*/ 11 h 68"/>
                <a:gd name="T58" fmla="*/ 40 w 68"/>
                <a:gd name="T59" fmla="*/ 4 h 68"/>
                <a:gd name="T60" fmla="*/ 28 w 68"/>
                <a:gd name="T61" fmla="*/ 9 h 68"/>
                <a:gd name="T62" fmla="*/ 18 w 68"/>
                <a:gd name="T63" fmla="*/ 16 h 68"/>
                <a:gd name="T64" fmla="*/ 11 w 68"/>
                <a:gd name="T65" fmla="*/ 14 h 68"/>
                <a:gd name="T66" fmla="*/ 10 w 68"/>
                <a:gd name="T67" fmla="*/ 27 h 68"/>
                <a:gd name="T68" fmla="*/ 11 w 68"/>
                <a:gd name="T69" fmla="*/ 39 h 68"/>
                <a:gd name="T70" fmla="*/ 5 w 68"/>
                <a:gd name="T71" fmla="*/ 44 h 68"/>
                <a:gd name="T72" fmla="*/ 16 w 68"/>
                <a:gd name="T73" fmla="*/ 52 h 68"/>
                <a:gd name="T74" fmla="*/ 27 w 68"/>
                <a:gd name="T75" fmla="*/ 57 h 68"/>
                <a:gd name="T76" fmla="*/ 28 w 68"/>
                <a:gd name="T7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8">
                  <a:moveTo>
                    <a:pt x="42" y="68"/>
                  </a:moveTo>
                  <a:cubicBezTo>
                    <a:pt x="26" y="68"/>
                    <a:pt x="26" y="68"/>
                    <a:pt x="26" y="68"/>
                  </a:cubicBezTo>
                  <a:cubicBezTo>
                    <a:pt x="25" y="68"/>
                    <a:pt x="24" y="67"/>
                    <a:pt x="24" y="66"/>
                  </a:cubicBezTo>
                  <a:cubicBezTo>
                    <a:pt x="24" y="60"/>
                    <a:pt x="24" y="60"/>
                    <a:pt x="24" y="60"/>
                  </a:cubicBezTo>
                  <a:cubicBezTo>
                    <a:pt x="21" y="59"/>
                    <a:pt x="19" y="58"/>
                    <a:pt x="16" y="56"/>
                  </a:cubicBezTo>
                  <a:cubicBezTo>
                    <a:pt x="11" y="59"/>
                    <a:pt x="11" y="59"/>
                    <a:pt x="11" y="59"/>
                  </a:cubicBezTo>
                  <a:cubicBezTo>
                    <a:pt x="10" y="59"/>
                    <a:pt x="9" y="59"/>
                    <a:pt x="9" y="58"/>
                  </a:cubicBezTo>
                  <a:cubicBezTo>
                    <a:pt x="1" y="44"/>
                    <a:pt x="1" y="44"/>
                    <a:pt x="1" y="44"/>
                  </a:cubicBezTo>
                  <a:cubicBezTo>
                    <a:pt x="0" y="44"/>
                    <a:pt x="0" y="43"/>
                    <a:pt x="0" y="43"/>
                  </a:cubicBezTo>
                  <a:cubicBezTo>
                    <a:pt x="0" y="42"/>
                    <a:pt x="1" y="42"/>
                    <a:pt x="1" y="41"/>
                  </a:cubicBezTo>
                  <a:cubicBezTo>
                    <a:pt x="6" y="38"/>
                    <a:pt x="6" y="38"/>
                    <a:pt x="6" y="38"/>
                  </a:cubicBezTo>
                  <a:cubicBezTo>
                    <a:pt x="6" y="35"/>
                    <a:pt x="6" y="33"/>
                    <a:pt x="6" y="30"/>
                  </a:cubicBezTo>
                  <a:cubicBezTo>
                    <a:pt x="1" y="27"/>
                    <a:pt x="1" y="27"/>
                    <a:pt x="1" y="27"/>
                  </a:cubicBezTo>
                  <a:cubicBezTo>
                    <a:pt x="0" y="26"/>
                    <a:pt x="0" y="25"/>
                    <a:pt x="1" y="24"/>
                  </a:cubicBezTo>
                  <a:cubicBezTo>
                    <a:pt x="9" y="10"/>
                    <a:pt x="9" y="10"/>
                    <a:pt x="9" y="10"/>
                  </a:cubicBezTo>
                  <a:cubicBezTo>
                    <a:pt x="9" y="10"/>
                    <a:pt x="9" y="9"/>
                    <a:pt x="10" y="9"/>
                  </a:cubicBezTo>
                  <a:cubicBezTo>
                    <a:pt x="10" y="9"/>
                    <a:pt x="11" y="9"/>
                    <a:pt x="11" y="9"/>
                  </a:cubicBezTo>
                  <a:cubicBezTo>
                    <a:pt x="16" y="12"/>
                    <a:pt x="16" y="12"/>
                    <a:pt x="16" y="12"/>
                  </a:cubicBezTo>
                  <a:cubicBezTo>
                    <a:pt x="19" y="10"/>
                    <a:pt x="21" y="9"/>
                    <a:pt x="24" y="8"/>
                  </a:cubicBezTo>
                  <a:cubicBezTo>
                    <a:pt x="24" y="2"/>
                    <a:pt x="24" y="2"/>
                    <a:pt x="24" y="2"/>
                  </a:cubicBezTo>
                  <a:cubicBezTo>
                    <a:pt x="24" y="1"/>
                    <a:pt x="25" y="0"/>
                    <a:pt x="26" y="0"/>
                  </a:cubicBezTo>
                  <a:cubicBezTo>
                    <a:pt x="42" y="0"/>
                    <a:pt x="42" y="0"/>
                    <a:pt x="42" y="0"/>
                  </a:cubicBezTo>
                  <a:cubicBezTo>
                    <a:pt x="43" y="0"/>
                    <a:pt x="44" y="1"/>
                    <a:pt x="44" y="2"/>
                  </a:cubicBezTo>
                  <a:cubicBezTo>
                    <a:pt x="44" y="8"/>
                    <a:pt x="44" y="8"/>
                    <a:pt x="44" y="8"/>
                  </a:cubicBezTo>
                  <a:cubicBezTo>
                    <a:pt x="47" y="9"/>
                    <a:pt x="49" y="10"/>
                    <a:pt x="52" y="12"/>
                  </a:cubicBezTo>
                  <a:cubicBezTo>
                    <a:pt x="57" y="9"/>
                    <a:pt x="57" y="9"/>
                    <a:pt x="57" y="9"/>
                  </a:cubicBezTo>
                  <a:cubicBezTo>
                    <a:pt x="58" y="9"/>
                    <a:pt x="59" y="9"/>
                    <a:pt x="59" y="10"/>
                  </a:cubicBezTo>
                  <a:cubicBezTo>
                    <a:pt x="67" y="24"/>
                    <a:pt x="67" y="24"/>
                    <a:pt x="67" y="24"/>
                  </a:cubicBezTo>
                  <a:cubicBezTo>
                    <a:pt x="68" y="25"/>
                    <a:pt x="68" y="26"/>
                    <a:pt x="67" y="27"/>
                  </a:cubicBezTo>
                  <a:cubicBezTo>
                    <a:pt x="62" y="30"/>
                    <a:pt x="62" y="30"/>
                    <a:pt x="62" y="30"/>
                  </a:cubicBezTo>
                  <a:cubicBezTo>
                    <a:pt x="62" y="33"/>
                    <a:pt x="62" y="35"/>
                    <a:pt x="62" y="38"/>
                  </a:cubicBezTo>
                  <a:cubicBezTo>
                    <a:pt x="67" y="41"/>
                    <a:pt x="67" y="41"/>
                    <a:pt x="67" y="41"/>
                  </a:cubicBezTo>
                  <a:cubicBezTo>
                    <a:pt x="67" y="42"/>
                    <a:pt x="68" y="42"/>
                    <a:pt x="68" y="43"/>
                  </a:cubicBezTo>
                  <a:cubicBezTo>
                    <a:pt x="68" y="43"/>
                    <a:pt x="68" y="44"/>
                    <a:pt x="67" y="44"/>
                  </a:cubicBezTo>
                  <a:cubicBezTo>
                    <a:pt x="59" y="58"/>
                    <a:pt x="59" y="58"/>
                    <a:pt x="59" y="58"/>
                  </a:cubicBezTo>
                  <a:cubicBezTo>
                    <a:pt x="59" y="58"/>
                    <a:pt x="59" y="59"/>
                    <a:pt x="58" y="59"/>
                  </a:cubicBezTo>
                  <a:cubicBezTo>
                    <a:pt x="58" y="59"/>
                    <a:pt x="57" y="59"/>
                    <a:pt x="57" y="59"/>
                  </a:cubicBezTo>
                  <a:cubicBezTo>
                    <a:pt x="52" y="56"/>
                    <a:pt x="52" y="56"/>
                    <a:pt x="52" y="56"/>
                  </a:cubicBezTo>
                  <a:cubicBezTo>
                    <a:pt x="49" y="58"/>
                    <a:pt x="47" y="59"/>
                    <a:pt x="44" y="60"/>
                  </a:cubicBezTo>
                  <a:cubicBezTo>
                    <a:pt x="44" y="66"/>
                    <a:pt x="44" y="66"/>
                    <a:pt x="44" y="66"/>
                  </a:cubicBezTo>
                  <a:cubicBezTo>
                    <a:pt x="44" y="67"/>
                    <a:pt x="43" y="68"/>
                    <a:pt x="42" y="68"/>
                  </a:cubicBezTo>
                  <a:close/>
                  <a:moveTo>
                    <a:pt x="28" y="64"/>
                  </a:moveTo>
                  <a:cubicBezTo>
                    <a:pt x="40" y="64"/>
                    <a:pt x="40" y="64"/>
                    <a:pt x="40" y="64"/>
                  </a:cubicBezTo>
                  <a:cubicBezTo>
                    <a:pt x="40" y="59"/>
                    <a:pt x="40" y="59"/>
                    <a:pt x="40" y="59"/>
                  </a:cubicBezTo>
                  <a:cubicBezTo>
                    <a:pt x="40" y="58"/>
                    <a:pt x="41" y="57"/>
                    <a:pt x="41" y="57"/>
                  </a:cubicBezTo>
                  <a:cubicBezTo>
                    <a:pt x="45" y="56"/>
                    <a:pt x="48" y="54"/>
                    <a:pt x="50" y="52"/>
                  </a:cubicBezTo>
                  <a:cubicBezTo>
                    <a:pt x="51" y="51"/>
                    <a:pt x="52" y="51"/>
                    <a:pt x="52" y="52"/>
                  </a:cubicBezTo>
                  <a:cubicBezTo>
                    <a:pt x="57" y="54"/>
                    <a:pt x="57" y="54"/>
                    <a:pt x="57" y="54"/>
                  </a:cubicBezTo>
                  <a:cubicBezTo>
                    <a:pt x="63" y="44"/>
                    <a:pt x="63" y="44"/>
                    <a:pt x="63" y="44"/>
                  </a:cubicBezTo>
                  <a:cubicBezTo>
                    <a:pt x="58" y="41"/>
                    <a:pt x="58" y="41"/>
                    <a:pt x="58" y="41"/>
                  </a:cubicBezTo>
                  <a:cubicBezTo>
                    <a:pt x="58" y="41"/>
                    <a:pt x="57" y="40"/>
                    <a:pt x="57" y="39"/>
                  </a:cubicBezTo>
                  <a:cubicBezTo>
                    <a:pt x="58" y="36"/>
                    <a:pt x="58" y="32"/>
                    <a:pt x="57" y="29"/>
                  </a:cubicBezTo>
                  <a:cubicBezTo>
                    <a:pt x="57" y="28"/>
                    <a:pt x="58" y="27"/>
                    <a:pt x="58" y="27"/>
                  </a:cubicBezTo>
                  <a:cubicBezTo>
                    <a:pt x="63" y="24"/>
                    <a:pt x="63" y="24"/>
                    <a:pt x="63" y="24"/>
                  </a:cubicBezTo>
                  <a:cubicBezTo>
                    <a:pt x="57" y="14"/>
                    <a:pt x="57" y="14"/>
                    <a:pt x="57" y="14"/>
                  </a:cubicBezTo>
                  <a:cubicBezTo>
                    <a:pt x="52" y="16"/>
                    <a:pt x="52" y="16"/>
                    <a:pt x="52" y="16"/>
                  </a:cubicBezTo>
                  <a:cubicBezTo>
                    <a:pt x="52" y="17"/>
                    <a:pt x="51" y="17"/>
                    <a:pt x="50" y="16"/>
                  </a:cubicBezTo>
                  <a:cubicBezTo>
                    <a:pt x="48" y="14"/>
                    <a:pt x="45" y="12"/>
                    <a:pt x="41" y="11"/>
                  </a:cubicBezTo>
                  <a:cubicBezTo>
                    <a:pt x="41" y="11"/>
                    <a:pt x="40" y="10"/>
                    <a:pt x="40" y="9"/>
                  </a:cubicBezTo>
                  <a:cubicBezTo>
                    <a:pt x="40" y="4"/>
                    <a:pt x="40" y="4"/>
                    <a:pt x="40" y="4"/>
                  </a:cubicBezTo>
                  <a:cubicBezTo>
                    <a:pt x="28" y="4"/>
                    <a:pt x="28" y="4"/>
                    <a:pt x="28" y="4"/>
                  </a:cubicBezTo>
                  <a:cubicBezTo>
                    <a:pt x="28" y="9"/>
                    <a:pt x="28" y="9"/>
                    <a:pt x="28" y="9"/>
                  </a:cubicBezTo>
                  <a:cubicBezTo>
                    <a:pt x="28" y="10"/>
                    <a:pt x="27" y="11"/>
                    <a:pt x="27" y="11"/>
                  </a:cubicBezTo>
                  <a:cubicBezTo>
                    <a:pt x="23" y="12"/>
                    <a:pt x="20" y="14"/>
                    <a:pt x="18" y="16"/>
                  </a:cubicBezTo>
                  <a:cubicBezTo>
                    <a:pt x="17" y="17"/>
                    <a:pt x="16" y="17"/>
                    <a:pt x="16" y="16"/>
                  </a:cubicBezTo>
                  <a:cubicBezTo>
                    <a:pt x="11" y="14"/>
                    <a:pt x="11" y="14"/>
                    <a:pt x="11" y="14"/>
                  </a:cubicBezTo>
                  <a:cubicBezTo>
                    <a:pt x="5" y="24"/>
                    <a:pt x="5" y="24"/>
                    <a:pt x="5" y="24"/>
                  </a:cubicBezTo>
                  <a:cubicBezTo>
                    <a:pt x="10" y="27"/>
                    <a:pt x="10" y="27"/>
                    <a:pt x="10" y="27"/>
                  </a:cubicBezTo>
                  <a:cubicBezTo>
                    <a:pt x="10" y="27"/>
                    <a:pt x="11" y="28"/>
                    <a:pt x="11" y="29"/>
                  </a:cubicBezTo>
                  <a:cubicBezTo>
                    <a:pt x="10" y="32"/>
                    <a:pt x="10" y="36"/>
                    <a:pt x="11" y="39"/>
                  </a:cubicBezTo>
                  <a:cubicBezTo>
                    <a:pt x="11" y="40"/>
                    <a:pt x="10" y="41"/>
                    <a:pt x="10" y="41"/>
                  </a:cubicBezTo>
                  <a:cubicBezTo>
                    <a:pt x="5" y="44"/>
                    <a:pt x="5" y="44"/>
                    <a:pt x="5" y="44"/>
                  </a:cubicBezTo>
                  <a:cubicBezTo>
                    <a:pt x="11" y="54"/>
                    <a:pt x="11" y="54"/>
                    <a:pt x="11" y="54"/>
                  </a:cubicBezTo>
                  <a:cubicBezTo>
                    <a:pt x="16" y="52"/>
                    <a:pt x="16" y="52"/>
                    <a:pt x="16" y="52"/>
                  </a:cubicBezTo>
                  <a:cubicBezTo>
                    <a:pt x="16" y="51"/>
                    <a:pt x="17" y="51"/>
                    <a:pt x="18" y="52"/>
                  </a:cubicBezTo>
                  <a:cubicBezTo>
                    <a:pt x="20" y="54"/>
                    <a:pt x="23" y="56"/>
                    <a:pt x="27" y="57"/>
                  </a:cubicBezTo>
                  <a:cubicBezTo>
                    <a:pt x="27" y="57"/>
                    <a:pt x="28" y="58"/>
                    <a:pt x="28" y="59"/>
                  </a:cubicBezTo>
                  <a:lnTo>
                    <a:pt x="28"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60" name="Freeform 54"/>
            <p:cNvSpPr>
              <a:spLocks noEditPoints="1"/>
            </p:cNvSpPr>
            <p:nvPr/>
          </p:nvSpPr>
          <p:spPr bwMode="auto">
            <a:xfrm>
              <a:off x="6251575" y="1820863"/>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sp>
          <p:nvSpPr>
            <p:cNvPr id="261" name="Freeform 55"/>
            <p:cNvSpPr>
              <a:spLocks noEditPoints="1"/>
            </p:cNvSpPr>
            <p:nvPr/>
          </p:nvSpPr>
          <p:spPr bwMode="auto">
            <a:xfrm>
              <a:off x="6205538" y="1774825"/>
              <a:ext cx="153988" cy="155575"/>
            </a:xfrm>
            <a:custGeom>
              <a:avLst/>
              <a:gdLst>
                <a:gd name="T0" fmla="*/ 16 w 40"/>
                <a:gd name="T1" fmla="*/ 40 h 40"/>
                <a:gd name="T2" fmla="*/ 14 w 40"/>
                <a:gd name="T3" fmla="*/ 35 h 40"/>
                <a:gd name="T4" fmla="*/ 7 w 40"/>
                <a:gd name="T5" fmla="*/ 34 h 40"/>
                <a:gd name="T6" fmla="*/ 5 w 40"/>
                <a:gd name="T7" fmla="*/ 33 h 40"/>
                <a:gd name="T8" fmla="*/ 1 w 40"/>
                <a:gd name="T9" fmla="*/ 24 h 40"/>
                <a:gd name="T10" fmla="*/ 4 w 40"/>
                <a:gd name="T11" fmla="*/ 18 h 40"/>
                <a:gd name="T12" fmla="*/ 0 w 40"/>
                <a:gd name="T13" fmla="*/ 15 h 40"/>
                <a:gd name="T14" fmla="*/ 5 w 40"/>
                <a:gd name="T15" fmla="*/ 7 h 40"/>
                <a:gd name="T16" fmla="*/ 7 w 40"/>
                <a:gd name="T17" fmla="*/ 6 h 40"/>
                <a:gd name="T18" fmla="*/ 14 w 40"/>
                <a:gd name="T19" fmla="*/ 5 h 40"/>
                <a:gd name="T20" fmla="*/ 16 w 40"/>
                <a:gd name="T21" fmla="*/ 0 h 40"/>
                <a:gd name="T22" fmla="*/ 26 w 40"/>
                <a:gd name="T23" fmla="*/ 2 h 40"/>
                <a:gd name="T24" fmla="*/ 30 w 40"/>
                <a:gd name="T25" fmla="*/ 7 h 40"/>
                <a:gd name="T26" fmla="*/ 34 w 40"/>
                <a:gd name="T27" fmla="*/ 6 h 40"/>
                <a:gd name="T28" fmla="*/ 39 w 40"/>
                <a:gd name="T29" fmla="*/ 13 h 40"/>
                <a:gd name="T30" fmla="*/ 36 w 40"/>
                <a:gd name="T31" fmla="*/ 18 h 40"/>
                <a:gd name="T32" fmla="*/ 39 w 40"/>
                <a:gd name="T33" fmla="*/ 24 h 40"/>
                <a:gd name="T34" fmla="*/ 35 w 40"/>
                <a:gd name="T35" fmla="*/ 33 h 40"/>
                <a:gd name="T36" fmla="*/ 33 w 40"/>
                <a:gd name="T37" fmla="*/ 34 h 40"/>
                <a:gd name="T38" fmla="*/ 26 w 40"/>
                <a:gd name="T39" fmla="*/ 35 h 40"/>
                <a:gd name="T40" fmla="*/ 24 w 40"/>
                <a:gd name="T41" fmla="*/ 40 h 40"/>
                <a:gd name="T42" fmla="*/ 22 w 40"/>
                <a:gd name="T43" fmla="*/ 36 h 40"/>
                <a:gd name="T44" fmla="*/ 23 w 40"/>
                <a:gd name="T45" fmla="*/ 31 h 40"/>
                <a:gd name="T46" fmla="*/ 31 w 40"/>
                <a:gd name="T47" fmla="*/ 28 h 40"/>
                <a:gd name="T48" fmla="*/ 35 w 40"/>
                <a:gd name="T49" fmla="*/ 26 h 40"/>
                <a:gd name="T50" fmla="*/ 32 w 40"/>
                <a:gd name="T51" fmla="*/ 23 h 40"/>
                <a:gd name="T52" fmla="*/ 33 w 40"/>
                <a:gd name="T53" fmla="*/ 15 h 40"/>
                <a:gd name="T54" fmla="*/ 33 w 40"/>
                <a:gd name="T55" fmla="*/ 10 h 40"/>
                <a:gd name="T56" fmla="*/ 28 w 40"/>
                <a:gd name="T57" fmla="*/ 11 h 40"/>
                <a:gd name="T58" fmla="*/ 22 w 40"/>
                <a:gd name="T59" fmla="*/ 7 h 40"/>
                <a:gd name="T60" fmla="*/ 18 w 40"/>
                <a:gd name="T61" fmla="*/ 4 h 40"/>
                <a:gd name="T62" fmla="*/ 17 w 40"/>
                <a:gd name="T63" fmla="*/ 9 h 40"/>
                <a:gd name="T64" fmla="*/ 9 w 40"/>
                <a:gd name="T65" fmla="*/ 12 h 40"/>
                <a:gd name="T66" fmla="*/ 5 w 40"/>
                <a:gd name="T67" fmla="*/ 14 h 40"/>
                <a:gd name="T68" fmla="*/ 8 w 40"/>
                <a:gd name="T69" fmla="*/ 17 h 40"/>
                <a:gd name="T70" fmla="*/ 7 w 40"/>
                <a:gd name="T71" fmla="*/ 25 h 40"/>
                <a:gd name="T72" fmla="*/ 7 w 40"/>
                <a:gd name="T73" fmla="*/ 30 h 40"/>
                <a:gd name="T74" fmla="*/ 12 w 40"/>
                <a:gd name="T75" fmla="*/ 29 h 40"/>
                <a:gd name="T76" fmla="*/ 18 w 40"/>
                <a:gd name="T77"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40">
                  <a:moveTo>
                    <a:pt x="24" y="40"/>
                  </a:moveTo>
                  <a:cubicBezTo>
                    <a:pt x="16" y="40"/>
                    <a:pt x="16" y="40"/>
                    <a:pt x="16" y="40"/>
                  </a:cubicBezTo>
                  <a:cubicBezTo>
                    <a:pt x="15" y="40"/>
                    <a:pt x="14" y="39"/>
                    <a:pt x="14" y="38"/>
                  </a:cubicBezTo>
                  <a:cubicBezTo>
                    <a:pt x="14" y="35"/>
                    <a:pt x="14" y="35"/>
                    <a:pt x="14" y="35"/>
                  </a:cubicBezTo>
                  <a:cubicBezTo>
                    <a:pt x="13" y="34"/>
                    <a:pt x="11" y="34"/>
                    <a:pt x="10" y="33"/>
                  </a:cubicBezTo>
                  <a:cubicBezTo>
                    <a:pt x="7" y="34"/>
                    <a:pt x="7" y="34"/>
                    <a:pt x="7" y="34"/>
                  </a:cubicBezTo>
                  <a:cubicBezTo>
                    <a:pt x="7" y="34"/>
                    <a:pt x="6" y="35"/>
                    <a:pt x="6" y="34"/>
                  </a:cubicBezTo>
                  <a:cubicBezTo>
                    <a:pt x="5" y="34"/>
                    <a:pt x="5" y="34"/>
                    <a:pt x="5" y="33"/>
                  </a:cubicBezTo>
                  <a:cubicBezTo>
                    <a:pt x="1" y="27"/>
                    <a:pt x="1" y="27"/>
                    <a:pt x="1" y="27"/>
                  </a:cubicBezTo>
                  <a:cubicBezTo>
                    <a:pt x="0" y="26"/>
                    <a:pt x="0" y="24"/>
                    <a:pt x="1" y="24"/>
                  </a:cubicBezTo>
                  <a:cubicBezTo>
                    <a:pt x="4" y="22"/>
                    <a:pt x="4" y="22"/>
                    <a:pt x="4" y="22"/>
                  </a:cubicBezTo>
                  <a:cubicBezTo>
                    <a:pt x="4" y="21"/>
                    <a:pt x="4" y="19"/>
                    <a:pt x="4" y="18"/>
                  </a:cubicBezTo>
                  <a:cubicBezTo>
                    <a:pt x="1" y="16"/>
                    <a:pt x="1" y="16"/>
                    <a:pt x="1" y="16"/>
                  </a:cubicBezTo>
                  <a:cubicBezTo>
                    <a:pt x="1" y="16"/>
                    <a:pt x="1" y="15"/>
                    <a:pt x="0" y="15"/>
                  </a:cubicBezTo>
                  <a:cubicBezTo>
                    <a:pt x="0" y="14"/>
                    <a:pt x="0" y="14"/>
                    <a:pt x="1" y="13"/>
                  </a:cubicBezTo>
                  <a:cubicBezTo>
                    <a:pt x="5" y="7"/>
                    <a:pt x="5" y="7"/>
                    <a:pt x="5" y="7"/>
                  </a:cubicBezTo>
                  <a:cubicBezTo>
                    <a:pt x="5" y="6"/>
                    <a:pt x="5" y="6"/>
                    <a:pt x="6" y="6"/>
                  </a:cubicBezTo>
                  <a:cubicBezTo>
                    <a:pt x="6" y="5"/>
                    <a:pt x="7" y="6"/>
                    <a:pt x="7" y="6"/>
                  </a:cubicBezTo>
                  <a:cubicBezTo>
                    <a:pt x="10" y="7"/>
                    <a:pt x="10" y="7"/>
                    <a:pt x="10" y="7"/>
                  </a:cubicBezTo>
                  <a:cubicBezTo>
                    <a:pt x="11" y="7"/>
                    <a:pt x="13" y="6"/>
                    <a:pt x="14" y="5"/>
                  </a:cubicBezTo>
                  <a:cubicBezTo>
                    <a:pt x="14" y="2"/>
                    <a:pt x="14" y="2"/>
                    <a:pt x="14" y="2"/>
                  </a:cubicBezTo>
                  <a:cubicBezTo>
                    <a:pt x="14" y="1"/>
                    <a:pt x="15" y="0"/>
                    <a:pt x="16" y="0"/>
                  </a:cubicBezTo>
                  <a:cubicBezTo>
                    <a:pt x="24" y="0"/>
                    <a:pt x="24" y="0"/>
                    <a:pt x="24" y="0"/>
                  </a:cubicBezTo>
                  <a:cubicBezTo>
                    <a:pt x="25" y="0"/>
                    <a:pt x="26" y="1"/>
                    <a:pt x="26" y="2"/>
                  </a:cubicBezTo>
                  <a:cubicBezTo>
                    <a:pt x="26" y="5"/>
                    <a:pt x="26" y="5"/>
                    <a:pt x="26" y="5"/>
                  </a:cubicBezTo>
                  <a:cubicBezTo>
                    <a:pt x="27" y="6"/>
                    <a:pt x="29" y="6"/>
                    <a:pt x="30" y="7"/>
                  </a:cubicBezTo>
                  <a:cubicBezTo>
                    <a:pt x="33" y="6"/>
                    <a:pt x="33" y="6"/>
                    <a:pt x="33" y="6"/>
                  </a:cubicBezTo>
                  <a:cubicBezTo>
                    <a:pt x="33" y="6"/>
                    <a:pt x="34" y="5"/>
                    <a:pt x="34" y="6"/>
                  </a:cubicBezTo>
                  <a:cubicBezTo>
                    <a:pt x="35" y="6"/>
                    <a:pt x="35" y="6"/>
                    <a:pt x="35" y="7"/>
                  </a:cubicBezTo>
                  <a:cubicBezTo>
                    <a:pt x="39" y="13"/>
                    <a:pt x="39" y="13"/>
                    <a:pt x="39" y="13"/>
                  </a:cubicBezTo>
                  <a:cubicBezTo>
                    <a:pt x="40" y="14"/>
                    <a:pt x="40" y="16"/>
                    <a:pt x="39" y="16"/>
                  </a:cubicBezTo>
                  <a:cubicBezTo>
                    <a:pt x="36" y="18"/>
                    <a:pt x="36" y="18"/>
                    <a:pt x="36" y="18"/>
                  </a:cubicBezTo>
                  <a:cubicBezTo>
                    <a:pt x="36" y="19"/>
                    <a:pt x="36" y="21"/>
                    <a:pt x="36" y="22"/>
                  </a:cubicBezTo>
                  <a:cubicBezTo>
                    <a:pt x="39" y="24"/>
                    <a:pt x="39" y="24"/>
                    <a:pt x="39" y="24"/>
                  </a:cubicBezTo>
                  <a:cubicBezTo>
                    <a:pt x="40" y="24"/>
                    <a:pt x="40" y="26"/>
                    <a:pt x="39" y="27"/>
                  </a:cubicBezTo>
                  <a:cubicBezTo>
                    <a:pt x="35" y="33"/>
                    <a:pt x="35" y="33"/>
                    <a:pt x="35" y="33"/>
                  </a:cubicBezTo>
                  <a:cubicBezTo>
                    <a:pt x="35" y="34"/>
                    <a:pt x="35" y="34"/>
                    <a:pt x="34" y="34"/>
                  </a:cubicBezTo>
                  <a:cubicBezTo>
                    <a:pt x="34" y="35"/>
                    <a:pt x="33" y="34"/>
                    <a:pt x="33" y="34"/>
                  </a:cubicBezTo>
                  <a:cubicBezTo>
                    <a:pt x="30" y="33"/>
                    <a:pt x="30" y="33"/>
                    <a:pt x="30" y="33"/>
                  </a:cubicBezTo>
                  <a:cubicBezTo>
                    <a:pt x="29" y="33"/>
                    <a:pt x="27" y="34"/>
                    <a:pt x="26" y="35"/>
                  </a:cubicBezTo>
                  <a:cubicBezTo>
                    <a:pt x="26" y="38"/>
                    <a:pt x="26" y="38"/>
                    <a:pt x="26" y="38"/>
                  </a:cubicBezTo>
                  <a:cubicBezTo>
                    <a:pt x="26" y="39"/>
                    <a:pt x="25" y="40"/>
                    <a:pt x="24" y="40"/>
                  </a:cubicBezTo>
                  <a:close/>
                  <a:moveTo>
                    <a:pt x="18" y="36"/>
                  </a:moveTo>
                  <a:cubicBezTo>
                    <a:pt x="22" y="36"/>
                    <a:pt x="22" y="36"/>
                    <a:pt x="22" y="36"/>
                  </a:cubicBezTo>
                  <a:cubicBezTo>
                    <a:pt x="22" y="33"/>
                    <a:pt x="22" y="33"/>
                    <a:pt x="22" y="33"/>
                  </a:cubicBezTo>
                  <a:cubicBezTo>
                    <a:pt x="22" y="32"/>
                    <a:pt x="23" y="32"/>
                    <a:pt x="23" y="31"/>
                  </a:cubicBezTo>
                  <a:cubicBezTo>
                    <a:pt x="25" y="31"/>
                    <a:pt x="27" y="30"/>
                    <a:pt x="28" y="29"/>
                  </a:cubicBezTo>
                  <a:cubicBezTo>
                    <a:pt x="29" y="28"/>
                    <a:pt x="30" y="28"/>
                    <a:pt x="31" y="28"/>
                  </a:cubicBezTo>
                  <a:cubicBezTo>
                    <a:pt x="33" y="30"/>
                    <a:pt x="33" y="30"/>
                    <a:pt x="33" y="30"/>
                  </a:cubicBezTo>
                  <a:cubicBezTo>
                    <a:pt x="35" y="26"/>
                    <a:pt x="35" y="26"/>
                    <a:pt x="35" y="26"/>
                  </a:cubicBezTo>
                  <a:cubicBezTo>
                    <a:pt x="33" y="25"/>
                    <a:pt x="33" y="25"/>
                    <a:pt x="33" y="25"/>
                  </a:cubicBezTo>
                  <a:cubicBezTo>
                    <a:pt x="32" y="25"/>
                    <a:pt x="31" y="24"/>
                    <a:pt x="32" y="23"/>
                  </a:cubicBezTo>
                  <a:cubicBezTo>
                    <a:pt x="32" y="21"/>
                    <a:pt x="32" y="19"/>
                    <a:pt x="32" y="17"/>
                  </a:cubicBezTo>
                  <a:cubicBezTo>
                    <a:pt x="31" y="16"/>
                    <a:pt x="32" y="15"/>
                    <a:pt x="33" y="15"/>
                  </a:cubicBezTo>
                  <a:cubicBezTo>
                    <a:pt x="35" y="14"/>
                    <a:pt x="35" y="14"/>
                    <a:pt x="35" y="14"/>
                  </a:cubicBezTo>
                  <a:cubicBezTo>
                    <a:pt x="33" y="10"/>
                    <a:pt x="33" y="10"/>
                    <a:pt x="33" y="10"/>
                  </a:cubicBezTo>
                  <a:cubicBezTo>
                    <a:pt x="31" y="12"/>
                    <a:pt x="31" y="12"/>
                    <a:pt x="31" y="12"/>
                  </a:cubicBezTo>
                  <a:cubicBezTo>
                    <a:pt x="30" y="12"/>
                    <a:pt x="29" y="12"/>
                    <a:pt x="28" y="11"/>
                  </a:cubicBezTo>
                  <a:cubicBezTo>
                    <a:pt x="27" y="10"/>
                    <a:pt x="25" y="9"/>
                    <a:pt x="23" y="9"/>
                  </a:cubicBezTo>
                  <a:cubicBezTo>
                    <a:pt x="23" y="8"/>
                    <a:pt x="22" y="8"/>
                    <a:pt x="22" y="7"/>
                  </a:cubicBezTo>
                  <a:cubicBezTo>
                    <a:pt x="22" y="4"/>
                    <a:pt x="22" y="4"/>
                    <a:pt x="22" y="4"/>
                  </a:cubicBezTo>
                  <a:cubicBezTo>
                    <a:pt x="18" y="4"/>
                    <a:pt x="18" y="4"/>
                    <a:pt x="18" y="4"/>
                  </a:cubicBezTo>
                  <a:cubicBezTo>
                    <a:pt x="18" y="7"/>
                    <a:pt x="18" y="7"/>
                    <a:pt x="18" y="7"/>
                  </a:cubicBezTo>
                  <a:cubicBezTo>
                    <a:pt x="18" y="8"/>
                    <a:pt x="17" y="8"/>
                    <a:pt x="17" y="9"/>
                  </a:cubicBezTo>
                  <a:cubicBezTo>
                    <a:pt x="15" y="9"/>
                    <a:pt x="13" y="10"/>
                    <a:pt x="12" y="11"/>
                  </a:cubicBezTo>
                  <a:cubicBezTo>
                    <a:pt x="11" y="12"/>
                    <a:pt x="10" y="12"/>
                    <a:pt x="9" y="12"/>
                  </a:cubicBezTo>
                  <a:cubicBezTo>
                    <a:pt x="7" y="10"/>
                    <a:pt x="7" y="10"/>
                    <a:pt x="7" y="10"/>
                  </a:cubicBezTo>
                  <a:cubicBezTo>
                    <a:pt x="5" y="14"/>
                    <a:pt x="5" y="14"/>
                    <a:pt x="5" y="14"/>
                  </a:cubicBezTo>
                  <a:cubicBezTo>
                    <a:pt x="7" y="15"/>
                    <a:pt x="7" y="15"/>
                    <a:pt x="7" y="15"/>
                  </a:cubicBezTo>
                  <a:cubicBezTo>
                    <a:pt x="8" y="15"/>
                    <a:pt x="9" y="16"/>
                    <a:pt x="8" y="17"/>
                  </a:cubicBezTo>
                  <a:cubicBezTo>
                    <a:pt x="8" y="19"/>
                    <a:pt x="8" y="21"/>
                    <a:pt x="8" y="23"/>
                  </a:cubicBezTo>
                  <a:cubicBezTo>
                    <a:pt x="9" y="24"/>
                    <a:pt x="8" y="24"/>
                    <a:pt x="7" y="25"/>
                  </a:cubicBezTo>
                  <a:cubicBezTo>
                    <a:pt x="5" y="26"/>
                    <a:pt x="5" y="26"/>
                    <a:pt x="5" y="26"/>
                  </a:cubicBezTo>
                  <a:cubicBezTo>
                    <a:pt x="7" y="30"/>
                    <a:pt x="7" y="30"/>
                    <a:pt x="7" y="30"/>
                  </a:cubicBezTo>
                  <a:cubicBezTo>
                    <a:pt x="9" y="28"/>
                    <a:pt x="9" y="28"/>
                    <a:pt x="9" y="28"/>
                  </a:cubicBezTo>
                  <a:cubicBezTo>
                    <a:pt x="10" y="28"/>
                    <a:pt x="11" y="28"/>
                    <a:pt x="12" y="29"/>
                  </a:cubicBezTo>
                  <a:cubicBezTo>
                    <a:pt x="13" y="30"/>
                    <a:pt x="15" y="31"/>
                    <a:pt x="17" y="31"/>
                  </a:cubicBezTo>
                  <a:cubicBezTo>
                    <a:pt x="17" y="32"/>
                    <a:pt x="18" y="33"/>
                    <a:pt x="18" y="33"/>
                  </a:cubicBezTo>
                  <a:lnTo>
                    <a:pt x="1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kern="0">
                <a:solidFill>
                  <a:prstClr val="black"/>
                </a:solidFill>
                <a:latin typeface="Calibri"/>
              </a:endParaRPr>
            </a:p>
          </p:txBody>
        </p:sp>
      </p:grpSp>
      <p:grpSp>
        <p:nvGrpSpPr>
          <p:cNvPr id="262" name="Group 261"/>
          <p:cNvGrpSpPr/>
          <p:nvPr/>
        </p:nvGrpSpPr>
        <p:grpSpPr>
          <a:xfrm>
            <a:off x="3318682" y="3420525"/>
            <a:ext cx="3821363" cy="2135537"/>
            <a:chOff x="1013695" y="2240659"/>
            <a:chExt cx="1532549" cy="856452"/>
          </a:xfrm>
        </p:grpSpPr>
        <p:grpSp>
          <p:nvGrpSpPr>
            <p:cNvPr id="263" name="Group 262"/>
            <p:cNvGrpSpPr/>
            <p:nvPr/>
          </p:nvGrpSpPr>
          <p:grpSpPr>
            <a:xfrm>
              <a:off x="1553008" y="2757488"/>
              <a:ext cx="453923" cy="339623"/>
              <a:chOff x="1553007" y="2757488"/>
              <a:chExt cx="453923" cy="339623"/>
            </a:xfrm>
          </p:grpSpPr>
          <p:cxnSp>
            <p:nvCxnSpPr>
              <p:cNvPr id="265" name="Straight Connector 264"/>
              <p:cNvCxnSpPr/>
              <p:nvPr/>
            </p:nvCxnSpPr>
            <p:spPr>
              <a:xfrm>
                <a:off x="1779969" y="2757488"/>
                <a:ext cx="0" cy="339623"/>
              </a:xfrm>
              <a:prstGeom prst="line">
                <a:avLst/>
              </a:prstGeom>
              <a:noFill/>
              <a:ln w="12700" cap="flat" cmpd="sng" algn="ctr">
                <a:solidFill>
                  <a:sysClr val="windowText" lastClr="000000">
                    <a:lumMod val="65000"/>
                    <a:lumOff val="35000"/>
                  </a:sysClr>
                </a:solidFill>
                <a:prstDash val="solid"/>
                <a:miter lim="800000"/>
              </a:ln>
              <a:effectLst/>
            </p:spPr>
          </p:cxnSp>
          <p:cxnSp>
            <p:nvCxnSpPr>
              <p:cNvPr id="266" name="Straight Connector 265"/>
              <p:cNvCxnSpPr/>
              <p:nvPr/>
            </p:nvCxnSpPr>
            <p:spPr>
              <a:xfrm rot="16200000">
                <a:off x="1779969" y="2530526"/>
                <a:ext cx="0" cy="453923"/>
              </a:xfrm>
              <a:prstGeom prst="line">
                <a:avLst/>
              </a:prstGeom>
              <a:noFill/>
              <a:ln w="12700" cap="flat" cmpd="sng" algn="ctr">
                <a:solidFill>
                  <a:sysClr val="windowText" lastClr="000000">
                    <a:lumMod val="65000"/>
                    <a:lumOff val="35000"/>
                  </a:sysClr>
                </a:solidFill>
                <a:prstDash val="solid"/>
                <a:miter lim="800000"/>
              </a:ln>
              <a:effectLst/>
            </p:spPr>
          </p:cxnSp>
        </p:grpSp>
        <p:sp>
          <p:nvSpPr>
            <p:cNvPr id="264" name="TextBox 263"/>
            <p:cNvSpPr txBox="1"/>
            <p:nvPr/>
          </p:nvSpPr>
          <p:spPr>
            <a:xfrm>
              <a:off x="1013695" y="2240659"/>
              <a:ext cx="1532549" cy="370299"/>
            </a:xfrm>
            <a:prstGeom prst="rect">
              <a:avLst/>
            </a:prstGeom>
            <a:noFill/>
            <a:ln w="6350">
              <a:noFill/>
              <a:prstDash val="dash"/>
            </a:ln>
          </p:spPr>
          <p:txBody>
            <a:bodyPr wrap="square" lIns="0" tIns="0" rIns="0" bIns="0" rtlCol="0">
              <a:spAutoFit/>
            </a:bodyPr>
            <a:lstStyle/>
            <a:p>
              <a:pPr algn="ctr" defTabSz="1828709">
                <a:defRPr/>
              </a:pPr>
              <a:r>
                <a:rPr lang="en-US" sz="2000" kern="0" dirty="0"/>
                <a:t>Lorem </a:t>
              </a:r>
              <a:r>
                <a:rPr lang="en-US" sz="2000" kern="0" dirty="0" err="1"/>
                <a:t>Ipsum</a:t>
              </a:r>
              <a:r>
                <a:rPr lang="en-US" sz="2000" kern="0" dirty="0"/>
                <a:t> is simply dummy text of the printing and typesetting industry.</a:t>
              </a:r>
            </a:p>
          </p:txBody>
        </p:sp>
      </p:grpSp>
      <p:grpSp>
        <p:nvGrpSpPr>
          <p:cNvPr id="267" name="Group 266"/>
          <p:cNvGrpSpPr/>
          <p:nvPr/>
        </p:nvGrpSpPr>
        <p:grpSpPr>
          <a:xfrm>
            <a:off x="10280525" y="3420525"/>
            <a:ext cx="3821363" cy="2135537"/>
            <a:chOff x="1013695" y="2240659"/>
            <a:chExt cx="1532549" cy="856452"/>
          </a:xfrm>
        </p:grpSpPr>
        <p:grpSp>
          <p:nvGrpSpPr>
            <p:cNvPr id="268" name="Group 267"/>
            <p:cNvGrpSpPr/>
            <p:nvPr/>
          </p:nvGrpSpPr>
          <p:grpSpPr>
            <a:xfrm>
              <a:off x="1553008" y="2757488"/>
              <a:ext cx="453923" cy="339623"/>
              <a:chOff x="1553007" y="2757488"/>
              <a:chExt cx="453923" cy="339623"/>
            </a:xfrm>
          </p:grpSpPr>
          <p:cxnSp>
            <p:nvCxnSpPr>
              <p:cNvPr id="270" name="Straight Connector 269"/>
              <p:cNvCxnSpPr/>
              <p:nvPr/>
            </p:nvCxnSpPr>
            <p:spPr>
              <a:xfrm>
                <a:off x="1779969" y="2757488"/>
                <a:ext cx="0" cy="339623"/>
              </a:xfrm>
              <a:prstGeom prst="line">
                <a:avLst/>
              </a:prstGeom>
              <a:noFill/>
              <a:ln w="12700" cap="flat" cmpd="sng" algn="ctr">
                <a:solidFill>
                  <a:sysClr val="windowText" lastClr="000000">
                    <a:lumMod val="65000"/>
                    <a:lumOff val="35000"/>
                  </a:sysClr>
                </a:solidFill>
                <a:prstDash val="solid"/>
                <a:miter lim="800000"/>
              </a:ln>
              <a:effectLst/>
            </p:spPr>
          </p:cxnSp>
          <p:cxnSp>
            <p:nvCxnSpPr>
              <p:cNvPr id="271" name="Straight Connector 270"/>
              <p:cNvCxnSpPr/>
              <p:nvPr/>
            </p:nvCxnSpPr>
            <p:spPr>
              <a:xfrm rot="16200000">
                <a:off x="1779969" y="2530526"/>
                <a:ext cx="0" cy="453923"/>
              </a:xfrm>
              <a:prstGeom prst="line">
                <a:avLst/>
              </a:prstGeom>
              <a:noFill/>
              <a:ln w="12700" cap="flat" cmpd="sng" algn="ctr">
                <a:solidFill>
                  <a:sysClr val="windowText" lastClr="000000">
                    <a:lumMod val="65000"/>
                    <a:lumOff val="35000"/>
                  </a:sysClr>
                </a:solidFill>
                <a:prstDash val="solid"/>
                <a:miter lim="800000"/>
              </a:ln>
              <a:effectLst/>
            </p:spPr>
          </p:cxnSp>
        </p:grpSp>
        <p:sp>
          <p:nvSpPr>
            <p:cNvPr id="269" name="TextBox 268"/>
            <p:cNvSpPr txBox="1"/>
            <p:nvPr/>
          </p:nvSpPr>
          <p:spPr>
            <a:xfrm>
              <a:off x="1013695" y="2240659"/>
              <a:ext cx="1532549" cy="370299"/>
            </a:xfrm>
            <a:prstGeom prst="rect">
              <a:avLst/>
            </a:prstGeom>
            <a:noFill/>
            <a:ln w="6350">
              <a:noFill/>
              <a:prstDash val="dash"/>
            </a:ln>
          </p:spPr>
          <p:txBody>
            <a:bodyPr wrap="square" lIns="0" tIns="0" rIns="0" bIns="0" rtlCol="0">
              <a:spAutoFit/>
            </a:bodyPr>
            <a:lstStyle/>
            <a:p>
              <a:pPr algn="ctr" defTabSz="1828709">
                <a:defRPr/>
              </a:pPr>
              <a:r>
                <a:rPr lang="en-US" sz="2000" kern="0" dirty="0"/>
                <a:t>Lorem </a:t>
              </a:r>
              <a:r>
                <a:rPr lang="en-US" sz="2000" kern="0" dirty="0" err="1"/>
                <a:t>Ipsum</a:t>
              </a:r>
              <a:r>
                <a:rPr lang="en-US" sz="2000" kern="0" dirty="0"/>
                <a:t> is simply dummy text of the printing and typesetting industry.</a:t>
              </a:r>
            </a:p>
          </p:txBody>
        </p:sp>
      </p:grpSp>
      <p:grpSp>
        <p:nvGrpSpPr>
          <p:cNvPr id="272" name="Group 271"/>
          <p:cNvGrpSpPr/>
          <p:nvPr/>
        </p:nvGrpSpPr>
        <p:grpSpPr>
          <a:xfrm>
            <a:off x="17242367" y="3420525"/>
            <a:ext cx="3821363" cy="2135537"/>
            <a:chOff x="1013695" y="2240659"/>
            <a:chExt cx="1532549" cy="856452"/>
          </a:xfrm>
        </p:grpSpPr>
        <p:grpSp>
          <p:nvGrpSpPr>
            <p:cNvPr id="273" name="Group 272"/>
            <p:cNvGrpSpPr/>
            <p:nvPr/>
          </p:nvGrpSpPr>
          <p:grpSpPr>
            <a:xfrm>
              <a:off x="1553008" y="2757488"/>
              <a:ext cx="453923" cy="339623"/>
              <a:chOff x="1553007" y="2757488"/>
              <a:chExt cx="453923" cy="339623"/>
            </a:xfrm>
          </p:grpSpPr>
          <p:cxnSp>
            <p:nvCxnSpPr>
              <p:cNvPr id="275" name="Straight Connector 274"/>
              <p:cNvCxnSpPr/>
              <p:nvPr/>
            </p:nvCxnSpPr>
            <p:spPr>
              <a:xfrm>
                <a:off x="1779969" y="2757488"/>
                <a:ext cx="0" cy="339623"/>
              </a:xfrm>
              <a:prstGeom prst="line">
                <a:avLst/>
              </a:prstGeom>
              <a:noFill/>
              <a:ln w="12700" cap="flat" cmpd="sng" algn="ctr">
                <a:solidFill>
                  <a:sysClr val="windowText" lastClr="000000">
                    <a:lumMod val="65000"/>
                    <a:lumOff val="35000"/>
                  </a:sysClr>
                </a:solidFill>
                <a:prstDash val="solid"/>
                <a:miter lim="800000"/>
              </a:ln>
              <a:effectLst/>
            </p:spPr>
          </p:cxnSp>
          <p:cxnSp>
            <p:nvCxnSpPr>
              <p:cNvPr id="276" name="Straight Connector 275"/>
              <p:cNvCxnSpPr/>
              <p:nvPr/>
            </p:nvCxnSpPr>
            <p:spPr>
              <a:xfrm rot="16200000">
                <a:off x="1779969" y="2530526"/>
                <a:ext cx="0" cy="453923"/>
              </a:xfrm>
              <a:prstGeom prst="line">
                <a:avLst/>
              </a:prstGeom>
              <a:noFill/>
              <a:ln w="12700" cap="flat" cmpd="sng" algn="ctr">
                <a:solidFill>
                  <a:sysClr val="windowText" lastClr="000000">
                    <a:lumMod val="65000"/>
                    <a:lumOff val="35000"/>
                  </a:sysClr>
                </a:solidFill>
                <a:prstDash val="solid"/>
                <a:miter lim="800000"/>
              </a:ln>
              <a:effectLst/>
            </p:spPr>
          </p:cxnSp>
        </p:grpSp>
        <p:sp>
          <p:nvSpPr>
            <p:cNvPr id="274" name="TextBox 273"/>
            <p:cNvSpPr txBox="1"/>
            <p:nvPr/>
          </p:nvSpPr>
          <p:spPr>
            <a:xfrm>
              <a:off x="1013695" y="2240659"/>
              <a:ext cx="1532549" cy="370299"/>
            </a:xfrm>
            <a:prstGeom prst="rect">
              <a:avLst/>
            </a:prstGeom>
            <a:noFill/>
            <a:ln w="6350">
              <a:noFill/>
              <a:prstDash val="dash"/>
            </a:ln>
          </p:spPr>
          <p:txBody>
            <a:bodyPr wrap="square" lIns="0" tIns="0" rIns="0" bIns="0" rtlCol="0">
              <a:spAutoFit/>
            </a:bodyPr>
            <a:lstStyle/>
            <a:p>
              <a:pPr algn="ctr" defTabSz="1828709">
                <a:defRPr/>
              </a:pPr>
              <a:r>
                <a:rPr lang="en-US" sz="2000" kern="0" dirty="0"/>
                <a:t>Lorem </a:t>
              </a:r>
              <a:r>
                <a:rPr lang="en-US" sz="2000" kern="0" dirty="0" err="1"/>
                <a:t>Ipsum</a:t>
              </a:r>
              <a:r>
                <a:rPr lang="en-US" sz="2000" kern="0" dirty="0"/>
                <a:t> is simply dummy text of the printing and typesetting industry.</a:t>
              </a:r>
            </a:p>
          </p:txBody>
        </p:sp>
      </p:grpSp>
      <p:grpSp>
        <p:nvGrpSpPr>
          <p:cNvPr id="277" name="Group 276"/>
          <p:cNvGrpSpPr/>
          <p:nvPr/>
        </p:nvGrpSpPr>
        <p:grpSpPr>
          <a:xfrm flipV="1">
            <a:off x="6798253" y="10515318"/>
            <a:ext cx="3821363" cy="1907715"/>
            <a:chOff x="1013695" y="2332026"/>
            <a:chExt cx="1532549" cy="765085"/>
          </a:xfrm>
        </p:grpSpPr>
        <p:grpSp>
          <p:nvGrpSpPr>
            <p:cNvPr id="278" name="Group 277"/>
            <p:cNvGrpSpPr/>
            <p:nvPr/>
          </p:nvGrpSpPr>
          <p:grpSpPr>
            <a:xfrm>
              <a:off x="1553008" y="2757488"/>
              <a:ext cx="453923" cy="339623"/>
              <a:chOff x="1553007" y="2757488"/>
              <a:chExt cx="453923" cy="339623"/>
            </a:xfrm>
          </p:grpSpPr>
          <p:cxnSp>
            <p:nvCxnSpPr>
              <p:cNvPr id="280" name="Straight Connector 279"/>
              <p:cNvCxnSpPr/>
              <p:nvPr/>
            </p:nvCxnSpPr>
            <p:spPr>
              <a:xfrm>
                <a:off x="1779969" y="2757488"/>
                <a:ext cx="0" cy="339623"/>
              </a:xfrm>
              <a:prstGeom prst="line">
                <a:avLst/>
              </a:prstGeom>
              <a:noFill/>
              <a:ln w="12700" cap="flat" cmpd="sng" algn="ctr">
                <a:solidFill>
                  <a:sysClr val="windowText" lastClr="000000">
                    <a:lumMod val="65000"/>
                    <a:lumOff val="35000"/>
                  </a:sysClr>
                </a:solidFill>
                <a:prstDash val="solid"/>
                <a:miter lim="800000"/>
              </a:ln>
              <a:effectLst/>
            </p:spPr>
          </p:cxnSp>
          <p:cxnSp>
            <p:nvCxnSpPr>
              <p:cNvPr id="281" name="Straight Connector 280"/>
              <p:cNvCxnSpPr/>
              <p:nvPr/>
            </p:nvCxnSpPr>
            <p:spPr>
              <a:xfrm rot="16200000">
                <a:off x="1779969" y="2530526"/>
                <a:ext cx="0" cy="453923"/>
              </a:xfrm>
              <a:prstGeom prst="line">
                <a:avLst/>
              </a:prstGeom>
              <a:noFill/>
              <a:ln w="12700" cap="flat" cmpd="sng" algn="ctr">
                <a:solidFill>
                  <a:sysClr val="windowText" lastClr="000000">
                    <a:lumMod val="65000"/>
                    <a:lumOff val="35000"/>
                  </a:sysClr>
                </a:solidFill>
                <a:prstDash val="solid"/>
                <a:miter lim="800000"/>
              </a:ln>
              <a:effectLst/>
            </p:spPr>
          </p:cxnSp>
        </p:grpSp>
        <p:sp>
          <p:nvSpPr>
            <p:cNvPr id="279" name="TextBox 278"/>
            <p:cNvSpPr txBox="1"/>
            <p:nvPr/>
          </p:nvSpPr>
          <p:spPr>
            <a:xfrm flipV="1">
              <a:off x="1013695" y="2332026"/>
              <a:ext cx="1532549" cy="370299"/>
            </a:xfrm>
            <a:prstGeom prst="rect">
              <a:avLst/>
            </a:prstGeom>
            <a:noFill/>
            <a:ln w="6350">
              <a:noFill/>
              <a:prstDash val="dash"/>
            </a:ln>
          </p:spPr>
          <p:txBody>
            <a:bodyPr wrap="square" lIns="0" tIns="0" rIns="0" bIns="0" rtlCol="0">
              <a:spAutoFit/>
            </a:bodyPr>
            <a:lstStyle/>
            <a:p>
              <a:pPr algn="ctr" defTabSz="1828709">
                <a:defRPr/>
              </a:pPr>
              <a:r>
                <a:rPr lang="en-US" sz="2000" kern="0" dirty="0"/>
                <a:t>Lorem </a:t>
              </a:r>
              <a:r>
                <a:rPr lang="en-US" sz="2000" kern="0" dirty="0" err="1"/>
                <a:t>Ipsum</a:t>
              </a:r>
              <a:r>
                <a:rPr lang="en-US" sz="2000" kern="0" dirty="0"/>
                <a:t> is simply dummy text of the printing and typesetting industry.</a:t>
              </a:r>
            </a:p>
          </p:txBody>
        </p:sp>
      </p:grpSp>
      <p:grpSp>
        <p:nvGrpSpPr>
          <p:cNvPr id="282" name="Group 281"/>
          <p:cNvGrpSpPr/>
          <p:nvPr/>
        </p:nvGrpSpPr>
        <p:grpSpPr>
          <a:xfrm flipV="1">
            <a:off x="13760096" y="10515318"/>
            <a:ext cx="3821363" cy="1907715"/>
            <a:chOff x="1013695" y="2332026"/>
            <a:chExt cx="1532549" cy="765085"/>
          </a:xfrm>
        </p:grpSpPr>
        <p:grpSp>
          <p:nvGrpSpPr>
            <p:cNvPr id="283" name="Group 282"/>
            <p:cNvGrpSpPr/>
            <p:nvPr/>
          </p:nvGrpSpPr>
          <p:grpSpPr>
            <a:xfrm>
              <a:off x="1553008" y="2757488"/>
              <a:ext cx="453923" cy="339623"/>
              <a:chOff x="1553007" y="2757488"/>
              <a:chExt cx="453923" cy="339623"/>
            </a:xfrm>
          </p:grpSpPr>
          <p:cxnSp>
            <p:nvCxnSpPr>
              <p:cNvPr id="285" name="Straight Connector 284"/>
              <p:cNvCxnSpPr/>
              <p:nvPr/>
            </p:nvCxnSpPr>
            <p:spPr>
              <a:xfrm>
                <a:off x="1779969" y="2757488"/>
                <a:ext cx="0" cy="339623"/>
              </a:xfrm>
              <a:prstGeom prst="line">
                <a:avLst/>
              </a:prstGeom>
              <a:noFill/>
              <a:ln w="12700" cap="flat" cmpd="sng" algn="ctr">
                <a:solidFill>
                  <a:sysClr val="windowText" lastClr="000000">
                    <a:lumMod val="65000"/>
                    <a:lumOff val="35000"/>
                  </a:sysClr>
                </a:solidFill>
                <a:prstDash val="solid"/>
                <a:miter lim="800000"/>
              </a:ln>
              <a:effectLst/>
            </p:spPr>
          </p:cxnSp>
          <p:cxnSp>
            <p:nvCxnSpPr>
              <p:cNvPr id="286" name="Straight Connector 285"/>
              <p:cNvCxnSpPr/>
              <p:nvPr/>
            </p:nvCxnSpPr>
            <p:spPr>
              <a:xfrm rot="16200000">
                <a:off x="1779969" y="2530526"/>
                <a:ext cx="0" cy="453923"/>
              </a:xfrm>
              <a:prstGeom prst="line">
                <a:avLst/>
              </a:prstGeom>
              <a:noFill/>
              <a:ln w="12700" cap="flat" cmpd="sng" algn="ctr">
                <a:solidFill>
                  <a:sysClr val="windowText" lastClr="000000">
                    <a:lumMod val="65000"/>
                    <a:lumOff val="35000"/>
                  </a:sysClr>
                </a:solidFill>
                <a:prstDash val="solid"/>
                <a:miter lim="800000"/>
              </a:ln>
              <a:effectLst/>
            </p:spPr>
          </p:cxnSp>
        </p:grpSp>
        <p:sp>
          <p:nvSpPr>
            <p:cNvPr id="284" name="TextBox 283"/>
            <p:cNvSpPr txBox="1"/>
            <p:nvPr/>
          </p:nvSpPr>
          <p:spPr>
            <a:xfrm flipV="1">
              <a:off x="1013695" y="2332026"/>
              <a:ext cx="1532549" cy="370299"/>
            </a:xfrm>
            <a:prstGeom prst="rect">
              <a:avLst/>
            </a:prstGeom>
            <a:noFill/>
            <a:ln w="6350">
              <a:noFill/>
              <a:prstDash val="dash"/>
            </a:ln>
          </p:spPr>
          <p:txBody>
            <a:bodyPr wrap="square" lIns="0" tIns="0" rIns="0" bIns="0" rtlCol="0">
              <a:spAutoFit/>
            </a:bodyPr>
            <a:lstStyle/>
            <a:p>
              <a:pPr algn="ctr" defTabSz="1828709">
                <a:defRPr/>
              </a:pPr>
              <a:r>
                <a:rPr lang="en-US" sz="2000" kern="0" dirty="0"/>
                <a:t>Lorem </a:t>
              </a:r>
              <a:r>
                <a:rPr lang="en-US" sz="2000" kern="0" dirty="0" err="1"/>
                <a:t>Ipsum</a:t>
              </a:r>
              <a:r>
                <a:rPr lang="en-US" sz="2000" kern="0" dirty="0"/>
                <a:t> is simply dummy text of the printing and typesetting industry.</a:t>
              </a:r>
            </a:p>
          </p:txBody>
        </p:sp>
      </p:grpSp>
      <p:sp>
        <p:nvSpPr>
          <p:cNvPr id="3" name="Title 2">
            <a:extLst>
              <a:ext uri="{FF2B5EF4-FFF2-40B4-BE49-F238E27FC236}">
                <a16:creationId xmlns:a16="http://schemas.microsoft.com/office/drawing/2014/main" id="{1B376420-2AF8-2E4E-9284-CDF2C329977F}"/>
              </a:ext>
            </a:extLst>
          </p:cNvPr>
          <p:cNvSpPr>
            <a:spLocks noGrp="1"/>
          </p:cNvSpPr>
          <p:nvPr>
            <p:ph type="title"/>
          </p:nvPr>
        </p:nvSpPr>
        <p:spPr/>
        <p:txBody>
          <a:bodyPr/>
          <a:lstStyle/>
          <a:p>
            <a:r>
              <a:rPr lang="en-US" dirty="0"/>
              <a:t>Process</a:t>
            </a:r>
          </a:p>
        </p:txBody>
      </p:sp>
    </p:spTree>
    <p:extLst>
      <p:ext uri="{BB962C8B-B14F-4D97-AF65-F5344CB8AC3E}">
        <p14:creationId xmlns:p14="http://schemas.microsoft.com/office/powerpoint/2010/main" val="97670346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A1992EE-DA1B-3D44-AF6C-7D47F336F21B}"/>
              </a:ext>
            </a:extLst>
          </p:cNvPr>
          <p:cNvGrpSpPr/>
          <p:nvPr/>
        </p:nvGrpSpPr>
        <p:grpSpPr>
          <a:xfrm>
            <a:off x="2933269" y="2860675"/>
            <a:ext cx="6545359" cy="9467750"/>
            <a:chOff x="2933269" y="2443422"/>
            <a:chExt cx="7154591" cy="10348995"/>
          </a:xfrm>
        </p:grpSpPr>
        <p:sp>
          <p:nvSpPr>
            <p:cNvPr id="56" name="Freeform 55"/>
            <p:cNvSpPr>
              <a:spLocks/>
            </p:cNvSpPr>
            <p:nvPr/>
          </p:nvSpPr>
          <p:spPr bwMode="auto">
            <a:xfrm>
              <a:off x="5781148" y="5454959"/>
              <a:ext cx="2666890" cy="2564401"/>
            </a:xfrm>
            <a:custGeom>
              <a:avLst/>
              <a:gdLst>
                <a:gd name="T0" fmla="*/ 0 w 517"/>
                <a:gd name="T1" fmla="*/ 126 h 497"/>
                <a:gd name="T2" fmla="*/ 409 w 517"/>
                <a:gd name="T3" fmla="*/ 0 h 497"/>
                <a:gd name="T4" fmla="*/ 517 w 517"/>
                <a:gd name="T5" fmla="*/ 307 h 497"/>
                <a:gd name="T6" fmla="*/ 157 w 517"/>
                <a:gd name="T7" fmla="*/ 497 h 497"/>
                <a:gd name="T8" fmla="*/ 0 w 517"/>
                <a:gd name="T9" fmla="*/ 126 h 497"/>
              </a:gdLst>
              <a:ahLst/>
              <a:cxnLst>
                <a:cxn ang="0">
                  <a:pos x="T0" y="T1"/>
                </a:cxn>
                <a:cxn ang="0">
                  <a:pos x="T2" y="T3"/>
                </a:cxn>
                <a:cxn ang="0">
                  <a:pos x="T4" y="T5"/>
                </a:cxn>
                <a:cxn ang="0">
                  <a:pos x="T6" y="T7"/>
                </a:cxn>
                <a:cxn ang="0">
                  <a:pos x="T8" y="T9"/>
                </a:cxn>
              </a:cxnLst>
              <a:rect l="0" t="0" r="r" b="b"/>
              <a:pathLst>
                <a:path w="517" h="497">
                  <a:moveTo>
                    <a:pt x="0" y="126"/>
                  </a:moveTo>
                  <a:cubicBezTo>
                    <a:pt x="0" y="126"/>
                    <a:pt x="276" y="278"/>
                    <a:pt x="409" y="0"/>
                  </a:cubicBezTo>
                  <a:cubicBezTo>
                    <a:pt x="517" y="307"/>
                    <a:pt x="517" y="307"/>
                    <a:pt x="517" y="307"/>
                  </a:cubicBezTo>
                  <a:cubicBezTo>
                    <a:pt x="517" y="307"/>
                    <a:pt x="283" y="210"/>
                    <a:pt x="157" y="497"/>
                  </a:cubicBezTo>
                  <a:lnTo>
                    <a:pt x="0" y="126"/>
                  </a:lnTo>
                  <a:close/>
                </a:path>
              </a:pathLst>
            </a:custGeom>
            <a:solidFill>
              <a:schemeClr val="accent6"/>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57" name="Oval 56"/>
            <p:cNvSpPr>
              <a:spLocks noChangeArrowheads="1"/>
            </p:cNvSpPr>
            <p:nvPr/>
          </p:nvSpPr>
          <p:spPr bwMode="auto">
            <a:xfrm>
              <a:off x="7761145" y="4826943"/>
              <a:ext cx="2326715" cy="2326715"/>
            </a:xfrm>
            <a:prstGeom prst="ellipse">
              <a:avLst/>
            </a:prstGeom>
            <a:solidFill>
              <a:schemeClr val="accent6"/>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58" name="Oval 7"/>
            <p:cNvSpPr>
              <a:spLocks noChangeArrowheads="1"/>
            </p:cNvSpPr>
            <p:nvPr/>
          </p:nvSpPr>
          <p:spPr bwMode="auto">
            <a:xfrm flipH="1">
              <a:off x="7761145" y="4826943"/>
              <a:ext cx="2326715" cy="2326715"/>
            </a:xfrm>
            <a:prstGeom prst="pie">
              <a:avLst>
                <a:gd name="adj1" fmla="val 4791205"/>
                <a:gd name="adj2" fmla="val 16200000"/>
              </a:avLst>
            </a:prstGeom>
            <a:solidFill>
              <a:schemeClr val="accent1">
                <a:alpha val="60000"/>
              </a:schemeClr>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59" name="Oval 58"/>
            <p:cNvSpPr>
              <a:spLocks noChangeArrowheads="1"/>
            </p:cNvSpPr>
            <p:nvPr/>
          </p:nvSpPr>
          <p:spPr bwMode="auto">
            <a:xfrm>
              <a:off x="8062069" y="5130050"/>
              <a:ext cx="1722684" cy="1718322"/>
            </a:xfrm>
            <a:prstGeom prst="ellipse">
              <a:avLst/>
            </a:prstGeom>
            <a:solidFill>
              <a:schemeClr val="bg1"/>
            </a:solidFill>
            <a:ln w="14288" cap="flat">
              <a:noFill/>
              <a:prstDash val="solid"/>
              <a:miter lim="800000"/>
              <a:headEnd/>
              <a:tailEnd/>
            </a:ln>
            <a:effectLst>
              <a:outerShdw blurRad="50800" dist="38100" dir="5400000" algn="t" rotWithShape="0">
                <a:prstClr val="black">
                  <a:alpha val="3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60" name="Oval 59"/>
            <p:cNvSpPr>
              <a:spLocks noChangeArrowheads="1"/>
            </p:cNvSpPr>
            <p:nvPr/>
          </p:nvSpPr>
          <p:spPr bwMode="auto">
            <a:xfrm>
              <a:off x="8256145" y="5321942"/>
              <a:ext cx="1332355" cy="1336717"/>
            </a:xfrm>
            <a:prstGeom prst="ellipse">
              <a:avLst/>
            </a:prstGeom>
            <a:solidFill>
              <a:schemeClr val="accent1"/>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61" name="Freeform 60"/>
            <p:cNvSpPr>
              <a:spLocks/>
            </p:cNvSpPr>
            <p:nvPr/>
          </p:nvSpPr>
          <p:spPr bwMode="auto">
            <a:xfrm>
              <a:off x="5733174" y="7301938"/>
              <a:ext cx="2703960" cy="2584026"/>
            </a:xfrm>
            <a:custGeom>
              <a:avLst/>
              <a:gdLst>
                <a:gd name="T0" fmla="*/ 0 w 524"/>
                <a:gd name="T1" fmla="*/ 375 h 501"/>
                <a:gd name="T2" fmla="*/ 412 w 524"/>
                <a:gd name="T3" fmla="*/ 501 h 501"/>
                <a:gd name="T4" fmla="*/ 524 w 524"/>
                <a:gd name="T5" fmla="*/ 194 h 501"/>
                <a:gd name="T6" fmla="*/ 169 w 524"/>
                <a:gd name="T7" fmla="*/ 0 h 501"/>
                <a:gd name="T8" fmla="*/ 0 w 524"/>
                <a:gd name="T9" fmla="*/ 375 h 501"/>
              </a:gdLst>
              <a:ahLst/>
              <a:cxnLst>
                <a:cxn ang="0">
                  <a:pos x="T0" y="T1"/>
                </a:cxn>
                <a:cxn ang="0">
                  <a:pos x="T2" y="T3"/>
                </a:cxn>
                <a:cxn ang="0">
                  <a:pos x="T4" y="T5"/>
                </a:cxn>
                <a:cxn ang="0">
                  <a:pos x="T6" y="T7"/>
                </a:cxn>
                <a:cxn ang="0">
                  <a:pos x="T8" y="T9"/>
                </a:cxn>
              </a:cxnLst>
              <a:rect l="0" t="0" r="r" b="b"/>
              <a:pathLst>
                <a:path w="524" h="501">
                  <a:moveTo>
                    <a:pt x="0" y="375"/>
                  </a:moveTo>
                  <a:cubicBezTo>
                    <a:pt x="0" y="375"/>
                    <a:pt x="279" y="223"/>
                    <a:pt x="412" y="501"/>
                  </a:cubicBezTo>
                  <a:cubicBezTo>
                    <a:pt x="524" y="194"/>
                    <a:pt x="524" y="194"/>
                    <a:pt x="524" y="194"/>
                  </a:cubicBezTo>
                  <a:cubicBezTo>
                    <a:pt x="524" y="194"/>
                    <a:pt x="285" y="302"/>
                    <a:pt x="169" y="0"/>
                  </a:cubicBezTo>
                  <a:lnTo>
                    <a:pt x="0" y="375"/>
                  </a:lnTo>
                  <a:close/>
                </a:path>
              </a:pathLst>
            </a:custGeom>
            <a:solidFill>
              <a:schemeClr val="accent6"/>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62" name="Oval 61"/>
            <p:cNvSpPr>
              <a:spLocks noChangeArrowheads="1"/>
            </p:cNvSpPr>
            <p:nvPr/>
          </p:nvSpPr>
          <p:spPr bwMode="auto">
            <a:xfrm>
              <a:off x="7741520" y="8204713"/>
              <a:ext cx="2326715" cy="2326715"/>
            </a:xfrm>
            <a:prstGeom prst="ellipse">
              <a:avLst/>
            </a:prstGeom>
            <a:solidFill>
              <a:schemeClr val="accent6"/>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63" name="Oval 7"/>
            <p:cNvSpPr>
              <a:spLocks noChangeArrowheads="1"/>
            </p:cNvSpPr>
            <p:nvPr/>
          </p:nvSpPr>
          <p:spPr bwMode="auto">
            <a:xfrm flipH="1">
              <a:off x="7741520" y="8204713"/>
              <a:ext cx="2326715" cy="2326715"/>
            </a:xfrm>
            <a:prstGeom prst="pie">
              <a:avLst>
                <a:gd name="adj1" fmla="val 2531604"/>
                <a:gd name="adj2" fmla="val 16200000"/>
              </a:avLst>
            </a:prstGeom>
            <a:solidFill>
              <a:schemeClr val="accent2">
                <a:alpha val="60000"/>
              </a:schemeClr>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64" name="Oval 63"/>
            <p:cNvSpPr>
              <a:spLocks noChangeArrowheads="1"/>
            </p:cNvSpPr>
            <p:nvPr/>
          </p:nvSpPr>
          <p:spPr bwMode="auto">
            <a:xfrm>
              <a:off x="8040262" y="8509998"/>
              <a:ext cx="1722684" cy="1722684"/>
            </a:xfrm>
            <a:prstGeom prst="ellipse">
              <a:avLst/>
            </a:prstGeom>
            <a:solidFill>
              <a:schemeClr val="bg1"/>
            </a:solidFill>
            <a:ln w="14288" cap="flat">
              <a:noFill/>
              <a:prstDash val="solid"/>
              <a:miter lim="800000"/>
              <a:headEnd/>
              <a:tailEnd/>
            </a:ln>
            <a:effectLst>
              <a:outerShdw blurRad="50800" dist="38100" dir="5400000" algn="t" rotWithShape="0">
                <a:prstClr val="black">
                  <a:alpha val="3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65" name="Oval 64"/>
            <p:cNvSpPr>
              <a:spLocks noChangeArrowheads="1"/>
            </p:cNvSpPr>
            <p:nvPr/>
          </p:nvSpPr>
          <p:spPr bwMode="auto">
            <a:xfrm>
              <a:off x="8236518" y="8706254"/>
              <a:ext cx="1330173" cy="1330173"/>
            </a:xfrm>
            <a:prstGeom prst="ellipse">
              <a:avLst/>
            </a:prstGeom>
            <a:solidFill>
              <a:schemeClr val="accent2"/>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66" name="Freeform 65"/>
            <p:cNvSpPr>
              <a:spLocks/>
            </p:cNvSpPr>
            <p:nvPr/>
          </p:nvSpPr>
          <p:spPr bwMode="auto">
            <a:xfrm rot="19012925">
              <a:off x="4493945" y="4121774"/>
              <a:ext cx="2666890" cy="2564401"/>
            </a:xfrm>
            <a:custGeom>
              <a:avLst/>
              <a:gdLst>
                <a:gd name="T0" fmla="*/ 0 w 517"/>
                <a:gd name="T1" fmla="*/ 126 h 497"/>
                <a:gd name="T2" fmla="*/ 409 w 517"/>
                <a:gd name="T3" fmla="*/ 0 h 497"/>
                <a:gd name="T4" fmla="*/ 517 w 517"/>
                <a:gd name="T5" fmla="*/ 307 h 497"/>
                <a:gd name="T6" fmla="*/ 157 w 517"/>
                <a:gd name="T7" fmla="*/ 497 h 497"/>
                <a:gd name="T8" fmla="*/ 0 w 517"/>
                <a:gd name="T9" fmla="*/ 126 h 497"/>
              </a:gdLst>
              <a:ahLst/>
              <a:cxnLst>
                <a:cxn ang="0">
                  <a:pos x="T0" y="T1"/>
                </a:cxn>
                <a:cxn ang="0">
                  <a:pos x="T2" y="T3"/>
                </a:cxn>
                <a:cxn ang="0">
                  <a:pos x="T4" y="T5"/>
                </a:cxn>
                <a:cxn ang="0">
                  <a:pos x="T6" y="T7"/>
                </a:cxn>
                <a:cxn ang="0">
                  <a:pos x="T8" y="T9"/>
                </a:cxn>
              </a:cxnLst>
              <a:rect l="0" t="0" r="r" b="b"/>
              <a:pathLst>
                <a:path w="517" h="497">
                  <a:moveTo>
                    <a:pt x="0" y="126"/>
                  </a:moveTo>
                  <a:cubicBezTo>
                    <a:pt x="0" y="126"/>
                    <a:pt x="276" y="278"/>
                    <a:pt x="409" y="0"/>
                  </a:cubicBezTo>
                  <a:cubicBezTo>
                    <a:pt x="517" y="307"/>
                    <a:pt x="517" y="307"/>
                    <a:pt x="517" y="307"/>
                  </a:cubicBezTo>
                  <a:cubicBezTo>
                    <a:pt x="517" y="307"/>
                    <a:pt x="283" y="210"/>
                    <a:pt x="157" y="497"/>
                  </a:cubicBezTo>
                  <a:lnTo>
                    <a:pt x="0" y="126"/>
                  </a:lnTo>
                  <a:close/>
                </a:path>
              </a:pathLst>
            </a:custGeom>
            <a:solidFill>
              <a:schemeClr val="accent6"/>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67" name="Freeform 66"/>
            <p:cNvSpPr>
              <a:spLocks/>
            </p:cNvSpPr>
            <p:nvPr/>
          </p:nvSpPr>
          <p:spPr bwMode="auto">
            <a:xfrm rot="2674789" flipV="1">
              <a:off x="4241354" y="8564395"/>
              <a:ext cx="2666890" cy="2564401"/>
            </a:xfrm>
            <a:custGeom>
              <a:avLst/>
              <a:gdLst>
                <a:gd name="T0" fmla="*/ 0 w 517"/>
                <a:gd name="T1" fmla="*/ 126 h 497"/>
                <a:gd name="T2" fmla="*/ 409 w 517"/>
                <a:gd name="T3" fmla="*/ 0 h 497"/>
                <a:gd name="T4" fmla="*/ 517 w 517"/>
                <a:gd name="T5" fmla="*/ 307 h 497"/>
                <a:gd name="T6" fmla="*/ 157 w 517"/>
                <a:gd name="T7" fmla="*/ 497 h 497"/>
                <a:gd name="T8" fmla="*/ 0 w 517"/>
                <a:gd name="T9" fmla="*/ 126 h 497"/>
              </a:gdLst>
              <a:ahLst/>
              <a:cxnLst>
                <a:cxn ang="0">
                  <a:pos x="T0" y="T1"/>
                </a:cxn>
                <a:cxn ang="0">
                  <a:pos x="T2" y="T3"/>
                </a:cxn>
                <a:cxn ang="0">
                  <a:pos x="T4" y="T5"/>
                </a:cxn>
                <a:cxn ang="0">
                  <a:pos x="T6" y="T7"/>
                </a:cxn>
                <a:cxn ang="0">
                  <a:pos x="T8" y="T9"/>
                </a:cxn>
              </a:cxnLst>
              <a:rect l="0" t="0" r="r" b="b"/>
              <a:pathLst>
                <a:path w="517" h="497">
                  <a:moveTo>
                    <a:pt x="0" y="126"/>
                  </a:moveTo>
                  <a:cubicBezTo>
                    <a:pt x="0" y="126"/>
                    <a:pt x="276" y="278"/>
                    <a:pt x="409" y="0"/>
                  </a:cubicBezTo>
                  <a:cubicBezTo>
                    <a:pt x="517" y="307"/>
                    <a:pt x="517" y="307"/>
                    <a:pt x="517" y="307"/>
                  </a:cubicBezTo>
                  <a:cubicBezTo>
                    <a:pt x="517" y="307"/>
                    <a:pt x="283" y="210"/>
                    <a:pt x="157" y="497"/>
                  </a:cubicBezTo>
                  <a:lnTo>
                    <a:pt x="0" y="126"/>
                  </a:lnTo>
                  <a:close/>
                </a:path>
              </a:pathLst>
            </a:custGeom>
            <a:solidFill>
              <a:schemeClr val="accent6"/>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68" name="Oval 67"/>
            <p:cNvSpPr>
              <a:spLocks noChangeArrowheads="1"/>
            </p:cNvSpPr>
            <p:nvPr/>
          </p:nvSpPr>
          <p:spPr bwMode="auto">
            <a:xfrm>
              <a:off x="2933269" y="5827843"/>
              <a:ext cx="3687416" cy="3687416"/>
            </a:xfrm>
            <a:prstGeom prst="ellipse">
              <a:avLst/>
            </a:prstGeom>
            <a:solidFill>
              <a:schemeClr val="bg2"/>
            </a:solidFill>
            <a:ln w="14288" cap="flat">
              <a:noFill/>
              <a:prstDash val="solid"/>
              <a:miter lim="800000"/>
              <a:headEnd/>
              <a:tailEnd/>
            </a:ln>
            <a:effectLst>
              <a:outerShdw blurRad="50800" dist="38100" algn="l" rotWithShape="0">
                <a:prstClr val="black">
                  <a:alpha val="4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69" name="Oval 68"/>
            <p:cNvSpPr>
              <a:spLocks noChangeArrowheads="1"/>
            </p:cNvSpPr>
            <p:nvPr/>
          </p:nvSpPr>
          <p:spPr bwMode="auto">
            <a:xfrm>
              <a:off x="3253253" y="6147827"/>
              <a:ext cx="3047452" cy="3047452"/>
            </a:xfrm>
            <a:prstGeom prst="ellipse">
              <a:avLst/>
            </a:prstGeom>
            <a:solidFill>
              <a:schemeClr val="bg1"/>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190" name="TextBox 212"/>
            <p:cNvSpPr txBox="1"/>
            <p:nvPr/>
          </p:nvSpPr>
          <p:spPr>
            <a:xfrm>
              <a:off x="3346974" y="7700996"/>
              <a:ext cx="2888796" cy="73866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dirty="0" err="1"/>
                <a:t>Lorem</a:t>
              </a:r>
              <a:r>
                <a:rPr lang="en-US" sz="2400" dirty="0"/>
                <a:t> </a:t>
              </a:r>
              <a:r>
                <a:rPr lang="en-US" sz="2400" dirty="0" err="1"/>
                <a:t>Ipsum</a:t>
              </a:r>
              <a:r>
                <a:rPr lang="en-US" sz="2400" dirty="0"/>
                <a:t> is simply dummy text</a:t>
              </a:r>
            </a:p>
          </p:txBody>
        </p:sp>
        <p:sp>
          <p:nvSpPr>
            <p:cNvPr id="194" name="TextBox 214"/>
            <p:cNvSpPr txBox="1"/>
            <p:nvPr/>
          </p:nvSpPr>
          <p:spPr>
            <a:xfrm>
              <a:off x="3841801" y="6668184"/>
              <a:ext cx="1867386" cy="73866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dirty="0"/>
                <a:t>LOREM IPSUM</a:t>
              </a:r>
            </a:p>
          </p:txBody>
        </p:sp>
        <p:cxnSp>
          <p:nvCxnSpPr>
            <p:cNvPr id="193" name="Straight Connector 192"/>
            <p:cNvCxnSpPr/>
            <p:nvPr/>
          </p:nvCxnSpPr>
          <p:spPr>
            <a:xfrm>
              <a:off x="4600035" y="7521817"/>
              <a:ext cx="353887"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71" name="Oval 70"/>
            <p:cNvSpPr>
              <a:spLocks noChangeArrowheads="1"/>
            </p:cNvSpPr>
            <p:nvPr/>
          </p:nvSpPr>
          <p:spPr bwMode="auto">
            <a:xfrm>
              <a:off x="5457327" y="2443422"/>
              <a:ext cx="2326715" cy="2326715"/>
            </a:xfrm>
            <a:prstGeom prst="ellipse">
              <a:avLst/>
            </a:prstGeom>
            <a:solidFill>
              <a:schemeClr val="accent6"/>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72" name="Oval 7"/>
            <p:cNvSpPr>
              <a:spLocks noChangeArrowheads="1"/>
            </p:cNvSpPr>
            <p:nvPr/>
          </p:nvSpPr>
          <p:spPr bwMode="auto">
            <a:xfrm flipH="1">
              <a:off x="5457327" y="2443422"/>
              <a:ext cx="2326715" cy="2326715"/>
            </a:xfrm>
            <a:prstGeom prst="pie">
              <a:avLst>
                <a:gd name="adj1" fmla="val 10799997"/>
                <a:gd name="adj2" fmla="val 16200000"/>
              </a:avLst>
            </a:prstGeom>
            <a:solidFill>
              <a:schemeClr val="tx2">
                <a:alpha val="60000"/>
              </a:schemeClr>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dirty="0">
                <a:solidFill>
                  <a:prstClr val="black"/>
                </a:solidFill>
              </a:endParaRPr>
            </a:p>
          </p:txBody>
        </p:sp>
        <p:grpSp>
          <p:nvGrpSpPr>
            <p:cNvPr id="76" name="Group 75"/>
            <p:cNvGrpSpPr/>
            <p:nvPr/>
          </p:nvGrpSpPr>
          <p:grpSpPr>
            <a:xfrm>
              <a:off x="5758251" y="2746529"/>
              <a:ext cx="1722684" cy="1718322"/>
              <a:chOff x="1844383" y="1394308"/>
              <a:chExt cx="861398" cy="859217"/>
            </a:xfrm>
          </p:grpSpPr>
          <p:sp>
            <p:nvSpPr>
              <p:cNvPr id="188" name="Oval 187"/>
              <p:cNvSpPr>
                <a:spLocks noChangeArrowheads="1"/>
              </p:cNvSpPr>
              <p:nvPr/>
            </p:nvSpPr>
            <p:spPr bwMode="auto">
              <a:xfrm>
                <a:off x="1844383" y="1394308"/>
                <a:ext cx="861398" cy="859217"/>
              </a:xfrm>
              <a:prstGeom prst="ellipse">
                <a:avLst/>
              </a:prstGeom>
              <a:solidFill>
                <a:schemeClr val="bg1"/>
              </a:solidFill>
              <a:ln w="14288" cap="flat">
                <a:noFill/>
                <a:prstDash val="solid"/>
                <a:miter lim="800000"/>
                <a:headEnd/>
                <a:tailEnd/>
              </a:ln>
              <a:effectLst>
                <a:outerShdw blurRad="50800" dist="38100" dir="5400000" algn="t" rotWithShape="0">
                  <a:prstClr val="black">
                    <a:alpha val="3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189" name="Oval 188"/>
              <p:cNvSpPr>
                <a:spLocks noChangeArrowheads="1"/>
              </p:cNvSpPr>
              <p:nvPr/>
            </p:nvSpPr>
            <p:spPr bwMode="auto">
              <a:xfrm>
                <a:off x="1941427" y="1490261"/>
                <a:ext cx="666221" cy="668402"/>
              </a:xfrm>
              <a:prstGeom prst="ellipse">
                <a:avLst/>
              </a:prstGeom>
              <a:solidFill>
                <a:schemeClr val="tx2"/>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grpSp>
        <p:sp>
          <p:nvSpPr>
            <p:cNvPr id="80" name="Oval 79"/>
            <p:cNvSpPr>
              <a:spLocks noChangeArrowheads="1"/>
            </p:cNvSpPr>
            <p:nvPr/>
          </p:nvSpPr>
          <p:spPr bwMode="auto">
            <a:xfrm>
              <a:off x="5191231" y="10465702"/>
              <a:ext cx="2326715" cy="2326715"/>
            </a:xfrm>
            <a:prstGeom prst="ellipse">
              <a:avLst/>
            </a:prstGeom>
            <a:solidFill>
              <a:schemeClr val="accent6"/>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82" name="Oval 7"/>
            <p:cNvSpPr>
              <a:spLocks noChangeArrowheads="1"/>
            </p:cNvSpPr>
            <p:nvPr/>
          </p:nvSpPr>
          <p:spPr bwMode="auto">
            <a:xfrm flipH="1">
              <a:off x="5191231" y="10465702"/>
              <a:ext cx="2326715" cy="2326715"/>
            </a:xfrm>
            <a:prstGeom prst="pie">
              <a:avLst>
                <a:gd name="adj1" fmla="val 20470388"/>
                <a:gd name="adj2" fmla="val 16200000"/>
              </a:avLst>
            </a:prstGeom>
            <a:solidFill>
              <a:schemeClr val="accent3">
                <a:alpha val="60000"/>
              </a:schemeClr>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85" name="Oval 84"/>
            <p:cNvSpPr>
              <a:spLocks noChangeArrowheads="1"/>
            </p:cNvSpPr>
            <p:nvPr/>
          </p:nvSpPr>
          <p:spPr bwMode="auto">
            <a:xfrm>
              <a:off x="5492154" y="10768808"/>
              <a:ext cx="1722684" cy="1718322"/>
            </a:xfrm>
            <a:prstGeom prst="ellipse">
              <a:avLst/>
            </a:prstGeom>
            <a:solidFill>
              <a:schemeClr val="bg1"/>
            </a:solidFill>
            <a:ln w="14288" cap="flat">
              <a:noFill/>
              <a:prstDash val="solid"/>
              <a:miter lim="800000"/>
              <a:headEnd/>
              <a:tailEnd/>
            </a:ln>
            <a:effectLst>
              <a:outerShdw blurRad="50800" dist="38100" dir="5400000" algn="t" rotWithShape="0">
                <a:prstClr val="black">
                  <a:alpha val="3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86" name="Oval 85"/>
            <p:cNvSpPr>
              <a:spLocks noChangeArrowheads="1"/>
            </p:cNvSpPr>
            <p:nvPr/>
          </p:nvSpPr>
          <p:spPr bwMode="auto">
            <a:xfrm>
              <a:off x="5686231" y="10960701"/>
              <a:ext cx="1332355" cy="1336717"/>
            </a:xfrm>
            <a:prstGeom prst="ellipse">
              <a:avLst/>
            </a:prstGeom>
            <a:solidFill>
              <a:schemeClr val="accent3"/>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dirty="0">
                <a:solidFill>
                  <a:prstClr val="black"/>
                </a:solidFill>
              </a:endParaRPr>
            </a:p>
          </p:txBody>
        </p:sp>
        <p:sp>
          <p:nvSpPr>
            <p:cNvPr id="87" name="TextBox 336"/>
            <p:cNvSpPr txBox="1"/>
            <p:nvPr/>
          </p:nvSpPr>
          <p:spPr>
            <a:xfrm>
              <a:off x="6069020" y="3360577"/>
              <a:ext cx="1098970" cy="492443"/>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b="1" dirty="0">
                  <a:solidFill>
                    <a:prstClr val="white"/>
                  </a:solidFill>
                </a:rPr>
                <a:t>25%</a:t>
              </a:r>
            </a:p>
          </p:txBody>
        </p:sp>
        <p:sp>
          <p:nvSpPr>
            <p:cNvPr id="88" name="TextBox 337"/>
            <p:cNvSpPr txBox="1"/>
            <p:nvPr/>
          </p:nvSpPr>
          <p:spPr>
            <a:xfrm>
              <a:off x="8372838" y="5744097"/>
              <a:ext cx="1098970" cy="492443"/>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b="1" dirty="0">
                  <a:solidFill>
                    <a:prstClr val="white"/>
                  </a:solidFill>
                </a:rPr>
                <a:t>65%</a:t>
              </a:r>
            </a:p>
          </p:txBody>
        </p:sp>
        <p:sp>
          <p:nvSpPr>
            <p:cNvPr id="89" name="TextBox 338"/>
            <p:cNvSpPr txBox="1"/>
            <p:nvPr/>
          </p:nvSpPr>
          <p:spPr>
            <a:xfrm>
              <a:off x="8352121" y="9125137"/>
              <a:ext cx="1098970" cy="492443"/>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b="1" dirty="0">
                  <a:solidFill>
                    <a:prstClr val="white"/>
                  </a:solidFill>
                </a:rPr>
                <a:t>70%</a:t>
              </a:r>
            </a:p>
          </p:txBody>
        </p:sp>
        <p:sp>
          <p:nvSpPr>
            <p:cNvPr id="90" name="TextBox 339"/>
            <p:cNvSpPr txBox="1"/>
            <p:nvPr/>
          </p:nvSpPr>
          <p:spPr>
            <a:xfrm>
              <a:off x="5802923" y="11382856"/>
              <a:ext cx="1098970" cy="492443"/>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b="1" dirty="0">
                  <a:solidFill>
                    <a:prstClr val="white"/>
                  </a:solidFill>
                </a:rPr>
                <a:t>80%</a:t>
              </a:r>
            </a:p>
          </p:txBody>
        </p:sp>
      </p:grpSp>
      <p:cxnSp>
        <p:nvCxnSpPr>
          <p:cNvPr id="91" name="Straight Connector 90"/>
          <p:cNvCxnSpPr>
            <a:cxnSpLocks/>
          </p:cNvCxnSpPr>
          <p:nvPr/>
        </p:nvCxnSpPr>
        <p:spPr>
          <a:xfrm flipV="1">
            <a:off x="7364651" y="3605688"/>
            <a:ext cx="5029503" cy="14162"/>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a:cxnSpLocks/>
          </p:cNvCxnSpPr>
          <p:nvPr/>
        </p:nvCxnSpPr>
        <p:spPr>
          <a:xfrm>
            <a:off x="9555496" y="5990299"/>
            <a:ext cx="2838657" cy="0"/>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cxnSpLocks/>
          </p:cNvCxnSpPr>
          <p:nvPr/>
        </p:nvCxnSpPr>
        <p:spPr>
          <a:xfrm>
            <a:off x="9535843" y="9368070"/>
            <a:ext cx="2819844" cy="0"/>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cxnSpLocks/>
          </p:cNvCxnSpPr>
          <p:nvPr/>
        </p:nvCxnSpPr>
        <p:spPr>
          <a:xfrm>
            <a:off x="7127549" y="11628511"/>
            <a:ext cx="5266604" cy="0"/>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grpSp>
        <p:nvGrpSpPr>
          <p:cNvPr id="179" name="Group 178"/>
          <p:cNvGrpSpPr/>
          <p:nvPr/>
        </p:nvGrpSpPr>
        <p:grpSpPr>
          <a:xfrm>
            <a:off x="12697581" y="8355897"/>
            <a:ext cx="1176615" cy="1173636"/>
            <a:chOff x="1844383" y="1394308"/>
            <a:chExt cx="861398" cy="859217"/>
          </a:xfrm>
        </p:grpSpPr>
        <p:sp>
          <p:nvSpPr>
            <p:cNvPr id="185" name="Oval 184"/>
            <p:cNvSpPr>
              <a:spLocks noChangeArrowheads="1"/>
            </p:cNvSpPr>
            <p:nvPr/>
          </p:nvSpPr>
          <p:spPr bwMode="auto">
            <a:xfrm>
              <a:off x="1844383" y="1394308"/>
              <a:ext cx="861398" cy="859217"/>
            </a:xfrm>
            <a:prstGeom prst="ellipse">
              <a:avLst/>
            </a:prstGeom>
            <a:solidFill>
              <a:schemeClr val="bg1"/>
            </a:solidFill>
            <a:ln w="14288" cap="flat">
              <a:noFill/>
              <a:prstDash val="solid"/>
              <a:miter lim="800000"/>
              <a:headEnd/>
              <a:tailEnd/>
            </a:ln>
            <a:effectLst>
              <a:outerShdw blurRad="50800" dist="38100" dir="5400000" algn="t" rotWithShape="0">
                <a:prstClr val="black">
                  <a:alpha val="3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187" name="Oval 186"/>
            <p:cNvSpPr>
              <a:spLocks noChangeArrowheads="1"/>
            </p:cNvSpPr>
            <p:nvPr/>
          </p:nvSpPr>
          <p:spPr bwMode="auto">
            <a:xfrm>
              <a:off x="1941427" y="1490261"/>
              <a:ext cx="666221" cy="668402"/>
            </a:xfrm>
            <a:prstGeom prst="ellipse">
              <a:avLst/>
            </a:prstGeom>
            <a:solidFill>
              <a:schemeClr val="accent2"/>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grpSp>
      <p:grpSp>
        <p:nvGrpSpPr>
          <p:cNvPr id="167" name="Group 166"/>
          <p:cNvGrpSpPr/>
          <p:nvPr/>
        </p:nvGrpSpPr>
        <p:grpSpPr>
          <a:xfrm>
            <a:off x="12697581" y="5403482"/>
            <a:ext cx="1176615" cy="1173636"/>
            <a:chOff x="1844383" y="1394308"/>
            <a:chExt cx="861398" cy="859217"/>
          </a:xfrm>
        </p:grpSpPr>
        <p:sp>
          <p:nvSpPr>
            <p:cNvPr id="177" name="Oval 176"/>
            <p:cNvSpPr>
              <a:spLocks noChangeArrowheads="1"/>
            </p:cNvSpPr>
            <p:nvPr/>
          </p:nvSpPr>
          <p:spPr bwMode="auto">
            <a:xfrm>
              <a:off x="1844383" y="1394308"/>
              <a:ext cx="861398" cy="859217"/>
            </a:xfrm>
            <a:prstGeom prst="ellipse">
              <a:avLst/>
            </a:prstGeom>
            <a:solidFill>
              <a:schemeClr val="bg1"/>
            </a:solidFill>
            <a:ln w="14288" cap="flat">
              <a:noFill/>
              <a:prstDash val="solid"/>
              <a:miter lim="800000"/>
              <a:headEnd/>
              <a:tailEnd/>
            </a:ln>
            <a:effectLst>
              <a:outerShdw blurRad="50800" dist="38100" dir="5400000" algn="t" rotWithShape="0">
                <a:prstClr val="black">
                  <a:alpha val="3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178" name="Oval 177"/>
            <p:cNvSpPr>
              <a:spLocks noChangeArrowheads="1"/>
            </p:cNvSpPr>
            <p:nvPr/>
          </p:nvSpPr>
          <p:spPr bwMode="auto">
            <a:xfrm>
              <a:off x="1941427" y="1490261"/>
              <a:ext cx="666221" cy="668402"/>
            </a:xfrm>
            <a:prstGeom prst="ellipse">
              <a:avLst/>
            </a:prstGeom>
            <a:solidFill>
              <a:schemeClr val="accent1"/>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grpSp>
      <p:grpSp>
        <p:nvGrpSpPr>
          <p:cNvPr id="158" name="Group 157"/>
          <p:cNvGrpSpPr/>
          <p:nvPr/>
        </p:nvGrpSpPr>
        <p:grpSpPr>
          <a:xfrm>
            <a:off x="12697581" y="3018870"/>
            <a:ext cx="1176615" cy="1173636"/>
            <a:chOff x="1844383" y="1394308"/>
            <a:chExt cx="861398" cy="859217"/>
          </a:xfrm>
        </p:grpSpPr>
        <p:sp>
          <p:nvSpPr>
            <p:cNvPr id="165" name="Oval 164"/>
            <p:cNvSpPr>
              <a:spLocks noChangeArrowheads="1"/>
            </p:cNvSpPr>
            <p:nvPr/>
          </p:nvSpPr>
          <p:spPr bwMode="auto">
            <a:xfrm>
              <a:off x="1844383" y="1394308"/>
              <a:ext cx="861398" cy="859217"/>
            </a:xfrm>
            <a:prstGeom prst="ellipse">
              <a:avLst/>
            </a:prstGeom>
            <a:solidFill>
              <a:schemeClr val="bg1"/>
            </a:solidFill>
            <a:ln w="14288" cap="flat">
              <a:noFill/>
              <a:prstDash val="solid"/>
              <a:miter lim="800000"/>
              <a:headEnd/>
              <a:tailEnd/>
            </a:ln>
            <a:effectLst>
              <a:outerShdw blurRad="50800" dist="38100" dir="5400000" algn="t" rotWithShape="0">
                <a:prstClr val="black">
                  <a:alpha val="3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166" name="Oval 165"/>
            <p:cNvSpPr>
              <a:spLocks noChangeArrowheads="1"/>
            </p:cNvSpPr>
            <p:nvPr/>
          </p:nvSpPr>
          <p:spPr bwMode="auto">
            <a:xfrm>
              <a:off x="1941427" y="1490261"/>
              <a:ext cx="666221" cy="668402"/>
            </a:xfrm>
            <a:prstGeom prst="ellipse">
              <a:avLst/>
            </a:prstGeom>
            <a:solidFill>
              <a:schemeClr val="tx2"/>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grpSp>
      <p:grpSp>
        <p:nvGrpSpPr>
          <p:cNvPr id="142" name="Group 141"/>
          <p:cNvGrpSpPr/>
          <p:nvPr/>
        </p:nvGrpSpPr>
        <p:grpSpPr>
          <a:xfrm>
            <a:off x="12697581" y="10603877"/>
            <a:ext cx="1176615" cy="1173636"/>
            <a:chOff x="1844383" y="1394308"/>
            <a:chExt cx="861398" cy="859217"/>
          </a:xfrm>
        </p:grpSpPr>
        <p:sp>
          <p:nvSpPr>
            <p:cNvPr id="156" name="Oval 155"/>
            <p:cNvSpPr>
              <a:spLocks noChangeArrowheads="1"/>
            </p:cNvSpPr>
            <p:nvPr/>
          </p:nvSpPr>
          <p:spPr bwMode="auto">
            <a:xfrm>
              <a:off x="1844383" y="1394308"/>
              <a:ext cx="861398" cy="859217"/>
            </a:xfrm>
            <a:prstGeom prst="ellipse">
              <a:avLst/>
            </a:prstGeom>
            <a:solidFill>
              <a:schemeClr val="bg1"/>
            </a:solidFill>
            <a:ln w="14288" cap="flat">
              <a:noFill/>
              <a:prstDash val="solid"/>
              <a:miter lim="800000"/>
              <a:headEnd/>
              <a:tailEnd/>
            </a:ln>
            <a:effectLst>
              <a:outerShdw blurRad="50800" dist="38100" dir="5400000" algn="t" rotWithShape="0">
                <a:prstClr val="black">
                  <a:alpha val="3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157" name="Oval 156"/>
            <p:cNvSpPr>
              <a:spLocks noChangeArrowheads="1"/>
            </p:cNvSpPr>
            <p:nvPr/>
          </p:nvSpPr>
          <p:spPr bwMode="auto">
            <a:xfrm>
              <a:off x="1941427" y="1490261"/>
              <a:ext cx="666221" cy="668402"/>
            </a:xfrm>
            <a:prstGeom prst="ellipse">
              <a:avLst/>
            </a:prstGeom>
            <a:solidFill>
              <a:schemeClr val="accent3"/>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grpSp>
      <p:grpSp>
        <p:nvGrpSpPr>
          <p:cNvPr id="113" name="Group 112"/>
          <p:cNvGrpSpPr/>
          <p:nvPr/>
        </p:nvGrpSpPr>
        <p:grpSpPr>
          <a:xfrm>
            <a:off x="14177624" y="3138735"/>
            <a:ext cx="7271519" cy="9011381"/>
            <a:chOff x="7578344" y="1241598"/>
            <a:chExt cx="2657856" cy="4505983"/>
          </a:xfrm>
        </p:grpSpPr>
        <p:grpSp>
          <p:nvGrpSpPr>
            <p:cNvPr id="114" name="Group 113"/>
            <p:cNvGrpSpPr/>
            <p:nvPr/>
          </p:nvGrpSpPr>
          <p:grpSpPr>
            <a:xfrm>
              <a:off x="7578344" y="1241598"/>
              <a:ext cx="2657856" cy="713241"/>
              <a:chOff x="6054344" y="1612285"/>
              <a:chExt cx="2482396" cy="713241"/>
            </a:xfrm>
          </p:grpSpPr>
          <p:sp>
            <p:nvSpPr>
              <p:cNvPr id="140" name="TextBox 364"/>
              <p:cNvSpPr txBox="1"/>
              <p:nvPr/>
            </p:nvSpPr>
            <p:spPr>
              <a:xfrm>
                <a:off x="6054344" y="1771492"/>
                <a:ext cx="2482396" cy="55403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t>Lorem Ipsum is simply dummy text of the printing and typesetting industry. Lorem Ipsum has been the industry's standard dummy text ever since the 1500s.</a:t>
                </a:r>
              </a:p>
            </p:txBody>
          </p:sp>
          <p:sp>
            <p:nvSpPr>
              <p:cNvPr id="141" name="TextBox 365"/>
              <p:cNvSpPr txBox="1"/>
              <p:nvPr/>
            </p:nvSpPr>
            <p:spPr>
              <a:xfrm>
                <a:off x="6054344" y="1612285"/>
                <a:ext cx="2482396" cy="184678"/>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dirty="0"/>
                  <a:t>LOREM IPSUM</a:t>
                </a:r>
              </a:p>
            </p:txBody>
          </p:sp>
        </p:grpSp>
        <p:grpSp>
          <p:nvGrpSpPr>
            <p:cNvPr id="115" name="Group 114"/>
            <p:cNvGrpSpPr/>
            <p:nvPr/>
          </p:nvGrpSpPr>
          <p:grpSpPr>
            <a:xfrm>
              <a:off x="7578344" y="2433982"/>
              <a:ext cx="2657856" cy="713241"/>
              <a:chOff x="6054344" y="1612285"/>
              <a:chExt cx="2482396" cy="713241"/>
            </a:xfrm>
          </p:grpSpPr>
          <p:sp>
            <p:nvSpPr>
              <p:cNvPr id="138" name="TextBox 372"/>
              <p:cNvSpPr txBox="1"/>
              <p:nvPr/>
            </p:nvSpPr>
            <p:spPr>
              <a:xfrm>
                <a:off x="6054344" y="1771492"/>
                <a:ext cx="2482396" cy="55403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t>Lorem Ipsum is simply dummy text of the printing and typesetting industry. Lorem Ipsum has been the industry's standard dummy text ever since the 1500s.</a:t>
                </a:r>
              </a:p>
            </p:txBody>
          </p:sp>
          <p:sp>
            <p:nvSpPr>
              <p:cNvPr id="139" name="TextBox 373"/>
              <p:cNvSpPr txBox="1"/>
              <p:nvPr/>
            </p:nvSpPr>
            <p:spPr>
              <a:xfrm>
                <a:off x="6054344" y="1612285"/>
                <a:ext cx="2482396" cy="184678"/>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dirty="0"/>
                  <a:t>LOREM IPSUM</a:t>
                </a:r>
              </a:p>
            </p:txBody>
          </p:sp>
        </p:grpSp>
        <p:grpSp>
          <p:nvGrpSpPr>
            <p:cNvPr id="116" name="Group 115"/>
            <p:cNvGrpSpPr/>
            <p:nvPr/>
          </p:nvGrpSpPr>
          <p:grpSpPr>
            <a:xfrm>
              <a:off x="7578344" y="3910292"/>
              <a:ext cx="2657856" cy="713226"/>
              <a:chOff x="6054344" y="1397965"/>
              <a:chExt cx="2482396" cy="713226"/>
            </a:xfrm>
          </p:grpSpPr>
          <p:sp>
            <p:nvSpPr>
              <p:cNvPr id="120" name="TextBox 375"/>
              <p:cNvSpPr txBox="1"/>
              <p:nvPr/>
            </p:nvSpPr>
            <p:spPr>
              <a:xfrm>
                <a:off x="6054344" y="1557157"/>
                <a:ext cx="2482396" cy="55403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t>Lorem Ipsum is simply dummy text of the printing and typesetting industry. Lorem Ipsum has been the industry's standard dummy text ever since the 1500s.</a:t>
                </a:r>
              </a:p>
            </p:txBody>
          </p:sp>
          <p:sp>
            <p:nvSpPr>
              <p:cNvPr id="121" name="TextBox 376"/>
              <p:cNvSpPr txBox="1"/>
              <p:nvPr/>
            </p:nvSpPr>
            <p:spPr>
              <a:xfrm>
                <a:off x="6054344" y="1397965"/>
                <a:ext cx="2482396" cy="184678"/>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dirty="0"/>
                  <a:t>LOREM IPSUM</a:t>
                </a:r>
              </a:p>
            </p:txBody>
          </p:sp>
        </p:grpSp>
        <p:grpSp>
          <p:nvGrpSpPr>
            <p:cNvPr id="117" name="Group 116"/>
            <p:cNvGrpSpPr/>
            <p:nvPr/>
          </p:nvGrpSpPr>
          <p:grpSpPr>
            <a:xfrm>
              <a:off x="7578344" y="5034355"/>
              <a:ext cx="2657856" cy="713226"/>
              <a:chOff x="6054344" y="1397965"/>
              <a:chExt cx="2482396" cy="713226"/>
            </a:xfrm>
          </p:grpSpPr>
          <p:sp>
            <p:nvSpPr>
              <p:cNvPr id="118" name="TextBox 378"/>
              <p:cNvSpPr txBox="1"/>
              <p:nvPr/>
            </p:nvSpPr>
            <p:spPr>
              <a:xfrm>
                <a:off x="6054344" y="1557157"/>
                <a:ext cx="2482396" cy="55403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t>Lorem Ipsum is simply dummy text of the printing and typesetting industry. Lorem Ipsum has been the industry's standard dummy text ever since the 1500s.</a:t>
                </a:r>
              </a:p>
            </p:txBody>
          </p:sp>
          <p:sp>
            <p:nvSpPr>
              <p:cNvPr id="119" name="TextBox 379"/>
              <p:cNvSpPr txBox="1"/>
              <p:nvPr/>
            </p:nvSpPr>
            <p:spPr>
              <a:xfrm>
                <a:off x="6054344" y="1397965"/>
                <a:ext cx="2482396" cy="184678"/>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dirty="0"/>
                  <a:t>LOREM IPSUM</a:t>
                </a:r>
              </a:p>
            </p:txBody>
          </p:sp>
        </p:grpSp>
      </p:grpSp>
      <p:sp>
        <p:nvSpPr>
          <p:cNvPr id="208" name="Freeform 3391"/>
          <p:cNvSpPr>
            <a:spLocks noEditPoints="1"/>
          </p:cNvSpPr>
          <p:nvPr/>
        </p:nvSpPr>
        <p:spPr bwMode="auto">
          <a:xfrm>
            <a:off x="13101099" y="3415190"/>
            <a:ext cx="368092" cy="368092"/>
          </a:xfrm>
          <a:custGeom>
            <a:avLst/>
            <a:gdLst>
              <a:gd name="T0" fmla="*/ 400 w 721"/>
              <a:gd name="T1" fmla="*/ 502 h 721"/>
              <a:gd name="T2" fmla="*/ 441 w 721"/>
              <a:gd name="T3" fmla="*/ 487 h 721"/>
              <a:gd name="T4" fmla="*/ 456 w 721"/>
              <a:gd name="T5" fmla="*/ 469 h 721"/>
              <a:gd name="T6" fmla="*/ 477 w 721"/>
              <a:gd name="T7" fmla="*/ 475 h 721"/>
              <a:gd name="T8" fmla="*/ 498 w 721"/>
              <a:gd name="T9" fmla="*/ 505 h 721"/>
              <a:gd name="T10" fmla="*/ 361 w 721"/>
              <a:gd name="T11" fmla="*/ 709 h 721"/>
              <a:gd name="T12" fmla="*/ 315 w 721"/>
              <a:gd name="T13" fmla="*/ 654 h 721"/>
              <a:gd name="T14" fmla="*/ 347 w 721"/>
              <a:gd name="T15" fmla="*/ 606 h 721"/>
              <a:gd name="T16" fmla="*/ 365 w 721"/>
              <a:gd name="T17" fmla="*/ 601 h 721"/>
              <a:gd name="T18" fmla="*/ 387 w 721"/>
              <a:gd name="T19" fmla="*/ 623 h 721"/>
              <a:gd name="T20" fmla="*/ 415 w 721"/>
              <a:gd name="T21" fmla="*/ 691 h 721"/>
              <a:gd name="T22" fmla="*/ 225 w 721"/>
              <a:gd name="T23" fmla="*/ 505 h 721"/>
              <a:gd name="T24" fmla="*/ 245 w 721"/>
              <a:gd name="T25" fmla="*/ 477 h 721"/>
              <a:gd name="T26" fmla="*/ 265 w 721"/>
              <a:gd name="T27" fmla="*/ 469 h 721"/>
              <a:gd name="T28" fmla="*/ 280 w 721"/>
              <a:gd name="T29" fmla="*/ 487 h 721"/>
              <a:gd name="T30" fmla="*/ 321 w 721"/>
              <a:gd name="T31" fmla="*/ 502 h 721"/>
              <a:gd name="T32" fmla="*/ 222 w 721"/>
              <a:gd name="T33" fmla="*/ 511 h 721"/>
              <a:gd name="T34" fmla="*/ 397 w 721"/>
              <a:gd name="T35" fmla="*/ 541 h 721"/>
              <a:gd name="T36" fmla="*/ 385 w 721"/>
              <a:gd name="T37" fmla="*/ 565 h 721"/>
              <a:gd name="T38" fmla="*/ 361 w 721"/>
              <a:gd name="T39" fmla="*/ 577 h 721"/>
              <a:gd name="T40" fmla="*/ 335 w 721"/>
              <a:gd name="T41" fmla="*/ 565 h 721"/>
              <a:gd name="T42" fmla="*/ 325 w 721"/>
              <a:gd name="T43" fmla="*/ 541 h 721"/>
              <a:gd name="T44" fmla="*/ 681 w 721"/>
              <a:gd name="T45" fmla="*/ 552 h 721"/>
              <a:gd name="T46" fmla="*/ 633 w 721"/>
              <a:gd name="T47" fmla="*/ 522 h 721"/>
              <a:gd name="T48" fmla="*/ 524 w 721"/>
              <a:gd name="T49" fmla="*/ 477 h 721"/>
              <a:gd name="T50" fmla="*/ 484 w 721"/>
              <a:gd name="T51" fmla="*/ 448 h 721"/>
              <a:gd name="T52" fmla="*/ 457 w 721"/>
              <a:gd name="T53" fmla="*/ 433 h 721"/>
              <a:gd name="T54" fmla="*/ 466 w 721"/>
              <a:gd name="T55" fmla="*/ 366 h 721"/>
              <a:gd name="T56" fmla="*/ 489 w 721"/>
              <a:gd name="T57" fmla="*/ 322 h 721"/>
              <a:gd name="T58" fmla="*/ 504 w 721"/>
              <a:gd name="T59" fmla="*/ 279 h 721"/>
              <a:gd name="T60" fmla="*/ 513 w 721"/>
              <a:gd name="T61" fmla="*/ 247 h 721"/>
              <a:gd name="T62" fmla="*/ 506 w 721"/>
              <a:gd name="T63" fmla="*/ 215 h 721"/>
              <a:gd name="T64" fmla="*/ 501 w 721"/>
              <a:gd name="T65" fmla="*/ 193 h 721"/>
              <a:gd name="T66" fmla="*/ 527 w 721"/>
              <a:gd name="T67" fmla="*/ 102 h 721"/>
              <a:gd name="T68" fmla="*/ 519 w 721"/>
              <a:gd name="T69" fmla="*/ 51 h 721"/>
              <a:gd name="T70" fmla="*/ 493 w 721"/>
              <a:gd name="T71" fmla="*/ 26 h 721"/>
              <a:gd name="T72" fmla="*/ 453 w 721"/>
              <a:gd name="T73" fmla="*/ 9 h 721"/>
              <a:gd name="T74" fmla="*/ 383 w 721"/>
              <a:gd name="T75" fmla="*/ 0 h 721"/>
              <a:gd name="T76" fmla="*/ 311 w 721"/>
              <a:gd name="T77" fmla="*/ 9 h 721"/>
              <a:gd name="T78" fmla="*/ 271 w 721"/>
              <a:gd name="T79" fmla="*/ 32 h 721"/>
              <a:gd name="T80" fmla="*/ 239 w 721"/>
              <a:gd name="T81" fmla="*/ 50 h 721"/>
              <a:gd name="T82" fmla="*/ 222 w 721"/>
              <a:gd name="T83" fmla="*/ 66 h 721"/>
              <a:gd name="T84" fmla="*/ 211 w 721"/>
              <a:gd name="T85" fmla="*/ 95 h 721"/>
              <a:gd name="T86" fmla="*/ 217 w 721"/>
              <a:gd name="T87" fmla="*/ 164 h 721"/>
              <a:gd name="T88" fmla="*/ 227 w 721"/>
              <a:gd name="T89" fmla="*/ 202 h 721"/>
              <a:gd name="T90" fmla="*/ 212 w 721"/>
              <a:gd name="T91" fmla="*/ 230 h 721"/>
              <a:gd name="T92" fmla="*/ 213 w 721"/>
              <a:gd name="T93" fmla="*/ 263 h 721"/>
              <a:gd name="T94" fmla="*/ 229 w 721"/>
              <a:gd name="T95" fmla="*/ 290 h 721"/>
              <a:gd name="T96" fmla="*/ 243 w 721"/>
              <a:gd name="T97" fmla="*/ 348 h 721"/>
              <a:gd name="T98" fmla="*/ 265 w 721"/>
              <a:gd name="T99" fmla="*/ 378 h 721"/>
              <a:gd name="T100" fmla="*/ 249 w 721"/>
              <a:gd name="T101" fmla="*/ 441 h 721"/>
              <a:gd name="T102" fmla="*/ 209 w 721"/>
              <a:gd name="T103" fmla="*/ 473 h 721"/>
              <a:gd name="T104" fmla="*/ 134 w 721"/>
              <a:gd name="T105" fmla="*/ 502 h 721"/>
              <a:gd name="T106" fmla="*/ 50 w 721"/>
              <a:gd name="T107" fmla="*/ 547 h 721"/>
              <a:gd name="T108" fmla="*/ 28 w 721"/>
              <a:gd name="T109" fmla="*/ 573 h 721"/>
              <a:gd name="T110" fmla="*/ 9 w 721"/>
              <a:gd name="T111" fmla="*/ 629 h 721"/>
              <a:gd name="T112" fmla="*/ 0 w 721"/>
              <a:gd name="T113" fmla="*/ 713 h 721"/>
              <a:gd name="T114" fmla="*/ 709 w 721"/>
              <a:gd name="T115" fmla="*/ 721 h 721"/>
              <a:gd name="T116" fmla="*/ 721 w 721"/>
              <a:gd name="T117" fmla="*/ 709 h 721"/>
              <a:gd name="T118" fmla="*/ 709 w 721"/>
              <a:gd name="T119" fmla="*/ 606 h 721"/>
              <a:gd name="T120" fmla="*/ 691 w 721"/>
              <a:gd name="T121" fmla="*/ 564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1" h="721">
                <a:moveTo>
                  <a:pt x="415" y="510"/>
                </a:moveTo>
                <a:lnTo>
                  <a:pt x="415" y="510"/>
                </a:lnTo>
                <a:lnTo>
                  <a:pt x="415" y="510"/>
                </a:lnTo>
                <a:lnTo>
                  <a:pt x="400" y="502"/>
                </a:lnTo>
                <a:lnTo>
                  <a:pt x="414" y="498"/>
                </a:lnTo>
                <a:lnTo>
                  <a:pt x="428" y="493"/>
                </a:lnTo>
                <a:lnTo>
                  <a:pt x="434" y="491"/>
                </a:lnTo>
                <a:lnTo>
                  <a:pt x="441" y="487"/>
                </a:lnTo>
                <a:lnTo>
                  <a:pt x="447" y="482"/>
                </a:lnTo>
                <a:lnTo>
                  <a:pt x="453" y="477"/>
                </a:lnTo>
                <a:lnTo>
                  <a:pt x="456" y="473"/>
                </a:lnTo>
                <a:lnTo>
                  <a:pt x="456" y="469"/>
                </a:lnTo>
                <a:lnTo>
                  <a:pt x="456" y="459"/>
                </a:lnTo>
                <a:lnTo>
                  <a:pt x="464" y="462"/>
                </a:lnTo>
                <a:lnTo>
                  <a:pt x="470" y="469"/>
                </a:lnTo>
                <a:lnTo>
                  <a:pt x="477" y="475"/>
                </a:lnTo>
                <a:lnTo>
                  <a:pt x="483" y="482"/>
                </a:lnTo>
                <a:lnTo>
                  <a:pt x="489" y="489"/>
                </a:lnTo>
                <a:lnTo>
                  <a:pt x="495" y="497"/>
                </a:lnTo>
                <a:lnTo>
                  <a:pt x="498" y="505"/>
                </a:lnTo>
                <a:lnTo>
                  <a:pt x="501" y="511"/>
                </a:lnTo>
                <a:lnTo>
                  <a:pt x="522" y="574"/>
                </a:lnTo>
                <a:lnTo>
                  <a:pt x="415" y="510"/>
                </a:lnTo>
                <a:close/>
                <a:moveTo>
                  <a:pt x="361" y="709"/>
                </a:moveTo>
                <a:lnTo>
                  <a:pt x="293" y="709"/>
                </a:lnTo>
                <a:lnTo>
                  <a:pt x="299" y="691"/>
                </a:lnTo>
                <a:lnTo>
                  <a:pt x="306" y="672"/>
                </a:lnTo>
                <a:lnTo>
                  <a:pt x="315" y="654"/>
                </a:lnTo>
                <a:lnTo>
                  <a:pt x="322" y="637"/>
                </a:lnTo>
                <a:lnTo>
                  <a:pt x="333" y="623"/>
                </a:lnTo>
                <a:lnTo>
                  <a:pt x="342" y="611"/>
                </a:lnTo>
                <a:lnTo>
                  <a:pt x="347" y="606"/>
                </a:lnTo>
                <a:lnTo>
                  <a:pt x="351" y="604"/>
                </a:lnTo>
                <a:lnTo>
                  <a:pt x="356" y="601"/>
                </a:lnTo>
                <a:lnTo>
                  <a:pt x="361" y="601"/>
                </a:lnTo>
                <a:lnTo>
                  <a:pt x="365" y="601"/>
                </a:lnTo>
                <a:lnTo>
                  <a:pt x="370" y="604"/>
                </a:lnTo>
                <a:lnTo>
                  <a:pt x="374" y="606"/>
                </a:lnTo>
                <a:lnTo>
                  <a:pt x="379" y="611"/>
                </a:lnTo>
                <a:lnTo>
                  <a:pt x="387" y="623"/>
                </a:lnTo>
                <a:lnTo>
                  <a:pt x="396" y="637"/>
                </a:lnTo>
                <a:lnTo>
                  <a:pt x="403" y="654"/>
                </a:lnTo>
                <a:lnTo>
                  <a:pt x="410" y="673"/>
                </a:lnTo>
                <a:lnTo>
                  <a:pt x="415" y="691"/>
                </a:lnTo>
                <a:lnTo>
                  <a:pt x="420" y="709"/>
                </a:lnTo>
                <a:lnTo>
                  <a:pt x="361" y="709"/>
                </a:lnTo>
                <a:close/>
                <a:moveTo>
                  <a:pt x="222" y="511"/>
                </a:moveTo>
                <a:lnTo>
                  <a:pt x="225" y="505"/>
                </a:lnTo>
                <a:lnTo>
                  <a:pt x="229" y="497"/>
                </a:lnTo>
                <a:lnTo>
                  <a:pt x="234" y="489"/>
                </a:lnTo>
                <a:lnTo>
                  <a:pt x="239" y="483"/>
                </a:lnTo>
                <a:lnTo>
                  <a:pt x="245" y="477"/>
                </a:lnTo>
                <a:lnTo>
                  <a:pt x="252" y="470"/>
                </a:lnTo>
                <a:lnTo>
                  <a:pt x="258" y="464"/>
                </a:lnTo>
                <a:lnTo>
                  <a:pt x="265" y="460"/>
                </a:lnTo>
                <a:lnTo>
                  <a:pt x="265" y="469"/>
                </a:lnTo>
                <a:lnTo>
                  <a:pt x="265" y="473"/>
                </a:lnTo>
                <a:lnTo>
                  <a:pt x="267" y="477"/>
                </a:lnTo>
                <a:lnTo>
                  <a:pt x="274" y="482"/>
                </a:lnTo>
                <a:lnTo>
                  <a:pt x="280" y="487"/>
                </a:lnTo>
                <a:lnTo>
                  <a:pt x="286" y="491"/>
                </a:lnTo>
                <a:lnTo>
                  <a:pt x="293" y="493"/>
                </a:lnTo>
                <a:lnTo>
                  <a:pt x="307" y="498"/>
                </a:lnTo>
                <a:lnTo>
                  <a:pt x="321" y="502"/>
                </a:lnTo>
                <a:lnTo>
                  <a:pt x="306" y="511"/>
                </a:lnTo>
                <a:lnTo>
                  <a:pt x="306" y="511"/>
                </a:lnTo>
                <a:lnTo>
                  <a:pt x="202" y="574"/>
                </a:lnTo>
                <a:lnTo>
                  <a:pt x="222" y="511"/>
                </a:lnTo>
                <a:close/>
                <a:moveTo>
                  <a:pt x="325" y="528"/>
                </a:moveTo>
                <a:lnTo>
                  <a:pt x="361" y="506"/>
                </a:lnTo>
                <a:lnTo>
                  <a:pt x="397" y="528"/>
                </a:lnTo>
                <a:lnTo>
                  <a:pt x="397" y="541"/>
                </a:lnTo>
                <a:lnTo>
                  <a:pt x="396" y="547"/>
                </a:lnTo>
                <a:lnTo>
                  <a:pt x="393" y="554"/>
                </a:lnTo>
                <a:lnTo>
                  <a:pt x="391" y="560"/>
                </a:lnTo>
                <a:lnTo>
                  <a:pt x="385" y="565"/>
                </a:lnTo>
                <a:lnTo>
                  <a:pt x="380" y="570"/>
                </a:lnTo>
                <a:lnTo>
                  <a:pt x="374" y="573"/>
                </a:lnTo>
                <a:lnTo>
                  <a:pt x="367" y="575"/>
                </a:lnTo>
                <a:lnTo>
                  <a:pt x="361" y="577"/>
                </a:lnTo>
                <a:lnTo>
                  <a:pt x="353" y="575"/>
                </a:lnTo>
                <a:lnTo>
                  <a:pt x="347" y="573"/>
                </a:lnTo>
                <a:lnTo>
                  <a:pt x="340" y="570"/>
                </a:lnTo>
                <a:lnTo>
                  <a:pt x="335" y="565"/>
                </a:lnTo>
                <a:lnTo>
                  <a:pt x="331" y="560"/>
                </a:lnTo>
                <a:lnTo>
                  <a:pt x="328" y="554"/>
                </a:lnTo>
                <a:lnTo>
                  <a:pt x="325" y="547"/>
                </a:lnTo>
                <a:lnTo>
                  <a:pt x="325" y="541"/>
                </a:lnTo>
                <a:lnTo>
                  <a:pt x="325" y="528"/>
                </a:lnTo>
                <a:close/>
                <a:moveTo>
                  <a:pt x="691" y="564"/>
                </a:moveTo>
                <a:lnTo>
                  <a:pt x="686" y="557"/>
                </a:lnTo>
                <a:lnTo>
                  <a:pt x="681" y="552"/>
                </a:lnTo>
                <a:lnTo>
                  <a:pt x="674" y="547"/>
                </a:lnTo>
                <a:lnTo>
                  <a:pt x="668" y="541"/>
                </a:lnTo>
                <a:lnTo>
                  <a:pt x="651" y="531"/>
                </a:lnTo>
                <a:lnTo>
                  <a:pt x="633" y="522"/>
                </a:lnTo>
                <a:lnTo>
                  <a:pt x="591" y="502"/>
                </a:lnTo>
                <a:lnTo>
                  <a:pt x="545" y="484"/>
                </a:lnTo>
                <a:lnTo>
                  <a:pt x="534" y="480"/>
                </a:lnTo>
                <a:lnTo>
                  <a:pt x="524" y="477"/>
                </a:lnTo>
                <a:lnTo>
                  <a:pt x="514" y="473"/>
                </a:lnTo>
                <a:lnTo>
                  <a:pt x="504" y="469"/>
                </a:lnTo>
                <a:lnTo>
                  <a:pt x="495" y="457"/>
                </a:lnTo>
                <a:lnTo>
                  <a:pt x="484" y="448"/>
                </a:lnTo>
                <a:lnTo>
                  <a:pt x="473" y="441"/>
                </a:lnTo>
                <a:lnTo>
                  <a:pt x="462" y="434"/>
                </a:lnTo>
                <a:lnTo>
                  <a:pt x="460" y="433"/>
                </a:lnTo>
                <a:lnTo>
                  <a:pt x="457" y="433"/>
                </a:lnTo>
                <a:lnTo>
                  <a:pt x="456" y="433"/>
                </a:lnTo>
                <a:lnTo>
                  <a:pt x="456" y="378"/>
                </a:lnTo>
                <a:lnTo>
                  <a:pt x="461" y="373"/>
                </a:lnTo>
                <a:lnTo>
                  <a:pt x="466" y="366"/>
                </a:lnTo>
                <a:lnTo>
                  <a:pt x="473" y="358"/>
                </a:lnTo>
                <a:lnTo>
                  <a:pt x="479" y="348"/>
                </a:lnTo>
                <a:lnTo>
                  <a:pt x="484" y="337"/>
                </a:lnTo>
                <a:lnTo>
                  <a:pt x="489" y="322"/>
                </a:lnTo>
                <a:lnTo>
                  <a:pt x="492" y="308"/>
                </a:lnTo>
                <a:lnTo>
                  <a:pt x="495" y="290"/>
                </a:lnTo>
                <a:lnTo>
                  <a:pt x="500" y="285"/>
                </a:lnTo>
                <a:lnTo>
                  <a:pt x="504" y="279"/>
                </a:lnTo>
                <a:lnTo>
                  <a:pt x="507" y="271"/>
                </a:lnTo>
                <a:lnTo>
                  <a:pt x="510" y="262"/>
                </a:lnTo>
                <a:lnTo>
                  <a:pt x="511" y="254"/>
                </a:lnTo>
                <a:lnTo>
                  <a:pt x="513" y="247"/>
                </a:lnTo>
                <a:lnTo>
                  <a:pt x="513" y="238"/>
                </a:lnTo>
                <a:lnTo>
                  <a:pt x="511" y="230"/>
                </a:lnTo>
                <a:lnTo>
                  <a:pt x="510" y="222"/>
                </a:lnTo>
                <a:lnTo>
                  <a:pt x="506" y="215"/>
                </a:lnTo>
                <a:lnTo>
                  <a:pt x="502" y="208"/>
                </a:lnTo>
                <a:lnTo>
                  <a:pt x="497" y="202"/>
                </a:lnTo>
                <a:lnTo>
                  <a:pt x="498" y="198"/>
                </a:lnTo>
                <a:lnTo>
                  <a:pt x="501" y="193"/>
                </a:lnTo>
                <a:lnTo>
                  <a:pt x="510" y="167"/>
                </a:lnTo>
                <a:lnTo>
                  <a:pt x="520" y="135"/>
                </a:lnTo>
                <a:lnTo>
                  <a:pt x="524" y="118"/>
                </a:lnTo>
                <a:lnTo>
                  <a:pt x="527" y="102"/>
                </a:lnTo>
                <a:lnTo>
                  <a:pt x="527" y="85"/>
                </a:lnTo>
                <a:lnTo>
                  <a:pt x="525" y="68"/>
                </a:lnTo>
                <a:lnTo>
                  <a:pt x="523" y="59"/>
                </a:lnTo>
                <a:lnTo>
                  <a:pt x="519" y="51"/>
                </a:lnTo>
                <a:lnTo>
                  <a:pt x="514" y="44"/>
                </a:lnTo>
                <a:lnTo>
                  <a:pt x="509" y="37"/>
                </a:lnTo>
                <a:lnTo>
                  <a:pt x="501" y="31"/>
                </a:lnTo>
                <a:lnTo>
                  <a:pt x="493" y="26"/>
                </a:lnTo>
                <a:lnTo>
                  <a:pt x="484" y="21"/>
                </a:lnTo>
                <a:lnTo>
                  <a:pt x="475" y="16"/>
                </a:lnTo>
                <a:lnTo>
                  <a:pt x="465" y="12"/>
                </a:lnTo>
                <a:lnTo>
                  <a:pt x="453" y="9"/>
                </a:lnTo>
                <a:lnTo>
                  <a:pt x="442" y="7"/>
                </a:lnTo>
                <a:lnTo>
                  <a:pt x="430" y="4"/>
                </a:lnTo>
                <a:lnTo>
                  <a:pt x="407" y="0"/>
                </a:lnTo>
                <a:lnTo>
                  <a:pt x="383" y="0"/>
                </a:lnTo>
                <a:lnTo>
                  <a:pt x="365" y="0"/>
                </a:lnTo>
                <a:lnTo>
                  <a:pt x="347" y="1"/>
                </a:lnTo>
                <a:lnTo>
                  <a:pt x="329" y="5"/>
                </a:lnTo>
                <a:lnTo>
                  <a:pt x="311" y="9"/>
                </a:lnTo>
                <a:lnTo>
                  <a:pt x="295" y="16"/>
                </a:lnTo>
                <a:lnTo>
                  <a:pt x="281" y="23"/>
                </a:lnTo>
                <a:lnTo>
                  <a:pt x="276" y="27"/>
                </a:lnTo>
                <a:lnTo>
                  <a:pt x="271" y="32"/>
                </a:lnTo>
                <a:lnTo>
                  <a:pt x="266" y="37"/>
                </a:lnTo>
                <a:lnTo>
                  <a:pt x="263" y="44"/>
                </a:lnTo>
                <a:lnTo>
                  <a:pt x="251" y="46"/>
                </a:lnTo>
                <a:lnTo>
                  <a:pt x="239" y="50"/>
                </a:lnTo>
                <a:lnTo>
                  <a:pt x="234" y="53"/>
                </a:lnTo>
                <a:lnTo>
                  <a:pt x="230" y="57"/>
                </a:lnTo>
                <a:lnTo>
                  <a:pt x="225" y="60"/>
                </a:lnTo>
                <a:lnTo>
                  <a:pt x="222" y="66"/>
                </a:lnTo>
                <a:lnTo>
                  <a:pt x="217" y="72"/>
                </a:lnTo>
                <a:lnTo>
                  <a:pt x="215" y="78"/>
                </a:lnTo>
                <a:lnTo>
                  <a:pt x="212" y="87"/>
                </a:lnTo>
                <a:lnTo>
                  <a:pt x="211" y="95"/>
                </a:lnTo>
                <a:lnTo>
                  <a:pt x="209" y="112"/>
                </a:lnTo>
                <a:lnTo>
                  <a:pt x="211" y="130"/>
                </a:lnTo>
                <a:lnTo>
                  <a:pt x="213" y="148"/>
                </a:lnTo>
                <a:lnTo>
                  <a:pt x="217" y="164"/>
                </a:lnTo>
                <a:lnTo>
                  <a:pt x="221" y="181"/>
                </a:lnTo>
                <a:lnTo>
                  <a:pt x="225" y="194"/>
                </a:lnTo>
                <a:lnTo>
                  <a:pt x="226" y="198"/>
                </a:lnTo>
                <a:lnTo>
                  <a:pt x="227" y="202"/>
                </a:lnTo>
                <a:lnTo>
                  <a:pt x="222" y="207"/>
                </a:lnTo>
                <a:lnTo>
                  <a:pt x="217" y="215"/>
                </a:lnTo>
                <a:lnTo>
                  <a:pt x="215" y="221"/>
                </a:lnTo>
                <a:lnTo>
                  <a:pt x="212" y="230"/>
                </a:lnTo>
                <a:lnTo>
                  <a:pt x="211" y="238"/>
                </a:lnTo>
                <a:lnTo>
                  <a:pt x="211" y="247"/>
                </a:lnTo>
                <a:lnTo>
                  <a:pt x="212" y="254"/>
                </a:lnTo>
                <a:lnTo>
                  <a:pt x="213" y="263"/>
                </a:lnTo>
                <a:lnTo>
                  <a:pt x="216" y="272"/>
                </a:lnTo>
                <a:lnTo>
                  <a:pt x="220" y="280"/>
                </a:lnTo>
                <a:lnTo>
                  <a:pt x="224" y="285"/>
                </a:lnTo>
                <a:lnTo>
                  <a:pt x="229" y="290"/>
                </a:lnTo>
                <a:lnTo>
                  <a:pt x="230" y="307"/>
                </a:lnTo>
                <a:lnTo>
                  <a:pt x="234" y="322"/>
                </a:lnTo>
                <a:lnTo>
                  <a:pt x="238" y="337"/>
                </a:lnTo>
                <a:lnTo>
                  <a:pt x="243" y="348"/>
                </a:lnTo>
                <a:lnTo>
                  <a:pt x="249" y="358"/>
                </a:lnTo>
                <a:lnTo>
                  <a:pt x="254" y="366"/>
                </a:lnTo>
                <a:lnTo>
                  <a:pt x="260" y="373"/>
                </a:lnTo>
                <a:lnTo>
                  <a:pt x="265" y="378"/>
                </a:lnTo>
                <a:lnTo>
                  <a:pt x="265" y="433"/>
                </a:lnTo>
                <a:lnTo>
                  <a:pt x="262" y="433"/>
                </a:lnTo>
                <a:lnTo>
                  <a:pt x="261" y="434"/>
                </a:lnTo>
                <a:lnTo>
                  <a:pt x="249" y="441"/>
                </a:lnTo>
                <a:lnTo>
                  <a:pt x="239" y="448"/>
                </a:lnTo>
                <a:lnTo>
                  <a:pt x="229" y="457"/>
                </a:lnTo>
                <a:lnTo>
                  <a:pt x="220" y="469"/>
                </a:lnTo>
                <a:lnTo>
                  <a:pt x="209" y="473"/>
                </a:lnTo>
                <a:lnTo>
                  <a:pt x="200" y="477"/>
                </a:lnTo>
                <a:lnTo>
                  <a:pt x="190" y="480"/>
                </a:lnTo>
                <a:lnTo>
                  <a:pt x="181" y="484"/>
                </a:lnTo>
                <a:lnTo>
                  <a:pt x="134" y="502"/>
                </a:lnTo>
                <a:lnTo>
                  <a:pt x="91" y="522"/>
                </a:lnTo>
                <a:lnTo>
                  <a:pt x="73" y="531"/>
                </a:lnTo>
                <a:lnTo>
                  <a:pt x="57" y="541"/>
                </a:lnTo>
                <a:lnTo>
                  <a:pt x="50" y="547"/>
                </a:lnTo>
                <a:lnTo>
                  <a:pt x="44" y="552"/>
                </a:lnTo>
                <a:lnTo>
                  <a:pt x="39" y="557"/>
                </a:lnTo>
                <a:lnTo>
                  <a:pt x="34" y="564"/>
                </a:lnTo>
                <a:lnTo>
                  <a:pt x="28" y="573"/>
                </a:lnTo>
                <a:lnTo>
                  <a:pt x="23" y="583"/>
                </a:lnTo>
                <a:lnTo>
                  <a:pt x="19" y="595"/>
                </a:lnTo>
                <a:lnTo>
                  <a:pt x="16" y="606"/>
                </a:lnTo>
                <a:lnTo>
                  <a:pt x="9" y="629"/>
                </a:lnTo>
                <a:lnTo>
                  <a:pt x="5" y="653"/>
                </a:lnTo>
                <a:lnTo>
                  <a:pt x="1" y="691"/>
                </a:lnTo>
                <a:lnTo>
                  <a:pt x="0" y="709"/>
                </a:lnTo>
                <a:lnTo>
                  <a:pt x="0" y="713"/>
                </a:lnTo>
                <a:lnTo>
                  <a:pt x="4" y="717"/>
                </a:lnTo>
                <a:lnTo>
                  <a:pt x="8" y="719"/>
                </a:lnTo>
                <a:lnTo>
                  <a:pt x="12" y="721"/>
                </a:lnTo>
                <a:lnTo>
                  <a:pt x="709" y="721"/>
                </a:lnTo>
                <a:lnTo>
                  <a:pt x="714" y="719"/>
                </a:lnTo>
                <a:lnTo>
                  <a:pt x="718" y="717"/>
                </a:lnTo>
                <a:lnTo>
                  <a:pt x="721" y="713"/>
                </a:lnTo>
                <a:lnTo>
                  <a:pt x="721" y="709"/>
                </a:lnTo>
                <a:lnTo>
                  <a:pt x="721" y="691"/>
                </a:lnTo>
                <a:lnTo>
                  <a:pt x="718" y="653"/>
                </a:lnTo>
                <a:lnTo>
                  <a:pt x="714" y="629"/>
                </a:lnTo>
                <a:lnTo>
                  <a:pt x="709" y="606"/>
                </a:lnTo>
                <a:lnTo>
                  <a:pt x="705" y="595"/>
                </a:lnTo>
                <a:lnTo>
                  <a:pt x="701" y="583"/>
                </a:lnTo>
                <a:lnTo>
                  <a:pt x="696" y="573"/>
                </a:lnTo>
                <a:lnTo>
                  <a:pt x="691" y="564"/>
                </a:lnTo>
                <a:close/>
              </a:path>
            </a:pathLst>
          </a:custGeom>
          <a:solidFill>
            <a:schemeClr val="bg1"/>
          </a:solidFill>
          <a:ln>
            <a:noFill/>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p>
            <a:endParaRPr lang="en-US" sz="3600"/>
          </a:p>
        </p:txBody>
      </p:sp>
      <p:grpSp>
        <p:nvGrpSpPr>
          <p:cNvPr id="209" name="Group 208"/>
          <p:cNvGrpSpPr/>
          <p:nvPr/>
        </p:nvGrpSpPr>
        <p:grpSpPr>
          <a:xfrm>
            <a:off x="13099135" y="5782468"/>
            <a:ext cx="370056" cy="382819"/>
            <a:chOff x="9882188" y="1336675"/>
            <a:chExt cx="276225" cy="285750"/>
          </a:xfrm>
          <a:solidFill>
            <a:schemeClr val="bg1"/>
          </a:solidFill>
          <a:effectLst>
            <a:outerShdw blurRad="38100" dist="25400" dir="5400000" algn="ctr" rotWithShape="0">
              <a:srgbClr val="000000">
                <a:alpha val="20000"/>
              </a:srgbClr>
            </a:outerShdw>
          </a:effectLst>
        </p:grpSpPr>
        <p:sp>
          <p:nvSpPr>
            <p:cNvPr id="210" name="Freeform 3049"/>
            <p:cNvSpPr>
              <a:spLocks/>
            </p:cNvSpPr>
            <p:nvPr/>
          </p:nvSpPr>
          <p:spPr bwMode="auto">
            <a:xfrm>
              <a:off x="9893300" y="1574800"/>
              <a:ext cx="254000" cy="47625"/>
            </a:xfrm>
            <a:custGeom>
              <a:avLst/>
              <a:gdLst>
                <a:gd name="T0" fmla="*/ 584 w 641"/>
                <a:gd name="T1" fmla="*/ 0 h 120"/>
                <a:gd name="T2" fmla="*/ 57 w 641"/>
                <a:gd name="T3" fmla="*/ 0 h 120"/>
                <a:gd name="T4" fmla="*/ 51 w 641"/>
                <a:gd name="T5" fmla="*/ 0 h 120"/>
                <a:gd name="T6" fmla="*/ 45 w 641"/>
                <a:gd name="T7" fmla="*/ 1 h 120"/>
                <a:gd name="T8" fmla="*/ 39 w 641"/>
                <a:gd name="T9" fmla="*/ 3 h 120"/>
                <a:gd name="T10" fmla="*/ 33 w 641"/>
                <a:gd name="T11" fmla="*/ 5 h 120"/>
                <a:gd name="T12" fmla="*/ 27 w 641"/>
                <a:gd name="T13" fmla="*/ 7 h 120"/>
                <a:gd name="T14" fmla="*/ 22 w 641"/>
                <a:gd name="T15" fmla="*/ 11 h 120"/>
                <a:gd name="T16" fmla="*/ 18 w 641"/>
                <a:gd name="T17" fmla="*/ 14 h 120"/>
                <a:gd name="T18" fmla="*/ 14 w 641"/>
                <a:gd name="T19" fmla="*/ 19 h 120"/>
                <a:gd name="T20" fmla="*/ 9 w 641"/>
                <a:gd name="T21" fmla="*/ 26 h 120"/>
                <a:gd name="T22" fmla="*/ 6 w 641"/>
                <a:gd name="T23" fmla="*/ 32 h 120"/>
                <a:gd name="T24" fmla="*/ 3 w 641"/>
                <a:gd name="T25" fmla="*/ 41 h 120"/>
                <a:gd name="T26" fmla="*/ 1 w 641"/>
                <a:gd name="T27" fmla="*/ 49 h 120"/>
                <a:gd name="T28" fmla="*/ 0 w 641"/>
                <a:gd name="T29" fmla="*/ 54 h 120"/>
                <a:gd name="T30" fmla="*/ 0 w 641"/>
                <a:gd name="T31" fmla="*/ 60 h 120"/>
                <a:gd name="T32" fmla="*/ 1 w 641"/>
                <a:gd name="T33" fmla="*/ 72 h 120"/>
                <a:gd name="T34" fmla="*/ 3 w 641"/>
                <a:gd name="T35" fmla="*/ 82 h 120"/>
                <a:gd name="T36" fmla="*/ 8 w 641"/>
                <a:gd name="T37" fmla="*/ 92 h 120"/>
                <a:gd name="T38" fmla="*/ 14 w 641"/>
                <a:gd name="T39" fmla="*/ 101 h 120"/>
                <a:gd name="T40" fmla="*/ 19 w 641"/>
                <a:gd name="T41" fmla="*/ 105 h 120"/>
                <a:gd name="T42" fmla="*/ 22 w 641"/>
                <a:gd name="T43" fmla="*/ 108 h 120"/>
                <a:gd name="T44" fmla="*/ 27 w 641"/>
                <a:gd name="T45" fmla="*/ 112 h 120"/>
                <a:gd name="T46" fmla="*/ 32 w 641"/>
                <a:gd name="T47" fmla="*/ 114 h 120"/>
                <a:gd name="T48" fmla="*/ 38 w 641"/>
                <a:gd name="T49" fmla="*/ 117 h 120"/>
                <a:gd name="T50" fmla="*/ 44 w 641"/>
                <a:gd name="T51" fmla="*/ 119 h 120"/>
                <a:gd name="T52" fmla="*/ 50 w 641"/>
                <a:gd name="T53" fmla="*/ 119 h 120"/>
                <a:gd name="T54" fmla="*/ 57 w 641"/>
                <a:gd name="T55" fmla="*/ 120 h 120"/>
                <a:gd name="T56" fmla="*/ 584 w 641"/>
                <a:gd name="T57" fmla="*/ 120 h 120"/>
                <a:gd name="T58" fmla="*/ 591 w 641"/>
                <a:gd name="T59" fmla="*/ 119 h 120"/>
                <a:gd name="T60" fmla="*/ 597 w 641"/>
                <a:gd name="T61" fmla="*/ 118 h 120"/>
                <a:gd name="T62" fmla="*/ 603 w 641"/>
                <a:gd name="T63" fmla="*/ 117 h 120"/>
                <a:gd name="T64" fmla="*/ 609 w 641"/>
                <a:gd name="T65" fmla="*/ 114 h 120"/>
                <a:gd name="T66" fmla="*/ 613 w 641"/>
                <a:gd name="T67" fmla="*/ 112 h 120"/>
                <a:gd name="T68" fmla="*/ 618 w 641"/>
                <a:gd name="T69" fmla="*/ 108 h 120"/>
                <a:gd name="T70" fmla="*/ 623 w 641"/>
                <a:gd name="T71" fmla="*/ 105 h 120"/>
                <a:gd name="T72" fmla="*/ 627 w 641"/>
                <a:gd name="T73" fmla="*/ 101 h 120"/>
                <a:gd name="T74" fmla="*/ 633 w 641"/>
                <a:gd name="T75" fmla="*/ 92 h 120"/>
                <a:gd name="T76" fmla="*/ 637 w 641"/>
                <a:gd name="T77" fmla="*/ 82 h 120"/>
                <a:gd name="T78" fmla="*/ 640 w 641"/>
                <a:gd name="T79" fmla="*/ 72 h 120"/>
                <a:gd name="T80" fmla="*/ 641 w 641"/>
                <a:gd name="T81" fmla="*/ 60 h 120"/>
                <a:gd name="T82" fmla="*/ 640 w 641"/>
                <a:gd name="T83" fmla="*/ 49 h 120"/>
                <a:gd name="T84" fmla="*/ 637 w 641"/>
                <a:gd name="T85" fmla="*/ 38 h 120"/>
                <a:gd name="T86" fmla="*/ 633 w 641"/>
                <a:gd name="T87" fmla="*/ 28 h 120"/>
                <a:gd name="T88" fmla="*/ 627 w 641"/>
                <a:gd name="T89" fmla="*/ 19 h 120"/>
                <a:gd name="T90" fmla="*/ 623 w 641"/>
                <a:gd name="T91" fmla="*/ 14 h 120"/>
                <a:gd name="T92" fmla="*/ 618 w 641"/>
                <a:gd name="T93" fmla="*/ 11 h 120"/>
                <a:gd name="T94" fmla="*/ 613 w 641"/>
                <a:gd name="T95" fmla="*/ 9 h 120"/>
                <a:gd name="T96" fmla="*/ 609 w 641"/>
                <a:gd name="T97" fmla="*/ 5 h 120"/>
                <a:gd name="T98" fmla="*/ 603 w 641"/>
                <a:gd name="T99" fmla="*/ 3 h 120"/>
                <a:gd name="T100" fmla="*/ 597 w 641"/>
                <a:gd name="T101" fmla="*/ 1 h 120"/>
                <a:gd name="T102" fmla="*/ 591 w 641"/>
                <a:gd name="T103" fmla="*/ 0 h 120"/>
                <a:gd name="T104" fmla="*/ 584 w 641"/>
                <a:gd name="T10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1" h="120">
                  <a:moveTo>
                    <a:pt x="584" y="0"/>
                  </a:moveTo>
                  <a:lnTo>
                    <a:pt x="57" y="0"/>
                  </a:lnTo>
                  <a:lnTo>
                    <a:pt x="51" y="0"/>
                  </a:lnTo>
                  <a:lnTo>
                    <a:pt x="45" y="1"/>
                  </a:lnTo>
                  <a:lnTo>
                    <a:pt x="39" y="3"/>
                  </a:lnTo>
                  <a:lnTo>
                    <a:pt x="33" y="5"/>
                  </a:lnTo>
                  <a:lnTo>
                    <a:pt x="27" y="7"/>
                  </a:lnTo>
                  <a:lnTo>
                    <a:pt x="22" y="11"/>
                  </a:lnTo>
                  <a:lnTo>
                    <a:pt x="18" y="14"/>
                  </a:lnTo>
                  <a:lnTo>
                    <a:pt x="14" y="19"/>
                  </a:lnTo>
                  <a:lnTo>
                    <a:pt x="9" y="26"/>
                  </a:lnTo>
                  <a:lnTo>
                    <a:pt x="6" y="32"/>
                  </a:lnTo>
                  <a:lnTo>
                    <a:pt x="3" y="41"/>
                  </a:lnTo>
                  <a:lnTo>
                    <a:pt x="1" y="49"/>
                  </a:lnTo>
                  <a:lnTo>
                    <a:pt x="0" y="54"/>
                  </a:lnTo>
                  <a:lnTo>
                    <a:pt x="0" y="60"/>
                  </a:lnTo>
                  <a:lnTo>
                    <a:pt x="1" y="72"/>
                  </a:lnTo>
                  <a:lnTo>
                    <a:pt x="3" y="82"/>
                  </a:lnTo>
                  <a:lnTo>
                    <a:pt x="8" y="92"/>
                  </a:lnTo>
                  <a:lnTo>
                    <a:pt x="14" y="101"/>
                  </a:lnTo>
                  <a:lnTo>
                    <a:pt x="19" y="105"/>
                  </a:lnTo>
                  <a:lnTo>
                    <a:pt x="22" y="108"/>
                  </a:lnTo>
                  <a:lnTo>
                    <a:pt x="27" y="112"/>
                  </a:lnTo>
                  <a:lnTo>
                    <a:pt x="32" y="114"/>
                  </a:lnTo>
                  <a:lnTo>
                    <a:pt x="38" y="117"/>
                  </a:lnTo>
                  <a:lnTo>
                    <a:pt x="44" y="119"/>
                  </a:lnTo>
                  <a:lnTo>
                    <a:pt x="50" y="119"/>
                  </a:lnTo>
                  <a:lnTo>
                    <a:pt x="57" y="120"/>
                  </a:lnTo>
                  <a:lnTo>
                    <a:pt x="584" y="120"/>
                  </a:lnTo>
                  <a:lnTo>
                    <a:pt x="591" y="119"/>
                  </a:lnTo>
                  <a:lnTo>
                    <a:pt x="597" y="118"/>
                  </a:lnTo>
                  <a:lnTo>
                    <a:pt x="603" y="117"/>
                  </a:lnTo>
                  <a:lnTo>
                    <a:pt x="609" y="114"/>
                  </a:lnTo>
                  <a:lnTo>
                    <a:pt x="613" y="112"/>
                  </a:lnTo>
                  <a:lnTo>
                    <a:pt x="618" y="108"/>
                  </a:lnTo>
                  <a:lnTo>
                    <a:pt x="623" y="105"/>
                  </a:lnTo>
                  <a:lnTo>
                    <a:pt x="627" y="101"/>
                  </a:lnTo>
                  <a:lnTo>
                    <a:pt x="633" y="92"/>
                  </a:lnTo>
                  <a:lnTo>
                    <a:pt x="637" y="82"/>
                  </a:lnTo>
                  <a:lnTo>
                    <a:pt x="640" y="72"/>
                  </a:lnTo>
                  <a:lnTo>
                    <a:pt x="641" y="60"/>
                  </a:lnTo>
                  <a:lnTo>
                    <a:pt x="640" y="49"/>
                  </a:lnTo>
                  <a:lnTo>
                    <a:pt x="637" y="38"/>
                  </a:lnTo>
                  <a:lnTo>
                    <a:pt x="633" y="28"/>
                  </a:lnTo>
                  <a:lnTo>
                    <a:pt x="627" y="19"/>
                  </a:lnTo>
                  <a:lnTo>
                    <a:pt x="623" y="14"/>
                  </a:lnTo>
                  <a:lnTo>
                    <a:pt x="618" y="11"/>
                  </a:lnTo>
                  <a:lnTo>
                    <a:pt x="613" y="9"/>
                  </a:lnTo>
                  <a:lnTo>
                    <a:pt x="609" y="5"/>
                  </a:lnTo>
                  <a:lnTo>
                    <a:pt x="603" y="3"/>
                  </a:lnTo>
                  <a:lnTo>
                    <a:pt x="597" y="1"/>
                  </a:lnTo>
                  <a:lnTo>
                    <a:pt x="591" y="0"/>
                  </a:lnTo>
                  <a:lnTo>
                    <a:pt x="5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11" name="Freeform 3050"/>
            <p:cNvSpPr>
              <a:spLocks/>
            </p:cNvSpPr>
            <p:nvPr/>
          </p:nvSpPr>
          <p:spPr bwMode="auto">
            <a:xfrm>
              <a:off x="9986963" y="1336675"/>
              <a:ext cx="66675" cy="28575"/>
            </a:xfrm>
            <a:custGeom>
              <a:avLst/>
              <a:gdLst>
                <a:gd name="T0" fmla="*/ 83 w 165"/>
                <a:gd name="T1" fmla="*/ 0 h 72"/>
                <a:gd name="T2" fmla="*/ 75 w 165"/>
                <a:gd name="T3" fmla="*/ 1 h 72"/>
                <a:gd name="T4" fmla="*/ 67 w 165"/>
                <a:gd name="T5" fmla="*/ 2 h 72"/>
                <a:gd name="T6" fmla="*/ 59 w 165"/>
                <a:gd name="T7" fmla="*/ 3 h 72"/>
                <a:gd name="T8" fmla="*/ 52 w 165"/>
                <a:gd name="T9" fmla="*/ 6 h 72"/>
                <a:gd name="T10" fmla="*/ 46 w 165"/>
                <a:gd name="T11" fmla="*/ 9 h 72"/>
                <a:gd name="T12" fmla="*/ 39 w 165"/>
                <a:gd name="T13" fmla="*/ 13 h 72"/>
                <a:gd name="T14" fmla="*/ 33 w 165"/>
                <a:gd name="T15" fmla="*/ 16 h 72"/>
                <a:gd name="T16" fmla="*/ 27 w 165"/>
                <a:gd name="T17" fmla="*/ 21 h 72"/>
                <a:gd name="T18" fmla="*/ 22 w 165"/>
                <a:gd name="T19" fmla="*/ 26 h 72"/>
                <a:gd name="T20" fmla="*/ 17 w 165"/>
                <a:gd name="T21" fmla="*/ 32 h 72"/>
                <a:gd name="T22" fmla="*/ 13 w 165"/>
                <a:gd name="T23" fmla="*/ 38 h 72"/>
                <a:gd name="T24" fmla="*/ 9 w 165"/>
                <a:gd name="T25" fmla="*/ 44 h 72"/>
                <a:gd name="T26" fmla="*/ 6 w 165"/>
                <a:gd name="T27" fmla="*/ 51 h 72"/>
                <a:gd name="T28" fmla="*/ 3 w 165"/>
                <a:gd name="T29" fmla="*/ 58 h 72"/>
                <a:gd name="T30" fmla="*/ 1 w 165"/>
                <a:gd name="T31" fmla="*/ 65 h 72"/>
                <a:gd name="T32" fmla="*/ 0 w 165"/>
                <a:gd name="T33" fmla="*/ 72 h 72"/>
                <a:gd name="T34" fmla="*/ 165 w 165"/>
                <a:gd name="T35" fmla="*/ 72 h 72"/>
                <a:gd name="T36" fmla="*/ 164 w 165"/>
                <a:gd name="T37" fmla="*/ 65 h 72"/>
                <a:gd name="T38" fmla="*/ 161 w 165"/>
                <a:gd name="T39" fmla="*/ 57 h 72"/>
                <a:gd name="T40" fmla="*/ 159 w 165"/>
                <a:gd name="T41" fmla="*/ 51 h 72"/>
                <a:gd name="T42" fmla="*/ 155 w 165"/>
                <a:gd name="T43" fmla="*/ 44 h 72"/>
                <a:gd name="T44" fmla="*/ 152 w 165"/>
                <a:gd name="T45" fmla="*/ 38 h 72"/>
                <a:gd name="T46" fmla="*/ 147 w 165"/>
                <a:gd name="T47" fmla="*/ 32 h 72"/>
                <a:gd name="T48" fmla="*/ 142 w 165"/>
                <a:gd name="T49" fmla="*/ 26 h 72"/>
                <a:gd name="T50" fmla="*/ 138 w 165"/>
                <a:gd name="T51" fmla="*/ 21 h 72"/>
                <a:gd name="T52" fmla="*/ 132 w 165"/>
                <a:gd name="T53" fmla="*/ 16 h 72"/>
                <a:gd name="T54" fmla="*/ 126 w 165"/>
                <a:gd name="T55" fmla="*/ 13 h 72"/>
                <a:gd name="T56" fmla="*/ 119 w 165"/>
                <a:gd name="T57" fmla="*/ 9 h 72"/>
                <a:gd name="T58" fmla="*/ 113 w 165"/>
                <a:gd name="T59" fmla="*/ 6 h 72"/>
                <a:gd name="T60" fmla="*/ 105 w 165"/>
                <a:gd name="T61" fmla="*/ 3 h 72"/>
                <a:gd name="T62" fmla="*/ 98 w 165"/>
                <a:gd name="T63" fmla="*/ 2 h 72"/>
                <a:gd name="T64" fmla="*/ 90 w 165"/>
                <a:gd name="T65" fmla="*/ 1 h 72"/>
                <a:gd name="T66" fmla="*/ 83 w 165"/>
                <a:gd name="T67" fmla="*/ 0 h 72"/>
                <a:gd name="T68" fmla="*/ 83 w 165"/>
                <a:gd name="T6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5" h="72">
                  <a:moveTo>
                    <a:pt x="83" y="0"/>
                  </a:moveTo>
                  <a:lnTo>
                    <a:pt x="75" y="1"/>
                  </a:lnTo>
                  <a:lnTo>
                    <a:pt x="67" y="2"/>
                  </a:lnTo>
                  <a:lnTo>
                    <a:pt x="59" y="3"/>
                  </a:lnTo>
                  <a:lnTo>
                    <a:pt x="52" y="6"/>
                  </a:lnTo>
                  <a:lnTo>
                    <a:pt x="46" y="9"/>
                  </a:lnTo>
                  <a:lnTo>
                    <a:pt x="39" y="13"/>
                  </a:lnTo>
                  <a:lnTo>
                    <a:pt x="33" y="16"/>
                  </a:lnTo>
                  <a:lnTo>
                    <a:pt x="27" y="21"/>
                  </a:lnTo>
                  <a:lnTo>
                    <a:pt x="22" y="26"/>
                  </a:lnTo>
                  <a:lnTo>
                    <a:pt x="17" y="32"/>
                  </a:lnTo>
                  <a:lnTo>
                    <a:pt x="13" y="38"/>
                  </a:lnTo>
                  <a:lnTo>
                    <a:pt x="9" y="44"/>
                  </a:lnTo>
                  <a:lnTo>
                    <a:pt x="6" y="51"/>
                  </a:lnTo>
                  <a:lnTo>
                    <a:pt x="3" y="58"/>
                  </a:lnTo>
                  <a:lnTo>
                    <a:pt x="1" y="65"/>
                  </a:lnTo>
                  <a:lnTo>
                    <a:pt x="0" y="72"/>
                  </a:lnTo>
                  <a:lnTo>
                    <a:pt x="165" y="72"/>
                  </a:lnTo>
                  <a:lnTo>
                    <a:pt x="164" y="65"/>
                  </a:lnTo>
                  <a:lnTo>
                    <a:pt x="161" y="57"/>
                  </a:lnTo>
                  <a:lnTo>
                    <a:pt x="159" y="51"/>
                  </a:lnTo>
                  <a:lnTo>
                    <a:pt x="155" y="44"/>
                  </a:lnTo>
                  <a:lnTo>
                    <a:pt x="152" y="38"/>
                  </a:lnTo>
                  <a:lnTo>
                    <a:pt x="147" y="32"/>
                  </a:lnTo>
                  <a:lnTo>
                    <a:pt x="142" y="26"/>
                  </a:lnTo>
                  <a:lnTo>
                    <a:pt x="138" y="21"/>
                  </a:lnTo>
                  <a:lnTo>
                    <a:pt x="132" y="16"/>
                  </a:lnTo>
                  <a:lnTo>
                    <a:pt x="126" y="13"/>
                  </a:lnTo>
                  <a:lnTo>
                    <a:pt x="119" y="9"/>
                  </a:lnTo>
                  <a:lnTo>
                    <a:pt x="113" y="6"/>
                  </a:lnTo>
                  <a:lnTo>
                    <a:pt x="105" y="3"/>
                  </a:lnTo>
                  <a:lnTo>
                    <a:pt x="98" y="2"/>
                  </a:lnTo>
                  <a:lnTo>
                    <a:pt x="90" y="1"/>
                  </a:lnTo>
                  <a:lnTo>
                    <a:pt x="83" y="0"/>
                  </a:lnTo>
                  <a:lnTo>
                    <a:pt x="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12" name="Freeform 3051"/>
            <p:cNvSpPr>
              <a:spLocks/>
            </p:cNvSpPr>
            <p:nvPr/>
          </p:nvSpPr>
          <p:spPr bwMode="auto">
            <a:xfrm>
              <a:off x="9986963" y="1374775"/>
              <a:ext cx="66675" cy="52388"/>
            </a:xfrm>
            <a:custGeom>
              <a:avLst/>
              <a:gdLst>
                <a:gd name="T0" fmla="*/ 71 w 165"/>
                <a:gd name="T1" fmla="*/ 71 h 132"/>
                <a:gd name="T2" fmla="*/ 71 w 165"/>
                <a:gd name="T3" fmla="*/ 120 h 132"/>
                <a:gd name="T4" fmla="*/ 71 w 165"/>
                <a:gd name="T5" fmla="*/ 124 h 132"/>
                <a:gd name="T6" fmla="*/ 73 w 165"/>
                <a:gd name="T7" fmla="*/ 127 h 132"/>
                <a:gd name="T8" fmla="*/ 77 w 165"/>
                <a:gd name="T9" fmla="*/ 130 h 132"/>
                <a:gd name="T10" fmla="*/ 80 w 165"/>
                <a:gd name="T11" fmla="*/ 132 h 132"/>
                <a:gd name="T12" fmla="*/ 82 w 165"/>
                <a:gd name="T13" fmla="*/ 131 h 132"/>
                <a:gd name="T14" fmla="*/ 83 w 165"/>
                <a:gd name="T15" fmla="*/ 132 h 132"/>
                <a:gd name="T16" fmla="*/ 83 w 165"/>
                <a:gd name="T17" fmla="*/ 131 h 132"/>
                <a:gd name="T18" fmla="*/ 84 w 165"/>
                <a:gd name="T19" fmla="*/ 132 h 132"/>
                <a:gd name="T20" fmla="*/ 88 w 165"/>
                <a:gd name="T21" fmla="*/ 130 h 132"/>
                <a:gd name="T22" fmla="*/ 91 w 165"/>
                <a:gd name="T23" fmla="*/ 127 h 132"/>
                <a:gd name="T24" fmla="*/ 94 w 165"/>
                <a:gd name="T25" fmla="*/ 124 h 132"/>
                <a:gd name="T26" fmla="*/ 95 w 165"/>
                <a:gd name="T27" fmla="*/ 120 h 132"/>
                <a:gd name="T28" fmla="*/ 95 w 165"/>
                <a:gd name="T29" fmla="*/ 71 h 132"/>
                <a:gd name="T30" fmla="*/ 108 w 165"/>
                <a:gd name="T31" fmla="*/ 68 h 132"/>
                <a:gd name="T32" fmla="*/ 120 w 165"/>
                <a:gd name="T33" fmla="*/ 63 h 132"/>
                <a:gd name="T34" fmla="*/ 132 w 165"/>
                <a:gd name="T35" fmla="*/ 56 h 132"/>
                <a:gd name="T36" fmla="*/ 141 w 165"/>
                <a:gd name="T37" fmla="*/ 48 h 132"/>
                <a:gd name="T38" fmla="*/ 151 w 165"/>
                <a:gd name="T39" fmla="*/ 37 h 132"/>
                <a:gd name="T40" fmla="*/ 157 w 165"/>
                <a:gd name="T41" fmla="*/ 26 h 132"/>
                <a:gd name="T42" fmla="*/ 163 w 165"/>
                <a:gd name="T43" fmla="*/ 13 h 132"/>
                <a:gd name="T44" fmla="*/ 165 w 165"/>
                <a:gd name="T45" fmla="*/ 0 h 132"/>
                <a:gd name="T46" fmla="*/ 0 w 165"/>
                <a:gd name="T47" fmla="*/ 0 h 132"/>
                <a:gd name="T48" fmla="*/ 2 w 165"/>
                <a:gd name="T49" fmla="*/ 13 h 132"/>
                <a:gd name="T50" fmla="*/ 8 w 165"/>
                <a:gd name="T51" fmla="*/ 26 h 132"/>
                <a:gd name="T52" fmla="*/ 15 w 165"/>
                <a:gd name="T53" fmla="*/ 37 h 132"/>
                <a:gd name="T54" fmla="*/ 23 w 165"/>
                <a:gd name="T55" fmla="*/ 48 h 132"/>
                <a:gd name="T56" fmla="*/ 33 w 165"/>
                <a:gd name="T57" fmla="*/ 56 h 132"/>
                <a:gd name="T58" fmla="*/ 45 w 165"/>
                <a:gd name="T59" fmla="*/ 63 h 132"/>
                <a:gd name="T60" fmla="*/ 57 w 165"/>
                <a:gd name="T61" fmla="*/ 68 h 132"/>
                <a:gd name="T62" fmla="*/ 71 w 165"/>
                <a:gd name="T63" fmla="*/ 7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5" h="132">
                  <a:moveTo>
                    <a:pt x="71" y="71"/>
                  </a:moveTo>
                  <a:lnTo>
                    <a:pt x="71" y="120"/>
                  </a:lnTo>
                  <a:lnTo>
                    <a:pt x="71" y="124"/>
                  </a:lnTo>
                  <a:lnTo>
                    <a:pt x="73" y="127"/>
                  </a:lnTo>
                  <a:lnTo>
                    <a:pt x="77" y="130"/>
                  </a:lnTo>
                  <a:lnTo>
                    <a:pt x="80" y="132"/>
                  </a:lnTo>
                  <a:lnTo>
                    <a:pt x="82" y="131"/>
                  </a:lnTo>
                  <a:lnTo>
                    <a:pt x="83" y="132"/>
                  </a:lnTo>
                  <a:lnTo>
                    <a:pt x="83" y="131"/>
                  </a:lnTo>
                  <a:lnTo>
                    <a:pt x="84" y="132"/>
                  </a:lnTo>
                  <a:lnTo>
                    <a:pt x="88" y="130"/>
                  </a:lnTo>
                  <a:lnTo>
                    <a:pt x="91" y="127"/>
                  </a:lnTo>
                  <a:lnTo>
                    <a:pt x="94" y="124"/>
                  </a:lnTo>
                  <a:lnTo>
                    <a:pt x="95" y="120"/>
                  </a:lnTo>
                  <a:lnTo>
                    <a:pt x="95" y="71"/>
                  </a:lnTo>
                  <a:lnTo>
                    <a:pt x="108" y="68"/>
                  </a:lnTo>
                  <a:lnTo>
                    <a:pt x="120" y="63"/>
                  </a:lnTo>
                  <a:lnTo>
                    <a:pt x="132" y="56"/>
                  </a:lnTo>
                  <a:lnTo>
                    <a:pt x="141" y="48"/>
                  </a:lnTo>
                  <a:lnTo>
                    <a:pt x="151" y="37"/>
                  </a:lnTo>
                  <a:lnTo>
                    <a:pt x="157" y="26"/>
                  </a:lnTo>
                  <a:lnTo>
                    <a:pt x="163" y="13"/>
                  </a:lnTo>
                  <a:lnTo>
                    <a:pt x="165" y="0"/>
                  </a:lnTo>
                  <a:lnTo>
                    <a:pt x="0" y="0"/>
                  </a:lnTo>
                  <a:lnTo>
                    <a:pt x="2" y="13"/>
                  </a:lnTo>
                  <a:lnTo>
                    <a:pt x="8" y="26"/>
                  </a:lnTo>
                  <a:lnTo>
                    <a:pt x="15" y="37"/>
                  </a:lnTo>
                  <a:lnTo>
                    <a:pt x="23" y="48"/>
                  </a:lnTo>
                  <a:lnTo>
                    <a:pt x="33" y="56"/>
                  </a:lnTo>
                  <a:lnTo>
                    <a:pt x="45" y="63"/>
                  </a:lnTo>
                  <a:lnTo>
                    <a:pt x="57" y="68"/>
                  </a:lnTo>
                  <a:lnTo>
                    <a:pt x="71"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13" name="Freeform 3052"/>
            <p:cNvSpPr>
              <a:spLocks/>
            </p:cNvSpPr>
            <p:nvPr/>
          </p:nvSpPr>
          <p:spPr bwMode="auto">
            <a:xfrm>
              <a:off x="9882188" y="1427163"/>
              <a:ext cx="276225" cy="138113"/>
            </a:xfrm>
            <a:custGeom>
              <a:avLst/>
              <a:gdLst>
                <a:gd name="T0" fmla="*/ 601 w 694"/>
                <a:gd name="T1" fmla="*/ 347 h 347"/>
                <a:gd name="T2" fmla="*/ 625 w 694"/>
                <a:gd name="T3" fmla="*/ 331 h 347"/>
                <a:gd name="T4" fmla="*/ 651 w 694"/>
                <a:gd name="T5" fmla="*/ 306 h 347"/>
                <a:gd name="T6" fmla="*/ 670 w 694"/>
                <a:gd name="T7" fmla="*/ 277 h 347"/>
                <a:gd name="T8" fmla="*/ 685 w 694"/>
                <a:gd name="T9" fmla="*/ 248 h 347"/>
                <a:gd name="T10" fmla="*/ 692 w 694"/>
                <a:gd name="T11" fmla="*/ 214 h 347"/>
                <a:gd name="T12" fmla="*/ 693 w 694"/>
                <a:gd name="T13" fmla="*/ 171 h 347"/>
                <a:gd name="T14" fmla="*/ 680 w 694"/>
                <a:gd name="T15" fmla="*/ 114 h 347"/>
                <a:gd name="T16" fmla="*/ 654 w 694"/>
                <a:gd name="T17" fmla="*/ 68 h 347"/>
                <a:gd name="T18" fmla="*/ 617 w 694"/>
                <a:gd name="T19" fmla="*/ 31 h 347"/>
                <a:gd name="T20" fmla="*/ 569 w 694"/>
                <a:gd name="T21" fmla="*/ 8 h 347"/>
                <a:gd name="T22" fmla="*/ 515 w 694"/>
                <a:gd name="T23" fmla="*/ 0 h 347"/>
                <a:gd name="T24" fmla="*/ 485 w 694"/>
                <a:gd name="T25" fmla="*/ 2 h 347"/>
                <a:gd name="T26" fmla="*/ 436 w 694"/>
                <a:gd name="T27" fmla="*/ 19 h 347"/>
                <a:gd name="T28" fmla="*/ 468 w 694"/>
                <a:gd name="T29" fmla="*/ 39 h 347"/>
                <a:gd name="T30" fmla="*/ 497 w 694"/>
                <a:gd name="T31" fmla="*/ 66 h 347"/>
                <a:gd name="T32" fmla="*/ 518 w 694"/>
                <a:gd name="T33" fmla="*/ 98 h 347"/>
                <a:gd name="T34" fmla="*/ 532 w 694"/>
                <a:gd name="T35" fmla="*/ 135 h 347"/>
                <a:gd name="T36" fmla="*/ 540 w 694"/>
                <a:gd name="T37" fmla="*/ 175 h 347"/>
                <a:gd name="T38" fmla="*/ 537 w 694"/>
                <a:gd name="T39" fmla="*/ 223 h 347"/>
                <a:gd name="T40" fmla="*/ 526 w 694"/>
                <a:gd name="T41" fmla="*/ 258 h 347"/>
                <a:gd name="T42" fmla="*/ 517 w 694"/>
                <a:gd name="T43" fmla="*/ 263 h 347"/>
                <a:gd name="T44" fmla="*/ 509 w 694"/>
                <a:gd name="T45" fmla="*/ 259 h 347"/>
                <a:gd name="T46" fmla="*/ 506 w 694"/>
                <a:gd name="T47" fmla="*/ 246 h 347"/>
                <a:gd name="T48" fmla="*/ 515 w 694"/>
                <a:gd name="T49" fmla="*/ 203 h 347"/>
                <a:gd name="T50" fmla="*/ 512 w 694"/>
                <a:gd name="T51" fmla="*/ 155 h 347"/>
                <a:gd name="T52" fmla="*/ 497 w 694"/>
                <a:gd name="T53" fmla="*/ 108 h 347"/>
                <a:gd name="T54" fmla="*/ 468 w 694"/>
                <a:gd name="T55" fmla="*/ 70 h 347"/>
                <a:gd name="T56" fmla="*/ 429 w 694"/>
                <a:gd name="T57" fmla="*/ 43 h 347"/>
                <a:gd name="T58" fmla="*/ 383 w 694"/>
                <a:gd name="T59" fmla="*/ 26 h 347"/>
                <a:gd name="T60" fmla="*/ 329 w 694"/>
                <a:gd name="T61" fmla="*/ 24 h 347"/>
                <a:gd name="T62" fmla="*/ 280 w 694"/>
                <a:gd name="T63" fmla="*/ 36 h 347"/>
                <a:gd name="T64" fmla="*/ 239 w 694"/>
                <a:gd name="T65" fmla="*/ 61 h 347"/>
                <a:gd name="T66" fmla="*/ 205 w 694"/>
                <a:gd name="T67" fmla="*/ 96 h 347"/>
                <a:gd name="T68" fmla="*/ 185 w 694"/>
                <a:gd name="T69" fmla="*/ 139 h 347"/>
                <a:gd name="T70" fmla="*/ 177 w 694"/>
                <a:gd name="T71" fmla="*/ 189 h 347"/>
                <a:gd name="T72" fmla="*/ 183 w 694"/>
                <a:gd name="T73" fmla="*/ 232 h 347"/>
                <a:gd name="T74" fmla="*/ 186 w 694"/>
                <a:gd name="T75" fmla="*/ 255 h 347"/>
                <a:gd name="T76" fmla="*/ 174 w 694"/>
                <a:gd name="T77" fmla="*/ 262 h 347"/>
                <a:gd name="T78" fmla="*/ 164 w 694"/>
                <a:gd name="T79" fmla="*/ 253 h 347"/>
                <a:gd name="T80" fmla="*/ 154 w 694"/>
                <a:gd name="T81" fmla="*/ 206 h 347"/>
                <a:gd name="T82" fmla="*/ 155 w 694"/>
                <a:gd name="T83" fmla="*/ 162 h 347"/>
                <a:gd name="T84" fmla="*/ 165 w 694"/>
                <a:gd name="T85" fmla="*/ 124 h 347"/>
                <a:gd name="T86" fmla="*/ 182 w 694"/>
                <a:gd name="T87" fmla="*/ 88 h 347"/>
                <a:gd name="T88" fmla="*/ 207 w 694"/>
                <a:gd name="T89" fmla="*/ 58 h 347"/>
                <a:gd name="T90" fmla="*/ 235 w 694"/>
                <a:gd name="T91" fmla="*/ 33 h 347"/>
                <a:gd name="T92" fmla="*/ 242 w 694"/>
                <a:gd name="T93" fmla="*/ 13 h 347"/>
                <a:gd name="T94" fmla="*/ 202 w 694"/>
                <a:gd name="T95" fmla="*/ 1 h 347"/>
                <a:gd name="T96" fmla="*/ 160 w 694"/>
                <a:gd name="T97" fmla="*/ 1 h 347"/>
                <a:gd name="T98" fmla="*/ 107 w 694"/>
                <a:gd name="T99" fmla="*/ 14 h 347"/>
                <a:gd name="T100" fmla="*/ 63 w 694"/>
                <a:gd name="T101" fmla="*/ 42 h 347"/>
                <a:gd name="T102" fmla="*/ 28 w 694"/>
                <a:gd name="T103" fmla="*/ 82 h 347"/>
                <a:gd name="T104" fmla="*/ 7 w 694"/>
                <a:gd name="T105" fmla="*/ 132 h 347"/>
                <a:gd name="T106" fmla="*/ 0 w 694"/>
                <a:gd name="T107" fmla="*/ 192 h 347"/>
                <a:gd name="T108" fmla="*/ 2 w 694"/>
                <a:gd name="T109" fmla="*/ 225 h 347"/>
                <a:gd name="T110" fmla="*/ 13 w 694"/>
                <a:gd name="T111" fmla="*/ 256 h 347"/>
                <a:gd name="T112" fmla="*/ 28 w 694"/>
                <a:gd name="T113" fmla="*/ 286 h 347"/>
                <a:gd name="T114" fmla="*/ 49 w 694"/>
                <a:gd name="T115" fmla="*/ 313 h 347"/>
                <a:gd name="T116" fmla="*/ 78 w 694"/>
                <a:gd name="T117" fmla="*/ 33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4" h="347">
                  <a:moveTo>
                    <a:pt x="88" y="345"/>
                  </a:moveTo>
                  <a:lnTo>
                    <a:pt x="91" y="347"/>
                  </a:lnTo>
                  <a:lnTo>
                    <a:pt x="601" y="347"/>
                  </a:lnTo>
                  <a:lnTo>
                    <a:pt x="605" y="345"/>
                  </a:lnTo>
                  <a:lnTo>
                    <a:pt x="615" y="338"/>
                  </a:lnTo>
                  <a:lnTo>
                    <a:pt x="625" y="331"/>
                  </a:lnTo>
                  <a:lnTo>
                    <a:pt x="635" y="322"/>
                  </a:lnTo>
                  <a:lnTo>
                    <a:pt x="643" y="314"/>
                  </a:lnTo>
                  <a:lnTo>
                    <a:pt x="651" y="306"/>
                  </a:lnTo>
                  <a:lnTo>
                    <a:pt x="659" y="296"/>
                  </a:lnTo>
                  <a:lnTo>
                    <a:pt x="664" y="288"/>
                  </a:lnTo>
                  <a:lnTo>
                    <a:pt x="670" y="277"/>
                  </a:lnTo>
                  <a:lnTo>
                    <a:pt x="676" y="268"/>
                  </a:lnTo>
                  <a:lnTo>
                    <a:pt x="681" y="258"/>
                  </a:lnTo>
                  <a:lnTo>
                    <a:pt x="685" y="248"/>
                  </a:lnTo>
                  <a:lnTo>
                    <a:pt x="688" y="237"/>
                  </a:lnTo>
                  <a:lnTo>
                    <a:pt x="691" y="226"/>
                  </a:lnTo>
                  <a:lnTo>
                    <a:pt x="692" y="214"/>
                  </a:lnTo>
                  <a:lnTo>
                    <a:pt x="693" y="203"/>
                  </a:lnTo>
                  <a:lnTo>
                    <a:pt x="694" y="192"/>
                  </a:lnTo>
                  <a:lnTo>
                    <a:pt x="693" y="171"/>
                  </a:lnTo>
                  <a:lnTo>
                    <a:pt x="691" y="151"/>
                  </a:lnTo>
                  <a:lnTo>
                    <a:pt x="686" y="132"/>
                  </a:lnTo>
                  <a:lnTo>
                    <a:pt x="680" y="114"/>
                  </a:lnTo>
                  <a:lnTo>
                    <a:pt x="673" y="98"/>
                  </a:lnTo>
                  <a:lnTo>
                    <a:pt x="664" y="82"/>
                  </a:lnTo>
                  <a:lnTo>
                    <a:pt x="654" y="68"/>
                  </a:lnTo>
                  <a:lnTo>
                    <a:pt x="643" y="54"/>
                  </a:lnTo>
                  <a:lnTo>
                    <a:pt x="630" y="42"/>
                  </a:lnTo>
                  <a:lnTo>
                    <a:pt x="617" y="31"/>
                  </a:lnTo>
                  <a:lnTo>
                    <a:pt x="601" y="22"/>
                  </a:lnTo>
                  <a:lnTo>
                    <a:pt x="586" y="14"/>
                  </a:lnTo>
                  <a:lnTo>
                    <a:pt x="569" y="8"/>
                  </a:lnTo>
                  <a:lnTo>
                    <a:pt x="551" y="4"/>
                  </a:lnTo>
                  <a:lnTo>
                    <a:pt x="534" y="1"/>
                  </a:lnTo>
                  <a:lnTo>
                    <a:pt x="515" y="0"/>
                  </a:lnTo>
                  <a:lnTo>
                    <a:pt x="504" y="0"/>
                  </a:lnTo>
                  <a:lnTo>
                    <a:pt x="494" y="1"/>
                  </a:lnTo>
                  <a:lnTo>
                    <a:pt x="485" y="2"/>
                  </a:lnTo>
                  <a:lnTo>
                    <a:pt x="475" y="5"/>
                  </a:lnTo>
                  <a:lnTo>
                    <a:pt x="455" y="11"/>
                  </a:lnTo>
                  <a:lnTo>
                    <a:pt x="436" y="19"/>
                  </a:lnTo>
                  <a:lnTo>
                    <a:pt x="447" y="25"/>
                  </a:lnTo>
                  <a:lnTo>
                    <a:pt x="459" y="32"/>
                  </a:lnTo>
                  <a:lnTo>
                    <a:pt x="468" y="39"/>
                  </a:lnTo>
                  <a:lnTo>
                    <a:pt x="479" y="48"/>
                  </a:lnTo>
                  <a:lnTo>
                    <a:pt x="487" y="56"/>
                  </a:lnTo>
                  <a:lnTo>
                    <a:pt x="497" y="66"/>
                  </a:lnTo>
                  <a:lnTo>
                    <a:pt x="504" y="75"/>
                  </a:lnTo>
                  <a:lnTo>
                    <a:pt x="511" y="86"/>
                  </a:lnTo>
                  <a:lnTo>
                    <a:pt x="518" y="98"/>
                  </a:lnTo>
                  <a:lnTo>
                    <a:pt x="523" y="110"/>
                  </a:lnTo>
                  <a:lnTo>
                    <a:pt x="528" y="121"/>
                  </a:lnTo>
                  <a:lnTo>
                    <a:pt x="532" y="135"/>
                  </a:lnTo>
                  <a:lnTo>
                    <a:pt x="536" y="148"/>
                  </a:lnTo>
                  <a:lnTo>
                    <a:pt x="537" y="161"/>
                  </a:lnTo>
                  <a:lnTo>
                    <a:pt x="540" y="175"/>
                  </a:lnTo>
                  <a:lnTo>
                    <a:pt x="540" y="189"/>
                  </a:lnTo>
                  <a:lnTo>
                    <a:pt x="538" y="206"/>
                  </a:lnTo>
                  <a:lnTo>
                    <a:pt x="537" y="223"/>
                  </a:lnTo>
                  <a:lnTo>
                    <a:pt x="534" y="239"/>
                  </a:lnTo>
                  <a:lnTo>
                    <a:pt x="528" y="255"/>
                  </a:lnTo>
                  <a:lnTo>
                    <a:pt x="526" y="258"/>
                  </a:lnTo>
                  <a:lnTo>
                    <a:pt x="524" y="261"/>
                  </a:lnTo>
                  <a:lnTo>
                    <a:pt x="521" y="262"/>
                  </a:lnTo>
                  <a:lnTo>
                    <a:pt x="517" y="263"/>
                  </a:lnTo>
                  <a:lnTo>
                    <a:pt x="515" y="263"/>
                  </a:lnTo>
                  <a:lnTo>
                    <a:pt x="513" y="262"/>
                  </a:lnTo>
                  <a:lnTo>
                    <a:pt x="509" y="259"/>
                  </a:lnTo>
                  <a:lnTo>
                    <a:pt x="506" y="256"/>
                  </a:lnTo>
                  <a:lnTo>
                    <a:pt x="505" y="251"/>
                  </a:lnTo>
                  <a:lnTo>
                    <a:pt x="506" y="246"/>
                  </a:lnTo>
                  <a:lnTo>
                    <a:pt x="510" y="233"/>
                  </a:lnTo>
                  <a:lnTo>
                    <a:pt x="513" y="219"/>
                  </a:lnTo>
                  <a:lnTo>
                    <a:pt x="515" y="203"/>
                  </a:lnTo>
                  <a:lnTo>
                    <a:pt x="516" y="189"/>
                  </a:lnTo>
                  <a:lnTo>
                    <a:pt x="515" y="171"/>
                  </a:lnTo>
                  <a:lnTo>
                    <a:pt x="512" y="155"/>
                  </a:lnTo>
                  <a:lnTo>
                    <a:pt x="509" y="138"/>
                  </a:lnTo>
                  <a:lnTo>
                    <a:pt x="503" y="123"/>
                  </a:lnTo>
                  <a:lnTo>
                    <a:pt x="497" y="108"/>
                  </a:lnTo>
                  <a:lnTo>
                    <a:pt x="488" y="94"/>
                  </a:lnTo>
                  <a:lnTo>
                    <a:pt x="479" y="82"/>
                  </a:lnTo>
                  <a:lnTo>
                    <a:pt x="468" y="70"/>
                  </a:lnTo>
                  <a:lnTo>
                    <a:pt x="456" y="60"/>
                  </a:lnTo>
                  <a:lnTo>
                    <a:pt x="443" y="50"/>
                  </a:lnTo>
                  <a:lnTo>
                    <a:pt x="429" y="43"/>
                  </a:lnTo>
                  <a:lnTo>
                    <a:pt x="415" y="36"/>
                  </a:lnTo>
                  <a:lnTo>
                    <a:pt x="398" y="31"/>
                  </a:lnTo>
                  <a:lnTo>
                    <a:pt x="383" y="26"/>
                  </a:lnTo>
                  <a:lnTo>
                    <a:pt x="365" y="24"/>
                  </a:lnTo>
                  <a:lnTo>
                    <a:pt x="347" y="24"/>
                  </a:lnTo>
                  <a:lnTo>
                    <a:pt x="329" y="24"/>
                  </a:lnTo>
                  <a:lnTo>
                    <a:pt x="312" y="26"/>
                  </a:lnTo>
                  <a:lnTo>
                    <a:pt x="296" y="31"/>
                  </a:lnTo>
                  <a:lnTo>
                    <a:pt x="280" y="36"/>
                  </a:lnTo>
                  <a:lnTo>
                    <a:pt x="265" y="43"/>
                  </a:lnTo>
                  <a:lnTo>
                    <a:pt x="252" y="51"/>
                  </a:lnTo>
                  <a:lnTo>
                    <a:pt x="239" y="61"/>
                  </a:lnTo>
                  <a:lnTo>
                    <a:pt x="227" y="71"/>
                  </a:lnTo>
                  <a:lnTo>
                    <a:pt x="215" y="83"/>
                  </a:lnTo>
                  <a:lnTo>
                    <a:pt x="205" y="96"/>
                  </a:lnTo>
                  <a:lnTo>
                    <a:pt x="197" y="110"/>
                  </a:lnTo>
                  <a:lnTo>
                    <a:pt x="190" y="124"/>
                  </a:lnTo>
                  <a:lnTo>
                    <a:pt x="185" y="139"/>
                  </a:lnTo>
                  <a:lnTo>
                    <a:pt x="180" y="156"/>
                  </a:lnTo>
                  <a:lnTo>
                    <a:pt x="178" y="173"/>
                  </a:lnTo>
                  <a:lnTo>
                    <a:pt x="177" y="189"/>
                  </a:lnTo>
                  <a:lnTo>
                    <a:pt x="178" y="203"/>
                  </a:lnTo>
                  <a:lnTo>
                    <a:pt x="179" y="218"/>
                  </a:lnTo>
                  <a:lnTo>
                    <a:pt x="183" y="232"/>
                  </a:lnTo>
                  <a:lnTo>
                    <a:pt x="186" y="245"/>
                  </a:lnTo>
                  <a:lnTo>
                    <a:pt x="187" y="250"/>
                  </a:lnTo>
                  <a:lnTo>
                    <a:pt x="186" y="255"/>
                  </a:lnTo>
                  <a:lnTo>
                    <a:pt x="184" y="258"/>
                  </a:lnTo>
                  <a:lnTo>
                    <a:pt x="179" y="261"/>
                  </a:lnTo>
                  <a:lnTo>
                    <a:pt x="174" y="262"/>
                  </a:lnTo>
                  <a:lnTo>
                    <a:pt x="170" y="261"/>
                  </a:lnTo>
                  <a:lnTo>
                    <a:pt x="166" y="257"/>
                  </a:lnTo>
                  <a:lnTo>
                    <a:pt x="164" y="253"/>
                  </a:lnTo>
                  <a:lnTo>
                    <a:pt x="159" y="238"/>
                  </a:lnTo>
                  <a:lnTo>
                    <a:pt x="155" y="223"/>
                  </a:lnTo>
                  <a:lnTo>
                    <a:pt x="154" y="206"/>
                  </a:lnTo>
                  <a:lnTo>
                    <a:pt x="153" y="189"/>
                  </a:lnTo>
                  <a:lnTo>
                    <a:pt x="154" y="176"/>
                  </a:lnTo>
                  <a:lnTo>
                    <a:pt x="155" y="162"/>
                  </a:lnTo>
                  <a:lnTo>
                    <a:pt x="158" y="149"/>
                  </a:lnTo>
                  <a:lnTo>
                    <a:pt x="161" y="136"/>
                  </a:lnTo>
                  <a:lnTo>
                    <a:pt x="165" y="124"/>
                  </a:lnTo>
                  <a:lnTo>
                    <a:pt x="170" y="111"/>
                  </a:lnTo>
                  <a:lnTo>
                    <a:pt x="176" y="100"/>
                  </a:lnTo>
                  <a:lnTo>
                    <a:pt x="182" y="88"/>
                  </a:lnTo>
                  <a:lnTo>
                    <a:pt x="190" y="77"/>
                  </a:lnTo>
                  <a:lnTo>
                    <a:pt x="197" y="68"/>
                  </a:lnTo>
                  <a:lnTo>
                    <a:pt x="207" y="58"/>
                  </a:lnTo>
                  <a:lnTo>
                    <a:pt x="215" y="49"/>
                  </a:lnTo>
                  <a:lnTo>
                    <a:pt x="226" y="41"/>
                  </a:lnTo>
                  <a:lnTo>
                    <a:pt x="235" y="33"/>
                  </a:lnTo>
                  <a:lnTo>
                    <a:pt x="247" y="26"/>
                  </a:lnTo>
                  <a:lnTo>
                    <a:pt x="258" y="20"/>
                  </a:lnTo>
                  <a:lnTo>
                    <a:pt x="242" y="13"/>
                  </a:lnTo>
                  <a:lnTo>
                    <a:pt x="223" y="6"/>
                  </a:lnTo>
                  <a:lnTo>
                    <a:pt x="212" y="4"/>
                  </a:lnTo>
                  <a:lnTo>
                    <a:pt x="202" y="1"/>
                  </a:lnTo>
                  <a:lnTo>
                    <a:pt x="191" y="0"/>
                  </a:lnTo>
                  <a:lnTo>
                    <a:pt x="179" y="0"/>
                  </a:lnTo>
                  <a:lnTo>
                    <a:pt x="160" y="1"/>
                  </a:lnTo>
                  <a:lnTo>
                    <a:pt x="141" y="4"/>
                  </a:lnTo>
                  <a:lnTo>
                    <a:pt x="123" y="8"/>
                  </a:lnTo>
                  <a:lnTo>
                    <a:pt x="107" y="14"/>
                  </a:lnTo>
                  <a:lnTo>
                    <a:pt x="91" y="22"/>
                  </a:lnTo>
                  <a:lnTo>
                    <a:pt x="76" y="31"/>
                  </a:lnTo>
                  <a:lnTo>
                    <a:pt x="63" y="42"/>
                  </a:lnTo>
                  <a:lnTo>
                    <a:pt x="49" y="54"/>
                  </a:lnTo>
                  <a:lnTo>
                    <a:pt x="39" y="68"/>
                  </a:lnTo>
                  <a:lnTo>
                    <a:pt x="28" y="82"/>
                  </a:lnTo>
                  <a:lnTo>
                    <a:pt x="20" y="98"/>
                  </a:lnTo>
                  <a:lnTo>
                    <a:pt x="13" y="114"/>
                  </a:lnTo>
                  <a:lnTo>
                    <a:pt x="7" y="132"/>
                  </a:lnTo>
                  <a:lnTo>
                    <a:pt x="3" y="151"/>
                  </a:lnTo>
                  <a:lnTo>
                    <a:pt x="0" y="171"/>
                  </a:lnTo>
                  <a:lnTo>
                    <a:pt x="0" y="192"/>
                  </a:lnTo>
                  <a:lnTo>
                    <a:pt x="0" y="202"/>
                  </a:lnTo>
                  <a:lnTo>
                    <a:pt x="1" y="213"/>
                  </a:lnTo>
                  <a:lnTo>
                    <a:pt x="2" y="225"/>
                  </a:lnTo>
                  <a:lnTo>
                    <a:pt x="5" y="236"/>
                  </a:lnTo>
                  <a:lnTo>
                    <a:pt x="8" y="245"/>
                  </a:lnTo>
                  <a:lnTo>
                    <a:pt x="13" y="256"/>
                  </a:lnTo>
                  <a:lnTo>
                    <a:pt x="16" y="267"/>
                  </a:lnTo>
                  <a:lnTo>
                    <a:pt x="22" y="276"/>
                  </a:lnTo>
                  <a:lnTo>
                    <a:pt x="28" y="286"/>
                  </a:lnTo>
                  <a:lnTo>
                    <a:pt x="35" y="295"/>
                  </a:lnTo>
                  <a:lnTo>
                    <a:pt x="42" y="305"/>
                  </a:lnTo>
                  <a:lnTo>
                    <a:pt x="49" y="313"/>
                  </a:lnTo>
                  <a:lnTo>
                    <a:pt x="59" y="321"/>
                  </a:lnTo>
                  <a:lnTo>
                    <a:pt x="67" y="330"/>
                  </a:lnTo>
                  <a:lnTo>
                    <a:pt x="78" y="338"/>
                  </a:lnTo>
                  <a:lnTo>
                    <a:pt x="88" y="345"/>
                  </a:lnTo>
                  <a:lnTo>
                    <a:pt x="88"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214" name="Group 213"/>
          <p:cNvGrpSpPr/>
          <p:nvPr/>
        </p:nvGrpSpPr>
        <p:grpSpPr>
          <a:xfrm>
            <a:off x="13118404" y="8764943"/>
            <a:ext cx="350789" cy="375844"/>
            <a:chOff x="10464800" y="1382713"/>
            <a:chExt cx="266701" cy="285750"/>
          </a:xfrm>
          <a:solidFill>
            <a:schemeClr val="bg1"/>
          </a:solidFill>
          <a:effectLst>
            <a:outerShdw blurRad="38100" dist="25400" dir="5400000" algn="ctr" rotWithShape="0">
              <a:srgbClr val="000000">
                <a:alpha val="20000"/>
              </a:srgbClr>
            </a:outerShdw>
          </a:effectLst>
        </p:grpSpPr>
        <p:sp>
          <p:nvSpPr>
            <p:cNvPr id="215" name="Freeform 4133"/>
            <p:cNvSpPr>
              <a:spLocks noEditPoints="1"/>
            </p:cNvSpPr>
            <p:nvPr/>
          </p:nvSpPr>
          <p:spPr bwMode="auto">
            <a:xfrm>
              <a:off x="10464800" y="1487488"/>
              <a:ext cx="230188" cy="180975"/>
            </a:xfrm>
            <a:custGeom>
              <a:avLst/>
              <a:gdLst>
                <a:gd name="T0" fmla="*/ 210 w 721"/>
                <a:gd name="T1" fmla="*/ 420 h 570"/>
                <a:gd name="T2" fmla="*/ 511 w 721"/>
                <a:gd name="T3" fmla="*/ 150 h 570"/>
                <a:gd name="T4" fmla="*/ 706 w 721"/>
                <a:gd name="T5" fmla="*/ 0 h 570"/>
                <a:gd name="T6" fmla="*/ 556 w 721"/>
                <a:gd name="T7" fmla="*/ 60 h 570"/>
                <a:gd name="T8" fmla="*/ 554 w 721"/>
                <a:gd name="T9" fmla="*/ 72 h 570"/>
                <a:gd name="T10" fmla="*/ 547 w 721"/>
                <a:gd name="T11" fmla="*/ 80 h 570"/>
                <a:gd name="T12" fmla="*/ 538 w 721"/>
                <a:gd name="T13" fmla="*/ 88 h 570"/>
                <a:gd name="T14" fmla="*/ 526 w 721"/>
                <a:gd name="T15" fmla="*/ 90 h 570"/>
                <a:gd name="T16" fmla="*/ 514 w 721"/>
                <a:gd name="T17" fmla="*/ 87 h 570"/>
                <a:gd name="T18" fmla="*/ 505 w 721"/>
                <a:gd name="T19" fmla="*/ 80 h 570"/>
                <a:gd name="T20" fmla="*/ 498 w 721"/>
                <a:gd name="T21" fmla="*/ 72 h 570"/>
                <a:gd name="T22" fmla="*/ 496 w 721"/>
                <a:gd name="T23" fmla="*/ 60 h 570"/>
                <a:gd name="T24" fmla="*/ 225 w 721"/>
                <a:gd name="T25" fmla="*/ 0 h 570"/>
                <a:gd name="T26" fmla="*/ 225 w 721"/>
                <a:gd name="T27" fmla="*/ 65 h 570"/>
                <a:gd name="T28" fmla="*/ 221 w 721"/>
                <a:gd name="T29" fmla="*/ 76 h 570"/>
                <a:gd name="T30" fmla="*/ 212 w 721"/>
                <a:gd name="T31" fmla="*/ 85 h 570"/>
                <a:gd name="T32" fmla="*/ 201 w 721"/>
                <a:gd name="T33" fmla="*/ 89 h 570"/>
                <a:gd name="T34" fmla="*/ 189 w 721"/>
                <a:gd name="T35" fmla="*/ 89 h 570"/>
                <a:gd name="T36" fmla="*/ 179 w 721"/>
                <a:gd name="T37" fmla="*/ 85 h 570"/>
                <a:gd name="T38" fmla="*/ 170 w 721"/>
                <a:gd name="T39" fmla="*/ 76 h 570"/>
                <a:gd name="T40" fmla="*/ 166 w 721"/>
                <a:gd name="T41" fmla="*/ 65 h 570"/>
                <a:gd name="T42" fmla="*/ 165 w 721"/>
                <a:gd name="T43" fmla="*/ 0 h 570"/>
                <a:gd name="T44" fmla="*/ 11 w 721"/>
                <a:gd name="T45" fmla="*/ 0 h 570"/>
                <a:gd name="T46" fmla="*/ 6 w 721"/>
                <a:gd name="T47" fmla="*/ 2 h 570"/>
                <a:gd name="T48" fmla="*/ 3 w 721"/>
                <a:gd name="T49" fmla="*/ 6 h 570"/>
                <a:gd name="T50" fmla="*/ 0 w 721"/>
                <a:gd name="T51" fmla="*/ 12 h 570"/>
                <a:gd name="T52" fmla="*/ 0 w 721"/>
                <a:gd name="T53" fmla="*/ 555 h 570"/>
                <a:gd name="T54" fmla="*/ 1 w 721"/>
                <a:gd name="T55" fmla="*/ 562 h 570"/>
                <a:gd name="T56" fmla="*/ 4 w 721"/>
                <a:gd name="T57" fmla="*/ 566 h 570"/>
                <a:gd name="T58" fmla="*/ 9 w 721"/>
                <a:gd name="T59" fmla="*/ 569 h 570"/>
                <a:gd name="T60" fmla="*/ 15 w 721"/>
                <a:gd name="T61" fmla="*/ 570 h 570"/>
                <a:gd name="T62" fmla="*/ 709 w 721"/>
                <a:gd name="T63" fmla="*/ 570 h 570"/>
                <a:gd name="T64" fmla="*/ 715 w 721"/>
                <a:gd name="T65" fmla="*/ 568 h 570"/>
                <a:gd name="T66" fmla="*/ 719 w 721"/>
                <a:gd name="T67" fmla="*/ 564 h 570"/>
                <a:gd name="T68" fmla="*/ 721 w 721"/>
                <a:gd name="T69" fmla="*/ 559 h 570"/>
                <a:gd name="T70" fmla="*/ 721 w 721"/>
                <a:gd name="T71" fmla="*/ 15 h 570"/>
                <a:gd name="T72" fmla="*/ 720 w 721"/>
                <a:gd name="T73" fmla="*/ 9 h 570"/>
                <a:gd name="T74" fmla="*/ 717 w 721"/>
                <a:gd name="T75" fmla="*/ 4 h 570"/>
                <a:gd name="T76" fmla="*/ 713 w 721"/>
                <a:gd name="T77" fmla="*/ 1 h 570"/>
                <a:gd name="T78" fmla="*/ 706 w 721"/>
                <a:gd name="T79"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1" h="570">
                  <a:moveTo>
                    <a:pt x="511" y="420"/>
                  </a:moveTo>
                  <a:lnTo>
                    <a:pt x="210" y="420"/>
                  </a:lnTo>
                  <a:lnTo>
                    <a:pt x="210" y="150"/>
                  </a:lnTo>
                  <a:lnTo>
                    <a:pt x="511" y="150"/>
                  </a:lnTo>
                  <a:lnTo>
                    <a:pt x="511" y="420"/>
                  </a:lnTo>
                  <a:close/>
                  <a:moveTo>
                    <a:pt x="706" y="0"/>
                  </a:moveTo>
                  <a:lnTo>
                    <a:pt x="556" y="0"/>
                  </a:lnTo>
                  <a:lnTo>
                    <a:pt x="556" y="60"/>
                  </a:lnTo>
                  <a:lnTo>
                    <a:pt x="555" y="65"/>
                  </a:lnTo>
                  <a:lnTo>
                    <a:pt x="554" y="72"/>
                  </a:lnTo>
                  <a:lnTo>
                    <a:pt x="551" y="76"/>
                  </a:lnTo>
                  <a:lnTo>
                    <a:pt x="547" y="80"/>
                  </a:lnTo>
                  <a:lnTo>
                    <a:pt x="543" y="85"/>
                  </a:lnTo>
                  <a:lnTo>
                    <a:pt x="538" y="88"/>
                  </a:lnTo>
                  <a:lnTo>
                    <a:pt x="532" y="89"/>
                  </a:lnTo>
                  <a:lnTo>
                    <a:pt x="526" y="90"/>
                  </a:lnTo>
                  <a:lnTo>
                    <a:pt x="520" y="89"/>
                  </a:lnTo>
                  <a:lnTo>
                    <a:pt x="514" y="87"/>
                  </a:lnTo>
                  <a:lnTo>
                    <a:pt x="509" y="85"/>
                  </a:lnTo>
                  <a:lnTo>
                    <a:pt x="505" y="80"/>
                  </a:lnTo>
                  <a:lnTo>
                    <a:pt x="501" y="76"/>
                  </a:lnTo>
                  <a:lnTo>
                    <a:pt x="498" y="72"/>
                  </a:lnTo>
                  <a:lnTo>
                    <a:pt x="496" y="65"/>
                  </a:lnTo>
                  <a:lnTo>
                    <a:pt x="496" y="60"/>
                  </a:lnTo>
                  <a:lnTo>
                    <a:pt x="496" y="0"/>
                  </a:lnTo>
                  <a:lnTo>
                    <a:pt x="225" y="0"/>
                  </a:lnTo>
                  <a:lnTo>
                    <a:pt x="226" y="60"/>
                  </a:lnTo>
                  <a:lnTo>
                    <a:pt x="225" y="65"/>
                  </a:lnTo>
                  <a:lnTo>
                    <a:pt x="223" y="72"/>
                  </a:lnTo>
                  <a:lnTo>
                    <a:pt x="221" y="76"/>
                  </a:lnTo>
                  <a:lnTo>
                    <a:pt x="216" y="80"/>
                  </a:lnTo>
                  <a:lnTo>
                    <a:pt x="212" y="85"/>
                  </a:lnTo>
                  <a:lnTo>
                    <a:pt x="207" y="88"/>
                  </a:lnTo>
                  <a:lnTo>
                    <a:pt x="201" y="89"/>
                  </a:lnTo>
                  <a:lnTo>
                    <a:pt x="195" y="90"/>
                  </a:lnTo>
                  <a:lnTo>
                    <a:pt x="189" y="89"/>
                  </a:lnTo>
                  <a:lnTo>
                    <a:pt x="184" y="87"/>
                  </a:lnTo>
                  <a:lnTo>
                    <a:pt x="179" y="85"/>
                  </a:lnTo>
                  <a:lnTo>
                    <a:pt x="174" y="80"/>
                  </a:lnTo>
                  <a:lnTo>
                    <a:pt x="170" y="76"/>
                  </a:lnTo>
                  <a:lnTo>
                    <a:pt x="168" y="72"/>
                  </a:lnTo>
                  <a:lnTo>
                    <a:pt x="166" y="65"/>
                  </a:lnTo>
                  <a:lnTo>
                    <a:pt x="165" y="60"/>
                  </a:lnTo>
                  <a:lnTo>
                    <a:pt x="165" y="0"/>
                  </a:lnTo>
                  <a:lnTo>
                    <a:pt x="15" y="0"/>
                  </a:lnTo>
                  <a:lnTo>
                    <a:pt x="11" y="0"/>
                  </a:lnTo>
                  <a:lnTo>
                    <a:pt x="9" y="1"/>
                  </a:lnTo>
                  <a:lnTo>
                    <a:pt x="6" y="2"/>
                  </a:lnTo>
                  <a:lnTo>
                    <a:pt x="4" y="4"/>
                  </a:lnTo>
                  <a:lnTo>
                    <a:pt x="3" y="6"/>
                  </a:lnTo>
                  <a:lnTo>
                    <a:pt x="1" y="9"/>
                  </a:lnTo>
                  <a:lnTo>
                    <a:pt x="0" y="12"/>
                  </a:lnTo>
                  <a:lnTo>
                    <a:pt x="0" y="15"/>
                  </a:lnTo>
                  <a:lnTo>
                    <a:pt x="0" y="555"/>
                  </a:lnTo>
                  <a:lnTo>
                    <a:pt x="1" y="559"/>
                  </a:lnTo>
                  <a:lnTo>
                    <a:pt x="1" y="562"/>
                  </a:lnTo>
                  <a:lnTo>
                    <a:pt x="3" y="564"/>
                  </a:lnTo>
                  <a:lnTo>
                    <a:pt x="4" y="566"/>
                  </a:lnTo>
                  <a:lnTo>
                    <a:pt x="6" y="568"/>
                  </a:lnTo>
                  <a:lnTo>
                    <a:pt x="9" y="569"/>
                  </a:lnTo>
                  <a:lnTo>
                    <a:pt x="11" y="570"/>
                  </a:lnTo>
                  <a:lnTo>
                    <a:pt x="15" y="570"/>
                  </a:lnTo>
                  <a:lnTo>
                    <a:pt x="706" y="570"/>
                  </a:lnTo>
                  <a:lnTo>
                    <a:pt x="709" y="570"/>
                  </a:lnTo>
                  <a:lnTo>
                    <a:pt x="713" y="569"/>
                  </a:lnTo>
                  <a:lnTo>
                    <a:pt x="715" y="568"/>
                  </a:lnTo>
                  <a:lnTo>
                    <a:pt x="717" y="566"/>
                  </a:lnTo>
                  <a:lnTo>
                    <a:pt x="719" y="564"/>
                  </a:lnTo>
                  <a:lnTo>
                    <a:pt x="720" y="562"/>
                  </a:lnTo>
                  <a:lnTo>
                    <a:pt x="721" y="559"/>
                  </a:lnTo>
                  <a:lnTo>
                    <a:pt x="721" y="555"/>
                  </a:lnTo>
                  <a:lnTo>
                    <a:pt x="721" y="15"/>
                  </a:lnTo>
                  <a:lnTo>
                    <a:pt x="721" y="12"/>
                  </a:lnTo>
                  <a:lnTo>
                    <a:pt x="720" y="9"/>
                  </a:lnTo>
                  <a:lnTo>
                    <a:pt x="719" y="6"/>
                  </a:lnTo>
                  <a:lnTo>
                    <a:pt x="717" y="4"/>
                  </a:lnTo>
                  <a:lnTo>
                    <a:pt x="715" y="2"/>
                  </a:lnTo>
                  <a:lnTo>
                    <a:pt x="713" y="1"/>
                  </a:lnTo>
                  <a:lnTo>
                    <a:pt x="709" y="0"/>
                  </a:lnTo>
                  <a:lnTo>
                    <a:pt x="70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16" name="Freeform 4134"/>
            <p:cNvSpPr>
              <a:spLocks/>
            </p:cNvSpPr>
            <p:nvPr/>
          </p:nvSpPr>
          <p:spPr bwMode="auto">
            <a:xfrm>
              <a:off x="10521950" y="1382713"/>
              <a:ext cx="115888" cy="128588"/>
            </a:xfrm>
            <a:custGeom>
              <a:avLst/>
              <a:gdLst>
                <a:gd name="T0" fmla="*/ 0 w 361"/>
                <a:gd name="T1" fmla="*/ 391 h 406"/>
                <a:gd name="T2" fmla="*/ 2 w 361"/>
                <a:gd name="T3" fmla="*/ 396 h 406"/>
                <a:gd name="T4" fmla="*/ 5 w 361"/>
                <a:gd name="T5" fmla="*/ 402 h 406"/>
                <a:gd name="T6" fmla="*/ 9 w 361"/>
                <a:gd name="T7" fmla="*/ 405 h 406"/>
                <a:gd name="T8" fmla="*/ 15 w 361"/>
                <a:gd name="T9" fmla="*/ 406 h 406"/>
                <a:gd name="T10" fmla="*/ 21 w 361"/>
                <a:gd name="T11" fmla="*/ 405 h 406"/>
                <a:gd name="T12" fmla="*/ 26 w 361"/>
                <a:gd name="T13" fmla="*/ 402 h 406"/>
                <a:gd name="T14" fmla="*/ 29 w 361"/>
                <a:gd name="T15" fmla="*/ 396 h 406"/>
                <a:gd name="T16" fmla="*/ 30 w 361"/>
                <a:gd name="T17" fmla="*/ 391 h 406"/>
                <a:gd name="T18" fmla="*/ 30 w 361"/>
                <a:gd name="T19" fmla="*/ 169 h 406"/>
                <a:gd name="T20" fmla="*/ 34 w 361"/>
                <a:gd name="T21" fmla="*/ 140 h 406"/>
                <a:gd name="T22" fmla="*/ 44 w 361"/>
                <a:gd name="T23" fmla="*/ 113 h 406"/>
                <a:gd name="T24" fmla="*/ 59 w 361"/>
                <a:gd name="T25" fmla="*/ 89 h 406"/>
                <a:gd name="T26" fmla="*/ 80 w 361"/>
                <a:gd name="T27" fmla="*/ 67 h 406"/>
                <a:gd name="T28" fmla="*/ 105 w 361"/>
                <a:gd name="T29" fmla="*/ 50 h 406"/>
                <a:gd name="T30" fmla="*/ 132 w 361"/>
                <a:gd name="T31" fmla="*/ 37 h 406"/>
                <a:gd name="T32" fmla="*/ 162 w 361"/>
                <a:gd name="T33" fmla="*/ 31 h 406"/>
                <a:gd name="T34" fmla="*/ 179 w 361"/>
                <a:gd name="T35" fmla="*/ 30 h 406"/>
                <a:gd name="T36" fmla="*/ 191 w 361"/>
                <a:gd name="T37" fmla="*/ 31 h 406"/>
                <a:gd name="T38" fmla="*/ 213 w 361"/>
                <a:gd name="T39" fmla="*/ 34 h 406"/>
                <a:gd name="T40" fmla="*/ 226 w 361"/>
                <a:gd name="T41" fmla="*/ 37 h 406"/>
                <a:gd name="T42" fmla="*/ 236 w 361"/>
                <a:gd name="T43" fmla="*/ 41 h 406"/>
                <a:gd name="T44" fmla="*/ 253 w 361"/>
                <a:gd name="T45" fmla="*/ 48 h 406"/>
                <a:gd name="T46" fmla="*/ 269 w 361"/>
                <a:gd name="T47" fmla="*/ 59 h 406"/>
                <a:gd name="T48" fmla="*/ 284 w 361"/>
                <a:gd name="T49" fmla="*/ 71 h 406"/>
                <a:gd name="T50" fmla="*/ 291 w 361"/>
                <a:gd name="T51" fmla="*/ 77 h 406"/>
                <a:gd name="T52" fmla="*/ 301 w 361"/>
                <a:gd name="T53" fmla="*/ 89 h 406"/>
                <a:gd name="T54" fmla="*/ 316 w 361"/>
                <a:gd name="T55" fmla="*/ 113 h 406"/>
                <a:gd name="T56" fmla="*/ 327 w 361"/>
                <a:gd name="T57" fmla="*/ 141 h 406"/>
                <a:gd name="T58" fmla="*/ 331 w 361"/>
                <a:gd name="T59" fmla="*/ 170 h 406"/>
                <a:gd name="T60" fmla="*/ 331 w 361"/>
                <a:gd name="T61" fmla="*/ 331 h 406"/>
                <a:gd name="T62" fmla="*/ 331 w 361"/>
                <a:gd name="T63" fmla="*/ 393 h 406"/>
                <a:gd name="T64" fmla="*/ 333 w 361"/>
                <a:gd name="T65" fmla="*/ 399 h 406"/>
                <a:gd name="T66" fmla="*/ 337 w 361"/>
                <a:gd name="T67" fmla="*/ 403 h 406"/>
                <a:gd name="T68" fmla="*/ 343 w 361"/>
                <a:gd name="T69" fmla="*/ 405 h 406"/>
                <a:gd name="T70" fmla="*/ 349 w 361"/>
                <a:gd name="T71" fmla="*/ 405 h 406"/>
                <a:gd name="T72" fmla="*/ 355 w 361"/>
                <a:gd name="T73" fmla="*/ 403 h 406"/>
                <a:gd name="T74" fmla="*/ 359 w 361"/>
                <a:gd name="T75" fmla="*/ 400 h 406"/>
                <a:gd name="T76" fmla="*/ 361 w 361"/>
                <a:gd name="T77" fmla="*/ 394 h 406"/>
                <a:gd name="T78" fmla="*/ 361 w 361"/>
                <a:gd name="T79" fmla="*/ 186 h 406"/>
                <a:gd name="T80" fmla="*/ 360 w 361"/>
                <a:gd name="T81" fmla="*/ 158 h 406"/>
                <a:gd name="T82" fmla="*/ 355 w 361"/>
                <a:gd name="T83" fmla="*/ 132 h 406"/>
                <a:gd name="T84" fmla="*/ 346 w 361"/>
                <a:gd name="T85" fmla="*/ 106 h 406"/>
                <a:gd name="T86" fmla="*/ 332 w 361"/>
                <a:gd name="T87" fmla="*/ 82 h 406"/>
                <a:gd name="T88" fmla="*/ 313 w 361"/>
                <a:gd name="T89" fmla="*/ 57 h 406"/>
                <a:gd name="T90" fmla="*/ 285 w 361"/>
                <a:gd name="T91" fmla="*/ 33 h 406"/>
                <a:gd name="T92" fmla="*/ 254 w 361"/>
                <a:gd name="T93" fmla="*/ 16 h 406"/>
                <a:gd name="T94" fmla="*/ 220 w 361"/>
                <a:gd name="T95" fmla="*/ 4 h 406"/>
                <a:gd name="T96" fmla="*/ 184 w 361"/>
                <a:gd name="T97" fmla="*/ 0 h 406"/>
                <a:gd name="T98" fmla="*/ 180 w 361"/>
                <a:gd name="T99" fmla="*/ 0 h 406"/>
                <a:gd name="T100" fmla="*/ 173 w 361"/>
                <a:gd name="T101" fmla="*/ 0 h 406"/>
                <a:gd name="T102" fmla="*/ 138 w 361"/>
                <a:gd name="T103" fmla="*/ 5 h 406"/>
                <a:gd name="T104" fmla="*/ 105 w 361"/>
                <a:gd name="T105" fmla="*/ 16 h 406"/>
                <a:gd name="T106" fmla="*/ 74 w 361"/>
                <a:gd name="T107" fmla="*/ 34 h 406"/>
                <a:gd name="T108" fmla="*/ 47 w 361"/>
                <a:gd name="T109" fmla="*/ 57 h 406"/>
                <a:gd name="T110" fmla="*/ 26 w 361"/>
                <a:gd name="T111" fmla="*/ 86 h 406"/>
                <a:gd name="T112" fmla="*/ 11 w 361"/>
                <a:gd name="T113" fmla="*/ 117 h 406"/>
                <a:gd name="T114" fmla="*/ 2 w 361"/>
                <a:gd name="T115" fmla="*/ 151 h 406"/>
                <a:gd name="T116" fmla="*/ 0 w 361"/>
                <a:gd name="T117" fmla="*/ 185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1" h="406">
                  <a:moveTo>
                    <a:pt x="0" y="331"/>
                  </a:moveTo>
                  <a:lnTo>
                    <a:pt x="0" y="391"/>
                  </a:lnTo>
                  <a:lnTo>
                    <a:pt x="1" y="393"/>
                  </a:lnTo>
                  <a:lnTo>
                    <a:pt x="2" y="396"/>
                  </a:lnTo>
                  <a:lnTo>
                    <a:pt x="3" y="399"/>
                  </a:lnTo>
                  <a:lnTo>
                    <a:pt x="5" y="402"/>
                  </a:lnTo>
                  <a:lnTo>
                    <a:pt x="7" y="403"/>
                  </a:lnTo>
                  <a:lnTo>
                    <a:pt x="9" y="405"/>
                  </a:lnTo>
                  <a:lnTo>
                    <a:pt x="13" y="405"/>
                  </a:lnTo>
                  <a:lnTo>
                    <a:pt x="15" y="406"/>
                  </a:lnTo>
                  <a:lnTo>
                    <a:pt x="18" y="405"/>
                  </a:lnTo>
                  <a:lnTo>
                    <a:pt x="21" y="405"/>
                  </a:lnTo>
                  <a:lnTo>
                    <a:pt x="23" y="403"/>
                  </a:lnTo>
                  <a:lnTo>
                    <a:pt x="26" y="402"/>
                  </a:lnTo>
                  <a:lnTo>
                    <a:pt x="28" y="400"/>
                  </a:lnTo>
                  <a:lnTo>
                    <a:pt x="29" y="396"/>
                  </a:lnTo>
                  <a:lnTo>
                    <a:pt x="30" y="394"/>
                  </a:lnTo>
                  <a:lnTo>
                    <a:pt x="30" y="391"/>
                  </a:lnTo>
                  <a:lnTo>
                    <a:pt x="30" y="184"/>
                  </a:lnTo>
                  <a:lnTo>
                    <a:pt x="30" y="169"/>
                  </a:lnTo>
                  <a:lnTo>
                    <a:pt x="32" y="155"/>
                  </a:lnTo>
                  <a:lnTo>
                    <a:pt x="34" y="140"/>
                  </a:lnTo>
                  <a:lnTo>
                    <a:pt x="38" y="127"/>
                  </a:lnTo>
                  <a:lnTo>
                    <a:pt x="44" y="113"/>
                  </a:lnTo>
                  <a:lnTo>
                    <a:pt x="51" y="101"/>
                  </a:lnTo>
                  <a:lnTo>
                    <a:pt x="59" y="89"/>
                  </a:lnTo>
                  <a:lnTo>
                    <a:pt x="68" y="78"/>
                  </a:lnTo>
                  <a:lnTo>
                    <a:pt x="80" y="67"/>
                  </a:lnTo>
                  <a:lnTo>
                    <a:pt x="92" y="58"/>
                  </a:lnTo>
                  <a:lnTo>
                    <a:pt x="105" y="50"/>
                  </a:lnTo>
                  <a:lnTo>
                    <a:pt x="118" y="43"/>
                  </a:lnTo>
                  <a:lnTo>
                    <a:pt x="132" y="37"/>
                  </a:lnTo>
                  <a:lnTo>
                    <a:pt x="147" y="34"/>
                  </a:lnTo>
                  <a:lnTo>
                    <a:pt x="162" y="31"/>
                  </a:lnTo>
                  <a:lnTo>
                    <a:pt x="177" y="30"/>
                  </a:lnTo>
                  <a:lnTo>
                    <a:pt x="179" y="30"/>
                  </a:lnTo>
                  <a:lnTo>
                    <a:pt x="180" y="30"/>
                  </a:lnTo>
                  <a:lnTo>
                    <a:pt x="191" y="31"/>
                  </a:lnTo>
                  <a:lnTo>
                    <a:pt x="200" y="32"/>
                  </a:lnTo>
                  <a:lnTo>
                    <a:pt x="213" y="34"/>
                  </a:lnTo>
                  <a:lnTo>
                    <a:pt x="226" y="37"/>
                  </a:lnTo>
                  <a:lnTo>
                    <a:pt x="226" y="37"/>
                  </a:lnTo>
                  <a:lnTo>
                    <a:pt x="226" y="37"/>
                  </a:lnTo>
                  <a:lnTo>
                    <a:pt x="236" y="41"/>
                  </a:lnTo>
                  <a:lnTo>
                    <a:pt x="244" y="44"/>
                  </a:lnTo>
                  <a:lnTo>
                    <a:pt x="253" y="48"/>
                  </a:lnTo>
                  <a:lnTo>
                    <a:pt x="261" y="53"/>
                  </a:lnTo>
                  <a:lnTo>
                    <a:pt x="269" y="59"/>
                  </a:lnTo>
                  <a:lnTo>
                    <a:pt x="276" y="64"/>
                  </a:lnTo>
                  <a:lnTo>
                    <a:pt x="284" y="71"/>
                  </a:lnTo>
                  <a:lnTo>
                    <a:pt x="290" y="77"/>
                  </a:lnTo>
                  <a:lnTo>
                    <a:pt x="291" y="77"/>
                  </a:lnTo>
                  <a:lnTo>
                    <a:pt x="291" y="78"/>
                  </a:lnTo>
                  <a:lnTo>
                    <a:pt x="301" y="89"/>
                  </a:lnTo>
                  <a:lnTo>
                    <a:pt x="310" y="102"/>
                  </a:lnTo>
                  <a:lnTo>
                    <a:pt x="316" y="113"/>
                  </a:lnTo>
                  <a:lnTo>
                    <a:pt x="322" y="127"/>
                  </a:lnTo>
                  <a:lnTo>
                    <a:pt x="327" y="141"/>
                  </a:lnTo>
                  <a:lnTo>
                    <a:pt x="329" y="155"/>
                  </a:lnTo>
                  <a:lnTo>
                    <a:pt x="331" y="170"/>
                  </a:lnTo>
                  <a:lnTo>
                    <a:pt x="331" y="185"/>
                  </a:lnTo>
                  <a:lnTo>
                    <a:pt x="331" y="331"/>
                  </a:lnTo>
                  <a:lnTo>
                    <a:pt x="331" y="391"/>
                  </a:lnTo>
                  <a:lnTo>
                    <a:pt x="331" y="393"/>
                  </a:lnTo>
                  <a:lnTo>
                    <a:pt x="332" y="396"/>
                  </a:lnTo>
                  <a:lnTo>
                    <a:pt x="333" y="399"/>
                  </a:lnTo>
                  <a:lnTo>
                    <a:pt x="335" y="402"/>
                  </a:lnTo>
                  <a:lnTo>
                    <a:pt x="337" y="403"/>
                  </a:lnTo>
                  <a:lnTo>
                    <a:pt x="340" y="405"/>
                  </a:lnTo>
                  <a:lnTo>
                    <a:pt x="343" y="405"/>
                  </a:lnTo>
                  <a:lnTo>
                    <a:pt x="346" y="406"/>
                  </a:lnTo>
                  <a:lnTo>
                    <a:pt x="349" y="405"/>
                  </a:lnTo>
                  <a:lnTo>
                    <a:pt x="351" y="405"/>
                  </a:lnTo>
                  <a:lnTo>
                    <a:pt x="355" y="403"/>
                  </a:lnTo>
                  <a:lnTo>
                    <a:pt x="357" y="402"/>
                  </a:lnTo>
                  <a:lnTo>
                    <a:pt x="359" y="400"/>
                  </a:lnTo>
                  <a:lnTo>
                    <a:pt x="360" y="396"/>
                  </a:lnTo>
                  <a:lnTo>
                    <a:pt x="361" y="394"/>
                  </a:lnTo>
                  <a:lnTo>
                    <a:pt x="361" y="391"/>
                  </a:lnTo>
                  <a:lnTo>
                    <a:pt x="361" y="186"/>
                  </a:lnTo>
                  <a:lnTo>
                    <a:pt x="361" y="172"/>
                  </a:lnTo>
                  <a:lnTo>
                    <a:pt x="360" y="158"/>
                  </a:lnTo>
                  <a:lnTo>
                    <a:pt x="358" y="145"/>
                  </a:lnTo>
                  <a:lnTo>
                    <a:pt x="355" y="132"/>
                  </a:lnTo>
                  <a:lnTo>
                    <a:pt x="351" y="119"/>
                  </a:lnTo>
                  <a:lnTo>
                    <a:pt x="346" y="106"/>
                  </a:lnTo>
                  <a:lnTo>
                    <a:pt x="340" y="94"/>
                  </a:lnTo>
                  <a:lnTo>
                    <a:pt x="332" y="82"/>
                  </a:lnTo>
                  <a:lnTo>
                    <a:pt x="323" y="68"/>
                  </a:lnTo>
                  <a:lnTo>
                    <a:pt x="313" y="57"/>
                  </a:lnTo>
                  <a:lnTo>
                    <a:pt x="300" y="44"/>
                  </a:lnTo>
                  <a:lnTo>
                    <a:pt x="285" y="33"/>
                  </a:lnTo>
                  <a:lnTo>
                    <a:pt x="270" y="23"/>
                  </a:lnTo>
                  <a:lnTo>
                    <a:pt x="254" y="16"/>
                  </a:lnTo>
                  <a:lnTo>
                    <a:pt x="237" y="9"/>
                  </a:lnTo>
                  <a:lnTo>
                    <a:pt x="220" y="4"/>
                  </a:lnTo>
                  <a:lnTo>
                    <a:pt x="202" y="2"/>
                  </a:lnTo>
                  <a:lnTo>
                    <a:pt x="184" y="0"/>
                  </a:lnTo>
                  <a:lnTo>
                    <a:pt x="182" y="0"/>
                  </a:lnTo>
                  <a:lnTo>
                    <a:pt x="180" y="0"/>
                  </a:lnTo>
                  <a:lnTo>
                    <a:pt x="177" y="0"/>
                  </a:lnTo>
                  <a:lnTo>
                    <a:pt x="173" y="0"/>
                  </a:lnTo>
                  <a:lnTo>
                    <a:pt x="155" y="2"/>
                  </a:lnTo>
                  <a:lnTo>
                    <a:pt x="138" y="5"/>
                  </a:lnTo>
                  <a:lnTo>
                    <a:pt x="121" y="9"/>
                  </a:lnTo>
                  <a:lnTo>
                    <a:pt x="105" y="16"/>
                  </a:lnTo>
                  <a:lnTo>
                    <a:pt x="89" y="24"/>
                  </a:lnTo>
                  <a:lnTo>
                    <a:pt x="74" y="34"/>
                  </a:lnTo>
                  <a:lnTo>
                    <a:pt x="60" y="45"/>
                  </a:lnTo>
                  <a:lnTo>
                    <a:pt x="47" y="57"/>
                  </a:lnTo>
                  <a:lnTo>
                    <a:pt x="35" y="71"/>
                  </a:lnTo>
                  <a:lnTo>
                    <a:pt x="26" y="86"/>
                  </a:lnTo>
                  <a:lnTo>
                    <a:pt x="17" y="101"/>
                  </a:lnTo>
                  <a:lnTo>
                    <a:pt x="11" y="117"/>
                  </a:lnTo>
                  <a:lnTo>
                    <a:pt x="5" y="134"/>
                  </a:lnTo>
                  <a:lnTo>
                    <a:pt x="2" y="151"/>
                  </a:lnTo>
                  <a:lnTo>
                    <a:pt x="0" y="168"/>
                  </a:lnTo>
                  <a:lnTo>
                    <a:pt x="0" y="185"/>
                  </a:lnTo>
                  <a:lnTo>
                    <a:pt x="0"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17" name="Freeform 4135"/>
            <p:cNvSpPr>
              <a:spLocks/>
            </p:cNvSpPr>
            <p:nvPr/>
          </p:nvSpPr>
          <p:spPr bwMode="auto">
            <a:xfrm>
              <a:off x="10656888" y="1398588"/>
              <a:ext cx="74613" cy="79375"/>
            </a:xfrm>
            <a:custGeom>
              <a:avLst/>
              <a:gdLst>
                <a:gd name="T0" fmla="*/ 230 w 235"/>
                <a:gd name="T1" fmla="*/ 85 h 250"/>
                <a:gd name="T2" fmla="*/ 150 w 235"/>
                <a:gd name="T3" fmla="*/ 5 h 250"/>
                <a:gd name="T4" fmla="*/ 148 w 235"/>
                <a:gd name="T5" fmla="*/ 2 h 250"/>
                <a:gd name="T6" fmla="*/ 145 w 235"/>
                <a:gd name="T7" fmla="*/ 1 h 250"/>
                <a:gd name="T8" fmla="*/ 142 w 235"/>
                <a:gd name="T9" fmla="*/ 0 h 250"/>
                <a:gd name="T10" fmla="*/ 138 w 235"/>
                <a:gd name="T11" fmla="*/ 0 h 250"/>
                <a:gd name="T12" fmla="*/ 135 w 235"/>
                <a:gd name="T13" fmla="*/ 0 h 250"/>
                <a:gd name="T14" fmla="*/ 133 w 235"/>
                <a:gd name="T15" fmla="*/ 1 h 250"/>
                <a:gd name="T16" fmla="*/ 130 w 235"/>
                <a:gd name="T17" fmla="*/ 2 h 250"/>
                <a:gd name="T18" fmla="*/ 128 w 235"/>
                <a:gd name="T19" fmla="*/ 5 h 250"/>
                <a:gd name="T20" fmla="*/ 3 w 235"/>
                <a:gd name="T21" fmla="*/ 149 h 250"/>
                <a:gd name="T22" fmla="*/ 1 w 235"/>
                <a:gd name="T23" fmla="*/ 155 h 250"/>
                <a:gd name="T24" fmla="*/ 0 w 235"/>
                <a:gd name="T25" fmla="*/ 159 h 250"/>
                <a:gd name="T26" fmla="*/ 0 w 235"/>
                <a:gd name="T27" fmla="*/ 235 h 250"/>
                <a:gd name="T28" fmla="*/ 0 w 235"/>
                <a:gd name="T29" fmla="*/ 237 h 250"/>
                <a:gd name="T30" fmla="*/ 1 w 235"/>
                <a:gd name="T31" fmla="*/ 240 h 250"/>
                <a:gd name="T32" fmla="*/ 2 w 235"/>
                <a:gd name="T33" fmla="*/ 243 h 250"/>
                <a:gd name="T34" fmla="*/ 4 w 235"/>
                <a:gd name="T35" fmla="*/ 245 h 250"/>
                <a:gd name="T36" fmla="*/ 6 w 235"/>
                <a:gd name="T37" fmla="*/ 247 h 250"/>
                <a:gd name="T38" fmla="*/ 10 w 235"/>
                <a:gd name="T39" fmla="*/ 248 h 250"/>
                <a:gd name="T40" fmla="*/ 12 w 235"/>
                <a:gd name="T41" fmla="*/ 249 h 250"/>
                <a:gd name="T42" fmla="*/ 15 w 235"/>
                <a:gd name="T43" fmla="*/ 250 h 250"/>
                <a:gd name="T44" fmla="*/ 90 w 235"/>
                <a:gd name="T45" fmla="*/ 250 h 250"/>
                <a:gd name="T46" fmla="*/ 93 w 235"/>
                <a:gd name="T47" fmla="*/ 249 h 250"/>
                <a:gd name="T48" fmla="*/ 96 w 235"/>
                <a:gd name="T49" fmla="*/ 248 h 250"/>
                <a:gd name="T50" fmla="*/ 99 w 235"/>
                <a:gd name="T51" fmla="*/ 247 h 250"/>
                <a:gd name="T52" fmla="*/ 101 w 235"/>
                <a:gd name="T53" fmla="*/ 245 h 250"/>
                <a:gd name="T54" fmla="*/ 230 w 235"/>
                <a:gd name="T55" fmla="*/ 105 h 250"/>
                <a:gd name="T56" fmla="*/ 233 w 235"/>
                <a:gd name="T57" fmla="*/ 103 h 250"/>
                <a:gd name="T58" fmla="*/ 234 w 235"/>
                <a:gd name="T59" fmla="*/ 101 h 250"/>
                <a:gd name="T60" fmla="*/ 235 w 235"/>
                <a:gd name="T61" fmla="*/ 98 h 250"/>
                <a:gd name="T62" fmla="*/ 235 w 235"/>
                <a:gd name="T63" fmla="*/ 95 h 250"/>
                <a:gd name="T64" fmla="*/ 235 w 235"/>
                <a:gd name="T65" fmla="*/ 92 h 250"/>
                <a:gd name="T66" fmla="*/ 234 w 235"/>
                <a:gd name="T67" fmla="*/ 89 h 250"/>
                <a:gd name="T68" fmla="*/ 233 w 235"/>
                <a:gd name="T69" fmla="*/ 87 h 250"/>
                <a:gd name="T70" fmla="*/ 230 w 235"/>
                <a:gd name="T71" fmla="*/ 8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5" h="250">
                  <a:moveTo>
                    <a:pt x="230" y="85"/>
                  </a:moveTo>
                  <a:lnTo>
                    <a:pt x="150" y="5"/>
                  </a:lnTo>
                  <a:lnTo>
                    <a:pt x="148" y="2"/>
                  </a:lnTo>
                  <a:lnTo>
                    <a:pt x="145" y="1"/>
                  </a:lnTo>
                  <a:lnTo>
                    <a:pt x="142" y="0"/>
                  </a:lnTo>
                  <a:lnTo>
                    <a:pt x="138" y="0"/>
                  </a:lnTo>
                  <a:lnTo>
                    <a:pt x="135" y="0"/>
                  </a:lnTo>
                  <a:lnTo>
                    <a:pt x="133" y="1"/>
                  </a:lnTo>
                  <a:lnTo>
                    <a:pt x="130" y="2"/>
                  </a:lnTo>
                  <a:lnTo>
                    <a:pt x="128" y="5"/>
                  </a:lnTo>
                  <a:lnTo>
                    <a:pt x="3" y="149"/>
                  </a:lnTo>
                  <a:lnTo>
                    <a:pt x="1" y="155"/>
                  </a:lnTo>
                  <a:lnTo>
                    <a:pt x="0" y="159"/>
                  </a:lnTo>
                  <a:lnTo>
                    <a:pt x="0" y="235"/>
                  </a:lnTo>
                  <a:lnTo>
                    <a:pt x="0" y="237"/>
                  </a:lnTo>
                  <a:lnTo>
                    <a:pt x="1" y="240"/>
                  </a:lnTo>
                  <a:lnTo>
                    <a:pt x="2" y="243"/>
                  </a:lnTo>
                  <a:lnTo>
                    <a:pt x="4" y="245"/>
                  </a:lnTo>
                  <a:lnTo>
                    <a:pt x="6" y="247"/>
                  </a:lnTo>
                  <a:lnTo>
                    <a:pt x="10" y="248"/>
                  </a:lnTo>
                  <a:lnTo>
                    <a:pt x="12" y="249"/>
                  </a:lnTo>
                  <a:lnTo>
                    <a:pt x="15" y="250"/>
                  </a:lnTo>
                  <a:lnTo>
                    <a:pt x="90" y="250"/>
                  </a:lnTo>
                  <a:lnTo>
                    <a:pt x="93" y="249"/>
                  </a:lnTo>
                  <a:lnTo>
                    <a:pt x="96" y="248"/>
                  </a:lnTo>
                  <a:lnTo>
                    <a:pt x="99" y="247"/>
                  </a:lnTo>
                  <a:lnTo>
                    <a:pt x="101" y="245"/>
                  </a:lnTo>
                  <a:lnTo>
                    <a:pt x="230" y="105"/>
                  </a:lnTo>
                  <a:lnTo>
                    <a:pt x="233" y="103"/>
                  </a:lnTo>
                  <a:lnTo>
                    <a:pt x="234" y="101"/>
                  </a:lnTo>
                  <a:lnTo>
                    <a:pt x="235" y="98"/>
                  </a:lnTo>
                  <a:lnTo>
                    <a:pt x="235" y="95"/>
                  </a:lnTo>
                  <a:lnTo>
                    <a:pt x="235" y="92"/>
                  </a:lnTo>
                  <a:lnTo>
                    <a:pt x="234" y="89"/>
                  </a:lnTo>
                  <a:lnTo>
                    <a:pt x="233" y="87"/>
                  </a:lnTo>
                  <a:lnTo>
                    <a:pt x="23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218" name="Group 217"/>
          <p:cNvGrpSpPr/>
          <p:nvPr/>
        </p:nvGrpSpPr>
        <p:grpSpPr>
          <a:xfrm>
            <a:off x="13089968" y="11006729"/>
            <a:ext cx="391842" cy="345617"/>
            <a:chOff x="5465763" y="812800"/>
            <a:chExt cx="282575" cy="249238"/>
          </a:xfrm>
          <a:solidFill>
            <a:schemeClr val="bg1"/>
          </a:solidFill>
          <a:effectLst>
            <a:outerShdw blurRad="38100" dist="25400" dir="5400000" algn="ctr" rotWithShape="0">
              <a:srgbClr val="000000">
                <a:alpha val="20000"/>
              </a:srgbClr>
            </a:outerShdw>
          </a:effectLst>
        </p:grpSpPr>
        <p:sp>
          <p:nvSpPr>
            <p:cNvPr id="219" name="Freeform 642"/>
            <p:cNvSpPr>
              <a:spLocks noEditPoints="1"/>
            </p:cNvSpPr>
            <p:nvPr/>
          </p:nvSpPr>
          <p:spPr bwMode="auto">
            <a:xfrm>
              <a:off x="5527675" y="812800"/>
              <a:ext cx="63500" cy="247650"/>
            </a:xfrm>
            <a:custGeom>
              <a:avLst/>
              <a:gdLst>
                <a:gd name="T0" fmla="*/ 147 w 196"/>
                <a:gd name="T1" fmla="*/ 720 h 782"/>
                <a:gd name="T2" fmla="*/ 145 w 196"/>
                <a:gd name="T3" fmla="*/ 725 h 782"/>
                <a:gd name="T4" fmla="*/ 142 w 196"/>
                <a:gd name="T5" fmla="*/ 729 h 782"/>
                <a:gd name="T6" fmla="*/ 136 w 196"/>
                <a:gd name="T7" fmla="*/ 732 h 782"/>
                <a:gd name="T8" fmla="*/ 55 w 196"/>
                <a:gd name="T9" fmla="*/ 732 h 782"/>
                <a:gd name="T10" fmla="*/ 48 w 196"/>
                <a:gd name="T11" fmla="*/ 731 h 782"/>
                <a:gd name="T12" fmla="*/ 44 w 196"/>
                <a:gd name="T13" fmla="*/ 727 h 782"/>
                <a:gd name="T14" fmla="*/ 41 w 196"/>
                <a:gd name="T15" fmla="*/ 723 h 782"/>
                <a:gd name="T16" fmla="*/ 40 w 196"/>
                <a:gd name="T17" fmla="*/ 717 h 782"/>
                <a:gd name="T18" fmla="*/ 40 w 196"/>
                <a:gd name="T19" fmla="*/ 558 h 782"/>
                <a:gd name="T20" fmla="*/ 42 w 196"/>
                <a:gd name="T21" fmla="*/ 552 h 782"/>
                <a:gd name="T22" fmla="*/ 46 w 196"/>
                <a:gd name="T23" fmla="*/ 548 h 782"/>
                <a:gd name="T24" fmla="*/ 52 w 196"/>
                <a:gd name="T25" fmla="*/ 546 h 782"/>
                <a:gd name="T26" fmla="*/ 133 w 196"/>
                <a:gd name="T27" fmla="*/ 546 h 782"/>
                <a:gd name="T28" fmla="*/ 139 w 196"/>
                <a:gd name="T29" fmla="*/ 547 h 782"/>
                <a:gd name="T30" fmla="*/ 144 w 196"/>
                <a:gd name="T31" fmla="*/ 550 h 782"/>
                <a:gd name="T32" fmla="*/ 147 w 196"/>
                <a:gd name="T33" fmla="*/ 555 h 782"/>
                <a:gd name="T34" fmla="*/ 148 w 196"/>
                <a:gd name="T35" fmla="*/ 561 h 782"/>
                <a:gd name="T36" fmla="*/ 66 w 196"/>
                <a:gd name="T37" fmla="*/ 91 h 782"/>
                <a:gd name="T38" fmla="*/ 67 w 196"/>
                <a:gd name="T39" fmla="*/ 85 h 782"/>
                <a:gd name="T40" fmla="*/ 70 w 196"/>
                <a:gd name="T41" fmla="*/ 81 h 782"/>
                <a:gd name="T42" fmla="*/ 75 w 196"/>
                <a:gd name="T43" fmla="*/ 77 h 782"/>
                <a:gd name="T44" fmla="*/ 81 w 196"/>
                <a:gd name="T45" fmla="*/ 76 h 782"/>
                <a:gd name="T46" fmla="*/ 87 w 196"/>
                <a:gd name="T47" fmla="*/ 77 h 782"/>
                <a:gd name="T48" fmla="*/ 91 w 196"/>
                <a:gd name="T49" fmla="*/ 81 h 782"/>
                <a:gd name="T50" fmla="*/ 95 w 196"/>
                <a:gd name="T51" fmla="*/ 85 h 782"/>
                <a:gd name="T52" fmla="*/ 96 w 196"/>
                <a:gd name="T53" fmla="*/ 91 h 782"/>
                <a:gd name="T54" fmla="*/ 96 w 196"/>
                <a:gd name="T55" fmla="*/ 512 h 782"/>
                <a:gd name="T56" fmla="*/ 93 w 196"/>
                <a:gd name="T57" fmla="*/ 517 h 782"/>
                <a:gd name="T58" fmla="*/ 89 w 196"/>
                <a:gd name="T59" fmla="*/ 521 h 782"/>
                <a:gd name="T60" fmla="*/ 84 w 196"/>
                <a:gd name="T61" fmla="*/ 524 h 782"/>
                <a:gd name="T62" fmla="*/ 77 w 196"/>
                <a:gd name="T63" fmla="*/ 524 h 782"/>
                <a:gd name="T64" fmla="*/ 72 w 196"/>
                <a:gd name="T65" fmla="*/ 521 h 782"/>
                <a:gd name="T66" fmla="*/ 68 w 196"/>
                <a:gd name="T67" fmla="*/ 517 h 782"/>
                <a:gd name="T68" fmla="*/ 66 w 196"/>
                <a:gd name="T69" fmla="*/ 512 h 782"/>
                <a:gd name="T70" fmla="*/ 66 w 196"/>
                <a:gd name="T71" fmla="*/ 91 h 782"/>
                <a:gd name="T72" fmla="*/ 15 w 196"/>
                <a:gd name="T73" fmla="*/ 0 h 782"/>
                <a:gd name="T74" fmla="*/ 10 w 196"/>
                <a:gd name="T75" fmla="*/ 1 h 782"/>
                <a:gd name="T76" fmla="*/ 4 w 196"/>
                <a:gd name="T77" fmla="*/ 4 h 782"/>
                <a:gd name="T78" fmla="*/ 1 w 196"/>
                <a:gd name="T79" fmla="*/ 9 h 782"/>
                <a:gd name="T80" fmla="*/ 0 w 196"/>
                <a:gd name="T81" fmla="*/ 15 h 782"/>
                <a:gd name="T82" fmla="*/ 1 w 196"/>
                <a:gd name="T83" fmla="*/ 770 h 782"/>
                <a:gd name="T84" fmla="*/ 3 w 196"/>
                <a:gd name="T85" fmla="*/ 776 h 782"/>
                <a:gd name="T86" fmla="*/ 8 w 196"/>
                <a:gd name="T87" fmla="*/ 780 h 782"/>
                <a:gd name="T88" fmla="*/ 13 w 196"/>
                <a:gd name="T89" fmla="*/ 782 h 782"/>
                <a:gd name="T90" fmla="*/ 181 w 196"/>
                <a:gd name="T91" fmla="*/ 782 h 782"/>
                <a:gd name="T92" fmla="*/ 187 w 196"/>
                <a:gd name="T93" fmla="*/ 781 h 782"/>
                <a:gd name="T94" fmla="*/ 192 w 196"/>
                <a:gd name="T95" fmla="*/ 778 h 782"/>
                <a:gd name="T96" fmla="*/ 195 w 196"/>
                <a:gd name="T97" fmla="*/ 773 h 782"/>
                <a:gd name="T98" fmla="*/ 196 w 196"/>
                <a:gd name="T99" fmla="*/ 767 h 782"/>
                <a:gd name="T100" fmla="*/ 196 w 196"/>
                <a:gd name="T101" fmla="*/ 12 h 782"/>
                <a:gd name="T102" fmla="*/ 193 w 196"/>
                <a:gd name="T103" fmla="*/ 7 h 782"/>
                <a:gd name="T104" fmla="*/ 190 w 196"/>
                <a:gd name="T105" fmla="*/ 2 h 782"/>
                <a:gd name="T106" fmla="*/ 185 w 196"/>
                <a:gd name="T107" fmla="*/ 0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6" h="782">
                  <a:moveTo>
                    <a:pt x="148" y="717"/>
                  </a:moveTo>
                  <a:lnTo>
                    <a:pt x="147" y="720"/>
                  </a:lnTo>
                  <a:lnTo>
                    <a:pt x="147" y="723"/>
                  </a:lnTo>
                  <a:lnTo>
                    <a:pt x="145" y="725"/>
                  </a:lnTo>
                  <a:lnTo>
                    <a:pt x="144" y="727"/>
                  </a:lnTo>
                  <a:lnTo>
                    <a:pt x="142" y="729"/>
                  </a:lnTo>
                  <a:lnTo>
                    <a:pt x="139" y="731"/>
                  </a:lnTo>
                  <a:lnTo>
                    <a:pt x="136" y="732"/>
                  </a:lnTo>
                  <a:lnTo>
                    <a:pt x="133" y="732"/>
                  </a:lnTo>
                  <a:lnTo>
                    <a:pt x="55" y="732"/>
                  </a:lnTo>
                  <a:lnTo>
                    <a:pt x="52" y="732"/>
                  </a:lnTo>
                  <a:lnTo>
                    <a:pt x="48" y="731"/>
                  </a:lnTo>
                  <a:lnTo>
                    <a:pt x="46" y="729"/>
                  </a:lnTo>
                  <a:lnTo>
                    <a:pt x="44" y="727"/>
                  </a:lnTo>
                  <a:lnTo>
                    <a:pt x="42" y="725"/>
                  </a:lnTo>
                  <a:lnTo>
                    <a:pt x="41" y="723"/>
                  </a:lnTo>
                  <a:lnTo>
                    <a:pt x="40" y="720"/>
                  </a:lnTo>
                  <a:lnTo>
                    <a:pt x="40" y="717"/>
                  </a:lnTo>
                  <a:lnTo>
                    <a:pt x="40" y="561"/>
                  </a:lnTo>
                  <a:lnTo>
                    <a:pt x="40" y="558"/>
                  </a:lnTo>
                  <a:lnTo>
                    <a:pt x="41" y="555"/>
                  </a:lnTo>
                  <a:lnTo>
                    <a:pt x="42" y="552"/>
                  </a:lnTo>
                  <a:lnTo>
                    <a:pt x="44" y="550"/>
                  </a:lnTo>
                  <a:lnTo>
                    <a:pt x="46" y="548"/>
                  </a:lnTo>
                  <a:lnTo>
                    <a:pt x="48" y="547"/>
                  </a:lnTo>
                  <a:lnTo>
                    <a:pt x="52" y="546"/>
                  </a:lnTo>
                  <a:lnTo>
                    <a:pt x="55" y="546"/>
                  </a:lnTo>
                  <a:lnTo>
                    <a:pt x="133" y="546"/>
                  </a:lnTo>
                  <a:lnTo>
                    <a:pt x="136" y="546"/>
                  </a:lnTo>
                  <a:lnTo>
                    <a:pt x="139" y="547"/>
                  </a:lnTo>
                  <a:lnTo>
                    <a:pt x="142" y="548"/>
                  </a:lnTo>
                  <a:lnTo>
                    <a:pt x="144" y="550"/>
                  </a:lnTo>
                  <a:lnTo>
                    <a:pt x="145" y="552"/>
                  </a:lnTo>
                  <a:lnTo>
                    <a:pt x="147" y="555"/>
                  </a:lnTo>
                  <a:lnTo>
                    <a:pt x="147" y="558"/>
                  </a:lnTo>
                  <a:lnTo>
                    <a:pt x="148" y="561"/>
                  </a:lnTo>
                  <a:lnTo>
                    <a:pt x="148" y="717"/>
                  </a:lnTo>
                  <a:close/>
                  <a:moveTo>
                    <a:pt x="66" y="91"/>
                  </a:moveTo>
                  <a:lnTo>
                    <a:pt x="66" y="88"/>
                  </a:lnTo>
                  <a:lnTo>
                    <a:pt x="67" y="85"/>
                  </a:lnTo>
                  <a:lnTo>
                    <a:pt x="68" y="83"/>
                  </a:lnTo>
                  <a:lnTo>
                    <a:pt x="70" y="81"/>
                  </a:lnTo>
                  <a:lnTo>
                    <a:pt x="72" y="78"/>
                  </a:lnTo>
                  <a:lnTo>
                    <a:pt x="75" y="77"/>
                  </a:lnTo>
                  <a:lnTo>
                    <a:pt x="77" y="76"/>
                  </a:lnTo>
                  <a:lnTo>
                    <a:pt x="81" y="76"/>
                  </a:lnTo>
                  <a:lnTo>
                    <a:pt x="84" y="76"/>
                  </a:lnTo>
                  <a:lnTo>
                    <a:pt x="87" y="77"/>
                  </a:lnTo>
                  <a:lnTo>
                    <a:pt x="89" y="78"/>
                  </a:lnTo>
                  <a:lnTo>
                    <a:pt x="91" y="81"/>
                  </a:lnTo>
                  <a:lnTo>
                    <a:pt x="93" y="83"/>
                  </a:lnTo>
                  <a:lnTo>
                    <a:pt x="95" y="85"/>
                  </a:lnTo>
                  <a:lnTo>
                    <a:pt x="96" y="88"/>
                  </a:lnTo>
                  <a:lnTo>
                    <a:pt x="96" y="91"/>
                  </a:lnTo>
                  <a:lnTo>
                    <a:pt x="96" y="509"/>
                  </a:lnTo>
                  <a:lnTo>
                    <a:pt x="96" y="512"/>
                  </a:lnTo>
                  <a:lnTo>
                    <a:pt x="95" y="514"/>
                  </a:lnTo>
                  <a:lnTo>
                    <a:pt x="93" y="517"/>
                  </a:lnTo>
                  <a:lnTo>
                    <a:pt x="91" y="519"/>
                  </a:lnTo>
                  <a:lnTo>
                    <a:pt x="89" y="521"/>
                  </a:lnTo>
                  <a:lnTo>
                    <a:pt x="87" y="522"/>
                  </a:lnTo>
                  <a:lnTo>
                    <a:pt x="84" y="524"/>
                  </a:lnTo>
                  <a:lnTo>
                    <a:pt x="81" y="524"/>
                  </a:lnTo>
                  <a:lnTo>
                    <a:pt x="77" y="524"/>
                  </a:lnTo>
                  <a:lnTo>
                    <a:pt x="75" y="522"/>
                  </a:lnTo>
                  <a:lnTo>
                    <a:pt x="72" y="521"/>
                  </a:lnTo>
                  <a:lnTo>
                    <a:pt x="70" y="519"/>
                  </a:lnTo>
                  <a:lnTo>
                    <a:pt x="68" y="517"/>
                  </a:lnTo>
                  <a:lnTo>
                    <a:pt x="67" y="514"/>
                  </a:lnTo>
                  <a:lnTo>
                    <a:pt x="66" y="512"/>
                  </a:lnTo>
                  <a:lnTo>
                    <a:pt x="66" y="509"/>
                  </a:lnTo>
                  <a:lnTo>
                    <a:pt x="66" y="91"/>
                  </a:lnTo>
                  <a:close/>
                  <a:moveTo>
                    <a:pt x="181" y="0"/>
                  </a:moveTo>
                  <a:lnTo>
                    <a:pt x="15" y="0"/>
                  </a:lnTo>
                  <a:lnTo>
                    <a:pt x="13" y="0"/>
                  </a:lnTo>
                  <a:lnTo>
                    <a:pt x="10" y="1"/>
                  </a:lnTo>
                  <a:lnTo>
                    <a:pt x="8" y="2"/>
                  </a:lnTo>
                  <a:lnTo>
                    <a:pt x="4" y="4"/>
                  </a:lnTo>
                  <a:lnTo>
                    <a:pt x="3" y="7"/>
                  </a:lnTo>
                  <a:lnTo>
                    <a:pt x="1" y="9"/>
                  </a:lnTo>
                  <a:lnTo>
                    <a:pt x="1" y="12"/>
                  </a:lnTo>
                  <a:lnTo>
                    <a:pt x="0" y="15"/>
                  </a:lnTo>
                  <a:lnTo>
                    <a:pt x="0" y="767"/>
                  </a:lnTo>
                  <a:lnTo>
                    <a:pt x="1" y="770"/>
                  </a:lnTo>
                  <a:lnTo>
                    <a:pt x="1" y="773"/>
                  </a:lnTo>
                  <a:lnTo>
                    <a:pt x="3" y="776"/>
                  </a:lnTo>
                  <a:lnTo>
                    <a:pt x="4" y="778"/>
                  </a:lnTo>
                  <a:lnTo>
                    <a:pt x="8" y="780"/>
                  </a:lnTo>
                  <a:lnTo>
                    <a:pt x="10" y="781"/>
                  </a:lnTo>
                  <a:lnTo>
                    <a:pt x="13" y="782"/>
                  </a:lnTo>
                  <a:lnTo>
                    <a:pt x="15" y="782"/>
                  </a:lnTo>
                  <a:lnTo>
                    <a:pt x="181" y="782"/>
                  </a:lnTo>
                  <a:lnTo>
                    <a:pt x="185" y="782"/>
                  </a:lnTo>
                  <a:lnTo>
                    <a:pt x="187" y="781"/>
                  </a:lnTo>
                  <a:lnTo>
                    <a:pt x="190" y="780"/>
                  </a:lnTo>
                  <a:lnTo>
                    <a:pt x="192" y="778"/>
                  </a:lnTo>
                  <a:lnTo>
                    <a:pt x="193" y="776"/>
                  </a:lnTo>
                  <a:lnTo>
                    <a:pt x="195" y="773"/>
                  </a:lnTo>
                  <a:lnTo>
                    <a:pt x="196" y="770"/>
                  </a:lnTo>
                  <a:lnTo>
                    <a:pt x="196" y="767"/>
                  </a:lnTo>
                  <a:lnTo>
                    <a:pt x="196" y="15"/>
                  </a:lnTo>
                  <a:lnTo>
                    <a:pt x="196" y="12"/>
                  </a:lnTo>
                  <a:lnTo>
                    <a:pt x="195" y="9"/>
                  </a:lnTo>
                  <a:lnTo>
                    <a:pt x="193" y="7"/>
                  </a:lnTo>
                  <a:lnTo>
                    <a:pt x="192" y="4"/>
                  </a:lnTo>
                  <a:lnTo>
                    <a:pt x="190" y="2"/>
                  </a:lnTo>
                  <a:lnTo>
                    <a:pt x="187" y="1"/>
                  </a:lnTo>
                  <a:lnTo>
                    <a:pt x="185" y="0"/>
                  </a:lnTo>
                  <a:lnTo>
                    <a:pt x="18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20" name="Freeform 643"/>
            <p:cNvSpPr>
              <a:spLocks noEditPoints="1"/>
            </p:cNvSpPr>
            <p:nvPr/>
          </p:nvSpPr>
          <p:spPr bwMode="auto">
            <a:xfrm>
              <a:off x="5600700" y="844550"/>
              <a:ext cx="147638" cy="217488"/>
            </a:xfrm>
            <a:custGeom>
              <a:avLst/>
              <a:gdLst>
                <a:gd name="T0" fmla="*/ 61 w 469"/>
                <a:gd name="T1" fmla="*/ 632 h 684"/>
                <a:gd name="T2" fmla="*/ 53 w 469"/>
                <a:gd name="T3" fmla="*/ 627 h 684"/>
                <a:gd name="T4" fmla="*/ 49 w 469"/>
                <a:gd name="T5" fmla="*/ 620 h 684"/>
                <a:gd name="T6" fmla="*/ 50 w 469"/>
                <a:gd name="T7" fmla="*/ 611 h 684"/>
                <a:gd name="T8" fmla="*/ 55 w 469"/>
                <a:gd name="T9" fmla="*/ 605 h 684"/>
                <a:gd name="T10" fmla="*/ 64 w 469"/>
                <a:gd name="T11" fmla="*/ 602 h 684"/>
                <a:gd name="T12" fmla="*/ 147 w 469"/>
                <a:gd name="T13" fmla="*/ 603 h 684"/>
                <a:gd name="T14" fmla="*/ 154 w 469"/>
                <a:gd name="T15" fmla="*/ 609 h 684"/>
                <a:gd name="T16" fmla="*/ 157 w 469"/>
                <a:gd name="T17" fmla="*/ 617 h 684"/>
                <a:gd name="T18" fmla="*/ 154 w 469"/>
                <a:gd name="T19" fmla="*/ 625 h 684"/>
                <a:gd name="T20" fmla="*/ 147 w 469"/>
                <a:gd name="T21" fmla="*/ 631 h 684"/>
                <a:gd name="T22" fmla="*/ 74 w 469"/>
                <a:gd name="T23" fmla="*/ 252 h 684"/>
                <a:gd name="T24" fmla="*/ 77 w 469"/>
                <a:gd name="T25" fmla="*/ 243 h 684"/>
                <a:gd name="T26" fmla="*/ 83 w 469"/>
                <a:gd name="T27" fmla="*/ 238 h 684"/>
                <a:gd name="T28" fmla="*/ 93 w 469"/>
                <a:gd name="T29" fmla="*/ 237 h 684"/>
                <a:gd name="T30" fmla="*/ 100 w 469"/>
                <a:gd name="T31" fmla="*/ 241 h 684"/>
                <a:gd name="T32" fmla="*/ 104 w 469"/>
                <a:gd name="T33" fmla="*/ 249 h 684"/>
                <a:gd name="T34" fmla="*/ 104 w 469"/>
                <a:gd name="T35" fmla="*/ 542 h 684"/>
                <a:gd name="T36" fmla="*/ 100 w 469"/>
                <a:gd name="T37" fmla="*/ 549 h 684"/>
                <a:gd name="T38" fmla="*/ 93 w 469"/>
                <a:gd name="T39" fmla="*/ 553 h 684"/>
                <a:gd name="T40" fmla="*/ 83 w 469"/>
                <a:gd name="T41" fmla="*/ 553 h 684"/>
                <a:gd name="T42" fmla="*/ 77 w 469"/>
                <a:gd name="T43" fmla="*/ 547 h 684"/>
                <a:gd name="T44" fmla="*/ 74 w 469"/>
                <a:gd name="T45" fmla="*/ 539 h 684"/>
                <a:gd name="T46" fmla="*/ 260 w 469"/>
                <a:gd name="T47" fmla="*/ 11 h 684"/>
                <a:gd name="T48" fmla="*/ 255 w 469"/>
                <a:gd name="T49" fmla="*/ 3 h 684"/>
                <a:gd name="T50" fmla="*/ 247 w 469"/>
                <a:gd name="T51" fmla="*/ 0 h 684"/>
                <a:gd name="T52" fmla="*/ 150 w 469"/>
                <a:gd name="T53" fmla="*/ 33 h 684"/>
                <a:gd name="T54" fmla="*/ 143 w 469"/>
                <a:gd name="T55" fmla="*/ 38 h 684"/>
                <a:gd name="T56" fmla="*/ 140 w 469"/>
                <a:gd name="T57" fmla="*/ 46 h 684"/>
                <a:gd name="T58" fmla="*/ 180 w 469"/>
                <a:gd name="T59" fmla="*/ 170 h 684"/>
                <a:gd name="T60" fmla="*/ 9 w 469"/>
                <a:gd name="T61" fmla="*/ 171 h 684"/>
                <a:gd name="T62" fmla="*/ 3 w 469"/>
                <a:gd name="T63" fmla="*/ 177 h 684"/>
                <a:gd name="T64" fmla="*/ 0 w 469"/>
                <a:gd name="T65" fmla="*/ 185 h 684"/>
                <a:gd name="T66" fmla="*/ 2 w 469"/>
                <a:gd name="T67" fmla="*/ 673 h 684"/>
                <a:gd name="T68" fmla="*/ 7 w 469"/>
                <a:gd name="T69" fmla="*/ 680 h 684"/>
                <a:gd name="T70" fmla="*/ 15 w 469"/>
                <a:gd name="T71" fmla="*/ 682 h 684"/>
                <a:gd name="T72" fmla="*/ 202 w 469"/>
                <a:gd name="T73" fmla="*/ 681 h 684"/>
                <a:gd name="T74" fmla="*/ 209 w 469"/>
                <a:gd name="T75" fmla="*/ 676 h 684"/>
                <a:gd name="T76" fmla="*/ 211 w 469"/>
                <a:gd name="T77" fmla="*/ 667 h 684"/>
                <a:gd name="T78" fmla="*/ 350 w 469"/>
                <a:gd name="T79" fmla="*/ 677 h 684"/>
                <a:gd name="T80" fmla="*/ 357 w 469"/>
                <a:gd name="T81" fmla="*/ 683 h 684"/>
                <a:gd name="T82" fmla="*/ 366 w 469"/>
                <a:gd name="T83" fmla="*/ 684 h 684"/>
                <a:gd name="T84" fmla="*/ 463 w 469"/>
                <a:gd name="T85" fmla="*/ 650 h 684"/>
                <a:gd name="T86" fmla="*/ 468 w 469"/>
                <a:gd name="T87" fmla="*/ 643 h 684"/>
                <a:gd name="T88" fmla="*/ 469 w 469"/>
                <a:gd name="T89" fmla="*/ 635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9" h="684">
                  <a:moveTo>
                    <a:pt x="142" y="632"/>
                  </a:moveTo>
                  <a:lnTo>
                    <a:pt x="64" y="632"/>
                  </a:lnTo>
                  <a:lnTo>
                    <a:pt x="61" y="632"/>
                  </a:lnTo>
                  <a:lnTo>
                    <a:pt x="57" y="631"/>
                  </a:lnTo>
                  <a:lnTo>
                    <a:pt x="55" y="629"/>
                  </a:lnTo>
                  <a:lnTo>
                    <a:pt x="53" y="627"/>
                  </a:lnTo>
                  <a:lnTo>
                    <a:pt x="51" y="625"/>
                  </a:lnTo>
                  <a:lnTo>
                    <a:pt x="50" y="623"/>
                  </a:lnTo>
                  <a:lnTo>
                    <a:pt x="49" y="620"/>
                  </a:lnTo>
                  <a:lnTo>
                    <a:pt x="48" y="617"/>
                  </a:lnTo>
                  <a:lnTo>
                    <a:pt x="49" y="614"/>
                  </a:lnTo>
                  <a:lnTo>
                    <a:pt x="50" y="611"/>
                  </a:lnTo>
                  <a:lnTo>
                    <a:pt x="51" y="609"/>
                  </a:lnTo>
                  <a:lnTo>
                    <a:pt x="53" y="606"/>
                  </a:lnTo>
                  <a:lnTo>
                    <a:pt x="55" y="605"/>
                  </a:lnTo>
                  <a:lnTo>
                    <a:pt x="57" y="603"/>
                  </a:lnTo>
                  <a:lnTo>
                    <a:pt x="61" y="603"/>
                  </a:lnTo>
                  <a:lnTo>
                    <a:pt x="64" y="602"/>
                  </a:lnTo>
                  <a:lnTo>
                    <a:pt x="142" y="602"/>
                  </a:lnTo>
                  <a:lnTo>
                    <a:pt x="144" y="603"/>
                  </a:lnTo>
                  <a:lnTo>
                    <a:pt x="147" y="603"/>
                  </a:lnTo>
                  <a:lnTo>
                    <a:pt x="150" y="605"/>
                  </a:lnTo>
                  <a:lnTo>
                    <a:pt x="152" y="606"/>
                  </a:lnTo>
                  <a:lnTo>
                    <a:pt x="154" y="609"/>
                  </a:lnTo>
                  <a:lnTo>
                    <a:pt x="155" y="611"/>
                  </a:lnTo>
                  <a:lnTo>
                    <a:pt x="156" y="614"/>
                  </a:lnTo>
                  <a:lnTo>
                    <a:pt x="157" y="617"/>
                  </a:lnTo>
                  <a:lnTo>
                    <a:pt x="156" y="620"/>
                  </a:lnTo>
                  <a:lnTo>
                    <a:pt x="155" y="623"/>
                  </a:lnTo>
                  <a:lnTo>
                    <a:pt x="154" y="625"/>
                  </a:lnTo>
                  <a:lnTo>
                    <a:pt x="152" y="627"/>
                  </a:lnTo>
                  <a:lnTo>
                    <a:pt x="150" y="629"/>
                  </a:lnTo>
                  <a:lnTo>
                    <a:pt x="147" y="631"/>
                  </a:lnTo>
                  <a:lnTo>
                    <a:pt x="144" y="632"/>
                  </a:lnTo>
                  <a:lnTo>
                    <a:pt x="142" y="632"/>
                  </a:lnTo>
                  <a:close/>
                  <a:moveTo>
                    <a:pt x="74" y="252"/>
                  </a:moveTo>
                  <a:lnTo>
                    <a:pt x="74" y="249"/>
                  </a:lnTo>
                  <a:lnTo>
                    <a:pt x="76" y="247"/>
                  </a:lnTo>
                  <a:lnTo>
                    <a:pt x="77" y="243"/>
                  </a:lnTo>
                  <a:lnTo>
                    <a:pt x="79" y="241"/>
                  </a:lnTo>
                  <a:lnTo>
                    <a:pt x="81" y="239"/>
                  </a:lnTo>
                  <a:lnTo>
                    <a:pt x="83" y="238"/>
                  </a:lnTo>
                  <a:lnTo>
                    <a:pt x="86" y="237"/>
                  </a:lnTo>
                  <a:lnTo>
                    <a:pt x="89" y="237"/>
                  </a:lnTo>
                  <a:lnTo>
                    <a:pt x="93" y="237"/>
                  </a:lnTo>
                  <a:lnTo>
                    <a:pt x="95" y="238"/>
                  </a:lnTo>
                  <a:lnTo>
                    <a:pt x="98" y="239"/>
                  </a:lnTo>
                  <a:lnTo>
                    <a:pt x="100" y="241"/>
                  </a:lnTo>
                  <a:lnTo>
                    <a:pt x="102" y="243"/>
                  </a:lnTo>
                  <a:lnTo>
                    <a:pt x="103" y="247"/>
                  </a:lnTo>
                  <a:lnTo>
                    <a:pt x="104" y="249"/>
                  </a:lnTo>
                  <a:lnTo>
                    <a:pt x="104" y="252"/>
                  </a:lnTo>
                  <a:lnTo>
                    <a:pt x="104" y="539"/>
                  </a:lnTo>
                  <a:lnTo>
                    <a:pt x="104" y="542"/>
                  </a:lnTo>
                  <a:lnTo>
                    <a:pt x="103" y="545"/>
                  </a:lnTo>
                  <a:lnTo>
                    <a:pt x="102" y="547"/>
                  </a:lnTo>
                  <a:lnTo>
                    <a:pt x="100" y="549"/>
                  </a:lnTo>
                  <a:lnTo>
                    <a:pt x="98" y="551"/>
                  </a:lnTo>
                  <a:lnTo>
                    <a:pt x="95" y="553"/>
                  </a:lnTo>
                  <a:lnTo>
                    <a:pt x="93" y="553"/>
                  </a:lnTo>
                  <a:lnTo>
                    <a:pt x="89" y="554"/>
                  </a:lnTo>
                  <a:lnTo>
                    <a:pt x="86" y="553"/>
                  </a:lnTo>
                  <a:lnTo>
                    <a:pt x="83" y="553"/>
                  </a:lnTo>
                  <a:lnTo>
                    <a:pt x="81" y="551"/>
                  </a:lnTo>
                  <a:lnTo>
                    <a:pt x="79" y="549"/>
                  </a:lnTo>
                  <a:lnTo>
                    <a:pt x="77" y="547"/>
                  </a:lnTo>
                  <a:lnTo>
                    <a:pt x="76" y="545"/>
                  </a:lnTo>
                  <a:lnTo>
                    <a:pt x="74" y="542"/>
                  </a:lnTo>
                  <a:lnTo>
                    <a:pt x="74" y="539"/>
                  </a:lnTo>
                  <a:lnTo>
                    <a:pt x="74" y="252"/>
                  </a:lnTo>
                  <a:close/>
                  <a:moveTo>
                    <a:pt x="469" y="633"/>
                  </a:moveTo>
                  <a:lnTo>
                    <a:pt x="260" y="11"/>
                  </a:lnTo>
                  <a:lnTo>
                    <a:pt x="259" y="7"/>
                  </a:lnTo>
                  <a:lnTo>
                    <a:pt x="257" y="5"/>
                  </a:lnTo>
                  <a:lnTo>
                    <a:pt x="255" y="3"/>
                  </a:lnTo>
                  <a:lnTo>
                    <a:pt x="252" y="2"/>
                  </a:lnTo>
                  <a:lnTo>
                    <a:pt x="249" y="1"/>
                  </a:lnTo>
                  <a:lnTo>
                    <a:pt x="247" y="0"/>
                  </a:lnTo>
                  <a:lnTo>
                    <a:pt x="244" y="0"/>
                  </a:lnTo>
                  <a:lnTo>
                    <a:pt x="241" y="1"/>
                  </a:lnTo>
                  <a:lnTo>
                    <a:pt x="150" y="33"/>
                  </a:lnTo>
                  <a:lnTo>
                    <a:pt x="147" y="34"/>
                  </a:lnTo>
                  <a:lnTo>
                    <a:pt x="144" y="36"/>
                  </a:lnTo>
                  <a:lnTo>
                    <a:pt x="143" y="38"/>
                  </a:lnTo>
                  <a:lnTo>
                    <a:pt x="141" y="41"/>
                  </a:lnTo>
                  <a:lnTo>
                    <a:pt x="140" y="44"/>
                  </a:lnTo>
                  <a:lnTo>
                    <a:pt x="140" y="46"/>
                  </a:lnTo>
                  <a:lnTo>
                    <a:pt x="140" y="49"/>
                  </a:lnTo>
                  <a:lnTo>
                    <a:pt x="140" y="52"/>
                  </a:lnTo>
                  <a:lnTo>
                    <a:pt x="180" y="170"/>
                  </a:lnTo>
                  <a:lnTo>
                    <a:pt x="15" y="170"/>
                  </a:lnTo>
                  <a:lnTo>
                    <a:pt x="12" y="171"/>
                  </a:lnTo>
                  <a:lnTo>
                    <a:pt x="9" y="171"/>
                  </a:lnTo>
                  <a:lnTo>
                    <a:pt x="7" y="174"/>
                  </a:lnTo>
                  <a:lnTo>
                    <a:pt x="5" y="175"/>
                  </a:lnTo>
                  <a:lnTo>
                    <a:pt x="3" y="177"/>
                  </a:lnTo>
                  <a:lnTo>
                    <a:pt x="2" y="180"/>
                  </a:lnTo>
                  <a:lnTo>
                    <a:pt x="0" y="183"/>
                  </a:lnTo>
                  <a:lnTo>
                    <a:pt x="0" y="185"/>
                  </a:lnTo>
                  <a:lnTo>
                    <a:pt x="0" y="667"/>
                  </a:lnTo>
                  <a:lnTo>
                    <a:pt x="0" y="670"/>
                  </a:lnTo>
                  <a:lnTo>
                    <a:pt x="2" y="673"/>
                  </a:lnTo>
                  <a:lnTo>
                    <a:pt x="3" y="676"/>
                  </a:lnTo>
                  <a:lnTo>
                    <a:pt x="5" y="678"/>
                  </a:lnTo>
                  <a:lnTo>
                    <a:pt x="7" y="680"/>
                  </a:lnTo>
                  <a:lnTo>
                    <a:pt x="9" y="681"/>
                  </a:lnTo>
                  <a:lnTo>
                    <a:pt x="12" y="682"/>
                  </a:lnTo>
                  <a:lnTo>
                    <a:pt x="15" y="682"/>
                  </a:lnTo>
                  <a:lnTo>
                    <a:pt x="196" y="682"/>
                  </a:lnTo>
                  <a:lnTo>
                    <a:pt x="199" y="682"/>
                  </a:lnTo>
                  <a:lnTo>
                    <a:pt x="202" y="681"/>
                  </a:lnTo>
                  <a:lnTo>
                    <a:pt x="204" y="680"/>
                  </a:lnTo>
                  <a:lnTo>
                    <a:pt x="206" y="678"/>
                  </a:lnTo>
                  <a:lnTo>
                    <a:pt x="209" y="676"/>
                  </a:lnTo>
                  <a:lnTo>
                    <a:pt x="210" y="673"/>
                  </a:lnTo>
                  <a:lnTo>
                    <a:pt x="211" y="670"/>
                  </a:lnTo>
                  <a:lnTo>
                    <a:pt x="211" y="667"/>
                  </a:lnTo>
                  <a:lnTo>
                    <a:pt x="211" y="263"/>
                  </a:lnTo>
                  <a:lnTo>
                    <a:pt x="349" y="675"/>
                  </a:lnTo>
                  <a:lnTo>
                    <a:pt x="350" y="677"/>
                  </a:lnTo>
                  <a:lnTo>
                    <a:pt x="352" y="679"/>
                  </a:lnTo>
                  <a:lnTo>
                    <a:pt x="354" y="681"/>
                  </a:lnTo>
                  <a:lnTo>
                    <a:pt x="357" y="683"/>
                  </a:lnTo>
                  <a:lnTo>
                    <a:pt x="360" y="684"/>
                  </a:lnTo>
                  <a:lnTo>
                    <a:pt x="363" y="684"/>
                  </a:lnTo>
                  <a:lnTo>
                    <a:pt x="366" y="684"/>
                  </a:lnTo>
                  <a:lnTo>
                    <a:pt x="368" y="683"/>
                  </a:lnTo>
                  <a:lnTo>
                    <a:pt x="459" y="651"/>
                  </a:lnTo>
                  <a:lnTo>
                    <a:pt x="463" y="650"/>
                  </a:lnTo>
                  <a:lnTo>
                    <a:pt x="465" y="649"/>
                  </a:lnTo>
                  <a:lnTo>
                    <a:pt x="467" y="647"/>
                  </a:lnTo>
                  <a:lnTo>
                    <a:pt x="468" y="643"/>
                  </a:lnTo>
                  <a:lnTo>
                    <a:pt x="469" y="641"/>
                  </a:lnTo>
                  <a:lnTo>
                    <a:pt x="469" y="638"/>
                  </a:lnTo>
                  <a:lnTo>
                    <a:pt x="469" y="635"/>
                  </a:lnTo>
                  <a:lnTo>
                    <a:pt x="469" y="633"/>
                  </a:lnTo>
                  <a:lnTo>
                    <a:pt x="469" y="6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21" name="Freeform 644"/>
            <p:cNvSpPr>
              <a:spLocks noEditPoints="1"/>
            </p:cNvSpPr>
            <p:nvPr/>
          </p:nvSpPr>
          <p:spPr bwMode="auto">
            <a:xfrm>
              <a:off x="5465763" y="846138"/>
              <a:ext cx="52388" cy="214313"/>
            </a:xfrm>
            <a:custGeom>
              <a:avLst/>
              <a:gdLst>
                <a:gd name="T0" fmla="*/ 81 w 165"/>
                <a:gd name="T1" fmla="*/ 563 h 677"/>
                <a:gd name="T2" fmla="*/ 79 w 165"/>
                <a:gd name="T3" fmla="*/ 569 h 677"/>
                <a:gd name="T4" fmla="*/ 75 w 165"/>
                <a:gd name="T5" fmla="*/ 572 h 677"/>
                <a:gd name="T6" fmla="*/ 70 w 165"/>
                <a:gd name="T7" fmla="*/ 575 h 677"/>
                <a:gd name="T8" fmla="*/ 64 w 165"/>
                <a:gd name="T9" fmla="*/ 575 h 677"/>
                <a:gd name="T10" fmla="*/ 59 w 165"/>
                <a:gd name="T11" fmla="*/ 572 h 677"/>
                <a:gd name="T12" fmla="*/ 55 w 165"/>
                <a:gd name="T13" fmla="*/ 569 h 677"/>
                <a:gd name="T14" fmla="*/ 53 w 165"/>
                <a:gd name="T15" fmla="*/ 563 h 677"/>
                <a:gd name="T16" fmla="*/ 51 w 165"/>
                <a:gd name="T17" fmla="*/ 116 h 677"/>
                <a:gd name="T18" fmla="*/ 54 w 165"/>
                <a:gd name="T19" fmla="*/ 111 h 677"/>
                <a:gd name="T20" fmla="*/ 57 w 165"/>
                <a:gd name="T21" fmla="*/ 106 h 677"/>
                <a:gd name="T22" fmla="*/ 61 w 165"/>
                <a:gd name="T23" fmla="*/ 103 h 677"/>
                <a:gd name="T24" fmla="*/ 66 w 165"/>
                <a:gd name="T25" fmla="*/ 102 h 677"/>
                <a:gd name="T26" fmla="*/ 73 w 165"/>
                <a:gd name="T27" fmla="*/ 103 h 677"/>
                <a:gd name="T28" fmla="*/ 77 w 165"/>
                <a:gd name="T29" fmla="*/ 106 h 677"/>
                <a:gd name="T30" fmla="*/ 80 w 165"/>
                <a:gd name="T31" fmla="*/ 111 h 677"/>
                <a:gd name="T32" fmla="*/ 83 w 165"/>
                <a:gd name="T33" fmla="*/ 117 h 677"/>
                <a:gd name="T34" fmla="*/ 150 w 165"/>
                <a:gd name="T35" fmla="*/ 0 h 677"/>
                <a:gd name="T36" fmla="*/ 12 w 165"/>
                <a:gd name="T37" fmla="*/ 0 h 677"/>
                <a:gd name="T38" fmla="*/ 6 w 165"/>
                <a:gd name="T39" fmla="*/ 2 h 677"/>
                <a:gd name="T40" fmla="*/ 2 w 165"/>
                <a:gd name="T41" fmla="*/ 7 h 677"/>
                <a:gd name="T42" fmla="*/ 0 w 165"/>
                <a:gd name="T43" fmla="*/ 12 h 677"/>
                <a:gd name="T44" fmla="*/ 0 w 165"/>
                <a:gd name="T45" fmla="*/ 662 h 677"/>
                <a:gd name="T46" fmla="*/ 1 w 165"/>
                <a:gd name="T47" fmla="*/ 668 h 677"/>
                <a:gd name="T48" fmla="*/ 4 w 165"/>
                <a:gd name="T49" fmla="*/ 673 h 677"/>
                <a:gd name="T50" fmla="*/ 9 w 165"/>
                <a:gd name="T51" fmla="*/ 676 h 677"/>
                <a:gd name="T52" fmla="*/ 15 w 165"/>
                <a:gd name="T53" fmla="*/ 677 h 677"/>
                <a:gd name="T54" fmla="*/ 153 w 165"/>
                <a:gd name="T55" fmla="*/ 677 h 677"/>
                <a:gd name="T56" fmla="*/ 159 w 165"/>
                <a:gd name="T57" fmla="*/ 675 h 677"/>
                <a:gd name="T58" fmla="*/ 163 w 165"/>
                <a:gd name="T59" fmla="*/ 671 h 677"/>
                <a:gd name="T60" fmla="*/ 165 w 165"/>
                <a:gd name="T61" fmla="*/ 665 h 677"/>
                <a:gd name="T62" fmla="*/ 165 w 165"/>
                <a:gd name="T63" fmla="*/ 15 h 677"/>
                <a:gd name="T64" fmla="*/ 164 w 165"/>
                <a:gd name="T65" fmla="*/ 9 h 677"/>
                <a:gd name="T66" fmla="*/ 161 w 165"/>
                <a:gd name="T67" fmla="*/ 5 h 677"/>
                <a:gd name="T68" fmla="*/ 157 w 165"/>
                <a:gd name="T69" fmla="*/ 1 h 677"/>
                <a:gd name="T70" fmla="*/ 150 w 165"/>
                <a:gd name="T71"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5" h="677">
                  <a:moveTo>
                    <a:pt x="83" y="560"/>
                  </a:moveTo>
                  <a:lnTo>
                    <a:pt x="81" y="563"/>
                  </a:lnTo>
                  <a:lnTo>
                    <a:pt x="80" y="565"/>
                  </a:lnTo>
                  <a:lnTo>
                    <a:pt x="79" y="569"/>
                  </a:lnTo>
                  <a:lnTo>
                    <a:pt x="77" y="571"/>
                  </a:lnTo>
                  <a:lnTo>
                    <a:pt x="75" y="572"/>
                  </a:lnTo>
                  <a:lnTo>
                    <a:pt x="73" y="574"/>
                  </a:lnTo>
                  <a:lnTo>
                    <a:pt x="70" y="575"/>
                  </a:lnTo>
                  <a:lnTo>
                    <a:pt x="66" y="575"/>
                  </a:lnTo>
                  <a:lnTo>
                    <a:pt x="64" y="575"/>
                  </a:lnTo>
                  <a:lnTo>
                    <a:pt x="61" y="574"/>
                  </a:lnTo>
                  <a:lnTo>
                    <a:pt x="59" y="572"/>
                  </a:lnTo>
                  <a:lnTo>
                    <a:pt x="57" y="571"/>
                  </a:lnTo>
                  <a:lnTo>
                    <a:pt x="55" y="569"/>
                  </a:lnTo>
                  <a:lnTo>
                    <a:pt x="54" y="565"/>
                  </a:lnTo>
                  <a:lnTo>
                    <a:pt x="53" y="563"/>
                  </a:lnTo>
                  <a:lnTo>
                    <a:pt x="51" y="560"/>
                  </a:lnTo>
                  <a:lnTo>
                    <a:pt x="51" y="116"/>
                  </a:lnTo>
                  <a:lnTo>
                    <a:pt x="53" y="114"/>
                  </a:lnTo>
                  <a:lnTo>
                    <a:pt x="54" y="111"/>
                  </a:lnTo>
                  <a:lnTo>
                    <a:pt x="55" y="109"/>
                  </a:lnTo>
                  <a:lnTo>
                    <a:pt x="57" y="106"/>
                  </a:lnTo>
                  <a:lnTo>
                    <a:pt x="59" y="104"/>
                  </a:lnTo>
                  <a:lnTo>
                    <a:pt x="61" y="103"/>
                  </a:lnTo>
                  <a:lnTo>
                    <a:pt x="64" y="102"/>
                  </a:lnTo>
                  <a:lnTo>
                    <a:pt x="66" y="102"/>
                  </a:lnTo>
                  <a:lnTo>
                    <a:pt x="70" y="102"/>
                  </a:lnTo>
                  <a:lnTo>
                    <a:pt x="73" y="103"/>
                  </a:lnTo>
                  <a:lnTo>
                    <a:pt x="75" y="104"/>
                  </a:lnTo>
                  <a:lnTo>
                    <a:pt x="77" y="106"/>
                  </a:lnTo>
                  <a:lnTo>
                    <a:pt x="79" y="109"/>
                  </a:lnTo>
                  <a:lnTo>
                    <a:pt x="80" y="111"/>
                  </a:lnTo>
                  <a:lnTo>
                    <a:pt x="81" y="114"/>
                  </a:lnTo>
                  <a:lnTo>
                    <a:pt x="83" y="117"/>
                  </a:lnTo>
                  <a:lnTo>
                    <a:pt x="83" y="560"/>
                  </a:lnTo>
                  <a:close/>
                  <a:moveTo>
                    <a:pt x="150" y="0"/>
                  </a:moveTo>
                  <a:lnTo>
                    <a:pt x="15" y="0"/>
                  </a:lnTo>
                  <a:lnTo>
                    <a:pt x="12" y="0"/>
                  </a:lnTo>
                  <a:lnTo>
                    <a:pt x="9" y="1"/>
                  </a:lnTo>
                  <a:lnTo>
                    <a:pt x="6" y="2"/>
                  </a:lnTo>
                  <a:lnTo>
                    <a:pt x="4" y="5"/>
                  </a:lnTo>
                  <a:lnTo>
                    <a:pt x="2" y="7"/>
                  </a:lnTo>
                  <a:lnTo>
                    <a:pt x="1" y="9"/>
                  </a:lnTo>
                  <a:lnTo>
                    <a:pt x="0" y="12"/>
                  </a:lnTo>
                  <a:lnTo>
                    <a:pt x="0" y="15"/>
                  </a:lnTo>
                  <a:lnTo>
                    <a:pt x="0" y="662"/>
                  </a:lnTo>
                  <a:lnTo>
                    <a:pt x="0" y="665"/>
                  </a:lnTo>
                  <a:lnTo>
                    <a:pt x="1" y="668"/>
                  </a:lnTo>
                  <a:lnTo>
                    <a:pt x="2" y="671"/>
                  </a:lnTo>
                  <a:lnTo>
                    <a:pt x="4" y="673"/>
                  </a:lnTo>
                  <a:lnTo>
                    <a:pt x="6" y="675"/>
                  </a:lnTo>
                  <a:lnTo>
                    <a:pt x="9" y="676"/>
                  </a:lnTo>
                  <a:lnTo>
                    <a:pt x="12" y="677"/>
                  </a:lnTo>
                  <a:lnTo>
                    <a:pt x="15" y="677"/>
                  </a:lnTo>
                  <a:lnTo>
                    <a:pt x="150" y="677"/>
                  </a:lnTo>
                  <a:lnTo>
                    <a:pt x="153" y="677"/>
                  </a:lnTo>
                  <a:lnTo>
                    <a:pt x="157" y="676"/>
                  </a:lnTo>
                  <a:lnTo>
                    <a:pt x="159" y="675"/>
                  </a:lnTo>
                  <a:lnTo>
                    <a:pt x="161" y="673"/>
                  </a:lnTo>
                  <a:lnTo>
                    <a:pt x="163" y="671"/>
                  </a:lnTo>
                  <a:lnTo>
                    <a:pt x="164" y="668"/>
                  </a:lnTo>
                  <a:lnTo>
                    <a:pt x="165" y="665"/>
                  </a:lnTo>
                  <a:lnTo>
                    <a:pt x="165" y="662"/>
                  </a:lnTo>
                  <a:lnTo>
                    <a:pt x="165" y="15"/>
                  </a:lnTo>
                  <a:lnTo>
                    <a:pt x="165" y="12"/>
                  </a:lnTo>
                  <a:lnTo>
                    <a:pt x="164" y="9"/>
                  </a:lnTo>
                  <a:lnTo>
                    <a:pt x="163" y="7"/>
                  </a:lnTo>
                  <a:lnTo>
                    <a:pt x="161" y="5"/>
                  </a:lnTo>
                  <a:lnTo>
                    <a:pt x="159" y="2"/>
                  </a:lnTo>
                  <a:lnTo>
                    <a:pt x="157" y="1"/>
                  </a:lnTo>
                  <a:lnTo>
                    <a:pt x="153" y="0"/>
                  </a:lnTo>
                  <a:lnTo>
                    <a:pt x="150" y="0"/>
                  </a:lnTo>
                  <a:lnTo>
                    <a:pt x="1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sp>
        <p:nvSpPr>
          <p:cNvPr id="2" name="Title 1">
            <a:extLst>
              <a:ext uri="{FF2B5EF4-FFF2-40B4-BE49-F238E27FC236}">
                <a16:creationId xmlns:a16="http://schemas.microsoft.com/office/drawing/2014/main" id="{E5D46A86-FD57-C540-A7AE-FC39D7DF6C38}"/>
              </a:ext>
            </a:extLst>
          </p:cNvPr>
          <p:cNvSpPr>
            <a:spLocks noGrp="1"/>
          </p:cNvSpPr>
          <p:nvPr>
            <p:ph type="title"/>
          </p:nvPr>
        </p:nvSpPr>
        <p:spPr/>
        <p:txBody>
          <a:bodyPr/>
          <a:lstStyle/>
          <a:p>
            <a:r>
              <a:rPr lang="en-US" dirty="0"/>
              <a:t>Stat diagram</a:t>
            </a:r>
          </a:p>
        </p:txBody>
      </p:sp>
    </p:spTree>
    <p:extLst>
      <p:ext uri="{BB962C8B-B14F-4D97-AF65-F5344CB8AC3E}">
        <p14:creationId xmlns:p14="http://schemas.microsoft.com/office/powerpoint/2010/main" val="408188651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649877" y="4714638"/>
            <a:ext cx="21018550" cy="4422676"/>
            <a:chOff x="824992" y="2357249"/>
            <a:chExt cx="10509959" cy="2211482"/>
          </a:xfrm>
          <a:solidFill>
            <a:schemeClr val="accent6"/>
          </a:solidFill>
          <a:effectLst>
            <a:outerShdw blurRad="38100" dist="25400" dir="5400000" algn="ctr" rotWithShape="0">
              <a:srgbClr val="000000">
                <a:alpha val="20000"/>
              </a:srgbClr>
            </a:outerShdw>
          </a:effectLst>
        </p:grpSpPr>
        <p:sp>
          <p:nvSpPr>
            <p:cNvPr id="53" name="Freeform 5"/>
            <p:cNvSpPr>
              <a:spLocks/>
            </p:cNvSpPr>
            <p:nvPr/>
          </p:nvSpPr>
          <p:spPr bwMode="auto">
            <a:xfrm>
              <a:off x="7753422" y="2357249"/>
              <a:ext cx="1844943" cy="1436945"/>
            </a:xfrm>
            <a:custGeom>
              <a:avLst/>
              <a:gdLst>
                <a:gd name="T0" fmla="*/ 0 w 828"/>
                <a:gd name="T1" fmla="*/ 296 h 644"/>
                <a:gd name="T2" fmla="*/ 111 w 828"/>
                <a:gd name="T3" fmla="*/ 328 h 644"/>
                <a:gd name="T4" fmla="*/ 111 w 828"/>
                <a:gd name="T5" fmla="*/ 453 h 644"/>
                <a:gd name="T6" fmla="*/ 691 w 828"/>
                <a:gd name="T7" fmla="*/ 644 h 644"/>
                <a:gd name="T8" fmla="*/ 828 w 828"/>
                <a:gd name="T9" fmla="*/ 618 h 644"/>
                <a:gd name="T10" fmla="*/ 824 w 828"/>
                <a:gd name="T11" fmla="*/ 490 h 644"/>
                <a:gd name="T12" fmla="*/ 0 w 828"/>
                <a:gd name="T13" fmla="*/ 296 h 644"/>
              </a:gdLst>
              <a:ahLst/>
              <a:cxnLst>
                <a:cxn ang="0">
                  <a:pos x="T0" y="T1"/>
                </a:cxn>
                <a:cxn ang="0">
                  <a:pos x="T2" y="T3"/>
                </a:cxn>
                <a:cxn ang="0">
                  <a:pos x="T4" y="T5"/>
                </a:cxn>
                <a:cxn ang="0">
                  <a:pos x="T6" y="T7"/>
                </a:cxn>
                <a:cxn ang="0">
                  <a:pos x="T8" y="T9"/>
                </a:cxn>
                <a:cxn ang="0">
                  <a:pos x="T10" y="T11"/>
                </a:cxn>
                <a:cxn ang="0">
                  <a:pos x="T12" y="T13"/>
                </a:cxn>
              </a:cxnLst>
              <a:rect l="0" t="0" r="r" b="b"/>
              <a:pathLst>
                <a:path w="828" h="644">
                  <a:moveTo>
                    <a:pt x="0" y="296"/>
                  </a:moveTo>
                  <a:cubicBezTo>
                    <a:pt x="111" y="328"/>
                    <a:pt x="111" y="328"/>
                    <a:pt x="111" y="328"/>
                  </a:cubicBezTo>
                  <a:cubicBezTo>
                    <a:pt x="111" y="453"/>
                    <a:pt x="111" y="453"/>
                    <a:pt x="111" y="453"/>
                  </a:cubicBezTo>
                  <a:cubicBezTo>
                    <a:pt x="111" y="453"/>
                    <a:pt x="423" y="249"/>
                    <a:pt x="691" y="644"/>
                  </a:cubicBezTo>
                  <a:cubicBezTo>
                    <a:pt x="828" y="618"/>
                    <a:pt x="828" y="618"/>
                    <a:pt x="828" y="618"/>
                  </a:cubicBezTo>
                  <a:cubicBezTo>
                    <a:pt x="824" y="490"/>
                    <a:pt x="824" y="490"/>
                    <a:pt x="824" y="490"/>
                  </a:cubicBezTo>
                  <a:cubicBezTo>
                    <a:pt x="824" y="490"/>
                    <a:pt x="492" y="0"/>
                    <a:pt x="0" y="296"/>
                  </a:cubicBezTo>
                  <a:close/>
                </a:path>
              </a:pathLst>
            </a:custGeom>
            <a:grp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endParaRPr lang="en-US" sz="3600"/>
            </a:p>
          </p:txBody>
        </p:sp>
        <p:sp>
          <p:nvSpPr>
            <p:cNvPr id="54" name="Freeform 6"/>
            <p:cNvSpPr>
              <a:spLocks/>
            </p:cNvSpPr>
            <p:nvPr/>
          </p:nvSpPr>
          <p:spPr bwMode="auto">
            <a:xfrm>
              <a:off x="9490950" y="3131786"/>
              <a:ext cx="1844001" cy="1436945"/>
            </a:xfrm>
            <a:custGeom>
              <a:avLst/>
              <a:gdLst>
                <a:gd name="T0" fmla="*/ 0 w 828"/>
                <a:gd name="T1" fmla="*/ 346 h 644"/>
                <a:gd name="T2" fmla="*/ 111 w 828"/>
                <a:gd name="T3" fmla="*/ 314 h 644"/>
                <a:gd name="T4" fmla="*/ 112 w 828"/>
                <a:gd name="T5" fmla="*/ 190 h 644"/>
                <a:gd name="T6" fmla="*/ 692 w 828"/>
                <a:gd name="T7" fmla="*/ 0 h 644"/>
                <a:gd name="T8" fmla="*/ 828 w 828"/>
                <a:gd name="T9" fmla="*/ 27 h 644"/>
                <a:gd name="T10" fmla="*/ 825 w 828"/>
                <a:gd name="T11" fmla="*/ 156 h 644"/>
                <a:gd name="T12" fmla="*/ 0 w 828"/>
                <a:gd name="T13" fmla="*/ 346 h 644"/>
              </a:gdLst>
              <a:ahLst/>
              <a:cxnLst>
                <a:cxn ang="0">
                  <a:pos x="T0" y="T1"/>
                </a:cxn>
                <a:cxn ang="0">
                  <a:pos x="T2" y="T3"/>
                </a:cxn>
                <a:cxn ang="0">
                  <a:pos x="T4" y="T5"/>
                </a:cxn>
                <a:cxn ang="0">
                  <a:pos x="T6" y="T7"/>
                </a:cxn>
                <a:cxn ang="0">
                  <a:pos x="T8" y="T9"/>
                </a:cxn>
                <a:cxn ang="0">
                  <a:pos x="T10" y="T11"/>
                </a:cxn>
                <a:cxn ang="0">
                  <a:pos x="T12" y="T13"/>
                </a:cxn>
              </a:cxnLst>
              <a:rect l="0" t="0" r="r" b="b"/>
              <a:pathLst>
                <a:path w="828" h="644">
                  <a:moveTo>
                    <a:pt x="0" y="346"/>
                  </a:moveTo>
                  <a:cubicBezTo>
                    <a:pt x="111" y="314"/>
                    <a:pt x="111" y="314"/>
                    <a:pt x="111" y="314"/>
                  </a:cubicBezTo>
                  <a:cubicBezTo>
                    <a:pt x="112" y="190"/>
                    <a:pt x="112" y="190"/>
                    <a:pt x="112" y="190"/>
                  </a:cubicBezTo>
                  <a:cubicBezTo>
                    <a:pt x="112" y="190"/>
                    <a:pt x="423" y="394"/>
                    <a:pt x="692" y="0"/>
                  </a:cubicBezTo>
                  <a:cubicBezTo>
                    <a:pt x="828" y="27"/>
                    <a:pt x="828" y="27"/>
                    <a:pt x="828" y="27"/>
                  </a:cubicBezTo>
                  <a:cubicBezTo>
                    <a:pt x="825" y="156"/>
                    <a:pt x="825" y="156"/>
                    <a:pt x="825" y="156"/>
                  </a:cubicBezTo>
                  <a:cubicBezTo>
                    <a:pt x="825" y="156"/>
                    <a:pt x="491" y="644"/>
                    <a:pt x="0" y="346"/>
                  </a:cubicBezTo>
                  <a:close/>
                </a:path>
              </a:pathLst>
            </a:custGeom>
            <a:grp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endParaRPr lang="en-US" sz="3600"/>
            </a:p>
          </p:txBody>
        </p:sp>
        <p:sp>
          <p:nvSpPr>
            <p:cNvPr id="55" name="Freeform 7"/>
            <p:cNvSpPr>
              <a:spLocks/>
            </p:cNvSpPr>
            <p:nvPr/>
          </p:nvSpPr>
          <p:spPr bwMode="auto">
            <a:xfrm>
              <a:off x="824992" y="2357249"/>
              <a:ext cx="1842116" cy="1436945"/>
            </a:xfrm>
            <a:custGeom>
              <a:avLst/>
              <a:gdLst>
                <a:gd name="T0" fmla="*/ 0 w 827"/>
                <a:gd name="T1" fmla="*/ 296 h 644"/>
                <a:gd name="T2" fmla="*/ 111 w 827"/>
                <a:gd name="T3" fmla="*/ 328 h 644"/>
                <a:gd name="T4" fmla="*/ 111 w 827"/>
                <a:gd name="T5" fmla="*/ 453 h 644"/>
                <a:gd name="T6" fmla="*/ 691 w 827"/>
                <a:gd name="T7" fmla="*/ 644 h 644"/>
                <a:gd name="T8" fmla="*/ 827 w 827"/>
                <a:gd name="T9" fmla="*/ 618 h 644"/>
                <a:gd name="T10" fmla="*/ 824 w 827"/>
                <a:gd name="T11" fmla="*/ 490 h 644"/>
                <a:gd name="T12" fmla="*/ 0 w 827"/>
                <a:gd name="T13" fmla="*/ 296 h 644"/>
              </a:gdLst>
              <a:ahLst/>
              <a:cxnLst>
                <a:cxn ang="0">
                  <a:pos x="T0" y="T1"/>
                </a:cxn>
                <a:cxn ang="0">
                  <a:pos x="T2" y="T3"/>
                </a:cxn>
                <a:cxn ang="0">
                  <a:pos x="T4" y="T5"/>
                </a:cxn>
                <a:cxn ang="0">
                  <a:pos x="T6" y="T7"/>
                </a:cxn>
                <a:cxn ang="0">
                  <a:pos x="T8" y="T9"/>
                </a:cxn>
                <a:cxn ang="0">
                  <a:pos x="T10" y="T11"/>
                </a:cxn>
                <a:cxn ang="0">
                  <a:pos x="T12" y="T13"/>
                </a:cxn>
              </a:cxnLst>
              <a:rect l="0" t="0" r="r" b="b"/>
              <a:pathLst>
                <a:path w="827" h="644">
                  <a:moveTo>
                    <a:pt x="0" y="296"/>
                  </a:moveTo>
                  <a:cubicBezTo>
                    <a:pt x="111" y="328"/>
                    <a:pt x="111" y="328"/>
                    <a:pt x="111" y="328"/>
                  </a:cubicBezTo>
                  <a:cubicBezTo>
                    <a:pt x="111" y="453"/>
                    <a:pt x="111" y="453"/>
                    <a:pt x="111" y="453"/>
                  </a:cubicBezTo>
                  <a:cubicBezTo>
                    <a:pt x="111" y="453"/>
                    <a:pt x="423" y="249"/>
                    <a:pt x="691" y="644"/>
                  </a:cubicBezTo>
                  <a:cubicBezTo>
                    <a:pt x="827" y="618"/>
                    <a:pt x="827" y="618"/>
                    <a:pt x="827" y="618"/>
                  </a:cubicBezTo>
                  <a:cubicBezTo>
                    <a:pt x="824" y="490"/>
                    <a:pt x="824" y="490"/>
                    <a:pt x="824" y="490"/>
                  </a:cubicBezTo>
                  <a:cubicBezTo>
                    <a:pt x="824" y="490"/>
                    <a:pt x="492" y="0"/>
                    <a:pt x="0" y="296"/>
                  </a:cubicBezTo>
                  <a:close/>
                </a:path>
              </a:pathLst>
            </a:custGeom>
            <a:grp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endParaRPr lang="en-US" sz="3600"/>
            </a:p>
          </p:txBody>
        </p:sp>
        <p:sp>
          <p:nvSpPr>
            <p:cNvPr id="56" name="Freeform 8"/>
            <p:cNvSpPr>
              <a:spLocks/>
            </p:cNvSpPr>
            <p:nvPr/>
          </p:nvSpPr>
          <p:spPr bwMode="auto">
            <a:xfrm>
              <a:off x="2559690" y="3131786"/>
              <a:ext cx="1846827" cy="1436945"/>
            </a:xfrm>
            <a:custGeom>
              <a:avLst/>
              <a:gdLst>
                <a:gd name="T0" fmla="*/ 0 w 829"/>
                <a:gd name="T1" fmla="*/ 346 h 644"/>
                <a:gd name="T2" fmla="*/ 112 w 829"/>
                <a:gd name="T3" fmla="*/ 314 h 644"/>
                <a:gd name="T4" fmla="*/ 112 w 829"/>
                <a:gd name="T5" fmla="*/ 190 h 644"/>
                <a:gd name="T6" fmla="*/ 693 w 829"/>
                <a:gd name="T7" fmla="*/ 0 h 644"/>
                <a:gd name="T8" fmla="*/ 829 w 829"/>
                <a:gd name="T9" fmla="*/ 27 h 644"/>
                <a:gd name="T10" fmla="*/ 825 w 829"/>
                <a:gd name="T11" fmla="*/ 156 h 644"/>
                <a:gd name="T12" fmla="*/ 0 w 829"/>
                <a:gd name="T13" fmla="*/ 346 h 644"/>
              </a:gdLst>
              <a:ahLst/>
              <a:cxnLst>
                <a:cxn ang="0">
                  <a:pos x="T0" y="T1"/>
                </a:cxn>
                <a:cxn ang="0">
                  <a:pos x="T2" y="T3"/>
                </a:cxn>
                <a:cxn ang="0">
                  <a:pos x="T4" y="T5"/>
                </a:cxn>
                <a:cxn ang="0">
                  <a:pos x="T6" y="T7"/>
                </a:cxn>
                <a:cxn ang="0">
                  <a:pos x="T8" y="T9"/>
                </a:cxn>
                <a:cxn ang="0">
                  <a:pos x="T10" y="T11"/>
                </a:cxn>
                <a:cxn ang="0">
                  <a:pos x="T12" y="T13"/>
                </a:cxn>
              </a:cxnLst>
              <a:rect l="0" t="0" r="r" b="b"/>
              <a:pathLst>
                <a:path w="829" h="644">
                  <a:moveTo>
                    <a:pt x="0" y="346"/>
                  </a:moveTo>
                  <a:cubicBezTo>
                    <a:pt x="112" y="314"/>
                    <a:pt x="112" y="314"/>
                    <a:pt x="112" y="314"/>
                  </a:cubicBezTo>
                  <a:cubicBezTo>
                    <a:pt x="112" y="190"/>
                    <a:pt x="112" y="190"/>
                    <a:pt x="112" y="190"/>
                  </a:cubicBezTo>
                  <a:cubicBezTo>
                    <a:pt x="112" y="190"/>
                    <a:pt x="423" y="394"/>
                    <a:pt x="693" y="0"/>
                  </a:cubicBezTo>
                  <a:cubicBezTo>
                    <a:pt x="829" y="27"/>
                    <a:pt x="829" y="27"/>
                    <a:pt x="829" y="27"/>
                  </a:cubicBezTo>
                  <a:cubicBezTo>
                    <a:pt x="825" y="156"/>
                    <a:pt x="825" y="156"/>
                    <a:pt x="825" y="156"/>
                  </a:cubicBezTo>
                  <a:cubicBezTo>
                    <a:pt x="825" y="156"/>
                    <a:pt x="491" y="644"/>
                    <a:pt x="0" y="346"/>
                  </a:cubicBezTo>
                  <a:close/>
                </a:path>
              </a:pathLst>
            </a:custGeom>
            <a:grp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endParaRPr lang="en-US" sz="3600"/>
            </a:p>
          </p:txBody>
        </p:sp>
        <p:sp>
          <p:nvSpPr>
            <p:cNvPr id="57" name="Freeform 9"/>
            <p:cNvSpPr>
              <a:spLocks/>
            </p:cNvSpPr>
            <p:nvPr/>
          </p:nvSpPr>
          <p:spPr bwMode="auto">
            <a:xfrm>
              <a:off x="4301932" y="2357249"/>
              <a:ext cx="1841174" cy="1436945"/>
            </a:xfrm>
            <a:custGeom>
              <a:avLst/>
              <a:gdLst>
                <a:gd name="T0" fmla="*/ 0 w 827"/>
                <a:gd name="T1" fmla="*/ 296 h 644"/>
                <a:gd name="T2" fmla="*/ 111 w 827"/>
                <a:gd name="T3" fmla="*/ 328 h 644"/>
                <a:gd name="T4" fmla="*/ 111 w 827"/>
                <a:gd name="T5" fmla="*/ 453 h 644"/>
                <a:gd name="T6" fmla="*/ 691 w 827"/>
                <a:gd name="T7" fmla="*/ 644 h 644"/>
                <a:gd name="T8" fmla="*/ 827 w 827"/>
                <a:gd name="T9" fmla="*/ 618 h 644"/>
                <a:gd name="T10" fmla="*/ 824 w 827"/>
                <a:gd name="T11" fmla="*/ 490 h 644"/>
                <a:gd name="T12" fmla="*/ 0 w 827"/>
                <a:gd name="T13" fmla="*/ 296 h 644"/>
              </a:gdLst>
              <a:ahLst/>
              <a:cxnLst>
                <a:cxn ang="0">
                  <a:pos x="T0" y="T1"/>
                </a:cxn>
                <a:cxn ang="0">
                  <a:pos x="T2" y="T3"/>
                </a:cxn>
                <a:cxn ang="0">
                  <a:pos x="T4" y="T5"/>
                </a:cxn>
                <a:cxn ang="0">
                  <a:pos x="T6" y="T7"/>
                </a:cxn>
                <a:cxn ang="0">
                  <a:pos x="T8" y="T9"/>
                </a:cxn>
                <a:cxn ang="0">
                  <a:pos x="T10" y="T11"/>
                </a:cxn>
                <a:cxn ang="0">
                  <a:pos x="T12" y="T13"/>
                </a:cxn>
              </a:cxnLst>
              <a:rect l="0" t="0" r="r" b="b"/>
              <a:pathLst>
                <a:path w="827" h="644">
                  <a:moveTo>
                    <a:pt x="0" y="296"/>
                  </a:moveTo>
                  <a:cubicBezTo>
                    <a:pt x="111" y="328"/>
                    <a:pt x="111" y="328"/>
                    <a:pt x="111" y="328"/>
                  </a:cubicBezTo>
                  <a:cubicBezTo>
                    <a:pt x="111" y="453"/>
                    <a:pt x="111" y="453"/>
                    <a:pt x="111" y="453"/>
                  </a:cubicBezTo>
                  <a:cubicBezTo>
                    <a:pt x="111" y="453"/>
                    <a:pt x="423" y="249"/>
                    <a:pt x="691" y="644"/>
                  </a:cubicBezTo>
                  <a:cubicBezTo>
                    <a:pt x="827" y="618"/>
                    <a:pt x="827" y="618"/>
                    <a:pt x="827" y="618"/>
                  </a:cubicBezTo>
                  <a:cubicBezTo>
                    <a:pt x="824" y="490"/>
                    <a:pt x="824" y="490"/>
                    <a:pt x="824" y="490"/>
                  </a:cubicBezTo>
                  <a:cubicBezTo>
                    <a:pt x="824" y="490"/>
                    <a:pt x="492" y="0"/>
                    <a:pt x="0" y="296"/>
                  </a:cubicBezTo>
                  <a:close/>
                </a:path>
              </a:pathLst>
            </a:custGeom>
            <a:grp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endParaRPr lang="en-US" sz="3600"/>
            </a:p>
          </p:txBody>
        </p:sp>
        <p:sp>
          <p:nvSpPr>
            <p:cNvPr id="58" name="Freeform 10"/>
            <p:cNvSpPr>
              <a:spLocks/>
            </p:cNvSpPr>
            <p:nvPr/>
          </p:nvSpPr>
          <p:spPr bwMode="auto">
            <a:xfrm>
              <a:off x="6036626" y="3131786"/>
              <a:ext cx="1846827" cy="1436945"/>
            </a:xfrm>
            <a:custGeom>
              <a:avLst/>
              <a:gdLst>
                <a:gd name="T0" fmla="*/ 0 w 829"/>
                <a:gd name="T1" fmla="*/ 346 h 644"/>
                <a:gd name="T2" fmla="*/ 112 w 829"/>
                <a:gd name="T3" fmla="*/ 314 h 644"/>
                <a:gd name="T4" fmla="*/ 112 w 829"/>
                <a:gd name="T5" fmla="*/ 190 h 644"/>
                <a:gd name="T6" fmla="*/ 693 w 829"/>
                <a:gd name="T7" fmla="*/ 0 h 644"/>
                <a:gd name="T8" fmla="*/ 829 w 829"/>
                <a:gd name="T9" fmla="*/ 27 h 644"/>
                <a:gd name="T10" fmla="*/ 825 w 829"/>
                <a:gd name="T11" fmla="*/ 156 h 644"/>
                <a:gd name="T12" fmla="*/ 0 w 829"/>
                <a:gd name="T13" fmla="*/ 346 h 644"/>
              </a:gdLst>
              <a:ahLst/>
              <a:cxnLst>
                <a:cxn ang="0">
                  <a:pos x="T0" y="T1"/>
                </a:cxn>
                <a:cxn ang="0">
                  <a:pos x="T2" y="T3"/>
                </a:cxn>
                <a:cxn ang="0">
                  <a:pos x="T4" y="T5"/>
                </a:cxn>
                <a:cxn ang="0">
                  <a:pos x="T6" y="T7"/>
                </a:cxn>
                <a:cxn ang="0">
                  <a:pos x="T8" y="T9"/>
                </a:cxn>
                <a:cxn ang="0">
                  <a:pos x="T10" y="T11"/>
                </a:cxn>
                <a:cxn ang="0">
                  <a:pos x="T12" y="T13"/>
                </a:cxn>
              </a:cxnLst>
              <a:rect l="0" t="0" r="r" b="b"/>
              <a:pathLst>
                <a:path w="829" h="644">
                  <a:moveTo>
                    <a:pt x="0" y="346"/>
                  </a:moveTo>
                  <a:cubicBezTo>
                    <a:pt x="112" y="314"/>
                    <a:pt x="112" y="314"/>
                    <a:pt x="112" y="314"/>
                  </a:cubicBezTo>
                  <a:cubicBezTo>
                    <a:pt x="112" y="190"/>
                    <a:pt x="112" y="190"/>
                    <a:pt x="112" y="190"/>
                  </a:cubicBezTo>
                  <a:cubicBezTo>
                    <a:pt x="112" y="190"/>
                    <a:pt x="423" y="394"/>
                    <a:pt x="693" y="0"/>
                  </a:cubicBezTo>
                  <a:cubicBezTo>
                    <a:pt x="829" y="27"/>
                    <a:pt x="829" y="27"/>
                    <a:pt x="829" y="27"/>
                  </a:cubicBezTo>
                  <a:cubicBezTo>
                    <a:pt x="825" y="156"/>
                    <a:pt x="825" y="156"/>
                    <a:pt x="825" y="156"/>
                  </a:cubicBezTo>
                  <a:cubicBezTo>
                    <a:pt x="825" y="156"/>
                    <a:pt x="491" y="644"/>
                    <a:pt x="0" y="346"/>
                  </a:cubicBezTo>
                  <a:close/>
                </a:path>
              </a:pathLst>
            </a:custGeom>
            <a:grp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endParaRPr lang="en-US" sz="3600"/>
            </a:p>
          </p:txBody>
        </p:sp>
      </p:grpSp>
      <p:sp>
        <p:nvSpPr>
          <p:cNvPr id="59" name="Oval 12"/>
          <p:cNvSpPr>
            <a:spLocks noChangeArrowheads="1"/>
          </p:cNvSpPr>
          <p:nvPr/>
        </p:nvSpPr>
        <p:spPr bwMode="auto">
          <a:xfrm>
            <a:off x="1787446" y="7007947"/>
            <a:ext cx="2347957" cy="2351725"/>
          </a:xfrm>
          <a:prstGeom prst="ellipse">
            <a:avLst/>
          </a:prstGeom>
          <a:solidFill>
            <a:schemeClr val="bg1"/>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182868" tIns="91434" rIns="182868" bIns="91434" numCol="1" anchor="t" anchorCtr="0" compatLnSpc="1">
            <a:prstTxWarp prst="textNoShape">
              <a:avLst/>
            </a:prstTxWarp>
          </a:bodyPr>
          <a:lstStyle/>
          <a:p>
            <a:endParaRPr lang="en-US" sz="3600"/>
          </a:p>
        </p:txBody>
      </p:sp>
      <p:sp>
        <p:nvSpPr>
          <p:cNvPr id="60" name="Oval 11"/>
          <p:cNvSpPr>
            <a:spLocks noChangeArrowheads="1"/>
          </p:cNvSpPr>
          <p:nvPr/>
        </p:nvSpPr>
        <p:spPr bwMode="auto">
          <a:xfrm>
            <a:off x="2019227" y="7239719"/>
            <a:ext cx="1884395" cy="1888165"/>
          </a:xfrm>
          <a:prstGeom prst="ellipse">
            <a:avLst/>
          </a:prstGeom>
          <a:solidFill>
            <a:schemeClr val="accent2"/>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endParaRPr lang="en-US" sz="3600"/>
          </a:p>
        </p:txBody>
      </p:sp>
      <p:sp>
        <p:nvSpPr>
          <p:cNvPr id="61" name="Oval 14"/>
          <p:cNvSpPr>
            <a:spLocks noChangeArrowheads="1"/>
          </p:cNvSpPr>
          <p:nvPr/>
        </p:nvSpPr>
        <p:spPr bwMode="auto">
          <a:xfrm>
            <a:off x="5350836" y="4437633"/>
            <a:ext cx="2342303" cy="2347957"/>
          </a:xfrm>
          <a:prstGeom prst="ellipse">
            <a:avLst/>
          </a:prstGeom>
          <a:solidFill>
            <a:schemeClr val="bg1"/>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182868" tIns="91434" rIns="182868" bIns="91434" numCol="1" anchor="t" anchorCtr="0" compatLnSpc="1">
            <a:prstTxWarp prst="textNoShape">
              <a:avLst/>
            </a:prstTxWarp>
          </a:bodyPr>
          <a:lstStyle/>
          <a:p>
            <a:endParaRPr lang="en-US" sz="3600"/>
          </a:p>
        </p:txBody>
      </p:sp>
      <p:sp>
        <p:nvSpPr>
          <p:cNvPr id="62" name="Oval 13"/>
          <p:cNvSpPr>
            <a:spLocks noChangeArrowheads="1"/>
          </p:cNvSpPr>
          <p:nvPr/>
        </p:nvSpPr>
        <p:spPr bwMode="auto">
          <a:xfrm>
            <a:off x="5578840" y="4665635"/>
            <a:ext cx="1882511" cy="1891933"/>
          </a:xfrm>
          <a:prstGeom prst="ellipse">
            <a:avLst/>
          </a:prstGeom>
          <a:solidFill>
            <a:schemeClr val="accent4">
              <a:lumMod val="75000"/>
            </a:schemeClr>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endParaRPr lang="en-US" sz="3600"/>
          </a:p>
        </p:txBody>
      </p:sp>
      <p:sp>
        <p:nvSpPr>
          <p:cNvPr id="63" name="Oval 16"/>
          <p:cNvSpPr>
            <a:spLocks noChangeArrowheads="1"/>
          </p:cNvSpPr>
          <p:nvPr/>
        </p:nvSpPr>
        <p:spPr bwMode="auto">
          <a:xfrm>
            <a:off x="8701291" y="7007947"/>
            <a:ext cx="2342303" cy="2351725"/>
          </a:xfrm>
          <a:prstGeom prst="ellipse">
            <a:avLst/>
          </a:prstGeom>
          <a:solidFill>
            <a:schemeClr val="bg1"/>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182868" tIns="91434" rIns="182868" bIns="91434" numCol="1" anchor="t" anchorCtr="0" compatLnSpc="1">
            <a:prstTxWarp prst="textNoShape">
              <a:avLst/>
            </a:prstTxWarp>
          </a:bodyPr>
          <a:lstStyle/>
          <a:p>
            <a:endParaRPr lang="en-US" sz="3600"/>
          </a:p>
        </p:txBody>
      </p:sp>
      <p:sp>
        <p:nvSpPr>
          <p:cNvPr id="64" name="Oval 15"/>
          <p:cNvSpPr>
            <a:spLocks noChangeArrowheads="1"/>
          </p:cNvSpPr>
          <p:nvPr/>
        </p:nvSpPr>
        <p:spPr bwMode="auto">
          <a:xfrm>
            <a:off x="8927420" y="7239719"/>
            <a:ext cx="1884395" cy="1888165"/>
          </a:xfrm>
          <a:prstGeom prst="ellipse">
            <a:avLst/>
          </a:prstGeom>
          <a:solidFill>
            <a:schemeClr val="accent1">
              <a:lumMod val="60000"/>
              <a:lumOff val="40000"/>
            </a:schemeClr>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endParaRPr lang="en-US" sz="3600"/>
          </a:p>
        </p:txBody>
      </p:sp>
      <p:sp>
        <p:nvSpPr>
          <p:cNvPr id="65" name="Oval 18"/>
          <p:cNvSpPr>
            <a:spLocks noChangeArrowheads="1"/>
          </p:cNvSpPr>
          <p:nvPr/>
        </p:nvSpPr>
        <p:spPr bwMode="auto">
          <a:xfrm>
            <a:off x="12285411" y="4437633"/>
            <a:ext cx="2347957" cy="2347957"/>
          </a:xfrm>
          <a:prstGeom prst="ellipse">
            <a:avLst/>
          </a:prstGeom>
          <a:solidFill>
            <a:schemeClr val="bg1"/>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182868" tIns="91434" rIns="182868" bIns="91434" numCol="1" anchor="t" anchorCtr="0" compatLnSpc="1">
            <a:prstTxWarp prst="textNoShape">
              <a:avLst/>
            </a:prstTxWarp>
          </a:bodyPr>
          <a:lstStyle/>
          <a:p>
            <a:endParaRPr lang="en-US" sz="3600"/>
          </a:p>
        </p:txBody>
      </p:sp>
      <p:sp>
        <p:nvSpPr>
          <p:cNvPr id="66" name="Oval 17"/>
          <p:cNvSpPr>
            <a:spLocks noChangeArrowheads="1"/>
          </p:cNvSpPr>
          <p:nvPr/>
        </p:nvSpPr>
        <p:spPr bwMode="auto">
          <a:xfrm>
            <a:off x="12517192" y="4665635"/>
            <a:ext cx="1884395" cy="1891933"/>
          </a:xfrm>
          <a:prstGeom prst="ellipse">
            <a:avLst/>
          </a:prstGeom>
          <a:solidFill>
            <a:schemeClr val="accent2"/>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endParaRPr lang="en-US" sz="3600"/>
          </a:p>
        </p:txBody>
      </p:sp>
      <p:sp>
        <p:nvSpPr>
          <p:cNvPr id="67" name="Oval 20"/>
          <p:cNvSpPr>
            <a:spLocks noChangeArrowheads="1"/>
          </p:cNvSpPr>
          <p:nvPr/>
        </p:nvSpPr>
        <p:spPr bwMode="auto">
          <a:xfrm>
            <a:off x="15639633" y="7007947"/>
            <a:ext cx="2347957" cy="2351725"/>
          </a:xfrm>
          <a:prstGeom prst="ellipse">
            <a:avLst/>
          </a:prstGeom>
          <a:solidFill>
            <a:schemeClr val="bg1"/>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182868" tIns="91434" rIns="182868" bIns="91434" numCol="1" anchor="t" anchorCtr="0" compatLnSpc="1">
            <a:prstTxWarp prst="textNoShape">
              <a:avLst/>
            </a:prstTxWarp>
          </a:bodyPr>
          <a:lstStyle/>
          <a:p>
            <a:endParaRPr lang="en-US" sz="3600"/>
          </a:p>
        </p:txBody>
      </p:sp>
      <p:sp>
        <p:nvSpPr>
          <p:cNvPr id="68" name="Oval 19"/>
          <p:cNvSpPr>
            <a:spLocks noChangeArrowheads="1"/>
          </p:cNvSpPr>
          <p:nvPr/>
        </p:nvSpPr>
        <p:spPr bwMode="auto">
          <a:xfrm>
            <a:off x="15871414" y="7239719"/>
            <a:ext cx="1884395" cy="1888165"/>
          </a:xfrm>
          <a:prstGeom prst="ellipse">
            <a:avLst/>
          </a:prstGeom>
          <a:solidFill>
            <a:schemeClr val="accent4">
              <a:lumMod val="75000"/>
            </a:schemeClr>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endParaRPr lang="en-US" sz="3600"/>
          </a:p>
        </p:txBody>
      </p:sp>
      <p:sp>
        <p:nvSpPr>
          <p:cNvPr id="69" name="Oval 22"/>
          <p:cNvSpPr>
            <a:spLocks noChangeArrowheads="1"/>
          </p:cNvSpPr>
          <p:nvPr/>
        </p:nvSpPr>
        <p:spPr bwMode="auto">
          <a:xfrm>
            <a:off x="19195488" y="4437633"/>
            <a:ext cx="2342303" cy="2347957"/>
          </a:xfrm>
          <a:prstGeom prst="ellipse">
            <a:avLst/>
          </a:prstGeom>
          <a:solidFill>
            <a:schemeClr val="bg1"/>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182868" tIns="91434" rIns="182868" bIns="91434" numCol="1" anchor="t" anchorCtr="0" compatLnSpc="1">
            <a:prstTxWarp prst="textNoShape">
              <a:avLst/>
            </a:prstTxWarp>
          </a:bodyPr>
          <a:lstStyle/>
          <a:p>
            <a:endParaRPr lang="en-US" sz="3600"/>
          </a:p>
        </p:txBody>
      </p:sp>
      <p:sp>
        <p:nvSpPr>
          <p:cNvPr id="70" name="Oval 21"/>
          <p:cNvSpPr>
            <a:spLocks noChangeArrowheads="1"/>
          </p:cNvSpPr>
          <p:nvPr/>
        </p:nvSpPr>
        <p:spPr bwMode="auto">
          <a:xfrm>
            <a:off x="19421614" y="4665635"/>
            <a:ext cx="1884395" cy="1891933"/>
          </a:xfrm>
          <a:prstGeom prst="ellipse">
            <a:avLst/>
          </a:prstGeom>
          <a:solidFill>
            <a:schemeClr val="accent1">
              <a:lumMod val="60000"/>
              <a:lumOff val="40000"/>
            </a:schemeClr>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endParaRPr lang="en-US" sz="3600"/>
          </a:p>
        </p:txBody>
      </p:sp>
      <p:sp>
        <p:nvSpPr>
          <p:cNvPr id="72" name="TextBox 71"/>
          <p:cNvSpPr txBox="1"/>
          <p:nvPr/>
        </p:nvSpPr>
        <p:spPr>
          <a:xfrm>
            <a:off x="2315506" y="3122132"/>
            <a:ext cx="1455527" cy="492443"/>
          </a:xfrm>
          <a:prstGeom prst="rect">
            <a:avLst/>
          </a:prstGeom>
          <a:noFill/>
        </p:spPr>
        <p:txBody>
          <a:bodyPr wrap="none" lIns="0" tIns="0" rIns="0" bIns="0" rtlCol="0">
            <a:spAutoFit/>
          </a:bodyPr>
          <a:lstStyle/>
          <a:p>
            <a:r>
              <a:rPr lang="en-US" sz="3200" b="1" dirty="0"/>
              <a:t>Jan-</a:t>
            </a:r>
            <a:r>
              <a:rPr lang="en-US" sz="3200" b="1" dirty="0" err="1"/>
              <a:t>feb</a:t>
            </a:r>
            <a:endParaRPr lang="en-US" sz="3200" b="1" dirty="0"/>
          </a:p>
        </p:txBody>
      </p:sp>
      <p:sp>
        <p:nvSpPr>
          <p:cNvPr id="76" name="TextBox 75"/>
          <p:cNvSpPr txBox="1"/>
          <p:nvPr/>
        </p:nvSpPr>
        <p:spPr>
          <a:xfrm>
            <a:off x="2315506" y="3612299"/>
            <a:ext cx="3176215" cy="1354217"/>
          </a:xfrm>
          <a:prstGeom prst="rect">
            <a:avLst/>
          </a:prstGeom>
          <a:noFill/>
        </p:spPr>
        <p:txBody>
          <a:bodyPr wrap="square" lIns="0" tIns="0" rIns="0" bIns="0" rtlCol="0">
            <a:spAutoFit/>
          </a:bodyPr>
          <a:lstStyle/>
          <a:p>
            <a:r>
              <a:rPr lang="en-US" sz="2200" dirty="0"/>
              <a:t>Lorem Ipsum is simply dummy text of the printing and typesetting industry. </a:t>
            </a:r>
          </a:p>
        </p:txBody>
      </p:sp>
      <p:sp>
        <p:nvSpPr>
          <p:cNvPr id="88" name="TextBox 87"/>
          <p:cNvSpPr txBox="1"/>
          <p:nvPr/>
        </p:nvSpPr>
        <p:spPr>
          <a:xfrm>
            <a:off x="5706661" y="8936058"/>
            <a:ext cx="1503617" cy="492443"/>
          </a:xfrm>
          <a:prstGeom prst="rect">
            <a:avLst/>
          </a:prstGeom>
          <a:noFill/>
        </p:spPr>
        <p:txBody>
          <a:bodyPr wrap="none" lIns="0" tIns="0" rIns="0" bIns="0" rtlCol="0">
            <a:spAutoFit/>
          </a:bodyPr>
          <a:lstStyle/>
          <a:p>
            <a:r>
              <a:rPr lang="en-US" sz="3200" b="1" dirty="0"/>
              <a:t>Mar-</a:t>
            </a:r>
            <a:r>
              <a:rPr lang="en-US" sz="3200" b="1" dirty="0" err="1"/>
              <a:t>apr</a:t>
            </a:r>
            <a:endParaRPr lang="en-US" sz="3200" b="1" dirty="0"/>
          </a:p>
        </p:txBody>
      </p:sp>
      <p:sp>
        <p:nvSpPr>
          <p:cNvPr id="89" name="TextBox 88"/>
          <p:cNvSpPr txBox="1"/>
          <p:nvPr/>
        </p:nvSpPr>
        <p:spPr>
          <a:xfrm>
            <a:off x="5706653" y="9518579"/>
            <a:ext cx="3176215" cy="1354217"/>
          </a:xfrm>
          <a:prstGeom prst="rect">
            <a:avLst/>
          </a:prstGeom>
          <a:noFill/>
        </p:spPr>
        <p:txBody>
          <a:bodyPr wrap="square" lIns="0" tIns="0" rIns="0" bIns="0" rtlCol="0">
            <a:spAutoFit/>
          </a:bodyPr>
          <a:lstStyle/>
          <a:p>
            <a:r>
              <a:rPr lang="en-US" sz="2200" dirty="0"/>
              <a:t>Lorem Ipsum is simply dummy text of the printing and typesetting industry. </a:t>
            </a:r>
          </a:p>
        </p:txBody>
      </p:sp>
      <p:sp>
        <p:nvSpPr>
          <p:cNvPr id="90" name="TextBox 89"/>
          <p:cNvSpPr txBox="1"/>
          <p:nvPr/>
        </p:nvSpPr>
        <p:spPr>
          <a:xfrm>
            <a:off x="9253287" y="3122132"/>
            <a:ext cx="1546898" cy="492443"/>
          </a:xfrm>
          <a:prstGeom prst="rect">
            <a:avLst/>
          </a:prstGeom>
          <a:noFill/>
        </p:spPr>
        <p:txBody>
          <a:bodyPr wrap="none" lIns="0" tIns="0" rIns="0" bIns="0" rtlCol="0">
            <a:spAutoFit/>
          </a:bodyPr>
          <a:lstStyle/>
          <a:p>
            <a:r>
              <a:rPr lang="en-US" sz="3200" b="1" dirty="0"/>
              <a:t>May-</a:t>
            </a:r>
            <a:r>
              <a:rPr lang="en-US" sz="3200" b="1" dirty="0" err="1"/>
              <a:t>jun</a:t>
            </a:r>
            <a:endParaRPr lang="en-US" sz="3200" b="1" dirty="0"/>
          </a:p>
        </p:txBody>
      </p:sp>
      <p:sp>
        <p:nvSpPr>
          <p:cNvPr id="91" name="TextBox 90"/>
          <p:cNvSpPr txBox="1"/>
          <p:nvPr/>
        </p:nvSpPr>
        <p:spPr>
          <a:xfrm>
            <a:off x="9253278" y="3612299"/>
            <a:ext cx="3176215" cy="1354217"/>
          </a:xfrm>
          <a:prstGeom prst="rect">
            <a:avLst/>
          </a:prstGeom>
          <a:noFill/>
        </p:spPr>
        <p:txBody>
          <a:bodyPr wrap="square" lIns="0" tIns="0" rIns="0" bIns="0" rtlCol="0">
            <a:spAutoFit/>
          </a:bodyPr>
          <a:lstStyle/>
          <a:p>
            <a:r>
              <a:rPr lang="en-US" sz="2200" dirty="0"/>
              <a:t>Lorem Ipsum is simply dummy text of the printing and typesetting industry. </a:t>
            </a:r>
          </a:p>
        </p:txBody>
      </p:sp>
      <p:sp>
        <p:nvSpPr>
          <p:cNvPr id="92" name="TextBox 91"/>
          <p:cNvSpPr txBox="1"/>
          <p:nvPr/>
        </p:nvSpPr>
        <p:spPr>
          <a:xfrm>
            <a:off x="12644433" y="8936058"/>
            <a:ext cx="1455527" cy="492443"/>
          </a:xfrm>
          <a:prstGeom prst="rect">
            <a:avLst/>
          </a:prstGeom>
          <a:noFill/>
        </p:spPr>
        <p:txBody>
          <a:bodyPr wrap="none" lIns="0" tIns="0" rIns="0" bIns="0" rtlCol="0">
            <a:spAutoFit/>
          </a:bodyPr>
          <a:lstStyle/>
          <a:p>
            <a:r>
              <a:rPr lang="en-US" sz="3200" b="1" dirty="0"/>
              <a:t>Jul-</a:t>
            </a:r>
            <a:r>
              <a:rPr lang="en-US" sz="3200" b="1" dirty="0" err="1"/>
              <a:t>aug</a:t>
            </a:r>
            <a:endParaRPr lang="en-US" sz="3200" b="1" dirty="0"/>
          </a:p>
        </p:txBody>
      </p:sp>
      <p:sp>
        <p:nvSpPr>
          <p:cNvPr id="93" name="TextBox 92"/>
          <p:cNvSpPr txBox="1"/>
          <p:nvPr/>
        </p:nvSpPr>
        <p:spPr>
          <a:xfrm>
            <a:off x="12644426" y="9518579"/>
            <a:ext cx="3176215" cy="1354217"/>
          </a:xfrm>
          <a:prstGeom prst="rect">
            <a:avLst/>
          </a:prstGeom>
          <a:noFill/>
        </p:spPr>
        <p:txBody>
          <a:bodyPr wrap="square" lIns="0" tIns="0" rIns="0" bIns="0" rtlCol="0">
            <a:spAutoFit/>
          </a:bodyPr>
          <a:lstStyle/>
          <a:p>
            <a:r>
              <a:rPr lang="en-US" sz="2200" dirty="0"/>
              <a:t>Lorem Ipsum is simply dummy text of the printing and typesetting industry. </a:t>
            </a:r>
          </a:p>
        </p:txBody>
      </p:sp>
      <p:sp>
        <p:nvSpPr>
          <p:cNvPr id="94" name="TextBox 93"/>
          <p:cNvSpPr txBox="1"/>
          <p:nvPr/>
        </p:nvSpPr>
        <p:spPr>
          <a:xfrm>
            <a:off x="16165176" y="3122132"/>
            <a:ext cx="1502014" cy="492443"/>
          </a:xfrm>
          <a:prstGeom prst="rect">
            <a:avLst/>
          </a:prstGeom>
          <a:noFill/>
        </p:spPr>
        <p:txBody>
          <a:bodyPr wrap="none" lIns="0" tIns="0" rIns="0" bIns="0" rtlCol="0">
            <a:spAutoFit/>
          </a:bodyPr>
          <a:lstStyle/>
          <a:p>
            <a:r>
              <a:rPr lang="en-US" sz="3200" b="1" dirty="0"/>
              <a:t>Sep-oct</a:t>
            </a:r>
          </a:p>
        </p:txBody>
      </p:sp>
      <p:sp>
        <p:nvSpPr>
          <p:cNvPr id="95" name="TextBox 94"/>
          <p:cNvSpPr txBox="1"/>
          <p:nvPr/>
        </p:nvSpPr>
        <p:spPr>
          <a:xfrm>
            <a:off x="16165176" y="3612299"/>
            <a:ext cx="3176215" cy="1354217"/>
          </a:xfrm>
          <a:prstGeom prst="rect">
            <a:avLst/>
          </a:prstGeom>
          <a:noFill/>
        </p:spPr>
        <p:txBody>
          <a:bodyPr wrap="square" lIns="0" tIns="0" rIns="0" bIns="0" rtlCol="0">
            <a:spAutoFit/>
          </a:bodyPr>
          <a:lstStyle/>
          <a:p>
            <a:r>
              <a:rPr lang="en-US" sz="2200" dirty="0"/>
              <a:t>Lorem Ipsum is simply dummy text of the printing and typesetting industry. </a:t>
            </a:r>
          </a:p>
        </p:txBody>
      </p:sp>
      <p:sp>
        <p:nvSpPr>
          <p:cNvPr id="96" name="TextBox 95"/>
          <p:cNvSpPr txBox="1"/>
          <p:nvPr/>
        </p:nvSpPr>
        <p:spPr>
          <a:xfrm>
            <a:off x="19556331" y="8936058"/>
            <a:ext cx="1615827" cy="492443"/>
          </a:xfrm>
          <a:prstGeom prst="rect">
            <a:avLst/>
          </a:prstGeom>
          <a:noFill/>
        </p:spPr>
        <p:txBody>
          <a:bodyPr wrap="none" lIns="0" tIns="0" rIns="0" bIns="0" rtlCol="0">
            <a:spAutoFit/>
          </a:bodyPr>
          <a:lstStyle/>
          <a:p>
            <a:r>
              <a:rPr lang="en-US" sz="3200" b="1" dirty="0"/>
              <a:t>Nov-</a:t>
            </a:r>
            <a:r>
              <a:rPr lang="en-US" sz="3200" b="1" dirty="0" err="1"/>
              <a:t>sep</a:t>
            </a:r>
            <a:endParaRPr lang="en-US" sz="3200" b="1" dirty="0"/>
          </a:p>
        </p:txBody>
      </p:sp>
      <p:sp>
        <p:nvSpPr>
          <p:cNvPr id="97" name="TextBox 96"/>
          <p:cNvSpPr txBox="1"/>
          <p:nvPr/>
        </p:nvSpPr>
        <p:spPr>
          <a:xfrm>
            <a:off x="19556324" y="9518579"/>
            <a:ext cx="3176215" cy="1354217"/>
          </a:xfrm>
          <a:prstGeom prst="rect">
            <a:avLst/>
          </a:prstGeom>
          <a:noFill/>
        </p:spPr>
        <p:txBody>
          <a:bodyPr wrap="square" lIns="0" tIns="0" rIns="0" bIns="0" rtlCol="0">
            <a:spAutoFit/>
          </a:bodyPr>
          <a:lstStyle/>
          <a:p>
            <a:r>
              <a:rPr lang="en-US" sz="2200" dirty="0"/>
              <a:t>Lorem Ipsum is simply dummy text of the printing and typesetting industry. </a:t>
            </a:r>
          </a:p>
        </p:txBody>
      </p:sp>
      <p:cxnSp>
        <p:nvCxnSpPr>
          <p:cNvPr id="136" name="Straight Connector 135"/>
          <p:cNvCxnSpPr/>
          <p:nvPr/>
        </p:nvCxnSpPr>
        <p:spPr>
          <a:xfrm>
            <a:off x="1628670" y="11283366"/>
            <a:ext cx="21125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TextBox 136"/>
          <p:cNvSpPr txBox="1"/>
          <p:nvPr/>
        </p:nvSpPr>
        <p:spPr>
          <a:xfrm>
            <a:off x="1628670" y="11634254"/>
            <a:ext cx="21125075" cy="553998"/>
          </a:xfrm>
          <a:prstGeom prst="rect">
            <a:avLst/>
          </a:prstGeom>
          <a:noFill/>
        </p:spPr>
        <p:txBody>
          <a:bodyPr wrap="square" lIns="0" tIns="0" rIns="0" bIns="0" rtlCol="0">
            <a:spAutoFit/>
          </a:body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a:t>
            </a:r>
          </a:p>
        </p:txBody>
      </p:sp>
      <p:sp>
        <p:nvSpPr>
          <p:cNvPr id="2" name="Title 1">
            <a:extLst>
              <a:ext uri="{FF2B5EF4-FFF2-40B4-BE49-F238E27FC236}">
                <a16:creationId xmlns:a16="http://schemas.microsoft.com/office/drawing/2014/main" id="{CFD1C729-78F6-D04B-99AD-C8BCE593800B}"/>
              </a:ext>
            </a:extLst>
          </p:cNvPr>
          <p:cNvSpPr>
            <a:spLocks noGrp="1"/>
          </p:cNvSpPr>
          <p:nvPr>
            <p:ph type="title"/>
          </p:nvPr>
        </p:nvSpPr>
        <p:spPr/>
        <p:txBody>
          <a:bodyPr/>
          <a:lstStyle/>
          <a:p>
            <a:r>
              <a:rPr lang="en-US" dirty="0"/>
              <a:t>Process/timeline</a:t>
            </a:r>
          </a:p>
        </p:txBody>
      </p:sp>
      <p:sp>
        <p:nvSpPr>
          <p:cNvPr id="71" name="Freeform: Shape 2">
            <a:extLst>
              <a:ext uri="{FF2B5EF4-FFF2-40B4-BE49-F238E27FC236}">
                <a16:creationId xmlns:a16="http://schemas.microsoft.com/office/drawing/2014/main" id="{6C81DC83-C470-DA44-9002-7F08A8057CD2}"/>
              </a:ext>
            </a:extLst>
          </p:cNvPr>
          <p:cNvSpPr/>
          <p:nvPr/>
        </p:nvSpPr>
        <p:spPr>
          <a:xfrm>
            <a:off x="2586356" y="7555433"/>
            <a:ext cx="749108" cy="1106108"/>
          </a:xfrm>
          <a:custGeom>
            <a:avLst/>
            <a:gdLst/>
            <a:ahLst/>
            <a:cxnLst>
              <a:cxn ang="3cd4">
                <a:pos x="hc" y="t"/>
              </a:cxn>
              <a:cxn ang="cd2">
                <a:pos x="l" y="vc"/>
              </a:cxn>
              <a:cxn ang="cd4">
                <a:pos x="hc" y="b"/>
              </a:cxn>
              <a:cxn ang="0">
                <a:pos x="r" y="vc"/>
              </a:cxn>
            </a:cxnLst>
            <a:rect l="l" t="t" r="r" b="b"/>
            <a:pathLst>
              <a:path w="3436" h="5073">
                <a:moveTo>
                  <a:pt x="1718" y="668"/>
                </a:moveTo>
                <a:cubicBezTo>
                  <a:pt x="1813" y="668"/>
                  <a:pt x="1877" y="604"/>
                  <a:pt x="1877" y="509"/>
                </a:cubicBezTo>
                <a:cubicBezTo>
                  <a:pt x="1877" y="413"/>
                  <a:pt x="1813" y="350"/>
                  <a:pt x="1718" y="350"/>
                </a:cubicBezTo>
                <a:cubicBezTo>
                  <a:pt x="1622" y="350"/>
                  <a:pt x="1559" y="413"/>
                  <a:pt x="1559" y="509"/>
                </a:cubicBezTo>
                <a:cubicBezTo>
                  <a:pt x="1559" y="604"/>
                  <a:pt x="1622" y="668"/>
                  <a:pt x="1718" y="668"/>
                </a:cubicBezTo>
                <a:close/>
                <a:moveTo>
                  <a:pt x="2227" y="700"/>
                </a:moveTo>
                <a:lnTo>
                  <a:pt x="2227" y="509"/>
                </a:lnTo>
                <a:cubicBezTo>
                  <a:pt x="2227" y="222"/>
                  <a:pt x="2004" y="0"/>
                  <a:pt x="1718" y="0"/>
                </a:cubicBezTo>
                <a:cubicBezTo>
                  <a:pt x="1431" y="0"/>
                  <a:pt x="1209" y="222"/>
                  <a:pt x="1209" y="509"/>
                </a:cubicBezTo>
                <a:lnTo>
                  <a:pt x="1209" y="700"/>
                </a:lnTo>
                <a:lnTo>
                  <a:pt x="238" y="700"/>
                </a:lnTo>
                <a:cubicBezTo>
                  <a:pt x="95" y="700"/>
                  <a:pt x="0" y="811"/>
                  <a:pt x="0" y="938"/>
                </a:cubicBezTo>
                <a:lnTo>
                  <a:pt x="0" y="4835"/>
                </a:lnTo>
                <a:cubicBezTo>
                  <a:pt x="0" y="4962"/>
                  <a:pt x="95" y="5073"/>
                  <a:pt x="238" y="5073"/>
                </a:cubicBezTo>
                <a:lnTo>
                  <a:pt x="3197" y="5073"/>
                </a:lnTo>
                <a:cubicBezTo>
                  <a:pt x="3340" y="5073"/>
                  <a:pt x="3436" y="4962"/>
                  <a:pt x="3436" y="4835"/>
                </a:cubicBezTo>
                <a:lnTo>
                  <a:pt x="3436" y="938"/>
                </a:lnTo>
                <a:cubicBezTo>
                  <a:pt x="3436" y="795"/>
                  <a:pt x="3340" y="700"/>
                  <a:pt x="3197" y="700"/>
                </a:cubicBezTo>
                <a:close/>
                <a:moveTo>
                  <a:pt x="1368" y="509"/>
                </a:moveTo>
                <a:cubicBezTo>
                  <a:pt x="1368" y="318"/>
                  <a:pt x="1527" y="159"/>
                  <a:pt x="1718" y="159"/>
                </a:cubicBezTo>
                <a:cubicBezTo>
                  <a:pt x="1909" y="159"/>
                  <a:pt x="2068" y="318"/>
                  <a:pt x="2068" y="509"/>
                </a:cubicBezTo>
                <a:cubicBezTo>
                  <a:pt x="2068" y="716"/>
                  <a:pt x="2068" y="1082"/>
                  <a:pt x="2497" y="1193"/>
                </a:cubicBezTo>
                <a:cubicBezTo>
                  <a:pt x="2624" y="1225"/>
                  <a:pt x="2720" y="1336"/>
                  <a:pt x="2720" y="1479"/>
                </a:cubicBezTo>
                <a:lnTo>
                  <a:pt x="700" y="1479"/>
                </a:lnTo>
                <a:cubicBezTo>
                  <a:pt x="716" y="1352"/>
                  <a:pt x="811" y="1225"/>
                  <a:pt x="938" y="1193"/>
                </a:cubicBezTo>
                <a:cubicBezTo>
                  <a:pt x="1368" y="1082"/>
                  <a:pt x="1368" y="716"/>
                  <a:pt x="1368" y="509"/>
                </a:cubicBezTo>
                <a:close/>
                <a:moveTo>
                  <a:pt x="668" y="1638"/>
                </a:moveTo>
                <a:lnTo>
                  <a:pt x="2767" y="1638"/>
                </a:lnTo>
                <a:cubicBezTo>
                  <a:pt x="2831" y="1638"/>
                  <a:pt x="2895" y="1591"/>
                  <a:pt x="2895" y="1511"/>
                </a:cubicBezTo>
                <a:cubicBezTo>
                  <a:pt x="2895" y="1383"/>
                  <a:pt x="2831" y="1256"/>
                  <a:pt x="2752" y="1177"/>
                </a:cubicBezTo>
                <a:lnTo>
                  <a:pt x="2879" y="1177"/>
                </a:lnTo>
                <a:cubicBezTo>
                  <a:pt x="2895" y="1177"/>
                  <a:pt x="2927" y="1177"/>
                  <a:pt x="2942" y="1193"/>
                </a:cubicBezTo>
                <a:cubicBezTo>
                  <a:pt x="2958" y="1209"/>
                  <a:pt x="2958" y="1240"/>
                  <a:pt x="2958" y="1256"/>
                </a:cubicBezTo>
                <a:lnTo>
                  <a:pt x="2958" y="4517"/>
                </a:lnTo>
                <a:cubicBezTo>
                  <a:pt x="2958" y="4564"/>
                  <a:pt x="2927" y="4596"/>
                  <a:pt x="2879" y="4596"/>
                </a:cubicBezTo>
                <a:lnTo>
                  <a:pt x="556" y="4596"/>
                </a:lnTo>
                <a:cubicBezTo>
                  <a:pt x="509" y="4596"/>
                  <a:pt x="477" y="4564"/>
                  <a:pt x="477" y="4517"/>
                </a:cubicBezTo>
                <a:lnTo>
                  <a:pt x="477" y="1256"/>
                </a:lnTo>
                <a:cubicBezTo>
                  <a:pt x="477" y="1209"/>
                  <a:pt x="509" y="1177"/>
                  <a:pt x="556" y="1177"/>
                </a:cubicBezTo>
                <a:lnTo>
                  <a:pt x="684" y="1177"/>
                </a:lnTo>
                <a:cubicBezTo>
                  <a:pt x="604" y="1272"/>
                  <a:pt x="541" y="1383"/>
                  <a:pt x="541" y="1511"/>
                </a:cubicBezTo>
                <a:cubicBezTo>
                  <a:pt x="541" y="1574"/>
                  <a:pt x="604" y="1638"/>
                  <a:pt x="668" y="1638"/>
                </a:cubicBezTo>
                <a:close/>
                <a:moveTo>
                  <a:pt x="3276" y="938"/>
                </a:moveTo>
                <a:lnTo>
                  <a:pt x="3276" y="4835"/>
                </a:lnTo>
                <a:cubicBezTo>
                  <a:pt x="3276" y="4883"/>
                  <a:pt x="3245" y="4915"/>
                  <a:pt x="3197" y="4915"/>
                </a:cubicBezTo>
                <a:lnTo>
                  <a:pt x="238" y="4915"/>
                </a:lnTo>
                <a:cubicBezTo>
                  <a:pt x="191" y="4915"/>
                  <a:pt x="159" y="4883"/>
                  <a:pt x="159" y="4835"/>
                </a:cubicBezTo>
                <a:lnTo>
                  <a:pt x="159" y="938"/>
                </a:lnTo>
                <a:cubicBezTo>
                  <a:pt x="159" y="891"/>
                  <a:pt x="191" y="859"/>
                  <a:pt x="238" y="859"/>
                </a:cubicBezTo>
                <a:lnTo>
                  <a:pt x="1161" y="859"/>
                </a:lnTo>
                <a:cubicBezTo>
                  <a:pt x="1129" y="922"/>
                  <a:pt x="1065" y="986"/>
                  <a:pt x="970" y="1018"/>
                </a:cubicBezTo>
                <a:lnTo>
                  <a:pt x="556" y="1018"/>
                </a:lnTo>
                <a:cubicBezTo>
                  <a:pt x="429" y="1018"/>
                  <a:pt x="318" y="1129"/>
                  <a:pt x="318" y="1256"/>
                </a:cubicBezTo>
                <a:lnTo>
                  <a:pt x="318" y="4517"/>
                </a:lnTo>
                <a:cubicBezTo>
                  <a:pt x="318" y="4644"/>
                  <a:pt x="429" y="4755"/>
                  <a:pt x="556" y="4755"/>
                </a:cubicBezTo>
                <a:lnTo>
                  <a:pt x="2879" y="4755"/>
                </a:lnTo>
                <a:cubicBezTo>
                  <a:pt x="3006" y="4755"/>
                  <a:pt x="3118" y="4644"/>
                  <a:pt x="3118" y="4517"/>
                </a:cubicBezTo>
                <a:lnTo>
                  <a:pt x="3118" y="1256"/>
                </a:lnTo>
                <a:cubicBezTo>
                  <a:pt x="3118" y="1193"/>
                  <a:pt x="3101" y="1129"/>
                  <a:pt x="3054" y="1082"/>
                </a:cubicBezTo>
                <a:cubicBezTo>
                  <a:pt x="3006" y="1034"/>
                  <a:pt x="2942" y="1018"/>
                  <a:pt x="2879" y="1018"/>
                </a:cubicBezTo>
                <a:lnTo>
                  <a:pt x="2449" y="1018"/>
                </a:lnTo>
                <a:cubicBezTo>
                  <a:pt x="2370" y="986"/>
                  <a:pt x="2306" y="922"/>
                  <a:pt x="2274" y="859"/>
                </a:cubicBezTo>
                <a:lnTo>
                  <a:pt x="3197" y="859"/>
                </a:lnTo>
                <a:cubicBezTo>
                  <a:pt x="3245" y="859"/>
                  <a:pt x="3276" y="891"/>
                  <a:pt x="3276" y="938"/>
                </a:cubicBezTo>
                <a:close/>
              </a:path>
            </a:pathLst>
          </a:custGeom>
          <a:solidFill>
            <a:schemeClr val="bg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0" name="Freeform: Shape 17">
            <a:extLst>
              <a:ext uri="{FF2B5EF4-FFF2-40B4-BE49-F238E27FC236}">
                <a16:creationId xmlns:a16="http://schemas.microsoft.com/office/drawing/2014/main" id="{F47C6783-E464-634F-BF86-4CA1ACF1A9FF}"/>
              </a:ext>
            </a:extLst>
          </p:cNvPr>
          <p:cNvSpPr/>
          <p:nvPr/>
        </p:nvSpPr>
        <p:spPr>
          <a:xfrm>
            <a:off x="5968267" y="5079705"/>
            <a:ext cx="1054329" cy="1130641"/>
          </a:xfrm>
          <a:custGeom>
            <a:avLst/>
            <a:gdLst/>
            <a:ahLst/>
            <a:cxnLst>
              <a:cxn ang="3cd4">
                <a:pos x="hc" y="t"/>
              </a:cxn>
              <a:cxn ang="cd2">
                <a:pos x="l" y="vc"/>
              </a:cxn>
              <a:cxn ang="cd4">
                <a:pos x="hc" y="b"/>
              </a:cxn>
              <a:cxn ang="0">
                <a:pos x="r" y="vc"/>
              </a:cxn>
            </a:cxnLst>
            <a:rect l="l" t="t" r="r" b="b"/>
            <a:pathLst>
              <a:path w="5030" h="5394">
                <a:moveTo>
                  <a:pt x="2529" y="2976"/>
                </a:moveTo>
                <a:cubicBezTo>
                  <a:pt x="2736" y="3088"/>
                  <a:pt x="2958" y="3119"/>
                  <a:pt x="3165" y="3119"/>
                </a:cubicBezTo>
                <a:cubicBezTo>
                  <a:pt x="3340" y="3119"/>
                  <a:pt x="3499" y="3104"/>
                  <a:pt x="3658" y="3040"/>
                </a:cubicBezTo>
                <a:cubicBezTo>
                  <a:pt x="3833" y="3453"/>
                  <a:pt x="3833" y="3453"/>
                  <a:pt x="3833" y="3453"/>
                </a:cubicBezTo>
                <a:cubicBezTo>
                  <a:pt x="3785" y="3501"/>
                  <a:pt x="3738" y="3565"/>
                  <a:pt x="3706" y="3628"/>
                </a:cubicBezTo>
                <a:cubicBezTo>
                  <a:pt x="3674" y="3724"/>
                  <a:pt x="3674" y="3835"/>
                  <a:pt x="3722" y="3931"/>
                </a:cubicBezTo>
                <a:cubicBezTo>
                  <a:pt x="4278" y="5155"/>
                  <a:pt x="4278" y="5155"/>
                  <a:pt x="4278" y="5155"/>
                </a:cubicBezTo>
                <a:cubicBezTo>
                  <a:pt x="4310" y="5251"/>
                  <a:pt x="4374" y="5315"/>
                  <a:pt x="4469" y="5362"/>
                </a:cubicBezTo>
                <a:cubicBezTo>
                  <a:pt x="4517" y="5378"/>
                  <a:pt x="4581" y="5394"/>
                  <a:pt x="4629" y="5394"/>
                </a:cubicBezTo>
                <a:cubicBezTo>
                  <a:pt x="4692" y="5394"/>
                  <a:pt x="4739" y="5378"/>
                  <a:pt x="4787" y="5362"/>
                </a:cubicBezTo>
                <a:cubicBezTo>
                  <a:pt x="4883" y="5315"/>
                  <a:pt x="4962" y="5235"/>
                  <a:pt x="4994" y="5139"/>
                </a:cubicBezTo>
                <a:cubicBezTo>
                  <a:pt x="5042" y="5044"/>
                  <a:pt x="5042" y="4933"/>
                  <a:pt x="4994" y="4837"/>
                </a:cubicBezTo>
                <a:cubicBezTo>
                  <a:pt x="4438" y="3613"/>
                  <a:pt x="4438" y="3613"/>
                  <a:pt x="4438" y="3613"/>
                </a:cubicBezTo>
                <a:cubicBezTo>
                  <a:pt x="4358" y="3438"/>
                  <a:pt x="4167" y="3342"/>
                  <a:pt x="3976" y="3390"/>
                </a:cubicBezTo>
                <a:cubicBezTo>
                  <a:pt x="3817" y="2992"/>
                  <a:pt x="3817" y="2992"/>
                  <a:pt x="3817" y="2992"/>
                </a:cubicBezTo>
                <a:cubicBezTo>
                  <a:pt x="4151" y="2833"/>
                  <a:pt x="4438" y="2579"/>
                  <a:pt x="4596" y="2213"/>
                </a:cubicBezTo>
                <a:cubicBezTo>
                  <a:pt x="4772" y="1831"/>
                  <a:pt x="4787" y="1417"/>
                  <a:pt x="4644" y="1020"/>
                </a:cubicBezTo>
                <a:cubicBezTo>
                  <a:pt x="4485" y="622"/>
                  <a:pt x="4199" y="320"/>
                  <a:pt x="3817" y="145"/>
                </a:cubicBezTo>
                <a:cubicBezTo>
                  <a:pt x="3038" y="-220"/>
                  <a:pt x="2115" y="129"/>
                  <a:pt x="1749" y="908"/>
                </a:cubicBezTo>
                <a:cubicBezTo>
                  <a:pt x="1670" y="1099"/>
                  <a:pt x="1622" y="1306"/>
                  <a:pt x="1606" y="1513"/>
                </a:cubicBezTo>
                <a:cubicBezTo>
                  <a:pt x="1606" y="1577"/>
                  <a:pt x="1606" y="1640"/>
                  <a:pt x="1622" y="1704"/>
                </a:cubicBezTo>
                <a:cubicBezTo>
                  <a:pt x="79" y="1688"/>
                  <a:pt x="79" y="1688"/>
                  <a:pt x="79" y="1688"/>
                </a:cubicBezTo>
                <a:cubicBezTo>
                  <a:pt x="32" y="1688"/>
                  <a:pt x="0" y="1736"/>
                  <a:pt x="0" y="1768"/>
                </a:cubicBezTo>
                <a:cubicBezTo>
                  <a:pt x="0" y="1815"/>
                  <a:pt x="32" y="1847"/>
                  <a:pt x="79" y="1847"/>
                </a:cubicBezTo>
                <a:cubicBezTo>
                  <a:pt x="1638" y="1863"/>
                  <a:pt x="1638" y="1863"/>
                  <a:pt x="1638" y="1863"/>
                </a:cubicBezTo>
                <a:cubicBezTo>
                  <a:pt x="1654" y="1943"/>
                  <a:pt x="1686" y="2038"/>
                  <a:pt x="1718" y="2117"/>
                </a:cubicBezTo>
                <a:cubicBezTo>
                  <a:pt x="79" y="2117"/>
                  <a:pt x="79" y="2117"/>
                  <a:pt x="79" y="2117"/>
                </a:cubicBezTo>
                <a:cubicBezTo>
                  <a:pt x="32" y="2117"/>
                  <a:pt x="0" y="2149"/>
                  <a:pt x="0" y="2197"/>
                </a:cubicBezTo>
                <a:cubicBezTo>
                  <a:pt x="0" y="2245"/>
                  <a:pt x="32" y="2277"/>
                  <a:pt x="79" y="2277"/>
                </a:cubicBezTo>
                <a:cubicBezTo>
                  <a:pt x="1781" y="2277"/>
                  <a:pt x="1781" y="2277"/>
                  <a:pt x="1781" y="2277"/>
                </a:cubicBezTo>
                <a:cubicBezTo>
                  <a:pt x="1829" y="2372"/>
                  <a:pt x="1893" y="2467"/>
                  <a:pt x="1956" y="2547"/>
                </a:cubicBezTo>
                <a:cubicBezTo>
                  <a:pt x="79" y="2547"/>
                  <a:pt x="79" y="2547"/>
                  <a:pt x="79" y="2547"/>
                </a:cubicBezTo>
                <a:cubicBezTo>
                  <a:pt x="32" y="2547"/>
                  <a:pt x="0" y="2579"/>
                  <a:pt x="0" y="2626"/>
                </a:cubicBezTo>
                <a:cubicBezTo>
                  <a:pt x="0" y="2658"/>
                  <a:pt x="32" y="2706"/>
                  <a:pt x="79" y="2706"/>
                </a:cubicBezTo>
                <a:cubicBezTo>
                  <a:pt x="2100" y="2706"/>
                  <a:pt x="2100" y="2706"/>
                  <a:pt x="2100" y="2706"/>
                </a:cubicBezTo>
                <a:cubicBezTo>
                  <a:pt x="2227" y="2817"/>
                  <a:pt x="2370" y="2913"/>
                  <a:pt x="2529" y="2976"/>
                </a:cubicBezTo>
                <a:close/>
                <a:moveTo>
                  <a:pt x="4072" y="3533"/>
                </a:moveTo>
                <a:cubicBezTo>
                  <a:pt x="4167" y="3533"/>
                  <a:pt x="4247" y="3597"/>
                  <a:pt x="4294" y="3676"/>
                </a:cubicBezTo>
                <a:cubicBezTo>
                  <a:pt x="4851" y="4901"/>
                  <a:pt x="4851" y="4901"/>
                  <a:pt x="4851" y="4901"/>
                </a:cubicBezTo>
                <a:cubicBezTo>
                  <a:pt x="4867" y="4964"/>
                  <a:pt x="4867" y="5028"/>
                  <a:pt x="4851" y="5092"/>
                </a:cubicBezTo>
                <a:cubicBezTo>
                  <a:pt x="4835" y="5139"/>
                  <a:pt x="4787" y="5187"/>
                  <a:pt x="4724" y="5219"/>
                </a:cubicBezTo>
                <a:cubicBezTo>
                  <a:pt x="4660" y="5235"/>
                  <a:pt x="4596" y="5235"/>
                  <a:pt x="4533" y="5219"/>
                </a:cubicBezTo>
                <a:cubicBezTo>
                  <a:pt x="4485" y="5187"/>
                  <a:pt x="4438" y="5139"/>
                  <a:pt x="4421" y="5092"/>
                </a:cubicBezTo>
                <a:cubicBezTo>
                  <a:pt x="3865" y="3867"/>
                  <a:pt x="3865" y="3867"/>
                  <a:pt x="3865" y="3867"/>
                </a:cubicBezTo>
                <a:cubicBezTo>
                  <a:pt x="3833" y="3803"/>
                  <a:pt x="3833" y="3740"/>
                  <a:pt x="3865" y="3676"/>
                </a:cubicBezTo>
                <a:cubicBezTo>
                  <a:pt x="3881" y="3628"/>
                  <a:pt x="3929" y="3581"/>
                  <a:pt x="3976" y="3549"/>
                </a:cubicBezTo>
                <a:cubicBezTo>
                  <a:pt x="4008" y="3549"/>
                  <a:pt x="4040" y="3533"/>
                  <a:pt x="4072" y="3533"/>
                </a:cubicBezTo>
                <a:close/>
                <a:moveTo>
                  <a:pt x="3181" y="161"/>
                </a:moveTo>
                <a:cubicBezTo>
                  <a:pt x="3372" y="161"/>
                  <a:pt x="3563" y="209"/>
                  <a:pt x="3754" y="289"/>
                </a:cubicBezTo>
                <a:cubicBezTo>
                  <a:pt x="4103" y="447"/>
                  <a:pt x="4358" y="718"/>
                  <a:pt x="4485" y="1068"/>
                </a:cubicBezTo>
                <a:cubicBezTo>
                  <a:pt x="4612" y="1434"/>
                  <a:pt x="4612" y="1815"/>
                  <a:pt x="4453" y="2149"/>
                </a:cubicBezTo>
                <a:cubicBezTo>
                  <a:pt x="4120" y="2849"/>
                  <a:pt x="3293" y="3167"/>
                  <a:pt x="2593" y="2833"/>
                </a:cubicBezTo>
                <a:cubicBezTo>
                  <a:pt x="2322" y="2722"/>
                  <a:pt x="2115" y="2515"/>
                  <a:pt x="1972" y="2277"/>
                </a:cubicBezTo>
                <a:cubicBezTo>
                  <a:pt x="3722" y="2277"/>
                  <a:pt x="3722" y="2277"/>
                  <a:pt x="3722" y="2277"/>
                </a:cubicBezTo>
                <a:cubicBezTo>
                  <a:pt x="3769" y="2277"/>
                  <a:pt x="3801" y="2245"/>
                  <a:pt x="3801" y="2197"/>
                </a:cubicBezTo>
                <a:cubicBezTo>
                  <a:pt x="3801" y="2149"/>
                  <a:pt x="3769" y="2117"/>
                  <a:pt x="3722" y="2117"/>
                </a:cubicBezTo>
                <a:cubicBezTo>
                  <a:pt x="1893" y="2117"/>
                  <a:pt x="1893" y="2117"/>
                  <a:pt x="1893" y="2117"/>
                </a:cubicBezTo>
                <a:cubicBezTo>
                  <a:pt x="1813" y="1958"/>
                  <a:pt x="1781" y="1768"/>
                  <a:pt x="1766" y="1593"/>
                </a:cubicBezTo>
                <a:cubicBezTo>
                  <a:pt x="3722" y="1593"/>
                  <a:pt x="3722" y="1593"/>
                  <a:pt x="3722" y="1593"/>
                </a:cubicBezTo>
                <a:cubicBezTo>
                  <a:pt x="3769" y="1593"/>
                  <a:pt x="3801" y="1545"/>
                  <a:pt x="3801" y="1513"/>
                </a:cubicBezTo>
                <a:cubicBezTo>
                  <a:pt x="3801" y="1465"/>
                  <a:pt x="3769" y="1434"/>
                  <a:pt x="3722" y="1434"/>
                </a:cubicBezTo>
                <a:cubicBezTo>
                  <a:pt x="1781" y="1434"/>
                  <a:pt x="1781" y="1434"/>
                  <a:pt x="1781" y="1434"/>
                </a:cubicBezTo>
                <a:cubicBezTo>
                  <a:pt x="1797" y="1274"/>
                  <a:pt x="1829" y="1131"/>
                  <a:pt x="1893" y="972"/>
                </a:cubicBezTo>
                <a:cubicBezTo>
                  <a:pt x="1909" y="956"/>
                  <a:pt x="1924" y="925"/>
                  <a:pt x="1940" y="893"/>
                </a:cubicBezTo>
                <a:cubicBezTo>
                  <a:pt x="3722" y="893"/>
                  <a:pt x="3722" y="893"/>
                  <a:pt x="3722" y="893"/>
                </a:cubicBezTo>
                <a:cubicBezTo>
                  <a:pt x="3769" y="893"/>
                  <a:pt x="3801" y="861"/>
                  <a:pt x="3801" y="813"/>
                </a:cubicBezTo>
                <a:cubicBezTo>
                  <a:pt x="3801" y="765"/>
                  <a:pt x="3769" y="734"/>
                  <a:pt x="3722" y="734"/>
                </a:cubicBezTo>
                <a:cubicBezTo>
                  <a:pt x="2036" y="734"/>
                  <a:pt x="2036" y="734"/>
                  <a:pt x="2036" y="734"/>
                </a:cubicBezTo>
                <a:cubicBezTo>
                  <a:pt x="2306" y="368"/>
                  <a:pt x="2736" y="161"/>
                  <a:pt x="3181" y="161"/>
                </a:cubicBezTo>
                <a:close/>
              </a:path>
            </a:pathLst>
          </a:custGeom>
          <a:solidFill>
            <a:schemeClr val="bg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2" name="Freeform: Shape 2">
            <a:extLst>
              <a:ext uri="{FF2B5EF4-FFF2-40B4-BE49-F238E27FC236}">
                <a16:creationId xmlns:a16="http://schemas.microsoft.com/office/drawing/2014/main" id="{79D95F9A-6A6A-4F47-8A70-2762D7C74264}"/>
              </a:ext>
            </a:extLst>
          </p:cNvPr>
          <p:cNvSpPr/>
          <p:nvPr/>
        </p:nvSpPr>
        <p:spPr>
          <a:xfrm>
            <a:off x="9499242" y="7579324"/>
            <a:ext cx="749108" cy="1106108"/>
          </a:xfrm>
          <a:custGeom>
            <a:avLst/>
            <a:gdLst/>
            <a:ahLst/>
            <a:cxnLst>
              <a:cxn ang="3cd4">
                <a:pos x="hc" y="t"/>
              </a:cxn>
              <a:cxn ang="cd2">
                <a:pos x="l" y="vc"/>
              </a:cxn>
              <a:cxn ang="cd4">
                <a:pos x="hc" y="b"/>
              </a:cxn>
              <a:cxn ang="0">
                <a:pos x="r" y="vc"/>
              </a:cxn>
            </a:cxnLst>
            <a:rect l="l" t="t" r="r" b="b"/>
            <a:pathLst>
              <a:path w="3436" h="5073">
                <a:moveTo>
                  <a:pt x="1718" y="668"/>
                </a:moveTo>
                <a:cubicBezTo>
                  <a:pt x="1813" y="668"/>
                  <a:pt x="1877" y="604"/>
                  <a:pt x="1877" y="509"/>
                </a:cubicBezTo>
                <a:cubicBezTo>
                  <a:pt x="1877" y="413"/>
                  <a:pt x="1813" y="350"/>
                  <a:pt x="1718" y="350"/>
                </a:cubicBezTo>
                <a:cubicBezTo>
                  <a:pt x="1622" y="350"/>
                  <a:pt x="1559" y="413"/>
                  <a:pt x="1559" y="509"/>
                </a:cubicBezTo>
                <a:cubicBezTo>
                  <a:pt x="1559" y="604"/>
                  <a:pt x="1622" y="668"/>
                  <a:pt x="1718" y="668"/>
                </a:cubicBezTo>
                <a:close/>
                <a:moveTo>
                  <a:pt x="2227" y="700"/>
                </a:moveTo>
                <a:lnTo>
                  <a:pt x="2227" y="509"/>
                </a:lnTo>
                <a:cubicBezTo>
                  <a:pt x="2227" y="222"/>
                  <a:pt x="2004" y="0"/>
                  <a:pt x="1718" y="0"/>
                </a:cubicBezTo>
                <a:cubicBezTo>
                  <a:pt x="1431" y="0"/>
                  <a:pt x="1209" y="222"/>
                  <a:pt x="1209" y="509"/>
                </a:cubicBezTo>
                <a:lnTo>
                  <a:pt x="1209" y="700"/>
                </a:lnTo>
                <a:lnTo>
                  <a:pt x="238" y="700"/>
                </a:lnTo>
                <a:cubicBezTo>
                  <a:pt x="95" y="700"/>
                  <a:pt x="0" y="811"/>
                  <a:pt x="0" y="938"/>
                </a:cubicBezTo>
                <a:lnTo>
                  <a:pt x="0" y="4835"/>
                </a:lnTo>
                <a:cubicBezTo>
                  <a:pt x="0" y="4962"/>
                  <a:pt x="95" y="5073"/>
                  <a:pt x="238" y="5073"/>
                </a:cubicBezTo>
                <a:lnTo>
                  <a:pt x="3197" y="5073"/>
                </a:lnTo>
                <a:cubicBezTo>
                  <a:pt x="3340" y="5073"/>
                  <a:pt x="3436" y="4962"/>
                  <a:pt x="3436" y="4835"/>
                </a:cubicBezTo>
                <a:lnTo>
                  <a:pt x="3436" y="938"/>
                </a:lnTo>
                <a:cubicBezTo>
                  <a:pt x="3436" y="795"/>
                  <a:pt x="3340" y="700"/>
                  <a:pt x="3197" y="700"/>
                </a:cubicBezTo>
                <a:close/>
                <a:moveTo>
                  <a:pt x="1368" y="509"/>
                </a:moveTo>
                <a:cubicBezTo>
                  <a:pt x="1368" y="318"/>
                  <a:pt x="1527" y="159"/>
                  <a:pt x="1718" y="159"/>
                </a:cubicBezTo>
                <a:cubicBezTo>
                  <a:pt x="1909" y="159"/>
                  <a:pt x="2068" y="318"/>
                  <a:pt x="2068" y="509"/>
                </a:cubicBezTo>
                <a:cubicBezTo>
                  <a:pt x="2068" y="716"/>
                  <a:pt x="2068" y="1082"/>
                  <a:pt x="2497" y="1193"/>
                </a:cubicBezTo>
                <a:cubicBezTo>
                  <a:pt x="2624" y="1225"/>
                  <a:pt x="2720" y="1336"/>
                  <a:pt x="2720" y="1479"/>
                </a:cubicBezTo>
                <a:lnTo>
                  <a:pt x="700" y="1479"/>
                </a:lnTo>
                <a:cubicBezTo>
                  <a:pt x="716" y="1352"/>
                  <a:pt x="811" y="1225"/>
                  <a:pt x="938" y="1193"/>
                </a:cubicBezTo>
                <a:cubicBezTo>
                  <a:pt x="1368" y="1082"/>
                  <a:pt x="1368" y="716"/>
                  <a:pt x="1368" y="509"/>
                </a:cubicBezTo>
                <a:close/>
                <a:moveTo>
                  <a:pt x="668" y="1638"/>
                </a:moveTo>
                <a:lnTo>
                  <a:pt x="2767" y="1638"/>
                </a:lnTo>
                <a:cubicBezTo>
                  <a:pt x="2831" y="1638"/>
                  <a:pt x="2895" y="1591"/>
                  <a:pt x="2895" y="1511"/>
                </a:cubicBezTo>
                <a:cubicBezTo>
                  <a:pt x="2895" y="1383"/>
                  <a:pt x="2831" y="1256"/>
                  <a:pt x="2752" y="1177"/>
                </a:cubicBezTo>
                <a:lnTo>
                  <a:pt x="2879" y="1177"/>
                </a:lnTo>
                <a:cubicBezTo>
                  <a:pt x="2895" y="1177"/>
                  <a:pt x="2927" y="1177"/>
                  <a:pt x="2942" y="1193"/>
                </a:cubicBezTo>
                <a:cubicBezTo>
                  <a:pt x="2958" y="1209"/>
                  <a:pt x="2958" y="1240"/>
                  <a:pt x="2958" y="1256"/>
                </a:cubicBezTo>
                <a:lnTo>
                  <a:pt x="2958" y="4517"/>
                </a:lnTo>
                <a:cubicBezTo>
                  <a:pt x="2958" y="4564"/>
                  <a:pt x="2927" y="4596"/>
                  <a:pt x="2879" y="4596"/>
                </a:cubicBezTo>
                <a:lnTo>
                  <a:pt x="556" y="4596"/>
                </a:lnTo>
                <a:cubicBezTo>
                  <a:pt x="509" y="4596"/>
                  <a:pt x="477" y="4564"/>
                  <a:pt x="477" y="4517"/>
                </a:cubicBezTo>
                <a:lnTo>
                  <a:pt x="477" y="1256"/>
                </a:lnTo>
                <a:cubicBezTo>
                  <a:pt x="477" y="1209"/>
                  <a:pt x="509" y="1177"/>
                  <a:pt x="556" y="1177"/>
                </a:cubicBezTo>
                <a:lnTo>
                  <a:pt x="684" y="1177"/>
                </a:lnTo>
                <a:cubicBezTo>
                  <a:pt x="604" y="1272"/>
                  <a:pt x="541" y="1383"/>
                  <a:pt x="541" y="1511"/>
                </a:cubicBezTo>
                <a:cubicBezTo>
                  <a:pt x="541" y="1574"/>
                  <a:pt x="604" y="1638"/>
                  <a:pt x="668" y="1638"/>
                </a:cubicBezTo>
                <a:close/>
                <a:moveTo>
                  <a:pt x="3276" y="938"/>
                </a:moveTo>
                <a:lnTo>
                  <a:pt x="3276" y="4835"/>
                </a:lnTo>
                <a:cubicBezTo>
                  <a:pt x="3276" y="4883"/>
                  <a:pt x="3245" y="4915"/>
                  <a:pt x="3197" y="4915"/>
                </a:cubicBezTo>
                <a:lnTo>
                  <a:pt x="238" y="4915"/>
                </a:lnTo>
                <a:cubicBezTo>
                  <a:pt x="191" y="4915"/>
                  <a:pt x="159" y="4883"/>
                  <a:pt x="159" y="4835"/>
                </a:cubicBezTo>
                <a:lnTo>
                  <a:pt x="159" y="938"/>
                </a:lnTo>
                <a:cubicBezTo>
                  <a:pt x="159" y="891"/>
                  <a:pt x="191" y="859"/>
                  <a:pt x="238" y="859"/>
                </a:cubicBezTo>
                <a:lnTo>
                  <a:pt x="1161" y="859"/>
                </a:lnTo>
                <a:cubicBezTo>
                  <a:pt x="1129" y="922"/>
                  <a:pt x="1065" y="986"/>
                  <a:pt x="970" y="1018"/>
                </a:cubicBezTo>
                <a:lnTo>
                  <a:pt x="556" y="1018"/>
                </a:lnTo>
                <a:cubicBezTo>
                  <a:pt x="429" y="1018"/>
                  <a:pt x="318" y="1129"/>
                  <a:pt x="318" y="1256"/>
                </a:cubicBezTo>
                <a:lnTo>
                  <a:pt x="318" y="4517"/>
                </a:lnTo>
                <a:cubicBezTo>
                  <a:pt x="318" y="4644"/>
                  <a:pt x="429" y="4755"/>
                  <a:pt x="556" y="4755"/>
                </a:cubicBezTo>
                <a:lnTo>
                  <a:pt x="2879" y="4755"/>
                </a:lnTo>
                <a:cubicBezTo>
                  <a:pt x="3006" y="4755"/>
                  <a:pt x="3118" y="4644"/>
                  <a:pt x="3118" y="4517"/>
                </a:cubicBezTo>
                <a:lnTo>
                  <a:pt x="3118" y="1256"/>
                </a:lnTo>
                <a:cubicBezTo>
                  <a:pt x="3118" y="1193"/>
                  <a:pt x="3101" y="1129"/>
                  <a:pt x="3054" y="1082"/>
                </a:cubicBezTo>
                <a:cubicBezTo>
                  <a:pt x="3006" y="1034"/>
                  <a:pt x="2942" y="1018"/>
                  <a:pt x="2879" y="1018"/>
                </a:cubicBezTo>
                <a:lnTo>
                  <a:pt x="2449" y="1018"/>
                </a:lnTo>
                <a:cubicBezTo>
                  <a:pt x="2370" y="986"/>
                  <a:pt x="2306" y="922"/>
                  <a:pt x="2274" y="859"/>
                </a:cubicBezTo>
                <a:lnTo>
                  <a:pt x="3197" y="859"/>
                </a:lnTo>
                <a:cubicBezTo>
                  <a:pt x="3245" y="859"/>
                  <a:pt x="3276" y="891"/>
                  <a:pt x="3276" y="938"/>
                </a:cubicBezTo>
                <a:close/>
              </a:path>
            </a:pathLst>
          </a:custGeom>
          <a:solidFill>
            <a:schemeClr val="bg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Freeform: Shape 17">
            <a:extLst>
              <a:ext uri="{FF2B5EF4-FFF2-40B4-BE49-F238E27FC236}">
                <a16:creationId xmlns:a16="http://schemas.microsoft.com/office/drawing/2014/main" id="{9CBD6435-A4D8-3842-AB8D-C7FC28786C07}"/>
              </a:ext>
            </a:extLst>
          </p:cNvPr>
          <p:cNvSpPr/>
          <p:nvPr/>
        </p:nvSpPr>
        <p:spPr>
          <a:xfrm>
            <a:off x="12881153" y="5103596"/>
            <a:ext cx="1054329" cy="1130641"/>
          </a:xfrm>
          <a:custGeom>
            <a:avLst/>
            <a:gdLst/>
            <a:ahLst/>
            <a:cxnLst>
              <a:cxn ang="3cd4">
                <a:pos x="hc" y="t"/>
              </a:cxn>
              <a:cxn ang="cd2">
                <a:pos x="l" y="vc"/>
              </a:cxn>
              <a:cxn ang="cd4">
                <a:pos x="hc" y="b"/>
              </a:cxn>
              <a:cxn ang="0">
                <a:pos x="r" y="vc"/>
              </a:cxn>
            </a:cxnLst>
            <a:rect l="l" t="t" r="r" b="b"/>
            <a:pathLst>
              <a:path w="5030" h="5394">
                <a:moveTo>
                  <a:pt x="2529" y="2976"/>
                </a:moveTo>
                <a:cubicBezTo>
                  <a:pt x="2736" y="3088"/>
                  <a:pt x="2958" y="3119"/>
                  <a:pt x="3165" y="3119"/>
                </a:cubicBezTo>
                <a:cubicBezTo>
                  <a:pt x="3340" y="3119"/>
                  <a:pt x="3499" y="3104"/>
                  <a:pt x="3658" y="3040"/>
                </a:cubicBezTo>
                <a:cubicBezTo>
                  <a:pt x="3833" y="3453"/>
                  <a:pt x="3833" y="3453"/>
                  <a:pt x="3833" y="3453"/>
                </a:cubicBezTo>
                <a:cubicBezTo>
                  <a:pt x="3785" y="3501"/>
                  <a:pt x="3738" y="3565"/>
                  <a:pt x="3706" y="3628"/>
                </a:cubicBezTo>
                <a:cubicBezTo>
                  <a:pt x="3674" y="3724"/>
                  <a:pt x="3674" y="3835"/>
                  <a:pt x="3722" y="3931"/>
                </a:cubicBezTo>
                <a:cubicBezTo>
                  <a:pt x="4278" y="5155"/>
                  <a:pt x="4278" y="5155"/>
                  <a:pt x="4278" y="5155"/>
                </a:cubicBezTo>
                <a:cubicBezTo>
                  <a:pt x="4310" y="5251"/>
                  <a:pt x="4374" y="5315"/>
                  <a:pt x="4469" y="5362"/>
                </a:cubicBezTo>
                <a:cubicBezTo>
                  <a:pt x="4517" y="5378"/>
                  <a:pt x="4581" y="5394"/>
                  <a:pt x="4629" y="5394"/>
                </a:cubicBezTo>
                <a:cubicBezTo>
                  <a:pt x="4692" y="5394"/>
                  <a:pt x="4739" y="5378"/>
                  <a:pt x="4787" y="5362"/>
                </a:cubicBezTo>
                <a:cubicBezTo>
                  <a:pt x="4883" y="5315"/>
                  <a:pt x="4962" y="5235"/>
                  <a:pt x="4994" y="5139"/>
                </a:cubicBezTo>
                <a:cubicBezTo>
                  <a:pt x="5042" y="5044"/>
                  <a:pt x="5042" y="4933"/>
                  <a:pt x="4994" y="4837"/>
                </a:cubicBezTo>
                <a:cubicBezTo>
                  <a:pt x="4438" y="3613"/>
                  <a:pt x="4438" y="3613"/>
                  <a:pt x="4438" y="3613"/>
                </a:cubicBezTo>
                <a:cubicBezTo>
                  <a:pt x="4358" y="3438"/>
                  <a:pt x="4167" y="3342"/>
                  <a:pt x="3976" y="3390"/>
                </a:cubicBezTo>
                <a:cubicBezTo>
                  <a:pt x="3817" y="2992"/>
                  <a:pt x="3817" y="2992"/>
                  <a:pt x="3817" y="2992"/>
                </a:cubicBezTo>
                <a:cubicBezTo>
                  <a:pt x="4151" y="2833"/>
                  <a:pt x="4438" y="2579"/>
                  <a:pt x="4596" y="2213"/>
                </a:cubicBezTo>
                <a:cubicBezTo>
                  <a:pt x="4772" y="1831"/>
                  <a:pt x="4787" y="1417"/>
                  <a:pt x="4644" y="1020"/>
                </a:cubicBezTo>
                <a:cubicBezTo>
                  <a:pt x="4485" y="622"/>
                  <a:pt x="4199" y="320"/>
                  <a:pt x="3817" y="145"/>
                </a:cubicBezTo>
                <a:cubicBezTo>
                  <a:pt x="3038" y="-220"/>
                  <a:pt x="2115" y="129"/>
                  <a:pt x="1749" y="908"/>
                </a:cubicBezTo>
                <a:cubicBezTo>
                  <a:pt x="1670" y="1099"/>
                  <a:pt x="1622" y="1306"/>
                  <a:pt x="1606" y="1513"/>
                </a:cubicBezTo>
                <a:cubicBezTo>
                  <a:pt x="1606" y="1577"/>
                  <a:pt x="1606" y="1640"/>
                  <a:pt x="1622" y="1704"/>
                </a:cubicBezTo>
                <a:cubicBezTo>
                  <a:pt x="79" y="1688"/>
                  <a:pt x="79" y="1688"/>
                  <a:pt x="79" y="1688"/>
                </a:cubicBezTo>
                <a:cubicBezTo>
                  <a:pt x="32" y="1688"/>
                  <a:pt x="0" y="1736"/>
                  <a:pt x="0" y="1768"/>
                </a:cubicBezTo>
                <a:cubicBezTo>
                  <a:pt x="0" y="1815"/>
                  <a:pt x="32" y="1847"/>
                  <a:pt x="79" y="1847"/>
                </a:cubicBezTo>
                <a:cubicBezTo>
                  <a:pt x="1638" y="1863"/>
                  <a:pt x="1638" y="1863"/>
                  <a:pt x="1638" y="1863"/>
                </a:cubicBezTo>
                <a:cubicBezTo>
                  <a:pt x="1654" y="1943"/>
                  <a:pt x="1686" y="2038"/>
                  <a:pt x="1718" y="2117"/>
                </a:cubicBezTo>
                <a:cubicBezTo>
                  <a:pt x="79" y="2117"/>
                  <a:pt x="79" y="2117"/>
                  <a:pt x="79" y="2117"/>
                </a:cubicBezTo>
                <a:cubicBezTo>
                  <a:pt x="32" y="2117"/>
                  <a:pt x="0" y="2149"/>
                  <a:pt x="0" y="2197"/>
                </a:cubicBezTo>
                <a:cubicBezTo>
                  <a:pt x="0" y="2245"/>
                  <a:pt x="32" y="2277"/>
                  <a:pt x="79" y="2277"/>
                </a:cubicBezTo>
                <a:cubicBezTo>
                  <a:pt x="1781" y="2277"/>
                  <a:pt x="1781" y="2277"/>
                  <a:pt x="1781" y="2277"/>
                </a:cubicBezTo>
                <a:cubicBezTo>
                  <a:pt x="1829" y="2372"/>
                  <a:pt x="1893" y="2467"/>
                  <a:pt x="1956" y="2547"/>
                </a:cubicBezTo>
                <a:cubicBezTo>
                  <a:pt x="79" y="2547"/>
                  <a:pt x="79" y="2547"/>
                  <a:pt x="79" y="2547"/>
                </a:cubicBezTo>
                <a:cubicBezTo>
                  <a:pt x="32" y="2547"/>
                  <a:pt x="0" y="2579"/>
                  <a:pt x="0" y="2626"/>
                </a:cubicBezTo>
                <a:cubicBezTo>
                  <a:pt x="0" y="2658"/>
                  <a:pt x="32" y="2706"/>
                  <a:pt x="79" y="2706"/>
                </a:cubicBezTo>
                <a:cubicBezTo>
                  <a:pt x="2100" y="2706"/>
                  <a:pt x="2100" y="2706"/>
                  <a:pt x="2100" y="2706"/>
                </a:cubicBezTo>
                <a:cubicBezTo>
                  <a:pt x="2227" y="2817"/>
                  <a:pt x="2370" y="2913"/>
                  <a:pt x="2529" y="2976"/>
                </a:cubicBezTo>
                <a:close/>
                <a:moveTo>
                  <a:pt x="4072" y="3533"/>
                </a:moveTo>
                <a:cubicBezTo>
                  <a:pt x="4167" y="3533"/>
                  <a:pt x="4247" y="3597"/>
                  <a:pt x="4294" y="3676"/>
                </a:cubicBezTo>
                <a:cubicBezTo>
                  <a:pt x="4851" y="4901"/>
                  <a:pt x="4851" y="4901"/>
                  <a:pt x="4851" y="4901"/>
                </a:cubicBezTo>
                <a:cubicBezTo>
                  <a:pt x="4867" y="4964"/>
                  <a:pt x="4867" y="5028"/>
                  <a:pt x="4851" y="5092"/>
                </a:cubicBezTo>
                <a:cubicBezTo>
                  <a:pt x="4835" y="5139"/>
                  <a:pt x="4787" y="5187"/>
                  <a:pt x="4724" y="5219"/>
                </a:cubicBezTo>
                <a:cubicBezTo>
                  <a:pt x="4660" y="5235"/>
                  <a:pt x="4596" y="5235"/>
                  <a:pt x="4533" y="5219"/>
                </a:cubicBezTo>
                <a:cubicBezTo>
                  <a:pt x="4485" y="5187"/>
                  <a:pt x="4438" y="5139"/>
                  <a:pt x="4421" y="5092"/>
                </a:cubicBezTo>
                <a:cubicBezTo>
                  <a:pt x="3865" y="3867"/>
                  <a:pt x="3865" y="3867"/>
                  <a:pt x="3865" y="3867"/>
                </a:cubicBezTo>
                <a:cubicBezTo>
                  <a:pt x="3833" y="3803"/>
                  <a:pt x="3833" y="3740"/>
                  <a:pt x="3865" y="3676"/>
                </a:cubicBezTo>
                <a:cubicBezTo>
                  <a:pt x="3881" y="3628"/>
                  <a:pt x="3929" y="3581"/>
                  <a:pt x="3976" y="3549"/>
                </a:cubicBezTo>
                <a:cubicBezTo>
                  <a:pt x="4008" y="3549"/>
                  <a:pt x="4040" y="3533"/>
                  <a:pt x="4072" y="3533"/>
                </a:cubicBezTo>
                <a:close/>
                <a:moveTo>
                  <a:pt x="3181" y="161"/>
                </a:moveTo>
                <a:cubicBezTo>
                  <a:pt x="3372" y="161"/>
                  <a:pt x="3563" y="209"/>
                  <a:pt x="3754" y="289"/>
                </a:cubicBezTo>
                <a:cubicBezTo>
                  <a:pt x="4103" y="447"/>
                  <a:pt x="4358" y="718"/>
                  <a:pt x="4485" y="1068"/>
                </a:cubicBezTo>
                <a:cubicBezTo>
                  <a:pt x="4612" y="1434"/>
                  <a:pt x="4612" y="1815"/>
                  <a:pt x="4453" y="2149"/>
                </a:cubicBezTo>
                <a:cubicBezTo>
                  <a:pt x="4120" y="2849"/>
                  <a:pt x="3293" y="3167"/>
                  <a:pt x="2593" y="2833"/>
                </a:cubicBezTo>
                <a:cubicBezTo>
                  <a:pt x="2322" y="2722"/>
                  <a:pt x="2115" y="2515"/>
                  <a:pt x="1972" y="2277"/>
                </a:cubicBezTo>
                <a:cubicBezTo>
                  <a:pt x="3722" y="2277"/>
                  <a:pt x="3722" y="2277"/>
                  <a:pt x="3722" y="2277"/>
                </a:cubicBezTo>
                <a:cubicBezTo>
                  <a:pt x="3769" y="2277"/>
                  <a:pt x="3801" y="2245"/>
                  <a:pt x="3801" y="2197"/>
                </a:cubicBezTo>
                <a:cubicBezTo>
                  <a:pt x="3801" y="2149"/>
                  <a:pt x="3769" y="2117"/>
                  <a:pt x="3722" y="2117"/>
                </a:cubicBezTo>
                <a:cubicBezTo>
                  <a:pt x="1893" y="2117"/>
                  <a:pt x="1893" y="2117"/>
                  <a:pt x="1893" y="2117"/>
                </a:cubicBezTo>
                <a:cubicBezTo>
                  <a:pt x="1813" y="1958"/>
                  <a:pt x="1781" y="1768"/>
                  <a:pt x="1766" y="1593"/>
                </a:cubicBezTo>
                <a:cubicBezTo>
                  <a:pt x="3722" y="1593"/>
                  <a:pt x="3722" y="1593"/>
                  <a:pt x="3722" y="1593"/>
                </a:cubicBezTo>
                <a:cubicBezTo>
                  <a:pt x="3769" y="1593"/>
                  <a:pt x="3801" y="1545"/>
                  <a:pt x="3801" y="1513"/>
                </a:cubicBezTo>
                <a:cubicBezTo>
                  <a:pt x="3801" y="1465"/>
                  <a:pt x="3769" y="1434"/>
                  <a:pt x="3722" y="1434"/>
                </a:cubicBezTo>
                <a:cubicBezTo>
                  <a:pt x="1781" y="1434"/>
                  <a:pt x="1781" y="1434"/>
                  <a:pt x="1781" y="1434"/>
                </a:cubicBezTo>
                <a:cubicBezTo>
                  <a:pt x="1797" y="1274"/>
                  <a:pt x="1829" y="1131"/>
                  <a:pt x="1893" y="972"/>
                </a:cubicBezTo>
                <a:cubicBezTo>
                  <a:pt x="1909" y="956"/>
                  <a:pt x="1924" y="925"/>
                  <a:pt x="1940" y="893"/>
                </a:cubicBezTo>
                <a:cubicBezTo>
                  <a:pt x="3722" y="893"/>
                  <a:pt x="3722" y="893"/>
                  <a:pt x="3722" y="893"/>
                </a:cubicBezTo>
                <a:cubicBezTo>
                  <a:pt x="3769" y="893"/>
                  <a:pt x="3801" y="861"/>
                  <a:pt x="3801" y="813"/>
                </a:cubicBezTo>
                <a:cubicBezTo>
                  <a:pt x="3801" y="765"/>
                  <a:pt x="3769" y="734"/>
                  <a:pt x="3722" y="734"/>
                </a:cubicBezTo>
                <a:cubicBezTo>
                  <a:pt x="2036" y="734"/>
                  <a:pt x="2036" y="734"/>
                  <a:pt x="2036" y="734"/>
                </a:cubicBezTo>
                <a:cubicBezTo>
                  <a:pt x="2306" y="368"/>
                  <a:pt x="2736" y="161"/>
                  <a:pt x="3181" y="161"/>
                </a:cubicBezTo>
                <a:close/>
              </a:path>
            </a:pathLst>
          </a:custGeom>
          <a:solidFill>
            <a:schemeClr val="bg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6" name="Freeform: Shape 2">
            <a:extLst>
              <a:ext uri="{FF2B5EF4-FFF2-40B4-BE49-F238E27FC236}">
                <a16:creationId xmlns:a16="http://schemas.microsoft.com/office/drawing/2014/main" id="{0A3DA4AB-0976-104F-A319-D45AD35812B8}"/>
              </a:ext>
            </a:extLst>
          </p:cNvPr>
          <p:cNvSpPr/>
          <p:nvPr/>
        </p:nvSpPr>
        <p:spPr>
          <a:xfrm>
            <a:off x="16476274" y="7549854"/>
            <a:ext cx="749108" cy="1106108"/>
          </a:xfrm>
          <a:custGeom>
            <a:avLst/>
            <a:gdLst/>
            <a:ahLst/>
            <a:cxnLst>
              <a:cxn ang="3cd4">
                <a:pos x="hc" y="t"/>
              </a:cxn>
              <a:cxn ang="cd2">
                <a:pos x="l" y="vc"/>
              </a:cxn>
              <a:cxn ang="cd4">
                <a:pos x="hc" y="b"/>
              </a:cxn>
              <a:cxn ang="0">
                <a:pos x="r" y="vc"/>
              </a:cxn>
            </a:cxnLst>
            <a:rect l="l" t="t" r="r" b="b"/>
            <a:pathLst>
              <a:path w="3436" h="5073">
                <a:moveTo>
                  <a:pt x="1718" y="668"/>
                </a:moveTo>
                <a:cubicBezTo>
                  <a:pt x="1813" y="668"/>
                  <a:pt x="1877" y="604"/>
                  <a:pt x="1877" y="509"/>
                </a:cubicBezTo>
                <a:cubicBezTo>
                  <a:pt x="1877" y="413"/>
                  <a:pt x="1813" y="350"/>
                  <a:pt x="1718" y="350"/>
                </a:cubicBezTo>
                <a:cubicBezTo>
                  <a:pt x="1622" y="350"/>
                  <a:pt x="1559" y="413"/>
                  <a:pt x="1559" y="509"/>
                </a:cubicBezTo>
                <a:cubicBezTo>
                  <a:pt x="1559" y="604"/>
                  <a:pt x="1622" y="668"/>
                  <a:pt x="1718" y="668"/>
                </a:cubicBezTo>
                <a:close/>
                <a:moveTo>
                  <a:pt x="2227" y="700"/>
                </a:moveTo>
                <a:lnTo>
                  <a:pt x="2227" y="509"/>
                </a:lnTo>
                <a:cubicBezTo>
                  <a:pt x="2227" y="222"/>
                  <a:pt x="2004" y="0"/>
                  <a:pt x="1718" y="0"/>
                </a:cubicBezTo>
                <a:cubicBezTo>
                  <a:pt x="1431" y="0"/>
                  <a:pt x="1209" y="222"/>
                  <a:pt x="1209" y="509"/>
                </a:cubicBezTo>
                <a:lnTo>
                  <a:pt x="1209" y="700"/>
                </a:lnTo>
                <a:lnTo>
                  <a:pt x="238" y="700"/>
                </a:lnTo>
                <a:cubicBezTo>
                  <a:pt x="95" y="700"/>
                  <a:pt x="0" y="811"/>
                  <a:pt x="0" y="938"/>
                </a:cubicBezTo>
                <a:lnTo>
                  <a:pt x="0" y="4835"/>
                </a:lnTo>
                <a:cubicBezTo>
                  <a:pt x="0" y="4962"/>
                  <a:pt x="95" y="5073"/>
                  <a:pt x="238" y="5073"/>
                </a:cubicBezTo>
                <a:lnTo>
                  <a:pt x="3197" y="5073"/>
                </a:lnTo>
                <a:cubicBezTo>
                  <a:pt x="3340" y="5073"/>
                  <a:pt x="3436" y="4962"/>
                  <a:pt x="3436" y="4835"/>
                </a:cubicBezTo>
                <a:lnTo>
                  <a:pt x="3436" y="938"/>
                </a:lnTo>
                <a:cubicBezTo>
                  <a:pt x="3436" y="795"/>
                  <a:pt x="3340" y="700"/>
                  <a:pt x="3197" y="700"/>
                </a:cubicBezTo>
                <a:close/>
                <a:moveTo>
                  <a:pt x="1368" y="509"/>
                </a:moveTo>
                <a:cubicBezTo>
                  <a:pt x="1368" y="318"/>
                  <a:pt x="1527" y="159"/>
                  <a:pt x="1718" y="159"/>
                </a:cubicBezTo>
                <a:cubicBezTo>
                  <a:pt x="1909" y="159"/>
                  <a:pt x="2068" y="318"/>
                  <a:pt x="2068" y="509"/>
                </a:cubicBezTo>
                <a:cubicBezTo>
                  <a:pt x="2068" y="716"/>
                  <a:pt x="2068" y="1082"/>
                  <a:pt x="2497" y="1193"/>
                </a:cubicBezTo>
                <a:cubicBezTo>
                  <a:pt x="2624" y="1225"/>
                  <a:pt x="2720" y="1336"/>
                  <a:pt x="2720" y="1479"/>
                </a:cubicBezTo>
                <a:lnTo>
                  <a:pt x="700" y="1479"/>
                </a:lnTo>
                <a:cubicBezTo>
                  <a:pt x="716" y="1352"/>
                  <a:pt x="811" y="1225"/>
                  <a:pt x="938" y="1193"/>
                </a:cubicBezTo>
                <a:cubicBezTo>
                  <a:pt x="1368" y="1082"/>
                  <a:pt x="1368" y="716"/>
                  <a:pt x="1368" y="509"/>
                </a:cubicBezTo>
                <a:close/>
                <a:moveTo>
                  <a:pt x="668" y="1638"/>
                </a:moveTo>
                <a:lnTo>
                  <a:pt x="2767" y="1638"/>
                </a:lnTo>
                <a:cubicBezTo>
                  <a:pt x="2831" y="1638"/>
                  <a:pt x="2895" y="1591"/>
                  <a:pt x="2895" y="1511"/>
                </a:cubicBezTo>
                <a:cubicBezTo>
                  <a:pt x="2895" y="1383"/>
                  <a:pt x="2831" y="1256"/>
                  <a:pt x="2752" y="1177"/>
                </a:cubicBezTo>
                <a:lnTo>
                  <a:pt x="2879" y="1177"/>
                </a:lnTo>
                <a:cubicBezTo>
                  <a:pt x="2895" y="1177"/>
                  <a:pt x="2927" y="1177"/>
                  <a:pt x="2942" y="1193"/>
                </a:cubicBezTo>
                <a:cubicBezTo>
                  <a:pt x="2958" y="1209"/>
                  <a:pt x="2958" y="1240"/>
                  <a:pt x="2958" y="1256"/>
                </a:cubicBezTo>
                <a:lnTo>
                  <a:pt x="2958" y="4517"/>
                </a:lnTo>
                <a:cubicBezTo>
                  <a:pt x="2958" y="4564"/>
                  <a:pt x="2927" y="4596"/>
                  <a:pt x="2879" y="4596"/>
                </a:cubicBezTo>
                <a:lnTo>
                  <a:pt x="556" y="4596"/>
                </a:lnTo>
                <a:cubicBezTo>
                  <a:pt x="509" y="4596"/>
                  <a:pt x="477" y="4564"/>
                  <a:pt x="477" y="4517"/>
                </a:cubicBezTo>
                <a:lnTo>
                  <a:pt x="477" y="1256"/>
                </a:lnTo>
                <a:cubicBezTo>
                  <a:pt x="477" y="1209"/>
                  <a:pt x="509" y="1177"/>
                  <a:pt x="556" y="1177"/>
                </a:cubicBezTo>
                <a:lnTo>
                  <a:pt x="684" y="1177"/>
                </a:lnTo>
                <a:cubicBezTo>
                  <a:pt x="604" y="1272"/>
                  <a:pt x="541" y="1383"/>
                  <a:pt x="541" y="1511"/>
                </a:cubicBezTo>
                <a:cubicBezTo>
                  <a:pt x="541" y="1574"/>
                  <a:pt x="604" y="1638"/>
                  <a:pt x="668" y="1638"/>
                </a:cubicBezTo>
                <a:close/>
                <a:moveTo>
                  <a:pt x="3276" y="938"/>
                </a:moveTo>
                <a:lnTo>
                  <a:pt x="3276" y="4835"/>
                </a:lnTo>
                <a:cubicBezTo>
                  <a:pt x="3276" y="4883"/>
                  <a:pt x="3245" y="4915"/>
                  <a:pt x="3197" y="4915"/>
                </a:cubicBezTo>
                <a:lnTo>
                  <a:pt x="238" y="4915"/>
                </a:lnTo>
                <a:cubicBezTo>
                  <a:pt x="191" y="4915"/>
                  <a:pt x="159" y="4883"/>
                  <a:pt x="159" y="4835"/>
                </a:cubicBezTo>
                <a:lnTo>
                  <a:pt x="159" y="938"/>
                </a:lnTo>
                <a:cubicBezTo>
                  <a:pt x="159" y="891"/>
                  <a:pt x="191" y="859"/>
                  <a:pt x="238" y="859"/>
                </a:cubicBezTo>
                <a:lnTo>
                  <a:pt x="1161" y="859"/>
                </a:lnTo>
                <a:cubicBezTo>
                  <a:pt x="1129" y="922"/>
                  <a:pt x="1065" y="986"/>
                  <a:pt x="970" y="1018"/>
                </a:cubicBezTo>
                <a:lnTo>
                  <a:pt x="556" y="1018"/>
                </a:lnTo>
                <a:cubicBezTo>
                  <a:pt x="429" y="1018"/>
                  <a:pt x="318" y="1129"/>
                  <a:pt x="318" y="1256"/>
                </a:cubicBezTo>
                <a:lnTo>
                  <a:pt x="318" y="4517"/>
                </a:lnTo>
                <a:cubicBezTo>
                  <a:pt x="318" y="4644"/>
                  <a:pt x="429" y="4755"/>
                  <a:pt x="556" y="4755"/>
                </a:cubicBezTo>
                <a:lnTo>
                  <a:pt x="2879" y="4755"/>
                </a:lnTo>
                <a:cubicBezTo>
                  <a:pt x="3006" y="4755"/>
                  <a:pt x="3118" y="4644"/>
                  <a:pt x="3118" y="4517"/>
                </a:cubicBezTo>
                <a:lnTo>
                  <a:pt x="3118" y="1256"/>
                </a:lnTo>
                <a:cubicBezTo>
                  <a:pt x="3118" y="1193"/>
                  <a:pt x="3101" y="1129"/>
                  <a:pt x="3054" y="1082"/>
                </a:cubicBezTo>
                <a:cubicBezTo>
                  <a:pt x="3006" y="1034"/>
                  <a:pt x="2942" y="1018"/>
                  <a:pt x="2879" y="1018"/>
                </a:cubicBezTo>
                <a:lnTo>
                  <a:pt x="2449" y="1018"/>
                </a:lnTo>
                <a:cubicBezTo>
                  <a:pt x="2370" y="986"/>
                  <a:pt x="2306" y="922"/>
                  <a:pt x="2274" y="859"/>
                </a:cubicBezTo>
                <a:lnTo>
                  <a:pt x="3197" y="859"/>
                </a:lnTo>
                <a:cubicBezTo>
                  <a:pt x="3245" y="859"/>
                  <a:pt x="3276" y="891"/>
                  <a:pt x="3276" y="938"/>
                </a:cubicBezTo>
                <a:close/>
              </a:path>
            </a:pathLst>
          </a:custGeom>
          <a:solidFill>
            <a:schemeClr val="bg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7" name="Freeform: Shape 17">
            <a:extLst>
              <a:ext uri="{FF2B5EF4-FFF2-40B4-BE49-F238E27FC236}">
                <a16:creationId xmlns:a16="http://schemas.microsoft.com/office/drawing/2014/main" id="{AD88B02C-7BCF-F54A-8B7E-3EECB204B104}"/>
              </a:ext>
            </a:extLst>
          </p:cNvPr>
          <p:cNvSpPr/>
          <p:nvPr/>
        </p:nvSpPr>
        <p:spPr>
          <a:xfrm>
            <a:off x="19858185" y="5074126"/>
            <a:ext cx="1054329" cy="1130641"/>
          </a:xfrm>
          <a:custGeom>
            <a:avLst/>
            <a:gdLst/>
            <a:ahLst/>
            <a:cxnLst>
              <a:cxn ang="3cd4">
                <a:pos x="hc" y="t"/>
              </a:cxn>
              <a:cxn ang="cd2">
                <a:pos x="l" y="vc"/>
              </a:cxn>
              <a:cxn ang="cd4">
                <a:pos x="hc" y="b"/>
              </a:cxn>
              <a:cxn ang="0">
                <a:pos x="r" y="vc"/>
              </a:cxn>
            </a:cxnLst>
            <a:rect l="l" t="t" r="r" b="b"/>
            <a:pathLst>
              <a:path w="5030" h="5394">
                <a:moveTo>
                  <a:pt x="2529" y="2976"/>
                </a:moveTo>
                <a:cubicBezTo>
                  <a:pt x="2736" y="3088"/>
                  <a:pt x="2958" y="3119"/>
                  <a:pt x="3165" y="3119"/>
                </a:cubicBezTo>
                <a:cubicBezTo>
                  <a:pt x="3340" y="3119"/>
                  <a:pt x="3499" y="3104"/>
                  <a:pt x="3658" y="3040"/>
                </a:cubicBezTo>
                <a:cubicBezTo>
                  <a:pt x="3833" y="3453"/>
                  <a:pt x="3833" y="3453"/>
                  <a:pt x="3833" y="3453"/>
                </a:cubicBezTo>
                <a:cubicBezTo>
                  <a:pt x="3785" y="3501"/>
                  <a:pt x="3738" y="3565"/>
                  <a:pt x="3706" y="3628"/>
                </a:cubicBezTo>
                <a:cubicBezTo>
                  <a:pt x="3674" y="3724"/>
                  <a:pt x="3674" y="3835"/>
                  <a:pt x="3722" y="3931"/>
                </a:cubicBezTo>
                <a:cubicBezTo>
                  <a:pt x="4278" y="5155"/>
                  <a:pt x="4278" y="5155"/>
                  <a:pt x="4278" y="5155"/>
                </a:cubicBezTo>
                <a:cubicBezTo>
                  <a:pt x="4310" y="5251"/>
                  <a:pt x="4374" y="5315"/>
                  <a:pt x="4469" y="5362"/>
                </a:cubicBezTo>
                <a:cubicBezTo>
                  <a:pt x="4517" y="5378"/>
                  <a:pt x="4581" y="5394"/>
                  <a:pt x="4629" y="5394"/>
                </a:cubicBezTo>
                <a:cubicBezTo>
                  <a:pt x="4692" y="5394"/>
                  <a:pt x="4739" y="5378"/>
                  <a:pt x="4787" y="5362"/>
                </a:cubicBezTo>
                <a:cubicBezTo>
                  <a:pt x="4883" y="5315"/>
                  <a:pt x="4962" y="5235"/>
                  <a:pt x="4994" y="5139"/>
                </a:cubicBezTo>
                <a:cubicBezTo>
                  <a:pt x="5042" y="5044"/>
                  <a:pt x="5042" y="4933"/>
                  <a:pt x="4994" y="4837"/>
                </a:cubicBezTo>
                <a:cubicBezTo>
                  <a:pt x="4438" y="3613"/>
                  <a:pt x="4438" y="3613"/>
                  <a:pt x="4438" y="3613"/>
                </a:cubicBezTo>
                <a:cubicBezTo>
                  <a:pt x="4358" y="3438"/>
                  <a:pt x="4167" y="3342"/>
                  <a:pt x="3976" y="3390"/>
                </a:cubicBezTo>
                <a:cubicBezTo>
                  <a:pt x="3817" y="2992"/>
                  <a:pt x="3817" y="2992"/>
                  <a:pt x="3817" y="2992"/>
                </a:cubicBezTo>
                <a:cubicBezTo>
                  <a:pt x="4151" y="2833"/>
                  <a:pt x="4438" y="2579"/>
                  <a:pt x="4596" y="2213"/>
                </a:cubicBezTo>
                <a:cubicBezTo>
                  <a:pt x="4772" y="1831"/>
                  <a:pt x="4787" y="1417"/>
                  <a:pt x="4644" y="1020"/>
                </a:cubicBezTo>
                <a:cubicBezTo>
                  <a:pt x="4485" y="622"/>
                  <a:pt x="4199" y="320"/>
                  <a:pt x="3817" y="145"/>
                </a:cubicBezTo>
                <a:cubicBezTo>
                  <a:pt x="3038" y="-220"/>
                  <a:pt x="2115" y="129"/>
                  <a:pt x="1749" y="908"/>
                </a:cubicBezTo>
                <a:cubicBezTo>
                  <a:pt x="1670" y="1099"/>
                  <a:pt x="1622" y="1306"/>
                  <a:pt x="1606" y="1513"/>
                </a:cubicBezTo>
                <a:cubicBezTo>
                  <a:pt x="1606" y="1577"/>
                  <a:pt x="1606" y="1640"/>
                  <a:pt x="1622" y="1704"/>
                </a:cubicBezTo>
                <a:cubicBezTo>
                  <a:pt x="79" y="1688"/>
                  <a:pt x="79" y="1688"/>
                  <a:pt x="79" y="1688"/>
                </a:cubicBezTo>
                <a:cubicBezTo>
                  <a:pt x="32" y="1688"/>
                  <a:pt x="0" y="1736"/>
                  <a:pt x="0" y="1768"/>
                </a:cubicBezTo>
                <a:cubicBezTo>
                  <a:pt x="0" y="1815"/>
                  <a:pt x="32" y="1847"/>
                  <a:pt x="79" y="1847"/>
                </a:cubicBezTo>
                <a:cubicBezTo>
                  <a:pt x="1638" y="1863"/>
                  <a:pt x="1638" y="1863"/>
                  <a:pt x="1638" y="1863"/>
                </a:cubicBezTo>
                <a:cubicBezTo>
                  <a:pt x="1654" y="1943"/>
                  <a:pt x="1686" y="2038"/>
                  <a:pt x="1718" y="2117"/>
                </a:cubicBezTo>
                <a:cubicBezTo>
                  <a:pt x="79" y="2117"/>
                  <a:pt x="79" y="2117"/>
                  <a:pt x="79" y="2117"/>
                </a:cubicBezTo>
                <a:cubicBezTo>
                  <a:pt x="32" y="2117"/>
                  <a:pt x="0" y="2149"/>
                  <a:pt x="0" y="2197"/>
                </a:cubicBezTo>
                <a:cubicBezTo>
                  <a:pt x="0" y="2245"/>
                  <a:pt x="32" y="2277"/>
                  <a:pt x="79" y="2277"/>
                </a:cubicBezTo>
                <a:cubicBezTo>
                  <a:pt x="1781" y="2277"/>
                  <a:pt x="1781" y="2277"/>
                  <a:pt x="1781" y="2277"/>
                </a:cubicBezTo>
                <a:cubicBezTo>
                  <a:pt x="1829" y="2372"/>
                  <a:pt x="1893" y="2467"/>
                  <a:pt x="1956" y="2547"/>
                </a:cubicBezTo>
                <a:cubicBezTo>
                  <a:pt x="79" y="2547"/>
                  <a:pt x="79" y="2547"/>
                  <a:pt x="79" y="2547"/>
                </a:cubicBezTo>
                <a:cubicBezTo>
                  <a:pt x="32" y="2547"/>
                  <a:pt x="0" y="2579"/>
                  <a:pt x="0" y="2626"/>
                </a:cubicBezTo>
                <a:cubicBezTo>
                  <a:pt x="0" y="2658"/>
                  <a:pt x="32" y="2706"/>
                  <a:pt x="79" y="2706"/>
                </a:cubicBezTo>
                <a:cubicBezTo>
                  <a:pt x="2100" y="2706"/>
                  <a:pt x="2100" y="2706"/>
                  <a:pt x="2100" y="2706"/>
                </a:cubicBezTo>
                <a:cubicBezTo>
                  <a:pt x="2227" y="2817"/>
                  <a:pt x="2370" y="2913"/>
                  <a:pt x="2529" y="2976"/>
                </a:cubicBezTo>
                <a:close/>
                <a:moveTo>
                  <a:pt x="4072" y="3533"/>
                </a:moveTo>
                <a:cubicBezTo>
                  <a:pt x="4167" y="3533"/>
                  <a:pt x="4247" y="3597"/>
                  <a:pt x="4294" y="3676"/>
                </a:cubicBezTo>
                <a:cubicBezTo>
                  <a:pt x="4851" y="4901"/>
                  <a:pt x="4851" y="4901"/>
                  <a:pt x="4851" y="4901"/>
                </a:cubicBezTo>
                <a:cubicBezTo>
                  <a:pt x="4867" y="4964"/>
                  <a:pt x="4867" y="5028"/>
                  <a:pt x="4851" y="5092"/>
                </a:cubicBezTo>
                <a:cubicBezTo>
                  <a:pt x="4835" y="5139"/>
                  <a:pt x="4787" y="5187"/>
                  <a:pt x="4724" y="5219"/>
                </a:cubicBezTo>
                <a:cubicBezTo>
                  <a:pt x="4660" y="5235"/>
                  <a:pt x="4596" y="5235"/>
                  <a:pt x="4533" y="5219"/>
                </a:cubicBezTo>
                <a:cubicBezTo>
                  <a:pt x="4485" y="5187"/>
                  <a:pt x="4438" y="5139"/>
                  <a:pt x="4421" y="5092"/>
                </a:cubicBezTo>
                <a:cubicBezTo>
                  <a:pt x="3865" y="3867"/>
                  <a:pt x="3865" y="3867"/>
                  <a:pt x="3865" y="3867"/>
                </a:cubicBezTo>
                <a:cubicBezTo>
                  <a:pt x="3833" y="3803"/>
                  <a:pt x="3833" y="3740"/>
                  <a:pt x="3865" y="3676"/>
                </a:cubicBezTo>
                <a:cubicBezTo>
                  <a:pt x="3881" y="3628"/>
                  <a:pt x="3929" y="3581"/>
                  <a:pt x="3976" y="3549"/>
                </a:cubicBezTo>
                <a:cubicBezTo>
                  <a:pt x="4008" y="3549"/>
                  <a:pt x="4040" y="3533"/>
                  <a:pt x="4072" y="3533"/>
                </a:cubicBezTo>
                <a:close/>
                <a:moveTo>
                  <a:pt x="3181" y="161"/>
                </a:moveTo>
                <a:cubicBezTo>
                  <a:pt x="3372" y="161"/>
                  <a:pt x="3563" y="209"/>
                  <a:pt x="3754" y="289"/>
                </a:cubicBezTo>
                <a:cubicBezTo>
                  <a:pt x="4103" y="447"/>
                  <a:pt x="4358" y="718"/>
                  <a:pt x="4485" y="1068"/>
                </a:cubicBezTo>
                <a:cubicBezTo>
                  <a:pt x="4612" y="1434"/>
                  <a:pt x="4612" y="1815"/>
                  <a:pt x="4453" y="2149"/>
                </a:cubicBezTo>
                <a:cubicBezTo>
                  <a:pt x="4120" y="2849"/>
                  <a:pt x="3293" y="3167"/>
                  <a:pt x="2593" y="2833"/>
                </a:cubicBezTo>
                <a:cubicBezTo>
                  <a:pt x="2322" y="2722"/>
                  <a:pt x="2115" y="2515"/>
                  <a:pt x="1972" y="2277"/>
                </a:cubicBezTo>
                <a:cubicBezTo>
                  <a:pt x="3722" y="2277"/>
                  <a:pt x="3722" y="2277"/>
                  <a:pt x="3722" y="2277"/>
                </a:cubicBezTo>
                <a:cubicBezTo>
                  <a:pt x="3769" y="2277"/>
                  <a:pt x="3801" y="2245"/>
                  <a:pt x="3801" y="2197"/>
                </a:cubicBezTo>
                <a:cubicBezTo>
                  <a:pt x="3801" y="2149"/>
                  <a:pt x="3769" y="2117"/>
                  <a:pt x="3722" y="2117"/>
                </a:cubicBezTo>
                <a:cubicBezTo>
                  <a:pt x="1893" y="2117"/>
                  <a:pt x="1893" y="2117"/>
                  <a:pt x="1893" y="2117"/>
                </a:cubicBezTo>
                <a:cubicBezTo>
                  <a:pt x="1813" y="1958"/>
                  <a:pt x="1781" y="1768"/>
                  <a:pt x="1766" y="1593"/>
                </a:cubicBezTo>
                <a:cubicBezTo>
                  <a:pt x="3722" y="1593"/>
                  <a:pt x="3722" y="1593"/>
                  <a:pt x="3722" y="1593"/>
                </a:cubicBezTo>
                <a:cubicBezTo>
                  <a:pt x="3769" y="1593"/>
                  <a:pt x="3801" y="1545"/>
                  <a:pt x="3801" y="1513"/>
                </a:cubicBezTo>
                <a:cubicBezTo>
                  <a:pt x="3801" y="1465"/>
                  <a:pt x="3769" y="1434"/>
                  <a:pt x="3722" y="1434"/>
                </a:cubicBezTo>
                <a:cubicBezTo>
                  <a:pt x="1781" y="1434"/>
                  <a:pt x="1781" y="1434"/>
                  <a:pt x="1781" y="1434"/>
                </a:cubicBezTo>
                <a:cubicBezTo>
                  <a:pt x="1797" y="1274"/>
                  <a:pt x="1829" y="1131"/>
                  <a:pt x="1893" y="972"/>
                </a:cubicBezTo>
                <a:cubicBezTo>
                  <a:pt x="1909" y="956"/>
                  <a:pt x="1924" y="925"/>
                  <a:pt x="1940" y="893"/>
                </a:cubicBezTo>
                <a:cubicBezTo>
                  <a:pt x="3722" y="893"/>
                  <a:pt x="3722" y="893"/>
                  <a:pt x="3722" y="893"/>
                </a:cubicBezTo>
                <a:cubicBezTo>
                  <a:pt x="3769" y="893"/>
                  <a:pt x="3801" y="861"/>
                  <a:pt x="3801" y="813"/>
                </a:cubicBezTo>
                <a:cubicBezTo>
                  <a:pt x="3801" y="765"/>
                  <a:pt x="3769" y="734"/>
                  <a:pt x="3722" y="734"/>
                </a:cubicBezTo>
                <a:cubicBezTo>
                  <a:pt x="2036" y="734"/>
                  <a:pt x="2036" y="734"/>
                  <a:pt x="2036" y="734"/>
                </a:cubicBezTo>
                <a:cubicBezTo>
                  <a:pt x="2306" y="368"/>
                  <a:pt x="2736" y="161"/>
                  <a:pt x="3181" y="161"/>
                </a:cubicBezTo>
                <a:close/>
              </a:path>
            </a:pathLst>
          </a:custGeom>
          <a:solidFill>
            <a:schemeClr val="bg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42878940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246188" y="3084163"/>
            <a:ext cx="21890037" cy="8055673"/>
            <a:chOff x="1462088" y="2862263"/>
            <a:chExt cx="21674137" cy="9467850"/>
          </a:xfrm>
        </p:grpSpPr>
        <p:sp>
          <p:nvSpPr>
            <p:cNvPr id="3" name="Rectangle 2"/>
            <p:cNvSpPr/>
            <p:nvPr/>
          </p:nvSpPr>
          <p:spPr>
            <a:xfrm>
              <a:off x="1462088" y="7596188"/>
              <a:ext cx="21674137" cy="47339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462088" y="2862263"/>
              <a:ext cx="21674137" cy="4733925"/>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p:cNvSpPr>
            <a:spLocks noGrp="1"/>
          </p:cNvSpPr>
          <p:nvPr>
            <p:ph type="title"/>
          </p:nvPr>
        </p:nvSpPr>
        <p:spPr/>
        <p:txBody>
          <a:bodyPr/>
          <a:lstStyle/>
          <a:p>
            <a:r>
              <a:rPr lang="en-US" dirty="0"/>
              <a:t>The tagline</a:t>
            </a:r>
          </a:p>
        </p:txBody>
      </p:sp>
      <p:sp>
        <p:nvSpPr>
          <p:cNvPr id="9" name="Rectangle 8"/>
          <p:cNvSpPr/>
          <p:nvPr/>
        </p:nvSpPr>
        <p:spPr>
          <a:xfrm>
            <a:off x="1370648" y="11221677"/>
            <a:ext cx="5843266" cy="523220"/>
          </a:xfrm>
          <a:prstGeom prst="rect">
            <a:avLst/>
          </a:prstGeom>
        </p:spPr>
        <p:txBody>
          <a:bodyPr wrap="none">
            <a:spAutoFit/>
          </a:bodyPr>
          <a:lstStyle/>
          <a:p>
            <a:r>
              <a:rPr lang="en-US" sz="2800" i="1" dirty="0"/>
              <a:t>Black version, and inversed version</a:t>
            </a:r>
          </a:p>
        </p:txBody>
      </p:sp>
      <p:sp>
        <p:nvSpPr>
          <p:cNvPr id="11" name="Title 1">
            <a:extLst>
              <a:ext uri="{FF2B5EF4-FFF2-40B4-BE49-F238E27FC236}">
                <a16:creationId xmlns:a16="http://schemas.microsoft.com/office/drawing/2014/main" id="{37F66B3E-63FB-9D46-A922-3D70BC1AD3BD}"/>
              </a:ext>
            </a:extLst>
          </p:cNvPr>
          <p:cNvSpPr txBox="1">
            <a:spLocks/>
          </p:cNvSpPr>
          <p:nvPr/>
        </p:nvSpPr>
        <p:spPr bwMode="auto">
          <a:xfrm>
            <a:off x="3885819" y="3903478"/>
            <a:ext cx="16048101" cy="1945408"/>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lnSpc>
                <a:spcPts val="8000"/>
              </a:lnSpc>
              <a:spcBef>
                <a:spcPct val="0"/>
              </a:spcBef>
              <a:spcAft>
                <a:spcPct val="0"/>
              </a:spcAft>
              <a:defRPr sz="7000" kern="1200" baseline="0">
                <a:solidFill>
                  <a:schemeClr val="accent2"/>
                </a:solidFill>
                <a:latin typeface="+mj-lt"/>
                <a:ea typeface="ＭＳ Ｐゴシック" charset="0"/>
                <a:cs typeface="AllerMod" pitchFamily="50" charset="0"/>
              </a:defRPr>
            </a:lvl1pPr>
            <a:lvl2pPr algn="l" rtl="0" eaLnBrk="1" fontAlgn="base" hangingPunct="1">
              <a:spcBef>
                <a:spcPct val="0"/>
              </a:spcBef>
              <a:spcAft>
                <a:spcPct val="0"/>
              </a:spcAft>
              <a:defRPr sz="8533">
                <a:solidFill>
                  <a:schemeClr val="accent1"/>
                </a:solidFill>
                <a:latin typeface="AllerMod Regular" charset="0"/>
                <a:ea typeface="ＭＳ Ｐゴシック" charset="0"/>
              </a:defRPr>
            </a:lvl2pPr>
            <a:lvl3pPr algn="l" rtl="0" eaLnBrk="1" fontAlgn="base" hangingPunct="1">
              <a:spcBef>
                <a:spcPct val="0"/>
              </a:spcBef>
              <a:spcAft>
                <a:spcPct val="0"/>
              </a:spcAft>
              <a:defRPr sz="8533">
                <a:solidFill>
                  <a:schemeClr val="accent1"/>
                </a:solidFill>
                <a:latin typeface="AllerMod Regular" charset="0"/>
                <a:ea typeface="ＭＳ Ｐゴシック" charset="0"/>
              </a:defRPr>
            </a:lvl3pPr>
            <a:lvl4pPr algn="l" rtl="0" eaLnBrk="1" fontAlgn="base" hangingPunct="1">
              <a:spcBef>
                <a:spcPct val="0"/>
              </a:spcBef>
              <a:spcAft>
                <a:spcPct val="0"/>
              </a:spcAft>
              <a:defRPr sz="8533">
                <a:solidFill>
                  <a:schemeClr val="accent1"/>
                </a:solidFill>
                <a:latin typeface="AllerMod Regular" charset="0"/>
                <a:ea typeface="ＭＳ Ｐゴシック" charset="0"/>
              </a:defRPr>
            </a:lvl4pPr>
            <a:lvl5pPr algn="l" rtl="0" eaLnBrk="1" fontAlgn="base" hangingPunct="1">
              <a:spcBef>
                <a:spcPct val="0"/>
              </a:spcBef>
              <a:spcAft>
                <a:spcPct val="0"/>
              </a:spcAft>
              <a:defRPr sz="8533">
                <a:solidFill>
                  <a:schemeClr val="accent1"/>
                </a:solidFill>
                <a:latin typeface="AllerMod Regular" charset="0"/>
                <a:ea typeface="ＭＳ Ｐゴシック" charset="0"/>
              </a:defRPr>
            </a:lvl5pPr>
            <a:lvl6pPr marL="1219124" algn="l" rtl="0" eaLnBrk="1" fontAlgn="base" hangingPunct="1">
              <a:spcBef>
                <a:spcPct val="0"/>
              </a:spcBef>
              <a:spcAft>
                <a:spcPct val="0"/>
              </a:spcAft>
              <a:defRPr sz="8533">
                <a:solidFill>
                  <a:schemeClr val="accent1"/>
                </a:solidFill>
                <a:latin typeface="AllerMod Regular" charset="0"/>
                <a:ea typeface="ＭＳ Ｐゴシック" charset="0"/>
              </a:defRPr>
            </a:lvl6pPr>
            <a:lvl7pPr marL="2438248" algn="l" rtl="0" eaLnBrk="1" fontAlgn="base" hangingPunct="1">
              <a:spcBef>
                <a:spcPct val="0"/>
              </a:spcBef>
              <a:spcAft>
                <a:spcPct val="0"/>
              </a:spcAft>
              <a:defRPr sz="8533">
                <a:solidFill>
                  <a:schemeClr val="accent1"/>
                </a:solidFill>
                <a:latin typeface="AllerMod Regular" charset="0"/>
                <a:ea typeface="ＭＳ Ｐゴシック" charset="0"/>
              </a:defRPr>
            </a:lvl7pPr>
            <a:lvl8pPr marL="3657371" algn="l" rtl="0" eaLnBrk="1" fontAlgn="base" hangingPunct="1">
              <a:spcBef>
                <a:spcPct val="0"/>
              </a:spcBef>
              <a:spcAft>
                <a:spcPct val="0"/>
              </a:spcAft>
              <a:defRPr sz="8533">
                <a:solidFill>
                  <a:schemeClr val="accent1"/>
                </a:solidFill>
                <a:latin typeface="AllerMod Regular" charset="0"/>
                <a:ea typeface="ＭＳ Ｐゴシック" charset="0"/>
              </a:defRPr>
            </a:lvl8pPr>
            <a:lvl9pPr marL="4876495" algn="l" rtl="0" eaLnBrk="1" fontAlgn="base" hangingPunct="1">
              <a:spcBef>
                <a:spcPct val="0"/>
              </a:spcBef>
              <a:spcAft>
                <a:spcPct val="0"/>
              </a:spcAft>
              <a:defRPr sz="8533">
                <a:solidFill>
                  <a:schemeClr val="accent1"/>
                </a:solidFill>
                <a:latin typeface="AllerMod Regular" charset="0"/>
                <a:ea typeface="ＭＳ Ｐゴシック" charset="0"/>
              </a:defRPr>
            </a:lvl9pPr>
          </a:lstStyle>
          <a:p>
            <a:pPr algn="ctr"/>
            <a:r>
              <a:rPr lang="en-US" sz="9600" dirty="0">
                <a:solidFill>
                  <a:schemeClr val="tx1"/>
                </a:solidFill>
              </a:rPr>
              <a:t>The Information Company</a:t>
            </a:r>
          </a:p>
        </p:txBody>
      </p:sp>
      <p:sp>
        <p:nvSpPr>
          <p:cNvPr id="12" name="Title 1">
            <a:extLst>
              <a:ext uri="{FF2B5EF4-FFF2-40B4-BE49-F238E27FC236}">
                <a16:creationId xmlns:a16="http://schemas.microsoft.com/office/drawing/2014/main" id="{F5B5250C-9068-D748-AF14-7E3A6C47E7DD}"/>
              </a:ext>
            </a:extLst>
          </p:cNvPr>
          <p:cNvSpPr txBox="1">
            <a:spLocks/>
          </p:cNvSpPr>
          <p:nvPr/>
        </p:nvSpPr>
        <p:spPr bwMode="auto">
          <a:xfrm>
            <a:off x="3885819" y="8028438"/>
            <a:ext cx="16048101" cy="1945408"/>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lnSpc>
                <a:spcPts val="8000"/>
              </a:lnSpc>
              <a:spcBef>
                <a:spcPct val="0"/>
              </a:spcBef>
              <a:spcAft>
                <a:spcPct val="0"/>
              </a:spcAft>
              <a:defRPr sz="7000" kern="1200" baseline="0">
                <a:solidFill>
                  <a:schemeClr val="accent2"/>
                </a:solidFill>
                <a:latin typeface="+mj-lt"/>
                <a:ea typeface="ＭＳ Ｐゴシック" charset="0"/>
                <a:cs typeface="AllerMod" pitchFamily="50" charset="0"/>
              </a:defRPr>
            </a:lvl1pPr>
            <a:lvl2pPr algn="l" rtl="0" eaLnBrk="1" fontAlgn="base" hangingPunct="1">
              <a:spcBef>
                <a:spcPct val="0"/>
              </a:spcBef>
              <a:spcAft>
                <a:spcPct val="0"/>
              </a:spcAft>
              <a:defRPr sz="8533">
                <a:solidFill>
                  <a:schemeClr val="accent1"/>
                </a:solidFill>
                <a:latin typeface="AllerMod Regular" charset="0"/>
                <a:ea typeface="ＭＳ Ｐゴシック" charset="0"/>
              </a:defRPr>
            </a:lvl2pPr>
            <a:lvl3pPr algn="l" rtl="0" eaLnBrk="1" fontAlgn="base" hangingPunct="1">
              <a:spcBef>
                <a:spcPct val="0"/>
              </a:spcBef>
              <a:spcAft>
                <a:spcPct val="0"/>
              </a:spcAft>
              <a:defRPr sz="8533">
                <a:solidFill>
                  <a:schemeClr val="accent1"/>
                </a:solidFill>
                <a:latin typeface="AllerMod Regular" charset="0"/>
                <a:ea typeface="ＭＳ Ｐゴシック" charset="0"/>
              </a:defRPr>
            </a:lvl3pPr>
            <a:lvl4pPr algn="l" rtl="0" eaLnBrk="1" fontAlgn="base" hangingPunct="1">
              <a:spcBef>
                <a:spcPct val="0"/>
              </a:spcBef>
              <a:spcAft>
                <a:spcPct val="0"/>
              </a:spcAft>
              <a:defRPr sz="8533">
                <a:solidFill>
                  <a:schemeClr val="accent1"/>
                </a:solidFill>
                <a:latin typeface="AllerMod Regular" charset="0"/>
                <a:ea typeface="ＭＳ Ｐゴシック" charset="0"/>
              </a:defRPr>
            </a:lvl4pPr>
            <a:lvl5pPr algn="l" rtl="0" eaLnBrk="1" fontAlgn="base" hangingPunct="1">
              <a:spcBef>
                <a:spcPct val="0"/>
              </a:spcBef>
              <a:spcAft>
                <a:spcPct val="0"/>
              </a:spcAft>
              <a:defRPr sz="8533">
                <a:solidFill>
                  <a:schemeClr val="accent1"/>
                </a:solidFill>
                <a:latin typeface="AllerMod Regular" charset="0"/>
                <a:ea typeface="ＭＳ Ｐゴシック" charset="0"/>
              </a:defRPr>
            </a:lvl5pPr>
            <a:lvl6pPr marL="1219124" algn="l" rtl="0" eaLnBrk="1" fontAlgn="base" hangingPunct="1">
              <a:spcBef>
                <a:spcPct val="0"/>
              </a:spcBef>
              <a:spcAft>
                <a:spcPct val="0"/>
              </a:spcAft>
              <a:defRPr sz="8533">
                <a:solidFill>
                  <a:schemeClr val="accent1"/>
                </a:solidFill>
                <a:latin typeface="AllerMod Regular" charset="0"/>
                <a:ea typeface="ＭＳ Ｐゴシック" charset="0"/>
              </a:defRPr>
            </a:lvl6pPr>
            <a:lvl7pPr marL="2438248" algn="l" rtl="0" eaLnBrk="1" fontAlgn="base" hangingPunct="1">
              <a:spcBef>
                <a:spcPct val="0"/>
              </a:spcBef>
              <a:spcAft>
                <a:spcPct val="0"/>
              </a:spcAft>
              <a:defRPr sz="8533">
                <a:solidFill>
                  <a:schemeClr val="accent1"/>
                </a:solidFill>
                <a:latin typeface="AllerMod Regular" charset="0"/>
                <a:ea typeface="ＭＳ Ｐゴシック" charset="0"/>
              </a:defRPr>
            </a:lvl7pPr>
            <a:lvl8pPr marL="3657371" algn="l" rtl="0" eaLnBrk="1" fontAlgn="base" hangingPunct="1">
              <a:spcBef>
                <a:spcPct val="0"/>
              </a:spcBef>
              <a:spcAft>
                <a:spcPct val="0"/>
              </a:spcAft>
              <a:defRPr sz="8533">
                <a:solidFill>
                  <a:schemeClr val="accent1"/>
                </a:solidFill>
                <a:latin typeface="AllerMod Regular" charset="0"/>
                <a:ea typeface="ＭＳ Ｐゴシック" charset="0"/>
              </a:defRPr>
            </a:lvl8pPr>
            <a:lvl9pPr marL="4876495" algn="l" rtl="0" eaLnBrk="1" fontAlgn="base" hangingPunct="1">
              <a:spcBef>
                <a:spcPct val="0"/>
              </a:spcBef>
              <a:spcAft>
                <a:spcPct val="0"/>
              </a:spcAft>
              <a:defRPr sz="8533">
                <a:solidFill>
                  <a:schemeClr val="accent1"/>
                </a:solidFill>
                <a:latin typeface="AllerMod Regular" charset="0"/>
                <a:ea typeface="ＭＳ Ｐゴシック" charset="0"/>
              </a:defRPr>
            </a:lvl9pPr>
          </a:lstStyle>
          <a:p>
            <a:pPr algn="ctr"/>
            <a:r>
              <a:rPr lang="en-US" sz="9600" dirty="0">
                <a:solidFill>
                  <a:schemeClr val="bg1"/>
                </a:solidFill>
              </a:rPr>
              <a:t>The Information Company</a:t>
            </a:r>
          </a:p>
        </p:txBody>
      </p:sp>
    </p:spTree>
    <p:extLst>
      <p:ext uri="{BB962C8B-B14F-4D97-AF65-F5344CB8AC3E}">
        <p14:creationId xmlns:p14="http://schemas.microsoft.com/office/powerpoint/2010/main" val="2870271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1803306" y="6064986"/>
            <a:ext cx="20739746" cy="1764029"/>
          </a:xfrm>
          <a:prstGeom prst="rect">
            <a:avLst/>
          </a:prstGeom>
          <a:gradFill flip="none" rotWithShape="1">
            <a:gsLst>
              <a:gs pos="0">
                <a:schemeClr val="accent3"/>
              </a:gs>
              <a:gs pos="100000">
                <a:schemeClr val="tx2">
                  <a:lumMod val="60000"/>
                  <a:lumOff val="4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schemeClr val="tx1"/>
              </a:solidFill>
            </a:endParaRPr>
          </a:p>
        </p:txBody>
      </p:sp>
      <p:cxnSp>
        <p:nvCxnSpPr>
          <p:cNvPr id="10" name="Straight Connector 9"/>
          <p:cNvCxnSpPr/>
          <p:nvPr/>
        </p:nvCxnSpPr>
        <p:spPr>
          <a:xfrm>
            <a:off x="957346" y="6947000"/>
            <a:ext cx="224677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21661040" y="6064986"/>
            <a:ext cx="1764029" cy="1764029"/>
            <a:chOff x="10027421" y="2075283"/>
            <a:chExt cx="900406" cy="900406"/>
          </a:xfrm>
        </p:grpSpPr>
        <p:sp>
          <p:nvSpPr>
            <p:cNvPr id="12" name="Oval 11"/>
            <p:cNvSpPr/>
            <p:nvPr/>
          </p:nvSpPr>
          <p:spPr>
            <a:xfrm>
              <a:off x="10027421" y="2075283"/>
              <a:ext cx="900406" cy="900406"/>
            </a:xfrm>
            <a:prstGeom prst="ellipse">
              <a:avLst/>
            </a:prstGeom>
            <a:solidFill>
              <a:schemeClr val="accent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latin typeface="+mj-lt"/>
              </a:endParaRPr>
            </a:p>
          </p:txBody>
        </p:sp>
        <p:grpSp>
          <p:nvGrpSpPr>
            <p:cNvPr id="13" name="Group 12"/>
            <p:cNvGrpSpPr/>
            <p:nvPr/>
          </p:nvGrpSpPr>
          <p:grpSpPr>
            <a:xfrm>
              <a:off x="10309598" y="2330499"/>
              <a:ext cx="336052" cy="389974"/>
              <a:chOff x="-1892704" y="1944681"/>
              <a:chExt cx="3284538" cy="3811588"/>
            </a:xfrm>
          </p:grpSpPr>
          <p:sp>
            <p:nvSpPr>
              <p:cNvPr id="14" name="Freeform 5"/>
              <p:cNvSpPr>
                <a:spLocks noEditPoints="1"/>
              </p:cNvSpPr>
              <p:nvPr/>
            </p:nvSpPr>
            <p:spPr bwMode="auto">
              <a:xfrm>
                <a:off x="-1892704" y="1944681"/>
                <a:ext cx="3284538" cy="3811588"/>
              </a:xfrm>
              <a:custGeom>
                <a:avLst/>
                <a:gdLst>
                  <a:gd name="T0" fmla="*/ 1611 w 1764"/>
                  <a:gd name="T1" fmla="*/ 145 h 2048"/>
                  <a:gd name="T2" fmla="*/ 1468 w 1764"/>
                  <a:gd name="T3" fmla="*/ 100 h 2048"/>
                  <a:gd name="T4" fmla="*/ 397 w 1764"/>
                  <a:gd name="T5" fmla="*/ 0 h 2048"/>
                  <a:gd name="T6" fmla="*/ 296 w 1764"/>
                  <a:gd name="T7" fmla="*/ 145 h 2048"/>
                  <a:gd name="T8" fmla="*/ 40 w 1764"/>
                  <a:gd name="T9" fmla="*/ 197 h 2048"/>
                  <a:gd name="T10" fmla="*/ 397 w 1764"/>
                  <a:gd name="T11" fmla="*/ 863 h 2048"/>
                  <a:gd name="T12" fmla="*/ 735 w 1764"/>
                  <a:gd name="T13" fmla="*/ 1251 h 2048"/>
                  <a:gd name="T14" fmla="*/ 567 w 1764"/>
                  <a:gd name="T15" fmla="*/ 1483 h 2048"/>
                  <a:gd name="T16" fmla="*/ 531 w 1764"/>
                  <a:gd name="T17" fmla="*/ 1746 h 2048"/>
                  <a:gd name="T18" fmla="*/ 301 w 1764"/>
                  <a:gd name="T19" fmla="*/ 1888 h 2048"/>
                  <a:gd name="T20" fmla="*/ 348 w 1764"/>
                  <a:gd name="T21" fmla="*/ 2048 h 2048"/>
                  <a:gd name="T22" fmla="*/ 1468 w 1764"/>
                  <a:gd name="T23" fmla="*/ 2001 h 2048"/>
                  <a:gd name="T24" fmla="*/ 1325 w 1764"/>
                  <a:gd name="T25" fmla="*/ 1746 h 2048"/>
                  <a:gd name="T26" fmla="*/ 1237 w 1764"/>
                  <a:gd name="T27" fmla="*/ 1529 h 2048"/>
                  <a:gd name="T28" fmla="*/ 1200 w 1764"/>
                  <a:gd name="T29" fmla="*/ 1482 h 2048"/>
                  <a:gd name="T30" fmla="*/ 1303 w 1764"/>
                  <a:gd name="T31" fmla="*/ 992 h 2048"/>
                  <a:gd name="T32" fmla="*/ 1757 w 1764"/>
                  <a:gd name="T33" fmla="*/ 316 h 2048"/>
                  <a:gd name="T34" fmla="*/ 101 w 1764"/>
                  <a:gd name="T35" fmla="*/ 301 h 2048"/>
                  <a:gd name="T36" fmla="*/ 153 w 1764"/>
                  <a:gd name="T37" fmla="*/ 240 h 2048"/>
                  <a:gd name="T38" fmla="*/ 296 w 1764"/>
                  <a:gd name="T39" fmla="*/ 327 h 2048"/>
                  <a:gd name="T40" fmla="*/ 101 w 1764"/>
                  <a:gd name="T41" fmla="*/ 301 h 2048"/>
                  <a:gd name="T42" fmla="*/ 1373 w 1764"/>
                  <a:gd name="T43" fmla="*/ 1888 h 2048"/>
                  <a:gd name="T44" fmla="*/ 396 w 1764"/>
                  <a:gd name="T45" fmla="*/ 1953 h 2048"/>
                  <a:gd name="T46" fmla="*/ 443 w 1764"/>
                  <a:gd name="T47" fmla="*/ 1841 h 2048"/>
                  <a:gd name="T48" fmla="*/ 1143 w 1764"/>
                  <a:gd name="T49" fmla="*/ 1576 h 2048"/>
                  <a:gd name="T50" fmla="*/ 626 w 1764"/>
                  <a:gd name="T51" fmla="*/ 1746 h 2048"/>
                  <a:gd name="T52" fmla="*/ 1143 w 1764"/>
                  <a:gd name="T53" fmla="*/ 1576 h 2048"/>
                  <a:gd name="T54" fmla="*/ 782 w 1764"/>
                  <a:gd name="T55" fmla="*/ 1439 h 2048"/>
                  <a:gd name="T56" fmla="*/ 882 w 1764"/>
                  <a:gd name="T57" fmla="*/ 1280 h 2048"/>
                  <a:gd name="T58" fmla="*/ 1019 w 1764"/>
                  <a:gd name="T59" fmla="*/ 1481 h 2048"/>
                  <a:gd name="T60" fmla="*/ 1373 w 1764"/>
                  <a:gd name="T61" fmla="*/ 327 h 2048"/>
                  <a:gd name="T62" fmla="*/ 882 w 1764"/>
                  <a:gd name="T63" fmla="*/ 1186 h 2048"/>
                  <a:gd name="T64" fmla="*/ 391 w 1764"/>
                  <a:gd name="T65" fmla="*/ 327 h 2048"/>
                  <a:gd name="T66" fmla="*/ 397 w 1764"/>
                  <a:gd name="T67" fmla="*/ 95 h 2048"/>
                  <a:gd name="T68" fmla="*/ 1373 w 1764"/>
                  <a:gd name="T69" fmla="*/ 100 h 2048"/>
                  <a:gd name="T70" fmla="*/ 1663 w 1764"/>
                  <a:gd name="T71" fmla="*/ 301 h 2048"/>
                  <a:gd name="T72" fmla="*/ 1468 w 1764"/>
                  <a:gd name="T73" fmla="*/ 327 h 2048"/>
                  <a:gd name="T74" fmla="*/ 1611 w 1764"/>
                  <a:gd name="T75" fmla="*/ 240 h 2048"/>
                  <a:gd name="T76" fmla="*/ 1663 w 1764"/>
                  <a:gd name="T77" fmla="*/ 301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64" h="2048">
                    <a:moveTo>
                      <a:pt x="1724" y="197"/>
                    </a:moveTo>
                    <a:cubicBezTo>
                      <a:pt x="1696" y="164"/>
                      <a:pt x="1654" y="145"/>
                      <a:pt x="1611" y="145"/>
                    </a:cubicBezTo>
                    <a:cubicBezTo>
                      <a:pt x="1468" y="145"/>
                      <a:pt x="1468" y="145"/>
                      <a:pt x="1468" y="145"/>
                    </a:cubicBezTo>
                    <a:cubicBezTo>
                      <a:pt x="1468" y="100"/>
                      <a:pt x="1468" y="100"/>
                      <a:pt x="1468" y="100"/>
                    </a:cubicBezTo>
                    <a:cubicBezTo>
                      <a:pt x="1468" y="45"/>
                      <a:pt x="1423" y="0"/>
                      <a:pt x="1367" y="0"/>
                    </a:cubicBezTo>
                    <a:cubicBezTo>
                      <a:pt x="397" y="0"/>
                      <a:pt x="397" y="0"/>
                      <a:pt x="397" y="0"/>
                    </a:cubicBezTo>
                    <a:cubicBezTo>
                      <a:pt x="341" y="0"/>
                      <a:pt x="296" y="45"/>
                      <a:pt x="296" y="100"/>
                    </a:cubicBezTo>
                    <a:cubicBezTo>
                      <a:pt x="296" y="145"/>
                      <a:pt x="296" y="145"/>
                      <a:pt x="296" y="145"/>
                    </a:cubicBezTo>
                    <a:cubicBezTo>
                      <a:pt x="153" y="145"/>
                      <a:pt x="153" y="145"/>
                      <a:pt x="153" y="145"/>
                    </a:cubicBezTo>
                    <a:cubicBezTo>
                      <a:pt x="110" y="145"/>
                      <a:pt x="68" y="164"/>
                      <a:pt x="40" y="197"/>
                    </a:cubicBezTo>
                    <a:cubicBezTo>
                      <a:pt x="12" y="230"/>
                      <a:pt x="0" y="274"/>
                      <a:pt x="7" y="316"/>
                    </a:cubicBezTo>
                    <a:cubicBezTo>
                      <a:pt x="45" y="547"/>
                      <a:pt x="190" y="751"/>
                      <a:pt x="397" y="863"/>
                    </a:cubicBezTo>
                    <a:cubicBezTo>
                      <a:pt x="416" y="909"/>
                      <a:pt x="437" y="952"/>
                      <a:pt x="461" y="992"/>
                    </a:cubicBezTo>
                    <a:cubicBezTo>
                      <a:pt x="537" y="1120"/>
                      <a:pt x="631" y="1208"/>
                      <a:pt x="735" y="1251"/>
                    </a:cubicBezTo>
                    <a:cubicBezTo>
                      <a:pt x="746" y="1357"/>
                      <a:pt x="675" y="1458"/>
                      <a:pt x="568" y="1482"/>
                    </a:cubicBezTo>
                    <a:cubicBezTo>
                      <a:pt x="568" y="1483"/>
                      <a:pt x="568" y="1483"/>
                      <a:pt x="567" y="1483"/>
                    </a:cubicBezTo>
                    <a:cubicBezTo>
                      <a:pt x="547" y="1488"/>
                      <a:pt x="531" y="1506"/>
                      <a:pt x="531" y="1529"/>
                    </a:cubicBezTo>
                    <a:cubicBezTo>
                      <a:pt x="531" y="1746"/>
                      <a:pt x="531" y="1746"/>
                      <a:pt x="531" y="1746"/>
                    </a:cubicBezTo>
                    <a:cubicBezTo>
                      <a:pt x="443" y="1746"/>
                      <a:pt x="443" y="1746"/>
                      <a:pt x="443" y="1746"/>
                    </a:cubicBezTo>
                    <a:cubicBezTo>
                      <a:pt x="365" y="1746"/>
                      <a:pt x="301" y="1810"/>
                      <a:pt x="301" y="1888"/>
                    </a:cubicBezTo>
                    <a:cubicBezTo>
                      <a:pt x="301" y="2001"/>
                      <a:pt x="301" y="2001"/>
                      <a:pt x="301" y="2001"/>
                    </a:cubicBezTo>
                    <a:cubicBezTo>
                      <a:pt x="301" y="2027"/>
                      <a:pt x="322" y="2048"/>
                      <a:pt x="348" y="2048"/>
                    </a:cubicBezTo>
                    <a:cubicBezTo>
                      <a:pt x="1420" y="2048"/>
                      <a:pt x="1420" y="2048"/>
                      <a:pt x="1420" y="2048"/>
                    </a:cubicBezTo>
                    <a:cubicBezTo>
                      <a:pt x="1446" y="2048"/>
                      <a:pt x="1468" y="2027"/>
                      <a:pt x="1468" y="2001"/>
                    </a:cubicBezTo>
                    <a:cubicBezTo>
                      <a:pt x="1468" y="1888"/>
                      <a:pt x="1468" y="1888"/>
                      <a:pt x="1468" y="1888"/>
                    </a:cubicBezTo>
                    <a:cubicBezTo>
                      <a:pt x="1468" y="1810"/>
                      <a:pt x="1404" y="1746"/>
                      <a:pt x="1325" y="1746"/>
                    </a:cubicBezTo>
                    <a:cubicBezTo>
                      <a:pt x="1237" y="1746"/>
                      <a:pt x="1237" y="1746"/>
                      <a:pt x="1237" y="1746"/>
                    </a:cubicBezTo>
                    <a:cubicBezTo>
                      <a:pt x="1237" y="1529"/>
                      <a:pt x="1237" y="1529"/>
                      <a:pt x="1237" y="1529"/>
                    </a:cubicBezTo>
                    <a:cubicBezTo>
                      <a:pt x="1237" y="1506"/>
                      <a:pt x="1222" y="1488"/>
                      <a:pt x="1201" y="1483"/>
                    </a:cubicBezTo>
                    <a:cubicBezTo>
                      <a:pt x="1201" y="1483"/>
                      <a:pt x="1201" y="1483"/>
                      <a:pt x="1200" y="1482"/>
                    </a:cubicBezTo>
                    <a:cubicBezTo>
                      <a:pt x="1093" y="1458"/>
                      <a:pt x="1022" y="1356"/>
                      <a:pt x="1033" y="1249"/>
                    </a:cubicBezTo>
                    <a:cubicBezTo>
                      <a:pt x="1136" y="1205"/>
                      <a:pt x="1228" y="1118"/>
                      <a:pt x="1303" y="992"/>
                    </a:cubicBezTo>
                    <a:cubicBezTo>
                      <a:pt x="1327" y="952"/>
                      <a:pt x="1349" y="909"/>
                      <a:pt x="1367" y="863"/>
                    </a:cubicBezTo>
                    <a:cubicBezTo>
                      <a:pt x="1574" y="751"/>
                      <a:pt x="1719" y="547"/>
                      <a:pt x="1757" y="316"/>
                    </a:cubicBezTo>
                    <a:cubicBezTo>
                      <a:pt x="1764" y="274"/>
                      <a:pt x="1752" y="230"/>
                      <a:pt x="1724" y="197"/>
                    </a:cubicBezTo>
                    <a:close/>
                    <a:moveTo>
                      <a:pt x="101" y="301"/>
                    </a:moveTo>
                    <a:cubicBezTo>
                      <a:pt x="98" y="286"/>
                      <a:pt x="102" y="271"/>
                      <a:pt x="112" y="259"/>
                    </a:cubicBezTo>
                    <a:cubicBezTo>
                      <a:pt x="123" y="247"/>
                      <a:pt x="138" y="240"/>
                      <a:pt x="153" y="240"/>
                    </a:cubicBezTo>
                    <a:cubicBezTo>
                      <a:pt x="296" y="240"/>
                      <a:pt x="296" y="240"/>
                      <a:pt x="296" y="240"/>
                    </a:cubicBezTo>
                    <a:cubicBezTo>
                      <a:pt x="296" y="327"/>
                      <a:pt x="296" y="327"/>
                      <a:pt x="296" y="327"/>
                    </a:cubicBezTo>
                    <a:cubicBezTo>
                      <a:pt x="296" y="464"/>
                      <a:pt x="314" y="596"/>
                      <a:pt x="347" y="718"/>
                    </a:cubicBezTo>
                    <a:cubicBezTo>
                      <a:pt x="217" y="615"/>
                      <a:pt x="127" y="466"/>
                      <a:pt x="101" y="301"/>
                    </a:cubicBezTo>
                    <a:close/>
                    <a:moveTo>
                      <a:pt x="1325" y="1841"/>
                    </a:moveTo>
                    <a:cubicBezTo>
                      <a:pt x="1352" y="1841"/>
                      <a:pt x="1373" y="1862"/>
                      <a:pt x="1373" y="1888"/>
                    </a:cubicBezTo>
                    <a:cubicBezTo>
                      <a:pt x="1373" y="1953"/>
                      <a:pt x="1373" y="1953"/>
                      <a:pt x="1373" y="1953"/>
                    </a:cubicBezTo>
                    <a:cubicBezTo>
                      <a:pt x="396" y="1953"/>
                      <a:pt x="396" y="1953"/>
                      <a:pt x="396" y="1953"/>
                    </a:cubicBezTo>
                    <a:cubicBezTo>
                      <a:pt x="396" y="1888"/>
                      <a:pt x="396" y="1888"/>
                      <a:pt x="396" y="1888"/>
                    </a:cubicBezTo>
                    <a:cubicBezTo>
                      <a:pt x="396" y="1862"/>
                      <a:pt x="417" y="1841"/>
                      <a:pt x="443" y="1841"/>
                    </a:cubicBezTo>
                    <a:lnTo>
                      <a:pt x="1325" y="1841"/>
                    </a:lnTo>
                    <a:close/>
                    <a:moveTo>
                      <a:pt x="1143" y="1576"/>
                    </a:moveTo>
                    <a:cubicBezTo>
                      <a:pt x="1143" y="1746"/>
                      <a:pt x="1143" y="1746"/>
                      <a:pt x="1143" y="1746"/>
                    </a:cubicBezTo>
                    <a:cubicBezTo>
                      <a:pt x="626" y="1746"/>
                      <a:pt x="626" y="1746"/>
                      <a:pt x="626" y="1746"/>
                    </a:cubicBezTo>
                    <a:cubicBezTo>
                      <a:pt x="626" y="1576"/>
                      <a:pt x="626" y="1576"/>
                      <a:pt x="626" y="1576"/>
                    </a:cubicBezTo>
                    <a:lnTo>
                      <a:pt x="1143" y="1576"/>
                    </a:lnTo>
                    <a:close/>
                    <a:moveTo>
                      <a:pt x="750" y="1481"/>
                    </a:moveTo>
                    <a:cubicBezTo>
                      <a:pt x="762" y="1468"/>
                      <a:pt x="773" y="1454"/>
                      <a:pt x="782" y="1439"/>
                    </a:cubicBezTo>
                    <a:cubicBezTo>
                      <a:pt x="814" y="1390"/>
                      <a:pt x="830" y="1334"/>
                      <a:pt x="831" y="1277"/>
                    </a:cubicBezTo>
                    <a:cubicBezTo>
                      <a:pt x="848" y="1279"/>
                      <a:pt x="865" y="1280"/>
                      <a:pt x="882" y="1280"/>
                    </a:cubicBezTo>
                    <a:cubicBezTo>
                      <a:pt x="901" y="1280"/>
                      <a:pt x="919" y="1279"/>
                      <a:pt x="937" y="1276"/>
                    </a:cubicBezTo>
                    <a:cubicBezTo>
                      <a:pt x="939" y="1353"/>
                      <a:pt x="968" y="1426"/>
                      <a:pt x="1019" y="1481"/>
                    </a:cubicBezTo>
                    <a:cubicBezTo>
                      <a:pt x="750" y="1481"/>
                      <a:pt x="750" y="1481"/>
                      <a:pt x="750" y="1481"/>
                    </a:cubicBezTo>
                    <a:close/>
                    <a:moveTo>
                      <a:pt x="1373" y="327"/>
                    </a:moveTo>
                    <a:cubicBezTo>
                      <a:pt x="1373" y="561"/>
                      <a:pt x="1319" y="780"/>
                      <a:pt x="1222" y="943"/>
                    </a:cubicBezTo>
                    <a:cubicBezTo>
                      <a:pt x="1129" y="1100"/>
                      <a:pt x="1008" y="1186"/>
                      <a:pt x="882" y="1186"/>
                    </a:cubicBezTo>
                    <a:cubicBezTo>
                      <a:pt x="756" y="1186"/>
                      <a:pt x="635" y="1100"/>
                      <a:pt x="542" y="943"/>
                    </a:cubicBezTo>
                    <a:cubicBezTo>
                      <a:pt x="445" y="780"/>
                      <a:pt x="391" y="561"/>
                      <a:pt x="391" y="327"/>
                    </a:cubicBezTo>
                    <a:cubicBezTo>
                      <a:pt x="391" y="100"/>
                      <a:pt x="391" y="100"/>
                      <a:pt x="391" y="100"/>
                    </a:cubicBezTo>
                    <a:cubicBezTo>
                      <a:pt x="391" y="97"/>
                      <a:pt x="394" y="95"/>
                      <a:pt x="397" y="95"/>
                    </a:cubicBezTo>
                    <a:cubicBezTo>
                      <a:pt x="1367" y="95"/>
                      <a:pt x="1367" y="95"/>
                      <a:pt x="1367" y="95"/>
                    </a:cubicBezTo>
                    <a:cubicBezTo>
                      <a:pt x="1370" y="95"/>
                      <a:pt x="1373" y="97"/>
                      <a:pt x="1373" y="100"/>
                    </a:cubicBezTo>
                    <a:lnTo>
                      <a:pt x="1373" y="327"/>
                    </a:lnTo>
                    <a:close/>
                    <a:moveTo>
                      <a:pt x="1663" y="301"/>
                    </a:moveTo>
                    <a:cubicBezTo>
                      <a:pt x="1637" y="466"/>
                      <a:pt x="1547" y="615"/>
                      <a:pt x="1417" y="718"/>
                    </a:cubicBezTo>
                    <a:cubicBezTo>
                      <a:pt x="1450" y="596"/>
                      <a:pt x="1468" y="464"/>
                      <a:pt x="1468" y="327"/>
                    </a:cubicBezTo>
                    <a:cubicBezTo>
                      <a:pt x="1468" y="240"/>
                      <a:pt x="1468" y="240"/>
                      <a:pt x="1468" y="240"/>
                    </a:cubicBezTo>
                    <a:cubicBezTo>
                      <a:pt x="1611" y="240"/>
                      <a:pt x="1611" y="240"/>
                      <a:pt x="1611" y="240"/>
                    </a:cubicBezTo>
                    <a:cubicBezTo>
                      <a:pt x="1626" y="240"/>
                      <a:pt x="1641" y="247"/>
                      <a:pt x="1652" y="259"/>
                    </a:cubicBezTo>
                    <a:cubicBezTo>
                      <a:pt x="1662" y="271"/>
                      <a:pt x="1666" y="286"/>
                      <a:pt x="1663" y="301"/>
                    </a:cubicBezTo>
                    <a:close/>
                  </a:path>
                </a:pathLst>
              </a:custGeom>
              <a:solidFill>
                <a:schemeClr val="bg1"/>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15" name="Freeform 6"/>
              <p:cNvSpPr>
                <a:spLocks noEditPoints="1"/>
              </p:cNvSpPr>
              <p:nvPr/>
            </p:nvSpPr>
            <p:spPr bwMode="auto">
              <a:xfrm>
                <a:off x="-795751" y="2462197"/>
                <a:ext cx="1090616" cy="1039801"/>
              </a:xfrm>
              <a:custGeom>
                <a:avLst/>
                <a:gdLst>
                  <a:gd name="T0" fmla="*/ 581 w 586"/>
                  <a:gd name="T1" fmla="*/ 209 h 559"/>
                  <a:gd name="T2" fmla="*/ 543 w 586"/>
                  <a:gd name="T3" fmla="*/ 176 h 559"/>
                  <a:gd name="T4" fmla="*/ 399 w 586"/>
                  <a:gd name="T5" fmla="*/ 156 h 559"/>
                  <a:gd name="T6" fmla="*/ 336 w 586"/>
                  <a:gd name="T7" fmla="*/ 26 h 559"/>
                  <a:gd name="T8" fmla="*/ 293 w 586"/>
                  <a:gd name="T9" fmla="*/ 0 h 559"/>
                  <a:gd name="T10" fmla="*/ 250 w 586"/>
                  <a:gd name="T11" fmla="*/ 26 h 559"/>
                  <a:gd name="T12" fmla="*/ 187 w 586"/>
                  <a:gd name="T13" fmla="*/ 156 h 559"/>
                  <a:gd name="T14" fmla="*/ 44 w 586"/>
                  <a:gd name="T15" fmla="*/ 176 h 559"/>
                  <a:gd name="T16" fmla="*/ 5 w 586"/>
                  <a:gd name="T17" fmla="*/ 209 h 559"/>
                  <a:gd name="T18" fmla="*/ 17 w 586"/>
                  <a:gd name="T19" fmla="*/ 257 h 559"/>
                  <a:gd name="T20" fmla="*/ 121 w 586"/>
                  <a:gd name="T21" fmla="*/ 358 h 559"/>
                  <a:gd name="T22" fmla="*/ 96 w 586"/>
                  <a:gd name="T23" fmla="*/ 501 h 559"/>
                  <a:gd name="T24" fmla="*/ 115 w 586"/>
                  <a:gd name="T25" fmla="*/ 547 h 559"/>
                  <a:gd name="T26" fmla="*/ 165 w 586"/>
                  <a:gd name="T27" fmla="*/ 551 h 559"/>
                  <a:gd name="T28" fmla="*/ 293 w 586"/>
                  <a:gd name="T29" fmla="*/ 483 h 559"/>
                  <a:gd name="T30" fmla="*/ 421 w 586"/>
                  <a:gd name="T31" fmla="*/ 551 h 559"/>
                  <a:gd name="T32" fmla="*/ 443 w 586"/>
                  <a:gd name="T33" fmla="*/ 556 h 559"/>
                  <a:gd name="T34" fmla="*/ 471 w 586"/>
                  <a:gd name="T35" fmla="*/ 547 h 559"/>
                  <a:gd name="T36" fmla="*/ 490 w 586"/>
                  <a:gd name="T37" fmla="*/ 501 h 559"/>
                  <a:gd name="T38" fmla="*/ 465 w 586"/>
                  <a:gd name="T39" fmla="*/ 358 h 559"/>
                  <a:gd name="T40" fmla="*/ 569 w 586"/>
                  <a:gd name="T41" fmla="*/ 257 h 559"/>
                  <a:gd name="T42" fmla="*/ 581 w 586"/>
                  <a:gd name="T43" fmla="*/ 209 h 559"/>
                  <a:gd name="T44" fmla="*/ 381 w 586"/>
                  <a:gd name="T45" fmla="*/ 308 h 559"/>
                  <a:gd name="T46" fmla="*/ 368 w 586"/>
                  <a:gd name="T47" fmla="*/ 350 h 559"/>
                  <a:gd name="T48" fmla="*/ 380 w 586"/>
                  <a:gd name="T49" fmla="*/ 422 h 559"/>
                  <a:gd name="T50" fmla="*/ 315 w 586"/>
                  <a:gd name="T51" fmla="*/ 388 h 559"/>
                  <a:gd name="T52" fmla="*/ 293 w 586"/>
                  <a:gd name="T53" fmla="*/ 382 h 559"/>
                  <a:gd name="T54" fmla="*/ 271 w 586"/>
                  <a:gd name="T55" fmla="*/ 388 h 559"/>
                  <a:gd name="T56" fmla="*/ 206 w 586"/>
                  <a:gd name="T57" fmla="*/ 422 h 559"/>
                  <a:gd name="T58" fmla="*/ 218 w 586"/>
                  <a:gd name="T59" fmla="*/ 350 h 559"/>
                  <a:gd name="T60" fmla="*/ 205 w 586"/>
                  <a:gd name="T61" fmla="*/ 308 h 559"/>
                  <a:gd name="T62" fmla="*/ 152 w 586"/>
                  <a:gd name="T63" fmla="*/ 256 h 559"/>
                  <a:gd name="T64" fmla="*/ 225 w 586"/>
                  <a:gd name="T65" fmla="*/ 246 h 559"/>
                  <a:gd name="T66" fmla="*/ 261 w 586"/>
                  <a:gd name="T67" fmla="*/ 220 h 559"/>
                  <a:gd name="T68" fmla="*/ 293 w 586"/>
                  <a:gd name="T69" fmla="*/ 154 h 559"/>
                  <a:gd name="T70" fmla="*/ 325 w 586"/>
                  <a:gd name="T71" fmla="*/ 220 h 559"/>
                  <a:gd name="T72" fmla="*/ 361 w 586"/>
                  <a:gd name="T73" fmla="*/ 246 h 559"/>
                  <a:gd name="T74" fmla="*/ 434 w 586"/>
                  <a:gd name="T75" fmla="*/ 256 h 559"/>
                  <a:gd name="T76" fmla="*/ 381 w 586"/>
                  <a:gd name="T77" fmla="*/ 308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6" h="559">
                    <a:moveTo>
                      <a:pt x="581" y="209"/>
                    </a:moveTo>
                    <a:cubicBezTo>
                      <a:pt x="575" y="191"/>
                      <a:pt x="560" y="179"/>
                      <a:pt x="543" y="176"/>
                    </a:cubicBezTo>
                    <a:cubicBezTo>
                      <a:pt x="399" y="156"/>
                      <a:pt x="399" y="156"/>
                      <a:pt x="399" y="156"/>
                    </a:cubicBezTo>
                    <a:cubicBezTo>
                      <a:pt x="336" y="26"/>
                      <a:pt x="336" y="26"/>
                      <a:pt x="336" y="26"/>
                    </a:cubicBezTo>
                    <a:cubicBezTo>
                      <a:pt x="328" y="10"/>
                      <a:pt x="311" y="0"/>
                      <a:pt x="293" y="0"/>
                    </a:cubicBezTo>
                    <a:cubicBezTo>
                      <a:pt x="275" y="0"/>
                      <a:pt x="258" y="10"/>
                      <a:pt x="250" y="26"/>
                    </a:cubicBezTo>
                    <a:cubicBezTo>
                      <a:pt x="187" y="156"/>
                      <a:pt x="187" y="156"/>
                      <a:pt x="187" y="156"/>
                    </a:cubicBezTo>
                    <a:cubicBezTo>
                      <a:pt x="44" y="176"/>
                      <a:pt x="44" y="176"/>
                      <a:pt x="44" y="176"/>
                    </a:cubicBezTo>
                    <a:cubicBezTo>
                      <a:pt x="26" y="179"/>
                      <a:pt x="11" y="191"/>
                      <a:pt x="5" y="209"/>
                    </a:cubicBezTo>
                    <a:cubicBezTo>
                      <a:pt x="0" y="226"/>
                      <a:pt x="4" y="245"/>
                      <a:pt x="17" y="257"/>
                    </a:cubicBezTo>
                    <a:cubicBezTo>
                      <a:pt x="121" y="358"/>
                      <a:pt x="121" y="358"/>
                      <a:pt x="121" y="358"/>
                    </a:cubicBezTo>
                    <a:cubicBezTo>
                      <a:pt x="96" y="501"/>
                      <a:pt x="96" y="501"/>
                      <a:pt x="96" y="501"/>
                    </a:cubicBezTo>
                    <a:cubicBezTo>
                      <a:pt x="93" y="518"/>
                      <a:pt x="101" y="536"/>
                      <a:pt x="115" y="547"/>
                    </a:cubicBezTo>
                    <a:cubicBezTo>
                      <a:pt x="130" y="558"/>
                      <a:pt x="149" y="559"/>
                      <a:pt x="165" y="551"/>
                    </a:cubicBezTo>
                    <a:cubicBezTo>
                      <a:pt x="293" y="483"/>
                      <a:pt x="293" y="483"/>
                      <a:pt x="293" y="483"/>
                    </a:cubicBezTo>
                    <a:cubicBezTo>
                      <a:pt x="421" y="551"/>
                      <a:pt x="421" y="551"/>
                      <a:pt x="421" y="551"/>
                    </a:cubicBezTo>
                    <a:cubicBezTo>
                      <a:pt x="428" y="554"/>
                      <a:pt x="435" y="556"/>
                      <a:pt x="443" y="556"/>
                    </a:cubicBezTo>
                    <a:cubicBezTo>
                      <a:pt x="453" y="556"/>
                      <a:pt x="463" y="553"/>
                      <a:pt x="471" y="547"/>
                    </a:cubicBezTo>
                    <a:cubicBezTo>
                      <a:pt x="485" y="536"/>
                      <a:pt x="493" y="518"/>
                      <a:pt x="490" y="501"/>
                    </a:cubicBezTo>
                    <a:cubicBezTo>
                      <a:pt x="465" y="358"/>
                      <a:pt x="465" y="358"/>
                      <a:pt x="465" y="358"/>
                    </a:cubicBezTo>
                    <a:cubicBezTo>
                      <a:pt x="569" y="257"/>
                      <a:pt x="569" y="257"/>
                      <a:pt x="569" y="257"/>
                    </a:cubicBezTo>
                    <a:cubicBezTo>
                      <a:pt x="582" y="245"/>
                      <a:pt x="586" y="226"/>
                      <a:pt x="581" y="209"/>
                    </a:cubicBezTo>
                    <a:close/>
                    <a:moveTo>
                      <a:pt x="381" y="308"/>
                    </a:moveTo>
                    <a:cubicBezTo>
                      <a:pt x="370" y="319"/>
                      <a:pt x="365" y="334"/>
                      <a:pt x="368" y="350"/>
                    </a:cubicBezTo>
                    <a:cubicBezTo>
                      <a:pt x="380" y="422"/>
                      <a:pt x="380" y="422"/>
                      <a:pt x="380" y="422"/>
                    </a:cubicBezTo>
                    <a:cubicBezTo>
                      <a:pt x="315" y="388"/>
                      <a:pt x="315" y="388"/>
                      <a:pt x="315" y="388"/>
                    </a:cubicBezTo>
                    <a:cubicBezTo>
                      <a:pt x="308" y="384"/>
                      <a:pt x="301" y="382"/>
                      <a:pt x="293" y="382"/>
                    </a:cubicBezTo>
                    <a:cubicBezTo>
                      <a:pt x="285" y="382"/>
                      <a:pt x="278" y="384"/>
                      <a:pt x="271" y="388"/>
                    </a:cubicBezTo>
                    <a:cubicBezTo>
                      <a:pt x="206" y="422"/>
                      <a:pt x="206" y="422"/>
                      <a:pt x="206" y="422"/>
                    </a:cubicBezTo>
                    <a:cubicBezTo>
                      <a:pt x="218" y="350"/>
                      <a:pt x="218" y="350"/>
                      <a:pt x="218" y="350"/>
                    </a:cubicBezTo>
                    <a:cubicBezTo>
                      <a:pt x="221" y="334"/>
                      <a:pt x="216" y="319"/>
                      <a:pt x="205" y="308"/>
                    </a:cubicBezTo>
                    <a:cubicBezTo>
                      <a:pt x="152" y="256"/>
                      <a:pt x="152" y="256"/>
                      <a:pt x="152" y="256"/>
                    </a:cubicBezTo>
                    <a:cubicBezTo>
                      <a:pt x="225" y="246"/>
                      <a:pt x="225" y="246"/>
                      <a:pt x="225" y="246"/>
                    </a:cubicBezTo>
                    <a:cubicBezTo>
                      <a:pt x="240" y="244"/>
                      <a:pt x="254" y="234"/>
                      <a:pt x="261" y="220"/>
                    </a:cubicBezTo>
                    <a:cubicBezTo>
                      <a:pt x="293" y="154"/>
                      <a:pt x="293" y="154"/>
                      <a:pt x="293" y="154"/>
                    </a:cubicBezTo>
                    <a:cubicBezTo>
                      <a:pt x="325" y="220"/>
                      <a:pt x="325" y="220"/>
                      <a:pt x="325" y="220"/>
                    </a:cubicBezTo>
                    <a:cubicBezTo>
                      <a:pt x="332" y="234"/>
                      <a:pt x="346" y="244"/>
                      <a:pt x="361" y="246"/>
                    </a:cubicBezTo>
                    <a:cubicBezTo>
                      <a:pt x="434" y="256"/>
                      <a:pt x="434" y="256"/>
                      <a:pt x="434" y="256"/>
                    </a:cubicBezTo>
                    <a:lnTo>
                      <a:pt x="381" y="308"/>
                    </a:lnTo>
                    <a:close/>
                  </a:path>
                </a:pathLst>
              </a:custGeom>
              <a:solidFill>
                <a:schemeClr val="bg1"/>
              </a:solidFill>
              <a:ln>
                <a:noFill/>
              </a:ln>
            </p:spPr>
            <p:txBody>
              <a:bodyPr vert="horz" wrap="square" lIns="182868" tIns="91434" rIns="182868" bIns="91434" numCol="1" anchor="t" anchorCtr="0" compatLnSpc="1">
                <a:prstTxWarp prst="textNoShape">
                  <a:avLst/>
                </a:prstTxWarp>
              </a:bodyPr>
              <a:lstStyle/>
              <a:p>
                <a:endParaRPr lang="en-US" sz="3600"/>
              </a:p>
            </p:txBody>
          </p:sp>
        </p:grpSp>
      </p:grpSp>
      <p:sp>
        <p:nvSpPr>
          <p:cNvPr id="19" name="Oval 18"/>
          <p:cNvSpPr/>
          <p:nvPr/>
        </p:nvSpPr>
        <p:spPr>
          <a:xfrm>
            <a:off x="957345" y="6064988"/>
            <a:ext cx="1764049" cy="176402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latin typeface="+mj-lt"/>
            </a:endParaRPr>
          </a:p>
        </p:txBody>
      </p:sp>
      <p:cxnSp>
        <p:nvCxnSpPr>
          <p:cNvPr id="18" name="Straight Connector 17"/>
          <p:cNvCxnSpPr>
            <a:cxnSpLocks/>
          </p:cNvCxnSpPr>
          <p:nvPr/>
        </p:nvCxnSpPr>
        <p:spPr>
          <a:xfrm>
            <a:off x="4840543" y="6947000"/>
            <a:ext cx="0" cy="375822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Oval 20"/>
          <p:cNvSpPr/>
          <p:nvPr/>
        </p:nvSpPr>
        <p:spPr>
          <a:xfrm>
            <a:off x="4643186" y="8996796"/>
            <a:ext cx="386257" cy="386257"/>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latin typeface="+mj-lt"/>
            </a:endParaRPr>
          </a:p>
        </p:txBody>
      </p:sp>
      <p:sp>
        <p:nvSpPr>
          <p:cNvPr id="22" name="Oval 21"/>
          <p:cNvSpPr/>
          <p:nvPr/>
        </p:nvSpPr>
        <p:spPr>
          <a:xfrm>
            <a:off x="4169585" y="6280273"/>
            <a:ext cx="1333455" cy="1333455"/>
          </a:xfrm>
          <a:prstGeom prst="ellipse">
            <a:avLst/>
          </a:prstGeom>
          <a:solidFill>
            <a:schemeClr val="accent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latin typeface="+mj-lt"/>
              </a:rPr>
              <a:t>2017</a:t>
            </a:r>
          </a:p>
        </p:txBody>
      </p:sp>
      <p:sp>
        <p:nvSpPr>
          <p:cNvPr id="23" name="Oval 22"/>
          <p:cNvSpPr/>
          <p:nvPr/>
        </p:nvSpPr>
        <p:spPr>
          <a:xfrm>
            <a:off x="4643186" y="10705224"/>
            <a:ext cx="386257" cy="386257"/>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latin typeface="+mj-lt"/>
            </a:endParaRPr>
          </a:p>
        </p:txBody>
      </p:sp>
      <p:grpSp>
        <p:nvGrpSpPr>
          <p:cNvPr id="28" name="Group 27"/>
          <p:cNvGrpSpPr/>
          <p:nvPr/>
        </p:nvGrpSpPr>
        <p:grpSpPr>
          <a:xfrm flipH="1">
            <a:off x="5059806" y="8495743"/>
            <a:ext cx="4256576" cy="1836848"/>
            <a:chOff x="2461769" y="2783244"/>
            <a:chExt cx="2487902" cy="1073608"/>
          </a:xfrm>
        </p:grpSpPr>
        <p:sp>
          <p:nvSpPr>
            <p:cNvPr id="29" name="TextBox 28"/>
            <p:cNvSpPr txBox="1"/>
            <p:nvPr/>
          </p:nvSpPr>
          <p:spPr>
            <a:xfrm>
              <a:off x="2461769" y="3101312"/>
              <a:ext cx="2376030" cy="755540"/>
            </a:xfrm>
            <a:prstGeom prst="rect">
              <a:avLst/>
            </a:prstGeom>
            <a:noFill/>
          </p:spPr>
          <p:txBody>
            <a:bodyPr wrap="square" lIns="0" tIns="0" rIns="0" bIns="0" rtlCol="0">
              <a:spAutoFit/>
            </a:bodyPr>
            <a:lstStyle/>
            <a:p>
              <a:r>
                <a:rPr lang="en-US" sz="2800" dirty="0" err="1"/>
                <a:t>Lorem</a:t>
              </a:r>
              <a:r>
                <a:rPr lang="en-US" sz="2800" dirty="0"/>
                <a:t> </a:t>
              </a:r>
              <a:r>
                <a:rPr lang="en-US" sz="2800" dirty="0" err="1"/>
                <a:t>ipsum</a:t>
              </a:r>
              <a:r>
                <a:rPr lang="en-US" sz="2800" dirty="0"/>
                <a:t>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p>
          </p:txBody>
        </p:sp>
        <p:sp>
          <p:nvSpPr>
            <p:cNvPr id="30" name="TextBox 29"/>
            <p:cNvSpPr txBox="1"/>
            <p:nvPr/>
          </p:nvSpPr>
          <p:spPr>
            <a:xfrm>
              <a:off x="3390619" y="2783244"/>
              <a:ext cx="1559052" cy="287825"/>
            </a:xfrm>
            <a:prstGeom prst="rect">
              <a:avLst/>
            </a:prstGeom>
            <a:noFill/>
          </p:spPr>
          <p:txBody>
            <a:bodyPr wrap="none" lIns="0" tIns="0" rIns="0" bIns="0" rtlCol="0">
              <a:spAutoFit/>
            </a:bodyPr>
            <a:lstStyle>
              <a:defPPr>
                <a:defRPr lang="en-US"/>
              </a:defPPr>
              <a:lvl1pPr algn="ctr">
                <a:defRPr sz="1600">
                  <a:solidFill>
                    <a:schemeClr val="bg1"/>
                  </a:solidFill>
                  <a:latin typeface="+mj-lt"/>
                </a:defRPr>
              </a:lvl1pPr>
            </a:lstStyle>
            <a:p>
              <a:r>
                <a:rPr lang="en-US" sz="3200" dirty="0">
                  <a:solidFill>
                    <a:schemeClr val="tx1"/>
                  </a:solidFill>
                </a:rPr>
                <a:t>REFINEMENT</a:t>
              </a:r>
            </a:p>
          </p:txBody>
        </p:sp>
      </p:grpSp>
      <p:sp>
        <p:nvSpPr>
          <p:cNvPr id="34" name="TextBox 33"/>
          <p:cNvSpPr txBox="1"/>
          <p:nvPr/>
        </p:nvSpPr>
        <p:spPr>
          <a:xfrm flipH="1">
            <a:off x="5251208" y="10476264"/>
            <a:ext cx="4065175" cy="1292662"/>
          </a:xfrm>
          <a:prstGeom prst="rect">
            <a:avLst/>
          </a:prstGeom>
          <a:noFill/>
        </p:spPr>
        <p:txBody>
          <a:bodyPr wrap="square" lIns="0" tIns="0" rIns="0" bIns="0" rtlCol="0">
            <a:spAutoFit/>
          </a:bodyPr>
          <a:lstStyle/>
          <a:p>
            <a:r>
              <a:rPr lang="en-US" sz="2800" dirty="0" err="1"/>
              <a:t>Lorem</a:t>
            </a:r>
            <a:r>
              <a:rPr lang="en-US" sz="2800" dirty="0"/>
              <a:t> </a:t>
            </a:r>
            <a:r>
              <a:rPr lang="en-US" sz="2800" dirty="0" err="1"/>
              <a:t>ipsum</a:t>
            </a:r>
            <a:r>
              <a:rPr lang="en-US" sz="2800" dirty="0"/>
              <a:t>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p>
        </p:txBody>
      </p:sp>
      <p:sp>
        <p:nvSpPr>
          <p:cNvPr id="81" name="Oval 80"/>
          <p:cNvSpPr/>
          <p:nvPr/>
        </p:nvSpPr>
        <p:spPr>
          <a:xfrm>
            <a:off x="7877618" y="3168709"/>
            <a:ext cx="386257" cy="386257"/>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latin typeface="+mj-lt"/>
            </a:endParaRPr>
          </a:p>
        </p:txBody>
      </p:sp>
      <p:sp>
        <p:nvSpPr>
          <p:cNvPr id="82" name="Oval 81"/>
          <p:cNvSpPr/>
          <p:nvPr/>
        </p:nvSpPr>
        <p:spPr>
          <a:xfrm>
            <a:off x="7877618" y="4605044"/>
            <a:ext cx="386257" cy="386257"/>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latin typeface="+mj-lt"/>
            </a:endParaRPr>
          </a:p>
        </p:txBody>
      </p:sp>
      <p:sp>
        <p:nvSpPr>
          <p:cNvPr id="85" name="TextBox 84"/>
          <p:cNvSpPr txBox="1"/>
          <p:nvPr/>
        </p:nvSpPr>
        <p:spPr>
          <a:xfrm flipH="1">
            <a:off x="8239938" y="2408879"/>
            <a:ext cx="3664464" cy="492443"/>
          </a:xfrm>
          <a:prstGeom prst="rect">
            <a:avLst/>
          </a:prstGeom>
          <a:noFill/>
        </p:spPr>
        <p:txBody>
          <a:bodyPr wrap="none" lIns="0" tIns="0" rIns="0" bIns="0" rtlCol="0">
            <a:spAutoFit/>
          </a:bodyPr>
          <a:lstStyle>
            <a:defPPr>
              <a:defRPr lang="en-US"/>
            </a:defPPr>
            <a:lvl1pPr algn="ctr">
              <a:defRPr sz="1600">
                <a:solidFill>
                  <a:schemeClr val="bg1"/>
                </a:solidFill>
                <a:latin typeface="+mj-lt"/>
              </a:defRPr>
            </a:lvl1pPr>
          </a:lstStyle>
          <a:p>
            <a:r>
              <a:rPr lang="en-US" sz="3200" dirty="0">
                <a:solidFill>
                  <a:schemeClr val="tx1"/>
                </a:solidFill>
              </a:rPr>
              <a:t>ESTABLISHMENTS</a:t>
            </a:r>
          </a:p>
        </p:txBody>
      </p:sp>
      <p:sp>
        <p:nvSpPr>
          <p:cNvPr id="86" name="TextBox 85"/>
          <p:cNvSpPr txBox="1"/>
          <p:nvPr/>
        </p:nvSpPr>
        <p:spPr>
          <a:xfrm flipH="1">
            <a:off x="8485639" y="4376085"/>
            <a:ext cx="4065175" cy="1292662"/>
          </a:xfrm>
          <a:prstGeom prst="rect">
            <a:avLst/>
          </a:prstGeom>
          <a:noFill/>
        </p:spPr>
        <p:txBody>
          <a:bodyPr wrap="square" lIns="0" tIns="0" rIns="0" bIns="0" rtlCol="0">
            <a:spAutoFit/>
          </a:bodyPr>
          <a:lstStyle/>
          <a:p>
            <a:r>
              <a:rPr lang="en-US" sz="2800" dirty="0" err="1"/>
              <a:t>Lorem</a:t>
            </a:r>
            <a:r>
              <a:rPr lang="en-US" sz="2800" dirty="0"/>
              <a:t> </a:t>
            </a:r>
            <a:r>
              <a:rPr lang="en-US" sz="2800" dirty="0" err="1"/>
              <a:t>ipsum</a:t>
            </a:r>
            <a:r>
              <a:rPr lang="en-US" sz="2800" dirty="0"/>
              <a:t>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p>
        </p:txBody>
      </p:sp>
      <p:sp>
        <p:nvSpPr>
          <p:cNvPr id="87" name="TextBox 86"/>
          <p:cNvSpPr txBox="1"/>
          <p:nvPr/>
        </p:nvSpPr>
        <p:spPr>
          <a:xfrm flipH="1">
            <a:off x="8485639" y="2939748"/>
            <a:ext cx="4065175" cy="1292662"/>
          </a:xfrm>
          <a:prstGeom prst="rect">
            <a:avLst/>
          </a:prstGeom>
          <a:noFill/>
        </p:spPr>
        <p:txBody>
          <a:bodyPr wrap="square" lIns="0" tIns="0" rIns="0" bIns="0" rtlCol="0">
            <a:spAutoFit/>
          </a:bodyPr>
          <a:lstStyle/>
          <a:p>
            <a:r>
              <a:rPr lang="en-US" sz="2800" dirty="0" err="1"/>
              <a:t>Lorem</a:t>
            </a:r>
            <a:r>
              <a:rPr lang="en-US" sz="2800" dirty="0"/>
              <a:t> </a:t>
            </a:r>
            <a:r>
              <a:rPr lang="en-US" sz="2800" dirty="0" err="1"/>
              <a:t>ipsum</a:t>
            </a:r>
            <a:r>
              <a:rPr lang="en-US" sz="2800" dirty="0"/>
              <a:t>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p>
        </p:txBody>
      </p:sp>
      <p:cxnSp>
        <p:nvCxnSpPr>
          <p:cNvPr id="88" name="Straight Connector 87"/>
          <p:cNvCxnSpPr>
            <a:cxnSpLocks/>
          </p:cNvCxnSpPr>
          <p:nvPr/>
        </p:nvCxnSpPr>
        <p:spPr>
          <a:xfrm>
            <a:off x="8064057" y="3383409"/>
            <a:ext cx="0" cy="348816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Oval 88"/>
          <p:cNvSpPr/>
          <p:nvPr/>
        </p:nvSpPr>
        <p:spPr>
          <a:xfrm>
            <a:off x="7397329" y="6280273"/>
            <a:ext cx="1333455" cy="1333455"/>
          </a:xfrm>
          <a:prstGeom prst="ellipse">
            <a:avLst/>
          </a:prstGeom>
          <a:solidFill>
            <a:schemeClr val="accent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latin typeface="+mj-lt"/>
              </a:rPr>
              <a:t>2018</a:t>
            </a:r>
          </a:p>
        </p:txBody>
      </p:sp>
      <p:cxnSp>
        <p:nvCxnSpPr>
          <p:cNvPr id="90" name="Straight Connector 89"/>
          <p:cNvCxnSpPr>
            <a:cxnSpLocks/>
          </p:cNvCxnSpPr>
          <p:nvPr/>
        </p:nvCxnSpPr>
        <p:spPr>
          <a:xfrm>
            <a:off x="11033216" y="6947000"/>
            <a:ext cx="0" cy="382925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91" name="Oval 90"/>
          <p:cNvSpPr/>
          <p:nvPr/>
        </p:nvSpPr>
        <p:spPr>
          <a:xfrm>
            <a:off x="10835859" y="8996796"/>
            <a:ext cx="386257" cy="386257"/>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latin typeface="+mj-lt"/>
            </a:endParaRPr>
          </a:p>
        </p:txBody>
      </p:sp>
      <p:sp>
        <p:nvSpPr>
          <p:cNvPr id="92" name="Oval 91"/>
          <p:cNvSpPr/>
          <p:nvPr/>
        </p:nvSpPr>
        <p:spPr>
          <a:xfrm>
            <a:off x="10362260" y="6280273"/>
            <a:ext cx="1333455" cy="1333455"/>
          </a:xfrm>
          <a:prstGeom prst="ellipse">
            <a:avLst/>
          </a:prstGeom>
          <a:solidFill>
            <a:schemeClr val="accent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latin typeface="+mj-lt"/>
              </a:rPr>
              <a:t>2019</a:t>
            </a:r>
          </a:p>
        </p:txBody>
      </p:sp>
      <p:sp>
        <p:nvSpPr>
          <p:cNvPr id="93" name="Oval 92"/>
          <p:cNvSpPr/>
          <p:nvPr/>
        </p:nvSpPr>
        <p:spPr>
          <a:xfrm>
            <a:off x="10835859" y="10705224"/>
            <a:ext cx="386257" cy="386257"/>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latin typeface="+mj-lt"/>
            </a:endParaRPr>
          </a:p>
        </p:txBody>
      </p:sp>
      <p:grpSp>
        <p:nvGrpSpPr>
          <p:cNvPr id="95" name="Group 94"/>
          <p:cNvGrpSpPr/>
          <p:nvPr/>
        </p:nvGrpSpPr>
        <p:grpSpPr>
          <a:xfrm flipH="1">
            <a:off x="11388736" y="8495743"/>
            <a:ext cx="4120321" cy="1836848"/>
            <a:chOff x="2461769" y="2783244"/>
            <a:chExt cx="2408264" cy="1073608"/>
          </a:xfrm>
        </p:grpSpPr>
        <p:sp>
          <p:nvSpPr>
            <p:cNvPr id="96" name="TextBox 95"/>
            <p:cNvSpPr txBox="1"/>
            <p:nvPr/>
          </p:nvSpPr>
          <p:spPr>
            <a:xfrm>
              <a:off x="2461769" y="3101312"/>
              <a:ext cx="2376031" cy="755540"/>
            </a:xfrm>
            <a:prstGeom prst="rect">
              <a:avLst/>
            </a:prstGeom>
            <a:noFill/>
          </p:spPr>
          <p:txBody>
            <a:bodyPr wrap="square" lIns="0" tIns="0" rIns="0" bIns="0" rtlCol="0">
              <a:spAutoFit/>
            </a:bodyPr>
            <a:lstStyle/>
            <a:p>
              <a:r>
                <a:rPr lang="en-US" sz="2800" dirty="0" err="1"/>
                <a:t>Lorem</a:t>
              </a:r>
              <a:r>
                <a:rPr lang="en-US" sz="2800" dirty="0"/>
                <a:t> </a:t>
              </a:r>
              <a:r>
                <a:rPr lang="en-US" sz="2800" dirty="0" err="1"/>
                <a:t>ipsum</a:t>
              </a:r>
              <a:r>
                <a:rPr lang="en-US" sz="2800" dirty="0"/>
                <a:t>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p>
          </p:txBody>
        </p:sp>
        <p:sp>
          <p:nvSpPr>
            <p:cNvPr id="97" name="TextBox 96"/>
            <p:cNvSpPr txBox="1"/>
            <p:nvPr/>
          </p:nvSpPr>
          <p:spPr>
            <a:xfrm>
              <a:off x="3470259" y="2783244"/>
              <a:ext cx="1399774" cy="287825"/>
            </a:xfrm>
            <a:prstGeom prst="rect">
              <a:avLst/>
            </a:prstGeom>
            <a:noFill/>
          </p:spPr>
          <p:txBody>
            <a:bodyPr wrap="none" lIns="0" tIns="0" rIns="0" bIns="0" rtlCol="0">
              <a:spAutoFit/>
            </a:bodyPr>
            <a:lstStyle>
              <a:defPPr>
                <a:defRPr lang="en-US"/>
              </a:defPPr>
              <a:lvl1pPr algn="ctr">
                <a:defRPr sz="1600">
                  <a:solidFill>
                    <a:schemeClr val="bg1"/>
                  </a:solidFill>
                  <a:latin typeface="+mj-lt"/>
                </a:defRPr>
              </a:lvl1pPr>
            </a:lstStyle>
            <a:p>
              <a:r>
                <a:rPr lang="en-US" sz="3200" dirty="0">
                  <a:solidFill>
                    <a:schemeClr val="tx1"/>
                  </a:solidFill>
                </a:rPr>
                <a:t>EXECUTING</a:t>
              </a:r>
            </a:p>
          </p:txBody>
        </p:sp>
      </p:grpSp>
      <p:sp>
        <p:nvSpPr>
          <p:cNvPr id="99" name="TextBox 98"/>
          <p:cNvSpPr txBox="1"/>
          <p:nvPr/>
        </p:nvSpPr>
        <p:spPr>
          <a:xfrm flipH="1">
            <a:off x="11443881" y="10476264"/>
            <a:ext cx="4065175" cy="1292662"/>
          </a:xfrm>
          <a:prstGeom prst="rect">
            <a:avLst/>
          </a:prstGeom>
          <a:noFill/>
        </p:spPr>
        <p:txBody>
          <a:bodyPr wrap="square" lIns="0" tIns="0" rIns="0" bIns="0" rtlCol="0">
            <a:spAutoFit/>
          </a:bodyPr>
          <a:lstStyle/>
          <a:p>
            <a:r>
              <a:rPr lang="en-US" sz="2800" dirty="0" err="1"/>
              <a:t>Lorem</a:t>
            </a:r>
            <a:r>
              <a:rPr lang="en-US" sz="2800" dirty="0"/>
              <a:t> </a:t>
            </a:r>
            <a:r>
              <a:rPr lang="en-US" sz="2800" dirty="0" err="1"/>
              <a:t>ipsum</a:t>
            </a:r>
            <a:r>
              <a:rPr lang="en-US" sz="2800" dirty="0"/>
              <a:t>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p>
        </p:txBody>
      </p:sp>
      <p:sp>
        <p:nvSpPr>
          <p:cNvPr id="101" name="Oval 100"/>
          <p:cNvSpPr/>
          <p:nvPr/>
        </p:nvSpPr>
        <p:spPr>
          <a:xfrm>
            <a:off x="14070293" y="3168709"/>
            <a:ext cx="386257" cy="386257"/>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latin typeface="+mj-lt"/>
            </a:endParaRPr>
          </a:p>
        </p:txBody>
      </p:sp>
      <p:sp>
        <p:nvSpPr>
          <p:cNvPr id="102" name="Oval 101"/>
          <p:cNvSpPr/>
          <p:nvPr/>
        </p:nvSpPr>
        <p:spPr>
          <a:xfrm>
            <a:off x="14070293" y="4605044"/>
            <a:ext cx="386257" cy="386257"/>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latin typeface="+mj-lt"/>
            </a:endParaRPr>
          </a:p>
        </p:txBody>
      </p:sp>
      <p:sp>
        <p:nvSpPr>
          <p:cNvPr id="105" name="TextBox 104"/>
          <p:cNvSpPr txBox="1"/>
          <p:nvPr/>
        </p:nvSpPr>
        <p:spPr>
          <a:xfrm flipH="1">
            <a:off x="14506771" y="2408879"/>
            <a:ext cx="4408258" cy="492443"/>
          </a:xfrm>
          <a:prstGeom prst="rect">
            <a:avLst/>
          </a:prstGeom>
          <a:noFill/>
        </p:spPr>
        <p:txBody>
          <a:bodyPr wrap="none" lIns="0" tIns="0" rIns="0" bIns="0" rtlCol="0">
            <a:spAutoFit/>
          </a:bodyPr>
          <a:lstStyle>
            <a:defPPr>
              <a:defRPr lang="en-US"/>
            </a:defPPr>
            <a:lvl1pPr algn="ctr">
              <a:defRPr sz="1600">
                <a:solidFill>
                  <a:schemeClr val="bg1"/>
                </a:solidFill>
                <a:latin typeface="+mj-lt"/>
              </a:defRPr>
            </a:lvl1pPr>
          </a:lstStyle>
          <a:p>
            <a:r>
              <a:rPr lang="en-US" sz="3200" dirty="0">
                <a:solidFill>
                  <a:schemeClr val="tx1"/>
                </a:solidFill>
              </a:rPr>
              <a:t>INCOMING PAYMENTS</a:t>
            </a:r>
          </a:p>
        </p:txBody>
      </p:sp>
      <p:sp>
        <p:nvSpPr>
          <p:cNvPr id="106" name="TextBox 105"/>
          <p:cNvSpPr txBox="1"/>
          <p:nvPr/>
        </p:nvSpPr>
        <p:spPr>
          <a:xfrm flipH="1">
            <a:off x="14678314" y="4376085"/>
            <a:ext cx="4065175" cy="1292662"/>
          </a:xfrm>
          <a:prstGeom prst="rect">
            <a:avLst/>
          </a:prstGeom>
          <a:noFill/>
        </p:spPr>
        <p:txBody>
          <a:bodyPr wrap="square" lIns="0" tIns="0" rIns="0" bIns="0" rtlCol="0">
            <a:spAutoFit/>
          </a:bodyPr>
          <a:lstStyle/>
          <a:p>
            <a:r>
              <a:rPr lang="en-US" sz="2800" dirty="0" err="1"/>
              <a:t>Lorem</a:t>
            </a:r>
            <a:r>
              <a:rPr lang="en-US" sz="2800" dirty="0"/>
              <a:t> </a:t>
            </a:r>
            <a:r>
              <a:rPr lang="en-US" sz="2800" dirty="0" err="1"/>
              <a:t>ipsum</a:t>
            </a:r>
            <a:r>
              <a:rPr lang="en-US" sz="2800" dirty="0"/>
              <a:t>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p>
        </p:txBody>
      </p:sp>
      <p:sp>
        <p:nvSpPr>
          <p:cNvPr id="107" name="TextBox 106"/>
          <p:cNvSpPr txBox="1"/>
          <p:nvPr/>
        </p:nvSpPr>
        <p:spPr>
          <a:xfrm flipH="1">
            <a:off x="14678314" y="2939748"/>
            <a:ext cx="4065175" cy="1292662"/>
          </a:xfrm>
          <a:prstGeom prst="rect">
            <a:avLst/>
          </a:prstGeom>
          <a:noFill/>
        </p:spPr>
        <p:txBody>
          <a:bodyPr wrap="square" lIns="0" tIns="0" rIns="0" bIns="0" rtlCol="0">
            <a:spAutoFit/>
          </a:bodyPr>
          <a:lstStyle/>
          <a:p>
            <a:r>
              <a:rPr lang="en-US" sz="2800" dirty="0" err="1"/>
              <a:t>Lorem</a:t>
            </a:r>
            <a:r>
              <a:rPr lang="en-US" sz="2800" dirty="0"/>
              <a:t> </a:t>
            </a:r>
            <a:r>
              <a:rPr lang="en-US" sz="2800" dirty="0" err="1"/>
              <a:t>ipsum</a:t>
            </a:r>
            <a:r>
              <a:rPr lang="en-US" sz="2800" dirty="0"/>
              <a:t>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p>
        </p:txBody>
      </p:sp>
      <p:cxnSp>
        <p:nvCxnSpPr>
          <p:cNvPr id="108" name="Straight Connector 107"/>
          <p:cNvCxnSpPr>
            <a:cxnSpLocks/>
          </p:cNvCxnSpPr>
          <p:nvPr/>
        </p:nvCxnSpPr>
        <p:spPr>
          <a:xfrm>
            <a:off x="14256729" y="3383409"/>
            <a:ext cx="0" cy="348816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09" name="Oval 108"/>
          <p:cNvSpPr/>
          <p:nvPr/>
        </p:nvSpPr>
        <p:spPr>
          <a:xfrm>
            <a:off x="13590004" y="6280273"/>
            <a:ext cx="1333455" cy="1333455"/>
          </a:xfrm>
          <a:prstGeom prst="ellipse">
            <a:avLst/>
          </a:prstGeom>
          <a:solidFill>
            <a:schemeClr val="accent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latin typeface="+mj-lt"/>
              </a:rPr>
              <a:t>2020</a:t>
            </a:r>
          </a:p>
        </p:txBody>
      </p:sp>
      <p:cxnSp>
        <p:nvCxnSpPr>
          <p:cNvPr id="110" name="Straight Connector 109"/>
          <p:cNvCxnSpPr>
            <a:cxnSpLocks/>
          </p:cNvCxnSpPr>
          <p:nvPr/>
        </p:nvCxnSpPr>
        <p:spPr>
          <a:xfrm>
            <a:off x="17315045" y="6947000"/>
            <a:ext cx="0" cy="382925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1" name="Oval 110"/>
          <p:cNvSpPr/>
          <p:nvPr/>
        </p:nvSpPr>
        <p:spPr>
          <a:xfrm>
            <a:off x="17117688" y="8996796"/>
            <a:ext cx="386257" cy="386257"/>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latin typeface="+mj-lt"/>
            </a:endParaRPr>
          </a:p>
        </p:txBody>
      </p:sp>
      <p:sp>
        <p:nvSpPr>
          <p:cNvPr id="112" name="Oval 111"/>
          <p:cNvSpPr/>
          <p:nvPr/>
        </p:nvSpPr>
        <p:spPr>
          <a:xfrm>
            <a:off x="16644089" y="6280273"/>
            <a:ext cx="1333455" cy="1333455"/>
          </a:xfrm>
          <a:prstGeom prst="ellipse">
            <a:avLst/>
          </a:prstGeom>
          <a:solidFill>
            <a:schemeClr val="accent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latin typeface="+mj-lt"/>
              </a:rPr>
              <a:t>2021</a:t>
            </a:r>
          </a:p>
        </p:txBody>
      </p:sp>
      <p:sp>
        <p:nvSpPr>
          <p:cNvPr id="113" name="Oval 112"/>
          <p:cNvSpPr/>
          <p:nvPr/>
        </p:nvSpPr>
        <p:spPr>
          <a:xfrm>
            <a:off x="17117688" y="10705224"/>
            <a:ext cx="386257" cy="386257"/>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latin typeface="+mj-lt"/>
            </a:endParaRPr>
          </a:p>
        </p:txBody>
      </p:sp>
      <p:grpSp>
        <p:nvGrpSpPr>
          <p:cNvPr id="115" name="Group 114"/>
          <p:cNvGrpSpPr/>
          <p:nvPr/>
        </p:nvGrpSpPr>
        <p:grpSpPr>
          <a:xfrm flipH="1">
            <a:off x="17472747" y="8495743"/>
            <a:ext cx="4464363" cy="1836848"/>
            <a:chOff x="2376301" y="2783244"/>
            <a:chExt cx="2609347" cy="1073608"/>
          </a:xfrm>
        </p:grpSpPr>
        <p:sp>
          <p:nvSpPr>
            <p:cNvPr id="116" name="TextBox 115"/>
            <p:cNvSpPr txBox="1"/>
            <p:nvPr/>
          </p:nvSpPr>
          <p:spPr>
            <a:xfrm>
              <a:off x="2461769" y="3101312"/>
              <a:ext cx="2376031" cy="755540"/>
            </a:xfrm>
            <a:prstGeom prst="rect">
              <a:avLst/>
            </a:prstGeom>
            <a:noFill/>
          </p:spPr>
          <p:txBody>
            <a:bodyPr wrap="square" lIns="0" tIns="0" rIns="0" bIns="0" rtlCol="0">
              <a:spAutoFit/>
            </a:bodyPr>
            <a:lstStyle/>
            <a:p>
              <a:r>
                <a:rPr lang="en-US" sz="2800" dirty="0" err="1"/>
                <a:t>Lorem</a:t>
              </a:r>
              <a:r>
                <a:rPr lang="en-US" sz="2800" dirty="0"/>
                <a:t> </a:t>
              </a:r>
              <a:r>
                <a:rPr lang="en-US" sz="2800" dirty="0" err="1"/>
                <a:t>ipsum</a:t>
              </a:r>
              <a:r>
                <a:rPr lang="en-US" sz="2800" dirty="0"/>
                <a:t>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p>
          </p:txBody>
        </p:sp>
        <p:sp>
          <p:nvSpPr>
            <p:cNvPr id="117" name="TextBox 116"/>
            <p:cNvSpPr txBox="1"/>
            <p:nvPr/>
          </p:nvSpPr>
          <p:spPr>
            <a:xfrm>
              <a:off x="2376301" y="2783244"/>
              <a:ext cx="2609347" cy="287825"/>
            </a:xfrm>
            <a:prstGeom prst="rect">
              <a:avLst/>
            </a:prstGeom>
            <a:noFill/>
          </p:spPr>
          <p:txBody>
            <a:bodyPr wrap="none" lIns="0" tIns="0" rIns="0" bIns="0" rtlCol="0">
              <a:spAutoFit/>
            </a:bodyPr>
            <a:lstStyle>
              <a:defPPr>
                <a:defRPr lang="en-US"/>
              </a:defPPr>
              <a:lvl1pPr algn="ctr">
                <a:defRPr sz="1600">
                  <a:solidFill>
                    <a:schemeClr val="bg1"/>
                  </a:solidFill>
                  <a:latin typeface="+mj-lt"/>
                </a:defRPr>
              </a:lvl1pPr>
            </a:lstStyle>
            <a:p>
              <a:r>
                <a:rPr lang="en-US" sz="3200" dirty="0">
                  <a:solidFill>
                    <a:schemeClr val="tx1"/>
                  </a:solidFill>
                </a:rPr>
                <a:t>COMPANY’S SURPLUS</a:t>
              </a:r>
            </a:p>
          </p:txBody>
        </p:sp>
      </p:grpSp>
      <p:sp>
        <p:nvSpPr>
          <p:cNvPr id="119" name="TextBox 118"/>
          <p:cNvSpPr txBox="1"/>
          <p:nvPr/>
        </p:nvSpPr>
        <p:spPr>
          <a:xfrm flipH="1">
            <a:off x="17725710" y="10476264"/>
            <a:ext cx="4065175" cy="1292662"/>
          </a:xfrm>
          <a:prstGeom prst="rect">
            <a:avLst/>
          </a:prstGeom>
          <a:noFill/>
        </p:spPr>
        <p:txBody>
          <a:bodyPr wrap="square" lIns="0" tIns="0" rIns="0" bIns="0" rtlCol="0">
            <a:spAutoFit/>
          </a:bodyPr>
          <a:lstStyle/>
          <a:p>
            <a:r>
              <a:rPr lang="en-US" sz="2800" dirty="0" err="1"/>
              <a:t>Lorem</a:t>
            </a:r>
            <a:r>
              <a:rPr lang="en-US" sz="2800" dirty="0"/>
              <a:t> </a:t>
            </a:r>
            <a:r>
              <a:rPr lang="en-US" sz="2800" dirty="0" err="1"/>
              <a:t>ipsum</a:t>
            </a:r>
            <a:r>
              <a:rPr lang="en-US" sz="2800" dirty="0"/>
              <a:t> dolor sit </a:t>
            </a:r>
            <a:r>
              <a:rPr lang="en-US" sz="2800" dirty="0" err="1"/>
              <a:t>amet</a:t>
            </a:r>
            <a:r>
              <a:rPr lang="en-US" sz="2800" dirty="0"/>
              <a:t>, </a:t>
            </a:r>
            <a:r>
              <a:rPr lang="en-US" sz="2800" dirty="0" err="1"/>
              <a:t>consectetur</a:t>
            </a:r>
            <a:r>
              <a:rPr lang="en-US" sz="2800" dirty="0"/>
              <a:t> </a:t>
            </a:r>
            <a:r>
              <a:rPr lang="en-US" sz="2800" dirty="0" err="1"/>
              <a:t>adipiscing</a:t>
            </a:r>
            <a:r>
              <a:rPr lang="en-US" sz="2800" dirty="0"/>
              <a:t> </a:t>
            </a:r>
            <a:r>
              <a:rPr lang="en-US" sz="2800" dirty="0" err="1"/>
              <a:t>elit</a:t>
            </a:r>
            <a:r>
              <a:rPr lang="en-US" sz="2800" dirty="0"/>
              <a:t>. </a:t>
            </a:r>
          </a:p>
        </p:txBody>
      </p:sp>
      <p:sp>
        <p:nvSpPr>
          <p:cNvPr id="3" name="Title 2">
            <a:extLst>
              <a:ext uri="{FF2B5EF4-FFF2-40B4-BE49-F238E27FC236}">
                <a16:creationId xmlns:a16="http://schemas.microsoft.com/office/drawing/2014/main" id="{427C60AA-274E-BB42-8C71-3CE3BAF879CE}"/>
              </a:ext>
            </a:extLst>
          </p:cNvPr>
          <p:cNvSpPr>
            <a:spLocks noGrp="1"/>
          </p:cNvSpPr>
          <p:nvPr>
            <p:ph type="title"/>
          </p:nvPr>
        </p:nvSpPr>
        <p:spPr/>
        <p:txBody>
          <a:bodyPr/>
          <a:lstStyle/>
          <a:p>
            <a:r>
              <a:rPr lang="en-US" dirty="0"/>
              <a:t>Process/timeline</a:t>
            </a:r>
          </a:p>
        </p:txBody>
      </p:sp>
    </p:spTree>
    <p:extLst>
      <p:ext uri="{BB962C8B-B14F-4D97-AF65-F5344CB8AC3E}">
        <p14:creationId xmlns:p14="http://schemas.microsoft.com/office/powerpoint/2010/main" val="318725782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8049A252-E9DD-489A-9239-831B3BD33C8F}"/>
              </a:ext>
            </a:extLst>
          </p:cNvPr>
          <p:cNvSpPr/>
          <p:nvPr/>
        </p:nvSpPr>
        <p:spPr>
          <a:xfrm>
            <a:off x="14692942" y="6997176"/>
            <a:ext cx="9689469" cy="4313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6" name="Rectangle 15">
            <a:extLst>
              <a:ext uri="{FF2B5EF4-FFF2-40B4-BE49-F238E27FC236}">
                <a16:creationId xmlns:a16="http://schemas.microsoft.com/office/drawing/2014/main" id="{B925F013-F3BA-47CD-93A9-5C232228D709}"/>
              </a:ext>
            </a:extLst>
          </p:cNvPr>
          <p:cNvSpPr/>
          <p:nvPr/>
        </p:nvSpPr>
        <p:spPr>
          <a:xfrm>
            <a:off x="9676771" y="6997176"/>
            <a:ext cx="4997233" cy="431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4" name="Rectangle 13">
            <a:extLst>
              <a:ext uri="{FF2B5EF4-FFF2-40B4-BE49-F238E27FC236}">
                <a16:creationId xmlns:a16="http://schemas.microsoft.com/office/drawing/2014/main" id="{082509CC-7CC4-4E16-BE35-C0D615E7DF80}"/>
              </a:ext>
            </a:extLst>
          </p:cNvPr>
          <p:cNvSpPr/>
          <p:nvPr/>
        </p:nvSpPr>
        <p:spPr>
          <a:xfrm>
            <a:off x="4660600" y="6997176"/>
            <a:ext cx="5016171" cy="4313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5" name="Rectangle 4">
            <a:extLst>
              <a:ext uri="{FF2B5EF4-FFF2-40B4-BE49-F238E27FC236}">
                <a16:creationId xmlns:a16="http://schemas.microsoft.com/office/drawing/2014/main" id="{C76A5FFF-05E4-484C-94D6-9A1754C99B85}"/>
              </a:ext>
            </a:extLst>
          </p:cNvPr>
          <p:cNvSpPr/>
          <p:nvPr/>
        </p:nvSpPr>
        <p:spPr>
          <a:xfrm>
            <a:off x="2" y="6997176"/>
            <a:ext cx="4660597" cy="4313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0" name="Circle: Hollow 19">
            <a:extLst>
              <a:ext uri="{FF2B5EF4-FFF2-40B4-BE49-F238E27FC236}">
                <a16:creationId xmlns:a16="http://schemas.microsoft.com/office/drawing/2014/main" id="{0BE67B5A-7FDB-4D3F-B825-15C452F796C5}"/>
              </a:ext>
            </a:extLst>
          </p:cNvPr>
          <p:cNvSpPr/>
          <p:nvPr/>
        </p:nvSpPr>
        <p:spPr>
          <a:xfrm>
            <a:off x="17920014" y="3836871"/>
            <a:ext cx="3591644" cy="3591642"/>
          </a:xfrm>
          <a:prstGeom prst="donut">
            <a:avLst>
              <a:gd name="adj" fmla="val 12497"/>
            </a:avLst>
          </a:prstGeom>
          <a:solidFill>
            <a:schemeClr val="accent4"/>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schemeClr val="tx1"/>
              </a:solidFill>
            </a:endParaRPr>
          </a:p>
        </p:txBody>
      </p:sp>
      <p:sp>
        <p:nvSpPr>
          <p:cNvPr id="17" name="Circle: Hollow 16">
            <a:extLst>
              <a:ext uri="{FF2B5EF4-FFF2-40B4-BE49-F238E27FC236}">
                <a16:creationId xmlns:a16="http://schemas.microsoft.com/office/drawing/2014/main" id="{CEE43BAB-0ECF-4F01-A4CD-40FFDFAA5FE0}"/>
              </a:ext>
            </a:extLst>
          </p:cNvPr>
          <p:cNvSpPr/>
          <p:nvPr/>
        </p:nvSpPr>
        <p:spPr>
          <a:xfrm>
            <a:off x="12903595" y="3836871"/>
            <a:ext cx="3591644" cy="3591642"/>
          </a:xfrm>
          <a:prstGeom prst="donut">
            <a:avLst>
              <a:gd name="adj" fmla="val 12497"/>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schemeClr val="tx1"/>
              </a:solidFill>
            </a:endParaRPr>
          </a:p>
        </p:txBody>
      </p:sp>
      <p:sp>
        <p:nvSpPr>
          <p:cNvPr id="15" name="Circle: Hollow 14">
            <a:extLst>
              <a:ext uri="{FF2B5EF4-FFF2-40B4-BE49-F238E27FC236}">
                <a16:creationId xmlns:a16="http://schemas.microsoft.com/office/drawing/2014/main" id="{0FBD76AA-9FE8-45A6-9CDC-720E279CA43E}"/>
              </a:ext>
            </a:extLst>
          </p:cNvPr>
          <p:cNvSpPr/>
          <p:nvPr/>
        </p:nvSpPr>
        <p:spPr>
          <a:xfrm>
            <a:off x="7887175" y="3836871"/>
            <a:ext cx="3591644" cy="3591642"/>
          </a:xfrm>
          <a:prstGeom prst="donut">
            <a:avLst>
              <a:gd name="adj" fmla="val 12497"/>
            </a:avLst>
          </a:prstGeom>
          <a:solidFill>
            <a:schemeClr val="accent5"/>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schemeClr val="tx1"/>
              </a:solidFill>
            </a:endParaRPr>
          </a:p>
        </p:txBody>
      </p:sp>
      <p:sp>
        <p:nvSpPr>
          <p:cNvPr id="4" name="Circle: Hollow 3">
            <a:extLst>
              <a:ext uri="{FF2B5EF4-FFF2-40B4-BE49-F238E27FC236}">
                <a16:creationId xmlns:a16="http://schemas.microsoft.com/office/drawing/2014/main" id="{B5631EEF-80EF-4AC3-B20D-C081126F6966}"/>
              </a:ext>
            </a:extLst>
          </p:cNvPr>
          <p:cNvSpPr/>
          <p:nvPr/>
        </p:nvSpPr>
        <p:spPr>
          <a:xfrm>
            <a:off x="2870756" y="3836871"/>
            <a:ext cx="3591644" cy="3591642"/>
          </a:xfrm>
          <a:prstGeom prst="donut">
            <a:avLst>
              <a:gd name="adj" fmla="val 12497"/>
            </a:avLst>
          </a:prstGeom>
          <a:solidFill>
            <a:schemeClr val="accent3"/>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schemeClr val="tx1"/>
              </a:solidFill>
            </a:endParaRPr>
          </a:p>
        </p:txBody>
      </p:sp>
      <p:sp>
        <p:nvSpPr>
          <p:cNvPr id="9" name="Isosceles Triangle 8">
            <a:extLst>
              <a:ext uri="{FF2B5EF4-FFF2-40B4-BE49-F238E27FC236}">
                <a16:creationId xmlns:a16="http://schemas.microsoft.com/office/drawing/2014/main" id="{2671D3F2-F1F4-42AA-9CB7-735FE6F2D76B}"/>
              </a:ext>
            </a:extLst>
          </p:cNvPr>
          <p:cNvSpPr/>
          <p:nvPr/>
        </p:nvSpPr>
        <p:spPr>
          <a:xfrm flipV="1">
            <a:off x="4444712" y="7834656"/>
            <a:ext cx="431772" cy="372216"/>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3" name="Isosceles Triangle 22">
            <a:extLst>
              <a:ext uri="{FF2B5EF4-FFF2-40B4-BE49-F238E27FC236}">
                <a16:creationId xmlns:a16="http://schemas.microsoft.com/office/drawing/2014/main" id="{840C1ABB-E2C4-46AC-B613-4BF3F34F2C77}"/>
              </a:ext>
            </a:extLst>
          </p:cNvPr>
          <p:cNvSpPr/>
          <p:nvPr/>
        </p:nvSpPr>
        <p:spPr>
          <a:xfrm flipV="1">
            <a:off x="9460884" y="7834656"/>
            <a:ext cx="431772" cy="37221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4" name="Isosceles Triangle 23">
            <a:extLst>
              <a:ext uri="{FF2B5EF4-FFF2-40B4-BE49-F238E27FC236}">
                <a16:creationId xmlns:a16="http://schemas.microsoft.com/office/drawing/2014/main" id="{2CFEEF99-94BA-436B-9AAD-017243536925}"/>
              </a:ext>
            </a:extLst>
          </p:cNvPr>
          <p:cNvSpPr/>
          <p:nvPr/>
        </p:nvSpPr>
        <p:spPr>
          <a:xfrm flipV="1">
            <a:off x="14489760" y="7834656"/>
            <a:ext cx="431772" cy="372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5" name="Isosceles Triangle 24">
            <a:extLst>
              <a:ext uri="{FF2B5EF4-FFF2-40B4-BE49-F238E27FC236}">
                <a16:creationId xmlns:a16="http://schemas.microsoft.com/office/drawing/2014/main" id="{408D5525-B47C-45BD-8C93-257F30BBDE78}"/>
              </a:ext>
            </a:extLst>
          </p:cNvPr>
          <p:cNvSpPr/>
          <p:nvPr/>
        </p:nvSpPr>
        <p:spPr>
          <a:xfrm flipV="1">
            <a:off x="19499948" y="7834656"/>
            <a:ext cx="431772" cy="372216"/>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6" name="TextBox 25">
            <a:extLst>
              <a:ext uri="{FF2B5EF4-FFF2-40B4-BE49-F238E27FC236}">
                <a16:creationId xmlns:a16="http://schemas.microsoft.com/office/drawing/2014/main" id="{9759C07B-3868-4894-8AED-31C64FE67C52}"/>
              </a:ext>
            </a:extLst>
          </p:cNvPr>
          <p:cNvSpPr txBox="1"/>
          <p:nvPr/>
        </p:nvSpPr>
        <p:spPr>
          <a:xfrm>
            <a:off x="2870755" y="8546820"/>
            <a:ext cx="3579687" cy="3447098"/>
          </a:xfrm>
          <a:prstGeom prst="rect">
            <a:avLst/>
          </a:prstGeom>
          <a:noFill/>
          <a:ln>
            <a:noFill/>
          </a:ln>
        </p:spPr>
        <p:txBody>
          <a:bodyPr wrap="square" lIns="0" tIns="0" rIns="0" bIns="0" rtlCol="0" anchor="t">
            <a:spAutoFit/>
          </a:bodyPr>
          <a:lstStyle/>
          <a:p>
            <a:pPr>
              <a:buClr>
                <a:schemeClr val="accent1"/>
              </a:buClr>
            </a:pPr>
            <a:r>
              <a:rPr lang="en-US" sz="2800" dirty="0">
                <a:solidFill>
                  <a:schemeClr val="tx1">
                    <a:lumMod val="75000"/>
                    <a:lumOff val="25000"/>
                  </a:schemeClr>
                </a:solidFill>
              </a:rPr>
              <a:t>Lorem ipsum dolor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consectetur</a:t>
            </a:r>
            <a:r>
              <a:rPr lang="en-US" sz="2800" dirty="0">
                <a:solidFill>
                  <a:schemeClr val="tx1">
                    <a:lumMod val="75000"/>
                    <a:lumOff val="25000"/>
                  </a:schemeClr>
                </a:solidFill>
              </a:rPr>
              <a:t> </a:t>
            </a:r>
            <a:r>
              <a:rPr lang="en-US" sz="2800" dirty="0" err="1">
                <a:solidFill>
                  <a:schemeClr val="tx1">
                    <a:lumMod val="75000"/>
                    <a:lumOff val="25000"/>
                  </a:schemeClr>
                </a:solidFill>
              </a:rPr>
              <a:t>adipiscing</a:t>
            </a:r>
            <a:r>
              <a:rPr lang="en-US" sz="2800" dirty="0">
                <a:solidFill>
                  <a:schemeClr val="tx1">
                    <a:lumMod val="75000"/>
                    <a:lumOff val="25000"/>
                  </a:schemeClr>
                </a:solidFill>
              </a:rPr>
              <a:t> </a:t>
            </a:r>
            <a:r>
              <a:rPr lang="en-US" sz="2800" dirty="0" err="1">
                <a:solidFill>
                  <a:schemeClr val="tx1">
                    <a:lumMod val="75000"/>
                    <a:lumOff val="25000"/>
                  </a:schemeClr>
                </a:solidFill>
              </a:rPr>
              <a:t>elit</a:t>
            </a:r>
            <a:r>
              <a:rPr lang="en-US" sz="2800" dirty="0">
                <a:solidFill>
                  <a:schemeClr val="tx1">
                    <a:lumMod val="75000"/>
                    <a:lumOff val="25000"/>
                  </a:schemeClr>
                </a:solidFill>
              </a:rPr>
              <a:t>. </a:t>
            </a:r>
            <a:r>
              <a:rPr lang="en-US" sz="2800" dirty="0" err="1">
                <a:solidFill>
                  <a:schemeClr val="tx1">
                    <a:lumMod val="75000"/>
                    <a:lumOff val="25000"/>
                  </a:schemeClr>
                </a:solidFill>
              </a:rPr>
              <a:t>Aliquam</a:t>
            </a:r>
            <a:r>
              <a:rPr lang="en-US" sz="2800" dirty="0">
                <a:solidFill>
                  <a:schemeClr val="tx1">
                    <a:lumMod val="75000"/>
                    <a:lumOff val="25000"/>
                  </a:schemeClr>
                </a:solidFill>
              </a:rPr>
              <a:t> </a:t>
            </a:r>
            <a:r>
              <a:rPr lang="en-US" sz="2800" dirty="0" err="1">
                <a:solidFill>
                  <a:schemeClr val="tx1">
                    <a:lumMod val="75000"/>
                    <a:lumOff val="25000"/>
                  </a:schemeClr>
                </a:solidFill>
              </a:rPr>
              <a:t>eu</a:t>
            </a:r>
            <a:r>
              <a:rPr lang="en-US" sz="2800" dirty="0">
                <a:solidFill>
                  <a:schemeClr val="tx1">
                    <a:lumMod val="75000"/>
                    <a:lumOff val="25000"/>
                  </a:schemeClr>
                </a:solidFill>
              </a:rPr>
              <a:t> </a:t>
            </a:r>
            <a:r>
              <a:rPr lang="en-US" sz="2800" dirty="0" err="1">
                <a:solidFill>
                  <a:schemeClr val="tx1">
                    <a:lumMod val="75000"/>
                    <a:lumOff val="25000"/>
                  </a:schemeClr>
                </a:solidFill>
              </a:rPr>
              <a:t>lobortis</a:t>
            </a:r>
            <a:r>
              <a:rPr lang="en-US" sz="2800" dirty="0">
                <a:solidFill>
                  <a:schemeClr val="tx1">
                    <a:lumMod val="75000"/>
                    <a:lumOff val="25000"/>
                  </a:schemeClr>
                </a:solidFill>
              </a:rPr>
              <a:t> </a:t>
            </a:r>
            <a:r>
              <a:rPr lang="en-US" sz="2800" dirty="0" err="1">
                <a:solidFill>
                  <a:schemeClr val="tx1">
                    <a:lumMod val="75000"/>
                    <a:lumOff val="25000"/>
                  </a:schemeClr>
                </a:solidFill>
              </a:rPr>
              <a:t>eros</a:t>
            </a:r>
            <a:r>
              <a:rPr lang="en-US" sz="2800" dirty="0">
                <a:solidFill>
                  <a:schemeClr val="tx1">
                    <a:lumMod val="75000"/>
                    <a:lumOff val="25000"/>
                  </a:schemeClr>
                </a:solidFill>
              </a:rPr>
              <a:t>. </a:t>
            </a:r>
            <a:r>
              <a:rPr lang="en-US" sz="2800" dirty="0" err="1">
                <a:solidFill>
                  <a:schemeClr val="tx1">
                    <a:lumMod val="75000"/>
                    <a:lumOff val="25000"/>
                  </a:schemeClr>
                </a:solidFill>
              </a:rPr>
              <a:t>Pellentesque</a:t>
            </a:r>
            <a:r>
              <a:rPr lang="en-US" sz="2800" dirty="0">
                <a:solidFill>
                  <a:schemeClr val="tx1">
                    <a:lumMod val="75000"/>
                    <a:lumOff val="25000"/>
                  </a:schemeClr>
                </a:solidFill>
              </a:rPr>
              <a:t>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finibus</a:t>
            </a:r>
            <a:r>
              <a:rPr lang="en-US" sz="2800" dirty="0">
                <a:solidFill>
                  <a:schemeClr val="tx1">
                    <a:lumMod val="75000"/>
                    <a:lumOff val="25000"/>
                  </a:schemeClr>
                </a:solidFill>
              </a:rPr>
              <a:t> </a:t>
            </a:r>
            <a:r>
              <a:rPr lang="en-US" sz="2800" dirty="0" err="1">
                <a:solidFill>
                  <a:schemeClr val="tx1">
                    <a:lumMod val="75000"/>
                    <a:lumOff val="25000"/>
                  </a:schemeClr>
                </a:solidFill>
              </a:rPr>
              <a:t>sapien</a:t>
            </a:r>
            <a:r>
              <a:rPr lang="en-US" sz="2800" dirty="0">
                <a:solidFill>
                  <a:schemeClr val="tx1">
                    <a:lumMod val="75000"/>
                    <a:lumOff val="25000"/>
                  </a:schemeClr>
                </a:solidFill>
              </a:rPr>
              <a:t>. </a:t>
            </a:r>
            <a:r>
              <a:rPr lang="en-US" sz="2800" dirty="0" err="1">
                <a:solidFill>
                  <a:schemeClr val="tx1">
                    <a:lumMod val="75000"/>
                    <a:lumOff val="25000"/>
                  </a:schemeClr>
                </a:solidFill>
              </a:rPr>
              <a:t>Mauris</a:t>
            </a:r>
            <a:r>
              <a:rPr lang="en-US" sz="2800" dirty="0">
                <a:solidFill>
                  <a:schemeClr val="tx1">
                    <a:lumMod val="75000"/>
                    <a:lumOff val="25000"/>
                  </a:schemeClr>
                </a:solidFill>
              </a:rPr>
              <a:t> </a:t>
            </a:r>
            <a:r>
              <a:rPr lang="en-US" sz="2800" dirty="0" err="1">
                <a:solidFill>
                  <a:schemeClr val="tx1">
                    <a:lumMod val="75000"/>
                    <a:lumOff val="25000"/>
                  </a:schemeClr>
                </a:solidFill>
              </a:rPr>
              <a:t>tempor</a:t>
            </a:r>
            <a:r>
              <a:rPr lang="en-US" sz="2800" dirty="0">
                <a:solidFill>
                  <a:schemeClr val="tx1">
                    <a:lumMod val="75000"/>
                    <a:lumOff val="25000"/>
                  </a:schemeClr>
                </a:solidFill>
              </a:rPr>
              <a:t> </a:t>
            </a:r>
            <a:r>
              <a:rPr lang="en-US" sz="2800" dirty="0" err="1">
                <a:solidFill>
                  <a:schemeClr val="tx1">
                    <a:lumMod val="75000"/>
                    <a:lumOff val="25000"/>
                  </a:schemeClr>
                </a:solidFill>
              </a:rPr>
              <a:t>justo</a:t>
            </a:r>
            <a:r>
              <a:rPr lang="en-US" sz="2800" dirty="0">
                <a:solidFill>
                  <a:schemeClr val="tx1">
                    <a:lumMod val="75000"/>
                    <a:lumOff val="25000"/>
                  </a:schemeClr>
                </a:solidFill>
              </a:rPr>
              <a:t> vel </a:t>
            </a:r>
            <a:r>
              <a:rPr lang="en-US" sz="2800" dirty="0" err="1">
                <a:solidFill>
                  <a:schemeClr val="tx1">
                    <a:lumMod val="75000"/>
                    <a:lumOff val="25000"/>
                  </a:schemeClr>
                </a:solidFill>
              </a:rPr>
              <a:t>blandit</a:t>
            </a:r>
            <a:r>
              <a:rPr lang="en-US" sz="2800" dirty="0">
                <a:solidFill>
                  <a:schemeClr val="tx1">
                    <a:lumMod val="75000"/>
                    <a:lumOff val="25000"/>
                  </a:schemeClr>
                </a:solidFill>
              </a:rPr>
              <a:t> </a:t>
            </a:r>
            <a:r>
              <a:rPr lang="en-US" sz="2800" dirty="0" err="1">
                <a:solidFill>
                  <a:schemeClr val="tx1">
                    <a:lumMod val="75000"/>
                    <a:lumOff val="25000"/>
                  </a:schemeClr>
                </a:solidFill>
              </a:rPr>
              <a:t>molestie</a:t>
            </a:r>
            <a:r>
              <a:rPr lang="en-US" sz="2800" dirty="0">
                <a:solidFill>
                  <a:schemeClr val="tx1">
                    <a:lumMod val="75000"/>
                    <a:lumOff val="25000"/>
                  </a:schemeClr>
                </a:solidFill>
              </a:rPr>
              <a:t>.</a:t>
            </a:r>
          </a:p>
        </p:txBody>
      </p:sp>
      <p:sp>
        <p:nvSpPr>
          <p:cNvPr id="28" name="TextBox 27">
            <a:extLst>
              <a:ext uri="{FF2B5EF4-FFF2-40B4-BE49-F238E27FC236}">
                <a16:creationId xmlns:a16="http://schemas.microsoft.com/office/drawing/2014/main" id="{ED3CB14B-B423-4127-A533-DE850CDAF09C}"/>
              </a:ext>
            </a:extLst>
          </p:cNvPr>
          <p:cNvSpPr txBox="1"/>
          <p:nvPr/>
        </p:nvSpPr>
        <p:spPr>
          <a:xfrm>
            <a:off x="7899131" y="8546820"/>
            <a:ext cx="3579687" cy="3447098"/>
          </a:xfrm>
          <a:prstGeom prst="rect">
            <a:avLst/>
          </a:prstGeom>
          <a:noFill/>
          <a:ln>
            <a:noFill/>
          </a:ln>
        </p:spPr>
        <p:txBody>
          <a:bodyPr wrap="square" lIns="0" tIns="0" rIns="0" bIns="0" rtlCol="0" anchor="t">
            <a:spAutoFit/>
          </a:bodyPr>
          <a:lstStyle/>
          <a:p>
            <a:pPr>
              <a:buClr>
                <a:schemeClr val="accent1"/>
              </a:buClr>
            </a:pPr>
            <a:r>
              <a:rPr lang="en-US" sz="2800" dirty="0">
                <a:solidFill>
                  <a:schemeClr val="tx1">
                    <a:lumMod val="75000"/>
                    <a:lumOff val="25000"/>
                  </a:schemeClr>
                </a:solidFill>
              </a:rPr>
              <a:t>Lorem ipsum dolor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consectetur</a:t>
            </a:r>
            <a:r>
              <a:rPr lang="en-US" sz="2800" dirty="0">
                <a:solidFill>
                  <a:schemeClr val="tx1">
                    <a:lumMod val="75000"/>
                    <a:lumOff val="25000"/>
                  </a:schemeClr>
                </a:solidFill>
              </a:rPr>
              <a:t> </a:t>
            </a:r>
            <a:r>
              <a:rPr lang="en-US" sz="2800" dirty="0" err="1">
                <a:solidFill>
                  <a:schemeClr val="tx1">
                    <a:lumMod val="75000"/>
                    <a:lumOff val="25000"/>
                  </a:schemeClr>
                </a:solidFill>
              </a:rPr>
              <a:t>adipiscing</a:t>
            </a:r>
            <a:r>
              <a:rPr lang="en-US" sz="2800" dirty="0">
                <a:solidFill>
                  <a:schemeClr val="tx1">
                    <a:lumMod val="75000"/>
                    <a:lumOff val="25000"/>
                  </a:schemeClr>
                </a:solidFill>
              </a:rPr>
              <a:t> </a:t>
            </a:r>
            <a:r>
              <a:rPr lang="en-US" sz="2800" dirty="0" err="1">
                <a:solidFill>
                  <a:schemeClr val="tx1">
                    <a:lumMod val="75000"/>
                    <a:lumOff val="25000"/>
                  </a:schemeClr>
                </a:solidFill>
              </a:rPr>
              <a:t>elit</a:t>
            </a:r>
            <a:r>
              <a:rPr lang="en-US" sz="2800" dirty="0">
                <a:solidFill>
                  <a:schemeClr val="tx1">
                    <a:lumMod val="75000"/>
                    <a:lumOff val="25000"/>
                  </a:schemeClr>
                </a:solidFill>
              </a:rPr>
              <a:t>. </a:t>
            </a:r>
            <a:r>
              <a:rPr lang="en-US" sz="2800" dirty="0" err="1">
                <a:solidFill>
                  <a:schemeClr val="tx1">
                    <a:lumMod val="75000"/>
                    <a:lumOff val="25000"/>
                  </a:schemeClr>
                </a:solidFill>
              </a:rPr>
              <a:t>Aliquam</a:t>
            </a:r>
            <a:r>
              <a:rPr lang="en-US" sz="2800" dirty="0">
                <a:solidFill>
                  <a:schemeClr val="tx1">
                    <a:lumMod val="75000"/>
                    <a:lumOff val="25000"/>
                  </a:schemeClr>
                </a:solidFill>
              </a:rPr>
              <a:t> </a:t>
            </a:r>
            <a:r>
              <a:rPr lang="en-US" sz="2800" dirty="0" err="1">
                <a:solidFill>
                  <a:schemeClr val="tx1">
                    <a:lumMod val="75000"/>
                    <a:lumOff val="25000"/>
                  </a:schemeClr>
                </a:solidFill>
              </a:rPr>
              <a:t>eu</a:t>
            </a:r>
            <a:r>
              <a:rPr lang="en-US" sz="2800" dirty="0">
                <a:solidFill>
                  <a:schemeClr val="tx1">
                    <a:lumMod val="75000"/>
                    <a:lumOff val="25000"/>
                  </a:schemeClr>
                </a:solidFill>
              </a:rPr>
              <a:t> </a:t>
            </a:r>
            <a:r>
              <a:rPr lang="en-US" sz="2800" dirty="0" err="1">
                <a:solidFill>
                  <a:schemeClr val="tx1">
                    <a:lumMod val="75000"/>
                    <a:lumOff val="25000"/>
                  </a:schemeClr>
                </a:solidFill>
              </a:rPr>
              <a:t>lobortis</a:t>
            </a:r>
            <a:r>
              <a:rPr lang="en-US" sz="2800" dirty="0">
                <a:solidFill>
                  <a:schemeClr val="tx1">
                    <a:lumMod val="75000"/>
                    <a:lumOff val="25000"/>
                  </a:schemeClr>
                </a:solidFill>
              </a:rPr>
              <a:t> </a:t>
            </a:r>
            <a:r>
              <a:rPr lang="en-US" sz="2800" dirty="0" err="1">
                <a:solidFill>
                  <a:schemeClr val="tx1">
                    <a:lumMod val="75000"/>
                    <a:lumOff val="25000"/>
                  </a:schemeClr>
                </a:solidFill>
              </a:rPr>
              <a:t>eros</a:t>
            </a:r>
            <a:r>
              <a:rPr lang="en-US" sz="2800" dirty="0">
                <a:solidFill>
                  <a:schemeClr val="tx1">
                    <a:lumMod val="75000"/>
                    <a:lumOff val="25000"/>
                  </a:schemeClr>
                </a:solidFill>
              </a:rPr>
              <a:t>. </a:t>
            </a:r>
            <a:r>
              <a:rPr lang="en-US" sz="2800" dirty="0" err="1">
                <a:solidFill>
                  <a:schemeClr val="tx1">
                    <a:lumMod val="75000"/>
                    <a:lumOff val="25000"/>
                  </a:schemeClr>
                </a:solidFill>
              </a:rPr>
              <a:t>Pellentesque</a:t>
            </a:r>
            <a:r>
              <a:rPr lang="en-US" sz="2800" dirty="0">
                <a:solidFill>
                  <a:schemeClr val="tx1">
                    <a:lumMod val="75000"/>
                    <a:lumOff val="25000"/>
                  </a:schemeClr>
                </a:solidFill>
              </a:rPr>
              <a:t>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finibus</a:t>
            </a:r>
            <a:r>
              <a:rPr lang="en-US" sz="2800" dirty="0">
                <a:solidFill>
                  <a:schemeClr val="tx1">
                    <a:lumMod val="75000"/>
                    <a:lumOff val="25000"/>
                  </a:schemeClr>
                </a:solidFill>
              </a:rPr>
              <a:t> </a:t>
            </a:r>
            <a:r>
              <a:rPr lang="en-US" sz="2800" dirty="0" err="1">
                <a:solidFill>
                  <a:schemeClr val="tx1">
                    <a:lumMod val="75000"/>
                    <a:lumOff val="25000"/>
                  </a:schemeClr>
                </a:solidFill>
              </a:rPr>
              <a:t>sapien</a:t>
            </a:r>
            <a:r>
              <a:rPr lang="en-US" sz="2800" dirty="0">
                <a:solidFill>
                  <a:schemeClr val="tx1">
                    <a:lumMod val="75000"/>
                    <a:lumOff val="25000"/>
                  </a:schemeClr>
                </a:solidFill>
              </a:rPr>
              <a:t>. </a:t>
            </a:r>
            <a:r>
              <a:rPr lang="en-US" sz="2800" dirty="0" err="1">
                <a:solidFill>
                  <a:schemeClr val="tx1">
                    <a:lumMod val="75000"/>
                    <a:lumOff val="25000"/>
                  </a:schemeClr>
                </a:solidFill>
              </a:rPr>
              <a:t>Mauris</a:t>
            </a:r>
            <a:r>
              <a:rPr lang="en-US" sz="2800" dirty="0">
                <a:solidFill>
                  <a:schemeClr val="tx1">
                    <a:lumMod val="75000"/>
                    <a:lumOff val="25000"/>
                  </a:schemeClr>
                </a:solidFill>
              </a:rPr>
              <a:t> </a:t>
            </a:r>
            <a:r>
              <a:rPr lang="en-US" sz="2800" dirty="0" err="1">
                <a:solidFill>
                  <a:schemeClr val="tx1">
                    <a:lumMod val="75000"/>
                    <a:lumOff val="25000"/>
                  </a:schemeClr>
                </a:solidFill>
              </a:rPr>
              <a:t>tempor</a:t>
            </a:r>
            <a:r>
              <a:rPr lang="en-US" sz="2800" dirty="0">
                <a:solidFill>
                  <a:schemeClr val="tx1">
                    <a:lumMod val="75000"/>
                    <a:lumOff val="25000"/>
                  </a:schemeClr>
                </a:solidFill>
              </a:rPr>
              <a:t> </a:t>
            </a:r>
            <a:r>
              <a:rPr lang="en-US" sz="2800" dirty="0" err="1">
                <a:solidFill>
                  <a:schemeClr val="tx1">
                    <a:lumMod val="75000"/>
                    <a:lumOff val="25000"/>
                  </a:schemeClr>
                </a:solidFill>
              </a:rPr>
              <a:t>justo</a:t>
            </a:r>
            <a:r>
              <a:rPr lang="en-US" sz="2800" dirty="0">
                <a:solidFill>
                  <a:schemeClr val="tx1">
                    <a:lumMod val="75000"/>
                    <a:lumOff val="25000"/>
                  </a:schemeClr>
                </a:solidFill>
              </a:rPr>
              <a:t> vel </a:t>
            </a:r>
            <a:r>
              <a:rPr lang="en-US" sz="2800" dirty="0" err="1">
                <a:solidFill>
                  <a:schemeClr val="tx1">
                    <a:lumMod val="75000"/>
                    <a:lumOff val="25000"/>
                  </a:schemeClr>
                </a:solidFill>
              </a:rPr>
              <a:t>blandit</a:t>
            </a:r>
            <a:r>
              <a:rPr lang="en-US" sz="2800" dirty="0">
                <a:solidFill>
                  <a:schemeClr val="tx1">
                    <a:lumMod val="75000"/>
                    <a:lumOff val="25000"/>
                  </a:schemeClr>
                </a:solidFill>
              </a:rPr>
              <a:t> </a:t>
            </a:r>
            <a:r>
              <a:rPr lang="en-US" sz="2800" dirty="0" err="1">
                <a:solidFill>
                  <a:schemeClr val="tx1">
                    <a:lumMod val="75000"/>
                    <a:lumOff val="25000"/>
                  </a:schemeClr>
                </a:solidFill>
              </a:rPr>
              <a:t>molestie</a:t>
            </a:r>
            <a:r>
              <a:rPr lang="en-US" sz="2800" dirty="0">
                <a:solidFill>
                  <a:schemeClr val="tx1">
                    <a:lumMod val="75000"/>
                    <a:lumOff val="25000"/>
                  </a:schemeClr>
                </a:solidFill>
              </a:rPr>
              <a:t>.</a:t>
            </a:r>
          </a:p>
        </p:txBody>
      </p:sp>
      <p:sp>
        <p:nvSpPr>
          <p:cNvPr id="29" name="TextBox 28">
            <a:extLst>
              <a:ext uri="{FF2B5EF4-FFF2-40B4-BE49-F238E27FC236}">
                <a16:creationId xmlns:a16="http://schemas.microsoft.com/office/drawing/2014/main" id="{FC38F8CE-45EB-41F2-85C9-FD491AA6132E}"/>
              </a:ext>
            </a:extLst>
          </p:cNvPr>
          <p:cNvSpPr txBox="1"/>
          <p:nvPr/>
        </p:nvSpPr>
        <p:spPr>
          <a:xfrm>
            <a:off x="12915551" y="8546820"/>
            <a:ext cx="3579687" cy="3447098"/>
          </a:xfrm>
          <a:prstGeom prst="rect">
            <a:avLst/>
          </a:prstGeom>
          <a:noFill/>
          <a:ln>
            <a:noFill/>
          </a:ln>
        </p:spPr>
        <p:txBody>
          <a:bodyPr wrap="square" lIns="0" tIns="0" rIns="0" bIns="0" rtlCol="0" anchor="t">
            <a:spAutoFit/>
          </a:bodyPr>
          <a:lstStyle/>
          <a:p>
            <a:pPr>
              <a:buClr>
                <a:schemeClr val="accent1"/>
              </a:buClr>
            </a:pPr>
            <a:r>
              <a:rPr lang="en-US" sz="2800" dirty="0">
                <a:solidFill>
                  <a:schemeClr val="tx1">
                    <a:lumMod val="75000"/>
                    <a:lumOff val="25000"/>
                  </a:schemeClr>
                </a:solidFill>
              </a:rPr>
              <a:t>Lorem ipsum dolor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consectetur</a:t>
            </a:r>
            <a:r>
              <a:rPr lang="en-US" sz="2800" dirty="0">
                <a:solidFill>
                  <a:schemeClr val="tx1">
                    <a:lumMod val="75000"/>
                    <a:lumOff val="25000"/>
                  </a:schemeClr>
                </a:solidFill>
              </a:rPr>
              <a:t> </a:t>
            </a:r>
            <a:r>
              <a:rPr lang="en-US" sz="2800" dirty="0" err="1">
                <a:solidFill>
                  <a:schemeClr val="tx1">
                    <a:lumMod val="75000"/>
                    <a:lumOff val="25000"/>
                  </a:schemeClr>
                </a:solidFill>
              </a:rPr>
              <a:t>adipiscing</a:t>
            </a:r>
            <a:r>
              <a:rPr lang="en-US" sz="2800" dirty="0">
                <a:solidFill>
                  <a:schemeClr val="tx1">
                    <a:lumMod val="75000"/>
                    <a:lumOff val="25000"/>
                  </a:schemeClr>
                </a:solidFill>
              </a:rPr>
              <a:t> </a:t>
            </a:r>
            <a:r>
              <a:rPr lang="en-US" sz="2800" dirty="0" err="1">
                <a:solidFill>
                  <a:schemeClr val="tx1">
                    <a:lumMod val="75000"/>
                    <a:lumOff val="25000"/>
                  </a:schemeClr>
                </a:solidFill>
              </a:rPr>
              <a:t>elit</a:t>
            </a:r>
            <a:r>
              <a:rPr lang="en-US" sz="2800" dirty="0">
                <a:solidFill>
                  <a:schemeClr val="tx1">
                    <a:lumMod val="75000"/>
                    <a:lumOff val="25000"/>
                  </a:schemeClr>
                </a:solidFill>
              </a:rPr>
              <a:t>. </a:t>
            </a:r>
            <a:r>
              <a:rPr lang="en-US" sz="2800" dirty="0" err="1">
                <a:solidFill>
                  <a:schemeClr val="tx1">
                    <a:lumMod val="75000"/>
                    <a:lumOff val="25000"/>
                  </a:schemeClr>
                </a:solidFill>
              </a:rPr>
              <a:t>Aliquam</a:t>
            </a:r>
            <a:r>
              <a:rPr lang="en-US" sz="2800" dirty="0">
                <a:solidFill>
                  <a:schemeClr val="tx1">
                    <a:lumMod val="75000"/>
                    <a:lumOff val="25000"/>
                  </a:schemeClr>
                </a:solidFill>
              </a:rPr>
              <a:t> </a:t>
            </a:r>
            <a:r>
              <a:rPr lang="en-US" sz="2800" dirty="0" err="1">
                <a:solidFill>
                  <a:schemeClr val="tx1">
                    <a:lumMod val="75000"/>
                    <a:lumOff val="25000"/>
                  </a:schemeClr>
                </a:solidFill>
              </a:rPr>
              <a:t>eu</a:t>
            </a:r>
            <a:r>
              <a:rPr lang="en-US" sz="2800" dirty="0">
                <a:solidFill>
                  <a:schemeClr val="tx1">
                    <a:lumMod val="75000"/>
                    <a:lumOff val="25000"/>
                  </a:schemeClr>
                </a:solidFill>
              </a:rPr>
              <a:t> </a:t>
            </a:r>
            <a:r>
              <a:rPr lang="en-US" sz="2800" dirty="0" err="1">
                <a:solidFill>
                  <a:schemeClr val="tx1">
                    <a:lumMod val="75000"/>
                    <a:lumOff val="25000"/>
                  </a:schemeClr>
                </a:solidFill>
              </a:rPr>
              <a:t>lobortis</a:t>
            </a:r>
            <a:r>
              <a:rPr lang="en-US" sz="2800" dirty="0">
                <a:solidFill>
                  <a:schemeClr val="tx1">
                    <a:lumMod val="75000"/>
                    <a:lumOff val="25000"/>
                  </a:schemeClr>
                </a:solidFill>
              </a:rPr>
              <a:t> </a:t>
            </a:r>
            <a:r>
              <a:rPr lang="en-US" sz="2800" dirty="0" err="1">
                <a:solidFill>
                  <a:schemeClr val="tx1">
                    <a:lumMod val="75000"/>
                    <a:lumOff val="25000"/>
                  </a:schemeClr>
                </a:solidFill>
              </a:rPr>
              <a:t>eros</a:t>
            </a:r>
            <a:r>
              <a:rPr lang="en-US" sz="2800" dirty="0">
                <a:solidFill>
                  <a:schemeClr val="tx1">
                    <a:lumMod val="75000"/>
                    <a:lumOff val="25000"/>
                  </a:schemeClr>
                </a:solidFill>
              </a:rPr>
              <a:t>. </a:t>
            </a:r>
            <a:r>
              <a:rPr lang="en-US" sz="2800" dirty="0" err="1">
                <a:solidFill>
                  <a:schemeClr val="tx1">
                    <a:lumMod val="75000"/>
                    <a:lumOff val="25000"/>
                  </a:schemeClr>
                </a:solidFill>
              </a:rPr>
              <a:t>Pellentesque</a:t>
            </a:r>
            <a:r>
              <a:rPr lang="en-US" sz="2800" dirty="0">
                <a:solidFill>
                  <a:schemeClr val="tx1">
                    <a:lumMod val="75000"/>
                    <a:lumOff val="25000"/>
                  </a:schemeClr>
                </a:solidFill>
              </a:rPr>
              <a:t>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finibus</a:t>
            </a:r>
            <a:r>
              <a:rPr lang="en-US" sz="2800" dirty="0">
                <a:solidFill>
                  <a:schemeClr val="tx1">
                    <a:lumMod val="75000"/>
                    <a:lumOff val="25000"/>
                  </a:schemeClr>
                </a:solidFill>
              </a:rPr>
              <a:t> </a:t>
            </a:r>
            <a:r>
              <a:rPr lang="en-US" sz="2800" dirty="0" err="1">
                <a:solidFill>
                  <a:schemeClr val="tx1">
                    <a:lumMod val="75000"/>
                    <a:lumOff val="25000"/>
                  </a:schemeClr>
                </a:solidFill>
              </a:rPr>
              <a:t>sapien</a:t>
            </a:r>
            <a:r>
              <a:rPr lang="en-US" sz="2800" dirty="0">
                <a:solidFill>
                  <a:schemeClr val="tx1">
                    <a:lumMod val="75000"/>
                    <a:lumOff val="25000"/>
                  </a:schemeClr>
                </a:solidFill>
              </a:rPr>
              <a:t>. </a:t>
            </a:r>
            <a:r>
              <a:rPr lang="en-US" sz="2800" dirty="0" err="1">
                <a:solidFill>
                  <a:schemeClr val="tx1">
                    <a:lumMod val="75000"/>
                    <a:lumOff val="25000"/>
                  </a:schemeClr>
                </a:solidFill>
              </a:rPr>
              <a:t>Mauris</a:t>
            </a:r>
            <a:r>
              <a:rPr lang="en-US" sz="2800" dirty="0">
                <a:solidFill>
                  <a:schemeClr val="tx1">
                    <a:lumMod val="75000"/>
                    <a:lumOff val="25000"/>
                  </a:schemeClr>
                </a:solidFill>
              </a:rPr>
              <a:t> </a:t>
            </a:r>
            <a:r>
              <a:rPr lang="en-US" sz="2800" dirty="0" err="1">
                <a:solidFill>
                  <a:schemeClr val="tx1">
                    <a:lumMod val="75000"/>
                    <a:lumOff val="25000"/>
                  </a:schemeClr>
                </a:solidFill>
              </a:rPr>
              <a:t>tempor</a:t>
            </a:r>
            <a:r>
              <a:rPr lang="en-US" sz="2800" dirty="0">
                <a:solidFill>
                  <a:schemeClr val="tx1">
                    <a:lumMod val="75000"/>
                    <a:lumOff val="25000"/>
                  </a:schemeClr>
                </a:solidFill>
              </a:rPr>
              <a:t> </a:t>
            </a:r>
            <a:r>
              <a:rPr lang="en-US" sz="2800" dirty="0" err="1">
                <a:solidFill>
                  <a:schemeClr val="tx1">
                    <a:lumMod val="75000"/>
                    <a:lumOff val="25000"/>
                  </a:schemeClr>
                </a:solidFill>
              </a:rPr>
              <a:t>justo</a:t>
            </a:r>
            <a:r>
              <a:rPr lang="en-US" sz="2800" dirty="0">
                <a:solidFill>
                  <a:schemeClr val="tx1">
                    <a:lumMod val="75000"/>
                    <a:lumOff val="25000"/>
                  </a:schemeClr>
                </a:solidFill>
              </a:rPr>
              <a:t> vel </a:t>
            </a:r>
            <a:r>
              <a:rPr lang="en-US" sz="2800" dirty="0" err="1">
                <a:solidFill>
                  <a:schemeClr val="tx1">
                    <a:lumMod val="75000"/>
                    <a:lumOff val="25000"/>
                  </a:schemeClr>
                </a:solidFill>
              </a:rPr>
              <a:t>blandit</a:t>
            </a:r>
            <a:r>
              <a:rPr lang="en-US" sz="2800" dirty="0">
                <a:solidFill>
                  <a:schemeClr val="tx1">
                    <a:lumMod val="75000"/>
                    <a:lumOff val="25000"/>
                  </a:schemeClr>
                </a:solidFill>
              </a:rPr>
              <a:t> </a:t>
            </a:r>
            <a:r>
              <a:rPr lang="en-US" sz="2800" dirty="0" err="1">
                <a:solidFill>
                  <a:schemeClr val="tx1">
                    <a:lumMod val="75000"/>
                    <a:lumOff val="25000"/>
                  </a:schemeClr>
                </a:solidFill>
              </a:rPr>
              <a:t>molestie</a:t>
            </a:r>
            <a:r>
              <a:rPr lang="en-US" sz="2800" dirty="0">
                <a:solidFill>
                  <a:schemeClr val="tx1">
                    <a:lumMod val="75000"/>
                    <a:lumOff val="25000"/>
                  </a:schemeClr>
                </a:solidFill>
              </a:rPr>
              <a:t>.</a:t>
            </a:r>
          </a:p>
        </p:txBody>
      </p:sp>
      <p:sp>
        <p:nvSpPr>
          <p:cNvPr id="30" name="TextBox 29">
            <a:extLst>
              <a:ext uri="{FF2B5EF4-FFF2-40B4-BE49-F238E27FC236}">
                <a16:creationId xmlns:a16="http://schemas.microsoft.com/office/drawing/2014/main" id="{CE6F450A-8864-4058-A001-734A83C0CA88}"/>
              </a:ext>
            </a:extLst>
          </p:cNvPr>
          <p:cNvSpPr txBox="1"/>
          <p:nvPr/>
        </p:nvSpPr>
        <p:spPr>
          <a:xfrm>
            <a:off x="17931970" y="8546820"/>
            <a:ext cx="3579687" cy="3447098"/>
          </a:xfrm>
          <a:prstGeom prst="rect">
            <a:avLst/>
          </a:prstGeom>
          <a:noFill/>
          <a:ln>
            <a:noFill/>
          </a:ln>
        </p:spPr>
        <p:txBody>
          <a:bodyPr wrap="square" lIns="0" tIns="0" rIns="0" bIns="0" rtlCol="0" anchor="t">
            <a:spAutoFit/>
          </a:bodyPr>
          <a:lstStyle/>
          <a:p>
            <a:pPr>
              <a:buClr>
                <a:schemeClr val="accent1"/>
              </a:buClr>
            </a:pPr>
            <a:r>
              <a:rPr lang="en-US" sz="2800" dirty="0">
                <a:solidFill>
                  <a:schemeClr val="tx1">
                    <a:lumMod val="75000"/>
                    <a:lumOff val="25000"/>
                  </a:schemeClr>
                </a:solidFill>
              </a:rPr>
              <a:t>Lorem ipsum dolor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consectetur</a:t>
            </a:r>
            <a:r>
              <a:rPr lang="en-US" sz="2800" dirty="0">
                <a:solidFill>
                  <a:schemeClr val="tx1">
                    <a:lumMod val="75000"/>
                    <a:lumOff val="25000"/>
                  </a:schemeClr>
                </a:solidFill>
              </a:rPr>
              <a:t> </a:t>
            </a:r>
            <a:r>
              <a:rPr lang="en-US" sz="2800" dirty="0" err="1">
                <a:solidFill>
                  <a:schemeClr val="tx1">
                    <a:lumMod val="75000"/>
                    <a:lumOff val="25000"/>
                  </a:schemeClr>
                </a:solidFill>
              </a:rPr>
              <a:t>adipiscing</a:t>
            </a:r>
            <a:r>
              <a:rPr lang="en-US" sz="2800" dirty="0">
                <a:solidFill>
                  <a:schemeClr val="tx1">
                    <a:lumMod val="75000"/>
                    <a:lumOff val="25000"/>
                  </a:schemeClr>
                </a:solidFill>
              </a:rPr>
              <a:t> </a:t>
            </a:r>
            <a:r>
              <a:rPr lang="en-US" sz="2800" dirty="0" err="1">
                <a:solidFill>
                  <a:schemeClr val="tx1">
                    <a:lumMod val="75000"/>
                    <a:lumOff val="25000"/>
                  </a:schemeClr>
                </a:solidFill>
              </a:rPr>
              <a:t>elit</a:t>
            </a:r>
            <a:r>
              <a:rPr lang="en-US" sz="2800" dirty="0">
                <a:solidFill>
                  <a:schemeClr val="tx1">
                    <a:lumMod val="75000"/>
                    <a:lumOff val="25000"/>
                  </a:schemeClr>
                </a:solidFill>
              </a:rPr>
              <a:t>. </a:t>
            </a:r>
            <a:r>
              <a:rPr lang="en-US" sz="2800" dirty="0" err="1">
                <a:solidFill>
                  <a:schemeClr val="tx1">
                    <a:lumMod val="75000"/>
                    <a:lumOff val="25000"/>
                  </a:schemeClr>
                </a:solidFill>
              </a:rPr>
              <a:t>Aliquam</a:t>
            </a:r>
            <a:r>
              <a:rPr lang="en-US" sz="2800" dirty="0">
                <a:solidFill>
                  <a:schemeClr val="tx1">
                    <a:lumMod val="75000"/>
                    <a:lumOff val="25000"/>
                  </a:schemeClr>
                </a:solidFill>
              </a:rPr>
              <a:t> </a:t>
            </a:r>
            <a:r>
              <a:rPr lang="en-US" sz="2800" dirty="0" err="1">
                <a:solidFill>
                  <a:schemeClr val="tx1">
                    <a:lumMod val="75000"/>
                    <a:lumOff val="25000"/>
                  </a:schemeClr>
                </a:solidFill>
              </a:rPr>
              <a:t>eu</a:t>
            </a:r>
            <a:r>
              <a:rPr lang="en-US" sz="2800" dirty="0">
                <a:solidFill>
                  <a:schemeClr val="tx1">
                    <a:lumMod val="75000"/>
                    <a:lumOff val="25000"/>
                  </a:schemeClr>
                </a:solidFill>
              </a:rPr>
              <a:t> </a:t>
            </a:r>
            <a:r>
              <a:rPr lang="en-US" sz="2800" dirty="0" err="1">
                <a:solidFill>
                  <a:schemeClr val="tx1">
                    <a:lumMod val="75000"/>
                    <a:lumOff val="25000"/>
                  </a:schemeClr>
                </a:solidFill>
              </a:rPr>
              <a:t>lobortis</a:t>
            </a:r>
            <a:r>
              <a:rPr lang="en-US" sz="2800" dirty="0">
                <a:solidFill>
                  <a:schemeClr val="tx1">
                    <a:lumMod val="75000"/>
                    <a:lumOff val="25000"/>
                  </a:schemeClr>
                </a:solidFill>
              </a:rPr>
              <a:t> </a:t>
            </a:r>
            <a:r>
              <a:rPr lang="en-US" sz="2800" dirty="0" err="1">
                <a:solidFill>
                  <a:schemeClr val="tx1">
                    <a:lumMod val="75000"/>
                    <a:lumOff val="25000"/>
                  </a:schemeClr>
                </a:solidFill>
              </a:rPr>
              <a:t>eros</a:t>
            </a:r>
            <a:r>
              <a:rPr lang="en-US" sz="2800" dirty="0">
                <a:solidFill>
                  <a:schemeClr val="tx1">
                    <a:lumMod val="75000"/>
                    <a:lumOff val="25000"/>
                  </a:schemeClr>
                </a:solidFill>
              </a:rPr>
              <a:t>. </a:t>
            </a:r>
            <a:r>
              <a:rPr lang="en-US" sz="2800" dirty="0" err="1">
                <a:solidFill>
                  <a:schemeClr val="tx1">
                    <a:lumMod val="75000"/>
                    <a:lumOff val="25000"/>
                  </a:schemeClr>
                </a:solidFill>
              </a:rPr>
              <a:t>Pellentesque</a:t>
            </a:r>
            <a:r>
              <a:rPr lang="en-US" sz="2800" dirty="0">
                <a:solidFill>
                  <a:schemeClr val="tx1">
                    <a:lumMod val="75000"/>
                    <a:lumOff val="25000"/>
                  </a:schemeClr>
                </a:solidFill>
              </a:rPr>
              <a:t>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finibus</a:t>
            </a:r>
            <a:r>
              <a:rPr lang="en-US" sz="2800" dirty="0">
                <a:solidFill>
                  <a:schemeClr val="tx1">
                    <a:lumMod val="75000"/>
                    <a:lumOff val="25000"/>
                  </a:schemeClr>
                </a:solidFill>
              </a:rPr>
              <a:t> </a:t>
            </a:r>
            <a:r>
              <a:rPr lang="en-US" sz="2800" dirty="0" err="1">
                <a:solidFill>
                  <a:schemeClr val="tx1">
                    <a:lumMod val="75000"/>
                    <a:lumOff val="25000"/>
                  </a:schemeClr>
                </a:solidFill>
              </a:rPr>
              <a:t>sapien</a:t>
            </a:r>
            <a:r>
              <a:rPr lang="en-US" sz="2800" dirty="0">
                <a:solidFill>
                  <a:schemeClr val="tx1">
                    <a:lumMod val="75000"/>
                    <a:lumOff val="25000"/>
                  </a:schemeClr>
                </a:solidFill>
              </a:rPr>
              <a:t>. </a:t>
            </a:r>
            <a:r>
              <a:rPr lang="en-US" sz="2800" dirty="0" err="1">
                <a:solidFill>
                  <a:schemeClr val="tx1">
                    <a:lumMod val="75000"/>
                    <a:lumOff val="25000"/>
                  </a:schemeClr>
                </a:solidFill>
              </a:rPr>
              <a:t>Mauris</a:t>
            </a:r>
            <a:r>
              <a:rPr lang="en-US" sz="2800" dirty="0">
                <a:solidFill>
                  <a:schemeClr val="tx1">
                    <a:lumMod val="75000"/>
                    <a:lumOff val="25000"/>
                  </a:schemeClr>
                </a:solidFill>
              </a:rPr>
              <a:t> </a:t>
            </a:r>
            <a:r>
              <a:rPr lang="en-US" sz="2800" dirty="0" err="1">
                <a:solidFill>
                  <a:schemeClr val="tx1">
                    <a:lumMod val="75000"/>
                    <a:lumOff val="25000"/>
                  </a:schemeClr>
                </a:solidFill>
              </a:rPr>
              <a:t>tempor</a:t>
            </a:r>
            <a:r>
              <a:rPr lang="en-US" sz="2800" dirty="0">
                <a:solidFill>
                  <a:schemeClr val="tx1">
                    <a:lumMod val="75000"/>
                    <a:lumOff val="25000"/>
                  </a:schemeClr>
                </a:solidFill>
              </a:rPr>
              <a:t> </a:t>
            </a:r>
            <a:r>
              <a:rPr lang="en-US" sz="2800" dirty="0" err="1">
                <a:solidFill>
                  <a:schemeClr val="tx1">
                    <a:lumMod val="75000"/>
                    <a:lumOff val="25000"/>
                  </a:schemeClr>
                </a:solidFill>
              </a:rPr>
              <a:t>justo</a:t>
            </a:r>
            <a:r>
              <a:rPr lang="en-US" sz="2800" dirty="0">
                <a:solidFill>
                  <a:schemeClr val="tx1">
                    <a:lumMod val="75000"/>
                    <a:lumOff val="25000"/>
                  </a:schemeClr>
                </a:solidFill>
              </a:rPr>
              <a:t> vel </a:t>
            </a:r>
            <a:r>
              <a:rPr lang="en-US" sz="2800" dirty="0" err="1">
                <a:solidFill>
                  <a:schemeClr val="tx1">
                    <a:lumMod val="75000"/>
                    <a:lumOff val="25000"/>
                  </a:schemeClr>
                </a:solidFill>
              </a:rPr>
              <a:t>blandit</a:t>
            </a:r>
            <a:r>
              <a:rPr lang="en-US" sz="2800" dirty="0">
                <a:solidFill>
                  <a:schemeClr val="tx1">
                    <a:lumMod val="75000"/>
                    <a:lumOff val="25000"/>
                  </a:schemeClr>
                </a:solidFill>
              </a:rPr>
              <a:t> </a:t>
            </a:r>
            <a:r>
              <a:rPr lang="en-US" sz="2800" dirty="0" err="1">
                <a:solidFill>
                  <a:schemeClr val="tx1">
                    <a:lumMod val="75000"/>
                    <a:lumOff val="25000"/>
                  </a:schemeClr>
                </a:solidFill>
              </a:rPr>
              <a:t>molestie</a:t>
            </a:r>
            <a:r>
              <a:rPr lang="en-US" sz="2800" dirty="0">
                <a:solidFill>
                  <a:schemeClr val="tx1">
                    <a:lumMod val="75000"/>
                    <a:lumOff val="25000"/>
                  </a:schemeClr>
                </a:solidFill>
              </a:rPr>
              <a:t>.</a:t>
            </a:r>
          </a:p>
        </p:txBody>
      </p:sp>
      <p:grpSp>
        <p:nvGrpSpPr>
          <p:cNvPr id="32" name="Group 31">
            <a:extLst>
              <a:ext uri="{FF2B5EF4-FFF2-40B4-BE49-F238E27FC236}">
                <a16:creationId xmlns:a16="http://schemas.microsoft.com/office/drawing/2014/main" id="{996040DC-1341-48CE-9235-E33EB1957F8F}"/>
              </a:ext>
            </a:extLst>
          </p:cNvPr>
          <p:cNvGrpSpPr/>
          <p:nvPr/>
        </p:nvGrpSpPr>
        <p:grpSpPr>
          <a:xfrm>
            <a:off x="9196973" y="5146669"/>
            <a:ext cx="972045" cy="972045"/>
            <a:chOff x="4891088" y="2490788"/>
            <a:chExt cx="287338" cy="287338"/>
          </a:xfrm>
          <a:solidFill>
            <a:schemeClr val="accent5"/>
          </a:solidFill>
          <a:effectLst>
            <a:outerShdw blurRad="50800" dist="38100" dir="5400000" algn="t" rotWithShape="0">
              <a:prstClr val="black">
                <a:alpha val="20000"/>
              </a:prstClr>
            </a:outerShdw>
          </a:effectLst>
        </p:grpSpPr>
        <p:sp>
          <p:nvSpPr>
            <p:cNvPr id="33" name="Freeform 14">
              <a:extLst>
                <a:ext uri="{FF2B5EF4-FFF2-40B4-BE49-F238E27FC236}">
                  <a16:creationId xmlns:a16="http://schemas.microsoft.com/office/drawing/2014/main" id="{BA526940-5458-42A6-8DE1-C1AF36412D71}"/>
                </a:ext>
              </a:extLst>
            </p:cNvPr>
            <p:cNvSpPr>
              <a:spLocks noEditPoints="1"/>
            </p:cNvSpPr>
            <p:nvPr/>
          </p:nvSpPr>
          <p:spPr bwMode="auto">
            <a:xfrm>
              <a:off x="4891088" y="2490788"/>
              <a:ext cx="287338" cy="287338"/>
            </a:xfrm>
            <a:custGeom>
              <a:avLst/>
              <a:gdLst>
                <a:gd name="T0" fmla="*/ 64 w 902"/>
                <a:gd name="T1" fmla="*/ 871 h 902"/>
                <a:gd name="T2" fmla="*/ 43 w 902"/>
                <a:gd name="T3" fmla="*/ 861 h 902"/>
                <a:gd name="T4" fmla="*/ 31 w 902"/>
                <a:gd name="T5" fmla="*/ 839 h 902"/>
                <a:gd name="T6" fmla="*/ 234 w 902"/>
                <a:gd name="T7" fmla="*/ 597 h 902"/>
                <a:gd name="T8" fmla="*/ 246 w 902"/>
                <a:gd name="T9" fmla="*/ 599 h 902"/>
                <a:gd name="T10" fmla="*/ 255 w 902"/>
                <a:gd name="T11" fmla="*/ 593 h 902"/>
                <a:gd name="T12" fmla="*/ 258 w 902"/>
                <a:gd name="T13" fmla="*/ 584 h 902"/>
                <a:gd name="T14" fmla="*/ 255 w 902"/>
                <a:gd name="T15" fmla="*/ 575 h 902"/>
                <a:gd name="T16" fmla="*/ 181 w 902"/>
                <a:gd name="T17" fmla="*/ 524 h 902"/>
                <a:gd name="T18" fmla="*/ 722 w 902"/>
                <a:gd name="T19" fmla="*/ 524 h 902"/>
                <a:gd name="T20" fmla="*/ 647 w 902"/>
                <a:gd name="T21" fmla="*/ 575 h 902"/>
                <a:gd name="T22" fmla="*/ 645 w 902"/>
                <a:gd name="T23" fmla="*/ 584 h 902"/>
                <a:gd name="T24" fmla="*/ 647 w 902"/>
                <a:gd name="T25" fmla="*/ 593 h 902"/>
                <a:gd name="T26" fmla="*/ 657 w 902"/>
                <a:gd name="T27" fmla="*/ 599 h 902"/>
                <a:gd name="T28" fmla="*/ 669 w 902"/>
                <a:gd name="T29" fmla="*/ 597 h 902"/>
                <a:gd name="T30" fmla="*/ 871 w 902"/>
                <a:gd name="T31" fmla="*/ 839 h 902"/>
                <a:gd name="T32" fmla="*/ 861 w 902"/>
                <a:gd name="T33" fmla="*/ 861 h 902"/>
                <a:gd name="T34" fmla="*/ 839 w 902"/>
                <a:gd name="T35" fmla="*/ 871 h 902"/>
                <a:gd name="T36" fmla="*/ 43 w 902"/>
                <a:gd name="T37" fmla="*/ 432 h 902"/>
                <a:gd name="T38" fmla="*/ 861 w 902"/>
                <a:gd name="T39" fmla="*/ 432 h 902"/>
                <a:gd name="T40" fmla="*/ 861 w 902"/>
                <a:gd name="T41" fmla="*/ 432 h 902"/>
                <a:gd name="T42" fmla="*/ 902 w 902"/>
                <a:gd name="T43" fmla="*/ 430 h 902"/>
                <a:gd name="T44" fmla="*/ 900 w 902"/>
                <a:gd name="T45" fmla="*/ 424 h 902"/>
                <a:gd name="T46" fmla="*/ 899 w 902"/>
                <a:gd name="T47" fmla="*/ 423 h 902"/>
                <a:gd name="T48" fmla="*/ 896 w 902"/>
                <a:gd name="T49" fmla="*/ 420 h 902"/>
                <a:gd name="T50" fmla="*/ 752 w 902"/>
                <a:gd name="T51" fmla="*/ 322 h 902"/>
                <a:gd name="T52" fmla="*/ 751 w 902"/>
                <a:gd name="T53" fmla="*/ 9 h 902"/>
                <a:gd name="T54" fmla="*/ 746 w 902"/>
                <a:gd name="T55" fmla="*/ 3 h 902"/>
                <a:gd name="T56" fmla="*/ 737 w 902"/>
                <a:gd name="T57" fmla="*/ 0 h 902"/>
                <a:gd name="T58" fmla="*/ 159 w 902"/>
                <a:gd name="T59" fmla="*/ 1 h 902"/>
                <a:gd name="T60" fmla="*/ 153 w 902"/>
                <a:gd name="T61" fmla="*/ 6 h 902"/>
                <a:gd name="T62" fmla="*/ 151 w 902"/>
                <a:gd name="T63" fmla="*/ 15 h 902"/>
                <a:gd name="T64" fmla="*/ 7 w 902"/>
                <a:gd name="T65" fmla="*/ 420 h 902"/>
                <a:gd name="T66" fmla="*/ 5 w 902"/>
                <a:gd name="T67" fmla="*/ 421 h 902"/>
                <a:gd name="T68" fmla="*/ 3 w 902"/>
                <a:gd name="T69" fmla="*/ 424 h 902"/>
                <a:gd name="T70" fmla="*/ 1 w 902"/>
                <a:gd name="T71" fmla="*/ 426 h 902"/>
                <a:gd name="T72" fmla="*/ 1 w 902"/>
                <a:gd name="T73" fmla="*/ 430 h 902"/>
                <a:gd name="T74" fmla="*/ 0 w 902"/>
                <a:gd name="T75" fmla="*/ 831 h 902"/>
                <a:gd name="T76" fmla="*/ 3 w 902"/>
                <a:gd name="T77" fmla="*/ 852 h 902"/>
                <a:gd name="T78" fmla="*/ 13 w 902"/>
                <a:gd name="T79" fmla="*/ 870 h 902"/>
                <a:gd name="T80" fmla="*/ 26 w 902"/>
                <a:gd name="T81" fmla="*/ 886 h 902"/>
                <a:gd name="T82" fmla="*/ 44 w 902"/>
                <a:gd name="T83" fmla="*/ 897 h 902"/>
                <a:gd name="T84" fmla="*/ 65 w 902"/>
                <a:gd name="T85" fmla="*/ 902 h 902"/>
                <a:gd name="T86" fmla="*/ 838 w 902"/>
                <a:gd name="T87" fmla="*/ 902 h 902"/>
                <a:gd name="T88" fmla="*/ 858 w 902"/>
                <a:gd name="T89" fmla="*/ 897 h 902"/>
                <a:gd name="T90" fmla="*/ 877 w 902"/>
                <a:gd name="T91" fmla="*/ 886 h 902"/>
                <a:gd name="T92" fmla="*/ 891 w 902"/>
                <a:gd name="T93" fmla="*/ 870 h 902"/>
                <a:gd name="T94" fmla="*/ 899 w 902"/>
                <a:gd name="T95" fmla="*/ 852 h 902"/>
                <a:gd name="T96" fmla="*/ 902 w 902"/>
                <a:gd name="T97" fmla="*/ 831 h 902"/>
                <a:gd name="T98" fmla="*/ 902 w 902"/>
                <a:gd name="T99" fmla="*/ 43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2" h="902">
                  <a:moveTo>
                    <a:pt x="831" y="872"/>
                  </a:moveTo>
                  <a:lnTo>
                    <a:pt x="71" y="872"/>
                  </a:lnTo>
                  <a:lnTo>
                    <a:pt x="64" y="871"/>
                  </a:lnTo>
                  <a:lnTo>
                    <a:pt x="55" y="869"/>
                  </a:lnTo>
                  <a:lnTo>
                    <a:pt x="49" y="865"/>
                  </a:lnTo>
                  <a:lnTo>
                    <a:pt x="43" y="861"/>
                  </a:lnTo>
                  <a:lnTo>
                    <a:pt x="37" y="854"/>
                  </a:lnTo>
                  <a:lnTo>
                    <a:pt x="33" y="847"/>
                  </a:lnTo>
                  <a:lnTo>
                    <a:pt x="31" y="839"/>
                  </a:lnTo>
                  <a:lnTo>
                    <a:pt x="30" y="831"/>
                  </a:lnTo>
                  <a:lnTo>
                    <a:pt x="30" y="461"/>
                  </a:lnTo>
                  <a:lnTo>
                    <a:pt x="234" y="597"/>
                  </a:lnTo>
                  <a:lnTo>
                    <a:pt x="239" y="598"/>
                  </a:lnTo>
                  <a:lnTo>
                    <a:pt x="243" y="599"/>
                  </a:lnTo>
                  <a:lnTo>
                    <a:pt x="246" y="599"/>
                  </a:lnTo>
                  <a:lnTo>
                    <a:pt x="249" y="597"/>
                  </a:lnTo>
                  <a:lnTo>
                    <a:pt x="253" y="595"/>
                  </a:lnTo>
                  <a:lnTo>
                    <a:pt x="255" y="593"/>
                  </a:lnTo>
                  <a:lnTo>
                    <a:pt x="257" y="589"/>
                  </a:lnTo>
                  <a:lnTo>
                    <a:pt x="257" y="587"/>
                  </a:lnTo>
                  <a:lnTo>
                    <a:pt x="258" y="584"/>
                  </a:lnTo>
                  <a:lnTo>
                    <a:pt x="257" y="581"/>
                  </a:lnTo>
                  <a:lnTo>
                    <a:pt x="257" y="579"/>
                  </a:lnTo>
                  <a:lnTo>
                    <a:pt x="255" y="575"/>
                  </a:lnTo>
                  <a:lnTo>
                    <a:pt x="254" y="573"/>
                  </a:lnTo>
                  <a:lnTo>
                    <a:pt x="251" y="571"/>
                  </a:lnTo>
                  <a:lnTo>
                    <a:pt x="181" y="524"/>
                  </a:lnTo>
                  <a:lnTo>
                    <a:pt x="181" y="30"/>
                  </a:lnTo>
                  <a:lnTo>
                    <a:pt x="722" y="30"/>
                  </a:lnTo>
                  <a:lnTo>
                    <a:pt x="722" y="524"/>
                  </a:lnTo>
                  <a:lnTo>
                    <a:pt x="652" y="571"/>
                  </a:lnTo>
                  <a:lnTo>
                    <a:pt x="649" y="573"/>
                  </a:lnTo>
                  <a:lnTo>
                    <a:pt x="647" y="575"/>
                  </a:lnTo>
                  <a:lnTo>
                    <a:pt x="646" y="579"/>
                  </a:lnTo>
                  <a:lnTo>
                    <a:pt x="645" y="581"/>
                  </a:lnTo>
                  <a:lnTo>
                    <a:pt x="645" y="584"/>
                  </a:lnTo>
                  <a:lnTo>
                    <a:pt x="645" y="587"/>
                  </a:lnTo>
                  <a:lnTo>
                    <a:pt x="646" y="589"/>
                  </a:lnTo>
                  <a:lnTo>
                    <a:pt x="647" y="593"/>
                  </a:lnTo>
                  <a:lnTo>
                    <a:pt x="650" y="595"/>
                  </a:lnTo>
                  <a:lnTo>
                    <a:pt x="653" y="597"/>
                  </a:lnTo>
                  <a:lnTo>
                    <a:pt x="657" y="599"/>
                  </a:lnTo>
                  <a:lnTo>
                    <a:pt x="660" y="599"/>
                  </a:lnTo>
                  <a:lnTo>
                    <a:pt x="664" y="598"/>
                  </a:lnTo>
                  <a:lnTo>
                    <a:pt x="669" y="597"/>
                  </a:lnTo>
                  <a:lnTo>
                    <a:pt x="872" y="461"/>
                  </a:lnTo>
                  <a:lnTo>
                    <a:pt x="872" y="831"/>
                  </a:lnTo>
                  <a:lnTo>
                    <a:pt x="871" y="839"/>
                  </a:lnTo>
                  <a:lnTo>
                    <a:pt x="869" y="847"/>
                  </a:lnTo>
                  <a:lnTo>
                    <a:pt x="865" y="854"/>
                  </a:lnTo>
                  <a:lnTo>
                    <a:pt x="861" y="861"/>
                  </a:lnTo>
                  <a:lnTo>
                    <a:pt x="854" y="865"/>
                  </a:lnTo>
                  <a:lnTo>
                    <a:pt x="847" y="869"/>
                  </a:lnTo>
                  <a:lnTo>
                    <a:pt x="839" y="871"/>
                  </a:lnTo>
                  <a:lnTo>
                    <a:pt x="831" y="872"/>
                  </a:lnTo>
                  <a:close/>
                  <a:moveTo>
                    <a:pt x="151" y="505"/>
                  </a:moveTo>
                  <a:lnTo>
                    <a:pt x="43" y="432"/>
                  </a:lnTo>
                  <a:lnTo>
                    <a:pt x="151" y="359"/>
                  </a:lnTo>
                  <a:lnTo>
                    <a:pt x="151" y="505"/>
                  </a:lnTo>
                  <a:close/>
                  <a:moveTo>
                    <a:pt x="861" y="432"/>
                  </a:moveTo>
                  <a:lnTo>
                    <a:pt x="752" y="505"/>
                  </a:lnTo>
                  <a:lnTo>
                    <a:pt x="752" y="359"/>
                  </a:lnTo>
                  <a:lnTo>
                    <a:pt x="861" y="432"/>
                  </a:lnTo>
                  <a:close/>
                  <a:moveTo>
                    <a:pt x="902" y="430"/>
                  </a:moveTo>
                  <a:lnTo>
                    <a:pt x="902" y="430"/>
                  </a:lnTo>
                  <a:lnTo>
                    <a:pt x="902" y="430"/>
                  </a:lnTo>
                  <a:lnTo>
                    <a:pt x="901" y="426"/>
                  </a:lnTo>
                  <a:lnTo>
                    <a:pt x="900" y="424"/>
                  </a:lnTo>
                  <a:lnTo>
                    <a:pt x="900" y="424"/>
                  </a:lnTo>
                  <a:lnTo>
                    <a:pt x="900" y="424"/>
                  </a:lnTo>
                  <a:lnTo>
                    <a:pt x="900" y="423"/>
                  </a:lnTo>
                  <a:lnTo>
                    <a:pt x="899" y="423"/>
                  </a:lnTo>
                  <a:lnTo>
                    <a:pt x="898" y="421"/>
                  </a:lnTo>
                  <a:lnTo>
                    <a:pt x="896" y="420"/>
                  </a:lnTo>
                  <a:lnTo>
                    <a:pt x="896" y="420"/>
                  </a:lnTo>
                  <a:lnTo>
                    <a:pt x="896" y="420"/>
                  </a:lnTo>
                  <a:lnTo>
                    <a:pt x="896" y="420"/>
                  </a:lnTo>
                  <a:lnTo>
                    <a:pt x="752" y="322"/>
                  </a:lnTo>
                  <a:lnTo>
                    <a:pt x="752" y="15"/>
                  </a:lnTo>
                  <a:lnTo>
                    <a:pt x="752" y="11"/>
                  </a:lnTo>
                  <a:lnTo>
                    <a:pt x="751" y="9"/>
                  </a:lnTo>
                  <a:lnTo>
                    <a:pt x="749" y="6"/>
                  </a:lnTo>
                  <a:lnTo>
                    <a:pt x="748" y="4"/>
                  </a:lnTo>
                  <a:lnTo>
                    <a:pt x="746" y="3"/>
                  </a:lnTo>
                  <a:lnTo>
                    <a:pt x="743" y="1"/>
                  </a:lnTo>
                  <a:lnTo>
                    <a:pt x="741" y="0"/>
                  </a:lnTo>
                  <a:lnTo>
                    <a:pt x="737" y="0"/>
                  </a:lnTo>
                  <a:lnTo>
                    <a:pt x="166" y="0"/>
                  </a:lnTo>
                  <a:lnTo>
                    <a:pt x="163" y="0"/>
                  </a:lnTo>
                  <a:lnTo>
                    <a:pt x="159" y="1"/>
                  </a:lnTo>
                  <a:lnTo>
                    <a:pt x="157" y="3"/>
                  </a:lnTo>
                  <a:lnTo>
                    <a:pt x="155" y="4"/>
                  </a:lnTo>
                  <a:lnTo>
                    <a:pt x="153" y="6"/>
                  </a:lnTo>
                  <a:lnTo>
                    <a:pt x="152" y="9"/>
                  </a:lnTo>
                  <a:lnTo>
                    <a:pt x="151" y="11"/>
                  </a:lnTo>
                  <a:lnTo>
                    <a:pt x="151" y="15"/>
                  </a:lnTo>
                  <a:lnTo>
                    <a:pt x="151" y="322"/>
                  </a:lnTo>
                  <a:lnTo>
                    <a:pt x="7" y="420"/>
                  </a:lnTo>
                  <a:lnTo>
                    <a:pt x="7" y="420"/>
                  </a:lnTo>
                  <a:lnTo>
                    <a:pt x="7" y="420"/>
                  </a:lnTo>
                  <a:lnTo>
                    <a:pt x="6" y="420"/>
                  </a:lnTo>
                  <a:lnTo>
                    <a:pt x="5" y="421"/>
                  </a:lnTo>
                  <a:lnTo>
                    <a:pt x="3" y="423"/>
                  </a:lnTo>
                  <a:lnTo>
                    <a:pt x="3" y="423"/>
                  </a:lnTo>
                  <a:lnTo>
                    <a:pt x="3" y="424"/>
                  </a:lnTo>
                  <a:lnTo>
                    <a:pt x="3" y="424"/>
                  </a:lnTo>
                  <a:lnTo>
                    <a:pt x="2" y="424"/>
                  </a:lnTo>
                  <a:lnTo>
                    <a:pt x="1" y="426"/>
                  </a:lnTo>
                  <a:lnTo>
                    <a:pt x="1" y="430"/>
                  </a:lnTo>
                  <a:lnTo>
                    <a:pt x="1" y="430"/>
                  </a:lnTo>
                  <a:lnTo>
                    <a:pt x="1" y="430"/>
                  </a:lnTo>
                  <a:lnTo>
                    <a:pt x="0" y="431"/>
                  </a:lnTo>
                  <a:lnTo>
                    <a:pt x="0" y="432"/>
                  </a:lnTo>
                  <a:lnTo>
                    <a:pt x="0" y="831"/>
                  </a:lnTo>
                  <a:lnTo>
                    <a:pt x="1" y="838"/>
                  </a:lnTo>
                  <a:lnTo>
                    <a:pt x="2" y="845"/>
                  </a:lnTo>
                  <a:lnTo>
                    <a:pt x="3" y="852"/>
                  </a:lnTo>
                  <a:lnTo>
                    <a:pt x="6" y="858"/>
                  </a:lnTo>
                  <a:lnTo>
                    <a:pt x="8" y="865"/>
                  </a:lnTo>
                  <a:lnTo>
                    <a:pt x="13" y="870"/>
                  </a:lnTo>
                  <a:lnTo>
                    <a:pt x="17" y="877"/>
                  </a:lnTo>
                  <a:lnTo>
                    <a:pt x="21" y="881"/>
                  </a:lnTo>
                  <a:lnTo>
                    <a:pt x="26" y="886"/>
                  </a:lnTo>
                  <a:lnTo>
                    <a:pt x="32" y="891"/>
                  </a:lnTo>
                  <a:lnTo>
                    <a:pt x="37" y="894"/>
                  </a:lnTo>
                  <a:lnTo>
                    <a:pt x="44" y="897"/>
                  </a:lnTo>
                  <a:lnTo>
                    <a:pt x="50" y="899"/>
                  </a:lnTo>
                  <a:lnTo>
                    <a:pt x="58" y="901"/>
                  </a:lnTo>
                  <a:lnTo>
                    <a:pt x="65" y="902"/>
                  </a:lnTo>
                  <a:lnTo>
                    <a:pt x="71" y="902"/>
                  </a:lnTo>
                  <a:lnTo>
                    <a:pt x="831" y="902"/>
                  </a:lnTo>
                  <a:lnTo>
                    <a:pt x="838" y="902"/>
                  </a:lnTo>
                  <a:lnTo>
                    <a:pt x="846" y="901"/>
                  </a:lnTo>
                  <a:lnTo>
                    <a:pt x="852" y="899"/>
                  </a:lnTo>
                  <a:lnTo>
                    <a:pt x="858" y="897"/>
                  </a:lnTo>
                  <a:lnTo>
                    <a:pt x="865" y="894"/>
                  </a:lnTo>
                  <a:lnTo>
                    <a:pt x="871" y="891"/>
                  </a:lnTo>
                  <a:lnTo>
                    <a:pt x="877" y="886"/>
                  </a:lnTo>
                  <a:lnTo>
                    <a:pt x="881" y="881"/>
                  </a:lnTo>
                  <a:lnTo>
                    <a:pt x="886" y="877"/>
                  </a:lnTo>
                  <a:lnTo>
                    <a:pt x="891" y="870"/>
                  </a:lnTo>
                  <a:lnTo>
                    <a:pt x="894" y="865"/>
                  </a:lnTo>
                  <a:lnTo>
                    <a:pt x="897" y="858"/>
                  </a:lnTo>
                  <a:lnTo>
                    <a:pt x="899" y="852"/>
                  </a:lnTo>
                  <a:lnTo>
                    <a:pt x="901" y="846"/>
                  </a:lnTo>
                  <a:lnTo>
                    <a:pt x="902" y="838"/>
                  </a:lnTo>
                  <a:lnTo>
                    <a:pt x="902" y="831"/>
                  </a:lnTo>
                  <a:lnTo>
                    <a:pt x="902" y="432"/>
                  </a:lnTo>
                  <a:lnTo>
                    <a:pt x="902" y="431"/>
                  </a:lnTo>
                  <a:lnTo>
                    <a:pt x="902" y="4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4" name="Freeform 15">
              <a:extLst>
                <a:ext uri="{FF2B5EF4-FFF2-40B4-BE49-F238E27FC236}">
                  <a16:creationId xmlns:a16="http://schemas.microsoft.com/office/drawing/2014/main" id="{B839F873-E713-4EA9-BC24-B3FA6B373A05}"/>
                </a:ext>
              </a:extLst>
            </p:cNvPr>
            <p:cNvSpPr>
              <a:spLocks/>
            </p:cNvSpPr>
            <p:nvPr/>
          </p:nvSpPr>
          <p:spPr bwMode="auto">
            <a:xfrm>
              <a:off x="4926013" y="2682875"/>
              <a:ext cx="219075" cy="61913"/>
            </a:xfrm>
            <a:custGeom>
              <a:avLst/>
              <a:gdLst>
                <a:gd name="T0" fmla="*/ 491 w 691"/>
                <a:gd name="T1" fmla="*/ 4 h 196"/>
                <a:gd name="T2" fmla="*/ 486 w 691"/>
                <a:gd name="T3" fmla="*/ 1 h 196"/>
                <a:gd name="T4" fmla="*/ 481 w 691"/>
                <a:gd name="T5" fmla="*/ 0 h 196"/>
                <a:gd name="T6" fmla="*/ 210 w 691"/>
                <a:gd name="T7" fmla="*/ 0 h 196"/>
                <a:gd name="T8" fmla="*/ 205 w 691"/>
                <a:gd name="T9" fmla="*/ 1 h 196"/>
                <a:gd name="T10" fmla="*/ 200 w 691"/>
                <a:gd name="T11" fmla="*/ 4 h 196"/>
                <a:gd name="T12" fmla="*/ 4 w 691"/>
                <a:gd name="T13" fmla="*/ 170 h 196"/>
                <a:gd name="T14" fmla="*/ 2 w 691"/>
                <a:gd name="T15" fmla="*/ 172 h 196"/>
                <a:gd name="T16" fmla="*/ 1 w 691"/>
                <a:gd name="T17" fmla="*/ 174 h 196"/>
                <a:gd name="T18" fmla="*/ 0 w 691"/>
                <a:gd name="T19" fmla="*/ 177 h 196"/>
                <a:gd name="T20" fmla="*/ 0 w 691"/>
                <a:gd name="T21" fmla="*/ 180 h 196"/>
                <a:gd name="T22" fmla="*/ 0 w 691"/>
                <a:gd name="T23" fmla="*/ 182 h 196"/>
                <a:gd name="T24" fmla="*/ 0 w 691"/>
                <a:gd name="T25" fmla="*/ 186 h 196"/>
                <a:gd name="T26" fmla="*/ 1 w 691"/>
                <a:gd name="T27" fmla="*/ 189 h 196"/>
                <a:gd name="T28" fmla="*/ 3 w 691"/>
                <a:gd name="T29" fmla="*/ 191 h 196"/>
                <a:gd name="T30" fmla="*/ 5 w 691"/>
                <a:gd name="T31" fmla="*/ 193 h 196"/>
                <a:gd name="T32" fmla="*/ 7 w 691"/>
                <a:gd name="T33" fmla="*/ 194 h 196"/>
                <a:gd name="T34" fmla="*/ 11 w 691"/>
                <a:gd name="T35" fmla="*/ 195 h 196"/>
                <a:gd name="T36" fmla="*/ 13 w 691"/>
                <a:gd name="T37" fmla="*/ 196 h 196"/>
                <a:gd name="T38" fmla="*/ 16 w 691"/>
                <a:gd name="T39" fmla="*/ 196 h 196"/>
                <a:gd name="T40" fmla="*/ 19 w 691"/>
                <a:gd name="T41" fmla="*/ 195 h 196"/>
                <a:gd name="T42" fmla="*/ 21 w 691"/>
                <a:gd name="T43" fmla="*/ 194 h 196"/>
                <a:gd name="T44" fmla="*/ 24 w 691"/>
                <a:gd name="T45" fmla="*/ 193 h 196"/>
                <a:gd name="T46" fmla="*/ 215 w 691"/>
                <a:gd name="T47" fmla="*/ 31 h 196"/>
                <a:gd name="T48" fmla="*/ 475 w 691"/>
                <a:gd name="T49" fmla="*/ 31 h 196"/>
                <a:gd name="T50" fmla="*/ 667 w 691"/>
                <a:gd name="T51" fmla="*/ 193 h 196"/>
                <a:gd name="T52" fmla="*/ 671 w 691"/>
                <a:gd name="T53" fmla="*/ 195 h 196"/>
                <a:gd name="T54" fmla="*/ 676 w 691"/>
                <a:gd name="T55" fmla="*/ 196 h 196"/>
                <a:gd name="T56" fmla="*/ 680 w 691"/>
                <a:gd name="T57" fmla="*/ 196 h 196"/>
                <a:gd name="T58" fmla="*/ 683 w 691"/>
                <a:gd name="T59" fmla="*/ 195 h 196"/>
                <a:gd name="T60" fmla="*/ 685 w 691"/>
                <a:gd name="T61" fmla="*/ 193 h 196"/>
                <a:gd name="T62" fmla="*/ 688 w 691"/>
                <a:gd name="T63" fmla="*/ 191 h 196"/>
                <a:gd name="T64" fmla="*/ 689 w 691"/>
                <a:gd name="T65" fmla="*/ 189 h 196"/>
                <a:gd name="T66" fmla="*/ 690 w 691"/>
                <a:gd name="T67" fmla="*/ 186 h 196"/>
                <a:gd name="T68" fmla="*/ 691 w 691"/>
                <a:gd name="T69" fmla="*/ 182 h 196"/>
                <a:gd name="T70" fmla="*/ 691 w 691"/>
                <a:gd name="T71" fmla="*/ 180 h 196"/>
                <a:gd name="T72" fmla="*/ 690 w 691"/>
                <a:gd name="T73" fmla="*/ 177 h 196"/>
                <a:gd name="T74" fmla="*/ 689 w 691"/>
                <a:gd name="T75" fmla="*/ 174 h 196"/>
                <a:gd name="T76" fmla="*/ 688 w 691"/>
                <a:gd name="T77" fmla="*/ 172 h 196"/>
                <a:gd name="T78" fmla="*/ 686 w 691"/>
                <a:gd name="T79" fmla="*/ 170 h 196"/>
                <a:gd name="T80" fmla="*/ 491 w 691"/>
                <a:gd name="T81" fmla="*/ 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1" h="196">
                  <a:moveTo>
                    <a:pt x="491" y="4"/>
                  </a:moveTo>
                  <a:lnTo>
                    <a:pt x="486" y="1"/>
                  </a:lnTo>
                  <a:lnTo>
                    <a:pt x="481" y="0"/>
                  </a:lnTo>
                  <a:lnTo>
                    <a:pt x="210" y="0"/>
                  </a:lnTo>
                  <a:lnTo>
                    <a:pt x="205" y="1"/>
                  </a:lnTo>
                  <a:lnTo>
                    <a:pt x="200" y="4"/>
                  </a:lnTo>
                  <a:lnTo>
                    <a:pt x="4" y="170"/>
                  </a:lnTo>
                  <a:lnTo>
                    <a:pt x="2" y="172"/>
                  </a:lnTo>
                  <a:lnTo>
                    <a:pt x="1" y="174"/>
                  </a:lnTo>
                  <a:lnTo>
                    <a:pt x="0" y="177"/>
                  </a:lnTo>
                  <a:lnTo>
                    <a:pt x="0" y="180"/>
                  </a:lnTo>
                  <a:lnTo>
                    <a:pt x="0" y="182"/>
                  </a:lnTo>
                  <a:lnTo>
                    <a:pt x="0" y="186"/>
                  </a:lnTo>
                  <a:lnTo>
                    <a:pt x="1" y="189"/>
                  </a:lnTo>
                  <a:lnTo>
                    <a:pt x="3" y="191"/>
                  </a:lnTo>
                  <a:lnTo>
                    <a:pt x="5" y="193"/>
                  </a:lnTo>
                  <a:lnTo>
                    <a:pt x="7" y="194"/>
                  </a:lnTo>
                  <a:lnTo>
                    <a:pt x="11" y="195"/>
                  </a:lnTo>
                  <a:lnTo>
                    <a:pt x="13" y="196"/>
                  </a:lnTo>
                  <a:lnTo>
                    <a:pt x="16" y="196"/>
                  </a:lnTo>
                  <a:lnTo>
                    <a:pt x="19" y="195"/>
                  </a:lnTo>
                  <a:lnTo>
                    <a:pt x="21" y="194"/>
                  </a:lnTo>
                  <a:lnTo>
                    <a:pt x="24" y="193"/>
                  </a:lnTo>
                  <a:lnTo>
                    <a:pt x="215" y="31"/>
                  </a:lnTo>
                  <a:lnTo>
                    <a:pt x="475" y="31"/>
                  </a:lnTo>
                  <a:lnTo>
                    <a:pt x="667" y="193"/>
                  </a:lnTo>
                  <a:lnTo>
                    <a:pt x="671" y="195"/>
                  </a:lnTo>
                  <a:lnTo>
                    <a:pt x="676" y="196"/>
                  </a:lnTo>
                  <a:lnTo>
                    <a:pt x="680" y="196"/>
                  </a:lnTo>
                  <a:lnTo>
                    <a:pt x="683" y="195"/>
                  </a:lnTo>
                  <a:lnTo>
                    <a:pt x="685" y="193"/>
                  </a:lnTo>
                  <a:lnTo>
                    <a:pt x="688" y="191"/>
                  </a:lnTo>
                  <a:lnTo>
                    <a:pt x="689" y="189"/>
                  </a:lnTo>
                  <a:lnTo>
                    <a:pt x="690" y="186"/>
                  </a:lnTo>
                  <a:lnTo>
                    <a:pt x="691" y="182"/>
                  </a:lnTo>
                  <a:lnTo>
                    <a:pt x="691" y="180"/>
                  </a:lnTo>
                  <a:lnTo>
                    <a:pt x="690" y="177"/>
                  </a:lnTo>
                  <a:lnTo>
                    <a:pt x="689" y="174"/>
                  </a:lnTo>
                  <a:lnTo>
                    <a:pt x="688" y="172"/>
                  </a:lnTo>
                  <a:lnTo>
                    <a:pt x="686" y="170"/>
                  </a:lnTo>
                  <a:lnTo>
                    <a:pt x="49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5" name="Freeform 16">
              <a:extLst>
                <a:ext uri="{FF2B5EF4-FFF2-40B4-BE49-F238E27FC236}">
                  <a16:creationId xmlns:a16="http://schemas.microsoft.com/office/drawing/2014/main" id="{00F722FB-81F0-40B7-97E9-2B2D079D7339}"/>
                </a:ext>
              </a:extLst>
            </p:cNvPr>
            <p:cNvSpPr>
              <a:spLocks/>
            </p:cNvSpPr>
            <p:nvPr/>
          </p:nvSpPr>
          <p:spPr bwMode="auto">
            <a:xfrm>
              <a:off x="4978400" y="2528888"/>
              <a:ext cx="33338" cy="11113"/>
            </a:xfrm>
            <a:custGeom>
              <a:avLst/>
              <a:gdLst>
                <a:gd name="T0" fmla="*/ 15 w 105"/>
                <a:gd name="T1" fmla="*/ 31 h 31"/>
                <a:gd name="T2" fmla="*/ 90 w 105"/>
                <a:gd name="T3" fmla="*/ 31 h 31"/>
                <a:gd name="T4" fmla="*/ 93 w 105"/>
                <a:gd name="T5" fmla="*/ 30 h 31"/>
                <a:gd name="T6" fmla="*/ 95 w 105"/>
                <a:gd name="T7" fmla="*/ 29 h 31"/>
                <a:gd name="T8" fmla="*/ 99 w 105"/>
                <a:gd name="T9" fmla="*/ 28 h 31"/>
                <a:gd name="T10" fmla="*/ 101 w 105"/>
                <a:gd name="T11" fmla="*/ 25 h 31"/>
                <a:gd name="T12" fmla="*/ 103 w 105"/>
                <a:gd name="T13" fmla="*/ 23 h 31"/>
                <a:gd name="T14" fmla="*/ 104 w 105"/>
                <a:gd name="T15" fmla="*/ 21 h 31"/>
                <a:gd name="T16" fmla="*/ 105 w 105"/>
                <a:gd name="T17" fmla="*/ 18 h 31"/>
                <a:gd name="T18" fmla="*/ 105 w 105"/>
                <a:gd name="T19" fmla="*/ 15 h 31"/>
                <a:gd name="T20" fmla="*/ 105 w 105"/>
                <a:gd name="T21" fmla="*/ 13 h 31"/>
                <a:gd name="T22" fmla="*/ 104 w 105"/>
                <a:gd name="T23" fmla="*/ 9 h 31"/>
                <a:gd name="T24" fmla="*/ 103 w 105"/>
                <a:gd name="T25" fmla="*/ 7 h 31"/>
                <a:gd name="T26" fmla="*/ 101 w 105"/>
                <a:gd name="T27" fmla="*/ 5 h 31"/>
                <a:gd name="T28" fmla="*/ 99 w 105"/>
                <a:gd name="T29" fmla="*/ 3 h 31"/>
                <a:gd name="T30" fmla="*/ 95 w 105"/>
                <a:gd name="T31" fmla="*/ 2 h 31"/>
                <a:gd name="T32" fmla="*/ 93 w 105"/>
                <a:gd name="T33" fmla="*/ 1 h 31"/>
                <a:gd name="T34" fmla="*/ 90 w 105"/>
                <a:gd name="T35" fmla="*/ 0 h 31"/>
                <a:gd name="T36" fmla="*/ 15 w 105"/>
                <a:gd name="T37" fmla="*/ 0 h 31"/>
                <a:gd name="T38" fmla="*/ 12 w 105"/>
                <a:gd name="T39" fmla="*/ 1 h 31"/>
                <a:gd name="T40" fmla="*/ 8 w 105"/>
                <a:gd name="T41" fmla="*/ 2 h 31"/>
                <a:gd name="T42" fmla="*/ 6 w 105"/>
                <a:gd name="T43" fmla="*/ 3 h 31"/>
                <a:gd name="T44" fmla="*/ 4 w 105"/>
                <a:gd name="T45" fmla="*/ 5 h 31"/>
                <a:gd name="T46" fmla="*/ 2 w 105"/>
                <a:gd name="T47" fmla="*/ 7 h 31"/>
                <a:gd name="T48" fmla="*/ 1 w 105"/>
                <a:gd name="T49" fmla="*/ 9 h 31"/>
                <a:gd name="T50" fmla="*/ 0 w 105"/>
                <a:gd name="T51" fmla="*/ 13 h 31"/>
                <a:gd name="T52" fmla="*/ 0 w 105"/>
                <a:gd name="T53" fmla="*/ 15 h 31"/>
                <a:gd name="T54" fmla="*/ 0 w 105"/>
                <a:gd name="T55" fmla="*/ 18 h 31"/>
                <a:gd name="T56" fmla="*/ 1 w 105"/>
                <a:gd name="T57" fmla="*/ 21 h 31"/>
                <a:gd name="T58" fmla="*/ 2 w 105"/>
                <a:gd name="T59" fmla="*/ 23 h 31"/>
                <a:gd name="T60" fmla="*/ 4 w 105"/>
                <a:gd name="T61" fmla="*/ 25 h 31"/>
                <a:gd name="T62" fmla="*/ 6 w 105"/>
                <a:gd name="T63" fmla="*/ 28 h 31"/>
                <a:gd name="T64" fmla="*/ 8 w 105"/>
                <a:gd name="T65" fmla="*/ 29 h 31"/>
                <a:gd name="T66" fmla="*/ 12 w 105"/>
                <a:gd name="T67" fmla="*/ 30 h 31"/>
                <a:gd name="T68" fmla="*/ 15 w 105"/>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31">
                  <a:moveTo>
                    <a:pt x="15" y="31"/>
                  </a:moveTo>
                  <a:lnTo>
                    <a:pt x="90" y="31"/>
                  </a:lnTo>
                  <a:lnTo>
                    <a:pt x="93" y="30"/>
                  </a:lnTo>
                  <a:lnTo>
                    <a:pt x="95" y="29"/>
                  </a:lnTo>
                  <a:lnTo>
                    <a:pt x="99" y="28"/>
                  </a:lnTo>
                  <a:lnTo>
                    <a:pt x="101" y="25"/>
                  </a:lnTo>
                  <a:lnTo>
                    <a:pt x="103" y="23"/>
                  </a:lnTo>
                  <a:lnTo>
                    <a:pt x="104" y="21"/>
                  </a:lnTo>
                  <a:lnTo>
                    <a:pt x="105" y="18"/>
                  </a:lnTo>
                  <a:lnTo>
                    <a:pt x="105" y="15"/>
                  </a:lnTo>
                  <a:lnTo>
                    <a:pt x="105" y="13"/>
                  </a:lnTo>
                  <a:lnTo>
                    <a:pt x="104" y="9"/>
                  </a:lnTo>
                  <a:lnTo>
                    <a:pt x="103" y="7"/>
                  </a:lnTo>
                  <a:lnTo>
                    <a:pt x="101" y="5"/>
                  </a:lnTo>
                  <a:lnTo>
                    <a:pt x="99" y="3"/>
                  </a:lnTo>
                  <a:lnTo>
                    <a:pt x="95" y="2"/>
                  </a:lnTo>
                  <a:lnTo>
                    <a:pt x="93" y="1"/>
                  </a:lnTo>
                  <a:lnTo>
                    <a:pt x="90" y="0"/>
                  </a:lnTo>
                  <a:lnTo>
                    <a:pt x="15" y="0"/>
                  </a:lnTo>
                  <a:lnTo>
                    <a:pt x="12" y="1"/>
                  </a:lnTo>
                  <a:lnTo>
                    <a:pt x="8" y="2"/>
                  </a:lnTo>
                  <a:lnTo>
                    <a:pt x="6" y="3"/>
                  </a:lnTo>
                  <a:lnTo>
                    <a:pt x="4" y="5"/>
                  </a:lnTo>
                  <a:lnTo>
                    <a:pt x="2" y="7"/>
                  </a:lnTo>
                  <a:lnTo>
                    <a:pt x="1" y="9"/>
                  </a:lnTo>
                  <a:lnTo>
                    <a:pt x="0" y="13"/>
                  </a:lnTo>
                  <a:lnTo>
                    <a:pt x="0" y="15"/>
                  </a:lnTo>
                  <a:lnTo>
                    <a:pt x="0" y="18"/>
                  </a:lnTo>
                  <a:lnTo>
                    <a:pt x="1" y="21"/>
                  </a:lnTo>
                  <a:lnTo>
                    <a:pt x="2" y="23"/>
                  </a:lnTo>
                  <a:lnTo>
                    <a:pt x="4" y="25"/>
                  </a:lnTo>
                  <a:lnTo>
                    <a:pt x="6" y="28"/>
                  </a:lnTo>
                  <a:lnTo>
                    <a:pt x="8" y="29"/>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6" name="Freeform 17">
              <a:extLst>
                <a:ext uri="{FF2B5EF4-FFF2-40B4-BE49-F238E27FC236}">
                  <a16:creationId xmlns:a16="http://schemas.microsoft.com/office/drawing/2014/main" id="{573073B9-E9DD-4B3E-97A6-303B8ACB862F}"/>
                </a:ext>
              </a:extLst>
            </p:cNvPr>
            <p:cNvSpPr>
              <a:spLocks/>
            </p:cNvSpPr>
            <p:nvPr/>
          </p:nvSpPr>
          <p:spPr bwMode="auto">
            <a:xfrm>
              <a:off x="5002213" y="2559050"/>
              <a:ext cx="90488" cy="9525"/>
            </a:xfrm>
            <a:custGeom>
              <a:avLst/>
              <a:gdLst>
                <a:gd name="T0" fmla="*/ 0 w 286"/>
                <a:gd name="T1" fmla="*/ 15 h 30"/>
                <a:gd name="T2" fmla="*/ 0 w 286"/>
                <a:gd name="T3" fmla="*/ 17 h 30"/>
                <a:gd name="T4" fmla="*/ 1 w 286"/>
                <a:gd name="T5" fmla="*/ 20 h 30"/>
                <a:gd name="T6" fmla="*/ 2 w 286"/>
                <a:gd name="T7" fmla="*/ 22 h 30"/>
                <a:gd name="T8" fmla="*/ 4 w 286"/>
                <a:gd name="T9" fmla="*/ 26 h 30"/>
                <a:gd name="T10" fmla="*/ 6 w 286"/>
                <a:gd name="T11" fmla="*/ 27 h 30"/>
                <a:gd name="T12" fmla="*/ 10 w 286"/>
                <a:gd name="T13" fmla="*/ 29 h 30"/>
                <a:gd name="T14" fmla="*/ 12 w 286"/>
                <a:gd name="T15" fmla="*/ 29 h 30"/>
                <a:gd name="T16" fmla="*/ 15 w 286"/>
                <a:gd name="T17" fmla="*/ 30 h 30"/>
                <a:gd name="T18" fmla="*/ 271 w 286"/>
                <a:gd name="T19" fmla="*/ 30 h 30"/>
                <a:gd name="T20" fmla="*/ 273 w 286"/>
                <a:gd name="T21" fmla="*/ 29 h 30"/>
                <a:gd name="T22" fmla="*/ 277 w 286"/>
                <a:gd name="T23" fmla="*/ 29 h 30"/>
                <a:gd name="T24" fmla="*/ 279 w 286"/>
                <a:gd name="T25" fmla="*/ 27 h 30"/>
                <a:gd name="T26" fmla="*/ 281 w 286"/>
                <a:gd name="T27" fmla="*/ 26 h 30"/>
                <a:gd name="T28" fmla="*/ 283 w 286"/>
                <a:gd name="T29" fmla="*/ 22 h 30"/>
                <a:gd name="T30" fmla="*/ 285 w 286"/>
                <a:gd name="T31" fmla="*/ 20 h 30"/>
                <a:gd name="T32" fmla="*/ 285 w 286"/>
                <a:gd name="T33" fmla="*/ 17 h 30"/>
                <a:gd name="T34" fmla="*/ 286 w 286"/>
                <a:gd name="T35" fmla="*/ 15 h 30"/>
                <a:gd name="T36" fmla="*/ 285 w 286"/>
                <a:gd name="T37" fmla="*/ 12 h 30"/>
                <a:gd name="T38" fmla="*/ 285 w 286"/>
                <a:gd name="T39" fmla="*/ 8 h 30"/>
                <a:gd name="T40" fmla="*/ 283 w 286"/>
                <a:gd name="T41" fmla="*/ 6 h 30"/>
                <a:gd name="T42" fmla="*/ 281 w 286"/>
                <a:gd name="T43" fmla="*/ 4 h 30"/>
                <a:gd name="T44" fmla="*/ 279 w 286"/>
                <a:gd name="T45" fmla="*/ 2 h 30"/>
                <a:gd name="T46" fmla="*/ 277 w 286"/>
                <a:gd name="T47" fmla="*/ 1 h 30"/>
                <a:gd name="T48" fmla="*/ 273 w 286"/>
                <a:gd name="T49" fmla="*/ 0 h 30"/>
                <a:gd name="T50" fmla="*/ 271 w 286"/>
                <a:gd name="T51" fmla="*/ 0 h 30"/>
                <a:gd name="T52" fmla="*/ 15 w 286"/>
                <a:gd name="T53" fmla="*/ 0 h 30"/>
                <a:gd name="T54" fmla="*/ 12 w 286"/>
                <a:gd name="T55" fmla="*/ 0 h 30"/>
                <a:gd name="T56" fmla="*/ 10 w 286"/>
                <a:gd name="T57" fmla="*/ 1 h 30"/>
                <a:gd name="T58" fmla="*/ 6 w 286"/>
                <a:gd name="T59" fmla="*/ 2 h 30"/>
                <a:gd name="T60" fmla="*/ 4 w 286"/>
                <a:gd name="T61" fmla="*/ 4 h 30"/>
                <a:gd name="T62" fmla="*/ 2 w 286"/>
                <a:gd name="T63" fmla="*/ 6 h 30"/>
                <a:gd name="T64" fmla="*/ 1 w 286"/>
                <a:gd name="T65" fmla="*/ 8 h 30"/>
                <a:gd name="T66" fmla="*/ 0 w 286"/>
                <a:gd name="T67" fmla="*/ 12 h 30"/>
                <a:gd name="T68" fmla="*/ 0 w 286"/>
                <a:gd name="T6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6" h="30">
                  <a:moveTo>
                    <a:pt x="0" y="15"/>
                  </a:moveTo>
                  <a:lnTo>
                    <a:pt x="0" y="17"/>
                  </a:lnTo>
                  <a:lnTo>
                    <a:pt x="1" y="20"/>
                  </a:lnTo>
                  <a:lnTo>
                    <a:pt x="2" y="22"/>
                  </a:lnTo>
                  <a:lnTo>
                    <a:pt x="4" y="26"/>
                  </a:lnTo>
                  <a:lnTo>
                    <a:pt x="6" y="27"/>
                  </a:lnTo>
                  <a:lnTo>
                    <a:pt x="10" y="29"/>
                  </a:lnTo>
                  <a:lnTo>
                    <a:pt x="12" y="29"/>
                  </a:lnTo>
                  <a:lnTo>
                    <a:pt x="15" y="30"/>
                  </a:lnTo>
                  <a:lnTo>
                    <a:pt x="271" y="30"/>
                  </a:lnTo>
                  <a:lnTo>
                    <a:pt x="273" y="29"/>
                  </a:lnTo>
                  <a:lnTo>
                    <a:pt x="277" y="29"/>
                  </a:lnTo>
                  <a:lnTo>
                    <a:pt x="279" y="27"/>
                  </a:lnTo>
                  <a:lnTo>
                    <a:pt x="281" y="26"/>
                  </a:lnTo>
                  <a:lnTo>
                    <a:pt x="283" y="22"/>
                  </a:lnTo>
                  <a:lnTo>
                    <a:pt x="285" y="20"/>
                  </a:lnTo>
                  <a:lnTo>
                    <a:pt x="285" y="17"/>
                  </a:lnTo>
                  <a:lnTo>
                    <a:pt x="286" y="15"/>
                  </a:lnTo>
                  <a:lnTo>
                    <a:pt x="285" y="12"/>
                  </a:lnTo>
                  <a:lnTo>
                    <a:pt x="285" y="8"/>
                  </a:lnTo>
                  <a:lnTo>
                    <a:pt x="283" y="6"/>
                  </a:lnTo>
                  <a:lnTo>
                    <a:pt x="281" y="4"/>
                  </a:lnTo>
                  <a:lnTo>
                    <a:pt x="279" y="2"/>
                  </a:lnTo>
                  <a:lnTo>
                    <a:pt x="277" y="1"/>
                  </a:lnTo>
                  <a:lnTo>
                    <a:pt x="273" y="0"/>
                  </a:lnTo>
                  <a:lnTo>
                    <a:pt x="271" y="0"/>
                  </a:lnTo>
                  <a:lnTo>
                    <a:pt x="15" y="0"/>
                  </a:lnTo>
                  <a:lnTo>
                    <a:pt x="12" y="0"/>
                  </a:lnTo>
                  <a:lnTo>
                    <a:pt x="10" y="1"/>
                  </a:lnTo>
                  <a:lnTo>
                    <a:pt x="6" y="2"/>
                  </a:lnTo>
                  <a:lnTo>
                    <a:pt x="4" y="4"/>
                  </a:lnTo>
                  <a:lnTo>
                    <a:pt x="2" y="6"/>
                  </a:lnTo>
                  <a:lnTo>
                    <a:pt x="1" y="8"/>
                  </a:lnTo>
                  <a:lnTo>
                    <a:pt x="0" y="12"/>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7" name="Freeform 18">
              <a:extLst>
                <a:ext uri="{FF2B5EF4-FFF2-40B4-BE49-F238E27FC236}">
                  <a16:creationId xmlns:a16="http://schemas.microsoft.com/office/drawing/2014/main" id="{FAF64FC8-E98D-4277-BB75-A2C75A2990E7}"/>
                </a:ext>
              </a:extLst>
            </p:cNvPr>
            <p:cNvSpPr>
              <a:spLocks/>
            </p:cNvSpPr>
            <p:nvPr/>
          </p:nvSpPr>
          <p:spPr bwMode="auto">
            <a:xfrm>
              <a:off x="4978400" y="2597150"/>
              <a:ext cx="114300" cy="9525"/>
            </a:xfrm>
            <a:custGeom>
              <a:avLst/>
              <a:gdLst>
                <a:gd name="T0" fmla="*/ 15 w 361"/>
                <a:gd name="T1" fmla="*/ 30 h 30"/>
                <a:gd name="T2" fmla="*/ 346 w 361"/>
                <a:gd name="T3" fmla="*/ 30 h 30"/>
                <a:gd name="T4" fmla="*/ 348 w 361"/>
                <a:gd name="T5" fmla="*/ 30 h 30"/>
                <a:gd name="T6" fmla="*/ 352 w 361"/>
                <a:gd name="T7" fmla="*/ 29 h 30"/>
                <a:gd name="T8" fmla="*/ 354 w 361"/>
                <a:gd name="T9" fmla="*/ 28 h 30"/>
                <a:gd name="T10" fmla="*/ 356 w 361"/>
                <a:gd name="T11" fmla="*/ 26 h 30"/>
                <a:gd name="T12" fmla="*/ 358 w 361"/>
                <a:gd name="T13" fmla="*/ 24 h 30"/>
                <a:gd name="T14" fmla="*/ 360 w 361"/>
                <a:gd name="T15" fmla="*/ 20 h 30"/>
                <a:gd name="T16" fmla="*/ 360 w 361"/>
                <a:gd name="T17" fmla="*/ 18 h 30"/>
                <a:gd name="T18" fmla="*/ 361 w 361"/>
                <a:gd name="T19" fmla="*/ 15 h 30"/>
                <a:gd name="T20" fmla="*/ 360 w 361"/>
                <a:gd name="T21" fmla="*/ 12 h 30"/>
                <a:gd name="T22" fmla="*/ 360 w 361"/>
                <a:gd name="T23" fmla="*/ 9 h 30"/>
                <a:gd name="T24" fmla="*/ 358 w 361"/>
                <a:gd name="T25" fmla="*/ 6 h 30"/>
                <a:gd name="T26" fmla="*/ 356 w 361"/>
                <a:gd name="T27" fmla="*/ 4 h 30"/>
                <a:gd name="T28" fmla="*/ 354 w 361"/>
                <a:gd name="T29" fmla="*/ 2 h 30"/>
                <a:gd name="T30" fmla="*/ 352 w 361"/>
                <a:gd name="T31" fmla="*/ 1 h 30"/>
                <a:gd name="T32" fmla="*/ 348 w 361"/>
                <a:gd name="T33" fmla="*/ 0 h 30"/>
                <a:gd name="T34" fmla="*/ 346 w 361"/>
                <a:gd name="T35" fmla="*/ 0 h 30"/>
                <a:gd name="T36" fmla="*/ 15 w 361"/>
                <a:gd name="T37" fmla="*/ 0 h 30"/>
                <a:gd name="T38" fmla="*/ 12 w 361"/>
                <a:gd name="T39" fmla="*/ 0 h 30"/>
                <a:gd name="T40" fmla="*/ 8 w 361"/>
                <a:gd name="T41" fmla="*/ 1 h 30"/>
                <a:gd name="T42" fmla="*/ 6 w 361"/>
                <a:gd name="T43" fmla="*/ 2 h 30"/>
                <a:gd name="T44" fmla="*/ 4 w 361"/>
                <a:gd name="T45" fmla="*/ 4 h 30"/>
                <a:gd name="T46" fmla="*/ 2 w 361"/>
                <a:gd name="T47" fmla="*/ 6 h 30"/>
                <a:gd name="T48" fmla="*/ 1 w 361"/>
                <a:gd name="T49" fmla="*/ 9 h 30"/>
                <a:gd name="T50" fmla="*/ 0 w 361"/>
                <a:gd name="T51" fmla="*/ 12 h 30"/>
                <a:gd name="T52" fmla="*/ 0 w 361"/>
                <a:gd name="T53" fmla="*/ 15 h 30"/>
                <a:gd name="T54" fmla="*/ 0 w 361"/>
                <a:gd name="T55" fmla="*/ 18 h 30"/>
                <a:gd name="T56" fmla="*/ 1 w 361"/>
                <a:gd name="T57" fmla="*/ 20 h 30"/>
                <a:gd name="T58" fmla="*/ 2 w 361"/>
                <a:gd name="T59" fmla="*/ 24 h 30"/>
                <a:gd name="T60" fmla="*/ 4 w 361"/>
                <a:gd name="T61" fmla="*/ 26 h 30"/>
                <a:gd name="T62" fmla="*/ 6 w 361"/>
                <a:gd name="T63" fmla="*/ 28 h 30"/>
                <a:gd name="T64" fmla="*/ 8 w 361"/>
                <a:gd name="T65" fmla="*/ 29 h 30"/>
                <a:gd name="T66" fmla="*/ 12 w 361"/>
                <a:gd name="T67" fmla="*/ 30 h 30"/>
                <a:gd name="T68" fmla="*/ 15 w 36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30">
                  <a:moveTo>
                    <a:pt x="15" y="30"/>
                  </a:moveTo>
                  <a:lnTo>
                    <a:pt x="346" y="30"/>
                  </a:lnTo>
                  <a:lnTo>
                    <a:pt x="348" y="30"/>
                  </a:lnTo>
                  <a:lnTo>
                    <a:pt x="352" y="29"/>
                  </a:lnTo>
                  <a:lnTo>
                    <a:pt x="354" y="28"/>
                  </a:lnTo>
                  <a:lnTo>
                    <a:pt x="356" y="26"/>
                  </a:lnTo>
                  <a:lnTo>
                    <a:pt x="358" y="24"/>
                  </a:lnTo>
                  <a:lnTo>
                    <a:pt x="360" y="20"/>
                  </a:lnTo>
                  <a:lnTo>
                    <a:pt x="360" y="18"/>
                  </a:lnTo>
                  <a:lnTo>
                    <a:pt x="361" y="15"/>
                  </a:lnTo>
                  <a:lnTo>
                    <a:pt x="360" y="12"/>
                  </a:lnTo>
                  <a:lnTo>
                    <a:pt x="360" y="9"/>
                  </a:lnTo>
                  <a:lnTo>
                    <a:pt x="358" y="6"/>
                  </a:lnTo>
                  <a:lnTo>
                    <a:pt x="356" y="4"/>
                  </a:lnTo>
                  <a:lnTo>
                    <a:pt x="354" y="2"/>
                  </a:lnTo>
                  <a:lnTo>
                    <a:pt x="352" y="1"/>
                  </a:lnTo>
                  <a:lnTo>
                    <a:pt x="348" y="0"/>
                  </a:lnTo>
                  <a:lnTo>
                    <a:pt x="346" y="0"/>
                  </a:lnTo>
                  <a:lnTo>
                    <a:pt x="15" y="0"/>
                  </a:lnTo>
                  <a:lnTo>
                    <a:pt x="12" y="0"/>
                  </a:lnTo>
                  <a:lnTo>
                    <a:pt x="8" y="1"/>
                  </a:lnTo>
                  <a:lnTo>
                    <a:pt x="6" y="2"/>
                  </a:lnTo>
                  <a:lnTo>
                    <a:pt x="4" y="4"/>
                  </a:lnTo>
                  <a:lnTo>
                    <a:pt x="2" y="6"/>
                  </a:lnTo>
                  <a:lnTo>
                    <a:pt x="1" y="9"/>
                  </a:lnTo>
                  <a:lnTo>
                    <a:pt x="0" y="12"/>
                  </a:lnTo>
                  <a:lnTo>
                    <a:pt x="0" y="15"/>
                  </a:lnTo>
                  <a:lnTo>
                    <a:pt x="0" y="18"/>
                  </a:lnTo>
                  <a:lnTo>
                    <a:pt x="1" y="20"/>
                  </a:lnTo>
                  <a:lnTo>
                    <a:pt x="2" y="24"/>
                  </a:lnTo>
                  <a:lnTo>
                    <a:pt x="4" y="26"/>
                  </a:lnTo>
                  <a:lnTo>
                    <a:pt x="6" y="28"/>
                  </a:lnTo>
                  <a:lnTo>
                    <a:pt x="8"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8" name="Freeform 19">
              <a:extLst>
                <a:ext uri="{FF2B5EF4-FFF2-40B4-BE49-F238E27FC236}">
                  <a16:creationId xmlns:a16="http://schemas.microsoft.com/office/drawing/2014/main" id="{D4FB07A6-FE67-424E-9B23-E3DE776FB98F}"/>
                </a:ext>
              </a:extLst>
            </p:cNvPr>
            <p:cNvSpPr>
              <a:spLocks/>
            </p:cNvSpPr>
            <p:nvPr/>
          </p:nvSpPr>
          <p:spPr bwMode="auto">
            <a:xfrm>
              <a:off x="4978400" y="2635250"/>
              <a:ext cx="114300" cy="9525"/>
            </a:xfrm>
            <a:custGeom>
              <a:avLst/>
              <a:gdLst>
                <a:gd name="T0" fmla="*/ 15 w 361"/>
                <a:gd name="T1" fmla="*/ 30 h 30"/>
                <a:gd name="T2" fmla="*/ 346 w 361"/>
                <a:gd name="T3" fmla="*/ 30 h 30"/>
                <a:gd name="T4" fmla="*/ 348 w 361"/>
                <a:gd name="T5" fmla="*/ 30 h 30"/>
                <a:gd name="T6" fmla="*/ 352 w 361"/>
                <a:gd name="T7" fmla="*/ 29 h 30"/>
                <a:gd name="T8" fmla="*/ 354 w 361"/>
                <a:gd name="T9" fmla="*/ 28 h 30"/>
                <a:gd name="T10" fmla="*/ 356 w 361"/>
                <a:gd name="T11" fmla="*/ 26 h 30"/>
                <a:gd name="T12" fmla="*/ 358 w 361"/>
                <a:gd name="T13" fmla="*/ 24 h 30"/>
                <a:gd name="T14" fmla="*/ 360 w 361"/>
                <a:gd name="T15" fmla="*/ 21 h 30"/>
                <a:gd name="T16" fmla="*/ 360 w 361"/>
                <a:gd name="T17" fmla="*/ 18 h 30"/>
                <a:gd name="T18" fmla="*/ 361 w 361"/>
                <a:gd name="T19" fmla="*/ 15 h 30"/>
                <a:gd name="T20" fmla="*/ 360 w 361"/>
                <a:gd name="T21" fmla="*/ 12 h 30"/>
                <a:gd name="T22" fmla="*/ 360 w 361"/>
                <a:gd name="T23" fmla="*/ 10 h 30"/>
                <a:gd name="T24" fmla="*/ 358 w 361"/>
                <a:gd name="T25" fmla="*/ 6 h 30"/>
                <a:gd name="T26" fmla="*/ 356 w 361"/>
                <a:gd name="T27" fmla="*/ 4 h 30"/>
                <a:gd name="T28" fmla="*/ 354 w 361"/>
                <a:gd name="T29" fmla="*/ 3 h 30"/>
                <a:gd name="T30" fmla="*/ 352 w 361"/>
                <a:gd name="T31" fmla="*/ 1 h 30"/>
                <a:gd name="T32" fmla="*/ 348 w 361"/>
                <a:gd name="T33" fmla="*/ 0 h 30"/>
                <a:gd name="T34" fmla="*/ 346 w 361"/>
                <a:gd name="T35" fmla="*/ 0 h 30"/>
                <a:gd name="T36" fmla="*/ 15 w 361"/>
                <a:gd name="T37" fmla="*/ 0 h 30"/>
                <a:gd name="T38" fmla="*/ 12 w 361"/>
                <a:gd name="T39" fmla="*/ 0 h 30"/>
                <a:gd name="T40" fmla="*/ 8 w 361"/>
                <a:gd name="T41" fmla="*/ 1 h 30"/>
                <a:gd name="T42" fmla="*/ 6 w 361"/>
                <a:gd name="T43" fmla="*/ 3 h 30"/>
                <a:gd name="T44" fmla="*/ 4 w 361"/>
                <a:gd name="T45" fmla="*/ 4 h 30"/>
                <a:gd name="T46" fmla="*/ 2 w 361"/>
                <a:gd name="T47" fmla="*/ 6 h 30"/>
                <a:gd name="T48" fmla="*/ 1 w 361"/>
                <a:gd name="T49" fmla="*/ 10 h 30"/>
                <a:gd name="T50" fmla="*/ 0 w 361"/>
                <a:gd name="T51" fmla="*/ 12 h 30"/>
                <a:gd name="T52" fmla="*/ 0 w 361"/>
                <a:gd name="T53" fmla="*/ 15 h 30"/>
                <a:gd name="T54" fmla="*/ 0 w 361"/>
                <a:gd name="T55" fmla="*/ 18 h 30"/>
                <a:gd name="T56" fmla="*/ 1 w 361"/>
                <a:gd name="T57" fmla="*/ 21 h 30"/>
                <a:gd name="T58" fmla="*/ 2 w 361"/>
                <a:gd name="T59" fmla="*/ 24 h 30"/>
                <a:gd name="T60" fmla="*/ 4 w 361"/>
                <a:gd name="T61" fmla="*/ 26 h 30"/>
                <a:gd name="T62" fmla="*/ 6 w 361"/>
                <a:gd name="T63" fmla="*/ 28 h 30"/>
                <a:gd name="T64" fmla="*/ 8 w 361"/>
                <a:gd name="T65" fmla="*/ 29 h 30"/>
                <a:gd name="T66" fmla="*/ 12 w 361"/>
                <a:gd name="T67" fmla="*/ 30 h 30"/>
                <a:gd name="T68" fmla="*/ 15 w 36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30">
                  <a:moveTo>
                    <a:pt x="15" y="30"/>
                  </a:moveTo>
                  <a:lnTo>
                    <a:pt x="346" y="30"/>
                  </a:lnTo>
                  <a:lnTo>
                    <a:pt x="348" y="30"/>
                  </a:lnTo>
                  <a:lnTo>
                    <a:pt x="352" y="29"/>
                  </a:lnTo>
                  <a:lnTo>
                    <a:pt x="354" y="28"/>
                  </a:lnTo>
                  <a:lnTo>
                    <a:pt x="356" y="26"/>
                  </a:lnTo>
                  <a:lnTo>
                    <a:pt x="358" y="24"/>
                  </a:lnTo>
                  <a:lnTo>
                    <a:pt x="360" y="21"/>
                  </a:lnTo>
                  <a:lnTo>
                    <a:pt x="360" y="18"/>
                  </a:lnTo>
                  <a:lnTo>
                    <a:pt x="361" y="15"/>
                  </a:lnTo>
                  <a:lnTo>
                    <a:pt x="360" y="12"/>
                  </a:lnTo>
                  <a:lnTo>
                    <a:pt x="360" y="10"/>
                  </a:lnTo>
                  <a:lnTo>
                    <a:pt x="358" y="6"/>
                  </a:lnTo>
                  <a:lnTo>
                    <a:pt x="356" y="4"/>
                  </a:lnTo>
                  <a:lnTo>
                    <a:pt x="354" y="3"/>
                  </a:lnTo>
                  <a:lnTo>
                    <a:pt x="352" y="1"/>
                  </a:lnTo>
                  <a:lnTo>
                    <a:pt x="348" y="0"/>
                  </a:lnTo>
                  <a:lnTo>
                    <a:pt x="346" y="0"/>
                  </a:lnTo>
                  <a:lnTo>
                    <a:pt x="15" y="0"/>
                  </a:lnTo>
                  <a:lnTo>
                    <a:pt x="12" y="0"/>
                  </a:lnTo>
                  <a:lnTo>
                    <a:pt x="8" y="1"/>
                  </a:lnTo>
                  <a:lnTo>
                    <a:pt x="6" y="3"/>
                  </a:lnTo>
                  <a:lnTo>
                    <a:pt x="4" y="4"/>
                  </a:lnTo>
                  <a:lnTo>
                    <a:pt x="2" y="6"/>
                  </a:lnTo>
                  <a:lnTo>
                    <a:pt x="1" y="10"/>
                  </a:lnTo>
                  <a:lnTo>
                    <a:pt x="0" y="12"/>
                  </a:lnTo>
                  <a:lnTo>
                    <a:pt x="0" y="15"/>
                  </a:lnTo>
                  <a:lnTo>
                    <a:pt x="0" y="18"/>
                  </a:lnTo>
                  <a:lnTo>
                    <a:pt x="1" y="21"/>
                  </a:lnTo>
                  <a:lnTo>
                    <a:pt x="2" y="24"/>
                  </a:lnTo>
                  <a:lnTo>
                    <a:pt x="4" y="26"/>
                  </a:lnTo>
                  <a:lnTo>
                    <a:pt x="6" y="28"/>
                  </a:lnTo>
                  <a:lnTo>
                    <a:pt x="8"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sp>
        <p:nvSpPr>
          <p:cNvPr id="39" name="Freeform 122">
            <a:extLst>
              <a:ext uri="{FF2B5EF4-FFF2-40B4-BE49-F238E27FC236}">
                <a16:creationId xmlns:a16="http://schemas.microsoft.com/office/drawing/2014/main" id="{9780AA1C-EFC1-4167-88D7-7A27A6BA77FD}"/>
              </a:ext>
            </a:extLst>
          </p:cNvPr>
          <p:cNvSpPr>
            <a:spLocks noEditPoints="1"/>
          </p:cNvSpPr>
          <p:nvPr/>
        </p:nvSpPr>
        <p:spPr bwMode="auto">
          <a:xfrm>
            <a:off x="4180553" y="5186949"/>
            <a:ext cx="972045" cy="891490"/>
          </a:xfrm>
          <a:custGeom>
            <a:avLst/>
            <a:gdLst>
              <a:gd name="T0" fmla="*/ 376 w 907"/>
              <a:gd name="T1" fmla="*/ 508 h 827"/>
              <a:gd name="T2" fmla="*/ 866 w 907"/>
              <a:gd name="T3" fmla="*/ 58 h 827"/>
              <a:gd name="T4" fmla="*/ 366 w 907"/>
              <a:gd name="T5" fmla="*/ 758 h 827"/>
              <a:gd name="T6" fmla="*/ 466 w 907"/>
              <a:gd name="T7" fmla="*/ 590 h 827"/>
              <a:gd name="T8" fmla="*/ 819 w 907"/>
              <a:gd name="T9" fmla="*/ 61 h 827"/>
              <a:gd name="T10" fmla="*/ 55 w 907"/>
              <a:gd name="T11" fmla="*/ 375 h 827"/>
              <a:gd name="T12" fmla="*/ 907 w 907"/>
              <a:gd name="T13" fmla="*/ 15 h 827"/>
              <a:gd name="T14" fmla="*/ 906 w 907"/>
              <a:gd name="T15" fmla="*/ 12 h 827"/>
              <a:gd name="T16" fmla="*/ 906 w 907"/>
              <a:gd name="T17" fmla="*/ 11 h 827"/>
              <a:gd name="T18" fmla="*/ 905 w 907"/>
              <a:gd name="T19" fmla="*/ 8 h 827"/>
              <a:gd name="T20" fmla="*/ 905 w 907"/>
              <a:gd name="T21" fmla="*/ 6 h 827"/>
              <a:gd name="T22" fmla="*/ 904 w 907"/>
              <a:gd name="T23" fmla="*/ 5 h 827"/>
              <a:gd name="T24" fmla="*/ 902 w 907"/>
              <a:gd name="T25" fmla="*/ 3 h 827"/>
              <a:gd name="T26" fmla="*/ 900 w 907"/>
              <a:gd name="T27" fmla="*/ 2 h 827"/>
              <a:gd name="T28" fmla="*/ 900 w 907"/>
              <a:gd name="T29" fmla="*/ 2 h 827"/>
              <a:gd name="T30" fmla="*/ 897 w 907"/>
              <a:gd name="T31" fmla="*/ 1 h 827"/>
              <a:gd name="T32" fmla="*/ 895 w 907"/>
              <a:gd name="T33" fmla="*/ 0 h 827"/>
              <a:gd name="T34" fmla="*/ 893 w 907"/>
              <a:gd name="T35" fmla="*/ 0 h 827"/>
              <a:gd name="T36" fmla="*/ 891 w 907"/>
              <a:gd name="T37" fmla="*/ 0 h 827"/>
              <a:gd name="T38" fmla="*/ 887 w 907"/>
              <a:gd name="T39" fmla="*/ 1 h 827"/>
              <a:gd name="T40" fmla="*/ 886 w 907"/>
              <a:gd name="T41" fmla="*/ 1 h 827"/>
              <a:gd name="T42" fmla="*/ 886 w 907"/>
              <a:gd name="T43" fmla="*/ 1 h 827"/>
              <a:gd name="T44" fmla="*/ 5 w 907"/>
              <a:gd name="T45" fmla="*/ 365 h 827"/>
              <a:gd name="T46" fmla="*/ 1 w 907"/>
              <a:gd name="T47" fmla="*/ 372 h 827"/>
              <a:gd name="T48" fmla="*/ 1 w 907"/>
              <a:gd name="T49" fmla="*/ 381 h 827"/>
              <a:gd name="T50" fmla="*/ 5 w 907"/>
              <a:gd name="T51" fmla="*/ 388 h 827"/>
              <a:gd name="T52" fmla="*/ 336 w 907"/>
              <a:gd name="T53" fmla="*/ 521 h 827"/>
              <a:gd name="T54" fmla="*/ 336 w 907"/>
              <a:gd name="T55" fmla="*/ 817 h 827"/>
              <a:gd name="T56" fmla="*/ 342 w 907"/>
              <a:gd name="T57" fmla="*/ 825 h 827"/>
              <a:gd name="T58" fmla="*/ 348 w 907"/>
              <a:gd name="T59" fmla="*/ 827 h 827"/>
              <a:gd name="T60" fmla="*/ 354 w 907"/>
              <a:gd name="T61" fmla="*/ 827 h 827"/>
              <a:gd name="T62" fmla="*/ 360 w 907"/>
              <a:gd name="T63" fmla="*/ 823 h 827"/>
              <a:gd name="T64" fmla="*/ 492 w 907"/>
              <a:gd name="T65" fmla="*/ 605 h 827"/>
              <a:gd name="T66" fmla="*/ 732 w 907"/>
              <a:gd name="T67" fmla="*/ 732 h 827"/>
              <a:gd name="T68" fmla="*/ 739 w 907"/>
              <a:gd name="T69" fmla="*/ 732 h 827"/>
              <a:gd name="T70" fmla="*/ 745 w 907"/>
              <a:gd name="T71" fmla="*/ 729 h 827"/>
              <a:gd name="T72" fmla="*/ 749 w 907"/>
              <a:gd name="T73" fmla="*/ 724 h 827"/>
              <a:gd name="T74" fmla="*/ 906 w 907"/>
              <a:gd name="T75" fmla="*/ 18 h 827"/>
              <a:gd name="T76" fmla="*/ 906 w 907"/>
              <a:gd name="T77" fmla="*/ 17 h 827"/>
              <a:gd name="T78" fmla="*/ 907 w 907"/>
              <a:gd name="T79" fmla="*/ 15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7" h="827">
                <a:moveTo>
                  <a:pt x="726" y="695"/>
                </a:moveTo>
                <a:lnTo>
                  <a:pt x="376" y="508"/>
                </a:lnTo>
                <a:lnTo>
                  <a:pt x="834" y="88"/>
                </a:lnTo>
                <a:lnTo>
                  <a:pt x="866" y="58"/>
                </a:lnTo>
                <a:lnTo>
                  <a:pt x="726" y="695"/>
                </a:lnTo>
                <a:close/>
                <a:moveTo>
                  <a:pt x="366" y="758"/>
                </a:moveTo>
                <a:lnTo>
                  <a:pt x="366" y="536"/>
                </a:lnTo>
                <a:lnTo>
                  <a:pt x="466" y="590"/>
                </a:lnTo>
                <a:lnTo>
                  <a:pt x="366" y="758"/>
                </a:lnTo>
                <a:close/>
                <a:moveTo>
                  <a:pt x="819" y="61"/>
                </a:moveTo>
                <a:lnTo>
                  <a:pt x="347" y="493"/>
                </a:lnTo>
                <a:lnTo>
                  <a:pt x="55" y="375"/>
                </a:lnTo>
                <a:lnTo>
                  <a:pt x="819" y="61"/>
                </a:lnTo>
                <a:close/>
                <a:moveTo>
                  <a:pt x="907" y="15"/>
                </a:moveTo>
                <a:lnTo>
                  <a:pt x="907" y="14"/>
                </a:lnTo>
                <a:lnTo>
                  <a:pt x="906" y="12"/>
                </a:lnTo>
                <a:lnTo>
                  <a:pt x="906" y="12"/>
                </a:lnTo>
                <a:lnTo>
                  <a:pt x="906" y="11"/>
                </a:lnTo>
                <a:lnTo>
                  <a:pt x="905" y="9"/>
                </a:lnTo>
                <a:lnTo>
                  <a:pt x="905" y="8"/>
                </a:lnTo>
                <a:lnTo>
                  <a:pt x="905" y="8"/>
                </a:lnTo>
                <a:lnTo>
                  <a:pt x="905" y="6"/>
                </a:lnTo>
                <a:lnTo>
                  <a:pt x="904" y="6"/>
                </a:lnTo>
                <a:lnTo>
                  <a:pt x="904" y="5"/>
                </a:lnTo>
                <a:lnTo>
                  <a:pt x="903" y="4"/>
                </a:lnTo>
                <a:lnTo>
                  <a:pt x="902" y="3"/>
                </a:lnTo>
                <a:lnTo>
                  <a:pt x="901" y="3"/>
                </a:lnTo>
                <a:lnTo>
                  <a:pt x="900" y="2"/>
                </a:lnTo>
                <a:lnTo>
                  <a:pt x="900" y="2"/>
                </a:lnTo>
                <a:lnTo>
                  <a:pt x="900" y="2"/>
                </a:lnTo>
                <a:lnTo>
                  <a:pt x="898" y="1"/>
                </a:lnTo>
                <a:lnTo>
                  <a:pt x="897" y="1"/>
                </a:lnTo>
                <a:lnTo>
                  <a:pt x="896" y="1"/>
                </a:lnTo>
                <a:lnTo>
                  <a:pt x="895" y="0"/>
                </a:lnTo>
                <a:lnTo>
                  <a:pt x="894" y="0"/>
                </a:lnTo>
                <a:lnTo>
                  <a:pt x="893" y="0"/>
                </a:lnTo>
                <a:lnTo>
                  <a:pt x="892" y="0"/>
                </a:lnTo>
                <a:lnTo>
                  <a:pt x="891" y="0"/>
                </a:lnTo>
                <a:lnTo>
                  <a:pt x="889" y="0"/>
                </a:lnTo>
                <a:lnTo>
                  <a:pt x="887" y="1"/>
                </a:lnTo>
                <a:lnTo>
                  <a:pt x="887" y="1"/>
                </a:lnTo>
                <a:lnTo>
                  <a:pt x="886" y="1"/>
                </a:lnTo>
                <a:lnTo>
                  <a:pt x="886" y="1"/>
                </a:lnTo>
                <a:lnTo>
                  <a:pt x="886" y="1"/>
                </a:lnTo>
                <a:lnTo>
                  <a:pt x="10" y="362"/>
                </a:lnTo>
                <a:lnTo>
                  <a:pt x="5" y="365"/>
                </a:lnTo>
                <a:lnTo>
                  <a:pt x="2" y="368"/>
                </a:lnTo>
                <a:lnTo>
                  <a:pt x="1" y="372"/>
                </a:lnTo>
                <a:lnTo>
                  <a:pt x="0" y="376"/>
                </a:lnTo>
                <a:lnTo>
                  <a:pt x="1" y="381"/>
                </a:lnTo>
                <a:lnTo>
                  <a:pt x="2" y="384"/>
                </a:lnTo>
                <a:lnTo>
                  <a:pt x="5" y="388"/>
                </a:lnTo>
                <a:lnTo>
                  <a:pt x="10" y="390"/>
                </a:lnTo>
                <a:lnTo>
                  <a:pt x="336" y="521"/>
                </a:lnTo>
                <a:lnTo>
                  <a:pt x="336" y="812"/>
                </a:lnTo>
                <a:lnTo>
                  <a:pt x="336" y="817"/>
                </a:lnTo>
                <a:lnTo>
                  <a:pt x="338" y="821"/>
                </a:lnTo>
                <a:lnTo>
                  <a:pt x="342" y="825"/>
                </a:lnTo>
                <a:lnTo>
                  <a:pt x="346" y="827"/>
                </a:lnTo>
                <a:lnTo>
                  <a:pt x="348" y="827"/>
                </a:lnTo>
                <a:lnTo>
                  <a:pt x="351" y="827"/>
                </a:lnTo>
                <a:lnTo>
                  <a:pt x="354" y="827"/>
                </a:lnTo>
                <a:lnTo>
                  <a:pt x="357" y="826"/>
                </a:lnTo>
                <a:lnTo>
                  <a:pt x="360" y="823"/>
                </a:lnTo>
                <a:lnTo>
                  <a:pt x="363" y="820"/>
                </a:lnTo>
                <a:lnTo>
                  <a:pt x="492" y="605"/>
                </a:lnTo>
                <a:lnTo>
                  <a:pt x="729" y="730"/>
                </a:lnTo>
                <a:lnTo>
                  <a:pt x="732" y="732"/>
                </a:lnTo>
                <a:lnTo>
                  <a:pt x="736" y="732"/>
                </a:lnTo>
                <a:lnTo>
                  <a:pt x="739" y="732"/>
                </a:lnTo>
                <a:lnTo>
                  <a:pt x="742" y="731"/>
                </a:lnTo>
                <a:lnTo>
                  <a:pt x="745" y="729"/>
                </a:lnTo>
                <a:lnTo>
                  <a:pt x="747" y="727"/>
                </a:lnTo>
                <a:lnTo>
                  <a:pt x="749" y="724"/>
                </a:lnTo>
                <a:lnTo>
                  <a:pt x="751" y="721"/>
                </a:lnTo>
                <a:lnTo>
                  <a:pt x="906" y="18"/>
                </a:lnTo>
                <a:lnTo>
                  <a:pt x="906" y="17"/>
                </a:lnTo>
                <a:lnTo>
                  <a:pt x="906" y="17"/>
                </a:lnTo>
                <a:lnTo>
                  <a:pt x="907" y="16"/>
                </a:lnTo>
                <a:lnTo>
                  <a:pt x="907" y="15"/>
                </a:lnTo>
                <a:close/>
              </a:path>
            </a:pathLst>
          </a:custGeom>
          <a:solidFill>
            <a:schemeClr val="accent3"/>
          </a:solidFill>
          <a:ln>
            <a:noFill/>
          </a:ln>
          <a:effectLst>
            <a:outerShdw blurRad="50800" dist="38100" dir="5400000" algn="t" rotWithShape="0">
              <a:prstClr val="black">
                <a:alpha val="20000"/>
              </a:prstClr>
            </a:outerShdw>
          </a:effectLst>
        </p:spPr>
        <p:txBody>
          <a:bodyPr vert="horz" wrap="square" lIns="182868" tIns="91434" rIns="182868" bIns="91434" numCol="1" anchor="t" anchorCtr="0" compatLnSpc="1">
            <a:prstTxWarp prst="textNoShape">
              <a:avLst/>
            </a:prstTxWarp>
          </a:bodyPr>
          <a:lstStyle/>
          <a:p>
            <a:endParaRPr lang="en-US" sz="3600"/>
          </a:p>
        </p:txBody>
      </p:sp>
      <p:grpSp>
        <p:nvGrpSpPr>
          <p:cNvPr id="40" name="Group 39">
            <a:extLst>
              <a:ext uri="{FF2B5EF4-FFF2-40B4-BE49-F238E27FC236}">
                <a16:creationId xmlns:a16="http://schemas.microsoft.com/office/drawing/2014/main" id="{740303BE-C9B4-4619-894D-F96E42AFB1F4}"/>
              </a:ext>
            </a:extLst>
          </p:cNvPr>
          <p:cNvGrpSpPr/>
          <p:nvPr/>
        </p:nvGrpSpPr>
        <p:grpSpPr>
          <a:xfrm>
            <a:off x="19229814" y="5149355"/>
            <a:ext cx="972045" cy="966673"/>
            <a:chOff x="11028363" y="2505076"/>
            <a:chExt cx="287337" cy="285750"/>
          </a:xfrm>
          <a:solidFill>
            <a:schemeClr val="accent4"/>
          </a:solidFill>
          <a:effectLst>
            <a:outerShdw blurRad="50800" dist="38100" dir="5400000" algn="t" rotWithShape="0">
              <a:prstClr val="black">
                <a:alpha val="20000"/>
              </a:prstClr>
            </a:outerShdw>
          </a:effectLst>
        </p:grpSpPr>
        <p:sp>
          <p:nvSpPr>
            <p:cNvPr id="41" name="Freeform 340">
              <a:extLst>
                <a:ext uri="{FF2B5EF4-FFF2-40B4-BE49-F238E27FC236}">
                  <a16:creationId xmlns:a16="http://schemas.microsoft.com/office/drawing/2014/main" id="{03CE7C54-8619-433A-A84F-EADEEF325D0E}"/>
                </a:ext>
              </a:extLst>
            </p:cNvPr>
            <p:cNvSpPr>
              <a:spLocks noEditPoints="1"/>
            </p:cNvSpPr>
            <p:nvPr/>
          </p:nvSpPr>
          <p:spPr bwMode="auto">
            <a:xfrm>
              <a:off x="11172825" y="2649538"/>
              <a:ext cx="142875" cy="141288"/>
            </a:xfrm>
            <a:custGeom>
              <a:avLst/>
              <a:gdLst>
                <a:gd name="T0" fmla="*/ 359 w 450"/>
                <a:gd name="T1" fmla="*/ 164 h 446"/>
                <a:gd name="T2" fmla="*/ 285 w 450"/>
                <a:gd name="T3" fmla="*/ 90 h 446"/>
                <a:gd name="T4" fmla="*/ 340 w 450"/>
                <a:gd name="T5" fmla="*/ 36 h 446"/>
                <a:gd name="T6" fmla="*/ 414 w 450"/>
                <a:gd name="T7" fmla="*/ 110 h 446"/>
                <a:gd name="T8" fmla="*/ 359 w 450"/>
                <a:gd name="T9" fmla="*/ 164 h 446"/>
                <a:gd name="T10" fmla="*/ 63 w 450"/>
                <a:gd name="T11" fmla="*/ 327 h 446"/>
                <a:gd name="T12" fmla="*/ 122 w 450"/>
                <a:gd name="T13" fmla="*/ 386 h 446"/>
                <a:gd name="T14" fmla="*/ 37 w 450"/>
                <a:gd name="T15" fmla="*/ 410 h 446"/>
                <a:gd name="T16" fmla="*/ 63 w 450"/>
                <a:gd name="T17" fmla="*/ 327 h 446"/>
                <a:gd name="T18" fmla="*/ 151 w 450"/>
                <a:gd name="T19" fmla="*/ 372 h 446"/>
                <a:gd name="T20" fmla="*/ 78 w 450"/>
                <a:gd name="T21" fmla="*/ 299 h 446"/>
                <a:gd name="T22" fmla="*/ 264 w 450"/>
                <a:gd name="T23" fmla="*/ 112 h 446"/>
                <a:gd name="T24" fmla="*/ 338 w 450"/>
                <a:gd name="T25" fmla="*/ 185 h 446"/>
                <a:gd name="T26" fmla="*/ 151 w 450"/>
                <a:gd name="T27" fmla="*/ 372 h 446"/>
                <a:gd name="T28" fmla="*/ 446 w 450"/>
                <a:gd name="T29" fmla="*/ 99 h 446"/>
                <a:gd name="T30" fmla="*/ 351 w 450"/>
                <a:gd name="T31" fmla="*/ 4 h 446"/>
                <a:gd name="T32" fmla="*/ 348 w 450"/>
                <a:gd name="T33" fmla="*/ 3 h 446"/>
                <a:gd name="T34" fmla="*/ 345 w 450"/>
                <a:gd name="T35" fmla="*/ 1 h 446"/>
                <a:gd name="T36" fmla="*/ 343 w 450"/>
                <a:gd name="T37" fmla="*/ 0 h 446"/>
                <a:gd name="T38" fmla="*/ 340 w 450"/>
                <a:gd name="T39" fmla="*/ 0 h 446"/>
                <a:gd name="T40" fmla="*/ 338 w 450"/>
                <a:gd name="T41" fmla="*/ 0 h 446"/>
                <a:gd name="T42" fmla="*/ 335 w 450"/>
                <a:gd name="T43" fmla="*/ 1 h 446"/>
                <a:gd name="T44" fmla="*/ 332 w 450"/>
                <a:gd name="T45" fmla="*/ 3 h 446"/>
                <a:gd name="T46" fmla="*/ 329 w 450"/>
                <a:gd name="T47" fmla="*/ 4 h 446"/>
                <a:gd name="T48" fmla="*/ 46 w 450"/>
                <a:gd name="T49" fmla="*/ 289 h 446"/>
                <a:gd name="T50" fmla="*/ 44 w 450"/>
                <a:gd name="T51" fmla="*/ 291 h 446"/>
                <a:gd name="T52" fmla="*/ 42 w 450"/>
                <a:gd name="T53" fmla="*/ 294 h 446"/>
                <a:gd name="T54" fmla="*/ 41 w 450"/>
                <a:gd name="T55" fmla="*/ 294 h 446"/>
                <a:gd name="T56" fmla="*/ 41 w 450"/>
                <a:gd name="T57" fmla="*/ 294 h 446"/>
                <a:gd name="T58" fmla="*/ 0 w 450"/>
                <a:gd name="T59" fmla="*/ 427 h 446"/>
                <a:gd name="T60" fmla="*/ 0 w 450"/>
                <a:gd name="T61" fmla="*/ 431 h 446"/>
                <a:gd name="T62" fmla="*/ 0 w 450"/>
                <a:gd name="T63" fmla="*/ 436 h 446"/>
                <a:gd name="T64" fmla="*/ 1 w 450"/>
                <a:gd name="T65" fmla="*/ 439 h 446"/>
                <a:gd name="T66" fmla="*/ 4 w 450"/>
                <a:gd name="T67" fmla="*/ 442 h 446"/>
                <a:gd name="T68" fmla="*/ 6 w 450"/>
                <a:gd name="T69" fmla="*/ 444 h 446"/>
                <a:gd name="T70" fmla="*/ 8 w 450"/>
                <a:gd name="T71" fmla="*/ 445 h 446"/>
                <a:gd name="T72" fmla="*/ 11 w 450"/>
                <a:gd name="T73" fmla="*/ 446 h 446"/>
                <a:gd name="T74" fmla="*/ 15 w 450"/>
                <a:gd name="T75" fmla="*/ 446 h 446"/>
                <a:gd name="T76" fmla="*/ 17 w 450"/>
                <a:gd name="T77" fmla="*/ 446 h 446"/>
                <a:gd name="T78" fmla="*/ 18 w 450"/>
                <a:gd name="T79" fmla="*/ 446 h 446"/>
                <a:gd name="T80" fmla="*/ 155 w 450"/>
                <a:gd name="T81" fmla="*/ 409 h 446"/>
                <a:gd name="T82" fmla="*/ 155 w 450"/>
                <a:gd name="T83" fmla="*/ 409 h 446"/>
                <a:gd name="T84" fmla="*/ 156 w 450"/>
                <a:gd name="T85" fmla="*/ 409 h 446"/>
                <a:gd name="T86" fmla="*/ 156 w 450"/>
                <a:gd name="T87" fmla="*/ 408 h 446"/>
                <a:gd name="T88" fmla="*/ 157 w 450"/>
                <a:gd name="T89" fmla="*/ 408 h 446"/>
                <a:gd name="T90" fmla="*/ 159 w 450"/>
                <a:gd name="T91" fmla="*/ 407 h 446"/>
                <a:gd name="T92" fmla="*/ 161 w 450"/>
                <a:gd name="T93" fmla="*/ 405 h 446"/>
                <a:gd name="T94" fmla="*/ 446 w 450"/>
                <a:gd name="T95" fmla="*/ 120 h 446"/>
                <a:gd name="T96" fmla="*/ 447 w 450"/>
                <a:gd name="T97" fmla="*/ 118 h 446"/>
                <a:gd name="T98" fmla="*/ 449 w 450"/>
                <a:gd name="T99" fmla="*/ 116 h 446"/>
                <a:gd name="T100" fmla="*/ 449 w 450"/>
                <a:gd name="T101" fmla="*/ 113 h 446"/>
                <a:gd name="T102" fmla="*/ 450 w 450"/>
                <a:gd name="T103" fmla="*/ 110 h 446"/>
                <a:gd name="T104" fmla="*/ 449 w 450"/>
                <a:gd name="T105" fmla="*/ 107 h 446"/>
                <a:gd name="T106" fmla="*/ 449 w 450"/>
                <a:gd name="T107" fmla="*/ 104 h 446"/>
                <a:gd name="T108" fmla="*/ 447 w 450"/>
                <a:gd name="T109" fmla="*/ 102 h 446"/>
                <a:gd name="T110" fmla="*/ 446 w 450"/>
                <a:gd name="T111" fmla="*/ 9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0" h="446">
                  <a:moveTo>
                    <a:pt x="359" y="164"/>
                  </a:moveTo>
                  <a:lnTo>
                    <a:pt x="285" y="90"/>
                  </a:lnTo>
                  <a:lnTo>
                    <a:pt x="340" y="36"/>
                  </a:lnTo>
                  <a:lnTo>
                    <a:pt x="414" y="110"/>
                  </a:lnTo>
                  <a:lnTo>
                    <a:pt x="359" y="164"/>
                  </a:lnTo>
                  <a:close/>
                  <a:moveTo>
                    <a:pt x="63" y="327"/>
                  </a:moveTo>
                  <a:lnTo>
                    <a:pt x="122" y="386"/>
                  </a:lnTo>
                  <a:lnTo>
                    <a:pt x="37" y="410"/>
                  </a:lnTo>
                  <a:lnTo>
                    <a:pt x="63" y="327"/>
                  </a:lnTo>
                  <a:close/>
                  <a:moveTo>
                    <a:pt x="151" y="372"/>
                  </a:moveTo>
                  <a:lnTo>
                    <a:pt x="78" y="299"/>
                  </a:lnTo>
                  <a:lnTo>
                    <a:pt x="264" y="112"/>
                  </a:lnTo>
                  <a:lnTo>
                    <a:pt x="338" y="185"/>
                  </a:lnTo>
                  <a:lnTo>
                    <a:pt x="151" y="372"/>
                  </a:lnTo>
                  <a:close/>
                  <a:moveTo>
                    <a:pt x="446" y="99"/>
                  </a:moveTo>
                  <a:lnTo>
                    <a:pt x="351" y="4"/>
                  </a:lnTo>
                  <a:lnTo>
                    <a:pt x="348" y="3"/>
                  </a:lnTo>
                  <a:lnTo>
                    <a:pt x="345" y="1"/>
                  </a:lnTo>
                  <a:lnTo>
                    <a:pt x="343" y="0"/>
                  </a:lnTo>
                  <a:lnTo>
                    <a:pt x="340" y="0"/>
                  </a:lnTo>
                  <a:lnTo>
                    <a:pt x="338" y="0"/>
                  </a:lnTo>
                  <a:lnTo>
                    <a:pt x="335" y="1"/>
                  </a:lnTo>
                  <a:lnTo>
                    <a:pt x="332" y="3"/>
                  </a:lnTo>
                  <a:lnTo>
                    <a:pt x="329" y="4"/>
                  </a:lnTo>
                  <a:lnTo>
                    <a:pt x="46" y="289"/>
                  </a:lnTo>
                  <a:lnTo>
                    <a:pt x="44" y="291"/>
                  </a:lnTo>
                  <a:lnTo>
                    <a:pt x="42" y="294"/>
                  </a:lnTo>
                  <a:lnTo>
                    <a:pt x="41" y="294"/>
                  </a:lnTo>
                  <a:lnTo>
                    <a:pt x="41" y="294"/>
                  </a:lnTo>
                  <a:lnTo>
                    <a:pt x="0" y="427"/>
                  </a:lnTo>
                  <a:lnTo>
                    <a:pt x="0" y="431"/>
                  </a:lnTo>
                  <a:lnTo>
                    <a:pt x="0" y="436"/>
                  </a:lnTo>
                  <a:lnTo>
                    <a:pt x="1" y="439"/>
                  </a:lnTo>
                  <a:lnTo>
                    <a:pt x="4" y="442"/>
                  </a:lnTo>
                  <a:lnTo>
                    <a:pt x="6" y="444"/>
                  </a:lnTo>
                  <a:lnTo>
                    <a:pt x="8" y="445"/>
                  </a:lnTo>
                  <a:lnTo>
                    <a:pt x="11" y="446"/>
                  </a:lnTo>
                  <a:lnTo>
                    <a:pt x="15" y="446"/>
                  </a:lnTo>
                  <a:lnTo>
                    <a:pt x="17" y="446"/>
                  </a:lnTo>
                  <a:lnTo>
                    <a:pt x="18" y="446"/>
                  </a:lnTo>
                  <a:lnTo>
                    <a:pt x="155" y="409"/>
                  </a:lnTo>
                  <a:lnTo>
                    <a:pt x="155" y="409"/>
                  </a:lnTo>
                  <a:lnTo>
                    <a:pt x="156" y="409"/>
                  </a:lnTo>
                  <a:lnTo>
                    <a:pt x="156" y="408"/>
                  </a:lnTo>
                  <a:lnTo>
                    <a:pt x="157" y="408"/>
                  </a:lnTo>
                  <a:lnTo>
                    <a:pt x="159" y="407"/>
                  </a:lnTo>
                  <a:lnTo>
                    <a:pt x="161" y="405"/>
                  </a:lnTo>
                  <a:lnTo>
                    <a:pt x="446" y="120"/>
                  </a:lnTo>
                  <a:lnTo>
                    <a:pt x="447" y="118"/>
                  </a:lnTo>
                  <a:lnTo>
                    <a:pt x="449" y="116"/>
                  </a:lnTo>
                  <a:lnTo>
                    <a:pt x="449" y="113"/>
                  </a:lnTo>
                  <a:lnTo>
                    <a:pt x="450" y="110"/>
                  </a:lnTo>
                  <a:lnTo>
                    <a:pt x="449" y="107"/>
                  </a:lnTo>
                  <a:lnTo>
                    <a:pt x="449" y="104"/>
                  </a:lnTo>
                  <a:lnTo>
                    <a:pt x="447" y="102"/>
                  </a:lnTo>
                  <a:lnTo>
                    <a:pt x="446"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42" name="Freeform 341">
              <a:extLst>
                <a:ext uri="{FF2B5EF4-FFF2-40B4-BE49-F238E27FC236}">
                  <a16:creationId xmlns:a16="http://schemas.microsoft.com/office/drawing/2014/main" id="{58F7DAFF-88C7-4698-A401-0E9514E8F2DC}"/>
                </a:ext>
              </a:extLst>
            </p:cNvPr>
            <p:cNvSpPr>
              <a:spLocks noEditPoints="1"/>
            </p:cNvSpPr>
            <p:nvPr/>
          </p:nvSpPr>
          <p:spPr bwMode="auto">
            <a:xfrm>
              <a:off x="11028363" y="2505076"/>
              <a:ext cx="200025" cy="257175"/>
            </a:xfrm>
            <a:custGeom>
              <a:avLst/>
              <a:gdLst>
                <a:gd name="T0" fmla="*/ 251 w 630"/>
                <a:gd name="T1" fmla="*/ 88 h 811"/>
                <a:gd name="T2" fmla="*/ 257 w 630"/>
                <a:gd name="T3" fmla="*/ 75 h 811"/>
                <a:gd name="T4" fmla="*/ 263 w 630"/>
                <a:gd name="T5" fmla="*/ 52 h 811"/>
                <a:gd name="T6" fmla="*/ 291 w 630"/>
                <a:gd name="T7" fmla="*/ 33 h 811"/>
                <a:gd name="T8" fmla="*/ 354 w 630"/>
                <a:gd name="T9" fmla="*/ 37 h 811"/>
                <a:gd name="T10" fmla="*/ 375 w 630"/>
                <a:gd name="T11" fmla="*/ 56 h 811"/>
                <a:gd name="T12" fmla="*/ 379 w 630"/>
                <a:gd name="T13" fmla="*/ 78 h 811"/>
                <a:gd name="T14" fmla="*/ 388 w 630"/>
                <a:gd name="T15" fmla="*/ 89 h 811"/>
                <a:gd name="T16" fmla="*/ 180 w 630"/>
                <a:gd name="T17" fmla="*/ 240 h 811"/>
                <a:gd name="T18" fmla="*/ 54 w 630"/>
                <a:gd name="T19" fmla="*/ 779 h 811"/>
                <a:gd name="T20" fmla="*/ 30 w 630"/>
                <a:gd name="T21" fmla="*/ 748 h 811"/>
                <a:gd name="T22" fmla="*/ 75 w 630"/>
                <a:gd name="T23" fmla="*/ 180 h 811"/>
                <a:gd name="T24" fmla="*/ 62 w 630"/>
                <a:gd name="T25" fmla="*/ 187 h 811"/>
                <a:gd name="T26" fmla="*/ 60 w 630"/>
                <a:gd name="T27" fmla="*/ 740 h 811"/>
                <a:gd name="T28" fmla="*/ 69 w 630"/>
                <a:gd name="T29" fmla="*/ 750 h 811"/>
                <a:gd name="T30" fmla="*/ 362 w 630"/>
                <a:gd name="T31" fmla="*/ 750 h 811"/>
                <a:gd name="T32" fmla="*/ 370 w 630"/>
                <a:gd name="T33" fmla="*/ 740 h 811"/>
                <a:gd name="T34" fmla="*/ 366 w 630"/>
                <a:gd name="T35" fmla="*/ 726 h 811"/>
                <a:gd name="T36" fmla="*/ 90 w 630"/>
                <a:gd name="T37" fmla="*/ 721 h 811"/>
                <a:gd name="T38" fmla="*/ 151 w 630"/>
                <a:gd name="T39" fmla="*/ 261 h 811"/>
                <a:gd name="T40" fmla="*/ 162 w 630"/>
                <a:gd name="T41" fmla="*/ 270 h 811"/>
                <a:gd name="T42" fmla="*/ 474 w 630"/>
                <a:gd name="T43" fmla="*/ 268 h 811"/>
                <a:gd name="T44" fmla="*/ 481 w 630"/>
                <a:gd name="T45" fmla="*/ 256 h 811"/>
                <a:gd name="T46" fmla="*/ 542 w 630"/>
                <a:gd name="T47" fmla="*/ 366 h 811"/>
                <a:gd name="T48" fmla="*/ 552 w 630"/>
                <a:gd name="T49" fmla="*/ 376 h 811"/>
                <a:gd name="T50" fmla="*/ 566 w 630"/>
                <a:gd name="T51" fmla="*/ 371 h 811"/>
                <a:gd name="T52" fmla="*/ 570 w 630"/>
                <a:gd name="T53" fmla="*/ 195 h 811"/>
                <a:gd name="T54" fmla="*/ 564 w 630"/>
                <a:gd name="T55" fmla="*/ 183 h 811"/>
                <a:gd name="T56" fmla="*/ 481 w 630"/>
                <a:gd name="T57" fmla="*/ 150 h 811"/>
                <a:gd name="T58" fmla="*/ 603 w 630"/>
                <a:gd name="T59" fmla="*/ 365 h 811"/>
                <a:gd name="T60" fmla="*/ 615 w 630"/>
                <a:gd name="T61" fmla="*/ 371 h 811"/>
                <a:gd name="T62" fmla="*/ 628 w 630"/>
                <a:gd name="T63" fmla="*/ 365 h 811"/>
                <a:gd name="T64" fmla="*/ 630 w 630"/>
                <a:gd name="T65" fmla="*/ 133 h 811"/>
                <a:gd name="T66" fmla="*/ 622 w 630"/>
                <a:gd name="T67" fmla="*/ 121 h 811"/>
                <a:gd name="T68" fmla="*/ 480 w 630"/>
                <a:gd name="T69" fmla="*/ 72 h 811"/>
                <a:gd name="T70" fmla="*/ 471 w 630"/>
                <a:gd name="T71" fmla="*/ 61 h 811"/>
                <a:gd name="T72" fmla="*/ 400 w 630"/>
                <a:gd name="T73" fmla="*/ 41 h 811"/>
                <a:gd name="T74" fmla="*/ 380 w 630"/>
                <a:gd name="T75" fmla="*/ 17 h 811"/>
                <a:gd name="T76" fmla="*/ 340 w 630"/>
                <a:gd name="T77" fmla="*/ 1 h 811"/>
                <a:gd name="T78" fmla="*/ 285 w 630"/>
                <a:gd name="T79" fmla="*/ 3 h 811"/>
                <a:gd name="T80" fmla="*/ 249 w 630"/>
                <a:gd name="T81" fmla="*/ 22 h 811"/>
                <a:gd name="T82" fmla="*/ 231 w 630"/>
                <a:gd name="T83" fmla="*/ 52 h 811"/>
                <a:gd name="T84" fmla="*/ 156 w 630"/>
                <a:gd name="T85" fmla="*/ 63 h 811"/>
                <a:gd name="T86" fmla="*/ 150 w 630"/>
                <a:gd name="T87" fmla="*/ 75 h 811"/>
                <a:gd name="T88" fmla="*/ 7 w 630"/>
                <a:gd name="T89" fmla="*/ 123 h 811"/>
                <a:gd name="T90" fmla="*/ 0 w 630"/>
                <a:gd name="T91" fmla="*/ 135 h 811"/>
                <a:gd name="T92" fmla="*/ 4 w 630"/>
                <a:gd name="T93" fmla="*/ 770 h 811"/>
                <a:gd name="T94" fmla="*/ 24 w 630"/>
                <a:gd name="T95" fmla="*/ 797 h 811"/>
                <a:gd name="T96" fmla="*/ 57 w 630"/>
                <a:gd name="T97" fmla="*/ 810 h 811"/>
                <a:gd name="T98" fmla="*/ 380 w 630"/>
                <a:gd name="T99" fmla="*/ 810 h 811"/>
                <a:gd name="T100" fmla="*/ 390 w 630"/>
                <a:gd name="T101" fmla="*/ 800 h 811"/>
                <a:gd name="T102" fmla="*/ 385 w 630"/>
                <a:gd name="T103" fmla="*/ 786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30" h="811">
                  <a:moveTo>
                    <a:pt x="180" y="90"/>
                  </a:moveTo>
                  <a:lnTo>
                    <a:pt x="242" y="90"/>
                  </a:lnTo>
                  <a:lnTo>
                    <a:pt x="245" y="90"/>
                  </a:lnTo>
                  <a:lnTo>
                    <a:pt x="248" y="89"/>
                  </a:lnTo>
                  <a:lnTo>
                    <a:pt x="251" y="88"/>
                  </a:lnTo>
                  <a:lnTo>
                    <a:pt x="253" y="86"/>
                  </a:lnTo>
                  <a:lnTo>
                    <a:pt x="255" y="84"/>
                  </a:lnTo>
                  <a:lnTo>
                    <a:pt x="256" y="81"/>
                  </a:lnTo>
                  <a:lnTo>
                    <a:pt x="257" y="78"/>
                  </a:lnTo>
                  <a:lnTo>
                    <a:pt x="257" y="75"/>
                  </a:lnTo>
                  <a:lnTo>
                    <a:pt x="257" y="70"/>
                  </a:lnTo>
                  <a:lnTo>
                    <a:pt x="258" y="64"/>
                  </a:lnTo>
                  <a:lnTo>
                    <a:pt x="259" y="60"/>
                  </a:lnTo>
                  <a:lnTo>
                    <a:pt x="261" y="56"/>
                  </a:lnTo>
                  <a:lnTo>
                    <a:pt x="263" y="52"/>
                  </a:lnTo>
                  <a:lnTo>
                    <a:pt x="266" y="47"/>
                  </a:lnTo>
                  <a:lnTo>
                    <a:pt x="269" y="44"/>
                  </a:lnTo>
                  <a:lnTo>
                    <a:pt x="272" y="42"/>
                  </a:lnTo>
                  <a:lnTo>
                    <a:pt x="281" y="37"/>
                  </a:lnTo>
                  <a:lnTo>
                    <a:pt x="291" y="33"/>
                  </a:lnTo>
                  <a:lnTo>
                    <a:pt x="304" y="31"/>
                  </a:lnTo>
                  <a:lnTo>
                    <a:pt x="318" y="30"/>
                  </a:lnTo>
                  <a:lnTo>
                    <a:pt x="332" y="31"/>
                  </a:lnTo>
                  <a:lnTo>
                    <a:pt x="345" y="33"/>
                  </a:lnTo>
                  <a:lnTo>
                    <a:pt x="354" y="37"/>
                  </a:lnTo>
                  <a:lnTo>
                    <a:pt x="363" y="42"/>
                  </a:lnTo>
                  <a:lnTo>
                    <a:pt x="367" y="44"/>
                  </a:lnTo>
                  <a:lnTo>
                    <a:pt x="370" y="47"/>
                  </a:lnTo>
                  <a:lnTo>
                    <a:pt x="373" y="52"/>
                  </a:lnTo>
                  <a:lnTo>
                    <a:pt x="375" y="56"/>
                  </a:lnTo>
                  <a:lnTo>
                    <a:pt x="377" y="60"/>
                  </a:lnTo>
                  <a:lnTo>
                    <a:pt x="378" y="64"/>
                  </a:lnTo>
                  <a:lnTo>
                    <a:pt x="378" y="70"/>
                  </a:lnTo>
                  <a:lnTo>
                    <a:pt x="379" y="75"/>
                  </a:lnTo>
                  <a:lnTo>
                    <a:pt x="379" y="78"/>
                  </a:lnTo>
                  <a:lnTo>
                    <a:pt x="380" y="81"/>
                  </a:lnTo>
                  <a:lnTo>
                    <a:pt x="381" y="84"/>
                  </a:lnTo>
                  <a:lnTo>
                    <a:pt x="383" y="86"/>
                  </a:lnTo>
                  <a:lnTo>
                    <a:pt x="385" y="88"/>
                  </a:lnTo>
                  <a:lnTo>
                    <a:pt x="388" y="89"/>
                  </a:lnTo>
                  <a:lnTo>
                    <a:pt x="391" y="90"/>
                  </a:lnTo>
                  <a:lnTo>
                    <a:pt x="394" y="90"/>
                  </a:lnTo>
                  <a:lnTo>
                    <a:pt x="451" y="90"/>
                  </a:lnTo>
                  <a:lnTo>
                    <a:pt x="451" y="240"/>
                  </a:lnTo>
                  <a:lnTo>
                    <a:pt x="180" y="240"/>
                  </a:lnTo>
                  <a:lnTo>
                    <a:pt x="180" y="90"/>
                  </a:lnTo>
                  <a:close/>
                  <a:moveTo>
                    <a:pt x="375" y="781"/>
                  </a:moveTo>
                  <a:lnTo>
                    <a:pt x="75" y="781"/>
                  </a:lnTo>
                  <a:lnTo>
                    <a:pt x="63" y="780"/>
                  </a:lnTo>
                  <a:lnTo>
                    <a:pt x="54" y="779"/>
                  </a:lnTo>
                  <a:lnTo>
                    <a:pt x="46" y="776"/>
                  </a:lnTo>
                  <a:lnTo>
                    <a:pt x="40" y="772"/>
                  </a:lnTo>
                  <a:lnTo>
                    <a:pt x="35" y="765"/>
                  </a:lnTo>
                  <a:lnTo>
                    <a:pt x="32" y="758"/>
                  </a:lnTo>
                  <a:lnTo>
                    <a:pt x="30" y="748"/>
                  </a:lnTo>
                  <a:lnTo>
                    <a:pt x="30" y="736"/>
                  </a:lnTo>
                  <a:lnTo>
                    <a:pt x="30" y="150"/>
                  </a:lnTo>
                  <a:lnTo>
                    <a:pt x="150" y="150"/>
                  </a:lnTo>
                  <a:lnTo>
                    <a:pt x="150" y="180"/>
                  </a:lnTo>
                  <a:lnTo>
                    <a:pt x="75" y="180"/>
                  </a:lnTo>
                  <a:lnTo>
                    <a:pt x="72" y="181"/>
                  </a:lnTo>
                  <a:lnTo>
                    <a:pt x="69" y="182"/>
                  </a:lnTo>
                  <a:lnTo>
                    <a:pt x="67" y="183"/>
                  </a:lnTo>
                  <a:lnTo>
                    <a:pt x="64" y="185"/>
                  </a:lnTo>
                  <a:lnTo>
                    <a:pt x="62" y="187"/>
                  </a:lnTo>
                  <a:lnTo>
                    <a:pt x="61" y="190"/>
                  </a:lnTo>
                  <a:lnTo>
                    <a:pt x="60" y="193"/>
                  </a:lnTo>
                  <a:lnTo>
                    <a:pt x="60" y="195"/>
                  </a:lnTo>
                  <a:lnTo>
                    <a:pt x="60" y="736"/>
                  </a:lnTo>
                  <a:lnTo>
                    <a:pt x="60" y="740"/>
                  </a:lnTo>
                  <a:lnTo>
                    <a:pt x="61" y="742"/>
                  </a:lnTo>
                  <a:lnTo>
                    <a:pt x="62" y="745"/>
                  </a:lnTo>
                  <a:lnTo>
                    <a:pt x="64" y="747"/>
                  </a:lnTo>
                  <a:lnTo>
                    <a:pt x="67" y="748"/>
                  </a:lnTo>
                  <a:lnTo>
                    <a:pt x="69" y="750"/>
                  </a:lnTo>
                  <a:lnTo>
                    <a:pt x="72" y="750"/>
                  </a:lnTo>
                  <a:lnTo>
                    <a:pt x="75" y="751"/>
                  </a:lnTo>
                  <a:lnTo>
                    <a:pt x="355" y="751"/>
                  </a:lnTo>
                  <a:lnTo>
                    <a:pt x="359" y="750"/>
                  </a:lnTo>
                  <a:lnTo>
                    <a:pt x="362" y="750"/>
                  </a:lnTo>
                  <a:lnTo>
                    <a:pt x="364" y="748"/>
                  </a:lnTo>
                  <a:lnTo>
                    <a:pt x="366" y="747"/>
                  </a:lnTo>
                  <a:lnTo>
                    <a:pt x="368" y="745"/>
                  </a:lnTo>
                  <a:lnTo>
                    <a:pt x="369" y="742"/>
                  </a:lnTo>
                  <a:lnTo>
                    <a:pt x="370" y="740"/>
                  </a:lnTo>
                  <a:lnTo>
                    <a:pt x="370" y="736"/>
                  </a:lnTo>
                  <a:lnTo>
                    <a:pt x="370" y="733"/>
                  </a:lnTo>
                  <a:lnTo>
                    <a:pt x="369" y="730"/>
                  </a:lnTo>
                  <a:lnTo>
                    <a:pt x="368" y="728"/>
                  </a:lnTo>
                  <a:lnTo>
                    <a:pt x="366" y="726"/>
                  </a:lnTo>
                  <a:lnTo>
                    <a:pt x="364" y="724"/>
                  </a:lnTo>
                  <a:lnTo>
                    <a:pt x="362" y="723"/>
                  </a:lnTo>
                  <a:lnTo>
                    <a:pt x="359" y="721"/>
                  </a:lnTo>
                  <a:lnTo>
                    <a:pt x="355" y="721"/>
                  </a:lnTo>
                  <a:lnTo>
                    <a:pt x="90" y="721"/>
                  </a:lnTo>
                  <a:lnTo>
                    <a:pt x="90" y="210"/>
                  </a:lnTo>
                  <a:lnTo>
                    <a:pt x="150" y="210"/>
                  </a:lnTo>
                  <a:lnTo>
                    <a:pt x="150" y="256"/>
                  </a:lnTo>
                  <a:lnTo>
                    <a:pt x="150" y="259"/>
                  </a:lnTo>
                  <a:lnTo>
                    <a:pt x="151" y="261"/>
                  </a:lnTo>
                  <a:lnTo>
                    <a:pt x="152" y="264"/>
                  </a:lnTo>
                  <a:lnTo>
                    <a:pt x="154" y="267"/>
                  </a:lnTo>
                  <a:lnTo>
                    <a:pt x="156" y="268"/>
                  </a:lnTo>
                  <a:lnTo>
                    <a:pt x="160" y="270"/>
                  </a:lnTo>
                  <a:lnTo>
                    <a:pt x="162" y="270"/>
                  </a:lnTo>
                  <a:lnTo>
                    <a:pt x="165" y="271"/>
                  </a:lnTo>
                  <a:lnTo>
                    <a:pt x="466" y="271"/>
                  </a:lnTo>
                  <a:lnTo>
                    <a:pt x="469" y="270"/>
                  </a:lnTo>
                  <a:lnTo>
                    <a:pt x="471" y="270"/>
                  </a:lnTo>
                  <a:lnTo>
                    <a:pt x="474" y="268"/>
                  </a:lnTo>
                  <a:lnTo>
                    <a:pt x="476" y="267"/>
                  </a:lnTo>
                  <a:lnTo>
                    <a:pt x="477" y="264"/>
                  </a:lnTo>
                  <a:lnTo>
                    <a:pt x="480" y="261"/>
                  </a:lnTo>
                  <a:lnTo>
                    <a:pt x="480" y="259"/>
                  </a:lnTo>
                  <a:lnTo>
                    <a:pt x="481" y="256"/>
                  </a:lnTo>
                  <a:lnTo>
                    <a:pt x="481" y="210"/>
                  </a:lnTo>
                  <a:lnTo>
                    <a:pt x="541" y="210"/>
                  </a:lnTo>
                  <a:lnTo>
                    <a:pt x="541" y="361"/>
                  </a:lnTo>
                  <a:lnTo>
                    <a:pt x="541" y="364"/>
                  </a:lnTo>
                  <a:lnTo>
                    <a:pt x="542" y="366"/>
                  </a:lnTo>
                  <a:lnTo>
                    <a:pt x="543" y="369"/>
                  </a:lnTo>
                  <a:lnTo>
                    <a:pt x="545" y="371"/>
                  </a:lnTo>
                  <a:lnTo>
                    <a:pt x="547" y="374"/>
                  </a:lnTo>
                  <a:lnTo>
                    <a:pt x="549" y="375"/>
                  </a:lnTo>
                  <a:lnTo>
                    <a:pt x="552" y="376"/>
                  </a:lnTo>
                  <a:lnTo>
                    <a:pt x="556" y="376"/>
                  </a:lnTo>
                  <a:lnTo>
                    <a:pt x="559" y="376"/>
                  </a:lnTo>
                  <a:lnTo>
                    <a:pt x="561" y="375"/>
                  </a:lnTo>
                  <a:lnTo>
                    <a:pt x="564" y="374"/>
                  </a:lnTo>
                  <a:lnTo>
                    <a:pt x="566" y="371"/>
                  </a:lnTo>
                  <a:lnTo>
                    <a:pt x="568" y="369"/>
                  </a:lnTo>
                  <a:lnTo>
                    <a:pt x="569" y="367"/>
                  </a:lnTo>
                  <a:lnTo>
                    <a:pt x="570" y="364"/>
                  </a:lnTo>
                  <a:lnTo>
                    <a:pt x="570" y="361"/>
                  </a:lnTo>
                  <a:lnTo>
                    <a:pt x="570" y="195"/>
                  </a:lnTo>
                  <a:lnTo>
                    <a:pt x="570" y="193"/>
                  </a:lnTo>
                  <a:lnTo>
                    <a:pt x="569" y="190"/>
                  </a:lnTo>
                  <a:lnTo>
                    <a:pt x="568" y="187"/>
                  </a:lnTo>
                  <a:lnTo>
                    <a:pt x="566" y="185"/>
                  </a:lnTo>
                  <a:lnTo>
                    <a:pt x="564" y="183"/>
                  </a:lnTo>
                  <a:lnTo>
                    <a:pt x="561" y="182"/>
                  </a:lnTo>
                  <a:lnTo>
                    <a:pt x="559" y="181"/>
                  </a:lnTo>
                  <a:lnTo>
                    <a:pt x="556" y="180"/>
                  </a:lnTo>
                  <a:lnTo>
                    <a:pt x="481" y="180"/>
                  </a:lnTo>
                  <a:lnTo>
                    <a:pt x="481" y="150"/>
                  </a:lnTo>
                  <a:lnTo>
                    <a:pt x="600" y="150"/>
                  </a:lnTo>
                  <a:lnTo>
                    <a:pt x="600" y="357"/>
                  </a:lnTo>
                  <a:lnTo>
                    <a:pt x="600" y="360"/>
                  </a:lnTo>
                  <a:lnTo>
                    <a:pt x="602" y="362"/>
                  </a:lnTo>
                  <a:lnTo>
                    <a:pt x="603" y="365"/>
                  </a:lnTo>
                  <a:lnTo>
                    <a:pt x="605" y="367"/>
                  </a:lnTo>
                  <a:lnTo>
                    <a:pt x="607" y="368"/>
                  </a:lnTo>
                  <a:lnTo>
                    <a:pt x="610" y="370"/>
                  </a:lnTo>
                  <a:lnTo>
                    <a:pt x="612" y="370"/>
                  </a:lnTo>
                  <a:lnTo>
                    <a:pt x="615" y="371"/>
                  </a:lnTo>
                  <a:lnTo>
                    <a:pt x="619" y="370"/>
                  </a:lnTo>
                  <a:lnTo>
                    <a:pt x="622" y="370"/>
                  </a:lnTo>
                  <a:lnTo>
                    <a:pt x="624" y="368"/>
                  </a:lnTo>
                  <a:lnTo>
                    <a:pt x="626" y="367"/>
                  </a:lnTo>
                  <a:lnTo>
                    <a:pt x="628" y="365"/>
                  </a:lnTo>
                  <a:lnTo>
                    <a:pt x="629" y="362"/>
                  </a:lnTo>
                  <a:lnTo>
                    <a:pt x="630" y="360"/>
                  </a:lnTo>
                  <a:lnTo>
                    <a:pt x="630" y="357"/>
                  </a:lnTo>
                  <a:lnTo>
                    <a:pt x="630" y="135"/>
                  </a:lnTo>
                  <a:lnTo>
                    <a:pt x="630" y="133"/>
                  </a:lnTo>
                  <a:lnTo>
                    <a:pt x="629" y="130"/>
                  </a:lnTo>
                  <a:lnTo>
                    <a:pt x="628" y="127"/>
                  </a:lnTo>
                  <a:lnTo>
                    <a:pt x="626" y="125"/>
                  </a:lnTo>
                  <a:lnTo>
                    <a:pt x="624" y="123"/>
                  </a:lnTo>
                  <a:lnTo>
                    <a:pt x="622" y="121"/>
                  </a:lnTo>
                  <a:lnTo>
                    <a:pt x="619" y="121"/>
                  </a:lnTo>
                  <a:lnTo>
                    <a:pt x="615" y="120"/>
                  </a:lnTo>
                  <a:lnTo>
                    <a:pt x="481" y="120"/>
                  </a:lnTo>
                  <a:lnTo>
                    <a:pt x="481" y="75"/>
                  </a:lnTo>
                  <a:lnTo>
                    <a:pt x="480" y="72"/>
                  </a:lnTo>
                  <a:lnTo>
                    <a:pt x="480" y="70"/>
                  </a:lnTo>
                  <a:lnTo>
                    <a:pt x="477" y="68"/>
                  </a:lnTo>
                  <a:lnTo>
                    <a:pt x="476" y="64"/>
                  </a:lnTo>
                  <a:lnTo>
                    <a:pt x="474" y="63"/>
                  </a:lnTo>
                  <a:lnTo>
                    <a:pt x="471" y="61"/>
                  </a:lnTo>
                  <a:lnTo>
                    <a:pt x="469" y="60"/>
                  </a:lnTo>
                  <a:lnTo>
                    <a:pt x="466" y="60"/>
                  </a:lnTo>
                  <a:lnTo>
                    <a:pt x="407" y="60"/>
                  </a:lnTo>
                  <a:lnTo>
                    <a:pt x="405" y="52"/>
                  </a:lnTo>
                  <a:lnTo>
                    <a:pt x="400" y="41"/>
                  </a:lnTo>
                  <a:lnTo>
                    <a:pt x="398" y="37"/>
                  </a:lnTo>
                  <a:lnTo>
                    <a:pt x="395" y="31"/>
                  </a:lnTo>
                  <a:lnTo>
                    <a:pt x="391" y="26"/>
                  </a:lnTo>
                  <a:lnTo>
                    <a:pt x="385" y="22"/>
                  </a:lnTo>
                  <a:lnTo>
                    <a:pt x="380" y="17"/>
                  </a:lnTo>
                  <a:lnTo>
                    <a:pt x="375" y="13"/>
                  </a:lnTo>
                  <a:lnTo>
                    <a:pt x="367" y="10"/>
                  </a:lnTo>
                  <a:lnTo>
                    <a:pt x="360" y="7"/>
                  </a:lnTo>
                  <a:lnTo>
                    <a:pt x="350" y="3"/>
                  </a:lnTo>
                  <a:lnTo>
                    <a:pt x="340" y="1"/>
                  </a:lnTo>
                  <a:lnTo>
                    <a:pt x="330" y="0"/>
                  </a:lnTo>
                  <a:lnTo>
                    <a:pt x="318" y="0"/>
                  </a:lnTo>
                  <a:lnTo>
                    <a:pt x="306" y="0"/>
                  </a:lnTo>
                  <a:lnTo>
                    <a:pt x="294" y="1"/>
                  </a:lnTo>
                  <a:lnTo>
                    <a:pt x="285" y="3"/>
                  </a:lnTo>
                  <a:lnTo>
                    <a:pt x="276" y="7"/>
                  </a:lnTo>
                  <a:lnTo>
                    <a:pt x="269" y="10"/>
                  </a:lnTo>
                  <a:lnTo>
                    <a:pt x="261" y="13"/>
                  </a:lnTo>
                  <a:lnTo>
                    <a:pt x="255" y="17"/>
                  </a:lnTo>
                  <a:lnTo>
                    <a:pt x="249" y="22"/>
                  </a:lnTo>
                  <a:lnTo>
                    <a:pt x="245" y="26"/>
                  </a:lnTo>
                  <a:lnTo>
                    <a:pt x="241" y="31"/>
                  </a:lnTo>
                  <a:lnTo>
                    <a:pt x="238" y="37"/>
                  </a:lnTo>
                  <a:lnTo>
                    <a:pt x="235" y="41"/>
                  </a:lnTo>
                  <a:lnTo>
                    <a:pt x="231" y="52"/>
                  </a:lnTo>
                  <a:lnTo>
                    <a:pt x="228" y="60"/>
                  </a:lnTo>
                  <a:lnTo>
                    <a:pt x="165" y="60"/>
                  </a:lnTo>
                  <a:lnTo>
                    <a:pt x="162" y="60"/>
                  </a:lnTo>
                  <a:lnTo>
                    <a:pt x="160" y="61"/>
                  </a:lnTo>
                  <a:lnTo>
                    <a:pt x="156" y="63"/>
                  </a:lnTo>
                  <a:lnTo>
                    <a:pt x="154" y="64"/>
                  </a:lnTo>
                  <a:lnTo>
                    <a:pt x="152" y="68"/>
                  </a:lnTo>
                  <a:lnTo>
                    <a:pt x="151" y="70"/>
                  </a:lnTo>
                  <a:lnTo>
                    <a:pt x="150" y="72"/>
                  </a:lnTo>
                  <a:lnTo>
                    <a:pt x="150" y="75"/>
                  </a:lnTo>
                  <a:lnTo>
                    <a:pt x="150" y="120"/>
                  </a:lnTo>
                  <a:lnTo>
                    <a:pt x="15" y="120"/>
                  </a:lnTo>
                  <a:lnTo>
                    <a:pt x="12" y="121"/>
                  </a:lnTo>
                  <a:lnTo>
                    <a:pt x="9" y="121"/>
                  </a:lnTo>
                  <a:lnTo>
                    <a:pt x="7" y="123"/>
                  </a:lnTo>
                  <a:lnTo>
                    <a:pt x="4" y="125"/>
                  </a:lnTo>
                  <a:lnTo>
                    <a:pt x="2" y="127"/>
                  </a:lnTo>
                  <a:lnTo>
                    <a:pt x="1" y="130"/>
                  </a:lnTo>
                  <a:lnTo>
                    <a:pt x="0" y="133"/>
                  </a:lnTo>
                  <a:lnTo>
                    <a:pt x="0" y="135"/>
                  </a:lnTo>
                  <a:lnTo>
                    <a:pt x="0" y="736"/>
                  </a:lnTo>
                  <a:lnTo>
                    <a:pt x="0" y="745"/>
                  </a:lnTo>
                  <a:lnTo>
                    <a:pt x="1" y="754"/>
                  </a:lnTo>
                  <a:lnTo>
                    <a:pt x="2" y="762"/>
                  </a:lnTo>
                  <a:lnTo>
                    <a:pt x="4" y="770"/>
                  </a:lnTo>
                  <a:lnTo>
                    <a:pt x="8" y="776"/>
                  </a:lnTo>
                  <a:lnTo>
                    <a:pt x="11" y="782"/>
                  </a:lnTo>
                  <a:lnTo>
                    <a:pt x="14" y="788"/>
                  </a:lnTo>
                  <a:lnTo>
                    <a:pt x="18" y="793"/>
                  </a:lnTo>
                  <a:lnTo>
                    <a:pt x="24" y="797"/>
                  </a:lnTo>
                  <a:lnTo>
                    <a:pt x="29" y="801"/>
                  </a:lnTo>
                  <a:lnTo>
                    <a:pt x="35" y="804"/>
                  </a:lnTo>
                  <a:lnTo>
                    <a:pt x="42" y="807"/>
                  </a:lnTo>
                  <a:lnTo>
                    <a:pt x="49" y="808"/>
                  </a:lnTo>
                  <a:lnTo>
                    <a:pt x="57" y="810"/>
                  </a:lnTo>
                  <a:lnTo>
                    <a:pt x="65" y="811"/>
                  </a:lnTo>
                  <a:lnTo>
                    <a:pt x="75" y="811"/>
                  </a:lnTo>
                  <a:lnTo>
                    <a:pt x="375" y="811"/>
                  </a:lnTo>
                  <a:lnTo>
                    <a:pt x="378" y="811"/>
                  </a:lnTo>
                  <a:lnTo>
                    <a:pt x="380" y="810"/>
                  </a:lnTo>
                  <a:lnTo>
                    <a:pt x="383" y="809"/>
                  </a:lnTo>
                  <a:lnTo>
                    <a:pt x="385" y="807"/>
                  </a:lnTo>
                  <a:lnTo>
                    <a:pt x="388" y="805"/>
                  </a:lnTo>
                  <a:lnTo>
                    <a:pt x="389" y="803"/>
                  </a:lnTo>
                  <a:lnTo>
                    <a:pt x="390" y="800"/>
                  </a:lnTo>
                  <a:lnTo>
                    <a:pt x="390" y="796"/>
                  </a:lnTo>
                  <a:lnTo>
                    <a:pt x="390" y="793"/>
                  </a:lnTo>
                  <a:lnTo>
                    <a:pt x="389" y="791"/>
                  </a:lnTo>
                  <a:lnTo>
                    <a:pt x="388" y="788"/>
                  </a:lnTo>
                  <a:lnTo>
                    <a:pt x="385" y="786"/>
                  </a:lnTo>
                  <a:lnTo>
                    <a:pt x="383" y="784"/>
                  </a:lnTo>
                  <a:lnTo>
                    <a:pt x="380" y="782"/>
                  </a:lnTo>
                  <a:lnTo>
                    <a:pt x="378" y="781"/>
                  </a:lnTo>
                  <a:lnTo>
                    <a:pt x="375" y="7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43" name="Freeform 342">
              <a:extLst>
                <a:ext uri="{FF2B5EF4-FFF2-40B4-BE49-F238E27FC236}">
                  <a16:creationId xmlns:a16="http://schemas.microsoft.com/office/drawing/2014/main" id="{65BD3E3F-9B87-4FBD-A1E4-C05568FA87C4}"/>
                </a:ext>
              </a:extLst>
            </p:cNvPr>
            <p:cNvSpPr>
              <a:spLocks/>
            </p:cNvSpPr>
            <p:nvPr/>
          </p:nvSpPr>
          <p:spPr bwMode="auto">
            <a:xfrm>
              <a:off x="11088688" y="2609851"/>
              <a:ext cx="69850" cy="9525"/>
            </a:xfrm>
            <a:custGeom>
              <a:avLst/>
              <a:gdLst>
                <a:gd name="T0" fmla="*/ 204 w 219"/>
                <a:gd name="T1" fmla="*/ 0 h 30"/>
                <a:gd name="T2" fmla="*/ 15 w 219"/>
                <a:gd name="T3" fmla="*/ 0 h 30"/>
                <a:gd name="T4" fmla="*/ 11 w 219"/>
                <a:gd name="T5" fmla="*/ 0 h 30"/>
                <a:gd name="T6" fmla="*/ 8 w 219"/>
                <a:gd name="T7" fmla="*/ 1 h 30"/>
                <a:gd name="T8" fmla="*/ 6 w 219"/>
                <a:gd name="T9" fmla="*/ 2 h 30"/>
                <a:gd name="T10" fmla="*/ 4 w 219"/>
                <a:gd name="T11" fmla="*/ 4 h 30"/>
                <a:gd name="T12" fmla="*/ 2 w 219"/>
                <a:gd name="T13" fmla="*/ 6 h 30"/>
                <a:gd name="T14" fmla="*/ 1 w 219"/>
                <a:gd name="T15" fmla="*/ 9 h 30"/>
                <a:gd name="T16" fmla="*/ 0 w 219"/>
                <a:gd name="T17" fmla="*/ 12 h 30"/>
                <a:gd name="T18" fmla="*/ 0 w 219"/>
                <a:gd name="T19" fmla="*/ 15 h 30"/>
                <a:gd name="T20" fmla="*/ 0 w 219"/>
                <a:gd name="T21" fmla="*/ 18 h 30"/>
                <a:gd name="T22" fmla="*/ 1 w 219"/>
                <a:gd name="T23" fmla="*/ 20 h 30"/>
                <a:gd name="T24" fmla="*/ 2 w 219"/>
                <a:gd name="T25" fmla="*/ 23 h 30"/>
                <a:gd name="T26" fmla="*/ 4 w 219"/>
                <a:gd name="T27" fmla="*/ 26 h 30"/>
                <a:gd name="T28" fmla="*/ 6 w 219"/>
                <a:gd name="T29" fmla="*/ 28 h 30"/>
                <a:gd name="T30" fmla="*/ 8 w 219"/>
                <a:gd name="T31" fmla="*/ 29 h 30"/>
                <a:gd name="T32" fmla="*/ 11 w 219"/>
                <a:gd name="T33" fmla="*/ 30 h 30"/>
                <a:gd name="T34" fmla="*/ 15 w 219"/>
                <a:gd name="T35" fmla="*/ 30 h 30"/>
                <a:gd name="T36" fmla="*/ 204 w 219"/>
                <a:gd name="T37" fmla="*/ 30 h 30"/>
                <a:gd name="T38" fmla="*/ 206 w 219"/>
                <a:gd name="T39" fmla="*/ 29 h 30"/>
                <a:gd name="T40" fmla="*/ 209 w 219"/>
                <a:gd name="T41" fmla="*/ 29 h 30"/>
                <a:gd name="T42" fmla="*/ 211 w 219"/>
                <a:gd name="T43" fmla="*/ 28 h 30"/>
                <a:gd name="T44" fmla="*/ 215 w 219"/>
                <a:gd name="T45" fmla="*/ 26 h 30"/>
                <a:gd name="T46" fmla="*/ 216 w 219"/>
                <a:gd name="T47" fmla="*/ 23 h 30"/>
                <a:gd name="T48" fmla="*/ 218 w 219"/>
                <a:gd name="T49" fmla="*/ 20 h 30"/>
                <a:gd name="T50" fmla="*/ 218 w 219"/>
                <a:gd name="T51" fmla="*/ 18 h 30"/>
                <a:gd name="T52" fmla="*/ 219 w 219"/>
                <a:gd name="T53" fmla="*/ 15 h 30"/>
                <a:gd name="T54" fmla="*/ 218 w 219"/>
                <a:gd name="T55" fmla="*/ 12 h 30"/>
                <a:gd name="T56" fmla="*/ 218 w 219"/>
                <a:gd name="T57" fmla="*/ 9 h 30"/>
                <a:gd name="T58" fmla="*/ 216 w 219"/>
                <a:gd name="T59" fmla="*/ 6 h 30"/>
                <a:gd name="T60" fmla="*/ 215 w 219"/>
                <a:gd name="T61" fmla="*/ 4 h 30"/>
                <a:gd name="T62" fmla="*/ 211 w 219"/>
                <a:gd name="T63" fmla="*/ 2 h 30"/>
                <a:gd name="T64" fmla="*/ 209 w 219"/>
                <a:gd name="T65" fmla="*/ 1 h 30"/>
                <a:gd name="T66" fmla="*/ 206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1" y="0"/>
                  </a:lnTo>
                  <a:lnTo>
                    <a:pt x="8" y="1"/>
                  </a:lnTo>
                  <a:lnTo>
                    <a:pt x="6" y="2"/>
                  </a:lnTo>
                  <a:lnTo>
                    <a:pt x="4" y="4"/>
                  </a:lnTo>
                  <a:lnTo>
                    <a:pt x="2" y="6"/>
                  </a:lnTo>
                  <a:lnTo>
                    <a:pt x="1" y="9"/>
                  </a:lnTo>
                  <a:lnTo>
                    <a:pt x="0" y="12"/>
                  </a:lnTo>
                  <a:lnTo>
                    <a:pt x="0" y="15"/>
                  </a:lnTo>
                  <a:lnTo>
                    <a:pt x="0" y="18"/>
                  </a:lnTo>
                  <a:lnTo>
                    <a:pt x="1" y="20"/>
                  </a:lnTo>
                  <a:lnTo>
                    <a:pt x="2" y="23"/>
                  </a:lnTo>
                  <a:lnTo>
                    <a:pt x="4" y="26"/>
                  </a:lnTo>
                  <a:lnTo>
                    <a:pt x="6" y="28"/>
                  </a:lnTo>
                  <a:lnTo>
                    <a:pt x="8" y="29"/>
                  </a:lnTo>
                  <a:lnTo>
                    <a:pt x="11" y="30"/>
                  </a:lnTo>
                  <a:lnTo>
                    <a:pt x="15" y="30"/>
                  </a:lnTo>
                  <a:lnTo>
                    <a:pt x="204" y="30"/>
                  </a:lnTo>
                  <a:lnTo>
                    <a:pt x="206" y="29"/>
                  </a:lnTo>
                  <a:lnTo>
                    <a:pt x="209" y="29"/>
                  </a:lnTo>
                  <a:lnTo>
                    <a:pt x="211" y="28"/>
                  </a:lnTo>
                  <a:lnTo>
                    <a:pt x="215" y="26"/>
                  </a:lnTo>
                  <a:lnTo>
                    <a:pt x="216" y="23"/>
                  </a:lnTo>
                  <a:lnTo>
                    <a:pt x="218" y="20"/>
                  </a:lnTo>
                  <a:lnTo>
                    <a:pt x="218" y="18"/>
                  </a:lnTo>
                  <a:lnTo>
                    <a:pt x="219" y="15"/>
                  </a:lnTo>
                  <a:lnTo>
                    <a:pt x="218" y="12"/>
                  </a:lnTo>
                  <a:lnTo>
                    <a:pt x="218" y="9"/>
                  </a:lnTo>
                  <a:lnTo>
                    <a:pt x="216" y="6"/>
                  </a:lnTo>
                  <a:lnTo>
                    <a:pt x="215" y="4"/>
                  </a:lnTo>
                  <a:lnTo>
                    <a:pt x="211" y="2"/>
                  </a:lnTo>
                  <a:lnTo>
                    <a:pt x="209" y="1"/>
                  </a:lnTo>
                  <a:lnTo>
                    <a:pt x="206"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44" name="Freeform 343">
              <a:extLst>
                <a:ext uri="{FF2B5EF4-FFF2-40B4-BE49-F238E27FC236}">
                  <a16:creationId xmlns:a16="http://schemas.microsoft.com/office/drawing/2014/main" id="{98662D7A-91D4-4128-84AF-5EA568FF15AA}"/>
                </a:ext>
              </a:extLst>
            </p:cNvPr>
            <p:cNvSpPr>
              <a:spLocks/>
            </p:cNvSpPr>
            <p:nvPr/>
          </p:nvSpPr>
          <p:spPr bwMode="auto">
            <a:xfrm>
              <a:off x="11088688" y="2638426"/>
              <a:ext cx="69850" cy="9525"/>
            </a:xfrm>
            <a:custGeom>
              <a:avLst/>
              <a:gdLst>
                <a:gd name="T0" fmla="*/ 204 w 219"/>
                <a:gd name="T1" fmla="*/ 0 h 30"/>
                <a:gd name="T2" fmla="*/ 15 w 219"/>
                <a:gd name="T3" fmla="*/ 0 h 30"/>
                <a:gd name="T4" fmla="*/ 11 w 219"/>
                <a:gd name="T5" fmla="*/ 0 h 30"/>
                <a:gd name="T6" fmla="*/ 8 w 219"/>
                <a:gd name="T7" fmla="*/ 1 h 30"/>
                <a:gd name="T8" fmla="*/ 6 w 219"/>
                <a:gd name="T9" fmla="*/ 2 h 30"/>
                <a:gd name="T10" fmla="*/ 4 w 219"/>
                <a:gd name="T11" fmla="*/ 4 h 30"/>
                <a:gd name="T12" fmla="*/ 2 w 219"/>
                <a:gd name="T13" fmla="*/ 6 h 30"/>
                <a:gd name="T14" fmla="*/ 1 w 219"/>
                <a:gd name="T15" fmla="*/ 9 h 30"/>
                <a:gd name="T16" fmla="*/ 0 w 219"/>
                <a:gd name="T17" fmla="*/ 11 h 30"/>
                <a:gd name="T18" fmla="*/ 0 w 219"/>
                <a:gd name="T19" fmla="*/ 15 h 30"/>
                <a:gd name="T20" fmla="*/ 0 w 219"/>
                <a:gd name="T21" fmla="*/ 18 h 30"/>
                <a:gd name="T22" fmla="*/ 1 w 219"/>
                <a:gd name="T23" fmla="*/ 21 h 30"/>
                <a:gd name="T24" fmla="*/ 2 w 219"/>
                <a:gd name="T25" fmla="*/ 23 h 30"/>
                <a:gd name="T26" fmla="*/ 4 w 219"/>
                <a:gd name="T27" fmla="*/ 25 h 30"/>
                <a:gd name="T28" fmla="*/ 6 w 219"/>
                <a:gd name="T29" fmla="*/ 28 h 30"/>
                <a:gd name="T30" fmla="*/ 8 w 219"/>
                <a:gd name="T31" fmla="*/ 29 h 30"/>
                <a:gd name="T32" fmla="*/ 11 w 219"/>
                <a:gd name="T33" fmla="*/ 30 h 30"/>
                <a:gd name="T34" fmla="*/ 15 w 219"/>
                <a:gd name="T35" fmla="*/ 30 h 30"/>
                <a:gd name="T36" fmla="*/ 204 w 219"/>
                <a:gd name="T37" fmla="*/ 30 h 30"/>
                <a:gd name="T38" fmla="*/ 206 w 219"/>
                <a:gd name="T39" fmla="*/ 30 h 30"/>
                <a:gd name="T40" fmla="*/ 209 w 219"/>
                <a:gd name="T41" fmla="*/ 29 h 30"/>
                <a:gd name="T42" fmla="*/ 211 w 219"/>
                <a:gd name="T43" fmla="*/ 28 h 30"/>
                <a:gd name="T44" fmla="*/ 215 w 219"/>
                <a:gd name="T45" fmla="*/ 25 h 30"/>
                <a:gd name="T46" fmla="*/ 216 w 219"/>
                <a:gd name="T47" fmla="*/ 23 h 30"/>
                <a:gd name="T48" fmla="*/ 218 w 219"/>
                <a:gd name="T49" fmla="*/ 21 h 30"/>
                <a:gd name="T50" fmla="*/ 218 w 219"/>
                <a:gd name="T51" fmla="*/ 18 h 30"/>
                <a:gd name="T52" fmla="*/ 219 w 219"/>
                <a:gd name="T53" fmla="*/ 15 h 30"/>
                <a:gd name="T54" fmla="*/ 218 w 219"/>
                <a:gd name="T55" fmla="*/ 11 h 30"/>
                <a:gd name="T56" fmla="*/ 218 w 219"/>
                <a:gd name="T57" fmla="*/ 9 h 30"/>
                <a:gd name="T58" fmla="*/ 216 w 219"/>
                <a:gd name="T59" fmla="*/ 6 h 30"/>
                <a:gd name="T60" fmla="*/ 215 w 219"/>
                <a:gd name="T61" fmla="*/ 4 h 30"/>
                <a:gd name="T62" fmla="*/ 211 w 219"/>
                <a:gd name="T63" fmla="*/ 2 h 30"/>
                <a:gd name="T64" fmla="*/ 209 w 219"/>
                <a:gd name="T65" fmla="*/ 1 h 30"/>
                <a:gd name="T66" fmla="*/ 206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1" y="0"/>
                  </a:lnTo>
                  <a:lnTo>
                    <a:pt x="8" y="1"/>
                  </a:lnTo>
                  <a:lnTo>
                    <a:pt x="6" y="2"/>
                  </a:lnTo>
                  <a:lnTo>
                    <a:pt x="4" y="4"/>
                  </a:lnTo>
                  <a:lnTo>
                    <a:pt x="2" y="6"/>
                  </a:lnTo>
                  <a:lnTo>
                    <a:pt x="1" y="9"/>
                  </a:lnTo>
                  <a:lnTo>
                    <a:pt x="0" y="11"/>
                  </a:lnTo>
                  <a:lnTo>
                    <a:pt x="0" y="15"/>
                  </a:lnTo>
                  <a:lnTo>
                    <a:pt x="0" y="18"/>
                  </a:lnTo>
                  <a:lnTo>
                    <a:pt x="1" y="21"/>
                  </a:lnTo>
                  <a:lnTo>
                    <a:pt x="2" y="23"/>
                  </a:lnTo>
                  <a:lnTo>
                    <a:pt x="4" y="25"/>
                  </a:lnTo>
                  <a:lnTo>
                    <a:pt x="6" y="28"/>
                  </a:lnTo>
                  <a:lnTo>
                    <a:pt x="8" y="29"/>
                  </a:lnTo>
                  <a:lnTo>
                    <a:pt x="11" y="30"/>
                  </a:lnTo>
                  <a:lnTo>
                    <a:pt x="15" y="30"/>
                  </a:lnTo>
                  <a:lnTo>
                    <a:pt x="204" y="30"/>
                  </a:lnTo>
                  <a:lnTo>
                    <a:pt x="206" y="30"/>
                  </a:lnTo>
                  <a:lnTo>
                    <a:pt x="209" y="29"/>
                  </a:lnTo>
                  <a:lnTo>
                    <a:pt x="211" y="28"/>
                  </a:lnTo>
                  <a:lnTo>
                    <a:pt x="215" y="25"/>
                  </a:lnTo>
                  <a:lnTo>
                    <a:pt x="216" y="23"/>
                  </a:lnTo>
                  <a:lnTo>
                    <a:pt x="218" y="21"/>
                  </a:lnTo>
                  <a:lnTo>
                    <a:pt x="218" y="18"/>
                  </a:lnTo>
                  <a:lnTo>
                    <a:pt x="219" y="15"/>
                  </a:lnTo>
                  <a:lnTo>
                    <a:pt x="218" y="11"/>
                  </a:lnTo>
                  <a:lnTo>
                    <a:pt x="218" y="9"/>
                  </a:lnTo>
                  <a:lnTo>
                    <a:pt x="216" y="6"/>
                  </a:lnTo>
                  <a:lnTo>
                    <a:pt x="215" y="4"/>
                  </a:lnTo>
                  <a:lnTo>
                    <a:pt x="211" y="2"/>
                  </a:lnTo>
                  <a:lnTo>
                    <a:pt x="209" y="1"/>
                  </a:lnTo>
                  <a:lnTo>
                    <a:pt x="206"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45" name="Freeform 344">
              <a:extLst>
                <a:ext uri="{FF2B5EF4-FFF2-40B4-BE49-F238E27FC236}">
                  <a16:creationId xmlns:a16="http://schemas.microsoft.com/office/drawing/2014/main" id="{47BFE926-06B5-4705-A003-C861764C3ECE}"/>
                </a:ext>
              </a:extLst>
            </p:cNvPr>
            <p:cNvSpPr>
              <a:spLocks/>
            </p:cNvSpPr>
            <p:nvPr/>
          </p:nvSpPr>
          <p:spPr bwMode="auto">
            <a:xfrm>
              <a:off x="11088688" y="2667001"/>
              <a:ext cx="69850" cy="9525"/>
            </a:xfrm>
            <a:custGeom>
              <a:avLst/>
              <a:gdLst>
                <a:gd name="T0" fmla="*/ 204 w 219"/>
                <a:gd name="T1" fmla="*/ 0 h 30"/>
                <a:gd name="T2" fmla="*/ 15 w 219"/>
                <a:gd name="T3" fmla="*/ 0 h 30"/>
                <a:gd name="T4" fmla="*/ 11 w 219"/>
                <a:gd name="T5" fmla="*/ 0 h 30"/>
                <a:gd name="T6" fmla="*/ 8 w 219"/>
                <a:gd name="T7" fmla="*/ 1 h 30"/>
                <a:gd name="T8" fmla="*/ 6 w 219"/>
                <a:gd name="T9" fmla="*/ 3 h 30"/>
                <a:gd name="T10" fmla="*/ 4 w 219"/>
                <a:gd name="T11" fmla="*/ 4 h 30"/>
                <a:gd name="T12" fmla="*/ 2 w 219"/>
                <a:gd name="T13" fmla="*/ 7 h 30"/>
                <a:gd name="T14" fmla="*/ 1 w 219"/>
                <a:gd name="T15" fmla="*/ 9 h 30"/>
                <a:gd name="T16" fmla="*/ 0 w 219"/>
                <a:gd name="T17" fmla="*/ 12 h 30"/>
                <a:gd name="T18" fmla="*/ 0 w 219"/>
                <a:gd name="T19" fmla="*/ 15 h 30"/>
                <a:gd name="T20" fmla="*/ 0 w 219"/>
                <a:gd name="T21" fmla="*/ 18 h 30"/>
                <a:gd name="T22" fmla="*/ 1 w 219"/>
                <a:gd name="T23" fmla="*/ 21 h 30"/>
                <a:gd name="T24" fmla="*/ 2 w 219"/>
                <a:gd name="T25" fmla="*/ 23 h 30"/>
                <a:gd name="T26" fmla="*/ 4 w 219"/>
                <a:gd name="T27" fmla="*/ 25 h 30"/>
                <a:gd name="T28" fmla="*/ 6 w 219"/>
                <a:gd name="T29" fmla="*/ 27 h 30"/>
                <a:gd name="T30" fmla="*/ 8 w 219"/>
                <a:gd name="T31" fmla="*/ 29 h 30"/>
                <a:gd name="T32" fmla="*/ 11 w 219"/>
                <a:gd name="T33" fmla="*/ 30 h 30"/>
                <a:gd name="T34" fmla="*/ 15 w 219"/>
                <a:gd name="T35" fmla="*/ 30 h 30"/>
                <a:gd name="T36" fmla="*/ 204 w 219"/>
                <a:gd name="T37" fmla="*/ 30 h 30"/>
                <a:gd name="T38" fmla="*/ 206 w 219"/>
                <a:gd name="T39" fmla="*/ 30 h 30"/>
                <a:gd name="T40" fmla="*/ 209 w 219"/>
                <a:gd name="T41" fmla="*/ 29 h 30"/>
                <a:gd name="T42" fmla="*/ 211 w 219"/>
                <a:gd name="T43" fmla="*/ 27 h 30"/>
                <a:gd name="T44" fmla="*/ 215 w 219"/>
                <a:gd name="T45" fmla="*/ 25 h 30"/>
                <a:gd name="T46" fmla="*/ 216 w 219"/>
                <a:gd name="T47" fmla="*/ 23 h 30"/>
                <a:gd name="T48" fmla="*/ 218 w 219"/>
                <a:gd name="T49" fmla="*/ 21 h 30"/>
                <a:gd name="T50" fmla="*/ 218 w 219"/>
                <a:gd name="T51" fmla="*/ 18 h 30"/>
                <a:gd name="T52" fmla="*/ 219 w 219"/>
                <a:gd name="T53" fmla="*/ 15 h 30"/>
                <a:gd name="T54" fmla="*/ 218 w 219"/>
                <a:gd name="T55" fmla="*/ 12 h 30"/>
                <a:gd name="T56" fmla="*/ 218 w 219"/>
                <a:gd name="T57" fmla="*/ 9 h 30"/>
                <a:gd name="T58" fmla="*/ 216 w 219"/>
                <a:gd name="T59" fmla="*/ 7 h 30"/>
                <a:gd name="T60" fmla="*/ 215 w 219"/>
                <a:gd name="T61" fmla="*/ 4 h 30"/>
                <a:gd name="T62" fmla="*/ 211 w 219"/>
                <a:gd name="T63" fmla="*/ 3 h 30"/>
                <a:gd name="T64" fmla="*/ 209 w 219"/>
                <a:gd name="T65" fmla="*/ 1 h 30"/>
                <a:gd name="T66" fmla="*/ 206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1" y="0"/>
                  </a:lnTo>
                  <a:lnTo>
                    <a:pt x="8" y="1"/>
                  </a:lnTo>
                  <a:lnTo>
                    <a:pt x="6" y="3"/>
                  </a:lnTo>
                  <a:lnTo>
                    <a:pt x="4" y="4"/>
                  </a:lnTo>
                  <a:lnTo>
                    <a:pt x="2" y="7"/>
                  </a:lnTo>
                  <a:lnTo>
                    <a:pt x="1" y="9"/>
                  </a:lnTo>
                  <a:lnTo>
                    <a:pt x="0" y="12"/>
                  </a:lnTo>
                  <a:lnTo>
                    <a:pt x="0" y="15"/>
                  </a:lnTo>
                  <a:lnTo>
                    <a:pt x="0" y="18"/>
                  </a:lnTo>
                  <a:lnTo>
                    <a:pt x="1" y="21"/>
                  </a:lnTo>
                  <a:lnTo>
                    <a:pt x="2" y="23"/>
                  </a:lnTo>
                  <a:lnTo>
                    <a:pt x="4" y="25"/>
                  </a:lnTo>
                  <a:lnTo>
                    <a:pt x="6" y="27"/>
                  </a:lnTo>
                  <a:lnTo>
                    <a:pt x="8" y="29"/>
                  </a:lnTo>
                  <a:lnTo>
                    <a:pt x="11" y="30"/>
                  </a:lnTo>
                  <a:lnTo>
                    <a:pt x="15" y="30"/>
                  </a:lnTo>
                  <a:lnTo>
                    <a:pt x="204" y="30"/>
                  </a:lnTo>
                  <a:lnTo>
                    <a:pt x="206" y="30"/>
                  </a:lnTo>
                  <a:lnTo>
                    <a:pt x="209" y="29"/>
                  </a:lnTo>
                  <a:lnTo>
                    <a:pt x="211" y="27"/>
                  </a:lnTo>
                  <a:lnTo>
                    <a:pt x="215" y="25"/>
                  </a:lnTo>
                  <a:lnTo>
                    <a:pt x="216" y="23"/>
                  </a:lnTo>
                  <a:lnTo>
                    <a:pt x="218" y="21"/>
                  </a:lnTo>
                  <a:lnTo>
                    <a:pt x="218" y="18"/>
                  </a:lnTo>
                  <a:lnTo>
                    <a:pt x="219" y="15"/>
                  </a:lnTo>
                  <a:lnTo>
                    <a:pt x="218" y="12"/>
                  </a:lnTo>
                  <a:lnTo>
                    <a:pt x="218" y="9"/>
                  </a:lnTo>
                  <a:lnTo>
                    <a:pt x="216" y="7"/>
                  </a:lnTo>
                  <a:lnTo>
                    <a:pt x="215" y="4"/>
                  </a:lnTo>
                  <a:lnTo>
                    <a:pt x="211" y="3"/>
                  </a:lnTo>
                  <a:lnTo>
                    <a:pt x="209" y="1"/>
                  </a:lnTo>
                  <a:lnTo>
                    <a:pt x="206"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46" name="Freeform 346">
              <a:extLst>
                <a:ext uri="{FF2B5EF4-FFF2-40B4-BE49-F238E27FC236}">
                  <a16:creationId xmlns:a16="http://schemas.microsoft.com/office/drawing/2014/main" id="{9E71CD80-B00E-498C-8C41-DAF320AEA07E}"/>
                </a:ext>
              </a:extLst>
            </p:cNvPr>
            <p:cNvSpPr>
              <a:spLocks/>
            </p:cNvSpPr>
            <p:nvPr/>
          </p:nvSpPr>
          <p:spPr bwMode="auto">
            <a:xfrm>
              <a:off x="11088688" y="2695575"/>
              <a:ext cx="46038" cy="9525"/>
            </a:xfrm>
            <a:custGeom>
              <a:avLst/>
              <a:gdLst>
                <a:gd name="T0" fmla="*/ 128 w 143"/>
                <a:gd name="T1" fmla="*/ 29 h 29"/>
                <a:gd name="T2" fmla="*/ 131 w 143"/>
                <a:gd name="T3" fmla="*/ 29 h 29"/>
                <a:gd name="T4" fmla="*/ 133 w 143"/>
                <a:gd name="T5" fmla="*/ 28 h 29"/>
                <a:gd name="T6" fmla="*/ 137 w 143"/>
                <a:gd name="T7" fmla="*/ 27 h 29"/>
                <a:gd name="T8" fmla="*/ 139 w 143"/>
                <a:gd name="T9" fmla="*/ 26 h 29"/>
                <a:gd name="T10" fmla="*/ 140 w 143"/>
                <a:gd name="T11" fmla="*/ 23 h 29"/>
                <a:gd name="T12" fmla="*/ 142 w 143"/>
                <a:gd name="T13" fmla="*/ 21 h 29"/>
                <a:gd name="T14" fmla="*/ 143 w 143"/>
                <a:gd name="T15" fmla="*/ 18 h 29"/>
                <a:gd name="T16" fmla="*/ 143 w 143"/>
                <a:gd name="T17" fmla="*/ 14 h 29"/>
                <a:gd name="T18" fmla="*/ 143 w 143"/>
                <a:gd name="T19" fmla="*/ 12 h 29"/>
                <a:gd name="T20" fmla="*/ 142 w 143"/>
                <a:gd name="T21" fmla="*/ 9 h 29"/>
                <a:gd name="T22" fmla="*/ 140 w 143"/>
                <a:gd name="T23" fmla="*/ 7 h 29"/>
                <a:gd name="T24" fmla="*/ 139 w 143"/>
                <a:gd name="T25" fmla="*/ 5 h 29"/>
                <a:gd name="T26" fmla="*/ 137 w 143"/>
                <a:gd name="T27" fmla="*/ 3 h 29"/>
                <a:gd name="T28" fmla="*/ 133 w 143"/>
                <a:gd name="T29" fmla="*/ 2 h 29"/>
                <a:gd name="T30" fmla="*/ 131 w 143"/>
                <a:gd name="T31" fmla="*/ 1 h 29"/>
                <a:gd name="T32" fmla="*/ 128 w 143"/>
                <a:gd name="T33" fmla="*/ 0 h 29"/>
                <a:gd name="T34" fmla="*/ 15 w 143"/>
                <a:gd name="T35" fmla="*/ 0 h 29"/>
                <a:gd name="T36" fmla="*/ 11 w 143"/>
                <a:gd name="T37" fmla="*/ 1 h 29"/>
                <a:gd name="T38" fmla="*/ 8 w 143"/>
                <a:gd name="T39" fmla="*/ 2 h 29"/>
                <a:gd name="T40" fmla="*/ 6 w 143"/>
                <a:gd name="T41" fmla="*/ 3 h 29"/>
                <a:gd name="T42" fmla="*/ 4 w 143"/>
                <a:gd name="T43" fmla="*/ 5 h 29"/>
                <a:gd name="T44" fmla="*/ 2 w 143"/>
                <a:gd name="T45" fmla="*/ 7 h 29"/>
                <a:gd name="T46" fmla="*/ 1 w 143"/>
                <a:gd name="T47" fmla="*/ 9 h 29"/>
                <a:gd name="T48" fmla="*/ 0 w 143"/>
                <a:gd name="T49" fmla="*/ 12 h 29"/>
                <a:gd name="T50" fmla="*/ 0 w 143"/>
                <a:gd name="T51" fmla="*/ 14 h 29"/>
                <a:gd name="T52" fmla="*/ 0 w 143"/>
                <a:gd name="T53" fmla="*/ 18 h 29"/>
                <a:gd name="T54" fmla="*/ 1 w 143"/>
                <a:gd name="T55" fmla="*/ 21 h 29"/>
                <a:gd name="T56" fmla="*/ 2 w 143"/>
                <a:gd name="T57" fmla="*/ 23 h 29"/>
                <a:gd name="T58" fmla="*/ 4 w 143"/>
                <a:gd name="T59" fmla="*/ 26 h 29"/>
                <a:gd name="T60" fmla="*/ 6 w 143"/>
                <a:gd name="T61" fmla="*/ 27 h 29"/>
                <a:gd name="T62" fmla="*/ 8 w 143"/>
                <a:gd name="T63" fmla="*/ 28 h 29"/>
                <a:gd name="T64" fmla="*/ 11 w 143"/>
                <a:gd name="T65" fmla="*/ 29 h 29"/>
                <a:gd name="T66" fmla="*/ 15 w 143"/>
                <a:gd name="T67" fmla="*/ 29 h 29"/>
                <a:gd name="T68" fmla="*/ 128 w 143"/>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 h="29">
                  <a:moveTo>
                    <a:pt x="128" y="29"/>
                  </a:moveTo>
                  <a:lnTo>
                    <a:pt x="131" y="29"/>
                  </a:lnTo>
                  <a:lnTo>
                    <a:pt x="133" y="28"/>
                  </a:lnTo>
                  <a:lnTo>
                    <a:pt x="137" y="27"/>
                  </a:lnTo>
                  <a:lnTo>
                    <a:pt x="139" y="26"/>
                  </a:lnTo>
                  <a:lnTo>
                    <a:pt x="140" y="23"/>
                  </a:lnTo>
                  <a:lnTo>
                    <a:pt x="142" y="21"/>
                  </a:lnTo>
                  <a:lnTo>
                    <a:pt x="143" y="18"/>
                  </a:lnTo>
                  <a:lnTo>
                    <a:pt x="143" y="14"/>
                  </a:lnTo>
                  <a:lnTo>
                    <a:pt x="143" y="12"/>
                  </a:lnTo>
                  <a:lnTo>
                    <a:pt x="142" y="9"/>
                  </a:lnTo>
                  <a:lnTo>
                    <a:pt x="140" y="7"/>
                  </a:lnTo>
                  <a:lnTo>
                    <a:pt x="139" y="5"/>
                  </a:lnTo>
                  <a:lnTo>
                    <a:pt x="137" y="3"/>
                  </a:lnTo>
                  <a:lnTo>
                    <a:pt x="133" y="2"/>
                  </a:lnTo>
                  <a:lnTo>
                    <a:pt x="131" y="1"/>
                  </a:lnTo>
                  <a:lnTo>
                    <a:pt x="128" y="0"/>
                  </a:lnTo>
                  <a:lnTo>
                    <a:pt x="15" y="0"/>
                  </a:lnTo>
                  <a:lnTo>
                    <a:pt x="11" y="1"/>
                  </a:lnTo>
                  <a:lnTo>
                    <a:pt x="8" y="2"/>
                  </a:lnTo>
                  <a:lnTo>
                    <a:pt x="6" y="3"/>
                  </a:lnTo>
                  <a:lnTo>
                    <a:pt x="4" y="5"/>
                  </a:lnTo>
                  <a:lnTo>
                    <a:pt x="2" y="7"/>
                  </a:lnTo>
                  <a:lnTo>
                    <a:pt x="1" y="9"/>
                  </a:lnTo>
                  <a:lnTo>
                    <a:pt x="0" y="12"/>
                  </a:lnTo>
                  <a:lnTo>
                    <a:pt x="0" y="14"/>
                  </a:lnTo>
                  <a:lnTo>
                    <a:pt x="0" y="18"/>
                  </a:lnTo>
                  <a:lnTo>
                    <a:pt x="1" y="21"/>
                  </a:lnTo>
                  <a:lnTo>
                    <a:pt x="2" y="23"/>
                  </a:lnTo>
                  <a:lnTo>
                    <a:pt x="4" y="26"/>
                  </a:lnTo>
                  <a:lnTo>
                    <a:pt x="6" y="27"/>
                  </a:lnTo>
                  <a:lnTo>
                    <a:pt x="8" y="28"/>
                  </a:lnTo>
                  <a:lnTo>
                    <a:pt x="11" y="29"/>
                  </a:lnTo>
                  <a:lnTo>
                    <a:pt x="15" y="29"/>
                  </a:lnTo>
                  <a:lnTo>
                    <a:pt x="128"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47" name="Group 46">
            <a:extLst>
              <a:ext uri="{FF2B5EF4-FFF2-40B4-BE49-F238E27FC236}">
                <a16:creationId xmlns:a16="http://schemas.microsoft.com/office/drawing/2014/main" id="{8746653B-C950-42B8-AB6D-81408F2E05EA}"/>
              </a:ext>
            </a:extLst>
          </p:cNvPr>
          <p:cNvGrpSpPr/>
          <p:nvPr/>
        </p:nvGrpSpPr>
        <p:grpSpPr>
          <a:xfrm>
            <a:off x="14213392" y="5149355"/>
            <a:ext cx="972045" cy="966673"/>
            <a:chOff x="8167688" y="2505075"/>
            <a:chExt cx="287338" cy="285750"/>
          </a:xfrm>
          <a:solidFill>
            <a:schemeClr val="tx2"/>
          </a:solidFill>
          <a:effectLst>
            <a:outerShdw blurRad="50800" dist="38100" dir="5400000" algn="t" rotWithShape="0">
              <a:prstClr val="black">
                <a:alpha val="20000"/>
              </a:prstClr>
            </a:outerShdw>
          </a:effectLst>
        </p:grpSpPr>
        <p:sp>
          <p:nvSpPr>
            <p:cNvPr id="48" name="Freeform 347">
              <a:extLst>
                <a:ext uri="{FF2B5EF4-FFF2-40B4-BE49-F238E27FC236}">
                  <a16:creationId xmlns:a16="http://schemas.microsoft.com/office/drawing/2014/main" id="{FC3C1113-0A29-4FAB-AB49-419F24ECE364}"/>
                </a:ext>
              </a:extLst>
            </p:cNvPr>
            <p:cNvSpPr>
              <a:spLocks/>
            </p:cNvSpPr>
            <p:nvPr/>
          </p:nvSpPr>
          <p:spPr bwMode="auto">
            <a:xfrm>
              <a:off x="8343900" y="2692400"/>
              <a:ext cx="76200" cy="58738"/>
            </a:xfrm>
            <a:custGeom>
              <a:avLst/>
              <a:gdLst>
                <a:gd name="T0" fmla="*/ 214 w 240"/>
                <a:gd name="T1" fmla="*/ 5 h 187"/>
                <a:gd name="T2" fmla="*/ 90 w 240"/>
                <a:gd name="T3" fmla="*/ 143 h 187"/>
                <a:gd name="T4" fmla="*/ 26 w 240"/>
                <a:gd name="T5" fmla="*/ 79 h 187"/>
                <a:gd name="T6" fmla="*/ 24 w 240"/>
                <a:gd name="T7" fmla="*/ 77 h 187"/>
                <a:gd name="T8" fmla="*/ 20 w 240"/>
                <a:gd name="T9" fmla="*/ 75 h 187"/>
                <a:gd name="T10" fmla="*/ 18 w 240"/>
                <a:gd name="T11" fmla="*/ 75 h 187"/>
                <a:gd name="T12" fmla="*/ 15 w 240"/>
                <a:gd name="T13" fmla="*/ 73 h 187"/>
                <a:gd name="T14" fmla="*/ 12 w 240"/>
                <a:gd name="T15" fmla="*/ 75 h 187"/>
                <a:gd name="T16" fmla="*/ 10 w 240"/>
                <a:gd name="T17" fmla="*/ 76 h 187"/>
                <a:gd name="T18" fmla="*/ 6 w 240"/>
                <a:gd name="T19" fmla="*/ 77 h 187"/>
                <a:gd name="T20" fmla="*/ 4 w 240"/>
                <a:gd name="T21" fmla="*/ 79 h 187"/>
                <a:gd name="T22" fmla="*/ 2 w 240"/>
                <a:gd name="T23" fmla="*/ 81 h 187"/>
                <a:gd name="T24" fmla="*/ 1 w 240"/>
                <a:gd name="T25" fmla="*/ 84 h 187"/>
                <a:gd name="T26" fmla="*/ 0 w 240"/>
                <a:gd name="T27" fmla="*/ 86 h 187"/>
                <a:gd name="T28" fmla="*/ 0 w 240"/>
                <a:gd name="T29" fmla="*/ 90 h 187"/>
                <a:gd name="T30" fmla="*/ 0 w 240"/>
                <a:gd name="T31" fmla="*/ 93 h 187"/>
                <a:gd name="T32" fmla="*/ 1 w 240"/>
                <a:gd name="T33" fmla="*/ 95 h 187"/>
                <a:gd name="T34" fmla="*/ 2 w 240"/>
                <a:gd name="T35" fmla="*/ 97 h 187"/>
                <a:gd name="T36" fmla="*/ 4 w 240"/>
                <a:gd name="T37" fmla="*/ 99 h 187"/>
                <a:gd name="T38" fmla="*/ 91 w 240"/>
                <a:gd name="T39" fmla="*/ 187 h 187"/>
                <a:gd name="T40" fmla="*/ 237 w 240"/>
                <a:gd name="T41" fmla="*/ 24 h 187"/>
                <a:gd name="T42" fmla="*/ 239 w 240"/>
                <a:gd name="T43" fmla="*/ 22 h 187"/>
                <a:gd name="T44" fmla="*/ 240 w 240"/>
                <a:gd name="T45" fmla="*/ 19 h 187"/>
                <a:gd name="T46" fmla="*/ 240 w 240"/>
                <a:gd name="T47" fmla="*/ 17 h 187"/>
                <a:gd name="T48" fmla="*/ 240 w 240"/>
                <a:gd name="T49" fmla="*/ 14 h 187"/>
                <a:gd name="T50" fmla="*/ 240 w 240"/>
                <a:gd name="T51" fmla="*/ 11 h 187"/>
                <a:gd name="T52" fmla="*/ 239 w 240"/>
                <a:gd name="T53" fmla="*/ 8 h 187"/>
                <a:gd name="T54" fmla="*/ 238 w 240"/>
                <a:gd name="T55" fmla="*/ 6 h 187"/>
                <a:gd name="T56" fmla="*/ 235 w 240"/>
                <a:gd name="T57" fmla="*/ 3 h 187"/>
                <a:gd name="T58" fmla="*/ 233 w 240"/>
                <a:gd name="T59" fmla="*/ 2 h 187"/>
                <a:gd name="T60" fmla="*/ 230 w 240"/>
                <a:gd name="T61" fmla="*/ 1 h 187"/>
                <a:gd name="T62" fmla="*/ 227 w 240"/>
                <a:gd name="T63" fmla="*/ 0 h 187"/>
                <a:gd name="T64" fmla="*/ 225 w 240"/>
                <a:gd name="T65" fmla="*/ 0 h 187"/>
                <a:gd name="T66" fmla="*/ 218 w 240"/>
                <a:gd name="T67" fmla="*/ 2 h 187"/>
                <a:gd name="T68" fmla="*/ 214 w 240"/>
                <a:gd name="T69" fmla="*/ 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0" h="187">
                  <a:moveTo>
                    <a:pt x="214" y="5"/>
                  </a:moveTo>
                  <a:lnTo>
                    <a:pt x="90" y="143"/>
                  </a:lnTo>
                  <a:lnTo>
                    <a:pt x="26" y="79"/>
                  </a:lnTo>
                  <a:lnTo>
                    <a:pt x="24" y="77"/>
                  </a:lnTo>
                  <a:lnTo>
                    <a:pt x="20" y="75"/>
                  </a:lnTo>
                  <a:lnTo>
                    <a:pt x="18" y="75"/>
                  </a:lnTo>
                  <a:lnTo>
                    <a:pt x="15" y="73"/>
                  </a:lnTo>
                  <a:lnTo>
                    <a:pt x="12" y="75"/>
                  </a:lnTo>
                  <a:lnTo>
                    <a:pt x="10" y="76"/>
                  </a:lnTo>
                  <a:lnTo>
                    <a:pt x="6" y="77"/>
                  </a:lnTo>
                  <a:lnTo>
                    <a:pt x="4" y="79"/>
                  </a:lnTo>
                  <a:lnTo>
                    <a:pt x="2" y="81"/>
                  </a:lnTo>
                  <a:lnTo>
                    <a:pt x="1" y="84"/>
                  </a:lnTo>
                  <a:lnTo>
                    <a:pt x="0" y="86"/>
                  </a:lnTo>
                  <a:lnTo>
                    <a:pt x="0" y="90"/>
                  </a:lnTo>
                  <a:lnTo>
                    <a:pt x="0" y="93"/>
                  </a:lnTo>
                  <a:lnTo>
                    <a:pt x="1" y="95"/>
                  </a:lnTo>
                  <a:lnTo>
                    <a:pt x="2" y="97"/>
                  </a:lnTo>
                  <a:lnTo>
                    <a:pt x="4" y="99"/>
                  </a:lnTo>
                  <a:lnTo>
                    <a:pt x="91" y="187"/>
                  </a:lnTo>
                  <a:lnTo>
                    <a:pt x="237" y="24"/>
                  </a:lnTo>
                  <a:lnTo>
                    <a:pt x="239" y="22"/>
                  </a:lnTo>
                  <a:lnTo>
                    <a:pt x="240" y="19"/>
                  </a:lnTo>
                  <a:lnTo>
                    <a:pt x="240" y="17"/>
                  </a:lnTo>
                  <a:lnTo>
                    <a:pt x="240" y="14"/>
                  </a:lnTo>
                  <a:lnTo>
                    <a:pt x="240" y="11"/>
                  </a:lnTo>
                  <a:lnTo>
                    <a:pt x="239" y="8"/>
                  </a:lnTo>
                  <a:lnTo>
                    <a:pt x="238" y="6"/>
                  </a:lnTo>
                  <a:lnTo>
                    <a:pt x="235" y="3"/>
                  </a:lnTo>
                  <a:lnTo>
                    <a:pt x="233" y="2"/>
                  </a:lnTo>
                  <a:lnTo>
                    <a:pt x="230" y="1"/>
                  </a:lnTo>
                  <a:lnTo>
                    <a:pt x="227" y="0"/>
                  </a:lnTo>
                  <a:lnTo>
                    <a:pt x="225" y="0"/>
                  </a:lnTo>
                  <a:lnTo>
                    <a:pt x="218" y="2"/>
                  </a:lnTo>
                  <a:lnTo>
                    <a:pt x="21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49" name="Freeform 348">
              <a:extLst>
                <a:ext uri="{FF2B5EF4-FFF2-40B4-BE49-F238E27FC236}">
                  <a16:creationId xmlns:a16="http://schemas.microsoft.com/office/drawing/2014/main" id="{B8D13A9B-0BD6-4195-9DF6-189E7906962A}"/>
                </a:ext>
              </a:extLst>
            </p:cNvPr>
            <p:cNvSpPr>
              <a:spLocks noEditPoints="1"/>
            </p:cNvSpPr>
            <p:nvPr/>
          </p:nvSpPr>
          <p:spPr bwMode="auto">
            <a:xfrm>
              <a:off x="8310563" y="2647950"/>
              <a:ext cx="144463" cy="142875"/>
            </a:xfrm>
            <a:custGeom>
              <a:avLst/>
              <a:gdLst>
                <a:gd name="T0" fmla="*/ 185 w 451"/>
                <a:gd name="T1" fmla="*/ 416 h 450"/>
                <a:gd name="T2" fmla="*/ 132 w 451"/>
                <a:gd name="T3" fmla="*/ 397 h 450"/>
                <a:gd name="T4" fmla="*/ 87 w 451"/>
                <a:gd name="T5" fmla="*/ 364 h 450"/>
                <a:gd name="T6" fmla="*/ 54 w 451"/>
                <a:gd name="T7" fmla="*/ 319 h 450"/>
                <a:gd name="T8" fmla="*/ 33 w 451"/>
                <a:gd name="T9" fmla="*/ 264 h 450"/>
                <a:gd name="T10" fmla="*/ 31 w 451"/>
                <a:gd name="T11" fmla="*/ 205 h 450"/>
                <a:gd name="T12" fmla="*/ 45 w 451"/>
                <a:gd name="T13" fmla="*/ 150 h 450"/>
                <a:gd name="T14" fmla="*/ 74 w 451"/>
                <a:gd name="T15" fmla="*/ 101 h 450"/>
                <a:gd name="T16" fmla="*/ 116 w 451"/>
                <a:gd name="T17" fmla="*/ 63 h 450"/>
                <a:gd name="T18" fmla="*/ 167 w 451"/>
                <a:gd name="T19" fmla="*/ 38 h 450"/>
                <a:gd name="T20" fmla="*/ 225 w 451"/>
                <a:gd name="T21" fmla="*/ 30 h 450"/>
                <a:gd name="T22" fmla="*/ 283 w 451"/>
                <a:gd name="T23" fmla="*/ 38 h 450"/>
                <a:gd name="T24" fmla="*/ 334 w 451"/>
                <a:gd name="T25" fmla="*/ 63 h 450"/>
                <a:gd name="T26" fmla="*/ 376 w 451"/>
                <a:gd name="T27" fmla="*/ 101 h 450"/>
                <a:gd name="T28" fmla="*/ 405 w 451"/>
                <a:gd name="T29" fmla="*/ 150 h 450"/>
                <a:gd name="T30" fmla="*/ 420 w 451"/>
                <a:gd name="T31" fmla="*/ 205 h 450"/>
                <a:gd name="T32" fmla="*/ 416 w 451"/>
                <a:gd name="T33" fmla="*/ 264 h 450"/>
                <a:gd name="T34" fmla="*/ 397 w 451"/>
                <a:gd name="T35" fmla="*/ 319 h 450"/>
                <a:gd name="T36" fmla="*/ 363 w 451"/>
                <a:gd name="T37" fmla="*/ 364 h 450"/>
                <a:gd name="T38" fmla="*/ 318 w 451"/>
                <a:gd name="T39" fmla="*/ 397 h 450"/>
                <a:gd name="T40" fmla="*/ 264 w 451"/>
                <a:gd name="T41" fmla="*/ 416 h 450"/>
                <a:gd name="T42" fmla="*/ 225 w 451"/>
                <a:gd name="T43" fmla="*/ 0 h 450"/>
                <a:gd name="T44" fmla="*/ 191 w 451"/>
                <a:gd name="T45" fmla="*/ 2 h 450"/>
                <a:gd name="T46" fmla="*/ 159 w 451"/>
                <a:gd name="T47" fmla="*/ 10 h 450"/>
                <a:gd name="T48" fmla="*/ 118 w 451"/>
                <a:gd name="T49" fmla="*/ 28 h 450"/>
                <a:gd name="T50" fmla="*/ 65 w 451"/>
                <a:gd name="T51" fmla="*/ 66 h 450"/>
                <a:gd name="T52" fmla="*/ 27 w 451"/>
                <a:gd name="T53" fmla="*/ 118 h 450"/>
                <a:gd name="T54" fmla="*/ 10 w 451"/>
                <a:gd name="T55" fmla="*/ 158 h 450"/>
                <a:gd name="T56" fmla="*/ 2 w 451"/>
                <a:gd name="T57" fmla="*/ 191 h 450"/>
                <a:gd name="T58" fmla="*/ 0 w 451"/>
                <a:gd name="T59" fmla="*/ 224 h 450"/>
                <a:gd name="T60" fmla="*/ 2 w 451"/>
                <a:gd name="T61" fmla="*/ 260 h 450"/>
                <a:gd name="T62" fmla="*/ 10 w 451"/>
                <a:gd name="T63" fmla="*/ 292 h 450"/>
                <a:gd name="T64" fmla="*/ 27 w 451"/>
                <a:gd name="T65" fmla="*/ 333 h 450"/>
                <a:gd name="T66" fmla="*/ 65 w 451"/>
                <a:gd name="T67" fmla="*/ 384 h 450"/>
                <a:gd name="T68" fmla="*/ 118 w 451"/>
                <a:gd name="T69" fmla="*/ 423 h 450"/>
                <a:gd name="T70" fmla="*/ 159 w 451"/>
                <a:gd name="T71" fmla="*/ 441 h 450"/>
                <a:gd name="T72" fmla="*/ 191 w 451"/>
                <a:gd name="T73" fmla="*/ 448 h 450"/>
                <a:gd name="T74" fmla="*/ 225 w 451"/>
                <a:gd name="T75" fmla="*/ 450 h 450"/>
                <a:gd name="T76" fmla="*/ 259 w 451"/>
                <a:gd name="T77" fmla="*/ 448 h 450"/>
                <a:gd name="T78" fmla="*/ 292 w 451"/>
                <a:gd name="T79" fmla="*/ 441 h 450"/>
                <a:gd name="T80" fmla="*/ 332 w 451"/>
                <a:gd name="T81" fmla="*/ 423 h 450"/>
                <a:gd name="T82" fmla="*/ 384 w 451"/>
                <a:gd name="T83" fmla="*/ 384 h 450"/>
                <a:gd name="T84" fmla="*/ 423 w 451"/>
                <a:gd name="T85" fmla="*/ 333 h 450"/>
                <a:gd name="T86" fmla="*/ 440 w 451"/>
                <a:gd name="T87" fmla="*/ 292 h 450"/>
                <a:gd name="T88" fmla="*/ 447 w 451"/>
                <a:gd name="T89" fmla="*/ 260 h 450"/>
                <a:gd name="T90" fmla="*/ 451 w 451"/>
                <a:gd name="T91" fmla="*/ 224 h 450"/>
                <a:gd name="T92" fmla="*/ 447 w 451"/>
                <a:gd name="T93" fmla="*/ 191 h 450"/>
                <a:gd name="T94" fmla="*/ 440 w 451"/>
                <a:gd name="T95" fmla="*/ 158 h 450"/>
                <a:gd name="T96" fmla="*/ 423 w 451"/>
                <a:gd name="T97" fmla="*/ 118 h 450"/>
                <a:gd name="T98" fmla="*/ 384 w 451"/>
                <a:gd name="T99" fmla="*/ 66 h 450"/>
                <a:gd name="T100" fmla="*/ 332 w 451"/>
                <a:gd name="T101" fmla="*/ 28 h 450"/>
                <a:gd name="T102" fmla="*/ 292 w 451"/>
                <a:gd name="T103" fmla="*/ 10 h 450"/>
                <a:gd name="T104" fmla="*/ 259 w 451"/>
                <a:gd name="T105" fmla="*/ 2 h 450"/>
                <a:gd name="T106" fmla="*/ 225 w 451"/>
                <a:gd name="T107"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1" h="450">
                  <a:moveTo>
                    <a:pt x="225" y="420"/>
                  </a:moveTo>
                  <a:lnTo>
                    <a:pt x="206" y="419"/>
                  </a:lnTo>
                  <a:lnTo>
                    <a:pt x="185" y="416"/>
                  </a:lnTo>
                  <a:lnTo>
                    <a:pt x="167" y="412"/>
                  </a:lnTo>
                  <a:lnTo>
                    <a:pt x="149" y="405"/>
                  </a:lnTo>
                  <a:lnTo>
                    <a:pt x="132" y="397"/>
                  </a:lnTo>
                  <a:lnTo>
                    <a:pt x="116" y="387"/>
                  </a:lnTo>
                  <a:lnTo>
                    <a:pt x="101" y="375"/>
                  </a:lnTo>
                  <a:lnTo>
                    <a:pt x="87" y="364"/>
                  </a:lnTo>
                  <a:lnTo>
                    <a:pt x="74" y="350"/>
                  </a:lnTo>
                  <a:lnTo>
                    <a:pt x="63" y="335"/>
                  </a:lnTo>
                  <a:lnTo>
                    <a:pt x="54" y="319"/>
                  </a:lnTo>
                  <a:lnTo>
                    <a:pt x="45" y="301"/>
                  </a:lnTo>
                  <a:lnTo>
                    <a:pt x="39" y="283"/>
                  </a:lnTo>
                  <a:lnTo>
                    <a:pt x="33" y="264"/>
                  </a:lnTo>
                  <a:lnTo>
                    <a:pt x="31" y="245"/>
                  </a:lnTo>
                  <a:lnTo>
                    <a:pt x="30" y="224"/>
                  </a:lnTo>
                  <a:lnTo>
                    <a:pt x="31" y="205"/>
                  </a:lnTo>
                  <a:lnTo>
                    <a:pt x="33" y="186"/>
                  </a:lnTo>
                  <a:lnTo>
                    <a:pt x="39" y="168"/>
                  </a:lnTo>
                  <a:lnTo>
                    <a:pt x="45" y="150"/>
                  </a:lnTo>
                  <a:lnTo>
                    <a:pt x="54" y="132"/>
                  </a:lnTo>
                  <a:lnTo>
                    <a:pt x="63" y="116"/>
                  </a:lnTo>
                  <a:lnTo>
                    <a:pt x="74" y="101"/>
                  </a:lnTo>
                  <a:lnTo>
                    <a:pt x="87" y="87"/>
                  </a:lnTo>
                  <a:lnTo>
                    <a:pt x="101" y="75"/>
                  </a:lnTo>
                  <a:lnTo>
                    <a:pt x="116" y="63"/>
                  </a:lnTo>
                  <a:lnTo>
                    <a:pt x="132" y="53"/>
                  </a:lnTo>
                  <a:lnTo>
                    <a:pt x="149" y="46"/>
                  </a:lnTo>
                  <a:lnTo>
                    <a:pt x="167" y="38"/>
                  </a:lnTo>
                  <a:lnTo>
                    <a:pt x="185" y="34"/>
                  </a:lnTo>
                  <a:lnTo>
                    <a:pt x="206" y="31"/>
                  </a:lnTo>
                  <a:lnTo>
                    <a:pt x="225" y="30"/>
                  </a:lnTo>
                  <a:lnTo>
                    <a:pt x="245" y="31"/>
                  </a:lnTo>
                  <a:lnTo>
                    <a:pt x="264" y="34"/>
                  </a:lnTo>
                  <a:lnTo>
                    <a:pt x="283" y="38"/>
                  </a:lnTo>
                  <a:lnTo>
                    <a:pt x="301" y="46"/>
                  </a:lnTo>
                  <a:lnTo>
                    <a:pt x="318" y="53"/>
                  </a:lnTo>
                  <a:lnTo>
                    <a:pt x="334" y="63"/>
                  </a:lnTo>
                  <a:lnTo>
                    <a:pt x="349" y="75"/>
                  </a:lnTo>
                  <a:lnTo>
                    <a:pt x="363" y="87"/>
                  </a:lnTo>
                  <a:lnTo>
                    <a:pt x="376" y="101"/>
                  </a:lnTo>
                  <a:lnTo>
                    <a:pt x="386" y="116"/>
                  </a:lnTo>
                  <a:lnTo>
                    <a:pt x="397" y="132"/>
                  </a:lnTo>
                  <a:lnTo>
                    <a:pt x="405" y="150"/>
                  </a:lnTo>
                  <a:lnTo>
                    <a:pt x="411" y="168"/>
                  </a:lnTo>
                  <a:lnTo>
                    <a:pt x="416" y="186"/>
                  </a:lnTo>
                  <a:lnTo>
                    <a:pt x="420" y="205"/>
                  </a:lnTo>
                  <a:lnTo>
                    <a:pt x="421" y="224"/>
                  </a:lnTo>
                  <a:lnTo>
                    <a:pt x="420" y="245"/>
                  </a:lnTo>
                  <a:lnTo>
                    <a:pt x="416" y="264"/>
                  </a:lnTo>
                  <a:lnTo>
                    <a:pt x="411" y="283"/>
                  </a:lnTo>
                  <a:lnTo>
                    <a:pt x="405" y="301"/>
                  </a:lnTo>
                  <a:lnTo>
                    <a:pt x="397" y="319"/>
                  </a:lnTo>
                  <a:lnTo>
                    <a:pt x="386" y="335"/>
                  </a:lnTo>
                  <a:lnTo>
                    <a:pt x="376" y="350"/>
                  </a:lnTo>
                  <a:lnTo>
                    <a:pt x="363" y="364"/>
                  </a:lnTo>
                  <a:lnTo>
                    <a:pt x="349" y="375"/>
                  </a:lnTo>
                  <a:lnTo>
                    <a:pt x="334" y="387"/>
                  </a:lnTo>
                  <a:lnTo>
                    <a:pt x="318" y="397"/>
                  </a:lnTo>
                  <a:lnTo>
                    <a:pt x="301" y="405"/>
                  </a:lnTo>
                  <a:lnTo>
                    <a:pt x="283" y="412"/>
                  </a:lnTo>
                  <a:lnTo>
                    <a:pt x="264" y="416"/>
                  </a:lnTo>
                  <a:lnTo>
                    <a:pt x="245" y="419"/>
                  </a:lnTo>
                  <a:lnTo>
                    <a:pt x="225" y="420"/>
                  </a:lnTo>
                  <a:close/>
                  <a:moveTo>
                    <a:pt x="225" y="0"/>
                  </a:moveTo>
                  <a:lnTo>
                    <a:pt x="213" y="0"/>
                  </a:lnTo>
                  <a:lnTo>
                    <a:pt x="202" y="1"/>
                  </a:lnTo>
                  <a:lnTo>
                    <a:pt x="191" y="2"/>
                  </a:lnTo>
                  <a:lnTo>
                    <a:pt x="180" y="4"/>
                  </a:lnTo>
                  <a:lnTo>
                    <a:pt x="169" y="7"/>
                  </a:lnTo>
                  <a:lnTo>
                    <a:pt x="159" y="10"/>
                  </a:lnTo>
                  <a:lnTo>
                    <a:pt x="148" y="14"/>
                  </a:lnTo>
                  <a:lnTo>
                    <a:pt x="137" y="18"/>
                  </a:lnTo>
                  <a:lnTo>
                    <a:pt x="118" y="28"/>
                  </a:lnTo>
                  <a:lnTo>
                    <a:pt x="100" y="38"/>
                  </a:lnTo>
                  <a:lnTo>
                    <a:pt x="82" y="51"/>
                  </a:lnTo>
                  <a:lnTo>
                    <a:pt x="65" y="66"/>
                  </a:lnTo>
                  <a:lnTo>
                    <a:pt x="52" y="82"/>
                  </a:lnTo>
                  <a:lnTo>
                    <a:pt x="39" y="99"/>
                  </a:lnTo>
                  <a:lnTo>
                    <a:pt x="27" y="118"/>
                  </a:lnTo>
                  <a:lnTo>
                    <a:pt x="17" y="138"/>
                  </a:lnTo>
                  <a:lnTo>
                    <a:pt x="13" y="148"/>
                  </a:lnTo>
                  <a:lnTo>
                    <a:pt x="10" y="158"/>
                  </a:lnTo>
                  <a:lnTo>
                    <a:pt x="7" y="169"/>
                  </a:lnTo>
                  <a:lnTo>
                    <a:pt x="4" y="179"/>
                  </a:lnTo>
                  <a:lnTo>
                    <a:pt x="2" y="191"/>
                  </a:lnTo>
                  <a:lnTo>
                    <a:pt x="1" y="202"/>
                  </a:lnTo>
                  <a:lnTo>
                    <a:pt x="0" y="214"/>
                  </a:lnTo>
                  <a:lnTo>
                    <a:pt x="0" y="224"/>
                  </a:lnTo>
                  <a:lnTo>
                    <a:pt x="0" y="236"/>
                  </a:lnTo>
                  <a:lnTo>
                    <a:pt x="1" y="248"/>
                  </a:lnTo>
                  <a:lnTo>
                    <a:pt x="2" y="260"/>
                  </a:lnTo>
                  <a:lnTo>
                    <a:pt x="4" y="270"/>
                  </a:lnTo>
                  <a:lnTo>
                    <a:pt x="7" y="281"/>
                  </a:lnTo>
                  <a:lnTo>
                    <a:pt x="10" y="292"/>
                  </a:lnTo>
                  <a:lnTo>
                    <a:pt x="13" y="303"/>
                  </a:lnTo>
                  <a:lnTo>
                    <a:pt x="17" y="313"/>
                  </a:lnTo>
                  <a:lnTo>
                    <a:pt x="27" y="333"/>
                  </a:lnTo>
                  <a:lnTo>
                    <a:pt x="39" y="351"/>
                  </a:lnTo>
                  <a:lnTo>
                    <a:pt x="52" y="368"/>
                  </a:lnTo>
                  <a:lnTo>
                    <a:pt x="65" y="384"/>
                  </a:lnTo>
                  <a:lnTo>
                    <a:pt x="82" y="399"/>
                  </a:lnTo>
                  <a:lnTo>
                    <a:pt x="100" y="412"/>
                  </a:lnTo>
                  <a:lnTo>
                    <a:pt x="118" y="423"/>
                  </a:lnTo>
                  <a:lnTo>
                    <a:pt x="137" y="432"/>
                  </a:lnTo>
                  <a:lnTo>
                    <a:pt x="148" y="436"/>
                  </a:lnTo>
                  <a:lnTo>
                    <a:pt x="159" y="441"/>
                  </a:lnTo>
                  <a:lnTo>
                    <a:pt x="169" y="443"/>
                  </a:lnTo>
                  <a:lnTo>
                    <a:pt x="180" y="446"/>
                  </a:lnTo>
                  <a:lnTo>
                    <a:pt x="191" y="448"/>
                  </a:lnTo>
                  <a:lnTo>
                    <a:pt x="202" y="449"/>
                  </a:lnTo>
                  <a:lnTo>
                    <a:pt x="213" y="450"/>
                  </a:lnTo>
                  <a:lnTo>
                    <a:pt x="225" y="450"/>
                  </a:lnTo>
                  <a:lnTo>
                    <a:pt x="237" y="450"/>
                  </a:lnTo>
                  <a:lnTo>
                    <a:pt x="248" y="449"/>
                  </a:lnTo>
                  <a:lnTo>
                    <a:pt x="259" y="448"/>
                  </a:lnTo>
                  <a:lnTo>
                    <a:pt x="271" y="446"/>
                  </a:lnTo>
                  <a:lnTo>
                    <a:pt x="282" y="443"/>
                  </a:lnTo>
                  <a:lnTo>
                    <a:pt x="292" y="441"/>
                  </a:lnTo>
                  <a:lnTo>
                    <a:pt x="303" y="436"/>
                  </a:lnTo>
                  <a:lnTo>
                    <a:pt x="313" y="432"/>
                  </a:lnTo>
                  <a:lnTo>
                    <a:pt x="332" y="423"/>
                  </a:lnTo>
                  <a:lnTo>
                    <a:pt x="351" y="412"/>
                  </a:lnTo>
                  <a:lnTo>
                    <a:pt x="368" y="399"/>
                  </a:lnTo>
                  <a:lnTo>
                    <a:pt x="384" y="384"/>
                  </a:lnTo>
                  <a:lnTo>
                    <a:pt x="399" y="368"/>
                  </a:lnTo>
                  <a:lnTo>
                    <a:pt x="412" y="351"/>
                  </a:lnTo>
                  <a:lnTo>
                    <a:pt x="423" y="333"/>
                  </a:lnTo>
                  <a:lnTo>
                    <a:pt x="432" y="313"/>
                  </a:lnTo>
                  <a:lnTo>
                    <a:pt x="437" y="303"/>
                  </a:lnTo>
                  <a:lnTo>
                    <a:pt x="440" y="292"/>
                  </a:lnTo>
                  <a:lnTo>
                    <a:pt x="443" y="281"/>
                  </a:lnTo>
                  <a:lnTo>
                    <a:pt x="445" y="270"/>
                  </a:lnTo>
                  <a:lnTo>
                    <a:pt x="447" y="260"/>
                  </a:lnTo>
                  <a:lnTo>
                    <a:pt x="450" y="248"/>
                  </a:lnTo>
                  <a:lnTo>
                    <a:pt x="450" y="236"/>
                  </a:lnTo>
                  <a:lnTo>
                    <a:pt x="451" y="224"/>
                  </a:lnTo>
                  <a:lnTo>
                    <a:pt x="450" y="214"/>
                  </a:lnTo>
                  <a:lnTo>
                    <a:pt x="450" y="202"/>
                  </a:lnTo>
                  <a:lnTo>
                    <a:pt x="447" y="191"/>
                  </a:lnTo>
                  <a:lnTo>
                    <a:pt x="445" y="179"/>
                  </a:lnTo>
                  <a:lnTo>
                    <a:pt x="443" y="169"/>
                  </a:lnTo>
                  <a:lnTo>
                    <a:pt x="440" y="158"/>
                  </a:lnTo>
                  <a:lnTo>
                    <a:pt x="437" y="148"/>
                  </a:lnTo>
                  <a:lnTo>
                    <a:pt x="432" y="138"/>
                  </a:lnTo>
                  <a:lnTo>
                    <a:pt x="423" y="118"/>
                  </a:lnTo>
                  <a:lnTo>
                    <a:pt x="412" y="99"/>
                  </a:lnTo>
                  <a:lnTo>
                    <a:pt x="399" y="82"/>
                  </a:lnTo>
                  <a:lnTo>
                    <a:pt x="384" y="66"/>
                  </a:lnTo>
                  <a:lnTo>
                    <a:pt x="368" y="51"/>
                  </a:lnTo>
                  <a:lnTo>
                    <a:pt x="351" y="38"/>
                  </a:lnTo>
                  <a:lnTo>
                    <a:pt x="332" y="28"/>
                  </a:lnTo>
                  <a:lnTo>
                    <a:pt x="313" y="18"/>
                  </a:lnTo>
                  <a:lnTo>
                    <a:pt x="303" y="14"/>
                  </a:lnTo>
                  <a:lnTo>
                    <a:pt x="292" y="10"/>
                  </a:lnTo>
                  <a:lnTo>
                    <a:pt x="282" y="7"/>
                  </a:lnTo>
                  <a:lnTo>
                    <a:pt x="271" y="4"/>
                  </a:lnTo>
                  <a:lnTo>
                    <a:pt x="259" y="2"/>
                  </a:lnTo>
                  <a:lnTo>
                    <a:pt x="248" y="1"/>
                  </a:lnTo>
                  <a:lnTo>
                    <a:pt x="237" y="0"/>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50" name="Freeform 349">
              <a:extLst>
                <a:ext uri="{FF2B5EF4-FFF2-40B4-BE49-F238E27FC236}">
                  <a16:creationId xmlns:a16="http://schemas.microsoft.com/office/drawing/2014/main" id="{19761862-73A1-44AF-A4E0-8223CF91C058}"/>
                </a:ext>
              </a:extLst>
            </p:cNvPr>
            <p:cNvSpPr>
              <a:spLocks noEditPoints="1"/>
            </p:cNvSpPr>
            <p:nvPr/>
          </p:nvSpPr>
          <p:spPr bwMode="auto">
            <a:xfrm>
              <a:off x="8167688" y="2505075"/>
              <a:ext cx="200025" cy="257175"/>
            </a:xfrm>
            <a:custGeom>
              <a:avLst/>
              <a:gdLst>
                <a:gd name="T0" fmla="*/ 250 w 630"/>
                <a:gd name="T1" fmla="*/ 88 h 811"/>
                <a:gd name="T2" fmla="*/ 257 w 630"/>
                <a:gd name="T3" fmla="*/ 75 h 811"/>
                <a:gd name="T4" fmla="*/ 263 w 630"/>
                <a:gd name="T5" fmla="*/ 52 h 811"/>
                <a:gd name="T6" fmla="*/ 291 w 630"/>
                <a:gd name="T7" fmla="*/ 33 h 811"/>
                <a:gd name="T8" fmla="*/ 354 w 630"/>
                <a:gd name="T9" fmla="*/ 37 h 811"/>
                <a:gd name="T10" fmla="*/ 374 w 630"/>
                <a:gd name="T11" fmla="*/ 56 h 811"/>
                <a:gd name="T12" fmla="*/ 378 w 630"/>
                <a:gd name="T13" fmla="*/ 78 h 811"/>
                <a:gd name="T14" fmla="*/ 387 w 630"/>
                <a:gd name="T15" fmla="*/ 89 h 811"/>
                <a:gd name="T16" fmla="*/ 179 w 630"/>
                <a:gd name="T17" fmla="*/ 240 h 811"/>
                <a:gd name="T18" fmla="*/ 53 w 630"/>
                <a:gd name="T19" fmla="*/ 779 h 811"/>
                <a:gd name="T20" fmla="*/ 30 w 630"/>
                <a:gd name="T21" fmla="*/ 748 h 811"/>
                <a:gd name="T22" fmla="*/ 75 w 630"/>
                <a:gd name="T23" fmla="*/ 180 h 811"/>
                <a:gd name="T24" fmla="*/ 62 w 630"/>
                <a:gd name="T25" fmla="*/ 187 h 811"/>
                <a:gd name="T26" fmla="*/ 60 w 630"/>
                <a:gd name="T27" fmla="*/ 740 h 811"/>
                <a:gd name="T28" fmla="*/ 68 w 630"/>
                <a:gd name="T29" fmla="*/ 750 h 811"/>
                <a:gd name="T30" fmla="*/ 361 w 630"/>
                <a:gd name="T31" fmla="*/ 750 h 811"/>
                <a:gd name="T32" fmla="*/ 370 w 630"/>
                <a:gd name="T33" fmla="*/ 740 h 811"/>
                <a:gd name="T34" fmla="*/ 366 w 630"/>
                <a:gd name="T35" fmla="*/ 726 h 811"/>
                <a:gd name="T36" fmla="*/ 90 w 630"/>
                <a:gd name="T37" fmla="*/ 721 h 811"/>
                <a:gd name="T38" fmla="*/ 151 w 630"/>
                <a:gd name="T39" fmla="*/ 261 h 811"/>
                <a:gd name="T40" fmla="*/ 161 w 630"/>
                <a:gd name="T41" fmla="*/ 270 h 811"/>
                <a:gd name="T42" fmla="*/ 474 w 630"/>
                <a:gd name="T43" fmla="*/ 268 h 811"/>
                <a:gd name="T44" fmla="*/ 480 w 630"/>
                <a:gd name="T45" fmla="*/ 256 h 811"/>
                <a:gd name="T46" fmla="*/ 541 w 630"/>
                <a:gd name="T47" fmla="*/ 366 h 811"/>
                <a:gd name="T48" fmla="*/ 552 w 630"/>
                <a:gd name="T49" fmla="*/ 376 h 811"/>
                <a:gd name="T50" fmla="*/ 566 w 630"/>
                <a:gd name="T51" fmla="*/ 371 h 811"/>
                <a:gd name="T52" fmla="*/ 570 w 630"/>
                <a:gd name="T53" fmla="*/ 195 h 811"/>
                <a:gd name="T54" fmla="*/ 564 w 630"/>
                <a:gd name="T55" fmla="*/ 183 h 811"/>
                <a:gd name="T56" fmla="*/ 480 w 630"/>
                <a:gd name="T57" fmla="*/ 150 h 811"/>
                <a:gd name="T58" fmla="*/ 602 w 630"/>
                <a:gd name="T59" fmla="*/ 365 h 811"/>
                <a:gd name="T60" fmla="*/ 615 w 630"/>
                <a:gd name="T61" fmla="*/ 371 h 811"/>
                <a:gd name="T62" fmla="*/ 628 w 630"/>
                <a:gd name="T63" fmla="*/ 365 h 811"/>
                <a:gd name="T64" fmla="*/ 630 w 630"/>
                <a:gd name="T65" fmla="*/ 133 h 811"/>
                <a:gd name="T66" fmla="*/ 621 w 630"/>
                <a:gd name="T67" fmla="*/ 121 h 811"/>
                <a:gd name="T68" fmla="*/ 479 w 630"/>
                <a:gd name="T69" fmla="*/ 72 h 811"/>
                <a:gd name="T70" fmla="*/ 471 w 630"/>
                <a:gd name="T71" fmla="*/ 61 h 811"/>
                <a:gd name="T72" fmla="*/ 400 w 630"/>
                <a:gd name="T73" fmla="*/ 41 h 811"/>
                <a:gd name="T74" fmla="*/ 380 w 630"/>
                <a:gd name="T75" fmla="*/ 17 h 811"/>
                <a:gd name="T76" fmla="*/ 340 w 630"/>
                <a:gd name="T77" fmla="*/ 1 h 811"/>
                <a:gd name="T78" fmla="*/ 284 w 630"/>
                <a:gd name="T79" fmla="*/ 3 h 811"/>
                <a:gd name="T80" fmla="*/ 249 w 630"/>
                <a:gd name="T81" fmla="*/ 22 h 811"/>
                <a:gd name="T82" fmla="*/ 231 w 630"/>
                <a:gd name="T83" fmla="*/ 52 h 811"/>
                <a:gd name="T84" fmla="*/ 156 w 630"/>
                <a:gd name="T85" fmla="*/ 63 h 811"/>
                <a:gd name="T86" fmla="*/ 150 w 630"/>
                <a:gd name="T87" fmla="*/ 75 h 811"/>
                <a:gd name="T88" fmla="*/ 6 w 630"/>
                <a:gd name="T89" fmla="*/ 123 h 811"/>
                <a:gd name="T90" fmla="*/ 0 w 630"/>
                <a:gd name="T91" fmla="*/ 135 h 811"/>
                <a:gd name="T92" fmla="*/ 4 w 630"/>
                <a:gd name="T93" fmla="*/ 770 h 811"/>
                <a:gd name="T94" fmla="*/ 23 w 630"/>
                <a:gd name="T95" fmla="*/ 797 h 811"/>
                <a:gd name="T96" fmla="*/ 56 w 630"/>
                <a:gd name="T97" fmla="*/ 810 h 811"/>
                <a:gd name="T98" fmla="*/ 380 w 630"/>
                <a:gd name="T99" fmla="*/ 810 h 811"/>
                <a:gd name="T100" fmla="*/ 389 w 630"/>
                <a:gd name="T101" fmla="*/ 800 h 811"/>
                <a:gd name="T102" fmla="*/ 385 w 630"/>
                <a:gd name="T103" fmla="*/ 786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30" h="811">
                  <a:moveTo>
                    <a:pt x="179" y="90"/>
                  </a:moveTo>
                  <a:lnTo>
                    <a:pt x="242" y="90"/>
                  </a:lnTo>
                  <a:lnTo>
                    <a:pt x="245" y="90"/>
                  </a:lnTo>
                  <a:lnTo>
                    <a:pt x="247" y="89"/>
                  </a:lnTo>
                  <a:lnTo>
                    <a:pt x="250" y="88"/>
                  </a:lnTo>
                  <a:lnTo>
                    <a:pt x="252" y="86"/>
                  </a:lnTo>
                  <a:lnTo>
                    <a:pt x="254" y="84"/>
                  </a:lnTo>
                  <a:lnTo>
                    <a:pt x="255" y="81"/>
                  </a:lnTo>
                  <a:lnTo>
                    <a:pt x="257" y="78"/>
                  </a:lnTo>
                  <a:lnTo>
                    <a:pt x="257" y="75"/>
                  </a:lnTo>
                  <a:lnTo>
                    <a:pt x="257" y="70"/>
                  </a:lnTo>
                  <a:lnTo>
                    <a:pt x="258" y="64"/>
                  </a:lnTo>
                  <a:lnTo>
                    <a:pt x="259" y="60"/>
                  </a:lnTo>
                  <a:lnTo>
                    <a:pt x="261" y="56"/>
                  </a:lnTo>
                  <a:lnTo>
                    <a:pt x="263" y="52"/>
                  </a:lnTo>
                  <a:lnTo>
                    <a:pt x="265" y="47"/>
                  </a:lnTo>
                  <a:lnTo>
                    <a:pt x="268" y="44"/>
                  </a:lnTo>
                  <a:lnTo>
                    <a:pt x="271" y="42"/>
                  </a:lnTo>
                  <a:lnTo>
                    <a:pt x="280" y="37"/>
                  </a:lnTo>
                  <a:lnTo>
                    <a:pt x="291" y="33"/>
                  </a:lnTo>
                  <a:lnTo>
                    <a:pt x="304" y="31"/>
                  </a:lnTo>
                  <a:lnTo>
                    <a:pt x="318" y="30"/>
                  </a:lnTo>
                  <a:lnTo>
                    <a:pt x="331" y="31"/>
                  </a:lnTo>
                  <a:lnTo>
                    <a:pt x="344" y="33"/>
                  </a:lnTo>
                  <a:lnTo>
                    <a:pt x="354" y="37"/>
                  </a:lnTo>
                  <a:lnTo>
                    <a:pt x="362" y="42"/>
                  </a:lnTo>
                  <a:lnTo>
                    <a:pt x="367" y="44"/>
                  </a:lnTo>
                  <a:lnTo>
                    <a:pt x="370" y="47"/>
                  </a:lnTo>
                  <a:lnTo>
                    <a:pt x="372" y="52"/>
                  </a:lnTo>
                  <a:lnTo>
                    <a:pt x="374" y="56"/>
                  </a:lnTo>
                  <a:lnTo>
                    <a:pt x="376" y="60"/>
                  </a:lnTo>
                  <a:lnTo>
                    <a:pt x="377" y="64"/>
                  </a:lnTo>
                  <a:lnTo>
                    <a:pt x="377" y="70"/>
                  </a:lnTo>
                  <a:lnTo>
                    <a:pt x="378" y="75"/>
                  </a:lnTo>
                  <a:lnTo>
                    <a:pt x="378" y="78"/>
                  </a:lnTo>
                  <a:lnTo>
                    <a:pt x="380" y="81"/>
                  </a:lnTo>
                  <a:lnTo>
                    <a:pt x="381" y="84"/>
                  </a:lnTo>
                  <a:lnTo>
                    <a:pt x="383" y="86"/>
                  </a:lnTo>
                  <a:lnTo>
                    <a:pt x="385" y="88"/>
                  </a:lnTo>
                  <a:lnTo>
                    <a:pt x="387" y="89"/>
                  </a:lnTo>
                  <a:lnTo>
                    <a:pt x="390" y="90"/>
                  </a:lnTo>
                  <a:lnTo>
                    <a:pt x="393" y="90"/>
                  </a:lnTo>
                  <a:lnTo>
                    <a:pt x="450" y="90"/>
                  </a:lnTo>
                  <a:lnTo>
                    <a:pt x="450" y="240"/>
                  </a:lnTo>
                  <a:lnTo>
                    <a:pt x="179" y="240"/>
                  </a:lnTo>
                  <a:lnTo>
                    <a:pt x="179" y="90"/>
                  </a:lnTo>
                  <a:close/>
                  <a:moveTo>
                    <a:pt x="374" y="781"/>
                  </a:moveTo>
                  <a:lnTo>
                    <a:pt x="75" y="781"/>
                  </a:lnTo>
                  <a:lnTo>
                    <a:pt x="63" y="780"/>
                  </a:lnTo>
                  <a:lnTo>
                    <a:pt x="53" y="779"/>
                  </a:lnTo>
                  <a:lnTo>
                    <a:pt x="46" y="776"/>
                  </a:lnTo>
                  <a:lnTo>
                    <a:pt x="39" y="772"/>
                  </a:lnTo>
                  <a:lnTo>
                    <a:pt x="35" y="765"/>
                  </a:lnTo>
                  <a:lnTo>
                    <a:pt x="32" y="758"/>
                  </a:lnTo>
                  <a:lnTo>
                    <a:pt x="30" y="748"/>
                  </a:lnTo>
                  <a:lnTo>
                    <a:pt x="30" y="736"/>
                  </a:lnTo>
                  <a:lnTo>
                    <a:pt x="30" y="150"/>
                  </a:lnTo>
                  <a:lnTo>
                    <a:pt x="150" y="150"/>
                  </a:lnTo>
                  <a:lnTo>
                    <a:pt x="150" y="180"/>
                  </a:lnTo>
                  <a:lnTo>
                    <a:pt x="75" y="180"/>
                  </a:lnTo>
                  <a:lnTo>
                    <a:pt x="71" y="181"/>
                  </a:lnTo>
                  <a:lnTo>
                    <a:pt x="68" y="182"/>
                  </a:lnTo>
                  <a:lnTo>
                    <a:pt x="66" y="183"/>
                  </a:lnTo>
                  <a:lnTo>
                    <a:pt x="64" y="185"/>
                  </a:lnTo>
                  <a:lnTo>
                    <a:pt x="62" y="187"/>
                  </a:lnTo>
                  <a:lnTo>
                    <a:pt x="61" y="190"/>
                  </a:lnTo>
                  <a:lnTo>
                    <a:pt x="60" y="193"/>
                  </a:lnTo>
                  <a:lnTo>
                    <a:pt x="60" y="195"/>
                  </a:lnTo>
                  <a:lnTo>
                    <a:pt x="60" y="736"/>
                  </a:lnTo>
                  <a:lnTo>
                    <a:pt x="60" y="740"/>
                  </a:lnTo>
                  <a:lnTo>
                    <a:pt x="61" y="742"/>
                  </a:lnTo>
                  <a:lnTo>
                    <a:pt x="62" y="745"/>
                  </a:lnTo>
                  <a:lnTo>
                    <a:pt x="64" y="747"/>
                  </a:lnTo>
                  <a:lnTo>
                    <a:pt x="66" y="748"/>
                  </a:lnTo>
                  <a:lnTo>
                    <a:pt x="68" y="750"/>
                  </a:lnTo>
                  <a:lnTo>
                    <a:pt x="71" y="750"/>
                  </a:lnTo>
                  <a:lnTo>
                    <a:pt x="75" y="751"/>
                  </a:lnTo>
                  <a:lnTo>
                    <a:pt x="355" y="751"/>
                  </a:lnTo>
                  <a:lnTo>
                    <a:pt x="358" y="750"/>
                  </a:lnTo>
                  <a:lnTo>
                    <a:pt x="361" y="750"/>
                  </a:lnTo>
                  <a:lnTo>
                    <a:pt x="364" y="748"/>
                  </a:lnTo>
                  <a:lnTo>
                    <a:pt x="366" y="747"/>
                  </a:lnTo>
                  <a:lnTo>
                    <a:pt x="368" y="745"/>
                  </a:lnTo>
                  <a:lnTo>
                    <a:pt x="369" y="742"/>
                  </a:lnTo>
                  <a:lnTo>
                    <a:pt x="370" y="740"/>
                  </a:lnTo>
                  <a:lnTo>
                    <a:pt x="370" y="736"/>
                  </a:lnTo>
                  <a:lnTo>
                    <a:pt x="370" y="733"/>
                  </a:lnTo>
                  <a:lnTo>
                    <a:pt x="369" y="730"/>
                  </a:lnTo>
                  <a:lnTo>
                    <a:pt x="368" y="728"/>
                  </a:lnTo>
                  <a:lnTo>
                    <a:pt x="366" y="726"/>
                  </a:lnTo>
                  <a:lnTo>
                    <a:pt x="364" y="724"/>
                  </a:lnTo>
                  <a:lnTo>
                    <a:pt x="361" y="723"/>
                  </a:lnTo>
                  <a:lnTo>
                    <a:pt x="358" y="721"/>
                  </a:lnTo>
                  <a:lnTo>
                    <a:pt x="355" y="721"/>
                  </a:lnTo>
                  <a:lnTo>
                    <a:pt x="90" y="721"/>
                  </a:lnTo>
                  <a:lnTo>
                    <a:pt x="90" y="210"/>
                  </a:lnTo>
                  <a:lnTo>
                    <a:pt x="150" y="210"/>
                  </a:lnTo>
                  <a:lnTo>
                    <a:pt x="150" y="256"/>
                  </a:lnTo>
                  <a:lnTo>
                    <a:pt x="150" y="259"/>
                  </a:lnTo>
                  <a:lnTo>
                    <a:pt x="151" y="261"/>
                  </a:lnTo>
                  <a:lnTo>
                    <a:pt x="152" y="264"/>
                  </a:lnTo>
                  <a:lnTo>
                    <a:pt x="154" y="267"/>
                  </a:lnTo>
                  <a:lnTo>
                    <a:pt x="156" y="268"/>
                  </a:lnTo>
                  <a:lnTo>
                    <a:pt x="159" y="270"/>
                  </a:lnTo>
                  <a:lnTo>
                    <a:pt x="161" y="270"/>
                  </a:lnTo>
                  <a:lnTo>
                    <a:pt x="164" y="271"/>
                  </a:lnTo>
                  <a:lnTo>
                    <a:pt x="465" y="271"/>
                  </a:lnTo>
                  <a:lnTo>
                    <a:pt x="468" y="270"/>
                  </a:lnTo>
                  <a:lnTo>
                    <a:pt x="471" y="270"/>
                  </a:lnTo>
                  <a:lnTo>
                    <a:pt x="474" y="268"/>
                  </a:lnTo>
                  <a:lnTo>
                    <a:pt x="476" y="267"/>
                  </a:lnTo>
                  <a:lnTo>
                    <a:pt x="477" y="264"/>
                  </a:lnTo>
                  <a:lnTo>
                    <a:pt x="479" y="261"/>
                  </a:lnTo>
                  <a:lnTo>
                    <a:pt x="479" y="259"/>
                  </a:lnTo>
                  <a:lnTo>
                    <a:pt x="480" y="256"/>
                  </a:lnTo>
                  <a:lnTo>
                    <a:pt x="480" y="210"/>
                  </a:lnTo>
                  <a:lnTo>
                    <a:pt x="540" y="210"/>
                  </a:lnTo>
                  <a:lnTo>
                    <a:pt x="540" y="361"/>
                  </a:lnTo>
                  <a:lnTo>
                    <a:pt x="540" y="364"/>
                  </a:lnTo>
                  <a:lnTo>
                    <a:pt x="541" y="366"/>
                  </a:lnTo>
                  <a:lnTo>
                    <a:pt x="542" y="369"/>
                  </a:lnTo>
                  <a:lnTo>
                    <a:pt x="544" y="371"/>
                  </a:lnTo>
                  <a:lnTo>
                    <a:pt x="546" y="374"/>
                  </a:lnTo>
                  <a:lnTo>
                    <a:pt x="549" y="375"/>
                  </a:lnTo>
                  <a:lnTo>
                    <a:pt x="552" y="376"/>
                  </a:lnTo>
                  <a:lnTo>
                    <a:pt x="555" y="376"/>
                  </a:lnTo>
                  <a:lnTo>
                    <a:pt x="558" y="376"/>
                  </a:lnTo>
                  <a:lnTo>
                    <a:pt x="560" y="375"/>
                  </a:lnTo>
                  <a:lnTo>
                    <a:pt x="564" y="374"/>
                  </a:lnTo>
                  <a:lnTo>
                    <a:pt x="566" y="371"/>
                  </a:lnTo>
                  <a:lnTo>
                    <a:pt x="568" y="369"/>
                  </a:lnTo>
                  <a:lnTo>
                    <a:pt x="569" y="367"/>
                  </a:lnTo>
                  <a:lnTo>
                    <a:pt x="570" y="364"/>
                  </a:lnTo>
                  <a:lnTo>
                    <a:pt x="570" y="361"/>
                  </a:lnTo>
                  <a:lnTo>
                    <a:pt x="570" y="195"/>
                  </a:lnTo>
                  <a:lnTo>
                    <a:pt x="570" y="193"/>
                  </a:lnTo>
                  <a:lnTo>
                    <a:pt x="569" y="190"/>
                  </a:lnTo>
                  <a:lnTo>
                    <a:pt x="568" y="187"/>
                  </a:lnTo>
                  <a:lnTo>
                    <a:pt x="566" y="185"/>
                  </a:lnTo>
                  <a:lnTo>
                    <a:pt x="564" y="183"/>
                  </a:lnTo>
                  <a:lnTo>
                    <a:pt x="560" y="182"/>
                  </a:lnTo>
                  <a:lnTo>
                    <a:pt x="558" y="181"/>
                  </a:lnTo>
                  <a:lnTo>
                    <a:pt x="555" y="180"/>
                  </a:lnTo>
                  <a:lnTo>
                    <a:pt x="480" y="180"/>
                  </a:lnTo>
                  <a:lnTo>
                    <a:pt x="480" y="150"/>
                  </a:lnTo>
                  <a:lnTo>
                    <a:pt x="600" y="150"/>
                  </a:lnTo>
                  <a:lnTo>
                    <a:pt x="600" y="357"/>
                  </a:lnTo>
                  <a:lnTo>
                    <a:pt x="600" y="360"/>
                  </a:lnTo>
                  <a:lnTo>
                    <a:pt x="601" y="362"/>
                  </a:lnTo>
                  <a:lnTo>
                    <a:pt x="602" y="365"/>
                  </a:lnTo>
                  <a:lnTo>
                    <a:pt x="604" y="367"/>
                  </a:lnTo>
                  <a:lnTo>
                    <a:pt x="606" y="368"/>
                  </a:lnTo>
                  <a:lnTo>
                    <a:pt x="610" y="370"/>
                  </a:lnTo>
                  <a:lnTo>
                    <a:pt x="612" y="370"/>
                  </a:lnTo>
                  <a:lnTo>
                    <a:pt x="615" y="371"/>
                  </a:lnTo>
                  <a:lnTo>
                    <a:pt x="618" y="370"/>
                  </a:lnTo>
                  <a:lnTo>
                    <a:pt x="621" y="370"/>
                  </a:lnTo>
                  <a:lnTo>
                    <a:pt x="624" y="368"/>
                  </a:lnTo>
                  <a:lnTo>
                    <a:pt x="626" y="367"/>
                  </a:lnTo>
                  <a:lnTo>
                    <a:pt x="628" y="365"/>
                  </a:lnTo>
                  <a:lnTo>
                    <a:pt x="629" y="362"/>
                  </a:lnTo>
                  <a:lnTo>
                    <a:pt x="630" y="360"/>
                  </a:lnTo>
                  <a:lnTo>
                    <a:pt x="630" y="357"/>
                  </a:lnTo>
                  <a:lnTo>
                    <a:pt x="630" y="135"/>
                  </a:lnTo>
                  <a:lnTo>
                    <a:pt x="630" y="133"/>
                  </a:lnTo>
                  <a:lnTo>
                    <a:pt x="629" y="130"/>
                  </a:lnTo>
                  <a:lnTo>
                    <a:pt x="628" y="127"/>
                  </a:lnTo>
                  <a:lnTo>
                    <a:pt x="626" y="125"/>
                  </a:lnTo>
                  <a:lnTo>
                    <a:pt x="624" y="123"/>
                  </a:lnTo>
                  <a:lnTo>
                    <a:pt x="621" y="121"/>
                  </a:lnTo>
                  <a:lnTo>
                    <a:pt x="618" y="121"/>
                  </a:lnTo>
                  <a:lnTo>
                    <a:pt x="615" y="120"/>
                  </a:lnTo>
                  <a:lnTo>
                    <a:pt x="480" y="120"/>
                  </a:lnTo>
                  <a:lnTo>
                    <a:pt x="480" y="75"/>
                  </a:lnTo>
                  <a:lnTo>
                    <a:pt x="479" y="72"/>
                  </a:lnTo>
                  <a:lnTo>
                    <a:pt x="479" y="70"/>
                  </a:lnTo>
                  <a:lnTo>
                    <a:pt x="477" y="68"/>
                  </a:lnTo>
                  <a:lnTo>
                    <a:pt x="476" y="64"/>
                  </a:lnTo>
                  <a:lnTo>
                    <a:pt x="474" y="63"/>
                  </a:lnTo>
                  <a:lnTo>
                    <a:pt x="471" y="61"/>
                  </a:lnTo>
                  <a:lnTo>
                    <a:pt x="468" y="60"/>
                  </a:lnTo>
                  <a:lnTo>
                    <a:pt x="465" y="60"/>
                  </a:lnTo>
                  <a:lnTo>
                    <a:pt x="406" y="60"/>
                  </a:lnTo>
                  <a:lnTo>
                    <a:pt x="404" y="52"/>
                  </a:lnTo>
                  <a:lnTo>
                    <a:pt x="400" y="41"/>
                  </a:lnTo>
                  <a:lnTo>
                    <a:pt x="398" y="37"/>
                  </a:lnTo>
                  <a:lnTo>
                    <a:pt x="393" y="31"/>
                  </a:lnTo>
                  <a:lnTo>
                    <a:pt x="390" y="26"/>
                  </a:lnTo>
                  <a:lnTo>
                    <a:pt x="385" y="22"/>
                  </a:lnTo>
                  <a:lnTo>
                    <a:pt x="380" y="17"/>
                  </a:lnTo>
                  <a:lnTo>
                    <a:pt x="374" y="13"/>
                  </a:lnTo>
                  <a:lnTo>
                    <a:pt x="367" y="10"/>
                  </a:lnTo>
                  <a:lnTo>
                    <a:pt x="359" y="7"/>
                  </a:lnTo>
                  <a:lnTo>
                    <a:pt x="350" y="3"/>
                  </a:lnTo>
                  <a:lnTo>
                    <a:pt x="340" y="1"/>
                  </a:lnTo>
                  <a:lnTo>
                    <a:pt x="329" y="0"/>
                  </a:lnTo>
                  <a:lnTo>
                    <a:pt x="318" y="0"/>
                  </a:lnTo>
                  <a:lnTo>
                    <a:pt x="306" y="0"/>
                  </a:lnTo>
                  <a:lnTo>
                    <a:pt x="294" y="1"/>
                  </a:lnTo>
                  <a:lnTo>
                    <a:pt x="284" y="3"/>
                  </a:lnTo>
                  <a:lnTo>
                    <a:pt x="276" y="7"/>
                  </a:lnTo>
                  <a:lnTo>
                    <a:pt x="268" y="10"/>
                  </a:lnTo>
                  <a:lnTo>
                    <a:pt x="261" y="13"/>
                  </a:lnTo>
                  <a:lnTo>
                    <a:pt x="254" y="17"/>
                  </a:lnTo>
                  <a:lnTo>
                    <a:pt x="249" y="22"/>
                  </a:lnTo>
                  <a:lnTo>
                    <a:pt x="245" y="26"/>
                  </a:lnTo>
                  <a:lnTo>
                    <a:pt x="240" y="31"/>
                  </a:lnTo>
                  <a:lnTo>
                    <a:pt x="237" y="37"/>
                  </a:lnTo>
                  <a:lnTo>
                    <a:pt x="234" y="41"/>
                  </a:lnTo>
                  <a:lnTo>
                    <a:pt x="231" y="52"/>
                  </a:lnTo>
                  <a:lnTo>
                    <a:pt x="228" y="60"/>
                  </a:lnTo>
                  <a:lnTo>
                    <a:pt x="164" y="60"/>
                  </a:lnTo>
                  <a:lnTo>
                    <a:pt x="161" y="60"/>
                  </a:lnTo>
                  <a:lnTo>
                    <a:pt x="159" y="61"/>
                  </a:lnTo>
                  <a:lnTo>
                    <a:pt x="156" y="63"/>
                  </a:lnTo>
                  <a:lnTo>
                    <a:pt x="154" y="64"/>
                  </a:lnTo>
                  <a:lnTo>
                    <a:pt x="152" y="68"/>
                  </a:lnTo>
                  <a:lnTo>
                    <a:pt x="151" y="70"/>
                  </a:lnTo>
                  <a:lnTo>
                    <a:pt x="150" y="72"/>
                  </a:lnTo>
                  <a:lnTo>
                    <a:pt x="150" y="75"/>
                  </a:lnTo>
                  <a:lnTo>
                    <a:pt x="150" y="120"/>
                  </a:lnTo>
                  <a:lnTo>
                    <a:pt x="15" y="120"/>
                  </a:lnTo>
                  <a:lnTo>
                    <a:pt x="11" y="121"/>
                  </a:lnTo>
                  <a:lnTo>
                    <a:pt x="8" y="121"/>
                  </a:lnTo>
                  <a:lnTo>
                    <a:pt x="6" y="123"/>
                  </a:lnTo>
                  <a:lnTo>
                    <a:pt x="4" y="125"/>
                  </a:lnTo>
                  <a:lnTo>
                    <a:pt x="2" y="127"/>
                  </a:lnTo>
                  <a:lnTo>
                    <a:pt x="1" y="130"/>
                  </a:lnTo>
                  <a:lnTo>
                    <a:pt x="0" y="133"/>
                  </a:lnTo>
                  <a:lnTo>
                    <a:pt x="0" y="135"/>
                  </a:lnTo>
                  <a:lnTo>
                    <a:pt x="0" y="736"/>
                  </a:lnTo>
                  <a:lnTo>
                    <a:pt x="0" y="745"/>
                  </a:lnTo>
                  <a:lnTo>
                    <a:pt x="1" y="754"/>
                  </a:lnTo>
                  <a:lnTo>
                    <a:pt x="2" y="762"/>
                  </a:lnTo>
                  <a:lnTo>
                    <a:pt x="4" y="770"/>
                  </a:lnTo>
                  <a:lnTo>
                    <a:pt x="7" y="776"/>
                  </a:lnTo>
                  <a:lnTo>
                    <a:pt x="10" y="782"/>
                  </a:lnTo>
                  <a:lnTo>
                    <a:pt x="14" y="788"/>
                  </a:lnTo>
                  <a:lnTo>
                    <a:pt x="18" y="793"/>
                  </a:lnTo>
                  <a:lnTo>
                    <a:pt x="23" y="797"/>
                  </a:lnTo>
                  <a:lnTo>
                    <a:pt x="29" y="801"/>
                  </a:lnTo>
                  <a:lnTo>
                    <a:pt x="35" y="804"/>
                  </a:lnTo>
                  <a:lnTo>
                    <a:pt x="41" y="807"/>
                  </a:lnTo>
                  <a:lnTo>
                    <a:pt x="49" y="808"/>
                  </a:lnTo>
                  <a:lnTo>
                    <a:pt x="56" y="810"/>
                  </a:lnTo>
                  <a:lnTo>
                    <a:pt x="65" y="811"/>
                  </a:lnTo>
                  <a:lnTo>
                    <a:pt x="75" y="811"/>
                  </a:lnTo>
                  <a:lnTo>
                    <a:pt x="374" y="811"/>
                  </a:lnTo>
                  <a:lnTo>
                    <a:pt x="377" y="811"/>
                  </a:lnTo>
                  <a:lnTo>
                    <a:pt x="380" y="810"/>
                  </a:lnTo>
                  <a:lnTo>
                    <a:pt x="383" y="809"/>
                  </a:lnTo>
                  <a:lnTo>
                    <a:pt x="385" y="807"/>
                  </a:lnTo>
                  <a:lnTo>
                    <a:pt x="387" y="805"/>
                  </a:lnTo>
                  <a:lnTo>
                    <a:pt x="388" y="803"/>
                  </a:lnTo>
                  <a:lnTo>
                    <a:pt x="389" y="800"/>
                  </a:lnTo>
                  <a:lnTo>
                    <a:pt x="389" y="796"/>
                  </a:lnTo>
                  <a:lnTo>
                    <a:pt x="389" y="793"/>
                  </a:lnTo>
                  <a:lnTo>
                    <a:pt x="388" y="791"/>
                  </a:lnTo>
                  <a:lnTo>
                    <a:pt x="387" y="788"/>
                  </a:lnTo>
                  <a:lnTo>
                    <a:pt x="385" y="786"/>
                  </a:lnTo>
                  <a:lnTo>
                    <a:pt x="383" y="784"/>
                  </a:lnTo>
                  <a:lnTo>
                    <a:pt x="380" y="782"/>
                  </a:lnTo>
                  <a:lnTo>
                    <a:pt x="377" y="781"/>
                  </a:lnTo>
                  <a:lnTo>
                    <a:pt x="374" y="7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51" name="Freeform 350">
              <a:extLst>
                <a:ext uri="{FF2B5EF4-FFF2-40B4-BE49-F238E27FC236}">
                  <a16:creationId xmlns:a16="http://schemas.microsoft.com/office/drawing/2014/main" id="{BC360C8C-685C-4914-B1EE-0C3CAB39E797}"/>
                </a:ext>
              </a:extLst>
            </p:cNvPr>
            <p:cNvSpPr>
              <a:spLocks/>
            </p:cNvSpPr>
            <p:nvPr/>
          </p:nvSpPr>
          <p:spPr bwMode="auto">
            <a:xfrm>
              <a:off x="8228013" y="2609850"/>
              <a:ext cx="69850" cy="9525"/>
            </a:xfrm>
            <a:custGeom>
              <a:avLst/>
              <a:gdLst>
                <a:gd name="T0" fmla="*/ 204 w 219"/>
                <a:gd name="T1" fmla="*/ 0 h 30"/>
                <a:gd name="T2" fmla="*/ 15 w 219"/>
                <a:gd name="T3" fmla="*/ 0 h 30"/>
                <a:gd name="T4" fmla="*/ 12 w 219"/>
                <a:gd name="T5" fmla="*/ 0 h 30"/>
                <a:gd name="T6" fmla="*/ 9 w 219"/>
                <a:gd name="T7" fmla="*/ 1 h 30"/>
                <a:gd name="T8" fmla="*/ 7 w 219"/>
                <a:gd name="T9" fmla="*/ 2 h 30"/>
                <a:gd name="T10" fmla="*/ 4 w 219"/>
                <a:gd name="T11" fmla="*/ 4 h 30"/>
                <a:gd name="T12" fmla="*/ 2 w 219"/>
                <a:gd name="T13" fmla="*/ 6 h 30"/>
                <a:gd name="T14" fmla="*/ 1 w 219"/>
                <a:gd name="T15" fmla="*/ 9 h 30"/>
                <a:gd name="T16" fmla="*/ 0 w 219"/>
                <a:gd name="T17" fmla="*/ 12 h 30"/>
                <a:gd name="T18" fmla="*/ 0 w 219"/>
                <a:gd name="T19" fmla="*/ 15 h 30"/>
                <a:gd name="T20" fmla="*/ 0 w 219"/>
                <a:gd name="T21" fmla="*/ 18 h 30"/>
                <a:gd name="T22" fmla="*/ 1 w 219"/>
                <a:gd name="T23" fmla="*/ 20 h 30"/>
                <a:gd name="T24" fmla="*/ 2 w 219"/>
                <a:gd name="T25" fmla="*/ 23 h 30"/>
                <a:gd name="T26" fmla="*/ 4 w 219"/>
                <a:gd name="T27" fmla="*/ 26 h 30"/>
                <a:gd name="T28" fmla="*/ 7 w 219"/>
                <a:gd name="T29" fmla="*/ 28 h 30"/>
                <a:gd name="T30" fmla="*/ 9 w 219"/>
                <a:gd name="T31" fmla="*/ 29 h 30"/>
                <a:gd name="T32" fmla="*/ 12 w 219"/>
                <a:gd name="T33" fmla="*/ 30 h 30"/>
                <a:gd name="T34" fmla="*/ 15 w 219"/>
                <a:gd name="T35" fmla="*/ 30 h 30"/>
                <a:gd name="T36" fmla="*/ 204 w 219"/>
                <a:gd name="T37" fmla="*/ 30 h 30"/>
                <a:gd name="T38" fmla="*/ 207 w 219"/>
                <a:gd name="T39" fmla="*/ 29 h 30"/>
                <a:gd name="T40" fmla="*/ 210 w 219"/>
                <a:gd name="T41" fmla="*/ 29 h 30"/>
                <a:gd name="T42" fmla="*/ 212 w 219"/>
                <a:gd name="T43" fmla="*/ 28 h 30"/>
                <a:gd name="T44" fmla="*/ 214 w 219"/>
                <a:gd name="T45" fmla="*/ 26 h 30"/>
                <a:gd name="T46" fmla="*/ 216 w 219"/>
                <a:gd name="T47" fmla="*/ 23 h 30"/>
                <a:gd name="T48" fmla="*/ 218 w 219"/>
                <a:gd name="T49" fmla="*/ 20 h 30"/>
                <a:gd name="T50" fmla="*/ 218 w 219"/>
                <a:gd name="T51" fmla="*/ 18 h 30"/>
                <a:gd name="T52" fmla="*/ 219 w 219"/>
                <a:gd name="T53" fmla="*/ 15 h 30"/>
                <a:gd name="T54" fmla="*/ 218 w 219"/>
                <a:gd name="T55" fmla="*/ 12 h 30"/>
                <a:gd name="T56" fmla="*/ 218 w 219"/>
                <a:gd name="T57" fmla="*/ 9 h 30"/>
                <a:gd name="T58" fmla="*/ 216 w 219"/>
                <a:gd name="T59" fmla="*/ 6 h 30"/>
                <a:gd name="T60" fmla="*/ 214 w 219"/>
                <a:gd name="T61" fmla="*/ 4 h 30"/>
                <a:gd name="T62" fmla="*/ 212 w 219"/>
                <a:gd name="T63" fmla="*/ 2 h 30"/>
                <a:gd name="T64" fmla="*/ 210 w 219"/>
                <a:gd name="T65" fmla="*/ 1 h 30"/>
                <a:gd name="T66" fmla="*/ 207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2" y="0"/>
                  </a:lnTo>
                  <a:lnTo>
                    <a:pt x="9" y="1"/>
                  </a:lnTo>
                  <a:lnTo>
                    <a:pt x="7" y="2"/>
                  </a:lnTo>
                  <a:lnTo>
                    <a:pt x="4" y="4"/>
                  </a:lnTo>
                  <a:lnTo>
                    <a:pt x="2" y="6"/>
                  </a:lnTo>
                  <a:lnTo>
                    <a:pt x="1" y="9"/>
                  </a:lnTo>
                  <a:lnTo>
                    <a:pt x="0" y="12"/>
                  </a:lnTo>
                  <a:lnTo>
                    <a:pt x="0" y="15"/>
                  </a:lnTo>
                  <a:lnTo>
                    <a:pt x="0" y="18"/>
                  </a:lnTo>
                  <a:lnTo>
                    <a:pt x="1" y="20"/>
                  </a:lnTo>
                  <a:lnTo>
                    <a:pt x="2" y="23"/>
                  </a:lnTo>
                  <a:lnTo>
                    <a:pt x="4" y="26"/>
                  </a:lnTo>
                  <a:lnTo>
                    <a:pt x="7" y="28"/>
                  </a:lnTo>
                  <a:lnTo>
                    <a:pt x="9" y="29"/>
                  </a:lnTo>
                  <a:lnTo>
                    <a:pt x="12" y="30"/>
                  </a:lnTo>
                  <a:lnTo>
                    <a:pt x="15" y="30"/>
                  </a:lnTo>
                  <a:lnTo>
                    <a:pt x="204" y="30"/>
                  </a:lnTo>
                  <a:lnTo>
                    <a:pt x="207" y="29"/>
                  </a:lnTo>
                  <a:lnTo>
                    <a:pt x="210" y="29"/>
                  </a:lnTo>
                  <a:lnTo>
                    <a:pt x="212" y="28"/>
                  </a:lnTo>
                  <a:lnTo>
                    <a:pt x="214" y="26"/>
                  </a:lnTo>
                  <a:lnTo>
                    <a:pt x="216" y="23"/>
                  </a:lnTo>
                  <a:lnTo>
                    <a:pt x="218" y="20"/>
                  </a:lnTo>
                  <a:lnTo>
                    <a:pt x="218" y="18"/>
                  </a:lnTo>
                  <a:lnTo>
                    <a:pt x="219" y="15"/>
                  </a:lnTo>
                  <a:lnTo>
                    <a:pt x="218" y="12"/>
                  </a:lnTo>
                  <a:lnTo>
                    <a:pt x="218" y="9"/>
                  </a:lnTo>
                  <a:lnTo>
                    <a:pt x="216" y="6"/>
                  </a:lnTo>
                  <a:lnTo>
                    <a:pt x="214" y="4"/>
                  </a:lnTo>
                  <a:lnTo>
                    <a:pt x="212" y="2"/>
                  </a:lnTo>
                  <a:lnTo>
                    <a:pt x="210" y="1"/>
                  </a:lnTo>
                  <a:lnTo>
                    <a:pt x="207"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52" name="Freeform 351">
              <a:extLst>
                <a:ext uri="{FF2B5EF4-FFF2-40B4-BE49-F238E27FC236}">
                  <a16:creationId xmlns:a16="http://schemas.microsoft.com/office/drawing/2014/main" id="{BA80A96B-BB86-4559-9212-E2CDFA5CA239}"/>
                </a:ext>
              </a:extLst>
            </p:cNvPr>
            <p:cNvSpPr>
              <a:spLocks/>
            </p:cNvSpPr>
            <p:nvPr/>
          </p:nvSpPr>
          <p:spPr bwMode="auto">
            <a:xfrm>
              <a:off x="8228013" y="2638425"/>
              <a:ext cx="69850" cy="9525"/>
            </a:xfrm>
            <a:custGeom>
              <a:avLst/>
              <a:gdLst>
                <a:gd name="T0" fmla="*/ 204 w 219"/>
                <a:gd name="T1" fmla="*/ 0 h 30"/>
                <a:gd name="T2" fmla="*/ 15 w 219"/>
                <a:gd name="T3" fmla="*/ 0 h 30"/>
                <a:gd name="T4" fmla="*/ 12 w 219"/>
                <a:gd name="T5" fmla="*/ 0 h 30"/>
                <a:gd name="T6" fmla="*/ 9 w 219"/>
                <a:gd name="T7" fmla="*/ 1 h 30"/>
                <a:gd name="T8" fmla="*/ 7 w 219"/>
                <a:gd name="T9" fmla="*/ 2 h 30"/>
                <a:gd name="T10" fmla="*/ 4 w 219"/>
                <a:gd name="T11" fmla="*/ 4 h 30"/>
                <a:gd name="T12" fmla="*/ 2 w 219"/>
                <a:gd name="T13" fmla="*/ 6 h 30"/>
                <a:gd name="T14" fmla="*/ 1 w 219"/>
                <a:gd name="T15" fmla="*/ 9 h 30"/>
                <a:gd name="T16" fmla="*/ 0 w 219"/>
                <a:gd name="T17" fmla="*/ 11 h 30"/>
                <a:gd name="T18" fmla="*/ 0 w 219"/>
                <a:gd name="T19" fmla="*/ 15 h 30"/>
                <a:gd name="T20" fmla="*/ 0 w 219"/>
                <a:gd name="T21" fmla="*/ 18 h 30"/>
                <a:gd name="T22" fmla="*/ 1 w 219"/>
                <a:gd name="T23" fmla="*/ 21 h 30"/>
                <a:gd name="T24" fmla="*/ 2 w 219"/>
                <a:gd name="T25" fmla="*/ 23 h 30"/>
                <a:gd name="T26" fmla="*/ 4 w 219"/>
                <a:gd name="T27" fmla="*/ 25 h 30"/>
                <a:gd name="T28" fmla="*/ 7 w 219"/>
                <a:gd name="T29" fmla="*/ 28 h 30"/>
                <a:gd name="T30" fmla="*/ 9 w 219"/>
                <a:gd name="T31" fmla="*/ 29 h 30"/>
                <a:gd name="T32" fmla="*/ 12 w 219"/>
                <a:gd name="T33" fmla="*/ 30 h 30"/>
                <a:gd name="T34" fmla="*/ 15 w 219"/>
                <a:gd name="T35" fmla="*/ 30 h 30"/>
                <a:gd name="T36" fmla="*/ 204 w 219"/>
                <a:gd name="T37" fmla="*/ 30 h 30"/>
                <a:gd name="T38" fmla="*/ 207 w 219"/>
                <a:gd name="T39" fmla="*/ 30 h 30"/>
                <a:gd name="T40" fmla="*/ 210 w 219"/>
                <a:gd name="T41" fmla="*/ 29 h 30"/>
                <a:gd name="T42" fmla="*/ 212 w 219"/>
                <a:gd name="T43" fmla="*/ 28 h 30"/>
                <a:gd name="T44" fmla="*/ 214 w 219"/>
                <a:gd name="T45" fmla="*/ 25 h 30"/>
                <a:gd name="T46" fmla="*/ 216 w 219"/>
                <a:gd name="T47" fmla="*/ 23 h 30"/>
                <a:gd name="T48" fmla="*/ 218 w 219"/>
                <a:gd name="T49" fmla="*/ 21 h 30"/>
                <a:gd name="T50" fmla="*/ 218 w 219"/>
                <a:gd name="T51" fmla="*/ 18 h 30"/>
                <a:gd name="T52" fmla="*/ 219 w 219"/>
                <a:gd name="T53" fmla="*/ 15 h 30"/>
                <a:gd name="T54" fmla="*/ 218 w 219"/>
                <a:gd name="T55" fmla="*/ 11 h 30"/>
                <a:gd name="T56" fmla="*/ 218 w 219"/>
                <a:gd name="T57" fmla="*/ 9 h 30"/>
                <a:gd name="T58" fmla="*/ 216 w 219"/>
                <a:gd name="T59" fmla="*/ 6 h 30"/>
                <a:gd name="T60" fmla="*/ 214 w 219"/>
                <a:gd name="T61" fmla="*/ 4 h 30"/>
                <a:gd name="T62" fmla="*/ 212 w 219"/>
                <a:gd name="T63" fmla="*/ 2 h 30"/>
                <a:gd name="T64" fmla="*/ 210 w 219"/>
                <a:gd name="T65" fmla="*/ 1 h 30"/>
                <a:gd name="T66" fmla="*/ 207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2" y="0"/>
                  </a:lnTo>
                  <a:lnTo>
                    <a:pt x="9" y="1"/>
                  </a:lnTo>
                  <a:lnTo>
                    <a:pt x="7" y="2"/>
                  </a:lnTo>
                  <a:lnTo>
                    <a:pt x="4" y="4"/>
                  </a:lnTo>
                  <a:lnTo>
                    <a:pt x="2" y="6"/>
                  </a:lnTo>
                  <a:lnTo>
                    <a:pt x="1" y="9"/>
                  </a:lnTo>
                  <a:lnTo>
                    <a:pt x="0" y="11"/>
                  </a:lnTo>
                  <a:lnTo>
                    <a:pt x="0" y="15"/>
                  </a:lnTo>
                  <a:lnTo>
                    <a:pt x="0" y="18"/>
                  </a:lnTo>
                  <a:lnTo>
                    <a:pt x="1" y="21"/>
                  </a:lnTo>
                  <a:lnTo>
                    <a:pt x="2" y="23"/>
                  </a:lnTo>
                  <a:lnTo>
                    <a:pt x="4" y="25"/>
                  </a:lnTo>
                  <a:lnTo>
                    <a:pt x="7" y="28"/>
                  </a:lnTo>
                  <a:lnTo>
                    <a:pt x="9" y="29"/>
                  </a:lnTo>
                  <a:lnTo>
                    <a:pt x="12" y="30"/>
                  </a:lnTo>
                  <a:lnTo>
                    <a:pt x="15" y="30"/>
                  </a:lnTo>
                  <a:lnTo>
                    <a:pt x="204" y="30"/>
                  </a:lnTo>
                  <a:lnTo>
                    <a:pt x="207" y="30"/>
                  </a:lnTo>
                  <a:lnTo>
                    <a:pt x="210" y="29"/>
                  </a:lnTo>
                  <a:lnTo>
                    <a:pt x="212" y="28"/>
                  </a:lnTo>
                  <a:lnTo>
                    <a:pt x="214" y="25"/>
                  </a:lnTo>
                  <a:lnTo>
                    <a:pt x="216" y="23"/>
                  </a:lnTo>
                  <a:lnTo>
                    <a:pt x="218" y="21"/>
                  </a:lnTo>
                  <a:lnTo>
                    <a:pt x="218" y="18"/>
                  </a:lnTo>
                  <a:lnTo>
                    <a:pt x="219" y="15"/>
                  </a:lnTo>
                  <a:lnTo>
                    <a:pt x="218" y="11"/>
                  </a:lnTo>
                  <a:lnTo>
                    <a:pt x="218" y="9"/>
                  </a:lnTo>
                  <a:lnTo>
                    <a:pt x="216" y="6"/>
                  </a:lnTo>
                  <a:lnTo>
                    <a:pt x="214" y="4"/>
                  </a:lnTo>
                  <a:lnTo>
                    <a:pt x="212" y="2"/>
                  </a:lnTo>
                  <a:lnTo>
                    <a:pt x="210" y="1"/>
                  </a:lnTo>
                  <a:lnTo>
                    <a:pt x="207"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53" name="Freeform 352">
              <a:extLst>
                <a:ext uri="{FF2B5EF4-FFF2-40B4-BE49-F238E27FC236}">
                  <a16:creationId xmlns:a16="http://schemas.microsoft.com/office/drawing/2014/main" id="{3E23AAC5-48B7-4600-A249-CEF6F22F79FE}"/>
                </a:ext>
              </a:extLst>
            </p:cNvPr>
            <p:cNvSpPr>
              <a:spLocks/>
            </p:cNvSpPr>
            <p:nvPr/>
          </p:nvSpPr>
          <p:spPr bwMode="auto">
            <a:xfrm>
              <a:off x="8228013" y="2667000"/>
              <a:ext cx="69850" cy="9525"/>
            </a:xfrm>
            <a:custGeom>
              <a:avLst/>
              <a:gdLst>
                <a:gd name="T0" fmla="*/ 204 w 219"/>
                <a:gd name="T1" fmla="*/ 0 h 30"/>
                <a:gd name="T2" fmla="*/ 15 w 219"/>
                <a:gd name="T3" fmla="*/ 0 h 30"/>
                <a:gd name="T4" fmla="*/ 12 w 219"/>
                <a:gd name="T5" fmla="*/ 0 h 30"/>
                <a:gd name="T6" fmla="*/ 9 w 219"/>
                <a:gd name="T7" fmla="*/ 1 h 30"/>
                <a:gd name="T8" fmla="*/ 7 w 219"/>
                <a:gd name="T9" fmla="*/ 3 h 30"/>
                <a:gd name="T10" fmla="*/ 4 w 219"/>
                <a:gd name="T11" fmla="*/ 4 h 30"/>
                <a:gd name="T12" fmla="*/ 2 w 219"/>
                <a:gd name="T13" fmla="*/ 7 h 30"/>
                <a:gd name="T14" fmla="*/ 1 w 219"/>
                <a:gd name="T15" fmla="*/ 9 h 30"/>
                <a:gd name="T16" fmla="*/ 0 w 219"/>
                <a:gd name="T17" fmla="*/ 12 h 30"/>
                <a:gd name="T18" fmla="*/ 0 w 219"/>
                <a:gd name="T19" fmla="*/ 15 h 30"/>
                <a:gd name="T20" fmla="*/ 0 w 219"/>
                <a:gd name="T21" fmla="*/ 18 h 30"/>
                <a:gd name="T22" fmla="*/ 1 w 219"/>
                <a:gd name="T23" fmla="*/ 21 h 30"/>
                <a:gd name="T24" fmla="*/ 2 w 219"/>
                <a:gd name="T25" fmla="*/ 23 h 30"/>
                <a:gd name="T26" fmla="*/ 4 w 219"/>
                <a:gd name="T27" fmla="*/ 25 h 30"/>
                <a:gd name="T28" fmla="*/ 7 w 219"/>
                <a:gd name="T29" fmla="*/ 27 h 30"/>
                <a:gd name="T30" fmla="*/ 9 w 219"/>
                <a:gd name="T31" fmla="*/ 29 h 30"/>
                <a:gd name="T32" fmla="*/ 12 w 219"/>
                <a:gd name="T33" fmla="*/ 30 h 30"/>
                <a:gd name="T34" fmla="*/ 15 w 219"/>
                <a:gd name="T35" fmla="*/ 30 h 30"/>
                <a:gd name="T36" fmla="*/ 204 w 219"/>
                <a:gd name="T37" fmla="*/ 30 h 30"/>
                <a:gd name="T38" fmla="*/ 207 w 219"/>
                <a:gd name="T39" fmla="*/ 30 h 30"/>
                <a:gd name="T40" fmla="*/ 210 w 219"/>
                <a:gd name="T41" fmla="*/ 29 h 30"/>
                <a:gd name="T42" fmla="*/ 212 w 219"/>
                <a:gd name="T43" fmla="*/ 27 h 30"/>
                <a:gd name="T44" fmla="*/ 214 w 219"/>
                <a:gd name="T45" fmla="*/ 25 h 30"/>
                <a:gd name="T46" fmla="*/ 216 w 219"/>
                <a:gd name="T47" fmla="*/ 23 h 30"/>
                <a:gd name="T48" fmla="*/ 218 w 219"/>
                <a:gd name="T49" fmla="*/ 21 h 30"/>
                <a:gd name="T50" fmla="*/ 218 w 219"/>
                <a:gd name="T51" fmla="*/ 18 h 30"/>
                <a:gd name="T52" fmla="*/ 219 w 219"/>
                <a:gd name="T53" fmla="*/ 15 h 30"/>
                <a:gd name="T54" fmla="*/ 218 w 219"/>
                <a:gd name="T55" fmla="*/ 12 h 30"/>
                <a:gd name="T56" fmla="*/ 218 w 219"/>
                <a:gd name="T57" fmla="*/ 9 h 30"/>
                <a:gd name="T58" fmla="*/ 216 w 219"/>
                <a:gd name="T59" fmla="*/ 7 h 30"/>
                <a:gd name="T60" fmla="*/ 214 w 219"/>
                <a:gd name="T61" fmla="*/ 4 h 30"/>
                <a:gd name="T62" fmla="*/ 212 w 219"/>
                <a:gd name="T63" fmla="*/ 3 h 30"/>
                <a:gd name="T64" fmla="*/ 210 w 219"/>
                <a:gd name="T65" fmla="*/ 1 h 30"/>
                <a:gd name="T66" fmla="*/ 207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2" y="0"/>
                  </a:lnTo>
                  <a:lnTo>
                    <a:pt x="9" y="1"/>
                  </a:lnTo>
                  <a:lnTo>
                    <a:pt x="7" y="3"/>
                  </a:lnTo>
                  <a:lnTo>
                    <a:pt x="4" y="4"/>
                  </a:lnTo>
                  <a:lnTo>
                    <a:pt x="2" y="7"/>
                  </a:lnTo>
                  <a:lnTo>
                    <a:pt x="1" y="9"/>
                  </a:lnTo>
                  <a:lnTo>
                    <a:pt x="0" y="12"/>
                  </a:lnTo>
                  <a:lnTo>
                    <a:pt x="0" y="15"/>
                  </a:lnTo>
                  <a:lnTo>
                    <a:pt x="0" y="18"/>
                  </a:lnTo>
                  <a:lnTo>
                    <a:pt x="1" y="21"/>
                  </a:lnTo>
                  <a:lnTo>
                    <a:pt x="2" y="23"/>
                  </a:lnTo>
                  <a:lnTo>
                    <a:pt x="4" y="25"/>
                  </a:lnTo>
                  <a:lnTo>
                    <a:pt x="7" y="27"/>
                  </a:lnTo>
                  <a:lnTo>
                    <a:pt x="9" y="29"/>
                  </a:lnTo>
                  <a:lnTo>
                    <a:pt x="12" y="30"/>
                  </a:lnTo>
                  <a:lnTo>
                    <a:pt x="15" y="30"/>
                  </a:lnTo>
                  <a:lnTo>
                    <a:pt x="204" y="30"/>
                  </a:lnTo>
                  <a:lnTo>
                    <a:pt x="207" y="30"/>
                  </a:lnTo>
                  <a:lnTo>
                    <a:pt x="210" y="29"/>
                  </a:lnTo>
                  <a:lnTo>
                    <a:pt x="212" y="27"/>
                  </a:lnTo>
                  <a:lnTo>
                    <a:pt x="214" y="25"/>
                  </a:lnTo>
                  <a:lnTo>
                    <a:pt x="216" y="23"/>
                  </a:lnTo>
                  <a:lnTo>
                    <a:pt x="218" y="21"/>
                  </a:lnTo>
                  <a:lnTo>
                    <a:pt x="218" y="18"/>
                  </a:lnTo>
                  <a:lnTo>
                    <a:pt x="219" y="15"/>
                  </a:lnTo>
                  <a:lnTo>
                    <a:pt x="218" y="12"/>
                  </a:lnTo>
                  <a:lnTo>
                    <a:pt x="218" y="9"/>
                  </a:lnTo>
                  <a:lnTo>
                    <a:pt x="216" y="7"/>
                  </a:lnTo>
                  <a:lnTo>
                    <a:pt x="214" y="4"/>
                  </a:lnTo>
                  <a:lnTo>
                    <a:pt x="212" y="3"/>
                  </a:lnTo>
                  <a:lnTo>
                    <a:pt x="210" y="1"/>
                  </a:lnTo>
                  <a:lnTo>
                    <a:pt x="207"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54" name="Freeform 353">
              <a:extLst>
                <a:ext uri="{FF2B5EF4-FFF2-40B4-BE49-F238E27FC236}">
                  <a16:creationId xmlns:a16="http://schemas.microsoft.com/office/drawing/2014/main" id="{C169358B-E013-4880-815F-2740E94DD6B5}"/>
                </a:ext>
              </a:extLst>
            </p:cNvPr>
            <p:cNvSpPr>
              <a:spLocks/>
            </p:cNvSpPr>
            <p:nvPr/>
          </p:nvSpPr>
          <p:spPr bwMode="auto">
            <a:xfrm>
              <a:off x="8228013" y="2695575"/>
              <a:ext cx="46038" cy="9525"/>
            </a:xfrm>
            <a:custGeom>
              <a:avLst/>
              <a:gdLst>
                <a:gd name="T0" fmla="*/ 129 w 143"/>
                <a:gd name="T1" fmla="*/ 29 h 29"/>
                <a:gd name="T2" fmla="*/ 132 w 143"/>
                <a:gd name="T3" fmla="*/ 29 h 29"/>
                <a:gd name="T4" fmla="*/ 134 w 143"/>
                <a:gd name="T5" fmla="*/ 28 h 29"/>
                <a:gd name="T6" fmla="*/ 137 w 143"/>
                <a:gd name="T7" fmla="*/ 27 h 29"/>
                <a:gd name="T8" fmla="*/ 139 w 143"/>
                <a:gd name="T9" fmla="*/ 26 h 29"/>
                <a:gd name="T10" fmla="*/ 140 w 143"/>
                <a:gd name="T11" fmla="*/ 23 h 29"/>
                <a:gd name="T12" fmla="*/ 142 w 143"/>
                <a:gd name="T13" fmla="*/ 21 h 29"/>
                <a:gd name="T14" fmla="*/ 143 w 143"/>
                <a:gd name="T15" fmla="*/ 18 h 29"/>
                <a:gd name="T16" fmla="*/ 143 w 143"/>
                <a:gd name="T17" fmla="*/ 14 h 29"/>
                <a:gd name="T18" fmla="*/ 143 w 143"/>
                <a:gd name="T19" fmla="*/ 12 h 29"/>
                <a:gd name="T20" fmla="*/ 142 w 143"/>
                <a:gd name="T21" fmla="*/ 9 h 29"/>
                <a:gd name="T22" fmla="*/ 140 w 143"/>
                <a:gd name="T23" fmla="*/ 7 h 29"/>
                <a:gd name="T24" fmla="*/ 139 w 143"/>
                <a:gd name="T25" fmla="*/ 5 h 29"/>
                <a:gd name="T26" fmla="*/ 137 w 143"/>
                <a:gd name="T27" fmla="*/ 3 h 29"/>
                <a:gd name="T28" fmla="*/ 134 w 143"/>
                <a:gd name="T29" fmla="*/ 2 h 29"/>
                <a:gd name="T30" fmla="*/ 132 w 143"/>
                <a:gd name="T31" fmla="*/ 1 h 29"/>
                <a:gd name="T32" fmla="*/ 129 w 143"/>
                <a:gd name="T33" fmla="*/ 0 h 29"/>
                <a:gd name="T34" fmla="*/ 15 w 143"/>
                <a:gd name="T35" fmla="*/ 0 h 29"/>
                <a:gd name="T36" fmla="*/ 12 w 143"/>
                <a:gd name="T37" fmla="*/ 1 h 29"/>
                <a:gd name="T38" fmla="*/ 9 w 143"/>
                <a:gd name="T39" fmla="*/ 2 h 29"/>
                <a:gd name="T40" fmla="*/ 7 w 143"/>
                <a:gd name="T41" fmla="*/ 3 h 29"/>
                <a:gd name="T42" fmla="*/ 4 w 143"/>
                <a:gd name="T43" fmla="*/ 5 h 29"/>
                <a:gd name="T44" fmla="*/ 2 w 143"/>
                <a:gd name="T45" fmla="*/ 7 h 29"/>
                <a:gd name="T46" fmla="*/ 1 w 143"/>
                <a:gd name="T47" fmla="*/ 9 h 29"/>
                <a:gd name="T48" fmla="*/ 0 w 143"/>
                <a:gd name="T49" fmla="*/ 12 h 29"/>
                <a:gd name="T50" fmla="*/ 0 w 143"/>
                <a:gd name="T51" fmla="*/ 14 h 29"/>
                <a:gd name="T52" fmla="*/ 0 w 143"/>
                <a:gd name="T53" fmla="*/ 18 h 29"/>
                <a:gd name="T54" fmla="*/ 1 w 143"/>
                <a:gd name="T55" fmla="*/ 21 h 29"/>
                <a:gd name="T56" fmla="*/ 2 w 143"/>
                <a:gd name="T57" fmla="*/ 23 h 29"/>
                <a:gd name="T58" fmla="*/ 4 w 143"/>
                <a:gd name="T59" fmla="*/ 26 h 29"/>
                <a:gd name="T60" fmla="*/ 7 w 143"/>
                <a:gd name="T61" fmla="*/ 27 h 29"/>
                <a:gd name="T62" fmla="*/ 9 w 143"/>
                <a:gd name="T63" fmla="*/ 28 h 29"/>
                <a:gd name="T64" fmla="*/ 12 w 143"/>
                <a:gd name="T65" fmla="*/ 29 h 29"/>
                <a:gd name="T66" fmla="*/ 15 w 143"/>
                <a:gd name="T67" fmla="*/ 29 h 29"/>
                <a:gd name="T68" fmla="*/ 129 w 143"/>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 h="29">
                  <a:moveTo>
                    <a:pt x="129" y="29"/>
                  </a:moveTo>
                  <a:lnTo>
                    <a:pt x="132" y="29"/>
                  </a:lnTo>
                  <a:lnTo>
                    <a:pt x="134" y="28"/>
                  </a:lnTo>
                  <a:lnTo>
                    <a:pt x="137" y="27"/>
                  </a:lnTo>
                  <a:lnTo>
                    <a:pt x="139" y="26"/>
                  </a:lnTo>
                  <a:lnTo>
                    <a:pt x="140" y="23"/>
                  </a:lnTo>
                  <a:lnTo>
                    <a:pt x="142" y="21"/>
                  </a:lnTo>
                  <a:lnTo>
                    <a:pt x="143" y="18"/>
                  </a:lnTo>
                  <a:lnTo>
                    <a:pt x="143" y="14"/>
                  </a:lnTo>
                  <a:lnTo>
                    <a:pt x="143" y="12"/>
                  </a:lnTo>
                  <a:lnTo>
                    <a:pt x="142" y="9"/>
                  </a:lnTo>
                  <a:lnTo>
                    <a:pt x="140" y="7"/>
                  </a:lnTo>
                  <a:lnTo>
                    <a:pt x="139" y="5"/>
                  </a:lnTo>
                  <a:lnTo>
                    <a:pt x="137" y="3"/>
                  </a:lnTo>
                  <a:lnTo>
                    <a:pt x="134" y="2"/>
                  </a:lnTo>
                  <a:lnTo>
                    <a:pt x="132" y="1"/>
                  </a:lnTo>
                  <a:lnTo>
                    <a:pt x="129" y="0"/>
                  </a:lnTo>
                  <a:lnTo>
                    <a:pt x="15" y="0"/>
                  </a:lnTo>
                  <a:lnTo>
                    <a:pt x="12" y="1"/>
                  </a:lnTo>
                  <a:lnTo>
                    <a:pt x="9" y="2"/>
                  </a:lnTo>
                  <a:lnTo>
                    <a:pt x="7" y="3"/>
                  </a:lnTo>
                  <a:lnTo>
                    <a:pt x="4" y="5"/>
                  </a:lnTo>
                  <a:lnTo>
                    <a:pt x="2" y="7"/>
                  </a:lnTo>
                  <a:lnTo>
                    <a:pt x="1" y="9"/>
                  </a:lnTo>
                  <a:lnTo>
                    <a:pt x="0" y="12"/>
                  </a:lnTo>
                  <a:lnTo>
                    <a:pt x="0" y="14"/>
                  </a:lnTo>
                  <a:lnTo>
                    <a:pt x="0" y="18"/>
                  </a:lnTo>
                  <a:lnTo>
                    <a:pt x="1" y="21"/>
                  </a:lnTo>
                  <a:lnTo>
                    <a:pt x="2" y="23"/>
                  </a:lnTo>
                  <a:lnTo>
                    <a:pt x="4" y="26"/>
                  </a:lnTo>
                  <a:lnTo>
                    <a:pt x="7" y="27"/>
                  </a:lnTo>
                  <a:lnTo>
                    <a:pt x="9" y="28"/>
                  </a:lnTo>
                  <a:lnTo>
                    <a:pt x="12" y="29"/>
                  </a:lnTo>
                  <a:lnTo>
                    <a:pt x="15" y="29"/>
                  </a:lnTo>
                  <a:lnTo>
                    <a:pt x="129"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sp>
        <p:nvSpPr>
          <p:cNvPr id="55" name="TextBox 54">
            <a:extLst>
              <a:ext uri="{FF2B5EF4-FFF2-40B4-BE49-F238E27FC236}">
                <a16:creationId xmlns:a16="http://schemas.microsoft.com/office/drawing/2014/main" id="{AA702585-C9B1-4AC8-8FDF-235643F50FDC}"/>
              </a:ext>
            </a:extLst>
          </p:cNvPr>
          <p:cNvSpPr txBox="1"/>
          <p:nvPr/>
        </p:nvSpPr>
        <p:spPr>
          <a:xfrm>
            <a:off x="2870755" y="2944096"/>
            <a:ext cx="3579687" cy="492443"/>
          </a:xfrm>
          <a:prstGeom prst="rect">
            <a:avLst/>
          </a:prstGeom>
          <a:noFill/>
          <a:ln>
            <a:noFill/>
          </a:ln>
        </p:spPr>
        <p:txBody>
          <a:bodyPr wrap="square" lIns="0" tIns="0" rIns="0" bIns="0" rtlCol="0" anchor="t">
            <a:spAutoFit/>
          </a:bodyPr>
          <a:lstStyle/>
          <a:p>
            <a:pPr>
              <a:buClr>
                <a:schemeClr val="accent1"/>
              </a:buClr>
            </a:pPr>
            <a:r>
              <a:rPr lang="en-US" sz="3200" dirty="0">
                <a:solidFill>
                  <a:schemeClr val="tx1">
                    <a:lumMod val="75000"/>
                    <a:lumOff val="25000"/>
                  </a:schemeClr>
                </a:solidFill>
              </a:rPr>
              <a:t>Lorem ipsum</a:t>
            </a:r>
          </a:p>
        </p:txBody>
      </p:sp>
      <p:sp>
        <p:nvSpPr>
          <p:cNvPr id="56" name="TextBox 55">
            <a:extLst>
              <a:ext uri="{FF2B5EF4-FFF2-40B4-BE49-F238E27FC236}">
                <a16:creationId xmlns:a16="http://schemas.microsoft.com/office/drawing/2014/main" id="{E7AB238D-2033-48F1-9946-8C30CFBCB309}"/>
              </a:ext>
            </a:extLst>
          </p:cNvPr>
          <p:cNvSpPr txBox="1"/>
          <p:nvPr/>
        </p:nvSpPr>
        <p:spPr>
          <a:xfrm>
            <a:off x="7899131" y="2944096"/>
            <a:ext cx="3579687" cy="492443"/>
          </a:xfrm>
          <a:prstGeom prst="rect">
            <a:avLst/>
          </a:prstGeom>
          <a:noFill/>
          <a:ln>
            <a:noFill/>
          </a:ln>
        </p:spPr>
        <p:txBody>
          <a:bodyPr wrap="square" lIns="0" tIns="0" rIns="0" bIns="0" rtlCol="0" anchor="t">
            <a:spAutoFit/>
          </a:bodyPr>
          <a:lstStyle/>
          <a:p>
            <a:pPr>
              <a:buClr>
                <a:schemeClr val="accent1"/>
              </a:buClr>
            </a:pPr>
            <a:r>
              <a:rPr lang="en-US" sz="3200" dirty="0">
                <a:solidFill>
                  <a:schemeClr val="tx1">
                    <a:lumMod val="75000"/>
                    <a:lumOff val="25000"/>
                  </a:schemeClr>
                </a:solidFill>
              </a:rPr>
              <a:t>Lorem ipsum</a:t>
            </a:r>
          </a:p>
        </p:txBody>
      </p:sp>
      <p:sp>
        <p:nvSpPr>
          <p:cNvPr id="57" name="TextBox 56">
            <a:extLst>
              <a:ext uri="{FF2B5EF4-FFF2-40B4-BE49-F238E27FC236}">
                <a16:creationId xmlns:a16="http://schemas.microsoft.com/office/drawing/2014/main" id="{D3925331-2E01-430C-8137-B551418C305B}"/>
              </a:ext>
            </a:extLst>
          </p:cNvPr>
          <p:cNvSpPr txBox="1"/>
          <p:nvPr/>
        </p:nvSpPr>
        <p:spPr>
          <a:xfrm>
            <a:off x="12915551" y="2944096"/>
            <a:ext cx="3579687" cy="492443"/>
          </a:xfrm>
          <a:prstGeom prst="rect">
            <a:avLst/>
          </a:prstGeom>
          <a:noFill/>
          <a:ln>
            <a:noFill/>
          </a:ln>
        </p:spPr>
        <p:txBody>
          <a:bodyPr wrap="square" lIns="0" tIns="0" rIns="0" bIns="0" rtlCol="0" anchor="t">
            <a:spAutoFit/>
          </a:bodyPr>
          <a:lstStyle/>
          <a:p>
            <a:pPr>
              <a:buClr>
                <a:schemeClr val="accent1"/>
              </a:buClr>
            </a:pPr>
            <a:r>
              <a:rPr lang="en-US" sz="3200" dirty="0">
                <a:solidFill>
                  <a:schemeClr val="tx1">
                    <a:lumMod val="75000"/>
                    <a:lumOff val="25000"/>
                  </a:schemeClr>
                </a:solidFill>
              </a:rPr>
              <a:t>Lorem ipsum</a:t>
            </a:r>
          </a:p>
        </p:txBody>
      </p:sp>
      <p:sp>
        <p:nvSpPr>
          <p:cNvPr id="58" name="TextBox 57">
            <a:extLst>
              <a:ext uri="{FF2B5EF4-FFF2-40B4-BE49-F238E27FC236}">
                <a16:creationId xmlns:a16="http://schemas.microsoft.com/office/drawing/2014/main" id="{F45893B8-43CC-4E02-9992-956EF0E1E703}"/>
              </a:ext>
            </a:extLst>
          </p:cNvPr>
          <p:cNvSpPr txBox="1"/>
          <p:nvPr/>
        </p:nvSpPr>
        <p:spPr>
          <a:xfrm>
            <a:off x="17931970" y="2944096"/>
            <a:ext cx="3579687" cy="492443"/>
          </a:xfrm>
          <a:prstGeom prst="rect">
            <a:avLst/>
          </a:prstGeom>
          <a:noFill/>
          <a:ln>
            <a:noFill/>
          </a:ln>
        </p:spPr>
        <p:txBody>
          <a:bodyPr wrap="square" lIns="0" tIns="0" rIns="0" bIns="0" rtlCol="0" anchor="t">
            <a:spAutoFit/>
          </a:bodyPr>
          <a:lstStyle/>
          <a:p>
            <a:pPr>
              <a:buClr>
                <a:schemeClr val="accent1"/>
              </a:buClr>
            </a:pPr>
            <a:r>
              <a:rPr lang="en-US" sz="3200" dirty="0">
                <a:solidFill>
                  <a:schemeClr val="tx1">
                    <a:lumMod val="75000"/>
                    <a:lumOff val="25000"/>
                  </a:schemeClr>
                </a:solidFill>
              </a:rPr>
              <a:t>Lorem ipsum</a:t>
            </a:r>
          </a:p>
        </p:txBody>
      </p:sp>
      <p:sp>
        <p:nvSpPr>
          <p:cNvPr id="6" name="Title 5">
            <a:extLst>
              <a:ext uri="{FF2B5EF4-FFF2-40B4-BE49-F238E27FC236}">
                <a16:creationId xmlns:a16="http://schemas.microsoft.com/office/drawing/2014/main" id="{D24BD45B-D36E-B148-9F80-03038A86B079}"/>
              </a:ext>
            </a:extLst>
          </p:cNvPr>
          <p:cNvSpPr>
            <a:spLocks noGrp="1"/>
          </p:cNvSpPr>
          <p:nvPr>
            <p:ph type="title"/>
          </p:nvPr>
        </p:nvSpPr>
        <p:spPr/>
        <p:txBody>
          <a:bodyPr/>
          <a:lstStyle/>
          <a:p>
            <a:r>
              <a:rPr lang="en-US" dirty="0"/>
              <a:t>Process</a:t>
            </a:r>
          </a:p>
        </p:txBody>
      </p:sp>
    </p:spTree>
    <p:extLst>
      <p:ext uri="{BB962C8B-B14F-4D97-AF65-F5344CB8AC3E}">
        <p14:creationId xmlns:p14="http://schemas.microsoft.com/office/powerpoint/2010/main" val="185251271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4EC3494-DFAD-4843-B673-A6EB899FB325}"/>
              </a:ext>
            </a:extLst>
          </p:cNvPr>
          <p:cNvSpPr>
            <a:spLocks noGrp="1"/>
          </p:cNvSpPr>
          <p:nvPr>
            <p:ph type="title"/>
          </p:nvPr>
        </p:nvSpPr>
        <p:spPr/>
        <p:txBody>
          <a:bodyPr/>
          <a:lstStyle/>
          <a:p>
            <a:r>
              <a:rPr lang="en-US" dirty="0"/>
              <a:t>Stat diagram</a:t>
            </a:r>
          </a:p>
        </p:txBody>
      </p:sp>
      <p:grpSp>
        <p:nvGrpSpPr>
          <p:cNvPr id="87" name="Group 86"/>
          <p:cNvGrpSpPr/>
          <p:nvPr/>
        </p:nvGrpSpPr>
        <p:grpSpPr>
          <a:xfrm>
            <a:off x="8073503" y="3362543"/>
            <a:ext cx="8857673" cy="8860849"/>
            <a:chOff x="2236788" y="1781175"/>
            <a:chExt cx="4429125" cy="4430713"/>
          </a:xfrm>
          <a:solidFill>
            <a:srgbClr val="FEA34F"/>
          </a:solidFill>
          <a:effectLst>
            <a:outerShdw blurRad="38100" dist="25400" dir="5400000" algn="ctr" rotWithShape="0">
              <a:srgbClr val="000000">
                <a:alpha val="20000"/>
              </a:srgbClr>
            </a:outerShdw>
          </a:effectLst>
        </p:grpSpPr>
        <p:sp>
          <p:nvSpPr>
            <p:cNvPr id="88" name="Freeform 5"/>
            <p:cNvSpPr>
              <a:spLocks/>
            </p:cNvSpPr>
            <p:nvPr/>
          </p:nvSpPr>
          <p:spPr bwMode="auto">
            <a:xfrm>
              <a:off x="2555875" y="2081213"/>
              <a:ext cx="458788" cy="458788"/>
            </a:xfrm>
            <a:custGeom>
              <a:avLst/>
              <a:gdLst>
                <a:gd name="T0" fmla="*/ 250 w 289"/>
                <a:gd name="T1" fmla="*/ 289 h 289"/>
                <a:gd name="T2" fmla="*/ 0 w 289"/>
                <a:gd name="T3" fmla="*/ 38 h 289"/>
                <a:gd name="T4" fmla="*/ 38 w 289"/>
                <a:gd name="T5" fmla="*/ 0 h 289"/>
                <a:gd name="T6" fmla="*/ 289 w 289"/>
                <a:gd name="T7" fmla="*/ 250 h 289"/>
                <a:gd name="T8" fmla="*/ 250 w 289"/>
                <a:gd name="T9" fmla="*/ 289 h 289"/>
              </a:gdLst>
              <a:ahLst/>
              <a:cxnLst>
                <a:cxn ang="0">
                  <a:pos x="T0" y="T1"/>
                </a:cxn>
                <a:cxn ang="0">
                  <a:pos x="T2" y="T3"/>
                </a:cxn>
                <a:cxn ang="0">
                  <a:pos x="T4" y="T5"/>
                </a:cxn>
                <a:cxn ang="0">
                  <a:pos x="T6" y="T7"/>
                </a:cxn>
                <a:cxn ang="0">
                  <a:pos x="T8" y="T9"/>
                </a:cxn>
              </a:cxnLst>
              <a:rect l="0" t="0" r="r" b="b"/>
              <a:pathLst>
                <a:path w="289" h="289">
                  <a:moveTo>
                    <a:pt x="250" y="289"/>
                  </a:moveTo>
                  <a:lnTo>
                    <a:pt x="0" y="38"/>
                  </a:lnTo>
                  <a:lnTo>
                    <a:pt x="38" y="0"/>
                  </a:lnTo>
                  <a:lnTo>
                    <a:pt x="289" y="250"/>
                  </a:lnTo>
                  <a:lnTo>
                    <a:pt x="250" y="28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89" name="Freeform 6"/>
            <p:cNvSpPr>
              <a:spLocks/>
            </p:cNvSpPr>
            <p:nvPr/>
          </p:nvSpPr>
          <p:spPr bwMode="auto">
            <a:xfrm>
              <a:off x="2482850" y="2008188"/>
              <a:ext cx="215900" cy="215900"/>
            </a:xfrm>
            <a:custGeom>
              <a:avLst/>
              <a:gdLst>
                <a:gd name="T0" fmla="*/ 78 w 95"/>
                <a:gd name="T1" fmla="*/ 17 h 95"/>
                <a:gd name="T2" fmla="*/ 17 w 95"/>
                <a:gd name="T3" fmla="*/ 17 h 95"/>
                <a:gd name="T4" fmla="*/ 17 w 95"/>
                <a:gd name="T5" fmla="*/ 78 h 95"/>
                <a:gd name="T6" fmla="*/ 78 w 95"/>
                <a:gd name="T7" fmla="*/ 78 h 95"/>
                <a:gd name="T8" fmla="*/ 78 w 95"/>
                <a:gd name="T9" fmla="*/ 17 h 95"/>
              </a:gdLst>
              <a:ahLst/>
              <a:cxnLst>
                <a:cxn ang="0">
                  <a:pos x="T0" y="T1"/>
                </a:cxn>
                <a:cxn ang="0">
                  <a:pos x="T2" y="T3"/>
                </a:cxn>
                <a:cxn ang="0">
                  <a:pos x="T4" y="T5"/>
                </a:cxn>
                <a:cxn ang="0">
                  <a:pos x="T6" y="T7"/>
                </a:cxn>
                <a:cxn ang="0">
                  <a:pos x="T8" y="T9"/>
                </a:cxn>
              </a:cxnLst>
              <a:rect l="0" t="0" r="r" b="b"/>
              <a:pathLst>
                <a:path w="95" h="95">
                  <a:moveTo>
                    <a:pt x="78" y="17"/>
                  </a:moveTo>
                  <a:cubicBezTo>
                    <a:pt x="61" y="0"/>
                    <a:pt x="34" y="0"/>
                    <a:pt x="17" y="17"/>
                  </a:cubicBezTo>
                  <a:cubicBezTo>
                    <a:pt x="0" y="34"/>
                    <a:pt x="0" y="61"/>
                    <a:pt x="17" y="78"/>
                  </a:cubicBezTo>
                  <a:cubicBezTo>
                    <a:pt x="34" y="95"/>
                    <a:pt x="61" y="95"/>
                    <a:pt x="78" y="78"/>
                  </a:cubicBezTo>
                  <a:cubicBezTo>
                    <a:pt x="95" y="61"/>
                    <a:pt x="95" y="34"/>
                    <a:pt x="78" y="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90" name="Freeform 9"/>
            <p:cNvSpPr>
              <a:spLocks/>
            </p:cNvSpPr>
            <p:nvPr/>
          </p:nvSpPr>
          <p:spPr bwMode="auto">
            <a:xfrm>
              <a:off x="2236788" y="1781175"/>
              <a:ext cx="4429125" cy="4430713"/>
            </a:xfrm>
            <a:custGeom>
              <a:avLst/>
              <a:gdLst>
                <a:gd name="T0" fmla="*/ 975 w 1950"/>
                <a:gd name="T1" fmla="*/ 1951 h 1951"/>
                <a:gd name="T2" fmla="*/ 285 w 1950"/>
                <a:gd name="T3" fmla="*/ 1665 h 1951"/>
                <a:gd name="T4" fmla="*/ 0 w 1950"/>
                <a:gd name="T5" fmla="*/ 976 h 1951"/>
                <a:gd name="T6" fmla="*/ 285 w 1950"/>
                <a:gd name="T7" fmla="*/ 286 h 1951"/>
                <a:gd name="T8" fmla="*/ 975 w 1950"/>
                <a:gd name="T9" fmla="*/ 0 h 1951"/>
                <a:gd name="T10" fmla="*/ 1019 w 1950"/>
                <a:gd name="T11" fmla="*/ 44 h 1951"/>
                <a:gd name="T12" fmla="*/ 975 w 1950"/>
                <a:gd name="T13" fmla="*/ 89 h 1951"/>
                <a:gd name="T14" fmla="*/ 348 w 1950"/>
                <a:gd name="T15" fmla="*/ 348 h 1951"/>
                <a:gd name="T16" fmla="*/ 88 w 1950"/>
                <a:gd name="T17" fmla="*/ 976 h 1951"/>
                <a:gd name="T18" fmla="*/ 348 w 1950"/>
                <a:gd name="T19" fmla="*/ 1603 h 1951"/>
                <a:gd name="T20" fmla="*/ 975 w 1950"/>
                <a:gd name="T21" fmla="*/ 1862 h 1951"/>
                <a:gd name="T22" fmla="*/ 1602 w 1950"/>
                <a:gd name="T23" fmla="*/ 1603 h 1951"/>
                <a:gd name="T24" fmla="*/ 1862 w 1950"/>
                <a:gd name="T25" fmla="*/ 976 h 1951"/>
                <a:gd name="T26" fmla="*/ 1906 w 1950"/>
                <a:gd name="T27" fmla="*/ 931 h 1951"/>
                <a:gd name="T28" fmla="*/ 1950 w 1950"/>
                <a:gd name="T29" fmla="*/ 976 h 1951"/>
                <a:gd name="T30" fmla="*/ 1665 w 1950"/>
                <a:gd name="T31" fmla="*/ 1665 h 1951"/>
                <a:gd name="T32" fmla="*/ 975 w 1950"/>
                <a:gd name="T33" fmla="*/ 1951 h 1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0" h="1951">
                  <a:moveTo>
                    <a:pt x="975" y="1951"/>
                  </a:moveTo>
                  <a:cubicBezTo>
                    <a:pt x="715" y="1951"/>
                    <a:pt x="470" y="1849"/>
                    <a:pt x="285" y="1665"/>
                  </a:cubicBezTo>
                  <a:cubicBezTo>
                    <a:pt x="101" y="1481"/>
                    <a:pt x="0" y="1236"/>
                    <a:pt x="0" y="976"/>
                  </a:cubicBezTo>
                  <a:cubicBezTo>
                    <a:pt x="0" y="715"/>
                    <a:pt x="101" y="470"/>
                    <a:pt x="285" y="286"/>
                  </a:cubicBezTo>
                  <a:cubicBezTo>
                    <a:pt x="470" y="102"/>
                    <a:pt x="715" y="0"/>
                    <a:pt x="975" y="0"/>
                  </a:cubicBezTo>
                  <a:cubicBezTo>
                    <a:pt x="1000" y="0"/>
                    <a:pt x="1019" y="20"/>
                    <a:pt x="1019" y="44"/>
                  </a:cubicBezTo>
                  <a:cubicBezTo>
                    <a:pt x="1019" y="69"/>
                    <a:pt x="1000" y="89"/>
                    <a:pt x="975" y="89"/>
                  </a:cubicBezTo>
                  <a:cubicBezTo>
                    <a:pt x="738" y="89"/>
                    <a:pt x="516" y="181"/>
                    <a:pt x="348" y="348"/>
                  </a:cubicBezTo>
                  <a:cubicBezTo>
                    <a:pt x="181" y="516"/>
                    <a:pt x="88" y="739"/>
                    <a:pt x="88" y="976"/>
                  </a:cubicBezTo>
                  <a:cubicBezTo>
                    <a:pt x="88" y="1212"/>
                    <a:pt x="181" y="1435"/>
                    <a:pt x="348" y="1603"/>
                  </a:cubicBezTo>
                  <a:cubicBezTo>
                    <a:pt x="516" y="1770"/>
                    <a:pt x="738" y="1862"/>
                    <a:pt x="975" y="1862"/>
                  </a:cubicBezTo>
                  <a:cubicBezTo>
                    <a:pt x="1212" y="1862"/>
                    <a:pt x="1435" y="1770"/>
                    <a:pt x="1602" y="1603"/>
                  </a:cubicBezTo>
                  <a:cubicBezTo>
                    <a:pt x="1770" y="1435"/>
                    <a:pt x="1862" y="1212"/>
                    <a:pt x="1862" y="976"/>
                  </a:cubicBezTo>
                  <a:cubicBezTo>
                    <a:pt x="1862" y="951"/>
                    <a:pt x="1882" y="931"/>
                    <a:pt x="1906" y="931"/>
                  </a:cubicBezTo>
                  <a:cubicBezTo>
                    <a:pt x="1931" y="931"/>
                    <a:pt x="1950" y="951"/>
                    <a:pt x="1950" y="976"/>
                  </a:cubicBezTo>
                  <a:cubicBezTo>
                    <a:pt x="1950" y="1236"/>
                    <a:pt x="1849" y="1481"/>
                    <a:pt x="1665" y="1665"/>
                  </a:cubicBezTo>
                  <a:cubicBezTo>
                    <a:pt x="1481" y="1849"/>
                    <a:pt x="1236" y="1951"/>
                    <a:pt x="975" y="1951"/>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grpSp>
      <p:grpSp>
        <p:nvGrpSpPr>
          <p:cNvPr id="91" name="Group 90"/>
          <p:cNvGrpSpPr/>
          <p:nvPr/>
        </p:nvGrpSpPr>
        <p:grpSpPr>
          <a:xfrm>
            <a:off x="9718046" y="3965750"/>
            <a:ext cx="6613095" cy="6590871"/>
            <a:chOff x="3059113" y="2082800"/>
            <a:chExt cx="3306763" cy="3295650"/>
          </a:xfrm>
          <a:solidFill>
            <a:schemeClr val="accent1">
              <a:lumMod val="60000"/>
              <a:lumOff val="40000"/>
            </a:schemeClr>
          </a:solidFill>
          <a:effectLst>
            <a:outerShdw blurRad="38100" dist="25400" dir="5400000" algn="ctr" rotWithShape="0">
              <a:srgbClr val="000000">
                <a:alpha val="20000"/>
              </a:srgbClr>
            </a:outerShdw>
          </a:effectLst>
        </p:grpSpPr>
        <p:sp>
          <p:nvSpPr>
            <p:cNvPr id="92" name="Freeform 7"/>
            <p:cNvSpPr>
              <a:spLocks/>
            </p:cNvSpPr>
            <p:nvPr/>
          </p:nvSpPr>
          <p:spPr bwMode="auto">
            <a:xfrm>
              <a:off x="5705475" y="2265363"/>
              <a:ext cx="458788" cy="458788"/>
            </a:xfrm>
            <a:custGeom>
              <a:avLst/>
              <a:gdLst>
                <a:gd name="T0" fmla="*/ 38 w 289"/>
                <a:gd name="T1" fmla="*/ 289 h 289"/>
                <a:gd name="T2" fmla="*/ 0 w 289"/>
                <a:gd name="T3" fmla="*/ 250 h 289"/>
                <a:gd name="T4" fmla="*/ 249 w 289"/>
                <a:gd name="T5" fmla="*/ 0 h 289"/>
                <a:gd name="T6" fmla="*/ 289 w 289"/>
                <a:gd name="T7" fmla="*/ 40 h 289"/>
                <a:gd name="T8" fmla="*/ 38 w 289"/>
                <a:gd name="T9" fmla="*/ 289 h 289"/>
              </a:gdLst>
              <a:ahLst/>
              <a:cxnLst>
                <a:cxn ang="0">
                  <a:pos x="T0" y="T1"/>
                </a:cxn>
                <a:cxn ang="0">
                  <a:pos x="T2" y="T3"/>
                </a:cxn>
                <a:cxn ang="0">
                  <a:pos x="T4" y="T5"/>
                </a:cxn>
                <a:cxn ang="0">
                  <a:pos x="T6" y="T7"/>
                </a:cxn>
                <a:cxn ang="0">
                  <a:pos x="T8" y="T9"/>
                </a:cxn>
              </a:cxnLst>
              <a:rect l="0" t="0" r="r" b="b"/>
              <a:pathLst>
                <a:path w="289" h="289">
                  <a:moveTo>
                    <a:pt x="38" y="289"/>
                  </a:moveTo>
                  <a:lnTo>
                    <a:pt x="0" y="250"/>
                  </a:lnTo>
                  <a:lnTo>
                    <a:pt x="249" y="0"/>
                  </a:lnTo>
                  <a:lnTo>
                    <a:pt x="289" y="40"/>
                  </a:lnTo>
                  <a:lnTo>
                    <a:pt x="38"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93" name="Freeform 8"/>
            <p:cNvSpPr>
              <a:spLocks/>
            </p:cNvSpPr>
            <p:nvPr/>
          </p:nvSpPr>
          <p:spPr bwMode="auto">
            <a:xfrm>
              <a:off x="6021388" y="2192338"/>
              <a:ext cx="215900" cy="215900"/>
            </a:xfrm>
            <a:custGeom>
              <a:avLst/>
              <a:gdLst>
                <a:gd name="T0" fmla="*/ 78 w 95"/>
                <a:gd name="T1" fmla="*/ 78 h 95"/>
                <a:gd name="T2" fmla="*/ 78 w 95"/>
                <a:gd name="T3" fmla="*/ 17 h 95"/>
                <a:gd name="T4" fmla="*/ 17 w 95"/>
                <a:gd name="T5" fmla="*/ 17 h 95"/>
                <a:gd name="T6" fmla="*/ 17 w 95"/>
                <a:gd name="T7" fmla="*/ 78 h 95"/>
                <a:gd name="T8" fmla="*/ 78 w 95"/>
                <a:gd name="T9" fmla="*/ 78 h 95"/>
              </a:gdLst>
              <a:ahLst/>
              <a:cxnLst>
                <a:cxn ang="0">
                  <a:pos x="T0" y="T1"/>
                </a:cxn>
                <a:cxn ang="0">
                  <a:pos x="T2" y="T3"/>
                </a:cxn>
                <a:cxn ang="0">
                  <a:pos x="T4" y="T5"/>
                </a:cxn>
                <a:cxn ang="0">
                  <a:pos x="T6" y="T7"/>
                </a:cxn>
                <a:cxn ang="0">
                  <a:pos x="T8" y="T9"/>
                </a:cxn>
              </a:cxnLst>
              <a:rect l="0" t="0" r="r" b="b"/>
              <a:pathLst>
                <a:path w="95" h="95">
                  <a:moveTo>
                    <a:pt x="78" y="78"/>
                  </a:moveTo>
                  <a:cubicBezTo>
                    <a:pt x="95" y="61"/>
                    <a:pt x="95" y="34"/>
                    <a:pt x="78" y="17"/>
                  </a:cubicBezTo>
                  <a:cubicBezTo>
                    <a:pt x="61" y="0"/>
                    <a:pt x="34" y="0"/>
                    <a:pt x="17" y="17"/>
                  </a:cubicBezTo>
                  <a:cubicBezTo>
                    <a:pt x="0" y="34"/>
                    <a:pt x="0" y="61"/>
                    <a:pt x="17" y="78"/>
                  </a:cubicBezTo>
                  <a:cubicBezTo>
                    <a:pt x="34" y="95"/>
                    <a:pt x="61" y="95"/>
                    <a:pt x="78"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94" name="Freeform 10"/>
            <p:cNvSpPr>
              <a:spLocks/>
            </p:cNvSpPr>
            <p:nvPr/>
          </p:nvSpPr>
          <p:spPr bwMode="auto">
            <a:xfrm>
              <a:off x="3059113" y="2082800"/>
              <a:ext cx="3306763" cy="3295650"/>
            </a:xfrm>
            <a:custGeom>
              <a:avLst/>
              <a:gdLst>
                <a:gd name="T0" fmla="*/ 1178 w 1456"/>
                <a:gd name="T1" fmla="*/ 1451 h 1451"/>
                <a:gd name="T2" fmla="*/ 1146 w 1456"/>
                <a:gd name="T3" fmla="*/ 1438 h 1451"/>
                <a:gd name="T4" fmla="*/ 1146 w 1456"/>
                <a:gd name="T5" fmla="*/ 1376 h 1451"/>
                <a:gd name="T6" fmla="*/ 1367 w 1456"/>
                <a:gd name="T7" fmla="*/ 843 h 1451"/>
                <a:gd name="T8" fmla="*/ 1146 w 1456"/>
                <a:gd name="T9" fmla="*/ 309 h 1451"/>
                <a:gd name="T10" fmla="*/ 613 w 1456"/>
                <a:gd name="T11" fmla="*/ 88 h 1451"/>
                <a:gd name="T12" fmla="*/ 80 w 1456"/>
                <a:gd name="T13" fmla="*/ 309 h 1451"/>
                <a:gd name="T14" fmla="*/ 17 w 1456"/>
                <a:gd name="T15" fmla="*/ 309 h 1451"/>
                <a:gd name="T16" fmla="*/ 17 w 1456"/>
                <a:gd name="T17" fmla="*/ 247 h 1451"/>
                <a:gd name="T18" fmla="*/ 613 w 1456"/>
                <a:gd name="T19" fmla="*/ 0 h 1451"/>
                <a:gd name="T20" fmla="*/ 1209 w 1456"/>
                <a:gd name="T21" fmla="*/ 247 h 1451"/>
                <a:gd name="T22" fmla="*/ 1456 w 1456"/>
                <a:gd name="T23" fmla="*/ 843 h 1451"/>
                <a:gd name="T24" fmla="*/ 1209 w 1456"/>
                <a:gd name="T25" fmla="*/ 1438 h 1451"/>
                <a:gd name="T26" fmla="*/ 1178 w 1456"/>
                <a:gd name="T27" fmla="*/ 1451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56" h="1451">
                  <a:moveTo>
                    <a:pt x="1178" y="1451"/>
                  </a:moveTo>
                  <a:cubicBezTo>
                    <a:pt x="1166" y="1451"/>
                    <a:pt x="1155" y="1447"/>
                    <a:pt x="1146" y="1438"/>
                  </a:cubicBezTo>
                  <a:cubicBezTo>
                    <a:pt x="1129" y="1421"/>
                    <a:pt x="1129" y="1393"/>
                    <a:pt x="1146" y="1376"/>
                  </a:cubicBezTo>
                  <a:cubicBezTo>
                    <a:pt x="1289" y="1233"/>
                    <a:pt x="1367" y="1044"/>
                    <a:pt x="1367" y="843"/>
                  </a:cubicBezTo>
                  <a:cubicBezTo>
                    <a:pt x="1367" y="641"/>
                    <a:pt x="1289" y="452"/>
                    <a:pt x="1146" y="309"/>
                  </a:cubicBezTo>
                  <a:cubicBezTo>
                    <a:pt x="1004" y="167"/>
                    <a:pt x="814" y="88"/>
                    <a:pt x="613" y="88"/>
                  </a:cubicBezTo>
                  <a:cubicBezTo>
                    <a:pt x="412" y="88"/>
                    <a:pt x="222" y="167"/>
                    <a:pt x="80" y="309"/>
                  </a:cubicBezTo>
                  <a:cubicBezTo>
                    <a:pt x="63" y="327"/>
                    <a:pt x="35" y="327"/>
                    <a:pt x="17" y="309"/>
                  </a:cubicBezTo>
                  <a:cubicBezTo>
                    <a:pt x="0" y="292"/>
                    <a:pt x="0" y="264"/>
                    <a:pt x="17" y="247"/>
                  </a:cubicBezTo>
                  <a:cubicBezTo>
                    <a:pt x="176" y="88"/>
                    <a:pt x="388" y="0"/>
                    <a:pt x="613" y="0"/>
                  </a:cubicBezTo>
                  <a:cubicBezTo>
                    <a:pt x="838" y="0"/>
                    <a:pt x="1050" y="88"/>
                    <a:pt x="1209" y="247"/>
                  </a:cubicBezTo>
                  <a:cubicBezTo>
                    <a:pt x="1368" y="406"/>
                    <a:pt x="1456" y="617"/>
                    <a:pt x="1456" y="843"/>
                  </a:cubicBezTo>
                  <a:cubicBezTo>
                    <a:pt x="1456" y="1068"/>
                    <a:pt x="1368" y="1279"/>
                    <a:pt x="1209" y="1438"/>
                  </a:cubicBezTo>
                  <a:cubicBezTo>
                    <a:pt x="1200" y="1447"/>
                    <a:pt x="1189" y="1451"/>
                    <a:pt x="1178" y="14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grpSp>
      <p:grpSp>
        <p:nvGrpSpPr>
          <p:cNvPr id="134" name="Group 133"/>
          <p:cNvGrpSpPr/>
          <p:nvPr/>
        </p:nvGrpSpPr>
        <p:grpSpPr>
          <a:xfrm>
            <a:off x="2099575" y="2633724"/>
            <a:ext cx="5044072" cy="3421403"/>
            <a:chOff x="6370976" y="1807830"/>
            <a:chExt cx="2522200" cy="1710813"/>
          </a:xfrm>
        </p:grpSpPr>
        <p:sp>
          <p:nvSpPr>
            <p:cNvPr id="135" name="TextBox 134"/>
            <p:cNvSpPr txBox="1"/>
            <p:nvPr/>
          </p:nvSpPr>
          <p:spPr>
            <a:xfrm>
              <a:off x="6370976" y="2333626"/>
              <a:ext cx="2522199" cy="1185017"/>
            </a:xfrm>
            <a:prstGeom prst="rect">
              <a:avLst/>
            </a:prstGeom>
            <a:noFill/>
            <a:ln w="6350">
              <a:noFill/>
              <a:prstDash val="dash"/>
            </a:ln>
          </p:spPr>
          <p:txBody>
            <a:bodyPr wrap="square" lIns="0" tIns="0" rIns="0" bIns="0" rtlCol="0">
              <a:spAutoFit/>
            </a:bodyPr>
            <a:lstStyle/>
            <a:p>
              <a:pPr algn="r"/>
              <a:r>
                <a:rPr lang="en-US" sz="2200" dirty="0">
                  <a:solidFill>
                    <a:prstClr val="black"/>
                  </a:solidFill>
                </a:rPr>
                <a:t>Lorem Ipsum is simply dummy text of the printing and typesetting industry. Lorem Ipsum has been the industry's standard dummy text ever since the 1500s, when an unknown printer took a galley of type and scrambled it to make a type specimen book. </a:t>
              </a:r>
            </a:p>
          </p:txBody>
        </p:sp>
        <p:sp>
          <p:nvSpPr>
            <p:cNvPr id="136" name="TextBox 135"/>
            <p:cNvSpPr txBox="1"/>
            <p:nvPr/>
          </p:nvSpPr>
          <p:spPr>
            <a:xfrm>
              <a:off x="7293632" y="1807830"/>
              <a:ext cx="1599544" cy="492475"/>
            </a:xfrm>
            <a:prstGeom prst="rect">
              <a:avLst/>
            </a:prstGeom>
            <a:noFill/>
            <a:ln w="6350">
              <a:noFill/>
              <a:prstDash val="dash"/>
            </a:ln>
          </p:spPr>
          <p:txBody>
            <a:bodyPr wrap="square" lIns="0" tIns="0" rIns="0" bIns="0" rtlCol="0" anchor="ctr">
              <a:spAutoFit/>
            </a:bodyPr>
            <a:lstStyle/>
            <a:p>
              <a:pPr algn="r"/>
              <a:r>
                <a:rPr lang="en-US" sz="6400" dirty="0">
                  <a:solidFill>
                    <a:schemeClr val="accent3"/>
                  </a:solidFill>
                </a:rPr>
                <a:t>75%</a:t>
              </a:r>
            </a:p>
          </p:txBody>
        </p:sp>
      </p:grpSp>
      <p:grpSp>
        <p:nvGrpSpPr>
          <p:cNvPr id="137" name="Group 136"/>
          <p:cNvGrpSpPr/>
          <p:nvPr/>
        </p:nvGrpSpPr>
        <p:grpSpPr>
          <a:xfrm>
            <a:off x="17257513" y="3160927"/>
            <a:ext cx="4997793" cy="3421373"/>
            <a:chOff x="7293631" y="1807845"/>
            <a:chExt cx="2499059" cy="1710798"/>
          </a:xfrm>
        </p:grpSpPr>
        <p:sp>
          <p:nvSpPr>
            <p:cNvPr id="138" name="TextBox 137"/>
            <p:cNvSpPr txBox="1"/>
            <p:nvPr/>
          </p:nvSpPr>
          <p:spPr>
            <a:xfrm>
              <a:off x="7293631" y="2333626"/>
              <a:ext cx="2499059" cy="1185017"/>
            </a:xfrm>
            <a:prstGeom prst="rect">
              <a:avLst/>
            </a:prstGeom>
            <a:noFill/>
            <a:ln w="6350">
              <a:noFill/>
              <a:prstDash val="dash"/>
            </a:ln>
          </p:spPr>
          <p:txBody>
            <a:bodyPr wrap="square" lIns="0" tIns="0" rIns="0" bIns="0" rtlCol="0">
              <a:spAutoFit/>
            </a:bodyPr>
            <a:lstStyle/>
            <a:p>
              <a:r>
                <a:rPr lang="en-US" sz="2200" dirty="0">
                  <a:solidFill>
                    <a:prstClr val="black"/>
                  </a:solidFill>
                </a:rPr>
                <a:t>Lorem Ipsum is simply dummy text of the printing and typesetting industry. Lorem Ipsum has been the industry's standard dummy text ever since the 1500s, when an unknown printer took a galley of type and scrambled it to make a type specimen book. </a:t>
              </a:r>
            </a:p>
          </p:txBody>
        </p:sp>
        <p:sp>
          <p:nvSpPr>
            <p:cNvPr id="146" name="TextBox 145"/>
            <p:cNvSpPr txBox="1"/>
            <p:nvPr/>
          </p:nvSpPr>
          <p:spPr>
            <a:xfrm>
              <a:off x="7293632" y="1807845"/>
              <a:ext cx="1599544" cy="492475"/>
            </a:xfrm>
            <a:prstGeom prst="rect">
              <a:avLst/>
            </a:prstGeom>
            <a:noFill/>
            <a:ln w="6350">
              <a:noFill/>
              <a:prstDash val="dash"/>
            </a:ln>
          </p:spPr>
          <p:txBody>
            <a:bodyPr wrap="square" lIns="0" tIns="0" rIns="0" bIns="0" rtlCol="0">
              <a:spAutoFit/>
            </a:bodyPr>
            <a:lstStyle/>
            <a:p>
              <a:r>
                <a:rPr lang="en-US" sz="6400" dirty="0">
                  <a:solidFill>
                    <a:schemeClr val="accent1">
                      <a:lumMod val="60000"/>
                      <a:lumOff val="40000"/>
                    </a:schemeClr>
                  </a:solidFill>
                </a:rPr>
                <a:t>50%</a:t>
              </a:r>
            </a:p>
          </p:txBody>
        </p:sp>
      </p:grpSp>
      <p:grpSp>
        <p:nvGrpSpPr>
          <p:cNvPr id="147" name="Group 146"/>
          <p:cNvGrpSpPr/>
          <p:nvPr/>
        </p:nvGrpSpPr>
        <p:grpSpPr>
          <a:xfrm>
            <a:off x="1859000" y="8935518"/>
            <a:ext cx="5115241" cy="3421373"/>
            <a:chOff x="6335389" y="1807845"/>
            <a:chExt cx="2557787" cy="1710798"/>
          </a:xfrm>
        </p:grpSpPr>
        <p:sp>
          <p:nvSpPr>
            <p:cNvPr id="148" name="TextBox 147"/>
            <p:cNvSpPr txBox="1"/>
            <p:nvPr/>
          </p:nvSpPr>
          <p:spPr>
            <a:xfrm>
              <a:off x="6335389" y="2333626"/>
              <a:ext cx="2557787" cy="1185017"/>
            </a:xfrm>
            <a:prstGeom prst="rect">
              <a:avLst/>
            </a:prstGeom>
            <a:noFill/>
            <a:ln w="6350">
              <a:noFill/>
              <a:prstDash val="dash"/>
            </a:ln>
          </p:spPr>
          <p:txBody>
            <a:bodyPr wrap="square" lIns="0" tIns="0" rIns="0" bIns="0" rtlCol="0">
              <a:spAutoFit/>
            </a:bodyPr>
            <a:lstStyle/>
            <a:p>
              <a:pPr algn="r"/>
              <a:r>
                <a:rPr lang="en-US" sz="2200" dirty="0">
                  <a:solidFill>
                    <a:prstClr val="black"/>
                  </a:solidFill>
                </a:rPr>
                <a:t>Lorem Ipsum is simply dummy text of the printing and typesetting industry. Lorem Ipsum has been the industry's standard dummy text ever since the 1500s, when an unknown printer took a galley of type and scrambled it to make a type specimen book. </a:t>
              </a:r>
            </a:p>
          </p:txBody>
        </p:sp>
        <p:sp>
          <p:nvSpPr>
            <p:cNvPr id="149" name="TextBox 148"/>
            <p:cNvSpPr txBox="1"/>
            <p:nvPr/>
          </p:nvSpPr>
          <p:spPr>
            <a:xfrm>
              <a:off x="7293632" y="1807845"/>
              <a:ext cx="1599544" cy="492475"/>
            </a:xfrm>
            <a:prstGeom prst="rect">
              <a:avLst/>
            </a:prstGeom>
            <a:noFill/>
            <a:ln w="6350">
              <a:noFill/>
              <a:prstDash val="dash"/>
            </a:ln>
          </p:spPr>
          <p:txBody>
            <a:bodyPr wrap="square" lIns="0" tIns="0" rIns="0" bIns="0" rtlCol="0">
              <a:spAutoFit/>
            </a:bodyPr>
            <a:lstStyle/>
            <a:p>
              <a:pPr algn="r"/>
              <a:r>
                <a:rPr lang="en-US" sz="6400" dirty="0">
                  <a:solidFill>
                    <a:schemeClr val="accent2"/>
                  </a:solidFill>
                </a:rPr>
                <a:t>63%</a:t>
              </a:r>
            </a:p>
          </p:txBody>
        </p:sp>
      </p:grpSp>
      <p:grpSp>
        <p:nvGrpSpPr>
          <p:cNvPr id="95" name="Group 94"/>
          <p:cNvGrpSpPr/>
          <p:nvPr/>
        </p:nvGrpSpPr>
        <p:grpSpPr>
          <a:xfrm>
            <a:off x="10016475" y="5092691"/>
            <a:ext cx="7473465" cy="7470290"/>
            <a:chOff x="3178175" y="2724150"/>
            <a:chExt cx="3736976" cy="3735388"/>
          </a:xfrm>
          <a:effectLst>
            <a:outerShdw blurRad="38100" dist="25400" dir="5400000" algn="ctr" rotWithShape="0">
              <a:srgbClr val="000000">
                <a:alpha val="20000"/>
              </a:srgbClr>
            </a:outerShdw>
          </a:effectLst>
        </p:grpSpPr>
        <p:sp>
          <p:nvSpPr>
            <p:cNvPr id="96" name="Freeform 12"/>
            <p:cNvSpPr>
              <a:spLocks/>
            </p:cNvSpPr>
            <p:nvPr/>
          </p:nvSpPr>
          <p:spPr bwMode="auto">
            <a:xfrm>
              <a:off x="5230813" y="4776788"/>
              <a:ext cx="792163" cy="792163"/>
            </a:xfrm>
            <a:custGeom>
              <a:avLst/>
              <a:gdLst>
                <a:gd name="T0" fmla="*/ 382 w 499"/>
                <a:gd name="T1" fmla="*/ 499 h 499"/>
                <a:gd name="T2" fmla="*/ 499 w 499"/>
                <a:gd name="T3" fmla="*/ 380 h 499"/>
                <a:gd name="T4" fmla="*/ 117 w 499"/>
                <a:gd name="T5" fmla="*/ 0 h 499"/>
                <a:gd name="T6" fmla="*/ 0 w 499"/>
                <a:gd name="T7" fmla="*/ 117 h 499"/>
                <a:gd name="T8" fmla="*/ 382 w 499"/>
                <a:gd name="T9" fmla="*/ 499 h 499"/>
              </a:gdLst>
              <a:ahLst/>
              <a:cxnLst>
                <a:cxn ang="0">
                  <a:pos x="T0" y="T1"/>
                </a:cxn>
                <a:cxn ang="0">
                  <a:pos x="T2" y="T3"/>
                </a:cxn>
                <a:cxn ang="0">
                  <a:pos x="T4" y="T5"/>
                </a:cxn>
                <a:cxn ang="0">
                  <a:pos x="T6" y="T7"/>
                </a:cxn>
                <a:cxn ang="0">
                  <a:pos x="T8" y="T9"/>
                </a:cxn>
              </a:cxnLst>
              <a:rect l="0" t="0" r="r" b="b"/>
              <a:pathLst>
                <a:path w="499" h="499">
                  <a:moveTo>
                    <a:pt x="382" y="499"/>
                  </a:moveTo>
                  <a:lnTo>
                    <a:pt x="499" y="380"/>
                  </a:lnTo>
                  <a:lnTo>
                    <a:pt x="117" y="0"/>
                  </a:lnTo>
                  <a:lnTo>
                    <a:pt x="0" y="117"/>
                  </a:lnTo>
                  <a:lnTo>
                    <a:pt x="382" y="499"/>
                  </a:lnTo>
                  <a:close/>
                </a:path>
              </a:pathLst>
            </a:custGeom>
            <a:solidFill>
              <a:srgbClr val="979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97" name="Freeform 13"/>
            <p:cNvSpPr>
              <a:spLocks/>
            </p:cNvSpPr>
            <p:nvPr/>
          </p:nvSpPr>
          <p:spPr bwMode="auto">
            <a:xfrm>
              <a:off x="5230813" y="4776788"/>
              <a:ext cx="792163" cy="792163"/>
            </a:xfrm>
            <a:custGeom>
              <a:avLst/>
              <a:gdLst>
                <a:gd name="T0" fmla="*/ 382 w 499"/>
                <a:gd name="T1" fmla="*/ 499 h 499"/>
                <a:gd name="T2" fmla="*/ 499 w 499"/>
                <a:gd name="T3" fmla="*/ 380 h 499"/>
                <a:gd name="T4" fmla="*/ 117 w 499"/>
                <a:gd name="T5" fmla="*/ 0 h 499"/>
                <a:gd name="T6" fmla="*/ 0 w 499"/>
                <a:gd name="T7" fmla="*/ 117 h 499"/>
                <a:gd name="T8" fmla="*/ 382 w 499"/>
                <a:gd name="T9" fmla="*/ 499 h 499"/>
              </a:gdLst>
              <a:ahLst/>
              <a:cxnLst>
                <a:cxn ang="0">
                  <a:pos x="T0" y="T1"/>
                </a:cxn>
                <a:cxn ang="0">
                  <a:pos x="T2" y="T3"/>
                </a:cxn>
                <a:cxn ang="0">
                  <a:pos x="T4" y="T5"/>
                </a:cxn>
                <a:cxn ang="0">
                  <a:pos x="T6" y="T7"/>
                </a:cxn>
                <a:cxn ang="0">
                  <a:pos x="T8" y="T9"/>
                </a:cxn>
              </a:cxnLst>
              <a:rect l="0" t="0" r="r" b="b"/>
              <a:pathLst>
                <a:path w="499" h="499">
                  <a:moveTo>
                    <a:pt x="382" y="499"/>
                  </a:moveTo>
                  <a:lnTo>
                    <a:pt x="499" y="380"/>
                  </a:lnTo>
                  <a:lnTo>
                    <a:pt x="117" y="0"/>
                  </a:lnTo>
                  <a:lnTo>
                    <a:pt x="0" y="117"/>
                  </a:lnTo>
                  <a:lnTo>
                    <a:pt x="382" y="4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98" name="Freeform 14"/>
            <p:cNvSpPr>
              <a:spLocks/>
            </p:cNvSpPr>
            <p:nvPr/>
          </p:nvSpPr>
          <p:spPr bwMode="auto">
            <a:xfrm>
              <a:off x="5241925" y="4926013"/>
              <a:ext cx="631825" cy="631825"/>
            </a:xfrm>
            <a:custGeom>
              <a:avLst/>
              <a:gdLst>
                <a:gd name="T0" fmla="*/ 382 w 398"/>
                <a:gd name="T1" fmla="*/ 398 h 398"/>
                <a:gd name="T2" fmla="*/ 398 w 398"/>
                <a:gd name="T3" fmla="*/ 381 h 398"/>
                <a:gd name="T4" fmla="*/ 16 w 398"/>
                <a:gd name="T5" fmla="*/ 0 h 398"/>
                <a:gd name="T6" fmla="*/ 0 w 398"/>
                <a:gd name="T7" fmla="*/ 16 h 398"/>
                <a:gd name="T8" fmla="*/ 382 w 398"/>
                <a:gd name="T9" fmla="*/ 398 h 398"/>
              </a:gdLst>
              <a:ahLst/>
              <a:cxnLst>
                <a:cxn ang="0">
                  <a:pos x="T0" y="T1"/>
                </a:cxn>
                <a:cxn ang="0">
                  <a:pos x="T2" y="T3"/>
                </a:cxn>
                <a:cxn ang="0">
                  <a:pos x="T4" y="T5"/>
                </a:cxn>
                <a:cxn ang="0">
                  <a:pos x="T6" y="T7"/>
                </a:cxn>
                <a:cxn ang="0">
                  <a:pos x="T8" y="T9"/>
                </a:cxn>
              </a:cxnLst>
              <a:rect l="0" t="0" r="r" b="b"/>
              <a:pathLst>
                <a:path w="398" h="398">
                  <a:moveTo>
                    <a:pt x="382" y="398"/>
                  </a:moveTo>
                  <a:lnTo>
                    <a:pt x="398" y="381"/>
                  </a:lnTo>
                  <a:lnTo>
                    <a:pt x="16" y="0"/>
                  </a:lnTo>
                  <a:lnTo>
                    <a:pt x="0" y="16"/>
                  </a:lnTo>
                  <a:lnTo>
                    <a:pt x="382" y="398"/>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99" name="Freeform 15"/>
            <p:cNvSpPr>
              <a:spLocks/>
            </p:cNvSpPr>
            <p:nvPr/>
          </p:nvSpPr>
          <p:spPr bwMode="auto">
            <a:xfrm>
              <a:off x="5241925" y="4926013"/>
              <a:ext cx="631825" cy="631825"/>
            </a:xfrm>
            <a:custGeom>
              <a:avLst/>
              <a:gdLst>
                <a:gd name="T0" fmla="*/ 382 w 398"/>
                <a:gd name="T1" fmla="*/ 398 h 398"/>
                <a:gd name="T2" fmla="*/ 398 w 398"/>
                <a:gd name="T3" fmla="*/ 381 h 398"/>
                <a:gd name="T4" fmla="*/ 16 w 398"/>
                <a:gd name="T5" fmla="*/ 0 h 398"/>
                <a:gd name="T6" fmla="*/ 0 w 398"/>
                <a:gd name="T7" fmla="*/ 16 h 398"/>
                <a:gd name="T8" fmla="*/ 382 w 398"/>
                <a:gd name="T9" fmla="*/ 398 h 398"/>
              </a:gdLst>
              <a:ahLst/>
              <a:cxnLst>
                <a:cxn ang="0">
                  <a:pos x="T0" y="T1"/>
                </a:cxn>
                <a:cxn ang="0">
                  <a:pos x="T2" y="T3"/>
                </a:cxn>
                <a:cxn ang="0">
                  <a:pos x="T4" y="T5"/>
                </a:cxn>
                <a:cxn ang="0">
                  <a:pos x="T6" y="T7"/>
                </a:cxn>
                <a:cxn ang="0">
                  <a:pos x="T8" y="T9"/>
                </a:cxn>
              </a:cxnLst>
              <a:rect l="0" t="0" r="r" b="b"/>
              <a:pathLst>
                <a:path w="398" h="398">
                  <a:moveTo>
                    <a:pt x="382" y="398"/>
                  </a:moveTo>
                  <a:lnTo>
                    <a:pt x="398" y="381"/>
                  </a:lnTo>
                  <a:lnTo>
                    <a:pt x="16" y="0"/>
                  </a:lnTo>
                  <a:lnTo>
                    <a:pt x="0" y="16"/>
                  </a:lnTo>
                  <a:lnTo>
                    <a:pt x="382" y="3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00" name="Freeform 16"/>
            <p:cNvSpPr>
              <a:spLocks/>
            </p:cNvSpPr>
            <p:nvPr/>
          </p:nvSpPr>
          <p:spPr bwMode="auto">
            <a:xfrm>
              <a:off x="5278438" y="4905375"/>
              <a:ext cx="615950" cy="615950"/>
            </a:xfrm>
            <a:custGeom>
              <a:avLst/>
              <a:gdLst>
                <a:gd name="T0" fmla="*/ 380 w 388"/>
                <a:gd name="T1" fmla="*/ 388 h 388"/>
                <a:gd name="T2" fmla="*/ 388 w 388"/>
                <a:gd name="T3" fmla="*/ 382 h 388"/>
                <a:gd name="T4" fmla="*/ 6 w 388"/>
                <a:gd name="T5" fmla="*/ 0 h 388"/>
                <a:gd name="T6" fmla="*/ 0 w 388"/>
                <a:gd name="T7" fmla="*/ 6 h 388"/>
                <a:gd name="T8" fmla="*/ 380 w 388"/>
                <a:gd name="T9" fmla="*/ 388 h 388"/>
              </a:gdLst>
              <a:ahLst/>
              <a:cxnLst>
                <a:cxn ang="0">
                  <a:pos x="T0" y="T1"/>
                </a:cxn>
                <a:cxn ang="0">
                  <a:pos x="T2" y="T3"/>
                </a:cxn>
                <a:cxn ang="0">
                  <a:pos x="T4" y="T5"/>
                </a:cxn>
                <a:cxn ang="0">
                  <a:pos x="T6" y="T7"/>
                </a:cxn>
                <a:cxn ang="0">
                  <a:pos x="T8" y="T9"/>
                </a:cxn>
              </a:cxnLst>
              <a:rect l="0" t="0" r="r" b="b"/>
              <a:pathLst>
                <a:path w="388" h="388">
                  <a:moveTo>
                    <a:pt x="380" y="388"/>
                  </a:moveTo>
                  <a:lnTo>
                    <a:pt x="388" y="382"/>
                  </a:lnTo>
                  <a:lnTo>
                    <a:pt x="6" y="0"/>
                  </a:lnTo>
                  <a:lnTo>
                    <a:pt x="0" y="6"/>
                  </a:lnTo>
                  <a:lnTo>
                    <a:pt x="380" y="388"/>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01" name="Freeform 17"/>
            <p:cNvSpPr>
              <a:spLocks/>
            </p:cNvSpPr>
            <p:nvPr/>
          </p:nvSpPr>
          <p:spPr bwMode="auto">
            <a:xfrm>
              <a:off x="5278438" y="4905375"/>
              <a:ext cx="615950" cy="615950"/>
            </a:xfrm>
            <a:custGeom>
              <a:avLst/>
              <a:gdLst>
                <a:gd name="T0" fmla="*/ 380 w 388"/>
                <a:gd name="T1" fmla="*/ 388 h 388"/>
                <a:gd name="T2" fmla="*/ 388 w 388"/>
                <a:gd name="T3" fmla="*/ 382 h 388"/>
                <a:gd name="T4" fmla="*/ 6 w 388"/>
                <a:gd name="T5" fmla="*/ 0 h 388"/>
                <a:gd name="T6" fmla="*/ 0 w 388"/>
                <a:gd name="T7" fmla="*/ 6 h 388"/>
                <a:gd name="T8" fmla="*/ 380 w 388"/>
                <a:gd name="T9" fmla="*/ 388 h 388"/>
              </a:gdLst>
              <a:ahLst/>
              <a:cxnLst>
                <a:cxn ang="0">
                  <a:pos x="T0" y="T1"/>
                </a:cxn>
                <a:cxn ang="0">
                  <a:pos x="T2" y="T3"/>
                </a:cxn>
                <a:cxn ang="0">
                  <a:pos x="T4" y="T5"/>
                </a:cxn>
                <a:cxn ang="0">
                  <a:pos x="T6" y="T7"/>
                </a:cxn>
                <a:cxn ang="0">
                  <a:pos x="T8" y="T9"/>
                </a:cxn>
              </a:cxnLst>
              <a:rect l="0" t="0" r="r" b="b"/>
              <a:pathLst>
                <a:path w="388" h="388">
                  <a:moveTo>
                    <a:pt x="380" y="388"/>
                  </a:moveTo>
                  <a:lnTo>
                    <a:pt x="388" y="382"/>
                  </a:lnTo>
                  <a:lnTo>
                    <a:pt x="6" y="0"/>
                  </a:lnTo>
                  <a:lnTo>
                    <a:pt x="0" y="6"/>
                  </a:lnTo>
                  <a:lnTo>
                    <a:pt x="38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02" name="Freeform 18"/>
            <p:cNvSpPr>
              <a:spLocks/>
            </p:cNvSpPr>
            <p:nvPr/>
          </p:nvSpPr>
          <p:spPr bwMode="auto">
            <a:xfrm>
              <a:off x="5675313" y="5219700"/>
              <a:ext cx="1239838" cy="1239838"/>
            </a:xfrm>
            <a:custGeom>
              <a:avLst/>
              <a:gdLst>
                <a:gd name="T0" fmla="*/ 405 w 546"/>
                <a:gd name="T1" fmla="*/ 535 h 546"/>
                <a:gd name="T2" fmla="*/ 446 w 546"/>
                <a:gd name="T3" fmla="*/ 535 h 546"/>
                <a:gd name="T4" fmla="*/ 534 w 546"/>
                <a:gd name="T5" fmla="*/ 447 h 546"/>
                <a:gd name="T6" fmla="*/ 534 w 546"/>
                <a:gd name="T7" fmla="*/ 405 h 546"/>
                <a:gd name="T8" fmla="*/ 140 w 546"/>
                <a:gd name="T9" fmla="*/ 11 h 546"/>
                <a:gd name="T10" fmla="*/ 99 w 546"/>
                <a:gd name="T11" fmla="*/ 11 h 546"/>
                <a:gd name="T12" fmla="*/ 11 w 546"/>
                <a:gd name="T13" fmla="*/ 100 h 546"/>
                <a:gd name="T14" fmla="*/ 11 w 546"/>
                <a:gd name="T15" fmla="*/ 141 h 546"/>
                <a:gd name="T16" fmla="*/ 405 w 546"/>
                <a:gd name="T17" fmla="*/ 535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546">
                  <a:moveTo>
                    <a:pt x="405" y="535"/>
                  </a:moveTo>
                  <a:cubicBezTo>
                    <a:pt x="416" y="546"/>
                    <a:pt x="435" y="546"/>
                    <a:pt x="446" y="535"/>
                  </a:cubicBezTo>
                  <a:cubicBezTo>
                    <a:pt x="534" y="447"/>
                    <a:pt x="534" y="447"/>
                    <a:pt x="534" y="447"/>
                  </a:cubicBezTo>
                  <a:cubicBezTo>
                    <a:pt x="546" y="435"/>
                    <a:pt x="546" y="417"/>
                    <a:pt x="534" y="405"/>
                  </a:cubicBezTo>
                  <a:cubicBezTo>
                    <a:pt x="140" y="11"/>
                    <a:pt x="140" y="11"/>
                    <a:pt x="140" y="11"/>
                  </a:cubicBezTo>
                  <a:cubicBezTo>
                    <a:pt x="129" y="0"/>
                    <a:pt x="111" y="0"/>
                    <a:pt x="99" y="11"/>
                  </a:cubicBezTo>
                  <a:cubicBezTo>
                    <a:pt x="11" y="100"/>
                    <a:pt x="11" y="100"/>
                    <a:pt x="11" y="100"/>
                  </a:cubicBezTo>
                  <a:cubicBezTo>
                    <a:pt x="0" y="111"/>
                    <a:pt x="0" y="130"/>
                    <a:pt x="11" y="141"/>
                  </a:cubicBezTo>
                  <a:cubicBezTo>
                    <a:pt x="405" y="535"/>
                    <a:pt x="405" y="535"/>
                    <a:pt x="405" y="535"/>
                  </a:cubicBezTo>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03" name="Freeform 19"/>
            <p:cNvSpPr>
              <a:spLocks/>
            </p:cNvSpPr>
            <p:nvPr/>
          </p:nvSpPr>
          <p:spPr bwMode="auto">
            <a:xfrm>
              <a:off x="6724650" y="6369050"/>
              <a:ext cx="30163" cy="28575"/>
            </a:xfrm>
            <a:custGeom>
              <a:avLst/>
              <a:gdLst>
                <a:gd name="T0" fmla="*/ 19 w 19"/>
                <a:gd name="T1" fmla="*/ 0 h 18"/>
                <a:gd name="T2" fmla="*/ 0 w 19"/>
                <a:gd name="T3" fmla="*/ 18 h 18"/>
                <a:gd name="T4" fmla="*/ 0 w 19"/>
                <a:gd name="T5" fmla="*/ 18 h 18"/>
                <a:gd name="T6" fmla="*/ 19 w 19"/>
                <a:gd name="T7" fmla="*/ 0 h 18"/>
              </a:gdLst>
              <a:ahLst/>
              <a:cxnLst>
                <a:cxn ang="0">
                  <a:pos x="T0" y="T1"/>
                </a:cxn>
                <a:cxn ang="0">
                  <a:pos x="T2" y="T3"/>
                </a:cxn>
                <a:cxn ang="0">
                  <a:pos x="T4" y="T5"/>
                </a:cxn>
                <a:cxn ang="0">
                  <a:pos x="T6" y="T7"/>
                </a:cxn>
              </a:cxnLst>
              <a:rect l="0" t="0" r="r" b="b"/>
              <a:pathLst>
                <a:path w="19" h="18">
                  <a:moveTo>
                    <a:pt x="19" y="0"/>
                  </a:moveTo>
                  <a:lnTo>
                    <a:pt x="0" y="18"/>
                  </a:lnTo>
                  <a:lnTo>
                    <a:pt x="0" y="18"/>
                  </a:lnTo>
                  <a:lnTo>
                    <a:pt x="19" y="0"/>
                  </a:lnTo>
                  <a:close/>
                </a:path>
              </a:pathLst>
            </a:custGeom>
            <a:solidFill>
              <a:srgbClr val="C2B0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04" name="Freeform 20"/>
            <p:cNvSpPr>
              <a:spLocks/>
            </p:cNvSpPr>
            <p:nvPr/>
          </p:nvSpPr>
          <p:spPr bwMode="auto">
            <a:xfrm>
              <a:off x="6724650" y="6369050"/>
              <a:ext cx="30163" cy="28575"/>
            </a:xfrm>
            <a:custGeom>
              <a:avLst/>
              <a:gdLst>
                <a:gd name="T0" fmla="*/ 19 w 19"/>
                <a:gd name="T1" fmla="*/ 0 h 18"/>
                <a:gd name="T2" fmla="*/ 0 w 19"/>
                <a:gd name="T3" fmla="*/ 18 h 18"/>
                <a:gd name="T4" fmla="*/ 0 w 19"/>
                <a:gd name="T5" fmla="*/ 18 h 18"/>
                <a:gd name="T6" fmla="*/ 19 w 19"/>
                <a:gd name="T7" fmla="*/ 0 h 18"/>
              </a:gdLst>
              <a:ahLst/>
              <a:cxnLst>
                <a:cxn ang="0">
                  <a:pos x="T0" y="T1"/>
                </a:cxn>
                <a:cxn ang="0">
                  <a:pos x="T2" y="T3"/>
                </a:cxn>
                <a:cxn ang="0">
                  <a:pos x="T4" y="T5"/>
                </a:cxn>
                <a:cxn ang="0">
                  <a:pos x="T6" y="T7"/>
                </a:cxn>
              </a:cxnLst>
              <a:rect l="0" t="0" r="r" b="b"/>
              <a:pathLst>
                <a:path w="19" h="18">
                  <a:moveTo>
                    <a:pt x="19" y="0"/>
                  </a:moveTo>
                  <a:lnTo>
                    <a:pt x="0" y="18"/>
                  </a:lnTo>
                  <a:lnTo>
                    <a:pt x="0" y="18"/>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05" name="Freeform 21"/>
            <p:cNvSpPr>
              <a:spLocks/>
            </p:cNvSpPr>
            <p:nvPr/>
          </p:nvSpPr>
          <p:spPr bwMode="auto">
            <a:xfrm>
              <a:off x="5737225" y="5380038"/>
              <a:ext cx="1017588" cy="1017588"/>
            </a:xfrm>
            <a:custGeom>
              <a:avLst/>
              <a:gdLst>
                <a:gd name="T0" fmla="*/ 18 w 641"/>
                <a:gd name="T1" fmla="*/ 0 h 641"/>
                <a:gd name="T2" fmla="*/ 1 w 641"/>
                <a:gd name="T3" fmla="*/ 18 h 641"/>
                <a:gd name="T4" fmla="*/ 0 w 641"/>
                <a:gd name="T5" fmla="*/ 19 h 641"/>
                <a:gd name="T6" fmla="*/ 622 w 641"/>
                <a:gd name="T7" fmla="*/ 641 h 641"/>
                <a:gd name="T8" fmla="*/ 641 w 641"/>
                <a:gd name="T9" fmla="*/ 623 h 641"/>
                <a:gd name="T10" fmla="*/ 18 w 641"/>
                <a:gd name="T11" fmla="*/ 0 h 641"/>
              </a:gdLst>
              <a:ahLst/>
              <a:cxnLst>
                <a:cxn ang="0">
                  <a:pos x="T0" y="T1"/>
                </a:cxn>
                <a:cxn ang="0">
                  <a:pos x="T2" y="T3"/>
                </a:cxn>
                <a:cxn ang="0">
                  <a:pos x="T4" y="T5"/>
                </a:cxn>
                <a:cxn ang="0">
                  <a:pos x="T6" y="T7"/>
                </a:cxn>
                <a:cxn ang="0">
                  <a:pos x="T8" y="T9"/>
                </a:cxn>
                <a:cxn ang="0">
                  <a:pos x="T10" y="T11"/>
                </a:cxn>
              </a:cxnLst>
              <a:rect l="0" t="0" r="r" b="b"/>
              <a:pathLst>
                <a:path w="641" h="641">
                  <a:moveTo>
                    <a:pt x="18" y="0"/>
                  </a:moveTo>
                  <a:lnTo>
                    <a:pt x="1" y="18"/>
                  </a:lnTo>
                  <a:lnTo>
                    <a:pt x="0" y="19"/>
                  </a:lnTo>
                  <a:lnTo>
                    <a:pt x="622" y="641"/>
                  </a:lnTo>
                  <a:lnTo>
                    <a:pt x="641" y="623"/>
                  </a:lnTo>
                  <a:lnTo>
                    <a:pt x="18"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06" name="Freeform 22"/>
            <p:cNvSpPr>
              <a:spLocks/>
            </p:cNvSpPr>
            <p:nvPr/>
          </p:nvSpPr>
          <p:spPr bwMode="auto">
            <a:xfrm>
              <a:off x="5737225" y="5380038"/>
              <a:ext cx="1017588" cy="1017588"/>
            </a:xfrm>
            <a:custGeom>
              <a:avLst/>
              <a:gdLst>
                <a:gd name="T0" fmla="*/ 18 w 641"/>
                <a:gd name="T1" fmla="*/ 0 h 641"/>
                <a:gd name="T2" fmla="*/ 1 w 641"/>
                <a:gd name="T3" fmla="*/ 18 h 641"/>
                <a:gd name="T4" fmla="*/ 0 w 641"/>
                <a:gd name="T5" fmla="*/ 19 h 641"/>
                <a:gd name="T6" fmla="*/ 622 w 641"/>
                <a:gd name="T7" fmla="*/ 641 h 641"/>
                <a:gd name="T8" fmla="*/ 641 w 641"/>
                <a:gd name="T9" fmla="*/ 623 h 641"/>
                <a:gd name="T10" fmla="*/ 18 w 641"/>
                <a:gd name="T11" fmla="*/ 0 h 641"/>
              </a:gdLst>
              <a:ahLst/>
              <a:cxnLst>
                <a:cxn ang="0">
                  <a:pos x="T0" y="T1"/>
                </a:cxn>
                <a:cxn ang="0">
                  <a:pos x="T2" y="T3"/>
                </a:cxn>
                <a:cxn ang="0">
                  <a:pos x="T4" y="T5"/>
                </a:cxn>
                <a:cxn ang="0">
                  <a:pos x="T6" y="T7"/>
                </a:cxn>
                <a:cxn ang="0">
                  <a:pos x="T8" y="T9"/>
                </a:cxn>
                <a:cxn ang="0">
                  <a:pos x="T10" y="T11"/>
                </a:cxn>
              </a:cxnLst>
              <a:rect l="0" t="0" r="r" b="b"/>
              <a:pathLst>
                <a:path w="641" h="641">
                  <a:moveTo>
                    <a:pt x="18" y="0"/>
                  </a:moveTo>
                  <a:lnTo>
                    <a:pt x="1" y="18"/>
                  </a:lnTo>
                  <a:lnTo>
                    <a:pt x="0" y="19"/>
                  </a:lnTo>
                  <a:lnTo>
                    <a:pt x="622" y="641"/>
                  </a:lnTo>
                  <a:lnTo>
                    <a:pt x="641" y="623"/>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07" name="Freeform 23"/>
            <p:cNvSpPr>
              <a:spLocks/>
            </p:cNvSpPr>
            <p:nvPr/>
          </p:nvSpPr>
          <p:spPr bwMode="auto">
            <a:xfrm>
              <a:off x="5680075" y="5440363"/>
              <a:ext cx="26988" cy="52388"/>
            </a:xfrm>
            <a:custGeom>
              <a:avLst/>
              <a:gdLst>
                <a:gd name="T0" fmla="*/ 12 w 12"/>
                <a:gd name="T1" fmla="*/ 0 h 23"/>
                <a:gd name="T2" fmla="*/ 9 w 12"/>
                <a:gd name="T3" fmla="*/ 3 h 23"/>
                <a:gd name="T4" fmla="*/ 0 w 12"/>
                <a:gd name="T5" fmla="*/ 23 h 23"/>
                <a:gd name="T6" fmla="*/ 9 w 12"/>
                <a:gd name="T7" fmla="*/ 3 h 23"/>
                <a:gd name="T8" fmla="*/ 12 w 12"/>
                <a:gd name="T9" fmla="*/ 0 h 23"/>
                <a:gd name="T10" fmla="*/ 12 w 12"/>
                <a:gd name="T11" fmla="*/ 0 h 23"/>
              </a:gdLst>
              <a:ahLst/>
              <a:cxnLst>
                <a:cxn ang="0">
                  <a:pos x="T0" y="T1"/>
                </a:cxn>
                <a:cxn ang="0">
                  <a:pos x="T2" y="T3"/>
                </a:cxn>
                <a:cxn ang="0">
                  <a:pos x="T4" y="T5"/>
                </a:cxn>
                <a:cxn ang="0">
                  <a:pos x="T6" y="T7"/>
                </a:cxn>
                <a:cxn ang="0">
                  <a:pos x="T8" y="T9"/>
                </a:cxn>
                <a:cxn ang="0">
                  <a:pos x="T10" y="T11"/>
                </a:cxn>
              </a:cxnLst>
              <a:rect l="0" t="0" r="r" b="b"/>
              <a:pathLst>
                <a:path w="12" h="23">
                  <a:moveTo>
                    <a:pt x="12" y="0"/>
                  </a:moveTo>
                  <a:cubicBezTo>
                    <a:pt x="9" y="3"/>
                    <a:pt x="9" y="3"/>
                    <a:pt x="9" y="3"/>
                  </a:cubicBezTo>
                  <a:cubicBezTo>
                    <a:pt x="3" y="8"/>
                    <a:pt x="0" y="16"/>
                    <a:pt x="0" y="23"/>
                  </a:cubicBezTo>
                  <a:cubicBezTo>
                    <a:pt x="0" y="16"/>
                    <a:pt x="3" y="8"/>
                    <a:pt x="9" y="3"/>
                  </a:cubicBezTo>
                  <a:cubicBezTo>
                    <a:pt x="12" y="0"/>
                    <a:pt x="12" y="0"/>
                    <a:pt x="12" y="0"/>
                  </a:cubicBezTo>
                  <a:cubicBezTo>
                    <a:pt x="12" y="0"/>
                    <a:pt x="12" y="0"/>
                    <a:pt x="12" y="0"/>
                  </a:cubicBezTo>
                </a:path>
              </a:pathLst>
            </a:custGeom>
            <a:solidFill>
              <a:srgbClr val="C2B0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08" name="Freeform 24"/>
            <p:cNvSpPr>
              <a:spLocks/>
            </p:cNvSpPr>
            <p:nvPr/>
          </p:nvSpPr>
          <p:spPr bwMode="auto">
            <a:xfrm>
              <a:off x="5707063" y="5427663"/>
              <a:ext cx="11113" cy="12700"/>
            </a:xfrm>
            <a:custGeom>
              <a:avLst/>
              <a:gdLst>
                <a:gd name="T0" fmla="*/ 7 w 7"/>
                <a:gd name="T1" fmla="*/ 0 h 8"/>
                <a:gd name="T2" fmla="*/ 0 w 7"/>
                <a:gd name="T3" fmla="*/ 8 h 8"/>
                <a:gd name="T4" fmla="*/ 0 w 7"/>
                <a:gd name="T5" fmla="*/ 8 h 8"/>
                <a:gd name="T6" fmla="*/ 7 w 7"/>
                <a:gd name="T7" fmla="*/ 0 h 8"/>
                <a:gd name="T8" fmla="*/ 7 w 7"/>
                <a:gd name="T9" fmla="*/ 0 h 8"/>
              </a:gdLst>
              <a:ahLst/>
              <a:cxnLst>
                <a:cxn ang="0">
                  <a:pos x="T0" y="T1"/>
                </a:cxn>
                <a:cxn ang="0">
                  <a:pos x="T2" y="T3"/>
                </a:cxn>
                <a:cxn ang="0">
                  <a:pos x="T4" y="T5"/>
                </a:cxn>
                <a:cxn ang="0">
                  <a:pos x="T6" y="T7"/>
                </a:cxn>
                <a:cxn ang="0">
                  <a:pos x="T8" y="T9"/>
                </a:cxn>
              </a:cxnLst>
              <a:rect l="0" t="0" r="r" b="b"/>
              <a:pathLst>
                <a:path w="7" h="8">
                  <a:moveTo>
                    <a:pt x="7" y="0"/>
                  </a:moveTo>
                  <a:lnTo>
                    <a:pt x="0" y="8"/>
                  </a:lnTo>
                  <a:lnTo>
                    <a:pt x="0" y="8"/>
                  </a:lnTo>
                  <a:lnTo>
                    <a:pt x="7" y="0"/>
                  </a:lnTo>
                  <a:lnTo>
                    <a:pt x="7" y="0"/>
                  </a:lnTo>
                  <a:close/>
                </a:path>
              </a:pathLst>
            </a:custGeom>
            <a:solidFill>
              <a:srgbClr val="736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09" name="Freeform 25"/>
            <p:cNvSpPr>
              <a:spLocks/>
            </p:cNvSpPr>
            <p:nvPr/>
          </p:nvSpPr>
          <p:spPr bwMode="auto">
            <a:xfrm>
              <a:off x="5707063" y="5427663"/>
              <a:ext cx="11113" cy="12700"/>
            </a:xfrm>
            <a:custGeom>
              <a:avLst/>
              <a:gdLst>
                <a:gd name="T0" fmla="*/ 7 w 7"/>
                <a:gd name="T1" fmla="*/ 0 h 8"/>
                <a:gd name="T2" fmla="*/ 0 w 7"/>
                <a:gd name="T3" fmla="*/ 8 h 8"/>
                <a:gd name="T4" fmla="*/ 0 w 7"/>
                <a:gd name="T5" fmla="*/ 8 h 8"/>
                <a:gd name="T6" fmla="*/ 7 w 7"/>
                <a:gd name="T7" fmla="*/ 0 h 8"/>
                <a:gd name="T8" fmla="*/ 7 w 7"/>
                <a:gd name="T9" fmla="*/ 0 h 8"/>
              </a:gdLst>
              <a:ahLst/>
              <a:cxnLst>
                <a:cxn ang="0">
                  <a:pos x="T0" y="T1"/>
                </a:cxn>
                <a:cxn ang="0">
                  <a:pos x="T2" y="T3"/>
                </a:cxn>
                <a:cxn ang="0">
                  <a:pos x="T4" y="T5"/>
                </a:cxn>
                <a:cxn ang="0">
                  <a:pos x="T6" y="T7"/>
                </a:cxn>
                <a:cxn ang="0">
                  <a:pos x="T8" y="T9"/>
                </a:cxn>
              </a:cxnLst>
              <a:rect l="0" t="0" r="r" b="b"/>
              <a:pathLst>
                <a:path w="7" h="8">
                  <a:moveTo>
                    <a:pt x="7" y="0"/>
                  </a:moveTo>
                  <a:lnTo>
                    <a:pt x="0" y="8"/>
                  </a:lnTo>
                  <a:lnTo>
                    <a:pt x="0" y="8"/>
                  </a:lnTo>
                  <a:lnTo>
                    <a:pt x="7" y="0"/>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10" name="Rectangle 109"/>
            <p:cNvSpPr>
              <a:spLocks noChangeArrowheads="1"/>
            </p:cNvSpPr>
            <p:nvPr/>
          </p:nvSpPr>
          <p:spPr bwMode="auto">
            <a:xfrm>
              <a:off x="5718175" y="5426075"/>
              <a:ext cx="1588" cy="1588"/>
            </a:xfrm>
            <a:prstGeom prst="rect">
              <a:avLst/>
            </a:prstGeom>
            <a:solidFill>
              <a:srgbClr val="6158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11" name="Rectangle 110"/>
            <p:cNvSpPr>
              <a:spLocks noChangeArrowheads="1"/>
            </p:cNvSpPr>
            <p:nvPr/>
          </p:nvSpPr>
          <p:spPr bwMode="auto">
            <a:xfrm>
              <a:off x="5718175" y="54260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12" name="Freeform 111"/>
            <p:cNvSpPr>
              <a:spLocks/>
            </p:cNvSpPr>
            <p:nvPr/>
          </p:nvSpPr>
          <p:spPr bwMode="auto">
            <a:xfrm>
              <a:off x="6688138" y="6416675"/>
              <a:ext cx="19050" cy="17463"/>
            </a:xfrm>
            <a:custGeom>
              <a:avLst/>
              <a:gdLst>
                <a:gd name="T0" fmla="*/ 12 w 12"/>
                <a:gd name="T1" fmla="*/ 0 h 11"/>
                <a:gd name="T2" fmla="*/ 0 w 12"/>
                <a:gd name="T3" fmla="*/ 11 h 11"/>
                <a:gd name="T4" fmla="*/ 12 w 12"/>
                <a:gd name="T5" fmla="*/ 0 h 11"/>
              </a:gdLst>
              <a:ahLst/>
              <a:cxnLst>
                <a:cxn ang="0">
                  <a:pos x="T0" y="T1"/>
                </a:cxn>
                <a:cxn ang="0">
                  <a:pos x="T2" y="T3"/>
                </a:cxn>
                <a:cxn ang="0">
                  <a:pos x="T4" y="T5"/>
                </a:cxn>
              </a:cxnLst>
              <a:rect l="0" t="0" r="r" b="b"/>
              <a:pathLst>
                <a:path w="12" h="11">
                  <a:moveTo>
                    <a:pt x="12" y="0"/>
                  </a:moveTo>
                  <a:lnTo>
                    <a:pt x="0" y="11"/>
                  </a:lnTo>
                  <a:lnTo>
                    <a:pt x="12" y="0"/>
                  </a:lnTo>
                  <a:close/>
                </a:path>
              </a:pathLst>
            </a:custGeom>
            <a:solidFill>
              <a:srgbClr val="C2B0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13" name="Freeform 112"/>
            <p:cNvSpPr>
              <a:spLocks/>
            </p:cNvSpPr>
            <p:nvPr/>
          </p:nvSpPr>
          <p:spPr bwMode="auto">
            <a:xfrm>
              <a:off x="6688138" y="6416675"/>
              <a:ext cx="19050" cy="17463"/>
            </a:xfrm>
            <a:custGeom>
              <a:avLst/>
              <a:gdLst>
                <a:gd name="T0" fmla="*/ 12 w 12"/>
                <a:gd name="T1" fmla="*/ 0 h 11"/>
                <a:gd name="T2" fmla="*/ 0 w 12"/>
                <a:gd name="T3" fmla="*/ 11 h 11"/>
                <a:gd name="T4" fmla="*/ 12 w 12"/>
                <a:gd name="T5" fmla="*/ 0 h 11"/>
              </a:gdLst>
              <a:ahLst/>
              <a:cxnLst>
                <a:cxn ang="0">
                  <a:pos x="T0" y="T1"/>
                </a:cxn>
                <a:cxn ang="0">
                  <a:pos x="T2" y="T3"/>
                </a:cxn>
                <a:cxn ang="0">
                  <a:pos x="T4" y="T5"/>
                </a:cxn>
              </a:cxnLst>
              <a:rect l="0" t="0" r="r" b="b"/>
              <a:pathLst>
                <a:path w="12" h="11">
                  <a:moveTo>
                    <a:pt x="12" y="0"/>
                  </a:moveTo>
                  <a:lnTo>
                    <a:pt x="0" y="11"/>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14" name="Freeform 30"/>
            <p:cNvSpPr>
              <a:spLocks/>
            </p:cNvSpPr>
            <p:nvPr/>
          </p:nvSpPr>
          <p:spPr bwMode="auto">
            <a:xfrm>
              <a:off x="5680075" y="5426075"/>
              <a:ext cx="1027113" cy="1027113"/>
            </a:xfrm>
            <a:custGeom>
              <a:avLst/>
              <a:gdLst>
                <a:gd name="T0" fmla="*/ 17 w 452"/>
                <a:gd name="T1" fmla="*/ 0 h 452"/>
                <a:gd name="T2" fmla="*/ 17 w 452"/>
                <a:gd name="T3" fmla="*/ 1 h 452"/>
                <a:gd name="T4" fmla="*/ 12 w 452"/>
                <a:gd name="T5" fmla="*/ 6 h 452"/>
                <a:gd name="T6" fmla="*/ 9 w 452"/>
                <a:gd name="T7" fmla="*/ 9 h 452"/>
                <a:gd name="T8" fmla="*/ 0 w 452"/>
                <a:gd name="T9" fmla="*/ 29 h 452"/>
                <a:gd name="T10" fmla="*/ 9 w 452"/>
                <a:gd name="T11" fmla="*/ 50 h 452"/>
                <a:gd name="T12" fmla="*/ 403 w 452"/>
                <a:gd name="T13" fmla="*/ 444 h 452"/>
                <a:gd name="T14" fmla="*/ 424 w 452"/>
                <a:gd name="T15" fmla="*/ 452 h 452"/>
                <a:gd name="T16" fmla="*/ 444 w 452"/>
                <a:gd name="T17" fmla="*/ 444 h 452"/>
                <a:gd name="T18" fmla="*/ 444 w 452"/>
                <a:gd name="T19" fmla="*/ 444 h 452"/>
                <a:gd name="T20" fmla="*/ 452 w 452"/>
                <a:gd name="T21" fmla="*/ 436 h 452"/>
                <a:gd name="T22" fmla="*/ 17 w 452"/>
                <a:gd name="T23" fmla="*/ 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2" h="452">
                  <a:moveTo>
                    <a:pt x="17" y="0"/>
                  </a:moveTo>
                  <a:cubicBezTo>
                    <a:pt x="17" y="1"/>
                    <a:pt x="17" y="1"/>
                    <a:pt x="17" y="1"/>
                  </a:cubicBezTo>
                  <a:cubicBezTo>
                    <a:pt x="12" y="6"/>
                    <a:pt x="12" y="6"/>
                    <a:pt x="12" y="6"/>
                  </a:cubicBezTo>
                  <a:cubicBezTo>
                    <a:pt x="9" y="9"/>
                    <a:pt x="9" y="9"/>
                    <a:pt x="9" y="9"/>
                  </a:cubicBezTo>
                  <a:cubicBezTo>
                    <a:pt x="3" y="14"/>
                    <a:pt x="0" y="22"/>
                    <a:pt x="0" y="29"/>
                  </a:cubicBezTo>
                  <a:cubicBezTo>
                    <a:pt x="0" y="37"/>
                    <a:pt x="3" y="44"/>
                    <a:pt x="9" y="50"/>
                  </a:cubicBezTo>
                  <a:cubicBezTo>
                    <a:pt x="403" y="444"/>
                    <a:pt x="403" y="444"/>
                    <a:pt x="403" y="444"/>
                  </a:cubicBezTo>
                  <a:cubicBezTo>
                    <a:pt x="409" y="450"/>
                    <a:pt x="416" y="452"/>
                    <a:pt x="424" y="452"/>
                  </a:cubicBezTo>
                  <a:cubicBezTo>
                    <a:pt x="431" y="452"/>
                    <a:pt x="438" y="450"/>
                    <a:pt x="444" y="444"/>
                  </a:cubicBezTo>
                  <a:cubicBezTo>
                    <a:pt x="444" y="444"/>
                    <a:pt x="444" y="444"/>
                    <a:pt x="444" y="444"/>
                  </a:cubicBezTo>
                  <a:cubicBezTo>
                    <a:pt x="452" y="436"/>
                    <a:pt x="452" y="436"/>
                    <a:pt x="452" y="436"/>
                  </a:cubicBezTo>
                  <a:cubicBezTo>
                    <a:pt x="17" y="0"/>
                    <a:pt x="17" y="0"/>
                    <a:pt x="17" y="0"/>
                  </a:cubicBezTo>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15" name="Freeform 31"/>
            <p:cNvSpPr>
              <a:spLocks/>
            </p:cNvSpPr>
            <p:nvPr/>
          </p:nvSpPr>
          <p:spPr bwMode="auto">
            <a:xfrm>
              <a:off x="5199063" y="4745038"/>
              <a:ext cx="315913" cy="315913"/>
            </a:xfrm>
            <a:custGeom>
              <a:avLst/>
              <a:gdLst>
                <a:gd name="T0" fmla="*/ 54 w 199"/>
                <a:gd name="T1" fmla="*/ 199 h 199"/>
                <a:gd name="T2" fmla="*/ 199 w 199"/>
                <a:gd name="T3" fmla="*/ 53 h 199"/>
                <a:gd name="T4" fmla="*/ 146 w 199"/>
                <a:gd name="T5" fmla="*/ 0 h 199"/>
                <a:gd name="T6" fmla="*/ 0 w 199"/>
                <a:gd name="T7" fmla="*/ 144 h 199"/>
                <a:gd name="T8" fmla="*/ 54 w 199"/>
                <a:gd name="T9" fmla="*/ 199 h 199"/>
              </a:gdLst>
              <a:ahLst/>
              <a:cxnLst>
                <a:cxn ang="0">
                  <a:pos x="T0" y="T1"/>
                </a:cxn>
                <a:cxn ang="0">
                  <a:pos x="T2" y="T3"/>
                </a:cxn>
                <a:cxn ang="0">
                  <a:pos x="T4" y="T5"/>
                </a:cxn>
                <a:cxn ang="0">
                  <a:pos x="T6" y="T7"/>
                </a:cxn>
                <a:cxn ang="0">
                  <a:pos x="T8" y="T9"/>
                </a:cxn>
              </a:cxnLst>
              <a:rect l="0" t="0" r="r" b="b"/>
              <a:pathLst>
                <a:path w="199" h="199">
                  <a:moveTo>
                    <a:pt x="54" y="199"/>
                  </a:moveTo>
                  <a:lnTo>
                    <a:pt x="199" y="53"/>
                  </a:lnTo>
                  <a:lnTo>
                    <a:pt x="146" y="0"/>
                  </a:lnTo>
                  <a:lnTo>
                    <a:pt x="0" y="144"/>
                  </a:lnTo>
                  <a:lnTo>
                    <a:pt x="54" y="199"/>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16" name="Freeform 32"/>
            <p:cNvSpPr>
              <a:spLocks/>
            </p:cNvSpPr>
            <p:nvPr/>
          </p:nvSpPr>
          <p:spPr bwMode="auto">
            <a:xfrm>
              <a:off x="5203825" y="4935538"/>
              <a:ext cx="119063" cy="117475"/>
            </a:xfrm>
            <a:custGeom>
              <a:avLst/>
              <a:gdLst>
                <a:gd name="T0" fmla="*/ 54 w 75"/>
                <a:gd name="T1" fmla="*/ 74 h 74"/>
                <a:gd name="T2" fmla="*/ 75 w 75"/>
                <a:gd name="T3" fmla="*/ 54 h 74"/>
                <a:gd name="T4" fmla="*/ 21 w 75"/>
                <a:gd name="T5" fmla="*/ 0 h 74"/>
                <a:gd name="T6" fmla="*/ 0 w 75"/>
                <a:gd name="T7" fmla="*/ 21 h 74"/>
                <a:gd name="T8" fmla="*/ 54 w 75"/>
                <a:gd name="T9" fmla="*/ 74 h 74"/>
              </a:gdLst>
              <a:ahLst/>
              <a:cxnLst>
                <a:cxn ang="0">
                  <a:pos x="T0" y="T1"/>
                </a:cxn>
                <a:cxn ang="0">
                  <a:pos x="T2" y="T3"/>
                </a:cxn>
                <a:cxn ang="0">
                  <a:pos x="T4" y="T5"/>
                </a:cxn>
                <a:cxn ang="0">
                  <a:pos x="T6" y="T7"/>
                </a:cxn>
                <a:cxn ang="0">
                  <a:pos x="T8" y="T9"/>
                </a:cxn>
              </a:cxnLst>
              <a:rect l="0" t="0" r="r" b="b"/>
              <a:pathLst>
                <a:path w="75" h="74">
                  <a:moveTo>
                    <a:pt x="54" y="74"/>
                  </a:moveTo>
                  <a:lnTo>
                    <a:pt x="75" y="54"/>
                  </a:lnTo>
                  <a:lnTo>
                    <a:pt x="21" y="0"/>
                  </a:lnTo>
                  <a:lnTo>
                    <a:pt x="0" y="21"/>
                  </a:lnTo>
                  <a:lnTo>
                    <a:pt x="54" y="74"/>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17" name="Freeform 33"/>
            <p:cNvSpPr>
              <a:spLocks/>
            </p:cNvSpPr>
            <p:nvPr/>
          </p:nvSpPr>
          <p:spPr bwMode="auto">
            <a:xfrm>
              <a:off x="5251450" y="4908550"/>
              <a:ext cx="100013" cy="100013"/>
            </a:xfrm>
            <a:custGeom>
              <a:avLst/>
              <a:gdLst>
                <a:gd name="T0" fmla="*/ 53 w 63"/>
                <a:gd name="T1" fmla="*/ 63 h 63"/>
                <a:gd name="T2" fmla="*/ 63 w 63"/>
                <a:gd name="T3" fmla="*/ 54 h 63"/>
                <a:gd name="T4" fmla="*/ 8 w 63"/>
                <a:gd name="T5" fmla="*/ 0 h 63"/>
                <a:gd name="T6" fmla="*/ 0 w 63"/>
                <a:gd name="T7" fmla="*/ 8 h 63"/>
                <a:gd name="T8" fmla="*/ 53 w 63"/>
                <a:gd name="T9" fmla="*/ 63 h 63"/>
              </a:gdLst>
              <a:ahLst/>
              <a:cxnLst>
                <a:cxn ang="0">
                  <a:pos x="T0" y="T1"/>
                </a:cxn>
                <a:cxn ang="0">
                  <a:pos x="T2" y="T3"/>
                </a:cxn>
                <a:cxn ang="0">
                  <a:pos x="T4" y="T5"/>
                </a:cxn>
                <a:cxn ang="0">
                  <a:pos x="T6" y="T7"/>
                </a:cxn>
                <a:cxn ang="0">
                  <a:pos x="T8" y="T9"/>
                </a:cxn>
              </a:cxnLst>
              <a:rect l="0" t="0" r="r" b="b"/>
              <a:pathLst>
                <a:path w="63" h="63">
                  <a:moveTo>
                    <a:pt x="53" y="63"/>
                  </a:moveTo>
                  <a:lnTo>
                    <a:pt x="63" y="54"/>
                  </a:lnTo>
                  <a:lnTo>
                    <a:pt x="8" y="0"/>
                  </a:lnTo>
                  <a:lnTo>
                    <a:pt x="0" y="8"/>
                  </a:lnTo>
                  <a:lnTo>
                    <a:pt x="53" y="63"/>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18" name="Freeform 34"/>
            <p:cNvSpPr>
              <a:spLocks/>
            </p:cNvSpPr>
            <p:nvPr/>
          </p:nvSpPr>
          <p:spPr bwMode="auto">
            <a:xfrm>
              <a:off x="3178175" y="2724150"/>
              <a:ext cx="2547938" cy="2544763"/>
            </a:xfrm>
            <a:custGeom>
              <a:avLst/>
              <a:gdLst>
                <a:gd name="T0" fmla="*/ 1076 w 1122"/>
                <a:gd name="T1" fmla="*/ 561 h 1121"/>
                <a:gd name="T2" fmla="*/ 1030 w 1122"/>
                <a:gd name="T3" fmla="*/ 561 h 1121"/>
                <a:gd name="T4" fmla="*/ 993 w 1122"/>
                <a:gd name="T5" fmla="*/ 743 h 1121"/>
                <a:gd name="T6" fmla="*/ 823 w 1122"/>
                <a:gd name="T7" fmla="*/ 949 h 1121"/>
                <a:gd name="T8" fmla="*/ 561 w 1122"/>
                <a:gd name="T9" fmla="*/ 1029 h 1121"/>
                <a:gd name="T10" fmla="*/ 379 w 1122"/>
                <a:gd name="T11" fmla="*/ 993 h 1121"/>
                <a:gd name="T12" fmla="*/ 172 w 1122"/>
                <a:gd name="T13" fmla="*/ 823 h 1121"/>
                <a:gd name="T14" fmla="*/ 92 w 1122"/>
                <a:gd name="T15" fmla="*/ 561 h 1121"/>
                <a:gd name="T16" fmla="*/ 129 w 1122"/>
                <a:gd name="T17" fmla="*/ 378 h 1121"/>
                <a:gd name="T18" fmla="*/ 299 w 1122"/>
                <a:gd name="T19" fmla="*/ 172 h 1121"/>
                <a:gd name="T20" fmla="*/ 561 w 1122"/>
                <a:gd name="T21" fmla="*/ 92 h 1121"/>
                <a:gd name="T22" fmla="*/ 744 w 1122"/>
                <a:gd name="T23" fmla="*/ 128 h 1121"/>
                <a:gd name="T24" fmla="*/ 950 w 1122"/>
                <a:gd name="T25" fmla="*/ 298 h 1121"/>
                <a:gd name="T26" fmla="*/ 1030 w 1122"/>
                <a:gd name="T27" fmla="*/ 561 h 1121"/>
                <a:gd name="T28" fmla="*/ 1076 w 1122"/>
                <a:gd name="T29" fmla="*/ 561 h 1121"/>
                <a:gd name="T30" fmla="*/ 1122 w 1122"/>
                <a:gd name="T31" fmla="*/ 561 h 1121"/>
                <a:gd name="T32" fmla="*/ 1078 w 1122"/>
                <a:gd name="T33" fmla="*/ 342 h 1121"/>
                <a:gd name="T34" fmla="*/ 875 w 1122"/>
                <a:gd name="T35" fmla="*/ 96 h 1121"/>
                <a:gd name="T36" fmla="*/ 561 w 1122"/>
                <a:gd name="T37" fmla="*/ 0 h 1121"/>
                <a:gd name="T38" fmla="*/ 343 w 1122"/>
                <a:gd name="T39" fmla="*/ 44 h 1121"/>
                <a:gd name="T40" fmla="*/ 96 w 1122"/>
                <a:gd name="T41" fmla="*/ 247 h 1121"/>
                <a:gd name="T42" fmla="*/ 0 w 1122"/>
                <a:gd name="T43" fmla="*/ 561 h 1121"/>
                <a:gd name="T44" fmla="*/ 44 w 1122"/>
                <a:gd name="T45" fmla="*/ 779 h 1121"/>
                <a:gd name="T46" fmla="*/ 248 w 1122"/>
                <a:gd name="T47" fmla="*/ 1026 h 1121"/>
                <a:gd name="T48" fmla="*/ 561 w 1122"/>
                <a:gd name="T49" fmla="*/ 1121 h 1121"/>
                <a:gd name="T50" fmla="*/ 779 w 1122"/>
                <a:gd name="T51" fmla="*/ 1077 h 1121"/>
                <a:gd name="T52" fmla="*/ 1026 w 1122"/>
                <a:gd name="T53" fmla="*/ 874 h 1121"/>
                <a:gd name="T54" fmla="*/ 1122 w 1122"/>
                <a:gd name="T55" fmla="*/ 561 h 1121"/>
                <a:gd name="T56" fmla="*/ 1076 w 1122"/>
                <a:gd name="T57" fmla="*/ 561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2" h="1121">
                  <a:moveTo>
                    <a:pt x="1076" y="561"/>
                  </a:moveTo>
                  <a:cubicBezTo>
                    <a:pt x="1030" y="561"/>
                    <a:pt x="1030" y="561"/>
                    <a:pt x="1030" y="561"/>
                  </a:cubicBezTo>
                  <a:cubicBezTo>
                    <a:pt x="1030" y="625"/>
                    <a:pt x="1017" y="687"/>
                    <a:pt x="993" y="743"/>
                  </a:cubicBezTo>
                  <a:cubicBezTo>
                    <a:pt x="958" y="827"/>
                    <a:pt x="898" y="899"/>
                    <a:pt x="823" y="949"/>
                  </a:cubicBezTo>
                  <a:cubicBezTo>
                    <a:pt x="748" y="1000"/>
                    <a:pt x="658" y="1029"/>
                    <a:pt x="561" y="1029"/>
                  </a:cubicBezTo>
                  <a:cubicBezTo>
                    <a:pt x="496" y="1029"/>
                    <a:pt x="435" y="1016"/>
                    <a:pt x="379" y="993"/>
                  </a:cubicBezTo>
                  <a:cubicBezTo>
                    <a:pt x="294" y="957"/>
                    <a:pt x="223" y="898"/>
                    <a:pt x="172" y="823"/>
                  </a:cubicBezTo>
                  <a:cubicBezTo>
                    <a:pt x="122" y="748"/>
                    <a:pt x="92" y="658"/>
                    <a:pt x="92" y="561"/>
                  </a:cubicBezTo>
                  <a:cubicBezTo>
                    <a:pt x="92" y="496"/>
                    <a:pt x="105" y="434"/>
                    <a:pt x="129" y="378"/>
                  </a:cubicBezTo>
                  <a:cubicBezTo>
                    <a:pt x="165" y="294"/>
                    <a:pt x="224" y="222"/>
                    <a:pt x="299" y="172"/>
                  </a:cubicBezTo>
                  <a:cubicBezTo>
                    <a:pt x="374" y="121"/>
                    <a:pt x="464" y="92"/>
                    <a:pt x="561" y="92"/>
                  </a:cubicBezTo>
                  <a:cubicBezTo>
                    <a:pt x="626" y="92"/>
                    <a:pt x="688" y="105"/>
                    <a:pt x="744" y="128"/>
                  </a:cubicBezTo>
                  <a:cubicBezTo>
                    <a:pt x="828" y="164"/>
                    <a:pt x="899" y="224"/>
                    <a:pt x="950" y="298"/>
                  </a:cubicBezTo>
                  <a:cubicBezTo>
                    <a:pt x="1000" y="373"/>
                    <a:pt x="1030" y="463"/>
                    <a:pt x="1030" y="561"/>
                  </a:cubicBezTo>
                  <a:cubicBezTo>
                    <a:pt x="1076" y="561"/>
                    <a:pt x="1076" y="561"/>
                    <a:pt x="1076" y="561"/>
                  </a:cubicBezTo>
                  <a:cubicBezTo>
                    <a:pt x="1122" y="561"/>
                    <a:pt x="1122" y="561"/>
                    <a:pt x="1122" y="561"/>
                  </a:cubicBezTo>
                  <a:cubicBezTo>
                    <a:pt x="1122" y="483"/>
                    <a:pt x="1106" y="409"/>
                    <a:pt x="1078" y="342"/>
                  </a:cubicBezTo>
                  <a:cubicBezTo>
                    <a:pt x="1035" y="242"/>
                    <a:pt x="964" y="156"/>
                    <a:pt x="875" y="96"/>
                  </a:cubicBezTo>
                  <a:cubicBezTo>
                    <a:pt x="785" y="35"/>
                    <a:pt x="677" y="0"/>
                    <a:pt x="561" y="0"/>
                  </a:cubicBezTo>
                  <a:cubicBezTo>
                    <a:pt x="484" y="0"/>
                    <a:pt x="410" y="15"/>
                    <a:pt x="343" y="44"/>
                  </a:cubicBezTo>
                  <a:cubicBezTo>
                    <a:pt x="242" y="86"/>
                    <a:pt x="157" y="157"/>
                    <a:pt x="96" y="247"/>
                  </a:cubicBezTo>
                  <a:cubicBezTo>
                    <a:pt x="36" y="336"/>
                    <a:pt x="0" y="445"/>
                    <a:pt x="0" y="561"/>
                  </a:cubicBezTo>
                  <a:cubicBezTo>
                    <a:pt x="0" y="638"/>
                    <a:pt x="16" y="712"/>
                    <a:pt x="44" y="779"/>
                  </a:cubicBezTo>
                  <a:cubicBezTo>
                    <a:pt x="87" y="880"/>
                    <a:pt x="158" y="965"/>
                    <a:pt x="248" y="1026"/>
                  </a:cubicBezTo>
                  <a:cubicBezTo>
                    <a:pt x="337" y="1086"/>
                    <a:pt x="445" y="1121"/>
                    <a:pt x="561" y="1121"/>
                  </a:cubicBezTo>
                  <a:cubicBezTo>
                    <a:pt x="638" y="1121"/>
                    <a:pt x="712" y="1106"/>
                    <a:pt x="779" y="1077"/>
                  </a:cubicBezTo>
                  <a:cubicBezTo>
                    <a:pt x="880" y="1035"/>
                    <a:pt x="966" y="964"/>
                    <a:pt x="1026" y="874"/>
                  </a:cubicBezTo>
                  <a:cubicBezTo>
                    <a:pt x="1087" y="785"/>
                    <a:pt x="1122" y="677"/>
                    <a:pt x="1122" y="561"/>
                  </a:cubicBezTo>
                  <a:lnTo>
                    <a:pt x="1076" y="561"/>
                  </a:lnTo>
                  <a:close/>
                </a:path>
              </a:pathLst>
            </a:custGeom>
            <a:solidFill>
              <a:srgbClr val="E4E4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19" name="Freeform 35"/>
            <p:cNvSpPr>
              <a:spLocks/>
            </p:cNvSpPr>
            <p:nvPr/>
          </p:nvSpPr>
          <p:spPr bwMode="auto">
            <a:xfrm>
              <a:off x="3230563" y="2776538"/>
              <a:ext cx="2443163" cy="2439988"/>
            </a:xfrm>
            <a:custGeom>
              <a:avLst/>
              <a:gdLst>
                <a:gd name="T0" fmla="*/ 1053 w 1076"/>
                <a:gd name="T1" fmla="*/ 538 h 1075"/>
                <a:gd name="T2" fmla="*/ 1030 w 1076"/>
                <a:gd name="T3" fmla="*/ 538 h 1075"/>
                <a:gd name="T4" fmla="*/ 886 w 1076"/>
                <a:gd name="T5" fmla="*/ 885 h 1075"/>
                <a:gd name="T6" fmla="*/ 538 w 1076"/>
                <a:gd name="T7" fmla="*/ 1029 h 1075"/>
                <a:gd name="T8" fmla="*/ 190 w 1076"/>
                <a:gd name="T9" fmla="*/ 885 h 1075"/>
                <a:gd name="T10" fmla="*/ 46 w 1076"/>
                <a:gd name="T11" fmla="*/ 538 h 1075"/>
                <a:gd name="T12" fmla="*/ 190 w 1076"/>
                <a:gd name="T13" fmla="*/ 190 h 1075"/>
                <a:gd name="T14" fmla="*/ 538 w 1076"/>
                <a:gd name="T15" fmla="*/ 46 h 1075"/>
                <a:gd name="T16" fmla="*/ 886 w 1076"/>
                <a:gd name="T17" fmla="*/ 190 h 1075"/>
                <a:gd name="T18" fmla="*/ 1030 w 1076"/>
                <a:gd name="T19" fmla="*/ 538 h 1075"/>
                <a:gd name="T20" fmla="*/ 1053 w 1076"/>
                <a:gd name="T21" fmla="*/ 538 h 1075"/>
                <a:gd name="T22" fmla="*/ 1076 w 1076"/>
                <a:gd name="T23" fmla="*/ 538 h 1075"/>
                <a:gd name="T24" fmla="*/ 918 w 1076"/>
                <a:gd name="T25" fmla="*/ 157 h 1075"/>
                <a:gd name="T26" fmla="*/ 538 w 1076"/>
                <a:gd name="T27" fmla="*/ 0 h 1075"/>
                <a:gd name="T28" fmla="*/ 158 w 1076"/>
                <a:gd name="T29" fmla="*/ 157 h 1075"/>
                <a:gd name="T30" fmla="*/ 0 w 1076"/>
                <a:gd name="T31" fmla="*/ 538 h 1075"/>
                <a:gd name="T32" fmla="*/ 158 w 1076"/>
                <a:gd name="T33" fmla="*/ 918 h 1075"/>
                <a:gd name="T34" fmla="*/ 538 w 1076"/>
                <a:gd name="T35" fmla="*/ 1075 h 1075"/>
                <a:gd name="T36" fmla="*/ 918 w 1076"/>
                <a:gd name="T37" fmla="*/ 918 h 1075"/>
                <a:gd name="T38" fmla="*/ 1076 w 1076"/>
                <a:gd name="T39" fmla="*/ 538 h 1075"/>
                <a:gd name="T40" fmla="*/ 1053 w 1076"/>
                <a:gd name="T41" fmla="*/ 538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6" h="1075">
                  <a:moveTo>
                    <a:pt x="1053" y="538"/>
                  </a:moveTo>
                  <a:cubicBezTo>
                    <a:pt x="1030" y="538"/>
                    <a:pt x="1030" y="538"/>
                    <a:pt x="1030" y="538"/>
                  </a:cubicBezTo>
                  <a:cubicBezTo>
                    <a:pt x="1030" y="673"/>
                    <a:pt x="975" y="796"/>
                    <a:pt x="886" y="885"/>
                  </a:cubicBezTo>
                  <a:cubicBezTo>
                    <a:pt x="797" y="974"/>
                    <a:pt x="674" y="1029"/>
                    <a:pt x="538" y="1029"/>
                  </a:cubicBezTo>
                  <a:cubicBezTo>
                    <a:pt x="402" y="1029"/>
                    <a:pt x="279" y="974"/>
                    <a:pt x="190" y="885"/>
                  </a:cubicBezTo>
                  <a:cubicBezTo>
                    <a:pt x="101" y="796"/>
                    <a:pt x="46" y="673"/>
                    <a:pt x="46" y="538"/>
                  </a:cubicBezTo>
                  <a:cubicBezTo>
                    <a:pt x="46" y="402"/>
                    <a:pt x="101" y="279"/>
                    <a:pt x="190" y="190"/>
                  </a:cubicBezTo>
                  <a:cubicBezTo>
                    <a:pt x="279" y="101"/>
                    <a:pt x="402" y="46"/>
                    <a:pt x="538" y="46"/>
                  </a:cubicBezTo>
                  <a:cubicBezTo>
                    <a:pt x="674" y="46"/>
                    <a:pt x="797" y="101"/>
                    <a:pt x="886" y="190"/>
                  </a:cubicBezTo>
                  <a:cubicBezTo>
                    <a:pt x="975" y="279"/>
                    <a:pt x="1030" y="402"/>
                    <a:pt x="1030" y="538"/>
                  </a:cubicBezTo>
                  <a:cubicBezTo>
                    <a:pt x="1053" y="538"/>
                    <a:pt x="1053" y="538"/>
                    <a:pt x="1053" y="538"/>
                  </a:cubicBezTo>
                  <a:cubicBezTo>
                    <a:pt x="1076" y="538"/>
                    <a:pt x="1076" y="538"/>
                    <a:pt x="1076" y="538"/>
                  </a:cubicBezTo>
                  <a:cubicBezTo>
                    <a:pt x="1076" y="389"/>
                    <a:pt x="1016" y="255"/>
                    <a:pt x="918" y="157"/>
                  </a:cubicBezTo>
                  <a:cubicBezTo>
                    <a:pt x="821" y="60"/>
                    <a:pt x="687" y="0"/>
                    <a:pt x="538" y="0"/>
                  </a:cubicBezTo>
                  <a:cubicBezTo>
                    <a:pt x="390" y="0"/>
                    <a:pt x="255" y="60"/>
                    <a:pt x="158" y="157"/>
                  </a:cubicBezTo>
                  <a:cubicBezTo>
                    <a:pt x="61" y="255"/>
                    <a:pt x="0" y="389"/>
                    <a:pt x="0" y="538"/>
                  </a:cubicBezTo>
                  <a:cubicBezTo>
                    <a:pt x="0" y="686"/>
                    <a:pt x="61" y="821"/>
                    <a:pt x="158" y="918"/>
                  </a:cubicBezTo>
                  <a:cubicBezTo>
                    <a:pt x="255" y="1015"/>
                    <a:pt x="390" y="1075"/>
                    <a:pt x="538" y="1075"/>
                  </a:cubicBezTo>
                  <a:cubicBezTo>
                    <a:pt x="687" y="1075"/>
                    <a:pt x="821" y="1015"/>
                    <a:pt x="918" y="918"/>
                  </a:cubicBezTo>
                  <a:cubicBezTo>
                    <a:pt x="1016" y="821"/>
                    <a:pt x="1076" y="686"/>
                    <a:pt x="1076" y="538"/>
                  </a:cubicBezTo>
                  <a:lnTo>
                    <a:pt x="1053" y="538"/>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grpSp>
      <p:grpSp>
        <p:nvGrpSpPr>
          <p:cNvPr id="120" name="Group 119"/>
          <p:cNvGrpSpPr/>
          <p:nvPr/>
        </p:nvGrpSpPr>
        <p:grpSpPr>
          <a:xfrm>
            <a:off x="8568771" y="5438857"/>
            <a:ext cx="7159160" cy="6257519"/>
            <a:chOff x="2484438" y="2819400"/>
            <a:chExt cx="3579813" cy="3128963"/>
          </a:xfrm>
          <a:solidFill>
            <a:schemeClr val="accent2"/>
          </a:solidFill>
          <a:effectLst>
            <a:outerShdw blurRad="38100" dist="25400" dir="5400000" algn="ctr" rotWithShape="0">
              <a:srgbClr val="000000">
                <a:alpha val="20000"/>
              </a:srgbClr>
            </a:outerShdw>
          </a:effectLst>
        </p:grpSpPr>
        <p:sp>
          <p:nvSpPr>
            <p:cNvPr id="121" name="Freeform 11"/>
            <p:cNvSpPr>
              <a:spLocks/>
            </p:cNvSpPr>
            <p:nvPr/>
          </p:nvSpPr>
          <p:spPr bwMode="auto">
            <a:xfrm>
              <a:off x="2840038" y="2819400"/>
              <a:ext cx="3224213" cy="2787650"/>
            </a:xfrm>
            <a:custGeom>
              <a:avLst/>
              <a:gdLst>
                <a:gd name="T0" fmla="*/ 710 w 1420"/>
                <a:gd name="T1" fmla="*/ 1228 h 1228"/>
                <a:gd name="T2" fmla="*/ 208 w 1420"/>
                <a:gd name="T3" fmla="*/ 1020 h 1228"/>
                <a:gd name="T4" fmla="*/ 0 w 1420"/>
                <a:gd name="T5" fmla="*/ 519 h 1228"/>
                <a:gd name="T6" fmla="*/ 208 w 1420"/>
                <a:gd name="T7" fmla="*/ 17 h 1228"/>
                <a:gd name="T8" fmla="*/ 270 w 1420"/>
                <a:gd name="T9" fmla="*/ 17 h 1228"/>
                <a:gd name="T10" fmla="*/ 270 w 1420"/>
                <a:gd name="T11" fmla="*/ 80 h 1228"/>
                <a:gd name="T12" fmla="*/ 89 w 1420"/>
                <a:gd name="T13" fmla="*/ 519 h 1228"/>
                <a:gd name="T14" fmla="*/ 710 w 1420"/>
                <a:gd name="T15" fmla="*/ 1140 h 1228"/>
                <a:gd name="T16" fmla="*/ 1331 w 1420"/>
                <a:gd name="T17" fmla="*/ 519 h 1228"/>
                <a:gd name="T18" fmla="*/ 1376 w 1420"/>
                <a:gd name="T19" fmla="*/ 474 h 1228"/>
                <a:gd name="T20" fmla="*/ 1420 w 1420"/>
                <a:gd name="T21" fmla="*/ 519 h 1228"/>
                <a:gd name="T22" fmla="*/ 1212 w 1420"/>
                <a:gd name="T23" fmla="*/ 1020 h 1228"/>
                <a:gd name="T24" fmla="*/ 710 w 1420"/>
                <a:gd name="T25" fmla="*/ 1228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0" h="1228">
                  <a:moveTo>
                    <a:pt x="710" y="1228"/>
                  </a:moveTo>
                  <a:cubicBezTo>
                    <a:pt x="520" y="1228"/>
                    <a:pt x="342" y="1154"/>
                    <a:pt x="208" y="1020"/>
                  </a:cubicBezTo>
                  <a:cubicBezTo>
                    <a:pt x="74" y="886"/>
                    <a:pt x="0" y="708"/>
                    <a:pt x="0" y="519"/>
                  </a:cubicBezTo>
                  <a:cubicBezTo>
                    <a:pt x="0" y="329"/>
                    <a:pt x="74" y="151"/>
                    <a:pt x="208" y="17"/>
                  </a:cubicBezTo>
                  <a:cubicBezTo>
                    <a:pt x="225" y="0"/>
                    <a:pt x="253" y="0"/>
                    <a:pt x="270" y="17"/>
                  </a:cubicBezTo>
                  <a:cubicBezTo>
                    <a:pt x="288" y="34"/>
                    <a:pt x="288" y="62"/>
                    <a:pt x="270" y="80"/>
                  </a:cubicBezTo>
                  <a:cubicBezTo>
                    <a:pt x="153" y="197"/>
                    <a:pt x="89" y="353"/>
                    <a:pt x="89" y="519"/>
                  </a:cubicBezTo>
                  <a:cubicBezTo>
                    <a:pt x="89" y="861"/>
                    <a:pt x="368" y="1140"/>
                    <a:pt x="710" y="1140"/>
                  </a:cubicBezTo>
                  <a:cubicBezTo>
                    <a:pt x="1053" y="1140"/>
                    <a:pt x="1331" y="861"/>
                    <a:pt x="1331" y="519"/>
                  </a:cubicBezTo>
                  <a:cubicBezTo>
                    <a:pt x="1331" y="494"/>
                    <a:pt x="1351" y="474"/>
                    <a:pt x="1376" y="474"/>
                  </a:cubicBezTo>
                  <a:cubicBezTo>
                    <a:pt x="1400" y="474"/>
                    <a:pt x="1420" y="494"/>
                    <a:pt x="1420" y="519"/>
                  </a:cubicBezTo>
                  <a:cubicBezTo>
                    <a:pt x="1420" y="708"/>
                    <a:pt x="1346" y="886"/>
                    <a:pt x="1212" y="1020"/>
                  </a:cubicBezTo>
                  <a:cubicBezTo>
                    <a:pt x="1078" y="1154"/>
                    <a:pt x="900" y="1228"/>
                    <a:pt x="710" y="1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22" name="Freeform 36"/>
            <p:cNvSpPr>
              <a:spLocks/>
            </p:cNvSpPr>
            <p:nvPr/>
          </p:nvSpPr>
          <p:spPr bwMode="auto">
            <a:xfrm>
              <a:off x="2560638" y="5024438"/>
              <a:ext cx="849313" cy="849313"/>
            </a:xfrm>
            <a:custGeom>
              <a:avLst/>
              <a:gdLst>
                <a:gd name="T0" fmla="*/ 38 w 535"/>
                <a:gd name="T1" fmla="*/ 535 h 535"/>
                <a:gd name="T2" fmla="*/ 0 w 535"/>
                <a:gd name="T3" fmla="*/ 496 h 535"/>
                <a:gd name="T4" fmla="*/ 496 w 535"/>
                <a:gd name="T5" fmla="*/ 0 h 535"/>
                <a:gd name="T6" fmla="*/ 535 w 535"/>
                <a:gd name="T7" fmla="*/ 38 h 535"/>
                <a:gd name="T8" fmla="*/ 38 w 535"/>
                <a:gd name="T9" fmla="*/ 535 h 535"/>
              </a:gdLst>
              <a:ahLst/>
              <a:cxnLst>
                <a:cxn ang="0">
                  <a:pos x="T0" y="T1"/>
                </a:cxn>
                <a:cxn ang="0">
                  <a:pos x="T2" y="T3"/>
                </a:cxn>
                <a:cxn ang="0">
                  <a:pos x="T4" y="T5"/>
                </a:cxn>
                <a:cxn ang="0">
                  <a:pos x="T6" y="T7"/>
                </a:cxn>
                <a:cxn ang="0">
                  <a:pos x="T8" y="T9"/>
                </a:cxn>
              </a:cxnLst>
              <a:rect l="0" t="0" r="r" b="b"/>
              <a:pathLst>
                <a:path w="535" h="535">
                  <a:moveTo>
                    <a:pt x="38" y="535"/>
                  </a:moveTo>
                  <a:lnTo>
                    <a:pt x="0" y="496"/>
                  </a:lnTo>
                  <a:lnTo>
                    <a:pt x="496" y="0"/>
                  </a:lnTo>
                  <a:lnTo>
                    <a:pt x="535" y="38"/>
                  </a:lnTo>
                  <a:lnTo>
                    <a:pt x="38"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123" name="Freeform 37"/>
            <p:cNvSpPr>
              <a:spLocks/>
            </p:cNvSpPr>
            <p:nvPr/>
          </p:nvSpPr>
          <p:spPr bwMode="auto">
            <a:xfrm>
              <a:off x="2484438" y="5732463"/>
              <a:ext cx="215900" cy="215900"/>
            </a:xfrm>
            <a:custGeom>
              <a:avLst/>
              <a:gdLst>
                <a:gd name="T0" fmla="*/ 17 w 95"/>
                <a:gd name="T1" fmla="*/ 17 h 95"/>
                <a:gd name="T2" fmla="*/ 17 w 95"/>
                <a:gd name="T3" fmla="*/ 78 h 95"/>
                <a:gd name="T4" fmla="*/ 79 w 95"/>
                <a:gd name="T5" fmla="*/ 78 h 95"/>
                <a:gd name="T6" fmla="*/ 79 w 95"/>
                <a:gd name="T7" fmla="*/ 17 h 95"/>
                <a:gd name="T8" fmla="*/ 17 w 95"/>
                <a:gd name="T9" fmla="*/ 17 h 95"/>
              </a:gdLst>
              <a:ahLst/>
              <a:cxnLst>
                <a:cxn ang="0">
                  <a:pos x="T0" y="T1"/>
                </a:cxn>
                <a:cxn ang="0">
                  <a:pos x="T2" y="T3"/>
                </a:cxn>
                <a:cxn ang="0">
                  <a:pos x="T4" y="T5"/>
                </a:cxn>
                <a:cxn ang="0">
                  <a:pos x="T6" y="T7"/>
                </a:cxn>
                <a:cxn ang="0">
                  <a:pos x="T8" y="T9"/>
                </a:cxn>
              </a:cxnLst>
              <a:rect l="0" t="0" r="r" b="b"/>
              <a:pathLst>
                <a:path w="95" h="95">
                  <a:moveTo>
                    <a:pt x="17" y="17"/>
                  </a:moveTo>
                  <a:cubicBezTo>
                    <a:pt x="0" y="33"/>
                    <a:pt x="0" y="61"/>
                    <a:pt x="17" y="78"/>
                  </a:cubicBezTo>
                  <a:cubicBezTo>
                    <a:pt x="34" y="95"/>
                    <a:pt x="62" y="95"/>
                    <a:pt x="79" y="78"/>
                  </a:cubicBezTo>
                  <a:cubicBezTo>
                    <a:pt x="95" y="61"/>
                    <a:pt x="95" y="33"/>
                    <a:pt x="79" y="17"/>
                  </a:cubicBezTo>
                  <a:cubicBezTo>
                    <a:pt x="62" y="0"/>
                    <a:pt x="34" y="0"/>
                    <a:pt x="17"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grpSp>
      <p:grpSp>
        <p:nvGrpSpPr>
          <p:cNvPr id="162" name="Group 161"/>
          <p:cNvGrpSpPr/>
          <p:nvPr/>
        </p:nvGrpSpPr>
        <p:grpSpPr>
          <a:xfrm>
            <a:off x="7477283" y="2755143"/>
            <a:ext cx="1176615" cy="1173636"/>
            <a:chOff x="1844383" y="1394308"/>
            <a:chExt cx="861398" cy="859217"/>
          </a:xfrm>
        </p:grpSpPr>
        <p:sp>
          <p:nvSpPr>
            <p:cNvPr id="163" name="Oval 162"/>
            <p:cNvSpPr>
              <a:spLocks noChangeArrowheads="1"/>
            </p:cNvSpPr>
            <p:nvPr/>
          </p:nvSpPr>
          <p:spPr bwMode="auto">
            <a:xfrm>
              <a:off x="1844383" y="1394308"/>
              <a:ext cx="861398" cy="859217"/>
            </a:xfrm>
            <a:prstGeom prst="ellipse">
              <a:avLst/>
            </a:prstGeom>
            <a:solidFill>
              <a:schemeClr val="bg1"/>
            </a:solidFill>
            <a:ln w="14288" cap="flat">
              <a:noFill/>
              <a:prstDash val="solid"/>
              <a:miter lim="800000"/>
              <a:headEnd/>
              <a:tailEnd/>
            </a:ln>
            <a:effectLst>
              <a:outerShdw blurRad="50800" dist="38100" dir="5400000" algn="t" rotWithShape="0">
                <a:prstClr val="black">
                  <a:alpha val="3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164" name="Oval 163"/>
            <p:cNvSpPr>
              <a:spLocks noChangeArrowheads="1"/>
            </p:cNvSpPr>
            <p:nvPr/>
          </p:nvSpPr>
          <p:spPr bwMode="auto">
            <a:xfrm>
              <a:off x="1941427" y="1490261"/>
              <a:ext cx="666221" cy="668402"/>
            </a:xfrm>
            <a:prstGeom prst="ellipse">
              <a:avLst/>
            </a:prstGeom>
            <a:solidFill>
              <a:schemeClr val="accent3"/>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grpSp>
      <p:grpSp>
        <p:nvGrpSpPr>
          <p:cNvPr id="168" name="Group 167"/>
          <p:cNvGrpSpPr/>
          <p:nvPr/>
        </p:nvGrpSpPr>
        <p:grpSpPr>
          <a:xfrm>
            <a:off x="15620343" y="2782767"/>
            <a:ext cx="1176615" cy="1173636"/>
            <a:chOff x="1844383" y="1394308"/>
            <a:chExt cx="861398" cy="859217"/>
          </a:xfrm>
        </p:grpSpPr>
        <p:sp>
          <p:nvSpPr>
            <p:cNvPr id="169" name="Oval 168"/>
            <p:cNvSpPr>
              <a:spLocks noChangeArrowheads="1"/>
            </p:cNvSpPr>
            <p:nvPr/>
          </p:nvSpPr>
          <p:spPr bwMode="auto">
            <a:xfrm>
              <a:off x="1844383" y="1394308"/>
              <a:ext cx="861398" cy="859217"/>
            </a:xfrm>
            <a:prstGeom prst="ellipse">
              <a:avLst/>
            </a:prstGeom>
            <a:solidFill>
              <a:schemeClr val="bg1"/>
            </a:solidFill>
            <a:ln w="14288" cap="flat">
              <a:noFill/>
              <a:prstDash val="solid"/>
              <a:miter lim="800000"/>
              <a:headEnd/>
              <a:tailEnd/>
            </a:ln>
            <a:effectLst>
              <a:outerShdw blurRad="50800" dist="38100" dir="5400000" algn="t" rotWithShape="0">
                <a:prstClr val="black">
                  <a:alpha val="3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170" name="Oval 169"/>
            <p:cNvSpPr>
              <a:spLocks noChangeArrowheads="1"/>
            </p:cNvSpPr>
            <p:nvPr/>
          </p:nvSpPr>
          <p:spPr bwMode="auto">
            <a:xfrm>
              <a:off x="1941427" y="1490261"/>
              <a:ext cx="666221" cy="668402"/>
            </a:xfrm>
            <a:prstGeom prst="ellipse">
              <a:avLst/>
            </a:prstGeom>
            <a:solidFill>
              <a:schemeClr val="accent1">
                <a:lumMod val="60000"/>
                <a:lumOff val="40000"/>
              </a:schemeClr>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grpSp>
      <p:grpSp>
        <p:nvGrpSpPr>
          <p:cNvPr id="171" name="Group 170"/>
          <p:cNvGrpSpPr/>
          <p:nvPr/>
        </p:nvGrpSpPr>
        <p:grpSpPr>
          <a:xfrm>
            <a:off x="7274874" y="10808119"/>
            <a:ext cx="1176615" cy="1173636"/>
            <a:chOff x="1844383" y="1394308"/>
            <a:chExt cx="861398" cy="859217"/>
          </a:xfrm>
        </p:grpSpPr>
        <p:sp>
          <p:nvSpPr>
            <p:cNvPr id="173" name="Oval 172"/>
            <p:cNvSpPr>
              <a:spLocks noChangeArrowheads="1"/>
            </p:cNvSpPr>
            <p:nvPr/>
          </p:nvSpPr>
          <p:spPr bwMode="auto">
            <a:xfrm>
              <a:off x="1844383" y="1394308"/>
              <a:ext cx="861398" cy="859217"/>
            </a:xfrm>
            <a:prstGeom prst="ellipse">
              <a:avLst/>
            </a:prstGeom>
            <a:solidFill>
              <a:schemeClr val="bg1"/>
            </a:solidFill>
            <a:ln w="14288" cap="flat">
              <a:noFill/>
              <a:prstDash val="solid"/>
              <a:miter lim="800000"/>
              <a:headEnd/>
              <a:tailEnd/>
            </a:ln>
            <a:effectLst>
              <a:outerShdw blurRad="50800" dist="38100" dir="5400000" algn="t" rotWithShape="0">
                <a:prstClr val="black">
                  <a:alpha val="3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174" name="Oval 173"/>
            <p:cNvSpPr>
              <a:spLocks noChangeArrowheads="1"/>
            </p:cNvSpPr>
            <p:nvPr/>
          </p:nvSpPr>
          <p:spPr bwMode="auto">
            <a:xfrm>
              <a:off x="1941427" y="1490261"/>
              <a:ext cx="666221" cy="668402"/>
            </a:xfrm>
            <a:prstGeom prst="ellipse">
              <a:avLst/>
            </a:prstGeom>
            <a:solidFill>
              <a:schemeClr val="accent2"/>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grpSp>
      <p:sp>
        <p:nvSpPr>
          <p:cNvPr id="175" name="Freeform 3391"/>
          <p:cNvSpPr>
            <a:spLocks noEditPoints="1"/>
          </p:cNvSpPr>
          <p:nvPr/>
        </p:nvSpPr>
        <p:spPr bwMode="auto">
          <a:xfrm>
            <a:off x="7678392" y="11204439"/>
            <a:ext cx="368092" cy="368092"/>
          </a:xfrm>
          <a:custGeom>
            <a:avLst/>
            <a:gdLst>
              <a:gd name="T0" fmla="*/ 400 w 721"/>
              <a:gd name="T1" fmla="*/ 502 h 721"/>
              <a:gd name="T2" fmla="*/ 441 w 721"/>
              <a:gd name="T3" fmla="*/ 487 h 721"/>
              <a:gd name="T4" fmla="*/ 456 w 721"/>
              <a:gd name="T5" fmla="*/ 469 h 721"/>
              <a:gd name="T6" fmla="*/ 477 w 721"/>
              <a:gd name="T7" fmla="*/ 475 h 721"/>
              <a:gd name="T8" fmla="*/ 498 w 721"/>
              <a:gd name="T9" fmla="*/ 505 h 721"/>
              <a:gd name="T10" fmla="*/ 361 w 721"/>
              <a:gd name="T11" fmla="*/ 709 h 721"/>
              <a:gd name="T12" fmla="*/ 315 w 721"/>
              <a:gd name="T13" fmla="*/ 654 h 721"/>
              <a:gd name="T14" fmla="*/ 347 w 721"/>
              <a:gd name="T15" fmla="*/ 606 h 721"/>
              <a:gd name="T16" fmla="*/ 365 w 721"/>
              <a:gd name="T17" fmla="*/ 601 h 721"/>
              <a:gd name="T18" fmla="*/ 387 w 721"/>
              <a:gd name="T19" fmla="*/ 623 h 721"/>
              <a:gd name="T20" fmla="*/ 415 w 721"/>
              <a:gd name="T21" fmla="*/ 691 h 721"/>
              <a:gd name="T22" fmla="*/ 225 w 721"/>
              <a:gd name="T23" fmla="*/ 505 h 721"/>
              <a:gd name="T24" fmla="*/ 245 w 721"/>
              <a:gd name="T25" fmla="*/ 477 h 721"/>
              <a:gd name="T26" fmla="*/ 265 w 721"/>
              <a:gd name="T27" fmla="*/ 469 h 721"/>
              <a:gd name="T28" fmla="*/ 280 w 721"/>
              <a:gd name="T29" fmla="*/ 487 h 721"/>
              <a:gd name="T30" fmla="*/ 321 w 721"/>
              <a:gd name="T31" fmla="*/ 502 h 721"/>
              <a:gd name="T32" fmla="*/ 222 w 721"/>
              <a:gd name="T33" fmla="*/ 511 h 721"/>
              <a:gd name="T34" fmla="*/ 397 w 721"/>
              <a:gd name="T35" fmla="*/ 541 h 721"/>
              <a:gd name="T36" fmla="*/ 385 w 721"/>
              <a:gd name="T37" fmla="*/ 565 h 721"/>
              <a:gd name="T38" fmla="*/ 361 w 721"/>
              <a:gd name="T39" fmla="*/ 577 h 721"/>
              <a:gd name="T40" fmla="*/ 335 w 721"/>
              <a:gd name="T41" fmla="*/ 565 h 721"/>
              <a:gd name="T42" fmla="*/ 325 w 721"/>
              <a:gd name="T43" fmla="*/ 541 h 721"/>
              <a:gd name="T44" fmla="*/ 681 w 721"/>
              <a:gd name="T45" fmla="*/ 552 h 721"/>
              <a:gd name="T46" fmla="*/ 633 w 721"/>
              <a:gd name="T47" fmla="*/ 522 h 721"/>
              <a:gd name="T48" fmla="*/ 524 w 721"/>
              <a:gd name="T49" fmla="*/ 477 h 721"/>
              <a:gd name="T50" fmla="*/ 484 w 721"/>
              <a:gd name="T51" fmla="*/ 448 h 721"/>
              <a:gd name="T52" fmla="*/ 457 w 721"/>
              <a:gd name="T53" fmla="*/ 433 h 721"/>
              <a:gd name="T54" fmla="*/ 466 w 721"/>
              <a:gd name="T55" fmla="*/ 366 h 721"/>
              <a:gd name="T56" fmla="*/ 489 w 721"/>
              <a:gd name="T57" fmla="*/ 322 h 721"/>
              <a:gd name="T58" fmla="*/ 504 w 721"/>
              <a:gd name="T59" fmla="*/ 279 h 721"/>
              <a:gd name="T60" fmla="*/ 513 w 721"/>
              <a:gd name="T61" fmla="*/ 247 h 721"/>
              <a:gd name="T62" fmla="*/ 506 w 721"/>
              <a:gd name="T63" fmla="*/ 215 h 721"/>
              <a:gd name="T64" fmla="*/ 501 w 721"/>
              <a:gd name="T65" fmla="*/ 193 h 721"/>
              <a:gd name="T66" fmla="*/ 527 w 721"/>
              <a:gd name="T67" fmla="*/ 102 h 721"/>
              <a:gd name="T68" fmla="*/ 519 w 721"/>
              <a:gd name="T69" fmla="*/ 51 h 721"/>
              <a:gd name="T70" fmla="*/ 493 w 721"/>
              <a:gd name="T71" fmla="*/ 26 h 721"/>
              <a:gd name="T72" fmla="*/ 453 w 721"/>
              <a:gd name="T73" fmla="*/ 9 h 721"/>
              <a:gd name="T74" fmla="*/ 383 w 721"/>
              <a:gd name="T75" fmla="*/ 0 h 721"/>
              <a:gd name="T76" fmla="*/ 311 w 721"/>
              <a:gd name="T77" fmla="*/ 9 h 721"/>
              <a:gd name="T78" fmla="*/ 271 w 721"/>
              <a:gd name="T79" fmla="*/ 32 h 721"/>
              <a:gd name="T80" fmla="*/ 239 w 721"/>
              <a:gd name="T81" fmla="*/ 50 h 721"/>
              <a:gd name="T82" fmla="*/ 222 w 721"/>
              <a:gd name="T83" fmla="*/ 66 h 721"/>
              <a:gd name="T84" fmla="*/ 211 w 721"/>
              <a:gd name="T85" fmla="*/ 95 h 721"/>
              <a:gd name="T86" fmla="*/ 217 w 721"/>
              <a:gd name="T87" fmla="*/ 164 h 721"/>
              <a:gd name="T88" fmla="*/ 227 w 721"/>
              <a:gd name="T89" fmla="*/ 202 h 721"/>
              <a:gd name="T90" fmla="*/ 212 w 721"/>
              <a:gd name="T91" fmla="*/ 230 h 721"/>
              <a:gd name="T92" fmla="*/ 213 w 721"/>
              <a:gd name="T93" fmla="*/ 263 h 721"/>
              <a:gd name="T94" fmla="*/ 229 w 721"/>
              <a:gd name="T95" fmla="*/ 290 h 721"/>
              <a:gd name="T96" fmla="*/ 243 w 721"/>
              <a:gd name="T97" fmla="*/ 348 h 721"/>
              <a:gd name="T98" fmla="*/ 265 w 721"/>
              <a:gd name="T99" fmla="*/ 378 h 721"/>
              <a:gd name="T100" fmla="*/ 249 w 721"/>
              <a:gd name="T101" fmla="*/ 441 h 721"/>
              <a:gd name="T102" fmla="*/ 209 w 721"/>
              <a:gd name="T103" fmla="*/ 473 h 721"/>
              <a:gd name="T104" fmla="*/ 134 w 721"/>
              <a:gd name="T105" fmla="*/ 502 h 721"/>
              <a:gd name="T106" fmla="*/ 50 w 721"/>
              <a:gd name="T107" fmla="*/ 547 h 721"/>
              <a:gd name="T108" fmla="*/ 28 w 721"/>
              <a:gd name="T109" fmla="*/ 573 h 721"/>
              <a:gd name="T110" fmla="*/ 9 w 721"/>
              <a:gd name="T111" fmla="*/ 629 h 721"/>
              <a:gd name="T112" fmla="*/ 0 w 721"/>
              <a:gd name="T113" fmla="*/ 713 h 721"/>
              <a:gd name="T114" fmla="*/ 709 w 721"/>
              <a:gd name="T115" fmla="*/ 721 h 721"/>
              <a:gd name="T116" fmla="*/ 721 w 721"/>
              <a:gd name="T117" fmla="*/ 709 h 721"/>
              <a:gd name="T118" fmla="*/ 709 w 721"/>
              <a:gd name="T119" fmla="*/ 606 h 721"/>
              <a:gd name="T120" fmla="*/ 691 w 721"/>
              <a:gd name="T121" fmla="*/ 564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1" h="721">
                <a:moveTo>
                  <a:pt x="415" y="510"/>
                </a:moveTo>
                <a:lnTo>
                  <a:pt x="415" y="510"/>
                </a:lnTo>
                <a:lnTo>
                  <a:pt x="415" y="510"/>
                </a:lnTo>
                <a:lnTo>
                  <a:pt x="400" y="502"/>
                </a:lnTo>
                <a:lnTo>
                  <a:pt x="414" y="498"/>
                </a:lnTo>
                <a:lnTo>
                  <a:pt x="428" y="493"/>
                </a:lnTo>
                <a:lnTo>
                  <a:pt x="434" y="491"/>
                </a:lnTo>
                <a:lnTo>
                  <a:pt x="441" y="487"/>
                </a:lnTo>
                <a:lnTo>
                  <a:pt x="447" y="482"/>
                </a:lnTo>
                <a:lnTo>
                  <a:pt x="453" y="477"/>
                </a:lnTo>
                <a:lnTo>
                  <a:pt x="456" y="473"/>
                </a:lnTo>
                <a:lnTo>
                  <a:pt x="456" y="469"/>
                </a:lnTo>
                <a:lnTo>
                  <a:pt x="456" y="459"/>
                </a:lnTo>
                <a:lnTo>
                  <a:pt x="464" y="462"/>
                </a:lnTo>
                <a:lnTo>
                  <a:pt x="470" y="469"/>
                </a:lnTo>
                <a:lnTo>
                  <a:pt x="477" y="475"/>
                </a:lnTo>
                <a:lnTo>
                  <a:pt x="483" y="482"/>
                </a:lnTo>
                <a:lnTo>
                  <a:pt x="489" y="489"/>
                </a:lnTo>
                <a:lnTo>
                  <a:pt x="495" y="497"/>
                </a:lnTo>
                <a:lnTo>
                  <a:pt x="498" y="505"/>
                </a:lnTo>
                <a:lnTo>
                  <a:pt x="501" y="511"/>
                </a:lnTo>
                <a:lnTo>
                  <a:pt x="522" y="574"/>
                </a:lnTo>
                <a:lnTo>
                  <a:pt x="415" y="510"/>
                </a:lnTo>
                <a:close/>
                <a:moveTo>
                  <a:pt x="361" y="709"/>
                </a:moveTo>
                <a:lnTo>
                  <a:pt x="293" y="709"/>
                </a:lnTo>
                <a:lnTo>
                  <a:pt x="299" y="691"/>
                </a:lnTo>
                <a:lnTo>
                  <a:pt x="306" y="672"/>
                </a:lnTo>
                <a:lnTo>
                  <a:pt x="315" y="654"/>
                </a:lnTo>
                <a:lnTo>
                  <a:pt x="322" y="637"/>
                </a:lnTo>
                <a:lnTo>
                  <a:pt x="333" y="623"/>
                </a:lnTo>
                <a:lnTo>
                  <a:pt x="342" y="611"/>
                </a:lnTo>
                <a:lnTo>
                  <a:pt x="347" y="606"/>
                </a:lnTo>
                <a:lnTo>
                  <a:pt x="351" y="604"/>
                </a:lnTo>
                <a:lnTo>
                  <a:pt x="356" y="601"/>
                </a:lnTo>
                <a:lnTo>
                  <a:pt x="361" y="601"/>
                </a:lnTo>
                <a:lnTo>
                  <a:pt x="365" y="601"/>
                </a:lnTo>
                <a:lnTo>
                  <a:pt x="370" y="604"/>
                </a:lnTo>
                <a:lnTo>
                  <a:pt x="374" y="606"/>
                </a:lnTo>
                <a:lnTo>
                  <a:pt x="379" y="611"/>
                </a:lnTo>
                <a:lnTo>
                  <a:pt x="387" y="623"/>
                </a:lnTo>
                <a:lnTo>
                  <a:pt x="396" y="637"/>
                </a:lnTo>
                <a:lnTo>
                  <a:pt x="403" y="654"/>
                </a:lnTo>
                <a:lnTo>
                  <a:pt x="410" y="673"/>
                </a:lnTo>
                <a:lnTo>
                  <a:pt x="415" y="691"/>
                </a:lnTo>
                <a:lnTo>
                  <a:pt x="420" y="709"/>
                </a:lnTo>
                <a:lnTo>
                  <a:pt x="361" y="709"/>
                </a:lnTo>
                <a:close/>
                <a:moveTo>
                  <a:pt x="222" y="511"/>
                </a:moveTo>
                <a:lnTo>
                  <a:pt x="225" y="505"/>
                </a:lnTo>
                <a:lnTo>
                  <a:pt x="229" y="497"/>
                </a:lnTo>
                <a:lnTo>
                  <a:pt x="234" y="489"/>
                </a:lnTo>
                <a:lnTo>
                  <a:pt x="239" y="483"/>
                </a:lnTo>
                <a:lnTo>
                  <a:pt x="245" y="477"/>
                </a:lnTo>
                <a:lnTo>
                  <a:pt x="252" y="470"/>
                </a:lnTo>
                <a:lnTo>
                  <a:pt x="258" y="464"/>
                </a:lnTo>
                <a:lnTo>
                  <a:pt x="265" y="460"/>
                </a:lnTo>
                <a:lnTo>
                  <a:pt x="265" y="469"/>
                </a:lnTo>
                <a:lnTo>
                  <a:pt x="265" y="473"/>
                </a:lnTo>
                <a:lnTo>
                  <a:pt x="267" y="477"/>
                </a:lnTo>
                <a:lnTo>
                  <a:pt x="274" y="482"/>
                </a:lnTo>
                <a:lnTo>
                  <a:pt x="280" y="487"/>
                </a:lnTo>
                <a:lnTo>
                  <a:pt x="286" y="491"/>
                </a:lnTo>
                <a:lnTo>
                  <a:pt x="293" y="493"/>
                </a:lnTo>
                <a:lnTo>
                  <a:pt x="307" y="498"/>
                </a:lnTo>
                <a:lnTo>
                  <a:pt x="321" y="502"/>
                </a:lnTo>
                <a:lnTo>
                  <a:pt x="306" y="511"/>
                </a:lnTo>
                <a:lnTo>
                  <a:pt x="306" y="511"/>
                </a:lnTo>
                <a:lnTo>
                  <a:pt x="202" y="574"/>
                </a:lnTo>
                <a:lnTo>
                  <a:pt x="222" y="511"/>
                </a:lnTo>
                <a:close/>
                <a:moveTo>
                  <a:pt x="325" y="528"/>
                </a:moveTo>
                <a:lnTo>
                  <a:pt x="361" y="506"/>
                </a:lnTo>
                <a:lnTo>
                  <a:pt x="397" y="528"/>
                </a:lnTo>
                <a:lnTo>
                  <a:pt x="397" y="541"/>
                </a:lnTo>
                <a:lnTo>
                  <a:pt x="396" y="547"/>
                </a:lnTo>
                <a:lnTo>
                  <a:pt x="393" y="554"/>
                </a:lnTo>
                <a:lnTo>
                  <a:pt x="391" y="560"/>
                </a:lnTo>
                <a:lnTo>
                  <a:pt x="385" y="565"/>
                </a:lnTo>
                <a:lnTo>
                  <a:pt x="380" y="570"/>
                </a:lnTo>
                <a:lnTo>
                  <a:pt x="374" y="573"/>
                </a:lnTo>
                <a:lnTo>
                  <a:pt x="367" y="575"/>
                </a:lnTo>
                <a:lnTo>
                  <a:pt x="361" y="577"/>
                </a:lnTo>
                <a:lnTo>
                  <a:pt x="353" y="575"/>
                </a:lnTo>
                <a:lnTo>
                  <a:pt x="347" y="573"/>
                </a:lnTo>
                <a:lnTo>
                  <a:pt x="340" y="570"/>
                </a:lnTo>
                <a:lnTo>
                  <a:pt x="335" y="565"/>
                </a:lnTo>
                <a:lnTo>
                  <a:pt x="331" y="560"/>
                </a:lnTo>
                <a:lnTo>
                  <a:pt x="328" y="554"/>
                </a:lnTo>
                <a:lnTo>
                  <a:pt x="325" y="547"/>
                </a:lnTo>
                <a:lnTo>
                  <a:pt x="325" y="541"/>
                </a:lnTo>
                <a:lnTo>
                  <a:pt x="325" y="528"/>
                </a:lnTo>
                <a:close/>
                <a:moveTo>
                  <a:pt x="691" y="564"/>
                </a:moveTo>
                <a:lnTo>
                  <a:pt x="686" y="557"/>
                </a:lnTo>
                <a:lnTo>
                  <a:pt x="681" y="552"/>
                </a:lnTo>
                <a:lnTo>
                  <a:pt x="674" y="547"/>
                </a:lnTo>
                <a:lnTo>
                  <a:pt x="668" y="541"/>
                </a:lnTo>
                <a:lnTo>
                  <a:pt x="651" y="531"/>
                </a:lnTo>
                <a:lnTo>
                  <a:pt x="633" y="522"/>
                </a:lnTo>
                <a:lnTo>
                  <a:pt x="591" y="502"/>
                </a:lnTo>
                <a:lnTo>
                  <a:pt x="545" y="484"/>
                </a:lnTo>
                <a:lnTo>
                  <a:pt x="534" y="480"/>
                </a:lnTo>
                <a:lnTo>
                  <a:pt x="524" y="477"/>
                </a:lnTo>
                <a:lnTo>
                  <a:pt x="514" y="473"/>
                </a:lnTo>
                <a:lnTo>
                  <a:pt x="504" y="469"/>
                </a:lnTo>
                <a:lnTo>
                  <a:pt x="495" y="457"/>
                </a:lnTo>
                <a:lnTo>
                  <a:pt x="484" y="448"/>
                </a:lnTo>
                <a:lnTo>
                  <a:pt x="473" y="441"/>
                </a:lnTo>
                <a:lnTo>
                  <a:pt x="462" y="434"/>
                </a:lnTo>
                <a:lnTo>
                  <a:pt x="460" y="433"/>
                </a:lnTo>
                <a:lnTo>
                  <a:pt x="457" y="433"/>
                </a:lnTo>
                <a:lnTo>
                  <a:pt x="456" y="433"/>
                </a:lnTo>
                <a:lnTo>
                  <a:pt x="456" y="378"/>
                </a:lnTo>
                <a:lnTo>
                  <a:pt x="461" y="373"/>
                </a:lnTo>
                <a:lnTo>
                  <a:pt x="466" y="366"/>
                </a:lnTo>
                <a:lnTo>
                  <a:pt x="473" y="358"/>
                </a:lnTo>
                <a:lnTo>
                  <a:pt x="479" y="348"/>
                </a:lnTo>
                <a:lnTo>
                  <a:pt x="484" y="337"/>
                </a:lnTo>
                <a:lnTo>
                  <a:pt x="489" y="322"/>
                </a:lnTo>
                <a:lnTo>
                  <a:pt x="492" y="308"/>
                </a:lnTo>
                <a:lnTo>
                  <a:pt x="495" y="290"/>
                </a:lnTo>
                <a:lnTo>
                  <a:pt x="500" y="285"/>
                </a:lnTo>
                <a:lnTo>
                  <a:pt x="504" y="279"/>
                </a:lnTo>
                <a:lnTo>
                  <a:pt x="507" y="271"/>
                </a:lnTo>
                <a:lnTo>
                  <a:pt x="510" y="262"/>
                </a:lnTo>
                <a:lnTo>
                  <a:pt x="511" y="254"/>
                </a:lnTo>
                <a:lnTo>
                  <a:pt x="513" y="247"/>
                </a:lnTo>
                <a:lnTo>
                  <a:pt x="513" y="238"/>
                </a:lnTo>
                <a:lnTo>
                  <a:pt x="511" y="230"/>
                </a:lnTo>
                <a:lnTo>
                  <a:pt x="510" y="222"/>
                </a:lnTo>
                <a:lnTo>
                  <a:pt x="506" y="215"/>
                </a:lnTo>
                <a:lnTo>
                  <a:pt x="502" y="208"/>
                </a:lnTo>
                <a:lnTo>
                  <a:pt x="497" y="202"/>
                </a:lnTo>
                <a:lnTo>
                  <a:pt x="498" y="198"/>
                </a:lnTo>
                <a:lnTo>
                  <a:pt x="501" y="193"/>
                </a:lnTo>
                <a:lnTo>
                  <a:pt x="510" y="167"/>
                </a:lnTo>
                <a:lnTo>
                  <a:pt x="520" y="135"/>
                </a:lnTo>
                <a:lnTo>
                  <a:pt x="524" y="118"/>
                </a:lnTo>
                <a:lnTo>
                  <a:pt x="527" y="102"/>
                </a:lnTo>
                <a:lnTo>
                  <a:pt x="527" y="85"/>
                </a:lnTo>
                <a:lnTo>
                  <a:pt x="525" y="68"/>
                </a:lnTo>
                <a:lnTo>
                  <a:pt x="523" y="59"/>
                </a:lnTo>
                <a:lnTo>
                  <a:pt x="519" y="51"/>
                </a:lnTo>
                <a:lnTo>
                  <a:pt x="514" y="44"/>
                </a:lnTo>
                <a:lnTo>
                  <a:pt x="509" y="37"/>
                </a:lnTo>
                <a:lnTo>
                  <a:pt x="501" y="31"/>
                </a:lnTo>
                <a:lnTo>
                  <a:pt x="493" y="26"/>
                </a:lnTo>
                <a:lnTo>
                  <a:pt x="484" y="21"/>
                </a:lnTo>
                <a:lnTo>
                  <a:pt x="475" y="16"/>
                </a:lnTo>
                <a:lnTo>
                  <a:pt x="465" y="12"/>
                </a:lnTo>
                <a:lnTo>
                  <a:pt x="453" y="9"/>
                </a:lnTo>
                <a:lnTo>
                  <a:pt x="442" y="7"/>
                </a:lnTo>
                <a:lnTo>
                  <a:pt x="430" y="4"/>
                </a:lnTo>
                <a:lnTo>
                  <a:pt x="407" y="0"/>
                </a:lnTo>
                <a:lnTo>
                  <a:pt x="383" y="0"/>
                </a:lnTo>
                <a:lnTo>
                  <a:pt x="365" y="0"/>
                </a:lnTo>
                <a:lnTo>
                  <a:pt x="347" y="1"/>
                </a:lnTo>
                <a:lnTo>
                  <a:pt x="329" y="5"/>
                </a:lnTo>
                <a:lnTo>
                  <a:pt x="311" y="9"/>
                </a:lnTo>
                <a:lnTo>
                  <a:pt x="295" y="16"/>
                </a:lnTo>
                <a:lnTo>
                  <a:pt x="281" y="23"/>
                </a:lnTo>
                <a:lnTo>
                  <a:pt x="276" y="27"/>
                </a:lnTo>
                <a:lnTo>
                  <a:pt x="271" y="32"/>
                </a:lnTo>
                <a:lnTo>
                  <a:pt x="266" y="37"/>
                </a:lnTo>
                <a:lnTo>
                  <a:pt x="263" y="44"/>
                </a:lnTo>
                <a:lnTo>
                  <a:pt x="251" y="46"/>
                </a:lnTo>
                <a:lnTo>
                  <a:pt x="239" y="50"/>
                </a:lnTo>
                <a:lnTo>
                  <a:pt x="234" y="53"/>
                </a:lnTo>
                <a:lnTo>
                  <a:pt x="230" y="57"/>
                </a:lnTo>
                <a:lnTo>
                  <a:pt x="225" y="60"/>
                </a:lnTo>
                <a:lnTo>
                  <a:pt x="222" y="66"/>
                </a:lnTo>
                <a:lnTo>
                  <a:pt x="217" y="72"/>
                </a:lnTo>
                <a:lnTo>
                  <a:pt x="215" y="78"/>
                </a:lnTo>
                <a:lnTo>
                  <a:pt x="212" y="87"/>
                </a:lnTo>
                <a:lnTo>
                  <a:pt x="211" y="95"/>
                </a:lnTo>
                <a:lnTo>
                  <a:pt x="209" y="112"/>
                </a:lnTo>
                <a:lnTo>
                  <a:pt x="211" y="130"/>
                </a:lnTo>
                <a:lnTo>
                  <a:pt x="213" y="148"/>
                </a:lnTo>
                <a:lnTo>
                  <a:pt x="217" y="164"/>
                </a:lnTo>
                <a:lnTo>
                  <a:pt x="221" y="181"/>
                </a:lnTo>
                <a:lnTo>
                  <a:pt x="225" y="194"/>
                </a:lnTo>
                <a:lnTo>
                  <a:pt x="226" y="198"/>
                </a:lnTo>
                <a:lnTo>
                  <a:pt x="227" y="202"/>
                </a:lnTo>
                <a:lnTo>
                  <a:pt x="222" y="207"/>
                </a:lnTo>
                <a:lnTo>
                  <a:pt x="217" y="215"/>
                </a:lnTo>
                <a:lnTo>
                  <a:pt x="215" y="221"/>
                </a:lnTo>
                <a:lnTo>
                  <a:pt x="212" y="230"/>
                </a:lnTo>
                <a:lnTo>
                  <a:pt x="211" y="238"/>
                </a:lnTo>
                <a:lnTo>
                  <a:pt x="211" y="247"/>
                </a:lnTo>
                <a:lnTo>
                  <a:pt x="212" y="254"/>
                </a:lnTo>
                <a:lnTo>
                  <a:pt x="213" y="263"/>
                </a:lnTo>
                <a:lnTo>
                  <a:pt x="216" y="272"/>
                </a:lnTo>
                <a:lnTo>
                  <a:pt x="220" y="280"/>
                </a:lnTo>
                <a:lnTo>
                  <a:pt x="224" y="285"/>
                </a:lnTo>
                <a:lnTo>
                  <a:pt x="229" y="290"/>
                </a:lnTo>
                <a:lnTo>
                  <a:pt x="230" y="307"/>
                </a:lnTo>
                <a:lnTo>
                  <a:pt x="234" y="322"/>
                </a:lnTo>
                <a:lnTo>
                  <a:pt x="238" y="337"/>
                </a:lnTo>
                <a:lnTo>
                  <a:pt x="243" y="348"/>
                </a:lnTo>
                <a:lnTo>
                  <a:pt x="249" y="358"/>
                </a:lnTo>
                <a:lnTo>
                  <a:pt x="254" y="366"/>
                </a:lnTo>
                <a:lnTo>
                  <a:pt x="260" y="373"/>
                </a:lnTo>
                <a:lnTo>
                  <a:pt x="265" y="378"/>
                </a:lnTo>
                <a:lnTo>
                  <a:pt x="265" y="433"/>
                </a:lnTo>
                <a:lnTo>
                  <a:pt x="262" y="433"/>
                </a:lnTo>
                <a:lnTo>
                  <a:pt x="261" y="434"/>
                </a:lnTo>
                <a:lnTo>
                  <a:pt x="249" y="441"/>
                </a:lnTo>
                <a:lnTo>
                  <a:pt x="239" y="448"/>
                </a:lnTo>
                <a:lnTo>
                  <a:pt x="229" y="457"/>
                </a:lnTo>
                <a:lnTo>
                  <a:pt x="220" y="469"/>
                </a:lnTo>
                <a:lnTo>
                  <a:pt x="209" y="473"/>
                </a:lnTo>
                <a:lnTo>
                  <a:pt x="200" y="477"/>
                </a:lnTo>
                <a:lnTo>
                  <a:pt x="190" y="480"/>
                </a:lnTo>
                <a:lnTo>
                  <a:pt x="181" y="484"/>
                </a:lnTo>
                <a:lnTo>
                  <a:pt x="134" y="502"/>
                </a:lnTo>
                <a:lnTo>
                  <a:pt x="91" y="522"/>
                </a:lnTo>
                <a:lnTo>
                  <a:pt x="73" y="531"/>
                </a:lnTo>
                <a:lnTo>
                  <a:pt x="57" y="541"/>
                </a:lnTo>
                <a:lnTo>
                  <a:pt x="50" y="547"/>
                </a:lnTo>
                <a:lnTo>
                  <a:pt x="44" y="552"/>
                </a:lnTo>
                <a:lnTo>
                  <a:pt x="39" y="557"/>
                </a:lnTo>
                <a:lnTo>
                  <a:pt x="34" y="564"/>
                </a:lnTo>
                <a:lnTo>
                  <a:pt x="28" y="573"/>
                </a:lnTo>
                <a:lnTo>
                  <a:pt x="23" y="583"/>
                </a:lnTo>
                <a:lnTo>
                  <a:pt x="19" y="595"/>
                </a:lnTo>
                <a:lnTo>
                  <a:pt x="16" y="606"/>
                </a:lnTo>
                <a:lnTo>
                  <a:pt x="9" y="629"/>
                </a:lnTo>
                <a:lnTo>
                  <a:pt x="5" y="653"/>
                </a:lnTo>
                <a:lnTo>
                  <a:pt x="1" y="691"/>
                </a:lnTo>
                <a:lnTo>
                  <a:pt x="0" y="709"/>
                </a:lnTo>
                <a:lnTo>
                  <a:pt x="0" y="713"/>
                </a:lnTo>
                <a:lnTo>
                  <a:pt x="4" y="717"/>
                </a:lnTo>
                <a:lnTo>
                  <a:pt x="8" y="719"/>
                </a:lnTo>
                <a:lnTo>
                  <a:pt x="12" y="721"/>
                </a:lnTo>
                <a:lnTo>
                  <a:pt x="709" y="721"/>
                </a:lnTo>
                <a:lnTo>
                  <a:pt x="714" y="719"/>
                </a:lnTo>
                <a:lnTo>
                  <a:pt x="718" y="717"/>
                </a:lnTo>
                <a:lnTo>
                  <a:pt x="721" y="713"/>
                </a:lnTo>
                <a:lnTo>
                  <a:pt x="721" y="709"/>
                </a:lnTo>
                <a:lnTo>
                  <a:pt x="721" y="691"/>
                </a:lnTo>
                <a:lnTo>
                  <a:pt x="718" y="653"/>
                </a:lnTo>
                <a:lnTo>
                  <a:pt x="714" y="629"/>
                </a:lnTo>
                <a:lnTo>
                  <a:pt x="709" y="606"/>
                </a:lnTo>
                <a:lnTo>
                  <a:pt x="705" y="595"/>
                </a:lnTo>
                <a:lnTo>
                  <a:pt x="701" y="583"/>
                </a:lnTo>
                <a:lnTo>
                  <a:pt x="696" y="573"/>
                </a:lnTo>
                <a:lnTo>
                  <a:pt x="691" y="564"/>
                </a:lnTo>
                <a:close/>
              </a:path>
            </a:pathLst>
          </a:custGeom>
          <a:solidFill>
            <a:schemeClr val="bg1"/>
          </a:solidFill>
          <a:ln>
            <a:noFill/>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p>
            <a:endParaRPr lang="en-US" sz="3600"/>
          </a:p>
        </p:txBody>
      </p:sp>
      <p:grpSp>
        <p:nvGrpSpPr>
          <p:cNvPr id="176" name="Group 175"/>
          <p:cNvGrpSpPr/>
          <p:nvPr/>
        </p:nvGrpSpPr>
        <p:grpSpPr>
          <a:xfrm>
            <a:off x="16021897" y="3161753"/>
            <a:ext cx="370056" cy="382819"/>
            <a:chOff x="9882188" y="1336675"/>
            <a:chExt cx="276225" cy="285750"/>
          </a:xfrm>
          <a:solidFill>
            <a:schemeClr val="bg1"/>
          </a:solidFill>
          <a:effectLst>
            <a:outerShdw blurRad="38100" dist="25400" dir="5400000" algn="ctr" rotWithShape="0">
              <a:srgbClr val="000000">
                <a:alpha val="20000"/>
              </a:srgbClr>
            </a:outerShdw>
          </a:effectLst>
        </p:grpSpPr>
        <p:sp>
          <p:nvSpPr>
            <p:cNvPr id="177" name="Freeform 3049"/>
            <p:cNvSpPr>
              <a:spLocks/>
            </p:cNvSpPr>
            <p:nvPr/>
          </p:nvSpPr>
          <p:spPr bwMode="auto">
            <a:xfrm>
              <a:off x="9893300" y="1574800"/>
              <a:ext cx="254000" cy="47625"/>
            </a:xfrm>
            <a:custGeom>
              <a:avLst/>
              <a:gdLst>
                <a:gd name="T0" fmla="*/ 584 w 641"/>
                <a:gd name="T1" fmla="*/ 0 h 120"/>
                <a:gd name="T2" fmla="*/ 57 w 641"/>
                <a:gd name="T3" fmla="*/ 0 h 120"/>
                <a:gd name="T4" fmla="*/ 51 w 641"/>
                <a:gd name="T5" fmla="*/ 0 h 120"/>
                <a:gd name="T6" fmla="*/ 45 w 641"/>
                <a:gd name="T7" fmla="*/ 1 h 120"/>
                <a:gd name="T8" fmla="*/ 39 w 641"/>
                <a:gd name="T9" fmla="*/ 3 h 120"/>
                <a:gd name="T10" fmla="*/ 33 w 641"/>
                <a:gd name="T11" fmla="*/ 5 h 120"/>
                <a:gd name="T12" fmla="*/ 27 w 641"/>
                <a:gd name="T13" fmla="*/ 7 h 120"/>
                <a:gd name="T14" fmla="*/ 22 w 641"/>
                <a:gd name="T15" fmla="*/ 11 h 120"/>
                <a:gd name="T16" fmla="*/ 18 w 641"/>
                <a:gd name="T17" fmla="*/ 14 h 120"/>
                <a:gd name="T18" fmla="*/ 14 w 641"/>
                <a:gd name="T19" fmla="*/ 19 h 120"/>
                <a:gd name="T20" fmla="*/ 9 w 641"/>
                <a:gd name="T21" fmla="*/ 26 h 120"/>
                <a:gd name="T22" fmla="*/ 6 w 641"/>
                <a:gd name="T23" fmla="*/ 32 h 120"/>
                <a:gd name="T24" fmla="*/ 3 w 641"/>
                <a:gd name="T25" fmla="*/ 41 h 120"/>
                <a:gd name="T26" fmla="*/ 1 w 641"/>
                <a:gd name="T27" fmla="*/ 49 h 120"/>
                <a:gd name="T28" fmla="*/ 0 w 641"/>
                <a:gd name="T29" fmla="*/ 54 h 120"/>
                <a:gd name="T30" fmla="*/ 0 w 641"/>
                <a:gd name="T31" fmla="*/ 60 h 120"/>
                <a:gd name="T32" fmla="*/ 1 w 641"/>
                <a:gd name="T33" fmla="*/ 72 h 120"/>
                <a:gd name="T34" fmla="*/ 3 w 641"/>
                <a:gd name="T35" fmla="*/ 82 h 120"/>
                <a:gd name="T36" fmla="*/ 8 w 641"/>
                <a:gd name="T37" fmla="*/ 92 h 120"/>
                <a:gd name="T38" fmla="*/ 14 w 641"/>
                <a:gd name="T39" fmla="*/ 101 h 120"/>
                <a:gd name="T40" fmla="*/ 19 w 641"/>
                <a:gd name="T41" fmla="*/ 105 h 120"/>
                <a:gd name="T42" fmla="*/ 22 w 641"/>
                <a:gd name="T43" fmla="*/ 108 h 120"/>
                <a:gd name="T44" fmla="*/ 27 w 641"/>
                <a:gd name="T45" fmla="*/ 112 h 120"/>
                <a:gd name="T46" fmla="*/ 32 w 641"/>
                <a:gd name="T47" fmla="*/ 114 h 120"/>
                <a:gd name="T48" fmla="*/ 38 w 641"/>
                <a:gd name="T49" fmla="*/ 117 h 120"/>
                <a:gd name="T50" fmla="*/ 44 w 641"/>
                <a:gd name="T51" fmla="*/ 119 h 120"/>
                <a:gd name="T52" fmla="*/ 50 w 641"/>
                <a:gd name="T53" fmla="*/ 119 h 120"/>
                <a:gd name="T54" fmla="*/ 57 w 641"/>
                <a:gd name="T55" fmla="*/ 120 h 120"/>
                <a:gd name="T56" fmla="*/ 584 w 641"/>
                <a:gd name="T57" fmla="*/ 120 h 120"/>
                <a:gd name="T58" fmla="*/ 591 w 641"/>
                <a:gd name="T59" fmla="*/ 119 h 120"/>
                <a:gd name="T60" fmla="*/ 597 w 641"/>
                <a:gd name="T61" fmla="*/ 118 h 120"/>
                <a:gd name="T62" fmla="*/ 603 w 641"/>
                <a:gd name="T63" fmla="*/ 117 h 120"/>
                <a:gd name="T64" fmla="*/ 609 w 641"/>
                <a:gd name="T65" fmla="*/ 114 h 120"/>
                <a:gd name="T66" fmla="*/ 613 w 641"/>
                <a:gd name="T67" fmla="*/ 112 h 120"/>
                <a:gd name="T68" fmla="*/ 618 w 641"/>
                <a:gd name="T69" fmla="*/ 108 h 120"/>
                <a:gd name="T70" fmla="*/ 623 w 641"/>
                <a:gd name="T71" fmla="*/ 105 h 120"/>
                <a:gd name="T72" fmla="*/ 627 w 641"/>
                <a:gd name="T73" fmla="*/ 101 h 120"/>
                <a:gd name="T74" fmla="*/ 633 w 641"/>
                <a:gd name="T75" fmla="*/ 92 h 120"/>
                <a:gd name="T76" fmla="*/ 637 w 641"/>
                <a:gd name="T77" fmla="*/ 82 h 120"/>
                <a:gd name="T78" fmla="*/ 640 w 641"/>
                <a:gd name="T79" fmla="*/ 72 h 120"/>
                <a:gd name="T80" fmla="*/ 641 w 641"/>
                <a:gd name="T81" fmla="*/ 60 h 120"/>
                <a:gd name="T82" fmla="*/ 640 w 641"/>
                <a:gd name="T83" fmla="*/ 49 h 120"/>
                <a:gd name="T84" fmla="*/ 637 w 641"/>
                <a:gd name="T85" fmla="*/ 38 h 120"/>
                <a:gd name="T86" fmla="*/ 633 w 641"/>
                <a:gd name="T87" fmla="*/ 28 h 120"/>
                <a:gd name="T88" fmla="*/ 627 w 641"/>
                <a:gd name="T89" fmla="*/ 19 h 120"/>
                <a:gd name="T90" fmla="*/ 623 w 641"/>
                <a:gd name="T91" fmla="*/ 14 h 120"/>
                <a:gd name="T92" fmla="*/ 618 w 641"/>
                <a:gd name="T93" fmla="*/ 11 h 120"/>
                <a:gd name="T94" fmla="*/ 613 w 641"/>
                <a:gd name="T95" fmla="*/ 9 h 120"/>
                <a:gd name="T96" fmla="*/ 609 w 641"/>
                <a:gd name="T97" fmla="*/ 5 h 120"/>
                <a:gd name="T98" fmla="*/ 603 w 641"/>
                <a:gd name="T99" fmla="*/ 3 h 120"/>
                <a:gd name="T100" fmla="*/ 597 w 641"/>
                <a:gd name="T101" fmla="*/ 1 h 120"/>
                <a:gd name="T102" fmla="*/ 591 w 641"/>
                <a:gd name="T103" fmla="*/ 0 h 120"/>
                <a:gd name="T104" fmla="*/ 584 w 641"/>
                <a:gd name="T10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1" h="120">
                  <a:moveTo>
                    <a:pt x="584" y="0"/>
                  </a:moveTo>
                  <a:lnTo>
                    <a:pt x="57" y="0"/>
                  </a:lnTo>
                  <a:lnTo>
                    <a:pt x="51" y="0"/>
                  </a:lnTo>
                  <a:lnTo>
                    <a:pt x="45" y="1"/>
                  </a:lnTo>
                  <a:lnTo>
                    <a:pt x="39" y="3"/>
                  </a:lnTo>
                  <a:lnTo>
                    <a:pt x="33" y="5"/>
                  </a:lnTo>
                  <a:lnTo>
                    <a:pt x="27" y="7"/>
                  </a:lnTo>
                  <a:lnTo>
                    <a:pt x="22" y="11"/>
                  </a:lnTo>
                  <a:lnTo>
                    <a:pt x="18" y="14"/>
                  </a:lnTo>
                  <a:lnTo>
                    <a:pt x="14" y="19"/>
                  </a:lnTo>
                  <a:lnTo>
                    <a:pt x="9" y="26"/>
                  </a:lnTo>
                  <a:lnTo>
                    <a:pt x="6" y="32"/>
                  </a:lnTo>
                  <a:lnTo>
                    <a:pt x="3" y="41"/>
                  </a:lnTo>
                  <a:lnTo>
                    <a:pt x="1" y="49"/>
                  </a:lnTo>
                  <a:lnTo>
                    <a:pt x="0" y="54"/>
                  </a:lnTo>
                  <a:lnTo>
                    <a:pt x="0" y="60"/>
                  </a:lnTo>
                  <a:lnTo>
                    <a:pt x="1" y="72"/>
                  </a:lnTo>
                  <a:lnTo>
                    <a:pt x="3" y="82"/>
                  </a:lnTo>
                  <a:lnTo>
                    <a:pt x="8" y="92"/>
                  </a:lnTo>
                  <a:lnTo>
                    <a:pt x="14" y="101"/>
                  </a:lnTo>
                  <a:lnTo>
                    <a:pt x="19" y="105"/>
                  </a:lnTo>
                  <a:lnTo>
                    <a:pt x="22" y="108"/>
                  </a:lnTo>
                  <a:lnTo>
                    <a:pt x="27" y="112"/>
                  </a:lnTo>
                  <a:lnTo>
                    <a:pt x="32" y="114"/>
                  </a:lnTo>
                  <a:lnTo>
                    <a:pt x="38" y="117"/>
                  </a:lnTo>
                  <a:lnTo>
                    <a:pt x="44" y="119"/>
                  </a:lnTo>
                  <a:lnTo>
                    <a:pt x="50" y="119"/>
                  </a:lnTo>
                  <a:lnTo>
                    <a:pt x="57" y="120"/>
                  </a:lnTo>
                  <a:lnTo>
                    <a:pt x="584" y="120"/>
                  </a:lnTo>
                  <a:lnTo>
                    <a:pt x="591" y="119"/>
                  </a:lnTo>
                  <a:lnTo>
                    <a:pt x="597" y="118"/>
                  </a:lnTo>
                  <a:lnTo>
                    <a:pt x="603" y="117"/>
                  </a:lnTo>
                  <a:lnTo>
                    <a:pt x="609" y="114"/>
                  </a:lnTo>
                  <a:lnTo>
                    <a:pt x="613" y="112"/>
                  </a:lnTo>
                  <a:lnTo>
                    <a:pt x="618" y="108"/>
                  </a:lnTo>
                  <a:lnTo>
                    <a:pt x="623" y="105"/>
                  </a:lnTo>
                  <a:lnTo>
                    <a:pt x="627" y="101"/>
                  </a:lnTo>
                  <a:lnTo>
                    <a:pt x="633" y="92"/>
                  </a:lnTo>
                  <a:lnTo>
                    <a:pt x="637" y="82"/>
                  </a:lnTo>
                  <a:lnTo>
                    <a:pt x="640" y="72"/>
                  </a:lnTo>
                  <a:lnTo>
                    <a:pt x="641" y="60"/>
                  </a:lnTo>
                  <a:lnTo>
                    <a:pt x="640" y="49"/>
                  </a:lnTo>
                  <a:lnTo>
                    <a:pt x="637" y="38"/>
                  </a:lnTo>
                  <a:lnTo>
                    <a:pt x="633" y="28"/>
                  </a:lnTo>
                  <a:lnTo>
                    <a:pt x="627" y="19"/>
                  </a:lnTo>
                  <a:lnTo>
                    <a:pt x="623" y="14"/>
                  </a:lnTo>
                  <a:lnTo>
                    <a:pt x="618" y="11"/>
                  </a:lnTo>
                  <a:lnTo>
                    <a:pt x="613" y="9"/>
                  </a:lnTo>
                  <a:lnTo>
                    <a:pt x="609" y="5"/>
                  </a:lnTo>
                  <a:lnTo>
                    <a:pt x="603" y="3"/>
                  </a:lnTo>
                  <a:lnTo>
                    <a:pt x="597" y="1"/>
                  </a:lnTo>
                  <a:lnTo>
                    <a:pt x="591" y="0"/>
                  </a:lnTo>
                  <a:lnTo>
                    <a:pt x="5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78" name="Freeform 3050"/>
            <p:cNvSpPr>
              <a:spLocks/>
            </p:cNvSpPr>
            <p:nvPr/>
          </p:nvSpPr>
          <p:spPr bwMode="auto">
            <a:xfrm>
              <a:off x="9986963" y="1336675"/>
              <a:ext cx="66675" cy="28575"/>
            </a:xfrm>
            <a:custGeom>
              <a:avLst/>
              <a:gdLst>
                <a:gd name="T0" fmla="*/ 83 w 165"/>
                <a:gd name="T1" fmla="*/ 0 h 72"/>
                <a:gd name="T2" fmla="*/ 75 w 165"/>
                <a:gd name="T3" fmla="*/ 1 h 72"/>
                <a:gd name="T4" fmla="*/ 67 w 165"/>
                <a:gd name="T5" fmla="*/ 2 h 72"/>
                <a:gd name="T6" fmla="*/ 59 w 165"/>
                <a:gd name="T7" fmla="*/ 3 h 72"/>
                <a:gd name="T8" fmla="*/ 52 w 165"/>
                <a:gd name="T9" fmla="*/ 6 h 72"/>
                <a:gd name="T10" fmla="*/ 46 w 165"/>
                <a:gd name="T11" fmla="*/ 9 h 72"/>
                <a:gd name="T12" fmla="*/ 39 w 165"/>
                <a:gd name="T13" fmla="*/ 13 h 72"/>
                <a:gd name="T14" fmla="*/ 33 w 165"/>
                <a:gd name="T15" fmla="*/ 16 h 72"/>
                <a:gd name="T16" fmla="*/ 27 w 165"/>
                <a:gd name="T17" fmla="*/ 21 h 72"/>
                <a:gd name="T18" fmla="*/ 22 w 165"/>
                <a:gd name="T19" fmla="*/ 26 h 72"/>
                <a:gd name="T20" fmla="*/ 17 w 165"/>
                <a:gd name="T21" fmla="*/ 32 h 72"/>
                <a:gd name="T22" fmla="*/ 13 w 165"/>
                <a:gd name="T23" fmla="*/ 38 h 72"/>
                <a:gd name="T24" fmla="*/ 9 w 165"/>
                <a:gd name="T25" fmla="*/ 44 h 72"/>
                <a:gd name="T26" fmla="*/ 6 w 165"/>
                <a:gd name="T27" fmla="*/ 51 h 72"/>
                <a:gd name="T28" fmla="*/ 3 w 165"/>
                <a:gd name="T29" fmla="*/ 58 h 72"/>
                <a:gd name="T30" fmla="*/ 1 w 165"/>
                <a:gd name="T31" fmla="*/ 65 h 72"/>
                <a:gd name="T32" fmla="*/ 0 w 165"/>
                <a:gd name="T33" fmla="*/ 72 h 72"/>
                <a:gd name="T34" fmla="*/ 165 w 165"/>
                <a:gd name="T35" fmla="*/ 72 h 72"/>
                <a:gd name="T36" fmla="*/ 164 w 165"/>
                <a:gd name="T37" fmla="*/ 65 h 72"/>
                <a:gd name="T38" fmla="*/ 161 w 165"/>
                <a:gd name="T39" fmla="*/ 57 h 72"/>
                <a:gd name="T40" fmla="*/ 159 w 165"/>
                <a:gd name="T41" fmla="*/ 51 h 72"/>
                <a:gd name="T42" fmla="*/ 155 w 165"/>
                <a:gd name="T43" fmla="*/ 44 h 72"/>
                <a:gd name="T44" fmla="*/ 152 w 165"/>
                <a:gd name="T45" fmla="*/ 38 h 72"/>
                <a:gd name="T46" fmla="*/ 147 w 165"/>
                <a:gd name="T47" fmla="*/ 32 h 72"/>
                <a:gd name="T48" fmla="*/ 142 w 165"/>
                <a:gd name="T49" fmla="*/ 26 h 72"/>
                <a:gd name="T50" fmla="*/ 138 w 165"/>
                <a:gd name="T51" fmla="*/ 21 h 72"/>
                <a:gd name="T52" fmla="*/ 132 w 165"/>
                <a:gd name="T53" fmla="*/ 16 h 72"/>
                <a:gd name="T54" fmla="*/ 126 w 165"/>
                <a:gd name="T55" fmla="*/ 13 h 72"/>
                <a:gd name="T56" fmla="*/ 119 w 165"/>
                <a:gd name="T57" fmla="*/ 9 h 72"/>
                <a:gd name="T58" fmla="*/ 113 w 165"/>
                <a:gd name="T59" fmla="*/ 6 h 72"/>
                <a:gd name="T60" fmla="*/ 105 w 165"/>
                <a:gd name="T61" fmla="*/ 3 h 72"/>
                <a:gd name="T62" fmla="*/ 98 w 165"/>
                <a:gd name="T63" fmla="*/ 2 h 72"/>
                <a:gd name="T64" fmla="*/ 90 w 165"/>
                <a:gd name="T65" fmla="*/ 1 h 72"/>
                <a:gd name="T66" fmla="*/ 83 w 165"/>
                <a:gd name="T67" fmla="*/ 0 h 72"/>
                <a:gd name="T68" fmla="*/ 83 w 165"/>
                <a:gd name="T6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5" h="72">
                  <a:moveTo>
                    <a:pt x="83" y="0"/>
                  </a:moveTo>
                  <a:lnTo>
                    <a:pt x="75" y="1"/>
                  </a:lnTo>
                  <a:lnTo>
                    <a:pt x="67" y="2"/>
                  </a:lnTo>
                  <a:lnTo>
                    <a:pt x="59" y="3"/>
                  </a:lnTo>
                  <a:lnTo>
                    <a:pt x="52" y="6"/>
                  </a:lnTo>
                  <a:lnTo>
                    <a:pt x="46" y="9"/>
                  </a:lnTo>
                  <a:lnTo>
                    <a:pt x="39" y="13"/>
                  </a:lnTo>
                  <a:lnTo>
                    <a:pt x="33" y="16"/>
                  </a:lnTo>
                  <a:lnTo>
                    <a:pt x="27" y="21"/>
                  </a:lnTo>
                  <a:lnTo>
                    <a:pt x="22" y="26"/>
                  </a:lnTo>
                  <a:lnTo>
                    <a:pt x="17" y="32"/>
                  </a:lnTo>
                  <a:lnTo>
                    <a:pt x="13" y="38"/>
                  </a:lnTo>
                  <a:lnTo>
                    <a:pt x="9" y="44"/>
                  </a:lnTo>
                  <a:lnTo>
                    <a:pt x="6" y="51"/>
                  </a:lnTo>
                  <a:lnTo>
                    <a:pt x="3" y="58"/>
                  </a:lnTo>
                  <a:lnTo>
                    <a:pt x="1" y="65"/>
                  </a:lnTo>
                  <a:lnTo>
                    <a:pt x="0" y="72"/>
                  </a:lnTo>
                  <a:lnTo>
                    <a:pt x="165" y="72"/>
                  </a:lnTo>
                  <a:lnTo>
                    <a:pt x="164" y="65"/>
                  </a:lnTo>
                  <a:lnTo>
                    <a:pt x="161" y="57"/>
                  </a:lnTo>
                  <a:lnTo>
                    <a:pt x="159" y="51"/>
                  </a:lnTo>
                  <a:lnTo>
                    <a:pt x="155" y="44"/>
                  </a:lnTo>
                  <a:lnTo>
                    <a:pt x="152" y="38"/>
                  </a:lnTo>
                  <a:lnTo>
                    <a:pt x="147" y="32"/>
                  </a:lnTo>
                  <a:lnTo>
                    <a:pt x="142" y="26"/>
                  </a:lnTo>
                  <a:lnTo>
                    <a:pt x="138" y="21"/>
                  </a:lnTo>
                  <a:lnTo>
                    <a:pt x="132" y="16"/>
                  </a:lnTo>
                  <a:lnTo>
                    <a:pt x="126" y="13"/>
                  </a:lnTo>
                  <a:lnTo>
                    <a:pt x="119" y="9"/>
                  </a:lnTo>
                  <a:lnTo>
                    <a:pt x="113" y="6"/>
                  </a:lnTo>
                  <a:lnTo>
                    <a:pt x="105" y="3"/>
                  </a:lnTo>
                  <a:lnTo>
                    <a:pt x="98" y="2"/>
                  </a:lnTo>
                  <a:lnTo>
                    <a:pt x="90" y="1"/>
                  </a:lnTo>
                  <a:lnTo>
                    <a:pt x="83" y="0"/>
                  </a:lnTo>
                  <a:lnTo>
                    <a:pt x="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79" name="Freeform 3051"/>
            <p:cNvSpPr>
              <a:spLocks/>
            </p:cNvSpPr>
            <p:nvPr/>
          </p:nvSpPr>
          <p:spPr bwMode="auto">
            <a:xfrm>
              <a:off x="9986963" y="1374775"/>
              <a:ext cx="66675" cy="52388"/>
            </a:xfrm>
            <a:custGeom>
              <a:avLst/>
              <a:gdLst>
                <a:gd name="T0" fmla="*/ 71 w 165"/>
                <a:gd name="T1" fmla="*/ 71 h 132"/>
                <a:gd name="T2" fmla="*/ 71 w 165"/>
                <a:gd name="T3" fmla="*/ 120 h 132"/>
                <a:gd name="T4" fmla="*/ 71 w 165"/>
                <a:gd name="T5" fmla="*/ 124 h 132"/>
                <a:gd name="T6" fmla="*/ 73 w 165"/>
                <a:gd name="T7" fmla="*/ 127 h 132"/>
                <a:gd name="T8" fmla="*/ 77 w 165"/>
                <a:gd name="T9" fmla="*/ 130 h 132"/>
                <a:gd name="T10" fmla="*/ 80 w 165"/>
                <a:gd name="T11" fmla="*/ 132 h 132"/>
                <a:gd name="T12" fmla="*/ 82 w 165"/>
                <a:gd name="T13" fmla="*/ 131 h 132"/>
                <a:gd name="T14" fmla="*/ 83 w 165"/>
                <a:gd name="T15" fmla="*/ 132 h 132"/>
                <a:gd name="T16" fmla="*/ 83 w 165"/>
                <a:gd name="T17" fmla="*/ 131 h 132"/>
                <a:gd name="T18" fmla="*/ 84 w 165"/>
                <a:gd name="T19" fmla="*/ 132 h 132"/>
                <a:gd name="T20" fmla="*/ 88 w 165"/>
                <a:gd name="T21" fmla="*/ 130 h 132"/>
                <a:gd name="T22" fmla="*/ 91 w 165"/>
                <a:gd name="T23" fmla="*/ 127 h 132"/>
                <a:gd name="T24" fmla="*/ 94 w 165"/>
                <a:gd name="T25" fmla="*/ 124 h 132"/>
                <a:gd name="T26" fmla="*/ 95 w 165"/>
                <a:gd name="T27" fmla="*/ 120 h 132"/>
                <a:gd name="T28" fmla="*/ 95 w 165"/>
                <a:gd name="T29" fmla="*/ 71 h 132"/>
                <a:gd name="T30" fmla="*/ 108 w 165"/>
                <a:gd name="T31" fmla="*/ 68 h 132"/>
                <a:gd name="T32" fmla="*/ 120 w 165"/>
                <a:gd name="T33" fmla="*/ 63 h 132"/>
                <a:gd name="T34" fmla="*/ 132 w 165"/>
                <a:gd name="T35" fmla="*/ 56 h 132"/>
                <a:gd name="T36" fmla="*/ 141 w 165"/>
                <a:gd name="T37" fmla="*/ 48 h 132"/>
                <a:gd name="T38" fmla="*/ 151 w 165"/>
                <a:gd name="T39" fmla="*/ 37 h 132"/>
                <a:gd name="T40" fmla="*/ 157 w 165"/>
                <a:gd name="T41" fmla="*/ 26 h 132"/>
                <a:gd name="T42" fmla="*/ 163 w 165"/>
                <a:gd name="T43" fmla="*/ 13 h 132"/>
                <a:gd name="T44" fmla="*/ 165 w 165"/>
                <a:gd name="T45" fmla="*/ 0 h 132"/>
                <a:gd name="T46" fmla="*/ 0 w 165"/>
                <a:gd name="T47" fmla="*/ 0 h 132"/>
                <a:gd name="T48" fmla="*/ 2 w 165"/>
                <a:gd name="T49" fmla="*/ 13 h 132"/>
                <a:gd name="T50" fmla="*/ 8 w 165"/>
                <a:gd name="T51" fmla="*/ 26 h 132"/>
                <a:gd name="T52" fmla="*/ 15 w 165"/>
                <a:gd name="T53" fmla="*/ 37 h 132"/>
                <a:gd name="T54" fmla="*/ 23 w 165"/>
                <a:gd name="T55" fmla="*/ 48 h 132"/>
                <a:gd name="T56" fmla="*/ 33 w 165"/>
                <a:gd name="T57" fmla="*/ 56 h 132"/>
                <a:gd name="T58" fmla="*/ 45 w 165"/>
                <a:gd name="T59" fmla="*/ 63 h 132"/>
                <a:gd name="T60" fmla="*/ 57 w 165"/>
                <a:gd name="T61" fmla="*/ 68 h 132"/>
                <a:gd name="T62" fmla="*/ 71 w 165"/>
                <a:gd name="T63" fmla="*/ 7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5" h="132">
                  <a:moveTo>
                    <a:pt x="71" y="71"/>
                  </a:moveTo>
                  <a:lnTo>
                    <a:pt x="71" y="120"/>
                  </a:lnTo>
                  <a:lnTo>
                    <a:pt x="71" y="124"/>
                  </a:lnTo>
                  <a:lnTo>
                    <a:pt x="73" y="127"/>
                  </a:lnTo>
                  <a:lnTo>
                    <a:pt x="77" y="130"/>
                  </a:lnTo>
                  <a:lnTo>
                    <a:pt x="80" y="132"/>
                  </a:lnTo>
                  <a:lnTo>
                    <a:pt x="82" y="131"/>
                  </a:lnTo>
                  <a:lnTo>
                    <a:pt x="83" y="132"/>
                  </a:lnTo>
                  <a:lnTo>
                    <a:pt x="83" y="131"/>
                  </a:lnTo>
                  <a:lnTo>
                    <a:pt x="84" y="132"/>
                  </a:lnTo>
                  <a:lnTo>
                    <a:pt x="88" y="130"/>
                  </a:lnTo>
                  <a:lnTo>
                    <a:pt x="91" y="127"/>
                  </a:lnTo>
                  <a:lnTo>
                    <a:pt x="94" y="124"/>
                  </a:lnTo>
                  <a:lnTo>
                    <a:pt x="95" y="120"/>
                  </a:lnTo>
                  <a:lnTo>
                    <a:pt x="95" y="71"/>
                  </a:lnTo>
                  <a:lnTo>
                    <a:pt x="108" y="68"/>
                  </a:lnTo>
                  <a:lnTo>
                    <a:pt x="120" y="63"/>
                  </a:lnTo>
                  <a:lnTo>
                    <a:pt x="132" y="56"/>
                  </a:lnTo>
                  <a:lnTo>
                    <a:pt x="141" y="48"/>
                  </a:lnTo>
                  <a:lnTo>
                    <a:pt x="151" y="37"/>
                  </a:lnTo>
                  <a:lnTo>
                    <a:pt x="157" y="26"/>
                  </a:lnTo>
                  <a:lnTo>
                    <a:pt x="163" y="13"/>
                  </a:lnTo>
                  <a:lnTo>
                    <a:pt x="165" y="0"/>
                  </a:lnTo>
                  <a:lnTo>
                    <a:pt x="0" y="0"/>
                  </a:lnTo>
                  <a:lnTo>
                    <a:pt x="2" y="13"/>
                  </a:lnTo>
                  <a:lnTo>
                    <a:pt x="8" y="26"/>
                  </a:lnTo>
                  <a:lnTo>
                    <a:pt x="15" y="37"/>
                  </a:lnTo>
                  <a:lnTo>
                    <a:pt x="23" y="48"/>
                  </a:lnTo>
                  <a:lnTo>
                    <a:pt x="33" y="56"/>
                  </a:lnTo>
                  <a:lnTo>
                    <a:pt x="45" y="63"/>
                  </a:lnTo>
                  <a:lnTo>
                    <a:pt x="57" y="68"/>
                  </a:lnTo>
                  <a:lnTo>
                    <a:pt x="71"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80" name="Freeform 3052"/>
            <p:cNvSpPr>
              <a:spLocks/>
            </p:cNvSpPr>
            <p:nvPr/>
          </p:nvSpPr>
          <p:spPr bwMode="auto">
            <a:xfrm>
              <a:off x="9882188" y="1427163"/>
              <a:ext cx="276225" cy="138113"/>
            </a:xfrm>
            <a:custGeom>
              <a:avLst/>
              <a:gdLst>
                <a:gd name="T0" fmla="*/ 601 w 694"/>
                <a:gd name="T1" fmla="*/ 347 h 347"/>
                <a:gd name="T2" fmla="*/ 625 w 694"/>
                <a:gd name="T3" fmla="*/ 331 h 347"/>
                <a:gd name="T4" fmla="*/ 651 w 694"/>
                <a:gd name="T5" fmla="*/ 306 h 347"/>
                <a:gd name="T6" fmla="*/ 670 w 694"/>
                <a:gd name="T7" fmla="*/ 277 h 347"/>
                <a:gd name="T8" fmla="*/ 685 w 694"/>
                <a:gd name="T9" fmla="*/ 248 h 347"/>
                <a:gd name="T10" fmla="*/ 692 w 694"/>
                <a:gd name="T11" fmla="*/ 214 h 347"/>
                <a:gd name="T12" fmla="*/ 693 w 694"/>
                <a:gd name="T13" fmla="*/ 171 h 347"/>
                <a:gd name="T14" fmla="*/ 680 w 694"/>
                <a:gd name="T15" fmla="*/ 114 h 347"/>
                <a:gd name="T16" fmla="*/ 654 w 694"/>
                <a:gd name="T17" fmla="*/ 68 h 347"/>
                <a:gd name="T18" fmla="*/ 617 w 694"/>
                <a:gd name="T19" fmla="*/ 31 h 347"/>
                <a:gd name="T20" fmla="*/ 569 w 694"/>
                <a:gd name="T21" fmla="*/ 8 h 347"/>
                <a:gd name="T22" fmla="*/ 515 w 694"/>
                <a:gd name="T23" fmla="*/ 0 h 347"/>
                <a:gd name="T24" fmla="*/ 485 w 694"/>
                <a:gd name="T25" fmla="*/ 2 h 347"/>
                <a:gd name="T26" fmla="*/ 436 w 694"/>
                <a:gd name="T27" fmla="*/ 19 h 347"/>
                <a:gd name="T28" fmla="*/ 468 w 694"/>
                <a:gd name="T29" fmla="*/ 39 h 347"/>
                <a:gd name="T30" fmla="*/ 497 w 694"/>
                <a:gd name="T31" fmla="*/ 66 h 347"/>
                <a:gd name="T32" fmla="*/ 518 w 694"/>
                <a:gd name="T33" fmla="*/ 98 h 347"/>
                <a:gd name="T34" fmla="*/ 532 w 694"/>
                <a:gd name="T35" fmla="*/ 135 h 347"/>
                <a:gd name="T36" fmla="*/ 540 w 694"/>
                <a:gd name="T37" fmla="*/ 175 h 347"/>
                <a:gd name="T38" fmla="*/ 537 w 694"/>
                <a:gd name="T39" fmla="*/ 223 h 347"/>
                <a:gd name="T40" fmla="*/ 526 w 694"/>
                <a:gd name="T41" fmla="*/ 258 h 347"/>
                <a:gd name="T42" fmla="*/ 517 w 694"/>
                <a:gd name="T43" fmla="*/ 263 h 347"/>
                <a:gd name="T44" fmla="*/ 509 w 694"/>
                <a:gd name="T45" fmla="*/ 259 h 347"/>
                <a:gd name="T46" fmla="*/ 506 w 694"/>
                <a:gd name="T47" fmla="*/ 246 h 347"/>
                <a:gd name="T48" fmla="*/ 515 w 694"/>
                <a:gd name="T49" fmla="*/ 203 h 347"/>
                <a:gd name="T50" fmla="*/ 512 w 694"/>
                <a:gd name="T51" fmla="*/ 155 h 347"/>
                <a:gd name="T52" fmla="*/ 497 w 694"/>
                <a:gd name="T53" fmla="*/ 108 h 347"/>
                <a:gd name="T54" fmla="*/ 468 w 694"/>
                <a:gd name="T55" fmla="*/ 70 h 347"/>
                <a:gd name="T56" fmla="*/ 429 w 694"/>
                <a:gd name="T57" fmla="*/ 43 h 347"/>
                <a:gd name="T58" fmla="*/ 383 w 694"/>
                <a:gd name="T59" fmla="*/ 26 h 347"/>
                <a:gd name="T60" fmla="*/ 329 w 694"/>
                <a:gd name="T61" fmla="*/ 24 h 347"/>
                <a:gd name="T62" fmla="*/ 280 w 694"/>
                <a:gd name="T63" fmla="*/ 36 h 347"/>
                <a:gd name="T64" fmla="*/ 239 w 694"/>
                <a:gd name="T65" fmla="*/ 61 h 347"/>
                <a:gd name="T66" fmla="*/ 205 w 694"/>
                <a:gd name="T67" fmla="*/ 96 h 347"/>
                <a:gd name="T68" fmla="*/ 185 w 694"/>
                <a:gd name="T69" fmla="*/ 139 h 347"/>
                <a:gd name="T70" fmla="*/ 177 w 694"/>
                <a:gd name="T71" fmla="*/ 189 h 347"/>
                <a:gd name="T72" fmla="*/ 183 w 694"/>
                <a:gd name="T73" fmla="*/ 232 h 347"/>
                <a:gd name="T74" fmla="*/ 186 w 694"/>
                <a:gd name="T75" fmla="*/ 255 h 347"/>
                <a:gd name="T76" fmla="*/ 174 w 694"/>
                <a:gd name="T77" fmla="*/ 262 h 347"/>
                <a:gd name="T78" fmla="*/ 164 w 694"/>
                <a:gd name="T79" fmla="*/ 253 h 347"/>
                <a:gd name="T80" fmla="*/ 154 w 694"/>
                <a:gd name="T81" fmla="*/ 206 h 347"/>
                <a:gd name="T82" fmla="*/ 155 w 694"/>
                <a:gd name="T83" fmla="*/ 162 h 347"/>
                <a:gd name="T84" fmla="*/ 165 w 694"/>
                <a:gd name="T85" fmla="*/ 124 h 347"/>
                <a:gd name="T86" fmla="*/ 182 w 694"/>
                <a:gd name="T87" fmla="*/ 88 h 347"/>
                <a:gd name="T88" fmla="*/ 207 w 694"/>
                <a:gd name="T89" fmla="*/ 58 h 347"/>
                <a:gd name="T90" fmla="*/ 235 w 694"/>
                <a:gd name="T91" fmla="*/ 33 h 347"/>
                <a:gd name="T92" fmla="*/ 242 w 694"/>
                <a:gd name="T93" fmla="*/ 13 h 347"/>
                <a:gd name="T94" fmla="*/ 202 w 694"/>
                <a:gd name="T95" fmla="*/ 1 h 347"/>
                <a:gd name="T96" fmla="*/ 160 w 694"/>
                <a:gd name="T97" fmla="*/ 1 h 347"/>
                <a:gd name="T98" fmla="*/ 107 w 694"/>
                <a:gd name="T99" fmla="*/ 14 h 347"/>
                <a:gd name="T100" fmla="*/ 63 w 694"/>
                <a:gd name="T101" fmla="*/ 42 h 347"/>
                <a:gd name="T102" fmla="*/ 28 w 694"/>
                <a:gd name="T103" fmla="*/ 82 h 347"/>
                <a:gd name="T104" fmla="*/ 7 w 694"/>
                <a:gd name="T105" fmla="*/ 132 h 347"/>
                <a:gd name="T106" fmla="*/ 0 w 694"/>
                <a:gd name="T107" fmla="*/ 192 h 347"/>
                <a:gd name="T108" fmla="*/ 2 w 694"/>
                <a:gd name="T109" fmla="*/ 225 h 347"/>
                <a:gd name="T110" fmla="*/ 13 w 694"/>
                <a:gd name="T111" fmla="*/ 256 h 347"/>
                <a:gd name="T112" fmla="*/ 28 w 694"/>
                <a:gd name="T113" fmla="*/ 286 h 347"/>
                <a:gd name="T114" fmla="*/ 49 w 694"/>
                <a:gd name="T115" fmla="*/ 313 h 347"/>
                <a:gd name="T116" fmla="*/ 78 w 694"/>
                <a:gd name="T117" fmla="*/ 33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4" h="347">
                  <a:moveTo>
                    <a:pt x="88" y="345"/>
                  </a:moveTo>
                  <a:lnTo>
                    <a:pt x="91" y="347"/>
                  </a:lnTo>
                  <a:lnTo>
                    <a:pt x="601" y="347"/>
                  </a:lnTo>
                  <a:lnTo>
                    <a:pt x="605" y="345"/>
                  </a:lnTo>
                  <a:lnTo>
                    <a:pt x="615" y="338"/>
                  </a:lnTo>
                  <a:lnTo>
                    <a:pt x="625" y="331"/>
                  </a:lnTo>
                  <a:lnTo>
                    <a:pt x="635" y="322"/>
                  </a:lnTo>
                  <a:lnTo>
                    <a:pt x="643" y="314"/>
                  </a:lnTo>
                  <a:lnTo>
                    <a:pt x="651" y="306"/>
                  </a:lnTo>
                  <a:lnTo>
                    <a:pt x="659" y="296"/>
                  </a:lnTo>
                  <a:lnTo>
                    <a:pt x="664" y="288"/>
                  </a:lnTo>
                  <a:lnTo>
                    <a:pt x="670" y="277"/>
                  </a:lnTo>
                  <a:lnTo>
                    <a:pt x="676" y="268"/>
                  </a:lnTo>
                  <a:lnTo>
                    <a:pt x="681" y="258"/>
                  </a:lnTo>
                  <a:lnTo>
                    <a:pt x="685" y="248"/>
                  </a:lnTo>
                  <a:lnTo>
                    <a:pt x="688" y="237"/>
                  </a:lnTo>
                  <a:lnTo>
                    <a:pt x="691" y="226"/>
                  </a:lnTo>
                  <a:lnTo>
                    <a:pt x="692" y="214"/>
                  </a:lnTo>
                  <a:lnTo>
                    <a:pt x="693" y="203"/>
                  </a:lnTo>
                  <a:lnTo>
                    <a:pt x="694" y="192"/>
                  </a:lnTo>
                  <a:lnTo>
                    <a:pt x="693" y="171"/>
                  </a:lnTo>
                  <a:lnTo>
                    <a:pt x="691" y="151"/>
                  </a:lnTo>
                  <a:lnTo>
                    <a:pt x="686" y="132"/>
                  </a:lnTo>
                  <a:lnTo>
                    <a:pt x="680" y="114"/>
                  </a:lnTo>
                  <a:lnTo>
                    <a:pt x="673" y="98"/>
                  </a:lnTo>
                  <a:lnTo>
                    <a:pt x="664" y="82"/>
                  </a:lnTo>
                  <a:lnTo>
                    <a:pt x="654" y="68"/>
                  </a:lnTo>
                  <a:lnTo>
                    <a:pt x="643" y="54"/>
                  </a:lnTo>
                  <a:lnTo>
                    <a:pt x="630" y="42"/>
                  </a:lnTo>
                  <a:lnTo>
                    <a:pt x="617" y="31"/>
                  </a:lnTo>
                  <a:lnTo>
                    <a:pt x="601" y="22"/>
                  </a:lnTo>
                  <a:lnTo>
                    <a:pt x="586" y="14"/>
                  </a:lnTo>
                  <a:lnTo>
                    <a:pt x="569" y="8"/>
                  </a:lnTo>
                  <a:lnTo>
                    <a:pt x="551" y="4"/>
                  </a:lnTo>
                  <a:lnTo>
                    <a:pt x="534" y="1"/>
                  </a:lnTo>
                  <a:lnTo>
                    <a:pt x="515" y="0"/>
                  </a:lnTo>
                  <a:lnTo>
                    <a:pt x="504" y="0"/>
                  </a:lnTo>
                  <a:lnTo>
                    <a:pt x="494" y="1"/>
                  </a:lnTo>
                  <a:lnTo>
                    <a:pt x="485" y="2"/>
                  </a:lnTo>
                  <a:lnTo>
                    <a:pt x="475" y="5"/>
                  </a:lnTo>
                  <a:lnTo>
                    <a:pt x="455" y="11"/>
                  </a:lnTo>
                  <a:lnTo>
                    <a:pt x="436" y="19"/>
                  </a:lnTo>
                  <a:lnTo>
                    <a:pt x="447" y="25"/>
                  </a:lnTo>
                  <a:lnTo>
                    <a:pt x="459" y="32"/>
                  </a:lnTo>
                  <a:lnTo>
                    <a:pt x="468" y="39"/>
                  </a:lnTo>
                  <a:lnTo>
                    <a:pt x="479" y="48"/>
                  </a:lnTo>
                  <a:lnTo>
                    <a:pt x="487" y="56"/>
                  </a:lnTo>
                  <a:lnTo>
                    <a:pt x="497" y="66"/>
                  </a:lnTo>
                  <a:lnTo>
                    <a:pt x="504" y="75"/>
                  </a:lnTo>
                  <a:lnTo>
                    <a:pt x="511" y="86"/>
                  </a:lnTo>
                  <a:lnTo>
                    <a:pt x="518" y="98"/>
                  </a:lnTo>
                  <a:lnTo>
                    <a:pt x="523" y="110"/>
                  </a:lnTo>
                  <a:lnTo>
                    <a:pt x="528" y="121"/>
                  </a:lnTo>
                  <a:lnTo>
                    <a:pt x="532" y="135"/>
                  </a:lnTo>
                  <a:lnTo>
                    <a:pt x="536" y="148"/>
                  </a:lnTo>
                  <a:lnTo>
                    <a:pt x="537" y="161"/>
                  </a:lnTo>
                  <a:lnTo>
                    <a:pt x="540" y="175"/>
                  </a:lnTo>
                  <a:lnTo>
                    <a:pt x="540" y="189"/>
                  </a:lnTo>
                  <a:lnTo>
                    <a:pt x="538" y="206"/>
                  </a:lnTo>
                  <a:lnTo>
                    <a:pt x="537" y="223"/>
                  </a:lnTo>
                  <a:lnTo>
                    <a:pt x="534" y="239"/>
                  </a:lnTo>
                  <a:lnTo>
                    <a:pt x="528" y="255"/>
                  </a:lnTo>
                  <a:lnTo>
                    <a:pt x="526" y="258"/>
                  </a:lnTo>
                  <a:lnTo>
                    <a:pt x="524" y="261"/>
                  </a:lnTo>
                  <a:lnTo>
                    <a:pt x="521" y="262"/>
                  </a:lnTo>
                  <a:lnTo>
                    <a:pt x="517" y="263"/>
                  </a:lnTo>
                  <a:lnTo>
                    <a:pt x="515" y="263"/>
                  </a:lnTo>
                  <a:lnTo>
                    <a:pt x="513" y="262"/>
                  </a:lnTo>
                  <a:lnTo>
                    <a:pt x="509" y="259"/>
                  </a:lnTo>
                  <a:lnTo>
                    <a:pt x="506" y="256"/>
                  </a:lnTo>
                  <a:lnTo>
                    <a:pt x="505" y="251"/>
                  </a:lnTo>
                  <a:lnTo>
                    <a:pt x="506" y="246"/>
                  </a:lnTo>
                  <a:lnTo>
                    <a:pt x="510" y="233"/>
                  </a:lnTo>
                  <a:lnTo>
                    <a:pt x="513" y="219"/>
                  </a:lnTo>
                  <a:lnTo>
                    <a:pt x="515" y="203"/>
                  </a:lnTo>
                  <a:lnTo>
                    <a:pt x="516" y="189"/>
                  </a:lnTo>
                  <a:lnTo>
                    <a:pt x="515" y="171"/>
                  </a:lnTo>
                  <a:lnTo>
                    <a:pt x="512" y="155"/>
                  </a:lnTo>
                  <a:lnTo>
                    <a:pt x="509" y="138"/>
                  </a:lnTo>
                  <a:lnTo>
                    <a:pt x="503" y="123"/>
                  </a:lnTo>
                  <a:lnTo>
                    <a:pt x="497" y="108"/>
                  </a:lnTo>
                  <a:lnTo>
                    <a:pt x="488" y="94"/>
                  </a:lnTo>
                  <a:lnTo>
                    <a:pt x="479" y="82"/>
                  </a:lnTo>
                  <a:lnTo>
                    <a:pt x="468" y="70"/>
                  </a:lnTo>
                  <a:lnTo>
                    <a:pt x="456" y="60"/>
                  </a:lnTo>
                  <a:lnTo>
                    <a:pt x="443" y="50"/>
                  </a:lnTo>
                  <a:lnTo>
                    <a:pt x="429" y="43"/>
                  </a:lnTo>
                  <a:lnTo>
                    <a:pt x="415" y="36"/>
                  </a:lnTo>
                  <a:lnTo>
                    <a:pt x="398" y="31"/>
                  </a:lnTo>
                  <a:lnTo>
                    <a:pt x="383" y="26"/>
                  </a:lnTo>
                  <a:lnTo>
                    <a:pt x="365" y="24"/>
                  </a:lnTo>
                  <a:lnTo>
                    <a:pt x="347" y="24"/>
                  </a:lnTo>
                  <a:lnTo>
                    <a:pt x="329" y="24"/>
                  </a:lnTo>
                  <a:lnTo>
                    <a:pt x="312" y="26"/>
                  </a:lnTo>
                  <a:lnTo>
                    <a:pt x="296" y="31"/>
                  </a:lnTo>
                  <a:lnTo>
                    <a:pt x="280" y="36"/>
                  </a:lnTo>
                  <a:lnTo>
                    <a:pt x="265" y="43"/>
                  </a:lnTo>
                  <a:lnTo>
                    <a:pt x="252" y="51"/>
                  </a:lnTo>
                  <a:lnTo>
                    <a:pt x="239" y="61"/>
                  </a:lnTo>
                  <a:lnTo>
                    <a:pt x="227" y="71"/>
                  </a:lnTo>
                  <a:lnTo>
                    <a:pt x="215" y="83"/>
                  </a:lnTo>
                  <a:lnTo>
                    <a:pt x="205" y="96"/>
                  </a:lnTo>
                  <a:lnTo>
                    <a:pt x="197" y="110"/>
                  </a:lnTo>
                  <a:lnTo>
                    <a:pt x="190" y="124"/>
                  </a:lnTo>
                  <a:lnTo>
                    <a:pt x="185" y="139"/>
                  </a:lnTo>
                  <a:lnTo>
                    <a:pt x="180" y="156"/>
                  </a:lnTo>
                  <a:lnTo>
                    <a:pt x="178" y="173"/>
                  </a:lnTo>
                  <a:lnTo>
                    <a:pt x="177" y="189"/>
                  </a:lnTo>
                  <a:lnTo>
                    <a:pt x="178" y="203"/>
                  </a:lnTo>
                  <a:lnTo>
                    <a:pt x="179" y="218"/>
                  </a:lnTo>
                  <a:lnTo>
                    <a:pt x="183" y="232"/>
                  </a:lnTo>
                  <a:lnTo>
                    <a:pt x="186" y="245"/>
                  </a:lnTo>
                  <a:lnTo>
                    <a:pt x="187" y="250"/>
                  </a:lnTo>
                  <a:lnTo>
                    <a:pt x="186" y="255"/>
                  </a:lnTo>
                  <a:lnTo>
                    <a:pt x="184" y="258"/>
                  </a:lnTo>
                  <a:lnTo>
                    <a:pt x="179" y="261"/>
                  </a:lnTo>
                  <a:lnTo>
                    <a:pt x="174" y="262"/>
                  </a:lnTo>
                  <a:lnTo>
                    <a:pt x="170" y="261"/>
                  </a:lnTo>
                  <a:lnTo>
                    <a:pt x="166" y="257"/>
                  </a:lnTo>
                  <a:lnTo>
                    <a:pt x="164" y="253"/>
                  </a:lnTo>
                  <a:lnTo>
                    <a:pt x="159" y="238"/>
                  </a:lnTo>
                  <a:lnTo>
                    <a:pt x="155" y="223"/>
                  </a:lnTo>
                  <a:lnTo>
                    <a:pt x="154" y="206"/>
                  </a:lnTo>
                  <a:lnTo>
                    <a:pt x="153" y="189"/>
                  </a:lnTo>
                  <a:lnTo>
                    <a:pt x="154" y="176"/>
                  </a:lnTo>
                  <a:lnTo>
                    <a:pt x="155" y="162"/>
                  </a:lnTo>
                  <a:lnTo>
                    <a:pt x="158" y="149"/>
                  </a:lnTo>
                  <a:lnTo>
                    <a:pt x="161" y="136"/>
                  </a:lnTo>
                  <a:lnTo>
                    <a:pt x="165" y="124"/>
                  </a:lnTo>
                  <a:lnTo>
                    <a:pt x="170" y="111"/>
                  </a:lnTo>
                  <a:lnTo>
                    <a:pt x="176" y="100"/>
                  </a:lnTo>
                  <a:lnTo>
                    <a:pt x="182" y="88"/>
                  </a:lnTo>
                  <a:lnTo>
                    <a:pt x="190" y="77"/>
                  </a:lnTo>
                  <a:lnTo>
                    <a:pt x="197" y="68"/>
                  </a:lnTo>
                  <a:lnTo>
                    <a:pt x="207" y="58"/>
                  </a:lnTo>
                  <a:lnTo>
                    <a:pt x="215" y="49"/>
                  </a:lnTo>
                  <a:lnTo>
                    <a:pt x="226" y="41"/>
                  </a:lnTo>
                  <a:lnTo>
                    <a:pt x="235" y="33"/>
                  </a:lnTo>
                  <a:lnTo>
                    <a:pt x="247" y="26"/>
                  </a:lnTo>
                  <a:lnTo>
                    <a:pt x="258" y="20"/>
                  </a:lnTo>
                  <a:lnTo>
                    <a:pt x="242" y="13"/>
                  </a:lnTo>
                  <a:lnTo>
                    <a:pt x="223" y="6"/>
                  </a:lnTo>
                  <a:lnTo>
                    <a:pt x="212" y="4"/>
                  </a:lnTo>
                  <a:lnTo>
                    <a:pt x="202" y="1"/>
                  </a:lnTo>
                  <a:lnTo>
                    <a:pt x="191" y="0"/>
                  </a:lnTo>
                  <a:lnTo>
                    <a:pt x="179" y="0"/>
                  </a:lnTo>
                  <a:lnTo>
                    <a:pt x="160" y="1"/>
                  </a:lnTo>
                  <a:lnTo>
                    <a:pt x="141" y="4"/>
                  </a:lnTo>
                  <a:lnTo>
                    <a:pt x="123" y="8"/>
                  </a:lnTo>
                  <a:lnTo>
                    <a:pt x="107" y="14"/>
                  </a:lnTo>
                  <a:lnTo>
                    <a:pt x="91" y="22"/>
                  </a:lnTo>
                  <a:lnTo>
                    <a:pt x="76" y="31"/>
                  </a:lnTo>
                  <a:lnTo>
                    <a:pt x="63" y="42"/>
                  </a:lnTo>
                  <a:lnTo>
                    <a:pt x="49" y="54"/>
                  </a:lnTo>
                  <a:lnTo>
                    <a:pt x="39" y="68"/>
                  </a:lnTo>
                  <a:lnTo>
                    <a:pt x="28" y="82"/>
                  </a:lnTo>
                  <a:lnTo>
                    <a:pt x="20" y="98"/>
                  </a:lnTo>
                  <a:lnTo>
                    <a:pt x="13" y="114"/>
                  </a:lnTo>
                  <a:lnTo>
                    <a:pt x="7" y="132"/>
                  </a:lnTo>
                  <a:lnTo>
                    <a:pt x="3" y="151"/>
                  </a:lnTo>
                  <a:lnTo>
                    <a:pt x="0" y="171"/>
                  </a:lnTo>
                  <a:lnTo>
                    <a:pt x="0" y="192"/>
                  </a:lnTo>
                  <a:lnTo>
                    <a:pt x="0" y="202"/>
                  </a:lnTo>
                  <a:lnTo>
                    <a:pt x="1" y="213"/>
                  </a:lnTo>
                  <a:lnTo>
                    <a:pt x="2" y="225"/>
                  </a:lnTo>
                  <a:lnTo>
                    <a:pt x="5" y="236"/>
                  </a:lnTo>
                  <a:lnTo>
                    <a:pt x="8" y="245"/>
                  </a:lnTo>
                  <a:lnTo>
                    <a:pt x="13" y="256"/>
                  </a:lnTo>
                  <a:lnTo>
                    <a:pt x="16" y="267"/>
                  </a:lnTo>
                  <a:lnTo>
                    <a:pt x="22" y="276"/>
                  </a:lnTo>
                  <a:lnTo>
                    <a:pt x="28" y="286"/>
                  </a:lnTo>
                  <a:lnTo>
                    <a:pt x="35" y="295"/>
                  </a:lnTo>
                  <a:lnTo>
                    <a:pt x="42" y="305"/>
                  </a:lnTo>
                  <a:lnTo>
                    <a:pt x="49" y="313"/>
                  </a:lnTo>
                  <a:lnTo>
                    <a:pt x="59" y="321"/>
                  </a:lnTo>
                  <a:lnTo>
                    <a:pt x="67" y="330"/>
                  </a:lnTo>
                  <a:lnTo>
                    <a:pt x="78" y="338"/>
                  </a:lnTo>
                  <a:lnTo>
                    <a:pt x="88" y="345"/>
                  </a:lnTo>
                  <a:lnTo>
                    <a:pt x="88"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181" name="Group 180"/>
          <p:cNvGrpSpPr/>
          <p:nvPr/>
        </p:nvGrpSpPr>
        <p:grpSpPr>
          <a:xfrm>
            <a:off x="7898106" y="3164188"/>
            <a:ext cx="350789" cy="375844"/>
            <a:chOff x="10464800" y="1382713"/>
            <a:chExt cx="266701" cy="285750"/>
          </a:xfrm>
          <a:solidFill>
            <a:schemeClr val="bg1"/>
          </a:solidFill>
          <a:effectLst>
            <a:outerShdw blurRad="38100" dist="25400" dir="5400000" algn="ctr" rotWithShape="0">
              <a:srgbClr val="000000">
                <a:alpha val="20000"/>
              </a:srgbClr>
            </a:outerShdw>
          </a:effectLst>
        </p:grpSpPr>
        <p:sp>
          <p:nvSpPr>
            <p:cNvPr id="182" name="Freeform 4133"/>
            <p:cNvSpPr>
              <a:spLocks noEditPoints="1"/>
            </p:cNvSpPr>
            <p:nvPr/>
          </p:nvSpPr>
          <p:spPr bwMode="auto">
            <a:xfrm>
              <a:off x="10464800" y="1487488"/>
              <a:ext cx="230188" cy="180975"/>
            </a:xfrm>
            <a:custGeom>
              <a:avLst/>
              <a:gdLst>
                <a:gd name="T0" fmla="*/ 210 w 721"/>
                <a:gd name="T1" fmla="*/ 420 h 570"/>
                <a:gd name="T2" fmla="*/ 511 w 721"/>
                <a:gd name="T3" fmla="*/ 150 h 570"/>
                <a:gd name="T4" fmla="*/ 706 w 721"/>
                <a:gd name="T5" fmla="*/ 0 h 570"/>
                <a:gd name="T6" fmla="*/ 556 w 721"/>
                <a:gd name="T7" fmla="*/ 60 h 570"/>
                <a:gd name="T8" fmla="*/ 554 w 721"/>
                <a:gd name="T9" fmla="*/ 72 h 570"/>
                <a:gd name="T10" fmla="*/ 547 w 721"/>
                <a:gd name="T11" fmla="*/ 80 h 570"/>
                <a:gd name="T12" fmla="*/ 538 w 721"/>
                <a:gd name="T13" fmla="*/ 88 h 570"/>
                <a:gd name="T14" fmla="*/ 526 w 721"/>
                <a:gd name="T15" fmla="*/ 90 h 570"/>
                <a:gd name="T16" fmla="*/ 514 w 721"/>
                <a:gd name="T17" fmla="*/ 87 h 570"/>
                <a:gd name="T18" fmla="*/ 505 w 721"/>
                <a:gd name="T19" fmla="*/ 80 h 570"/>
                <a:gd name="T20" fmla="*/ 498 w 721"/>
                <a:gd name="T21" fmla="*/ 72 h 570"/>
                <a:gd name="T22" fmla="*/ 496 w 721"/>
                <a:gd name="T23" fmla="*/ 60 h 570"/>
                <a:gd name="T24" fmla="*/ 225 w 721"/>
                <a:gd name="T25" fmla="*/ 0 h 570"/>
                <a:gd name="T26" fmla="*/ 225 w 721"/>
                <a:gd name="T27" fmla="*/ 65 h 570"/>
                <a:gd name="T28" fmla="*/ 221 w 721"/>
                <a:gd name="T29" fmla="*/ 76 h 570"/>
                <a:gd name="T30" fmla="*/ 212 w 721"/>
                <a:gd name="T31" fmla="*/ 85 h 570"/>
                <a:gd name="T32" fmla="*/ 201 w 721"/>
                <a:gd name="T33" fmla="*/ 89 h 570"/>
                <a:gd name="T34" fmla="*/ 189 w 721"/>
                <a:gd name="T35" fmla="*/ 89 h 570"/>
                <a:gd name="T36" fmla="*/ 179 w 721"/>
                <a:gd name="T37" fmla="*/ 85 h 570"/>
                <a:gd name="T38" fmla="*/ 170 w 721"/>
                <a:gd name="T39" fmla="*/ 76 h 570"/>
                <a:gd name="T40" fmla="*/ 166 w 721"/>
                <a:gd name="T41" fmla="*/ 65 h 570"/>
                <a:gd name="T42" fmla="*/ 165 w 721"/>
                <a:gd name="T43" fmla="*/ 0 h 570"/>
                <a:gd name="T44" fmla="*/ 11 w 721"/>
                <a:gd name="T45" fmla="*/ 0 h 570"/>
                <a:gd name="T46" fmla="*/ 6 w 721"/>
                <a:gd name="T47" fmla="*/ 2 h 570"/>
                <a:gd name="T48" fmla="*/ 3 w 721"/>
                <a:gd name="T49" fmla="*/ 6 h 570"/>
                <a:gd name="T50" fmla="*/ 0 w 721"/>
                <a:gd name="T51" fmla="*/ 12 h 570"/>
                <a:gd name="T52" fmla="*/ 0 w 721"/>
                <a:gd name="T53" fmla="*/ 555 h 570"/>
                <a:gd name="T54" fmla="*/ 1 w 721"/>
                <a:gd name="T55" fmla="*/ 562 h 570"/>
                <a:gd name="T56" fmla="*/ 4 w 721"/>
                <a:gd name="T57" fmla="*/ 566 h 570"/>
                <a:gd name="T58" fmla="*/ 9 w 721"/>
                <a:gd name="T59" fmla="*/ 569 h 570"/>
                <a:gd name="T60" fmla="*/ 15 w 721"/>
                <a:gd name="T61" fmla="*/ 570 h 570"/>
                <a:gd name="T62" fmla="*/ 709 w 721"/>
                <a:gd name="T63" fmla="*/ 570 h 570"/>
                <a:gd name="T64" fmla="*/ 715 w 721"/>
                <a:gd name="T65" fmla="*/ 568 h 570"/>
                <a:gd name="T66" fmla="*/ 719 w 721"/>
                <a:gd name="T67" fmla="*/ 564 h 570"/>
                <a:gd name="T68" fmla="*/ 721 w 721"/>
                <a:gd name="T69" fmla="*/ 559 h 570"/>
                <a:gd name="T70" fmla="*/ 721 w 721"/>
                <a:gd name="T71" fmla="*/ 15 h 570"/>
                <a:gd name="T72" fmla="*/ 720 w 721"/>
                <a:gd name="T73" fmla="*/ 9 h 570"/>
                <a:gd name="T74" fmla="*/ 717 w 721"/>
                <a:gd name="T75" fmla="*/ 4 h 570"/>
                <a:gd name="T76" fmla="*/ 713 w 721"/>
                <a:gd name="T77" fmla="*/ 1 h 570"/>
                <a:gd name="T78" fmla="*/ 706 w 721"/>
                <a:gd name="T79"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1" h="570">
                  <a:moveTo>
                    <a:pt x="511" y="420"/>
                  </a:moveTo>
                  <a:lnTo>
                    <a:pt x="210" y="420"/>
                  </a:lnTo>
                  <a:lnTo>
                    <a:pt x="210" y="150"/>
                  </a:lnTo>
                  <a:lnTo>
                    <a:pt x="511" y="150"/>
                  </a:lnTo>
                  <a:lnTo>
                    <a:pt x="511" y="420"/>
                  </a:lnTo>
                  <a:close/>
                  <a:moveTo>
                    <a:pt x="706" y="0"/>
                  </a:moveTo>
                  <a:lnTo>
                    <a:pt x="556" y="0"/>
                  </a:lnTo>
                  <a:lnTo>
                    <a:pt x="556" y="60"/>
                  </a:lnTo>
                  <a:lnTo>
                    <a:pt x="555" y="65"/>
                  </a:lnTo>
                  <a:lnTo>
                    <a:pt x="554" y="72"/>
                  </a:lnTo>
                  <a:lnTo>
                    <a:pt x="551" y="76"/>
                  </a:lnTo>
                  <a:lnTo>
                    <a:pt x="547" y="80"/>
                  </a:lnTo>
                  <a:lnTo>
                    <a:pt x="543" y="85"/>
                  </a:lnTo>
                  <a:lnTo>
                    <a:pt x="538" y="88"/>
                  </a:lnTo>
                  <a:lnTo>
                    <a:pt x="532" y="89"/>
                  </a:lnTo>
                  <a:lnTo>
                    <a:pt x="526" y="90"/>
                  </a:lnTo>
                  <a:lnTo>
                    <a:pt x="520" y="89"/>
                  </a:lnTo>
                  <a:lnTo>
                    <a:pt x="514" y="87"/>
                  </a:lnTo>
                  <a:lnTo>
                    <a:pt x="509" y="85"/>
                  </a:lnTo>
                  <a:lnTo>
                    <a:pt x="505" y="80"/>
                  </a:lnTo>
                  <a:lnTo>
                    <a:pt x="501" y="76"/>
                  </a:lnTo>
                  <a:lnTo>
                    <a:pt x="498" y="72"/>
                  </a:lnTo>
                  <a:lnTo>
                    <a:pt x="496" y="65"/>
                  </a:lnTo>
                  <a:lnTo>
                    <a:pt x="496" y="60"/>
                  </a:lnTo>
                  <a:lnTo>
                    <a:pt x="496" y="0"/>
                  </a:lnTo>
                  <a:lnTo>
                    <a:pt x="225" y="0"/>
                  </a:lnTo>
                  <a:lnTo>
                    <a:pt x="226" y="60"/>
                  </a:lnTo>
                  <a:lnTo>
                    <a:pt x="225" y="65"/>
                  </a:lnTo>
                  <a:lnTo>
                    <a:pt x="223" y="72"/>
                  </a:lnTo>
                  <a:lnTo>
                    <a:pt x="221" y="76"/>
                  </a:lnTo>
                  <a:lnTo>
                    <a:pt x="216" y="80"/>
                  </a:lnTo>
                  <a:lnTo>
                    <a:pt x="212" y="85"/>
                  </a:lnTo>
                  <a:lnTo>
                    <a:pt x="207" y="88"/>
                  </a:lnTo>
                  <a:lnTo>
                    <a:pt x="201" y="89"/>
                  </a:lnTo>
                  <a:lnTo>
                    <a:pt x="195" y="90"/>
                  </a:lnTo>
                  <a:lnTo>
                    <a:pt x="189" y="89"/>
                  </a:lnTo>
                  <a:lnTo>
                    <a:pt x="184" y="87"/>
                  </a:lnTo>
                  <a:lnTo>
                    <a:pt x="179" y="85"/>
                  </a:lnTo>
                  <a:lnTo>
                    <a:pt x="174" y="80"/>
                  </a:lnTo>
                  <a:lnTo>
                    <a:pt x="170" y="76"/>
                  </a:lnTo>
                  <a:lnTo>
                    <a:pt x="168" y="72"/>
                  </a:lnTo>
                  <a:lnTo>
                    <a:pt x="166" y="65"/>
                  </a:lnTo>
                  <a:lnTo>
                    <a:pt x="165" y="60"/>
                  </a:lnTo>
                  <a:lnTo>
                    <a:pt x="165" y="0"/>
                  </a:lnTo>
                  <a:lnTo>
                    <a:pt x="15" y="0"/>
                  </a:lnTo>
                  <a:lnTo>
                    <a:pt x="11" y="0"/>
                  </a:lnTo>
                  <a:lnTo>
                    <a:pt x="9" y="1"/>
                  </a:lnTo>
                  <a:lnTo>
                    <a:pt x="6" y="2"/>
                  </a:lnTo>
                  <a:lnTo>
                    <a:pt x="4" y="4"/>
                  </a:lnTo>
                  <a:lnTo>
                    <a:pt x="3" y="6"/>
                  </a:lnTo>
                  <a:lnTo>
                    <a:pt x="1" y="9"/>
                  </a:lnTo>
                  <a:lnTo>
                    <a:pt x="0" y="12"/>
                  </a:lnTo>
                  <a:lnTo>
                    <a:pt x="0" y="15"/>
                  </a:lnTo>
                  <a:lnTo>
                    <a:pt x="0" y="555"/>
                  </a:lnTo>
                  <a:lnTo>
                    <a:pt x="1" y="559"/>
                  </a:lnTo>
                  <a:lnTo>
                    <a:pt x="1" y="562"/>
                  </a:lnTo>
                  <a:lnTo>
                    <a:pt x="3" y="564"/>
                  </a:lnTo>
                  <a:lnTo>
                    <a:pt x="4" y="566"/>
                  </a:lnTo>
                  <a:lnTo>
                    <a:pt x="6" y="568"/>
                  </a:lnTo>
                  <a:lnTo>
                    <a:pt x="9" y="569"/>
                  </a:lnTo>
                  <a:lnTo>
                    <a:pt x="11" y="570"/>
                  </a:lnTo>
                  <a:lnTo>
                    <a:pt x="15" y="570"/>
                  </a:lnTo>
                  <a:lnTo>
                    <a:pt x="706" y="570"/>
                  </a:lnTo>
                  <a:lnTo>
                    <a:pt x="709" y="570"/>
                  </a:lnTo>
                  <a:lnTo>
                    <a:pt x="713" y="569"/>
                  </a:lnTo>
                  <a:lnTo>
                    <a:pt x="715" y="568"/>
                  </a:lnTo>
                  <a:lnTo>
                    <a:pt x="717" y="566"/>
                  </a:lnTo>
                  <a:lnTo>
                    <a:pt x="719" y="564"/>
                  </a:lnTo>
                  <a:lnTo>
                    <a:pt x="720" y="562"/>
                  </a:lnTo>
                  <a:lnTo>
                    <a:pt x="721" y="559"/>
                  </a:lnTo>
                  <a:lnTo>
                    <a:pt x="721" y="555"/>
                  </a:lnTo>
                  <a:lnTo>
                    <a:pt x="721" y="15"/>
                  </a:lnTo>
                  <a:lnTo>
                    <a:pt x="721" y="12"/>
                  </a:lnTo>
                  <a:lnTo>
                    <a:pt x="720" y="9"/>
                  </a:lnTo>
                  <a:lnTo>
                    <a:pt x="719" y="6"/>
                  </a:lnTo>
                  <a:lnTo>
                    <a:pt x="717" y="4"/>
                  </a:lnTo>
                  <a:lnTo>
                    <a:pt x="715" y="2"/>
                  </a:lnTo>
                  <a:lnTo>
                    <a:pt x="713" y="1"/>
                  </a:lnTo>
                  <a:lnTo>
                    <a:pt x="709" y="0"/>
                  </a:lnTo>
                  <a:lnTo>
                    <a:pt x="70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83" name="Freeform 4134"/>
            <p:cNvSpPr>
              <a:spLocks/>
            </p:cNvSpPr>
            <p:nvPr/>
          </p:nvSpPr>
          <p:spPr bwMode="auto">
            <a:xfrm>
              <a:off x="10521950" y="1382713"/>
              <a:ext cx="115888" cy="128588"/>
            </a:xfrm>
            <a:custGeom>
              <a:avLst/>
              <a:gdLst>
                <a:gd name="T0" fmla="*/ 0 w 361"/>
                <a:gd name="T1" fmla="*/ 391 h 406"/>
                <a:gd name="T2" fmla="*/ 2 w 361"/>
                <a:gd name="T3" fmla="*/ 396 h 406"/>
                <a:gd name="T4" fmla="*/ 5 w 361"/>
                <a:gd name="T5" fmla="*/ 402 h 406"/>
                <a:gd name="T6" fmla="*/ 9 w 361"/>
                <a:gd name="T7" fmla="*/ 405 h 406"/>
                <a:gd name="T8" fmla="*/ 15 w 361"/>
                <a:gd name="T9" fmla="*/ 406 h 406"/>
                <a:gd name="T10" fmla="*/ 21 w 361"/>
                <a:gd name="T11" fmla="*/ 405 h 406"/>
                <a:gd name="T12" fmla="*/ 26 w 361"/>
                <a:gd name="T13" fmla="*/ 402 h 406"/>
                <a:gd name="T14" fmla="*/ 29 w 361"/>
                <a:gd name="T15" fmla="*/ 396 h 406"/>
                <a:gd name="T16" fmla="*/ 30 w 361"/>
                <a:gd name="T17" fmla="*/ 391 h 406"/>
                <a:gd name="T18" fmla="*/ 30 w 361"/>
                <a:gd name="T19" fmla="*/ 169 h 406"/>
                <a:gd name="T20" fmla="*/ 34 w 361"/>
                <a:gd name="T21" fmla="*/ 140 h 406"/>
                <a:gd name="T22" fmla="*/ 44 w 361"/>
                <a:gd name="T23" fmla="*/ 113 h 406"/>
                <a:gd name="T24" fmla="*/ 59 w 361"/>
                <a:gd name="T25" fmla="*/ 89 h 406"/>
                <a:gd name="T26" fmla="*/ 80 w 361"/>
                <a:gd name="T27" fmla="*/ 67 h 406"/>
                <a:gd name="T28" fmla="*/ 105 w 361"/>
                <a:gd name="T29" fmla="*/ 50 h 406"/>
                <a:gd name="T30" fmla="*/ 132 w 361"/>
                <a:gd name="T31" fmla="*/ 37 h 406"/>
                <a:gd name="T32" fmla="*/ 162 w 361"/>
                <a:gd name="T33" fmla="*/ 31 h 406"/>
                <a:gd name="T34" fmla="*/ 179 w 361"/>
                <a:gd name="T35" fmla="*/ 30 h 406"/>
                <a:gd name="T36" fmla="*/ 191 w 361"/>
                <a:gd name="T37" fmla="*/ 31 h 406"/>
                <a:gd name="T38" fmla="*/ 213 w 361"/>
                <a:gd name="T39" fmla="*/ 34 h 406"/>
                <a:gd name="T40" fmla="*/ 226 w 361"/>
                <a:gd name="T41" fmla="*/ 37 h 406"/>
                <a:gd name="T42" fmla="*/ 236 w 361"/>
                <a:gd name="T43" fmla="*/ 41 h 406"/>
                <a:gd name="T44" fmla="*/ 253 w 361"/>
                <a:gd name="T45" fmla="*/ 48 h 406"/>
                <a:gd name="T46" fmla="*/ 269 w 361"/>
                <a:gd name="T47" fmla="*/ 59 h 406"/>
                <a:gd name="T48" fmla="*/ 284 w 361"/>
                <a:gd name="T49" fmla="*/ 71 h 406"/>
                <a:gd name="T50" fmla="*/ 291 w 361"/>
                <a:gd name="T51" fmla="*/ 77 h 406"/>
                <a:gd name="T52" fmla="*/ 301 w 361"/>
                <a:gd name="T53" fmla="*/ 89 h 406"/>
                <a:gd name="T54" fmla="*/ 316 w 361"/>
                <a:gd name="T55" fmla="*/ 113 h 406"/>
                <a:gd name="T56" fmla="*/ 327 w 361"/>
                <a:gd name="T57" fmla="*/ 141 h 406"/>
                <a:gd name="T58" fmla="*/ 331 w 361"/>
                <a:gd name="T59" fmla="*/ 170 h 406"/>
                <a:gd name="T60" fmla="*/ 331 w 361"/>
                <a:gd name="T61" fmla="*/ 331 h 406"/>
                <a:gd name="T62" fmla="*/ 331 w 361"/>
                <a:gd name="T63" fmla="*/ 393 h 406"/>
                <a:gd name="T64" fmla="*/ 333 w 361"/>
                <a:gd name="T65" fmla="*/ 399 h 406"/>
                <a:gd name="T66" fmla="*/ 337 w 361"/>
                <a:gd name="T67" fmla="*/ 403 h 406"/>
                <a:gd name="T68" fmla="*/ 343 w 361"/>
                <a:gd name="T69" fmla="*/ 405 h 406"/>
                <a:gd name="T70" fmla="*/ 349 w 361"/>
                <a:gd name="T71" fmla="*/ 405 h 406"/>
                <a:gd name="T72" fmla="*/ 355 w 361"/>
                <a:gd name="T73" fmla="*/ 403 h 406"/>
                <a:gd name="T74" fmla="*/ 359 w 361"/>
                <a:gd name="T75" fmla="*/ 400 h 406"/>
                <a:gd name="T76" fmla="*/ 361 w 361"/>
                <a:gd name="T77" fmla="*/ 394 h 406"/>
                <a:gd name="T78" fmla="*/ 361 w 361"/>
                <a:gd name="T79" fmla="*/ 186 h 406"/>
                <a:gd name="T80" fmla="*/ 360 w 361"/>
                <a:gd name="T81" fmla="*/ 158 h 406"/>
                <a:gd name="T82" fmla="*/ 355 w 361"/>
                <a:gd name="T83" fmla="*/ 132 h 406"/>
                <a:gd name="T84" fmla="*/ 346 w 361"/>
                <a:gd name="T85" fmla="*/ 106 h 406"/>
                <a:gd name="T86" fmla="*/ 332 w 361"/>
                <a:gd name="T87" fmla="*/ 82 h 406"/>
                <a:gd name="T88" fmla="*/ 313 w 361"/>
                <a:gd name="T89" fmla="*/ 57 h 406"/>
                <a:gd name="T90" fmla="*/ 285 w 361"/>
                <a:gd name="T91" fmla="*/ 33 h 406"/>
                <a:gd name="T92" fmla="*/ 254 w 361"/>
                <a:gd name="T93" fmla="*/ 16 h 406"/>
                <a:gd name="T94" fmla="*/ 220 w 361"/>
                <a:gd name="T95" fmla="*/ 4 h 406"/>
                <a:gd name="T96" fmla="*/ 184 w 361"/>
                <a:gd name="T97" fmla="*/ 0 h 406"/>
                <a:gd name="T98" fmla="*/ 180 w 361"/>
                <a:gd name="T99" fmla="*/ 0 h 406"/>
                <a:gd name="T100" fmla="*/ 173 w 361"/>
                <a:gd name="T101" fmla="*/ 0 h 406"/>
                <a:gd name="T102" fmla="*/ 138 w 361"/>
                <a:gd name="T103" fmla="*/ 5 h 406"/>
                <a:gd name="T104" fmla="*/ 105 w 361"/>
                <a:gd name="T105" fmla="*/ 16 h 406"/>
                <a:gd name="T106" fmla="*/ 74 w 361"/>
                <a:gd name="T107" fmla="*/ 34 h 406"/>
                <a:gd name="T108" fmla="*/ 47 w 361"/>
                <a:gd name="T109" fmla="*/ 57 h 406"/>
                <a:gd name="T110" fmla="*/ 26 w 361"/>
                <a:gd name="T111" fmla="*/ 86 h 406"/>
                <a:gd name="T112" fmla="*/ 11 w 361"/>
                <a:gd name="T113" fmla="*/ 117 h 406"/>
                <a:gd name="T114" fmla="*/ 2 w 361"/>
                <a:gd name="T115" fmla="*/ 151 h 406"/>
                <a:gd name="T116" fmla="*/ 0 w 361"/>
                <a:gd name="T117" fmla="*/ 185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1" h="406">
                  <a:moveTo>
                    <a:pt x="0" y="331"/>
                  </a:moveTo>
                  <a:lnTo>
                    <a:pt x="0" y="391"/>
                  </a:lnTo>
                  <a:lnTo>
                    <a:pt x="1" y="393"/>
                  </a:lnTo>
                  <a:lnTo>
                    <a:pt x="2" y="396"/>
                  </a:lnTo>
                  <a:lnTo>
                    <a:pt x="3" y="399"/>
                  </a:lnTo>
                  <a:lnTo>
                    <a:pt x="5" y="402"/>
                  </a:lnTo>
                  <a:lnTo>
                    <a:pt x="7" y="403"/>
                  </a:lnTo>
                  <a:lnTo>
                    <a:pt x="9" y="405"/>
                  </a:lnTo>
                  <a:lnTo>
                    <a:pt x="13" y="405"/>
                  </a:lnTo>
                  <a:lnTo>
                    <a:pt x="15" y="406"/>
                  </a:lnTo>
                  <a:lnTo>
                    <a:pt x="18" y="405"/>
                  </a:lnTo>
                  <a:lnTo>
                    <a:pt x="21" y="405"/>
                  </a:lnTo>
                  <a:lnTo>
                    <a:pt x="23" y="403"/>
                  </a:lnTo>
                  <a:lnTo>
                    <a:pt x="26" y="402"/>
                  </a:lnTo>
                  <a:lnTo>
                    <a:pt x="28" y="400"/>
                  </a:lnTo>
                  <a:lnTo>
                    <a:pt x="29" y="396"/>
                  </a:lnTo>
                  <a:lnTo>
                    <a:pt x="30" y="394"/>
                  </a:lnTo>
                  <a:lnTo>
                    <a:pt x="30" y="391"/>
                  </a:lnTo>
                  <a:lnTo>
                    <a:pt x="30" y="184"/>
                  </a:lnTo>
                  <a:lnTo>
                    <a:pt x="30" y="169"/>
                  </a:lnTo>
                  <a:lnTo>
                    <a:pt x="32" y="155"/>
                  </a:lnTo>
                  <a:lnTo>
                    <a:pt x="34" y="140"/>
                  </a:lnTo>
                  <a:lnTo>
                    <a:pt x="38" y="127"/>
                  </a:lnTo>
                  <a:lnTo>
                    <a:pt x="44" y="113"/>
                  </a:lnTo>
                  <a:lnTo>
                    <a:pt x="51" y="101"/>
                  </a:lnTo>
                  <a:lnTo>
                    <a:pt x="59" y="89"/>
                  </a:lnTo>
                  <a:lnTo>
                    <a:pt x="68" y="78"/>
                  </a:lnTo>
                  <a:lnTo>
                    <a:pt x="80" y="67"/>
                  </a:lnTo>
                  <a:lnTo>
                    <a:pt x="92" y="58"/>
                  </a:lnTo>
                  <a:lnTo>
                    <a:pt x="105" y="50"/>
                  </a:lnTo>
                  <a:lnTo>
                    <a:pt x="118" y="43"/>
                  </a:lnTo>
                  <a:lnTo>
                    <a:pt x="132" y="37"/>
                  </a:lnTo>
                  <a:lnTo>
                    <a:pt x="147" y="34"/>
                  </a:lnTo>
                  <a:lnTo>
                    <a:pt x="162" y="31"/>
                  </a:lnTo>
                  <a:lnTo>
                    <a:pt x="177" y="30"/>
                  </a:lnTo>
                  <a:lnTo>
                    <a:pt x="179" y="30"/>
                  </a:lnTo>
                  <a:lnTo>
                    <a:pt x="180" y="30"/>
                  </a:lnTo>
                  <a:lnTo>
                    <a:pt x="191" y="31"/>
                  </a:lnTo>
                  <a:lnTo>
                    <a:pt x="200" y="32"/>
                  </a:lnTo>
                  <a:lnTo>
                    <a:pt x="213" y="34"/>
                  </a:lnTo>
                  <a:lnTo>
                    <a:pt x="226" y="37"/>
                  </a:lnTo>
                  <a:lnTo>
                    <a:pt x="226" y="37"/>
                  </a:lnTo>
                  <a:lnTo>
                    <a:pt x="226" y="37"/>
                  </a:lnTo>
                  <a:lnTo>
                    <a:pt x="236" y="41"/>
                  </a:lnTo>
                  <a:lnTo>
                    <a:pt x="244" y="44"/>
                  </a:lnTo>
                  <a:lnTo>
                    <a:pt x="253" y="48"/>
                  </a:lnTo>
                  <a:lnTo>
                    <a:pt x="261" y="53"/>
                  </a:lnTo>
                  <a:lnTo>
                    <a:pt x="269" y="59"/>
                  </a:lnTo>
                  <a:lnTo>
                    <a:pt x="276" y="64"/>
                  </a:lnTo>
                  <a:lnTo>
                    <a:pt x="284" y="71"/>
                  </a:lnTo>
                  <a:lnTo>
                    <a:pt x="290" y="77"/>
                  </a:lnTo>
                  <a:lnTo>
                    <a:pt x="291" y="77"/>
                  </a:lnTo>
                  <a:lnTo>
                    <a:pt x="291" y="78"/>
                  </a:lnTo>
                  <a:lnTo>
                    <a:pt x="301" y="89"/>
                  </a:lnTo>
                  <a:lnTo>
                    <a:pt x="310" y="102"/>
                  </a:lnTo>
                  <a:lnTo>
                    <a:pt x="316" y="113"/>
                  </a:lnTo>
                  <a:lnTo>
                    <a:pt x="322" y="127"/>
                  </a:lnTo>
                  <a:lnTo>
                    <a:pt x="327" y="141"/>
                  </a:lnTo>
                  <a:lnTo>
                    <a:pt x="329" y="155"/>
                  </a:lnTo>
                  <a:lnTo>
                    <a:pt x="331" y="170"/>
                  </a:lnTo>
                  <a:lnTo>
                    <a:pt x="331" y="185"/>
                  </a:lnTo>
                  <a:lnTo>
                    <a:pt x="331" y="331"/>
                  </a:lnTo>
                  <a:lnTo>
                    <a:pt x="331" y="391"/>
                  </a:lnTo>
                  <a:lnTo>
                    <a:pt x="331" y="393"/>
                  </a:lnTo>
                  <a:lnTo>
                    <a:pt x="332" y="396"/>
                  </a:lnTo>
                  <a:lnTo>
                    <a:pt x="333" y="399"/>
                  </a:lnTo>
                  <a:lnTo>
                    <a:pt x="335" y="402"/>
                  </a:lnTo>
                  <a:lnTo>
                    <a:pt x="337" y="403"/>
                  </a:lnTo>
                  <a:lnTo>
                    <a:pt x="340" y="405"/>
                  </a:lnTo>
                  <a:lnTo>
                    <a:pt x="343" y="405"/>
                  </a:lnTo>
                  <a:lnTo>
                    <a:pt x="346" y="406"/>
                  </a:lnTo>
                  <a:lnTo>
                    <a:pt x="349" y="405"/>
                  </a:lnTo>
                  <a:lnTo>
                    <a:pt x="351" y="405"/>
                  </a:lnTo>
                  <a:lnTo>
                    <a:pt x="355" y="403"/>
                  </a:lnTo>
                  <a:lnTo>
                    <a:pt x="357" y="402"/>
                  </a:lnTo>
                  <a:lnTo>
                    <a:pt x="359" y="400"/>
                  </a:lnTo>
                  <a:lnTo>
                    <a:pt x="360" y="396"/>
                  </a:lnTo>
                  <a:lnTo>
                    <a:pt x="361" y="394"/>
                  </a:lnTo>
                  <a:lnTo>
                    <a:pt x="361" y="391"/>
                  </a:lnTo>
                  <a:lnTo>
                    <a:pt x="361" y="186"/>
                  </a:lnTo>
                  <a:lnTo>
                    <a:pt x="361" y="172"/>
                  </a:lnTo>
                  <a:lnTo>
                    <a:pt x="360" y="158"/>
                  </a:lnTo>
                  <a:lnTo>
                    <a:pt x="358" y="145"/>
                  </a:lnTo>
                  <a:lnTo>
                    <a:pt x="355" y="132"/>
                  </a:lnTo>
                  <a:lnTo>
                    <a:pt x="351" y="119"/>
                  </a:lnTo>
                  <a:lnTo>
                    <a:pt x="346" y="106"/>
                  </a:lnTo>
                  <a:lnTo>
                    <a:pt x="340" y="94"/>
                  </a:lnTo>
                  <a:lnTo>
                    <a:pt x="332" y="82"/>
                  </a:lnTo>
                  <a:lnTo>
                    <a:pt x="323" y="68"/>
                  </a:lnTo>
                  <a:lnTo>
                    <a:pt x="313" y="57"/>
                  </a:lnTo>
                  <a:lnTo>
                    <a:pt x="300" y="44"/>
                  </a:lnTo>
                  <a:lnTo>
                    <a:pt x="285" y="33"/>
                  </a:lnTo>
                  <a:lnTo>
                    <a:pt x="270" y="23"/>
                  </a:lnTo>
                  <a:lnTo>
                    <a:pt x="254" y="16"/>
                  </a:lnTo>
                  <a:lnTo>
                    <a:pt x="237" y="9"/>
                  </a:lnTo>
                  <a:lnTo>
                    <a:pt x="220" y="4"/>
                  </a:lnTo>
                  <a:lnTo>
                    <a:pt x="202" y="2"/>
                  </a:lnTo>
                  <a:lnTo>
                    <a:pt x="184" y="0"/>
                  </a:lnTo>
                  <a:lnTo>
                    <a:pt x="182" y="0"/>
                  </a:lnTo>
                  <a:lnTo>
                    <a:pt x="180" y="0"/>
                  </a:lnTo>
                  <a:lnTo>
                    <a:pt x="177" y="0"/>
                  </a:lnTo>
                  <a:lnTo>
                    <a:pt x="173" y="0"/>
                  </a:lnTo>
                  <a:lnTo>
                    <a:pt x="155" y="2"/>
                  </a:lnTo>
                  <a:lnTo>
                    <a:pt x="138" y="5"/>
                  </a:lnTo>
                  <a:lnTo>
                    <a:pt x="121" y="9"/>
                  </a:lnTo>
                  <a:lnTo>
                    <a:pt x="105" y="16"/>
                  </a:lnTo>
                  <a:lnTo>
                    <a:pt x="89" y="24"/>
                  </a:lnTo>
                  <a:lnTo>
                    <a:pt x="74" y="34"/>
                  </a:lnTo>
                  <a:lnTo>
                    <a:pt x="60" y="45"/>
                  </a:lnTo>
                  <a:lnTo>
                    <a:pt x="47" y="57"/>
                  </a:lnTo>
                  <a:lnTo>
                    <a:pt x="35" y="71"/>
                  </a:lnTo>
                  <a:lnTo>
                    <a:pt x="26" y="86"/>
                  </a:lnTo>
                  <a:lnTo>
                    <a:pt x="17" y="101"/>
                  </a:lnTo>
                  <a:lnTo>
                    <a:pt x="11" y="117"/>
                  </a:lnTo>
                  <a:lnTo>
                    <a:pt x="5" y="134"/>
                  </a:lnTo>
                  <a:lnTo>
                    <a:pt x="2" y="151"/>
                  </a:lnTo>
                  <a:lnTo>
                    <a:pt x="0" y="168"/>
                  </a:lnTo>
                  <a:lnTo>
                    <a:pt x="0" y="185"/>
                  </a:lnTo>
                  <a:lnTo>
                    <a:pt x="0"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84" name="Freeform 4135"/>
            <p:cNvSpPr>
              <a:spLocks/>
            </p:cNvSpPr>
            <p:nvPr/>
          </p:nvSpPr>
          <p:spPr bwMode="auto">
            <a:xfrm>
              <a:off x="10656888" y="1398588"/>
              <a:ext cx="74613" cy="79375"/>
            </a:xfrm>
            <a:custGeom>
              <a:avLst/>
              <a:gdLst>
                <a:gd name="T0" fmla="*/ 230 w 235"/>
                <a:gd name="T1" fmla="*/ 85 h 250"/>
                <a:gd name="T2" fmla="*/ 150 w 235"/>
                <a:gd name="T3" fmla="*/ 5 h 250"/>
                <a:gd name="T4" fmla="*/ 148 w 235"/>
                <a:gd name="T5" fmla="*/ 2 h 250"/>
                <a:gd name="T6" fmla="*/ 145 w 235"/>
                <a:gd name="T7" fmla="*/ 1 h 250"/>
                <a:gd name="T8" fmla="*/ 142 w 235"/>
                <a:gd name="T9" fmla="*/ 0 h 250"/>
                <a:gd name="T10" fmla="*/ 138 w 235"/>
                <a:gd name="T11" fmla="*/ 0 h 250"/>
                <a:gd name="T12" fmla="*/ 135 w 235"/>
                <a:gd name="T13" fmla="*/ 0 h 250"/>
                <a:gd name="T14" fmla="*/ 133 w 235"/>
                <a:gd name="T15" fmla="*/ 1 h 250"/>
                <a:gd name="T16" fmla="*/ 130 w 235"/>
                <a:gd name="T17" fmla="*/ 2 h 250"/>
                <a:gd name="T18" fmla="*/ 128 w 235"/>
                <a:gd name="T19" fmla="*/ 5 h 250"/>
                <a:gd name="T20" fmla="*/ 3 w 235"/>
                <a:gd name="T21" fmla="*/ 149 h 250"/>
                <a:gd name="T22" fmla="*/ 1 w 235"/>
                <a:gd name="T23" fmla="*/ 155 h 250"/>
                <a:gd name="T24" fmla="*/ 0 w 235"/>
                <a:gd name="T25" fmla="*/ 159 h 250"/>
                <a:gd name="T26" fmla="*/ 0 w 235"/>
                <a:gd name="T27" fmla="*/ 235 h 250"/>
                <a:gd name="T28" fmla="*/ 0 w 235"/>
                <a:gd name="T29" fmla="*/ 237 h 250"/>
                <a:gd name="T30" fmla="*/ 1 w 235"/>
                <a:gd name="T31" fmla="*/ 240 h 250"/>
                <a:gd name="T32" fmla="*/ 2 w 235"/>
                <a:gd name="T33" fmla="*/ 243 h 250"/>
                <a:gd name="T34" fmla="*/ 4 w 235"/>
                <a:gd name="T35" fmla="*/ 245 h 250"/>
                <a:gd name="T36" fmla="*/ 6 w 235"/>
                <a:gd name="T37" fmla="*/ 247 h 250"/>
                <a:gd name="T38" fmla="*/ 10 w 235"/>
                <a:gd name="T39" fmla="*/ 248 h 250"/>
                <a:gd name="T40" fmla="*/ 12 w 235"/>
                <a:gd name="T41" fmla="*/ 249 h 250"/>
                <a:gd name="T42" fmla="*/ 15 w 235"/>
                <a:gd name="T43" fmla="*/ 250 h 250"/>
                <a:gd name="T44" fmla="*/ 90 w 235"/>
                <a:gd name="T45" fmla="*/ 250 h 250"/>
                <a:gd name="T46" fmla="*/ 93 w 235"/>
                <a:gd name="T47" fmla="*/ 249 h 250"/>
                <a:gd name="T48" fmla="*/ 96 w 235"/>
                <a:gd name="T49" fmla="*/ 248 h 250"/>
                <a:gd name="T50" fmla="*/ 99 w 235"/>
                <a:gd name="T51" fmla="*/ 247 h 250"/>
                <a:gd name="T52" fmla="*/ 101 w 235"/>
                <a:gd name="T53" fmla="*/ 245 h 250"/>
                <a:gd name="T54" fmla="*/ 230 w 235"/>
                <a:gd name="T55" fmla="*/ 105 h 250"/>
                <a:gd name="T56" fmla="*/ 233 w 235"/>
                <a:gd name="T57" fmla="*/ 103 h 250"/>
                <a:gd name="T58" fmla="*/ 234 w 235"/>
                <a:gd name="T59" fmla="*/ 101 h 250"/>
                <a:gd name="T60" fmla="*/ 235 w 235"/>
                <a:gd name="T61" fmla="*/ 98 h 250"/>
                <a:gd name="T62" fmla="*/ 235 w 235"/>
                <a:gd name="T63" fmla="*/ 95 h 250"/>
                <a:gd name="T64" fmla="*/ 235 w 235"/>
                <a:gd name="T65" fmla="*/ 92 h 250"/>
                <a:gd name="T66" fmla="*/ 234 w 235"/>
                <a:gd name="T67" fmla="*/ 89 h 250"/>
                <a:gd name="T68" fmla="*/ 233 w 235"/>
                <a:gd name="T69" fmla="*/ 87 h 250"/>
                <a:gd name="T70" fmla="*/ 230 w 235"/>
                <a:gd name="T71" fmla="*/ 8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5" h="250">
                  <a:moveTo>
                    <a:pt x="230" y="85"/>
                  </a:moveTo>
                  <a:lnTo>
                    <a:pt x="150" y="5"/>
                  </a:lnTo>
                  <a:lnTo>
                    <a:pt x="148" y="2"/>
                  </a:lnTo>
                  <a:lnTo>
                    <a:pt x="145" y="1"/>
                  </a:lnTo>
                  <a:lnTo>
                    <a:pt x="142" y="0"/>
                  </a:lnTo>
                  <a:lnTo>
                    <a:pt x="138" y="0"/>
                  </a:lnTo>
                  <a:lnTo>
                    <a:pt x="135" y="0"/>
                  </a:lnTo>
                  <a:lnTo>
                    <a:pt x="133" y="1"/>
                  </a:lnTo>
                  <a:lnTo>
                    <a:pt x="130" y="2"/>
                  </a:lnTo>
                  <a:lnTo>
                    <a:pt x="128" y="5"/>
                  </a:lnTo>
                  <a:lnTo>
                    <a:pt x="3" y="149"/>
                  </a:lnTo>
                  <a:lnTo>
                    <a:pt x="1" y="155"/>
                  </a:lnTo>
                  <a:lnTo>
                    <a:pt x="0" y="159"/>
                  </a:lnTo>
                  <a:lnTo>
                    <a:pt x="0" y="235"/>
                  </a:lnTo>
                  <a:lnTo>
                    <a:pt x="0" y="237"/>
                  </a:lnTo>
                  <a:lnTo>
                    <a:pt x="1" y="240"/>
                  </a:lnTo>
                  <a:lnTo>
                    <a:pt x="2" y="243"/>
                  </a:lnTo>
                  <a:lnTo>
                    <a:pt x="4" y="245"/>
                  </a:lnTo>
                  <a:lnTo>
                    <a:pt x="6" y="247"/>
                  </a:lnTo>
                  <a:lnTo>
                    <a:pt x="10" y="248"/>
                  </a:lnTo>
                  <a:lnTo>
                    <a:pt x="12" y="249"/>
                  </a:lnTo>
                  <a:lnTo>
                    <a:pt x="15" y="250"/>
                  </a:lnTo>
                  <a:lnTo>
                    <a:pt x="90" y="250"/>
                  </a:lnTo>
                  <a:lnTo>
                    <a:pt x="93" y="249"/>
                  </a:lnTo>
                  <a:lnTo>
                    <a:pt x="96" y="248"/>
                  </a:lnTo>
                  <a:lnTo>
                    <a:pt x="99" y="247"/>
                  </a:lnTo>
                  <a:lnTo>
                    <a:pt x="101" y="245"/>
                  </a:lnTo>
                  <a:lnTo>
                    <a:pt x="230" y="105"/>
                  </a:lnTo>
                  <a:lnTo>
                    <a:pt x="233" y="103"/>
                  </a:lnTo>
                  <a:lnTo>
                    <a:pt x="234" y="101"/>
                  </a:lnTo>
                  <a:lnTo>
                    <a:pt x="235" y="98"/>
                  </a:lnTo>
                  <a:lnTo>
                    <a:pt x="235" y="95"/>
                  </a:lnTo>
                  <a:lnTo>
                    <a:pt x="235" y="92"/>
                  </a:lnTo>
                  <a:lnTo>
                    <a:pt x="234" y="89"/>
                  </a:lnTo>
                  <a:lnTo>
                    <a:pt x="233" y="87"/>
                  </a:lnTo>
                  <a:lnTo>
                    <a:pt x="23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pic>
        <p:nvPicPr>
          <p:cNvPr id="15" name="Picture 14" descr="A picture containing animal&#10;&#10;Description automatically generated">
            <a:extLst>
              <a:ext uri="{FF2B5EF4-FFF2-40B4-BE49-F238E27FC236}">
                <a16:creationId xmlns:a16="http://schemas.microsoft.com/office/drawing/2014/main" id="{74E71C15-04D2-A647-9D3A-72EFBF161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03558" y="5673414"/>
            <a:ext cx="4121378" cy="4076700"/>
          </a:xfrm>
          <a:prstGeom prst="ellipse">
            <a:avLst/>
          </a:prstGeom>
        </p:spPr>
      </p:pic>
    </p:spTree>
    <p:extLst>
      <p:ext uri="{BB962C8B-B14F-4D97-AF65-F5344CB8AC3E}">
        <p14:creationId xmlns:p14="http://schemas.microsoft.com/office/powerpoint/2010/main" val="29983025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9" name="Straight Connector 88"/>
          <p:cNvCxnSpPr/>
          <p:nvPr/>
        </p:nvCxnSpPr>
        <p:spPr>
          <a:xfrm>
            <a:off x="11330955" y="4455393"/>
            <a:ext cx="2968513" cy="0"/>
          </a:xfrm>
          <a:prstGeom prst="line">
            <a:avLst/>
          </a:prstGeom>
          <a:ln w="127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9788918" y="5952227"/>
            <a:ext cx="4510548" cy="0"/>
          </a:xfrm>
          <a:prstGeom prst="line">
            <a:avLst/>
          </a:prstGeom>
          <a:ln w="1270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8162292" y="7435841"/>
            <a:ext cx="6137174" cy="0"/>
          </a:xfrm>
          <a:prstGeom prst="line">
            <a:avLst/>
          </a:prstGeom>
          <a:ln w="12700">
            <a:solidFill>
              <a:schemeClr val="accent3">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6713219" y="8919450"/>
            <a:ext cx="7586246" cy="0"/>
          </a:xfrm>
          <a:prstGeom prst="line">
            <a:avLst/>
          </a:prstGeom>
          <a:ln w="12700">
            <a:solidFill>
              <a:schemeClr val="accent5"/>
            </a:solidFill>
            <a:tailEnd type="ova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14749689" y="3894115"/>
            <a:ext cx="7076765" cy="1521230"/>
            <a:chOff x="5305424" y="2321834"/>
            <a:chExt cx="3016158" cy="648357"/>
          </a:xfrm>
        </p:grpSpPr>
        <p:sp>
          <p:nvSpPr>
            <p:cNvPr id="115" name="TextBox 114"/>
            <p:cNvSpPr txBox="1"/>
            <p:nvPr/>
          </p:nvSpPr>
          <p:spPr>
            <a:xfrm>
              <a:off x="5305426" y="2537310"/>
              <a:ext cx="3016156" cy="432881"/>
            </a:xfrm>
            <a:prstGeom prst="rect">
              <a:avLst/>
            </a:prstGeom>
            <a:noFill/>
            <a:ln w="6350">
              <a:noFill/>
              <a:prstDash val="dash"/>
            </a:ln>
          </p:spPr>
          <p:txBody>
            <a:bodyPr wrap="square" lIns="0" tIns="0" rIns="0" bIns="0" rtlCol="0">
              <a:spAutoFit/>
            </a:bodyPr>
            <a:lstStyle/>
            <a:p>
              <a:r>
                <a:rPr lang="en-US" sz="2200" dirty="0"/>
                <a:t>Lorem ipsum is simply dummy text of the printing and typesetting industry. Lorem ipsum has been the industry's</a:t>
              </a:r>
            </a:p>
          </p:txBody>
        </p:sp>
        <p:sp>
          <p:nvSpPr>
            <p:cNvPr id="116" name="TextBox 115"/>
            <p:cNvSpPr txBox="1"/>
            <p:nvPr/>
          </p:nvSpPr>
          <p:spPr>
            <a:xfrm>
              <a:off x="5305424" y="2321834"/>
              <a:ext cx="1533703" cy="209882"/>
            </a:xfrm>
            <a:prstGeom prst="rect">
              <a:avLst/>
            </a:prstGeom>
            <a:noFill/>
            <a:ln w="6350">
              <a:noFill/>
              <a:prstDash val="dash"/>
            </a:ln>
          </p:spPr>
          <p:txBody>
            <a:bodyPr wrap="square" lIns="0" tIns="0" rIns="0" bIns="0" rtlCol="0">
              <a:spAutoFit/>
            </a:bodyPr>
            <a:lstStyle/>
            <a:p>
              <a:r>
                <a:rPr lang="en-US" sz="3200" b="1" dirty="0">
                  <a:solidFill>
                    <a:schemeClr val="accent2"/>
                  </a:solidFill>
                </a:rPr>
                <a:t>Lorem ipsum</a:t>
              </a:r>
            </a:p>
          </p:txBody>
        </p:sp>
      </p:grpSp>
      <p:grpSp>
        <p:nvGrpSpPr>
          <p:cNvPr id="106" name="Group 105"/>
          <p:cNvGrpSpPr/>
          <p:nvPr/>
        </p:nvGrpSpPr>
        <p:grpSpPr>
          <a:xfrm>
            <a:off x="14749693" y="5416690"/>
            <a:ext cx="7076761" cy="1508072"/>
            <a:chOff x="5305426" y="2321834"/>
            <a:chExt cx="3016156" cy="642748"/>
          </a:xfrm>
        </p:grpSpPr>
        <p:sp>
          <p:nvSpPr>
            <p:cNvPr id="113" name="TextBox 112"/>
            <p:cNvSpPr txBox="1"/>
            <p:nvPr/>
          </p:nvSpPr>
          <p:spPr>
            <a:xfrm>
              <a:off x="5305426" y="2531701"/>
              <a:ext cx="3016156" cy="432881"/>
            </a:xfrm>
            <a:prstGeom prst="rect">
              <a:avLst/>
            </a:prstGeom>
            <a:noFill/>
            <a:ln w="6350">
              <a:noFill/>
              <a:prstDash val="dash"/>
            </a:ln>
          </p:spPr>
          <p:txBody>
            <a:bodyPr wrap="square" lIns="0" tIns="0" rIns="0" bIns="0" rtlCol="0">
              <a:spAutoFit/>
            </a:bodyPr>
            <a:lstStyle/>
            <a:p>
              <a:r>
                <a:rPr lang="en-US" sz="2200" dirty="0"/>
                <a:t>Lorem ipsum is simply dummy text of the printing and typesetting industry. Lorem ipsum has been the industry's</a:t>
              </a:r>
            </a:p>
          </p:txBody>
        </p:sp>
        <p:sp>
          <p:nvSpPr>
            <p:cNvPr id="114" name="TextBox 113"/>
            <p:cNvSpPr txBox="1"/>
            <p:nvPr/>
          </p:nvSpPr>
          <p:spPr>
            <a:xfrm>
              <a:off x="5305426" y="2321834"/>
              <a:ext cx="1533702" cy="209882"/>
            </a:xfrm>
            <a:prstGeom prst="rect">
              <a:avLst/>
            </a:prstGeom>
            <a:noFill/>
            <a:ln w="6350">
              <a:noFill/>
              <a:prstDash val="dash"/>
            </a:ln>
          </p:spPr>
          <p:txBody>
            <a:bodyPr wrap="square" lIns="0" tIns="0" rIns="0" bIns="0" rtlCol="0">
              <a:spAutoFit/>
            </a:bodyPr>
            <a:lstStyle/>
            <a:p>
              <a:r>
                <a:rPr lang="en-US" sz="3200" b="1" dirty="0">
                  <a:solidFill>
                    <a:schemeClr val="accent1"/>
                  </a:solidFill>
                </a:rPr>
                <a:t>Lorem ipsum</a:t>
              </a:r>
            </a:p>
          </p:txBody>
        </p:sp>
      </p:grpSp>
      <p:grpSp>
        <p:nvGrpSpPr>
          <p:cNvPr id="107" name="Group 106"/>
          <p:cNvGrpSpPr/>
          <p:nvPr/>
        </p:nvGrpSpPr>
        <p:grpSpPr>
          <a:xfrm>
            <a:off x="14749690" y="6939248"/>
            <a:ext cx="7076763" cy="1522629"/>
            <a:chOff x="5305425" y="2321834"/>
            <a:chExt cx="3016157" cy="648953"/>
          </a:xfrm>
        </p:grpSpPr>
        <p:sp>
          <p:nvSpPr>
            <p:cNvPr id="111" name="TextBox 110"/>
            <p:cNvSpPr txBox="1"/>
            <p:nvPr/>
          </p:nvSpPr>
          <p:spPr>
            <a:xfrm>
              <a:off x="5305426" y="2537906"/>
              <a:ext cx="3016156" cy="432881"/>
            </a:xfrm>
            <a:prstGeom prst="rect">
              <a:avLst/>
            </a:prstGeom>
            <a:noFill/>
            <a:ln w="6350">
              <a:noFill/>
              <a:prstDash val="dash"/>
            </a:ln>
          </p:spPr>
          <p:txBody>
            <a:bodyPr wrap="square" lIns="0" tIns="0" rIns="0" bIns="0" rtlCol="0">
              <a:spAutoFit/>
            </a:bodyPr>
            <a:lstStyle/>
            <a:p>
              <a:r>
                <a:rPr lang="en-US" sz="2200" dirty="0"/>
                <a:t>Lorem ipsum is simply dummy text of the printing and typesetting industry. Lorem ipsum has been the industry's</a:t>
              </a:r>
            </a:p>
          </p:txBody>
        </p:sp>
        <p:sp>
          <p:nvSpPr>
            <p:cNvPr id="112" name="TextBox 111"/>
            <p:cNvSpPr txBox="1"/>
            <p:nvPr/>
          </p:nvSpPr>
          <p:spPr>
            <a:xfrm>
              <a:off x="5305425" y="2321834"/>
              <a:ext cx="1533702" cy="209882"/>
            </a:xfrm>
            <a:prstGeom prst="rect">
              <a:avLst/>
            </a:prstGeom>
            <a:noFill/>
            <a:ln w="6350">
              <a:noFill/>
              <a:prstDash val="dash"/>
            </a:ln>
          </p:spPr>
          <p:txBody>
            <a:bodyPr wrap="square" lIns="0" tIns="0" rIns="0" bIns="0" rtlCol="0">
              <a:spAutoFit/>
            </a:bodyPr>
            <a:lstStyle/>
            <a:p>
              <a:r>
                <a:rPr lang="en-US" sz="3200" b="1" dirty="0">
                  <a:solidFill>
                    <a:schemeClr val="accent3">
                      <a:lumMod val="75000"/>
                    </a:schemeClr>
                  </a:solidFill>
                </a:rPr>
                <a:t>Lorem ipsum</a:t>
              </a:r>
            </a:p>
          </p:txBody>
        </p:sp>
      </p:grpSp>
      <p:grpSp>
        <p:nvGrpSpPr>
          <p:cNvPr id="108" name="Group 107"/>
          <p:cNvGrpSpPr/>
          <p:nvPr/>
        </p:nvGrpSpPr>
        <p:grpSpPr>
          <a:xfrm>
            <a:off x="14749690" y="8461816"/>
            <a:ext cx="7076763" cy="1473296"/>
            <a:chOff x="5305425" y="2321834"/>
            <a:chExt cx="3016157" cy="627927"/>
          </a:xfrm>
        </p:grpSpPr>
        <p:sp>
          <p:nvSpPr>
            <p:cNvPr id="109" name="TextBox 108"/>
            <p:cNvSpPr txBox="1"/>
            <p:nvPr/>
          </p:nvSpPr>
          <p:spPr>
            <a:xfrm>
              <a:off x="5305426" y="2516880"/>
              <a:ext cx="3016156" cy="432881"/>
            </a:xfrm>
            <a:prstGeom prst="rect">
              <a:avLst/>
            </a:prstGeom>
            <a:noFill/>
            <a:ln w="6350">
              <a:noFill/>
              <a:prstDash val="dash"/>
            </a:ln>
          </p:spPr>
          <p:txBody>
            <a:bodyPr wrap="square" lIns="0" tIns="0" rIns="0" bIns="0" rtlCol="0">
              <a:spAutoFit/>
            </a:bodyPr>
            <a:lstStyle/>
            <a:p>
              <a:r>
                <a:rPr lang="en-US" sz="2200" dirty="0"/>
                <a:t>Lorem ipsum is simply dummy text of the printing and typesetting industry. Lorem ipsum has been the industry's</a:t>
              </a:r>
            </a:p>
          </p:txBody>
        </p:sp>
        <p:sp>
          <p:nvSpPr>
            <p:cNvPr id="110" name="TextBox 109"/>
            <p:cNvSpPr txBox="1"/>
            <p:nvPr/>
          </p:nvSpPr>
          <p:spPr>
            <a:xfrm>
              <a:off x="5305425" y="2321834"/>
              <a:ext cx="1533702" cy="209882"/>
            </a:xfrm>
            <a:prstGeom prst="rect">
              <a:avLst/>
            </a:prstGeom>
            <a:noFill/>
            <a:ln w="6350">
              <a:noFill/>
              <a:prstDash val="dash"/>
            </a:ln>
          </p:spPr>
          <p:txBody>
            <a:bodyPr wrap="square" lIns="0" tIns="0" rIns="0" bIns="0" rtlCol="0">
              <a:spAutoFit/>
            </a:bodyPr>
            <a:lstStyle/>
            <a:p>
              <a:r>
                <a:rPr lang="en-US" sz="3200" b="1" dirty="0">
                  <a:solidFill>
                    <a:schemeClr val="accent5"/>
                  </a:solidFill>
                </a:rPr>
                <a:t>Lorem ipsum</a:t>
              </a:r>
            </a:p>
          </p:txBody>
        </p:sp>
      </p:grpSp>
      <p:grpSp>
        <p:nvGrpSpPr>
          <p:cNvPr id="5" name="Group 4">
            <a:extLst>
              <a:ext uri="{FF2B5EF4-FFF2-40B4-BE49-F238E27FC236}">
                <a16:creationId xmlns:a16="http://schemas.microsoft.com/office/drawing/2014/main" id="{C7737C6F-E9BD-1E4C-B680-C2EF03717906}"/>
              </a:ext>
            </a:extLst>
          </p:cNvPr>
          <p:cNvGrpSpPr/>
          <p:nvPr/>
        </p:nvGrpSpPr>
        <p:grpSpPr>
          <a:xfrm>
            <a:off x="3270336" y="2873958"/>
            <a:ext cx="8102514" cy="7004762"/>
            <a:chOff x="2555961" y="2531057"/>
            <a:chExt cx="8910800" cy="7703539"/>
          </a:xfrm>
        </p:grpSpPr>
        <p:grpSp>
          <p:nvGrpSpPr>
            <p:cNvPr id="93" name="Group 92"/>
            <p:cNvGrpSpPr/>
            <p:nvPr/>
          </p:nvGrpSpPr>
          <p:grpSpPr>
            <a:xfrm>
              <a:off x="2555961" y="2531057"/>
              <a:ext cx="8910800" cy="3875122"/>
              <a:chOff x="-13196888" y="-4316413"/>
              <a:chExt cx="9994900" cy="4346575"/>
            </a:xfrm>
            <a:effectLst>
              <a:outerShdw blurRad="38100" dist="25400" dir="5400000" algn="ctr" rotWithShape="0">
                <a:srgbClr val="000000">
                  <a:alpha val="20000"/>
                </a:srgbClr>
              </a:outerShdw>
            </a:effectLst>
          </p:grpSpPr>
          <p:sp>
            <p:nvSpPr>
              <p:cNvPr id="170" name="Freeform 14"/>
              <p:cNvSpPr>
                <a:spLocks/>
              </p:cNvSpPr>
              <p:nvPr/>
            </p:nvSpPr>
            <p:spPr bwMode="auto">
              <a:xfrm>
                <a:off x="-13196888" y="-4316413"/>
                <a:ext cx="9994900" cy="2943225"/>
              </a:xfrm>
              <a:custGeom>
                <a:avLst/>
                <a:gdLst>
                  <a:gd name="T0" fmla="*/ 1331 w 2662"/>
                  <a:gd name="T1" fmla="*/ 0 h 784"/>
                  <a:gd name="T2" fmla="*/ 0 w 2662"/>
                  <a:gd name="T3" fmla="*/ 374 h 784"/>
                  <a:gd name="T4" fmla="*/ 0 w 2662"/>
                  <a:gd name="T5" fmla="*/ 784 h 784"/>
                  <a:gd name="T6" fmla="*/ 2662 w 2662"/>
                  <a:gd name="T7" fmla="*/ 784 h 784"/>
                  <a:gd name="T8" fmla="*/ 2662 w 2662"/>
                  <a:gd name="T9" fmla="*/ 374 h 784"/>
                  <a:gd name="T10" fmla="*/ 1331 w 2662"/>
                  <a:gd name="T11" fmla="*/ 0 h 784"/>
                </a:gdLst>
                <a:ahLst/>
                <a:cxnLst>
                  <a:cxn ang="0">
                    <a:pos x="T0" y="T1"/>
                  </a:cxn>
                  <a:cxn ang="0">
                    <a:pos x="T2" y="T3"/>
                  </a:cxn>
                  <a:cxn ang="0">
                    <a:pos x="T4" y="T5"/>
                  </a:cxn>
                  <a:cxn ang="0">
                    <a:pos x="T6" y="T7"/>
                  </a:cxn>
                  <a:cxn ang="0">
                    <a:pos x="T8" y="T9"/>
                  </a:cxn>
                  <a:cxn ang="0">
                    <a:pos x="T10" y="T11"/>
                  </a:cxn>
                </a:cxnLst>
                <a:rect l="0" t="0" r="r" b="b"/>
                <a:pathLst>
                  <a:path w="2662" h="784">
                    <a:moveTo>
                      <a:pt x="1331" y="0"/>
                    </a:moveTo>
                    <a:cubicBezTo>
                      <a:pt x="596" y="0"/>
                      <a:pt x="0" y="167"/>
                      <a:pt x="0" y="374"/>
                    </a:cubicBezTo>
                    <a:cubicBezTo>
                      <a:pt x="0" y="784"/>
                      <a:pt x="0" y="784"/>
                      <a:pt x="0" y="784"/>
                    </a:cubicBezTo>
                    <a:cubicBezTo>
                      <a:pt x="2662" y="784"/>
                      <a:pt x="2662" y="784"/>
                      <a:pt x="2662" y="784"/>
                    </a:cubicBezTo>
                    <a:cubicBezTo>
                      <a:pt x="2662" y="374"/>
                      <a:pt x="2662" y="374"/>
                      <a:pt x="2662" y="374"/>
                    </a:cubicBezTo>
                    <a:cubicBezTo>
                      <a:pt x="2662" y="167"/>
                      <a:pt x="2066" y="0"/>
                      <a:pt x="1331" y="0"/>
                    </a:cubicBezTo>
                    <a:close/>
                  </a:path>
                </a:pathLst>
              </a:custGeom>
              <a:solidFill>
                <a:schemeClr val="accent2"/>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endParaRPr lang="en-US" sz="4800"/>
              </a:p>
            </p:txBody>
          </p:sp>
          <p:sp>
            <p:nvSpPr>
              <p:cNvPr id="171" name="Oval 9"/>
              <p:cNvSpPr>
                <a:spLocks noChangeArrowheads="1"/>
              </p:cNvSpPr>
              <p:nvPr/>
            </p:nvSpPr>
            <p:spPr bwMode="auto">
              <a:xfrm>
                <a:off x="-13196888" y="-2776538"/>
                <a:ext cx="9994900" cy="2806700"/>
              </a:xfrm>
              <a:prstGeom prst="ellipse">
                <a:avLst/>
              </a:prstGeom>
              <a:solidFill>
                <a:schemeClr val="accent2">
                  <a:lumMod val="75000"/>
                </a:schemeClr>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endParaRPr lang="en-US" sz="4800"/>
              </a:p>
            </p:txBody>
          </p:sp>
        </p:grpSp>
        <p:grpSp>
          <p:nvGrpSpPr>
            <p:cNvPr id="94" name="Group 93"/>
            <p:cNvGrpSpPr/>
            <p:nvPr/>
          </p:nvGrpSpPr>
          <p:grpSpPr>
            <a:xfrm>
              <a:off x="2727212" y="4294533"/>
              <a:ext cx="7186952" cy="3362777"/>
              <a:chOff x="-13004800" y="-2338388"/>
              <a:chExt cx="8061325" cy="3771900"/>
            </a:xfrm>
            <a:effectLst>
              <a:outerShdw blurRad="38100" dist="25400" dir="5400000" algn="ctr" rotWithShape="0">
                <a:srgbClr val="000000">
                  <a:alpha val="20000"/>
                </a:srgbClr>
              </a:outerShdw>
            </a:effectLst>
          </p:grpSpPr>
          <p:sp>
            <p:nvSpPr>
              <p:cNvPr id="168" name="Freeform 13"/>
              <p:cNvSpPr>
                <a:spLocks/>
              </p:cNvSpPr>
              <p:nvPr/>
            </p:nvSpPr>
            <p:spPr bwMode="auto">
              <a:xfrm>
                <a:off x="-13004800" y="-2338388"/>
                <a:ext cx="8061325" cy="2649538"/>
              </a:xfrm>
              <a:custGeom>
                <a:avLst/>
                <a:gdLst>
                  <a:gd name="T0" fmla="*/ 1073 w 2147"/>
                  <a:gd name="T1" fmla="*/ 0 h 706"/>
                  <a:gd name="T2" fmla="*/ 0 w 2147"/>
                  <a:gd name="T3" fmla="*/ 299 h 706"/>
                  <a:gd name="T4" fmla="*/ 0 w 2147"/>
                  <a:gd name="T5" fmla="*/ 706 h 706"/>
                  <a:gd name="T6" fmla="*/ 2147 w 2147"/>
                  <a:gd name="T7" fmla="*/ 706 h 706"/>
                  <a:gd name="T8" fmla="*/ 2147 w 2147"/>
                  <a:gd name="T9" fmla="*/ 299 h 706"/>
                  <a:gd name="T10" fmla="*/ 1073 w 2147"/>
                  <a:gd name="T11" fmla="*/ 0 h 706"/>
                </a:gdLst>
                <a:ahLst/>
                <a:cxnLst>
                  <a:cxn ang="0">
                    <a:pos x="T0" y="T1"/>
                  </a:cxn>
                  <a:cxn ang="0">
                    <a:pos x="T2" y="T3"/>
                  </a:cxn>
                  <a:cxn ang="0">
                    <a:pos x="T4" y="T5"/>
                  </a:cxn>
                  <a:cxn ang="0">
                    <a:pos x="T6" y="T7"/>
                  </a:cxn>
                  <a:cxn ang="0">
                    <a:pos x="T8" y="T9"/>
                  </a:cxn>
                  <a:cxn ang="0">
                    <a:pos x="T10" y="T11"/>
                  </a:cxn>
                </a:cxnLst>
                <a:rect l="0" t="0" r="r" b="b"/>
                <a:pathLst>
                  <a:path w="2147" h="706">
                    <a:moveTo>
                      <a:pt x="1073" y="0"/>
                    </a:moveTo>
                    <a:cubicBezTo>
                      <a:pt x="480" y="0"/>
                      <a:pt x="0" y="134"/>
                      <a:pt x="0" y="299"/>
                    </a:cubicBezTo>
                    <a:cubicBezTo>
                      <a:pt x="0" y="706"/>
                      <a:pt x="0" y="706"/>
                      <a:pt x="0" y="706"/>
                    </a:cubicBezTo>
                    <a:cubicBezTo>
                      <a:pt x="2147" y="706"/>
                      <a:pt x="2147" y="706"/>
                      <a:pt x="2147" y="706"/>
                    </a:cubicBezTo>
                    <a:cubicBezTo>
                      <a:pt x="2147" y="299"/>
                      <a:pt x="2147" y="299"/>
                      <a:pt x="2147" y="299"/>
                    </a:cubicBezTo>
                    <a:cubicBezTo>
                      <a:pt x="2147" y="134"/>
                      <a:pt x="1666" y="0"/>
                      <a:pt x="1073" y="0"/>
                    </a:cubicBezTo>
                    <a:close/>
                  </a:path>
                </a:pathLst>
              </a:custGeom>
              <a:solidFill>
                <a:schemeClr val="accent1"/>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endParaRPr lang="en-US" sz="4800"/>
              </a:p>
            </p:txBody>
          </p:sp>
          <p:sp>
            <p:nvSpPr>
              <p:cNvPr id="169" name="Oval 8"/>
              <p:cNvSpPr>
                <a:spLocks noChangeArrowheads="1"/>
              </p:cNvSpPr>
              <p:nvPr/>
            </p:nvSpPr>
            <p:spPr bwMode="auto">
              <a:xfrm>
                <a:off x="-13004800" y="-811213"/>
                <a:ext cx="8061325" cy="2244725"/>
              </a:xfrm>
              <a:prstGeom prst="ellipse">
                <a:avLst/>
              </a:prstGeom>
              <a:solidFill>
                <a:schemeClr val="accent1">
                  <a:lumMod val="75000"/>
                </a:schemeClr>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endParaRPr lang="en-US" sz="4800"/>
              </a:p>
            </p:txBody>
          </p:sp>
        </p:grpSp>
        <p:grpSp>
          <p:nvGrpSpPr>
            <p:cNvPr id="95" name="Group 94"/>
            <p:cNvGrpSpPr/>
            <p:nvPr/>
          </p:nvGrpSpPr>
          <p:grpSpPr>
            <a:xfrm>
              <a:off x="2833366" y="6045275"/>
              <a:ext cx="5543773" cy="2907055"/>
              <a:chOff x="-12885738" y="-374650"/>
              <a:chExt cx="6218238" cy="3260726"/>
            </a:xfrm>
            <a:effectLst>
              <a:outerShdw blurRad="38100" dist="25400" dir="5400000" algn="ctr" rotWithShape="0">
                <a:srgbClr val="000000">
                  <a:alpha val="20000"/>
                </a:srgbClr>
              </a:outerShdw>
            </a:effectLst>
          </p:grpSpPr>
          <p:sp>
            <p:nvSpPr>
              <p:cNvPr id="166" name="Freeform 12"/>
              <p:cNvSpPr>
                <a:spLocks/>
              </p:cNvSpPr>
              <p:nvPr/>
            </p:nvSpPr>
            <p:spPr bwMode="auto">
              <a:xfrm>
                <a:off x="-12885738" y="-374650"/>
                <a:ext cx="6218238" cy="2446338"/>
              </a:xfrm>
              <a:custGeom>
                <a:avLst/>
                <a:gdLst>
                  <a:gd name="T0" fmla="*/ 828 w 1656"/>
                  <a:gd name="T1" fmla="*/ 0 h 652"/>
                  <a:gd name="T2" fmla="*/ 0 w 1656"/>
                  <a:gd name="T3" fmla="*/ 232 h 652"/>
                  <a:gd name="T4" fmla="*/ 0 w 1656"/>
                  <a:gd name="T5" fmla="*/ 652 h 652"/>
                  <a:gd name="T6" fmla="*/ 1656 w 1656"/>
                  <a:gd name="T7" fmla="*/ 652 h 652"/>
                  <a:gd name="T8" fmla="*/ 1656 w 1656"/>
                  <a:gd name="T9" fmla="*/ 232 h 652"/>
                  <a:gd name="T10" fmla="*/ 828 w 1656"/>
                  <a:gd name="T11" fmla="*/ 0 h 652"/>
                </a:gdLst>
                <a:ahLst/>
                <a:cxnLst>
                  <a:cxn ang="0">
                    <a:pos x="T0" y="T1"/>
                  </a:cxn>
                  <a:cxn ang="0">
                    <a:pos x="T2" y="T3"/>
                  </a:cxn>
                  <a:cxn ang="0">
                    <a:pos x="T4" y="T5"/>
                  </a:cxn>
                  <a:cxn ang="0">
                    <a:pos x="T6" y="T7"/>
                  </a:cxn>
                  <a:cxn ang="0">
                    <a:pos x="T8" y="T9"/>
                  </a:cxn>
                  <a:cxn ang="0">
                    <a:pos x="T10" y="T11"/>
                  </a:cxn>
                </a:cxnLst>
                <a:rect l="0" t="0" r="r" b="b"/>
                <a:pathLst>
                  <a:path w="1656" h="652">
                    <a:moveTo>
                      <a:pt x="828" y="0"/>
                    </a:moveTo>
                    <a:cubicBezTo>
                      <a:pt x="371" y="0"/>
                      <a:pt x="0" y="104"/>
                      <a:pt x="0" y="232"/>
                    </a:cubicBezTo>
                    <a:cubicBezTo>
                      <a:pt x="0" y="652"/>
                      <a:pt x="0" y="652"/>
                      <a:pt x="0" y="652"/>
                    </a:cubicBezTo>
                    <a:cubicBezTo>
                      <a:pt x="1656" y="652"/>
                      <a:pt x="1656" y="652"/>
                      <a:pt x="1656" y="652"/>
                    </a:cubicBezTo>
                    <a:cubicBezTo>
                      <a:pt x="1656" y="232"/>
                      <a:pt x="1656" y="232"/>
                      <a:pt x="1656" y="232"/>
                    </a:cubicBezTo>
                    <a:cubicBezTo>
                      <a:pt x="1656" y="104"/>
                      <a:pt x="1286" y="0"/>
                      <a:pt x="828" y="0"/>
                    </a:cubicBezTo>
                    <a:close/>
                  </a:path>
                </a:pathLst>
              </a:custGeom>
              <a:solidFill>
                <a:schemeClr val="accent3">
                  <a:lumMod val="75000"/>
                </a:schemeClr>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endParaRPr lang="en-US" sz="4800"/>
              </a:p>
            </p:txBody>
          </p:sp>
          <p:sp>
            <p:nvSpPr>
              <p:cNvPr id="167" name="Oval 7"/>
              <p:cNvSpPr>
                <a:spLocks noChangeArrowheads="1"/>
              </p:cNvSpPr>
              <p:nvPr/>
            </p:nvSpPr>
            <p:spPr bwMode="auto">
              <a:xfrm>
                <a:off x="-12885738" y="1144588"/>
                <a:ext cx="6218238" cy="1741488"/>
              </a:xfrm>
              <a:prstGeom prst="ellipse">
                <a:avLst/>
              </a:prstGeom>
              <a:solidFill>
                <a:schemeClr val="accent3">
                  <a:lumMod val="50000"/>
                </a:schemeClr>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endParaRPr lang="en-US" sz="4800"/>
              </a:p>
            </p:txBody>
          </p:sp>
        </p:grpSp>
        <p:grpSp>
          <p:nvGrpSpPr>
            <p:cNvPr id="96" name="Group 95"/>
            <p:cNvGrpSpPr/>
            <p:nvPr/>
          </p:nvGrpSpPr>
          <p:grpSpPr>
            <a:xfrm>
              <a:off x="2980555" y="7811586"/>
              <a:ext cx="3883613" cy="2423010"/>
              <a:chOff x="-12720638" y="1606550"/>
              <a:chExt cx="4356100" cy="2717800"/>
            </a:xfrm>
            <a:effectLst>
              <a:outerShdw blurRad="38100" dist="25400" dir="5400000" algn="ctr" rotWithShape="0">
                <a:srgbClr val="000000">
                  <a:alpha val="20000"/>
                </a:srgbClr>
              </a:outerShdw>
            </a:effectLst>
          </p:grpSpPr>
          <p:sp>
            <p:nvSpPr>
              <p:cNvPr id="164" name="Freeform 10"/>
              <p:cNvSpPr>
                <a:spLocks/>
              </p:cNvSpPr>
              <p:nvPr/>
            </p:nvSpPr>
            <p:spPr bwMode="auto">
              <a:xfrm>
                <a:off x="-12720638" y="1606550"/>
                <a:ext cx="4356100" cy="2098675"/>
              </a:xfrm>
              <a:custGeom>
                <a:avLst/>
                <a:gdLst>
                  <a:gd name="T0" fmla="*/ 1160 w 1160"/>
                  <a:gd name="T1" fmla="*/ 166 h 559"/>
                  <a:gd name="T2" fmla="*/ 580 w 1160"/>
                  <a:gd name="T3" fmla="*/ 0 h 559"/>
                  <a:gd name="T4" fmla="*/ 0 w 1160"/>
                  <a:gd name="T5" fmla="*/ 166 h 559"/>
                  <a:gd name="T6" fmla="*/ 4 w 1160"/>
                  <a:gd name="T7" fmla="*/ 559 h 559"/>
                  <a:gd name="T8" fmla="*/ 1156 w 1160"/>
                  <a:gd name="T9" fmla="*/ 559 h 559"/>
                  <a:gd name="T10" fmla="*/ 1160 w 1160"/>
                  <a:gd name="T11" fmla="*/ 166 h 559"/>
                </a:gdLst>
                <a:ahLst/>
                <a:cxnLst>
                  <a:cxn ang="0">
                    <a:pos x="T0" y="T1"/>
                  </a:cxn>
                  <a:cxn ang="0">
                    <a:pos x="T2" y="T3"/>
                  </a:cxn>
                  <a:cxn ang="0">
                    <a:pos x="T4" y="T5"/>
                  </a:cxn>
                  <a:cxn ang="0">
                    <a:pos x="T6" y="T7"/>
                  </a:cxn>
                  <a:cxn ang="0">
                    <a:pos x="T8" y="T9"/>
                  </a:cxn>
                  <a:cxn ang="0">
                    <a:pos x="T10" y="T11"/>
                  </a:cxn>
                </a:cxnLst>
                <a:rect l="0" t="0" r="r" b="b"/>
                <a:pathLst>
                  <a:path w="1160" h="559">
                    <a:moveTo>
                      <a:pt x="1160" y="166"/>
                    </a:moveTo>
                    <a:cubicBezTo>
                      <a:pt x="1160" y="74"/>
                      <a:pt x="900" y="0"/>
                      <a:pt x="580" y="0"/>
                    </a:cubicBezTo>
                    <a:cubicBezTo>
                      <a:pt x="260" y="0"/>
                      <a:pt x="0" y="74"/>
                      <a:pt x="0" y="166"/>
                    </a:cubicBezTo>
                    <a:cubicBezTo>
                      <a:pt x="0" y="173"/>
                      <a:pt x="4" y="559"/>
                      <a:pt x="4" y="559"/>
                    </a:cubicBezTo>
                    <a:cubicBezTo>
                      <a:pt x="1156" y="559"/>
                      <a:pt x="1156" y="559"/>
                      <a:pt x="1156" y="559"/>
                    </a:cubicBezTo>
                    <a:cubicBezTo>
                      <a:pt x="1156" y="559"/>
                      <a:pt x="1160" y="173"/>
                      <a:pt x="1160" y="166"/>
                    </a:cubicBezTo>
                    <a:close/>
                  </a:path>
                </a:pathLst>
              </a:custGeom>
              <a:solidFill>
                <a:schemeClr val="accent5"/>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endParaRPr lang="en-US" sz="4800"/>
              </a:p>
            </p:txBody>
          </p:sp>
          <p:sp>
            <p:nvSpPr>
              <p:cNvPr id="165" name="Oval 6"/>
              <p:cNvSpPr>
                <a:spLocks noChangeArrowheads="1"/>
              </p:cNvSpPr>
              <p:nvPr/>
            </p:nvSpPr>
            <p:spPr bwMode="auto">
              <a:xfrm>
                <a:off x="-12712700" y="3086100"/>
                <a:ext cx="4325938" cy="1238250"/>
              </a:xfrm>
              <a:prstGeom prst="ellipse">
                <a:avLst/>
              </a:prstGeom>
              <a:solidFill>
                <a:schemeClr val="accent5">
                  <a:lumMod val="75000"/>
                </a:schemeClr>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endParaRPr lang="en-US" sz="4800"/>
              </a:p>
            </p:txBody>
          </p:sp>
        </p:grpSp>
        <p:sp>
          <p:nvSpPr>
            <p:cNvPr id="97" name="Oval 8"/>
            <p:cNvSpPr>
              <a:spLocks noChangeArrowheads="1"/>
            </p:cNvSpPr>
            <p:nvPr/>
          </p:nvSpPr>
          <p:spPr bwMode="auto">
            <a:xfrm>
              <a:off x="6441108" y="2605969"/>
              <a:ext cx="1140506" cy="1154725"/>
            </a:xfrm>
            <a:prstGeom prst="ellipse">
              <a:avLst/>
            </a:prstGeom>
            <a:solidFill>
              <a:schemeClr val="bg1"/>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endParaRPr lang="en-US" sz="4800"/>
            </a:p>
          </p:txBody>
        </p:sp>
        <p:sp>
          <p:nvSpPr>
            <p:cNvPr id="98" name="Oval 8"/>
            <p:cNvSpPr>
              <a:spLocks noChangeArrowheads="1"/>
            </p:cNvSpPr>
            <p:nvPr/>
          </p:nvSpPr>
          <p:spPr bwMode="auto">
            <a:xfrm>
              <a:off x="5750435" y="4398096"/>
              <a:ext cx="1140506" cy="1154725"/>
            </a:xfrm>
            <a:prstGeom prst="ellipse">
              <a:avLst/>
            </a:prstGeom>
            <a:solidFill>
              <a:schemeClr val="bg1"/>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endParaRPr lang="en-US" sz="4800"/>
            </a:p>
          </p:txBody>
        </p:sp>
        <p:sp>
          <p:nvSpPr>
            <p:cNvPr id="99" name="Oval 8"/>
            <p:cNvSpPr>
              <a:spLocks noChangeArrowheads="1"/>
            </p:cNvSpPr>
            <p:nvPr/>
          </p:nvSpPr>
          <p:spPr bwMode="auto">
            <a:xfrm>
              <a:off x="5034998" y="6146975"/>
              <a:ext cx="1140506" cy="1154725"/>
            </a:xfrm>
            <a:prstGeom prst="ellipse">
              <a:avLst/>
            </a:prstGeom>
            <a:solidFill>
              <a:schemeClr val="bg1"/>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endParaRPr lang="en-US" sz="4800"/>
            </a:p>
          </p:txBody>
        </p:sp>
        <p:sp>
          <p:nvSpPr>
            <p:cNvPr id="100" name="Oval 8"/>
            <p:cNvSpPr>
              <a:spLocks noChangeArrowheads="1"/>
            </p:cNvSpPr>
            <p:nvPr/>
          </p:nvSpPr>
          <p:spPr bwMode="auto">
            <a:xfrm>
              <a:off x="4352108" y="7886767"/>
              <a:ext cx="1140506" cy="1154725"/>
            </a:xfrm>
            <a:prstGeom prst="ellipse">
              <a:avLst/>
            </a:prstGeom>
            <a:solidFill>
              <a:schemeClr val="bg1"/>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endParaRPr lang="en-US" sz="4800"/>
            </a:p>
          </p:txBody>
        </p:sp>
        <p:grpSp>
          <p:nvGrpSpPr>
            <p:cNvPr id="172" name="Group 171"/>
            <p:cNvGrpSpPr/>
            <p:nvPr/>
          </p:nvGrpSpPr>
          <p:grpSpPr>
            <a:xfrm>
              <a:off x="6725630" y="2903950"/>
              <a:ext cx="571463" cy="558764"/>
              <a:chOff x="7600950" y="3048000"/>
              <a:chExt cx="285750" cy="279400"/>
            </a:xfrm>
            <a:solidFill>
              <a:schemeClr val="accent2"/>
            </a:solidFill>
            <a:effectLst>
              <a:outerShdw blurRad="38100" dist="25400" dir="5400000" algn="ctr" rotWithShape="0">
                <a:srgbClr val="000000">
                  <a:alpha val="20000"/>
                </a:srgbClr>
              </a:outerShdw>
            </a:effectLst>
          </p:grpSpPr>
          <p:sp>
            <p:nvSpPr>
              <p:cNvPr id="173" name="Freeform 3039"/>
              <p:cNvSpPr>
                <a:spLocks/>
              </p:cNvSpPr>
              <p:nvPr/>
            </p:nvSpPr>
            <p:spPr bwMode="auto">
              <a:xfrm>
                <a:off x="7681913" y="3048000"/>
                <a:ext cx="123825" cy="128588"/>
              </a:xfrm>
              <a:custGeom>
                <a:avLst/>
                <a:gdLst>
                  <a:gd name="T0" fmla="*/ 263 w 310"/>
                  <a:gd name="T1" fmla="*/ 323 h 323"/>
                  <a:gd name="T2" fmla="*/ 268 w 310"/>
                  <a:gd name="T3" fmla="*/ 323 h 323"/>
                  <a:gd name="T4" fmla="*/ 271 w 310"/>
                  <a:gd name="T5" fmla="*/ 321 h 323"/>
                  <a:gd name="T6" fmla="*/ 274 w 310"/>
                  <a:gd name="T7" fmla="*/ 317 h 323"/>
                  <a:gd name="T8" fmla="*/ 275 w 310"/>
                  <a:gd name="T9" fmla="*/ 314 h 323"/>
                  <a:gd name="T10" fmla="*/ 275 w 310"/>
                  <a:gd name="T11" fmla="*/ 310 h 323"/>
                  <a:gd name="T12" fmla="*/ 274 w 310"/>
                  <a:gd name="T13" fmla="*/ 307 h 323"/>
                  <a:gd name="T14" fmla="*/ 231 w 310"/>
                  <a:gd name="T15" fmla="*/ 207 h 323"/>
                  <a:gd name="T16" fmla="*/ 307 w 310"/>
                  <a:gd name="T17" fmla="*/ 141 h 323"/>
                  <a:gd name="T18" fmla="*/ 309 w 310"/>
                  <a:gd name="T19" fmla="*/ 138 h 323"/>
                  <a:gd name="T20" fmla="*/ 310 w 310"/>
                  <a:gd name="T21" fmla="*/ 135 h 323"/>
                  <a:gd name="T22" fmla="*/ 310 w 310"/>
                  <a:gd name="T23" fmla="*/ 132 h 323"/>
                  <a:gd name="T24" fmla="*/ 310 w 310"/>
                  <a:gd name="T25" fmla="*/ 128 h 323"/>
                  <a:gd name="T26" fmla="*/ 308 w 310"/>
                  <a:gd name="T27" fmla="*/ 125 h 323"/>
                  <a:gd name="T28" fmla="*/ 306 w 310"/>
                  <a:gd name="T29" fmla="*/ 122 h 323"/>
                  <a:gd name="T30" fmla="*/ 302 w 310"/>
                  <a:gd name="T31" fmla="*/ 121 h 323"/>
                  <a:gd name="T32" fmla="*/ 299 w 310"/>
                  <a:gd name="T33" fmla="*/ 120 h 323"/>
                  <a:gd name="T34" fmla="*/ 200 w 310"/>
                  <a:gd name="T35" fmla="*/ 120 h 323"/>
                  <a:gd name="T36" fmla="*/ 167 w 310"/>
                  <a:gd name="T37" fmla="*/ 9 h 323"/>
                  <a:gd name="T38" fmla="*/ 165 w 310"/>
                  <a:gd name="T39" fmla="*/ 6 h 323"/>
                  <a:gd name="T40" fmla="*/ 163 w 310"/>
                  <a:gd name="T41" fmla="*/ 2 h 323"/>
                  <a:gd name="T42" fmla="*/ 159 w 310"/>
                  <a:gd name="T43" fmla="*/ 1 h 323"/>
                  <a:gd name="T44" fmla="*/ 156 w 310"/>
                  <a:gd name="T45" fmla="*/ 0 h 323"/>
                  <a:gd name="T46" fmla="*/ 151 w 310"/>
                  <a:gd name="T47" fmla="*/ 1 h 323"/>
                  <a:gd name="T48" fmla="*/ 149 w 310"/>
                  <a:gd name="T49" fmla="*/ 2 h 323"/>
                  <a:gd name="T50" fmla="*/ 145 w 310"/>
                  <a:gd name="T51" fmla="*/ 6 h 323"/>
                  <a:gd name="T52" fmla="*/ 144 w 310"/>
                  <a:gd name="T53" fmla="*/ 9 h 323"/>
                  <a:gd name="T54" fmla="*/ 111 w 310"/>
                  <a:gd name="T55" fmla="*/ 120 h 323"/>
                  <a:gd name="T56" fmla="*/ 12 w 310"/>
                  <a:gd name="T57" fmla="*/ 120 h 323"/>
                  <a:gd name="T58" fmla="*/ 8 w 310"/>
                  <a:gd name="T59" fmla="*/ 121 h 323"/>
                  <a:gd name="T60" fmla="*/ 5 w 310"/>
                  <a:gd name="T61" fmla="*/ 122 h 323"/>
                  <a:gd name="T62" fmla="*/ 2 w 310"/>
                  <a:gd name="T63" fmla="*/ 125 h 323"/>
                  <a:gd name="T64" fmla="*/ 0 w 310"/>
                  <a:gd name="T65" fmla="*/ 128 h 323"/>
                  <a:gd name="T66" fmla="*/ 0 w 310"/>
                  <a:gd name="T67" fmla="*/ 132 h 323"/>
                  <a:gd name="T68" fmla="*/ 0 w 310"/>
                  <a:gd name="T69" fmla="*/ 135 h 323"/>
                  <a:gd name="T70" fmla="*/ 1 w 310"/>
                  <a:gd name="T71" fmla="*/ 138 h 323"/>
                  <a:gd name="T72" fmla="*/ 4 w 310"/>
                  <a:gd name="T73" fmla="*/ 141 h 323"/>
                  <a:gd name="T74" fmla="*/ 81 w 310"/>
                  <a:gd name="T75" fmla="*/ 205 h 323"/>
                  <a:gd name="T76" fmla="*/ 37 w 310"/>
                  <a:gd name="T77" fmla="*/ 307 h 323"/>
                  <a:gd name="T78" fmla="*/ 36 w 310"/>
                  <a:gd name="T79" fmla="*/ 310 h 323"/>
                  <a:gd name="T80" fmla="*/ 36 w 310"/>
                  <a:gd name="T81" fmla="*/ 314 h 323"/>
                  <a:gd name="T82" fmla="*/ 37 w 310"/>
                  <a:gd name="T83" fmla="*/ 317 h 323"/>
                  <a:gd name="T84" fmla="*/ 39 w 310"/>
                  <a:gd name="T85" fmla="*/ 321 h 323"/>
                  <a:gd name="T86" fmla="*/ 43 w 310"/>
                  <a:gd name="T87" fmla="*/ 323 h 323"/>
                  <a:gd name="T88" fmla="*/ 46 w 310"/>
                  <a:gd name="T89" fmla="*/ 323 h 323"/>
                  <a:gd name="T90" fmla="*/ 51 w 310"/>
                  <a:gd name="T91" fmla="*/ 323 h 323"/>
                  <a:gd name="T92" fmla="*/ 55 w 310"/>
                  <a:gd name="T93" fmla="*/ 322 h 323"/>
                  <a:gd name="T94" fmla="*/ 156 w 310"/>
                  <a:gd name="T95" fmla="*/ 254 h 323"/>
                  <a:gd name="T96" fmla="*/ 257 w 310"/>
                  <a:gd name="T97" fmla="*/ 322 h 323"/>
                  <a:gd name="T98" fmla="*/ 259 w 310"/>
                  <a:gd name="T99" fmla="*/ 323 h 323"/>
                  <a:gd name="T100" fmla="*/ 263 w 310"/>
                  <a:gd name="T101" fmla="*/ 323 h 323"/>
                  <a:gd name="T102" fmla="*/ 263 w 310"/>
                  <a:gd name="T103"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0" h="323">
                    <a:moveTo>
                      <a:pt x="263" y="323"/>
                    </a:moveTo>
                    <a:lnTo>
                      <a:pt x="268" y="323"/>
                    </a:lnTo>
                    <a:lnTo>
                      <a:pt x="271" y="321"/>
                    </a:lnTo>
                    <a:lnTo>
                      <a:pt x="274" y="317"/>
                    </a:lnTo>
                    <a:lnTo>
                      <a:pt x="275" y="314"/>
                    </a:lnTo>
                    <a:lnTo>
                      <a:pt x="275" y="310"/>
                    </a:lnTo>
                    <a:lnTo>
                      <a:pt x="274" y="307"/>
                    </a:lnTo>
                    <a:lnTo>
                      <a:pt x="231" y="207"/>
                    </a:lnTo>
                    <a:lnTo>
                      <a:pt x="307" y="141"/>
                    </a:lnTo>
                    <a:lnTo>
                      <a:pt x="309" y="138"/>
                    </a:lnTo>
                    <a:lnTo>
                      <a:pt x="310" y="135"/>
                    </a:lnTo>
                    <a:lnTo>
                      <a:pt x="310" y="132"/>
                    </a:lnTo>
                    <a:lnTo>
                      <a:pt x="310" y="128"/>
                    </a:lnTo>
                    <a:lnTo>
                      <a:pt x="308" y="125"/>
                    </a:lnTo>
                    <a:lnTo>
                      <a:pt x="306" y="122"/>
                    </a:lnTo>
                    <a:lnTo>
                      <a:pt x="302" y="121"/>
                    </a:lnTo>
                    <a:lnTo>
                      <a:pt x="299" y="120"/>
                    </a:lnTo>
                    <a:lnTo>
                      <a:pt x="200" y="120"/>
                    </a:lnTo>
                    <a:lnTo>
                      <a:pt x="167" y="9"/>
                    </a:lnTo>
                    <a:lnTo>
                      <a:pt x="165" y="6"/>
                    </a:lnTo>
                    <a:lnTo>
                      <a:pt x="163" y="2"/>
                    </a:lnTo>
                    <a:lnTo>
                      <a:pt x="159" y="1"/>
                    </a:lnTo>
                    <a:lnTo>
                      <a:pt x="156" y="0"/>
                    </a:lnTo>
                    <a:lnTo>
                      <a:pt x="151" y="1"/>
                    </a:lnTo>
                    <a:lnTo>
                      <a:pt x="149" y="2"/>
                    </a:lnTo>
                    <a:lnTo>
                      <a:pt x="145" y="6"/>
                    </a:lnTo>
                    <a:lnTo>
                      <a:pt x="144" y="9"/>
                    </a:lnTo>
                    <a:lnTo>
                      <a:pt x="111" y="120"/>
                    </a:lnTo>
                    <a:lnTo>
                      <a:pt x="12" y="120"/>
                    </a:lnTo>
                    <a:lnTo>
                      <a:pt x="8" y="121"/>
                    </a:lnTo>
                    <a:lnTo>
                      <a:pt x="5" y="122"/>
                    </a:lnTo>
                    <a:lnTo>
                      <a:pt x="2" y="125"/>
                    </a:lnTo>
                    <a:lnTo>
                      <a:pt x="0" y="128"/>
                    </a:lnTo>
                    <a:lnTo>
                      <a:pt x="0" y="132"/>
                    </a:lnTo>
                    <a:lnTo>
                      <a:pt x="0" y="135"/>
                    </a:lnTo>
                    <a:lnTo>
                      <a:pt x="1" y="138"/>
                    </a:lnTo>
                    <a:lnTo>
                      <a:pt x="4" y="141"/>
                    </a:lnTo>
                    <a:lnTo>
                      <a:pt x="81" y="205"/>
                    </a:lnTo>
                    <a:lnTo>
                      <a:pt x="37" y="307"/>
                    </a:lnTo>
                    <a:lnTo>
                      <a:pt x="36" y="310"/>
                    </a:lnTo>
                    <a:lnTo>
                      <a:pt x="36" y="314"/>
                    </a:lnTo>
                    <a:lnTo>
                      <a:pt x="37" y="317"/>
                    </a:lnTo>
                    <a:lnTo>
                      <a:pt x="39" y="321"/>
                    </a:lnTo>
                    <a:lnTo>
                      <a:pt x="43" y="323"/>
                    </a:lnTo>
                    <a:lnTo>
                      <a:pt x="46" y="323"/>
                    </a:lnTo>
                    <a:lnTo>
                      <a:pt x="51" y="323"/>
                    </a:lnTo>
                    <a:lnTo>
                      <a:pt x="55" y="322"/>
                    </a:lnTo>
                    <a:lnTo>
                      <a:pt x="156" y="254"/>
                    </a:lnTo>
                    <a:lnTo>
                      <a:pt x="257" y="322"/>
                    </a:lnTo>
                    <a:lnTo>
                      <a:pt x="259" y="323"/>
                    </a:lnTo>
                    <a:lnTo>
                      <a:pt x="263" y="323"/>
                    </a:lnTo>
                    <a:lnTo>
                      <a:pt x="263" y="3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74" name="Freeform 3040"/>
              <p:cNvSpPr>
                <a:spLocks/>
              </p:cNvSpPr>
              <p:nvPr/>
            </p:nvSpPr>
            <p:spPr bwMode="auto">
              <a:xfrm>
                <a:off x="7762875" y="3200400"/>
                <a:ext cx="123825" cy="127000"/>
              </a:xfrm>
              <a:custGeom>
                <a:avLst/>
                <a:gdLst>
                  <a:gd name="T0" fmla="*/ 311 w 312"/>
                  <a:gd name="T1" fmla="*/ 127 h 322"/>
                  <a:gd name="T2" fmla="*/ 308 w 312"/>
                  <a:gd name="T3" fmla="*/ 124 h 322"/>
                  <a:gd name="T4" fmla="*/ 306 w 312"/>
                  <a:gd name="T5" fmla="*/ 121 h 322"/>
                  <a:gd name="T6" fmla="*/ 304 w 312"/>
                  <a:gd name="T7" fmla="*/ 120 h 322"/>
                  <a:gd name="T8" fmla="*/ 300 w 312"/>
                  <a:gd name="T9" fmla="*/ 119 h 322"/>
                  <a:gd name="T10" fmla="*/ 200 w 312"/>
                  <a:gd name="T11" fmla="*/ 119 h 322"/>
                  <a:gd name="T12" fmla="*/ 167 w 312"/>
                  <a:gd name="T13" fmla="*/ 8 h 322"/>
                  <a:gd name="T14" fmla="*/ 166 w 312"/>
                  <a:gd name="T15" fmla="*/ 5 h 322"/>
                  <a:gd name="T16" fmla="*/ 163 w 312"/>
                  <a:gd name="T17" fmla="*/ 2 h 322"/>
                  <a:gd name="T18" fmla="*/ 160 w 312"/>
                  <a:gd name="T19" fmla="*/ 0 h 322"/>
                  <a:gd name="T20" fmla="*/ 156 w 312"/>
                  <a:gd name="T21" fmla="*/ 0 h 322"/>
                  <a:gd name="T22" fmla="*/ 153 w 312"/>
                  <a:gd name="T23" fmla="*/ 0 h 322"/>
                  <a:gd name="T24" fmla="*/ 149 w 312"/>
                  <a:gd name="T25" fmla="*/ 2 h 322"/>
                  <a:gd name="T26" fmla="*/ 146 w 312"/>
                  <a:gd name="T27" fmla="*/ 5 h 322"/>
                  <a:gd name="T28" fmla="*/ 144 w 312"/>
                  <a:gd name="T29" fmla="*/ 8 h 322"/>
                  <a:gd name="T30" fmla="*/ 111 w 312"/>
                  <a:gd name="T31" fmla="*/ 119 h 322"/>
                  <a:gd name="T32" fmla="*/ 12 w 312"/>
                  <a:gd name="T33" fmla="*/ 119 h 322"/>
                  <a:gd name="T34" fmla="*/ 9 w 312"/>
                  <a:gd name="T35" fmla="*/ 120 h 322"/>
                  <a:gd name="T36" fmla="*/ 5 w 312"/>
                  <a:gd name="T37" fmla="*/ 121 h 322"/>
                  <a:gd name="T38" fmla="*/ 3 w 312"/>
                  <a:gd name="T39" fmla="*/ 124 h 322"/>
                  <a:gd name="T40" fmla="*/ 0 w 312"/>
                  <a:gd name="T41" fmla="*/ 127 h 322"/>
                  <a:gd name="T42" fmla="*/ 0 w 312"/>
                  <a:gd name="T43" fmla="*/ 131 h 322"/>
                  <a:gd name="T44" fmla="*/ 0 w 312"/>
                  <a:gd name="T45" fmla="*/ 134 h 322"/>
                  <a:gd name="T46" fmla="*/ 2 w 312"/>
                  <a:gd name="T47" fmla="*/ 138 h 322"/>
                  <a:gd name="T48" fmla="*/ 4 w 312"/>
                  <a:gd name="T49" fmla="*/ 140 h 322"/>
                  <a:gd name="T50" fmla="*/ 81 w 312"/>
                  <a:gd name="T51" fmla="*/ 204 h 322"/>
                  <a:gd name="T52" fmla="*/ 37 w 312"/>
                  <a:gd name="T53" fmla="*/ 306 h 322"/>
                  <a:gd name="T54" fmla="*/ 36 w 312"/>
                  <a:gd name="T55" fmla="*/ 309 h 322"/>
                  <a:gd name="T56" fmla="*/ 36 w 312"/>
                  <a:gd name="T57" fmla="*/ 314 h 322"/>
                  <a:gd name="T58" fmla="*/ 38 w 312"/>
                  <a:gd name="T59" fmla="*/ 317 h 322"/>
                  <a:gd name="T60" fmla="*/ 41 w 312"/>
                  <a:gd name="T61" fmla="*/ 320 h 322"/>
                  <a:gd name="T62" fmla="*/ 43 w 312"/>
                  <a:gd name="T63" fmla="*/ 322 h 322"/>
                  <a:gd name="T64" fmla="*/ 48 w 312"/>
                  <a:gd name="T65" fmla="*/ 322 h 322"/>
                  <a:gd name="T66" fmla="*/ 52 w 312"/>
                  <a:gd name="T67" fmla="*/ 322 h 322"/>
                  <a:gd name="T68" fmla="*/ 55 w 312"/>
                  <a:gd name="T69" fmla="*/ 321 h 322"/>
                  <a:gd name="T70" fmla="*/ 156 w 312"/>
                  <a:gd name="T71" fmla="*/ 253 h 322"/>
                  <a:gd name="T72" fmla="*/ 257 w 312"/>
                  <a:gd name="T73" fmla="*/ 321 h 322"/>
                  <a:gd name="T74" fmla="*/ 260 w 312"/>
                  <a:gd name="T75" fmla="*/ 322 h 322"/>
                  <a:gd name="T76" fmla="*/ 263 w 312"/>
                  <a:gd name="T77" fmla="*/ 322 h 322"/>
                  <a:gd name="T78" fmla="*/ 268 w 312"/>
                  <a:gd name="T79" fmla="*/ 322 h 322"/>
                  <a:gd name="T80" fmla="*/ 272 w 312"/>
                  <a:gd name="T81" fmla="*/ 320 h 322"/>
                  <a:gd name="T82" fmla="*/ 274 w 312"/>
                  <a:gd name="T83" fmla="*/ 317 h 322"/>
                  <a:gd name="T84" fmla="*/ 275 w 312"/>
                  <a:gd name="T85" fmla="*/ 314 h 322"/>
                  <a:gd name="T86" fmla="*/ 275 w 312"/>
                  <a:gd name="T87" fmla="*/ 310 h 322"/>
                  <a:gd name="T88" fmla="*/ 275 w 312"/>
                  <a:gd name="T89" fmla="*/ 306 h 322"/>
                  <a:gd name="T90" fmla="*/ 231 w 312"/>
                  <a:gd name="T91" fmla="*/ 207 h 322"/>
                  <a:gd name="T92" fmla="*/ 307 w 312"/>
                  <a:gd name="T93" fmla="*/ 140 h 322"/>
                  <a:gd name="T94" fmla="*/ 310 w 312"/>
                  <a:gd name="T95" fmla="*/ 138 h 322"/>
                  <a:gd name="T96" fmla="*/ 311 w 312"/>
                  <a:gd name="T97" fmla="*/ 134 h 322"/>
                  <a:gd name="T98" fmla="*/ 312 w 312"/>
                  <a:gd name="T99" fmla="*/ 131 h 322"/>
                  <a:gd name="T100" fmla="*/ 311 w 312"/>
                  <a:gd name="T101" fmla="*/ 127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2" h="322">
                    <a:moveTo>
                      <a:pt x="311" y="127"/>
                    </a:moveTo>
                    <a:lnTo>
                      <a:pt x="308" y="124"/>
                    </a:lnTo>
                    <a:lnTo>
                      <a:pt x="306" y="121"/>
                    </a:lnTo>
                    <a:lnTo>
                      <a:pt x="304" y="120"/>
                    </a:lnTo>
                    <a:lnTo>
                      <a:pt x="300" y="119"/>
                    </a:lnTo>
                    <a:lnTo>
                      <a:pt x="200" y="119"/>
                    </a:lnTo>
                    <a:lnTo>
                      <a:pt x="167" y="8"/>
                    </a:lnTo>
                    <a:lnTo>
                      <a:pt x="166" y="5"/>
                    </a:lnTo>
                    <a:lnTo>
                      <a:pt x="163" y="2"/>
                    </a:lnTo>
                    <a:lnTo>
                      <a:pt x="160" y="0"/>
                    </a:lnTo>
                    <a:lnTo>
                      <a:pt x="156" y="0"/>
                    </a:lnTo>
                    <a:lnTo>
                      <a:pt x="153" y="0"/>
                    </a:lnTo>
                    <a:lnTo>
                      <a:pt x="149" y="2"/>
                    </a:lnTo>
                    <a:lnTo>
                      <a:pt x="146" y="5"/>
                    </a:lnTo>
                    <a:lnTo>
                      <a:pt x="144" y="8"/>
                    </a:lnTo>
                    <a:lnTo>
                      <a:pt x="111" y="119"/>
                    </a:lnTo>
                    <a:lnTo>
                      <a:pt x="12" y="119"/>
                    </a:lnTo>
                    <a:lnTo>
                      <a:pt x="9" y="120"/>
                    </a:lnTo>
                    <a:lnTo>
                      <a:pt x="5" y="121"/>
                    </a:lnTo>
                    <a:lnTo>
                      <a:pt x="3" y="124"/>
                    </a:lnTo>
                    <a:lnTo>
                      <a:pt x="0" y="127"/>
                    </a:lnTo>
                    <a:lnTo>
                      <a:pt x="0" y="131"/>
                    </a:lnTo>
                    <a:lnTo>
                      <a:pt x="0" y="134"/>
                    </a:lnTo>
                    <a:lnTo>
                      <a:pt x="2" y="138"/>
                    </a:lnTo>
                    <a:lnTo>
                      <a:pt x="4" y="140"/>
                    </a:lnTo>
                    <a:lnTo>
                      <a:pt x="81" y="204"/>
                    </a:lnTo>
                    <a:lnTo>
                      <a:pt x="37" y="306"/>
                    </a:lnTo>
                    <a:lnTo>
                      <a:pt x="36" y="309"/>
                    </a:lnTo>
                    <a:lnTo>
                      <a:pt x="36" y="314"/>
                    </a:lnTo>
                    <a:lnTo>
                      <a:pt x="38" y="317"/>
                    </a:lnTo>
                    <a:lnTo>
                      <a:pt x="41" y="320"/>
                    </a:lnTo>
                    <a:lnTo>
                      <a:pt x="43" y="322"/>
                    </a:lnTo>
                    <a:lnTo>
                      <a:pt x="48" y="322"/>
                    </a:lnTo>
                    <a:lnTo>
                      <a:pt x="52" y="322"/>
                    </a:lnTo>
                    <a:lnTo>
                      <a:pt x="55" y="321"/>
                    </a:lnTo>
                    <a:lnTo>
                      <a:pt x="156" y="253"/>
                    </a:lnTo>
                    <a:lnTo>
                      <a:pt x="257" y="321"/>
                    </a:lnTo>
                    <a:lnTo>
                      <a:pt x="260" y="322"/>
                    </a:lnTo>
                    <a:lnTo>
                      <a:pt x="263" y="322"/>
                    </a:lnTo>
                    <a:lnTo>
                      <a:pt x="268" y="322"/>
                    </a:lnTo>
                    <a:lnTo>
                      <a:pt x="272" y="320"/>
                    </a:lnTo>
                    <a:lnTo>
                      <a:pt x="274" y="317"/>
                    </a:lnTo>
                    <a:lnTo>
                      <a:pt x="275" y="314"/>
                    </a:lnTo>
                    <a:lnTo>
                      <a:pt x="275" y="310"/>
                    </a:lnTo>
                    <a:lnTo>
                      <a:pt x="275" y="306"/>
                    </a:lnTo>
                    <a:lnTo>
                      <a:pt x="231" y="207"/>
                    </a:lnTo>
                    <a:lnTo>
                      <a:pt x="307" y="140"/>
                    </a:lnTo>
                    <a:lnTo>
                      <a:pt x="310" y="138"/>
                    </a:lnTo>
                    <a:lnTo>
                      <a:pt x="311" y="134"/>
                    </a:lnTo>
                    <a:lnTo>
                      <a:pt x="312" y="131"/>
                    </a:lnTo>
                    <a:lnTo>
                      <a:pt x="311"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75" name="Freeform 3041"/>
              <p:cNvSpPr>
                <a:spLocks/>
              </p:cNvSpPr>
              <p:nvPr/>
            </p:nvSpPr>
            <p:spPr bwMode="auto">
              <a:xfrm>
                <a:off x="7600950" y="3200400"/>
                <a:ext cx="123825" cy="127000"/>
              </a:xfrm>
              <a:custGeom>
                <a:avLst/>
                <a:gdLst>
                  <a:gd name="T0" fmla="*/ 300 w 312"/>
                  <a:gd name="T1" fmla="*/ 119 h 322"/>
                  <a:gd name="T2" fmla="*/ 201 w 312"/>
                  <a:gd name="T3" fmla="*/ 119 h 322"/>
                  <a:gd name="T4" fmla="*/ 168 w 312"/>
                  <a:gd name="T5" fmla="*/ 8 h 322"/>
                  <a:gd name="T6" fmla="*/ 167 w 312"/>
                  <a:gd name="T7" fmla="*/ 5 h 322"/>
                  <a:gd name="T8" fmla="*/ 163 w 312"/>
                  <a:gd name="T9" fmla="*/ 2 h 322"/>
                  <a:gd name="T10" fmla="*/ 161 w 312"/>
                  <a:gd name="T11" fmla="*/ 0 h 322"/>
                  <a:gd name="T12" fmla="*/ 156 w 312"/>
                  <a:gd name="T13" fmla="*/ 0 h 322"/>
                  <a:gd name="T14" fmla="*/ 153 w 312"/>
                  <a:gd name="T15" fmla="*/ 0 h 322"/>
                  <a:gd name="T16" fmla="*/ 149 w 312"/>
                  <a:gd name="T17" fmla="*/ 2 h 322"/>
                  <a:gd name="T18" fmla="*/ 147 w 312"/>
                  <a:gd name="T19" fmla="*/ 5 h 322"/>
                  <a:gd name="T20" fmla="*/ 146 w 312"/>
                  <a:gd name="T21" fmla="*/ 8 h 322"/>
                  <a:gd name="T22" fmla="*/ 112 w 312"/>
                  <a:gd name="T23" fmla="*/ 119 h 322"/>
                  <a:gd name="T24" fmla="*/ 13 w 312"/>
                  <a:gd name="T25" fmla="*/ 119 h 322"/>
                  <a:gd name="T26" fmla="*/ 9 w 312"/>
                  <a:gd name="T27" fmla="*/ 120 h 322"/>
                  <a:gd name="T28" fmla="*/ 6 w 312"/>
                  <a:gd name="T29" fmla="*/ 121 h 322"/>
                  <a:gd name="T30" fmla="*/ 4 w 312"/>
                  <a:gd name="T31" fmla="*/ 124 h 322"/>
                  <a:gd name="T32" fmla="*/ 2 w 312"/>
                  <a:gd name="T33" fmla="*/ 127 h 322"/>
                  <a:gd name="T34" fmla="*/ 0 w 312"/>
                  <a:gd name="T35" fmla="*/ 131 h 322"/>
                  <a:gd name="T36" fmla="*/ 2 w 312"/>
                  <a:gd name="T37" fmla="*/ 134 h 322"/>
                  <a:gd name="T38" fmla="*/ 3 w 312"/>
                  <a:gd name="T39" fmla="*/ 138 h 322"/>
                  <a:gd name="T40" fmla="*/ 5 w 312"/>
                  <a:gd name="T41" fmla="*/ 140 h 322"/>
                  <a:gd name="T42" fmla="*/ 82 w 312"/>
                  <a:gd name="T43" fmla="*/ 204 h 322"/>
                  <a:gd name="T44" fmla="*/ 38 w 312"/>
                  <a:gd name="T45" fmla="*/ 306 h 322"/>
                  <a:gd name="T46" fmla="*/ 37 w 312"/>
                  <a:gd name="T47" fmla="*/ 309 h 322"/>
                  <a:gd name="T48" fmla="*/ 37 w 312"/>
                  <a:gd name="T49" fmla="*/ 314 h 322"/>
                  <a:gd name="T50" fmla="*/ 38 w 312"/>
                  <a:gd name="T51" fmla="*/ 317 h 322"/>
                  <a:gd name="T52" fmla="*/ 41 w 312"/>
                  <a:gd name="T53" fmla="*/ 320 h 322"/>
                  <a:gd name="T54" fmla="*/ 44 w 312"/>
                  <a:gd name="T55" fmla="*/ 322 h 322"/>
                  <a:gd name="T56" fmla="*/ 48 w 312"/>
                  <a:gd name="T57" fmla="*/ 322 h 322"/>
                  <a:gd name="T58" fmla="*/ 52 w 312"/>
                  <a:gd name="T59" fmla="*/ 322 h 322"/>
                  <a:gd name="T60" fmla="*/ 55 w 312"/>
                  <a:gd name="T61" fmla="*/ 321 h 322"/>
                  <a:gd name="T62" fmla="*/ 156 w 312"/>
                  <a:gd name="T63" fmla="*/ 253 h 322"/>
                  <a:gd name="T64" fmla="*/ 257 w 312"/>
                  <a:gd name="T65" fmla="*/ 321 h 322"/>
                  <a:gd name="T66" fmla="*/ 261 w 312"/>
                  <a:gd name="T67" fmla="*/ 322 h 322"/>
                  <a:gd name="T68" fmla="*/ 264 w 312"/>
                  <a:gd name="T69" fmla="*/ 322 h 322"/>
                  <a:gd name="T70" fmla="*/ 268 w 312"/>
                  <a:gd name="T71" fmla="*/ 322 h 322"/>
                  <a:gd name="T72" fmla="*/ 272 w 312"/>
                  <a:gd name="T73" fmla="*/ 320 h 322"/>
                  <a:gd name="T74" fmla="*/ 275 w 312"/>
                  <a:gd name="T75" fmla="*/ 317 h 322"/>
                  <a:gd name="T76" fmla="*/ 276 w 312"/>
                  <a:gd name="T77" fmla="*/ 314 h 322"/>
                  <a:gd name="T78" fmla="*/ 276 w 312"/>
                  <a:gd name="T79" fmla="*/ 310 h 322"/>
                  <a:gd name="T80" fmla="*/ 275 w 312"/>
                  <a:gd name="T81" fmla="*/ 306 h 322"/>
                  <a:gd name="T82" fmla="*/ 231 w 312"/>
                  <a:gd name="T83" fmla="*/ 207 h 322"/>
                  <a:gd name="T84" fmla="*/ 308 w 312"/>
                  <a:gd name="T85" fmla="*/ 140 h 322"/>
                  <a:gd name="T86" fmla="*/ 311 w 312"/>
                  <a:gd name="T87" fmla="*/ 138 h 322"/>
                  <a:gd name="T88" fmla="*/ 312 w 312"/>
                  <a:gd name="T89" fmla="*/ 134 h 322"/>
                  <a:gd name="T90" fmla="*/ 312 w 312"/>
                  <a:gd name="T91" fmla="*/ 131 h 322"/>
                  <a:gd name="T92" fmla="*/ 312 w 312"/>
                  <a:gd name="T93" fmla="*/ 127 h 322"/>
                  <a:gd name="T94" fmla="*/ 310 w 312"/>
                  <a:gd name="T95" fmla="*/ 124 h 322"/>
                  <a:gd name="T96" fmla="*/ 307 w 312"/>
                  <a:gd name="T97" fmla="*/ 121 h 322"/>
                  <a:gd name="T98" fmla="*/ 304 w 312"/>
                  <a:gd name="T99" fmla="*/ 120 h 322"/>
                  <a:gd name="T100" fmla="*/ 300 w 312"/>
                  <a:gd name="T101" fmla="*/ 11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2" h="322">
                    <a:moveTo>
                      <a:pt x="300" y="119"/>
                    </a:moveTo>
                    <a:lnTo>
                      <a:pt x="201" y="119"/>
                    </a:lnTo>
                    <a:lnTo>
                      <a:pt x="168" y="8"/>
                    </a:lnTo>
                    <a:lnTo>
                      <a:pt x="167" y="5"/>
                    </a:lnTo>
                    <a:lnTo>
                      <a:pt x="163" y="2"/>
                    </a:lnTo>
                    <a:lnTo>
                      <a:pt x="161" y="0"/>
                    </a:lnTo>
                    <a:lnTo>
                      <a:pt x="156" y="0"/>
                    </a:lnTo>
                    <a:lnTo>
                      <a:pt x="153" y="0"/>
                    </a:lnTo>
                    <a:lnTo>
                      <a:pt x="149" y="2"/>
                    </a:lnTo>
                    <a:lnTo>
                      <a:pt x="147" y="5"/>
                    </a:lnTo>
                    <a:lnTo>
                      <a:pt x="146" y="8"/>
                    </a:lnTo>
                    <a:lnTo>
                      <a:pt x="112" y="119"/>
                    </a:lnTo>
                    <a:lnTo>
                      <a:pt x="13" y="119"/>
                    </a:lnTo>
                    <a:lnTo>
                      <a:pt x="9" y="120"/>
                    </a:lnTo>
                    <a:lnTo>
                      <a:pt x="6" y="121"/>
                    </a:lnTo>
                    <a:lnTo>
                      <a:pt x="4" y="124"/>
                    </a:lnTo>
                    <a:lnTo>
                      <a:pt x="2" y="127"/>
                    </a:lnTo>
                    <a:lnTo>
                      <a:pt x="0" y="131"/>
                    </a:lnTo>
                    <a:lnTo>
                      <a:pt x="2" y="134"/>
                    </a:lnTo>
                    <a:lnTo>
                      <a:pt x="3" y="138"/>
                    </a:lnTo>
                    <a:lnTo>
                      <a:pt x="5" y="140"/>
                    </a:lnTo>
                    <a:lnTo>
                      <a:pt x="82" y="204"/>
                    </a:lnTo>
                    <a:lnTo>
                      <a:pt x="38" y="306"/>
                    </a:lnTo>
                    <a:lnTo>
                      <a:pt x="37" y="309"/>
                    </a:lnTo>
                    <a:lnTo>
                      <a:pt x="37" y="314"/>
                    </a:lnTo>
                    <a:lnTo>
                      <a:pt x="38" y="317"/>
                    </a:lnTo>
                    <a:lnTo>
                      <a:pt x="41" y="320"/>
                    </a:lnTo>
                    <a:lnTo>
                      <a:pt x="44" y="322"/>
                    </a:lnTo>
                    <a:lnTo>
                      <a:pt x="48" y="322"/>
                    </a:lnTo>
                    <a:lnTo>
                      <a:pt x="52" y="322"/>
                    </a:lnTo>
                    <a:lnTo>
                      <a:pt x="55" y="321"/>
                    </a:lnTo>
                    <a:lnTo>
                      <a:pt x="156" y="253"/>
                    </a:lnTo>
                    <a:lnTo>
                      <a:pt x="257" y="321"/>
                    </a:lnTo>
                    <a:lnTo>
                      <a:pt x="261" y="322"/>
                    </a:lnTo>
                    <a:lnTo>
                      <a:pt x="264" y="322"/>
                    </a:lnTo>
                    <a:lnTo>
                      <a:pt x="268" y="322"/>
                    </a:lnTo>
                    <a:lnTo>
                      <a:pt x="272" y="320"/>
                    </a:lnTo>
                    <a:lnTo>
                      <a:pt x="275" y="317"/>
                    </a:lnTo>
                    <a:lnTo>
                      <a:pt x="276" y="314"/>
                    </a:lnTo>
                    <a:lnTo>
                      <a:pt x="276" y="310"/>
                    </a:lnTo>
                    <a:lnTo>
                      <a:pt x="275" y="306"/>
                    </a:lnTo>
                    <a:lnTo>
                      <a:pt x="231" y="207"/>
                    </a:lnTo>
                    <a:lnTo>
                      <a:pt x="308" y="140"/>
                    </a:lnTo>
                    <a:lnTo>
                      <a:pt x="311" y="138"/>
                    </a:lnTo>
                    <a:lnTo>
                      <a:pt x="312" y="134"/>
                    </a:lnTo>
                    <a:lnTo>
                      <a:pt x="312" y="131"/>
                    </a:lnTo>
                    <a:lnTo>
                      <a:pt x="312" y="127"/>
                    </a:lnTo>
                    <a:lnTo>
                      <a:pt x="310" y="124"/>
                    </a:lnTo>
                    <a:lnTo>
                      <a:pt x="307" y="121"/>
                    </a:lnTo>
                    <a:lnTo>
                      <a:pt x="304" y="120"/>
                    </a:lnTo>
                    <a:lnTo>
                      <a:pt x="300"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176" name="Group 175"/>
            <p:cNvGrpSpPr/>
            <p:nvPr/>
          </p:nvGrpSpPr>
          <p:grpSpPr>
            <a:xfrm>
              <a:off x="4635042" y="8243483"/>
              <a:ext cx="574639" cy="441297"/>
              <a:chOff x="1450975" y="2559050"/>
              <a:chExt cx="287338" cy="220663"/>
            </a:xfrm>
            <a:solidFill>
              <a:schemeClr val="accent5"/>
            </a:solidFill>
            <a:effectLst>
              <a:outerShdw blurRad="38100" dist="25400" dir="5400000" algn="ctr" rotWithShape="0">
                <a:srgbClr val="000000">
                  <a:alpha val="20000"/>
                </a:srgbClr>
              </a:outerShdw>
            </a:effectLst>
          </p:grpSpPr>
          <p:sp>
            <p:nvSpPr>
              <p:cNvPr id="177" name="Freeform 518"/>
              <p:cNvSpPr>
                <a:spLocks/>
              </p:cNvSpPr>
              <p:nvPr/>
            </p:nvSpPr>
            <p:spPr bwMode="auto">
              <a:xfrm>
                <a:off x="1552575" y="2559050"/>
                <a:ext cx="185738" cy="187325"/>
              </a:xfrm>
              <a:custGeom>
                <a:avLst/>
                <a:gdLst>
                  <a:gd name="T0" fmla="*/ 15 w 587"/>
                  <a:gd name="T1" fmla="*/ 0 h 588"/>
                  <a:gd name="T2" fmla="*/ 9 w 587"/>
                  <a:gd name="T3" fmla="*/ 2 h 588"/>
                  <a:gd name="T4" fmla="*/ 4 w 587"/>
                  <a:gd name="T5" fmla="*/ 5 h 588"/>
                  <a:gd name="T6" fmla="*/ 1 w 587"/>
                  <a:gd name="T7" fmla="*/ 10 h 588"/>
                  <a:gd name="T8" fmla="*/ 0 w 587"/>
                  <a:gd name="T9" fmla="*/ 15 h 588"/>
                  <a:gd name="T10" fmla="*/ 14 w 587"/>
                  <a:gd name="T11" fmla="*/ 453 h 588"/>
                  <a:gd name="T12" fmla="*/ 40 w 587"/>
                  <a:gd name="T13" fmla="*/ 458 h 588"/>
                  <a:gd name="T14" fmla="*/ 64 w 587"/>
                  <a:gd name="T15" fmla="*/ 469 h 588"/>
                  <a:gd name="T16" fmla="*/ 85 w 587"/>
                  <a:gd name="T17" fmla="*/ 483 h 588"/>
                  <a:gd name="T18" fmla="*/ 105 w 587"/>
                  <a:gd name="T19" fmla="*/ 501 h 588"/>
                  <a:gd name="T20" fmla="*/ 119 w 587"/>
                  <a:gd name="T21" fmla="*/ 524 h 588"/>
                  <a:gd name="T22" fmla="*/ 129 w 587"/>
                  <a:gd name="T23" fmla="*/ 548 h 588"/>
                  <a:gd name="T24" fmla="*/ 135 w 587"/>
                  <a:gd name="T25" fmla="*/ 574 h 588"/>
                  <a:gd name="T26" fmla="*/ 286 w 587"/>
                  <a:gd name="T27" fmla="*/ 588 h 588"/>
                  <a:gd name="T28" fmla="*/ 288 w 587"/>
                  <a:gd name="T29" fmla="*/ 560 h 588"/>
                  <a:gd name="T30" fmla="*/ 297 w 587"/>
                  <a:gd name="T31" fmla="*/ 536 h 588"/>
                  <a:gd name="T32" fmla="*/ 308 w 587"/>
                  <a:gd name="T33" fmla="*/ 512 h 588"/>
                  <a:gd name="T34" fmla="*/ 326 w 587"/>
                  <a:gd name="T35" fmla="*/ 492 h 588"/>
                  <a:gd name="T36" fmla="*/ 346 w 587"/>
                  <a:gd name="T37" fmla="*/ 476 h 588"/>
                  <a:gd name="T38" fmla="*/ 369 w 587"/>
                  <a:gd name="T39" fmla="*/ 463 h 588"/>
                  <a:gd name="T40" fmla="*/ 394 w 587"/>
                  <a:gd name="T41" fmla="*/ 455 h 588"/>
                  <a:gd name="T42" fmla="*/ 421 w 587"/>
                  <a:gd name="T43" fmla="*/ 452 h 588"/>
                  <a:gd name="T44" fmla="*/ 449 w 587"/>
                  <a:gd name="T45" fmla="*/ 455 h 588"/>
                  <a:gd name="T46" fmla="*/ 474 w 587"/>
                  <a:gd name="T47" fmla="*/ 463 h 588"/>
                  <a:gd name="T48" fmla="*/ 497 w 587"/>
                  <a:gd name="T49" fmla="*/ 476 h 588"/>
                  <a:gd name="T50" fmla="*/ 517 w 587"/>
                  <a:gd name="T51" fmla="*/ 492 h 588"/>
                  <a:gd name="T52" fmla="*/ 534 w 587"/>
                  <a:gd name="T53" fmla="*/ 512 h 588"/>
                  <a:gd name="T54" fmla="*/ 547 w 587"/>
                  <a:gd name="T55" fmla="*/ 536 h 588"/>
                  <a:gd name="T56" fmla="*/ 554 w 587"/>
                  <a:gd name="T57" fmla="*/ 560 h 588"/>
                  <a:gd name="T58" fmla="*/ 556 w 587"/>
                  <a:gd name="T59" fmla="*/ 588 h 588"/>
                  <a:gd name="T60" fmla="*/ 574 w 587"/>
                  <a:gd name="T61" fmla="*/ 587 h 588"/>
                  <a:gd name="T62" fmla="*/ 580 w 587"/>
                  <a:gd name="T63" fmla="*/ 585 h 588"/>
                  <a:gd name="T64" fmla="*/ 584 w 587"/>
                  <a:gd name="T65" fmla="*/ 582 h 588"/>
                  <a:gd name="T66" fmla="*/ 586 w 587"/>
                  <a:gd name="T67" fmla="*/ 576 h 588"/>
                  <a:gd name="T68" fmla="*/ 587 w 587"/>
                  <a:gd name="T69" fmla="*/ 15 h 588"/>
                  <a:gd name="T70" fmla="*/ 585 w 587"/>
                  <a:gd name="T71" fmla="*/ 10 h 588"/>
                  <a:gd name="T72" fmla="*/ 582 w 587"/>
                  <a:gd name="T73" fmla="*/ 5 h 588"/>
                  <a:gd name="T74" fmla="*/ 578 w 587"/>
                  <a:gd name="T75" fmla="*/ 2 h 588"/>
                  <a:gd name="T76" fmla="*/ 572 w 587"/>
                  <a:gd name="T77" fmla="*/ 0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7" h="588">
                    <a:moveTo>
                      <a:pt x="572" y="0"/>
                    </a:moveTo>
                    <a:lnTo>
                      <a:pt x="15" y="0"/>
                    </a:lnTo>
                    <a:lnTo>
                      <a:pt x="11" y="2"/>
                    </a:lnTo>
                    <a:lnTo>
                      <a:pt x="9" y="2"/>
                    </a:lnTo>
                    <a:lnTo>
                      <a:pt x="6" y="4"/>
                    </a:lnTo>
                    <a:lnTo>
                      <a:pt x="4" y="5"/>
                    </a:lnTo>
                    <a:lnTo>
                      <a:pt x="3" y="8"/>
                    </a:lnTo>
                    <a:lnTo>
                      <a:pt x="1" y="10"/>
                    </a:lnTo>
                    <a:lnTo>
                      <a:pt x="0" y="13"/>
                    </a:lnTo>
                    <a:lnTo>
                      <a:pt x="0" y="15"/>
                    </a:lnTo>
                    <a:lnTo>
                      <a:pt x="0" y="452"/>
                    </a:lnTo>
                    <a:lnTo>
                      <a:pt x="14" y="453"/>
                    </a:lnTo>
                    <a:lnTo>
                      <a:pt x="27" y="455"/>
                    </a:lnTo>
                    <a:lnTo>
                      <a:pt x="40" y="458"/>
                    </a:lnTo>
                    <a:lnTo>
                      <a:pt x="52" y="463"/>
                    </a:lnTo>
                    <a:lnTo>
                      <a:pt x="64" y="469"/>
                    </a:lnTo>
                    <a:lnTo>
                      <a:pt x="76" y="476"/>
                    </a:lnTo>
                    <a:lnTo>
                      <a:pt x="85" y="483"/>
                    </a:lnTo>
                    <a:lnTo>
                      <a:pt x="95" y="492"/>
                    </a:lnTo>
                    <a:lnTo>
                      <a:pt x="105" y="501"/>
                    </a:lnTo>
                    <a:lnTo>
                      <a:pt x="112" y="512"/>
                    </a:lnTo>
                    <a:lnTo>
                      <a:pt x="119" y="524"/>
                    </a:lnTo>
                    <a:lnTo>
                      <a:pt x="125" y="536"/>
                    </a:lnTo>
                    <a:lnTo>
                      <a:pt x="129" y="548"/>
                    </a:lnTo>
                    <a:lnTo>
                      <a:pt x="133" y="560"/>
                    </a:lnTo>
                    <a:lnTo>
                      <a:pt x="135" y="574"/>
                    </a:lnTo>
                    <a:lnTo>
                      <a:pt x="135" y="588"/>
                    </a:lnTo>
                    <a:lnTo>
                      <a:pt x="286" y="588"/>
                    </a:lnTo>
                    <a:lnTo>
                      <a:pt x="286" y="574"/>
                    </a:lnTo>
                    <a:lnTo>
                      <a:pt x="288" y="560"/>
                    </a:lnTo>
                    <a:lnTo>
                      <a:pt x="292" y="548"/>
                    </a:lnTo>
                    <a:lnTo>
                      <a:pt x="297" y="536"/>
                    </a:lnTo>
                    <a:lnTo>
                      <a:pt x="302" y="524"/>
                    </a:lnTo>
                    <a:lnTo>
                      <a:pt x="308" y="512"/>
                    </a:lnTo>
                    <a:lnTo>
                      <a:pt x="317" y="501"/>
                    </a:lnTo>
                    <a:lnTo>
                      <a:pt x="326" y="492"/>
                    </a:lnTo>
                    <a:lnTo>
                      <a:pt x="335" y="483"/>
                    </a:lnTo>
                    <a:lnTo>
                      <a:pt x="346" y="476"/>
                    </a:lnTo>
                    <a:lnTo>
                      <a:pt x="357" y="469"/>
                    </a:lnTo>
                    <a:lnTo>
                      <a:pt x="369" y="463"/>
                    </a:lnTo>
                    <a:lnTo>
                      <a:pt x="381" y="458"/>
                    </a:lnTo>
                    <a:lnTo>
                      <a:pt x="394" y="455"/>
                    </a:lnTo>
                    <a:lnTo>
                      <a:pt x="407" y="453"/>
                    </a:lnTo>
                    <a:lnTo>
                      <a:pt x="421" y="452"/>
                    </a:lnTo>
                    <a:lnTo>
                      <a:pt x="435" y="453"/>
                    </a:lnTo>
                    <a:lnTo>
                      <a:pt x="449" y="455"/>
                    </a:lnTo>
                    <a:lnTo>
                      <a:pt x="462" y="458"/>
                    </a:lnTo>
                    <a:lnTo>
                      <a:pt x="474" y="463"/>
                    </a:lnTo>
                    <a:lnTo>
                      <a:pt x="485" y="469"/>
                    </a:lnTo>
                    <a:lnTo>
                      <a:pt x="497" y="476"/>
                    </a:lnTo>
                    <a:lnTo>
                      <a:pt x="507" y="483"/>
                    </a:lnTo>
                    <a:lnTo>
                      <a:pt x="517" y="492"/>
                    </a:lnTo>
                    <a:lnTo>
                      <a:pt x="526" y="501"/>
                    </a:lnTo>
                    <a:lnTo>
                      <a:pt x="534" y="512"/>
                    </a:lnTo>
                    <a:lnTo>
                      <a:pt x="540" y="524"/>
                    </a:lnTo>
                    <a:lnTo>
                      <a:pt x="547" y="536"/>
                    </a:lnTo>
                    <a:lnTo>
                      <a:pt x="551" y="548"/>
                    </a:lnTo>
                    <a:lnTo>
                      <a:pt x="554" y="560"/>
                    </a:lnTo>
                    <a:lnTo>
                      <a:pt x="556" y="574"/>
                    </a:lnTo>
                    <a:lnTo>
                      <a:pt x="556" y="588"/>
                    </a:lnTo>
                    <a:lnTo>
                      <a:pt x="572" y="588"/>
                    </a:lnTo>
                    <a:lnTo>
                      <a:pt x="574" y="587"/>
                    </a:lnTo>
                    <a:lnTo>
                      <a:pt x="578" y="587"/>
                    </a:lnTo>
                    <a:lnTo>
                      <a:pt x="580" y="585"/>
                    </a:lnTo>
                    <a:lnTo>
                      <a:pt x="582" y="584"/>
                    </a:lnTo>
                    <a:lnTo>
                      <a:pt x="584" y="582"/>
                    </a:lnTo>
                    <a:lnTo>
                      <a:pt x="585" y="579"/>
                    </a:lnTo>
                    <a:lnTo>
                      <a:pt x="586" y="576"/>
                    </a:lnTo>
                    <a:lnTo>
                      <a:pt x="587" y="573"/>
                    </a:lnTo>
                    <a:lnTo>
                      <a:pt x="587" y="15"/>
                    </a:lnTo>
                    <a:lnTo>
                      <a:pt x="586" y="13"/>
                    </a:lnTo>
                    <a:lnTo>
                      <a:pt x="585" y="10"/>
                    </a:lnTo>
                    <a:lnTo>
                      <a:pt x="584" y="8"/>
                    </a:lnTo>
                    <a:lnTo>
                      <a:pt x="582" y="5"/>
                    </a:lnTo>
                    <a:lnTo>
                      <a:pt x="580" y="4"/>
                    </a:lnTo>
                    <a:lnTo>
                      <a:pt x="578" y="2"/>
                    </a:lnTo>
                    <a:lnTo>
                      <a:pt x="574" y="2"/>
                    </a:lnTo>
                    <a:lnTo>
                      <a:pt x="5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78" name="Freeform 519"/>
              <p:cNvSpPr>
                <a:spLocks noEditPoints="1"/>
              </p:cNvSpPr>
              <p:nvPr/>
            </p:nvSpPr>
            <p:spPr bwMode="auto">
              <a:xfrm>
                <a:off x="1450975" y="2606675"/>
                <a:ext cx="92075" cy="115888"/>
              </a:xfrm>
              <a:custGeom>
                <a:avLst/>
                <a:gdLst>
                  <a:gd name="T0" fmla="*/ 145 w 287"/>
                  <a:gd name="T1" fmla="*/ 121 h 362"/>
                  <a:gd name="T2" fmla="*/ 134 w 287"/>
                  <a:gd name="T3" fmla="*/ 125 h 362"/>
                  <a:gd name="T4" fmla="*/ 127 w 287"/>
                  <a:gd name="T5" fmla="*/ 133 h 362"/>
                  <a:gd name="T6" fmla="*/ 121 w 287"/>
                  <a:gd name="T7" fmla="*/ 143 h 362"/>
                  <a:gd name="T8" fmla="*/ 121 w 287"/>
                  <a:gd name="T9" fmla="*/ 225 h 362"/>
                  <a:gd name="T10" fmla="*/ 120 w 287"/>
                  <a:gd name="T11" fmla="*/ 231 h 362"/>
                  <a:gd name="T12" fmla="*/ 117 w 287"/>
                  <a:gd name="T13" fmla="*/ 236 h 362"/>
                  <a:gd name="T14" fmla="*/ 112 w 287"/>
                  <a:gd name="T15" fmla="*/ 239 h 362"/>
                  <a:gd name="T16" fmla="*/ 106 w 287"/>
                  <a:gd name="T17" fmla="*/ 240 h 362"/>
                  <a:gd name="T18" fmla="*/ 100 w 287"/>
                  <a:gd name="T19" fmla="*/ 239 h 362"/>
                  <a:gd name="T20" fmla="*/ 96 w 287"/>
                  <a:gd name="T21" fmla="*/ 236 h 362"/>
                  <a:gd name="T22" fmla="*/ 92 w 287"/>
                  <a:gd name="T23" fmla="*/ 231 h 362"/>
                  <a:gd name="T24" fmla="*/ 91 w 287"/>
                  <a:gd name="T25" fmla="*/ 225 h 362"/>
                  <a:gd name="T26" fmla="*/ 91 w 287"/>
                  <a:gd name="T27" fmla="*/ 143 h 362"/>
                  <a:gd name="T28" fmla="*/ 93 w 287"/>
                  <a:gd name="T29" fmla="*/ 132 h 362"/>
                  <a:gd name="T30" fmla="*/ 98 w 287"/>
                  <a:gd name="T31" fmla="*/ 121 h 362"/>
                  <a:gd name="T32" fmla="*/ 104 w 287"/>
                  <a:gd name="T33" fmla="*/ 111 h 362"/>
                  <a:gd name="T34" fmla="*/ 113 w 287"/>
                  <a:gd name="T35" fmla="*/ 104 h 362"/>
                  <a:gd name="T36" fmla="*/ 122 w 287"/>
                  <a:gd name="T37" fmla="*/ 97 h 362"/>
                  <a:gd name="T38" fmla="*/ 133 w 287"/>
                  <a:gd name="T39" fmla="*/ 92 h 362"/>
                  <a:gd name="T40" fmla="*/ 145 w 287"/>
                  <a:gd name="T41" fmla="*/ 90 h 362"/>
                  <a:gd name="T42" fmla="*/ 226 w 287"/>
                  <a:gd name="T43" fmla="*/ 90 h 362"/>
                  <a:gd name="T44" fmla="*/ 232 w 287"/>
                  <a:gd name="T45" fmla="*/ 91 h 362"/>
                  <a:gd name="T46" fmla="*/ 237 w 287"/>
                  <a:gd name="T47" fmla="*/ 94 h 362"/>
                  <a:gd name="T48" fmla="*/ 240 w 287"/>
                  <a:gd name="T49" fmla="*/ 98 h 362"/>
                  <a:gd name="T50" fmla="*/ 241 w 287"/>
                  <a:gd name="T51" fmla="*/ 105 h 362"/>
                  <a:gd name="T52" fmla="*/ 240 w 287"/>
                  <a:gd name="T53" fmla="*/ 110 h 362"/>
                  <a:gd name="T54" fmla="*/ 237 w 287"/>
                  <a:gd name="T55" fmla="*/ 116 h 362"/>
                  <a:gd name="T56" fmla="*/ 232 w 287"/>
                  <a:gd name="T57" fmla="*/ 119 h 362"/>
                  <a:gd name="T58" fmla="*/ 226 w 287"/>
                  <a:gd name="T59" fmla="*/ 120 h 362"/>
                  <a:gd name="T60" fmla="*/ 287 w 287"/>
                  <a:gd name="T61" fmla="*/ 304 h 362"/>
                  <a:gd name="T62" fmla="*/ 287 w 287"/>
                  <a:gd name="T63" fmla="*/ 12 h 362"/>
                  <a:gd name="T64" fmla="*/ 284 w 287"/>
                  <a:gd name="T65" fmla="*/ 6 h 362"/>
                  <a:gd name="T66" fmla="*/ 280 w 287"/>
                  <a:gd name="T67" fmla="*/ 2 h 362"/>
                  <a:gd name="T68" fmla="*/ 275 w 287"/>
                  <a:gd name="T69" fmla="*/ 0 h 362"/>
                  <a:gd name="T70" fmla="*/ 136 w 287"/>
                  <a:gd name="T71" fmla="*/ 0 h 362"/>
                  <a:gd name="T72" fmla="*/ 109 w 287"/>
                  <a:gd name="T73" fmla="*/ 2 h 362"/>
                  <a:gd name="T74" fmla="*/ 84 w 287"/>
                  <a:gd name="T75" fmla="*/ 10 h 362"/>
                  <a:gd name="T76" fmla="*/ 60 w 287"/>
                  <a:gd name="T77" fmla="*/ 22 h 362"/>
                  <a:gd name="T78" fmla="*/ 40 w 287"/>
                  <a:gd name="T79" fmla="*/ 39 h 362"/>
                  <a:gd name="T80" fmla="*/ 24 w 287"/>
                  <a:gd name="T81" fmla="*/ 59 h 362"/>
                  <a:gd name="T82" fmla="*/ 11 w 287"/>
                  <a:gd name="T83" fmla="*/ 82 h 362"/>
                  <a:gd name="T84" fmla="*/ 3 w 287"/>
                  <a:gd name="T85" fmla="*/ 108 h 362"/>
                  <a:gd name="T86" fmla="*/ 0 w 287"/>
                  <a:gd name="T87" fmla="*/ 135 h 362"/>
                  <a:gd name="T88" fmla="*/ 196 w 287"/>
                  <a:gd name="T89" fmla="*/ 361 h 362"/>
                  <a:gd name="T90" fmla="*/ 203 w 287"/>
                  <a:gd name="T91" fmla="*/ 362 h 362"/>
                  <a:gd name="T92" fmla="*/ 219 w 287"/>
                  <a:gd name="T93" fmla="*/ 342 h 362"/>
                  <a:gd name="T94" fmla="*/ 239 w 287"/>
                  <a:gd name="T95" fmla="*/ 326 h 362"/>
                  <a:gd name="T96" fmla="*/ 262 w 287"/>
                  <a:gd name="T97" fmla="*/ 312 h 362"/>
                  <a:gd name="T98" fmla="*/ 287 w 287"/>
                  <a:gd name="T99" fmla="*/ 304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7" h="362">
                    <a:moveTo>
                      <a:pt x="151" y="120"/>
                    </a:moveTo>
                    <a:lnTo>
                      <a:pt x="145" y="121"/>
                    </a:lnTo>
                    <a:lnTo>
                      <a:pt x="140" y="122"/>
                    </a:lnTo>
                    <a:lnTo>
                      <a:pt x="134" y="125"/>
                    </a:lnTo>
                    <a:lnTo>
                      <a:pt x="130" y="128"/>
                    </a:lnTo>
                    <a:lnTo>
                      <a:pt x="127" y="133"/>
                    </a:lnTo>
                    <a:lnTo>
                      <a:pt x="124" y="138"/>
                    </a:lnTo>
                    <a:lnTo>
                      <a:pt x="121" y="143"/>
                    </a:lnTo>
                    <a:lnTo>
                      <a:pt x="121" y="150"/>
                    </a:lnTo>
                    <a:lnTo>
                      <a:pt x="121" y="225"/>
                    </a:lnTo>
                    <a:lnTo>
                      <a:pt x="120" y="228"/>
                    </a:lnTo>
                    <a:lnTo>
                      <a:pt x="120" y="231"/>
                    </a:lnTo>
                    <a:lnTo>
                      <a:pt x="118" y="234"/>
                    </a:lnTo>
                    <a:lnTo>
                      <a:pt x="117" y="236"/>
                    </a:lnTo>
                    <a:lnTo>
                      <a:pt x="115" y="238"/>
                    </a:lnTo>
                    <a:lnTo>
                      <a:pt x="112" y="239"/>
                    </a:lnTo>
                    <a:lnTo>
                      <a:pt x="110" y="240"/>
                    </a:lnTo>
                    <a:lnTo>
                      <a:pt x="106" y="240"/>
                    </a:lnTo>
                    <a:lnTo>
                      <a:pt x="103" y="240"/>
                    </a:lnTo>
                    <a:lnTo>
                      <a:pt x="100" y="239"/>
                    </a:lnTo>
                    <a:lnTo>
                      <a:pt x="98" y="238"/>
                    </a:lnTo>
                    <a:lnTo>
                      <a:pt x="96" y="236"/>
                    </a:lnTo>
                    <a:lnTo>
                      <a:pt x="93" y="234"/>
                    </a:lnTo>
                    <a:lnTo>
                      <a:pt x="92" y="231"/>
                    </a:lnTo>
                    <a:lnTo>
                      <a:pt x="91" y="228"/>
                    </a:lnTo>
                    <a:lnTo>
                      <a:pt x="91" y="225"/>
                    </a:lnTo>
                    <a:lnTo>
                      <a:pt x="91" y="150"/>
                    </a:lnTo>
                    <a:lnTo>
                      <a:pt x="91" y="143"/>
                    </a:lnTo>
                    <a:lnTo>
                      <a:pt x="92" y="138"/>
                    </a:lnTo>
                    <a:lnTo>
                      <a:pt x="93" y="132"/>
                    </a:lnTo>
                    <a:lnTo>
                      <a:pt x="96" y="126"/>
                    </a:lnTo>
                    <a:lnTo>
                      <a:pt x="98" y="121"/>
                    </a:lnTo>
                    <a:lnTo>
                      <a:pt x="101" y="117"/>
                    </a:lnTo>
                    <a:lnTo>
                      <a:pt x="104" y="111"/>
                    </a:lnTo>
                    <a:lnTo>
                      <a:pt x="109" y="107"/>
                    </a:lnTo>
                    <a:lnTo>
                      <a:pt x="113" y="104"/>
                    </a:lnTo>
                    <a:lnTo>
                      <a:pt x="117" y="99"/>
                    </a:lnTo>
                    <a:lnTo>
                      <a:pt x="122" y="97"/>
                    </a:lnTo>
                    <a:lnTo>
                      <a:pt x="128" y="94"/>
                    </a:lnTo>
                    <a:lnTo>
                      <a:pt x="133" y="92"/>
                    </a:lnTo>
                    <a:lnTo>
                      <a:pt x="139" y="91"/>
                    </a:lnTo>
                    <a:lnTo>
                      <a:pt x="145" y="90"/>
                    </a:lnTo>
                    <a:lnTo>
                      <a:pt x="151" y="90"/>
                    </a:lnTo>
                    <a:lnTo>
                      <a:pt x="226" y="90"/>
                    </a:lnTo>
                    <a:lnTo>
                      <a:pt x="230" y="90"/>
                    </a:lnTo>
                    <a:lnTo>
                      <a:pt x="232" y="91"/>
                    </a:lnTo>
                    <a:lnTo>
                      <a:pt x="235" y="92"/>
                    </a:lnTo>
                    <a:lnTo>
                      <a:pt x="237" y="94"/>
                    </a:lnTo>
                    <a:lnTo>
                      <a:pt x="239" y="96"/>
                    </a:lnTo>
                    <a:lnTo>
                      <a:pt x="240" y="98"/>
                    </a:lnTo>
                    <a:lnTo>
                      <a:pt x="241" y="102"/>
                    </a:lnTo>
                    <a:lnTo>
                      <a:pt x="241" y="105"/>
                    </a:lnTo>
                    <a:lnTo>
                      <a:pt x="241" y="108"/>
                    </a:lnTo>
                    <a:lnTo>
                      <a:pt x="240" y="110"/>
                    </a:lnTo>
                    <a:lnTo>
                      <a:pt x="239" y="113"/>
                    </a:lnTo>
                    <a:lnTo>
                      <a:pt x="237" y="116"/>
                    </a:lnTo>
                    <a:lnTo>
                      <a:pt x="235" y="118"/>
                    </a:lnTo>
                    <a:lnTo>
                      <a:pt x="232" y="119"/>
                    </a:lnTo>
                    <a:lnTo>
                      <a:pt x="230" y="120"/>
                    </a:lnTo>
                    <a:lnTo>
                      <a:pt x="226" y="120"/>
                    </a:lnTo>
                    <a:lnTo>
                      <a:pt x="151" y="120"/>
                    </a:lnTo>
                    <a:close/>
                    <a:moveTo>
                      <a:pt x="287" y="304"/>
                    </a:moveTo>
                    <a:lnTo>
                      <a:pt x="287" y="15"/>
                    </a:lnTo>
                    <a:lnTo>
                      <a:pt x="287" y="12"/>
                    </a:lnTo>
                    <a:lnTo>
                      <a:pt x="285" y="8"/>
                    </a:lnTo>
                    <a:lnTo>
                      <a:pt x="284" y="6"/>
                    </a:lnTo>
                    <a:lnTo>
                      <a:pt x="282" y="4"/>
                    </a:lnTo>
                    <a:lnTo>
                      <a:pt x="280" y="2"/>
                    </a:lnTo>
                    <a:lnTo>
                      <a:pt x="278" y="1"/>
                    </a:lnTo>
                    <a:lnTo>
                      <a:pt x="275" y="0"/>
                    </a:lnTo>
                    <a:lnTo>
                      <a:pt x="272" y="0"/>
                    </a:lnTo>
                    <a:lnTo>
                      <a:pt x="136" y="0"/>
                    </a:lnTo>
                    <a:lnTo>
                      <a:pt x="122" y="0"/>
                    </a:lnTo>
                    <a:lnTo>
                      <a:pt x="109" y="2"/>
                    </a:lnTo>
                    <a:lnTo>
                      <a:pt x="96" y="5"/>
                    </a:lnTo>
                    <a:lnTo>
                      <a:pt x="84" y="10"/>
                    </a:lnTo>
                    <a:lnTo>
                      <a:pt x="72" y="16"/>
                    </a:lnTo>
                    <a:lnTo>
                      <a:pt x="60" y="22"/>
                    </a:lnTo>
                    <a:lnTo>
                      <a:pt x="50" y="31"/>
                    </a:lnTo>
                    <a:lnTo>
                      <a:pt x="40" y="39"/>
                    </a:lnTo>
                    <a:lnTo>
                      <a:pt x="31" y="49"/>
                    </a:lnTo>
                    <a:lnTo>
                      <a:pt x="24" y="59"/>
                    </a:lnTo>
                    <a:lnTo>
                      <a:pt x="17" y="71"/>
                    </a:lnTo>
                    <a:lnTo>
                      <a:pt x="11" y="82"/>
                    </a:lnTo>
                    <a:lnTo>
                      <a:pt x="7" y="94"/>
                    </a:lnTo>
                    <a:lnTo>
                      <a:pt x="3" y="108"/>
                    </a:lnTo>
                    <a:lnTo>
                      <a:pt x="1" y="121"/>
                    </a:lnTo>
                    <a:lnTo>
                      <a:pt x="0" y="135"/>
                    </a:lnTo>
                    <a:lnTo>
                      <a:pt x="0" y="361"/>
                    </a:lnTo>
                    <a:lnTo>
                      <a:pt x="196" y="361"/>
                    </a:lnTo>
                    <a:lnTo>
                      <a:pt x="200" y="361"/>
                    </a:lnTo>
                    <a:lnTo>
                      <a:pt x="203" y="362"/>
                    </a:lnTo>
                    <a:lnTo>
                      <a:pt x="210" y="352"/>
                    </a:lnTo>
                    <a:lnTo>
                      <a:pt x="219" y="342"/>
                    </a:lnTo>
                    <a:lnTo>
                      <a:pt x="229" y="333"/>
                    </a:lnTo>
                    <a:lnTo>
                      <a:pt x="239" y="326"/>
                    </a:lnTo>
                    <a:lnTo>
                      <a:pt x="250" y="318"/>
                    </a:lnTo>
                    <a:lnTo>
                      <a:pt x="262" y="312"/>
                    </a:lnTo>
                    <a:lnTo>
                      <a:pt x="274" y="308"/>
                    </a:lnTo>
                    <a:lnTo>
                      <a:pt x="287"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79" name="Freeform 520"/>
              <p:cNvSpPr>
                <a:spLocks/>
              </p:cNvSpPr>
              <p:nvPr/>
            </p:nvSpPr>
            <p:spPr bwMode="auto">
              <a:xfrm>
                <a:off x="1450975" y="2732088"/>
                <a:ext cx="60325" cy="28575"/>
              </a:xfrm>
              <a:custGeom>
                <a:avLst/>
                <a:gdLst>
                  <a:gd name="T0" fmla="*/ 0 w 189"/>
                  <a:gd name="T1" fmla="*/ 0 h 90"/>
                  <a:gd name="T2" fmla="*/ 0 w 189"/>
                  <a:gd name="T3" fmla="*/ 75 h 90"/>
                  <a:gd name="T4" fmla="*/ 1 w 189"/>
                  <a:gd name="T5" fmla="*/ 79 h 90"/>
                  <a:gd name="T6" fmla="*/ 2 w 189"/>
                  <a:gd name="T7" fmla="*/ 81 h 90"/>
                  <a:gd name="T8" fmla="*/ 3 w 189"/>
                  <a:gd name="T9" fmla="*/ 84 h 90"/>
                  <a:gd name="T10" fmla="*/ 6 w 189"/>
                  <a:gd name="T11" fmla="*/ 86 h 90"/>
                  <a:gd name="T12" fmla="*/ 8 w 189"/>
                  <a:gd name="T13" fmla="*/ 87 h 90"/>
                  <a:gd name="T14" fmla="*/ 10 w 189"/>
                  <a:gd name="T15" fmla="*/ 89 h 90"/>
                  <a:gd name="T16" fmla="*/ 13 w 189"/>
                  <a:gd name="T17" fmla="*/ 90 h 90"/>
                  <a:gd name="T18" fmla="*/ 15 w 189"/>
                  <a:gd name="T19" fmla="*/ 90 h 90"/>
                  <a:gd name="T20" fmla="*/ 189 w 189"/>
                  <a:gd name="T21" fmla="*/ 90 h 90"/>
                  <a:gd name="T22" fmla="*/ 186 w 189"/>
                  <a:gd name="T23" fmla="*/ 80 h 90"/>
                  <a:gd name="T24" fmla="*/ 184 w 189"/>
                  <a:gd name="T25" fmla="*/ 68 h 90"/>
                  <a:gd name="T26" fmla="*/ 181 w 189"/>
                  <a:gd name="T27" fmla="*/ 57 h 90"/>
                  <a:gd name="T28" fmla="*/ 181 w 189"/>
                  <a:gd name="T29" fmla="*/ 45 h 90"/>
                  <a:gd name="T30" fmla="*/ 181 w 189"/>
                  <a:gd name="T31" fmla="*/ 33 h 90"/>
                  <a:gd name="T32" fmla="*/ 184 w 189"/>
                  <a:gd name="T33" fmla="*/ 22 h 90"/>
                  <a:gd name="T34" fmla="*/ 186 w 189"/>
                  <a:gd name="T35" fmla="*/ 11 h 90"/>
                  <a:gd name="T36" fmla="*/ 189 w 189"/>
                  <a:gd name="T37" fmla="*/ 0 h 90"/>
                  <a:gd name="T38" fmla="*/ 0 w 189"/>
                  <a:gd name="T3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 h="90">
                    <a:moveTo>
                      <a:pt x="0" y="0"/>
                    </a:moveTo>
                    <a:lnTo>
                      <a:pt x="0" y="75"/>
                    </a:lnTo>
                    <a:lnTo>
                      <a:pt x="1" y="79"/>
                    </a:lnTo>
                    <a:lnTo>
                      <a:pt x="2" y="81"/>
                    </a:lnTo>
                    <a:lnTo>
                      <a:pt x="3" y="84"/>
                    </a:lnTo>
                    <a:lnTo>
                      <a:pt x="6" y="86"/>
                    </a:lnTo>
                    <a:lnTo>
                      <a:pt x="8" y="87"/>
                    </a:lnTo>
                    <a:lnTo>
                      <a:pt x="10" y="89"/>
                    </a:lnTo>
                    <a:lnTo>
                      <a:pt x="13" y="90"/>
                    </a:lnTo>
                    <a:lnTo>
                      <a:pt x="15" y="90"/>
                    </a:lnTo>
                    <a:lnTo>
                      <a:pt x="189" y="90"/>
                    </a:lnTo>
                    <a:lnTo>
                      <a:pt x="186" y="80"/>
                    </a:lnTo>
                    <a:lnTo>
                      <a:pt x="184" y="68"/>
                    </a:lnTo>
                    <a:lnTo>
                      <a:pt x="181" y="57"/>
                    </a:lnTo>
                    <a:lnTo>
                      <a:pt x="181" y="45"/>
                    </a:lnTo>
                    <a:lnTo>
                      <a:pt x="181" y="33"/>
                    </a:lnTo>
                    <a:lnTo>
                      <a:pt x="184" y="22"/>
                    </a:lnTo>
                    <a:lnTo>
                      <a:pt x="186" y="11"/>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80" name="Freeform 521"/>
              <p:cNvSpPr>
                <a:spLocks/>
              </p:cNvSpPr>
              <p:nvPr/>
            </p:nvSpPr>
            <p:spPr bwMode="auto">
              <a:xfrm>
                <a:off x="1652588" y="2711450"/>
                <a:ext cx="66675" cy="68263"/>
              </a:xfrm>
              <a:custGeom>
                <a:avLst/>
                <a:gdLst>
                  <a:gd name="T0" fmla="*/ 94 w 210"/>
                  <a:gd name="T1" fmla="*/ 1 h 211"/>
                  <a:gd name="T2" fmla="*/ 74 w 210"/>
                  <a:gd name="T3" fmla="*/ 5 h 211"/>
                  <a:gd name="T4" fmla="*/ 55 w 210"/>
                  <a:gd name="T5" fmla="*/ 13 h 211"/>
                  <a:gd name="T6" fmla="*/ 39 w 210"/>
                  <a:gd name="T7" fmla="*/ 25 h 211"/>
                  <a:gd name="T8" fmla="*/ 24 w 210"/>
                  <a:gd name="T9" fmla="*/ 39 h 211"/>
                  <a:gd name="T10" fmla="*/ 13 w 210"/>
                  <a:gd name="T11" fmla="*/ 56 h 211"/>
                  <a:gd name="T12" fmla="*/ 4 w 210"/>
                  <a:gd name="T13" fmla="*/ 75 h 211"/>
                  <a:gd name="T14" fmla="*/ 0 w 210"/>
                  <a:gd name="T15" fmla="*/ 96 h 211"/>
                  <a:gd name="T16" fmla="*/ 0 w 210"/>
                  <a:gd name="T17" fmla="*/ 117 h 211"/>
                  <a:gd name="T18" fmla="*/ 4 w 210"/>
                  <a:gd name="T19" fmla="*/ 137 h 211"/>
                  <a:gd name="T20" fmla="*/ 13 w 210"/>
                  <a:gd name="T21" fmla="*/ 156 h 211"/>
                  <a:gd name="T22" fmla="*/ 24 w 210"/>
                  <a:gd name="T23" fmla="*/ 173 h 211"/>
                  <a:gd name="T24" fmla="*/ 39 w 210"/>
                  <a:gd name="T25" fmla="*/ 187 h 211"/>
                  <a:gd name="T26" fmla="*/ 55 w 210"/>
                  <a:gd name="T27" fmla="*/ 199 h 211"/>
                  <a:gd name="T28" fmla="*/ 74 w 210"/>
                  <a:gd name="T29" fmla="*/ 207 h 211"/>
                  <a:gd name="T30" fmla="*/ 94 w 210"/>
                  <a:gd name="T31" fmla="*/ 210 h 211"/>
                  <a:gd name="T32" fmla="*/ 116 w 210"/>
                  <a:gd name="T33" fmla="*/ 210 h 211"/>
                  <a:gd name="T34" fmla="*/ 136 w 210"/>
                  <a:gd name="T35" fmla="*/ 207 h 211"/>
                  <a:gd name="T36" fmla="*/ 155 w 210"/>
                  <a:gd name="T37" fmla="*/ 199 h 211"/>
                  <a:gd name="T38" fmla="*/ 173 w 210"/>
                  <a:gd name="T39" fmla="*/ 187 h 211"/>
                  <a:gd name="T40" fmla="*/ 187 w 210"/>
                  <a:gd name="T41" fmla="*/ 173 h 211"/>
                  <a:gd name="T42" fmla="*/ 198 w 210"/>
                  <a:gd name="T43" fmla="*/ 156 h 211"/>
                  <a:gd name="T44" fmla="*/ 206 w 210"/>
                  <a:gd name="T45" fmla="*/ 137 h 211"/>
                  <a:gd name="T46" fmla="*/ 210 w 210"/>
                  <a:gd name="T47" fmla="*/ 117 h 211"/>
                  <a:gd name="T48" fmla="*/ 210 w 210"/>
                  <a:gd name="T49" fmla="*/ 96 h 211"/>
                  <a:gd name="T50" fmla="*/ 206 w 210"/>
                  <a:gd name="T51" fmla="*/ 74 h 211"/>
                  <a:gd name="T52" fmla="*/ 198 w 210"/>
                  <a:gd name="T53" fmla="*/ 56 h 211"/>
                  <a:gd name="T54" fmla="*/ 187 w 210"/>
                  <a:gd name="T55" fmla="*/ 39 h 211"/>
                  <a:gd name="T56" fmla="*/ 173 w 210"/>
                  <a:gd name="T57" fmla="*/ 25 h 211"/>
                  <a:gd name="T58" fmla="*/ 155 w 210"/>
                  <a:gd name="T59" fmla="*/ 13 h 211"/>
                  <a:gd name="T60" fmla="*/ 136 w 210"/>
                  <a:gd name="T61" fmla="*/ 5 h 211"/>
                  <a:gd name="T62" fmla="*/ 116 w 210"/>
                  <a:gd name="T63" fmla="*/ 1 h 211"/>
                  <a:gd name="T64" fmla="*/ 105 w 210"/>
                  <a:gd name="T65"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0" h="211">
                    <a:moveTo>
                      <a:pt x="105" y="0"/>
                    </a:moveTo>
                    <a:lnTo>
                      <a:pt x="94" y="1"/>
                    </a:lnTo>
                    <a:lnTo>
                      <a:pt x="84" y="2"/>
                    </a:lnTo>
                    <a:lnTo>
                      <a:pt x="74" y="5"/>
                    </a:lnTo>
                    <a:lnTo>
                      <a:pt x="64" y="9"/>
                    </a:lnTo>
                    <a:lnTo>
                      <a:pt x="55" y="13"/>
                    </a:lnTo>
                    <a:lnTo>
                      <a:pt x="46" y="18"/>
                    </a:lnTo>
                    <a:lnTo>
                      <a:pt x="39" y="25"/>
                    </a:lnTo>
                    <a:lnTo>
                      <a:pt x="31" y="31"/>
                    </a:lnTo>
                    <a:lnTo>
                      <a:pt x="24" y="39"/>
                    </a:lnTo>
                    <a:lnTo>
                      <a:pt x="18" y="47"/>
                    </a:lnTo>
                    <a:lnTo>
                      <a:pt x="13" y="56"/>
                    </a:lnTo>
                    <a:lnTo>
                      <a:pt x="9" y="64"/>
                    </a:lnTo>
                    <a:lnTo>
                      <a:pt x="4" y="75"/>
                    </a:lnTo>
                    <a:lnTo>
                      <a:pt x="2" y="85"/>
                    </a:lnTo>
                    <a:lnTo>
                      <a:pt x="0" y="96"/>
                    </a:lnTo>
                    <a:lnTo>
                      <a:pt x="0" y="106"/>
                    </a:lnTo>
                    <a:lnTo>
                      <a:pt x="0" y="117"/>
                    </a:lnTo>
                    <a:lnTo>
                      <a:pt x="2" y="127"/>
                    </a:lnTo>
                    <a:lnTo>
                      <a:pt x="4" y="137"/>
                    </a:lnTo>
                    <a:lnTo>
                      <a:pt x="9" y="147"/>
                    </a:lnTo>
                    <a:lnTo>
                      <a:pt x="13" y="156"/>
                    </a:lnTo>
                    <a:lnTo>
                      <a:pt x="18" y="165"/>
                    </a:lnTo>
                    <a:lnTo>
                      <a:pt x="24" y="173"/>
                    </a:lnTo>
                    <a:lnTo>
                      <a:pt x="31" y="180"/>
                    </a:lnTo>
                    <a:lnTo>
                      <a:pt x="39" y="187"/>
                    </a:lnTo>
                    <a:lnTo>
                      <a:pt x="46" y="193"/>
                    </a:lnTo>
                    <a:lnTo>
                      <a:pt x="55" y="199"/>
                    </a:lnTo>
                    <a:lnTo>
                      <a:pt x="64" y="203"/>
                    </a:lnTo>
                    <a:lnTo>
                      <a:pt x="74" y="207"/>
                    </a:lnTo>
                    <a:lnTo>
                      <a:pt x="84" y="209"/>
                    </a:lnTo>
                    <a:lnTo>
                      <a:pt x="94" y="210"/>
                    </a:lnTo>
                    <a:lnTo>
                      <a:pt x="105" y="211"/>
                    </a:lnTo>
                    <a:lnTo>
                      <a:pt x="116" y="210"/>
                    </a:lnTo>
                    <a:lnTo>
                      <a:pt x="127" y="209"/>
                    </a:lnTo>
                    <a:lnTo>
                      <a:pt x="136" y="207"/>
                    </a:lnTo>
                    <a:lnTo>
                      <a:pt x="146" y="203"/>
                    </a:lnTo>
                    <a:lnTo>
                      <a:pt x="155" y="199"/>
                    </a:lnTo>
                    <a:lnTo>
                      <a:pt x="164" y="193"/>
                    </a:lnTo>
                    <a:lnTo>
                      <a:pt x="173" y="187"/>
                    </a:lnTo>
                    <a:lnTo>
                      <a:pt x="180" y="180"/>
                    </a:lnTo>
                    <a:lnTo>
                      <a:pt x="187" y="173"/>
                    </a:lnTo>
                    <a:lnTo>
                      <a:pt x="193" y="165"/>
                    </a:lnTo>
                    <a:lnTo>
                      <a:pt x="198" y="156"/>
                    </a:lnTo>
                    <a:lnTo>
                      <a:pt x="203" y="147"/>
                    </a:lnTo>
                    <a:lnTo>
                      <a:pt x="206" y="137"/>
                    </a:lnTo>
                    <a:lnTo>
                      <a:pt x="208" y="127"/>
                    </a:lnTo>
                    <a:lnTo>
                      <a:pt x="210" y="117"/>
                    </a:lnTo>
                    <a:lnTo>
                      <a:pt x="210" y="106"/>
                    </a:lnTo>
                    <a:lnTo>
                      <a:pt x="210" y="96"/>
                    </a:lnTo>
                    <a:lnTo>
                      <a:pt x="208" y="85"/>
                    </a:lnTo>
                    <a:lnTo>
                      <a:pt x="206" y="74"/>
                    </a:lnTo>
                    <a:lnTo>
                      <a:pt x="203" y="64"/>
                    </a:lnTo>
                    <a:lnTo>
                      <a:pt x="198" y="56"/>
                    </a:lnTo>
                    <a:lnTo>
                      <a:pt x="193" y="47"/>
                    </a:lnTo>
                    <a:lnTo>
                      <a:pt x="187" y="39"/>
                    </a:lnTo>
                    <a:lnTo>
                      <a:pt x="180" y="31"/>
                    </a:lnTo>
                    <a:lnTo>
                      <a:pt x="173" y="25"/>
                    </a:lnTo>
                    <a:lnTo>
                      <a:pt x="164" y="18"/>
                    </a:lnTo>
                    <a:lnTo>
                      <a:pt x="155" y="13"/>
                    </a:lnTo>
                    <a:lnTo>
                      <a:pt x="146" y="9"/>
                    </a:lnTo>
                    <a:lnTo>
                      <a:pt x="136" y="5"/>
                    </a:lnTo>
                    <a:lnTo>
                      <a:pt x="127" y="2"/>
                    </a:lnTo>
                    <a:lnTo>
                      <a:pt x="116" y="1"/>
                    </a:lnTo>
                    <a:lnTo>
                      <a:pt x="105"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81" name="Freeform 522"/>
              <p:cNvSpPr>
                <a:spLocks/>
              </p:cNvSpPr>
              <p:nvPr/>
            </p:nvSpPr>
            <p:spPr bwMode="auto">
              <a:xfrm>
                <a:off x="1519238" y="2711450"/>
                <a:ext cx="66675" cy="68263"/>
              </a:xfrm>
              <a:custGeom>
                <a:avLst/>
                <a:gdLst>
                  <a:gd name="T0" fmla="*/ 95 w 211"/>
                  <a:gd name="T1" fmla="*/ 1 h 211"/>
                  <a:gd name="T2" fmla="*/ 74 w 211"/>
                  <a:gd name="T3" fmla="*/ 5 h 211"/>
                  <a:gd name="T4" fmla="*/ 55 w 211"/>
                  <a:gd name="T5" fmla="*/ 13 h 211"/>
                  <a:gd name="T6" fmla="*/ 39 w 211"/>
                  <a:gd name="T7" fmla="*/ 25 h 211"/>
                  <a:gd name="T8" fmla="*/ 24 w 211"/>
                  <a:gd name="T9" fmla="*/ 39 h 211"/>
                  <a:gd name="T10" fmla="*/ 13 w 211"/>
                  <a:gd name="T11" fmla="*/ 56 h 211"/>
                  <a:gd name="T12" fmla="*/ 5 w 211"/>
                  <a:gd name="T13" fmla="*/ 75 h 211"/>
                  <a:gd name="T14" fmla="*/ 0 w 211"/>
                  <a:gd name="T15" fmla="*/ 96 h 211"/>
                  <a:gd name="T16" fmla="*/ 0 w 211"/>
                  <a:gd name="T17" fmla="*/ 117 h 211"/>
                  <a:gd name="T18" fmla="*/ 5 w 211"/>
                  <a:gd name="T19" fmla="*/ 137 h 211"/>
                  <a:gd name="T20" fmla="*/ 13 w 211"/>
                  <a:gd name="T21" fmla="*/ 156 h 211"/>
                  <a:gd name="T22" fmla="*/ 24 w 211"/>
                  <a:gd name="T23" fmla="*/ 173 h 211"/>
                  <a:gd name="T24" fmla="*/ 39 w 211"/>
                  <a:gd name="T25" fmla="*/ 187 h 211"/>
                  <a:gd name="T26" fmla="*/ 55 w 211"/>
                  <a:gd name="T27" fmla="*/ 199 h 211"/>
                  <a:gd name="T28" fmla="*/ 74 w 211"/>
                  <a:gd name="T29" fmla="*/ 207 h 211"/>
                  <a:gd name="T30" fmla="*/ 95 w 211"/>
                  <a:gd name="T31" fmla="*/ 210 h 211"/>
                  <a:gd name="T32" fmla="*/ 116 w 211"/>
                  <a:gd name="T33" fmla="*/ 210 h 211"/>
                  <a:gd name="T34" fmla="*/ 137 w 211"/>
                  <a:gd name="T35" fmla="*/ 207 h 211"/>
                  <a:gd name="T36" fmla="*/ 156 w 211"/>
                  <a:gd name="T37" fmla="*/ 199 h 211"/>
                  <a:gd name="T38" fmla="*/ 173 w 211"/>
                  <a:gd name="T39" fmla="*/ 187 h 211"/>
                  <a:gd name="T40" fmla="*/ 187 w 211"/>
                  <a:gd name="T41" fmla="*/ 173 h 211"/>
                  <a:gd name="T42" fmla="*/ 199 w 211"/>
                  <a:gd name="T43" fmla="*/ 156 h 211"/>
                  <a:gd name="T44" fmla="*/ 206 w 211"/>
                  <a:gd name="T45" fmla="*/ 137 h 211"/>
                  <a:gd name="T46" fmla="*/ 211 w 211"/>
                  <a:gd name="T47" fmla="*/ 117 h 211"/>
                  <a:gd name="T48" fmla="*/ 211 w 211"/>
                  <a:gd name="T49" fmla="*/ 96 h 211"/>
                  <a:gd name="T50" fmla="*/ 206 w 211"/>
                  <a:gd name="T51" fmla="*/ 74 h 211"/>
                  <a:gd name="T52" fmla="*/ 199 w 211"/>
                  <a:gd name="T53" fmla="*/ 56 h 211"/>
                  <a:gd name="T54" fmla="*/ 187 w 211"/>
                  <a:gd name="T55" fmla="*/ 39 h 211"/>
                  <a:gd name="T56" fmla="*/ 173 w 211"/>
                  <a:gd name="T57" fmla="*/ 25 h 211"/>
                  <a:gd name="T58" fmla="*/ 156 w 211"/>
                  <a:gd name="T59" fmla="*/ 13 h 211"/>
                  <a:gd name="T60" fmla="*/ 137 w 211"/>
                  <a:gd name="T61" fmla="*/ 5 h 211"/>
                  <a:gd name="T62" fmla="*/ 116 w 211"/>
                  <a:gd name="T63" fmla="*/ 1 h 211"/>
                  <a:gd name="T64" fmla="*/ 106 w 211"/>
                  <a:gd name="T65"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 h="211">
                    <a:moveTo>
                      <a:pt x="106" y="0"/>
                    </a:moveTo>
                    <a:lnTo>
                      <a:pt x="95" y="1"/>
                    </a:lnTo>
                    <a:lnTo>
                      <a:pt x="84" y="2"/>
                    </a:lnTo>
                    <a:lnTo>
                      <a:pt x="74" y="5"/>
                    </a:lnTo>
                    <a:lnTo>
                      <a:pt x="65" y="9"/>
                    </a:lnTo>
                    <a:lnTo>
                      <a:pt x="55" y="13"/>
                    </a:lnTo>
                    <a:lnTo>
                      <a:pt x="47" y="18"/>
                    </a:lnTo>
                    <a:lnTo>
                      <a:pt x="39" y="25"/>
                    </a:lnTo>
                    <a:lnTo>
                      <a:pt x="32" y="31"/>
                    </a:lnTo>
                    <a:lnTo>
                      <a:pt x="24" y="39"/>
                    </a:lnTo>
                    <a:lnTo>
                      <a:pt x="19" y="47"/>
                    </a:lnTo>
                    <a:lnTo>
                      <a:pt x="13" y="56"/>
                    </a:lnTo>
                    <a:lnTo>
                      <a:pt x="9" y="64"/>
                    </a:lnTo>
                    <a:lnTo>
                      <a:pt x="5" y="75"/>
                    </a:lnTo>
                    <a:lnTo>
                      <a:pt x="3" y="85"/>
                    </a:lnTo>
                    <a:lnTo>
                      <a:pt x="0" y="96"/>
                    </a:lnTo>
                    <a:lnTo>
                      <a:pt x="0" y="106"/>
                    </a:lnTo>
                    <a:lnTo>
                      <a:pt x="0" y="117"/>
                    </a:lnTo>
                    <a:lnTo>
                      <a:pt x="3" y="127"/>
                    </a:lnTo>
                    <a:lnTo>
                      <a:pt x="5" y="137"/>
                    </a:lnTo>
                    <a:lnTo>
                      <a:pt x="9" y="147"/>
                    </a:lnTo>
                    <a:lnTo>
                      <a:pt x="13" y="156"/>
                    </a:lnTo>
                    <a:lnTo>
                      <a:pt x="19" y="165"/>
                    </a:lnTo>
                    <a:lnTo>
                      <a:pt x="24" y="173"/>
                    </a:lnTo>
                    <a:lnTo>
                      <a:pt x="32" y="180"/>
                    </a:lnTo>
                    <a:lnTo>
                      <a:pt x="39" y="187"/>
                    </a:lnTo>
                    <a:lnTo>
                      <a:pt x="47" y="193"/>
                    </a:lnTo>
                    <a:lnTo>
                      <a:pt x="55" y="199"/>
                    </a:lnTo>
                    <a:lnTo>
                      <a:pt x="65" y="203"/>
                    </a:lnTo>
                    <a:lnTo>
                      <a:pt x="74" y="207"/>
                    </a:lnTo>
                    <a:lnTo>
                      <a:pt x="84" y="209"/>
                    </a:lnTo>
                    <a:lnTo>
                      <a:pt x="95" y="210"/>
                    </a:lnTo>
                    <a:lnTo>
                      <a:pt x="106" y="211"/>
                    </a:lnTo>
                    <a:lnTo>
                      <a:pt x="116" y="210"/>
                    </a:lnTo>
                    <a:lnTo>
                      <a:pt x="127" y="209"/>
                    </a:lnTo>
                    <a:lnTo>
                      <a:pt x="137" y="207"/>
                    </a:lnTo>
                    <a:lnTo>
                      <a:pt x="146" y="203"/>
                    </a:lnTo>
                    <a:lnTo>
                      <a:pt x="156" y="199"/>
                    </a:lnTo>
                    <a:lnTo>
                      <a:pt x="165" y="193"/>
                    </a:lnTo>
                    <a:lnTo>
                      <a:pt x="173" y="187"/>
                    </a:lnTo>
                    <a:lnTo>
                      <a:pt x="181" y="180"/>
                    </a:lnTo>
                    <a:lnTo>
                      <a:pt x="187" y="173"/>
                    </a:lnTo>
                    <a:lnTo>
                      <a:pt x="194" y="165"/>
                    </a:lnTo>
                    <a:lnTo>
                      <a:pt x="199" y="156"/>
                    </a:lnTo>
                    <a:lnTo>
                      <a:pt x="203" y="147"/>
                    </a:lnTo>
                    <a:lnTo>
                      <a:pt x="206" y="137"/>
                    </a:lnTo>
                    <a:lnTo>
                      <a:pt x="209" y="127"/>
                    </a:lnTo>
                    <a:lnTo>
                      <a:pt x="211" y="117"/>
                    </a:lnTo>
                    <a:lnTo>
                      <a:pt x="211" y="106"/>
                    </a:lnTo>
                    <a:lnTo>
                      <a:pt x="211" y="96"/>
                    </a:lnTo>
                    <a:lnTo>
                      <a:pt x="209" y="85"/>
                    </a:lnTo>
                    <a:lnTo>
                      <a:pt x="206" y="74"/>
                    </a:lnTo>
                    <a:lnTo>
                      <a:pt x="203" y="64"/>
                    </a:lnTo>
                    <a:lnTo>
                      <a:pt x="199" y="56"/>
                    </a:lnTo>
                    <a:lnTo>
                      <a:pt x="194" y="47"/>
                    </a:lnTo>
                    <a:lnTo>
                      <a:pt x="187" y="39"/>
                    </a:lnTo>
                    <a:lnTo>
                      <a:pt x="181" y="31"/>
                    </a:lnTo>
                    <a:lnTo>
                      <a:pt x="173" y="25"/>
                    </a:lnTo>
                    <a:lnTo>
                      <a:pt x="165" y="18"/>
                    </a:lnTo>
                    <a:lnTo>
                      <a:pt x="156" y="13"/>
                    </a:lnTo>
                    <a:lnTo>
                      <a:pt x="146" y="9"/>
                    </a:lnTo>
                    <a:lnTo>
                      <a:pt x="137" y="5"/>
                    </a:lnTo>
                    <a:lnTo>
                      <a:pt x="127" y="2"/>
                    </a:lnTo>
                    <a:lnTo>
                      <a:pt x="116" y="1"/>
                    </a:lnTo>
                    <a:lnTo>
                      <a:pt x="106" y="0"/>
                    </a:lnTo>
                    <a:lnTo>
                      <a:pt x="10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sp>
          <p:nvSpPr>
            <p:cNvPr id="182" name="Freeform 3391"/>
            <p:cNvSpPr>
              <a:spLocks noEditPoints="1"/>
            </p:cNvSpPr>
            <p:nvPr/>
          </p:nvSpPr>
          <p:spPr bwMode="auto">
            <a:xfrm>
              <a:off x="6034219" y="4689727"/>
              <a:ext cx="571463" cy="571463"/>
            </a:xfrm>
            <a:custGeom>
              <a:avLst/>
              <a:gdLst>
                <a:gd name="T0" fmla="*/ 400 w 721"/>
                <a:gd name="T1" fmla="*/ 502 h 721"/>
                <a:gd name="T2" fmla="*/ 441 w 721"/>
                <a:gd name="T3" fmla="*/ 487 h 721"/>
                <a:gd name="T4" fmla="*/ 456 w 721"/>
                <a:gd name="T5" fmla="*/ 469 h 721"/>
                <a:gd name="T6" fmla="*/ 477 w 721"/>
                <a:gd name="T7" fmla="*/ 475 h 721"/>
                <a:gd name="T8" fmla="*/ 498 w 721"/>
                <a:gd name="T9" fmla="*/ 505 h 721"/>
                <a:gd name="T10" fmla="*/ 361 w 721"/>
                <a:gd name="T11" fmla="*/ 709 h 721"/>
                <a:gd name="T12" fmla="*/ 315 w 721"/>
                <a:gd name="T13" fmla="*/ 654 h 721"/>
                <a:gd name="T14" fmla="*/ 347 w 721"/>
                <a:gd name="T15" fmla="*/ 606 h 721"/>
                <a:gd name="T16" fmla="*/ 365 w 721"/>
                <a:gd name="T17" fmla="*/ 601 h 721"/>
                <a:gd name="T18" fmla="*/ 387 w 721"/>
                <a:gd name="T19" fmla="*/ 623 h 721"/>
                <a:gd name="T20" fmla="*/ 415 w 721"/>
                <a:gd name="T21" fmla="*/ 691 h 721"/>
                <a:gd name="T22" fmla="*/ 225 w 721"/>
                <a:gd name="T23" fmla="*/ 505 h 721"/>
                <a:gd name="T24" fmla="*/ 245 w 721"/>
                <a:gd name="T25" fmla="*/ 477 h 721"/>
                <a:gd name="T26" fmla="*/ 265 w 721"/>
                <a:gd name="T27" fmla="*/ 469 h 721"/>
                <a:gd name="T28" fmla="*/ 280 w 721"/>
                <a:gd name="T29" fmla="*/ 487 h 721"/>
                <a:gd name="T30" fmla="*/ 321 w 721"/>
                <a:gd name="T31" fmla="*/ 502 h 721"/>
                <a:gd name="T32" fmla="*/ 222 w 721"/>
                <a:gd name="T33" fmla="*/ 511 h 721"/>
                <a:gd name="T34" fmla="*/ 397 w 721"/>
                <a:gd name="T35" fmla="*/ 541 h 721"/>
                <a:gd name="T36" fmla="*/ 385 w 721"/>
                <a:gd name="T37" fmla="*/ 565 h 721"/>
                <a:gd name="T38" fmla="*/ 361 w 721"/>
                <a:gd name="T39" fmla="*/ 577 h 721"/>
                <a:gd name="T40" fmla="*/ 335 w 721"/>
                <a:gd name="T41" fmla="*/ 565 h 721"/>
                <a:gd name="T42" fmla="*/ 325 w 721"/>
                <a:gd name="T43" fmla="*/ 541 h 721"/>
                <a:gd name="T44" fmla="*/ 681 w 721"/>
                <a:gd name="T45" fmla="*/ 552 h 721"/>
                <a:gd name="T46" fmla="*/ 633 w 721"/>
                <a:gd name="T47" fmla="*/ 522 h 721"/>
                <a:gd name="T48" fmla="*/ 524 w 721"/>
                <a:gd name="T49" fmla="*/ 477 h 721"/>
                <a:gd name="T50" fmla="*/ 484 w 721"/>
                <a:gd name="T51" fmla="*/ 448 h 721"/>
                <a:gd name="T52" fmla="*/ 457 w 721"/>
                <a:gd name="T53" fmla="*/ 433 h 721"/>
                <a:gd name="T54" fmla="*/ 466 w 721"/>
                <a:gd name="T55" fmla="*/ 366 h 721"/>
                <a:gd name="T56" fmla="*/ 489 w 721"/>
                <a:gd name="T57" fmla="*/ 322 h 721"/>
                <a:gd name="T58" fmla="*/ 504 w 721"/>
                <a:gd name="T59" fmla="*/ 279 h 721"/>
                <a:gd name="T60" fmla="*/ 513 w 721"/>
                <a:gd name="T61" fmla="*/ 247 h 721"/>
                <a:gd name="T62" fmla="*/ 506 w 721"/>
                <a:gd name="T63" fmla="*/ 215 h 721"/>
                <a:gd name="T64" fmla="*/ 501 w 721"/>
                <a:gd name="T65" fmla="*/ 193 h 721"/>
                <a:gd name="T66" fmla="*/ 527 w 721"/>
                <a:gd name="T67" fmla="*/ 102 h 721"/>
                <a:gd name="T68" fmla="*/ 519 w 721"/>
                <a:gd name="T69" fmla="*/ 51 h 721"/>
                <a:gd name="T70" fmla="*/ 493 w 721"/>
                <a:gd name="T71" fmla="*/ 26 h 721"/>
                <a:gd name="T72" fmla="*/ 453 w 721"/>
                <a:gd name="T73" fmla="*/ 9 h 721"/>
                <a:gd name="T74" fmla="*/ 383 w 721"/>
                <a:gd name="T75" fmla="*/ 0 h 721"/>
                <a:gd name="T76" fmla="*/ 311 w 721"/>
                <a:gd name="T77" fmla="*/ 9 h 721"/>
                <a:gd name="T78" fmla="*/ 271 w 721"/>
                <a:gd name="T79" fmla="*/ 32 h 721"/>
                <a:gd name="T80" fmla="*/ 239 w 721"/>
                <a:gd name="T81" fmla="*/ 50 h 721"/>
                <a:gd name="T82" fmla="*/ 222 w 721"/>
                <a:gd name="T83" fmla="*/ 66 h 721"/>
                <a:gd name="T84" fmla="*/ 211 w 721"/>
                <a:gd name="T85" fmla="*/ 95 h 721"/>
                <a:gd name="T86" fmla="*/ 217 w 721"/>
                <a:gd name="T87" fmla="*/ 164 h 721"/>
                <a:gd name="T88" fmla="*/ 227 w 721"/>
                <a:gd name="T89" fmla="*/ 202 h 721"/>
                <a:gd name="T90" fmla="*/ 212 w 721"/>
                <a:gd name="T91" fmla="*/ 230 h 721"/>
                <a:gd name="T92" fmla="*/ 213 w 721"/>
                <a:gd name="T93" fmla="*/ 263 h 721"/>
                <a:gd name="T94" fmla="*/ 229 w 721"/>
                <a:gd name="T95" fmla="*/ 290 h 721"/>
                <a:gd name="T96" fmla="*/ 243 w 721"/>
                <a:gd name="T97" fmla="*/ 348 h 721"/>
                <a:gd name="T98" fmla="*/ 265 w 721"/>
                <a:gd name="T99" fmla="*/ 378 h 721"/>
                <a:gd name="T100" fmla="*/ 249 w 721"/>
                <a:gd name="T101" fmla="*/ 441 h 721"/>
                <a:gd name="T102" fmla="*/ 209 w 721"/>
                <a:gd name="T103" fmla="*/ 473 h 721"/>
                <a:gd name="T104" fmla="*/ 134 w 721"/>
                <a:gd name="T105" fmla="*/ 502 h 721"/>
                <a:gd name="T106" fmla="*/ 50 w 721"/>
                <a:gd name="T107" fmla="*/ 547 h 721"/>
                <a:gd name="T108" fmla="*/ 28 w 721"/>
                <a:gd name="T109" fmla="*/ 573 h 721"/>
                <a:gd name="T110" fmla="*/ 9 w 721"/>
                <a:gd name="T111" fmla="*/ 629 h 721"/>
                <a:gd name="T112" fmla="*/ 0 w 721"/>
                <a:gd name="T113" fmla="*/ 713 h 721"/>
                <a:gd name="T114" fmla="*/ 709 w 721"/>
                <a:gd name="T115" fmla="*/ 721 h 721"/>
                <a:gd name="T116" fmla="*/ 721 w 721"/>
                <a:gd name="T117" fmla="*/ 709 h 721"/>
                <a:gd name="T118" fmla="*/ 709 w 721"/>
                <a:gd name="T119" fmla="*/ 606 h 721"/>
                <a:gd name="T120" fmla="*/ 691 w 721"/>
                <a:gd name="T121" fmla="*/ 564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1" h="721">
                  <a:moveTo>
                    <a:pt x="415" y="510"/>
                  </a:moveTo>
                  <a:lnTo>
                    <a:pt x="415" y="510"/>
                  </a:lnTo>
                  <a:lnTo>
                    <a:pt x="415" y="510"/>
                  </a:lnTo>
                  <a:lnTo>
                    <a:pt x="400" y="502"/>
                  </a:lnTo>
                  <a:lnTo>
                    <a:pt x="414" y="498"/>
                  </a:lnTo>
                  <a:lnTo>
                    <a:pt x="428" y="493"/>
                  </a:lnTo>
                  <a:lnTo>
                    <a:pt x="434" y="491"/>
                  </a:lnTo>
                  <a:lnTo>
                    <a:pt x="441" y="487"/>
                  </a:lnTo>
                  <a:lnTo>
                    <a:pt x="447" y="482"/>
                  </a:lnTo>
                  <a:lnTo>
                    <a:pt x="453" y="477"/>
                  </a:lnTo>
                  <a:lnTo>
                    <a:pt x="456" y="473"/>
                  </a:lnTo>
                  <a:lnTo>
                    <a:pt x="456" y="469"/>
                  </a:lnTo>
                  <a:lnTo>
                    <a:pt x="456" y="459"/>
                  </a:lnTo>
                  <a:lnTo>
                    <a:pt x="464" y="462"/>
                  </a:lnTo>
                  <a:lnTo>
                    <a:pt x="470" y="469"/>
                  </a:lnTo>
                  <a:lnTo>
                    <a:pt x="477" y="475"/>
                  </a:lnTo>
                  <a:lnTo>
                    <a:pt x="483" y="482"/>
                  </a:lnTo>
                  <a:lnTo>
                    <a:pt x="489" y="489"/>
                  </a:lnTo>
                  <a:lnTo>
                    <a:pt x="495" y="497"/>
                  </a:lnTo>
                  <a:lnTo>
                    <a:pt x="498" y="505"/>
                  </a:lnTo>
                  <a:lnTo>
                    <a:pt x="501" y="511"/>
                  </a:lnTo>
                  <a:lnTo>
                    <a:pt x="522" y="574"/>
                  </a:lnTo>
                  <a:lnTo>
                    <a:pt x="415" y="510"/>
                  </a:lnTo>
                  <a:close/>
                  <a:moveTo>
                    <a:pt x="361" y="709"/>
                  </a:moveTo>
                  <a:lnTo>
                    <a:pt x="293" y="709"/>
                  </a:lnTo>
                  <a:lnTo>
                    <a:pt x="299" y="691"/>
                  </a:lnTo>
                  <a:lnTo>
                    <a:pt x="306" y="672"/>
                  </a:lnTo>
                  <a:lnTo>
                    <a:pt x="315" y="654"/>
                  </a:lnTo>
                  <a:lnTo>
                    <a:pt x="322" y="637"/>
                  </a:lnTo>
                  <a:lnTo>
                    <a:pt x="333" y="623"/>
                  </a:lnTo>
                  <a:lnTo>
                    <a:pt x="342" y="611"/>
                  </a:lnTo>
                  <a:lnTo>
                    <a:pt x="347" y="606"/>
                  </a:lnTo>
                  <a:lnTo>
                    <a:pt x="351" y="604"/>
                  </a:lnTo>
                  <a:lnTo>
                    <a:pt x="356" y="601"/>
                  </a:lnTo>
                  <a:lnTo>
                    <a:pt x="361" y="601"/>
                  </a:lnTo>
                  <a:lnTo>
                    <a:pt x="365" y="601"/>
                  </a:lnTo>
                  <a:lnTo>
                    <a:pt x="370" y="604"/>
                  </a:lnTo>
                  <a:lnTo>
                    <a:pt x="374" y="606"/>
                  </a:lnTo>
                  <a:lnTo>
                    <a:pt x="379" y="611"/>
                  </a:lnTo>
                  <a:lnTo>
                    <a:pt x="387" y="623"/>
                  </a:lnTo>
                  <a:lnTo>
                    <a:pt x="396" y="637"/>
                  </a:lnTo>
                  <a:lnTo>
                    <a:pt x="403" y="654"/>
                  </a:lnTo>
                  <a:lnTo>
                    <a:pt x="410" y="673"/>
                  </a:lnTo>
                  <a:lnTo>
                    <a:pt x="415" y="691"/>
                  </a:lnTo>
                  <a:lnTo>
                    <a:pt x="420" y="709"/>
                  </a:lnTo>
                  <a:lnTo>
                    <a:pt x="361" y="709"/>
                  </a:lnTo>
                  <a:close/>
                  <a:moveTo>
                    <a:pt x="222" y="511"/>
                  </a:moveTo>
                  <a:lnTo>
                    <a:pt x="225" y="505"/>
                  </a:lnTo>
                  <a:lnTo>
                    <a:pt x="229" y="497"/>
                  </a:lnTo>
                  <a:lnTo>
                    <a:pt x="234" y="489"/>
                  </a:lnTo>
                  <a:lnTo>
                    <a:pt x="239" y="483"/>
                  </a:lnTo>
                  <a:lnTo>
                    <a:pt x="245" y="477"/>
                  </a:lnTo>
                  <a:lnTo>
                    <a:pt x="252" y="470"/>
                  </a:lnTo>
                  <a:lnTo>
                    <a:pt x="258" y="464"/>
                  </a:lnTo>
                  <a:lnTo>
                    <a:pt x="265" y="460"/>
                  </a:lnTo>
                  <a:lnTo>
                    <a:pt x="265" y="469"/>
                  </a:lnTo>
                  <a:lnTo>
                    <a:pt x="265" y="473"/>
                  </a:lnTo>
                  <a:lnTo>
                    <a:pt x="267" y="477"/>
                  </a:lnTo>
                  <a:lnTo>
                    <a:pt x="274" y="482"/>
                  </a:lnTo>
                  <a:lnTo>
                    <a:pt x="280" y="487"/>
                  </a:lnTo>
                  <a:lnTo>
                    <a:pt x="286" y="491"/>
                  </a:lnTo>
                  <a:lnTo>
                    <a:pt x="293" y="493"/>
                  </a:lnTo>
                  <a:lnTo>
                    <a:pt x="307" y="498"/>
                  </a:lnTo>
                  <a:lnTo>
                    <a:pt x="321" y="502"/>
                  </a:lnTo>
                  <a:lnTo>
                    <a:pt x="306" y="511"/>
                  </a:lnTo>
                  <a:lnTo>
                    <a:pt x="306" y="511"/>
                  </a:lnTo>
                  <a:lnTo>
                    <a:pt x="202" y="574"/>
                  </a:lnTo>
                  <a:lnTo>
                    <a:pt x="222" y="511"/>
                  </a:lnTo>
                  <a:close/>
                  <a:moveTo>
                    <a:pt x="325" y="528"/>
                  </a:moveTo>
                  <a:lnTo>
                    <a:pt x="361" y="506"/>
                  </a:lnTo>
                  <a:lnTo>
                    <a:pt x="397" y="528"/>
                  </a:lnTo>
                  <a:lnTo>
                    <a:pt x="397" y="541"/>
                  </a:lnTo>
                  <a:lnTo>
                    <a:pt x="396" y="547"/>
                  </a:lnTo>
                  <a:lnTo>
                    <a:pt x="393" y="554"/>
                  </a:lnTo>
                  <a:lnTo>
                    <a:pt x="391" y="560"/>
                  </a:lnTo>
                  <a:lnTo>
                    <a:pt x="385" y="565"/>
                  </a:lnTo>
                  <a:lnTo>
                    <a:pt x="380" y="570"/>
                  </a:lnTo>
                  <a:lnTo>
                    <a:pt x="374" y="573"/>
                  </a:lnTo>
                  <a:lnTo>
                    <a:pt x="367" y="575"/>
                  </a:lnTo>
                  <a:lnTo>
                    <a:pt x="361" y="577"/>
                  </a:lnTo>
                  <a:lnTo>
                    <a:pt x="353" y="575"/>
                  </a:lnTo>
                  <a:lnTo>
                    <a:pt x="347" y="573"/>
                  </a:lnTo>
                  <a:lnTo>
                    <a:pt x="340" y="570"/>
                  </a:lnTo>
                  <a:lnTo>
                    <a:pt x="335" y="565"/>
                  </a:lnTo>
                  <a:lnTo>
                    <a:pt x="331" y="560"/>
                  </a:lnTo>
                  <a:lnTo>
                    <a:pt x="328" y="554"/>
                  </a:lnTo>
                  <a:lnTo>
                    <a:pt x="325" y="547"/>
                  </a:lnTo>
                  <a:lnTo>
                    <a:pt x="325" y="541"/>
                  </a:lnTo>
                  <a:lnTo>
                    <a:pt x="325" y="528"/>
                  </a:lnTo>
                  <a:close/>
                  <a:moveTo>
                    <a:pt x="691" y="564"/>
                  </a:moveTo>
                  <a:lnTo>
                    <a:pt x="686" y="557"/>
                  </a:lnTo>
                  <a:lnTo>
                    <a:pt x="681" y="552"/>
                  </a:lnTo>
                  <a:lnTo>
                    <a:pt x="674" y="547"/>
                  </a:lnTo>
                  <a:lnTo>
                    <a:pt x="668" y="541"/>
                  </a:lnTo>
                  <a:lnTo>
                    <a:pt x="651" y="531"/>
                  </a:lnTo>
                  <a:lnTo>
                    <a:pt x="633" y="522"/>
                  </a:lnTo>
                  <a:lnTo>
                    <a:pt x="591" y="502"/>
                  </a:lnTo>
                  <a:lnTo>
                    <a:pt x="545" y="484"/>
                  </a:lnTo>
                  <a:lnTo>
                    <a:pt x="534" y="480"/>
                  </a:lnTo>
                  <a:lnTo>
                    <a:pt x="524" y="477"/>
                  </a:lnTo>
                  <a:lnTo>
                    <a:pt x="514" y="473"/>
                  </a:lnTo>
                  <a:lnTo>
                    <a:pt x="504" y="469"/>
                  </a:lnTo>
                  <a:lnTo>
                    <a:pt x="495" y="457"/>
                  </a:lnTo>
                  <a:lnTo>
                    <a:pt x="484" y="448"/>
                  </a:lnTo>
                  <a:lnTo>
                    <a:pt x="473" y="441"/>
                  </a:lnTo>
                  <a:lnTo>
                    <a:pt x="462" y="434"/>
                  </a:lnTo>
                  <a:lnTo>
                    <a:pt x="460" y="433"/>
                  </a:lnTo>
                  <a:lnTo>
                    <a:pt x="457" y="433"/>
                  </a:lnTo>
                  <a:lnTo>
                    <a:pt x="456" y="433"/>
                  </a:lnTo>
                  <a:lnTo>
                    <a:pt x="456" y="378"/>
                  </a:lnTo>
                  <a:lnTo>
                    <a:pt x="461" y="373"/>
                  </a:lnTo>
                  <a:lnTo>
                    <a:pt x="466" y="366"/>
                  </a:lnTo>
                  <a:lnTo>
                    <a:pt x="473" y="358"/>
                  </a:lnTo>
                  <a:lnTo>
                    <a:pt x="479" y="348"/>
                  </a:lnTo>
                  <a:lnTo>
                    <a:pt x="484" y="337"/>
                  </a:lnTo>
                  <a:lnTo>
                    <a:pt x="489" y="322"/>
                  </a:lnTo>
                  <a:lnTo>
                    <a:pt x="492" y="308"/>
                  </a:lnTo>
                  <a:lnTo>
                    <a:pt x="495" y="290"/>
                  </a:lnTo>
                  <a:lnTo>
                    <a:pt x="500" y="285"/>
                  </a:lnTo>
                  <a:lnTo>
                    <a:pt x="504" y="279"/>
                  </a:lnTo>
                  <a:lnTo>
                    <a:pt x="507" y="271"/>
                  </a:lnTo>
                  <a:lnTo>
                    <a:pt x="510" y="262"/>
                  </a:lnTo>
                  <a:lnTo>
                    <a:pt x="511" y="254"/>
                  </a:lnTo>
                  <a:lnTo>
                    <a:pt x="513" y="247"/>
                  </a:lnTo>
                  <a:lnTo>
                    <a:pt x="513" y="238"/>
                  </a:lnTo>
                  <a:lnTo>
                    <a:pt x="511" y="230"/>
                  </a:lnTo>
                  <a:lnTo>
                    <a:pt x="510" y="222"/>
                  </a:lnTo>
                  <a:lnTo>
                    <a:pt x="506" y="215"/>
                  </a:lnTo>
                  <a:lnTo>
                    <a:pt x="502" y="208"/>
                  </a:lnTo>
                  <a:lnTo>
                    <a:pt x="497" y="202"/>
                  </a:lnTo>
                  <a:lnTo>
                    <a:pt x="498" y="198"/>
                  </a:lnTo>
                  <a:lnTo>
                    <a:pt x="501" y="193"/>
                  </a:lnTo>
                  <a:lnTo>
                    <a:pt x="510" y="167"/>
                  </a:lnTo>
                  <a:lnTo>
                    <a:pt x="520" y="135"/>
                  </a:lnTo>
                  <a:lnTo>
                    <a:pt x="524" y="118"/>
                  </a:lnTo>
                  <a:lnTo>
                    <a:pt x="527" y="102"/>
                  </a:lnTo>
                  <a:lnTo>
                    <a:pt x="527" y="85"/>
                  </a:lnTo>
                  <a:lnTo>
                    <a:pt x="525" y="68"/>
                  </a:lnTo>
                  <a:lnTo>
                    <a:pt x="523" y="59"/>
                  </a:lnTo>
                  <a:lnTo>
                    <a:pt x="519" y="51"/>
                  </a:lnTo>
                  <a:lnTo>
                    <a:pt x="514" y="44"/>
                  </a:lnTo>
                  <a:lnTo>
                    <a:pt x="509" y="37"/>
                  </a:lnTo>
                  <a:lnTo>
                    <a:pt x="501" y="31"/>
                  </a:lnTo>
                  <a:lnTo>
                    <a:pt x="493" y="26"/>
                  </a:lnTo>
                  <a:lnTo>
                    <a:pt x="484" y="21"/>
                  </a:lnTo>
                  <a:lnTo>
                    <a:pt x="475" y="16"/>
                  </a:lnTo>
                  <a:lnTo>
                    <a:pt x="465" y="12"/>
                  </a:lnTo>
                  <a:lnTo>
                    <a:pt x="453" y="9"/>
                  </a:lnTo>
                  <a:lnTo>
                    <a:pt x="442" y="7"/>
                  </a:lnTo>
                  <a:lnTo>
                    <a:pt x="430" y="4"/>
                  </a:lnTo>
                  <a:lnTo>
                    <a:pt x="407" y="0"/>
                  </a:lnTo>
                  <a:lnTo>
                    <a:pt x="383" y="0"/>
                  </a:lnTo>
                  <a:lnTo>
                    <a:pt x="365" y="0"/>
                  </a:lnTo>
                  <a:lnTo>
                    <a:pt x="347" y="1"/>
                  </a:lnTo>
                  <a:lnTo>
                    <a:pt x="329" y="5"/>
                  </a:lnTo>
                  <a:lnTo>
                    <a:pt x="311" y="9"/>
                  </a:lnTo>
                  <a:lnTo>
                    <a:pt x="295" y="16"/>
                  </a:lnTo>
                  <a:lnTo>
                    <a:pt x="281" y="23"/>
                  </a:lnTo>
                  <a:lnTo>
                    <a:pt x="276" y="27"/>
                  </a:lnTo>
                  <a:lnTo>
                    <a:pt x="271" y="32"/>
                  </a:lnTo>
                  <a:lnTo>
                    <a:pt x="266" y="37"/>
                  </a:lnTo>
                  <a:lnTo>
                    <a:pt x="263" y="44"/>
                  </a:lnTo>
                  <a:lnTo>
                    <a:pt x="251" y="46"/>
                  </a:lnTo>
                  <a:lnTo>
                    <a:pt x="239" y="50"/>
                  </a:lnTo>
                  <a:lnTo>
                    <a:pt x="234" y="53"/>
                  </a:lnTo>
                  <a:lnTo>
                    <a:pt x="230" y="57"/>
                  </a:lnTo>
                  <a:lnTo>
                    <a:pt x="225" y="60"/>
                  </a:lnTo>
                  <a:lnTo>
                    <a:pt x="222" y="66"/>
                  </a:lnTo>
                  <a:lnTo>
                    <a:pt x="217" y="72"/>
                  </a:lnTo>
                  <a:lnTo>
                    <a:pt x="215" y="78"/>
                  </a:lnTo>
                  <a:lnTo>
                    <a:pt x="212" y="87"/>
                  </a:lnTo>
                  <a:lnTo>
                    <a:pt x="211" y="95"/>
                  </a:lnTo>
                  <a:lnTo>
                    <a:pt x="209" y="112"/>
                  </a:lnTo>
                  <a:lnTo>
                    <a:pt x="211" y="130"/>
                  </a:lnTo>
                  <a:lnTo>
                    <a:pt x="213" y="148"/>
                  </a:lnTo>
                  <a:lnTo>
                    <a:pt x="217" y="164"/>
                  </a:lnTo>
                  <a:lnTo>
                    <a:pt x="221" y="181"/>
                  </a:lnTo>
                  <a:lnTo>
                    <a:pt x="225" y="194"/>
                  </a:lnTo>
                  <a:lnTo>
                    <a:pt x="226" y="198"/>
                  </a:lnTo>
                  <a:lnTo>
                    <a:pt x="227" y="202"/>
                  </a:lnTo>
                  <a:lnTo>
                    <a:pt x="222" y="207"/>
                  </a:lnTo>
                  <a:lnTo>
                    <a:pt x="217" y="215"/>
                  </a:lnTo>
                  <a:lnTo>
                    <a:pt x="215" y="221"/>
                  </a:lnTo>
                  <a:lnTo>
                    <a:pt x="212" y="230"/>
                  </a:lnTo>
                  <a:lnTo>
                    <a:pt x="211" y="238"/>
                  </a:lnTo>
                  <a:lnTo>
                    <a:pt x="211" y="247"/>
                  </a:lnTo>
                  <a:lnTo>
                    <a:pt x="212" y="254"/>
                  </a:lnTo>
                  <a:lnTo>
                    <a:pt x="213" y="263"/>
                  </a:lnTo>
                  <a:lnTo>
                    <a:pt x="216" y="272"/>
                  </a:lnTo>
                  <a:lnTo>
                    <a:pt x="220" y="280"/>
                  </a:lnTo>
                  <a:lnTo>
                    <a:pt x="224" y="285"/>
                  </a:lnTo>
                  <a:lnTo>
                    <a:pt x="229" y="290"/>
                  </a:lnTo>
                  <a:lnTo>
                    <a:pt x="230" y="307"/>
                  </a:lnTo>
                  <a:lnTo>
                    <a:pt x="234" y="322"/>
                  </a:lnTo>
                  <a:lnTo>
                    <a:pt x="238" y="337"/>
                  </a:lnTo>
                  <a:lnTo>
                    <a:pt x="243" y="348"/>
                  </a:lnTo>
                  <a:lnTo>
                    <a:pt x="249" y="358"/>
                  </a:lnTo>
                  <a:lnTo>
                    <a:pt x="254" y="366"/>
                  </a:lnTo>
                  <a:lnTo>
                    <a:pt x="260" y="373"/>
                  </a:lnTo>
                  <a:lnTo>
                    <a:pt x="265" y="378"/>
                  </a:lnTo>
                  <a:lnTo>
                    <a:pt x="265" y="433"/>
                  </a:lnTo>
                  <a:lnTo>
                    <a:pt x="262" y="433"/>
                  </a:lnTo>
                  <a:lnTo>
                    <a:pt x="261" y="434"/>
                  </a:lnTo>
                  <a:lnTo>
                    <a:pt x="249" y="441"/>
                  </a:lnTo>
                  <a:lnTo>
                    <a:pt x="239" y="448"/>
                  </a:lnTo>
                  <a:lnTo>
                    <a:pt x="229" y="457"/>
                  </a:lnTo>
                  <a:lnTo>
                    <a:pt x="220" y="469"/>
                  </a:lnTo>
                  <a:lnTo>
                    <a:pt x="209" y="473"/>
                  </a:lnTo>
                  <a:lnTo>
                    <a:pt x="200" y="477"/>
                  </a:lnTo>
                  <a:lnTo>
                    <a:pt x="190" y="480"/>
                  </a:lnTo>
                  <a:lnTo>
                    <a:pt x="181" y="484"/>
                  </a:lnTo>
                  <a:lnTo>
                    <a:pt x="134" y="502"/>
                  </a:lnTo>
                  <a:lnTo>
                    <a:pt x="91" y="522"/>
                  </a:lnTo>
                  <a:lnTo>
                    <a:pt x="73" y="531"/>
                  </a:lnTo>
                  <a:lnTo>
                    <a:pt x="57" y="541"/>
                  </a:lnTo>
                  <a:lnTo>
                    <a:pt x="50" y="547"/>
                  </a:lnTo>
                  <a:lnTo>
                    <a:pt x="44" y="552"/>
                  </a:lnTo>
                  <a:lnTo>
                    <a:pt x="39" y="557"/>
                  </a:lnTo>
                  <a:lnTo>
                    <a:pt x="34" y="564"/>
                  </a:lnTo>
                  <a:lnTo>
                    <a:pt x="28" y="573"/>
                  </a:lnTo>
                  <a:lnTo>
                    <a:pt x="23" y="583"/>
                  </a:lnTo>
                  <a:lnTo>
                    <a:pt x="19" y="595"/>
                  </a:lnTo>
                  <a:lnTo>
                    <a:pt x="16" y="606"/>
                  </a:lnTo>
                  <a:lnTo>
                    <a:pt x="9" y="629"/>
                  </a:lnTo>
                  <a:lnTo>
                    <a:pt x="5" y="653"/>
                  </a:lnTo>
                  <a:lnTo>
                    <a:pt x="1" y="691"/>
                  </a:lnTo>
                  <a:lnTo>
                    <a:pt x="0" y="709"/>
                  </a:lnTo>
                  <a:lnTo>
                    <a:pt x="0" y="713"/>
                  </a:lnTo>
                  <a:lnTo>
                    <a:pt x="4" y="717"/>
                  </a:lnTo>
                  <a:lnTo>
                    <a:pt x="8" y="719"/>
                  </a:lnTo>
                  <a:lnTo>
                    <a:pt x="12" y="721"/>
                  </a:lnTo>
                  <a:lnTo>
                    <a:pt x="709" y="721"/>
                  </a:lnTo>
                  <a:lnTo>
                    <a:pt x="714" y="719"/>
                  </a:lnTo>
                  <a:lnTo>
                    <a:pt x="718" y="717"/>
                  </a:lnTo>
                  <a:lnTo>
                    <a:pt x="721" y="713"/>
                  </a:lnTo>
                  <a:lnTo>
                    <a:pt x="721" y="709"/>
                  </a:lnTo>
                  <a:lnTo>
                    <a:pt x="721" y="691"/>
                  </a:lnTo>
                  <a:lnTo>
                    <a:pt x="718" y="653"/>
                  </a:lnTo>
                  <a:lnTo>
                    <a:pt x="714" y="629"/>
                  </a:lnTo>
                  <a:lnTo>
                    <a:pt x="709" y="606"/>
                  </a:lnTo>
                  <a:lnTo>
                    <a:pt x="705" y="595"/>
                  </a:lnTo>
                  <a:lnTo>
                    <a:pt x="701" y="583"/>
                  </a:lnTo>
                  <a:lnTo>
                    <a:pt x="696" y="573"/>
                  </a:lnTo>
                  <a:lnTo>
                    <a:pt x="691" y="564"/>
                  </a:lnTo>
                  <a:close/>
                </a:path>
              </a:pathLst>
            </a:custGeom>
            <a:solidFill>
              <a:schemeClr val="accent1"/>
            </a:solidFill>
            <a:ln>
              <a:noFill/>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p>
              <a:endParaRPr lang="en-US" sz="3600"/>
            </a:p>
          </p:txBody>
        </p:sp>
        <p:sp>
          <p:nvSpPr>
            <p:cNvPr id="183" name="Freeform 4344"/>
            <p:cNvSpPr>
              <a:spLocks/>
            </p:cNvSpPr>
            <p:nvPr/>
          </p:nvSpPr>
          <p:spPr bwMode="auto">
            <a:xfrm>
              <a:off x="5324281" y="6452855"/>
              <a:ext cx="561939" cy="561939"/>
            </a:xfrm>
            <a:custGeom>
              <a:avLst/>
              <a:gdLst>
                <a:gd name="T0" fmla="*/ 853 w 886"/>
                <a:gd name="T1" fmla="*/ 137 h 886"/>
                <a:gd name="T2" fmla="*/ 842 w 886"/>
                <a:gd name="T3" fmla="*/ 134 h 886"/>
                <a:gd name="T4" fmla="*/ 833 w 886"/>
                <a:gd name="T5" fmla="*/ 138 h 886"/>
                <a:gd name="T6" fmla="*/ 646 w 886"/>
                <a:gd name="T7" fmla="*/ 172 h 886"/>
                <a:gd name="T8" fmla="*/ 754 w 886"/>
                <a:gd name="T9" fmla="*/ 46 h 886"/>
                <a:gd name="T10" fmla="*/ 754 w 886"/>
                <a:gd name="T11" fmla="*/ 37 h 886"/>
                <a:gd name="T12" fmla="*/ 747 w 886"/>
                <a:gd name="T13" fmla="*/ 29 h 886"/>
                <a:gd name="T14" fmla="*/ 704 w 886"/>
                <a:gd name="T15" fmla="*/ 12 h 886"/>
                <a:gd name="T16" fmla="*/ 659 w 886"/>
                <a:gd name="T17" fmla="*/ 2 h 886"/>
                <a:gd name="T18" fmla="*/ 615 w 886"/>
                <a:gd name="T19" fmla="*/ 0 h 886"/>
                <a:gd name="T20" fmla="*/ 577 w 886"/>
                <a:gd name="T21" fmla="*/ 6 h 886"/>
                <a:gd name="T22" fmla="*/ 539 w 886"/>
                <a:gd name="T23" fmla="*/ 15 h 886"/>
                <a:gd name="T24" fmla="*/ 505 w 886"/>
                <a:gd name="T25" fmla="*/ 31 h 886"/>
                <a:gd name="T26" fmla="*/ 473 w 886"/>
                <a:gd name="T27" fmla="*/ 52 h 886"/>
                <a:gd name="T28" fmla="*/ 443 w 886"/>
                <a:gd name="T29" fmla="*/ 76 h 886"/>
                <a:gd name="T30" fmla="*/ 405 w 886"/>
                <a:gd name="T31" fmla="*/ 124 h 886"/>
                <a:gd name="T32" fmla="*/ 380 w 886"/>
                <a:gd name="T33" fmla="*/ 178 h 886"/>
                <a:gd name="T34" fmla="*/ 368 w 886"/>
                <a:gd name="T35" fmla="*/ 235 h 886"/>
                <a:gd name="T36" fmla="*/ 368 w 886"/>
                <a:gd name="T37" fmla="*/ 293 h 886"/>
                <a:gd name="T38" fmla="*/ 382 w 886"/>
                <a:gd name="T39" fmla="*/ 351 h 886"/>
                <a:gd name="T40" fmla="*/ 21 w 886"/>
                <a:gd name="T41" fmla="*/ 738 h 886"/>
                <a:gd name="T42" fmla="*/ 7 w 886"/>
                <a:gd name="T43" fmla="*/ 762 h 886"/>
                <a:gd name="T44" fmla="*/ 1 w 886"/>
                <a:gd name="T45" fmla="*/ 787 h 886"/>
                <a:gd name="T46" fmla="*/ 2 w 886"/>
                <a:gd name="T47" fmla="*/ 813 h 886"/>
                <a:gd name="T48" fmla="*/ 11 w 886"/>
                <a:gd name="T49" fmla="*/ 838 h 886"/>
                <a:gd name="T50" fmla="*/ 27 w 886"/>
                <a:gd name="T51" fmla="*/ 860 h 886"/>
                <a:gd name="T52" fmla="*/ 48 w 886"/>
                <a:gd name="T53" fmla="*/ 875 h 886"/>
                <a:gd name="T54" fmla="*/ 73 w 886"/>
                <a:gd name="T55" fmla="*/ 884 h 886"/>
                <a:gd name="T56" fmla="*/ 99 w 886"/>
                <a:gd name="T57" fmla="*/ 885 h 886"/>
                <a:gd name="T58" fmla="*/ 125 w 886"/>
                <a:gd name="T59" fmla="*/ 879 h 886"/>
                <a:gd name="T60" fmla="*/ 148 w 886"/>
                <a:gd name="T61" fmla="*/ 866 h 886"/>
                <a:gd name="T62" fmla="*/ 530 w 886"/>
                <a:gd name="T63" fmla="*/ 502 h 886"/>
                <a:gd name="T64" fmla="*/ 570 w 886"/>
                <a:gd name="T65" fmla="*/ 515 h 886"/>
                <a:gd name="T66" fmla="*/ 612 w 886"/>
                <a:gd name="T67" fmla="*/ 520 h 886"/>
                <a:gd name="T68" fmla="*/ 626 w 886"/>
                <a:gd name="T69" fmla="*/ 520 h 886"/>
                <a:gd name="T70" fmla="*/ 664 w 886"/>
                <a:gd name="T71" fmla="*/ 518 h 886"/>
                <a:gd name="T72" fmla="*/ 702 w 886"/>
                <a:gd name="T73" fmla="*/ 509 h 886"/>
                <a:gd name="T74" fmla="*/ 737 w 886"/>
                <a:gd name="T75" fmla="*/ 496 h 886"/>
                <a:gd name="T76" fmla="*/ 769 w 886"/>
                <a:gd name="T77" fmla="*/ 477 h 886"/>
                <a:gd name="T78" fmla="*/ 800 w 886"/>
                <a:gd name="T79" fmla="*/ 454 h 886"/>
                <a:gd name="T80" fmla="*/ 837 w 886"/>
                <a:gd name="T81" fmla="*/ 413 h 886"/>
                <a:gd name="T82" fmla="*/ 867 w 886"/>
                <a:gd name="T83" fmla="*/ 360 h 886"/>
                <a:gd name="T84" fmla="*/ 883 w 886"/>
                <a:gd name="T85" fmla="*/ 301 h 886"/>
                <a:gd name="T86" fmla="*/ 885 w 886"/>
                <a:gd name="T87" fmla="*/ 241 h 886"/>
                <a:gd name="T88" fmla="*/ 873 w 886"/>
                <a:gd name="T89" fmla="*/ 181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6" h="886">
                  <a:moveTo>
                    <a:pt x="857" y="143"/>
                  </a:moveTo>
                  <a:lnTo>
                    <a:pt x="855" y="139"/>
                  </a:lnTo>
                  <a:lnTo>
                    <a:pt x="853" y="137"/>
                  </a:lnTo>
                  <a:lnTo>
                    <a:pt x="849" y="135"/>
                  </a:lnTo>
                  <a:lnTo>
                    <a:pt x="846" y="133"/>
                  </a:lnTo>
                  <a:lnTo>
                    <a:pt x="842" y="134"/>
                  </a:lnTo>
                  <a:lnTo>
                    <a:pt x="839" y="135"/>
                  </a:lnTo>
                  <a:lnTo>
                    <a:pt x="836" y="136"/>
                  </a:lnTo>
                  <a:lnTo>
                    <a:pt x="833" y="138"/>
                  </a:lnTo>
                  <a:lnTo>
                    <a:pt x="712" y="259"/>
                  </a:lnTo>
                  <a:lnTo>
                    <a:pt x="646" y="259"/>
                  </a:lnTo>
                  <a:lnTo>
                    <a:pt x="646" y="172"/>
                  </a:lnTo>
                  <a:lnTo>
                    <a:pt x="751" y="53"/>
                  </a:lnTo>
                  <a:lnTo>
                    <a:pt x="753" y="49"/>
                  </a:lnTo>
                  <a:lnTo>
                    <a:pt x="754" y="46"/>
                  </a:lnTo>
                  <a:lnTo>
                    <a:pt x="755" y="43"/>
                  </a:lnTo>
                  <a:lnTo>
                    <a:pt x="755" y="39"/>
                  </a:lnTo>
                  <a:lnTo>
                    <a:pt x="754" y="37"/>
                  </a:lnTo>
                  <a:lnTo>
                    <a:pt x="752" y="33"/>
                  </a:lnTo>
                  <a:lnTo>
                    <a:pt x="750" y="31"/>
                  </a:lnTo>
                  <a:lnTo>
                    <a:pt x="747" y="29"/>
                  </a:lnTo>
                  <a:lnTo>
                    <a:pt x="733" y="23"/>
                  </a:lnTo>
                  <a:lnTo>
                    <a:pt x="719" y="16"/>
                  </a:lnTo>
                  <a:lnTo>
                    <a:pt x="704" y="12"/>
                  </a:lnTo>
                  <a:lnTo>
                    <a:pt x="689" y="8"/>
                  </a:lnTo>
                  <a:lnTo>
                    <a:pt x="674" y="5"/>
                  </a:lnTo>
                  <a:lnTo>
                    <a:pt x="659" y="2"/>
                  </a:lnTo>
                  <a:lnTo>
                    <a:pt x="643" y="1"/>
                  </a:lnTo>
                  <a:lnTo>
                    <a:pt x="628" y="0"/>
                  </a:lnTo>
                  <a:lnTo>
                    <a:pt x="615" y="0"/>
                  </a:lnTo>
                  <a:lnTo>
                    <a:pt x="602" y="1"/>
                  </a:lnTo>
                  <a:lnTo>
                    <a:pt x="589" y="3"/>
                  </a:lnTo>
                  <a:lnTo>
                    <a:pt x="577" y="6"/>
                  </a:lnTo>
                  <a:lnTo>
                    <a:pt x="564" y="8"/>
                  </a:lnTo>
                  <a:lnTo>
                    <a:pt x="552" y="11"/>
                  </a:lnTo>
                  <a:lnTo>
                    <a:pt x="539" y="15"/>
                  </a:lnTo>
                  <a:lnTo>
                    <a:pt x="527" y="19"/>
                  </a:lnTo>
                  <a:lnTo>
                    <a:pt x="516" y="25"/>
                  </a:lnTo>
                  <a:lnTo>
                    <a:pt x="505" y="31"/>
                  </a:lnTo>
                  <a:lnTo>
                    <a:pt x="493" y="37"/>
                  </a:lnTo>
                  <a:lnTo>
                    <a:pt x="482" y="44"/>
                  </a:lnTo>
                  <a:lnTo>
                    <a:pt x="473" y="52"/>
                  </a:lnTo>
                  <a:lnTo>
                    <a:pt x="462" y="59"/>
                  </a:lnTo>
                  <a:lnTo>
                    <a:pt x="452" y="68"/>
                  </a:lnTo>
                  <a:lnTo>
                    <a:pt x="443" y="76"/>
                  </a:lnTo>
                  <a:lnTo>
                    <a:pt x="429" y="91"/>
                  </a:lnTo>
                  <a:lnTo>
                    <a:pt x="416" y="107"/>
                  </a:lnTo>
                  <a:lnTo>
                    <a:pt x="405" y="124"/>
                  </a:lnTo>
                  <a:lnTo>
                    <a:pt x="396" y="141"/>
                  </a:lnTo>
                  <a:lnTo>
                    <a:pt x="387" y="160"/>
                  </a:lnTo>
                  <a:lnTo>
                    <a:pt x="380" y="178"/>
                  </a:lnTo>
                  <a:lnTo>
                    <a:pt x="374" y="196"/>
                  </a:lnTo>
                  <a:lnTo>
                    <a:pt x="370" y="215"/>
                  </a:lnTo>
                  <a:lnTo>
                    <a:pt x="368" y="235"/>
                  </a:lnTo>
                  <a:lnTo>
                    <a:pt x="366" y="254"/>
                  </a:lnTo>
                  <a:lnTo>
                    <a:pt x="367" y="274"/>
                  </a:lnTo>
                  <a:lnTo>
                    <a:pt x="368" y="293"/>
                  </a:lnTo>
                  <a:lnTo>
                    <a:pt x="371" y="313"/>
                  </a:lnTo>
                  <a:lnTo>
                    <a:pt x="376" y="332"/>
                  </a:lnTo>
                  <a:lnTo>
                    <a:pt x="382" y="351"/>
                  </a:lnTo>
                  <a:lnTo>
                    <a:pt x="390" y="369"/>
                  </a:lnTo>
                  <a:lnTo>
                    <a:pt x="27" y="732"/>
                  </a:lnTo>
                  <a:lnTo>
                    <a:pt x="21" y="738"/>
                  </a:lnTo>
                  <a:lnTo>
                    <a:pt x="16" y="746"/>
                  </a:lnTo>
                  <a:lnTo>
                    <a:pt x="11" y="753"/>
                  </a:lnTo>
                  <a:lnTo>
                    <a:pt x="7" y="762"/>
                  </a:lnTo>
                  <a:lnTo>
                    <a:pt x="4" y="769"/>
                  </a:lnTo>
                  <a:lnTo>
                    <a:pt x="2" y="778"/>
                  </a:lnTo>
                  <a:lnTo>
                    <a:pt x="1" y="787"/>
                  </a:lnTo>
                  <a:lnTo>
                    <a:pt x="0" y="796"/>
                  </a:lnTo>
                  <a:lnTo>
                    <a:pt x="1" y="805"/>
                  </a:lnTo>
                  <a:lnTo>
                    <a:pt x="2" y="813"/>
                  </a:lnTo>
                  <a:lnTo>
                    <a:pt x="4" y="822"/>
                  </a:lnTo>
                  <a:lnTo>
                    <a:pt x="7" y="830"/>
                  </a:lnTo>
                  <a:lnTo>
                    <a:pt x="11" y="838"/>
                  </a:lnTo>
                  <a:lnTo>
                    <a:pt x="15" y="845"/>
                  </a:lnTo>
                  <a:lnTo>
                    <a:pt x="20" y="853"/>
                  </a:lnTo>
                  <a:lnTo>
                    <a:pt x="27" y="860"/>
                  </a:lnTo>
                  <a:lnTo>
                    <a:pt x="33" y="866"/>
                  </a:lnTo>
                  <a:lnTo>
                    <a:pt x="41" y="871"/>
                  </a:lnTo>
                  <a:lnTo>
                    <a:pt x="48" y="875"/>
                  </a:lnTo>
                  <a:lnTo>
                    <a:pt x="55" y="879"/>
                  </a:lnTo>
                  <a:lnTo>
                    <a:pt x="64" y="882"/>
                  </a:lnTo>
                  <a:lnTo>
                    <a:pt x="73" y="884"/>
                  </a:lnTo>
                  <a:lnTo>
                    <a:pt x="81" y="885"/>
                  </a:lnTo>
                  <a:lnTo>
                    <a:pt x="91" y="886"/>
                  </a:lnTo>
                  <a:lnTo>
                    <a:pt x="99" y="885"/>
                  </a:lnTo>
                  <a:lnTo>
                    <a:pt x="108" y="884"/>
                  </a:lnTo>
                  <a:lnTo>
                    <a:pt x="116" y="882"/>
                  </a:lnTo>
                  <a:lnTo>
                    <a:pt x="125" y="879"/>
                  </a:lnTo>
                  <a:lnTo>
                    <a:pt x="133" y="875"/>
                  </a:lnTo>
                  <a:lnTo>
                    <a:pt x="140" y="871"/>
                  </a:lnTo>
                  <a:lnTo>
                    <a:pt x="148" y="866"/>
                  </a:lnTo>
                  <a:lnTo>
                    <a:pt x="154" y="860"/>
                  </a:lnTo>
                  <a:lnTo>
                    <a:pt x="517" y="497"/>
                  </a:lnTo>
                  <a:lnTo>
                    <a:pt x="530" y="502"/>
                  </a:lnTo>
                  <a:lnTo>
                    <a:pt x="543" y="507"/>
                  </a:lnTo>
                  <a:lnTo>
                    <a:pt x="556" y="512"/>
                  </a:lnTo>
                  <a:lnTo>
                    <a:pt x="570" y="515"/>
                  </a:lnTo>
                  <a:lnTo>
                    <a:pt x="584" y="517"/>
                  </a:lnTo>
                  <a:lnTo>
                    <a:pt x="598" y="519"/>
                  </a:lnTo>
                  <a:lnTo>
                    <a:pt x="612" y="520"/>
                  </a:lnTo>
                  <a:lnTo>
                    <a:pt x="626" y="520"/>
                  </a:lnTo>
                  <a:lnTo>
                    <a:pt x="626" y="520"/>
                  </a:lnTo>
                  <a:lnTo>
                    <a:pt x="626" y="520"/>
                  </a:lnTo>
                  <a:lnTo>
                    <a:pt x="639" y="520"/>
                  </a:lnTo>
                  <a:lnTo>
                    <a:pt x="651" y="519"/>
                  </a:lnTo>
                  <a:lnTo>
                    <a:pt x="664" y="518"/>
                  </a:lnTo>
                  <a:lnTo>
                    <a:pt x="677" y="516"/>
                  </a:lnTo>
                  <a:lnTo>
                    <a:pt x="689" y="513"/>
                  </a:lnTo>
                  <a:lnTo>
                    <a:pt x="702" y="509"/>
                  </a:lnTo>
                  <a:lnTo>
                    <a:pt x="714" y="505"/>
                  </a:lnTo>
                  <a:lnTo>
                    <a:pt x="725" y="501"/>
                  </a:lnTo>
                  <a:lnTo>
                    <a:pt x="737" y="496"/>
                  </a:lnTo>
                  <a:lnTo>
                    <a:pt x="748" y="490"/>
                  </a:lnTo>
                  <a:lnTo>
                    <a:pt x="758" y="484"/>
                  </a:lnTo>
                  <a:lnTo>
                    <a:pt x="769" y="477"/>
                  </a:lnTo>
                  <a:lnTo>
                    <a:pt x="780" y="470"/>
                  </a:lnTo>
                  <a:lnTo>
                    <a:pt x="791" y="462"/>
                  </a:lnTo>
                  <a:lnTo>
                    <a:pt x="800" y="454"/>
                  </a:lnTo>
                  <a:lnTo>
                    <a:pt x="810" y="444"/>
                  </a:lnTo>
                  <a:lnTo>
                    <a:pt x="824" y="429"/>
                  </a:lnTo>
                  <a:lnTo>
                    <a:pt x="837" y="413"/>
                  </a:lnTo>
                  <a:lnTo>
                    <a:pt x="848" y="396"/>
                  </a:lnTo>
                  <a:lnTo>
                    <a:pt x="858" y="378"/>
                  </a:lnTo>
                  <a:lnTo>
                    <a:pt x="867" y="360"/>
                  </a:lnTo>
                  <a:lnTo>
                    <a:pt x="873" y="340"/>
                  </a:lnTo>
                  <a:lnTo>
                    <a:pt x="878" y="321"/>
                  </a:lnTo>
                  <a:lnTo>
                    <a:pt x="883" y="301"/>
                  </a:lnTo>
                  <a:lnTo>
                    <a:pt x="885" y="282"/>
                  </a:lnTo>
                  <a:lnTo>
                    <a:pt x="886" y="261"/>
                  </a:lnTo>
                  <a:lnTo>
                    <a:pt x="885" y="241"/>
                  </a:lnTo>
                  <a:lnTo>
                    <a:pt x="883" y="221"/>
                  </a:lnTo>
                  <a:lnTo>
                    <a:pt x="878" y="200"/>
                  </a:lnTo>
                  <a:lnTo>
                    <a:pt x="873" y="181"/>
                  </a:lnTo>
                  <a:lnTo>
                    <a:pt x="865" y="162"/>
                  </a:lnTo>
                  <a:lnTo>
                    <a:pt x="857" y="143"/>
                  </a:lnTo>
                  <a:close/>
                </a:path>
              </a:pathLst>
            </a:custGeom>
            <a:solidFill>
              <a:schemeClr val="accent3">
                <a:lumMod val="75000"/>
              </a:schemeClr>
            </a:solidFill>
            <a:ln>
              <a:noFill/>
            </a:ln>
            <a:effectLst>
              <a:outerShdw blurRad="38100" dist="25400" dir="5400000" algn="ctr" rotWithShape="0">
                <a:srgbClr val="000000">
                  <a:alpha val="10000"/>
                </a:srgbClr>
              </a:outerShdw>
            </a:effectLst>
          </p:spPr>
          <p:txBody>
            <a:bodyPr vert="horz" wrap="square" lIns="182868" tIns="91434" rIns="182868" bIns="91434" numCol="1" anchor="t" anchorCtr="0" compatLnSpc="1">
              <a:prstTxWarp prst="textNoShape">
                <a:avLst/>
              </a:prstTxWarp>
            </a:bodyPr>
            <a:lstStyle/>
            <a:p>
              <a:endParaRPr lang="en-US" sz="3600">
                <a:solidFill>
                  <a:srgbClr val="FEA34F"/>
                </a:solidFill>
              </a:endParaRPr>
            </a:p>
          </p:txBody>
        </p:sp>
      </p:grpSp>
      <p:sp>
        <p:nvSpPr>
          <p:cNvPr id="2" name="Rectangle 1"/>
          <p:cNvSpPr/>
          <p:nvPr/>
        </p:nvSpPr>
        <p:spPr>
          <a:xfrm>
            <a:off x="1257299" y="10538033"/>
            <a:ext cx="21863051" cy="18623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84" name="TextBox 183"/>
          <p:cNvSpPr txBox="1"/>
          <p:nvPr/>
        </p:nvSpPr>
        <p:spPr>
          <a:xfrm>
            <a:off x="6884419" y="10874720"/>
            <a:ext cx="15172130" cy="1354217"/>
          </a:xfrm>
          <a:prstGeom prst="rect">
            <a:avLst/>
          </a:prstGeom>
          <a:noFill/>
        </p:spPr>
        <p:txBody>
          <a:bodyPr wrap="square" lIns="0" tIns="0" rIns="0" bIns="0" rtlCol="0">
            <a:spAutoFit/>
          </a:bodyPr>
          <a:lstStyle/>
          <a:p>
            <a:r>
              <a:rPr lang="en-US" sz="2200"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a:t>
            </a:r>
          </a:p>
        </p:txBody>
      </p:sp>
      <p:cxnSp>
        <p:nvCxnSpPr>
          <p:cNvPr id="4" name="Straight Connector 3"/>
          <p:cNvCxnSpPr/>
          <p:nvPr/>
        </p:nvCxnSpPr>
        <p:spPr>
          <a:xfrm>
            <a:off x="6513798" y="10858689"/>
            <a:ext cx="0" cy="13905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85" name="Group 184"/>
          <p:cNvGrpSpPr/>
          <p:nvPr/>
        </p:nvGrpSpPr>
        <p:grpSpPr>
          <a:xfrm>
            <a:off x="5227947" y="10858688"/>
            <a:ext cx="915234" cy="1408056"/>
            <a:chOff x="7666038" y="5922963"/>
            <a:chExt cx="185737" cy="285750"/>
          </a:xfrm>
          <a:solidFill>
            <a:schemeClr val="bg1"/>
          </a:solidFill>
          <a:effectLst>
            <a:outerShdw blurRad="38100" dist="25400" dir="5400000" algn="ctr" rotWithShape="0">
              <a:srgbClr val="000000">
                <a:alpha val="20000"/>
              </a:srgbClr>
            </a:outerShdw>
          </a:effectLst>
        </p:grpSpPr>
        <p:sp>
          <p:nvSpPr>
            <p:cNvPr id="186" name="Freeform 3584"/>
            <p:cNvSpPr>
              <a:spLocks/>
            </p:cNvSpPr>
            <p:nvPr/>
          </p:nvSpPr>
          <p:spPr bwMode="auto">
            <a:xfrm>
              <a:off x="7689850" y="5922963"/>
              <a:ext cx="95250" cy="95250"/>
            </a:xfrm>
            <a:custGeom>
              <a:avLst/>
              <a:gdLst>
                <a:gd name="T0" fmla="*/ 133 w 240"/>
                <a:gd name="T1" fmla="*/ 239 h 240"/>
                <a:gd name="T2" fmla="*/ 156 w 240"/>
                <a:gd name="T3" fmla="*/ 235 h 240"/>
                <a:gd name="T4" fmla="*/ 177 w 240"/>
                <a:gd name="T5" fmla="*/ 226 h 240"/>
                <a:gd name="T6" fmla="*/ 197 w 240"/>
                <a:gd name="T7" fmla="*/ 212 h 240"/>
                <a:gd name="T8" fmla="*/ 213 w 240"/>
                <a:gd name="T9" fmla="*/ 196 h 240"/>
                <a:gd name="T10" fmla="*/ 226 w 240"/>
                <a:gd name="T11" fmla="*/ 177 h 240"/>
                <a:gd name="T12" fmla="*/ 235 w 240"/>
                <a:gd name="T13" fmla="*/ 155 h 240"/>
                <a:gd name="T14" fmla="*/ 240 w 240"/>
                <a:gd name="T15" fmla="*/ 132 h 240"/>
                <a:gd name="T16" fmla="*/ 240 w 240"/>
                <a:gd name="T17" fmla="*/ 108 h 240"/>
                <a:gd name="T18" fmla="*/ 235 w 240"/>
                <a:gd name="T19" fmla="*/ 83 h 240"/>
                <a:gd name="T20" fmla="*/ 226 w 240"/>
                <a:gd name="T21" fmla="*/ 63 h 240"/>
                <a:gd name="T22" fmla="*/ 213 w 240"/>
                <a:gd name="T23" fmla="*/ 43 h 240"/>
                <a:gd name="T24" fmla="*/ 197 w 240"/>
                <a:gd name="T25" fmla="*/ 27 h 240"/>
                <a:gd name="T26" fmla="*/ 177 w 240"/>
                <a:gd name="T27" fmla="*/ 14 h 240"/>
                <a:gd name="T28" fmla="*/ 156 w 240"/>
                <a:gd name="T29" fmla="*/ 5 h 240"/>
                <a:gd name="T30" fmla="*/ 133 w 240"/>
                <a:gd name="T31" fmla="*/ 0 h 240"/>
                <a:gd name="T32" fmla="*/ 108 w 240"/>
                <a:gd name="T33" fmla="*/ 0 h 240"/>
                <a:gd name="T34" fmla="*/ 85 w 240"/>
                <a:gd name="T35" fmla="*/ 5 h 240"/>
                <a:gd name="T36" fmla="*/ 63 w 240"/>
                <a:gd name="T37" fmla="*/ 14 h 240"/>
                <a:gd name="T38" fmla="*/ 44 w 240"/>
                <a:gd name="T39" fmla="*/ 27 h 240"/>
                <a:gd name="T40" fmla="*/ 27 w 240"/>
                <a:gd name="T41" fmla="*/ 43 h 240"/>
                <a:gd name="T42" fmla="*/ 14 w 240"/>
                <a:gd name="T43" fmla="*/ 63 h 240"/>
                <a:gd name="T44" fmla="*/ 5 w 240"/>
                <a:gd name="T45" fmla="*/ 83 h 240"/>
                <a:gd name="T46" fmla="*/ 0 w 240"/>
                <a:gd name="T47" fmla="*/ 108 h 240"/>
                <a:gd name="T48" fmla="*/ 0 w 240"/>
                <a:gd name="T49" fmla="*/ 132 h 240"/>
                <a:gd name="T50" fmla="*/ 5 w 240"/>
                <a:gd name="T51" fmla="*/ 155 h 240"/>
                <a:gd name="T52" fmla="*/ 14 w 240"/>
                <a:gd name="T53" fmla="*/ 177 h 240"/>
                <a:gd name="T54" fmla="*/ 27 w 240"/>
                <a:gd name="T55" fmla="*/ 196 h 240"/>
                <a:gd name="T56" fmla="*/ 44 w 240"/>
                <a:gd name="T57" fmla="*/ 212 h 240"/>
                <a:gd name="T58" fmla="*/ 63 w 240"/>
                <a:gd name="T59" fmla="*/ 226 h 240"/>
                <a:gd name="T60" fmla="*/ 85 w 240"/>
                <a:gd name="T61" fmla="*/ 235 h 240"/>
                <a:gd name="T62" fmla="*/ 108 w 240"/>
                <a:gd name="T63" fmla="*/ 23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40">
                  <a:moveTo>
                    <a:pt x="121" y="240"/>
                  </a:moveTo>
                  <a:lnTo>
                    <a:pt x="133" y="239"/>
                  </a:lnTo>
                  <a:lnTo>
                    <a:pt x="144" y="237"/>
                  </a:lnTo>
                  <a:lnTo>
                    <a:pt x="156" y="235"/>
                  </a:lnTo>
                  <a:lnTo>
                    <a:pt x="167" y="230"/>
                  </a:lnTo>
                  <a:lnTo>
                    <a:pt x="177" y="226"/>
                  </a:lnTo>
                  <a:lnTo>
                    <a:pt x="188" y="219"/>
                  </a:lnTo>
                  <a:lnTo>
                    <a:pt x="197" y="212"/>
                  </a:lnTo>
                  <a:lnTo>
                    <a:pt x="206" y="204"/>
                  </a:lnTo>
                  <a:lnTo>
                    <a:pt x="213" y="196"/>
                  </a:lnTo>
                  <a:lnTo>
                    <a:pt x="220" y="187"/>
                  </a:lnTo>
                  <a:lnTo>
                    <a:pt x="226" y="177"/>
                  </a:lnTo>
                  <a:lnTo>
                    <a:pt x="231" y="167"/>
                  </a:lnTo>
                  <a:lnTo>
                    <a:pt x="235" y="155"/>
                  </a:lnTo>
                  <a:lnTo>
                    <a:pt x="238" y="144"/>
                  </a:lnTo>
                  <a:lnTo>
                    <a:pt x="240" y="132"/>
                  </a:lnTo>
                  <a:lnTo>
                    <a:pt x="240" y="119"/>
                  </a:lnTo>
                  <a:lnTo>
                    <a:pt x="240" y="108"/>
                  </a:lnTo>
                  <a:lnTo>
                    <a:pt x="238" y="95"/>
                  </a:lnTo>
                  <a:lnTo>
                    <a:pt x="235" y="83"/>
                  </a:lnTo>
                  <a:lnTo>
                    <a:pt x="231" y="73"/>
                  </a:lnTo>
                  <a:lnTo>
                    <a:pt x="226" y="63"/>
                  </a:lnTo>
                  <a:lnTo>
                    <a:pt x="220" y="52"/>
                  </a:lnTo>
                  <a:lnTo>
                    <a:pt x="213" y="43"/>
                  </a:lnTo>
                  <a:lnTo>
                    <a:pt x="206" y="34"/>
                  </a:lnTo>
                  <a:lnTo>
                    <a:pt x="197" y="27"/>
                  </a:lnTo>
                  <a:lnTo>
                    <a:pt x="188" y="20"/>
                  </a:lnTo>
                  <a:lnTo>
                    <a:pt x="177" y="14"/>
                  </a:lnTo>
                  <a:lnTo>
                    <a:pt x="167" y="9"/>
                  </a:lnTo>
                  <a:lnTo>
                    <a:pt x="156" y="5"/>
                  </a:lnTo>
                  <a:lnTo>
                    <a:pt x="144" y="2"/>
                  </a:lnTo>
                  <a:lnTo>
                    <a:pt x="133" y="0"/>
                  </a:lnTo>
                  <a:lnTo>
                    <a:pt x="121" y="0"/>
                  </a:lnTo>
                  <a:lnTo>
                    <a:pt x="108" y="0"/>
                  </a:lnTo>
                  <a:lnTo>
                    <a:pt x="97" y="2"/>
                  </a:lnTo>
                  <a:lnTo>
                    <a:pt x="85" y="5"/>
                  </a:lnTo>
                  <a:lnTo>
                    <a:pt x="73" y="9"/>
                  </a:lnTo>
                  <a:lnTo>
                    <a:pt x="63" y="14"/>
                  </a:lnTo>
                  <a:lnTo>
                    <a:pt x="53" y="20"/>
                  </a:lnTo>
                  <a:lnTo>
                    <a:pt x="44" y="27"/>
                  </a:lnTo>
                  <a:lnTo>
                    <a:pt x="35" y="34"/>
                  </a:lnTo>
                  <a:lnTo>
                    <a:pt x="27" y="43"/>
                  </a:lnTo>
                  <a:lnTo>
                    <a:pt x="21" y="52"/>
                  </a:lnTo>
                  <a:lnTo>
                    <a:pt x="14" y="63"/>
                  </a:lnTo>
                  <a:lnTo>
                    <a:pt x="9" y="73"/>
                  </a:lnTo>
                  <a:lnTo>
                    <a:pt x="5" y="83"/>
                  </a:lnTo>
                  <a:lnTo>
                    <a:pt x="3" y="95"/>
                  </a:lnTo>
                  <a:lnTo>
                    <a:pt x="0" y="108"/>
                  </a:lnTo>
                  <a:lnTo>
                    <a:pt x="0" y="119"/>
                  </a:lnTo>
                  <a:lnTo>
                    <a:pt x="0" y="132"/>
                  </a:lnTo>
                  <a:lnTo>
                    <a:pt x="3" y="144"/>
                  </a:lnTo>
                  <a:lnTo>
                    <a:pt x="5" y="155"/>
                  </a:lnTo>
                  <a:lnTo>
                    <a:pt x="9" y="167"/>
                  </a:lnTo>
                  <a:lnTo>
                    <a:pt x="14" y="177"/>
                  </a:lnTo>
                  <a:lnTo>
                    <a:pt x="21" y="187"/>
                  </a:lnTo>
                  <a:lnTo>
                    <a:pt x="27" y="196"/>
                  </a:lnTo>
                  <a:lnTo>
                    <a:pt x="35" y="204"/>
                  </a:lnTo>
                  <a:lnTo>
                    <a:pt x="44" y="212"/>
                  </a:lnTo>
                  <a:lnTo>
                    <a:pt x="53" y="219"/>
                  </a:lnTo>
                  <a:lnTo>
                    <a:pt x="63" y="226"/>
                  </a:lnTo>
                  <a:lnTo>
                    <a:pt x="73" y="230"/>
                  </a:lnTo>
                  <a:lnTo>
                    <a:pt x="85" y="235"/>
                  </a:lnTo>
                  <a:lnTo>
                    <a:pt x="97" y="237"/>
                  </a:lnTo>
                  <a:lnTo>
                    <a:pt x="108" y="239"/>
                  </a:lnTo>
                  <a:lnTo>
                    <a:pt x="121"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87" name="Freeform 3585"/>
            <p:cNvSpPr>
              <a:spLocks/>
            </p:cNvSpPr>
            <p:nvPr/>
          </p:nvSpPr>
          <p:spPr bwMode="auto">
            <a:xfrm>
              <a:off x="7666038" y="6027738"/>
              <a:ext cx="142875" cy="180975"/>
            </a:xfrm>
            <a:custGeom>
              <a:avLst/>
              <a:gdLst>
                <a:gd name="T0" fmla="*/ 361 w 361"/>
                <a:gd name="T1" fmla="*/ 0 h 456"/>
                <a:gd name="T2" fmla="*/ 200 w 361"/>
                <a:gd name="T3" fmla="*/ 0 h 456"/>
                <a:gd name="T4" fmla="*/ 216 w 361"/>
                <a:gd name="T5" fmla="*/ 202 h 456"/>
                <a:gd name="T6" fmla="*/ 214 w 361"/>
                <a:gd name="T7" fmla="*/ 204 h 456"/>
                <a:gd name="T8" fmla="*/ 213 w 361"/>
                <a:gd name="T9" fmla="*/ 206 h 456"/>
                <a:gd name="T10" fmla="*/ 184 w 361"/>
                <a:gd name="T11" fmla="*/ 237 h 456"/>
                <a:gd name="T12" fmla="*/ 181 w 361"/>
                <a:gd name="T13" fmla="*/ 238 h 456"/>
                <a:gd name="T14" fmla="*/ 178 w 361"/>
                <a:gd name="T15" fmla="*/ 238 h 456"/>
                <a:gd name="T16" fmla="*/ 177 w 361"/>
                <a:gd name="T17" fmla="*/ 238 h 456"/>
                <a:gd name="T18" fmla="*/ 175 w 361"/>
                <a:gd name="T19" fmla="*/ 237 h 456"/>
                <a:gd name="T20" fmla="*/ 144 w 361"/>
                <a:gd name="T21" fmla="*/ 206 h 456"/>
                <a:gd name="T22" fmla="*/ 142 w 361"/>
                <a:gd name="T23" fmla="*/ 204 h 456"/>
                <a:gd name="T24" fmla="*/ 142 w 361"/>
                <a:gd name="T25" fmla="*/ 202 h 456"/>
                <a:gd name="T26" fmla="*/ 158 w 361"/>
                <a:gd name="T27" fmla="*/ 0 h 456"/>
                <a:gd name="T28" fmla="*/ 0 w 361"/>
                <a:gd name="T29" fmla="*/ 0 h 456"/>
                <a:gd name="T30" fmla="*/ 0 w 361"/>
                <a:gd name="T31" fmla="*/ 12 h 456"/>
                <a:gd name="T32" fmla="*/ 1 w 361"/>
                <a:gd name="T33" fmla="*/ 36 h 456"/>
                <a:gd name="T34" fmla="*/ 2 w 361"/>
                <a:gd name="T35" fmla="*/ 59 h 456"/>
                <a:gd name="T36" fmla="*/ 6 w 361"/>
                <a:gd name="T37" fmla="*/ 81 h 456"/>
                <a:gd name="T38" fmla="*/ 10 w 361"/>
                <a:gd name="T39" fmla="*/ 102 h 456"/>
                <a:gd name="T40" fmla="*/ 15 w 361"/>
                <a:gd name="T41" fmla="*/ 121 h 456"/>
                <a:gd name="T42" fmla="*/ 20 w 361"/>
                <a:gd name="T43" fmla="*/ 139 h 456"/>
                <a:gd name="T44" fmla="*/ 28 w 361"/>
                <a:gd name="T45" fmla="*/ 157 h 456"/>
                <a:gd name="T46" fmla="*/ 35 w 361"/>
                <a:gd name="T47" fmla="*/ 172 h 456"/>
                <a:gd name="T48" fmla="*/ 44 w 361"/>
                <a:gd name="T49" fmla="*/ 188 h 456"/>
                <a:gd name="T50" fmla="*/ 51 w 361"/>
                <a:gd name="T51" fmla="*/ 201 h 456"/>
                <a:gd name="T52" fmla="*/ 60 w 361"/>
                <a:gd name="T53" fmla="*/ 213 h 456"/>
                <a:gd name="T54" fmla="*/ 69 w 361"/>
                <a:gd name="T55" fmla="*/ 225 h 456"/>
                <a:gd name="T56" fmla="*/ 80 w 361"/>
                <a:gd name="T57" fmla="*/ 235 h 456"/>
                <a:gd name="T58" fmla="*/ 89 w 361"/>
                <a:gd name="T59" fmla="*/ 244 h 456"/>
                <a:gd name="T60" fmla="*/ 99 w 361"/>
                <a:gd name="T61" fmla="*/ 252 h 456"/>
                <a:gd name="T62" fmla="*/ 108 w 361"/>
                <a:gd name="T63" fmla="*/ 258 h 456"/>
                <a:gd name="T64" fmla="*/ 108 w 361"/>
                <a:gd name="T65" fmla="*/ 456 h 456"/>
                <a:gd name="T66" fmla="*/ 253 w 361"/>
                <a:gd name="T67" fmla="*/ 456 h 456"/>
                <a:gd name="T68" fmla="*/ 253 w 361"/>
                <a:gd name="T69" fmla="*/ 258 h 456"/>
                <a:gd name="T70" fmla="*/ 262 w 361"/>
                <a:gd name="T71" fmla="*/ 252 h 456"/>
                <a:gd name="T72" fmla="*/ 272 w 361"/>
                <a:gd name="T73" fmla="*/ 244 h 456"/>
                <a:gd name="T74" fmla="*/ 281 w 361"/>
                <a:gd name="T75" fmla="*/ 235 h 456"/>
                <a:gd name="T76" fmla="*/ 291 w 361"/>
                <a:gd name="T77" fmla="*/ 225 h 456"/>
                <a:gd name="T78" fmla="*/ 300 w 361"/>
                <a:gd name="T79" fmla="*/ 213 h 456"/>
                <a:gd name="T80" fmla="*/ 309 w 361"/>
                <a:gd name="T81" fmla="*/ 201 h 456"/>
                <a:gd name="T82" fmla="*/ 318 w 361"/>
                <a:gd name="T83" fmla="*/ 188 h 456"/>
                <a:gd name="T84" fmla="*/ 326 w 361"/>
                <a:gd name="T85" fmla="*/ 172 h 456"/>
                <a:gd name="T86" fmla="*/ 334 w 361"/>
                <a:gd name="T87" fmla="*/ 157 h 456"/>
                <a:gd name="T88" fmla="*/ 340 w 361"/>
                <a:gd name="T89" fmla="*/ 139 h 456"/>
                <a:gd name="T90" fmla="*/ 345 w 361"/>
                <a:gd name="T91" fmla="*/ 121 h 456"/>
                <a:gd name="T92" fmla="*/ 351 w 361"/>
                <a:gd name="T93" fmla="*/ 102 h 456"/>
                <a:gd name="T94" fmla="*/ 356 w 361"/>
                <a:gd name="T95" fmla="*/ 81 h 456"/>
                <a:gd name="T96" fmla="*/ 358 w 361"/>
                <a:gd name="T97" fmla="*/ 59 h 456"/>
                <a:gd name="T98" fmla="*/ 359 w 361"/>
                <a:gd name="T99" fmla="*/ 36 h 456"/>
                <a:gd name="T100" fmla="*/ 361 w 361"/>
                <a:gd name="T101" fmla="*/ 12 h 456"/>
                <a:gd name="T102" fmla="*/ 361 w 361"/>
                <a:gd name="T103"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1" h="456">
                  <a:moveTo>
                    <a:pt x="361" y="0"/>
                  </a:moveTo>
                  <a:lnTo>
                    <a:pt x="200" y="0"/>
                  </a:lnTo>
                  <a:lnTo>
                    <a:pt x="216" y="202"/>
                  </a:lnTo>
                  <a:lnTo>
                    <a:pt x="214" y="204"/>
                  </a:lnTo>
                  <a:lnTo>
                    <a:pt x="213" y="206"/>
                  </a:lnTo>
                  <a:lnTo>
                    <a:pt x="184" y="237"/>
                  </a:lnTo>
                  <a:lnTo>
                    <a:pt x="181" y="238"/>
                  </a:lnTo>
                  <a:lnTo>
                    <a:pt x="178" y="238"/>
                  </a:lnTo>
                  <a:lnTo>
                    <a:pt x="177" y="238"/>
                  </a:lnTo>
                  <a:lnTo>
                    <a:pt x="175" y="237"/>
                  </a:lnTo>
                  <a:lnTo>
                    <a:pt x="144" y="206"/>
                  </a:lnTo>
                  <a:lnTo>
                    <a:pt x="142" y="204"/>
                  </a:lnTo>
                  <a:lnTo>
                    <a:pt x="142" y="202"/>
                  </a:lnTo>
                  <a:lnTo>
                    <a:pt x="158" y="0"/>
                  </a:lnTo>
                  <a:lnTo>
                    <a:pt x="0" y="0"/>
                  </a:lnTo>
                  <a:lnTo>
                    <a:pt x="0" y="12"/>
                  </a:lnTo>
                  <a:lnTo>
                    <a:pt x="1" y="36"/>
                  </a:lnTo>
                  <a:lnTo>
                    <a:pt x="2" y="59"/>
                  </a:lnTo>
                  <a:lnTo>
                    <a:pt x="6" y="81"/>
                  </a:lnTo>
                  <a:lnTo>
                    <a:pt x="10" y="102"/>
                  </a:lnTo>
                  <a:lnTo>
                    <a:pt x="15" y="121"/>
                  </a:lnTo>
                  <a:lnTo>
                    <a:pt x="20" y="139"/>
                  </a:lnTo>
                  <a:lnTo>
                    <a:pt x="28" y="157"/>
                  </a:lnTo>
                  <a:lnTo>
                    <a:pt x="35" y="172"/>
                  </a:lnTo>
                  <a:lnTo>
                    <a:pt x="44" y="188"/>
                  </a:lnTo>
                  <a:lnTo>
                    <a:pt x="51" y="201"/>
                  </a:lnTo>
                  <a:lnTo>
                    <a:pt x="60" y="213"/>
                  </a:lnTo>
                  <a:lnTo>
                    <a:pt x="69" y="225"/>
                  </a:lnTo>
                  <a:lnTo>
                    <a:pt x="80" y="235"/>
                  </a:lnTo>
                  <a:lnTo>
                    <a:pt x="89" y="244"/>
                  </a:lnTo>
                  <a:lnTo>
                    <a:pt x="99" y="252"/>
                  </a:lnTo>
                  <a:lnTo>
                    <a:pt x="108" y="258"/>
                  </a:lnTo>
                  <a:lnTo>
                    <a:pt x="108" y="456"/>
                  </a:lnTo>
                  <a:lnTo>
                    <a:pt x="253" y="456"/>
                  </a:lnTo>
                  <a:lnTo>
                    <a:pt x="253" y="258"/>
                  </a:lnTo>
                  <a:lnTo>
                    <a:pt x="262" y="252"/>
                  </a:lnTo>
                  <a:lnTo>
                    <a:pt x="272" y="244"/>
                  </a:lnTo>
                  <a:lnTo>
                    <a:pt x="281" y="235"/>
                  </a:lnTo>
                  <a:lnTo>
                    <a:pt x="291" y="225"/>
                  </a:lnTo>
                  <a:lnTo>
                    <a:pt x="300" y="213"/>
                  </a:lnTo>
                  <a:lnTo>
                    <a:pt x="309" y="201"/>
                  </a:lnTo>
                  <a:lnTo>
                    <a:pt x="318" y="188"/>
                  </a:lnTo>
                  <a:lnTo>
                    <a:pt x="326" y="172"/>
                  </a:lnTo>
                  <a:lnTo>
                    <a:pt x="334" y="157"/>
                  </a:lnTo>
                  <a:lnTo>
                    <a:pt x="340" y="139"/>
                  </a:lnTo>
                  <a:lnTo>
                    <a:pt x="345" y="121"/>
                  </a:lnTo>
                  <a:lnTo>
                    <a:pt x="351" y="102"/>
                  </a:lnTo>
                  <a:lnTo>
                    <a:pt x="356" y="81"/>
                  </a:lnTo>
                  <a:lnTo>
                    <a:pt x="358" y="59"/>
                  </a:lnTo>
                  <a:lnTo>
                    <a:pt x="359" y="36"/>
                  </a:lnTo>
                  <a:lnTo>
                    <a:pt x="361" y="12"/>
                  </a:lnTo>
                  <a:lnTo>
                    <a:pt x="3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88" name="Freeform 3586"/>
            <p:cNvSpPr>
              <a:spLocks/>
            </p:cNvSpPr>
            <p:nvPr/>
          </p:nvSpPr>
          <p:spPr bwMode="auto">
            <a:xfrm>
              <a:off x="7804150" y="6103938"/>
              <a:ext cx="47625" cy="104775"/>
            </a:xfrm>
            <a:custGeom>
              <a:avLst/>
              <a:gdLst>
                <a:gd name="T0" fmla="*/ 72 w 120"/>
                <a:gd name="T1" fmla="*/ 24 h 264"/>
                <a:gd name="T2" fmla="*/ 72 w 120"/>
                <a:gd name="T3" fmla="*/ 0 h 264"/>
                <a:gd name="T4" fmla="*/ 48 w 120"/>
                <a:gd name="T5" fmla="*/ 0 h 264"/>
                <a:gd name="T6" fmla="*/ 48 w 120"/>
                <a:gd name="T7" fmla="*/ 24 h 264"/>
                <a:gd name="T8" fmla="*/ 0 w 120"/>
                <a:gd name="T9" fmla="*/ 24 h 264"/>
                <a:gd name="T10" fmla="*/ 0 w 120"/>
                <a:gd name="T11" fmla="*/ 264 h 264"/>
                <a:gd name="T12" fmla="*/ 120 w 120"/>
                <a:gd name="T13" fmla="*/ 264 h 264"/>
                <a:gd name="T14" fmla="*/ 120 w 120"/>
                <a:gd name="T15" fmla="*/ 24 h 264"/>
                <a:gd name="T16" fmla="*/ 72 w 120"/>
                <a:gd name="T17" fmla="*/ 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64">
                  <a:moveTo>
                    <a:pt x="72" y="24"/>
                  </a:moveTo>
                  <a:lnTo>
                    <a:pt x="72" y="0"/>
                  </a:lnTo>
                  <a:lnTo>
                    <a:pt x="48" y="0"/>
                  </a:lnTo>
                  <a:lnTo>
                    <a:pt x="48" y="24"/>
                  </a:lnTo>
                  <a:lnTo>
                    <a:pt x="0" y="24"/>
                  </a:lnTo>
                  <a:lnTo>
                    <a:pt x="0" y="264"/>
                  </a:lnTo>
                  <a:lnTo>
                    <a:pt x="120" y="264"/>
                  </a:lnTo>
                  <a:lnTo>
                    <a:pt x="120" y="24"/>
                  </a:lnTo>
                  <a:lnTo>
                    <a:pt x="7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sp>
        <p:nvSpPr>
          <p:cNvPr id="189" name="TextBox 188"/>
          <p:cNvSpPr txBox="1"/>
          <p:nvPr/>
        </p:nvSpPr>
        <p:spPr>
          <a:xfrm>
            <a:off x="2325865" y="10692249"/>
            <a:ext cx="2863160" cy="1477328"/>
          </a:xfrm>
          <a:prstGeom prst="rect">
            <a:avLst/>
          </a:prstGeom>
          <a:noFill/>
          <a:ln w="6350">
            <a:noFill/>
            <a:prstDash val="dash"/>
          </a:ln>
        </p:spPr>
        <p:txBody>
          <a:bodyPr wrap="square" lIns="0" tIns="0" rIns="0" bIns="0" rtlCol="0">
            <a:spAutoFit/>
          </a:bodyPr>
          <a:lstStyle/>
          <a:p>
            <a:r>
              <a:rPr lang="en-US" sz="4800" dirty="0"/>
              <a:t>Lorem ipsum</a:t>
            </a:r>
          </a:p>
        </p:txBody>
      </p:sp>
      <p:sp>
        <p:nvSpPr>
          <p:cNvPr id="3" name="Title 2">
            <a:extLst>
              <a:ext uri="{FF2B5EF4-FFF2-40B4-BE49-F238E27FC236}">
                <a16:creationId xmlns:a16="http://schemas.microsoft.com/office/drawing/2014/main" id="{80CF61E0-01C4-E745-8C70-489BFF7C5D50}"/>
              </a:ext>
            </a:extLst>
          </p:cNvPr>
          <p:cNvSpPr>
            <a:spLocks noGrp="1"/>
          </p:cNvSpPr>
          <p:nvPr>
            <p:ph type="title"/>
          </p:nvPr>
        </p:nvSpPr>
        <p:spPr/>
        <p:txBody>
          <a:bodyPr/>
          <a:lstStyle/>
          <a:p>
            <a:r>
              <a:rPr lang="en-US" dirty="0"/>
              <a:t>Diagram</a:t>
            </a:r>
          </a:p>
        </p:txBody>
      </p:sp>
    </p:spTree>
    <p:extLst>
      <p:ext uri="{BB962C8B-B14F-4D97-AF65-F5344CB8AC3E}">
        <p14:creationId xmlns:p14="http://schemas.microsoft.com/office/powerpoint/2010/main" val="123979310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Oval 94"/>
          <p:cNvSpPr>
            <a:spLocks noChangeArrowheads="1"/>
          </p:cNvSpPr>
          <p:nvPr/>
        </p:nvSpPr>
        <p:spPr bwMode="auto">
          <a:xfrm>
            <a:off x="8961966" y="4262887"/>
            <a:ext cx="6642284" cy="6642284"/>
          </a:xfrm>
          <a:prstGeom prst="ellipse">
            <a:avLst/>
          </a:prstGeom>
          <a:noFill/>
          <a:ln w="6350" cap="flat">
            <a:solidFill>
              <a:schemeClr val="tx1">
                <a:lumMod val="65000"/>
                <a:lumOff val="35000"/>
              </a:schemeClr>
            </a:solidFill>
            <a:prstDash val="dash"/>
            <a:miter lim="800000"/>
            <a:headEnd/>
            <a:tailEnd/>
          </a:ln>
          <a:effectLst>
            <a:outerShdw blurRad="63500" sx="102000" sy="102000" algn="ctr" rotWithShape="0">
              <a:prstClr val="black">
                <a:alpha val="3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96" name="Oval 95"/>
          <p:cNvSpPr>
            <a:spLocks noChangeArrowheads="1"/>
          </p:cNvSpPr>
          <p:nvPr/>
        </p:nvSpPr>
        <p:spPr bwMode="auto">
          <a:xfrm>
            <a:off x="9538365" y="4839286"/>
            <a:ext cx="5489491" cy="5489493"/>
          </a:xfrm>
          <a:prstGeom prst="ellipse">
            <a:avLst/>
          </a:prstGeom>
          <a:solidFill>
            <a:schemeClr val="bg1"/>
          </a:solidFill>
          <a:ln w="14288" cap="flat">
            <a:noFill/>
            <a:prstDash val="solid"/>
            <a:miter lim="800000"/>
            <a:headEnd/>
            <a:tailEnd/>
          </a:ln>
          <a:effectLst>
            <a:outerShdw blurRad="63500" sx="102000" sy="102000" algn="ctr" rotWithShape="0">
              <a:prstClr val="black">
                <a:alpha val="2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97" name="Freeform 96"/>
          <p:cNvSpPr>
            <a:spLocks/>
          </p:cNvSpPr>
          <p:nvPr/>
        </p:nvSpPr>
        <p:spPr bwMode="auto">
          <a:xfrm>
            <a:off x="6338853" y="2986482"/>
            <a:ext cx="1738203" cy="789025"/>
          </a:xfrm>
          <a:custGeom>
            <a:avLst/>
            <a:gdLst>
              <a:gd name="T0" fmla="*/ 0 w 188"/>
              <a:gd name="T1" fmla="*/ 85 h 85"/>
              <a:gd name="T2" fmla="*/ 188 w 188"/>
              <a:gd name="T3" fmla="*/ 85 h 85"/>
              <a:gd name="T4" fmla="*/ 184 w 188"/>
              <a:gd name="T5" fmla="*/ 31 h 85"/>
              <a:gd name="T6" fmla="*/ 138 w 188"/>
              <a:gd name="T7" fmla="*/ 6 h 85"/>
              <a:gd name="T8" fmla="*/ 75 w 188"/>
              <a:gd name="T9" fmla="*/ 0 h 85"/>
              <a:gd name="T10" fmla="*/ 46 w 188"/>
              <a:gd name="T11" fmla="*/ 14 h 85"/>
              <a:gd name="T12" fmla="*/ 0 w 188"/>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188" h="85">
                <a:moveTo>
                  <a:pt x="0" y="85"/>
                </a:moveTo>
                <a:cubicBezTo>
                  <a:pt x="188" y="85"/>
                  <a:pt x="188" y="85"/>
                  <a:pt x="188" y="85"/>
                </a:cubicBezTo>
                <a:cubicBezTo>
                  <a:pt x="184" y="31"/>
                  <a:pt x="184" y="31"/>
                  <a:pt x="184" y="31"/>
                </a:cubicBezTo>
                <a:cubicBezTo>
                  <a:pt x="138" y="6"/>
                  <a:pt x="138" y="6"/>
                  <a:pt x="138" y="6"/>
                </a:cubicBezTo>
                <a:cubicBezTo>
                  <a:pt x="75" y="0"/>
                  <a:pt x="75" y="0"/>
                  <a:pt x="75" y="0"/>
                </a:cubicBezTo>
                <a:cubicBezTo>
                  <a:pt x="46" y="14"/>
                  <a:pt x="46" y="14"/>
                  <a:pt x="46" y="14"/>
                </a:cubicBezTo>
                <a:cubicBezTo>
                  <a:pt x="46" y="14"/>
                  <a:pt x="10" y="54"/>
                  <a:pt x="0" y="85"/>
                </a:cubicBezTo>
                <a:close/>
              </a:path>
            </a:pathLst>
          </a:custGeom>
          <a:solidFill>
            <a:schemeClr val="accent4">
              <a:lumMod val="75000"/>
            </a:schemeClr>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98" name="Freeform 97"/>
          <p:cNvSpPr>
            <a:spLocks/>
          </p:cNvSpPr>
          <p:nvPr/>
        </p:nvSpPr>
        <p:spPr bwMode="auto">
          <a:xfrm>
            <a:off x="16615722" y="2986482"/>
            <a:ext cx="1738203" cy="789025"/>
          </a:xfrm>
          <a:custGeom>
            <a:avLst/>
            <a:gdLst>
              <a:gd name="T0" fmla="*/ 188 w 188"/>
              <a:gd name="T1" fmla="*/ 85 h 85"/>
              <a:gd name="T2" fmla="*/ 0 w 188"/>
              <a:gd name="T3" fmla="*/ 85 h 85"/>
              <a:gd name="T4" fmla="*/ 4 w 188"/>
              <a:gd name="T5" fmla="*/ 31 h 85"/>
              <a:gd name="T6" fmla="*/ 50 w 188"/>
              <a:gd name="T7" fmla="*/ 6 h 85"/>
              <a:gd name="T8" fmla="*/ 112 w 188"/>
              <a:gd name="T9" fmla="*/ 0 h 85"/>
              <a:gd name="T10" fmla="*/ 141 w 188"/>
              <a:gd name="T11" fmla="*/ 14 h 85"/>
              <a:gd name="T12" fmla="*/ 188 w 188"/>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188" h="85">
                <a:moveTo>
                  <a:pt x="188" y="85"/>
                </a:moveTo>
                <a:cubicBezTo>
                  <a:pt x="0" y="85"/>
                  <a:pt x="0" y="85"/>
                  <a:pt x="0" y="85"/>
                </a:cubicBezTo>
                <a:cubicBezTo>
                  <a:pt x="4" y="31"/>
                  <a:pt x="4" y="31"/>
                  <a:pt x="4" y="31"/>
                </a:cubicBezTo>
                <a:cubicBezTo>
                  <a:pt x="50" y="6"/>
                  <a:pt x="50" y="6"/>
                  <a:pt x="50" y="6"/>
                </a:cubicBezTo>
                <a:cubicBezTo>
                  <a:pt x="112" y="0"/>
                  <a:pt x="112" y="0"/>
                  <a:pt x="112" y="0"/>
                </a:cubicBezTo>
                <a:cubicBezTo>
                  <a:pt x="141" y="14"/>
                  <a:pt x="141" y="14"/>
                  <a:pt x="141" y="14"/>
                </a:cubicBezTo>
                <a:cubicBezTo>
                  <a:pt x="141" y="14"/>
                  <a:pt x="178" y="54"/>
                  <a:pt x="188" y="85"/>
                </a:cubicBezTo>
                <a:close/>
              </a:path>
            </a:pathLst>
          </a:custGeom>
          <a:solidFill>
            <a:schemeClr val="accent1">
              <a:lumMod val="75000"/>
            </a:schemeClr>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99" name="Freeform 98"/>
          <p:cNvSpPr>
            <a:spLocks/>
          </p:cNvSpPr>
          <p:nvPr/>
        </p:nvSpPr>
        <p:spPr bwMode="auto">
          <a:xfrm>
            <a:off x="6338853" y="11333751"/>
            <a:ext cx="1738203" cy="789025"/>
          </a:xfrm>
          <a:custGeom>
            <a:avLst/>
            <a:gdLst>
              <a:gd name="T0" fmla="*/ 0 w 188"/>
              <a:gd name="T1" fmla="*/ 0 h 85"/>
              <a:gd name="T2" fmla="*/ 188 w 188"/>
              <a:gd name="T3" fmla="*/ 0 h 85"/>
              <a:gd name="T4" fmla="*/ 184 w 188"/>
              <a:gd name="T5" fmla="*/ 54 h 85"/>
              <a:gd name="T6" fmla="*/ 138 w 188"/>
              <a:gd name="T7" fmla="*/ 79 h 85"/>
              <a:gd name="T8" fmla="*/ 75 w 188"/>
              <a:gd name="T9" fmla="*/ 85 h 85"/>
              <a:gd name="T10" fmla="*/ 46 w 188"/>
              <a:gd name="T11" fmla="*/ 71 h 85"/>
              <a:gd name="T12" fmla="*/ 0 w 188"/>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188" h="85">
                <a:moveTo>
                  <a:pt x="0" y="0"/>
                </a:moveTo>
                <a:cubicBezTo>
                  <a:pt x="188" y="0"/>
                  <a:pt x="188" y="0"/>
                  <a:pt x="188" y="0"/>
                </a:cubicBezTo>
                <a:cubicBezTo>
                  <a:pt x="184" y="54"/>
                  <a:pt x="184" y="54"/>
                  <a:pt x="184" y="54"/>
                </a:cubicBezTo>
                <a:cubicBezTo>
                  <a:pt x="138" y="79"/>
                  <a:pt x="138" y="79"/>
                  <a:pt x="138" y="79"/>
                </a:cubicBezTo>
                <a:cubicBezTo>
                  <a:pt x="75" y="85"/>
                  <a:pt x="75" y="85"/>
                  <a:pt x="75" y="85"/>
                </a:cubicBezTo>
                <a:cubicBezTo>
                  <a:pt x="46" y="71"/>
                  <a:pt x="46" y="71"/>
                  <a:pt x="46" y="71"/>
                </a:cubicBezTo>
                <a:cubicBezTo>
                  <a:pt x="46" y="71"/>
                  <a:pt x="10" y="31"/>
                  <a:pt x="0" y="0"/>
                </a:cubicBezTo>
                <a:close/>
              </a:path>
            </a:pathLst>
          </a:custGeom>
          <a:solidFill>
            <a:schemeClr val="tx2"/>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100" name="Freeform 99"/>
          <p:cNvSpPr>
            <a:spLocks/>
          </p:cNvSpPr>
          <p:nvPr/>
        </p:nvSpPr>
        <p:spPr bwMode="auto">
          <a:xfrm>
            <a:off x="16615722" y="11333751"/>
            <a:ext cx="1738203" cy="789025"/>
          </a:xfrm>
          <a:custGeom>
            <a:avLst/>
            <a:gdLst>
              <a:gd name="T0" fmla="*/ 188 w 188"/>
              <a:gd name="T1" fmla="*/ 0 h 85"/>
              <a:gd name="T2" fmla="*/ 0 w 188"/>
              <a:gd name="T3" fmla="*/ 0 h 85"/>
              <a:gd name="T4" fmla="*/ 4 w 188"/>
              <a:gd name="T5" fmla="*/ 54 h 85"/>
              <a:gd name="T6" fmla="*/ 50 w 188"/>
              <a:gd name="T7" fmla="*/ 79 h 85"/>
              <a:gd name="T8" fmla="*/ 112 w 188"/>
              <a:gd name="T9" fmla="*/ 85 h 85"/>
              <a:gd name="T10" fmla="*/ 141 w 188"/>
              <a:gd name="T11" fmla="*/ 71 h 85"/>
              <a:gd name="T12" fmla="*/ 188 w 188"/>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188" h="85">
                <a:moveTo>
                  <a:pt x="188" y="0"/>
                </a:moveTo>
                <a:cubicBezTo>
                  <a:pt x="0" y="0"/>
                  <a:pt x="0" y="0"/>
                  <a:pt x="0" y="0"/>
                </a:cubicBezTo>
                <a:cubicBezTo>
                  <a:pt x="4" y="54"/>
                  <a:pt x="4" y="54"/>
                  <a:pt x="4" y="54"/>
                </a:cubicBezTo>
                <a:cubicBezTo>
                  <a:pt x="50" y="79"/>
                  <a:pt x="50" y="79"/>
                  <a:pt x="50" y="79"/>
                </a:cubicBezTo>
                <a:cubicBezTo>
                  <a:pt x="112" y="85"/>
                  <a:pt x="112" y="85"/>
                  <a:pt x="112" y="85"/>
                </a:cubicBezTo>
                <a:cubicBezTo>
                  <a:pt x="141" y="71"/>
                  <a:pt x="141" y="71"/>
                  <a:pt x="141" y="71"/>
                </a:cubicBezTo>
                <a:cubicBezTo>
                  <a:pt x="141" y="71"/>
                  <a:pt x="178" y="31"/>
                  <a:pt x="188" y="0"/>
                </a:cubicBezTo>
                <a:close/>
              </a:path>
            </a:pathLst>
          </a:custGeom>
          <a:solidFill>
            <a:schemeClr val="accent3">
              <a:lumMod val="75000"/>
            </a:schemeClr>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191" name="TextBox 116"/>
          <p:cNvSpPr txBox="1"/>
          <p:nvPr/>
        </p:nvSpPr>
        <p:spPr>
          <a:xfrm>
            <a:off x="10779928" y="6957490"/>
            <a:ext cx="3132916" cy="369332"/>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dirty="0"/>
              <a:t>LOREM IPSUM</a:t>
            </a:r>
          </a:p>
        </p:txBody>
      </p:sp>
      <p:sp>
        <p:nvSpPr>
          <p:cNvPr id="186" name="TextBox 110"/>
          <p:cNvSpPr txBox="1"/>
          <p:nvPr/>
        </p:nvSpPr>
        <p:spPr>
          <a:xfrm>
            <a:off x="9927692" y="7369471"/>
            <a:ext cx="4837387" cy="73866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dirty="0" err="1"/>
              <a:t>Lorem</a:t>
            </a:r>
            <a:r>
              <a:rPr lang="en-US" sz="2400" dirty="0"/>
              <a:t> </a:t>
            </a:r>
            <a:r>
              <a:rPr lang="en-US" sz="2400" dirty="0" err="1"/>
              <a:t>Ipsum</a:t>
            </a:r>
            <a:r>
              <a:rPr lang="en-US" sz="2400" dirty="0"/>
              <a:t> is simply dummy text of the printing.</a:t>
            </a:r>
          </a:p>
        </p:txBody>
      </p:sp>
      <p:sp>
        <p:nvSpPr>
          <p:cNvPr id="102" name="Freeform 101"/>
          <p:cNvSpPr>
            <a:spLocks/>
          </p:cNvSpPr>
          <p:nvPr/>
        </p:nvSpPr>
        <p:spPr bwMode="auto">
          <a:xfrm>
            <a:off x="6764614" y="2884925"/>
            <a:ext cx="5491934" cy="3425625"/>
          </a:xfrm>
          <a:custGeom>
            <a:avLst/>
            <a:gdLst>
              <a:gd name="T0" fmla="*/ 569 w 594"/>
              <a:gd name="T1" fmla="*/ 114 h 370"/>
              <a:gd name="T2" fmla="*/ 540 w 594"/>
              <a:gd name="T3" fmla="*/ 141 h 370"/>
              <a:gd name="T4" fmla="*/ 428 w 594"/>
              <a:gd name="T5" fmla="*/ 29 h 370"/>
              <a:gd name="T6" fmla="*/ 378 w 594"/>
              <a:gd name="T7" fmla="*/ 5 h 370"/>
              <a:gd name="T8" fmla="*/ 42 w 594"/>
              <a:gd name="T9" fmla="*/ 5 h 370"/>
              <a:gd name="T10" fmla="*/ 0 w 594"/>
              <a:gd name="T11" fmla="*/ 25 h 370"/>
              <a:gd name="T12" fmla="*/ 83 w 594"/>
              <a:gd name="T13" fmla="*/ 37 h 370"/>
              <a:gd name="T14" fmla="*/ 360 w 594"/>
              <a:gd name="T15" fmla="*/ 308 h 370"/>
              <a:gd name="T16" fmla="*/ 317 w 594"/>
              <a:gd name="T17" fmla="*/ 347 h 370"/>
              <a:gd name="T18" fmla="*/ 326 w 594"/>
              <a:gd name="T19" fmla="*/ 370 h 370"/>
              <a:gd name="T20" fmla="*/ 560 w 594"/>
              <a:gd name="T21" fmla="*/ 370 h 370"/>
              <a:gd name="T22" fmla="*/ 594 w 594"/>
              <a:gd name="T23" fmla="*/ 336 h 370"/>
              <a:gd name="T24" fmla="*/ 594 w 594"/>
              <a:gd name="T25" fmla="*/ 125 h 370"/>
              <a:gd name="T26" fmla="*/ 569 w 594"/>
              <a:gd name="T27" fmla="*/ 11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4" h="370">
                <a:moveTo>
                  <a:pt x="569" y="114"/>
                </a:moveTo>
                <a:cubicBezTo>
                  <a:pt x="540" y="141"/>
                  <a:pt x="540" y="141"/>
                  <a:pt x="540" y="141"/>
                </a:cubicBezTo>
                <a:cubicBezTo>
                  <a:pt x="428" y="29"/>
                  <a:pt x="428" y="29"/>
                  <a:pt x="428" y="29"/>
                </a:cubicBezTo>
                <a:cubicBezTo>
                  <a:pt x="428" y="29"/>
                  <a:pt x="408" y="4"/>
                  <a:pt x="378" y="5"/>
                </a:cubicBezTo>
                <a:cubicBezTo>
                  <a:pt x="348" y="6"/>
                  <a:pt x="42" y="5"/>
                  <a:pt x="42" y="5"/>
                </a:cubicBezTo>
                <a:cubicBezTo>
                  <a:pt x="42" y="5"/>
                  <a:pt x="14" y="4"/>
                  <a:pt x="0" y="25"/>
                </a:cubicBezTo>
                <a:cubicBezTo>
                  <a:pt x="0" y="25"/>
                  <a:pt x="43" y="0"/>
                  <a:pt x="83" y="37"/>
                </a:cubicBezTo>
                <a:cubicBezTo>
                  <a:pt x="122" y="73"/>
                  <a:pt x="360" y="308"/>
                  <a:pt x="360" y="308"/>
                </a:cubicBezTo>
                <a:cubicBezTo>
                  <a:pt x="317" y="347"/>
                  <a:pt x="317" y="347"/>
                  <a:pt x="317" y="347"/>
                </a:cubicBezTo>
                <a:cubicBezTo>
                  <a:pt x="304" y="359"/>
                  <a:pt x="308" y="370"/>
                  <a:pt x="326" y="370"/>
                </a:cubicBezTo>
                <a:cubicBezTo>
                  <a:pt x="560" y="370"/>
                  <a:pt x="560" y="370"/>
                  <a:pt x="560" y="370"/>
                </a:cubicBezTo>
                <a:cubicBezTo>
                  <a:pt x="579" y="370"/>
                  <a:pt x="594" y="354"/>
                  <a:pt x="594" y="336"/>
                </a:cubicBezTo>
                <a:cubicBezTo>
                  <a:pt x="594" y="125"/>
                  <a:pt x="594" y="125"/>
                  <a:pt x="594" y="125"/>
                </a:cubicBezTo>
                <a:cubicBezTo>
                  <a:pt x="594" y="106"/>
                  <a:pt x="583" y="101"/>
                  <a:pt x="569" y="114"/>
                </a:cubicBezTo>
                <a:close/>
              </a:path>
            </a:pathLst>
          </a:custGeom>
          <a:solidFill>
            <a:schemeClr val="accent4"/>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103" name="Freeform 102"/>
          <p:cNvSpPr>
            <a:spLocks/>
          </p:cNvSpPr>
          <p:nvPr/>
        </p:nvSpPr>
        <p:spPr bwMode="auto">
          <a:xfrm>
            <a:off x="12424509" y="2884925"/>
            <a:ext cx="5503654" cy="3425625"/>
          </a:xfrm>
          <a:custGeom>
            <a:avLst/>
            <a:gdLst>
              <a:gd name="T0" fmla="*/ 25 w 595"/>
              <a:gd name="T1" fmla="*/ 114 h 370"/>
              <a:gd name="T2" fmla="*/ 54 w 595"/>
              <a:gd name="T3" fmla="*/ 141 h 370"/>
              <a:gd name="T4" fmla="*/ 166 w 595"/>
              <a:gd name="T5" fmla="*/ 29 h 370"/>
              <a:gd name="T6" fmla="*/ 216 w 595"/>
              <a:gd name="T7" fmla="*/ 5 h 370"/>
              <a:gd name="T8" fmla="*/ 553 w 595"/>
              <a:gd name="T9" fmla="*/ 5 h 370"/>
              <a:gd name="T10" fmla="*/ 595 w 595"/>
              <a:gd name="T11" fmla="*/ 25 h 370"/>
              <a:gd name="T12" fmla="*/ 512 w 595"/>
              <a:gd name="T13" fmla="*/ 37 h 370"/>
              <a:gd name="T14" fmla="*/ 235 w 595"/>
              <a:gd name="T15" fmla="*/ 308 h 370"/>
              <a:gd name="T16" fmla="*/ 277 w 595"/>
              <a:gd name="T17" fmla="*/ 347 h 370"/>
              <a:gd name="T18" fmla="*/ 268 w 595"/>
              <a:gd name="T19" fmla="*/ 370 h 370"/>
              <a:gd name="T20" fmla="*/ 34 w 595"/>
              <a:gd name="T21" fmla="*/ 370 h 370"/>
              <a:gd name="T22" fmla="*/ 0 w 595"/>
              <a:gd name="T23" fmla="*/ 336 h 370"/>
              <a:gd name="T24" fmla="*/ 0 w 595"/>
              <a:gd name="T25" fmla="*/ 125 h 370"/>
              <a:gd name="T26" fmla="*/ 25 w 595"/>
              <a:gd name="T27" fmla="*/ 11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5" h="370">
                <a:moveTo>
                  <a:pt x="25" y="114"/>
                </a:moveTo>
                <a:cubicBezTo>
                  <a:pt x="54" y="141"/>
                  <a:pt x="54" y="141"/>
                  <a:pt x="54" y="141"/>
                </a:cubicBezTo>
                <a:cubicBezTo>
                  <a:pt x="166" y="29"/>
                  <a:pt x="166" y="29"/>
                  <a:pt x="166" y="29"/>
                </a:cubicBezTo>
                <a:cubicBezTo>
                  <a:pt x="166" y="29"/>
                  <a:pt x="187" y="4"/>
                  <a:pt x="216" y="5"/>
                </a:cubicBezTo>
                <a:cubicBezTo>
                  <a:pt x="246" y="6"/>
                  <a:pt x="553" y="5"/>
                  <a:pt x="553" y="5"/>
                </a:cubicBezTo>
                <a:cubicBezTo>
                  <a:pt x="553" y="5"/>
                  <a:pt x="580" y="4"/>
                  <a:pt x="595" y="25"/>
                </a:cubicBezTo>
                <a:cubicBezTo>
                  <a:pt x="595" y="25"/>
                  <a:pt x="552" y="0"/>
                  <a:pt x="512" y="37"/>
                </a:cubicBezTo>
                <a:cubicBezTo>
                  <a:pt x="472" y="73"/>
                  <a:pt x="235" y="308"/>
                  <a:pt x="235" y="308"/>
                </a:cubicBezTo>
                <a:cubicBezTo>
                  <a:pt x="277" y="347"/>
                  <a:pt x="277" y="347"/>
                  <a:pt x="277" y="347"/>
                </a:cubicBezTo>
                <a:cubicBezTo>
                  <a:pt x="291" y="359"/>
                  <a:pt x="287" y="370"/>
                  <a:pt x="268" y="370"/>
                </a:cubicBezTo>
                <a:cubicBezTo>
                  <a:pt x="34" y="370"/>
                  <a:pt x="34" y="370"/>
                  <a:pt x="34" y="370"/>
                </a:cubicBezTo>
                <a:cubicBezTo>
                  <a:pt x="15" y="370"/>
                  <a:pt x="0" y="354"/>
                  <a:pt x="0" y="336"/>
                </a:cubicBezTo>
                <a:cubicBezTo>
                  <a:pt x="0" y="125"/>
                  <a:pt x="0" y="125"/>
                  <a:pt x="0" y="125"/>
                </a:cubicBezTo>
                <a:cubicBezTo>
                  <a:pt x="0" y="106"/>
                  <a:pt x="11" y="101"/>
                  <a:pt x="25" y="114"/>
                </a:cubicBezTo>
                <a:close/>
              </a:path>
            </a:pathLst>
          </a:custGeom>
          <a:solidFill>
            <a:schemeClr val="accent1">
              <a:lumMod val="60000"/>
              <a:lumOff val="40000"/>
            </a:schemeClr>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104" name="Freeform 103"/>
          <p:cNvSpPr>
            <a:spLocks/>
          </p:cNvSpPr>
          <p:nvPr/>
        </p:nvSpPr>
        <p:spPr bwMode="auto">
          <a:xfrm>
            <a:off x="6764614" y="8798712"/>
            <a:ext cx="5491934" cy="3425625"/>
          </a:xfrm>
          <a:custGeom>
            <a:avLst/>
            <a:gdLst>
              <a:gd name="T0" fmla="*/ 569 w 594"/>
              <a:gd name="T1" fmla="*/ 256 h 370"/>
              <a:gd name="T2" fmla="*/ 540 w 594"/>
              <a:gd name="T3" fmla="*/ 229 h 370"/>
              <a:gd name="T4" fmla="*/ 428 w 594"/>
              <a:gd name="T5" fmla="*/ 341 h 370"/>
              <a:gd name="T6" fmla="*/ 378 w 594"/>
              <a:gd name="T7" fmla="*/ 364 h 370"/>
              <a:gd name="T8" fmla="*/ 42 w 594"/>
              <a:gd name="T9" fmla="*/ 364 h 370"/>
              <a:gd name="T10" fmla="*/ 0 w 594"/>
              <a:gd name="T11" fmla="*/ 345 h 370"/>
              <a:gd name="T12" fmla="*/ 83 w 594"/>
              <a:gd name="T13" fmla="*/ 333 h 370"/>
              <a:gd name="T14" fmla="*/ 360 w 594"/>
              <a:gd name="T15" fmla="*/ 62 h 370"/>
              <a:gd name="T16" fmla="*/ 317 w 594"/>
              <a:gd name="T17" fmla="*/ 23 h 370"/>
              <a:gd name="T18" fmla="*/ 326 w 594"/>
              <a:gd name="T19" fmla="*/ 0 h 370"/>
              <a:gd name="T20" fmla="*/ 560 w 594"/>
              <a:gd name="T21" fmla="*/ 0 h 370"/>
              <a:gd name="T22" fmla="*/ 594 w 594"/>
              <a:gd name="T23" fmla="*/ 34 h 370"/>
              <a:gd name="T24" fmla="*/ 594 w 594"/>
              <a:gd name="T25" fmla="*/ 245 h 370"/>
              <a:gd name="T26" fmla="*/ 569 w 594"/>
              <a:gd name="T27" fmla="*/ 256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4" h="370">
                <a:moveTo>
                  <a:pt x="569" y="256"/>
                </a:moveTo>
                <a:cubicBezTo>
                  <a:pt x="540" y="229"/>
                  <a:pt x="540" y="229"/>
                  <a:pt x="540" y="229"/>
                </a:cubicBezTo>
                <a:cubicBezTo>
                  <a:pt x="428" y="341"/>
                  <a:pt x="428" y="341"/>
                  <a:pt x="428" y="341"/>
                </a:cubicBezTo>
                <a:cubicBezTo>
                  <a:pt x="428" y="341"/>
                  <a:pt x="408" y="365"/>
                  <a:pt x="378" y="364"/>
                </a:cubicBezTo>
                <a:cubicBezTo>
                  <a:pt x="348" y="363"/>
                  <a:pt x="42" y="364"/>
                  <a:pt x="42" y="364"/>
                </a:cubicBezTo>
                <a:cubicBezTo>
                  <a:pt x="42" y="364"/>
                  <a:pt x="14" y="365"/>
                  <a:pt x="0" y="345"/>
                </a:cubicBezTo>
                <a:cubicBezTo>
                  <a:pt x="0" y="345"/>
                  <a:pt x="43" y="370"/>
                  <a:pt x="83" y="333"/>
                </a:cubicBezTo>
                <a:cubicBezTo>
                  <a:pt x="122" y="296"/>
                  <a:pt x="360" y="62"/>
                  <a:pt x="360" y="62"/>
                </a:cubicBezTo>
                <a:cubicBezTo>
                  <a:pt x="317" y="23"/>
                  <a:pt x="317" y="23"/>
                  <a:pt x="317" y="23"/>
                </a:cubicBezTo>
                <a:cubicBezTo>
                  <a:pt x="304" y="10"/>
                  <a:pt x="308" y="0"/>
                  <a:pt x="326" y="0"/>
                </a:cubicBezTo>
                <a:cubicBezTo>
                  <a:pt x="560" y="0"/>
                  <a:pt x="560" y="0"/>
                  <a:pt x="560" y="0"/>
                </a:cubicBezTo>
                <a:cubicBezTo>
                  <a:pt x="579" y="0"/>
                  <a:pt x="594" y="15"/>
                  <a:pt x="594" y="34"/>
                </a:cubicBezTo>
                <a:cubicBezTo>
                  <a:pt x="594" y="245"/>
                  <a:pt x="594" y="245"/>
                  <a:pt x="594" y="245"/>
                </a:cubicBezTo>
                <a:cubicBezTo>
                  <a:pt x="594" y="263"/>
                  <a:pt x="583" y="268"/>
                  <a:pt x="569" y="256"/>
                </a:cubicBezTo>
                <a:close/>
              </a:path>
            </a:pathLst>
          </a:custGeom>
          <a:solidFill>
            <a:schemeClr val="tx2">
              <a:lumMod val="60000"/>
              <a:lumOff val="40000"/>
            </a:schemeClr>
          </a:solidFill>
          <a:ln w="14288" cap="flat">
            <a:noFill/>
            <a:prstDash val="solid"/>
            <a:miter lim="800000"/>
            <a:headEnd/>
            <a:tailEnd/>
          </a:ln>
          <a:effectLst>
            <a:outerShdw blurRad="50800" dist="38100" dir="16200000" rotWithShape="0">
              <a:prstClr val="black">
                <a:alpha val="4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sp>
        <p:nvSpPr>
          <p:cNvPr id="105" name="Freeform 104"/>
          <p:cNvSpPr>
            <a:spLocks/>
          </p:cNvSpPr>
          <p:nvPr/>
        </p:nvSpPr>
        <p:spPr bwMode="auto">
          <a:xfrm>
            <a:off x="12424509" y="8798712"/>
            <a:ext cx="5503654" cy="3425625"/>
          </a:xfrm>
          <a:custGeom>
            <a:avLst/>
            <a:gdLst>
              <a:gd name="T0" fmla="*/ 25 w 595"/>
              <a:gd name="T1" fmla="*/ 256 h 370"/>
              <a:gd name="T2" fmla="*/ 54 w 595"/>
              <a:gd name="T3" fmla="*/ 229 h 370"/>
              <a:gd name="T4" fmla="*/ 166 w 595"/>
              <a:gd name="T5" fmla="*/ 341 h 370"/>
              <a:gd name="T6" fmla="*/ 216 w 595"/>
              <a:gd name="T7" fmla="*/ 364 h 370"/>
              <a:gd name="T8" fmla="*/ 553 w 595"/>
              <a:gd name="T9" fmla="*/ 364 h 370"/>
              <a:gd name="T10" fmla="*/ 595 w 595"/>
              <a:gd name="T11" fmla="*/ 345 h 370"/>
              <a:gd name="T12" fmla="*/ 512 w 595"/>
              <a:gd name="T13" fmla="*/ 333 h 370"/>
              <a:gd name="T14" fmla="*/ 235 w 595"/>
              <a:gd name="T15" fmla="*/ 62 h 370"/>
              <a:gd name="T16" fmla="*/ 277 w 595"/>
              <a:gd name="T17" fmla="*/ 23 h 370"/>
              <a:gd name="T18" fmla="*/ 268 w 595"/>
              <a:gd name="T19" fmla="*/ 0 h 370"/>
              <a:gd name="T20" fmla="*/ 34 w 595"/>
              <a:gd name="T21" fmla="*/ 0 h 370"/>
              <a:gd name="T22" fmla="*/ 0 w 595"/>
              <a:gd name="T23" fmla="*/ 34 h 370"/>
              <a:gd name="T24" fmla="*/ 0 w 595"/>
              <a:gd name="T25" fmla="*/ 245 h 370"/>
              <a:gd name="T26" fmla="*/ 25 w 595"/>
              <a:gd name="T27" fmla="*/ 256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5" h="370">
                <a:moveTo>
                  <a:pt x="25" y="256"/>
                </a:moveTo>
                <a:cubicBezTo>
                  <a:pt x="54" y="229"/>
                  <a:pt x="54" y="229"/>
                  <a:pt x="54" y="229"/>
                </a:cubicBezTo>
                <a:cubicBezTo>
                  <a:pt x="166" y="341"/>
                  <a:pt x="166" y="341"/>
                  <a:pt x="166" y="341"/>
                </a:cubicBezTo>
                <a:cubicBezTo>
                  <a:pt x="166" y="341"/>
                  <a:pt x="187" y="365"/>
                  <a:pt x="216" y="364"/>
                </a:cubicBezTo>
                <a:cubicBezTo>
                  <a:pt x="246" y="363"/>
                  <a:pt x="553" y="364"/>
                  <a:pt x="553" y="364"/>
                </a:cubicBezTo>
                <a:cubicBezTo>
                  <a:pt x="553" y="364"/>
                  <a:pt x="580" y="365"/>
                  <a:pt x="595" y="345"/>
                </a:cubicBezTo>
                <a:cubicBezTo>
                  <a:pt x="595" y="345"/>
                  <a:pt x="552" y="370"/>
                  <a:pt x="512" y="333"/>
                </a:cubicBezTo>
                <a:cubicBezTo>
                  <a:pt x="472" y="296"/>
                  <a:pt x="235" y="62"/>
                  <a:pt x="235" y="62"/>
                </a:cubicBezTo>
                <a:cubicBezTo>
                  <a:pt x="277" y="23"/>
                  <a:pt x="277" y="23"/>
                  <a:pt x="277" y="23"/>
                </a:cubicBezTo>
                <a:cubicBezTo>
                  <a:pt x="291" y="10"/>
                  <a:pt x="287" y="0"/>
                  <a:pt x="268" y="0"/>
                </a:cubicBezTo>
                <a:cubicBezTo>
                  <a:pt x="34" y="0"/>
                  <a:pt x="34" y="0"/>
                  <a:pt x="34" y="0"/>
                </a:cubicBezTo>
                <a:cubicBezTo>
                  <a:pt x="15" y="0"/>
                  <a:pt x="0" y="15"/>
                  <a:pt x="0" y="34"/>
                </a:cubicBezTo>
                <a:cubicBezTo>
                  <a:pt x="0" y="245"/>
                  <a:pt x="0" y="245"/>
                  <a:pt x="0" y="245"/>
                </a:cubicBezTo>
                <a:cubicBezTo>
                  <a:pt x="0" y="263"/>
                  <a:pt x="11" y="268"/>
                  <a:pt x="25" y="256"/>
                </a:cubicBezTo>
                <a:close/>
              </a:path>
            </a:pathLst>
          </a:custGeom>
          <a:solidFill>
            <a:schemeClr val="accent3"/>
          </a:solidFill>
          <a:ln w="14288" cap="flat">
            <a:noFill/>
            <a:prstDash val="solid"/>
            <a:miter lim="800000"/>
            <a:headEnd/>
            <a:tailEnd/>
          </a:ln>
          <a:effectLst>
            <a:outerShdw blurRad="50800" dist="38100" dir="16200000" rotWithShape="0">
              <a:prstClr val="black">
                <a:alpha val="40000"/>
              </a:prst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a:solidFill>
                <a:prstClr val="black"/>
              </a:solidFill>
            </a:endParaRPr>
          </a:p>
        </p:txBody>
      </p:sp>
      <p:grpSp>
        <p:nvGrpSpPr>
          <p:cNvPr id="107" name="Group 106"/>
          <p:cNvGrpSpPr/>
          <p:nvPr/>
        </p:nvGrpSpPr>
        <p:grpSpPr>
          <a:xfrm>
            <a:off x="1284481" y="8450818"/>
            <a:ext cx="6870227" cy="2771799"/>
            <a:chOff x="111278" y="4313156"/>
            <a:chExt cx="2792190" cy="1126511"/>
          </a:xfrm>
        </p:grpSpPr>
        <p:sp>
          <p:nvSpPr>
            <p:cNvPr id="134" name="TextBox 258"/>
            <p:cNvSpPr txBox="1"/>
            <p:nvPr/>
          </p:nvSpPr>
          <p:spPr>
            <a:xfrm>
              <a:off x="2545888" y="4989357"/>
              <a:ext cx="357580" cy="450310"/>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200" b="1" dirty="0"/>
                <a:t>2</a:t>
              </a:r>
            </a:p>
          </p:txBody>
        </p:sp>
        <p:grpSp>
          <p:nvGrpSpPr>
            <p:cNvPr id="135" name="Group 134"/>
            <p:cNvGrpSpPr/>
            <p:nvPr/>
          </p:nvGrpSpPr>
          <p:grpSpPr>
            <a:xfrm>
              <a:off x="111278" y="4313156"/>
              <a:ext cx="2792190" cy="755101"/>
              <a:chOff x="111278" y="4322682"/>
              <a:chExt cx="2792190" cy="755101"/>
            </a:xfrm>
          </p:grpSpPr>
          <p:sp>
            <p:nvSpPr>
              <p:cNvPr id="136" name="TextBox 268"/>
              <p:cNvSpPr txBox="1"/>
              <p:nvPr/>
            </p:nvSpPr>
            <p:spPr>
              <a:xfrm>
                <a:off x="111278" y="4477370"/>
                <a:ext cx="2792190" cy="600413"/>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400" dirty="0"/>
                  <a:t>Lorem Ipsum is simply dummy text of the printing and typesetting industry. Lorem Ipsum has been the industry's standard dummy text ever since the 1500s.</a:t>
                </a:r>
              </a:p>
            </p:txBody>
          </p:sp>
          <p:sp>
            <p:nvSpPr>
              <p:cNvPr id="137" name="TextBox 259"/>
              <p:cNvSpPr txBox="1"/>
              <p:nvPr/>
            </p:nvSpPr>
            <p:spPr>
              <a:xfrm>
                <a:off x="1898098" y="4322682"/>
                <a:ext cx="1005370" cy="150103"/>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400" b="1" dirty="0"/>
                  <a:t>LOREM IPSUM </a:t>
                </a:r>
              </a:p>
            </p:txBody>
          </p:sp>
        </p:grpSp>
      </p:grpSp>
      <p:grpSp>
        <p:nvGrpSpPr>
          <p:cNvPr id="108" name="Group 107"/>
          <p:cNvGrpSpPr/>
          <p:nvPr/>
        </p:nvGrpSpPr>
        <p:grpSpPr>
          <a:xfrm>
            <a:off x="1284481" y="3661712"/>
            <a:ext cx="6870227" cy="2992679"/>
            <a:chOff x="524541" y="2319128"/>
            <a:chExt cx="2792190" cy="1216282"/>
          </a:xfrm>
        </p:grpSpPr>
        <p:sp>
          <p:nvSpPr>
            <p:cNvPr id="130" name="TextBox 246"/>
            <p:cNvSpPr txBox="1"/>
            <p:nvPr/>
          </p:nvSpPr>
          <p:spPr>
            <a:xfrm>
              <a:off x="2959151" y="2319128"/>
              <a:ext cx="357580" cy="450311"/>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200" b="1" dirty="0"/>
                <a:t>1</a:t>
              </a:r>
            </a:p>
          </p:txBody>
        </p:sp>
        <p:grpSp>
          <p:nvGrpSpPr>
            <p:cNvPr id="131" name="Group 130"/>
            <p:cNvGrpSpPr/>
            <p:nvPr/>
          </p:nvGrpSpPr>
          <p:grpSpPr>
            <a:xfrm>
              <a:off x="524541" y="2773061"/>
              <a:ext cx="2792190" cy="762349"/>
              <a:chOff x="524541" y="2773061"/>
              <a:chExt cx="2792190" cy="762349"/>
            </a:xfrm>
          </p:grpSpPr>
          <p:sp>
            <p:nvSpPr>
              <p:cNvPr id="132" name="TextBox 247"/>
              <p:cNvSpPr txBox="1"/>
              <p:nvPr/>
            </p:nvSpPr>
            <p:spPr>
              <a:xfrm>
                <a:off x="2311361" y="2773061"/>
                <a:ext cx="1005370" cy="15010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400" b="1" dirty="0"/>
                  <a:t>LOREM IPSUM </a:t>
                </a:r>
              </a:p>
            </p:txBody>
          </p:sp>
          <p:sp>
            <p:nvSpPr>
              <p:cNvPr id="133" name="TextBox 267"/>
              <p:cNvSpPr txBox="1"/>
              <p:nvPr/>
            </p:nvSpPr>
            <p:spPr>
              <a:xfrm>
                <a:off x="524541" y="2934996"/>
                <a:ext cx="2792190" cy="60041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400" dirty="0"/>
                  <a:t>Lorem Ipsum is simply dummy text of the printing and typesetting industry. Lorem Ipsum has been the industry's standard dummy text ever since the 1500s.</a:t>
                </a:r>
              </a:p>
            </p:txBody>
          </p:sp>
        </p:grpSp>
      </p:grpSp>
      <p:grpSp>
        <p:nvGrpSpPr>
          <p:cNvPr id="109" name="Group 108"/>
          <p:cNvGrpSpPr/>
          <p:nvPr/>
        </p:nvGrpSpPr>
        <p:grpSpPr>
          <a:xfrm>
            <a:off x="16538067" y="8508903"/>
            <a:ext cx="6559865" cy="2737162"/>
            <a:chOff x="6204132" y="4327233"/>
            <a:chExt cx="2666053" cy="1112434"/>
          </a:xfrm>
        </p:grpSpPr>
        <p:sp>
          <p:nvSpPr>
            <p:cNvPr id="126" name="TextBox 265"/>
            <p:cNvSpPr txBox="1"/>
            <p:nvPr/>
          </p:nvSpPr>
          <p:spPr>
            <a:xfrm>
              <a:off x="6204132" y="4989357"/>
              <a:ext cx="357580" cy="450310"/>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200" b="1" dirty="0"/>
                <a:t>4</a:t>
              </a:r>
            </a:p>
          </p:txBody>
        </p:sp>
        <p:grpSp>
          <p:nvGrpSpPr>
            <p:cNvPr id="127" name="Group 126"/>
            <p:cNvGrpSpPr/>
            <p:nvPr/>
          </p:nvGrpSpPr>
          <p:grpSpPr>
            <a:xfrm>
              <a:off x="6204132" y="4327233"/>
              <a:ext cx="2666053" cy="755101"/>
              <a:chOff x="2109216" y="4336759"/>
              <a:chExt cx="2666053" cy="755101"/>
            </a:xfrm>
          </p:grpSpPr>
          <p:sp>
            <p:nvSpPr>
              <p:cNvPr id="128" name="TextBox 276"/>
              <p:cNvSpPr txBox="1"/>
              <p:nvPr/>
            </p:nvSpPr>
            <p:spPr>
              <a:xfrm>
                <a:off x="2109216" y="4491447"/>
                <a:ext cx="2666053" cy="600413"/>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t>Lorem Ipsum is simply dummy text of the printing and typesetting industry. Lorem Ipsum has been the industry's standard dummy text ever since the 1500s.</a:t>
                </a:r>
              </a:p>
            </p:txBody>
          </p:sp>
          <p:sp>
            <p:nvSpPr>
              <p:cNvPr id="129" name="TextBox 277"/>
              <p:cNvSpPr txBox="1"/>
              <p:nvPr/>
            </p:nvSpPr>
            <p:spPr>
              <a:xfrm>
                <a:off x="2109216" y="4336759"/>
                <a:ext cx="1005370" cy="150103"/>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dirty="0"/>
                  <a:t>LOREM IPSUM </a:t>
                </a:r>
              </a:p>
            </p:txBody>
          </p:sp>
        </p:grpSp>
      </p:grpSp>
      <p:grpSp>
        <p:nvGrpSpPr>
          <p:cNvPr id="110" name="Group 109"/>
          <p:cNvGrpSpPr/>
          <p:nvPr/>
        </p:nvGrpSpPr>
        <p:grpSpPr>
          <a:xfrm>
            <a:off x="16538060" y="3661712"/>
            <a:ext cx="6559871" cy="2992679"/>
            <a:chOff x="6204131" y="2319128"/>
            <a:chExt cx="2666056" cy="1216282"/>
          </a:xfrm>
        </p:grpSpPr>
        <p:sp>
          <p:nvSpPr>
            <p:cNvPr id="122" name="TextBox 262"/>
            <p:cNvSpPr txBox="1"/>
            <p:nvPr/>
          </p:nvSpPr>
          <p:spPr>
            <a:xfrm>
              <a:off x="6204133" y="2319128"/>
              <a:ext cx="357580" cy="450311"/>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200" b="1" dirty="0"/>
                <a:t>3</a:t>
              </a:r>
            </a:p>
          </p:txBody>
        </p:sp>
        <p:grpSp>
          <p:nvGrpSpPr>
            <p:cNvPr id="123" name="Group 122"/>
            <p:cNvGrpSpPr/>
            <p:nvPr/>
          </p:nvGrpSpPr>
          <p:grpSpPr>
            <a:xfrm>
              <a:off x="6204131" y="2773061"/>
              <a:ext cx="2666056" cy="762349"/>
              <a:chOff x="2109215" y="2773061"/>
              <a:chExt cx="2666056" cy="762349"/>
            </a:xfrm>
          </p:grpSpPr>
          <p:sp>
            <p:nvSpPr>
              <p:cNvPr id="124" name="TextBox 279"/>
              <p:cNvSpPr txBox="1"/>
              <p:nvPr/>
            </p:nvSpPr>
            <p:spPr>
              <a:xfrm>
                <a:off x="2109217" y="2773061"/>
                <a:ext cx="1005370" cy="15010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dirty="0"/>
                  <a:t>LOREM IPSUM </a:t>
                </a:r>
              </a:p>
            </p:txBody>
          </p:sp>
          <p:sp>
            <p:nvSpPr>
              <p:cNvPr id="125" name="TextBox 280"/>
              <p:cNvSpPr txBox="1"/>
              <p:nvPr/>
            </p:nvSpPr>
            <p:spPr>
              <a:xfrm>
                <a:off x="2109215" y="2934996"/>
                <a:ext cx="2666056" cy="60041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t>Lorem Ipsum is simply dummy text of the printing and typesetting industry. Lorem Ipsum has been the industry's standard dummy text ever since the 1500s.</a:t>
                </a:r>
              </a:p>
            </p:txBody>
          </p:sp>
        </p:grpSp>
      </p:grpSp>
      <p:sp>
        <p:nvSpPr>
          <p:cNvPr id="2" name="Title 1">
            <a:extLst>
              <a:ext uri="{FF2B5EF4-FFF2-40B4-BE49-F238E27FC236}">
                <a16:creationId xmlns:a16="http://schemas.microsoft.com/office/drawing/2014/main" id="{0D623218-B362-2345-A01D-BCB82D073CE4}"/>
              </a:ext>
            </a:extLst>
          </p:cNvPr>
          <p:cNvSpPr>
            <a:spLocks noGrp="1"/>
          </p:cNvSpPr>
          <p:nvPr>
            <p:ph type="title"/>
          </p:nvPr>
        </p:nvSpPr>
        <p:spPr/>
        <p:txBody>
          <a:bodyPr/>
          <a:lstStyle/>
          <a:p>
            <a:r>
              <a:rPr lang="en-US" dirty="0"/>
              <a:t>Diagram</a:t>
            </a:r>
          </a:p>
        </p:txBody>
      </p:sp>
    </p:spTree>
    <p:extLst>
      <p:ext uri="{BB962C8B-B14F-4D97-AF65-F5344CB8AC3E}">
        <p14:creationId xmlns:p14="http://schemas.microsoft.com/office/powerpoint/2010/main" val="33565023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F921426-A6EB-4EDF-86B7-7A7977246D7F}"/>
              </a:ext>
            </a:extLst>
          </p:cNvPr>
          <p:cNvSpPr>
            <a:spLocks noGrp="1"/>
          </p:cNvSpPr>
          <p:nvPr>
            <p:ph type="sldNum" sz="quarter" idx="12"/>
          </p:nvPr>
        </p:nvSpPr>
        <p:spPr>
          <a:xfrm>
            <a:off x="11730950" y="6380188"/>
            <a:ext cx="312499" cy="276999"/>
          </a:xfrm>
          <a:prstGeom prst="rect">
            <a:avLst/>
          </a:prstGeom>
        </p:spPr>
        <p:txBody>
          <a:bodyPr vert="horz" lIns="0" tIns="0" rIns="0" bIns="0" rtlCol="0" anchor="ctr">
            <a:normAutofit/>
          </a:bodyP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972270-7EB8-4EBA-87A9-AC2EA26E5165}" type="slidenum">
              <a:rPr lang="en-US" smtClean="0"/>
              <a:pPr/>
              <a:t>65</a:t>
            </a:fld>
            <a:endParaRPr lang="en-US" dirty="0"/>
          </a:p>
        </p:txBody>
      </p:sp>
      <p:grpSp>
        <p:nvGrpSpPr>
          <p:cNvPr id="68" name="Group 67">
            <a:extLst>
              <a:ext uri="{FF2B5EF4-FFF2-40B4-BE49-F238E27FC236}">
                <a16:creationId xmlns:a16="http://schemas.microsoft.com/office/drawing/2014/main" id="{8F569DD2-9050-460B-A33B-E24A2C0CEFA2}"/>
              </a:ext>
            </a:extLst>
          </p:cNvPr>
          <p:cNvGrpSpPr/>
          <p:nvPr/>
        </p:nvGrpSpPr>
        <p:grpSpPr>
          <a:xfrm>
            <a:off x="7429018" y="3547111"/>
            <a:ext cx="9524380" cy="8063977"/>
            <a:chOff x="3714751" y="1512888"/>
            <a:chExt cx="4762500" cy="4032251"/>
          </a:xfrm>
        </p:grpSpPr>
        <p:sp>
          <p:nvSpPr>
            <p:cNvPr id="50" name="Freeform 5">
              <a:extLst>
                <a:ext uri="{FF2B5EF4-FFF2-40B4-BE49-F238E27FC236}">
                  <a16:creationId xmlns:a16="http://schemas.microsoft.com/office/drawing/2014/main" id="{DE22330F-2978-4ABB-BD14-23F92C9EFD08}"/>
                </a:ext>
              </a:extLst>
            </p:cNvPr>
            <p:cNvSpPr>
              <a:spLocks/>
            </p:cNvSpPr>
            <p:nvPr/>
          </p:nvSpPr>
          <p:spPr bwMode="auto">
            <a:xfrm>
              <a:off x="3714751" y="3937001"/>
              <a:ext cx="1352550" cy="1608138"/>
            </a:xfrm>
            <a:custGeom>
              <a:avLst/>
              <a:gdLst>
                <a:gd name="T0" fmla="*/ 0 w 580"/>
                <a:gd name="T1" fmla="*/ 0 h 690"/>
                <a:gd name="T2" fmla="*/ 286 w 580"/>
                <a:gd name="T3" fmla="*/ 690 h 690"/>
                <a:gd name="T4" fmla="*/ 580 w 580"/>
                <a:gd name="T5" fmla="*/ 397 h 690"/>
                <a:gd name="T6" fmla="*/ 416 w 580"/>
                <a:gd name="T7" fmla="*/ 0 h 690"/>
                <a:gd name="T8" fmla="*/ 0 w 580"/>
                <a:gd name="T9" fmla="*/ 0 h 690"/>
              </a:gdLst>
              <a:ahLst/>
              <a:cxnLst>
                <a:cxn ang="0">
                  <a:pos x="T0" y="T1"/>
                </a:cxn>
                <a:cxn ang="0">
                  <a:pos x="T2" y="T3"/>
                </a:cxn>
                <a:cxn ang="0">
                  <a:pos x="T4" y="T5"/>
                </a:cxn>
                <a:cxn ang="0">
                  <a:pos x="T6" y="T7"/>
                </a:cxn>
                <a:cxn ang="0">
                  <a:pos x="T8" y="T9"/>
                </a:cxn>
              </a:cxnLst>
              <a:rect l="0" t="0" r="r" b="b"/>
              <a:pathLst>
                <a:path w="580" h="690">
                  <a:moveTo>
                    <a:pt x="0" y="0"/>
                  </a:moveTo>
                  <a:cubicBezTo>
                    <a:pt x="5" y="268"/>
                    <a:pt x="113" y="511"/>
                    <a:pt x="286" y="690"/>
                  </a:cubicBezTo>
                  <a:cubicBezTo>
                    <a:pt x="580" y="397"/>
                    <a:pt x="580" y="397"/>
                    <a:pt x="580" y="397"/>
                  </a:cubicBezTo>
                  <a:cubicBezTo>
                    <a:pt x="482" y="292"/>
                    <a:pt x="420" y="153"/>
                    <a:pt x="416" y="0"/>
                  </a:cubicBezTo>
                  <a:lnTo>
                    <a:pt x="0" y="0"/>
                  </a:lnTo>
                  <a:close/>
                </a:path>
              </a:pathLst>
            </a:custGeom>
            <a:solidFill>
              <a:schemeClr val="accent1"/>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51" name="Freeform 6">
              <a:extLst>
                <a:ext uri="{FF2B5EF4-FFF2-40B4-BE49-F238E27FC236}">
                  <a16:creationId xmlns:a16="http://schemas.microsoft.com/office/drawing/2014/main" id="{A1F8A0F4-1566-470B-BB15-C37CD11936CE}"/>
                </a:ext>
              </a:extLst>
            </p:cNvPr>
            <p:cNvSpPr>
              <a:spLocks/>
            </p:cNvSpPr>
            <p:nvPr/>
          </p:nvSpPr>
          <p:spPr bwMode="auto">
            <a:xfrm>
              <a:off x="3714751" y="2241551"/>
              <a:ext cx="1352550" cy="1608138"/>
            </a:xfrm>
            <a:custGeom>
              <a:avLst/>
              <a:gdLst>
                <a:gd name="T0" fmla="*/ 0 w 580"/>
                <a:gd name="T1" fmla="*/ 690 h 690"/>
                <a:gd name="T2" fmla="*/ 416 w 580"/>
                <a:gd name="T3" fmla="*/ 690 h 690"/>
                <a:gd name="T4" fmla="*/ 580 w 580"/>
                <a:gd name="T5" fmla="*/ 293 h 690"/>
                <a:gd name="T6" fmla="*/ 286 w 580"/>
                <a:gd name="T7" fmla="*/ 0 h 690"/>
                <a:gd name="T8" fmla="*/ 0 w 580"/>
                <a:gd name="T9" fmla="*/ 690 h 690"/>
              </a:gdLst>
              <a:ahLst/>
              <a:cxnLst>
                <a:cxn ang="0">
                  <a:pos x="T0" y="T1"/>
                </a:cxn>
                <a:cxn ang="0">
                  <a:pos x="T2" y="T3"/>
                </a:cxn>
                <a:cxn ang="0">
                  <a:pos x="T4" y="T5"/>
                </a:cxn>
                <a:cxn ang="0">
                  <a:pos x="T6" y="T7"/>
                </a:cxn>
                <a:cxn ang="0">
                  <a:pos x="T8" y="T9"/>
                </a:cxn>
              </a:cxnLst>
              <a:rect l="0" t="0" r="r" b="b"/>
              <a:pathLst>
                <a:path w="580" h="690">
                  <a:moveTo>
                    <a:pt x="0" y="690"/>
                  </a:moveTo>
                  <a:cubicBezTo>
                    <a:pt x="416" y="690"/>
                    <a:pt x="416" y="690"/>
                    <a:pt x="416" y="690"/>
                  </a:cubicBezTo>
                  <a:cubicBezTo>
                    <a:pt x="420" y="537"/>
                    <a:pt x="482" y="398"/>
                    <a:pt x="580" y="293"/>
                  </a:cubicBezTo>
                  <a:cubicBezTo>
                    <a:pt x="286" y="0"/>
                    <a:pt x="286" y="0"/>
                    <a:pt x="286" y="0"/>
                  </a:cubicBezTo>
                  <a:cubicBezTo>
                    <a:pt x="113" y="179"/>
                    <a:pt x="5" y="422"/>
                    <a:pt x="0" y="690"/>
                  </a:cubicBezTo>
                  <a:close/>
                </a:path>
              </a:pathLst>
            </a:custGeom>
            <a:solidFill>
              <a:schemeClr val="accent2"/>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52" name="Freeform 7">
              <a:extLst>
                <a:ext uri="{FF2B5EF4-FFF2-40B4-BE49-F238E27FC236}">
                  <a16:creationId xmlns:a16="http://schemas.microsoft.com/office/drawing/2014/main" id="{9236847C-5CE2-4181-BBC8-793A647E2D91}"/>
                </a:ext>
              </a:extLst>
            </p:cNvPr>
            <p:cNvSpPr>
              <a:spLocks/>
            </p:cNvSpPr>
            <p:nvPr/>
          </p:nvSpPr>
          <p:spPr bwMode="auto">
            <a:xfrm>
              <a:off x="4445001" y="1512888"/>
              <a:ext cx="1609725" cy="1350963"/>
            </a:xfrm>
            <a:custGeom>
              <a:avLst/>
              <a:gdLst>
                <a:gd name="T0" fmla="*/ 293 w 690"/>
                <a:gd name="T1" fmla="*/ 579 h 579"/>
                <a:gd name="T2" fmla="*/ 690 w 690"/>
                <a:gd name="T3" fmla="*/ 415 h 579"/>
                <a:gd name="T4" fmla="*/ 690 w 690"/>
                <a:gd name="T5" fmla="*/ 0 h 579"/>
                <a:gd name="T6" fmla="*/ 0 w 690"/>
                <a:gd name="T7" fmla="*/ 286 h 579"/>
                <a:gd name="T8" fmla="*/ 293 w 690"/>
                <a:gd name="T9" fmla="*/ 579 h 579"/>
              </a:gdLst>
              <a:ahLst/>
              <a:cxnLst>
                <a:cxn ang="0">
                  <a:pos x="T0" y="T1"/>
                </a:cxn>
                <a:cxn ang="0">
                  <a:pos x="T2" y="T3"/>
                </a:cxn>
                <a:cxn ang="0">
                  <a:pos x="T4" y="T5"/>
                </a:cxn>
                <a:cxn ang="0">
                  <a:pos x="T6" y="T7"/>
                </a:cxn>
                <a:cxn ang="0">
                  <a:pos x="T8" y="T9"/>
                </a:cxn>
              </a:cxnLst>
              <a:rect l="0" t="0" r="r" b="b"/>
              <a:pathLst>
                <a:path w="690" h="579">
                  <a:moveTo>
                    <a:pt x="293" y="579"/>
                  </a:moveTo>
                  <a:cubicBezTo>
                    <a:pt x="397" y="481"/>
                    <a:pt x="536" y="420"/>
                    <a:pt x="690" y="415"/>
                  </a:cubicBezTo>
                  <a:cubicBezTo>
                    <a:pt x="690" y="0"/>
                    <a:pt x="690" y="0"/>
                    <a:pt x="690" y="0"/>
                  </a:cubicBezTo>
                  <a:cubicBezTo>
                    <a:pt x="422" y="5"/>
                    <a:pt x="179" y="113"/>
                    <a:pt x="0" y="286"/>
                  </a:cubicBezTo>
                  <a:lnTo>
                    <a:pt x="293" y="579"/>
                  </a:lnTo>
                  <a:close/>
                </a:path>
              </a:pathLst>
            </a:custGeom>
            <a:solidFill>
              <a:schemeClr val="accent3"/>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53" name="Freeform 8">
              <a:extLst>
                <a:ext uri="{FF2B5EF4-FFF2-40B4-BE49-F238E27FC236}">
                  <a16:creationId xmlns:a16="http://schemas.microsoft.com/office/drawing/2014/main" id="{B1A13CC0-A6C4-42DE-9831-0883761FD68B}"/>
                </a:ext>
              </a:extLst>
            </p:cNvPr>
            <p:cNvSpPr>
              <a:spLocks/>
            </p:cNvSpPr>
            <p:nvPr/>
          </p:nvSpPr>
          <p:spPr bwMode="auto">
            <a:xfrm>
              <a:off x="6140451" y="1512888"/>
              <a:ext cx="1609725" cy="1350963"/>
            </a:xfrm>
            <a:custGeom>
              <a:avLst/>
              <a:gdLst>
                <a:gd name="T0" fmla="*/ 0 w 690"/>
                <a:gd name="T1" fmla="*/ 415 h 579"/>
                <a:gd name="T2" fmla="*/ 396 w 690"/>
                <a:gd name="T3" fmla="*/ 579 h 579"/>
                <a:gd name="T4" fmla="*/ 690 w 690"/>
                <a:gd name="T5" fmla="*/ 286 h 579"/>
                <a:gd name="T6" fmla="*/ 0 w 690"/>
                <a:gd name="T7" fmla="*/ 0 h 579"/>
                <a:gd name="T8" fmla="*/ 0 w 690"/>
                <a:gd name="T9" fmla="*/ 415 h 579"/>
              </a:gdLst>
              <a:ahLst/>
              <a:cxnLst>
                <a:cxn ang="0">
                  <a:pos x="T0" y="T1"/>
                </a:cxn>
                <a:cxn ang="0">
                  <a:pos x="T2" y="T3"/>
                </a:cxn>
                <a:cxn ang="0">
                  <a:pos x="T4" y="T5"/>
                </a:cxn>
                <a:cxn ang="0">
                  <a:pos x="T6" y="T7"/>
                </a:cxn>
                <a:cxn ang="0">
                  <a:pos x="T8" y="T9"/>
                </a:cxn>
              </a:cxnLst>
              <a:rect l="0" t="0" r="r" b="b"/>
              <a:pathLst>
                <a:path w="690" h="579">
                  <a:moveTo>
                    <a:pt x="0" y="415"/>
                  </a:moveTo>
                  <a:cubicBezTo>
                    <a:pt x="153" y="420"/>
                    <a:pt x="292" y="481"/>
                    <a:pt x="396" y="579"/>
                  </a:cubicBezTo>
                  <a:cubicBezTo>
                    <a:pt x="690" y="286"/>
                    <a:pt x="690" y="286"/>
                    <a:pt x="690" y="286"/>
                  </a:cubicBezTo>
                  <a:cubicBezTo>
                    <a:pt x="510" y="113"/>
                    <a:pt x="267" y="5"/>
                    <a:pt x="0" y="0"/>
                  </a:cubicBezTo>
                  <a:lnTo>
                    <a:pt x="0" y="415"/>
                  </a:lnTo>
                  <a:close/>
                </a:path>
              </a:pathLst>
            </a:custGeom>
            <a:solidFill>
              <a:schemeClr val="accent1"/>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54" name="Freeform 9">
              <a:extLst>
                <a:ext uri="{FF2B5EF4-FFF2-40B4-BE49-F238E27FC236}">
                  <a16:creationId xmlns:a16="http://schemas.microsoft.com/office/drawing/2014/main" id="{018FF822-0AB2-41C5-95AF-357826A5CAC6}"/>
                </a:ext>
              </a:extLst>
            </p:cNvPr>
            <p:cNvSpPr>
              <a:spLocks/>
            </p:cNvSpPr>
            <p:nvPr/>
          </p:nvSpPr>
          <p:spPr bwMode="auto">
            <a:xfrm>
              <a:off x="7124701" y="3937001"/>
              <a:ext cx="1352550" cy="1608138"/>
            </a:xfrm>
            <a:custGeom>
              <a:avLst/>
              <a:gdLst>
                <a:gd name="T0" fmla="*/ 0 w 580"/>
                <a:gd name="T1" fmla="*/ 397 h 690"/>
                <a:gd name="T2" fmla="*/ 294 w 580"/>
                <a:gd name="T3" fmla="*/ 690 h 690"/>
                <a:gd name="T4" fmla="*/ 580 w 580"/>
                <a:gd name="T5" fmla="*/ 0 h 690"/>
                <a:gd name="T6" fmla="*/ 165 w 580"/>
                <a:gd name="T7" fmla="*/ 0 h 690"/>
                <a:gd name="T8" fmla="*/ 0 w 580"/>
                <a:gd name="T9" fmla="*/ 397 h 690"/>
              </a:gdLst>
              <a:ahLst/>
              <a:cxnLst>
                <a:cxn ang="0">
                  <a:pos x="T0" y="T1"/>
                </a:cxn>
                <a:cxn ang="0">
                  <a:pos x="T2" y="T3"/>
                </a:cxn>
                <a:cxn ang="0">
                  <a:pos x="T4" y="T5"/>
                </a:cxn>
                <a:cxn ang="0">
                  <a:pos x="T6" y="T7"/>
                </a:cxn>
                <a:cxn ang="0">
                  <a:pos x="T8" y="T9"/>
                </a:cxn>
              </a:cxnLst>
              <a:rect l="0" t="0" r="r" b="b"/>
              <a:pathLst>
                <a:path w="580" h="690">
                  <a:moveTo>
                    <a:pt x="0" y="397"/>
                  </a:moveTo>
                  <a:cubicBezTo>
                    <a:pt x="294" y="690"/>
                    <a:pt x="294" y="690"/>
                    <a:pt x="294" y="690"/>
                  </a:cubicBezTo>
                  <a:cubicBezTo>
                    <a:pt x="467" y="511"/>
                    <a:pt x="575" y="268"/>
                    <a:pt x="580" y="0"/>
                  </a:cubicBezTo>
                  <a:cubicBezTo>
                    <a:pt x="165" y="0"/>
                    <a:pt x="165" y="0"/>
                    <a:pt x="165" y="0"/>
                  </a:cubicBezTo>
                  <a:cubicBezTo>
                    <a:pt x="160" y="153"/>
                    <a:pt x="99" y="292"/>
                    <a:pt x="0" y="397"/>
                  </a:cubicBezTo>
                  <a:close/>
                </a:path>
              </a:pathLst>
            </a:custGeom>
            <a:solidFill>
              <a:schemeClr val="accent3"/>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55" name="Freeform 10">
              <a:extLst>
                <a:ext uri="{FF2B5EF4-FFF2-40B4-BE49-F238E27FC236}">
                  <a16:creationId xmlns:a16="http://schemas.microsoft.com/office/drawing/2014/main" id="{2D01DC84-74EC-4286-BAEB-CFCA7CE326F0}"/>
                </a:ext>
              </a:extLst>
            </p:cNvPr>
            <p:cNvSpPr>
              <a:spLocks/>
            </p:cNvSpPr>
            <p:nvPr/>
          </p:nvSpPr>
          <p:spPr bwMode="auto">
            <a:xfrm>
              <a:off x="7124701" y="2241551"/>
              <a:ext cx="1352550" cy="1608138"/>
            </a:xfrm>
            <a:custGeom>
              <a:avLst/>
              <a:gdLst>
                <a:gd name="T0" fmla="*/ 0 w 580"/>
                <a:gd name="T1" fmla="*/ 293 h 690"/>
                <a:gd name="T2" fmla="*/ 165 w 580"/>
                <a:gd name="T3" fmla="*/ 690 h 690"/>
                <a:gd name="T4" fmla="*/ 580 w 580"/>
                <a:gd name="T5" fmla="*/ 690 h 690"/>
                <a:gd name="T6" fmla="*/ 294 w 580"/>
                <a:gd name="T7" fmla="*/ 0 h 690"/>
                <a:gd name="T8" fmla="*/ 0 w 580"/>
                <a:gd name="T9" fmla="*/ 293 h 690"/>
              </a:gdLst>
              <a:ahLst/>
              <a:cxnLst>
                <a:cxn ang="0">
                  <a:pos x="T0" y="T1"/>
                </a:cxn>
                <a:cxn ang="0">
                  <a:pos x="T2" y="T3"/>
                </a:cxn>
                <a:cxn ang="0">
                  <a:pos x="T4" y="T5"/>
                </a:cxn>
                <a:cxn ang="0">
                  <a:pos x="T6" y="T7"/>
                </a:cxn>
                <a:cxn ang="0">
                  <a:pos x="T8" y="T9"/>
                </a:cxn>
              </a:cxnLst>
              <a:rect l="0" t="0" r="r" b="b"/>
              <a:pathLst>
                <a:path w="580" h="690">
                  <a:moveTo>
                    <a:pt x="0" y="293"/>
                  </a:moveTo>
                  <a:cubicBezTo>
                    <a:pt x="98" y="398"/>
                    <a:pt x="160" y="537"/>
                    <a:pt x="165" y="690"/>
                  </a:cubicBezTo>
                  <a:cubicBezTo>
                    <a:pt x="580" y="690"/>
                    <a:pt x="580" y="690"/>
                    <a:pt x="580" y="690"/>
                  </a:cubicBezTo>
                  <a:cubicBezTo>
                    <a:pt x="575" y="422"/>
                    <a:pt x="467" y="179"/>
                    <a:pt x="294" y="0"/>
                  </a:cubicBezTo>
                  <a:lnTo>
                    <a:pt x="0" y="293"/>
                  </a:lnTo>
                  <a:close/>
                </a:path>
              </a:pathLst>
            </a:custGeom>
            <a:solidFill>
              <a:schemeClr val="accent2"/>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134" name="Freeform: Shape 133">
              <a:extLst>
                <a:ext uri="{FF2B5EF4-FFF2-40B4-BE49-F238E27FC236}">
                  <a16:creationId xmlns:a16="http://schemas.microsoft.com/office/drawing/2014/main" id="{CDC1AB9A-8740-499D-A0BE-94C4FD69703D}"/>
                </a:ext>
              </a:extLst>
            </p:cNvPr>
            <p:cNvSpPr>
              <a:spLocks/>
            </p:cNvSpPr>
            <p:nvPr/>
          </p:nvSpPr>
          <p:spPr bwMode="auto">
            <a:xfrm>
              <a:off x="6985001" y="2924176"/>
              <a:ext cx="525463" cy="925513"/>
            </a:xfrm>
            <a:custGeom>
              <a:avLst/>
              <a:gdLst>
                <a:gd name="connsiteX0" fmla="*/ 140124 w 525463"/>
                <a:gd name="connsiteY0" fmla="*/ 0 h 925513"/>
                <a:gd name="connsiteX1" fmla="*/ 525463 w 525463"/>
                <a:gd name="connsiteY1" fmla="*/ 925513 h 925513"/>
                <a:gd name="connsiteX2" fmla="*/ 324620 w 525463"/>
                <a:gd name="connsiteY2" fmla="*/ 925513 h 925513"/>
                <a:gd name="connsiteX3" fmla="*/ 267270 w 525463"/>
                <a:gd name="connsiteY3" fmla="*/ 599195 h 925513"/>
                <a:gd name="connsiteX4" fmla="*/ 254861 w 525463"/>
                <a:gd name="connsiteY4" fmla="*/ 565737 h 925513"/>
                <a:gd name="connsiteX5" fmla="*/ 100012 w 525463"/>
                <a:gd name="connsiteY5" fmla="*/ 547688 h 925513"/>
                <a:gd name="connsiteX6" fmla="*/ 193599 w 525463"/>
                <a:gd name="connsiteY6" fmla="*/ 421961 h 925513"/>
                <a:gd name="connsiteX7" fmla="*/ 183789 w 525463"/>
                <a:gd name="connsiteY7" fmla="*/ 401320 h 925513"/>
                <a:gd name="connsiteX8" fmla="*/ 0 w 525463"/>
                <a:gd name="connsiteY8" fmla="*/ 142207 h 92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463" h="925513">
                  <a:moveTo>
                    <a:pt x="140124" y="0"/>
                  </a:moveTo>
                  <a:cubicBezTo>
                    <a:pt x="368992" y="244783"/>
                    <a:pt x="513786" y="568829"/>
                    <a:pt x="525463" y="925513"/>
                  </a:cubicBezTo>
                  <a:cubicBezTo>
                    <a:pt x="525463" y="925513"/>
                    <a:pt x="525463" y="925513"/>
                    <a:pt x="324620" y="925513"/>
                  </a:cubicBezTo>
                  <a:cubicBezTo>
                    <a:pt x="320241" y="811864"/>
                    <a:pt x="300427" y="702476"/>
                    <a:pt x="267270" y="599195"/>
                  </a:cubicBezTo>
                  <a:lnTo>
                    <a:pt x="254861" y="565737"/>
                  </a:lnTo>
                  <a:lnTo>
                    <a:pt x="100012" y="547688"/>
                  </a:lnTo>
                  <a:lnTo>
                    <a:pt x="193599" y="421961"/>
                  </a:lnTo>
                  <a:lnTo>
                    <a:pt x="183789" y="401320"/>
                  </a:lnTo>
                  <a:cubicBezTo>
                    <a:pt x="133774" y="306999"/>
                    <a:pt x="71813" y="220013"/>
                    <a:pt x="0" y="142207"/>
                  </a:cubicBezTo>
                  <a:close/>
                </a:path>
              </a:pathLst>
            </a:custGeom>
            <a:solidFill>
              <a:schemeClr val="accent2">
                <a:lumMod val="75000"/>
              </a:schemeClr>
            </a:solidFill>
            <a:ln>
              <a:noFill/>
            </a:ln>
          </p:spPr>
          <p:txBody>
            <a:bodyPr vert="horz" wrap="square" lIns="182868" tIns="91434" rIns="182868" bIns="91434" numCol="1" anchor="t" anchorCtr="0" compatLnSpc="1">
              <a:prstTxWarp prst="textNoShape">
                <a:avLst/>
              </a:prstTxWarp>
              <a:noAutofit/>
            </a:bodyPr>
            <a:lstStyle/>
            <a:p>
              <a:endParaRPr lang="en-US" sz="3600"/>
            </a:p>
          </p:txBody>
        </p:sp>
        <p:sp>
          <p:nvSpPr>
            <p:cNvPr id="133" name="Freeform: Shape 132">
              <a:extLst>
                <a:ext uri="{FF2B5EF4-FFF2-40B4-BE49-F238E27FC236}">
                  <a16:creationId xmlns:a16="http://schemas.microsoft.com/office/drawing/2014/main" id="{A37E7521-F448-4B48-B7F7-6ADD559307F2}"/>
                </a:ext>
              </a:extLst>
            </p:cNvPr>
            <p:cNvSpPr>
              <a:spLocks/>
            </p:cNvSpPr>
            <p:nvPr/>
          </p:nvSpPr>
          <p:spPr bwMode="auto">
            <a:xfrm>
              <a:off x="6140451" y="2481263"/>
              <a:ext cx="923925" cy="523875"/>
            </a:xfrm>
            <a:custGeom>
              <a:avLst/>
              <a:gdLst>
                <a:gd name="connsiteX0" fmla="*/ 0 w 923925"/>
                <a:gd name="connsiteY0" fmla="*/ 0 h 523875"/>
                <a:gd name="connsiteX1" fmla="*/ 923925 w 923925"/>
                <a:gd name="connsiteY1" fmla="*/ 381847 h 523875"/>
                <a:gd name="connsiteX2" fmla="*/ 783937 w 923925"/>
                <a:gd name="connsiteY2" fmla="*/ 523875 h 523875"/>
                <a:gd name="connsiteX3" fmla="*/ 524001 w 923925"/>
                <a:gd name="connsiteY3" fmla="*/ 339005 h 523875"/>
                <a:gd name="connsiteX4" fmla="*/ 476437 w 923925"/>
                <a:gd name="connsiteY4" fmla="*/ 316493 h 523875"/>
                <a:gd name="connsiteX5" fmla="*/ 354013 w 923925"/>
                <a:gd name="connsiteY5" fmla="*/ 412751 h 523875"/>
                <a:gd name="connsiteX6" fmla="*/ 332487 w 923925"/>
                <a:gd name="connsiteY6" fmla="*/ 258325 h 523875"/>
                <a:gd name="connsiteX7" fmla="*/ 325556 w 923925"/>
                <a:gd name="connsiteY7" fmla="*/ 255776 h 523875"/>
                <a:gd name="connsiteX8" fmla="*/ 0 w 923925"/>
                <a:gd name="connsiteY8" fmla="*/ 200237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925" h="523875">
                  <a:moveTo>
                    <a:pt x="0" y="0"/>
                  </a:moveTo>
                  <a:cubicBezTo>
                    <a:pt x="356971" y="11642"/>
                    <a:pt x="681278" y="153670"/>
                    <a:pt x="923925" y="381847"/>
                  </a:cubicBezTo>
                  <a:cubicBezTo>
                    <a:pt x="923925" y="381847"/>
                    <a:pt x="923925" y="381847"/>
                    <a:pt x="783937" y="523875"/>
                  </a:cubicBezTo>
                  <a:cubicBezTo>
                    <a:pt x="706068" y="451406"/>
                    <a:pt x="618684" y="389086"/>
                    <a:pt x="524001" y="339005"/>
                  </a:cubicBezTo>
                  <a:lnTo>
                    <a:pt x="476437" y="316493"/>
                  </a:lnTo>
                  <a:lnTo>
                    <a:pt x="354013" y="412751"/>
                  </a:lnTo>
                  <a:lnTo>
                    <a:pt x="332487" y="258325"/>
                  </a:lnTo>
                  <a:lnTo>
                    <a:pt x="325556" y="255776"/>
                  </a:lnTo>
                  <a:cubicBezTo>
                    <a:pt x="222122" y="222938"/>
                    <a:pt x="112866" y="203729"/>
                    <a:pt x="0" y="200237"/>
                  </a:cubicBezTo>
                  <a:close/>
                </a:path>
              </a:pathLst>
            </a:custGeom>
            <a:solidFill>
              <a:schemeClr val="accent1">
                <a:lumMod val="75000"/>
              </a:schemeClr>
            </a:solidFill>
            <a:ln>
              <a:noFill/>
            </a:ln>
          </p:spPr>
          <p:txBody>
            <a:bodyPr vert="horz" wrap="square" lIns="182868" tIns="91434" rIns="182868" bIns="91434" numCol="1" anchor="t" anchorCtr="0" compatLnSpc="1">
              <a:prstTxWarp prst="textNoShape">
                <a:avLst/>
              </a:prstTxWarp>
              <a:noAutofit/>
            </a:bodyPr>
            <a:lstStyle/>
            <a:p>
              <a:endParaRPr lang="en-US" sz="3600"/>
            </a:p>
          </p:txBody>
        </p:sp>
        <p:sp>
          <p:nvSpPr>
            <p:cNvPr id="132" name="Freeform: Shape 131">
              <a:extLst>
                <a:ext uri="{FF2B5EF4-FFF2-40B4-BE49-F238E27FC236}">
                  <a16:creationId xmlns:a16="http://schemas.microsoft.com/office/drawing/2014/main" id="{47F38113-A4B0-41AD-A0FF-6F35C6119DCE}"/>
                </a:ext>
              </a:extLst>
            </p:cNvPr>
            <p:cNvSpPr>
              <a:spLocks/>
            </p:cNvSpPr>
            <p:nvPr/>
          </p:nvSpPr>
          <p:spPr bwMode="auto">
            <a:xfrm>
              <a:off x="5127625" y="2481263"/>
              <a:ext cx="927100" cy="523875"/>
            </a:xfrm>
            <a:custGeom>
              <a:avLst/>
              <a:gdLst>
                <a:gd name="connsiteX0" fmla="*/ 927100 w 927100"/>
                <a:gd name="connsiteY0" fmla="*/ 0 h 523875"/>
                <a:gd name="connsiteX1" fmla="*/ 927100 w 927100"/>
                <a:gd name="connsiteY1" fmla="*/ 200237 h 523875"/>
                <a:gd name="connsiteX2" fmla="*/ 599607 w 927100"/>
                <a:gd name="connsiteY2" fmla="*/ 255776 h 523875"/>
                <a:gd name="connsiteX3" fmla="*/ 558512 w 927100"/>
                <a:gd name="connsiteY3" fmla="*/ 270862 h 523875"/>
                <a:gd name="connsiteX4" fmla="*/ 541338 w 927100"/>
                <a:gd name="connsiteY4" fmla="*/ 419100 h 523875"/>
                <a:gd name="connsiteX5" fmla="*/ 421557 w 927100"/>
                <a:gd name="connsiteY5" fmla="*/ 329264 h 523875"/>
                <a:gd name="connsiteX6" fmla="*/ 400982 w 927100"/>
                <a:gd name="connsiteY6" fmla="*/ 339005 h 523875"/>
                <a:gd name="connsiteX7" fmla="*/ 142451 w 927100"/>
                <a:gd name="connsiteY7" fmla="*/ 523875 h 523875"/>
                <a:gd name="connsiteX8" fmla="*/ 0 w 927100"/>
                <a:gd name="connsiteY8" fmla="*/ 381847 h 523875"/>
                <a:gd name="connsiteX9" fmla="*/ 927100 w 927100"/>
                <a:gd name="connsiteY9"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7100" h="523875">
                  <a:moveTo>
                    <a:pt x="927100" y="0"/>
                  </a:moveTo>
                  <a:cubicBezTo>
                    <a:pt x="927100" y="0"/>
                    <a:pt x="927100" y="0"/>
                    <a:pt x="927100" y="200237"/>
                  </a:cubicBezTo>
                  <a:cubicBezTo>
                    <a:pt x="813256" y="203729"/>
                    <a:pt x="703353" y="222938"/>
                    <a:pt x="599607" y="255776"/>
                  </a:cubicBezTo>
                  <a:lnTo>
                    <a:pt x="558512" y="270862"/>
                  </a:lnTo>
                  <a:lnTo>
                    <a:pt x="541338" y="419100"/>
                  </a:lnTo>
                  <a:lnTo>
                    <a:pt x="421557" y="329264"/>
                  </a:lnTo>
                  <a:lnTo>
                    <a:pt x="400982" y="339005"/>
                  </a:lnTo>
                  <a:cubicBezTo>
                    <a:pt x="306430" y="389086"/>
                    <a:pt x="219515" y="451406"/>
                    <a:pt x="142451" y="523875"/>
                  </a:cubicBezTo>
                  <a:lnTo>
                    <a:pt x="0" y="381847"/>
                  </a:lnTo>
                  <a:cubicBezTo>
                    <a:pt x="242867" y="153670"/>
                    <a:pt x="567469" y="11642"/>
                    <a:pt x="927100" y="0"/>
                  </a:cubicBezTo>
                  <a:close/>
                </a:path>
              </a:pathLst>
            </a:custGeom>
            <a:solidFill>
              <a:schemeClr val="accent3">
                <a:lumMod val="75000"/>
              </a:schemeClr>
            </a:solidFill>
            <a:ln>
              <a:noFill/>
            </a:ln>
          </p:spPr>
          <p:txBody>
            <a:bodyPr vert="horz" wrap="square" lIns="182868" tIns="91434" rIns="182868" bIns="91434" numCol="1" anchor="t" anchorCtr="0" compatLnSpc="1">
              <a:prstTxWarp prst="textNoShape">
                <a:avLst/>
              </a:prstTxWarp>
              <a:noAutofit/>
            </a:bodyPr>
            <a:lstStyle/>
            <a:p>
              <a:endParaRPr lang="en-US" sz="3600"/>
            </a:p>
          </p:txBody>
        </p:sp>
        <p:sp>
          <p:nvSpPr>
            <p:cNvPr id="131" name="Freeform: Shape 130">
              <a:extLst>
                <a:ext uri="{FF2B5EF4-FFF2-40B4-BE49-F238E27FC236}">
                  <a16:creationId xmlns:a16="http://schemas.microsoft.com/office/drawing/2014/main" id="{EFD44DD8-F6E7-4ABB-B89F-181F3E9514C9}"/>
                </a:ext>
              </a:extLst>
            </p:cNvPr>
            <p:cNvSpPr>
              <a:spLocks/>
            </p:cNvSpPr>
            <p:nvPr/>
          </p:nvSpPr>
          <p:spPr bwMode="auto">
            <a:xfrm>
              <a:off x="4659311" y="2907299"/>
              <a:ext cx="531813" cy="942391"/>
            </a:xfrm>
            <a:custGeom>
              <a:avLst/>
              <a:gdLst>
                <a:gd name="connsiteX0" fmla="*/ 382390 w 522288"/>
                <a:gd name="connsiteY0" fmla="*/ 0 h 925513"/>
                <a:gd name="connsiteX1" fmla="*/ 522288 w 522288"/>
                <a:gd name="connsiteY1" fmla="*/ 142207 h 925513"/>
                <a:gd name="connsiteX2" fmla="*/ 338794 w 522288"/>
                <a:gd name="connsiteY2" fmla="*/ 401320 h 925513"/>
                <a:gd name="connsiteX3" fmla="*/ 315289 w 522288"/>
                <a:gd name="connsiteY3" fmla="*/ 450858 h 925513"/>
                <a:gd name="connsiteX4" fmla="*/ 406401 w 522288"/>
                <a:gd name="connsiteY4" fmla="*/ 566738 h 925513"/>
                <a:gd name="connsiteX5" fmla="*/ 260250 w 522288"/>
                <a:gd name="connsiteY5" fmla="*/ 586225 h 925513"/>
                <a:gd name="connsiteX6" fmla="*/ 255447 w 522288"/>
                <a:gd name="connsiteY6" fmla="*/ 599195 h 925513"/>
                <a:gd name="connsiteX7" fmla="*/ 198190 w 522288"/>
                <a:gd name="connsiteY7" fmla="*/ 925513 h 925513"/>
                <a:gd name="connsiteX8" fmla="*/ 0 w 522288"/>
                <a:gd name="connsiteY8" fmla="*/ 925513 h 925513"/>
                <a:gd name="connsiteX9" fmla="*/ 382390 w 522288"/>
                <a:gd name="connsiteY9" fmla="*/ 0 h 92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2288" h="925513">
                  <a:moveTo>
                    <a:pt x="382390" y="0"/>
                  </a:moveTo>
                  <a:cubicBezTo>
                    <a:pt x="382390" y="0"/>
                    <a:pt x="382390" y="0"/>
                    <a:pt x="522288" y="142207"/>
                  </a:cubicBezTo>
                  <a:cubicBezTo>
                    <a:pt x="450590" y="220013"/>
                    <a:pt x="388729" y="306999"/>
                    <a:pt x="338794" y="401320"/>
                  </a:cubicBezTo>
                  <a:lnTo>
                    <a:pt x="315289" y="450858"/>
                  </a:lnTo>
                  <a:lnTo>
                    <a:pt x="406401" y="566738"/>
                  </a:lnTo>
                  <a:lnTo>
                    <a:pt x="260250" y="586225"/>
                  </a:lnTo>
                  <a:lnTo>
                    <a:pt x="255447" y="599195"/>
                  </a:lnTo>
                  <a:cubicBezTo>
                    <a:pt x="222344" y="702476"/>
                    <a:pt x="202562" y="811864"/>
                    <a:pt x="198190" y="925513"/>
                  </a:cubicBezTo>
                  <a:cubicBezTo>
                    <a:pt x="198190" y="925513"/>
                    <a:pt x="198190" y="925513"/>
                    <a:pt x="0" y="925513"/>
                  </a:cubicBezTo>
                  <a:cubicBezTo>
                    <a:pt x="9326" y="568829"/>
                    <a:pt x="153889" y="244783"/>
                    <a:pt x="382390" y="0"/>
                  </a:cubicBezTo>
                  <a:close/>
                </a:path>
              </a:pathLst>
            </a:custGeom>
            <a:solidFill>
              <a:schemeClr val="accent2">
                <a:lumMod val="75000"/>
              </a:schemeClr>
            </a:solidFill>
            <a:ln>
              <a:noFill/>
            </a:ln>
          </p:spPr>
          <p:txBody>
            <a:bodyPr vert="horz" wrap="square" lIns="182868" tIns="91434" rIns="182868" bIns="91434" numCol="1" anchor="t" anchorCtr="0" compatLnSpc="1">
              <a:prstTxWarp prst="textNoShape">
                <a:avLst/>
              </a:prstTxWarp>
              <a:noAutofit/>
            </a:bodyPr>
            <a:lstStyle/>
            <a:p>
              <a:endParaRPr lang="en-US" sz="3600"/>
            </a:p>
          </p:txBody>
        </p:sp>
        <p:sp>
          <p:nvSpPr>
            <p:cNvPr id="130" name="Freeform: Shape 129">
              <a:extLst>
                <a:ext uri="{FF2B5EF4-FFF2-40B4-BE49-F238E27FC236}">
                  <a16:creationId xmlns:a16="http://schemas.microsoft.com/office/drawing/2014/main" id="{C592017D-3F77-4214-B66A-3217373C91C4}"/>
                </a:ext>
              </a:extLst>
            </p:cNvPr>
            <p:cNvSpPr>
              <a:spLocks/>
            </p:cNvSpPr>
            <p:nvPr/>
          </p:nvSpPr>
          <p:spPr bwMode="auto">
            <a:xfrm>
              <a:off x="4684713" y="3937001"/>
              <a:ext cx="522288" cy="925513"/>
            </a:xfrm>
            <a:custGeom>
              <a:avLst/>
              <a:gdLst>
                <a:gd name="connsiteX0" fmla="*/ 0 w 522288"/>
                <a:gd name="connsiteY0" fmla="*/ 0 h 925513"/>
                <a:gd name="connsiteX1" fmla="*/ 198190 w 522288"/>
                <a:gd name="connsiteY1" fmla="*/ 0 h 925513"/>
                <a:gd name="connsiteX2" fmla="*/ 255447 w 522288"/>
                <a:gd name="connsiteY2" fmla="*/ 326318 h 925513"/>
                <a:gd name="connsiteX3" fmla="*/ 268300 w 522288"/>
                <a:gd name="connsiteY3" fmla="*/ 361028 h 925513"/>
                <a:gd name="connsiteX4" fmla="*/ 412751 w 522288"/>
                <a:gd name="connsiteY4" fmla="*/ 379413 h 925513"/>
                <a:gd name="connsiteX5" fmla="*/ 325036 w 522288"/>
                <a:gd name="connsiteY5" fmla="*/ 495197 h 925513"/>
                <a:gd name="connsiteX6" fmla="*/ 338794 w 522288"/>
                <a:gd name="connsiteY6" fmla="*/ 524194 h 925513"/>
                <a:gd name="connsiteX7" fmla="*/ 522288 w 522288"/>
                <a:gd name="connsiteY7" fmla="*/ 783306 h 925513"/>
                <a:gd name="connsiteX8" fmla="*/ 382390 w 522288"/>
                <a:gd name="connsiteY8" fmla="*/ 925513 h 925513"/>
                <a:gd name="connsiteX9" fmla="*/ 0 w 522288"/>
                <a:gd name="connsiteY9" fmla="*/ 0 h 92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2288" h="925513">
                  <a:moveTo>
                    <a:pt x="0" y="0"/>
                  </a:moveTo>
                  <a:lnTo>
                    <a:pt x="198190" y="0"/>
                  </a:lnTo>
                  <a:cubicBezTo>
                    <a:pt x="202562" y="113649"/>
                    <a:pt x="222344" y="223036"/>
                    <a:pt x="255447" y="326318"/>
                  </a:cubicBezTo>
                  <a:lnTo>
                    <a:pt x="268300" y="361028"/>
                  </a:lnTo>
                  <a:lnTo>
                    <a:pt x="412751" y="379413"/>
                  </a:lnTo>
                  <a:lnTo>
                    <a:pt x="325036" y="495197"/>
                  </a:lnTo>
                  <a:lnTo>
                    <a:pt x="338794" y="524194"/>
                  </a:lnTo>
                  <a:cubicBezTo>
                    <a:pt x="388729" y="618514"/>
                    <a:pt x="450590" y="705500"/>
                    <a:pt x="522288" y="783306"/>
                  </a:cubicBezTo>
                  <a:cubicBezTo>
                    <a:pt x="522288" y="783306"/>
                    <a:pt x="522288" y="783306"/>
                    <a:pt x="382390" y="925513"/>
                  </a:cubicBezTo>
                  <a:cubicBezTo>
                    <a:pt x="153889" y="680730"/>
                    <a:pt x="9326" y="356684"/>
                    <a:pt x="0" y="0"/>
                  </a:cubicBezTo>
                  <a:close/>
                </a:path>
              </a:pathLst>
            </a:custGeom>
            <a:solidFill>
              <a:schemeClr val="accent1">
                <a:lumMod val="75000"/>
              </a:schemeClr>
            </a:solidFill>
            <a:ln>
              <a:noFill/>
            </a:ln>
          </p:spPr>
          <p:txBody>
            <a:bodyPr vert="horz" wrap="square" lIns="182868" tIns="91434" rIns="182868" bIns="91434" numCol="1" anchor="t" anchorCtr="0" compatLnSpc="1">
              <a:prstTxWarp prst="textNoShape">
                <a:avLst/>
              </a:prstTxWarp>
              <a:noAutofit/>
            </a:bodyPr>
            <a:lstStyle/>
            <a:p>
              <a:endParaRPr lang="en-US" sz="3600"/>
            </a:p>
          </p:txBody>
        </p:sp>
        <p:sp>
          <p:nvSpPr>
            <p:cNvPr id="135" name="Freeform: Shape 134">
              <a:extLst>
                <a:ext uri="{FF2B5EF4-FFF2-40B4-BE49-F238E27FC236}">
                  <a16:creationId xmlns:a16="http://schemas.microsoft.com/office/drawing/2014/main" id="{784F7DC2-0817-44A3-97F0-B01AC4C3ECB4}"/>
                </a:ext>
              </a:extLst>
            </p:cNvPr>
            <p:cNvSpPr>
              <a:spLocks/>
            </p:cNvSpPr>
            <p:nvPr/>
          </p:nvSpPr>
          <p:spPr bwMode="auto">
            <a:xfrm>
              <a:off x="6985001" y="3937001"/>
              <a:ext cx="525463" cy="925513"/>
            </a:xfrm>
            <a:custGeom>
              <a:avLst/>
              <a:gdLst>
                <a:gd name="connsiteX0" fmla="*/ 324620 w 525463"/>
                <a:gd name="connsiteY0" fmla="*/ 0 h 925513"/>
                <a:gd name="connsiteX1" fmla="*/ 525463 w 525463"/>
                <a:gd name="connsiteY1" fmla="*/ 0 h 925513"/>
                <a:gd name="connsiteX2" fmla="*/ 140124 w 525463"/>
                <a:gd name="connsiteY2" fmla="*/ 925513 h 925513"/>
                <a:gd name="connsiteX3" fmla="*/ 0 w 525463"/>
                <a:gd name="connsiteY3" fmla="*/ 783306 h 925513"/>
                <a:gd name="connsiteX4" fmla="*/ 185431 w 525463"/>
                <a:gd name="connsiteY4" fmla="*/ 524194 h 925513"/>
                <a:gd name="connsiteX5" fmla="*/ 204080 w 525463"/>
                <a:gd name="connsiteY5" fmla="*/ 485046 h 925513"/>
                <a:gd name="connsiteX6" fmla="*/ 107950 w 525463"/>
                <a:gd name="connsiteY6" fmla="*/ 360363 h 925513"/>
                <a:gd name="connsiteX7" fmla="*/ 264491 w 525463"/>
                <a:gd name="connsiteY7" fmla="*/ 338274 h 925513"/>
                <a:gd name="connsiteX8" fmla="*/ 268912 w 525463"/>
                <a:gd name="connsiteY8" fmla="*/ 326318 h 925513"/>
                <a:gd name="connsiteX9" fmla="*/ 324620 w 525463"/>
                <a:gd name="connsiteY9" fmla="*/ 0 h 92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5463" h="925513">
                  <a:moveTo>
                    <a:pt x="324620" y="0"/>
                  </a:moveTo>
                  <a:cubicBezTo>
                    <a:pt x="324620" y="0"/>
                    <a:pt x="324620" y="0"/>
                    <a:pt x="525463" y="0"/>
                  </a:cubicBezTo>
                  <a:cubicBezTo>
                    <a:pt x="513786" y="356684"/>
                    <a:pt x="371327" y="680730"/>
                    <a:pt x="140124" y="925513"/>
                  </a:cubicBezTo>
                  <a:cubicBezTo>
                    <a:pt x="140124" y="925513"/>
                    <a:pt x="140124" y="925513"/>
                    <a:pt x="0" y="783306"/>
                  </a:cubicBezTo>
                  <a:cubicBezTo>
                    <a:pt x="72689" y="705500"/>
                    <a:pt x="135198" y="618514"/>
                    <a:pt x="185431" y="524194"/>
                  </a:cubicBezTo>
                  <a:lnTo>
                    <a:pt x="204080" y="485046"/>
                  </a:lnTo>
                  <a:lnTo>
                    <a:pt x="107950" y="360363"/>
                  </a:lnTo>
                  <a:lnTo>
                    <a:pt x="264491" y="338274"/>
                  </a:lnTo>
                  <a:lnTo>
                    <a:pt x="268912" y="326318"/>
                  </a:lnTo>
                  <a:cubicBezTo>
                    <a:pt x="301850" y="223036"/>
                    <a:pt x="321117" y="113649"/>
                    <a:pt x="324620" y="0"/>
                  </a:cubicBezTo>
                  <a:close/>
                </a:path>
              </a:pathLst>
            </a:custGeom>
            <a:solidFill>
              <a:schemeClr val="accent3">
                <a:lumMod val="75000"/>
              </a:schemeClr>
            </a:solidFill>
            <a:ln>
              <a:noFill/>
            </a:ln>
          </p:spPr>
          <p:txBody>
            <a:bodyPr vert="horz" wrap="square" lIns="182868" tIns="91434" rIns="182868" bIns="91434" numCol="1" anchor="t" anchorCtr="0" compatLnSpc="1">
              <a:prstTxWarp prst="textNoShape">
                <a:avLst/>
              </a:prstTxWarp>
              <a:noAutofit/>
            </a:bodyPr>
            <a:lstStyle/>
            <a:p>
              <a:endParaRPr lang="en-US" sz="3600"/>
            </a:p>
          </p:txBody>
        </p:sp>
      </p:grpSp>
      <p:sp>
        <p:nvSpPr>
          <p:cNvPr id="136" name="Oval 135">
            <a:extLst>
              <a:ext uri="{FF2B5EF4-FFF2-40B4-BE49-F238E27FC236}">
                <a16:creationId xmlns:a16="http://schemas.microsoft.com/office/drawing/2014/main" id="{BC01FA75-DAAE-42BC-B2F3-5B8F7957A22E}"/>
              </a:ext>
            </a:extLst>
          </p:cNvPr>
          <p:cNvSpPr/>
          <p:nvPr/>
        </p:nvSpPr>
        <p:spPr>
          <a:xfrm>
            <a:off x="10270457" y="6404427"/>
            <a:ext cx="3841498" cy="3841498"/>
          </a:xfrm>
          <a:prstGeom prst="ellipse">
            <a:avLst/>
          </a:prstGeom>
          <a:solidFill>
            <a:schemeClr val="bg1"/>
          </a:solidFill>
          <a:ln>
            <a:noFill/>
          </a:ln>
          <a:effectLst>
            <a:innerShdw blurRad="63500" dist="50800" dir="162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grpSp>
        <p:nvGrpSpPr>
          <p:cNvPr id="70" name="Group 69">
            <a:extLst>
              <a:ext uri="{FF2B5EF4-FFF2-40B4-BE49-F238E27FC236}">
                <a16:creationId xmlns:a16="http://schemas.microsoft.com/office/drawing/2014/main" id="{0CCD4DCD-31BC-4DB5-BB52-6D9C4333D546}"/>
              </a:ext>
            </a:extLst>
          </p:cNvPr>
          <p:cNvGrpSpPr/>
          <p:nvPr/>
        </p:nvGrpSpPr>
        <p:grpSpPr>
          <a:xfrm>
            <a:off x="10596666" y="4620481"/>
            <a:ext cx="3189080" cy="574639"/>
            <a:chOff x="5332413" y="2290909"/>
            <a:chExt cx="1594644" cy="287338"/>
          </a:xfrm>
        </p:grpSpPr>
        <p:grpSp>
          <p:nvGrpSpPr>
            <p:cNvPr id="137" name="Group 136">
              <a:extLst>
                <a:ext uri="{FF2B5EF4-FFF2-40B4-BE49-F238E27FC236}">
                  <a16:creationId xmlns:a16="http://schemas.microsoft.com/office/drawing/2014/main" id="{33186DDF-1E7B-4638-B556-2B75F500F3B2}"/>
                </a:ext>
              </a:extLst>
            </p:cNvPr>
            <p:cNvGrpSpPr/>
            <p:nvPr/>
          </p:nvGrpSpPr>
          <p:grpSpPr>
            <a:xfrm>
              <a:off x="5332413" y="2290909"/>
              <a:ext cx="152400" cy="287338"/>
              <a:chOff x="1522413" y="2513013"/>
              <a:chExt cx="152400" cy="287338"/>
            </a:xfrm>
            <a:solidFill>
              <a:schemeClr val="bg1"/>
            </a:solidFill>
          </p:grpSpPr>
          <p:sp>
            <p:nvSpPr>
              <p:cNvPr id="138" name="Freeform 1544">
                <a:extLst>
                  <a:ext uri="{FF2B5EF4-FFF2-40B4-BE49-F238E27FC236}">
                    <a16:creationId xmlns:a16="http://schemas.microsoft.com/office/drawing/2014/main" id="{B5C3B9E8-F484-461D-86C1-1BB3DA4282A4}"/>
                  </a:ext>
                </a:extLst>
              </p:cNvPr>
              <p:cNvSpPr>
                <a:spLocks noEditPoints="1"/>
              </p:cNvSpPr>
              <p:nvPr/>
            </p:nvSpPr>
            <p:spPr bwMode="auto">
              <a:xfrm>
                <a:off x="1522413" y="2513013"/>
                <a:ext cx="152400" cy="287338"/>
              </a:xfrm>
              <a:custGeom>
                <a:avLst/>
                <a:gdLst>
                  <a:gd name="T0" fmla="*/ 59 w 482"/>
                  <a:gd name="T1" fmla="*/ 422 h 904"/>
                  <a:gd name="T2" fmla="*/ 422 w 482"/>
                  <a:gd name="T3" fmla="*/ 29 h 904"/>
                  <a:gd name="T4" fmla="*/ 468 w 482"/>
                  <a:gd name="T5" fmla="*/ 422 h 904"/>
                  <a:gd name="T6" fmla="*/ 452 w 482"/>
                  <a:gd name="T7" fmla="*/ 15 h 904"/>
                  <a:gd name="T8" fmla="*/ 451 w 482"/>
                  <a:gd name="T9" fmla="*/ 8 h 904"/>
                  <a:gd name="T10" fmla="*/ 448 w 482"/>
                  <a:gd name="T11" fmla="*/ 4 h 904"/>
                  <a:gd name="T12" fmla="*/ 443 w 482"/>
                  <a:gd name="T13" fmla="*/ 1 h 904"/>
                  <a:gd name="T14" fmla="*/ 437 w 482"/>
                  <a:gd name="T15" fmla="*/ 0 h 904"/>
                  <a:gd name="T16" fmla="*/ 42 w 482"/>
                  <a:gd name="T17" fmla="*/ 0 h 904"/>
                  <a:gd name="T18" fmla="*/ 36 w 482"/>
                  <a:gd name="T19" fmla="*/ 2 h 904"/>
                  <a:gd name="T20" fmla="*/ 32 w 482"/>
                  <a:gd name="T21" fmla="*/ 6 h 904"/>
                  <a:gd name="T22" fmla="*/ 30 w 482"/>
                  <a:gd name="T23" fmla="*/ 12 h 904"/>
                  <a:gd name="T24" fmla="*/ 30 w 482"/>
                  <a:gd name="T25" fmla="*/ 422 h 904"/>
                  <a:gd name="T26" fmla="*/ 12 w 482"/>
                  <a:gd name="T27" fmla="*/ 422 h 904"/>
                  <a:gd name="T28" fmla="*/ 6 w 482"/>
                  <a:gd name="T29" fmla="*/ 424 h 904"/>
                  <a:gd name="T30" fmla="*/ 2 w 482"/>
                  <a:gd name="T31" fmla="*/ 429 h 904"/>
                  <a:gd name="T32" fmla="*/ 0 w 482"/>
                  <a:gd name="T33" fmla="*/ 434 h 904"/>
                  <a:gd name="T34" fmla="*/ 0 w 482"/>
                  <a:gd name="T35" fmla="*/ 709 h 904"/>
                  <a:gd name="T36" fmla="*/ 2 w 482"/>
                  <a:gd name="T37" fmla="*/ 730 h 904"/>
                  <a:gd name="T38" fmla="*/ 7 w 482"/>
                  <a:gd name="T39" fmla="*/ 750 h 904"/>
                  <a:gd name="T40" fmla="*/ 17 w 482"/>
                  <a:gd name="T41" fmla="*/ 767 h 904"/>
                  <a:gd name="T42" fmla="*/ 31 w 482"/>
                  <a:gd name="T43" fmla="*/ 784 h 904"/>
                  <a:gd name="T44" fmla="*/ 46 w 482"/>
                  <a:gd name="T45" fmla="*/ 796 h 904"/>
                  <a:gd name="T46" fmla="*/ 64 w 482"/>
                  <a:gd name="T47" fmla="*/ 806 h 904"/>
                  <a:gd name="T48" fmla="*/ 84 w 482"/>
                  <a:gd name="T49" fmla="*/ 813 h 904"/>
                  <a:gd name="T50" fmla="*/ 105 w 482"/>
                  <a:gd name="T51" fmla="*/ 815 h 904"/>
                  <a:gd name="T52" fmla="*/ 150 w 482"/>
                  <a:gd name="T53" fmla="*/ 890 h 904"/>
                  <a:gd name="T54" fmla="*/ 151 w 482"/>
                  <a:gd name="T55" fmla="*/ 896 h 904"/>
                  <a:gd name="T56" fmla="*/ 155 w 482"/>
                  <a:gd name="T57" fmla="*/ 900 h 904"/>
                  <a:gd name="T58" fmla="*/ 159 w 482"/>
                  <a:gd name="T59" fmla="*/ 903 h 904"/>
                  <a:gd name="T60" fmla="*/ 166 w 482"/>
                  <a:gd name="T61" fmla="*/ 904 h 904"/>
                  <a:gd name="T62" fmla="*/ 319 w 482"/>
                  <a:gd name="T63" fmla="*/ 904 h 904"/>
                  <a:gd name="T64" fmla="*/ 325 w 482"/>
                  <a:gd name="T65" fmla="*/ 902 h 904"/>
                  <a:gd name="T66" fmla="*/ 328 w 482"/>
                  <a:gd name="T67" fmla="*/ 898 h 904"/>
                  <a:gd name="T68" fmla="*/ 330 w 482"/>
                  <a:gd name="T69" fmla="*/ 893 h 904"/>
                  <a:gd name="T70" fmla="*/ 332 w 482"/>
                  <a:gd name="T71" fmla="*/ 815 h 904"/>
                  <a:gd name="T72" fmla="*/ 387 w 482"/>
                  <a:gd name="T73" fmla="*/ 814 h 904"/>
                  <a:gd name="T74" fmla="*/ 408 w 482"/>
                  <a:gd name="T75" fmla="*/ 809 h 904"/>
                  <a:gd name="T76" fmla="*/ 427 w 482"/>
                  <a:gd name="T77" fmla="*/ 802 h 904"/>
                  <a:gd name="T78" fmla="*/ 443 w 482"/>
                  <a:gd name="T79" fmla="*/ 790 h 904"/>
                  <a:gd name="T80" fmla="*/ 458 w 482"/>
                  <a:gd name="T81" fmla="*/ 776 h 904"/>
                  <a:gd name="T82" fmla="*/ 470 w 482"/>
                  <a:gd name="T83" fmla="*/ 760 h 904"/>
                  <a:gd name="T84" fmla="*/ 478 w 482"/>
                  <a:gd name="T85" fmla="*/ 740 h 904"/>
                  <a:gd name="T86" fmla="*/ 482 w 482"/>
                  <a:gd name="T87" fmla="*/ 720 h 904"/>
                  <a:gd name="T88" fmla="*/ 482 w 482"/>
                  <a:gd name="T89" fmla="*/ 438 h 904"/>
                  <a:gd name="T90" fmla="*/ 481 w 482"/>
                  <a:gd name="T91" fmla="*/ 431 h 904"/>
                  <a:gd name="T92" fmla="*/ 478 w 482"/>
                  <a:gd name="T93" fmla="*/ 427 h 904"/>
                  <a:gd name="T94" fmla="*/ 473 w 482"/>
                  <a:gd name="T95" fmla="*/ 423 h 904"/>
                  <a:gd name="T96" fmla="*/ 466 w 482"/>
                  <a:gd name="T97" fmla="*/ 422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2" h="904">
                    <a:moveTo>
                      <a:pt x="422" y="422"/>
                    </a:moveTo>
                    <a:lnTo>
                      <a:pt x="59" y="422"/>
                    </a:lnTo>
                    <a:lnTo>
                      <a:pt x="59" y="29"/>
                    </a:lnTo>
                    <a:lnTo>
                      <a:pt x="422" y="29"/>
                    </a:lnTo>
                    <a:lnTo>
                      <a:pt x="422" y="422"/>
                    </a:lnTo>
                    <a:close/>
                    <a:moveTo>
                      <a:pt x="468" y="422"/>
                    </a:moveTo>
                    <a:lnTo>
                      <a:pt x="452" y="422"/>
                    </a:lnTo>
                    <a:lnTo>
                      <a:pt x="452" y="15"/>
                    </a:lnTo>
                    <a:lnTo>
                      <a:pt x="452" y="12"/>
                    </a:lnTo>
                    <a:lnTo>
                      <a:pt x="451" y="8"/>
                    </a:lnTo>
                    <a:lnTo>
                      <a:pt x="450" y="6"/>
                    </a:lnTo>
                    <a:lnTo>
                      <a:pt x="448" y="4"/>
                    </a:lnTo>
                    <a:lnTo>
                      <a:pt x="445" y="2"/>
                    </a:lnTo>
                    <a:lnTo>
                      <a:pt x="443" y="1"/>
                    </a:lnTo>
                    <a:lnTo>
                      <a:pt x="440" y="0"/>
                    </a:lnTo>
                    <a:lnTo>
                      <a:pt x="437" y="0"/>
                    </a:lnTo>
                    <a:lnTo>
                      <a:pt x="45" y="0"/>
                    </a:lnTo>
                    <a:lnTo>
                      <a:pt x="42" y="0"/>
                    </a:lnTo>
                    <a:lnTo>
                      <a:pt x="38" y="1"/>
                    </a:lnTo>
                    <a:lnTo>
                      <a:pt x="36" y="2"/>
                    </a:lnTo>
                    <a:lnTo>
                      <a:pt x="34" y="4"/>
                    </a:lnTo>
                    <a:lnTo>
                      <a:pt x="32" y="6"/>
                    </a:lnTo>
                    <a:lnTo>
                      <a:pt x="31" y="8"/>
                    </a:lnTo>
                    <a:lnTo>
                      <a:pt x="30" y="12"/>
                    </a:lnTo>
                    <a:lnTo>
                      <a:pt x="30" y="15"/>
                    </a:lnTo>
                    <a:lnTo>
                      <a:pt x="30" y="422"/>
                    </a:lnTo>
                    <a:lnTo>
                      <a:pt x="14" y="422"/>
                    </a:lnTo>
                    <a:lnTo>
                      <a:pt x="12" y="422"/>
                    </a:lnTo>
                    <a:lnTo>
                      <a:pt x="9" y="423"/>
                    </a:lnTo>
                    <a:lnTo>
                      <a:pt x="6" y="424"/>
                    </a:lnTo>
                    <a:lnTo>
                      <a:pt x="4" y="427"/>
                    </a:lnTo>
                    <a:lnTo>
                      <a:pt x="2" y="429"/>
                    </a:lnTo>
                    <a:lnTo>
                      <a:pt x="1" y="431"/>
                    </a:lnTo>
                    <a:lnTo>
                      <a:pt x="0" y="434"/>
                    </a:lnTo>
                    <a:lnTo>
                      <a:pt x="0" y="438"/>
                    </a:lnTo>
                    <a:lnTo>
                      <a:pt x="0" y="709"/>
                    </a:lnTo>
                    <a:lnTo>
                      <a:pt x="0" y="720"/>
                    </a:lnTo>
                    <a:lnTo>
                      <a:pt x="2" y="730"/>
                    </a:lnTo>
                    <a:lnTo>
                      <a:pt x="4" y="740"/>
                    </a:lnTo>
                    <a:lnTo>
                      <a:pt x="7" y="750"/>
                    </a:lnTo>
                    <a:lnTo>
                      <a:pt x="12" y="760"/>
                    </a:lnTo>
                    <a:lnTo>
                      <a:pt x="17" y="767"/>
                    </a:lnTo>
                    <a:lnTo>
                      <a:pt x="23" y="776"/>
                    </a:lnTo>
                    <a:lnTo>
                      <a:pt x="31" y="784"/>
                    </a:lnTo>
                    <a:lnTo>
                      <a:pt x="37" y="790"/>
                    </a:lnTo>
                    <a:lnTo>
                      <a:pt x="46" y="796"/>
                    </a:lnTo>
                    <a:lnTo>
                      <a:pt x="55" y="802"/>
                    </a:lnTo>
                    <a:lnTo>
                      <a:pt x="64" y="806"/>
                    </a:lnTo>
                    <a:lnTo>
                      <a:pt x="74" y="809"/>
                    </a:lnTo>
                    <a:lnTo>
                      <a:pt x="84" y="813"/>
                    </a:lnTo>
                    <a:lnTo>
                      <a:pt x="94" y="814"/>
                    </a:lnTo>
                    <a:lnTo>
                      <a:pt x="105" y="815"/>
                    </a:lnTo>
                    <a:lnTo>
                      <a:pt x="150" y="815"/>
                    </a:lnTo>
                    <a:lnTo>
                      <a:pt x="150" y="890"/>
                    </a:lnTo>
                    <a:lnTo>
                      <a:pt x="150" y="893"/>
                    </a:lnTo>
                    <a:lnTo>
                      <a:pt x="151" y="896"/>
                    </a:lnTo>
                    <a:lnTo>
                      <a:pt x="152" y="898"/>
                    </a:lnTo>
                    <a:lnTo>
                      <a:pt x="155" y="900"/>
                    </a:lnTo>
                    <a:lnTo>
                      <a:pt x="157" y="902"/>
                    </a:lnTo>
                    <a:lnTo>
                      <a:pt x="159" y="903"/>
                    </a:lnTo>
                    <a:lnTo>
                      <a:pt x="162" y="904"/>
                    </a:lnTo>
                    <a:lnTo>
                      <a:pt x="166" y="904"/>
                    </a:lnTo>
                    <a:lnTo>
                      <a:pt x="316" y="904"/>
                    </a:lnTo>
                    <a:lnTo>
                      <a:pt x="319" y="904"/>
                    </a:lnTo>
                    <a:lnTo>
                      <a:pt x="322" y="903"/>
                    </a:lnTo>
                    <a:lnTo>
                      <a:pt x="325" y="902"/>
                    </a:lnTo>
                    <a:lnTo>
                      <a:pt x="327" y="900"/>
                    </a:lnTo>
                    <a:lnTo>
                      <a:pt x="328" y="898"/>
                    </a:lnTo>
                    <a:lnTo>
                      <a:pt x="330" y="896"/>
                    </a:lnTo>
                    <a:lnTo>
                      <a:pt x="330" y="893"/>
                    </a:lnTo>
                    <a:lnTo>
                      <a:pt x="332" y="890"/>
                    </a:lnTo>
                    <a:lnTo>
                      <a:pt x="332" y="815"/>
                    </a:lnTo>
                    <a:lnTo>
                      <a:pt x="377" y="815"/>
                    </a:lnTo>
                    <a:lnTo>
                      <a:pt x="387" y="814"/>
                    </a:lnTo>
                    <a:lnTo>
                      <a:pt x="398" y="813"/>
                    </a:lnTo>
                    <a:lnTo>
                      <a:pt x="408" y="809"/>
                    </a:lnTo>
                    <a:lnTo>
                      <a:pt x="418" y="806"/>
                    </a:lnTo>
                    <a:lnTo>
                      <a:pt x="427" y="802"/>
                    </a:lnTo>
                    <a:lnTo>
                      <a:pt x="435" y="796"/>
                    </a:lnTo>
                    <a:lnTo>
                      <a:pt x="443" y="790"/>
                    </a:lnTo>
                    <a:lnTo>
                      <a:pt x="451" y="784"/>
                    </a:lnTo>
                    <a:lnTo>
                      <a:pt x="458" y="776"/>
                    </a:lnTo>
                    <a:lnTo>
                      <a:pt x="464" y="767"/>
                    </a:lnTo>
                    <a:lnTo>
                      <a:pt x="470" y="760"/>
                    </a:lnTo>
                    <a:lnTo>
                      <a:pt x="474" y="750"/>
                    </a:lnTo>
                    <a:lnTo>
                      <a:pt x="478" y="740"/>
                    </a:lnTo>
                    <a:lnTo>
                      <a:pt x="480" y="730"/>
                    </a:lnTo>
                    <a:lnTo>
                      <a:pt x="482" y="720"/>
                    </a:lnTo>
                    <a:lnTo>
                      <a:pt x="482" y="709"/>
                    </a:lnTo>
                    <a:lnTo>
                      <a:pt x="482" y="438"/>
                    </a:lnTo>
                    <a:lnTo>
                      <a:pt x="482" y="434"/>
                    </a:lnTo>
                    <a:lnTo>
                      <a:pt x="481" y="431"/>
                    </a:lnTo>
                    <a:lnTo>
                      <a:pt x="480" y="429"/>
                    </a:lnTo>
                    <a:lnTo>
                      <a:pt x="478" y="427"/>
                    </a:lnTo>
                    <a:lnTo>
                      <a:pt x="475" y="424"/>
                    </a:lnTo>
                    <a:lnTo>
                      <a:pt x="473" y="423"/>
                    </a:lnTo>
                    <a:lnTo>
                      <a:pt x="470" y="422"/>
                    </a:lnTo>
                    <a:lnTo>
                      <a:pt x="466" y="422"/>
                    </a:lnTo>
                    <a:lnTo>
                      <a:pt x="468" y="4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39" name="Freeform 1545">
                <a:extLst>
                  <a:ext uri="{FF2B5EF4-FFF2-40B4-BE49-F238E27FC236}">
                    <a16:creationId xmlns:a16="http://schemas.microsoft.com/office/drawing/2014/main" id="{F507E3DB-61A2-4B8B-A2D0-695AD09EE71D}"/>
                  </a:ext>
                </a:extLst>
              </p:cNvPr>
              <p:cNvSpPr>
                <a:spLocks/>
              </p:cNvSpPr>
              <p:nvPr/>
            </p:nvSpPr>
            <p:spPr bwMode="auto">
              <a:xfrm>
                <a:off x="1549400" y="2541588"/>
                <a:ext cx="39688" cy="38100"/>
              </a:xfrm>
              <a:custGeom>
                <a:avLst/>
                <a:gdLst>
                  <a:gd name="T0" fmla="*/ 16 w 122"/>
                  <a:gd name="T1" fmla="*/ 121 h 121"/>
                  <a:gd name="T2" fmla="*/ 106 w 122"/>
                  <a:gd name="T3" fmla="*/ 121 h 121"/>
                  <a:gd name="T4" fmla="*/ 110 w 122"/>
                  <a:gd name="T5" fmla="*/ 121 h 121"/>
                  <a:gd name="T6" fmla="*/ 112 w 122"/>
                  <a:gd name="T7" fmla="*/ 120 h 121"/>
                  <a:gd name="T8" fmla="*/ 115 w 122"/>
                  <a:gd name="T9" fmla="*/ 119 h 121"/>
                  <a:gd name="T10" fmla="*/ 118 w 122"/>
                  <a:gd name="T11" fmla="*/ 116 h 121"/>
                  <a:gd name="T12" fmla="*/ 119 w 122"/>
                  <a:gd name="T13" fmla="*/ 114 h 121"/>
                  <a:gd name="T14" fmla="*/ 121 w 122"/>
                  <a:gd name="T15" fmla="*/ 112 h 121"/>
                  <a:gd name="T16" fmla="*/ 121 w 122"/>
                  <a:gd name="T17" fmla="*/ 109 h 121"/>
                  <a:gd name="T18" fmla="*/ 122 w 122"/>
                  <a:gd name="T19" fmla="*/ 105 h 121"/>
                  <a:gd name="T20" fmla="*/ 122 w 122"/>
                  <a:gd name="T21" fmla="*/ 15 h 121"/>
                  <a:gd name="T22" fmla="*/ 121 w 122"/>
                  <a:gd name="T23" fmla="*/ 12 h 121"/>
                  <a:gd name="T24" fmla="*/ 121 w 122"/>
                  <a:gd name="T25" fmla="*/ 9 h 121"/>
                  <a:gd name="T26" fmla="*/ 119 w 122"/>
                  <a:gd name="T27" fmla="*/ 7 h 121"/>
                  <a:gd name="T28" fmla="*/ 118 w 122"/>
                  <a:gd name="T29" fmla="*/ 5 h 121"/>
                  <a:gd name="T30" fmla="*/ 115 w 122"/>
                  <a:gd name="T31" fmla="*/ 2 h 121"/>
                  <a:gd name="T32" fmla="*/ 112 w 122"/>
                  <a:gd name="T33" fmla="*/ 1 h 121"/>
                  <a:gd name="T34" fmla="*/ 110 w 122"/>
                  <a:gd name="T35" fmla="*/ 0 h 121"/>
                  <a:gd name="T36" fmla="*/ 106 w 122"/>
                  <a:gd name="T37" fmla="*/ 0 h 121"/>
                  <a:gd name="T38" fmla="*/ 16 w 122"/>
                  <a:gd name="T39" fmla="*/ 0 h 121"/>
                  <a:gd name="T40" fmla="*/ 12 w 122"/>
                  <a:gd name="T41" fmla="*/ 0 h 121"/>
                  <a:gd name="T42" fmla="*/ 10 w 122"/>
                  <a:gd name="T43" fmla="*/ 1 h 121"/>
                  <a:gd name="T44" fmla="*/ 8 w 122"/>
                  <a:gd name="T45" fmla="*/ 2 h 121"/>
                  <a:gd name="T46" fmla="*/ 6 w 122"/>
                  <a:gd name="T47" fmla="*/ 5 h 121"/>
                  <a:gd name="T48" fmla="*/ 4 w 122"/>
                  <a:gd name="T49" fmla="*/ 7 h 121"/>
                  <a:gd name="T50" fmla="*/ 2 w 122"/>
                  <a:gd name="T51" fmla="*/ 9 h 121"/>
                  <a:gd name="T52" fmla="*/ 1 w 122"/>
                  <a:gd name="T53" fmla="*/ 12 h 121"/>
                  <a:gd name="T54" fmla="*/ 0 w 122"/>
                  <a:gd name="T55" fmla="*/ 16 h 121"/>
                  <a:gd name="T56" fmla="*/ 0 w 122"/>
                  <a:gd name="T57" fmla="*/ 105 h 121"/>
                  <a:gd name="T58" fmla="*/ 1 w 122"/>
                  <a:gd name="T59" fmla="*/ 109 h 121"/>
                  <a:gd name="T60" fmla="*/ 2 w 122"/>
                  <a:gd name="T61" fmla="*/ 112 h 121"/>
                  <a:gd name="T62" fmla="*/ 4 w 122"/>
                  <a:gd name="T63" fmla="*/ 114 h 121"/>
                  <a:gd name="T64" fmla="*/ 6 w 122"/>
                  <a:gd name="T65" fmla="*/ 116 h 121"/>
                  <a:gd name="T66" fmla="*/ 8 w 122"/>
                  <a:gd name="T67" fmla="*/ 119 h 121"/>
                  <a:gd name="T68" fmla="*/ 10 w 122"/>
                  <a:gd name="T69" fmla="*/ 120 h 121"/>
                  <a:gd name="T70" fmla="*/ 12 w 122"/>
                  <a:gd name="T71" fmla="*/ 121 h 121"/>
                  <a:gd name="T72" fmla="*/ 16 w 122"/>
                  <a:gd name="T73"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2" h="121">
                    <a:moveTo>
                      <a:pt x="16" y="121"/>
                    </a:moveTo>
                    <a:lnTo>
                      <a:pt x="106" y="121"/>
                    </a:lnTo>
                    <a:lnTo>
                      <a:pt x="110" y="121"/>
                    </a:lnTo>
                    <a:lnTo>
                      <a:pt x="112" y="120"/>
                    </a:lnTo>
                    <a:lnTo>
                      <a:pt x="115" y="119"/>
                    </a:lnTo>
                    <a:lnTo>
                      <a:pt x="118" y="116"/>
                    </a:lnTo>
                    <a:lnTo>
                      <a:pt x="119" y="114"/>
                    </a:lnTo>
                    <a:lnTo>
                      <a:pt x="121" y="112"/>
                    </a:lnTo>
                    <a:lnTo>
                      <a:pt x="121" y="109"/>
                    </a:lnTo>
                    <a:lnTo>
                      <a:pt x="122" y="105"/>
                    </a:lnTo>
                    <a:lnTo>
                      <a:pt x="122" y="15"/>
                    </a:lnTo>
                    <a:lnTo>
                      <a:pt x="121" y="12"/>
                    </a:lnTo>
                    <a:lnTo>
                      <a:pt x="121" y="9"/>
                    </a:lnTo>
                    <a:lnTo>
                      <a:pt x="119" y="7"/>
                    </a:lnTo>
                    <a:lnTo>
                      <a:pt x="118" y="5"/>
                    </a:lnTo>
                    <a:lnTo>
                      <a:pt x="115" y="2"/>
                    </a:lnTo>
                    <a:lnTo>
                      <a:pt x="112" y="1"/>
                    </a:lnTo>
                    <a:lnTo>
                      <a:pt x="110" y="0"/>
                    </a:lnTo>
                    <a:lnTo>
                      <a:pt x="106" y="0"/>
                    </a:lnTo>
                    <a:lnTo>
                      <a:pt x="16" y="0"/>
                    </a:lnTo>
                    <a:lnTo>
                      <a:pt x="12" y="0"/>
                    </a:lnTo>
                    <a:lnTo>
                      <a:pt x="10" y="1"/>
                    </a:lnTo>
                    <a:lnTo>
                      <a:pt x="8" y="2"/>
                    </a:lnTo>
                    <a:lnTo>
                      <a:pt x="6" y="5"/>
                    </a:lnTo>
                    <a:lnTo>
                      <a:pt x="4" y="7"/>
                    </a:lnTo>
                    <a:lnTo>
                      <a:pt x="2" y="9"/>
                    </a:lnTo>
                    <a:lnTo>
                      <a:pt x="1" y="12"/>
                    </a:lnTo>
                    <a:lnTo>
                      <a:pt x="0" y="16"/>
                    </a:lnTo>
                    <a:lnTo>
                      <a:pt x="0" y="105"/>
                    </a:lnTo>
                    <a:lnTo>
                      <a:pt x="1" y="109"/>
                    </a:lnTo>
                    <a:lnTo>
                      <a:pt x="2" y="112"/>
                    </a:lnTo>
                    <a:lnTo>
                      <a:pt x="4" y="114"/>
                    </a:lnTo>
                    <a:lnTo>
                      <a:pt x="6" y="116"/>
                    </a:lnTo>
                    <a:lnTo>
                      <a:pt x="8" y="119"/>
                    </a:lnTo>
                    <a:lnTo>
                      <a:pt x="10" y="120"/>
                    </a:lnTo>
                    <a:lnTo>
                      <a:pt x="12" y="121"/>
                    </a:lnTo>
                    <a:lnTo>
                      <a:pt x="16"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40" name="Freeform 1546">
                <a:extLst>
                  <a:ext uri="{FF2B5EF4-FFF2-40B4-BE49-F238E27FC236}">
                    <a16:creationId xmlns:a16="http://schemas.microsoft.com/office/drawing/2014/main" id="{0C73D77E-FCE7-4487-A248-07E86B920784}"/>
                  </a:ext>
                </a:extLst>
              </p:cNvPr>
              <p:cNvSpPr>
                <a:spLocks/>
              </p:cNvSpPr>
              <p:nvPr/>
            </p:nvSpPr>
            <p:spPr bwMode="auto">
              <a:xfrm>
                <a:off x="1608138" y="2541588"/>
                <a:ext cx="38100" cy="38100"/>
              </a:xfrm>
              <a:custGeom>
                <a:avLst/>
                <a:gdLst>
                  <a:gd name="T0" fmla="*/ 15 w 120"/>
                  <a:gd name="T1" fmla="*/ 121 h 121"/>
                  <a:gd name="T2" fmla="*/ 106 w 120"/>
                  <a:gd name="T3" fmla="*/ 121 h 121"/>
                  <a:gd name="T4" fmla="*/ 108 w 120"/>
                  <a:gd name="T5" fmla="*/ 121 h 121"/>
                  <a:gd name="T6" fmla="*/ 111 w 120"/>
                  <a:gd name="T7" fmla="*/ 120 h 121"/>
                  <a:gd name="T8" fmla="*/ 114 w 120"/>
                  <a:gd name="T9" fmla="*/ 119 h 121"/>
                  <a:gd name="T10" fmla="*/ 116 w 120"/>
                  <a:gd name="T11" fmla="*/ 116 h 121"/>
                  <a:gd name="T12" fmla="*/ 118 w 120"/>
                  <a:gd name="T13" fmla="*/ 114 h 121"/>
                  <a:gd name="T14" fmla="*/ 119 w 120"/>
                  <a:gd name="T15" fmla="*/ 112 h 121"/>
                  <a:gd name="T16" fmla="*/ 120 w 120"/>
                  <a:gd name="T17" fmla="*/ 109 h 121"/>
                  <a:gd name="T18" fmla="*/ 120 w 120"/>
                  <a:gd name="T19" fmla="*/ 105 h 121"/>
                  <a:gd name="T20" fmla="*/ 120 w 120"/>
                  <a:gd name="T21" fmla="*/ 15 h 121"/>
                  <a:gd name="T22" fmla="*/ 120 w 120"/>
                  <a:gd name="T23" fmla="*/ 12 h 121"/>
                  <a:gd name="T24" fmla="*/ 119 w 120"/>
                  <a:gd name="T25" fmla="*/ 9 h 121"/>
                  <a:gd name="T26" fmla="*/ 118 w 120"/>
                  <a:gd name="T27" fmla="*/ 7 h 121"/>
                  <a:gd name="T28" fmla="*/ 116 w 120"/>
                  <a:gd name="T29" fmla="*/ 5 h 121"/>
                  <a:gd name="T30" fmla="*/ 114 w 120"/>
                  <a:gd name="T31" fmla="*/ 2 h 121"/>
                  <a:gd name="T32" fmla="*/ 111 w 120"/>
                  <a:gd name="T33" fmla="*/ 1 h 121"/>
                  <a:gd name="T34" fmla="*/ 108 w 120"/>
                  <a:gd name="T35" fmla="*/ 0 h 121"/>
                  <a:gd name="T36" fmla="*/ 106 w 120"/>
                  <a:gd name="T37" fmla="*/ 0 h 121"/>
                  <a:gd name="T38" fmla="*/ 15 w 120"/>
                  <a:gd name="T39" fmla="*/ 0 h 121"/>
                  <a:gd name="T40" fmla="*/ 12 w 120"/>
                  <a:gd name="T41" fmla="*/ 0 h 121"/>
                  <a:gd name="T42" fmla="*/ 10 w 120"/>
                  <a:gd name="T43" fmla="*/ 1 h 121"/>
                  <a:gd name="T44" fmla="*/ 6 w 120"/>
                  <a:gd name="T45" fmla="*/ 2 h 121"/>
                  <a:gd name="T46" fmla="*/ 4 w 120"/>
                  <a:gd name="T47" fmla="*/ 5 h 121"/>
                  <a:gd name="T48" fmla="*/ 3 w 120"/>
                  <a:gd name="T49" fmla="*/ 7 h 121"/>
                  <a:gd name="T50" fmla="*/ 1 w 120"/>
                  <a:gd name="T51" fmla="*/ 9 h 121"/>
                  <a:gd name="T52" fmla="*/ 0 w 120"/>
                  <a:gd name="T53" fmla="*/ 12 h 121"/>
                  <a:gd name="T54" fmla="*/ 0 w 120"/>
                  <a:gd name="T55" fmla="*/ 16 h 121"/>
                  <a:gd name="T56" fmla="*/ 0 w 120"/>
                  <a:gd name="T57" fmla="*/ 105 h 121"/>
                  <a:gd name="T58" fmla="*/ 0 w 120"/>
                  <a:gd name="T59" fmla="*/ 109 h 121"/>
                  <a:gd name="T60" fmla="*/ 1 w 120"/>
                  <a:gd name="T61" fmla="*/ 112 h 121"/>
                  <a:gd name="T62" fmla="*/ 3 w 120"/>
                  <a:gd name="T63" fmla="*/ 114 h 121"/>
                  <a:gd name="T64" fmla="*/ 4 w 120"/>
                  <a:gd name="T65" fmla="*/ 116 h 121"/>
                  <a:gd name="T66" fmla="*/ 6 w 120"/>
                  <a:gd name="T67" fmla="*/ 119 h 121"/>
                  <a:gd name="T68" fmla="*/ 10 w 120"/>
                  <a:gd name="T69" fmla="*/ 120 h 121"/>
                  <a:gd name="T70" fmla="*/ 12 w 120"/>
                  <a:gd name="T71" fmla="*/ 121 h 121"/>
                  <a:gd name="T72" fmla="*/ 15 w 120"/>
                  <a:gd name="T73"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121">
                    <a:moveTo>
                      <a:pt x="15" y="121"/>
                    </a:moveTo>
                    <a:lnTo>
                      <a:pt x="106" y="121"/>
                    </a:lnTo>
                    <a:lnTo>
                      <a:pt x="108" y="121"/>
                    </a:lnTo>
                    <a:lnTo>
                      <a:pt x="111" y="120"/>
                    </a:lnTo>
                    <a:lnTo>
                      <a:pt x="114" y="119"/>
                    </a:lnTo>
                    <a:lnTo>
                      <a:pt x="116" y="116"/>
                    </a:lnTo>
                    <a:lnTo>
                      <a:pt x="118" y="114"/>
                    </a:lnTo>
                    <a:lnTo>
                      <a:pt x="119" y="112"/>
                    </a:lnTo>
                    <a:lnTo>
                      <a:pt x="120" y="109"/>
                    </a:lnTo>
                    <a:lnTo>
                      <a:pt x="120" y="105"/>
                    </a:lnTo>
                    <a:lnTo>
                      <a:pt x="120" y="15"/>
                    </a:lnTo>
                    <a:lnTo>
                      <a:pt x="120" y="12"/>
                    </a:lnTo>
                    <a:lnTo>
                      <a:pt x="119" y="9"/>
                    </a:lnTo>
                    <a:lnTo>
                      <a:pt x="118" y="7"/>
                    </a:lnTo>
                    <a:lnTo>
                      <a:pt x="116" y="5"/>
                    </a:lnTo>
                    <a:lnTo>
                      <a:pt x="114" y="2"/>
                    </a:lnTo>
                    <a:lnTo>
                      <a:pt x="111" y="1"/>
                    </a:lnTo>
                    <a:lnTo>
                      <a:pt x="108" y="0"/>
                    </a:lnTo>
                    <a:lnTo>
                      <a:pt x="106" y="0"/>
                    </a:lnTo>
                    <a:lnTo>
                      <a:pt x="15" y="0"/>
                    </a:lnTo>
                    <a:lnTo>
                      <a:pt x="12" y="0"/>
                    </a:lnTo>
                    <a:lnTo>
                      <a:pt x="10" y="1"/>
                    </a:lnTo>
                    <a:lnTo>
                      <a:pt x="6" y="2"/>
                    </a:lnTo>
                    <a:lnTo>
                      <a:pt x="4" y="5"/>
                    </a:lnTo>
                    <a:lnTo>
                      <a:pt x="3" y="7"/>
                    </a:lnTo>
                    <a:lnTo>
                      <a:pt x="1" y="9"/>
                    </a:lnTo>
                    <a:lnTo>
                      <a:pt x="0" y="12"/>
                    </a:lnTo>
                    <a:lnTo>
                      <a:pt x="0" y="16"/>
                    </a:lnTo>
                    <a:lnTo>
                      <a:pt x="0" y="105"/>
                    </a:lnTo>
                    <a:lnTo>
                      <a:pt x="0" y="109"/>
                    </a:lnTo>
                    <a:lnTo>
                      <a:pt x="1" y="112"/>
                    </a:lnTo>
                    <a:lnTo>
                      <a:pt x="3" y="114"/>
                    </a:lnTo>
                    <a:lnTo>
                      <a:pt x="4" y="116"/>
                    </a:lnTo>
                    <a:lnTo>
                      <a:pt x="6" y="119"/>
                    </a:lnTo>
                    <a:lnTo>
                      <a:pt x="10" y="120"/>
                    </a:lnTo>
                    <a:lnTo>
                      <a:pt x="12" y="121"/>
                    </a:lnTo>
                    <a:lnTo>
                      <a:pt x="15"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148" name="Group 147">
              <a:extLst>
                <a:ext uri="{FF2B5EF4-FFF2-40B4-BE49-F238E27FC236}">
                  <a16:creationId xmlns:a16="http://schemas.microsoft.com/office/drawing/2014/main" id="{A41A00B5-9E00-4474-BCC3-27C98E078435}"/>
                </a:ext>
              </a:extLst>
            </p:cNvPr>
            <p:cNvGrpSpPr/>
            <p:nvPr/>
          </p:nvGrpSpPr>
          <p:grpSpPr>
            <a:xfrm>
              <a:off x="6642894" y="2294878"/>
              <a:ext cx="284163" cy="279400"/>
              <a:chOff x="8750300" y="1354138"/>
              <a:chExt cx="284163" cy="279400"/>
            </a:xfrm>
            <a:solidFill>
              <a:schemeClr val="bg1"/>
            </a:solidFill>
          </p:grpSpPr>
          <p:sp>
            <p:nvSpPr>
              <p:cNvPr id="149" name="Rectangle 3328">
                <a:extLst>
                  <a:ext uri="{FF2B5EF4-FFF2-40B4-BE49-F238E27FC236}">
                    <a16:creationId xmlns:a16="http://schemas.microsoft.com/office/drawing/2014/main" id="{8222FC26-CDF4-48CF-8DB6-7C79B650FF4F}"/>
                  </a:ext>
                </a:extLst>
              </p:cNvPr>
              <p:cNvSpPr>
                <a:spLocks noChangeArrowheads="1"/>
              </p:cNvSpPr>
              <p:nvPr/>
            </p:nvSpPr>
            <p:spPr bwMode="auto">
              <a:xfrm>
                <a:off x="8797925" y="1576388"/>
                <a:ext cx="122238"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50" name="Freeform 3329">
                <a:extLst>
                  <a:ext uri="{FF2B5EF4-FFF2-40B4-BE49-F238E27FC236}">
                    <a16:creationId xmlns:a16="http://schemas.microsoft.com/office/drawing/2014/main" id="{71E07BEB-0A8E-4059-80DF-3F86AF8CF2A7}"/>
                  </a:ext>
                </a:extLst>
              </p:cNvPr>
              <p:cNvSpPr>
                <a:spLocks noEditPoints="1"/>
              </p:cNvSpPr>
              <p:nvPr/>
            </p:nvSpPr>
            <p:spPr bwMode="auto">
              <a:xfrm>
                <a:off x="8750300" y="1528763"/>
                <a:ext cx="284163" cy="104775"/>
              </a:xfrm>
              <a:custGeom>
                <a:avLst/>
                <a:gdLst>
                  <a:gd name="T0" fmla="*/ 750 w 897"/>
                  <a:gd name="T1" fmla="*/ 153 h 328"/>
                  <a:gd name="T2" fmla="*/ 736 w 897"/>
                  <a:gd name="T3" fmla="*/ 131 h 328"/>
                  <a:gd name="T4" fmla="*/ 741 w 897"/>
                  <a:gd name="T5" fmla="*/ 105 h 328"/>
                  <a:gd name="T6" fmla="*/ 762 w 897"/>
                  <a:gd name="T7" fmla="*/ 92 h 328"/>
                  <a:gd name="T8" fmla="*/ 788 w 897"/>
                  <a:gd name="T9" fmla="*/ 97 h 328"/>
                  <a:gd name="T10" fmla="*/ 802 w 897"/>
                  <a:gd name="T11" fmla="*/ 118 h 328"/>
                  <a:gd name="T12" fmla="*/ 797 w 897"/>
                  <a:gd name="T13" fmla="*/ 144 h 328"/>
                  <a:gd name="T14" fmla="*/ 775 w 897"/>
                  <a:gd name="T15" fmla="*/ 158 h 328"/>
                  <a:gd name="T16" fmla="*/ 643 w 897"/>
                  <a:gd name="T17" fmla="*/ 156 h 328"/>
                  <a:gd name="T18" fmla="*/ 624 w 897"/>
                  <a:gd name="T19" fmla="*/ 138 h 328"/>
                  <a:gd name="T20" fmla="*/ 624 w 897"/>
                  <a:gd name="T21" fmla="*/ 112 h 328"/>
                  <a:gd name="T22" fmla="*/ 643 w 897"/>
                  <a:gd name="T23" fmla="*/ 94 h 328"/>
                  <a:gd name="T24" fmla="*/ 668 w 897"/>
                  <a:gd name="T25" fmla="*/ 94 h 328"/>
                  <a:gd name="T26" fmla="*/ 686 w 897"/>
                  <a:gd name="T27" fmla="*/ 112 h 328"/>
                  <a:gd name="T28" fmla="*/ 686 w 897"/>
                  <a:gd name="T29" fmla="*/ 138 h 328"/>
                  <a:gd name="T30" fmla="*/ 668 w 897"/>
                  <a:gd name="T31" fmla="*/ 156 h 328"/>
                  <a:gd name="T32" fmla="*/ 568 w 897"/>
                  <a:gd name="T33" fmla="*/ 196 h 328"/>
                  <a:gd name="T34" fmla="*/ 561 w 897"/>
                  <a:gd name="T35" fmla="*/ 206 h 328"/>
                  <a:gd name="T36" fmla="*/ 134 w 897"/>
                  <a:gd name="T37" fmla="*/ 209 h 328"/>
                  <a:gd name="T38" fmla="*/ 124 w 897"/>
                  <a:gd name="T39" fmla="*/ 204 h 328"/>
                  <a:gd name="T40" fmla="*/ 119 w 897"/>
                  <a:gd name="T41" fmla="*/ 194 h 328"/>
                  <a:gd name="T42" fmla="*/ 122 w 897"/>
                  <a:gd name="T43" fmla="*/ 126 h 328"/>
                  <a:gd name="T44" fmla="*/ 131 w 897"/>
                  <a:gd name="T45" fmla="*/ 119 h 328"/>
                  <a:gd name="T46" fmla="*/ 559 w 897"/>
                  <a:gd name="T47" fmla="*/ 120 h 328"/>
                  <a:gd name="T48" fmla="*/ 567 w 897"/>
                  <a:gd name="T49" fmla="*/ 128 h 328"/>
                  <a:gd name="T50" fmla="*/ 822 w 897"/>
                  <a:gd name="T51" fmla="*/ 0 h 328"/>
                  <a:gd name="T52" fmla="*/ 52 w 897"/>
                  <a:gd name="T53" fmla="*/ 3 h 328"/>
                  <a:gd name="T54" fmla="*/ 26 w 897"/>
                  <a:gd name="T55" fmla="*/ 17 h 328"/>
                  <a:gd name="T56" fmla="*/ 8 w 897"/>
                  <a:gd name="T57" fmla="*/ 38 h 328"/>
                  <a:gd name="T58" fmla="*/ 0 w 897"/>
                  <a:gd name="T59" fmla="*/ 67 h 328"/>
                  <a:gd name="T60" fmla="*/ 1 w 897"/>
                  <a:gd name="T61" fmla="*/ 239 h 328"/>
                  <a:gd name="T62" fmla="*/ 12 w 897"/>
                  <a:gd name="T63" fmla="*/ 266 h 328"/>
                  <a:gd name="T64" fmla="*/ 33 w 897"/>
                  <a:gd name="T65" fmla="*/ 285 h 328"/>
                  <a:gd name="T66" fmla="*/ 59 w 897"/>
                  <a:gd name="T67" fmla="*/ 297 h 328"/>
                  <a:gd name="T68" fmla="*/ 119 w 897"/>
                  <a:gd name="T69" fmla="*/ 313 h 328"/>
                  <a:gd name="T70" fmla="*/ 124 w 897"/>
                  <a:gd name="T71" fmla="*/ 324 h 328"/>
                  <a:gd name="T72" fmla="*/ 134 w 897"/>
                  <a:gd name="T73" fmla="*/ 328 h 328"/>
                  <a:gd name="T74" fmla="*/ 144 w 897"/>
                  <a:gd name="T75" fmla="*/ 324 h 328"/>
                  <a:gd name="T76" fmla="*/ 149 w 897"/>
                  <a:gd name="T77" fmla="*/ 313 h 328"/>
                  <a:gd name="T78" fmla="*/ 747 w 897"/>
                  <a:gd name="T79" fmla="*/ 316 h 328"/>
                  <a:gd name="T80" fmla="*/ 754 w 897"/>
                  <a:gd name="T81" fmla="*/ 326 h 328"/>
                  <a:gd name="T82" fmla="*/ 766 w 897"/>
                  <a:gd name="T83" fmla="*/ 328 h 328"/>
                  <a:gd name="T84" fmla="*/ 774 w 897"/>
                  <a:gd name="T85" fmla="*/ 322 h 328"/>
                  <a:gd name="T86" fmla="*/ 777 w 897"/>
                  <a:gd name="T87" fmla="*/ 298 h 328"/>
                  <a:gd name="T88" fmla="*/ 845 w 897"/>
                  <a:gd name="T89" fmla="*/ 295 h 328"/>
                  <a:gd name="T90" fmla="*/ 869 w 897"/>
                  <a:gd name="T91" fmla="*/ 281 h 328"/>
                  <a:gd name="T92" fmla="*/ 888 w 897"/>
                  <a:gd name="T93" fmla="*/ 260 h 328"/>
                  <a:gd name="T94" fmla="*/ 896 w 897"/>
                  <a:gd name="T95" fmla="*/ 232 h 328"/>
                  <a:gd name="T96" fmla="*/ 895 w 897"/>
                  <a:gd name="T97" fmla="*/ 59 h 328"/>
                  <a:gd name="T98" fmla="*/ 884 w 897"/>
                  <a:gd name="T99" fmla="*/ 33 h 328"/>
                  <a:gd name="T100" fmla="*/ 864 w 897"/>
                  <a:gd name="T101" fmla="*/ 12 h 328"/>
                  <a:gd name="T102" fmla="*/ 837 w 897"/>
                  <a:gd name="T103" fmla="*/ 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97" h="328">
                    <a:moveTo>
                      <a:pt x="769" y="159"/>
                    </a:moveTo>
                    <a:lnTo>
                      <a:pt x="762" y="158"/>
                    </a:lnTo>
                    <a:lnTo>
                      <a:pt x="756" y="156"/>
                    </a:lnTo>
                    <a:lnTo>
                      <a:pt x="750" y="153"/>
                    </a:lnTo>
                    <a:lnTo>
                      <a:pt x="745" y="148"/>
                    </a:lnTo>
                    <a:lnTo>
                      <a:pt x="741" y="144"/>
                    </a:lnTo>
                    <a:lnTo>
                      <a:pt x="738" y="138"/>
                    </a:lnTo>
                    <a:lnTo>
                      <a:pt x="736" y="131"/>
                    </a:lnTo>
                    <a:lnTo>
                      <a:pt x="735" y="125"/>
                    </a:lnTo>
                    <a:lnTo>
                      <a:pt x="736" y="118"/>
                    </a:lnTo>
                    <a:lnTo>
                      <a:pt x="738" y="112"/>
                    </a:lnTo>
                    <a:lnTo>
                      <a:pt x="741" y="105"/>
                    </a:lnTo>
                    <a:lnTo>
                      <a:pt x="745" y="101"/>
                    </a:lnTo>
                    <a:lnTo>
                      <a:pt x="750" y="97"/>
                    </a:lnTo>
                    <a:lnTo>
                      <a:pt x="756" y="94"/>
                    </a:lnTo>
                    <a:lnTo>
                      <a:pt x="762" y="92"/>
                    </a:lnTo>
                    <a:lnTo>
                      <a:pt x="769" y="92"/>
                    </a:lnTo>
                    <a:lnTo>
                      <a:pt x="775" y="92"/>
                    </a:lnTo>
                    <a:lnTo>
                      <a:pt x="782" y="94"/>
                    </a:lnTo>
                    <a:lnTo>
                      <a:pt x="788" y="97"/>
                    </a:lnTo>
                    <a:lnTo>
                      <a:pt x="792" y="101"/>
                    </a:lnTo>
                    <a:lnTo>
                      <a:pt x="797" y="105"/>
                    </a:lnTo>
                    <a:lnTo>
                      <a:pt x="800" y="112"/>
                    </a:lnTo>
                    <a:lnTo>
                      <a:pt x="802" y="118"/>
                    </a:lnTo>
                    <a:lnTo>
                      <a:pt x="803" y="125"/>
                    </a:lnTo>
                    <a:lnTo>
                      <a:pt x="802" y="131"/>
                    </a:lnTo>
                    <a:lnTo>
                      <a:pt x="800" y="138"/>
                    </a:lnTo>
                    <a:lnTo>
                      <a:pt x="797" y="144"/>
                    </a:lnTo>
                    <a:lnTo>
                      <a:pt x="792" y="148"/>
                    </a:lnTo>
                    <a:lnTo>
                      <a:pt x="788" y="153"/>
                    </a:lnTo>
                    <a:lnTo>
                      <a:pt x="782" y="156"/>
                    </a:lnTo>
                    <a:lnTo>
                      <a:pt x="775" y="158"/>
                    </a:lnTo>
                    <a:lnTo>
                      <a:pt x="769" y="159"/>
                    </a:lnTo>
                    <a:close/>
                    <a:moveTo>
                      <a:pt x="655" y="159"/>
                    </a:moveTo>
                    <a:lnTo>
                      <a:pt x="649" y="158"/>
                    </a:lnTo>
                    <a:lnTo>
                      <a:pt x="643" y="156"/>
                    </a:lnTo>
                    <a:lnTo>
                      <a:pt x="636" y="153"/>
                    </a:lnTo>
                    <a:lnTo>
                      <a:pt x="632" y="148"/>
                    </a:lnTo>
                    <a:lnTo>
                      <a:pt x="628" y="144"/>
                    </a:lnTo>
                    <a:lnTo>
                      <a:pt x="624" y="138"/>
                    </a:lnTo>
                    <a:lnTo>
                      <a:pt x="622" y="131"/>
                    </a:lnTo>
                    <a:lnTo>
                      <a:pt x="622" y="125"/>
                    </a:lnTo>
                    <a:lnTo>
                      <a:pt x="622" y="118"/>
                    </a:lnTo>
                    <a:lnTo>
                      <a:pt x="624" y="112"/>
                    </a:lnTo>
                    <a:lnTo>
                      <a:pt x="628" y="105"/>
                    </a:lnTo>
                    <a:lnTo>
                      <a:pt x="632" y="101"/>
                    </a:lnTo>
                    <a:lnTo>
                      <a:pt x="636" y="97"/>
                    </a:lnTo>
                    <a:lnTo>
                      <a:pt x="643" y="94"/>
                    </a:lnTo>
                    <a:lnTo>
                      <a:pt x="649" y="92"/>
                    </a:lnTo>
                    <a:lnTo>
                      <a:pt x="655" y="92"/>
                    </a:lnTo>
                    <a:lnTo>
                      <a:pt x="662" y="92"/>
                    </a:lnTo>
                    <a:lnTo>
                      <a:pt x="668" y="94"/>
                    </a:lnTo>
                    <a:lnTo>
                      <a:pt x="675" y="97"/>
                    </a:lnTo>
                    <a:lnTo>
                      <a:pt x="679" y="101"/>
                    </a:lnTo>
                    <a:lnTo>
                      <a:pt x="683" y="105"/>
                    </a:lnTo>
                    <a:lnTo>
                      <a:pt x="686" y="112"/>
                    </a:lnTo>
                    <a:lnTo>
                      <a:pt x="689" y="118"/>
                    </a:lnTo>
                    <a:lnTo>
                      <a:pt x="690" y="125"/>
                    </a:lnTo>
                    <a:lnTo>
                      <a:pt x="689" y="131"/>
                    </a:lnTo>
                    <a:lnTo>
                      <a:pt x="686" y="138"/>
                    </a:lnTo>
                    <a:lnTo>
                      <a:pt x="683" y="144"/>
                    </a:lnTo>
                    <a:lnTo>
                      <a:pt x="679" y="148"/>
                    </a:lnTo>
                    <a:lnTo>
                      <a:pt x="675" y="153"/>
                    </a:lnTo>
                    <a:lnTo>
                      <a:pt x="668" y="156"/>
                    </a:lnTo>
                    <a:lnTo>
                      <a:pt x="662" y="158"/>
                    </a:lnTo>
                    <a:lnTo>
                      <a:pt x="655" y="159"/>
                    </a:lnTo>
                    <a:close/>
                    <a:moveTo>
                      <a:pt x="568" y="194"/>
                    </a:moveTo>
                    <a:lnTo>
                      <a:pt x="568" y="196"/>
                    </a:lnTo>
                    <a:lnTo>
                      <a:pt x="567" y="200"/>
                    </a:lnTo>
                    <a:lnTo>
                      <a:pt x="566" y="202"/>
                    </a:lnTo>
                    <a:lnTo>
                      <a:pt x="563" y="204"/>
                    </a:lnTo>
                    <a:lnTo>
                      <a:pt x="561" y="206"/>
                    </a:lnTo>
                    <a:lnTo>
                      <a:pt x="559" y="207"/>
                    </a:lnTo>
                    <a:lnTo>
                      <a:pt x="556" y="208"/>
                    </a:lnTo>
                    <a:lnTo>
                      <a:pt x="553" y="209"/>
                    </a:lnTo>
                    <a:lnTo>
                      <a:pt x="134" y="209"/>
                    </a:lnTo>
                    <a:lnTo>
                      <a:pt x="131" y="208"/>
                    </a:lnTo>
                    <a:lnTo>
                      <a:pt x="128" y="207"/>
                    </a:lnTo>
                    <a:lnTo>
                      <a:pt x="126" y="206"/>
                    </a:lnTo>
                    <a:lnTo>
                      <a:pt x="124" y="204"/>
                    </a:lnTo>
                    <a:lnTo>
                      <a:pt x="122" y="202"/>
                    </a:lnTo>
                    <a:lnTo>
                      <a:pt x="120" y="200"/>
                    </a:lnTo>
                    <a:lnTo>
                      <a:pt x="119" y="196"/>
                    </a:lnTo>
                    <a:lnTo>
                      <a:pt x="119" y="194"/>
                    </a:lnTo>
                    <a:lnTo>
                      <a:pt x="119" y="134"/>
                    </a:lnTo>
                    <a:lnTo>
                      <a:pt x="119" y="131"/>
                    </a:lnTo>
                    <a:lnTo>
                      <a:pt x="120" y="128"/>
                    </a:lnTo>
                    <a:lnTo>
                      <a:pt x="122" y="126"/>
                    </a:lnTo>
                    <a:lnTo>
                      <a:pt x="124" y="124"/>
                    </a:lnTo>
                    <a:lnTo>
                      <a:pt x="126" y="122"/>
                    </a:lnTo>
                    <a:lnTo>
                      <a:pt x="128" y="120"/>
                    </a:lnTo>
                    <a:lnTo>
                      <a:pt x="131" y="119"/>
                    </a:lnTo>
                    <a:lnTo>
                      <a:pt x="134" y="119"/>
                    </a:lnTo>
                    <a:lnTo>
                      <a:pt x="553" y="119"/>
                    </a:lnTo>
                    <a:lnTo>
                      <a:pt x="556" y="119"/>
                    </a:lnTo>
                    <a:lnTo>
                      <a:pt x="559" y="120"/>
                    </a:lnTo>
                    <a:lnTo>
                      <a:pt x="561" y="122"/>
                    </a:lnTo>
                    <a:lnTo>
                      <a:pt x="563" y="124"/>
                    </a:lnTo>
                    <a:lnTo>
                      <a:pt x="566" y="126"/>
                    </a:lnTo>
                    <a:lnTo>
                      <a:pt x="567" y="128"/>
                    </a:lnTo>
                    <a:lnTo>
                      <a:pt x="568" y="131"/>
                    </a:lnTo>
                    <a:lnTo>
                      <a:pt x="568" y="134"/>
                    </a:lnTo>
                    <a:lnTo>
                      <a:pt x="568" y="194"/>
                    </a:lnTo>
                    <a:close/>
                    <a:moveTo>
                      <a:pt x="822" y="0"/>
                    </a:moveTo>
                    <a:lnTo>
                      <a:pt x="74" y="0"/>
                    </a:lnTo>
                    <a:lnTo>
                      <a:pt x="66" y="0"/>
                    </a:lnTo>
                    <a:lnTo>
                      <a:pt x="59" y="1"/>
                    </a:lnTo>
                    <a:lnTo>
                      <a:pt x="52" y="3"/>
                    </a:lnTo>
                    <a:lnTo>
                      <a:pt x="44" y="5"/>
                    </a:lnTo>
                    <a:lnTo>
                      <a:pt x="38" y="8"/>
                    </a:lnTo>
                    <a:lnTo>
                      <a:pt x="33" y="12"/>
                    </a:lnTo>
                    <a:lnTo>
                      <a:pt x="26" y="17"/>
                    </a:lnTo>
                    <a:lnTo>
                      <a:pt x="21" y="21"/>
                    </a:lnTo>
                    <a:lnTo>
                      <a:pt x="17" y="26"/>
                    </a:lnTo>
                    <a:lnTo>
                      <a:pt x="12" y="33"/>
                    </a:lnTo>
                    <a:lnTo>
                      <a:pt x="8" y="38"/>
                    </a:lnTo>
                    <a:lnTo>
                      <a:pt x="5" y="44"/>
                    </a:lnTo>
                    <a:lnTo>
                      <a:pt x="3" y="52"/>
                    </a:lnTo>
                    <a:lnTo>
                      <a:pt x="1" y="59"/>
                    </a:lnTo>
                    <a:lnTo>
                      <a:pt x="0" y="67"/>
                    </a:lnTo>
                    <a:lnTo>
                      <a:pt x="0" y="74"/>
                    </a:lnTo>
                    <a:lnTo>
                      <a:pt x="0" y="224"/>
                    </a:lnTo>
                    <a:lnTo>
                      <a:pt x="0" y="232"/>
                    </a:lnTo>
                    <a:lnTo>
                      <a:pt x="1" y="239"/>
                    </a:lnTo>
                    <a:lnTo>
                      <a:pt x="3" y="246"/>
                    </a:lnTo>
                    <a:lnTo>
                      <a:pt x="5" y="253"/>
                    </a:lnTo>
                    <a:lnTo>
                      <a:pt x="8" y="260"/>
                    </a:lnTo>
                    <a:lnTo>
                      <a:pt x="12" y="266"/>
                    </a:lnTo>
                    <a:lnTo>
                      <a:pt x="17" y="271"/>
                    </a:lnTo>
                    <a:lnTo>
                      <a:pt x="21" y="277"/>
                    </a:lnTo>
                    <a:lnTo>
                      <a:pt x="26" y="281"/>
                    </a:lnTo>
                    <a:lnTo>
                      <a:pt x="33" y="285"/>
                    </a:lnTo>
                    <a:lnTo>
                      <a:pt x="38" y="289"/>
                    </a:lnTo>
                    <a:lnTo>
                      <a:pt x="44" y="293"/>
                    </a:lnTo>
                    <a:lnTo>
                      <a:pt x="52" y="295"/>
                    </a:lnTo>
                    <a:lnTo>
                      <a:pt x="59" y="297"/>
                    </a:lnTo>
                    <a:lnTo>
                      <a:pt x="66" y="298"/>
                    </a:lnTo>
                    <a:lnTo>
                      <a:pt x="74" y="298"/>
                    </a:lnTo>
                    <a:lnTo>
                      <a:pt x="119" y="298"/>
                    </a:lnTo>
                    <a:lnTo>
                      <a:pt x="119" y="313"/>
                    </a:lnTo>
                    <a:lnTo>
                      <a:pt x="119" y="316"/>
                    </a:lnTo>
                    <a:lnTo>
                      <a:pt x="120" y="319"/>
                    </a:lnTo>
                    <a:lnTo>
                      <a:pt x="122" y="322"/>
                    </a:lnTo>
                    <a:lnTo>
                      <a:pt x="124" y="324"/>
                    </a:lnTo>
                    <a:lnTo>
                      <a:pt x="126" y="326"/>
                    </a:lnTo>
                    <a:lnTo>
                      <a:pt x="128" y="327"/>
                    </a:lnTo>
                    <a:lnTo>
                      <a:pt x="131" y="328"/>
                    </a:lnTo>
                    <a:lnTo>
                      <a:pt x="134" y="328"/>
                    </a:lnTo>
                    <a:lnTo>
                      <a:pt x="137" y="328"/>
                    </a:lnTo>
                    <a:lnTo>
                      <a:pt x="140" y="327"/>
                    </a:lnTo>
                    <a:lnTo>
                      <a:pt x="142" y="326"/>
                    </a:lnTo>
                    <a:lnTo>
                      <a:pt x="144" y="324"/>
                    </a:lnTo>
                    <a:lnTo>
                      <a:pt x="146" y="322"/>
                    </a:lnTo>
                    <a:lnTo>
                      <a:pt x="147" y="319"/>
                    </a:lnTo>
                    <a:lnTo>
                      <a:pt x="148" y="316"/>
                    </a:lnTo>
                    <a:lnTo>
                      <a:pt x="149" y="313"/>
                    </a:lnTo>
                    <a:lnTo>
                      <a:pt x="149" y="298"/>
                    </a:lnTo>
                    <a:lnTo>
                      <a:pt x="747" y="298"/>
                    </a:lnTo>
                    <a:lnTo>
                      <a:pt x="747" y="313"/>
                    </a:lnTo>
                    <a:lnTo>
                      <a:pt x="747" y="316"/>
                    </a:lnTo>
                    <a:lnTo>
                      <a:pt x="749" y="319"/>
                    </a:lnTo>
                    <a:lnTo>
                      <a:pt x="750" y="322"/>
                    </a:lnTo>
                    <a:lnTo>
                      <a:pt x="752" y="324"/>
                    </a:lnTo>
                    <a:lnTo>
                      <a:pt x="754" y="326"/>
                    </a:lnTo>
                    <a:lnTo>
                      <a:pt x="756" y="327"/>
                    </a:lnTo>
                    <a:lnTo>
                      <a:pt x="759" y="328"/>
                    </a:lnTo>
                    <a:lnTo>
                      <a:pt x="762" y="328"/>
                    </a:lnTo>
                    <a:lnTo>
                      <a:pt x="766" y="328"/>
                    </a:lnTo>
                    <a:lnTo>
                      <a:pt x="768" y="327"/>
                    </a:lnTo>
                    <a:lnTo>
                      <a:pt x="771" y="326"/>
                    </a:lnTo>
                    <a:lnTo>
                      <a:pt x="773" y="324"/>
                    </a:lnTo>
                    <a:lnTo>
                      <a:pt x="774" y="322"/>
                    </a:lnTo>
                    <a:lnTo>
                      <a:pt x="776" y="319"/>
                    </a:lnTo>
                    <a:lnTo>
                      <a:pt x="777" y="316"/>
                    </a:lnTo>
                    <a:lnTo>
                      <a:pt x="777" y="313"/>
                    </a:lnTo>
                    <a:lnTo>
                      <a:pt x="777" y="298"/>
                    </a:lnTo>
                    <a:lnTo>
                      <a:pt x="822" y="298"/>
                    </a:lnTo>
                    <a:lnTo>
                      <a:pt x="830" y="298"/>
                    </a:lnTo>
                    <a:lnTo>
                      <a:pt x="837" y="297"/>
                    </a:lnTo>
                    <a:lnTo>
                      <a:pt x="845" y="295"/>
                    </a:lnTo>
                    <a:lnTo>
                      <a:pt x="851" y="293"/>
                    </a:lnTo>
                    <a:lnTo>
                      <a:pt x="858" y="289"/>
                    </a:lnTo>
                    <a:lnTo>
                      <a:pt x="864" y="285"/>
                    </a:lnTo>
                    <a:lnTo>
                      <a:pt x="869" y="281"/>
                    </a:lnTo>
                    <a:lnTo>
                      <a:pt x="875" y="277"/>
                    </a:lnTo>
                    <a:lnTo>
                      <a:pt x="880" y="271"/>
                    </a:lnTo>
                    <a:lnTo>
                      <a:pt x="884" y="266"/>
                    </a:lnTo>
                    <a:lnTo>
                      <a:pt x="888" y="260"/>
                    </a:lnTo>
                    <a:lnTo>
                      <a:pt x="891" y="253"/>
                    </a:lnTo>
                    <a:lnTo>
                      <a:pt x="894" y="246"/>
                    </a:lnTo>
                    <a:lnTo>
                      <a:pt x="895" y="239"/>
                    </a:lnTo>
                    <a:lnTo>
                      <a:pt x="896" y="232"/>
                    </a:lnTo>
                    <a:lnTo>
                      <a:pt x="897" y="224"/>
                    </a:lnTo>
                    <a:lnTo>
                      <a:pt x="897" y="74"/>
                    </a:lnTo>
                    <a:lnTo>
                      <a:pt x="896" y="67"/>
                    </a:lnTo>
                    <a:lnTo>
                      <a:pt x="895" y="59"/>
                    </a:lnTo>
                    <a:lnTo>
                      <a:pt x="894" y="52"/>
                    </a:lnTo>
                    <a:lnTo>
                      <a:pt x="891" y="44"/>
                    </a:lnTo>
                    <a:lnTo>
                      <a:pt x="888" y="38"/>
                    </a:lnTo>
                    <a:lnTo>
                      <a:pt x="884" y="33"/>
                    </a:lnTo>
                    <a:lnTo>
                      <a:pt x="880" y="26"/>
                    </a:lnTo>
                    <a:lnTo>
                      <a:pt x="875" y="21"/>
                    </a:lnTo>
                    <a:lnTo>
                      <a:pt x="869" y="17"/>
                    </a:lnTo>
                    <a:lnTo>
                      <a:pt x="864" y="12"/>
                    </a:lnTo>
                    <a:lnTo>
                      <a:pt x="858" y="8"/>
                    </a:lnTo>
                    <a:lnTo>
                      <a:pt x="851" y="5"/>
                    </a:lnTo>
                    <a:lnTo>
                      <a:pt x="845" y="3"/>
                    </a:lnTo>
                    <a:lnTo>
                      <a:pt x="837" y="1"/>
                    </a:lnTo>
                    <a:lnTo>
                      <a:pt x="830" y="0"/>
                    </a:lnTo>
                    <a:lnTo>
                      <a:pt x="8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51" name="Freeform 3330">
                <a:extLst>
                  <a:ext uri="{FF2B5EF4-FFF2-40B4-BE49-F238E27FC236}">
                    <a16:creationId xmlns:a16="http://schemas.microsoft.com/office/drawing/2014/main" id="{C19ADD19-E082-4648-9CD9-EDD11B95C274}"/>
                  </a:ext>
                </a:extLst>
              </p:cNvPr>
              <p:cNvSpPr>
                <a:spLocks noEditPoints="1"/>
              </p:cNvSpPr>
              <p:nvPr/>
            </p:nvSpPr>
            <p:spPr bwMode="auto">
              <a:xfrm>
                <a:off x="8780463" y="1354138"/>
                <a:ext cx="223838" cy="165100"/>
              </a:xfrm>
              <a:custGeom>
                <a:avLst/>
                <a:gdLst>
                  <a:gd name="T0" fmla="*/ 395 w 709"/>
                  <a:gd name="T1" fmla="*/ 213 h 521"/>
                  <a:gd name="T2" fmla="*/ 439 w 709"/>
                  <a:gd name="T3" fmla="*/ 237 h 521"/>
                  <a:gd name="T4" fmla="*/ 473 w 709"/>
                  <a:gd name="T5" fmla="*/ 277 h 521"/>
                  <a:gd name="T6" fmla="*/ 488 w 709"/>
                  <a:gd name="T7" fmla="*/ 327 h 521"/>
                  <a:gd name="T8" fmla="*/ 482 w 709"/>
                  <a:gd name="T9" fmla="*/ 380 h 521"/>
                  <a:gd name="T10" fmla="*/ 458 w 709"/>
                  <a:gd name="T11" fmla="*/ 426 h 521"/>
                  <a:gd name="T12" fmla="*/ 418 w 709"/>
                  <a:gd name="T13" fmla="*/ 460 h 521"/>
                  <a:gd name="T14" fmla="*/ 368 w 709"/>
                  <a:gd name="T15" fmla="*/ 475 h 521"/>
                  <a:gd name="T16" fmla="*/ 314 w 709"/>
                  <a:gd name="T17" fmla="*/ 469 h 521"/>
                  <a:gd name="T18" fmla="*/ 268 w 709"/>
                  <a:gd name="T19" fmla="*/ 445 h 521"/>
                  <a:gd name="T20" fmla="*/ 236 w 709"/>
                  <a:gd name="T21" fmla="*/ 405 h 521"/>
                  <a:gd name="T22" fmla="*/ 220 w 709"/>
                  <a:gd name="T23" fmla="*/ 355 h 521"/>
                  <a:gd name="T24" fmla="*/ 225 w 709"/>
                  <a:gd name="T25" fmla="*/ 301 h 521"/>
                  <a:gd name="T26" fmla="*/ 250 w 709"/>
                  <a:gd name="T27" fmla="*/ 255 h 521"/>
                  <a:gd name="T28" fmla="*/ 290 w 709"/>
                  <a:gd name="T29" fmla="*/ 222 h 521"/>
                  <a:gd name="T30" fmla="*/ 340 w 709"/>
                  <a:gd name="T31" fmla="*/ 207 h 521"/>
                  <a:gd name="T32" fmla="*/ 378 w 709"/>
                  <a:gd name="T33" fmla="*/ 96 h 521"/>
                  <a:gd name="T34" fmla="*/ 426 w 709"/>
                  <a:gd name="T35" fmla="*/ 106 h 521"/>
                  <a:gd name="T36" fmla="*/ 469 w 709"/>
                  <a:gd name="T37" fmla="*/ 124 h 521"/>
                  <a:gd name="T38" fmla="*/ 508 w 709"/>
                  <a:gd name="T39" fmla="*/ 150 h 521"/>
                  <a:gd name="T40" fmla="*/ 540 w 709"/>
                  <a:gd name="T41" fmla="*/ 183 h 521"/>
                  <a:gd name="T42" fmla="*/ 566 w 709"/>
                  <a:gd name="T43" fmla="*/ 221 h 521"/>
                  <a:gd name="T44" fmla="*/ 585 w 709"/>
                  <a:gd name="T45" fmla="*/ 265 h 521"/>
                  <a:gd name="T46" fmla="*/ 595 w 709"/>
                  <a:gd name="T47" fmla="*/ 312 h 521"/>
                  <a:gd name="T48" fmla="*/ 595 w 709"/>
                  <a:gd name="T49" fmla="*/ 342 h 521"/>
                  <a:gd name="T50" fmla="*/ 586 w 709"/>
                  <a:gd name="T51" fmla="*/ 351 h 521"/>
                  <a:gd name="T52" fmla="*/ 574 w 709"/>
                  <a:gd name="T53" fmla="*/ 351 h 521"/>
                  <a:gd name="T54" fmla="*/ 567 w 709"/>
                  <a:gd name="T55" fmla="*/ 342 h 521"/>
                  <a:gd name="T56" fmla="*/ 565 w 709"/>
                  <a:gd name="T57" fmla="*/ 315 h 521"/>
                  <a:gd name="T58" fmla="*/ 549 w 709"/>
                  <a:gd name="T59" fmla="*/ 254 h 521"/>
                  <a:gd name="T60" fmla="*/ 504 w 709"/>
                  <a:gd name="T61" fmla="*/ 187 h 521"/>
                  <a:gd name="T62" fmla="*/ 436 w 709"/>
                  <a:gd name="T63" fmla="*/ 142 h 521"/>
                  <a:gd name="T64" fmla="*/ 375 w 709"/>
                  <a:gd name="T65" fmla="*/ 126 h 521"/>
                  <a:gd name="T66" fmla="*/ 349 w 709"/>
                  <a:gd name="T67" fmla="*/ 124 h 521"/>
                  <a:gd name="T68" fmla="*/ 340 w 709"/>
                  <a:gd name="T69" fmla="*/ 116 h 521"/>
                  <a:gd name="T70" fmla="*/ 340 w 709"/>
                  <a:gd name="T71" fmla="*/ 104 h 521"/>
                  <a:gd name="T72" fmla="*/ 349 w 709"/>
                  <a:gd name="T73" fmla="*/ 96 h 521"/>
                  <a:gd name="T74" fmla="*/ 61 w 709"/>
                  <a:gd name="T75" fmla="*/ 516 h 521"/>
                  <a:gd name="T76" fmla="*/ 643 w 709"/>
                  <a:gd name="T77" fmla="*/ 506 h 521"/>
                  <a:gd name="T78" fmla="*/ 651 w 709"/>
                  <a:gd name="T79" fmla="*/ 518 h 521"/>
                  <a:gd name="T80" fmla="*/ 666 w 709"/>
                  <a:gd name="T81" fmla="*/ 518 h 521"/>
                  <a:gd name="T82" fmla="*/ 688 w 709"/>
                  <a:gd name="T83" fmla="*/ 475 h 521"/>
                  <a:gd name="T84" fmla="*/ 706 w 709"/>
                  <a:gd name="T85" fmla="*/ 395 h 521"/>
                  <a:gd name="T86" fmla="*/ 707 w 709"/>
                  <a:gd name="T87" fmla="*/ 318 h 521"/>
                  <a:gd name="T88" fmla="*/ 693 w 709"/>
                  <a:gd name="T89" fmla="*/ 249 h 521"/>
                  <a:gd name="T90" fmla="*/ 665 w 709"/>
                  <a:gd name="T91" fmla="*/ 186 h 521"/>
                  <a:gd name="T92" fmla="*/ 628 w 709"/>
                  <a:gd name="T93" fmla="*/ 129 h 521"/>
                  <a:gd name="T94" fmla="*/ 580 w 709"/>
                  <a:gd name="T95" fmla="*/ 81 h 521"/>
                  <a:gd name="T96" fmla="*/ 523 w 709"/>
                  <a:gd name="T97" fmla="*/ 44 h 521"/>
                  <a:gd name="T98" fmla="*/ 460 w 709"/>
                  <a:gd name="T99" fmla="*/ 16 h 521"/>
                  <a:gd name="T100" fmla="*/ 390 w 709"/>
                  <a:gd name="T101" fmla="*/ 2 h 521"/>
                  <a:gd name="T102" fmla="*/ 318 w 709"/>
                  <a:gd name="T103" fmla="*/ 2 h 521"/>
                  <a:gd name="T104" fmla="*/ 249 w 709"/>
                  <a:gd name="T105" fmla="*/ 16 h 521"/>
                  <a:gd name="T106" fmla="*/ 185 w 709"/>
                  <a:gd name="T107" fmla="*/ 44 h 521"/>
                  <a:gd name="T108" fmla="*/ 129 w 709"/>
                  <a:gd name="T109" fmla="*/ 81 h 521"/>
                  <a:gd name="T110" fmla="*/ 81 w 709"/>
                  <a:gd name="T111" fmla="*/ 129 h 521"/>
                  <a:gd name="T112" fmla="*/ 43 w 709"/>
                  <a:gd name="T113" fmla="*/ 186 h 521"/>
                  <a:gd name="T114" fmla="*/ 16 w 709"/>
                  <a:gd name="T115" fmla="*/ 249 h 521"/>
                  <a:gd name="T116" fmla="*/ 2 w 709"/>
                  <a:gd name="T117" fmla="*/ 318 h 521"/>
                  <a:gd name="T118" fmla="*/ 2 w 709"/>
                  <a:gd name="T119" fmla="*/ 395 h 521"/>
                  <a:gd name="T120" fmla="*/ 20 w 709"/>
                  <a:gd name="T121" fmla="*/ 475 h 521"/>
                  <a:gd name="T122" fmla="*/ 40 w 709"/>
                  <a:gd name="T123" fmla="*/ 516 h 521"/>
                  <a:gd name="T124" fmla="*/ 51 w 709"/>
                  <a:gd name="T125"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9" h="521">
                    <a:moveTo>
                      <a:pt x="354" y="206"/>
                    </a:moveTo>
                    <a:lnTo>
                      <a:pt x="368" y="207"/>
                    </a:lnTo>
                    <a:lnTo>
                      <a:pt x="382" y="209"/>
                    </a:lnTo>
                    <a:lnTo>
                      <a:pt x="395" y="213"/>
                    </a:lnTo>
                    <a:lnTo>
                      <a:pt x="406" y="217"/>
                    </a:lnTo>
                    <a:lnTo>
                      <a:pt x="418" y="222"/>
                    </a:lnTo>
                    <a:lnTo>
                      <a:pt x="430" y="230"/>
                    </a:lnTo>
                    <a:lnTo>
                      <a:pt x="439" y="237"/>
                    </a:lnTo>
                    <a:lnTo>
                      <a:pt x="449" y="246"/>
                    </a:lnTo>
                    <a:lnTo>
                      <a:pt x="458" y="255"/>
                    </a:lnTo>
                    <a:lnTo>
                      <a:pt x="466" y="266"/>
                    </a:lnTo>
                    <a:lnTo>
                      <a:pt x="473" y="277"/>
                    </a:lnTo>
                    <a:lnTo>
                      <a:pt x="478" y="288"/>
                    </a:lnTo>
                    <a:lnTo>
                      <a:pt x="482" y="301"/>
                    </a:lnTo>
                    <a:lnTo>
                      <a:pt x="485" y="314"/>
                    </a:lnTo>
                    <a:lnTo>
                      <a:pt x="488" y="327"/>
                    </a:lnTo>
                    <a:lnTo>
                      <a:pt x="489" y="341"/>
                    </a:lnTo>
                    <a:lnTo>
                      <a:pt x="488" y="355"/>
                    </a:lnTo>
                    <a:lnTo>
                      <a:pt x="485" y="368"/>
                    </a:lnTo>
                    <a:lnTo>
                      <a:pt x="482" y="380"/>
                    </a:lnTo>
                    <a:lnTo>
                      <a:pt x="478" y="393"/>
                    </a:lnTo>
                    <a:lnTo>
                      <a:pt x="473" y="405"/>
                    </a:lnTo>
                    <a:lnTo>
                      <a:pt x="466" y="416"/>
                    </a:lnTo>
                    <a:lnTo>
                      <a:pt x="458" y="426"/>
                    </a:lnTo>
                    <a:lnTo>
                      <a:pt x="449" y="436"/>
                    </a:lnTo>
                    <a:lnTo>
                      <a:pt x="439" y="445"/>
                    </a:lnTo>
                    <a:lnTo>
                      <a:pt x="430" y="452"/>
                    </a:lnTo>
                    <a:lnTo>
                      <a:pt x="418" y="460"/>
                    </a:lnTo>
                    <a:lnTo>
                      <a:pt x="406" y="465"/>
                    </a:lnTo>
                    <a:lnTo>
                      <a:pt x="395" y="469"/>
                    </a:lnTo>
                    <a:lnTo>
                      <a:pt x="382" y="472"/>
                    </a:lnTo>
                    <a:lnTo>
                      <a:pt x="368" y="475"/>
                    </a:lnTo>
                    <a:lnTo>
                      <a:pt x="354" y="476"/>
                    </a:lnTo>
                    <a:lnTo>
                      <a:pt x="340" y="475"/>
                    </a:lnTo>
                    <a:lnTo>
                      <a:pt x="327" y="472"/>
                    </a:lnTo>
                    <a:lnTo>
                      <a:pt x="314" y="469"/>
                    </a:lnTo>
                    <a:lnTo>
                      <a:pt x="301" y="465"/>
                    </a:lnTo>
                    <a:lnTo>
                      <a:pt x="290" y="460"/>
                    </a:lnTo>
                    <a:lnTo>
                      <a:pt x="279" y="452"/>
                    </a:lnTo>
                    <a:lnTo>
                      <a:pt x="268" y="445"/>
                    </a:lnTo>
                    <a:lnTo>
                      <a:pt x="259" y="436"/>
                    </a:lnTo>
                    <a:lnTo>
                      <a:pt x="250" y="426"/>
                    </a:lnTo>
                    <a:lnTo>
                      <a:pt x="243" y="416"/>
                    </a:lnTo>
                    <a:lnTo>
                      <a:pt x="236" y="405"/>
                    </a:lnTo>
                    <a:lnTo>
                      <a:pt x="230" y="393"/>
                    </a:lnTo>
                    <a:lnTo>
                      <a:pt x="225" y="380"/>
                    </a:lnTo>
                    <a:lnTo>
                      <a:pt x="222" y="368"/>
                    </a:lnTo>
                    <a:lnTo>
                      <a:pt x="220" y="355"/>
                    </a:lnTo>
                    <a:lnTo>
                      <a:pt x="219" y="341"/>
                    </a:lnTo>
                    <a:lnTo>
                      <a:pt x="220" y="327"/>
                    </a:lnTo>
                    <a:lnTo>
                      <a:pt x="222" y="314"/>
                    </a:lnTo>
                    <a:lnTo>
                      <a:pt x="225" y="301"/>
                    </a:lnTo>
                    <a:lnTo>
                      <a:pt x="230" y="288"/>
                    </a:lnTo>
                    <a:lnTo>
                      <a:pt x="236" y="277"/>
                    </a:lnTo>
                    <a:lnTo>
                      <a:pt x="243" y="266"/>
                    </a:lnTo>
                    <a:lnTo>
                      <a:pt x="250" y="255"/>
                    </a:lnTo>
                    <a:lnTo>
                      <a:pt x="259" y="246"/>
                    </a:lnTo>
                    <a:lnTo>
                      <a:pt x="268" y="237"/>
                    </a:lnTo>
                    <a:lnTo>
                      <a:pt x="279" y="230"/>
                    </a:lnTo>
                    <a:lnTo>
                      <a:pt x="290" y="222"/>
                    </a:lnTo>
                    <a:lnTo>
                      <a:pt x="301" y="217"/>
                    </a:lnTo>
                    <a:lnTo>
                      <a:pt x="314" y="213"/>
                    </a:lnTo>
                    <a:lnTo>
                      <a:pt x="327" y="209"/>
                    </a:lnTo>
                    <a:lnTo>
                      <a:pt x="340" y="207"/>
                    </a:lnTo>
                    <a:lnTo>
                      <a:pt x="354" y="206"/>
                    </a:lnTo>
                    <a:close/>
                    <a:moveTo>
                      <a:pt x="354" y="95"/>
                    </a:moveTo>
                    <a:lnTo>
                      <a:pt x="367" y="95"/>
                    </a:lnTo>
                    <a:lnTo>
                      <a:pt x="378" y="96"/>
                    </a:lnTo>
                    <a:lnTo>
                      <a:pt x="390" y="98"/>
                    </a:lnTo>
                    <a:lnTo>
                      <a:pt x="403" y="100"/>
                    </a:lnTo>
                    <a:lnTo>
                      <a:pt x="414" y="102"/>
                    </a:lnTo>
                    <a:lnTo>
                      <a:pt x="426" y="106"/>
                    </a:lnTo>
                    <a:lnTo>
                      <a:pt x="437" y="110"/>
                    </a:lnTo>
                    <a:lnTo>
                      <a:pt x="448" y="114"/>
                    </a:lnTo>
                    <a:lnTo>
                      <a:pt x="459" y="118"/>
                    </a:lnTo>
                    <a:lnTo>
                      <a:pt x="469" y="124"/>
                    </a:lnTo>
                    <a:lnTo>
                      <a:pt x="479" y="130"/>
                    </a:lnTo>
                    <a:lnTo>
                      <a:pt x="489" y="137"/>
                    </a:lnTo>
                    <a:lnTo>
                      <a:pt x="498" y="143"/>
                    </a:lnTo>
                    <a:lnTo>
                      <a:pt x="508" y="150"/>
                    </a:lnTo>
                    <a:lnTo>
                      <a:pt x="517" y="158"/>
                    </a:lnTo>
                    <a:lnTo>
                      <a:pt x="525" y="165"/>
                    </a:lnTo>
                    <a:lnTo>
                      <a:pt x="533" y="174"/>
                    </a:lnTo>
                    <a:lnTo>
                      <a:pt x="540" y="183"/>
                    </a:lnTo>
                    <a:lnTo>
                      <a:pt x="548" y="192"/>
                    </a:lnTo>
                    <a:lnTo>
                      <a:pt x="554" y="202"/>
                    </a:lnTo>
                    <a:lnTo>
                      <a:pt x="560" y="211"/>
                    </a:lnTo>
                    <a:lnTo>
                      <a:pt x="566" y="221"/>
                    </a:lnTo>
                    <a:lnTo>
                      <a:pt x="571" y="232"/>
                    </a:lnTo>
                    <a:lnTo>
                      <a:pt x="576" y="242"/>
                    </a:lnTo>
                    <a:lnTo>
                      <a:pt x="581" y="253"/>
                    </a:lnTo>
                    <a:lnTo>
                      <a:pt x="585" y="265"/>
                    </a:lnTo>
                    <a:lnTo>
                      <a:pt x="588" y="276"/>
                    </a:lnTo>
                    <a:lnTo>
                      <a:pt x="590" y="287"/>
                    </a:lnTo>
                    <a:lnTo>
                      <a:pt x="592" y="299"/>
                    </a:lnTo>
                    <a:lnTo>
                      <a:pt x="595" y="312"/>
                    </a:lnTo>
                    <a:lnTo>
                      <a:pt x="595" y="324"/>
                    </a:lnTo>
                    <a:lnTo>
                      <a:pt x="596" y="337"/>
                    </a:lnTo>
                    <a:lnTo>
                      <a:pt x="595" y="340"/>
                    </a:lnTo>
                    <a:lnTo>
                      <a:pt x="595" y="342"/>
                    </a:lnTo>
                    <a:lnTo>
                      <a:pt x="592" y="345"/>
                    </a:lnTo>
                    <a:lnTo>
                      <a:pt x="591" y="347"/>
                    </a:lnTo>
                    <a:lnTo>
                      <a:pt x="589" y="348"/>
                    </a:lnTo>
                    <a:lnTo>
                      <a:pt x="586" y="351"/>
                    </a:lnTo>
                    <a:lnTo>
                      <a:pt x="584" y="351"/>
                    </a:lnTo>
                    <a:lnTo>
                      <a:pt x="581" y="352"/>
                    </a:lnTo>
                    <a:lnTo>
                      <a:pt x="578" y="351"/>
                    </a:lnTo>
                    <a:lnTo>
                      <a:pt x="574" y="351"/>
                    </a:lnTo>
                    <a:lnTo>
                      <a:pt x="572" y="348"/>
                    </a:lnTo>
                    <a:lnTo>
                      <a:pt x="570" y="347"/>
                    </a:lnTo>
                    <a:lnTo>
                      <a:pt x="568" y="345"/>
                    </a:lnTo>
                    <a:lnTo>
                      <a:pt x="567" y="342"/>
                    </a:lnTo>
                    <a:lnTo>
                      <a:pt x="566" y="340"/>
                    </a:lnTo>
                    <a:lnTo>
                      <a:pt x="566" y="337"/>
                    </a:lnTo>
                    <a:lnTo>
                      <a:pt x="566" y="326"/>
                    </a:lnTo>
                    <a:lnTo>
                      <a:pt x="565" y="315"/>
                    </a:lnTo>
                    <a:lnTo>
                      <a:pt x="564" y="305"/>
                    </a:lnTo>
                    <a:lnTo>
                      <a:pt x="561" y="294"/>
                    </a:lnTo>
                    <a:lnTo>
                      <a:pt x="556" y="274"/>
                    </a:lnTo>
                    <a:lnTo>
                      <a:pt x="549" y="254"/>
                    </a:lnTo>
                    <a:lnTo>
                      <a:pt x="540" y="236"/>
                    </a:lnTo>
                    <a:lnTo>
                      <a:pt x="529" y="218"/>
                    </a:lnTo>
                    <a:lnTo>
                      <a:pt x="518" y="202"/>
                    </a:lnTo>
                    <a:lnTo>
                      <a:pt x="504" y="187"/>
                    </a:lnTo>
                    <a:lnTo>
                      <a:pt x="489" y="173"/>
                    </a:lnTo>
                    <a:lnTo>
                      <a:pt x="473" y="161"/>
                    </a:lnTo>
                    <a:lnTo>
                      <a:pt x="454" y="150"/>
                    </a:lnTo>
                    <a:lnTo>
                      <a:pt x="436" y="142"/>
                    </a:lnTo>
                    <a:lnTo>
                      <a:pt x="417" y="134"/>
                    </a:lnTo>
                    <a:lnTo>
                      <a:pt x="397" y="129"/>
                    </a:lnTo>
                    <a:lnTo>
                      <a:pt x="386" y="127"/>
                    </a:lnTo>
                    <a:lnTo>
                      <a:pt x="375" y="126"/>
                    </a:lnTo>
                    <a:lnTo>
                      <a:pt x="365" y="125"/>
                    </a:lnTo>
                    <a:lnTo>
                      <a:pt x="354" y="125"/>
                    </a:lnTo>
                    <a:lnTo>
                      <a:pt x="351" y="125"/>
                    </a:lnTo>
                    <a:lnTo>
                      <a:pt x="349" y="124"/>
                    </a:lnTo>
                    <a:lnTo>
                      <a:pt x="345" y="123"/>
                    </a:lnTo>
                    <a:lnTo>
                      <a:pt x="343" y="121"/>
                    </a:lnTo>
                    <a:lnTo>
                      <a:pt x="342" y="118"/>
                    </a:lnTo>
                    <a:lnTo>
                      <a:pt x="340" y="116"/>
                    </a:lnTo>
                    <a:lnTo>
                      <a:pt x="339" y="113"/>
                    </a:lnTo>
                    <a:lnTo>
                      <a:pt x="339" y="110"/>
                    </a:lnTo>
                    <a:lnTo>
                      <a:pt x="339" y="107"/>
                    </a:lnTo>
                    <a:lnTo>
                      <a:pt x="340" y="104"/>
                    </a:lnTo>
                    <a:lnTo>
                      <a:pt x="342" y="101"/>
                    </a:lnTo>
                    <a:lnTo>
                      <a:pt x="343" y="99"/>
                    </a:lnTo>
                    <a:lnTo>
                      <a:pt x="345" y="98"/>
                    </a:lnTo>
                    <a:lnTo>
                      <a:pt x="349" y="96"/>
                    </a:lnTo>
                    <a:lnTo>
                      <a:pt x="351" y="95"/>
                    </a:lnTo>
                    <a:lnTo>
                      <a:pt x="354" y="95"/>
                    </a:lnTo>
                    <a:close/>
                    <a:moveTo>
                      <a:pt x="56" y="518"/>
                    </a:moveTo>
                    <a:lnTo>
                      <a:pt x="61" y="516"/>
                    </a:lnTo>
                    <a:lnTo>
                      <a:pt x="63" y="513"/>
                    </a:lnTo>
                    <a:lnTo>
                      <a:pt x="64" y="510"/>
                    </a:lnTo>
                    <a:lnTo>
                      <a:pt x="65" y="506"/>
                    </a:lnTo>
                    <a:lnTo>
                      <a:pt x="643" y="506"/>
                    </a:lnTo>
                    <a:lnTo>
                      <a:pt x="644" y="510"/>
                    </a:lnTo>
                    <a:lnTo>
                      <a:pt x="645" y="513"/>
                    </a:lnTo>
                    <a:lnTo>
                      <a:pt x="648" y="516"/>
                    </a:lnTo>
                    <a:lnTo>
                      <a:pt x="651" y="518"/>
                    </a:lnTo>
                    <a:lnTo>
                      <a:pt x="655" y="520"/>
                    </a:lnTo>
                    <a:lnTo>
                      <a:pt x="658" y="521"/>
                    </a:lnTo>
                    <a:lnTo>
                      <a:pt x="662" y="520"/>
                    </a:lnTo>
                    <a:lnTo>
                      <a:pt x="666" y="518"/>
                    </a:lnTo>
                    <a:lnTo>
                      <a:pt x="670" y="515"/>
                    </a:lnTo>
                    <a:lnTo>
                      <a:pt x="672" y="512"/>
                    </a:lnTo>
                    <a:lnTo>
                      <a:pt x="680" y="494"/>
                    </a:lnTo>
                    <a:lnTo>
                      <a:pt x="688" y="475"/>
                    </a:lnTo>
                    <a:lnTo>
                      <a:pt x="694" y="455"/>
                    </a:lnTo>
                    <a:lnTo>
                      <a:pt x="699" y="436"/>
                    </a:lnTo>
                    <a:lnTo>
                      <a:pt x="704" y="416"/>
                    </a:lnTo>
                    <a:lnTo>
                      <a:pt x="706" y="395"/>
                    </a:lnTo>
                    <a:lnTo>
                      <a:pt x="708" y="375"/>
                    </a:lnTo>
                    <a:lnTo>
                      <a:pt x="709" y="355"/>
                    </a:lnTo>
                    <a:lnTo>
                      <a:pt x="708" y="337"/>
                    </a:lnTo>
                    <a:lnTo>
                      <a:pt x="707" y="318"/>
                    </a:lnTo>
                    <a:lnTo>
                      <a:pt x="705" y="300"/>
                    </a:lnTo>
                    <a:lnTo>
                      <a:pt x="702" y="283"/>
                    </a:lnTo>
                    <a:lnTo>
                      <a:pt x="697" y="266"/>
                    </a:lnTo>
                    <a:lnTo>
                      <a:pt x="693" y="249"/>
                    </a:lnTo>
                    <a:lnTo>
                      <a:pt x="687" y="233"/>
                    </a:lnTo>
                    <a:lnTo>
                      <a:pt x="680" y="217"/>
                    </a:lnTo>
                    <a:lnTo>
                      <a:pt x="674" y="201"/>
                    </a:lnTo>
                    <a:lnTo>
                      <a:pt x="665" y="186"/>
                    </a:lnTo>
                    <a:lnTo>
                      <a:pt x="657" y="171"/>
                    </a:lnTo>
                    <a:lnTo>
                      <a:pt x="648" y="157"/>
                    </a:lnTo>
                    <a:lnTo>
                      <a:pt x="639" y="143"/>
                    </a:lnTo>
                    <a:lnTo>
                      <a:pt x="628" y="129"/>
                    </a:lnTo>
                    <a:lnTo>
                      <a:pt x="616" y="116"/>
                    </a:lnTo>
                    <a:lnTo>
                      <a:pt x="604" y="104"/>
                    </a:lnTo>
                    <a:lnTo>
                      <a:pt x="592" y="93"/>
                    </a:lnTo>
                    <a:lnTo>
                      <a:pt x="580" y="81"/>
                    </a:lnTo>
                    <a:lnTo>
                      <a:pt x="566" y="70"/>
                    </a:lnTo>
                    <a:lnTo>
                      <a:pt x="552" y="61"/>
                    </a:lnTo>
                    <a:lnTo>
                      <a:pt x="538" y="52"/>
                    </a:lnTo>
                    <a:lnTo>
                      <a:pt x="523" y="44"/>
                    </a:lnTo>
                    <a:lnTo>
                      <a:pt x="508" y="35"/>
                    </a:lnTo>
                    <a:lnTo>
                      <a:pt x="492" y="29"/>
                    </a:lnTo>
                    <a:lnTo>
                      <a:pt x="476" y="22"/>
                    </a:lnTo>
                    <a:lnTo>
                      <a:pt x="460" y="16"/>
                    </a:lnTo>
                    <a:lnTo>
                      <a:pt x="443" y="11"/>
                    </a:lnTo>
                    <a:lnTo>
                      <a:pt x="426" y="7"/>
                    </a:lnTo>
                    <a:lnTo>
                      <a:pt x="408" y="4"/>
                    </a:lnTo>
                    <a:lnTo>
                      <a:pt x="390" y="2"/>
                    </a:lnTo>
                    <a:lnTo>
                      <a:pt x="372" y="1"/>
                    </a:lnTo>
                    <a:lnTo>
                      <a:pt x="354" y="0"/>
                    </a:lnTo>
                    <a:lnTo>
                      <a:pt x="336" y="1"/>
                    </a:lnTo>
                    <a:lnTo>
                      <a:pt x="318" y="2"/>
                    </a:lnTo>
                    <a:lnTo>
                      <a:pt x="300" y="4"/>
                    </a:lnTo>
                    <a:lnTo>
                      <a:pt x="283" y="7"/>
                    </a:lnTo>
                    <a:lnTo>
                      <a:pt x="265" y="11"/>
                    </a:lnTo>
                    <a:lnTo>
                      <a:pt x="249" y="16"/>
                    </a:lnTo>
                    <a:lnTo>
                      <a:pt x="232" y="22"/>
                    </a:lnTo>
                    <a:lnTo>
                      <a:pt x="216" y="29"/>
                    </a:lnTo>
                    <a:lnTo>
                      <a:pt x="201" y="35"/>
                    </a:lnTo>
                    <a:lnTo>
                      <a:pt x="185" y="44"/>
                    </a:lnTo>
                    <a:lnTo>
                      <a:pt x="171" y="52"/>
                    </a:lnTo>
                    <a:lnTo>
                      <a:pt x="156" y="61"/>
                    </a:lnTo>
                    <a:lnTo>
                      <a:pt x="142" y="70"/>
                    </a:lnTo>
                    <a:lnTo>
                      <a:pt x="129" y="81"/>
                    </a:lnTo>
                    <a:lnTo>
                      <a:pt x="116" y="93"/>
                    </a:lnTo>
                    <a:lnTo>
                      <a:pt x="104" y="104"/>
                    </a:lnTo>
                    <a:lnTo>
                      <a:pt x="92" y="116"/>
                    </a:lnTo>
                    <a:lnTo>
                      <a:pt x="81" y="129"/>
                    </a:lnTo>
                    <a:lnTo>
                      <a:pt x="70" y="143"/>
                    </a:lnTo>
                    <a:lnTo>
                      <a:pt x="61" y="157"/>
                    </a:lnTo>
                    <a:lnTo>
                      <a:pt x="51" y="171"/>
                    </a:lnTo>
                    <a:lnTo>
                      <a:pt x="43" y="186"/>
                    </a:lnTo>
                    <a:lnTo>
                      <a:pt x="35" y="201"/>
                    </a:lnTo>
                    <a:lnTo>
                      <a:pt x="28" y="217"/>
                    </a:lnTo>
                    <a:lnTo>
                      <a:pt x="21" y="233"/>
                    </a:lnTo>
                    <a:lnTo>
                      <a:pt x="16" y="249"/>
                    </a:lnTo>
                    <a:lnTo>
                      <a:pt x="10" y="266"/>
                    </a:lnTo>
                    <a:lnTo>
                      <a:pt x="7" y="283"/>
                    </a:lnTo>
                    <a:lnTo>
                      <a:pt x="4" y="300"/>
                    </a:lnTo>
                    <a:lnTo>
                      <a:pt x="2" y="318"/>
                    </a:lnTo>
                    <a:lnTo>
                      <a:pt x="0" y="337"/>
                    </a:lnTo>
                    <a:lnTo>
                      <a:pt x="0" y="355"/>
                    </a:lnTo>
                    <a:lnTo>
                      <a:pt x="0" y="375"/>
                    </a:lnTo>
                    <a:lnTo>
                      <a:pt x="2" y="395"/>
                    </a:lnTo>
                    <a:lnTo>
                      <a:pt x="5" y="416"/>
                    </a:lnTo>
                    <a:lnTo>
                      <a:pt x="9" y="436"/>
                    </a:lnTo>
                    <a:lnTo>
                      <a:pt x="14" y="455"/>
                    </a:lnTo>
                    <a:lnTo>
                      <a:pt x="20" y="475"/>
                    </a:lnTo>
                    <a:lnTo>
                      <a:pt x="28" y="494"/>
                    </a:lnTo>
                    <a:lnTo>
                      <a:pt x="37" y="512"/>
                    </a:lnTo>
                    <a:lnTo>
                      <a:pt x="38" y="514"/>
                    </a:lnTo>
                    <a:lnTo>
                      <a:pt x="40" y="516"/>
                    </a:lnTo>
                    <a:lnTo>
                      <a:pt x="43" y="518"/>
                    </a:lnTo>
                    <a:lnTo>
                      <a:pt x="46" y="520"/>
                    </a:lnTo>
                    <a:lnTo>
                      <a:pt x="48" y="521"/>
                    </a:lnTo>
                    <a:lnTo>
                      <a:pt x="51" y="521"/>
                    </a:lnTo>
                    <a:lnTo>
                      <a:pt x="54" y="520"/>
                    </a:lnTo>
                    <a:lnTo>
                      <a:pt x="56" y="5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52" name="Freeform 3331">
                <a:extLst>
                  <a:ext uri="{FF2B5EF4-FFF2-40B4-BE49-F238E27FC236}">
                    <a16:creationId xmlns:a16="http://schemas.microsoft.com/office/drawing/2014/main" id="{365E0105-7E10-4402-ABCF-22A89EF2F157}"/>
                  </a:ext>
                </a:extLst>
              </p:cNvPr>
              <p:cNvSpPr>
                <a:spLocks/>
              </p:cNvSpPr>
              <p:nvPr/>
            </p:nvSpPr>
            <p:spPr bwMode="auto">
              <a:xfrm>
                <a:off x="8858250" y="1428750"/>
                <a:ext cx="66675" cy="66675"/>
              </a:xfrm>
              <a:custGeom>
                <a:avLst/>
                <a:gdLst>
                  <a:gd name="T0" fmla="*/ 116 w 210"/>
                  <a:gd name="T1" fmla="*/ 209 h 210"/>
                  <a:gd name="T2" fmla="*/ 136 w 210"/>
                  <a:gd name="T3" fmla="*/ 204 h 210"/>
                  <a:gd name="T4" fmla="*/ 155 w 210"/>
                  <a:gd name="T5" fmla="*/ 197 h 210"/>
                  <a:gd name="T6" fmla="*/ 171 w 210"/>
                  <a:gd name="T7" fmla="*/ 186 h 210"/>
                  <a:gd name="T8" fmla="*/ 186 w 210"/>
                  <a:gd name="T9" fmla="*/ 171 h 210"/>
                  <a:gd name="T10" fmla="*/ 197 w 210"/>
                  <a:gd name="T11" fmla="*/ 155 h 210"/>
                  <a:gd name="T12" fmla="*/ 205 w 210"/>
                  <a:gd name="T13" fmla="*/ 136 h 210"/>
                  <a:gd name="T14" fmla="*/ 210 w 210"/>
                  <a:gd name="T15" fmla="*/ 116 h 210"/>
                  <a:gd name="T16" fmla="*/ 210 w 210"/>
                  <a:gd name="T17" fmla="*/ 94 h 210"/>
                  <a:gd name="T18" fmla="*/ 205 w 210"/>
                  <a:gd name="T19" fmla="*/ 74 h 210"/>
                  <a:gd name="T20" fmla="*/ 197 w 210"/>
                  <a:gd name="T21" fmla="*/ 55 h 210"/>
                  <a:gd name="T22" fmla="*/ 186 w 210"/>
                  <a:gd name="T23" fmla="*/ 39 h 210"/>
                  <a:gd name="T24" fmla="*/ 171 w 210"/>
                  <a:gd name="T25" fmla="*/ 25 h 210"/>
                  <a:gd name="T26" fmla="*/ 155 w 210"/>
                  <a:gd name="T27" fmla="*/ 13 h 210"/>
                  <a:gd name="T28" fmla="*/ 136 w 210"/>
                  <a:gd name="T29" fmla="*/ 5 h 210"/>
                  <a:gd name="T30" fmla="*/ 116 w 210"/>
                  <a:gd name="T31" fmla="*/ 1 h 210"/>
                  <a:gd name="T32" fmla="*/ 94 w 210"/>
                  <a:gd name="T33" fmla="*/ 1 h 210"/>
                  <a:gd name="T34" fmla="*/ 74 w 210"/>
                  <a:gd name="T35" fmla="*/ 5 h 210"/>
                  <a:gd name="T36" fmla="*/ 56 w 210"/>
                  <a:gd name="T37" fmla="*/ 13 h 210"/>
                  <a:gd name="T38" fmla="*/ 39 w 210"/>
                  <a:gd name="T39" fmla="*/ 25 h 210"/>
                  <a:gd name="T40" fmla="*/ 25 w 210"/>
                  <a:gd name="T41" fmla="*/ 39 h 210"/>
                  <a:gd name="T42" fmla="*/ 13 w 210"/>
                  <a:gd name="T43" fmla="*/ 55 h 210"/>
                  <a:gd name="T44" fmla="*/ 5 w 210"/>
                  <a:gd name="T45" fmla="*/ 74 h 210"/>
                  <a:gd name="T46" fmla="*/ 1 w 210"/>
                  <a:gd name="T47" fmla="*/ 94 h 210"/>
                  <a:gd name="T48" fmla="*/ 1 w 210"/>
                  <a:gd name="T49" fmla="*/ 116 h 210"/>
                  <a:gd name="T50" fmla="*/ 5 w 210"/>
                  <a:gd name="T51" fmla="*/ 136 h 210"/>
                  <a:gd name="T52" fmla="*/ 13 w 210"/>
                  <a:gd name="T53" fmla="*/ 155 h 210"/>
                  <a:gd name="T54" fmla="*/ 25 w 210"/>
                  <a:gd name="T55" fmla="*/ 171 h 210"/>
                  <a:gd name="T56" fmla="*/ 39 w 210"/>
                  <a:gd name="T57" fmla="*/ 186 h 210"/>
                  <a:gd name="T58" fmla="*/ 56 w 210"/>
                  <a:gd name="T59" fmla="*/ 197 h 210"/>
                  <a:gd name="T60" fmla="*/ 74 w 210"/>
                  <a:gd name="T61" fmla="*/ 204 h 210"/>
                  <a:gd name="T62" fmla="*/ 94 w 210"/>
                  <a:gd name="T63" fmla="*/ 20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210">
                    <a:moveTo>
                      <a:pt x="105" y="210"/>
                    </a:moveTo>
                    <a:lnTo>
                      <a:pt x="116" y="209"/>
                    </a:lnTo>
                    <a:lnTo>
                      <a:pt x="126" y="208"/>
                    </a:lnTo>
                    <a:lnTo>
                      <a:pt x="136" y="204"/>
                    </a:lnTo>
                    <a:lnTo>
                      <a:pt x="146" y="201"/>
                    </a:lnTo>
                    <a:lnTo>
                      <a:pt x="155" y="197"/>
                    </a:lnTo>
                    <a:lnTo>
                      <a:pt x="164" y="192"/>
                    </a:lnTo>
                    <a:lnTo>
                      <a:pt x="171" y="186"/>
                    </a:lnTo>
                    <a:lnTo>
                      <a:pt x="179" y="179"/>
                    </a:lnTo>
                    <a:lnTo>
                      <a:pt x="186" y="171"/>
                    </a:lnTo>
                    <a:lnTo>
                      <a:pt x="192" y="164"/>
                    </a:lnTo>
                    <a:lnTo>
                      <a:pt x="197" y="155"/>
                    </a:lnTo>
                    <a:lnTo>
                      <a:pt x="201" y="146"/>
                    </a:lnTo>
                    <a:lnTo>
                      <a:pt x="205" y="136"/>
                    </a:lnTo>
                    <a:lnTo>
                      <a:pt x="208" y="126"/>
                    </a:lnTo>
                    <a:lnTo>
                      <a:pt x="210" y="116"/>
                    </a:lnTo>
                    <a:lnTo>
                      <a:pt x="210" y="105"/>
                    </a:lnTo>
                    <a:lnTo>
                      <a:pt x="210" y="94"/>
                    </a:lnTo>
                    <a:lnTo>
                      <a:pt x="208" y="84"/>
                    </a:lnTo>
                    <a:lnTo>
                      <a:pt x="205" y="74"/>
                    </a:lnTo>
                    <a:lnTo>
                      <a:pt x="201" y="64"/>
                    </a:lnTo>
                    <a:lnTo>
                      <a:pt x="197" y="55"/>
                    </a:lnTo>
                    <a:lnTo>
                      <a:pt x="192" y="46"/>
                    </a:lnTo>
                    <a:lnTo>
                      <a:pt x="186" y="39"/>
                    </a:lnTo>
                    <a:lnTo>
                      <a:pt x="179" y="31"/>
                    </a:lnTo>
                    <a:lnTo>
                      <a:pt x="171" y="25"/>
                    </a:lnTo>
                    <a:lnTo>
                      <a:pt x="164" y="18"/>
                    </a:lnTo>
                    <a:lnTo>
                      <a:pt x="155" y="13"/>
                    </a:lnTo>
                    <a:lnTo>
                      <a:pt x="146" y="9"/>
                    </a:lnTo>
                    <a:lnTo>
                      <a:pt x="136" y="5"/>
                    </a:lnTo>
                    <a:lnTo>
                      <a:pt x="126" y="2"/>
                    </a:lnTo>
                    <a:lnTo>
                      <a:pt x="116" y="1"/>
                    </a:lnTo>
                    <a:lnTo>
                      <a:pt x="105" y="0"/>
                    </a:lnTo>
                    <a:lnTo>
                      <a:pt x="94" y="1"/>
                    </a:lnTo>
                    <a:lnTo>
                      <a:pt x="83" y="2"/>
                    </a:lnTo>
                    <a:lnTo>
                      <a:pt x="74" y="5"/>
                    </a:lnTo>
                    <a:lnTo>
                      <a:pt x="64" y="9"/>
                    </a:lnTo>
                    <a:lnTo>
                      <a:pt x="56" y="13"/>
                    </a:lnTo>
                    <a:lnTo>
                      <a:pt x="47" y="18"/>
                    </a:lnTo>
                    <a:lnTo>
                      <a:pt x="39" y="25"/>
                    </a:lnTo>
                    <a:lnTo>
                      <a:pt x="31" y="31"/>
                    </a:lnTo>
                    <a:lnTo>
                      <a:pt x="25" y="39"/>
                    </a:lnTo>
                    <a:lnTo>
                      <a:pt x="18" y="46"/>
                    </a:lnTo>
                    <a:lnTo>
                      <a:pt x="13" y="55"/>
                    </a:lnTo>
                    <a:lnTo>
                      <a:pt x="9" y="64"/>
                    </a:lnTo>
                    <a:lnTo>
                      <a:pt x="5" y="74"/>
                    </a:lnTo>
                    <a:lnTo>
                      <a:pt x="2" y="84"/>
                    </a:lnTo>
                    <a:lnTo>
                      <a:pt x="1" y="94"/>
                    </a:lnTo>
                    <a:lnTo>
                      <a:pt x="0" y="105"/>
                    </a:lnTo>
                    <a:lnTo>
                      <a:pt x="1" y="116"/>
                    </a:lnTo>
                    <a:lnTo>
                      <a:pt x="2" y="126"/>
                    </a:lnTo>
                    <a:lnTo>
                      <a:pt x="5" y="136"/>
                    </a:lnTo>
                    <a:lnTo>
                      <a:pt x="9" y="146"/>
                    </a:lnTo>
                    <a:lnTo>
                      <a:pt x="13" y="155"/>
                    </a:lnTo>
                    <a:lnTo>
                      <a:pt x="18" y="164"/>
                    </a:lnTo>
                    <a:lnTo>
                      <a:pt x="25" y="171"/>
                    </a:lnTo>
                    <a:lnTo>
                      <a:pt x="31" y="179"/>
                    </a:lnTo>
                    <a:lnTo>
                      <a:pt x="39" y="186"/>
                    </a:lnTo>
                    <a:lnTo>
                      <a:pt x="47" y="192"/>
                    </a:lnTo>
                    <a:lnTo>
                      <a:pt x="56" y="197"/>
                    </a:lnTo>
                    <a:lnTo>
                      <a:pt x="64" y="201"/>
                    </a:lnTo>
                    <a:lnTo>
                      <a:pt x="74" y="204"/>
                    </a:lnTo>
                    <a:lnTo>
                      <a:pt x="83" y="208"/>
                    </a:lnTo>
                    <a:lnTo>
                      <a:pt x="94" y="209"/>
                    </a:lnTo>
                    <a:lnTo>
                      <a:pt x="105"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grpSp>
        <p:nvGrpSpPr>
          <p:cNvPr id="69" name="Group 68">
            <a:extLst>
              <a:ext uri="{FF2B5EF4-FFF2-40B4-BE49-F238E27FC236}">
                <a16:creationId xmlns:a16="http://schemas.microsoft.com/office/drawing/2014/main" id="{9EC2B49D-91AD-4230-9F17-E39B4240FBD2}"/>
              </a:ext>
            </a:extLst>
          </p:cNvPr>
          <p:cNvGrpSpPr/>
          <p:nvPr/>
        </p:nvGrpSpPr>
        <p:grpSpPr>
          <a:xfrm>
            <a:off x="8452094" y="6612374"/>
            <a:ext cx="7478225" cy="571463"/>
            <a:chOff x="4247357" y="3286920"/>
            <a:chExt cx="3739356" cy="285750"/>
          </a:xfrm>
          <a:solidFill>
            <a:schemeClr val="bg1"/>
          </a:solidFill>
        </p:grpSpPr>
        <p:grpSp>
          <p:nvGrpSpPr>
            <p:cNvPr id="144" name="Group 143">
              <a:extLst>
                <a:ext uri="{FF2B5EF4-FFF2-40B4-BE49-F238E27FC236}">
                  <a16:creationId xmlns:a16="http://schemas.microsoft.com/office/drawing/2014/main" id="{DC61D81B-3CE4-4D19-95FD-95752EF15F21}"/>
                </a:ext>
              </a:extLst>
            </p:cNvPr>
            <p:cNvGrpSpPr/>
            <p:nvPr/>
          </p:nvGrpSpPr>
          <p:grpSpPr>
            <a:xfrm>
              <a:off x="7700963" y="3286920"/>
              <a:ext cx="285750" cy="285750"/>
              <a:chOff x="10460038" y="4197350"/>
              <a:chExt cx="285750" cy="285750"/>
            </a:xfrm>
            <a:grpFill/>
          </p:grpSpPr>
          <p:sp>
            <p:nvSpPr>
              <p:cNvPr id="145" name="Freeform 3308">
                <a:extLst>
                  <a:ext uri="{FF2B5EF4-FFF2-40B4-BE49-F238E27FC236}">
                    <a16:creationId xmlns:a16="http://schemas.microsoft.com/office/drawing/2014/main" id="{D7AF2840-BE38-4B14-AE39-43C25366405B}"/>
                  </a:ext>
                </a:extLst>
              </p:cNvPr>
              <p:cNvSpPr>
                <a:spLocks/>
              </p:cNvSpPr>
              <p:nvPr/>
            </p:nvSpPr>
            <p:spPr bwMode="auto">
              <a:xfrm>
                <a:off x="10531475" y="4268788"/>
                <a:ext cx="142875" cy="142875"/>
              </a:xfrm>
              <a:custGeom>
                <a:avLst/>
                <a:gdLst>
                  <a:gd name="T0" fmla="*/ 236 w 449"/>
                  <a:gd name="T1" fmla="*/ 448 h 448"/>
                  <a:gd name="T2" fmla="*/ 259 w 449"/>
                  <a:gd name="T3" fmla="*/ 446 h 448"/>
                  <a:gd name="T4" fmla="*/ 280 w 449"/>
                  <a:gd name="T5" fmla="*/ 442 h 448"/>
                  <a:gd name="T6" fmla="*/ 301 w 449"/>
                  <a:gd name="T7" fmla="*/ 436 h 448"/>
                  <a:gd name="T8" fmla="*/ 331 w 449"/>
                  <a:gd name="T9" fmla="*/ 422 h 448"/>
                  <a:gd name="T10" fmla="*/ 367 w 449"/>
                  <a:gd name="T11" fmla="*/ 397 h 448"/>
                  <a:gd name="T12" fmla="*/ 398 w 449"/>
                  <a:gd name="T13" fmla="*/ 367 h 448"/>
                  <a:gd name="T14" fmla="*/ 421 w 449"/>
                  <a:gd name="T15" fmla="*/ 332 h 448"/>
                  <a:gd name="T16" fmla="*/ 435 w 449"/>
                  <a:gd name="T17" fmla="*/ 302 h 448"/>
                  <a:gd name="T18" fmla="*/ 441 w 449"/>
                  <a:gd name="T19" fmla="*/ 280 h 448"/>
                  <a:gd name="T20" fmla="*/ 446 w 449"/>
                  <a:gd name="T21" fmla="*/ 259 h 448"/>
                  <a:gd name="T22" fmla="*/ 448 w 449"/>
                  <a:gd name="T23" fmla="*/ 235 h 448"/>
                  <a:gd name="T24" fmla="*/ 448 w 449"/>
                  <a:gd name="T25" fmla="*/ 213 h 448"/>
                  <a:gd name="T26" fmla="*/ 446 w 449"/>
                  <a:gd name="T27" fmla="*/ 191 h 448"/>
                  <a:gd name="T28" fmla="*/ 441 w 449"/>
                  <a:gd name="T29" fmla="*/ 168 h 448"/>
                  <a:gd name="T30" fmla="*/ 435 w 449"/>
                  <a:gd name="T31" fmla="*/ 148 h 448"/>
                  <a:gd name="T32" fmla="*/ 421 w 449"/>
                  <a:gd name="T33" fmla="*/ 118 h 448"/>
                  <a:gd name="T34" fmla="*/ 398 w 449"/>
                  <a:gd name="T35" fmla="*/ 81 h 448"/>
                  <a:gd name="T36" fmla="*/ 367 w 449"/>
                  <a:gd name="T37" fmla="*/ 51 h 448"/>
                  <a:gd name="T38" fmla="*/ 331 w 449"/>
                  <a:gd name="T39" fmla="*/ 27 h 448"/>
                  <a:gd name="T40" fmla="*/ 301 w 449"/>
                  <a:gd name="T41" fmla="*/ 14 h 448"/>
                  <a:gd name="T42" fmla="*/ 280 w 449"/>
                  <a:gd name="T43" fmla="*/ 7 h 448"/>
                  <a:gd name="T44" fmla="*/ 259 w 449"/>
                  <a:gd name="T45" fmla="*/ 2 h 448"/>
                  <a:gd name="T46" fmla="*/ 236 w 449"/>
                  <a:gd name="T47" fmla="*/ 0 h 448"/>
                  <a:gd name="T48" fmla="*/ 212 w 449"/>
                  <a:gd name="T49" fmla="*/ 0 h 448"/>
                  <a:gd name="T50" fmla="*/ 190 w 449"/>
                  <a:gd name="T51" fmla="*/ 2 h 448"/>
                  <a:gd name="T52" fmla="*/ 169 w 449"/>
                  <a:gd name="T53" fmla="*/ 7 h 448"/>
                  <a:gd name="T54" fmla="*/ 147 w 449"/>
                  <a:gd name="T55" fmla="*/ 14 h 448"/>
                  <a:gd name="T56" fmla="*/ 117 w 449"/>
                  <a:gd name="T57" fmla="*/ 27 h 448"/>
                  <a:gd name="T58" fmla="*/ 82 w 449"/>
                  <a:gd name="T59" fmla="*/ 51 h 448"/>
                  <a:gd name="T60" fmla="*/ 51 w 449"/>
                  <a:gd name="T61" fmla="*/ 81 h 448"/>
                  <a:gd name="T62" fmla="*/ 27 w 449"/>
                  <a:gd name="T63" fmla="*/ 118 h 448"/>
                  <a:gd name="T64" fmla="*/ 13 w 449"/>
                  <a:gd name="T65" fmla="*/ 148 h 448"/>
                  <a:gd name="T66" fmla="*/ 7 w 449"/>
                  <a:gd name="T67" fmla="*/ 168 h 448"/>
                  <a:gd name="T68" fmla="*/ 3 w 449"/>
                  <a:gd name="T69" fmla="*/ 191 h 448"/>
                  <a:gd name="T70" fmla="*/ 1 w 449"/>
                  <a:gd name="T71" fmla="*/ 213 h 448"/>
                  <a:gd name="T72" fmla="*/ 1 w 449"/>
                  <a:gd name="T73" fmla="*/ 235 h 448"/>
                  <a:gd name="T74" fmla="*/ 3 w 449"/>
                  <a:gd name="T75" fmla="*/ 259 h 448"/>
                  <a:gd name="T76" fmla="*/ 7 w 449"/>
                  <a:gd name="T77" fmla="*/ 280 h 448"/>
                  <a:gd name="T78" fmla="*/ 13 w 449"/>
                  <a:gd name="T79" fmla="*/ 302 h 448"/>
                  <a:gd name="T80" fmla="*/ 27 w 449"/>
                  <a:gd name="T81" fmla="*/ 332 h 448"/>
                  <a:gd name="T82" fmla="*/ 51 w 449"/>
                  <a:gd name="T83" fmla="*/ 367 h 448"/>
                  <a:gd name="T84" fmla="*/ 82 w 449"/>
                  <a:gd name="T85" fmla="*/ 397 h 448"/>
                  <a:gd name="T86" fmla="*/ 117 w 449"/>
                  <a:gd name="T87" fmla="*/ 422 h 448"/>
                  <a:gd name="T88" fmla="*/ 147 w 449"/>
                  <a:gd name="T89" fmla="*/ 436 h 448"/>
                  <a:gd name="T90" fmla="*/ 169 w 449"/>
                  <a:gd name="T91" fmla="*/ 442 h 448"/>
                  <a:gd name="T92" fmla="*/ 190 w 449"/>
                  <a:gd name="T93" fmla="*/ 446 h 448"/>
                  <a:gd name="T94" fmla="*/ 212 w 449"/>
                  <a:gd name="T95"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9" h="448">
                    <a:moveTo>
                      <a:pt x="224" y="448"/>
                    </a:moveTo>
                    <a:lnTo>
                      <a:pt x="236" y="448"/>
                    </a:lnTo>
                    <a:lnTo>
                      <a:pt x="247" y="447"/>
                    </a:lnTo>
                    <a:lnTo>
                      <a:pt x="259" y="446"/>
                    </a:lnTo>
                    <a:lnTo>
                      <a:pt x="269" y="444"/>
                    </a:lnTo>
                    <a:lnTo>
                      <a:pt x="280" y="442"/>
                    </a:lnTo>
                    <a:lnTo>
                      <a:pt x="291" y="439"/>
                    </a:lnTo>
                    <a:lnTo>
                      <a:pt x="301" y="436"/>
                    </a:lnTo>
                    <a:lnTo>
                      <a:pt x="312" y="431"/>
                    </a:lnTo>
                    <a:lnTo>
                      <a:pt x="331" y="422"/>
                    </a:lnTo>
                    <a:lnTo>
                      <a:pt x="349" y="410"/>
                    </a:lnTo>
                    <a:lnTo>
                      <a:pt x="367" y="397"/>
                    </a:lnTo>
                    <a:lnTo>
                      <a:pt x="383" y="383"/>
                    </a:lnTo>
                    <a:lnTo>
                      <a:pt x="398" y="367"/>
                    </a:lnTo>
                    <a:lnTo>
                      <a:pt x="410" y="350"/>
                    </a:lnTo>
                    <a:lnTo>
                      <a:pt x="421" y="332"/>
                    </a:lnTo>
                    <a:lnTo>
                      <a:pt x="431" y="311"/>
                    </a:lnTo>
                    <a:lnTo>
                      <a:pt x="435" y="302"/>
                    </a:lnTo>
                    <a:lnTo>
                      <a:pt x="438" y="291"/>
                    </a:lnTo>
                    <a:lnTo>
                      <a:pt x="441" y="280"/>
                    </a:lnTo>
                    <a:lnTo>
                      <a:pt x="444" y="270"/>
                    </a:lnTo>
                    <a:lnTo>
                      <a:pt x="446" y="259"/>
                    </a:lnTo>
                    <a:lnTo>
                      <a:pt x="448" y="247"/>
                    </a:lnTo>
                    <a:lnTo>
                      <a:pt x="448" y="235"/>
                    </a:lnTo>
                    <a:lnTo>
                      <a:pt x="449" y="225"/>
                    </a:lnTo>
                    <a:lnTo>
                      <a:pt x="448" y="213"/>
                    </a:lnTo>
                    <a:lnTo>
                      <a:pt x="448" y="201"/>
                    </a:lnTo>
                    <a:lnTo>
                      <a:pt x="446" y="191"/>
                    </a:lnTo>
                    <a:lnTo>
                      <a:pt x="444" y="179"/>
                    </a:lnTo>
                    <a:lnTo>
                      <a:pt x="441" y="168"/>
                    </a:lnTo>
                    <a:lnTo>
                      <a:pt x="438" y="157"/>
                    </a:lnTo>
                    <a:lnTo>
                      <a:pt x="435" y="148"/>
                    </a:lnTo>
                    <a:lnTo>
                      <a:pt x="431" y="137"/>
                    </a:lnTo>
                    <a:lnTo>
                      <a:pt x="421" y="118"/>
                    </a:lnTo>
                    <a:lnTo>
                      <a:pt x="410" y="99"/>
                    </a:lnTo>
                    <a:lnTo>
                      <a:pt x="398" y="81"/>
                    </a:lnTo>
                    <a:lnTo>
                      <a:pt x="383" y="65"/>
                    </a:lnTo>
                    <a:lnTo>
                      <a:pt x="367" y="51"/>
                    </a:lnTo>
                    <a:lnTo>
                      <a:pt x="349" y="39"/>
                    </a:lnTo>
                    <a:lnTo>
                      <a:pt x="331" y="27"/>
                    </a:lnTo>
                    <a:lnTo>
                      <a:pt x="312" y="17"/>
                    </a:lnTo>
                    <a:lnTo>
                      <a:pt x="301" y="14"/>
                    </a:lnTo>
                    <a:lnTo>
                      <a:pt x="291" y="10"/>
                    </a:lnTo>
                    <a:lnTo>
                      <a:pt x="280" y="7"/>
                    </a:lnTo>
                    <a:lnTo>
                      <a:pt x="269" y="4"/>
                    </a:lnTo>
                    <a:lnTo>
                      <a:pt x="259" y="2"/>
                    </a:lnTo>
                    <a:lnTo>
                      <a:pt x="247" y="1"/>
                    </a:lnTo>
                    <a:lnTo>
                      <a:pt x="236" y="0"/>
                    </a:lnTo>
                    <a:lnTo>
                      <a:pt x="224" y="0"/>
                    </a:lnTo>
                    <a:lnTo>
                      <a:pt x="212" y="0"/>
                    </a:lnTo>
                    <a:lnTo>
                      <a:pt x="202" y="1"/>
                    </a:lnTo>
                    <a:lnTo>
                      <a:pt x="190" y="2"/>
                    </a:lnTo>
                    <a:lnTo>
                      <a:pt x="179" y="4"/>
                    </a:lnTo>
                    <a:lnTo>
                      <a:pt x="169" y="7"/>
                    </a:lnTo>
                    <a:lnTo>
                      <a:pt x="158" y="10"/>
                    </a:lnTo>
                    <a:lnTo>
                      <a:pt x="147" y="14"/>
                    </a:lnTo>
                    <a:lnTo>
                      <a:pt x="137" y="17"/>
                    </a:lnTo>
                    <a:lnTo>
                      <a:pt x="117" y="27"/>
                    </a:lnTo>
                    <a:lnTo>
                      <a:pt x="99" y="39"/>
                    </a:lnTo>
                    <a:lnTo>
                      <a:pt x="82" y="51"/>
                    </a:lnTo>
                    <a:lnTo>
                      <a:pt x="66" y="65"/>
                    </a:lnTo>
                    <a:lnTo>
                      <a:pt x="51" y="81"/>
                    </a:lnTo>
                    <a:lnTo>
                      <a:pt x="38" y="99"/>
                    </a:lnTo>
                    <a:lnTo>
                      <a:pt x="27" y="118"/>
                    </a:lnTo>
                    <a:lnTo>
                      <a:pt x="18" y="137"/>
                    </a:lnTo>
                    <a:lnTo>
                      <a:pt x="13" y="148"/>
                    </a:lnTo>
                    <a:lnTo>
                      <a:pt x="10" y="157"/>
                    </a:lnTo>
                    <a:lnTo>
                      <a:pt x="7" y="168"/>
                    </a:lnTo>
                    <a:lnTo>
                      <a:pt x="5" y="179"/>
                    </a:lnTo>
                    <a:lnTo>
                      <a:pt x="3" y="191"/>
                    </a:lnTo>
                    <a:lnTo>
                      <a:pt x="1" y="201"/>
                    </a:lnTo>
                    <a:lnTo>
                      <a:pt x="1" y="213"/>
                    </a:lnTo>
                    <a:lnTo>
                      <a:pt x="0" y="225"/>
                    </a:lnTo>
                    <a:lnTo>
                      <a:pt x="1" y="235"/>
                    </a:lnTo>
                    <a:lnTo>
                      <a:pt x="1" y="247"/>
                    </a:lnTo>
                    <a:lnTo>
                      <a:pt x="3" y="259"/>
                    </a:lnTo>
                    <a:lnTo>
                      <a:pt x="5" y="270"/>
                    </a:lnTo>
                    <a:lnTo>
                      <a:pt x="7" y="280"/>
                    </a:lnTo>
                    <a:lnTo>
                      <a:pt x="10" y="291"/>
                    </a:lnTo>
                    <a:lnTo>
                      <a:pt x="13" y="302"/>
                    </a:lnTo>
                    <a:lnTo>
                      <a:pt x="18" y="311"/>
                    </a:lnTo>
                    <a:lnTo>
                      <a:pt x="27" y="332"/>
                    </a:lnTo>
                    <a:lnTo>
                      <a:pt x="38" y="350"/>
                    </a:lnTo>
                    <a:lnTo>
                      <a:pt x="51" y="367"/>
                    </a:lnTo>
                    <a:lnTo>
                      <a:pt x="66" y="383"/>
                    </a:lnTo>
                    <a:lnTo>
                      <a:pt x="82" y="397"/>
                    </a:lnTo>
                    <a:lnTo>
                      <a:pt x="99" y="410"/>
                    </a:lnTo>
                    <a:lnTo>
                      <a:pt x="117" y="422"/>
                    </a:lnTo>
                    <a:lnTo>
                      <a:pt x="137" y="431"/>
                    </a:lnTo>
                    <a:lnTo>
                      <a:pt x="147" y="436"/>
                    </a:lnTo>
                    <a:lnTo>
                      <a:pt x="158" y="439"/>
                    </a:lnTo>
                    <a:lnTo>
                      <a:pt x="169" y="442"/>
                    </a:lnTo>
                    <a:lnTo>
                      <a:pt x="179" y="444"/>
                    </a:lnTo>
                    <a:lnTo>
                      <a:pt x="190" y="446"/>
                    </a:lnTo>
                    <a:lnTo>
                      <a:pt x="202" y="447"/>
                    </a:lnTo>
                    <a:lnTo>
                      <a:pt x="212" y="448"/>
                    </a:lnTo>
                    <a:lnTo>
                      <a:pt x="224" y="4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46" name="Freeform 3309">
                <a:extLst>
                  <a:ext uri="{FF2B5EF4-FFF2-40B4-BE49-F238E27FC236}">
                    <a16:creationId xmlns:a16="http://schemas.microsoft.com/office/drawing/2014/main" id="{87C5EA01-30A9-4F00-ADD2-630FBD01ED89}"/>
                  </a:ext>
                </a:extLst>
              </p:cNvPr>
              <p:cNvSpPr>
                <a:spLocks/>
              </p:cNvSpPr>
              <p:nvPr/>
            </p:nvSpPr>
            <p:spPr bwMode="auto">
              <a:xfrm>
                <a:off x="10460038" y="4197350"/>
                <a:ext cx="285750" cy="196850"/>
              </a:xfrm>
              <a:custGeom>
                <a:avLst/>
                <a:gdLst>
                  <a:gd name="T0" fmla="*/ 741 w 898"/>
                  <a:gd name="T1" fmla="*/ 241 h 616"/>
                  <a:gd name="T2" fmla="*/ 725 w 898"/>
                  <a:gd name="T3" fmla="*/ 187 h 616"/>
                  <a:gd name="T4" fmla="*/ 699 w 898"/>
                  <a:gd name="T5" fmla="*/ 136 h 616"/>
                  <a:gd name="T6" fmla="*/ 664 w 898"/>
                  <a:gd name="T7" fmla="*/ 94 h 616"/>
                  <a:gd name="T8" fmla="*/ 623 w 898"/>
                  <a:gd name="T9" fmla="*/ 57 h 616"/>
                  <a:gd name="T10" fmla="*/ 575 w 898"/>
                  <a:gd name="T11" fmla="*/ 28 h 616"/>
                  <a:gd name="T12" fmla="*/ 521 w 898"/>
                  <a:gd name="T13" fmla="*/ 9 h 616"/>
                  <a:gd name="T14" fmla="*/ 463 w 898"/>
                  <a:gd name="T15" fmla="*/ 0 h 616"/>
                  <a:gd name="T16" fmla="*/ 404 w 898"/>
                  <a:gd name="T17" fmla="*/ 4 h 616"/>
                  <a:gd name="T18" fmla="*/ 349 w 898"/>
                  <a:gd name="T19" fmla="*/ 18 h 616"/>
                  <a:gd name="T20" fmla="*/ 297 w 898"/>
                  <a:gd name="T21" fmla="*/ 41 h 616"/>
                  <a:gd name="T22" fmla="*/ 252 w 898"/>
                  <a:gd name="T23" fmla="*/ 74 h 616"/>
                  <a:gd name="T24" fmla="*/ 214 w 898"/>
                  <a:gd name="T25" fmla="*/ 114 h 616"/>
                  <a:gd name="T26" fmla="*/ 183 w 898"/>
                  <a:gd name="T27" fmla="*/ 161 h 616"/>
                  <a:gd name="T28" fmla="*/ 162 w 898"/>
                  <a:gd name="T29" fmla="*/ 213 h 616"/>
                  <a:gd name="T30" fmla="*/ 151 w 898"/>
                  <a:gd name="T31" fmla="*/ 270 h 616"/>
                  <a:gd name="T32" fmla="*/ 105 w 898"/>
                  <a:gd name="T33" fmla="*/ 295 h 616"/>
                  <a:gd name="T34" fmla="*/ 53 w 898"/>
                  <a:gd name="T35" fmla="*/ 327 h 616"/>
                  <a:gd name="T36" fmla="*/ 17 w 898"/>
                  <a:gd name="T37" fmla="*/ 374 h 616"/>
                  <a:gd name="T38" fmla="*/ 0 w 898"/>
                  <a:gd name="T39" fmla="*/ 434 h 616"/>
                  <a:gd name="T40" fmla="*/ 6 w 898"/>
                  <a:gd name="T41" fmla="*/ 499 h 616"/>
                  <a:gd name="T42" fmla="*/ 37 w 898"/>
                  <a:gd name="T43" fmla="*/ 555 h 616"/>
                  <a:gd name="T44" fmla="*/ 86 w 898"/>
                  <a:gd name="T45" fmla="*/ 595 h 616"/>
                  <a:gd name="T46" fmla="*/ 148 w 898"/>
                  <a:gd name="T47" fmla="*/ 615 h 616"/>
                  <a:gd name="T48" fmla="*/ 172 w 898"/>
                  <a:gd name="T49" fmla="*/ 612 h 616"/>
                  <a:gd name="T50" fmla="*/ 179 w 898"/>
                  <a:gd name="T51" fmla="*/ 604 h 616"/>
                  <a:gd name="T52" fmla="*/ 181 w 898"/>
                  <a:gd name="T53" fmla="*/ 271 h 616"/>
                  <a:gd name="T54" fmla="*/ 191 w 898"/>
                  <a:gd name="T55" fmla="*/ 219 h 616"/>
                  <a:gd name="T56" fmla="*/ 212 w 898"/>
                  <a:gd name="T57" fmla="*/ 171 h 616"/>
                  <a:gd name="T58" fmla="*/ 241 w 898"/>
                  <a:gd name="T59" fmla="*/ 128 h 616"/>
                  <a:gd name="T60" fmla="*/ 277 w 898"/>
                  <a:gd name="T61" fmla="*/ 91 h 616"/>
                  <a:gd name="T62" fmla="*/ 320 w 898"/>
                  <a:gd name="T63" fmla="*/ 63 h 616"/>
                  <a:gd name="T64" fmla="*/ 368 w 898"/>
                  <a:gd name="T65" fmla="*/ 42 h 616"/>
                  <a:gd name="T66" fmla="*/ 420 w 898"/>
                  <a:gd name="T67" fmla="*/ 32 h 616"/>
                  <a:gd name="T68" fmla="*/ 476 w 898"/>
                  <a:gd name="T69" fmla="*/ 32 h 616"/>
                  <a:gd name="T70" fmla="*/ 529 w 898"/>
                  <a:gd name="T71" fmla="*/ 42 h 616"/>
                  <a:gd name="T72" fmla="*/ 577 w 898"/>
                  <a:gd name="T73" fmla="*/ 63 h 616"/>
                  <a:gd name="T74" fmla="*/ 619 w 898"/>
                  <a:gd name="T75" fmla="*/ 91 h 616"/>
                  <a:gd name="T76" fmla="*/ 656 w 898"/>
                  <a:gd name="T77" fmla="*/ 128 h 616"/>
                  <a:gd name="T78" fmla="*/ 685 w 898"/>
                  <a:gd name="T79" fmla="*/ 171 h 616"/>
                  <a:gd name="T80" fmla="*/ 705 w 898"/>
                  <a:gd name="T81" fmla="*/ 219 h 616"/>
                  <a:gd name="T82" fmla="*/ 716 w 898"/>
                  <a:gd name="T83" fmla="*/ 271 h 616"/>
                  <a:gd name="T84" fmla="*/ 718 w 898"/>
                  <a:gd name="T85" fmla="*/ 603 h 616"/>
                  <a:gd name="T86" fmla="*/ 724 w 898"/>
                  <a:gd name="T87" fmla="*/ 612 h 616"/>
                  <a:gd name="T88" fmla="*/ 749 w 898"/>
                  <a:gd name="T89" fmla="*/ 615 h 616"/>
                  <a:gd name="T90" fmla="*/ 811 w 898"/>
                  <a:gd name="T91" fmla="*/ 595 h 616"/>
                  <a:gd name="T92" fmla="*/ 859 w 898"/>
                  <a:gd name="T93" fmla="*/ 555 h 616"/>
                  <a:gd name="T94" fmla="*/ 890 w 898"/>
                  <a:gd name="T95" fmla="*/ 499 h 616"/>
                  <a:gd name="T96" fmla="*/ 897 w 898"/>
                  <a:gd name="T97" fmla="*/ 434 h 616"/>
                  <a:gd name="T98" fmla="*/ 879 w 898"/>
                  <a:gd name="T99" fmla="*/ 374 h 616"/>
                  <a:gd name="T100" fmla="*/ 843 w 898"/>
                  <a:gd name="T101" fmla="*/ 327 h 616"/>
                  <a:gd name="T102" fmla="*/ 792 w 898"/>
                  <a:gd name="T103" fmla="*/ 295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98" h="616">
                    <a:moveTo>
                      <a:pt x="747" y="284"/>
                    </a:moveTo>
                    <a:lnTo>
                      <a:pt x="746" y="270"/>
                    </a:lnTo>
                    <a:lnTo>
                      <a:pt x="744" y="255"/>
                    </a:lnTo>
                    <a:lnTo>
                      <a:pt x="741" y="241"/>
                    </a:lnTo>
                    <a:lnTo>
                      <a:pt x="738" y="227"/>
                    </a:lnTo>
                    <a:lnTo>
                      <a:pt x="735" y="213"/>
                    </a:lnTo>
                    <a:lnTo>
                      <a:pt x="730" y="199"/>
                    </a:lnTo>
                    <a:lnTo>
                      <a:pt x="725" y="187"/>
                    </a:lnTo>
                    <a:lnTo>
                      <a:pt x="720" y="174"/>
                    </a:lnTo>
                    <a:lnTo>
                      <a:pt x="714" y="161"/>
                    </a:lnTo>
                    <a:lnTo>
                      <a:pt x="706" y="148"/>
                    </a:lnTo>
                    <a:lnTo>
                      <a:pt x="699" y="136"/>
                    </a:lnTo>
                    <a:lnTo>
                      <a:pt x="691" y="126"/>
                    </a:lnTo>
                    <a:lnTo>
                      <a:pt x="683" y="114"/>
                    </a:lnTo>
                    <a:lnTo>
                      <a:pt x="674" y="103"/>
                    </a:lnTo>
                    <a:lnTo>
                      <a:pt x="664" y="94"/>
                    </a:lnTo>
                    <a:lnTo>
                      <a:pt x="655" y="83"/>
                    </a:lnTo>
                    <a:lnTo>
                      <a:pt x="644" y="74"/>
                    </a:lnTo>
                    <a:lnTo>
                      <a:pt x="633" y="65"/>
                    </a:lnTo>
                    <a:lnTo>
                      <a:pt x="623" y="57"/>
                    </a:lnTo>
                    <a:lnTo>
                      <a:pt x="611" y="49"/>
                    </a:lnTo>
                    <a:lnTo>
                      <a:pt x="599" y="41"/>
                    </a:lnTo>
                    <a:lnTo>
                      <a:pt x="587" y="35"/>
                    </a:lnTo>
                    <a:lnTo>
                      <a:pt x="575" y="28"/>
                    </a:lnTo>
                    <a:lnTo>
                      <a:pt x="562" y="23"/>
                    </a:lnTo>
                    <a:lnTo>
                      <a:pt x="548" y="18"/>
                    </a:lnTo>
                    <a:lnTo>
                      <a:pt x="535" y="13"/>
                    </a:lnTo>
                    <a:lnTo>
                      <a:pt x="521" y="9"/>
                    </a:lnTo>
                    <a:lnTo>
                      <a:pt x="507" y="6"/>
                    </a:lnTo>
                    <a:lnTo>
                      <a:pt x="492" y="4"/>
                    </a:lnTo>
                    <a:lnTo>
                      <a:pt x="478" y="3"/>
                    </a:lnTo>
                    <a:lnTo>
                      <a:pt x="463" y="0"/>
                    </a:lnTo>
                    <a:lnTo>
                      <a:pt x="448" y="0"/>
                    </a:lnTo>
                    <a:lnTo>
                      <a:pt x="433" y="0"/>
                    </a:lnTo>
                    <a:lnTo>
                      <a:pt x="418" y="2"/>
                    </a:lnTo>
                    <a:lnTo>
                      <a:pt x="404" y="4"/>
                    </a:lnTo>
                    <a:lnTo>
                      <a:pt x="389" y="6"/>
                    </a:lnTo>
                    <a:lnTo>
                      <a:pt x="376" y="9"/>
                    </a:lnTo>
                    <a:lnTo>
                      <a:pt x="362" y="13"/>
                    </a:lnTo>
                    <a:lnTo>
                      <a:pt x="349" y="18"/>
                    </a:lnTo>
                    <a:lnTo>
                      <a:pt x="335" y="23"/>
                    </a:lnTo>
                    <a:lnTo>
                      <a:pt x="322" y="28"/>
                    </a:lnTo>
                    <a:lnTo>
                      <a:pt x="309" y="35"/>
                    </a:lnTo>
                    <a:lnTo>
                      <a:pt x="297" y="41"/>
                    </a:lnTo>
                    <a:lnTo>
                      <a:pt x="286" y="49"/>
                    </a:lnTo>
                    <a:lnTo>
                      <a:pt x="274" y="57"/>
                    </a:lnTo>
                    <a:lnTo>
                      <a:pt x="263" y="65"/>
                    </a:lnTo>
                    <a:lnTo>
                      <a:pt x="252" y="74"/>
                    </a:lnTo>
                    <a:lnTo>
                      <a:pt x="242" y="83"/>
                    </a:lnTo>
                    <a:lnTo>
                      <a:pt x="232" y="94"/>
                    </a:lnTo>
                    <a:lnTo>
                      <a:pt x="222" y="103"/>
                    </a:lnTo>
                    <a:lnTo>
                      <a:pt x="214" y="114"/>
                    </a:lnTo>
                    <a:lnTo>
                      <a:pt x="205" y="126"/>
                    </a:lnTo>
                    <a:lnTo>
                      <a:pt x="198" y="136"/>
                    </a:lnTo>
                    <a:lnTo>
                      <a:pt x="190" y="148"/>
                    </a:lnTo>
                    <a:lnTo>
                      <a:pt x="183" y="161"/>
                    </a:lnTo>
                    <a:lnTo>
                      <a:pt x="178" y="174"/>
                    </a:lnTo>
                    <a:lnTo>
                      <a:pt x="171" y="187"/>
                    </a:lnTo>
                    <a:lnTo>
                      <a:pt x="167" y="199"/>
                    </a:lnTo>
                    <a:lnTo>
                      <a:pt x="162" y="213"/>
                    </a:lnTo>
                    <a:lnTo>
                      <a:pt x="158" y="227"/>
                    </a:lnTo>
                    <a:lnTo>
                      <a:pt x="155" y="241"/>
                    </a:lnTo>
                    <a:lnTo>
                      <a:pt x="153" y="255"/>
                    </a:lnTo>
                    <a:lnTo>
                      <a:pt x="151" y="270"/>
                    </a:lnTo>
                    <a:lnTo>
                      <a:pt x="150" y="284"/>
                    </a:lnTo>
                    <a:lnTo>
                      <a:pt x="135" y="286"/>
                    </a:lnTo>
                    <a:lnTo>
                      <a:pt x="119" y="290"/>
                    </a:lnTo>
                    <a:lnTo>
                      <a:pt x="105" y="295"/>
                    </a:lnTo>
                    <a:lnTo>
                      <a:pt x="91" y="301"/>
                    </a:lnTo>
                    <a:lnTo>
                      <a:pt x="78" y="309"/>
                    </a:lnTo>
                    <a:lnTo>
                      <a:pt x="65" y="317"/>
                    </a:lnTo>
                    <a:lnTo>
                      <a:pt x="53" y="327"/>
                    </a:lnTo>
                    <a:lnTo>
                      <a:pt x="43" y="337"/>
                    </a:lnTo>
                    <a:lnTo>
                      <a:pt x="33" y="348"/>
                    </a:lnTo>
                    <a:lnTo>
                      <a:pt x="25" y="361"/>
                    </a:lnTo>
                    <a:lnTo>
                      <a:pt x="17" y="374"/>
                    </a:lnTo>
                    <a:lnTo>
                      <a:pt x="11" y="388"/>
                    </a:lnTo>
                    <a:lnTo>
                      <a:pt x="6" y="403"/>
                    </a:lnTo>
                    <a:lnTo>
                      <a:pt x="2" y="418"/>
                    </a:lnTo>
                    <a:lnTo>
                      <a:pt x="0" y="434"/>
                    </a:lnTo>
                    <a:lnTo>
                      <a:pt x="0" y="450"/>
                    </a:lnTo>
                    <a:lnTo>
                      <a:pt x="0" y="466"/>
                    </a:lnTo>
                    <a:lnTo>
                      <a:pt x="3" y="483"/>
                    </a:lnTo>
                    <a:lnTo>
                      <a:pt x="6" y="499"/>
                    </a:lnTo>
                    <a:lnTo>
                      <a:pt x="13" y="514"/>
                    </a:lnTo>
                    <a:lnTo>
                      <a:pt x="19" y="528"/>
                    </a:lnTo>
                    <a:lnTo>
                      <a:pt x="28" y="542"/>
                    </a:lnTo>
                    <a:lnTo>
                      <a:pt x="37" y="555"/>
                    </a:lnTo>
                    <a:lnTo>
                      <a:pt x="48" y="566"/>
                    </a:lnTo>
                    <a:lnTo>
                      <a:pt x="60" y="577"/>
                    </a:lnTo>
                    <a:lnTo>
                      <a:pt x="72" y="587"/>
                    </a:lnTo>
                    <a:lnTo>
                      <a:pt x="86" y="595"/>
                    </a:lnTo>
                    <a:lnTo>
                      <a:pt x="101" y="602"/>
                    </a:lnTo>
                    <a:lnTo>
                      <a:pt x="115" y="608"/>
                    </a:lnTo>
                    <a:lnTo>
                      <a:pt x="130" y="612"/>
                    </a:lnTo>
                    <a:lnTo>
                      <a:pt x="148" y="615"/>
                    </a:lnTo>
                    <a:lnTo>
                      <a:pt x="164" y="616"/>
                    </a:lnTo>
                    <a:lnTo>
                      <a:pt x="167" y="615"/>
                    </a:lnTo>
                    <a:lnTo>
                      <a:pt x="170" y="615"/>
                    </a:lnTo>
                    <a:lnTo>
                      <a:pt x="172" y="612"/>
                    </a:lnTo>
                    <a:lnTo>
                      <a:pt x="174" y="611"/>
                    </a:lnTo>
                    <a:lnTo>
                      <a:pt x="176" y="609"/>
                    </a:lnTo>
                    <a:lnTo>
                      <a:pt x="178" y="606"/>
                    </a:lnTo>
                    <a:lnTo>
                      <a:pt x="179" y="604"/>
                    </a:lnTo>
                    <a:lnTo>
                      <a:pt x="179" y="601"/>
                    </a:lnTo>
                    <a:lnTo>
                      <a:pt x="179" y="299"/>
                    </a:lnTo>
                    <a:lnTo>
                      <a:pt x="180" y="285"/>
                    </a:lnTo>
                    <a:lnTo>
                      <a:pt x="181" y="271"/>
                    </a:lnTo>
                    <a:lnTo>
                      <a:pt x="182" y="257"/>
                    </a:lnTo>
                    <a:lnTo>
                      <a:pt x="184" y="244"/>
                    </a:lnTo>
                    <a:lnTo>
                      <a:pt x="187" y="232"/>
                    </a:lnTo>
                    <a:lnTo>
                      <a:pt x="191" y="219"/>
                    </a:lnTo>
                    <a:lnTo>
                      <a:pt x="196" y="206"/>
                    </a:lnTo>
                    <a:lnTo>
                      <a:pt x="200" y="194"/>
                    </a:lnTo>
                    <a:lnTo>
                      <a:pt x="205" y="182"/>
                    </a:lnTo>
                    <a:lnTo>
                      <a:pt x="212" y="171"/>
                    </a:lnTo>
                    <a:lnTo>
                      <a:pt x="218" y="160"/>
                    </a:lnTo>
                    <a:lnTo>
                      <a:pt x="225" y="149"/>
                    </a:lnTo>
                    <a:lnTo>
                      <a:pt x="232" y="138"/>
                    </a:lnTo>
                    <a:lnTo>
                      <a:pt x="241" y="128"/>
                    </a:lnTo>
                    <a:lnTo>
                      <a:pt x="249" y="118"/>
                    </a:lnTo>
                    <a:lnTo>
                      <a:pt x="258" y="110"/>
                    </a:lnTo>
                    <a:lnTo>
                      <a:pt x="267" y="100"/>
                    </a:lnTo>
                    <a:lnTo>
                      <a:pt x="277" y="91"/>
                    </a:lnTo>
                    <a:lnTo>
                      <a:pt x="288" y="84"/>
                    </a:lnTo>
                    <a:lnTo>
                      <a:pt x="297" y="76"/>
                    </a:lnTo>
                    <a:lnTo>
                      <a:pt x="309" y="69"/>
                    </a:lnTo>
                    <a:lnTo>
                      <a:pt x="320" y="63"/>
                    </a:lnTo>
                    <a:lnTo>
                      <a:pt x="332" y="57"/>
                    </a:lnTo>
                    <a:lnTo>
                      <a:pt x="343" y="52"/>
                    </a:lnTo>
                    <a:lnTo>
                      <a:pt x="356" y="46"/>
                    </a:lnTo>
                    <a:lnTo>
                      <a:pt x="368" y="42"/>
                    </a:lnTo>
                    <a:lnTo>
                      <a:pt x="381" y="39"/>
                    </a:lnTo>
                    <a:lnTo>
                      <a:pt x="394" y="36"/>
                    </a:lnTo>
                    <a:lnTo>
                      <a:pt x="408" y="34"/>
                    </a:lnTo>
                    <a:lnTo>
                      <a:pt x="420" y="32"/>
                    </a:lnTo>
                    <a:lnTo>
                      <a:pt x="434" y="30"/>
                    </a:lnTo>
                    <a:lnTo>
                      <a:pt x="448" y="30"/>
                    </a:lnTo>
                    <a:lnTo>
                      <a:pt x="462" y="30"/>
                    </a:lnTo>
                    <a:lnTo>
                      <a:pt x="476" y="32"/>
                    </a:lnTo>
                    <a:lnTo>
                      <a:pt x="489" y="34"/>
                    </a:lnTo>
                    <a:lnTo>
                      <a:pt x="503" y="36"/>
                    </a:lnTo>
                    <a:lnTo>
                      <a:pt x="516" y="39"/>
                    </a:lnTo>
                    <a:lnTo>
                      <a:pt x="529" y="42"/>
                    </a:lnTo>
                    <a:lnTo>
                      <a:pt x="540" y="46"/>
                    </a:lnTo>
                    <a:lnTo>
                      <a:pt x="553" y="52"/>
                    </a:lnTo>
                    <a:lnTo>
                      <a:pt x="565" y="57"/>
                    </a:lnTo>
                    <a:lnTo>
                      <a:pt x="577" y="63"/>
                    </a:lnTo>
                    <a:lnTo>
                      <a:pt x="587" y="69"/>
                    </a:lnTo>
                    <a:lnTo>
                      <a:pt x="599" y="76"/>
                    </a:lnTo>
                    <a:lnTo>
                      <a:pt x="610" y="84"/>
                    </a:lnTo>
                    <a:lnTo>
                      <a:pt x="619" y="91"/>
                    </a:lnTo>
                    <a:lnTo>
                      <a:pt x="629" y="100"/>
                    </a:lnTo>
                    <a:lnTo>
                      <a:pt x="639" y="110"/>
                    </a:lnTo>
                    <a:lnTo>
                      <a:pt x="647" y="118"/>
                    </a:lnTo>
                    <a:lnTo>
                      <a:pt x="656" y="128"/>
                    </a:lnTo>
                    <a:lnTo>
                      <a:pt x="664" y="138"/>
                    </a:lnTo>
                    <a:lnTo>
                      <a:pt x="672" y="149"/>
                    </a:lnTo>
                    <a:lnTo>
                      <a:pt x="678" y="160"/>
                    </a:lnTo>
                    <a:lnTo>
                      <a:pt x="685" y="171"/>
                    </a:lnTo>
                    <a:lnTo>
                      <a:pt x="691" y="182"/>
                    </a:lnTo>
                    <a:lnTo>
                      <a:pt x="697" y="194"/>
                    </a:lnTo>
                    <a:lnTo>
                      <a:pt x="701" y="207"/>
                    </a:lnTo>
                    <a:lnTo>
                      <a:pt x="705" y="219"/>
                    </a:lnTo>
                    <a:lnTo>
                      <a:pt x="709" y="232"/>
                    </a:lnTo>
                    <a:lnTo>
                      <a:pt x="713" y="244"/>
                    </a:lnTo>
                    <a:lnTo>
                      <a:pt x="715" y="257"/>
                    </a:lnTo>
                    <a:lnTo>
                      <a:pt x="716" y="271"/>
                    </a:lnTo>
                    <a:lnTo>
                      <a:pt x="717" y="285"/>
                    </a:lnTo>
                    <a:lnTo>
                      <a:pt x="718" y="299"/>
                    </a:lnTo>
                    <a:lnTo>
                      <a:pt x="718" y="601"/>
                    </a:lnTo>
                    <a:lnTo>
                      <a:pt x="718" y="603"/>
                    </a:lnTo>
                    <a:lnTo>
                      <a:pt x="719" y="606"/>
                    </a:lnTo>
                    <a:lnTo>
                      <a:pt x="720" y="608"/>
                    </a:lnTo>
                    <a:lnTo>
                      <a:pt x="722" y="611"/>
                    </a:lnTo>
                    <a:lnTo>
                      <a:pt x="724" y="612"/>
                    </a:lnTo>
                    <a:lnTo>
                      <a:pt x="726" y="615"/>
                    </a:lnTo>
                    <a:lnTo>
                      <a:pt x="730" y="615"/>
                    </a:lnTo>
                    <a:lnTo>
                      <a:pt x="733" y="616"/>
                    </a:lnTo>
                    <a:lnTo>
                      <a:pt x="749" y="615"/>
                    </a:lnTo>
                    <a:lnTo>
                      <a:pt x="766" y="612"/>
                    </a:lnTo>
                    <a:lnTo>
                      <a:pt x="781" y="608"/>
                    </a:lnTo>
                    <a:lnTo>
                      <a:pt x="797" y="602"/>
                    </a:lnTo>
                    <a:lnTo>
                      <a:pt x="811" y="595"/>
                    </a:lnTo>
                    <a:lnTo>
                      <a:pt x="825" y="587"/>
                    </a:lnTo>
                    <a:lnTo>
                      <a:pt x="837" y="577"/>
                    </a:lnTo>
                    <a:lnTo>
                      <a:pt x="848" y="566"/>
                    </a:lnTo>
                    <a:lnTo>
                      <a:pt x="859" y="555"/>
                    </a:lnTo>
                    <a:lnTo>
                      <a:pt x="869" y="542"/>
                    </a:lnTo>
                    <a:lnTo>
                      <a:pt x="877" y="528"/>
                    </a:lnTo>
                    <a:lnTo>
                      <a:pt x="884" y="514"/>
                    </a:lnTo>
                    <a:lnTo>
                      <a:pt x="890" y="499"/>
                    </a:lnTo>
                    <a:lnTo>
                      <a:pt x="893" y="483"/>
                    </a:lnTo>
                    <a:lnTo>
                      <a:pt x="897" y="466"/>
                    </a:lnTo>
                    <a:lnTo>
                      <a:pt x="898" y="450"/>
                    </a:lnTo>
                    <a:lnTo>
                      <a:pt x="897" y="434"/>
                    </a:lnTo>
                    <a:lnTo>
                      <a:pt x="894" y="418"/>
                    </a:lnTo>
                    <a:lnTo>
                      <a:pt x="890" y="403"/>
                    </a:lnTo>
                    <a:lnTo>
                      <a:pt x="886" y="388"/>
                    </a:lnTo>
                    <a:lnTo>
                      <a:pt x="879" y="374"/>
                    </a:lnTo>
                    <a:lnTo>
                      <a:pt x="872" y="361"/>
                    </a:lnTo>
                    <a:lnTo>
                      <a:pt x="863" y="348"/>
                    </a:lnTo>
                    <a:lnTo>
                      <a:pt x="854" y="337"/>
                    </a:lnTo>
                    <a:lnTo>
                      <a:pt x="843" y="327"/>
                    </a:lnTo>
                    <a:lnTo>
                      <a:pt x="831" y="317"/>
                    </a:lnTo>
                    <a:lnTo>
                      <a:pt x="818" y="309"/>
                    </a:lnTo>
                    <a:lnTo>
                      <a:pt x="806" y="301"/>
                    </a:lnTo>
                    <a:lnTo>
                      <a:pt x="792" y="295"/>
                    </a:lnTo>
                    <a:lnTo>
                      <a:pt x="778" y="290"/>
                    </a:lnTo>
                    <a:lnTo>
                      <a:pt x="763" y="286"/>
                    </a:lnTo>
                    <a:lnTo>
                      <a:pt x="747" y="2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47" name="Freeform 3310">
                <a:extLst>
                  <a:ext uri="{FF2B5EF4-FFF2-40B4-BE49-F238E27FC236}">
                    <a16:creationId xmlns:a16="http://schemas.microsoft.com/office/drawing/2014/main" id="{C4D339BF-2779-4DC2-A9A7-5184418285FC}"/>
                  </a:ext>
                </a:extLst>
              </p:cNvPr>
              <p:cNvSpPr>
                <a:spLocks/>
              </p:cNvSpPr>
              <p:nvPr/>
            </p:nvSpPr>
            <p:spPr bwMode="auto">
              <a:xfrm>
                <a:off x="10501313" y="4435475"/>
                <a:ext cx="201613" cy="47625"/>
              </a:xfrm>
              <a:custGeom>
                <a:avLst/>
                <a:gdLst>
                  <a:gd name="T0" fmla="*/ 505 w 633"/>
                  <a:gd name="T1" fmla="*/ 0 h 150"/>
                  <a:gd name="T2" fmla="*/ 128 w 633"/>
                  <a:gd name="T3" fmla="*/ 0 h 150"/>
                  <a:gd name="T4" fmla="*/ 115 w 633"/>
                  <a:gd name="T5" fmla="*/ 1 h 150"/>
                  <a:gd name="T6" fmla="*/ 102 w 633"/>
                  <a:gd name="T7" fmla="*/ 3 h 150"/>
                  <a:gd name="T8" fmla="*/ 90 w 633"/>
                  <a:gd name="T9" fmla="*/ 7 h 150"/>
                  <a:gd name="T10" fmla="*/ 79 w 633"/>
                  <a:gd name="T11" fmla="*/ 11 h 150"/>
                  <a:gd name="T12" fmla="*/ 67 w 633"/>
                  <a:gd name="T13" fmla="*/ 17 h 150"/>
                  <a:gd name="T14" fmla="*/ 56 w 633"/>
                  <a:gd name="T15" fmla="*/ 24 h 150"/>
                  <a:gd name="T16" fmla="*/ 47 w 633"/>
                  <a:gd name="T17" fmla="*/ 31 h 150"/>
                  <a:gd name="T18" fmla="*/ 37 w 633"/>
                  <a:gd name="T19" fmla="*/ 41 h 150"/>
                  <a:gd name="T20" fmla="*/ 30 w 633"/>
                  <a:gd name="T21" fmla="*/ 51 h 150"/>
                  <a:gd name="T22" fmla="*/ 22 w 633"/>
                  <a:gd name="T23" fmla="*/ 60 h 150"/>
                  <a:gd name="T24" fmla="*/ 16 w 633"/>
                  <a:gd name="T25" fmla="*/ 72 h 150"/>
                  <a:gd name="T26" fmla="*/ 10 w 633"/>
                  <a:gd name="T27" fmla="*/ 84 h 150"/>
                  <a:gd name="T28" fmla="*/ 5 w 633"/>
                  <a:gd name="T29" fmla="*/ 95 h 150"/>
                  <a:gd name="T30" fmla="*/ 2 w 633"/>
                  <a:gd name="T31" fmla="*/ 108 h 150"/>
                  <a:gd name="T32" fmla="*/ 1 w 633"/>
                  <a:gd name="T33" fmla="*/ 121 h 150"/>
                  <a:gd name="T34" fmla="*/ 0 w 633"/>
                  <a:gd name="T35" fmla="*/ 135 h 150"/>
                  <a:gd name="T36" fmla="*/ 0 w 633"/>
                  <a:gd name="T37" fmla="*/ 138 h 150"/>
                  <a:gd name="T38" fmla="*/ 1 w 633"/>
                  <a:gd name="T39" fmla="*/ 141 h 150"/>
                  <a:gd name="T40" fmla="*/ 2 w 633"/>
                  <a:gd name="T41" fmla="*/ 144 h 150"/>
                  <a:gd name="T42" fmla="*/ 4 w 633"/>
                  <a:gd name="T43" fmla="*/ 146 h 150"/>
                  <a:gd name="T44" fmla="*/ 6 w 633"/>
                  <a:gd name="T45" fmla="*/ 148 h 150"/>
                  <a:gd name="T46" fmla="*/ 8 w 633"/>
                  <a:gd name="T47" fmla="*/ 149 h 150"/>
                  <a:gd name="T48" fmla="*/ 11 w 633"/>
                  <a:gd name="T49" fmla="*/ 150 h 150"/>
                  <a:gd name="T50" fmla="*/ 15 w 633"/>
                  <a:gd name="T51" fmla="*/ 150 h 150"/>
                  <a:gd name="T52" fmla="*/ 618 w 633"/>
                  <a:gd name="T53" fmla="*/ 150 h 150"/>
                  <a:gd name="T54" fmla="*/ 621 w 633"/>
                  <a:gd name="T55" fmla="*/ 150 h 150"/>
                  <a:gd name="T56" fmla="*/ 624 w 633"/>
                  <a:gd name="T57" fmla="*/ 149 h 150"/>
                  <a:gd name="T58" fmla="*/ 627 w 633"/>
                  <a:gd name="T59" fmla="*/ 148 h 150"/>
                  <a:gd name="T60" fmla="*/ 629 w 633"/>
                  <a:gd name="T61" fmla="*/ 146 h 150"/>
                  <a:gd name="T62" fmla="*/ 631 w 633"/>
                  <a:gd name="T63" fmla="*/ 144 h 150"/>
                  <a:gd name="T64" fmla="*/ 632 w 633"/>
                  <a:gd name="T65" fmla="*/ 141 h 150"/>
                  <a:gd name="T66" fmla="*/ 633 w 633"/>
                  <a:gd name="T67" fmla="*/ 138 h 150"/>
                  <a:gd name="T68" fmla="*/ 633 w 633"/>
                  <a:gd name="T69" fmla="*/ 135 h 150"/>
                  <a:gd name="T70" fmla="*/ 632 w 633"/>
                  <a:gd name="T71" fmla="*/ 121 h 150"/>
                  <a:gd name="T72" fmla="*/ 631 w 633"/>
                  <a:gd name="T73" fmla="*/ 108 h 150"/>
                  <a:gd name="T74" fmla="*/ 628 w 633"/>
                  <a:gd name="T75" fmla="*/ 95 h 150"/>
                  <a:gd name="T76" fmla="*/ 623 w 633"/>
                  <a:gd name="T77" fmla="*/ 84 h 150"/>
                  <a:gd name="T78" fmla="*/ 617 w 633"/>
                  <a:gd name="T79" fmla="*/ 72 h 150"/>
                  <a:gd name="T80" fmla="*/ 611 w 633"/>
                  <a:gd name="T81" fmla="*/ 60 h 150"/>
                  <a:gd name="T82" fmla="*/ 603 w 633"/>
                  <a:gd name="T83" fmla="*/ 51 h 150"/>
                  <a:gd name="T84" fmla="*/ 596 w 633"/>
                  <a:gd name="T85" fmla="*/ 41 h 150"/>
                  <a:gd name="T86" fmla="*/ 586 w 633"/>
                  <a:gd name="T87" fmla="*/ 31 h 150"/>
                  <a:gd name="T88" fmla="*/ 576 w 633"/>
                  <a:gd name="T89" fmla="*/ 24 h 150"/>
                  <a:gd name="T90" fmla="*/ 566 w 633"/>
                  <a:gd name="T91" fmla="*/ 17 h 150"/>
                  <a:gd name="T92" fmla="*/ 554 w 633"/>
                  <a:gd name="T93" fmla="*/ 11 h 150"/>
                  <a:gd name="T94" fmla="*/ 543 w 633"/>
                  <a:gd name="T95" fmla="*/ 7 h 150"/>
                  <a:gd name="T96" fmla="*/ 530 w 633"/>
                  <a:gd name="T97" fmla="*/ 3 h 150"/>
                  <a:gd name="T98" fmla="*/ 517 w 633"/>
                  <a:gd name="T99" fmla="*/ 1 h 150"/>
                  <a:gd name="T100" fmla="*/ 505 w 633"/>
                  <a:gd name="T10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3" h="150">
                    <a:moveTo>
                      <a:pt x="505" y="0"/>
                    </a:moveTo>
                    <a:lnTo>
                      <a:pt x="128" y="0"/>
                    </a:lnTo>
                    <a:lnTo>
                      <a:pt x="115" y="1"/>
                    </a:lnTo>
                    <a:lnTo>
                      <a:pt x="102" y="3"/>
                    </a:lnTo>
                    <a:lnTo>
                      <a:pt x="90" y="7"/>
                    </a:lnTo>
                    <a:lnTo>
                      <a:pt x="79" y="11"/>
                    </a:lnTo>
                    <a:lnTo>
                      <a:pt x="67" y="17"/>
                    </a:lnTo>
                    <a:lnTo>
                      <a:pt x="56" y="24"/>
                    </a:lnTo>
                    <a:lnTo>
                      <a:pt x="47" y="31"/>
                    </a:lnTo>
                    <a:lnTo>
                      <a:pt x="37" y="41"/>
                    </a:lnTo>
                    <a:lnTo>
                      <a:pt x="30" y="51"/>
                    </a:lnTo>
                    <a:lnTo>
                      <a:pt x="22" y="60"/>
                    </a:lnTo>
                    <a:lnTo>
                      <a:pt x="16" y="72"/>
                    </a:lnTo>
                    <a:lnTo>
                      <a:pt x="10" y="84"/>
                    </a:lnTo>
                    <a:lnTo>
                      <a:pt x="5" y="95"/>
                    </a:lnTo>
                    <a:lnTo>
                      <a:pt x="2" y="108"/>
                    </a:lnTo>
                    <a:lnTo>
                      <a:pt x="1" y="121"/>
                    </a:lnTo>
                    <a:lnTo>
                      <a:pt x="0" y="135"/>
                    </a:lnTo>
                    <a:lnTo>
                      <a:pt x="0" y="138"/>
                    </a:lnTo>
                    <a:lnTo>
                      <a:pt x="1" y="141"/>
                    </a:lnTo>
                    <a:lnTo>
                      <a:pt x="2" y="144"/>
                    </a:lnTo>
                    <a:lnTo>
                      <a:pt x="4" y="146"/>
                    </a:lnTo>
                    <a:lnTo>
                      <a:pt x="6" y="148"/>
                    </a:lnTo>
                    <a:lnTo>
                      <a:pt x="8" y="149"/>
                    </a:lnTo>
                    <a:lnTo>
                      <a:pt x="11" y="150"/>
                    </a:lnTo>
                    <a:lnTo>
                      <a:pt x="15" y="150"/>
                    </a:lnTo>
                    <a:lnTo>
                      <a:pt x="618" y="150"/>
                    </a:lnTo>
                    <a:lnTo>
                      <a:pt x="621" y="150"/>
                    </a:lnTo>
                    <a:lnTo>
                      <a:pt x="624" y="149"/>
                    </a:lnTo>
                    <a:lnTo>
                      <a:pt x="627" y="148"/>
                    </a:lnTo>
                    <a:lnTo>
                      <a:pt x="629" y="146"/>
                    </a:lnTo>
                    <a:lnTo>
                      <a:pt x="631" y="144"/>
                    </a:lnTo>
                    <a:lnTo>
                      <a:pt x="632" y="141"/>
                    </a:lnTo>
                    <a:lnTo>
                      <a:pt x="633" y="138"/>
                    </a:lnTo>
                    <a:lnTo>
                      <a:pt x="633" y="135"/>
                    </a:lnTo>
                    <a:lnTo>
                      <a:pt x="632" y="121"/>
                    </a:lnTo>
                    <a:lnTo>
                      <a:pt x="631" y="108"/>
                    </a:lnTo>
                    <a:lnTo>
                      <a:pt x="628" y="95"/>
                    </a:lnTo>
                    <a:lnTo>
                      <a:pt x="623" y="84"/>
                    </a:lnTo>
                    <a:lnTo>
                      <a:pt x="617" y="72"/>
                    </a:lnTo>
                    <a:lnTo>
                      <a:pt x="611" y="60"/>
                    </a:lnTo>
                    <a:lnTo>
                      <a:pt x="603" y="51"/>
                    </a:lnTo>
                    <a:lnTo>
                      <a:pt x="596" y="41"/>
                    </a:lnTo>
                    <a:lnTo>
                      <a:pt x="586" y="31"/>
                    </a:lnTo>
                    <a:lnTo>
                      <a:pt x="576" y="24"/>
                    </a:lnTo>
                    <a:lnTo>
                      <a:pt x="566" y="17"/>
                    </a:lnTo>
                    <a:lnTo>
                      <a:pt x="554" y="11"/>
                    </a:lnTo>
                    <a:lnTo>
                      <a:pt x="543" y="7"/>
                    </a:lnTo>
                    <a:lnTo>
                      <a:pt x="530" y="3"/>
                    </a:lnTo>
                    <a:lnTo>
                      <a:pt x="517" y="1"/>
                    </a:lnTo>
                    <a:lnTo>
                      <a:pt x="5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153" name="Group 152">
              <a:extLst>
                <a:ext uri="{FF2B5EF4-FFF2-40B4-BE49-F238E27FC236}">
                  <a16:creationId xmlns:a16="http://schemas.microsoft.com/office/drawing/2014/main" id="{7FF067A6-BA44-4122-A96A-1E28051D0F3B}"/>
                </a:ext>
              </a:extLst>
            </p:cNvPr>
            <p:cNvGrpSpPr/>
            <p:nvPr/>
          </p:nvGrpSpPr>
          <p:grpSpPr>
            <a:xfrm>
              <a:off x="4247357" y="3319464"/>
              <a:ext cx="287338" cy="220663"/>
              <a:chOff x="7019925" y="3729038"/>
              <a:chExt cx="287338" cy="220663"/>
            </a:xfrm>
            <a:grpFill/>
          </p:grpSpPr>
          <p:sp>
            <p:nvSpPr>
              <p:cNvPr id="154" name="Freeform 4198">
                <a:extLst>
                  <a:ext uri="{FF2B5EF4-FFF2-40B4-BE49-F238E27FC236}">
                    <a16:creationId xmlns:a16="http://schemas.microsoft.com/office/drawing/2014/main" id="{6F50A422-01A1-4079-83E1-65628A077642}"/>
                  </a:ext>
                </a:extLst>
              </p:cNvPr>
              <p:cNvSpPr>
                <a:spLocks/>
              </p:cNvSpPr>
              <p:nvPr/>
            </p:nvSpPr>
            <p:spPr bwMode="auto">
              <a:xfrm>
                <a:off x="7048500" y="3806825"/>
                <a:ext cx="28575" cy="28575"/>
              </a:xfrm>
              <a:custGeom>
                <a:avLst/>
                <a:gdLst>
                  <a:gd name="T0" fmla="*/ 45 w 90"/>
                  <a:gd name="T1" fmla="*/ 0 h 90"/>
                  <a:gd name="T2" fmla="*/ 37 w 90"/>
                  <a:gd name="T3" fmla="*/ 1 h 90"/>
                  <a:gd name="T4" fmla="*/ 28 w 90"/>
                  <a:gd name="T5" fmla="*/ 3 h 90"/>
                  <a:gd name="T6" fmla="*/ 21 w 90"/>
                  <a:gd name="T7" fmla="*/ 7 h 90"/>
                  <a:gd name="T8" fmla="*/ 14 w 90"/>
                  <a:gd name="T9" fmla="*/ 12 h 90"/>
                  <a:gd name="T10" fmla="*/ 9 w 90"/>
                  <a:gd name="T11" fmla="*/ 19 h 90"/>
                  <a:gd name="T12" fmla="*/ 5 w 90"/>
                  <a:gd name="T13" fmla="*/ 26 h 90"/>
                  <a:gd name="T14" fmla="*/ 1 w 90"/>
                  <a:gd name="T15" fmla="*/ 35 h 90"/>
                  <a:gd name="T16" fmla="*/ 0 w 90"/>
                  <a:gd name="T17" fmla="*/ 45 h 90"/>
                  <a:gd name="T18" fmla="*/ 1 w 90"/>
                  <a:gd name="T19" fmla="*/ 53 h 90"/>
                  <a:gd name="T20" fmla="*/ 5 w 90"/>
                  <a:gd name="T21" fmla="*/ 62 h 90"/>
                  <a:gd name="T22" fmla="*/ 9 w 90"/>
                  <a:gd name="T23" fmla="*/ 69 h 90"/>
                  <a:gd name="T24" fmla="*/ 14 w 90"/>
                  <a:gd name="T25" fmla="*/ 77 h 90"/>
                  <a:gd name="T26" fmla="*/ 21 w 90"/>
                  <a:gd name="T27" fmla="*/ 82 h 90"/>
                  <a:gd name="T28" fmla="*/ 28 w 90"/>
                  <a:gd name="T29" fmla="*/ 86 h 90"/>
                  <a:gd name="T30" fmla="*/ 37 w 90"/>
                  <a:gd name="T31" fmla="*/ 88 h 90"/>
                  <a:gd name="T32" fmla="*/ 45 w 90"/>
                  <a:gd name="T33" fmla="*/ 90 h 90"/>
                  <a:gd name="T34" fmla="*/ 55 w 90"/>
                  <a:gd name="T35" fmla="*/ 88 h 90"/>
                  <a:gd name="T36" fmla="*/ 63 w 90"/>
                  <a:gd name="T37" fmla="*/ 86 h 90"/>
                  <a:gd name="T38" fmla="*/ 71 w 90"/>
                  <a:gd name="T39" fmla="*/ 82 h 90"/>
                  <a:gd name="T40" fmla="*/ 77 w 90"/>
                  <a:gd name="T41" fmla="*/ 77 h 90"/>
                  <a:gd name="T42" fmla="*/ 83 w 90"/>
                  <a:gd name="T43" fmla="*/ 69 h 90"/>
                  <a:gd name="T44" fmla="*/ 87 w 90"/>
                  <a:gd name="T45" fmla="*/ 62 h 90"/>
                  <a:gd name="T46" fmla="*/ 90 w 90"/>
                  <a:gd name="T47" fmla="*/ 53 h 90"/>
                  <a:gd name="T48" fmla="*/ 90 w 90"/>
                  <a:gd name="T49" fmla="*/ 45 h 90"/>
                  <a:gd name="T50" fmla="*/ 90 w 90"/>
                  <a:gd name="T51" fmla="*/ 35 h 90"/>
                  <a:gd name="T52" fmla="*/ 87 w 90"/>
                  <a:gd name="T53" fmla="*/ 26 h 90"/>
                  <a:gd name="T54" fmla="*/ 83 w 90"/>
                  <a:gd name="T55" fmla="*/ 19 h 90"/>
                  <a:gd name="T56" fmla="*/ 77 w 90"/>
                  <a:gd name="T57" fmla="*/ 12 h 90"/>
                  <a:gd name="T58" fmla="*/ 71 w 90"/>
                  <a:gd name="T59" fmla="*/ 7 h 90"/>
                  <a:gd name="T60" fmla="*/ 63 w 90"/>
                  <a:gd name="T61" fmla="*/ 3 h 90"/>
                  <a:gd name="T62" fmla="*/ 55 w 90"/>
                  <a:gd name="T63" fmla="*/ 1 h 90"/>
                  <a:gd name="T64" fmla="*/ 45 w 90"/>
                  <a:gd name="T6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90">
                    <a:moveTo>
                      <a:pt x="45" y="0"/>
                    </a:moveTo>
                    <a:lnTo>
                      <a:pt x="37" y="1"/>
                    </a:lnTo>
                    <a:lnTo>
                      <a:pt x="28" y="3"/>
                    </a:lnTo>
                    <a:lnTo>
                      <a:pt x="21" y="7"/>
                    </a:lnTo>
                    <a:lnTo>
                      <a:pt x="14" y="12"/>
                    </a:lnTo>
                    <a:lnTo>
                      <a:pt x="9" y="19"/>
                    </a:lnTo>
                    <a:lnTo>
                      <a:pt x="5" y="26"/>
                    </a:lnTo>
                    <a:lnTo>
                      <a:pt x="1" y="35"/>
                    </a:lnTo>
                    <a:lnTo>
                      <a:pt x="0" y="45"/>
                    </a:lnTo>
                    <a:lnTo>
                      <a:pt x="1" y="53"/>
                    </a:lnTo>
                    <a:lnTo>
                      <a:pt x="5" y="62"/>
                    </a:lnTo>
                    <a:lnTo>
                      <a:pt x="9" y="69"/>
                    </a:lnTo>
                    <a:lnTo>
                      <a:pt x="14" y="77"/>
                    </a:lnTo>
                    <a:lnTo>
                      <a:pt x="21" y="82"/>
                    </a:lnTo>
                    <a:lnTo>
                      <a:pt x="28" y="86"/>
                    </a:lnTo>
                    <a:lnTo>
                      <a:pt x="37" y="88"/>
                    </a:lnTo>
                    <a:lnTo>
                      <a:pt x="45" y="90"/>
                    </a:lnTo>
                    <a:lnTo>
                      <a:pt x="55" y="88"/>
                    </a:lnTo>
                    <a:lnTo>
                      <a:pt x="63" y="86"/>
                    </a:lnTo>
                    <a:lnTo>
                      <a:pt x="71" y="82"/>
                    </a:lnTo>
                    <a:lnTo>
                      <a:pt x="77" y="77"/>
                    </a:lnTo>
                    <a:lnTo>
                      <a:pt x="83" y="69"/>
                    </a:lnTo>
                    <a:lnTo>
                      <a:pt x="87" y="62"/>
                    </a:lnTo>
                    <a:lnTo>
                      <a:pt x="90" y="53"/>
                    </a:lnTo>
                    <a:lnTo>
                      <a:pt x="90" y="45"/>
                    </a:lnTo>
                    <a:lnTo>
                      <a:pt x="90" y="35"/>
                    </a:lnTo>
                    <a:lnTo>
                      <a:pt x="87" y="26"/>
                    </a:lnTo>
                    <a:lnTo>
                      <a:pt x="83" y="19"/>
                    </a:lnTo>
                    <a:lnTo>
                      <a:pt x="77" y="12"/>
                    </a:lnTo>
                    <a:lnTo>
                      <a:pt x="71" y="7"/>
                    </a:lnTo>
                    <a:lnTo>
                      <a:pt x="63" y="3"/>
                    </a:lnTo>
                    <a:lnTo>
                      <a:pt x="55" y="1"/>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55" name="Freeform 4199">
                <a:extLst>
                  <a:ext uri="{FF2B5EF4-FFF2-40B4-BE49-F238E27FC236}">
                    <a16:creationId xmlns:a16="http://schemas.microsoft.com/office/drawing/2014/main" id="{BFEFF0D4-3311-48FA-AA1A-53CCD5D751FF}"/>
                  </a:ext>
                </a:extLst>
              </p:cNvPr>
              <p:cNvSpPr>
                <a:spLocks noEditPoints="1"/>
              </p:cNvSpPr>
              <p:nvPr/>
            </p:nvSpPr>
            <p:spPr bwMode="auto">
              <a:xfrm>
                <a:off x="7131050" y="3790950"/>
                <a:ext cx="123825" cy="125413"/>
              </a:xfrm>
              <a:custGeom>
                <a:avLst/>
                <a:gdLst>
                  <a:gd name="T0" fmla="*/ 169 w 391"/>
                  <a:gd name="T1" fmla="*/ 329 h 391"/>
                  <a:gd name="T2" fmla="*/ 131 w 391"/>
                  <a:gd name="T3" fmla="*/ 315 h 391"/>
                  <a:gd name="T4" fmla="*/ 100 w 391"/>
                  <a:gd name="T5" fmla="*/ 291 h 391"/>
                  <a:gd name="T6" fmla="*/ 77 w 391"/>
                  <a:gd name="T7" fmla="*/ 260 h 391"/>
                  <a:gd name="T8" fmla="*/ 63 w 391"/>
                  <a:gd name="T9" fmla="*/ 222 h 391"/>
                  <a:gd name="T10" fmla="*/ 60 w 391"/>
                  <a:gd name="T11" fmla="*/ 182 h 391"/>
                  <a:gd name="T12" fmla="*/ 71 w 391"/>
                  <a:gd name="T13" fmla="*/ 143 h 391"/>
                  <a:gd name="T14" fmla="*/ 92 w 391"/>
                  <a:gd name="T15" fmla="*/ 110 h 391"/>
                  <a:gd name="T16" fmla="*/ 119 w 391"/>
                  <a:gd name="T17" fmla="*/ 83 h 391"/>
                  <a:gd name="T18" fmla="*/ 155 w 391"/>
                  <a:gd name="T19" fmla="*/ 67 h 391"/>
                  <a:gd name="T20" fmla="*/ 195 w 391"/>
                  <a:gd name="T21" fmla="*/ 61 h 391"/>
                  <a:gd name="T22" fmla="*/ 235 w 391"/>
                  <a:gd name="T23" fmla="*/ 67 h 391"/>
                  <a:gd name="T24" fmla="*/ 271 w 391"/>
                  <a:gd name="T25" fmla="*/ 83 h 391"/>
                  <a:gd name="T26" fmla="*/ 299 w 391"/>
                  <a:gd name="T27" fmla="*/ 110 h 391"/>
                  <a:gd name="T28" fmla="*/ 320 w 391"/>
                  <a:gd name="T29" fmla="*/ 143 h 391"/>
                  <a:gd name="T30" fmla="*/ 329 w 391"/>
                  <a:gd name="T31" fmla="*/ 182 h 391"/>
                  <a:gd name="T32" fmla="*/ 328 w 391"/>
                  <a:gd name="T33" fmla="*/ 222 h 391"/>
                  <a:gd name="T34" fmla="*/ 314 w 391"/>
                  <a:gd name="T35" fmla="*/ 260 h 391"/>
                  <a:gd name="T36" fmla="*/ 291 w 391"/>
                  <a:gd name="T37" fmla="*/ 291 h 391"/>
                  <a:gd name="T38" fmla="*/ 260 w 391"/>
                  <a:gd name="T39" fmla="*/ 315 h 391"/>
                  <a:gd name="T40" fmla="*/ 222 w 391"/>
                  <a:gd name="T41" fmla="*/ 329 h 391"/>
                  <a:gd name="T42" fmla="*/ 195 w 391"/>
                  <a:gd name="T43" fmla="*/ 0 h 391"/>
                  <a:gd name="T44" fmla="*/ 138 w 391"/>
                  <a:gd name="T45" fmla="*/ 9 h 391"/>
                  <a:gd name="T46" fmla="*/ 86 w 391"/>
                  <a:gd name="T47" fmla="*/ 34 h 391"/>
                  <a:gd name="T48" fmla="*/ 44 w 391"/>
                  <a:gd name="T49" fmla="*/ 71 h 391"/>
                  <a:gd name="T50" fmla="*/ 15 w 391"/>
                  <a:gd name="T51" fmla="*/ 119 h 391"/>
                  <a:gd name="T52" fmla="*/ 1 w 391"/>
                  <a:gd name="T53" fmla="*/ 175 h 391"/>
                  <a:gd name="T54" fmla="*/ 4 w 391"/>
                  <a:gd name="T55" fmla="*/ 235 h 391"/>
                  <a:gd name="T56" fmla="*/ 24 w 391"/>
                  <a:gd name="T57" fmla="*/ 289 h 391"/>
                  <a:gd name="T58" fmla="*/ 57 w 391"/>
                  <a:gd name="T59" fmla="*/ 334 h 391"/>
                  <a:gd name="T60" fmla="*/ 102 w 391"/>
                  <a:gd name="T61" fmla="*/ 367 h 391"/>
                  <a:gd name="T62" fmla="*/ 156 w 391"/>
                  <a:gd name="T63" fmla="*/ 387 h 391"/>
                  <a:gd name="T64" fmla="*/ 216 w 391"/>
                  <a:gd name="T65" fmla="*/ 390 h 391"/>
                  <a:gd name="T66" fmla="*/ 272 w 391"/>
                  <a:gd name="T67" fmla="*/ 376 h 391"/>
                  <a:gd name="T68" fmla="*/ 320 w 391"/>
                  <a:gd name="T69" fmla="*/ 347 h 391"/>
                  <a:gd name="T70" fmla="*/ 357 w 391"/>
                  <a:gd name="T71" fmla="*/ 305 h 391"/>
                  <a:gd name="T72" fmla="*/ 382 w 391"/>
                  <a:gd name="T73" fmla="*/ 253 h 391"/>
                  <a:gd name="T74" fmla="*/ 391 w 391"/>
                  <a:gd name="T75" fmla="*/ 196 h 391"/>
                  <a:gd name="T76" fmla="*/ 382 w 391"/>
                  <a:gd name="T77" fmla="*/ 138 h 391"/>
                  <a:gd name="T78" fmla="*/ 357 w 391"/>
                  <a:gd name="T79" fmla="*/ 86 h 391"/>
                  <a:gd name="T80" fmla="*/ 320 w 391"/>
                  <a:gd name="T81" fmla="*/ 44 h 391"/>
                  <a:gd name="T82" fmla="*/ 272 w 391"/>
                  <a:gd name="T83" fmla="*/ 15 h 391"/>
                  <a:gd name="T84" fmla="*/ 216 w 391"/>
                  <a:gd name="T85" fmla="*/ 2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1" h="391">
                    <a:moveTo>
                      <a:pt x="195" y="331"/>
                    </a:moveTo>
                    <a:lnTo>
                      <a:pt x="182" y="331"/>
                    </a:lnTo>
                    <a:lnTo>
                      <a:pt x="169" y="329"/>
                    </a:lnTo>
                    <a:lnTo>
                      <a:pt x="155" y="324"/>
                    </a:lnTo>
                    <a:lnTo>
                      <a:pt x="143" y="320"/>
                    </a:lnTo>
                    <a:lnTo>
                      <a:pt x="131" y="315"/>
                    </a:lnTo>
                    <a:lnTo>
                      <a:pt x="119" y="308"/>
                    </a:lnTo>
                    <a:lnTo>
                      <a:pt x="110" y="300"/>
                    </a:lnTo>
                    <a:lnTo>
                      <a:pt x="100" y="291"/>
                    </a:lnTo>
                    <a:lnTo>
                      <a:pt x="92" y="281"/>
                    </a:lnTo>
                    <a:lnTo>
                      <a:pt x="83" y="271"/>
                    </a:lnTo>
                    <a:lnTo>
                      <a:pt x="77" y="260"/>
                    </a:lnTo>
                    <a:lnTo>
                      <a:pt x="71" y="248"/>
                    </a:lnTo>
                    <a:lnTo>
                      <a:pt x="66" y="235"/>
                    </a:lnTo>
                    <a:lnTo>
                      <a:pt x="63" y="222"/>
                    </a:lnTo>
                    <a:lnTo>
                      <a:pt x="60" y="210"/>
                    </a:lnTo>
                    <a:lnTo>
                      <a:pt x="60" y="196"/>
                    </a:lnTo>
                    <a:lnTo>
                      <a:pt x="60" y="182"/>
                    </a:lnTo>
                    <a:lnTo>
                      <a:pt x="63" y="169"/>
                    </a:lnTo>
                    <a:lnTo>
                      <a:pt x="66" y="156"/>
                    </a:lnTo>
                    <a:lnTo>
                      <a:pt x="71" y="143"/>
                    </a:lnTo>
                    <a:lnTo>
                      <a:pt x="77" y="131"/>
                    </a:lnTo>
                    <a:lnTo>
                      <a:pt x="83" y="121"/>
                    </a:lnTo>
                    <a:lnTo>
                      <a:pt x="92" y="110"/>
                    </a:lnTo>
                    <a:lnTo>
                      <a:pt x="100" y="100"/>
                    </a:lnTo>
                    <a:lnTo>
                      <a:pt x="110" y="92"/>
                    </a:lnTo>
                    <a:lnTo>
                      <a:pt x="119" y="83"/>
                    </a:lnTo>
                    <a:lnTo>
                      <a:pt x="131" y="77"/>
                    </a:lnTo>
                    <a:lnTo>
                      <a:pt x="143" y="71"/>
                    </a:lnTo>
                    <a:lnTo>
                      <a:pt x="155" y="67"/>
                    </a:lnTo>
                    <a:lnTo>
                      <a:pt x="169" y="63"/>
                    </a:lnTo>
                    <a:lnTo>
                      <a:pt x="182" y="62"/>
                    </a:lnTo>
                    <a:lnTo>
                      <a:pt x="195" y="61"/>
                    </a:lnTo>
                    <a:lnTo>
                      <a:pt x="209" y="62"/>
                    </a:lnTo>
                    <a:lnTo>
                      <a:pt x="222" y="63"/>
                    </a:lnTo>
                    <a:lnTo>
                      <a:pt x="235" y="67"/>
                    </a:lnTo>
                    <a:lnTo>
                      <a:pt x="248" y="71"/>
                    </a:lnTo>
                    <a:lnTo>
                      <a:pt x="260" y="77"/>
                    </a:lnTo>
                    <a:lnTo>
                      <a:pt x="271" y="83"/>
                    </a:lnTo>
                    <a:lnTo>
                      <a:pt x="281" y="92"/>
                    </a:lnTo>
                    <a:lnTo>
                      <a:pt x="291" y="100"/>
                    </a:lnTo>
                    <a:lnTo>
                      <a:pt x="299" y="110"/>
                    </a:lnTo>
                    <a:lnTo>
                      <a:pt x="308" y="121"/>
                    </a:lnTo>
                    <a:lnTo>
                      <a:pt x="314" y="131"/>
                    </a:lnTo>
                    <a:lnTo>
                      <a:pt x="320" y="143"/>
                    </a:lnTo>
                    <a:lnTo>
                      <a:pt x="324" y="156"/>
                    </a:lnTo>
                    <a:lnTo>
                      <a:pt x="328" y="169"/>
                    </a:lnTo>
                    <a:lnTo>
                      <a:pt x="329" y="182"/>
                    </a:lnTo>
                    <a:lnTo>
                      <a:pt x="331" y="196"/>
                    </a:lnTo>
                    <a:lnTo>
                      <a:pt x="329" y="210"/>
                    </a:lnTo>
                    <a:lnTo>
                      <a:pt x="328" y="222"/>
                    </a:lnTo>
                    <a:lnTo>
                      <a:pt x="324" y="235"/>
                    </a:lnTo>
                    <a:lnTo>
                      <a:pt x="320" y="248"/>
                    </a:lnTo>
                    <a:lnTo>
                      <a:pt x="314" y="260"/>
                    </a:lnTo>
                    <a:lnTo>
                      <a:pt x="308" y="271"/>
                    </a:lnTo>
                    <a:lnTo>
                      <a:pt x="299" y="281"/>
                    </a:lnTo>
                    <a:lnTo>
                      <a:pt x="291" y="291"/>
                    </a:lnTo>
                    <a:lnTo>
                      <a:pt x="281" y="300"/>
                    </a:lnTo>
                    <a:lnTo>
                      <a:pt x="271" y="308"/>
                    </a:lnTo>
                    <a:lnTo>
                      <a:pt x="260" y="315"/>
                    </a:lnTo>
                    <a:lnTo>
                      <a:pt x="248" y="320"/>
                    </a:lnTo>
                    <a:lnTo>
                      <a:pt x="235" y="324"/>
                    </a:lnTo>
                    <a:lnTo>
                      <a:pt x="222" y="329"/>
                    </a:lnTo>
                    <a:lnTo>
                      <a:pt x="209" y="331"/>
                    </a:lnTo>
                    <a:lnTo>
                      <a:pt x="195" y="331"/>
                    </a:lnTo>
                    <a:close/>
                    <a:moveTo>
                      <a:pt x="195" y="0"/>
                    </a:moveTo>
                    <a:lnTo>
                      <a:pt x="175" y="2"/>
                    </a:lnTo>
                    <a:lnTo>
                      <a:pt x="156" y="4"/>
                    </a:lnTo>
                    <a:lnTo>
                      <a:pt x="138" y="9"/>
                    </a:lnTo>
                    <a:lnTo>
                      <a:pt x="119" y="15"/>
                    </a:lnTo>
                    <a:lnTo>
                      <a:pt x="102" y="24"/>
                    </a:lnTo>
                    <a:lnTo>
                      <a:pt x="86" y="34"/>
                    </a:lnTo>
                    <a:lnTo>
                      <a:pt x="71" y="44"/>
                    </a:lnTo>
                    <a:lnTo>
                      <a:pt x="57" y="57"/>
                    </a:lnTo>
                    <a:lnTo>
                      <a:pt x="44" y="71"/>
                    </a:lnTo>
                    <a:lnTo>
                      <a:pt x="34" y="86"/>
                    </a:lnTo>
                    <a:lnTo>
                      <a:pt x="24" y="102"/>
                    </a:lnTo>
                    <a:lnTo>
                      <a:pt x="15" y="119"/>
                    </a:lnTo>
                    <a:lnTo>
                      <a:pt x="9" y="138"/>
                    </a:lnTo>
                    <a:lnTo>
                      <a:pt x="4" y="156"/>
                    </a:lnTo>
                    <a:lnTo>
                      <a:pt x="1" y="175"/>
                    </a:lnTo>
                    <a:lnTo>
                      <a:pt x="0" y="196"/>
                    </a:lnTo>
                    <a:lnTo>
                      <a:pt x="1" y="216"/>
                    </a:lnTo>
                    <a:lnTo>
                      <a:pt x="4" y="235"/>
                    </a:lnTo>
                    <a:lnTo>
                      <a:pt x="9" y="253"/>
                    </a:lnTo>
                    <a:lnTo>
                      <a:pt x="15" y="272"/>
                    </a:lnTo>
                    <a:lnTo>
                      <a:pt x="24" y="289"/>
                    </a:lnTo>
                    <a:lnTo>
                      <a:pt x="34" y="305"/>
                    </a:lnTo>
                    <a:lnTo>
                      <a:pt x="44" y="320"/>
                    </a:lnTo>
                    <a:lnTo>
                      <a:pt x="57" y="334"/>
                    </a:lnTo>
                    <a:lnTo>
                      <a:pt x="71" y="347"/>
                    </a:lnTo>
                    <a:lnTo>
                      <a:pt x="86" y="357"/>
                    </a:lnTo>
                    <a:lnTo>
                      <a:pt x="102" y="367"/>
                    </a:lnTo>
                    <a:lnTo>
                      <a:pt x="119" y="376"/>
                    </a:lnTo>
                    <a:lnTo>
                      <a:pt x="138" y="382"/>
                    </a:lnTo>
                    <a:lnTo>
                      <a:pt x="156" y="387"/>
                    </a:lnTo>
                    <a:lnTo>
                      <a:pt x="175" y="390"/>
                    </a:lnTo>
                    <a:lnTo>
                      <a:pt x="195" y="391"/>
                    </a:lnTo>
                    <a:lnTo>
                      <a:pt x="216" y="390"/>
                    </a:lnTo>
                    <a:lnTo>
                      <a:pt x="235" y="387"/>
                    </a:lnTo>
                    <a:lnTo>
                      <a:pt x="253" y="382"/>
                    </a:lnTo>
                    <a:lnTo>
                      <a:pt x="272" y="376"/>
                    </a:lnTo>
                    <a:lnTo>
                      <a:pt x="289" y="367"/>
                    </a:lnTo>
                    <a:lnTo>
                      <a:pt x="305" y="357"/>
                    </a:lnTo>
                    <a:lnTo>
                      <a:pt x="320" y="347"/>
                    </a:lnTo>
                    <a:lnTo>
                      <a:pt x="334" y="334"/>
                    </a:lnTo>
                    <a:lnTo>
                      <a:pt x="347" y="320"/>
                    </a:lnTo>
                    <a:lnTo>
                      <a:pt x="357" y="305"/>
                    </a:lnTo>
                    <a:lnTo>
                      <a:pt x="367" y="289"/>
                    </a:lnTo>
                    <a:lnTo>
                      <a:pt x="376" y="272"/>
                    </a:lnTo>
                    <a:lnTo>
                      <a:pt x="382" y="253"/>
                    </a:lnTo>
                    <a:lnTo>
                      <a:pt x="386" y="235"/>
                    </a:lnTo>
                    <a:lnTo>
                      <a:pt x="389" y="216"/>
                    </a:lnTo>
                    <a:lnTo>
                      <a:pt x="391" y="196"/>
                    </a:lnTo>
                    <a:lnTo>
                      <a:pt x="389" y="175"/>
                    </a:lnTo>
                    <a:lnTo>
                      <a:pt x="386" y="156"/>
                    </a:lnTo>
                    <a:lnTo>
                      <a:pt x="382" y="138"/>
                    </a:lnTo>
                    <a:lnTo>
                      <a:pt x="376" y="119"/>
                    </a:lnTo>
                    <a:lnTo>
                      <a:pt x="367" y="102"/>
                    </a:lnTo>
                    <a:lnTo>
                      <a:pt x="357" y="86"/>
                    </a:lnTo>
                    <a:lnTo>
                      <a:pt x="347" y="71"/>
                    </a:lnTo>
                    <a:lnTo>
                      <a:pt x="334" y="57"/>
                    </a:lnTo>
                    <a:lnTo>
                      <a:pt x="320" y="44"/>
                    </a:lnTo>
                    <a:lnTo>
                      <a:pt x="305" y="34"/>
                    </a:lnTo>
                    <a:lnTo>
                      <a:pt x="289" y="24"/>
                    </a:lnTo>
                    <a:lnTo>
                      <a:pt x="272" y="15"/>
                    </a:lnTo>
                    <a:lnTo>
                      <a:pt x="253" y="9"/>
                    </a:lnTo>
                    <a:lnTo>
                      <a:pt x="235" y="4"/>
                    </a:lnTo>
                    <a:lnTo>
                      <a:pt x="216" y="2"/>
                    </a:lnTo>
                    <a:lnTo>
                      <a:pt x="1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56" name="Freeform 4200">
                <a:extLst>
                  <a:ext uri="{FF2B5EF4-FFF2-40B4-BE49-F238E27FC236}">
                    <a16:creationId xmlns:a16="http://schemas.microsoft.com/office/drawing/2014/main" id="{567C9280-DDC9-4246-8C18-377B911FA5C3}"/>
                  </a:ext>
                </a:extLst>
              </p:cNvPr>
              <p:cNvSpPr>
                <a:spLocks noEditPoints="1"/>
              </p:cNvSpPr>
              <p:nvPr/>
            </p:nvSpPr>
            <p:spPr bwMode="auto">
              <a:xfrm>
                <a:off x="7019925" y="3729038"/>
                <a:ext cx="287338" cy="220663"/>
              </a:xfrm>
              <a:custGeom>
                <a:avLst/>
                <a:gdLst>
                  <a:gd name="T0" fmla="*/ 496 w 902"/>
                  <a:gd name="T1" fmla="*/ 612 h 692"/>
                  <a:gd name="T2" fmla="*/ 434 w 902"/>
                  <a:gd name="T3" fmla="*/ 590 h 692"/>
                  <a:gd name="T4" fmla="*/ 355 w 902"/>
                  <a:gd name="T5" fmla="*/ 517 h 692"/>
                  <a:gd name="T6" fmla="*/ 323 w 902"/>
                  <a:gd name="T7" fmla="*/ 448 h 692"/>
                  <a:gd name="T8" fmla="*/ 316 w 902"/>
                  <a:gd name="T9" fmla="*/ 392 h 692"/>
                  <a:gd name="T10" fmla="*/ 323 w 902"/>
                  <a:gd name="T11" fmla="*/ 336 h 692"/>
                  <a:gd name="T12" fmla="*/ 355 w 902"/>
                  <a:gd name="T13" fmla="*/ 266 h 692"/>
                  <a:gd name="T14" fmla="*/ 434 w 902"/>
                  <a:gd name="T15" fmla="*/ 193 h 692"/>
                  <a:gd name="T16" fmla="*/ 496 w 902"/>
                  <a:gd name="T17" fmla="*/ 171 h 692"/>
                  <a:gd name="T18" fmla="*/ 553 w 902"/>
                  <a:gd name="T19" fmla="*/ 166 h 692"/>
                  <a:gd name="T20" fmla="*/ 608 w 902"/>
                  <a:gd name="T21" fmla="*/ 176 h 692"/>
                  <a:gd name="T22" fmla="*/ 685 w 902"/>
                  <a:gd name="T23" fmla="*/ 218 h 692"/>
                  <a:gd name="T24" fmla="*/ 749 w 902"/>
                  <a:gd name="T25" fmla="*/ 304 h 692"/>
                  <a:gd name="T26" fmla="*/ 764 w 902"/>
                  <a:gd name="T27" fmla="*/ 357 h 692"/>
                  <a:gd name="T28" fmla="*/ 766 w 902"/>
                  <a:gd name="T29" fmla="*/ 414 h 692"/>
                  <a:gd name="T30" fmla="*/ 753 w 902"/>
                  <a:gd name="T31" fmla="*/ 469 h 692"/>
                  <a:gd name="T32" fmla="*/ 701 w 902"/>
                  <a:gd name="T33" fmla="*/ 551 h 692"/>
                  <a:gd name="T34" fmla="*/ 619 w 902"/>
                  <a:gd name="T35" fmla="*/ 603 h 692"/>
                  <a:gd name="T36" fmla="*/ 564 w 902"/>
                  <a:gd name="T37" fmla="*/ 616 h 692"/>
                  <a:gd name="T38" fmla="*/ 120 w 902"/>
                  <a:gd name="T39" fmla="*/ 360 h 692"/>
                  <a:gd name="T40" fmla="*/ 88 w 902"/>
                  <a:gd name="T41" fmla="*/ 344 h 692"/>
                  <a:gd name="T42" fmla="*/ 67 w 902"/>
                  <a:gd name="T43" fmla="*/ 315 h 692"/>
                  <a:gd name="T44" fmla="*/ 61 w 902"/>
                  <a:gd name="T45" fmla="*/ 279 h 692"/>
                  <a:gd name="T46" fmla="*/ 73 w 902"/>
                  <a:gd name="T47" fmla="*/ 245 h 692"/>
                  <a:gd name="T48" fmla="*/ 100 w 902"/>
                  <a:gd name="T49" fmla="*/ 220 h 692"/>
                  <a:gd name="T50" fmla="*/ 135 w 902"/>
                  <a:gd name="T51" fmla="*/ 211 h 692"/>
                  <a:gd name="T52" fmla="*/ 172 w 902"/>
                  <a:gd name="T53" fmla="*/ 220 h 692"/>
                  <a:gd name="T54" fmla="*/ 198 w 902"/>
                  <a:gd name="T55" fmla="*/ 245 h 692"/>
                  <a:gd name="T56" fmla="*/ 210 w 902"/>
                  <a:gd name="T57" fmla="*/ 279 h 692"/>
                  <a:gd name="T58" fmla="*/ 205 w 902"/>
                  <a:gd name="T59" fmla="*/ 315 h 692"/>
                  <a:gd name="T60" fmla="*/ 183 w 902"/>
                  <a:gd name="T61" fmla="*/ 344 h 692"/>
                  <a:gd name="T62" fmla="*/ 150 w 902"/>
                  <a:gd name="T63" fmla="*/ 360 h 692"/>
                  <a:gd name="T64" fmla="*/ 710 w 902"/>
                  <a:gd name="T65" fmla="*/ 60 h 692"/>
                  <a:gd name="T66" fmla="*/ 667 w 902"/>
                  <a:gd name="T67" fmla="*/ 16 h 692"/>
                  <a:gd name="T68" fmla="*/ 425 w 902"/>
                  <a:gd name="T69" fmla="*/ 16 h 692"/>
                  <a:gd name="T70" fmla="*/ 383 w 902"/>
                  <a:gd name="T71" fmla="*/ 59 h 692"/>
                  <a:gd name="T72" fmla="*/ 216 w 902"/>
                  <a:gd name="T73" fmla="*/ 86 h 692"/>
                  <a:gd name="T74" fmla="*/ 182 w 902"/>
                  <a:gd name="T75" fmla="*/ 50 h 692"/>
                  <a:gd name="T76" fmla="*/ 131 w 902"/>
                  <a:gd name="T77" fmla="*/ 46 h 692"/>
                  <a:gd name="T78" fmla="*/ 97 w 902"/>
                  <a:gd name="T79" fmla="*/ 66 h 692"/>
                  <a:gd name="T80" fmla="*/ 77 w 902"/>
                  <a:gd name="T81" fmla="*/ 101 h 692"/>
                  <a:gd name="T82" fmla="*/ 52 w 902"/>
                  <a:gd name="T83" fmla="*/ 128 h 692"/>
                  <a:gd name="T84" fmla="*/ 21 w 902"/>
                  <a:gd name="T85" fmla="*/ 148 h 692"/>
                  <a:gd name="T86" fmla="*/ 3 w 902"/>
                  <a:gd name="T87" fmla="*/ 184 h 692"/>
                  <a:gd name="T88" fmla="*/ 1 w 902"/>
                  <a:gd name="T89" fmla="*/ 613 h 692"/>
                  <a:gd name="T90" fmla="*/ 14 w 902"/>
                  <a:gd name="T91" fmla="*/ 655 h 692"/>
                  <a:gd name="T92" fmla="*/ 45 w 902"/>
                  <a:gd name="T93" fmla="*/ 682 h 692"/>
                  <a:gd name="T94" fmla="*/ 93 w 902"/>
                  <a:gd name="T95" fmla="*/ 692 h 692"/>
                  <a:gd name="T96" fmla="*/ 841 w 902"/>
                  <a:gd name="T97" fmla="*/ 689 h 692"/>
                  <a:gd name="T98" fmla="*/ 878 w 902"/>
                  <a:gd name="T99" fmla="*/ 668 h 692"/>
                  <a:gd name="T100" fmla="*/ 898 w 902"/>
                  <a:gd name="T101" fmla="*/ 632 h 692"/>
                  <a:gd name="T102" fmla="*/ 902 w 902"/>
                  <a:gd name="T103" fmla="*/ 187 h 692"/>
                  <a:gd name="T104" fmla="*/ 890 w 902"/>
                  <a:gd name="T105" fmla="*/ 149 h 692"/>
                  <a:gd name="T106" fmla="*/ 860 w 902"/>
                  <a:gd name="T107" fmla="*/ 128 h 692"/>
                  <a:gd name="T108" fmla="*/ 811 w 902"/>
                  <a:gd name="T109" fmla="*/ 121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2" h="692">
                    <a:moveTo>
                      <a:pt x="541" y="617"/>
                    </a:moveTo>
                    <a:lnTo>
                      <a:pt x="530" y="617"/>
                    </a:lnTo>
                    <a:lnTo>
                      <a:pt x="518" y="616"/>
                    </a:lnTo>
                    <a:lnTo>
                      <a:pt x="507" y="615"/>
                    </a:lnTo>
                    <a:lnTo>
                      <a:pt x="496" y="612"/>
                    </a:lnTo>
                    <a:lnTo>
                      <a:pt x="485" y="610"/>
                    </a:lnTo>
                    <a:lnTo>
                      <a:pt x="474" y="607"/>
                    </a:lnTo>
                    <a:lnTo>
                      <a:pt x="464" y="603"/>
                    </a:lnTo>
                    <a:lnTo>
                      <a:pt x="454" y="600"/>
                    </a:lnTo>
                    <a:lnTo>
                      <a:pt x="434" y="590"/>
                    </a:lnTo>
                    <a:lnTo>
                      <a:pt x="415" y="578"/>
                    </a:lnTo>
                    <a:lnTo>
                      <a:pt x="398" y="565"/>
                    </a:lnTo>
                    <a:lnTo>
                      <a:pt x="382" y="551"/>
                    </a:lnTo>
                    <a:lnTo>
                      <a:pt x="368" y="535"/>
                    </a:lnTo>
                    <a:lnTo>
                      <a:pt x="355" y="517"/>
                    </a:lnTo>
                    <a:lnTo>
                      <a:pt x="343" y="499"/>
                    </a:lnTo>
                    <a:lnTo>
                      <a:pt x="334" y="479"/>
                    </a:lnTo>
                    <a:lnTo>
                      <a:pt x="329" y="469"/>
                    </a:lnTo>
                    <a:lnTo>
                      <a:pt x="326" y="458"/>
                    </a:lnTo>
                    <a:lnTo>
                      <a:pt x="323" y="448"/>
                    </a:lnTo>
                    <a:lnTo>
                      <a:pt x="321" y="437"/>
                    </a:lnTo>
                    <a:lnTo>
                      <a:pt x="319" y="426"/>
                    </a:lnTo>
                    <a:lnTo>
                      <a:pt x="317" y="414"/>
                    </a:lnTo>
                    <a:lnTo>
                      <a:pt x="316" y="403"/>
                    </a:lnTo>
                    <a:lnTo>
                      <a:pt x="316" y="392"/>
                    </a:lnTo>
                    <a:lnTo>
                      <a:pt x="316" y="380"/>
                    </a:lnTo>
                    <a:lnTo>
                      <a:pt x="317" y="369"/>
                    </a:lnTo>
                    <a:lnTo>
                      <a:pt x="319" y="357"/>
                    </a:lnTo>
                    <a:lnTo>
                      <a:pt x="321" y="347"/>
                    </a:lnTo>
                    <a:lnTo>
                      <a:pt x="323" y="336"/>
                    </a:lnTo>
                    <a:lnTo>
                      <a:pt x="326" y="325"/>
                    </a:lnTo>
                    <a:lnTo>
                      <a:pt x="329" y="314"/>
                    </a:lnTo>
                    <a:lnTo>
                      <a:pt x="334" y="304"/>
                    </a:lnTo>
                    <a:lnTo>
                      <a:pt x="343" y="284"/>
                    </a:lnTo>
                    <a:lnTo>
                      <a:pt x="355" y="266"/>
                    </a:lnTo>
                    <a:lnTo>
                      <a:pt x="368" y="248"/>
                    </a:lnTo>
                    <a:lnTo>
                      <a:pt x="382" y="232"/>
                    </a:lnTo>
                    <a:lnTo>
                      <a:pt x="398" y="218"/>
                    </a:lnTo>
                    <a:lnTo>
                      <a:pt x="415" y="205"/>
                    </a:lnTo>
                    <a:lnTo>
                      <a:pt x="434" y="193"/>
                    </a:lnTo>
                    <a:lnTo>
                      <a:pt x="454" y="184"/>
                    </a:lnTo>
                    <a:lnTo>
                      <a:pt x="464" y="180"/>
                    </a:lnTo>
                    <a:lnTo>
                      <a:pt x="474" y="176"/>
                    </a:lnTo>
                    <a:lnTo>
                      <a:pt x="485" y="173"/>
                    </a:lnTo>
                    <a:lnTo>
                      <a:pt x="496" y="171"/>
                    </a:lnTo>
                    <a:lnTo>
                      <a:pt x="507" y="169"/>
                    </a:lnTo>
                    <a:lnTo>
                      <a:pt x="518" y="168"/>
                    </a:lnTo>
                    <a:lnTo>
                      <a:pt x="530" y="166"/>
                    </a:lnTo>
                    <a:lnTo>
                      <a:pt x="541" y="166"/>
                    </a:lnTo>
                    <a:lnTo>
                      <a:pt x="553" y="166"/>
                    </a:lnTo>
                    <a:lnTo>
                      <a:pt x="564" y="168"/>
                    </a:lnTo>
                    <a:lnTo>
                      <a:pt x="576" y="169"/>
                    </a:lnTo>
                    <a:lnTo>
                      <a:pt x="587" y="171"/>
                    </a:lnTo>
                    <a:lnTo>
                      <a:pt x="597" y="173"/>
                    </a:lnTo>
                    <a:lnTo>
                      <a:pt x="608" y="176"/>
                    </a:lnTo>
                    <a:lnTo>
                      <a:pt x="619" y="180"/>
                    </a:lnTo>
                    <a:lnTo>
                      <a:pt x="629" y="184"/>
                    </a:lnTo>
                    <a:lnTo>
                      <a:pt x="649" y="193"/>
                    </a:lnTo>
                    <a:lnTo>
                      <a:pt x="667" y="205"/>
                    </a:lnTo>
                    <a:lnTo>
                      <a:pt x="685" y="218"/>
                    </a:lnTo>
                    <a:lnTo>
                      <a:pt x="701" y="232"/>
                    </a:lnTo>
                    <a:lnTo>
                      <a:pt x="715" y="248"/>
                    </a:lnTo>
                    <a:lnTo>
                      <a:pt x="728" y="266"/>
                    </a:lnTo>
                    <a:lnTo>
                      <a:pt x="740" y="284"/>
                    </a:lnTo>
                    <a:lnTo>
                      <a:pt x="749" y="304"/>
                    </a:lnTo>
                    <a:lnTo>
                      <a:pt x="753" y="314"/>
                    </a:lnTo>
                    <a:lnTo>
                      <a:pt x="757" y="325"/>
                    </a:lnTo>
                    <a:lnTo>
                      <a:pt x="760" y="336"/>
                    </a:lnTo>
                    <a:lnTo>
                      <a:pt x="762" y="347"/>
                    </a:lnTo>
                    <a:lnTo>
                      <a:pt x="764" y="357"/>
                    </a:lnTo>
                    <a:lnTo>
                      <a:pt x="766" y="369"/>
                    </a:lnTo>
                    <a:lnTo>
                      <a:pt x="767" y="380"/>
                    </a:lnTo>
                    <a:lnTo>
                      <a:pt x="767" y="392"/>
                    </a:lnTo>
                    <a:lnTo>
                      <a:pt x="767" y="403"/>
                    </a:lnTo>
                    <a:lnTo>
                      <a:pt x="766" y="414"/>
                    </a:lnTo>
                    <a:lnTo>
                      <a:pt x="764" y="426"/>
                    </a:lnTo>
                    <a:lnTo>
                      <a:pt x="762" y="437"/>
                    </a:lnTo>
                    <a:lnTo>
                      <a:pt x="760" y="448"/>
                    </a:lnTo>
                    <a:lnTo>
                      <a:pt x="757" y="458"/>
                    </a:lnTo>
                    <a:lnTo>
                      <a:pt x="753" y="469"/>
                    </a:lnTo>
                    <a:lnTo>
                      <a:pt x="749" y="479"/>
                    </a:lnTo>
                    <a:lnTo>
                      <a:pt x="740" y="499"/>
                    </a:lnTo>
                    <a:lnTo>
                      <a:pt x="728" y="517"/>
                    </a:lnTo>
                    <a:lnTo>
                      <a:pt x="715" y="535"/>
                    </a:lnTo>
                    <a:lnTo>
                      <a:pt x="701" y="551"/>
                    </a:lnTo>
                    <a:lnTo>
                      <a:pt x="685" y="565"/>
                    </a:lnTo>
                    <a:lnTo>
                      <a:pt x="667" y="578"/>
                    </a:lnTo>
                    <a:lnTo>
                      <a:pt x="649" y="590"/>
                    </a:lnTo>
                    <a:lnTo>
                      <a:pt x="629" y="600"/>
                    </a:lnTo>
                    <a:lnTo>
                      <a:pt x="619" y="603"/>
                    </a:lnTo>
                    <a:lnTo>
                      <a:pt x="608" y="607"/>
                    </a:lnTo>
                    <a:lnTo>
                      <a:pt x="597" y="610"/>
                    </a:lnTo>
                    <a:lnTo>
                      <a:pt x="587" y="612"/>
                    </a:lnTo>
                    <a:lnTo>
                      <a:pt x="576" y="615"/>
                    </a:lnTo>
                    <a:lnTo>
                      <a:pt x="564" y="616"/>
                    </a:lnTo>
                    <a:lnTo>
                      <a:pt x="553" y="617"/>
                    </a:lnTo>
                    <a:lnTo>
                      <a:pt x="541" y="617"/>
                    </a:lnTo>
                    <a:close/>
                    <a:moveTo>
                      <a:pt x="135" y="362"/>
                    </a:moveTo>
                    <a:lnTo>
                      <a:pt x="128" y="362"/>
                    </a:lnTo>
                    <a:lnTo>
                      <a:pt x="120" y="360"/>
                    </a:lnTo>
                    <a:lnTo>
                      <a:pt x="114" y="358"/>
                    </a:lnTo>
                    <a:lnTo>
                      <a:pt x="106" y="355"/>
                    </a:lnTo>
                    <a:lnTo>
                      <a:pt x="100" y="352"/>
                    </a:lnTo>
                    <a:lnTo>
                      <a:pt x="93" y="349"/>
                    </a:lnTo>
                    <a:lnTo>
                      <a:pt x="88" y="344"/>
                    </a:lnTo>
                    <a:lnTo>
                      <a:pt x="83" y="339"/>
                    </a:lnTo>
                    <a:lnTo>
                      <a:pt x="77" y="334"/>
                    </a:lnTo>
                    <a:lnTo>
                      <a:pt x="73" y="328"/>
                    </a:lnTo>
                    <a:lnTo>
                      <a:pt x="70" y="322"/>
                    </a:lnTo>
                    <a:lnTo>
                      <a:pt x="67" y="315"/>
                    </a:lnTo>
                    <a:lnTo>
                      <a:pt x="63" y="309"/>
                    </a:lnTo>
                    <a:lnTo>
                      <a:pt x="62" y="302"/>
                    </a:lnTo>
                    <a:lnTo>
                      <a:pt x="61" y="294"/>
                    </a:lnTo>
                    <a:lnTo>
                      <a:pt x="60" y="287"/>
                    </a:lnTo>
                    <a:lnTo>
                      <a:pt x="61" y="279"/>
                    </a:lnTo>
                    <a:lnTo>
                      <a:pt x="62" y="272"/>
                    </a:lnTo>
                    <a:lnTo>
                      <a:pt x="63" y="264"/>
                    </a:lnTo>
                    <a:lnTo>
                      <a:pt x="67" y="258"/>
                    </a:lnTo>
                    <a:lnTo>
                      <a:pt x="70" y="250"/>
                    </a:lnTo>
                    <a:lnTo>
                      <a:pt x="73" y="245"/>
                    </a:lnTo>
                    <a:lnTo>
                      <a:pt x="77" y="238"/>
                    </a:lnTo>
                    <a:lnTo>
                      <a:pt x="83" y="233"/>
                    </a:lnTo>
                    <a:lnTo>
                      <a:pt x="88" y="229"/>
                    </a:lnTo>
                    <a:lnTo>
                      <a:pt x="93" y="224"/>
                    </a:lnTo>
                    <a:lnTo>
                      <a:pt x="100" y="220"/>
                    </a:lnTo>
                    <a:lnTo>
                      <a:pt x="106" y="217"/>
                    </a:lnTo>
                    <a:lnTo>
                      <a:pt x="114" y="215"/>
                    </a:lnTo>
                    <a:lnTo>
                      <a:pt x="120" y="213"/>
                    </a:lnTo>
                    <a:lnTo>
                      <a:pt x="128" y="211"/>
                    </a:lnTo>
                    <a:lnTo>
                      <a:pt x="135" y="211"/>
                    </a:lnTo>
                    <a:lnTo>
                      <a:pt x="144" y="211"/>
                    </a:lnTo>
                    <a:lnTo>
                      <a:pt x="151" y="213"/>
                    </a:lnTo>
                    <a:lnTo>
                      <a:pt x="158" y="215"/>
                    </a:lnTo>
                    <a:lnTo>
                      <a:pt x="165" y="217"/>
                    </a:lnTo>
                    <a:lnTo>
                      <a:pt x="172" y="220"/>
                    </a:lnTo>
                    <a:lnTo>
                      <a:pt x="178" y="224"/>
                    </a:lnTo>
                    <a:lnTo>
                      <a:pt x="183" y="229"/>
                    </a:lnTo>
                    <a:lnTo>
                      <a:pt x="189" y="233"/>
                    </a:lnTo>
                    <a:lnTo>
                      <a:pt x="193" y="238"/>
                    </a:lnTo>
                    <a:lnTo>
                      <a:pt x="198" y="245"/>
                    </a:lnTo>
                    <a:lnTo>
                      <a:pt x="202" y="250"/>
                    </a:lnTo>
                    <a:lnTo>
                      <a:pt x="205" y="258"/>
                    </a:lnTo>
                    <a:lnTo>
                      <a:pt x="207" y="264"/>
                    </a:lnTo>
                    <a:lnTo>
                      <a:pt x="209" y="272"/>
                    </a:lnTo>
                    <a:lnTo>
                      <a:pt x="210" y="279"/>
                    </a:lnTo>
                    <a:lnTo>
                      <a:pt x="210" y="287"/>
                    </a:lnTo>
                    <a:lnTo>
                      <a:pt x="210" y="294"/>
                    </a:lnTo>
                    <a:lnTo>
                      <a:pt x="209" y="302"/>
                    </a:lnTo>
                    <a:lnTo>
                      <a:pt x="207" y="309"/>
                    </a:lnTo>
                    <a:lnTo>
                      <a:pt x="205" y="315"/>
                    </a:lnTo>
                    <a:lnTo>
                      <a:pt x="202" y="322"/>
                    </a:lnTo>
                    <a:lnTo>
                      <a:pt x="197" y="328"/>
                    </a:lnTo>
                    <a:lnTo>
                      <a:pt x="193" y="334"/>
                    </a:lnTo>
                    <a:lnTo>
                      <a:pt x="189" y="339"/>
                    </a:lnTo>
                    <a:lnTo>
                      <a:pt x="183" y="344"/>
                    </a:lnTo>
                    <a:lnTo>
                      <a:pt x="178" y="349"/>
                    </a:lnTo>
                    <a:lnTo>
                      <a:pt x="172" y="352"/>
                    </a:lnTo>
                    <a:lnTo>
                      <a:pt x="165" y="355"/>
                    </a:lnTo>
                    <a:lnTo>
                      <a:pt x="158" y="358"/>
                    </a:lnTo>
                    <a:lnTo>
                      <a:pt x="150" y="360"/>
                    </a:lnTo>
                    <a:lnTo>
                      <a:pt x="144" y="362"/>
                    </a:lnTo>
                    <a:lnTo>
                      <a:pt x="135" y="362"/>
                    </a:lnTo>
                    <a:close/>
                    <a:moveTo>
                      <a:pt x="811" y="121"/>
                    </a:moveTo>
                    <a:lnTo>
                      <a:pt x="745" y="121"/>
                    </a:lnTo>
                    <a:lnTo>
                      <a:pt x="710" y="60"/>
                    </a:lnTo>
                    <a:lnTo>
                      <a:pt x="704" y="53"/>
                    </a:lnTo>
                    <a:lnTo>
                      <a:pt x="698" y="44"/>
                    </a:lnTo>
                    <a:lnTo>
                      <a:pt x="692" y="37"/>
                    </a:lnTo>
                    <a:lnTo>
                      <a:pt x="684" y="30"/>
                    </a:lnTo>
                    <a:lnTo>
                      <a:pt x="667" y="16"/>
                    </a:lnTo>
                    <a:lnTo>
                      <a:pt x="649" y="4"/>
                    </a:lnTo>
                    <a:lnTo>
                      <a:pt x="645" y="0"/>
                    </a:lnTo>
                    <a:lnTo>
                      <a:pt x="447" y="0"/>
                    </a:lnTo>
                    <a:lnTo>
                      <a:pt x="443" y="4"/>
                    </a:lnTo>
                    <a:lnTo>
                      <a:pt x="425" y="16"/>
                    </a:lnTo>
                    <a:lnTo>
                      <a:pt x="409" y="29"/>
                    </a:lnTo>
                    <a:lnTo>
                      <a:pt x="401" y="37"/>
                    </a:lnTo>
                    <a:lnTo>
                      <a:pt x="395" y="44"/>
                    </a:lnTo>
                    <a:lnTo>
                      <a:pt x="388" y="52"/>
                    </a:lnTo>
                    <a:lnTo>
                      <a:pt x="383" y="59"/>
                    </a:lnTo>
                    <a:lnTo>
                      <a:pt x="325" y="121"/>
                    </a:lnTo>
                    <a:lnTo>
                      <a:pt x="220" y="121"/>
                    </a:lnTo>
                    <a:lnTo>
                      <a:pt x="220" y="106"/>
                    </a:lnTo>
                    <a:lnTo>
                      <a:pt x="219" y="96"/>
                    </a:lnTo>
                    <a:lnTo>
                      <a:pt x="216" y="86"/>
                    </a:lnTo>
                    <a:lnTo>
                      <a:pt x="210" y="75"/>
                    </a:lnTo>
                    <a:lnTo>
                      <a:pt x="204" y="66"/>
                    </a:lnTo>
                    <a:lnTo>
                      <a:pt x="196" y="58"/>
                    </a:lnTo>
                    <a:lnTo>
                      <a:pt x="187" y="52"/>
                    </a:lnTo>
                    <a:lnTo>
                      <a:pt x="182" y="50"/>
                    </a:lnTo>
                    <a:lnTo>
                      <a:pt x="177" y="47"/>
                    </a:lnTo>
                    <a:lnTo>
                      <a:pt x="172" y="46"/>
                    </a:lnTo>
                    <a:lnTo>
                      <a:pt x="165" y="46"/>
                    </a:lnTo>
                    <a:lnTo>
                      <a:pt x="135" y="46"/>
                    </a:lnTo>
                    <a:lnTo>
                      <a:pt x="131" y="46"/>
                    </a:lnTo>
                    <a:lnTo>
                      <a:pt x="126" y="47"/>
                    </a:lnTo>
                    <a:lnTo>
                      <a:pt x="120" y="50"/>
                    </a:lnTo>
                    <a:lnTo>
                      <a:pt x="115" y="52"/>
                    </a:lnTo>
                    <a:lnTo>
                      <a:pt x="105" y="57"/>
                    </a:lnTo>
                    <a:lnTo>
                      <a:pt x="97" y="66"/>
                    </a:lnTo>
                    <a:lnTo>
                      <a:pt x="88" y="74"/>
                    </a:lnTo>
                    <a:lnTo>
                      <a:pt x="83" y="85"/>
                    </a:lnTo>
                    <a:lnTo>
                      <a:pt x="81" y="90"/>
                    </a:lnTo>
                    <a:lnTo>
                      <a:pt x="78" y="96"/>
                    </a:lnTo>
                    <a:lnTo>
                      <a:pt x="77" y="101"/>
                    </a:lnTo>
                    <a:lnTo>
                      <a:pt x="77" y="105"/>
                    </a:lnTo>
                    <a:lnTo>
                      <a:pt x="76" y="123"/>
                    </a:lnTo>
                    <a:lnTo>
                      <a:pt x="68" y="124"/>
                    </a:lnTo>
                    <a:lnTo>
                      <a:pt x="59" y="126"/>
                    </a:lnTo>
                    <a:lnTo>
                      <a:pt x="52" y="128"/>
                    </a:lnTo>
                    <a:lnTo>
                      <a:pt x="44" y="131"/>
                    </a:lnTo>
                    <a:lnTo>
                      <a:pt x="38" y="134"/>
                    </a:lnTo>
                    <a:lnTo>
                      <a:pt x="31" y="139"/>
                    </a:lnTo>
                    <a:lnTo>
                      <a:pt x="26" y="143"/>
                    </a:lnTo>
                    <a:lnTo>
                      <a:pt x="21" y="148"/>
                    </a:lnTo>
                    <a:lnTo>
                      <a:pt x="15" y="155"/>
                    </a:lnTo>
                    <a:lnTo>
                      <a:pt x="12" y="161"/>
                    </a:lnTo>
                    <a:lnTo>
                      <a:pt x="9" y="168"/>
                    </a:lnTo>
                    <a:lnTo>
                      <a:pt x="6" y="175"/>
                    </a:lnTo>
                    <a:lnTo>
                      <a:pt x="3" y="184"/>
                    </a:lnTo>
                    <a:lnTo>
                      <a:pt x="1" y="191"/>
                    </a:lnTo>
                    <a:lnTo>
                      <a:pt x="1" y="201"/>
                    </a:lnTo>
                    <a:lnTo>
                      <a:pt x="0" y="210"/>
                    </a:lnTo>
                    <a:lnTo>
                      <a:pt x="0" y="604"/>
                    </a:lnTo>
                    <a:lnTo>
                      <a:pt x="1" y="613"/>
                    </a:lnTo>
                    <a:lnTo>
                      <a:pt x="2" y="623"/>
                    </a:lnTo>
                    <a:lnTo>
                      <a:pt x="3" y="632"/>
                    </a:lnTo>
                    <a:lnTo>
                      <a:pt x="7" y="640"/>
                    </a:lnTo>
                    <a:lnTo>
                      <a:pt x="10" y="648"/>
                    </a:lnTo>
                    <a:lnTo>
                      <a:pt x="14" y="655"/>
                    </a:lnTo>
                    <a:lnTo>
                      <a:pt x="18" y="662"/>
                    </a:lnTo>
                    <a:lnTo>
                      <a:pt x="25" y="668"/>
                    </a:lnTo>
                    <a:lnTo>
                      <a:pt x="30" y="674"/>
                    </a:lnTo>
                    <a:lnTo>
                      <a:pt x="38" y="678"/>
                    </a:lnTo>
                    <a:lnTo>
                      <a:pt x="45" y="682"/>
                    </a:lnTo>
                    <a:lnTo>
                      <a:pt x="54" y="685"/>
                    </a:lnTo>
                    <a:lnTo>
                      <a:pt x="62" y="689"/>
                    </a:lnTo>
                    <a:lnTo>
                      <a:pt x="72" y="690"/>
                    </a:lnTo>
                    <a:lnTo>
                      <a:pt x="83" y="692"/>
                    </a:lnTo>
                    <a:lnTo>
                      <a:pt x="93" y="692"/>
                    </a:lnTo>
                    <a:lnTo>
                      <a:pt x="809" y="692"/>
                    </a:lnTo>
                    <a:lnTo>
                      <a:pt x="809" y="692"/>
                    </a:lnTo>
                    <a:lnTo>
                      <a:pt x="820" y="692"/>
                    </a:lnTo>
                    <a:lnTo>
                      <a:pt x="831" y="690"/>
                    </a:lnTo>
                    <a:lnTo>
                      <a:pt x="841" y="689"/>
                    </a:lnTo>
                    <a:lnTo>
                      <a:pt x="849" y="685"/>
                    </a:lnTo>
                    <a:lnTo>
                      <a:pt x="858" y="682"/>
                    </a:lnTo>
                    <a:lnTo>
                      <a:pt x="865" y="678"/>
                    </a:lnTo>
                    <a:lnTo>
                      <a:pt x="872" y="674"/>
                    </a:lnTo>
                    <a:lnTo>
                      <a:pt x="878" y="668"/>
                    </a:lnTo>
                    <a:lnTo>
                      <a:pt x="883" y="662"/>
                    </a:lnTo>
                    <a:lnTo>
                      <a:pt x="889" y="655"/>
                    </a:lnTo>
                    <a:lnTo>
                      <a:pt x="893" y="648"/>
                    </a:lnTo>
                    <a:lnTo>
                      <a:pt x="896" y="640"/>
                    </a:lnTo>
                    <a:lnTo>
                      <a:pt x="898" y="632"/>
                    </a:lnTo>
                    <a:lnTo>
                      <a:pt x="901" y="623"/>
                    </a:lnTo>
                    <a:lnTo>
                      <a:pt x="902" y="613"/>
                    </a:lnTo>
                    <a:lnTo>
                      <a:pt x="902" y="604"/>
                    </a:lnTo>
                    <a:lnTo>
                      <a:pt x="902" y="196"/>
                    </a:lnTo>
                    <a:lnTo>
                      <a:pt x="902" y="187"/>
                    </a:lnTo>
                    <a:lnTo>
                      <a:pt x="901" y="178"/>
                    </a:lnTo>
                    <a:lnTo>
                      <a:pt x="899" y="170"/>
                    </a:lnTo>
                    <a:lnTo>
                      <a:pt x="896" y="162"/>
                    </a:lnTo>
                    <a:lnTo>
                      <a:pt x="893" y="156"/>
                    </a:lnTo>
                    <a:lnTo>
                      <a:pt x="890" y="149"/>
                    </a:lnTo>
                    <a:lnTo>
                      <a:pt x="886" y="144"/>
                    </a:lnTo>
                    <a:lnTo>
                      <a:pt x="880" y="140"/>
                    </a:lnTo>
                    <a:lnTo>
                      <a:pt x="874" y="135"/>
                    </a:lnTo>
                    <a:lnTo>
                      <a:pt x="867" y="131"/>
                    </a:lnTo>
                    <a:lnTo>
                      <a:pt x="860" y="128"/>
                    </a:lnTo>
                    <a:lnTo>
                      <a:pt x="851" y="126"/>
                    </a:lnTo>
                    <a:lnTo>
                      <a:pt x="843" y="124"/>
                    </a:lnTo>
                    <a:lnTo>
                      <a:pt x="833" y="123"/>
                    </a:lnTo>
                    <a:lnTo>
                      <a:pt x="822" y="121"/>
                    </a:lnTo>
                    <a:lnTo>
                      <a:pt x="81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grpSp>
        <p:nvGrpSpPr>
          <p:cNvPr id="141" name="Group 140">
            <a:extLst>
              <a:ext uri="{FF2B5EF4-FFF2-40B4-BE49-F238E27FC236}">
                <a16:creationId xmlns:a16="http://schemas.microsoft.com/office/drawing/2014/main" id="{C91E6085-6FDE-40A9-AE22-EC1CB0DA6A45}"/>
              </a:ext>
            </a:extLst>
          </p:cNvPr>
          <p:cNvGrpSpPr/>
          <p:nvPr/>
        </p:nvGrpSpPr>
        <p:grpSpPr>
          <a:xfrm>
            <a:off x="8443758" y="9445880"/>
            <a:ext cx="574639" cy="517490"/>
            <a:chOff x="879475" y="817563"/>
            <a:chExt cx="287338" cy="258762"/>
          </a:xfrm>
          <a:solidFill>
            <a:schemeClr val="bg1"/>
          </a:solidFill>
        </p:grpSpPr>
        <p:sp>
          <p:nvSpPr>
            <p:cNvPr id="142" name="Freeform 1593">
              <a:extLst>
                <a:ext uri="{FF2B5EF4-FFF2-40B4-BE49-F238E27FC236}">
                  <a16:creationId xmlns:a16="http://schemas.microsoft.com/office/drawing/2014/main" id="{04CA03E5-73FC-4445-91EF-4BFFA267BBC9}"/>
                </a:ext>
              </a:extLst>
            </p:cNvPr>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43" name="Freeform 1594">
              <a:extLst>
                <a:ext uri="{FF2B5EF4-FFF2-40B4-BE49-F238E27FC236}">
                  <a16:creationId xmlns:a16="http://schemas.microsoft.com/office/drawing/2014/main" id="{23ED53AB-2CC5-4CBD-91B1-4CAE98E883FD}"/>
                </a:ext>
              </a:extLst>
            </p:cNvPr>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157" name="Group 156">
            <a:extLst>
              <a:ext uri="{FF2B5EF4-FFF2-40B4-BE49-F238E27FC236}">
                <a16:creationId xmlns:a16="http://schemas.microsoft.com/office/drawing/2014/main" id="{82EEDA51-4A01-466C-BFB1-8CF8958BD76F}"/>
              </a:ext>
            </a:extLst>
          </p:cNvPr>
          <p:cNvGrpSpPr/>
          <p:nvPr/>
        </p:nvGrpSpPr>
        <p:grpSpPr>
          <a:xfrm>
            <a:off x="15364015" y="9418893"/>
            <a:ext cx="574639" cy="571463"/>
            <a:chOff x="3756025" y="3937000"/>
            <a:chExt cx="287338" cy="285750"/>
          </a:xfrm>
          <a:solidFill>
            <a:schemeClr val="bg1"/>
          </a:solidFill>
        </p:grpSpPr>
        <p:sp>
          <p:nvSpPr>
            <p:cNvPr id="158" name="Freeform 4778">
              <a:extLst>
                <a:ext uri="{FF2B5EF4-FFF2-40B4-BE49-F238E27FC236}">
                  <a16:creationId xmlns:a16="http://schemas.microsoft.com/office/drawing/2014/main" id="{CB0EE748-F404-4BAE-9712-8537949D25C5}"/>
                </a:ext>
              </a:extLst>
            </p:cNvPr>
            <p:cNvSpPr>
              <a:spLocks noEditPoints="1"/>
            </p:cNvSpPr>
            <p:nvPr/>
          </p:nvSpPr>
          <p:spPr bwMode="auto">
            <a:xfrm>
              <a:off x="3817938" y="3937000"/>
              <a:ext cx="225425" cy="42863"/>
            </a:xfrm>
            <a:custGeom>
              <a:avLst/>
              <a:gdLst>
                <a:gd name="T0" fmla="*/ 121 w 707"/>
                <a:gd name="T1" fmla="*/ 55 h 135"/>
                <a:gd name="T2" fmla="*/ 133 w 707"/>
                <a:gd name="T3" fmla="*/ 66 h 135"/>
                <a:gd name="T4" fmla="*/ 138 w 707"/>
                <a:gd name="T5" fmla="*/ 82 h 135"/>
                <a:gd name="T6" fmla="*/ 133 w 707"/>
                <a:gd name="T7" fmla="*/ 98 h 135"/>
                <a:gd name="T8" fmla="*/ 121 w 707"/>
                <a:gd name="T9" fmla="*/ 109 h 135"/>
                <a:gd name="T10" fmla="*/ 103 w 707"/>
                <a:gd name="T11" fmla="*/ 110 h 135"/>
                <a:gd name="T12" fmla="*/ 89 w 707"/>
                <a:gd name="T13" fmla="*/ 103 h 135"/>
                <a:gd name="T14" fmla="*/ 81 w 707"/>
                <a:gd name="T15" fmla="*/ 88 h 135"/>
                <a:gd name="T16" fmla="*/ 82 w 707"/>
                <a:gd name="T17" fmla="*/ 72 h 135"/>
                <a:gd name="T18" fmla="*/ 93 w 707"/>
                <a:gd name="T19" fmla="*/ 59 h 135"/>
                <a:gd name="T20" fmla="*/ 109 w 707"/>
                <a:gd name="T21" fmla="*/ 53 h 135"/>
                <a:gd name="T22" fmla="*/ 202 w 707"/>
                <a:gd name="T23" fmla="*/ 55 h 135"/>
                <a:gd name="T24" fmla="*/ 215 w 707"/>
                <a:gd name="T25" fmla="*/ 66 h 135"/>
                <a:gd name="T26" fmla="*/ 219 w 707"/>
                <a:gd name="T27" fmla="*/ 82 h 135"/>
                <a:gd name="T28" fmla="*/ 215 w 707"/>
                <a:gd name="T29" fmla="*/ 98 h 135"/>
                <a:gd name="T30" fmla="*/ 202 w 707"/>
                <a:gd name="T31" fmla="*/ 109 h 135"/>
                <a:gd name="T32" fmla="*/ 186 w 707"/>
                <a:gd name="T33" fmla="*/ 110 h 135"/>
                <a:gd name="T34" fmla="*/ 171 w 707"/>
                <a:gd name="T35" fmla="*/ 103 h 135"/>
                <a:gd name="T36" fmla="*/ 162 w 707"/>
                <a:gd name="T37" fmla="*/ 88 h 135"/>
                <a:gd name="T38" fmla="*/ 165 w 707"/>
                <a:gd name="T39" fmla="*/ 72 h 135"/>
                <a:gd name="T40" fmla="*/ 175 w 707"/>
                <a:gd name="T41" fmla="*/ 59 h 135"/>
                <a:gd name="T42" fmla="*/ 190 w 707"/>
                <a:gd name="T43" fmla="*/ 53 h 135"/>
                <a:gd name="T44" fmla="*/ 283 w 707"/>
                <a:gd name="T45" fmla="*/ 55 h 135"/>
                <a:gd name="T46" fmla="*/ 296 w 707"/>
                <a:gd name="T47" fmla="*/ 66 h 135"/>
                <a:gd name="T48" fmla="*/ 300 w 707"/>
                <a:gd name="T49" fmla="*/ 82 h 135"/>
                <a:gd name="T50" fmla="*/ 296 w 707"/>
                <a:gd name="T51" fmla="*/ 98 h 135"/>
                <a:gd name="T52" fmla="*/ 283 w 707"/>
                <a:gd name="T53" fmla="*/ 109 h 135"/>
                <a:gd name="T54" fmla="*/ 267 w 707"/>
                <a:gd name="T55" fmla="*/ 110 h 135"/>
                <a:gd name="T56" fmla="*/ 252 w 707"/>
                <a:gd name="T57" fmla="*/ 103 h 135"/>
                <a:gd name="T58" fmla="*/ 245 w 707"/>
                <a:gd name="T59" fmla="*/ 88 h 135"/>
                <a:gd name="T60" fmla="*/ 246 w 707"/>
                <a:gd name="T61" fmla="*/ 72 h 135"/>
                <a:gd name="T62" fmla="*/ 256 w 707"/>
                <a:gd name="T63" fmla="*/ 59 h 135"/>
                <a:gd name="T64" fmla="*/ 272 w 707"/>
                <a:gd name="T65" fmla="*/ 53 h 135"/>
                <a:gd name="T66" fmla="*/ 706 w 707"/>
                <a:gd name="T67" fmla="*/ 75 h 135"/>
                <a:gd name="T68" fmla="*/ 701 w 707"/>
                <a:gd name="T69" fmla="*/ 52 h 135"/>
                <a:gd name="T70" fmla="*/ 689 w 707"/>
                <a:gd name="T71" fmla="*/ 31 h 135"/>
                <a:gd name="T72" fmla="*/ 671 w 707"/>
                <a:gd name="T73" fmla="*/ 14 h 135"/>
                <a:gd name="T74" fmla="*/ 649 w 707"/>
                <a:gd name="T75" fmla="*/ 3 h 135"/>
                <a:gd name="T76" fmla="*/ 625 w 707"/>
                <a:gd name="T77" fmla="*/ 0 h 135"/>
                <a:gd name="T78" fmla="*/ 66 w 707"/>
                <a:gd name="T79" fmla="*/ 1 h 135"/>
                <a:gd name="T80" fmla="*/ 43 w 707"/>
                <a:gd name="T81" fmla="*/ 9 h 135"/>
                <a:gd name="T82" fmla="*/ 23 w 707"/>
                <a:gd name="T83" fmla="*/ 24 h 135"/>
                <a:gd name="T84" fmla="*/ 9 w 707"/>
                <a:gd name="T85" fmla="*/ 44 h 135"/>
                <a:gd name="T86" fmla="*/ 1 w 707"/>
                <a:gd name="T87" fmla="*/ 66 h 135"/>
                <a:gd name="T88" fmla="*/ 0 w 707"/>
                <a:gd name="T89" fmla="*/ 135 h 135"/>
                <a:gd name="T90" fmla="*/ 707 w 707"/>
                <a:gd name="T91"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7" h="135">
                  <a:moveTo>
                    <a:pt x="109" y="53"/>
                  </a:moveTo>
                  <a:lnTo>
                    <a:pt x="115" y="54"/>
                  </a:lnTo>
                  <a:lnTo>
                    <a:pt x="121" y="55"/>
                  </a:lnTo>
                  <a:lnTo>
                    <a:pt x="125" y="59"/>
                  </a:lnTo>
                  <a:lnTo>
                    <a:pt x="130" y="62"/>
                  </a:lnTo>
                  <a:lnTo>
                    <a:pt x="133" y="66"/>
                  </a:lnTo>
                  <a:lnTo>
                    <a:pt x="136" y="72"/>
                  </a:lnTo>
                  <a:lnTo>
                    <a:pt x="137" y="76"/>
                  </a:lnTo>
                  <a:lnTo>
                    <a:pt x="138" y="82"/>
                  </a:lnTo>
                  <a:lnTo>
                    <a:pt x="137" y="88"/>
                  </a:lnTo>
                  <a:lnTo>
                    <a:pt x="136" y="94"/>
                  </a:lnTo>
                  <a:lnTo>
                    <a:pt x="133" y="98"/>
                  </a:lnTo>
                  <a:lnTo>
                    <a:pt x="130" y="103"/>
                  </a:lnTo>
                  <a:lnTo>
                    <a:pt x="125" y="106"/>
                  </a:lnTo>
                  <a:lnTo>
                    <a:pt x="121" y="109"/>
                  </a:lnTo>
                  <a:lnTo>
                    <a:pt x="115" y="110"/>
                  </a:lnTo>
                  <a:lnTo>
                    <a:pt x="109" y="111"/>
                  </a:lnTo>
                  <a:lnTo>
                    <a:pt x="103" y="110"/>
                  </a:lnTo>
                  <a:lnTo>
                    <a:pt x="99" y="109"/>
                  </a:lnTo>
                  <a:lnTo>
                    <a:pt x="93" y="106"/>
                  </a:lnTo>
                  <a:lnTo>
                    <a:pt x="89" y="103"/>
                  </a:lnTo>
                  <a:lnTo>
                    <a:pt x="86" y="98"/>
                  </a:lnTo>
                  <a:lnTo>
                    <a:pt x="82" y="94"/>
                  </a:lnTo>
                  <a:lnTo>
                    <a:pt x="81" y="88"/>
                  </a:lnTo>
                  <a:lnTo>
                    <a:pt x="81" y="82"/>
                  </a:lnTo>
                  <a:lnTo>
                    <a:pt x="81" y="76"/>
                  </a:lnTo>
                  <a:lnTo>
                    <a:pt x="82" y="72"/>
                  </a:lnTo>
                  <a:lnTo>
                    <a:pt x="86" y="66"/>
                  </a:lnTo>
                  <a:lnTo>
                    <a:pt x="89" y="62"/>
                  </a:lnTo>
                  <a:lnTo>
                    <a:pt x="93" y="59"/>
                  </a:lnTo>
                  <a:lnTo>
                    <a:pt x="99" y="55"/>
                  </a:lnTo>
                  <a:lnTo>
                    <a:pt x="103" y="54"/>
                  </a:lnTo>
                  <a:lnTo>
                    <a:pt x="109" y="53"/>
                  </a:lnTo>
                  <a:close/>
                  <a:moveTo>
                    <a:pt x="190" y="53"/>
                  </a:moveTo>
                  <a:lnTo>
                    <a:pt x="196" y="54"/>
                  </a:lnTo>
                  <a:lnTo>
                    <a:pt x="202" y="55"/>
                  </a:lnTo>
                  <a:lnTo>
                    <a:pt x="206" y="59"/>
                  </a:lnTo>
                  <a:lnTo>
                    <a:pt x="211" y="62"/>
                  </a:lnTo>
                  <a:lnTo>
                    <a:pt x="215" y="66"/>
                  </a:lnTo>
                  <a:lnTo>
                    <a:pt x="217" y="72"/>
                  </a:lnTo>
                  <a:lnTo>
                    <a:pt x="219" y="76"/>
                  </a:lnTo>
                  <a:lnTo>
                    <a:pt x="219" y="82"/>
                  </a:lnTo>
                  <a:lnTo>
                    <a:pt x="219" y="88"/>
                  </a:lnTo>
                  <a:lnTo>
                    <a:pt x="217" y="94"/>
                  </a:lnTo>
                  <a:lnTo>
                    <a:pt x="215" y="98"/>
                  </a:lnTo>
                  <a:lnTo>
                    <a:pt x="211" y="103"/>
                  </a:lnTo>
                  <a:lnTo>
                    <a:pt x="206" y="106"/>
                  </a:lnTo>
                  <a:lnTo>
                    <a:pt x="202" y="109"/>
                  </a:lnTo>
                  <a:lnTo>
                    <a:pt x="196" y="110"/>
                  </a:lnTo>
                  <a:lnTo>
                    <a:pt x="190" y="111"/>
                  </a:lnTo>
                  <a:lnTo>
                    <a:pt x="186" y="110"/>
                  </a:lnTo>
                  <a:lnTo>
                    <a:pt x="180" y="109"/>
                  </a:lnTo>
                  <a:lnTo>
                    <a:pt x="175" y="106"/>
                  </a:lnTo>
                  <a:lnTo>
                    <a:pt x="171" y="103"/>
                  </a:lnTo>
                  <a:lnTo>
                    <a:pt x="167" y="98"/>
                  </a:lnTo>
                  <a:lnTo>
                    <a:pt x="165" y="94"/>
                  </a:lnTo>
                  <a:lnTo>
                    <a:pt x="162" y="88"/>
                  </a:lnTo>
                  <a:lnTo>
                    <a:pt x="162" y="82"/>
                  </a:lnTo>
                  <a:lnTo>
                    <a:pt x="162" y="76"/>
                  </a:lnTo>
                  <a:lnTo>
                    <a:pt x="165" y="72"/>
                  </a:lnTo>
                  <a:lnTo>
                    <a:pt x="167" y="66"/>
                  </a:lnTo>
                  <a:lnTo>
                    <a:pt x="171" y="62"/>
                  </a:lnTo>
                  <a:lnTo>
                    <a:pt x="175" y="59"/>
                  </a:lnTo>
                  <a:lnTo>
                    <a:pt x="180" y="55"/>
                  </a:lnTo>
                  <a:lnTo>
                    <a:pt x="186" y="54"/>
                  </a:lnTo>
                  <a:lnTo>
                    <a:pt x="190" y="53"/>
                  </a:lnTo>
                  <a:close/>
                  <a:moveTo>
                    <a:pt x="272" y="53"/>
                  </a:moveTo>
                  <a:lnTo>
                    <a:pt x="278" y="54"/>
                  </a:lnTo>
                  <a:lnTo>
                    <a:pt x="283" y="55"/>
                  </a:lnTo>
                  <a:lnTo>
                    <a:pt x="289" y="59"/>
                  </a:lnTo>
                  <a:lnTo>
                    <a:pt x="292" y="62"/>
                  </a:lnTo>
                  <a:lnTo>
                    <a:pt x="296" y="66"/>
                  </a:lnTo>
                  <a:lnTo>
                    <a:pt x="299" y="72"/>
                  </a:lnTo>
                  <a:lnTo>
                    <a:pt x="300" y="76"/>
                  </a:lnTo>
                  <a:lnTo>
                    <a:pt x="300" y="82"/>
                  </a:lnTo>
                  <a:lnTo>
                    <a:pt x="300" y="88"/>
                  </a:lnTo>
                  <a:lnTo>
                    <a:pt x="299" y="94"/>
                  </a:lnTo>
                  <a:lnTo>
                    <a:pt x="296" y="98"/>
                  </a:lnTo>
                  <a:lnTo>
                    <a:pt x="292" y="103"/>
                  </a:lnTo>
                  <a:lnTo>
                    <a:pt x="289" y="106"/>
                  </a:lnTo>
                  <a:lnTo>
                    <a:pt x="283" y="109"/>
                  </a:lnTo>
                  <a:lnTo>
                    <a:pt x="278" y="110"/>
                  </a:lnTo>
                  <a:lnTo>
                    <a:pt x="272" y="111"/>
                  </a:lnTo>
                  <a:lnTo>
                    <a:pt x="267" y="110"/>
                  </a:lnTo>
                  <a:lnTo>
                    <a:pt x="261" y="109"/>
                  </a:lnTo>
                  <a:lnTo>
                    <a:pt x="256" y="106"/>
                  </a:lnTo>
                  <a:lnTo>
                    <a:pt x="252" y="103"/>
                  </a:lnTo>
                  <a:lnTo>
                    <a:pt x="248" y="98"/>
                  </a:lnTo>
                  <a:lnTo>
                    <a:pt x="246" y="94"/>
                  </a:lnTo>
                  <a:lnTo>
                    <a:pt x="245" y="88"/>
                  </a:lnTo>
                  <a:lnTo>
                    <a:pt x="243" y="82"/>
                  </a:lnTo>
                  <a:lnTo>
                    <a:pt x="245" y="76"/>
                  </a:lnTo>
                  <a:lnTo>
                    <a:pt x="246" y="72"/>
                  </a:lnTo>
                  <a:lnTo>
                    <a:pt x="248" y="66"/>
                  </a:lnTo>
                  <a:lnTo>
                    <a:pt x="252" y="62"/>
                  </a:lnTo>
                  <a:lnTo>
                    <a:pt x="256" y="59"/>
                  </a:lnTo>
                  <a:lnTo>
                    <a:pt x="261" y="55"/>
                  </a:lnTo>
                  <a:lnTo>
                    <a:pt x="267" y="54"/>
                  </a:lnTo>
                  <a:lnTo>
                    <a:pt x="272" y="53"/>
                  </a:lnTo>
                  <a:close/>
                  <a:moveTo>
                    <a:pt x="707" y="135"/>
                  </a:moveTo>
                  <a:lnTo>
                    <a:pt x="707" y="83"/>
                  </a:lnTo>
                  <a:lnTo>
                    <a:pt x="706" y="75"/>
                  </a:lnTo>
                  <a:lnTo>
                    <a:pt x="706" y="67"/>
                  </a:lnTo>
                  <a:lnTo>
                    <a:pt x="703" y="59"/>
                  </a:lnTo>
                  <a:lnTo>
                    <a:pt x="701" y="52"/>
                  </a:lnTo>
                  <a:lnTo>
                    <a:pt x="698" y="44"/>
                  </a:lnTo>
                  <a:lnTo>
                    <a:pt x="694" y="37"/>
                  </a:lnTo>
                  <a:lnTo>
                    <a:pt x="689" y="31"/>
                  </a:lnTo>
                  <a:lnTo>
                    <a:pt x="684" y="24"/>
                  </a:lnTo>
                  <a:lnTo>
                    <a:pt x="678" y="18"/>
                  </a:lnTo>
                  <a:lnTo>
                    <a:pt x="671" y="14"/>
                  </a:lnTo>
                  <a:lnTo>
                    <a:pt x="664" y="9"/>
                  </a:lnTo>
                  <a:lnTo>
                    <a:pt x="657" y="6"/>
                  </a:lnTo>
                  <a:lnTo>
                    <a:pt x="649" y="3"/>
                  </a:lnTo>
                  <a:lnTo>
                    <a:pt x="641" y="1"/>
                  </a:lnTo>
                  <a:lnTo>
                    <a:pt x="633" y="0"/>
                  </a:lnTo>
                  <a:lnTo>
                    <a:pt x="625" y="0"/>
                  </a:lnTo>
                  <a:lnTo>
                    <a:pt x="82" y="0"/>
                  </a:lnTo>
                  <a:lnTo>
                    <a:pt x="74" y="0"/>
                  </a:lnTo>
                  <a:lnTo>
                    <a:pt x="66" y="1"/>
                  </a:lnTo>
                  <a:lnTo>
                    <a:pt x="58" y="3"/>
                  </a:lnTo>
                  <a:lnTo>
                    <a:pt x="50" y="6"/>
                  </a:lnTo>
                  <a:lnTo>
                    <a:pt x="43" y="9"/>
                  </a:lnTo>
                  <a:lnTo>
                    <a:pt x="36" y="14"/>
                  </a:lnTo>
                  <a:lnTo>
                    <a:pt x="29" y="18"/>
                  </a:lnTo>
                  <a:lnTo>
                    <a:pt x="23" y="24"/>
                  </a:lnTo>
                  <a:lnTo>
                    <a:pt x="18" y="30"/>
                  </a:lnTo>
                  <a:lnTo>
                    <a:pt x="13" y="37"/>
                  </a:lnTo>
                  <a:lnTo>
                    <a:pt x="9" y="44"/>
                  </a:lnTo>
                  <a:lnTo>
                    <a:pt x="6" y="51"/>
                  </a:lnTo>
                  <a:lnTo>
                    <a:pt x="4" y="59"/>
                  </a:lnTo>
                  <a:lnTo>
                    <a:pt x="1" y="66"/>
                  </a:lnTo>
                  <a:lnTo>
                    <a:pt x="0" y="74"/>
                  </a:lnTo>
                  <a:lnTo>
                    <a:pt x="0" y="82"/>
                  </a:lnTo>
                  <a:lnTo>
                    <a:pt x="0" y="135"/>
                  </a:lnTo>
                  <a:lnTo>
                    <a:pt x="0" y="135"/>
                  </a:lnTo>
                  <a:lnTo>
                    <a:pt x="1" y="135"/>
                  </a:lnTo>
                  <a:lnTo>
                    <a:pt x="707"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59" name="Freeform 4779">
              <a:extLst>
                <a:ext uri="{FF2B5EF4-FFF2-40B4-BE49-F238E27FC236}">
                  <a16:creationId xmlns:a16="http://schemas.microsoft.com/office/drawing/2014/main" id="{C7997D61-0BA8-4D7F-80A4-BB0CDA0DDDC9}"/>
                </a:ext>
              </a:extLst>
            </p:cNvPr>
            <p:cNvSpPr>
              <a:spLocks/>
            </p:cNvSpPr>
            <p:nvPr/>
          </p:nvSpPr>
          <p:spPr bwMode="auto">
            <a:xfrm>
              <a:off x="3817938" y="3989388"/>
              <a:ext cx="225425" cy="128588"/>
            </a:xfrm>
            <a:custGeom>
              <a:avLst/>
              <a:gdLst>
                <a:gd name="T0" fmla="*/ 78 w 708"/>
                <a:gd name="T1" fmla="*/ 405 h 405"/>
                <a:gd name="T2" fmla="*/ 80 w 708"/>
                <a:gd name="T3" fmla="*/ 405 h 405"/>
                <a:gd name="T4" fmla="*/ 81 w 708"/>
                <a:gd name="T5" fmla="*/ 405 h 405"/>
                <a:gd name="T6" fmla="*/ 626 w 708"/>
                <a:gd name="T7" fmla="*/ 405 h 405"/>
                <a:gd name="T8" fmla="*/ 635 w 708"/>
                <a:gd name="T9" fmla="*/ 405 h 405"/>
                <a:gd name="T10" fmla="*/ 643 w 708"/>
                <a:gd name="T11" fmla="*/ 403 h 405"/>
                <a:gd name="T12" fmla="*/ 651 w 708"/>
                <a:gd name="T13" fmla="*/ 401 h 405"/>
                <a:gd name="T14" fmla="*/ 659 w 708"/>
                <a:gd name="T15" fmla="*/ 398 h 405"/>
                <a:gd name="T16" fmla="*/ 666 w 708"/>
                <a:gd name="T17" fmla="*/ 394 h 405"/>
                <a:gd name="T18" fmla="*/ 673 w 708"/>
                <a:gd name="T19" fmla="*/ 391 h 405"/>
                <a:gd name="T20" fmla="*/ 680 w 708"/>
                <a:gd name="T21" fmla="*/ 385 h 405"/>
                <a:gd name="T22" fmla="*/ 686 w 708"/>
                <a:gd name="T23" fmla="*/ 379 h 405"/>
                <a:gd name="T24" fmla="*/ 692 w 708"/>
                <a:gd name="T25" fmla="*/ 373 h 405"/>
                <a:gd name="T26" fmla="*/ 695 w 708"/>
                <a:gd name="T27" fmla="*/ 368 h 405"/>
                <a:gd name="T28" fmla="*/ 700 w 708"/>
                <a:gd name="T29" fmla="*/ 361 h 405"/>
                <a:gd name="T30" fmla="*/ 702 w 708"/>
                <a:gd name="T31" fmla="*/ 354 h 405"/>
                <a:gd name="T32" fmla="*/ 704 w 708"/>
                <a:gd name="T33" fmla="*/ 347 h 405"/>
                <a:gd name="T34" fmla="*/ 707 w 708"/>
                <a:gd name="T35" fmla="*/ 340 h 405"/>
                <a:gd name="T36" fmla="*/ 707 w 708"/>
                <a:gd name="T37" fmla="*/ 332 h 405"/>
                <a:gd name="T38" fmla="*/ 708 w 708"/>
                <a:gd name="T39" fmla="*/ 325 h 405"/>
                <a:gd name="T40" fmla="*/ 708 w 708"/>
                <a:gd name="T41" fmla="*/ 0 h 405"/>
                <a:gd name="T42" fmla="*/ 2 w 708"/>
                <a:gd name="T43" fmla="*/ 0 h 405"/>
                <a:gd name="T44" fmla="*/ 1 w 708"/>
                <a:gd name="T45" fmla="*/ 0 h 405"/>
                <a:gd name="T46" fmla="*/ 1 w 708"/>
                <a:gd name="T47" fmla="*/ 0 h 405"/>
                <a:gd name="T48" fmla="*/ 1 w 708"/>
                <a:gd name="T49" fmla="*/ 202 h 405"/>
                <a:gd name="T50" fmla="*/ 0 w 708"/>
                <a:gd name="T51" fmla="*/ 326 h 405"/>
                <a:gd name="T52" fmla="*/ 1 w 708"/>
                <a:gd name="T53" fmla="*/ 334 h 405"/>
                <a:gd name="T54" fmla="*/ 2 w 708"/>
                <a:gd name="T55" fmla="*/ 342 h 405"/>
                <a:gd name="T56" fmla="*/ 4 w 708"/>
                <a:gd name="T57" fmla="*/ 349 h 405"/>
                <a:gd name="T58" fmla="*/ 7 w 708"/>
                <a:gd name="T59" fmla="*/ 356 h 405"/>
                <a:gd name="T60" fmla="*/ 9 w 708"/>
                <a:gd name="T61" fmla="*/ 363 h 405"/>
                <a:gd name="T62" fmla="*/ 14 w 708"/>
                <a:gd name="T63" fmla="*/ 370 h 405"/>
                <a:gd name="T64" fmla="*/ 19 w 708"/>
                <a:gd name="T65" fmla="*/ 376 h 405"/>
                <a:gd name="T66" fmla="*/ 23 w 708"/>
                <a:gd name="T67" fmla="*/ 381 h 405"/>
                <a:gd name="T68" fmla="*/ 29 w 708"/>
                <a:gd name="T69" fmla="*/ 387 h 405"/>
                <a:gd name="T70" fmla="*/ 35 w 708"/>
                <a:gd name="T71" fmla="*/ 392 h 405"/>
                <a:gd name="T72" fmla="*/ 41 w 708"/>
                <a:gd name="T73" fmla="*/ 395 h 405"/>
                <a:gd name="T74" fmla="*/ 48 w 708"/>
                <a:gd name="T75" fmla="*/ 399 h 405"/>
                <a:gd name="T76" fmla="*/ 55 w 708"/>
                <a:gd name="T77" fmla="*/ 401 h 405"/>
                <a:gd name="T78" fmla="*/ 61 w 708"/>
                <a:gd name="T79" fmla="*/ 403 h 405"/>
                <a:gd name="T80" fmla="*/ 70 w 708"/>
                <a:gd name="T81" fmla="*/ 405 h 405"/>
                <a:gd name="T82" fmla="*/ 78 w 708"/>
                <a:gd name="T83" fmla="*/ 405 h 405"/>
                <a:gd name="T84" fmla="*/ 78 w 708"/>
                <a:gd name="T85" fmla="*/ 40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8" h="405">
                  <a:moveTo>
                    <a:pt x="78" y="405"/>
                  </a:moveTo>
                  <a:lnTo>
                    <a:pt x="80" y="405"/>
                  </a:lnTo>
                  <a:lnTo>
                    <a:pt x="81" y="405"/>
                  </a:lnTo>
                  <a:lnTo>
                    <a:pt x="626" y="405"/>
                  </a:lnTo>
                  <a:lnTo>
                    <a:pt x="635" y="405"/>
                  </a:lnTo>
                  <a:lnTo>
                    <a:pt x="643" y="403"/>
                  </a:lnTo>
                  <a:lnTo>
                    <a:pt x="651" y="401"/>
                  </a:lnTo>
                  <a:lnTo>
                    <a:pt x="659" y="398"/>
                  </a:lnTo>
                  <a:lnTo>
                    <a:pt x="666" y="394"/>
                  </a:lnTo>
                  <a:lnTo>
                    <a:pt x="673" y="391"/>
                  </a:lnTo>
                  <a:lnTo>
                    <a:pt x="680" y="385"/>
                  </a:lnTo>
                  <a:lnTo>
                    <a:pt x="686" y="379"/>
                  </a:lnTo>
                  <a:lnTo>
                    <a:pt x="692" y="373"/>
                  </a:lnTo>
                  <a:lnTo>
                    <a:pt x="695" y="368"/>
                  </a:lnTo>
                  <a:lnTo>
                    <a:pt x="700" y="361"/>
                  </a:lnTo>
                  <a:lnTo>
                    <a:pt x="702" y="354"/>
                  </a:lnTo>
                  <a:lnTo>
                    <a:pt x="704" y="347"/>
                  </a:lnTo>
                  <a:lnTo>
                    <a:pt x="707" y="340"/>
                  </a:lnTo>
                  <a:lnTo>
                    <a:pt x="707" y="332"/>
                  </a:lnTo>
                  <a:lnTo>
                    <a:pt x="708" y="325"/>
                  </a:lnTo>
                  <a:lnTo>
                    <a:pt x="708" y="0"/>
                  </a:lnTo>
                  <a:lnTo>
                    <a:pt x="2" y="0"/>
                  </a:lnTo>
                  <a:lnTo>
                    <a:pt x="1" y="0"/>
                  </a:lnTo>
                  <a:lnTo>
                    <a:pt x="1" y="0"/>
                  </a:lnTo>
                  <a:lnTo>
                    <a:pt x="1" y="202"/>
                  </a:lnTo>
                  <a:lnTo>
                    <a:pt x="0" y="326"/>
                  </a:lnTo>
                  <a:lnTo>
                    <a:pt x="1" y="334"/>
                  </a:lnTo>
                  <a:lnTo>
                    <a:pt x="2" y="342"/>
                  </a:lnTo>
                  <a:lnTo>
                    <a:pt x="4" y="349"/>
                  </a:lnTo>
                  <a:lnTo>
                    <a:pt x="7" y="356"/>
                  </a:lnTo>
                  <a:lnTo>
                    <a:pt x="9" y="363"/>
                  </a:lnTo>
                  <a:lnTo>
                    <a:pt x="14" y="370"/>
                  </a:lnTo>
                  <a:lnTo>
                    <a:pt x="19" y="376"/>
                  </a:lnTo>
                  <a:lnTo>
                    <a:pt x="23" y="381"/>
                  </a:lnTo>
                  <a:lnTo>
                    <a:pt x="29" y="387"/>
                  </a:lnTo>
                  <a:lnTo>
                    <a:pt x="35" y="392"/>
                  </a:lnTo>
                  <a:lnTo>
                    <a:pt x="41" y="395"/>
                  </a:lnTo>
                  <a:lnTo>
                    <a:pt x="48" y="399"/>
                  </a:lnTo>
                  <a:lnTo>
                    <a:pt x="55" y="401"/>
                  </a:lnTo>
                  <a:lnTo>
                    <a:pt x="61" y="403"/>
                  </a:lnTo>
                  <a:lnTo>
                    <a:pt x="70" y="405"/>
                  </a:lnTo>
                  <a:lnTo>
                    <a:pt x="78" y="405"/>
                  </a:lnTo>
                  <a:lnTo>
                    <a:pt x="78"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60" name="Freeform 4780">
              <a:extLst>
                <a:ext uri="{FF2B5EF4-FFF2-40B4-BE49-F238E27FC236}">
                  <a16:creationId xmlns:a16="http://schemas.microsoft.com/office/drawing/2014/main" id="{CA288D8F-4A3F-4BF0-B00E-A424D3EB53A8}"/>
                </a:ext>
              </a:extLst>
            </p:cNvPr>
            <p:cNvSpPr>
              <a:spLocks noEditPoints="1"/>
            </p:cNvSpPr>
            <p:nvPr/>
          </p:nvSpPr>
          <p:spPr bwMode="auto">
            <a:xfrm>
              <a:off x="3756025" y="4117975"/>
              <a:ext cx="57150" cy="104775"/>
            </a:xfrm>
            <a:custGeom>
              <a:avLst/>
              <a:gdLst>
                <a:gd name="T0" fmla="*/ 91 w 181"/>
                <a:gd name="T1" fmla="*/ 269 h 330"/>
                <a:gd name="T2" fmla="*/ 85 w 181"/>
                <a:gd name="T3" fmla="*/ 269 h 330"/>
                <a:gd name="T4" fmla="*/ 79 w 181"/>
                <a:gd name="T5" fmla="*/ 267 h 330"/>
                <a:gd name="T6" fmla="*/ 75 w 181"/>
                <a:gd name="T7" fmla="*/ 265 h 330"/>
                <a:gd name="T8" fmla="*/ 70 w 181"/>
                <a:gd name="T9" fmla="*/ 261 h 330"/>
                <a:gd name="T10" fmla="*/ 66 w 181"/>
                <a:gd name="T11" fmla="*/ 257 h 330"/>
                <a:gd name="T12" fmla="*/ 63 w 181"/>
                <a:gd name="T13" fmla="*/ 252 h 330"/>
                <a:gd name="T14" fmla="*/ 62 w 181"/>
                <a:gd name="T15" fmla="*/ 246 h 330"/>
                <a:gd name="T16" fmla="*/ 61 w 181"/>
                <a:gd name="T17" fmla="*/ 241 h 330"/>
                <a:gd name="T18" fmla="*/ 62 w 181"/>
                <a:gd name="T19" fmla="*/ 234 h 330"/>
                <a:gd name="T20" fmla="*/ 63 w 181"/>
                <a:gd name="T21" fmla="*/ 228 h 330"/>
                <a:gd name="T22" fmla="*/ 66 w 181"/>
                <a:gd name="T23" fmla="*/ 223 h 330"/>
                <a:gd name="T24" fmla="*/ 70 w 181"/>
                <a:gd name="T25" fmla="*/ 219 h 330"/>
                <a:gd name="T26" fmla="*/ 75 w 181"/>
                <a:gd name="T27" fmla="*/ 215 h 330"/>
                <a:gd name="T28" fmla="*/ 79 w 181"/>
                <a:gd name="T29" fmla="*/ 213 h 330"/>
                <a:gd name="T30" fmla="*/ 85 w 181"/>
                <a:gd name="T31" fmla="*/ 210 h 330"/>
                <a:gd name="T32" fmla="*/ 91 w 181"/>
                <a:gd name="T33" fmla="*/ 210 h 330"/>
                <a:gd name="T34" fmla="*/ 97 w 181"/>
                <a:gd name="T35" fmla="*/ 210 h 330"/>
                <a:gd name="T36" fmla="*/ 102 w 181"/>
                <a:gd name="T37" fmla="*/ 213 h 330"/>
                <a:gd name="T38" fmla="*/ 108 w 181"/>
                <a:gd name="T39" fmla="*/ 215 h 330"/>
                <a:gd name="T40" fmla="*/ 113 w 181"/>
                <a:gd name="T41" fmla="*/ 219 h 330"/>
                <a:gd name="T42" fmla="*/ 116 w 181"/>
                <a:gd name="T43" fmla="*/ 223 h 330"/>
                <a:gd name="T44" fmla="*/ 119 w 181"/>
                <a:gd name="T45" fmla="*/ 228 h 330"/>
                <a:gd name="T46" fmla="*/ 121 w 181"/>
                <a:gd name="T47" fmla="*/ 234 h 330"/>
                <a:gd name="T48" fmla="*/ 121 w 181"/>
                <a:gd name="T49" fmla="*/ 241 h 330"/>
                <a:gd name="T50" fmla="*/ 121 w 181"/>
                <a:gd name="T51" fmla="*/ 246 h 330"/>
                <a:gd name="T52" fmla="*/ 119 w 181"/>
                <a:gd name="T53" fmla="*/ 252 h 330"/>
                <a:gd name="T54" fmla="*/ 116 w 181"/>
                <a:gd name="T55" fmla="*/ 257 h 330"/>
                <a:gd name="T56" fmla="*/ 113 w 181"/>
                <a:gd name="T57" fmla="*/ 261 h 330"/>
                <a:gd name="T58" fmla="*/ 108 w 181"/>
                <a:gd name="T59" fmla="*/ 265 h 330"/>
                <a:gd name="T60" fmla="*/ 102 w 181"/>
                <a:gd name="T61" fmla="*/ 267 h 330"/>
                <a:gd name="T62" fmla="*/ 97 w 181"/>
                <a:gd name="T63" fmla="*/ 269 h 330"/>
                <a:gd name="T64" fmla="*/ 91 w 181"/>
                <a:gd name="T65" fmla="*/ 269 h 330"/>
                <a:gd name="T66" fmla="*/ 91 w 181"/>
                <a:gd name="T67" fmla="*/ 269 h 330"/>
                <a:gd name="T68" fmla="*/ 166 w 181"/>
                <a:gd name="T69" fmla="*/ 0 h 330"/>
                <a:gd name="T70" fmla="*/ 16 w 181"/>
                <a:gd name="T71" fmla="*/ 0 h 330"/>
                <a:gd name="T72" fmla="*/ 10 w 181"/>
                <a:gd name="T73" fmla="*/ 1 h 330"/>
                <a:gd name="T74" fmla="*/ 5 w 181"/>
                <a:gd name="T75" fmla="*/ 4 h 330"/>
                <a:gd name="T76" fmla="*/ 2 w 181"/>
                <a:gd name="T77" fmla="*/ 9 h 330"/>
                <a:gd name="T78" fmla="*/ 0 w 181"/>
                <a:gd name="T79" fmla="*/ 15 h 330"/>
                <a:gd name="T80" fmla="*/ 0 w 181"/>
                <a:gd name="T81" fmla="*/ 315 h 330"/>
                <a:gd name="T82" fmla="*/ 2 w 181"/>
                <a:gd name="T83" fmla="*/ 320 h 330"/>
                <a:gd name="T84" fmla="*/ 5 w 181"/>
                <a:gd name="T85" fmla="*/ 326 h 330"/>
                <a:gd name="T86" fmla="*/ 10 w 181"/>
                <a:gd name="T87" fmla="*/ 329 h 330"/>
                <a:gd name="T88" fmla="*/ 16 w 181"/>
                <a:gd name="T89" fmla="*/ 330 h 330"/>
                <a:gd name="T90" fmla="*/ 166 w 181"/>
                <a:gd name="T91" fmla="*/ 330 h 330"/>
                <a:gd name="T92" fmla="*/ 172 w 181"/>
                <a:gd name="T93" fmla="*/ 329 h 330"/>
                <a:gd name="T94" fmla="*/ 177 w 181"/>
                <a:gd name="T95" fmla="*/ 326 h 330"/>
                <a:gd name="T96" fmla="*/ 180 w 181"/>
                <a:gd name="T97" fmla="*/ 320 h 330"/>
                <a:gd name="T98" fmla="*/ 181 w 181"/>
                <a:gd name="T99" fmla="*/ 315 h 330"/>
                <a:gd name="T100" fmla="*/ 181 w 181"/>
                <a:gd name="T101" fmla="*/ 15 h 330"/>
                <a:gd name="T102" fmla="*/ 180 w 181"/>
                <a:gd name="T103" fmla="*/ 9 h 330"/>
                <a:gd name="T104" fmla="*/ 177 w 181"/>
                <a:gd name="T105" fmla="*/ 4 h 330"/>
                <a:gd name="T106" fmla="*/ 172 w 181"/>
                <a:gd name="T107" fmla="*/ 1 h 330"/>
                <a:gd name="T108" fmla="*/ 166 w 181"/>
                <a:gd name="T109" fmla="*/ 0 h 330"/>
                <a:gd name="T110" fmla="*/ 166 w 181"/>
                <a:gd name="T111"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1" h="330">
                  <a:moveTo>
                    <a:pt x="91" y="269"/>
                  </a:moveTo>
                  <a:lnTo>
                    <a:pt x="85" y="269"/>
                  </a:lnTo>
                  <a:lnTo>
                    <a:pt x="79" y="267"/>
                  </a:lnTo>
                  <a:lnTo>
                    <a:pt x="75" y="265"/>
                  </a:lnTo>
                  <a:lnTo>
                    <a:pt x="70" y="261"/>
                  </a:lnTo>
                  <a:lnTo>
                    <a:pt x="66" y="257"/>
                  </a:lnTo>
                  <a:lnTo>
                    <a:pt x="63" y="252"/>
                  </a:lnTo>
                  <a:lnTo>
                    <a:pt x="62" y="246"/>
                  </a:lnTo>
                  <a:lnTo>
                    <a:pt x="61" y="241"/>
                  </a:lnTo>
                  <a:lnTo>
                    <a:pt x="62" y="234"/>
                  </a:lnTo>
                  <a:lnTo>
                    <a:pt x="63" y="228"/>
                  </a:lnTo>
                  <a:lnTo>
                    <a:pt x="66" y="223"/>
                  </a:lnTo>
                  <a:lnTo>
                    <a:pt x="70" y="219"/>
                  </a:lnTo>
                  <a:lnTo>
                    <a:pt x="75" y="215"/>
                  </a:lnTo>
                  <a:lnTo>
                    <a:pt x="79" y="213"/>
                  </a:lnTo>
                  <a:lnTo>
                    <a:pt x="85" y="210"/>
                  </a:lnTo>
                  <a:lnTo>
                    <a:pt x="91" y="210"/>
                  </a:lnTo>
                  <a:lnTo>
                    <a:pt x="97" y="210"/>
                  </a:lnTo>
                  <a:lnTo>
                    <a:pt x="102" y="213"/>
                  </a:lnTo>
                  <a:lnTo>
                    <a:pt x="108" y="215"/>
                  </a:lnTo>
                  <a:lnTo>
                    <a:pt x="113" y="219"/>
                  </a:lnTo>
                  <a:lnTo>
                    <a:pt x="116" y="223"/>
                  </a:lnTo>
                  <a:lnTo>
                    <a:pt x="119" y="228"/>
                  </a:lnTo>
                  <a:lnTo>
                    <a:pt x="121" y="234"/>
                  </a:lnTo>
                  <a:lnTo>
                    <a:pt x="121" y="241"/>
                  </a:lnTo>
                  <a:lnTo>
                    <a:pt x="121" y="246"/>
                  </a:lnTo>
                  <a:lnTo>
                    <a:pt x="119" y="252"/>
                  </a:lnTo>
                  <a:lnTo>
                    <a:pt x="116" y="257"/>
                  </a:lnTo>
                  <a:lnTo>
                    <a:pt x="113" y="261"/>
                  </a:lnTo>
                  <a:lnTo>
                    <a:pt x="108" y="265"/>
                  </a:lnTo>
                  <a:lnTo>
                    <a:pt x="102" y="267"/>
                  </a:lnTo>
                  <a:lnTo>
                    <a:pt x="97" y="269"/>
                  </a:lnTo>
                  <a:lnTo>
                    <a:pt x="91" y="269"/>
                  </a:lnTo>
                  <a:lnTo>
                    <a:pt x="91" y="269"/>
                  </a:lnTo>
                  <a:close/>
                  <a:moveTo>
                    <a:pt x="166" y="0"/>
                  </a:moveTo>
                  <a:lnTo>
                    <a:pt x="16" y="0"/>
                  </a:lnTo>
                  <a:lnTo>
                    <a:pt x="10" y="1"/>
                  </a:lnTo>
                  <a:lnTo>
                    <a:pt x="5" y="4"/>
                  </a:lnTo>
                  <a:lnTo>
                    <a:pt x="2" y="9"/>
                  </a:lnTo>
                  <a:lnTo>
                    <a:pt x="0" y="15"/>
                  </a:lnTo>
                  <a:lnTo>
                    <a:pt x="0" y="315"/>
                  </a:lnTo>
                  <a:lnTo>
                    <a:pt x="2" y="320"/>
                  </a:lnTo>
                  <a:lnTo>
                    <a:pt x="5" y="326"/>
                  </a:lnTo>
                  <a:lnTo>
                    <a:pt x="10" y="329"/>
                  </a:lnTo>
                  <a:lnTo>
                    <a:pt x="16" y="330"/>
                  </a:lnTo>
                  <a:lnTo>
                    <a:pt x="166" y="330"/>
                  </a:lnTo>
                  <a:lnTo>
                    <a:pt x="172" y="329"/>
                  </a:lnTo>
                  <a:lnTo>
                    <a:pt x="177" y="326"/>
                  </a:lnTo>
                  <a:lnTo>
                    <a:pt x="180" y="320"/>
                  </a:lnTo>
                  <a:lnTo>
                    <a:pt x="181" y="315"/>
                  </a:lnTo>
                  <a:lnTo>
                    <a:pt x="181" y="15"/>
                  </a:lnTo>
                  <a:lnTo>
                    <a:pt x="180" y="9"/>
                  </a:lnTo>
                  <a:lnTo>
                    <a:pt x="177" y="4"/>
                  </a:lnTo>
                  <a:lnTo>
                    <a:pt x="172" y="1"/>
                  </a:lnTo>
                  <a:lnTo>
                    <a:pt x="166"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61" name="Freeform 4781">
              <a:extLst>
                <a:ext uri="{FF2B5EF4-FFF2-40B4-BE49-F238E27FC236}">
                  <a16:creationId xmlns:a16="http://schemas.microsoft.com/office/drawing/2014/main" id="{14F99503-B545-4876-910C-71BCAAD5A4BA}"/>
                </a:ext>
              </a:extLst>
            </p:cNvPr>
            <p:cNvSpPr>
              <a:spLocks/>
            </p:cNvSpPr>
            <p:nvPr/>
          </p:nvSpPr>
          <p:spPr bwMode="auto">
            <a:xfrm>
              <a:off x="3822700" y="4137025"/>
              <a:ext cx="219075" cy="76200"/>
            </a:xfrm>
            <a:custGeom>
              <a:avLst/>
              <a:gdLst>
                <a:gd name="T0" fmla="*/ 310 w 691"/>
                <a:gd name="T1" fmla="*/ 90 h 240"/>
                <a:gd name="T2" fmla="*/ 121 w 691"/>
                <a:gd name="T3" fmla="*/ 90 h 240"/>
                <a:gd name="T4" fmla="*/ 70 w 691"/>
                <a:gd name="T5" fmla="*/ 89 h 240"/>
                <a:gd name="T6" fmla="*/ 62 w 691"/>
                <a:gd name="T7" fmla="*/ 81 h 240"/>
                <a:gd name="T8" fmla="*/ 62 w 691"/>
                <a:gd name="T9" fmla="*/ 69 h 240"/>
                <a:gd name="T10" fmla="*/ 70 w 691"/>
                <a:gd name="T11" fmla="*/ 61 h 240"/>
                <a:gd name="T12" fmla="*/ 286 w 691"/>
                <a:gd name="T13" fmla="*/ 60 h 240"/>
                <a:gd name="T14" fmla="*/ 263 w 691"/>
                <a:gd name="T15" fmla="*/ 39 h 240"/>
                <a:gd name="T16" fmla="*/ 234 w 691"/>
                <a:gd name="T17" fmla="*/ 20 h 240"/>
                <a:gd name="T18" fmla="*/ 196 w 691"/>
                <a:gd name="T19" fmla="*/ 6 h 240"/>
                <a:gd name="T20" fmla="*/ 174 w 691"/>
                <a:gd name="T21" fmla="*/ 1 h 240"/>
                <a:gd name="T22" fmla="*/ 151 w 691"/>
                <a:gd name="T23" fmla="*/ 0 h 240"/>
                <a:gd name="T24" fmla="*/ 10 w 691"/>
                <a:gd name="T25" fmla="*/ 1 h 240"/>
                <a:gd name="T26" fmla="*/ 1 w 691"/>
                <a:gd name="T27" fmla="*/ 9 h 240"/>
                <a:gd name="T28" fmla="*/ 0 w 691"/>
                <a:gd name="T29" fmla="*/ 225 h 240"/>
                <a:gd name="T30" fmla="*/ 5 w 691"/>
                <a:gd name="T31" fmla="*/ 236 h 240"/>
                <a:gd name="T32" fmla="*/ 15 w 691"/>
                <a:gd name="T33" fmla="*/ 240 h 240"/>
                <a:gd name="T34" fmla="*/ 680 w 691"/>
                <a:gd name="T35" fmla="*/ 240 h 240"/>
                <a:gd name="T36" fmla="*/ 686 w 691"/>
                <a:gd name="T37" fmla="*/ 237 h 240"/>
                <a:gd name="T38" fmla="*/ 689 w 691"/>
                <a:gd name="T39" fmla="*/ 231 h 240"/>
                <a:gd name="T40" fmla="*/ 691 w 691"/>
                <a:gd name="T41" fmla="*/ 225 h 240"/>
                <a:gd name="T42" fmla="*/ 688 w 691"/>
                <a:gd name="T43" fmla="*/ 214 h 240"/>
                <a:gd name="T44" fmla="*/ 674 w 691"/>
                <a:gd name="T45" fmla="*/ 189 h 240"/>
                <a:gd name="T46" fmla="*/ 655 w 691"/>
                <a:gd name="T47" fmla="*/ 165 h 240"/>
                <a:gd name="T48" fmla="*/ 625 w 691"/>
                <a:gd name="T49" fmla="*/ 141 h 240"/>
                <a:gd name="T50" fmla="*/ 595 w 691"/>
                <a:gd name="T51" fmla="*/ 125 h 240"/>
                <a:gd name="T52" fmla="*/ 569 w 691"/>
                <a:gd name="T53" fmla="*/ 115 h 240"/>
                <a:gd name="T54" fmla="*/ 540 w 691"/>
                <a:gd name="T55" fmla="*/ 105 h 240"/>
                <a:gd name="T56" fmla="*/ 508 w 691"/>
                <a:gd name="T57" fmla="*/ 98 h 240"/>
                <a:gd name="T58" fmla="*/ 471 w 691"/>
                <a:gd name="T59" fmla="*/ 93 h 240"/>
                <a:gd name="T60" fmla="*/ 429 w 691"/>
                <a:gd name="T61" fmla="*/ 90 h 240"/>
                <a:gd name="T62" fmla="*/ 406 w 691"/>
                <a:gd name="T63" fmla="*/ 9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1" h="240">
                  <a:moveTo>
                    <a:pt x="406" y="90"/>
                  </a:moveTo>
                  <a:lnTo>
                    <a:pt x="310" y="90"/>
                  </a:lnTo>
                  <a:lnTo>
                    <a:pt x="272" y="90"/>
                  </a:lnTo>
                  <a:lnTo>
                    <a:pt x="121" y="90"/>
                  </a:lnTo>
                  <a:lnTo>
                    <a:pt x="76" y="90"/>
                  </a:lnTo>
                  <a:lnTo>
                    <a:pt x="70" y="89"/>
                  </a:lnTo>
                  <a:lnTo>
                    <a:pt x="65" y="86"/>
                  </a:lnTo>
                  <a:lnTo>
                    <a:pt x="62" y="81"/>
                  </a:lnTo>
                  <a:lnTo>
                    <a:pt x="61" y="75"/>
                  </a:lnTo>
                  <a:lnTo>
                    <a:pt x="62" y="69"/>
                  </a:lnTo>
                  <a:lnTo>
                    <a:pt x="65" y="65"/>
                  </a:lnTo>
                  <a:lnTo>
                    <a:pt x="70" y="61"/>
                  </a:lnTo>
                  <a:lnTo>
                    <a:pt x="76" y="60"/>
                  </a:lnTo>
                  <a:lnTo>
                    <a:pt x="286" y="60"/>
                  </a:lnTo>
                  <a:lnTo>
                    <a:pt x="276" y="50"/>
                  </a:lnTo>
                  <a:lnTo>
                    <a:pt x="263" y="39"/>
                  </a:lnTo>
                  <a:lnTo>
                    <a:pt x="249" y="29"/>
                  </a:lnTo>
                  <a:lnTo>
                    <a:pt x="234" y="20"/>
                  </a:lnTo>
                  <a:lnTo>
                    <a:pt x="216" y="11"/>
                  </a:lnTo>
                  <a:lnTo>
                    <a:pt x="196" y="6"/>
                  </a:lnTo>
                  <a:lnTo>
                    <a:pt x="186" y="3"/>
                  </a:lnTo>
                  <a:lnTo>
                    <a:pt x="174" y="1"/>
                  </a:lnTo>
                  <a:lnTo>
                    <a:pt x="162" y="0"/>
                  </a:lnTo>
                  <a:lnTo>
                    <a:pt x="151" y="0"/>
                  </a:lnTo>
                  <a:lnTo>
                    <a:pt x="15" y="0"/>
                  </a:lnTo>
                  <a:lnTo>
                    <a:pt x="10" y="1"/>
                  </a:lnTo>
                  <a:lnTo>
                    <a:pt x="5" y="4"/>
                  </a:lnTo>
                  <a:lnTo>
                    <a:pt x="1" y="9"/>
                  </a:lnTo>
                  <a:lnTo>
                    <a:pt x="0" y="15"/>
                  </a:lnTo>
                  <a:lnTo>
                    <a:pt x="0" y="225"/>
                  </a:lnTo>
                  <a:lnTo>
                    <a:pt x="1" y="230"/>
                  </a:lnTo>
                  <a:lnTo>
                    <a:pt x="5" y="236"/>
                  </a:lnTo>
                  <a:lnTo>
                    <a:pt x="10" y="238"/>
                  </a:lnTo>
                  <a:lnTo>
                    <a:pt x="15" y="240"/>
                  </a:lnTo>
                  <a:lnTo>
                    <a:pt x="677" y="240"/>
                  </a:lnTo>
                  <a:lnTo>
                    <a:pt x="680" y="240"/>
                  </a:lnTo>
                  <a:lnTo>
                    <a:pt x="683" y="238"/>
                  </a:lnTo>
                  <a:lnTo>
                    <a:pt x="686" y="237"/>
                  </a:lnTo>
                  <a:lnTo>
                    <a:pt x="688" y="234"/>
                  </a:lnTo>
                  <a:lnTo>
                    <a:pt x="689" y="231"/>
                  </a:lnTo>
                  <a:lnTo>
                    <a:pt x="691" y="228"/>
                  </a:lnTo>
                  <a:lnTo>
                    <a:pt x="691" y="225"/>
                  </a:lnTo>
                  <a:lnTo>
                    <a:pt x="691" y="221"/>
                  </a:lnTo>
                  <a:lnTo>
                    <a:pt x="688" y="214"/>
                  </a:lnTo>
                  <a:lnTo>
                    <a:pt x="680" y="199"/>
                  </a:lnTo>
                  <a:lnTo>
                    <a:pt x="674" y="189"/>
                  </a:lnTo>
                  <a:lnTo>
                    <a:pt x="665" y="177"/>
                  </a:lnTo>
                  <a:lnTo>
                    <a:pt x="655" y="165"/>
                  </a:lnTo>
                  <a:lnTo>
                    <a:pt x="641" y="154"/>
                  </a:lnTo>
                  <a:lnTo>
                    <a:pt x="625" y="141"/>
                  </a:lnTo>
                  <a:lnTo>
                    <a:pt x="605" y="130"/>
                  </a:lnTo>
                  <a:lnTo>
                    <a:pt x="595" y="125"/>
                  </a:lnTo>
                  <a:lnTo>
                    <a:pt x="582" y="119"/>
                  </a:lnTo>
                  <a:lnTo>
                    <a:pt x="569" y="115"/>
                  </a:lnTo>
                  <a:lnTo>
                    <a:pt x="555" y="110"/>
                  </a:lnTo>
                  <a:lnTo>
                    <a:pt x="540" y="105"/>
                  </a:lnTo>
                  <a:lnTo>
                    <a:pt x="525" y="102"/>
                  </a:lnTo>
                  <a:lnTo>
                    <a:pt x="508" y="98"/>
                  </a:lnTo>
                  <a:lnTo>
                    <a:pt x="489" y="95"/>
                  </a:lnTo>
                  <a:lnTo>
                    <a:pt x="471" y="93"/>
                  </a:lnTo>
                  <a:lnTo>
                    <a:pt x="450" y="91"/>
                  </a:lnTo>
                  <a:lnTo>
                    <a:pt x="429" y="90"/>
                  </a:lnTo>
                  <a:lnTo>
                    <a:pt x="406" y="90"/>
                  </a:lnTo>
                  <a:lnTo>
                    <a:pt x="406"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162" name="Group 161">
            <a:extLst>
              <a:ext uri="{FF2B5EF4-FFF2-40B4-BE49-F238E27FC236}">
                <a16:creationId xmlns:a16="http://schemas.microsoft.com/office/drawing/2014/main" id="{6B689A21-5A50-40CB-88D1-9EE8850208E9}"/>
              </a:ext>
            </a:extLst>
          </p:cNvPr>
          <p:cNvGrpSpPr/>
          <p:nvPr/>
        </p:nvGrpSpPr>
        <p:grpSpPr>
          <a:xfrm>
            <a:off x="11672696" y="7580331"/>
            <a:ext cx="1037024" cy="1489691"/>
            <a:chOff x="10502900" y="815975"/>
            <a:chExt cx="200025" cy="287338"/>
          </a:xfrm>
          <a:solidFill>
            <a:schemeClr val="tx1">
              <a:lumMod val="75000"/>
              <a:lumOff val="25000"/>
            </a:schemeClr>
          </a:solidFill>
        </p:grpSpPr>
        <p:sp>
          <p:nvSpPr>
            <p:cNvPr id="163" name="Freeform 2127">
              <a:extLst>
                <a:ext uri="{FF2B5EF4-FFF2-40B4-BE49-F238E27FC236}">
                  <a16:creationId xmlns:a16="http://schemas.microsoft.com/office/drawing/2014/main" id="{D2A34F06-E2F3-4882-B272-DC2745D878F9}"/>
                </a:ext>
              </a:extLst>
            </p:cNvPr>
            <p:cNvSpPr>
              <a:spLocks/>
            </p:cNvSpPr>
            <p:nvPr/>
          </p:nvSpPr>
          <p:spPr bwMode="auto">
            <a:xfrm>
              <a:off x="10502900" y="815975"/>
              <a:ext cx="200025" cy="201613"/>
            </a:xfrm>
            <a:custGeom>
              <a:avLst/>
              <a:gdLst>
                <a:gd name="T0" fmla="*/ 284 w 632"/>
                <a:gd name="T1" fmla="*/ 3 h 632"/>
                <a:gd name="T2" fmla="*/ 237 w 632"/>
                <a:gd name="T3" fmla="*/ 10 h 632"/>
                <a:gd name="T4" fmla="*/ 193 w 632"/>
                <a:gd name="T5" fmla="*/ 26 h 632"/>
                <a:gd name="T6" fmla="*/ 152 w 632"/>
                <a:gd name="T7" fmla="*/ 47 h 632"/>
                <a:gd name="T8" fmla="*/ 115 w 632"/>
                <a:gd name="T9" fmla="*/ 72 h 632"/>
                <a:gd name="T10" fmla="*/ 82 w 632"/>
                <a:gd name="T11" fmla="*/ 104 h 632"/>
                <a:gd name="T12" fmla="*/ 54 w 632"/>
                <a:gd name="T13" fmla="*/ 139 h 632"/>
                <a:gd name="T14" fmla="*/ 31 w 632"/>
                <a:gd name="T15" fmla="*/ 180 h 632"/>
                <a:gd name="T16" fmla="*/ 14 w 632"/>
                <a:gd name="T17" fmla="*/ 222 h 632"/>
                <a:gd name="T18" fmla="*/ 4 w 632"/>
                <a:gd name="T19" fmla="*/ 269 h 632"/>
                <a:gd name="T20" fmla="*/ 0 w 632"/>
                <a:gd name="T21" fmla="*/ 316 h 632"/>
                <a:gd name="T22" fmla="*/ 3 w 632"/>
                <a:gd name="T23" fmla="*/ 363 h 632"/>
                <a:gd name="T24" fmla="*/ 14 w 632"/>
                <a:gd name="T25" fmla="*/ 407 h 632"/>
                <a:gd name="T26" fmla="*/ 30 w 632"/>
                <a:gd name="T27" fmla="*/ 450 h 632"/>
                <a:gd name="T28" fmla="*/ 50 w 632"/>
                <a:gd name="T29" fmla="*/ 489 h 632"/>
                <a:gd name="T30" fmla="*/ 77 w 632"/>
                <a:gd name="T31" fmla="*/ 523 h 632"/>
                <a:gd name="T32" fmla="*/ 109 w 632"/>
                <a:gd name="T33" fmla="*/ 555 h 632"/>
                <a:gd name="T34" fmla="*/ 144 w 632"/>
                <a:gd name="T35" fmla="*/ 581 h 632"/>
                <a:gd name="T36" fmla="*/ 183 w 632"/>
                <a:gd name="T37" fmla="*/ 602 h 632"/>
                <a:gd name="T38" fmla="*/ 225 w 632"/>
                <a:gd name="T39" fmla="*/ 618 h 632"/>
                <a:gd name="T40" fmla="*/ 270 w 632"/>
                <a:gd name="T41" fmla="*/ 628 h 632"/>
                <a:gd name="T42" fmla="*/ 301 w 632"/>
                <a:gd name="T43" fmla="*/ 473 h 632"/>
                <a:gd name="T44" fmla="*/ 256 w 632"/>
                <a:gd name="T45" fmla="*/ 512 h 632"/>
                <a:gd name="T46" fmla="*/ 185 w 632"/>
                <a:gd name="T47" fmla="*/ 447 h 632"/>
                <a:gd name="T48" fmla="*/ 181 w 632"/>
                <a:gd name="T49" fmla="*/ 431 h 632"/>
                <a:gd name="T50" fmla="*/ 196 w 632"/>
                <a:gd name="T51" fmla="*/ 421 h 632"/>
                <a:gd name="T52" fmla="*/ 256 w 632"/>
                <a:gd name="T53" fmla="*/ 475 h 632"/>
                <a:gd name="T54" fmla="*/ 309 w 632"/>
                <a:gd name="T55" fmla="*/ 423 h 632"/>
                <a:gd name="T56" fmla="*/ 319 w 632"/>
                <a:gd name="T57" fmla="*/ 421 h 632"/>
                <a:gd name="T58" fmla="*/ 326 w 632"/>
                <a:gd name="T59" fmla="*/ 426 h 632"/>
                <a:gd name="T60" fmla="*/ 430 w 632"/>
                <a:gd name="T61" fmla="*/ 423 h 632"/>
                <a:gd name="T62" fmla="*/ 446 w 632"/>
                <a:gd name="T63" fmla="*/ 426 h 632"/>
                <a:gd name="T64" fmla="*/ 450 w 632"/>
                <a:gd name="T65" fmla="*/ 442 h 632"/>
                <a:gd name="T66" fmla="*/ 381 w 632"/>
                <a:gd name="T67" fmla="*/ 511 h 632"/>
                <a:gd name="T68" fmla="*/ 365 w 632"/>
                <a:gd name="T69" fmla="*/ 507 h 632"/>
                <a:gd name="T70" fmla="*/ 346 w 632"/>
                <a:gd name="T71" fmla="*/ 630 h 632"/>
                <a:gd name="T72" fmla="*/ 391 w 632"/>
                <a:gd name="T73" fmla="*/ 623 h 632"/>
                <a:gd name="T74" fmla="*/ 434 w 632"/>
                <a:gd name="T75" fmla="*/ 608 h 632"/>
                <a:gd name="T76" fmla="*/ 474 w 632"/>
                <a:gd name="T77" fmla="*/ 589 h 632"/>
                <a:gd name="T78" fmla="*/ 511 w 632"/>
                <a:gd name="T79" fmla="*/ 564 h 632"/>
                <a:gd name="T80" fmla="*/ 544 w 632"/>
                <a:gd name="T81" fmla="*/ 534 h 632"/>
                <a:gd name="T82" fmla="*/ 572 w 632"/>
                <a:gd name="T83" fmla="*/ 501 h 632"/>
                <a:gd name="T84" fmla="*/ 595 w 632"/>
                <a:gd name="T85" fmla="*/ 463 h 632"/>
                <a:gd name="T86" fmla="*/ 613 w 632"/>
                <a:gd name="T87" fmla="*/ 421 h 632"/>
                <a:gd name="T88" fmla="*/ 626 w 632"/>
                <a:gd name="T89" fmla="*/ 378 h 632"/>
                <a:gd name="T90" fmla="*/ 631 w 632"/>
                <a:gd name="T91" fmla="*/ 332 h 632"/>
                <a:gd name="T92" fmla="*/ 629 w 632"/>
                <a:gd name="T93" fmla="*/ 283 h 632"/>
                <a:gd name="T94" fmla="*/ 622 w 632"/>
                <a:gd name="T95" fmla="*/ 237 h 632"/>
                <a:gd name="T96" fmla="*/ 606 w 632"/>
                <a:gd name="T97" fmla="*/ 193 h 632"/>
                <a:gd name="T98" fmla="*/ 585 w 632"/>
                <a:gd name="T99" fmla="*/ 153 h 632"/>
                <a:gd name="T100" fmla="*/ 560 w 632"/>
                <a:gd name="T101" fmla="*/ 115 h 632"/>
                <a:gd name="T102" fmla="*/ 528 w 632"/>
                <a:gd name="T103" fmla="*/ 82 h 632"/>
                <a:gd name="T104" fmla="*/ 492 w 632"/>
                <a:gd name="T105" fmla="*/ 54 h 632"/>
                <a:gd name="T106" fmla="*/ 452 w 632"/>
                <a:gd name="T107" fmla="*/ 32 h 632"/>
                <a:gd name="T108" fmla="*/ 409 w 632"/>
                <a:gd name="T109" fmla="*/ 15 h 632"/>
                <a:gd name="T110" fmla="*/ 364 w 632"/>
                <a:gd name="T111" fmla="*/ 4 h 632"/>
                <a:gd name="T112" fmla="*/ 315 w 632"/>
                <a:gd name="T113"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2" h="632">
                  <a:moveTo>
                    <a:pt x="315" y="0"/>
                  </a:moveTo>
                  <a:lnTo>
                    <a:pt x="299" y="1"/>
                  </a:lnTo>
                  <a:lnTo>
                    <a:pt x="284" y="3"/>
                  </a:lnTo>
                  <a:lnTo>
                    <a:pt x="268" y="4"/>
                  </a:lnTo>
                  <a:lnTo>
                    <a:pt x="252" y="6"/>
                  </a:lnTo>
                  <a:lnTo>
                    <a:pt x="237" y="10"/>
                  </a:lnTo>
                  <a:lnTo>
                    <a:pt x="221" y="15"/>
                  </a:lnTo>
                  <a:lnTo>
                    <a:pt x="207" y="20"/>
                  </a:lnTo>
                  <a:lnTo>
                    <a:pt x="193" y="26"/>
                  </a:lnTo>
                  <a:lnTo>
                    <a:pt x="179" y="32"/>
                  </a:lnTo>
                  <a:lnTo>
                    <a:pt x="165" y="38"/>
                  </a:lnTo>
                  <a:lnTo>
                    <a:pt x="152" y="47"/>
                  </a:lnTo>
                  <a:lnTo>
                    <a:pt x="139" y="54"/>
                  </a:lnTo>
                  <a:lnTo>
                    <a:pt x="127" y="64"/>
                  </a:lnTo>
                  <a:lnTo>
                    <a:pt x="115" y="72"/>
                  </a:lnTo>
                  <a:lnTo>
                    <a:pt x="103" y="82"/>
                  </a:lnTo>
                  <a:lnTo>
                    <a:pt x="92" y="93"/>
                  </a:lnTo>
                  <a:lnTo>
                    <a:pt x="82" y="104"/>
                  </a:lnTo>
                  <a:lnTo>
                    <a:pt x="72" y="115"/>
                  </a:lnTo>
                  <a:lnTo>
                    <a:pt x="63" y="127"/>
                  </a:lnTo>
                  <a:lnTo>
                    <a:pt x="54" y="139"/>
                  </a:lnTo>
                  <a:lnTo>
                    <a:pt x="45" y="153"/>
                  </a:lnTo>
                  <a:lnTo>
                    <a:pt x="38" y="166"/>
                  </a:lnTo>
                  <a:lnTo>
                    <a:pt x="31" y="180"/>
                  </a:lnTo>
                  <a:lnTo>
                    <a:pt x="25" y="193"/>
                  </a:lnTo>
                  <a:lnTo>
                    <a:pt x="19" y="208"/>
                  </a:lnTo>
                  <a:lnTo>
                    <a:pt x="14" y="222"/>
                  </a:lnTo>
                  <a:lnTo>
                    <a:pt x="10" y="237"/>
                  </a:lnTo>
                  <a:lnTo>
                    <a:pt x="6" y="253"/>
                  </a:lnTo>
                  <a:lnTo>
                    <a:pt x="4" y="269"/>
                  </a:lnTo>
                  <a:lnTo>
                    <a:pt x="1" y="283"/>
                  </a:lnTo>
                  <a:lnTo>
                    <a:pt x="0" y="301"/>
                  </a:lnTo>
                  <a:lnTo>
                    <a:pt x="0" y="316"/>
                  </a:lnTo>
                  <a:lnTo>
                    <a:pt x="0" y="332"/>
                  </a:lnTo>
                  <a:lnTo>
                    <a:pt x="1" y="347"/>
                  </a:lnTo>
                  <a:lnTo>
                    <a:pt x="3" y="363"/>
                  </a:lnTo>
                  <a:lnTo>
                    <a:pt x="6" y="378"/>
                  </a:lnTo>
                  <a:lnTo>
                    <a:pt x="9" y="393"/>
                  </a:lnTo>
                  <a:lnTo>
                    <a:pt x="14" y="407"/>
                  </a:lnTo>
                  <a:lnTo>
                    <a:pt x="17" y="421"/>
                  </a:lnTo>
                  <a:lnTo>
                    <a:pt x="23" y="436"/>
                  </a:lnTo>
                  <a:lnTo>
                    <a:pt x="30" y="450"/>
                  </a:lnTo>
                  <a:lnTo>
                    <a:pt x="36" y="463"/>
                  </a:lnTo>
                  <a:lnTo>
                    <a:pt x="43" y="475"/>
                  </a:lnTo>
                  <a:lnTo>
                    <a:pt x="50" y="489"/>
                  </a:lnTo>
                  <a:lnTo>
                    <a:pt x="59" y="501"/>
                  </a:lnTo>
                  <a:lnTo>
                    <a:pt x="69" y="512"/>
                  </a:lnTo>
                  <a:lnTo>
                    <a:pt x="77" y="523"/>
                  </a:lnTo>
                  <a:lnTo>
                    <a:pt x="87" y="534"/>
                  </a:lnTo>
                  <a:lnTo>
                    <a:pt x="98" y="545"/>
                  </a:lnTo>
                  <a:lnTo>
                    <a:pt x="109" y="555"/>
                  </a:lnTo>
                  <a:lnTo>
                    <a:pt x="120" y="564"/>
                  </a:lnTo>
                  <a:lnTo>
                    <a:pt x="132" y="573"/>
                  </a:lnTo>
                  <a:lnTo>
                    <a:pt x="144" y="581"/>
                  </a:lnTo>
                  <a:lnTo>
                    <a:pt x="157" y="589"/>
                  </a:lnTo>
                  <a:lnTo>
                    <a:pt x="170" y="596"/>
                  </a:lnTo>
                  <a:lnTo>
                    <a:pt x="183" y="602"/>
                  </a:lnTo>
                  <a:lnTo>
                    <a:pt x="197" y="608"/>
                  </a:lnTo>
                  <a:lnTo>
                    <a:pt x="210" y="613"/>
                  </a:lnTo>
                  <a:lnTo>
                    <a:pt x="225" y="618"/>
                  </a:lnTo>
                  <a:lnTo>
                    <a:pt x="240" y="623"/>
                  </a:lnTo>
                  <a:lnTo>
                    <a:pt x="254" y="625"/>
                  </a:lnTo>
                  <a:lnTo>
                    <a:pt x="270" y="628"/>
                  </a:lnTo>
                  <a:lnTo>
                    <a:pt x="285" y="630"/>
                  </a:lnTo>
                  <a:lnTo>
                    <a:pt x="301" y="632"/>
                  </a:lnTo>
                  <a:lnTo>
                    <a:pt x="301" y="473"/>
                  </a:lnTo>
                  <a:lnTo>
                    <a:pt x="267" y="507"/>
                  </a:lnTo>
                  <a:lnTo>
                    <a:pt x="262" y="511"/>
                  </a:lnTo>
                  <a:lnTo>
                    <a:pt x="256" y="512"/>
                  </a:lnTo>
                  <a:lnTo>
                    <a:pt x="249" y="511"/>
                  </a:lnTo>
                  <a:lnTo>
                    <a:pt x="245" y="507"/>
                  </a:lnTo>
                  <a:lnTo>
                    <a:pt x="185" y="447"/>
                  </a:lnTo>
                  <a:lnTo>
                    <a:pt x="181" y="442"/>
                  </a:lnTo>
                  <a:lnTo>
                    <a:pt x="180" y="436"/>
                  </a:lnTo>
                  <a:lnTo>
                    <a:pt x="181" y="431"/>
                  </a:lnTo>
                  <a:lnTo>
                    <a:pt x="185" y="426"/>
                  </a:lnTo>
                  <a:lnTo>
                    <a:pt x="190" y="423"/>
                  </a:lnTo>
                  <a:lnTo>
                    <a:pt x="196" y="421"/>
                  </a:lnTo>
                  <a:lnTo>
                    <a:pt x="201" y="423"/>
                  </a:lnTo>
                  <a:lnTo>
                    <a:pt x="205" y="426"/>
                  </a:lnTo>
                  <a:lnTo>
                    <a:pt x="256" y="475"/>
                  </a:lnTo>
                  <a:lnTo>
                    <a:pt x="304" y="426"/>
                  </a:lnTo>
                  <a:lnTo>
                    <a:pt x="307" y="424"/>
                  </a:lnTo>
                  <a:lnTo>
                    <a:pt x="309" y="423"/>
                  </a:lnTo>
                  <a:lnTo>
                    <a:pt x="313" y="421"/>
                  </a:lnTo>
                  <a:lnTo>
                    <a:pt x="315" y="421"/>
                  </a:lnTo>
                  <a:lnTo>
                    <a:pt x="319" y="421"/>
                  </a:lnTo>
                  <a:lnTo>
                    <a:pt x="321" y="423"/>
                  </a:lnTo>
                  <a:lnTo>
                    <a:pt x="324" y="424"/>
                  </a:lnTo>
                  <a:lnTo>
                    <a:pt x="326" y="426"/>
                  </a:lnTo>
                  <a:lnTo>
                    <a:pt x="375" y="475"/>
                  </a:lnTo>
                  <a:lnTo>
                    <a:pt x="425" y="426"/>
                  </a:lnTo>
                  <a:lnTo>
                    <a:pt x="430" y="423"/>
                  </a:lnTo>
                  <a:lnTo>
                    <a:pt x="436" y="421"/>
                  </a:lnTo>
                  <a:lnTo>
                    <a:pt x="441" y="423"/>
                  </a:lnTo>
                  <a:lnTo>
                    <a:pt x="446" y="426"/>
                  </a:lnTo>
                  <a:lnTo>
                    <a:pt x="450" y="431"/>
                  </a:lnTo>
                  <a:lnTo>
                    <a:pt x="451" y="436"/>
                  </a:lnTo>
                  <a:lnTo>
                    <a:pt x="450" y="442"/>
                  </a:lnTo>
                  <a:lnTo>
                    <a:pt x="446" y="447"/>
                  </a:lnTo>
                  <a:lnTo>
                    <a:pt x="386" y="507"/>
                  </a:lnTo>
                  <a:lnTo>
                    <a:pt x="381" y="511"/>
                  </a:lnTo>
                  <a:lnTo>
                    <a:pt x="375" y="512"/>
                  </a:lnTo>
                  <a:lnTo>
                    <a:pt x="370" y="511"/>
                  </a:lnTo>
                  <a:lnTo>
                    <a:pt x="365" y="507"/>
                  </a:lnTo>
                  <a:lnTo>
                    <a:pt x="330" y="473"/>
                  </a:lnTo>
                  <a:lnTo>
                    <a:pt x="330" y="632"/>
                  </a:lnTo>
                  <a:lnTo>
                    <a:pt x="346" y="630"/>
                  </a:lnTo>
                  <a:lnTo>
                    <a:pt x="362" y="628"/>
                  </a:lnTo>
                  <a:lnTo>
                    <a:pt x="376" y="625"/>
                  </a:lnTo>
                  <a:lnTo>
                    <a:pt x="391" y="623"/>
                  </a:lnTo>
                  <a:lnTo>
                    <a:pt x="406" y="618"/>
                  </a:lnTo>
                  <a:lnTo>
                    <a:pt x="420" y="613"/>
                  </a:lnTo>
                  <a:lnTo>
                    <a:pt x="434" y="608"/>
                  </a:lnTo>
                  <a:lnTo>
                    <a:pt x="449" y="602"/>
                  </a:lnTo>
                  <a:lnTo>
                    <a:pt x="462" y="596"/>
                  </a:lnTo>
                  <a:lnTo>
                    <a:pt x="474" y="589"/>
                  </a:lnTo>
                  <a:lnTo>
                    <a:pt x="488" y="581"/>
                  </a:lnTo>
                  <a:lnTo>
                    <a:pt x="500" y="573"/>
                  </a:lnTo>
                  <a:lnTo>
                    <a:pt x="511" y="564"/>
                  </a:lnTo>
                  <a:lnTo>
                    <a:pt x="522" y="555"/>
                  </a:lnTo>
                  <a:lnTo>
                    <a:pt x="533" y="545"/>
                  </a:lnTo>
                  <a:lnTo>
                    <a:pt x="544" y="534"/>
                  </a:lnTo>
                  <a:lnTo>
                    <a:pt x="554" y="523"/>
                  </a:lnTo>
                  <a:lnTo>
                    <a:pt x="563" y="512"/>
                  </a:lnTo>
                  <a:lnTo>
                    <a:pt x="572" y="501"/>
                  </a:lnTo>
                  <a:lnTo>
                    <a:pt x="580" y="489"/>
                  </a:lnTo>
                  <a:lnTo>
                    <a:pt x="588" y="475"/>
                  </a:lnTo>
                  <a:lnTo>
                    <a:pt x="595" y="463"/>
                  </a:lnTo>
                  <a:lnTo>
                    <a:pt x="602" y="450"/>
                  </a:lnTo>
                  <a:lnTo>
                    <a:pt x="609" y="436"/>
                  </a:lnTo>
                  <a:lnTo>
                    <a:pt x="613" y="421"/>
                  </a:lnTo>
                  <a:lnTo>
                    <a:pt x="618" y="408"/>
                  </a:lnTo>
                  <a:lnTo>
                    <a:pt x="622" y="393"/>
                  </a:lnTo>
                  <a:lnTo>
                    <a:pt x="626" y="378"/>
                  </a:lnTo>
                  <a:lnTo>
                    <a:pt x="628" y="363"/>
                  </a:lnTo>
                  <a:lnTo>
                    <a:pt x="631" y="347"/>
                  </a:lnTo>
                  <a:lnTo>
                    <a:pt x="631" y="332"/>
                  </a:lnTo>
                  <a:lnTo>
                    <a:pt x="632" y="316"/>
                  </a:lnTo>
                  <a:lnTo>
                    <a:pt x="631" y="301"/>
                  </a:lnTo>
                  <a:lnTo>
                    <a:pt x="629" y="283"/>
                  </a:lnTo>
                  <a:lnTo>
                    <a:pt x="628" y="269"/>
                  </a:lnTo>
                  <a:lnTo>
                    <a:pt x="626" y="253"/>
                  </a:lnTo>
                  <a:lnTo>
                    <a:pt x="622" y="237"/>
                  </a:lnTo>
                  <a:lnTo>
                    <a:pt x="617" y="222"/>
                  </a:lnTo>
                  <a:lnTo>
                    <a:pt x="612" y="208"/>
                  </a:lnTo>
                  <a:lnTo>
                    <a:pt x="606" y="193"/>
                  </a:lnTo>
                  <a:lnTo>
                    <a:pt x="600" y="180"/>
                  </a:lnTo>
                  <a:lnTo>
                    <a:pt x="594" y="166"/>
                  </a:lnTo>
                  <a:lnTo>
                    <a:pt x="585" y="153"/>
                  </a:lnTo>
                  <a:lnTo>
                    <a:pt x="578" y="139"/>
                  </a:lnTo>
                  <a:lnTo>
                    <a:pt x="568" y="127"/>
                  </a:lnTo>
                  <a:lnTo>
                    <a:pt x="560" y="115"/>
                  </a:lnTo>
                  <a:lnTo>
                    <a:pt x="550" y="104"/>
                  </a:lnTo>
                  <a:lnTo>
                    <a:pt x="539" y="93"/>
                  </a:lnTo>
                  <a:lnTo>
                    <a:pt x="528" y="82"/>
                  </a:lnTo>
                  <a:lnTo>
                    <a:pt x="517" y="72"/>
                  </a:lnTo>
                  <a:lnTo>
                    <a:pt x="505" y="64"/>
                  </a:lnTo>
                  <a:lnTo>
                    <a:pt x="492" y="54"/>
                  </a:lnTo>
                  <a:lnTo>
                    <a:pt x="479" y="47"/>
                  </a:lnTo>
                  <a:lnTo>
                    <a:pt x="466" y="38"/>
                  </a:lnTo>
                  <a:lnTo>
                    <a:pt x="452" y="32"/>
                  </a:lnTo>
                  <a:lnTo>
                    <a:pt x="439" y="26"/>
                  </a:lnTo>
                  <a:lnTo>
                    <a:pt x="424" y="20"/>
                  </a:lnTo>
                  <a:lnTo>
                    <a:pt x="409" y="15"/>
                  </a:lnTo>
                  <a:lnTo>
                    <a:pt x="395" y="10"/>
                  </a:lnTo>
                  <a:lnTo>
                    <a:pt x="379" y="6"/>
                  </a:lnTo>
                  <a:lnTo>
                    <a:pt x="364" y="4"/>
                  </a:lnTo>
                  <a:lnTo>
                    <a:pt x="348" y="3"/>
                  </a:lnTo>
                  <a:lnTo>
                    <a:pt x="331" y="1"/>
                  </a:lnTo>
                  <a:lnTo>
                    <a:pt x="3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64" name="Freeform 2128">
              <a:extLst>
                <a:ext uri="{FF2B5EF4-FFF2-40B4-BE49-F238E27FC236}">
                  <a16:creationId xmlns:a16="http://schemas.microsoft.com/office/drawing/2014/main" id="{CC2C0B8D-ACA6-4B8A-A926-7CCE1F4FA24A}"/>
                </a:ext>
              </a:extLst>
            </p:cNvPr>
            <p:cNvSpPr>
              <a:spLocks/>
            </p:cNvSpPr>
            <p:nvPr/>
          </p:nvSpPr>
          <p:spPr bwMode="auto">
            <a:xfrm>
              <a:off x="10569575" y="1036638"/>
              <a:ext cx="66675" cy="9525"/>
            </a:xfrm>
            <a:custGeom>
              <a:avLst/>
              <a:gdLst>
                <a:gd name="T0" fmla="*/ 196 w 210"/>
                <a:gd name="T1" fmla="*/ 0 h 29"/>
                <a:gd name="T2" fmla="*/ 15 w 210"/>
                <a:gd name="T3" fmla="*/ 0 h 29"/>
                <a:gd name="T4" fmla="*/ 9 w 210"/>
                <a:gd name="T5" fmla="*/ 1 h 29"/>
                <a:gd name="T6" fmla="*/ 5 w 210"/>
                <a:gd name="T7" fmla="*/ 3 h 29"/>
                <a:gd name="T8" fmla="*/ 2 w 210"/>
                <a:gd name="T9" fmla="*/ 8 h 29"/>
                <a:gd name="T10" fmla="*/ 0 w 210"/>
                <a:gd name="T11" fmla="*/ 14 h 29"/>
                <a:gd name="T12" fmla="*/ 2 w 210"/>
                <a:gd name="T13" fmla="*/ 20 h 29"/>
                <a:gd name="T14" fmla="*/ 5 w 210"/>
                <a:gd name="T15" fmla="*/ 25 h 29"/>
                <a:gd name="T16" fmla="*/ 9 w 210"/>
                <a:gd name="T17" fmla="*/ 28 h 29"/>
                <a:gd name="T18" fmla="*/ 15 w 210"/>
                <a:gd name="T19" fmla="*/ 29 h 29"/>
                <a:gd name="T20" fmla="*/ 196 w 210"/>
                <a:gd name="T21" fmla="*/ 29 h 29"/>
                <a:gd name="T22" fmla="*/ 202 w 210"/>
                <a:gd name="T23" fmla="*/ 28 h 29"/>
                <a:gd name="T24" fmla="*/ 207 w 210"/>
                <a:gd name="T25" fmla="*/ 25 h 29"/>
                <a:gd name="T26" fmla="*/ 209 w 210"/>
                <a:gd name="T27" fmla="*/ 20 h 29"/>
                <a:gd name="T28" fmla="*/ 210 w 210"/>
                <a:gd name="T29" fmla="*/ 14 h 29"/>
                <a:gd name="T30" fmla="*/ 209 w 210"/>
                <a:gd name="T31" fmla="*/ 8 h 29"/>
                <a:gd name="T32" fmla="*/ 207 w 210"/>
                <a:gd name="T33" fmla="*/ 3 h 29"/>
                <a:gd name="T34" fmla="*/ 202 w 210"/>
                <a:gd name="T35" fmla="*/ 1 h 29"/>
                <a:gd name="T36" fmla="*/ 196 w 210"/>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0" h="29">
                  <a:moveTo>
                    <a:pt x="196" y="0"/>
                  </a:moveTo>
                  <a:lnTo>
                    <a:pt x="15" y="0"/>
                  </a:lnTo>
                  <a:lnTo>
                    <a:pt x="9" y="1"/>
                  </a:lnTo>
                  <a:lnTo>
                    <a:pt x="5" y="3"/>
                  </a:lnTo>
                  <a:lnTo>
                    <a:pt x="2" y="8"/>
                  </a:lnTo>
                  <a:lnTo>
                    <a:pt x="0" y="14"/>
                  </a:lnTo>
                  <a:lnTo>
                    <a:pt x="2" y="20"/>
                  </a:lnTo>
                  <a:lnTo>
                    <a:pt x="5" y="25"/>
                  </a:lnTo>
                  <a:lnTo>
                    <a:pt x="9" y="28"/>
                  </a:lnTo>
                  <a:lnTo>
                    <a:pt x="15" y="29"/>
                  </a:lnTo>
                  <a:lnTo>
                    <a:pt x="196" y="29"/>
                  </a:lnTo>
                  <a:lnTo>
                    <a:pt x="202" y="28"/>
                  </a:lnTo>
                  <a:lnTo>
                    <a:pt x="207" y="25"/>
                  </a:lnTo>
                  <a:lnTo>
                    <a:pt x="209" y="20"/>
                  </a:lnTo>
                  <a:lnTo>
                    <a:pt x="210" y="14"/>
                  </a:lnTo>
                  <a:lnTo>
                    <a:pt x="209" y="8"/>
                  </a:lnTo>
                  <a:lnTo>
                    <a:pt x="207" y="3"/>
                  </a:lnTo>
                  <a:lnTo>
                    <a:pt x="202" y="1"/>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65" name="Freeform 2129">
              <a:extLst>
                <a:ext uri="{FF2B5EF4-FFF2-40B4-BE49-F238E27FC236}">
                  <a16:creationId xmlns:a16="http://schemas.microsoft.com/office/drawing/2014/main" id="{91CB63F5-4382-4939-8F91-6E58E1C2F994}"/>
                </a:ext>
              </a:extLst>
            </p:cNvPr>
            <p:cNvSpPr>
              <a:spLocks/>
            </p:cNvSpPr>
            <p:nvPr/>
          </p:nvSpPr>
          <p:spPr bwMode="auto">
            <a:xfrm>
              <a:off x="10569575" y="1055688"/>
              <a:ext cx="66675" cy="9525"/>
            </a:xfrm>
            <a:custGeom>
              <a:avLst/>
              <a:gdLst>
                <a:gd name="T0" fmla="*/ 196 w 210"/>
                <a:gd name="T1" fmla="*/ 0 h 31"/>
                <a:gd name="T2" fmla="*/ 15 w 210"/>
                <a:gd name="T3" fmla="*/ 0 h 31"/>
                <a:gd name="T4" fmla="*/ 9 w 210"/>
                <a:gd name="T5" fmla="*/ 2 h 31"/>
                <a:gd name="T6" fmla="*/ 5 w 210"/>
                <a:gd name="T7" fmla="*/ 5 h 31"/>
                <a:gd name="T8" fmla="*/ 2 w 210"/>
                <a:gd name="T9" fmla="*/ 10 h 31"/>
                <a:gd name="T10" fmla="*/ 0 w 210"/>
                <a:gd name="T11" fmla="*/ 15 h 31"/>
                <a:gd name="T12" fmla="*/ 2 w 210"/>
                <a:gd name="T13" fmla="*/ 21 h 31"/>
                <a:gd name="T14" fmla="*/ 5 w 210"/>
                <a:gd name="T15" fmla="*/ 26 h 31"/>
                <a:gd name="T16" fmla="*/ 9 w 210"/>
                <a:gd name="T17" fmla="*/ 30 h 31"/>
                <a:gd name="T18" fmla="*/ 15 w 210"/>
                <a:gd name="T19" fmla="*/ 31 h 31"/>
                <a:gd name="T20" fmla="*/ 196 w 210"/>
                <a:gd name="T21" fmla="*/ 31 h 31"/>
                <a:gd name="T22" fmla="*/ 202 w 210"/>
                <a:gd name="T23" fmla="*/ 30 h 31"/>
                <a:gd name="T24" fmla="*/ 207 w 210"/>
                <a:gd name="T25" fmla="*/ 26 h 31"/>
                <a:gd name="T26" fmla="*/ 209 w 210"/>
                <a:gd name="T27" fmla="*/ 21 h 31"/>
                <a:gd name="T28" fmla="*/ 210 w 210"/>
                <a:gd name="T29" fmla="*/ 15 h 31"/>
                <a:gd name="T30" fmla="*/ 209 w 210"/>
                <a:gd name="T31" fmla="*/ 10 h 31"/>
                <a:gd name="T32" fmla="*/ 207 w 210"/>
                <a:gd name="T33" fmla="*/ 5 h 31"/>
                <a:gd name="T34" fmla="*/ 202 w 210"/>
                <a:gd name="T35" fmla="*/ 2 h 31"/>
                <a:gd name="T36" fmla="*/ 196 w 210"/>
                <a:gd name="T3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0" h="31">
                  <a:moveTo>
                    <a:pt x="196" y="0"/>
                  </a:moveTo>
                  <a:lnTo>
                    <a:pt x="15" y="0"/>
                  </a:lnTo>
                  <a:lnTo>
                    <a:pt x="9" y="2"/>
                  </a:lnTo>
                  <a:lnTo>
                    <a:pt x="5" y="5"/>
                  </a:lnTo>
                  <a:lnTo>
                    <a:pt x="2" y="10"/>
                  </a:lnTo>
                  <a:lnTo>
                    <a:pt x="0" y="15"/>
                  </a:lnTo>
                  <a:lnTo>
                    <a:pt x="2" y="21"/>
                  </a:lnTo>
                  <a:lnTo>
                    <a:pt x="5" y="26"/>
                  </a:lnTo>
                  <a:lnTo>
                    <a:pt x="9" y="30"/>
                  </a:lnTo>
                  <a:lnTo>
                    <a:pt x="15" y="31"/>
                  </a:lnTo>
                  <a:lnTo>
                    <a:pt x="196" y="31"/>
                  </a:lnTo>
                  <a:lnTo>
                    <a:pt x="202" y="30"/>
                  </a:lnTo>
                  <a:lnTo>
                    <a:pt x="207" y="26"/>
                  </a:lnTo>
                  <a:lnTo>
                    <a:pt x="209" y="21"/>
                  </a:lnTo>
                  <a:lnTo>
                    <a:pt x="210" y="15"/>
                  </a:lnTo>
                  <a:lnTo>
                    <a:pt x="209" y="10"/>
                  </a:lnTo>
                  <a:lnTo>
                    <a:pt x="207" y="5"/>
                  </a:lnTo>
                  <a:lnTo>
                    <a:pt x="202" y="2"/>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66" name="Freeform 2130">
              <a:extLst>
                <a:ext uri="{FF2B5EF4-FFF2-40B4-BE49-F238E27FC236}">
                  <a16:creationId xmlns:a16="http://schemas.microsoft.com/office/drawing/2014/main" id="{0BB743DA-A6AF-41D6-9BCE-B4C290BAC9A8}"/>
                </a:ext>
              </a:extLst>
            </p:cNvPr>
            <p:cNvSpPr>
              <a:spLocks/>
            </p:cNvSpPr>
            <p:nvPr/>
          </p:nvSpPr>
          <p:spPr bwMode="auto">
            <a:xfrm>
              <a:off x="10569575" y="1074738"/>
              <a:ext cx="66675" cy="28575"/>
            </a:xfrm>
            <a:custGeom>
              <a:avLst/>
              <a:gdLst>
                <a:gd name="T0" fmla="*/ 196 w 210"/>
                <a:gd name="T1" fmla="*/ 0 h 91"/>
                <a:gd name="T2" fmla="*/ 15 w 210"/>
                <a:gd name="T3" fmla="*/ 0 h 91"/>
                <a:gd name="T4" fmla="*/ 9 w 210"/>
                <a:gd name="T5" fmla="*/ 1 h 91"/>
                <a:gd name="T6" fmla="*/ 5 w 210"/>
                <a:gd name="T7" fmla="*/ 5 h 91"/>
                <a:gd name="T8" fmla="*/ 2 w 210"/>
                <a:gd name="T9" fmla="*/ 10 h 91"/>
                <a:gd name="T10" fmla="*/ 0 w 210"/>
                <a:gd name="T11" fmla="*/ 16 h 91"/>
                <a:gd name="T12" fmla="*/ 2 w 210"/>
                <a:gd name="T13" fmla="*/ 21 h 91"/>
                <a:gd name="T14" fmla="*/ 5 w 210"/>
                <a:gd name="T15" fmla="*/ 26 h 91"/>
                <a:gd name="T16" fmla="*/ 9 w 210"/>
                <a:gd name="T17" fmla="*/ 30 h 91"/>
                <a:gd name="T18" fmla="*/ 15 w 210"/>
                <a:gd name="T19" fmla="*/ 31 h 91"/>
                <a:gd name="T20" fmla="*/ 91 w 210"/>
                <a:gd name="T21" fmla="*/ 31 h 91"/>
                <a:gd name="T22" fmla="*/ 91 w 210"/>
                <a:gd name="T23" fmla="*/ 76 h 91"/>
                <a:gd name="T24" fmla="*/ 92 w 210"/>
                <a:gd name="T25" fmla="*/ 82 h 91"/>
                <a:gd name="T26" fmla="*/ 94 w 210"/>
                <a:gd name="T27" fmla="*/ 87 h 91"/>
                <a:gd name="T28" fmla="*/ 99 w 210"/>
                <a:gd name="T29" fmla="*/ 89 h 91"/>
                <a:gd name="T30" fmla="*/ 105 w 210"/>
                <a:gd name="T31" fmla="*/ 91 h 91"/>
                <a:gd name="T32" fmla="*/ 111 w 210"/>
                <a:gd name="T33" fmla="*/ 89 h 91"/>
                <a:gd name="T34" fmla="*/ 116 w 210"/>
                <a:gd name="T35" fmla="*/ 87 h 91"/>
                <a:gd name="T36" fmla="*/ 120 w 210"/>
                <a:gd name="T37" fmla="*/ 82 h 91"/>
                <a:gd name="T38" fmla="*/ 120 w 210"/>
                <a:gd name="T39" fmla="*/ 76 h 91"/>
                <a:gd name="T40" fmla="*/ 120 w 210"/>
                <a:gd name="T41" fmla="*/ 31 h 91"/>
                <a:gd name="T42" fmla="*/ 196 w 210"/>
                <a:gd name="T43" fmla="*/ 31 h 91"/>
                <a:gd name="T44" fmla="*/ 202 w 210"/>
                <a:gd name="T45" fmla="*/ 30 h 91"/>
                <a:gd name="T46" fmla="*/ 207 w 210"/>
                <a:gd name="T47" fmla="*/ 26 h 91"/>
                <a:gd name="T48" fmla="*/ 209 w 210"/>
                <a:gd name="T49" fmla="*/ 21 h 91"/>
                <a:gd name="T50" fmla="*/ 210 w 210"/>
                <a:gd name="T51" fmla="*/ 16 h 91"/>
                <a:gd name="T52" fmla="*/ 209 w 210"/>
                <a:gd name="T53" fmla="*/ 10 h 91"/>
                <a:gd name="T54" fmla="*/ 207 w 210"/>
                <a:gd name="T55" fmla="*/ 5 h 91"/>
                <a:gd name="T56" fmla="*/ 202 w 210"/>
                <a:gd name="T57" fmla="*/ 1 h 91"/>
                <a:gd name="T58" fmla="*/ 196 w 210"/>
                <a:gd name="T5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0" h="91">
                  <a:moveTo>
                    <a:pt x="196" y="0"/>
                  </a:moveTo>
                  <a:lnTo>
                    <a:pt x="15" y="0"/>
                  </a:lnTo>
                  <a:lnTo>
                    <a:pt x="9" y="1"/>
                  </a:lnTo>
                  <a:lnTo>
                    <a:pt x="5" y="5"/>
                  </a:lnTo>
                  <a:lnTo>
                    <a:pt x="2" y="10"/>
                  </a:lnTo>
                  <a:lnTo>
                    <a:pt x="0" y="16"/>
                  </a:lnTo>
                  <a:lnTo>
                    <a:pt x="2" y="21"/>
                  </a:lnTo>
                  <a:lnTo>
                    <a:pt x="5" y="26"/>
                  </a:lnTo>
                  <a:lnTo>
                    <a:pt x="9" y="30"/>
                  </a:lnTo>
                  <a:lnTo>
                    <a:pt x="15" y="31"/>
                  </a:lnTo>
                  <a:lnTo>
                    <a:pt x="91" y="31"/>
                  </a:lnTo>
                  <a:lnTo>
                    <a:pt x="91" y="76"/>
                  </a:lnTo>
                  <a:lnTo>
                    <a:pt x="92" y="82"/>
                  </a:lnTo>
                  <a:lnTo>
                    <a:pt x="94" y="87"/>
                  </a:lnTo>
                  <a:lnTo>
                    <a:pt x="99" y="89"/>
                  </a:lnTo>
                  <a:lnTo>
                    <a:pt x="105" y="91"/>
                  </a:lnTo>
                  <a:lnTo>
                    <a:pt x="111" y="89"/>
                  </a:lnTo>
                  <a:lnTo>
                    <a:pt x="116" y="87"/>
                  </a:lnTo>
                  <a:lnTo>
                    <a:pt x="120" y="82"/>
                  </a:lnTo>
                  <a:lnTo>
                    <a:pt x="120" y="76"/>
                  </a:lnTo>
                  <a:lnTo>
                    <a:pt x="120" y="31"/>
                  </a:lnTo>
                  <a:lnTo>
                    <a:pt x="196" y="31"/>
                  </a:lnTo>
                  <a:lnTo>
                    <a:pt x="202" y="30"/>
                  </a:lnTo>
                  <a:lnTo>
                    <a:pt x="207" y="26"/>
                  </a:lnTo>
                  <a:lnTo>
                    <a:pt x="209" y="21"/>
                  </a:lnTo>
                  <a:lnTo>
                    <a:pt x="210" y="16"/>
                  </a:lnTo>
                  <a:lnTo>
                    <a:pt x="209" y="10"/>
                  </a:lnTo>
                  <a:lnTo>
                    <a:pt x="207" y="5"/>
                  </a:lnTo>
                  <a:lnTo>
                    <a:pt x="202" y="1"/>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sp>
        <p:nvSpPr>
          <p:cNvPr id="167" name="TextBox 47">
            <a:extLst>
              <a:ext uri="{FF2B5EF4-FFF2-40B4-BE49-F238E27FC236}">
                <a16:creationId xmlns:a16="http://schemas.microsoft.com/office/drawing/2014/main" id="{E107EF5D-30F5-4C35-873E-1C487C639518}"/>
              </a:ext>
            </a:extLst>
          </p:cNvPr>
          <p:cNvSpPr txBox="1"/>
          <p:nvPr/>
        </p:nvSpPr>
        <p:spPr>
          <a:xfrm flipH="1">
            <a:off x="9914878" y="10740880"/>
            <a:ext cx="4552656" cy="492443"/>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b="1" dirty="0">
                <a:solidFill>
                  <a:schemeClr val="tx1">
                    <a:lumMod val="75000"/>
                    <a:lumOff val="25000"/>
                  </a:schemeClr>
                </a:solidFill>
                <a:latin typeface="+mj-lt"/>
              </a:rPr>
              <a:t>LOREM IPSUM</a:t>
            </a:r>
          </a:p>
        </p:txBody>
      </p:sp>
      <p:sp>
        <p:nvSpPr>
          <p:cNvPr id="168" name="TextBox 167">
            <a:extLst>
              <a:ext uri="{FF2B5EF4-FFF2-40B4-BE49-F238E27FC236}">
                <a16:creationId xmlns:a16="http://schemas.microsoft.com/office/drawing/2014/main" id="{4426E579-91FA-4544-BF67-4D0627850E2F}"/>
              </a:ext>
            </a:extLst>
          </p:cNvPr>
          <p:cNvSpPr txBox="1"/>
          <p:nvPr/>
        </p:nvSpPr>
        <p:spPr>
          <a:xfrm>
            <a:off x="1539573" y="8575026"/>
            <a:ext cx="5716616" cy="2154436"/>
          </a:xfrm>
          <a:prstGeom prst="rect">
            <a:avLst/>
          </a:prstGeom>
          <a:noFill/>
          <a:ln w="6350">
            <a:noFill/>
            <a:prstDash val="dash"/>
          </a:ln>
        </p:spPr>
        <p:txBody>
          <a:bodyPr wrap="square" lIns="0" tIns="0" rIns="0" bIns="0" rtlCol="0" anchor="ctr">
            <a:spAutoFit/>
          </a:bodyPr>
          <a:lstStyle/>
          <a:p>
            <a:pPr algn="r"/>
            <a:r>
              <a:rPr lang="en-US" sz="2800" dirty="0">
                <a:solidFill>
                  <a:schemeClr val="tx1">
                    <a:lumMod val="75000"/>
                    <a:lumOff val="25000"/>
                  </a:schemeClr>
                </a:solidFill>
              </a:rPr>
              <a:t>Lorem ipsum dolor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consectetur</a:t>
            </a:r>
            <a:r>
              <a:rPr lang="en-US" sz="2800" dirty="0">
                <a:solidFill>
                  <a:schemeClr val="tx1">
                    <a:lumMod val="75000"/>
                    <a:lumOff val="25000"/>
                  </a:schemeClr>
                </a:solidFill>
              </a:rPr>
              <a:t> </a:t>
            </a:r>
            <a:r>
              <a:rPr lang="en-US" sz="2800" dirty="0" err="1">
                <a:solidFill>
                  <a:schemeClr val="tx1">
                    <a:lumMod val="75000"/>
                    <a:lumOff val="25000"/>
                  </a:schemeClr>
                </a:solidFill>
              </a:rPr>
              <a:t>adipiscing</a:t>
            </a:r>
            <a:r>
              <a:rPr lang="en-US" sz="2800" dirty="0">
                <a:solidFill>
                  <a:schemeClr val="tx1">
                    <a:lumMod val="75000"/>
                    <a:lumOff val="25000"/>
                  </a:schemeClr>
                </a:solidFill>
              </a:rPr>
              <a:t> </a:t>
            </a:r>
            <a:r>
              <a:rPr lang="en-US" sz="2800" dirty="0" err="1">
                <a:solidFill>
                  <a:schemeClr val="tx1">
                    <a:lumMod val="75000"/>
                    <a:lumOff val="25000"/>
                  </a:schemeClr>
                </a:solidFill>
              </a:rPr>
              <a:t>elit</a:t>
            </a:r>
            <a:r>
              <a:rPr lang="en-US" sz="2800" dirty="0">
                <a:solidFill>
                  <a:schemeClr val="tx1">
                    <a:lumMod val="75000"/>
                    <a:lumOff val="25000"/>
                  </a:schemeClr>
                </a:solidFill>
              </a:rPr>
              <a:t>. </a:t>
            </a:r>
            <a:r>
              <a:rPr lang="en-US" sz="2800" dirty="0" err="1">
                <a:solidFill>
                  <a:schemeClr val="tx1">
                    <a:lumMod val="75000"/>
                    <a:lumOff val="25000"/>
                  </a:schemeClr>
                </a:solidFill>
              </a:rPr>
              <a:t>Pellentesque</a:t>
            </a:r>
            <a:r>
              <a:rPr lang="en-US" sz="2800" dirty="0">
                <a:solidFill>
                  <a:schemeClr val="tx1">
                    <a:lumMod val="75000"/>
                    <a:lumOff val="25000"/>
                  </a:schemeClr>
                </a:solidFill>
              </a:rPr>
              <a:t>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feugiat</a:t>
            </a:r>
            <a:r>
              <a:rPr lang="en-US" sz="2800" dirty="0">
                <a:solidFill>
                  <a:schemeClr val="tx1">
                    <a:lumMod val="75000"/>
                    <a:lumOff val="25000"/>
                  </a:schemeClr>
                </a:solidFill>
              </a:rPr>
              <a:t> mi. Maecenas </a:t>
            </a:r>
            <a:r>
              <a:rPr lang="en-US" sz="2800" dirty="0" err="1">
                <a:solidFill>
                  <a:schemeClr val="tx1">
                    <a:lumMod val="75000"/>
                    <a:lumOff val="25000"/>
                  </a:schemeClr>
                </a:solidFill>
              </a:rPr>
              <a:t>volutpat</a:t>
            </a:r>
            <a:r>
              <a:rPr lang="en-US" sz="2800" dirty="0">
                <a:solidFill>
                  <a:schemeClr val="tx1">
                    <a:lumMod val="75000"/>
                    <a:lumOff val="25000"/>
                  </a:schemeClr>
                </a:solidFill>
              </a:rPr>
              <a:t> </a:t>
            </a:r>
            <a:r>
              <a:rPr lang="en-US" sz="2800" dirty="0" err="1">
                <a:solidFill>
                  <a:schemeClr val="tx1">
                    <a:lumMod val="75000"/>
                    <a:lumOff val="25000"/>
                  </a:schemeClr>
                </a:solidFill>
              </a:rPr>
              <a:t>hendrerit</a:t>
            </a:r>
            <a:r>
              <a:rPr lang="en-US" sz="2800" dirty="0">
                <a:solidFill>
                  <a:schemeClr val="tx1">
                    <a:lumMod val="75000"/>
                    <a:lumOff val="25000"/>
                  </a:schemeClr>
                </a:solidFill>
              </a:rPr>
              <a:t> </a:t>
            </a:r>
            <a:r>
              <a:rPr lang="en-US" sz="2800" dirty="0" err="1">
                <a:solidFill>
                  <a:schemeClr val="tx1">
                    <a:lumMod val="75000"/>
                    <a:lumOff val="25000"/>
                  </a:schemeClr>
                </a:solidFill>
              </a:rPr>
              <a:t>odio</a:t>
            </a:r>
            <a:r>
              <a:rPr lang="en-US" sz="2800" dirty="0">
                <a:solidFill>
                  <a:schemeClr val="tx1">
                    <a:lumMod val="75000"/>
                    <a:lumOff val="25000"/>
                  </a:schemeClr>
                </a:solidFill>
              </a:rPr>
              <a:t> </a:t>
            </a:r>
            <a:r>
              <a:rPr lang="en-US" sz="2800" dirty="0" err="1">
                <a:solidFill>
                  <a:schemeClr val="tx1">
                    <a:lumMod val="75000"/>
                    <a:lumOff val="25000"/>
                  </a:schemeClr>
                </a:solidFill>
              </a:rPr>
              <a:t>quis</a:t>
            </a:r>
            <a:r>
              <a:rPr lang="en-US" sz="2800" dirty="0">
                <a:solidFill>
                  <a:schemeClr val="tx1">
                    <a:lumMod val="75000"/>
                    <a:lumOff val="25000"/>
                  </a:schemeClr>
                </a:solidFill>
              </a:rPr>
              <a:t> </a:t>
            </a:r>
            <a:r>
              <a:rPr lang="en-US" sz="2800" dirty="0" err="1">
                <a:solidFill>
                  <a:schemeClr val="tx1">
                    <a:lumMod val="75000"/>
                    <a:lumOff val="25000"/>
                  </a:schemeClr>
                </a:solidFill>
              </a:rPr>
              <a:t>mattis</a:t>
            </a:r>
            <a:r>
              <a:rPr lang="en-US" sz="2800" dirty="0">
                <a:solidFill>
                  <a:schemeClr val="tx1">
                    <a:lumMod val="75000"/>
                    <a:lumOff val="25000"/>
                  </a:schemeClr>
                </a:solidFill>
              </a:rPr>
              <a:t>. </a:t>
            </a:r>
          </a:p>
        </p:txBody>
      </p:sp>
      <p:sp>
        <p:nvSpPr>
          <p:cNvPr id="169" name="TextBox 168">
            <a:extLst>
              <a:ext uri="{FF2B5EF4-FFF2-40B4-BE49-F238E27FC236}">
                <a16:creationId xmlns:a16="http://schemas.microsoft.com/office/drawing/2014/main" id="{254A1077-9D81-4524-AFC6-0420029EA20B}"/>
              </a:ext>
            </a:extLst>
          </p:cNvPr>
          <p:cNvSpPr txBox="1"/>
          <p:nvPr/>
        </p:nvSpPr>
        <p:spPr>
          <a:xfrm>
            <a:off x="1322500" y="5635979"/>
            <a:ext cx="5716616" cy="2154436"/>
          </a:xfrm>
          <a:prstGeom prst="rect">
            <a:avLst/>
          </a:prstGeom>
          <a:noFill/>
          <a:ln w="6350">
            <a:noFill/>
            <a:prstDash val="dash"/>
          </a:ln>
        </p:spPr>
        <p:txBody>
          <a:bodyPr wrap="square" lIns="0" tIns="0" rIns="0" bIns="0" rtlCol="0" anchor="ctr">
            <a:spAutoFit/>
          </a:bodyPr>
          <a:lstStyle/>
          <a:p>
            <a:pPr algn="r"/>
            <a:r>
              <a:rPr lang="en-US" sz="2800" dirty="0">
                <a:solidFill>
                  <a:schemeClr val="tx1">
                    <a:lumMod val="75000"/>
                    <a:lumOff val="25000"/>
                  </a:schemeClr>
                </a:solidFill>
              </a:rPr>
              <a:t>Lorem ipsum dolor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consectetur</a:t>
            </a:r>
            <a:r>
              <a:rPr lang="en-US" sz="2800" dirty="0">
                <a:solidFill>
                  <a:schemeClr val="tx1">
                    <a:lumMod val="75000"/>
                    <a:lumOff val="25000"/>
                  </a:schemeClr>
                </a:solidFill>
              </a:rPr>
              <a:t> </a:t>
            </a:r>
            <a:r>
              <a:rPr lang="en-US" sz="2800" dirty="0" err="1">
                <a:solidFill>
                  <a:schemeClr val="tx1">
                    <a:lumMod val="75000"/>
                    <a:lumOff val="25000"/>
                  </a:schemeClr>
                </a:solidFill>
              </a:rPr>
              <a:t>adipiscing</a:t>
            </a:r>
            <a:r>
              <a:rPr lang="en-US" sz="2800" dirty="0">
                <a:solidFill>
                  <a:schemeClr val="tx1">
                    <a:lumMod val="75000"/>
                    <a:lumOff val="25000"/>
                  </a:schemeClr>
                </a:solidFill>
              </a:rPr>
              <a:t> </a:t>
            </a:r>
            <a:r>
              <a:rPr lang="en-US" sz="2800" dirty="0" err="1">
                <a:solidFill>
                  <a:schemeClr val="tx1">
                    <a:lumMod val="75000"/>
                    <a:lumOff val="25000"/>
                  </a:schemeClr>
                </a:solidFill>
              </a:rPr>
              <a:t>elit</a:t>
            </a:r>
            <a:r>
              <a:rPr lang="en-US" sz="2800" dirty="0">
                <a:solidFill>
                  <a:schemeClr val="tx1">
                    <a:lumMod val="75000"/>
                    <a:lumOff val="25000"/>
                  </a:schemeClr>
                </a:solidFill>
              </a:rPr>
              <a:t>. </a:t>
            </a:r>
            <a:r>
              <a:rPr lang="en-US" sz="2800" dirty="0" err="1">
                <a:solidFill>
                  <a:schemeClr val="tx1">
                    <a:lumMod val="75000"/>
                    <a:lumOff val="25000"/>
                  </a:schemeClr>
                </a:solidFill>
              </a:rPr>
              <a:t>Pellentesque</a:t>
            </a:r>
            <a:r>
              <a:rPr lang="en-US" sz="2800" dirty="0">
                <a:solidFill>
                  <a:schemeClr val="tx1">
                    <a:lumMod val="75000"/>
                    <a:lumOff val="25000"/>
                  </a:schemeClr>
                </a:solidFill>
              </a:rPr>
              <a:t>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feugiat</a:t>
            </a:r>
            <a:r>
              <a:rPr lang="en-US" sz="2800" dirty="0">
                <a:solidFill>
                  <a:schemeClr val="tx1">
                    <a:lumMod val="75000"/>
                    <a:lumOff val="25000"/>
                  </a:schemeClr>
                </a:solidFill>
              </a:rPr>
              <a:t> mi. Maecenas </a:t>
            </a:r>
            <a:r>
              <a:rPr lang="en-US" sz="2800" dirty="0" err="1">
                <a:solidFill>
                  <a:schemeClr val="tx1">
                    <a:lumMod val="75000"/>
                    <a:lumOff val="25000"/>
                  </a:schemeClr>
                </a:solidFill>
              </a:rPr>
              <a:t>volutpat</a:t>
            </a:r>
            <a:r>
              <a:rPr lang="en-US" sz="2800" dirty="0">
                <a:solidFill>
                  <a:schemeClr val="tx1">
                    <a:lumMod val="75000"/>
                    <a:lumOff val="25000"/>
                  </a:schemeClr>
                </a:solidFill>
              </a:rPr>
              <a:t> </a:t>
            </a:r>
            <a:r>
              <a:rPr lang="en-US" sz="2800" dirty="0" err="1">
                <a:solidFill>
                  <a:schemeClr val="tx1">
                    <a:lumMod val="75000"/>
                    <a:lumOff val="25000"/>
                  </a:schemeClr>
                </a:solidFill>
              </a:rPr>
              <a:t>hendrerit</a:t>
            </a:r>
            <a:r>
              <a:rPr lang="en-US" sz="2800" dirty="0">
                <a:solidFill>
                  <a:schemeClr val="tx1">
                    <a:lumMod val="75000"/>
                    <a:lumOff val="25000"/>
                  </a:schemeClr>
                </a:solidFill>
              </a:rPr>
              <a:t> </a:t>
            </a:r>
            <a:r>
              <a:rPr lang="en-US" sz="2800" dirty="0" err="1">
                <a:solidFill>
                  <a:schemeClr val="tx1">
                    <a:lumMod val="75000"/>
                    <a:lumOff val="25000"/>
                  </a:schemeClr>
                </a:solidFill>
              </a:rPr>
              <a:t>odio</a:t>
            </a:r>
            <a:r>
              <a:rPr lang="en-US" sz="2800" dirty="0">
                <a:solidFill>
                  <a:schemeClr val="tx1">
                    <a:lumMod val="75000"/>
                    <a:lumOff val="25000"/>
                  </a:schemeClr>
                </a:solidFill>
              </a:rPr>
              <a:t> </a:t>
            </a:r>
            <a:r>
              <a:rPr lang="en-US" sz="2800" dirty="0" err="1">
                <a:solidFill>
                  <a:schemeClr val="tx1">
                    <a:lumMod val="75000"/>
                    <a:lumOff val="25000"/>
                  </a:schemeClr>
                </a:solidFill>
              </a:rPr>
              <a:t>quis</a:t>
            </a:r>
            <a:r>
              <a:rPr lang="en-US" sz="2800" dirty="0">
                <a:solidFill>
                  <a:schemeClr val="tx1">
                    <a:lumMod val="75000"/>
                    <a:lumOff val="25000"/>
                  </a:schemeClr>
                </a:solidFill>
              </a:rPr>
              <a:t> </a:t>
            </a:r>
            <a:r>
              <a:rPr lang="en-US" sz="2800" dirty="0" err="1">
                <a:solidFill>
                  <a:schemeClr val="tx1">
                    <a:lumMod val="75000"/>
                    <a:lumOff val="25000"/>
                  </a:schemeClr>
                </a:solidFill>
              </a:rPr>
              <a:t>mattis</a:t>
            </a:r>
            <a:r>
              <a:rPr lang="en-US" sz="2800" dirty="0">
                <a:solidFill>
                  <a:schemeClr val="tx1">
                    <a:lumMod val="75000"/>
                    <a:lumOff val="25000"/>
                  </a:schemeClr>
                </a:solidFill>
              </a:rPr>
              <a:t>. </a:t>
            </a:r>
          </a:p>
        </p:txBody>
      </p:sp>
      <p:sp>
        <p:nvSpPr>
          <p:cNvPr id="170" name="TextBox 169">
            <a:extLst>
              <a:ext uri="{FF2B5EF4-FFF2-40B4-BE49-F238E27FC236}">
                <a16:creationId xmlns:a16="http://schemas.microsoft.com/office/drawing/2014/main" id="{CED2480F-56B1-4B43-8E0F-C3C2B19BEF5A}"/>
              </a:ext>
            </a:extLst>
          </p:cNvPr>
          <p:cNvSpPr txBox="1"/>
          <p:nvPr/>
        </p:nvSpPr>
        <p:spPr>
          <a:xfrm>
            <a:off x="2751950" y="2696934"/>
            <a:ext cx="5716616" cy="2154436"/>
          </a:xfrm>
          <a:prstGeom prst="rect">
            <a:avLst/>
          </a:prstGeom>
          <a:noFill/>
          <a:ln w="6350">
            <a:noFill/>
            <a:prstDash val="dash"/>
          </a:ln>
        </p:spPr>
        <p:txBody>
          <a:bodyPr wrap="square" lIns="0" tIns="0" rIns="0" bIns="0" rtlCol="0" anchor="ctr">
            <a:spAutoFit/>
          </a:bodyPr>
          <a:lstStyle/>
          <a:p>
            <a:pPr algn="r"/>
            <a:r>
              <a:rPr lang="en-US" sz="2800" dirty="0">
                <a:solidFill>
                  <a:schemeClr val="tx1">
                    <a:lumMod val="75000"/>
                    <a:lumOff val="25000"/>
                  </a:schemeClr>
                </a:solidFill>
              </a:rPr>
              <a:t>Lorem ipsum dolor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consectetur</a:t>
            </a:r>
            <a:r>
              <a:rPr lang="en-US" sz="2800" dirty="0">
                <a:solidFill>
                  <a:schemeClr val="tx1">
                    <a:lumMod val="75000"/>
                    <a:lumOff val="25000"/>
                  </a:schemeClr>
                </a:solidFill>
              </a:rPr>
              <a:t> </a:t>
            </a:r>
            <a:r>
              <a:rPr lang="en-US" sz="2800" dirty="0" err="1">
                <a:solidFill>
                  <a:schemeClr val="tx1">
                    <a:lumMod val="75000"/>
                    <a:lumOff val="25000"/>
                  </a:schemeClr>
                </a:solidFill>
              </a:rPr>
              <a:t>adipiscing</a:t>
            </a:r>
            <a:r>
              <a:rPr lang="en-US" sz="2800" dirty="0">
                <a:solidFill>
                  <a:schemeClr val="tx1">
                    <a:lumMod val="75000"/>
                    <a:lumOff val="25000"/>
                  </a:schemeClr>
                </a:solidFill>
              </a:rPr>
              <a:t> </a:t>
            </a:r>
            <a:r>
              <a:rPr lang="en-US" sz="2800" dirty="0" err="1">
                <a:solidFill>
                  <a:schemeClr val="tx1">
                    <a:lumMod val="75000"/>
                    <a:lumOff val="25000"/>
                  </a:schemeClr>
                </a:solidFill>
              </a:rPr>
              <a:t>elit</a:t>
            </a:r>
            <a:r>
              <a:rPr lang="en-US" sz="2800" dirty="0">
                <a:solidFill>
                  <a:schemeClr val="tx1">
                    <a:lumMod val="75000"/>
                    <a:lumOff val="25000"/>
                  </a:schemeClr>
                </a:solidFill>
              </a:rPr>
              <a:t>. </a:t>
            </a:r>
            <a:r>
              <a:rPr lang="en-US" sz="2800" dirty="0" err="1">
                <a:solidFill>
                  <a:schemeClr val="tx1">
                    <a:lumMod val="75000"/>
                    <a:lumOff val="25000"/>
                  </a:schemeClr>
                </a:solidFill>
              </a:rPr>
              <a:t>Pellentesque</a:t>
            </a:r>
            <a:r>
              <a:rPr lang="en-US" sz="2800" dirty="0">
                <a:solidFill>
                  <a:schemeClr val="tx1">
                    <a:lumMod val="75000"/>
                    <a:lumOff val="25000"/>
                  </a:schemeClr>
                </a:solidFill>
              </a:rPr>
              <a:t>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feugiat</a:t>
            </a:r>
            <a:r>
              <a:rPr lang="en-US" sz="2800" dirty="0">
                <a:solidFill>
                  <a:schemeClr val="tx1">
                    <a:lumMod val="75000"/>
                    <a:lumOff val="25000"/>
                  </a:schemeClr>
                </a:solidFill>
              </a:rPr>
              <a:t> mi. Maecenas </a:t>
            </a:r>
            <a:r>
              <a:rPr lang="en-US" sz="2800" dirty="0" err="1">
                <a:solidFill>
                  <a:schemeClr val="tx1">
                    <a:lumMod val="75000"/>
                    <a:lumOff val="25000"/>
                  </a:schemeClr>
                </a:solidFill>
              </a:rPr>
              <a:t>volutpat</a:t>
            </a:r>
            <a:r>
              <a:rPr lang="en-US" sz="2800" dirty="0">
                <a:solidFill>
                  <a:schemeClr val="tx1">
                    <a:lumMod val="75000"/>
                    <a:lumOff val="25000"/>
                  </a:schemeClr>
                </a:solidFill>
              </a:rPr>
              <a:t> </a:t>
            </a:r>
            <a:r>
              <a:rPr lang="en-US" sz="2800" dirty="0" err="1">
                <a:solidFill>
                  <a:schemeClr val="tx1">
                    <a:lumMod val="75000"/>
                    <a:lumOff val="25000"/>
                  </a:schemeClr>
                </a:solidFill>
              </a:rPr>
              <a:t>hendrerit</a:t>
            </a:r>
            <a:r>
              <a:rPr lang="en-US" sz="2800" dirty="0">
                <a:solidFill>
                  <a:schemeClr val="tx1">
                    <a:lumMod val="75000"/>
                    <a:lumOff val="25000"/>
                  </a:schemeClr>
                </a:solidFill>
              </a:rPr>
              <a:t> </a:t>
            </a:r>
            <a:r>
              <a:rPr lang="en-US" sz="2800" dirty="0" err="1">
                <a:solidFill>
                  <a:schemeClr val="tx1">
                    <a:lumMod val="75000"/>
                    <a:lumOff val="25000"/>
                  </a:schemeClr>
                </a:solidFill>
              </a:rPr>
              <a:t>odio</a:t>
            </a:r>
            <a:r>
              <a:rPr lang="en-US" sz="2800" dirty="0">
                <a:solidFill>
                  <a:schemeClr val="tx1">
                    <a:lumMod val="75000"/>
                    <a:lumOff val="25000"/>
                  </a:schemeClr>
                </a:solidFill>
              </a:rPr>
              <a:t> </a:t>
            </a:r>
            <a:r>
              <a:rPr lang="en-US" sz="2800" dirty="0" err="1">
                <a:solidFill>
                  <a:schemeClr val="tx1">
                    <a:lumMod val="75000"/>
                    <a:lumOff val="25000"/>
                  </a:schemeClr>
                </a:solidFill>
              </a:rPr>
              <a:t>quis</a:t>
            </a:r>
            <a:r>
              <a:rPr lang="en-US" sz="2800" dirty="0">
                <a:solidFill>
                  <a:schemeClr val="tx1">
                    <a:lumMod val="75000"/>
                    <a:lumOff val="25000"/>
                  </a:schemeClr>
                </a:solidFill>
              </a:rPr>
              <a:t> </a:t>
            </a:r>
            <a:r>
              <a:rPr lang="en-US" sz="2800" dirty="0" err="1">
                <a:solidFill>
                  <a:schemeClr val="tx1">
                    <a:lumMod val="75000"/>
                    <a:lumOff val="25000"/>
                  </a:schemeClr>
                </a:solidFill>
              </a:rPr>
              <a:t>mattis</a:t>
            </a:r>
            <a:r>
              <a:rPr lang="en-US" sz="2800" dirty="0">
                <a:solidFill>
                  <a:schemeClr val="tx1">
                    <a:lumMod val="75000"/>
                    <a:lumOff val="25000"/>
                  </a:schemeClr>
                </a:solidFill>
              </a:rPr>
              <a:t>. </a:t>
            </a:r>
          </a:p>
        </p:txBody>
      </p:sp>
      <p:sp>
        <p:nvSpPr>
          <p:cNvPr id="172" name="TextBox 171">
            <a:extLst>
              <a:ext uri="{FF2B5EF4-FFF2-40B4-BE49-F238E27FC236}">
                <a16:creationId xmlns:a16="http://schemas.microsoft.com/office/drawing/2014/main" id="{2BDC30BC-A4C5-417B-91B0-DAE99DAF0785}"/>
              </a:ext>
            </a:extLst>
          </p:cNvPr>
          <p:cNvSpPr txBox="1"/>
          <p:nvPr/>
        </p:nvSpPr>
        <p:spPr>
          <a:xfrm flipH="1">
            <a:off x="17126225" y="8575026"/>
            <a:ext cx="5716616" cy="2154436"/>
          </a:xfrm>
          <a:prstGeom prst="rect">
            <a:avLst/>
          </a:prstGeom>
          <a:noFill/>
          <a:ln w="6350">
            <a:noFill/>
            <a:prstDash val="dash"/>
          </a:ln>
        </p:spPr>
        <p:txBody>
          <a:bodyPr wrap="square" lIns="0" tIns="0" rIns="0" bIns="0" rtlCol="0" anchor="ctr">
            <a:spAutoFit/>
          </a:bodyPr>
          <a:lstStyle/>
          <a:p>
            <a:r>
              <a:rPr lang="en-US" sz="2800" dirty="0">
                <a:solidFill>
                  <a:schemeClr val="tx1">
                    <a:lumMod val="75000"/>
                    <a:lumOff val="25000"/>
                  </a:schemeClr>
                </a:solidFill>
              </a:rPr>
              <a:t>Lorem ipsum dolor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consectetur</a:t>
            </a:r>
            <a:r>
              <a:rPr lang="en-US" sz="2800" dirty="0">
                <a:solidFill>
                  <a:schemeClr val="tx1">
                    <a:lumMod val="75000"/>
                    <a:lumOff val="25000"/>
                  </a:schemeClr>
                </a:solidFill>
              </a:rPr>
              <a:t> </a:t>
            </a:r>
            <a:r>
              <a:rPr lang="en-US" sz="2800" dirty="0" err="1">
                <a:solidFill>
                  <a:schemeClr val="tx1">
                    <a:lumMod val="75000"/>
                    <a:lumOff val="25000"/>
                  </a:schemeClr>
                </a:solidFill>
              </a:rPr>
              <a:t>adipiscing</a:t>
            </a:r>
            <a:r>
              <a:rPr lang="en-US" sz="2800" dirty="0">
                <a:solidFill>
                  <a:schemeClr val="tx1">
                    <a:lumMod val="75000"/>
                    <a:lumOff val="25000"/>
                  </a:schemeClr>
                </a:solidFill>
              </a:rPr>
              <a:t> </a:t>
            </a:r>
            <a:r>
              <a:rPr lang="en-US" sz="2800" dirty="0" err="1">
                <a:solidFill>
                  <a:schemeClr val="tx1">
                    <a:lumMod val="75000"/>
                    <a:lumOff val="25000"/>
                  </a:schemeClr>
                </a:solidFill>
              </a:rPr>
              <a:t>elit</a:t>
            </a:r>
            <a:r>
              <a:rPr lang="en-US" sz="2800" dirty="0">
                <a:solidFill>
                  <a:schemeClr val="tx1">
                    <a:lumMod val="75000"/>
                    <a:lumOff val="25000"/>
                  </a:schemeClr>
                </a:solidFill>
              </a:rPr>
              <a:t>. </a:t>
            </a:r>
            <a:r>
              <a:rPr lang="en-US" sz="2800" dirty="0" err="1">
                <a:solidFill>
                  <a:schemeClr val="tx1">
                    <a:lumMod val="75000"/>
                    <a:lumOff val="25000"/>
                  </a:schemeClr>
                </a:solidFill>
              </a:rPr>
              <a:t>Pellentesque</a:t>
            </a:r>
            <a:r>
              <a:rPr lang="en-US" sz="2800" dirty="0">
                <a:solidFill>
                  <a:schemeClr val="tx1">
                    <a:lumMod val="75000"/>
                    <a:lumOff val="25000"/>
                  </a:schemeClr>
                </a:solidFill>
              </a:rPr>
              <a:t>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feugiat</a:t>
            </a:r>
            <a:r>
              <a:rPr lang="en-US" sz="2800" dirty="0">
                <a:solidFill>
                  <a:schemeClr val="tx1">
                    <a:lumMod val="75000"/>
                    <a:lumOff val="25000"/>
                  </a:schemeClr>
                </a:solidFill>
              </a:rPr>
              <a:t> mi. Maecenas </a:t>
            </a:r>
            <a:r>
              <a:rPr lang="en-US" sz="2800" dirty="0" err="1">
                <a:solidFill>
                  <a:schemeClr val="tx1">
                    <a:lumMod val="75000"/>
                    <a:lumOff val="25000"/>
                  </a:schemeClr>
                </a:solidFill>
              </a:rPr>
              <a:t>volutpat</a:t>
            </a:r>
            <a:r>
              <a:rPr lang="en-US" sz="2800" dirty="0">
                <a:solidFill>
                  <a:schemeClr val="tx1">
                    <a:lumMod val="75000"/>
                    <a:lumOff val="25000"/>
                  </a:schemeClr>
                </a:solidFill>
              </a:rPr>
              <a:t> </a:t>
            </a:r>
            <a:r>
              <a:rPr lang="en-US" sz="2800" dirty="0" err="1">
                <a:solidFill>
                  <a:schemeClr val="tx1">
                    <a:lumMod val="75000"/>
                    <a:lumOff val="25000"/>
                  </a:schemeClr>
                </a:solidFill>
              </a:rPr>
              <a:t>hendrerit</a:t>
            </a:r>
            <a:r>
              <a:rPr lang="en-US" sz="2800" dirty="0">
                <a:solidFill>
                  <a:schemeClr val="tx1">
                    <a:lumMod val="75000"/>
                    <a:lumOff val="25000"/>
                  </a:schemeClr>
                </a:solidFill>
              </a:rPr>
              <a:t> </a:t>
            </a:r>
            <a:r>
              <a:rPr lang="en-US" sz="2800" dirty="0" err="1">
                <a:solidFill>
                  <a:schemeClr val="tx1">
                    <a:lumMod val="75000"/>
                    <a:lumOff val="25000"/>
                  </a:schemeClr>
                </a:solidFill>
              </a:rPr>
              <a:t>odio</a:t>
            </a:r>
            <a:r>
              <a:rPr lang="en-US" sz="2800" dirty="0">
                <a:solidFill>
                  <a:schemeClr val="tx1">
                    <a:lumMod val="75000"/>
                    <a:lumOff val="25000"/>
                  </a:schemeClr>
                </a:solidFill>
              </a:rPr>
              <a:t> </a:t>
            </a:r>
            <a:r>
              <a:rPr lang="en-US" sz="2800" dirty="0" err="1">
                <a:solidFill>
                  <a:schemeClr val="tx1">
                    <a:lumMod val="75000"/>
                    <a:lumOff val="25000"/>
                  </a:schemeClr>
                </a:solidFill>
              </a:rPr>
              <a:t>quis</a:t>
            </a:r>
            <a:r>
              <a:rPr lang="en-US" sz="2800" dirty="0">
                <a:solidFill>
                  <a:schemeClr val="tx1">
                    <a:lumMod val="75000"/>
                    <a:lumOff val="25000"/>
                  </a:schemeClr>
                </a:solidFill>
              </a:rPr>
              <a:t> </a:t>
            </a:r>
            <a:r>
              <a:rPr lang="en-US" sz="2800" dirty="0" err="1">
                <a:solidFill>
                  <a:schemeClr val="tx1">
                    <a:lumMod val="75000"/>
                    <a:lumOff val="25000"/>
                  </a:schemeClr>
                </a:solidFill>
              </a:rPr>
              <a:t>mattis</a:t>
            </a:r>
            <a:r>
              <a:rPr lang="en-US" sz="2800" dirty="0">
                <a:solidFill>
                  <a:schemeClr val="tx1">
                    <a:lumMod val="75000"/>
                    <a:lumOff val="25000"/>
                  </a:schemeClr>
                </a:solidFill>
              </a:rPr>
              <a:t>. </a:t>
            </a:r>
          </a:p>
        </p:txBody>
      </p:sp>
      <p:sp>
        <p:nvSpPr>
          <p:cNvPr id="173" name="TextBox 172">
            <a:extLst>
              <a:ext uri="{FF2B5EF4-FFF2-40B4-BE49-F238E27FC236}">
                <a16:creationId xmlns:a16="http://schemas.microsoft.com/office/drawing/2014/main" id="{9AEA346A-7438-4122-BDEE-77643289639E}"/>
              </a:ext>
            </a:extLst>
          </p:cNvPr>
          <p:cNvSpPr txBox="1"/>
          <p:nvPr/>
        </p:nvSpPr>
        <p:spPr>
          <a:xfrm flipH="1">
            <a:off x="17343298" y="5635979"/>
            <a:ext cx="5716616" cy="2154436"/>
          </a:xfrm>
          <a:prstGeom prst="rect">
            <a:avLst/>
          </a:prstGeom>
          <a:noFill/>
          <a:ln w="6350">
            <a:noFill/>
            <a:prstDash val="dash"/>
          </a:ln>
        </p:spPr>
        <p:txBody>
          <a:bodyPr wrap="square" lIns="0" tIns="0" rIns="0" bIns="0" rtlCol="0" anchor="ctr">
            <a:spAutoFit/>
          </a:bodyPr>
          <a:lstStyle/>
          <a:p>
            <a:r>
              <a:rPr lang="en-US" sz="2800" dirty="0">
                <a:solidFill>
                  <a:schemeClr val="tx1">
                    <a:lumMod val="75000"/>
                    <a:lumOff val="25000"/>
                  </a:schemeClr>
                </a:solidFill>
              </a:rPr>
              <a:t>Lorem ipsum dolor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consectetur</a:t>
            </a:r>
            <a:r>
              <a:rPr lang="en-US" sz="2800" dirty="0">
                <a:solidFill>
                  <a:schemeClr val="tx1">
                    <a:lumMod val="75000"/>
                    <a:lumOff val="25000"/>
                  </a:schemeClr>
                </a:solidFill>
              </a:rPr>
              <a:t> </a:t>
            </a:r>
            <a:r>
              <a:rPr lang="en-US" sz="2800" dirty="0" err="1">
                <a:solidFill>
                  <a:schemeClr val="tx1">
                    <a:lumMod val="75000"/>
                    <a:lumOff val="25000"/>
                  </a:schemeClr>
                </a:solidFill>
              </a:rPr>
              <a:t>adipiscing</a:t>
            </a:r>
            <a:r>
              <a:rPr lang="en-US" sz="2800" dirty="0">
                <a:solidFill>
                  <a:schemeClr val="tx1">
                    <a:lumMod val="75000"/>
                    <a:lumOff val="25000"/>
                  </a:schemeClr>
                </a:solidFill>
              </a:rPr>
              <a:t> </a:t>
            </a:r>
            <a:r>
              <a:rPr lang="en-US" sz="2800" dirty="0" err="1">
                <a:solidFill>
                  <a:schemeClr val="tx1">
                    <a:lumMod val="75000"/>
                    <a:lumOff val="25000"/>
                  </a:schemeClr>
                </a:solidFill>
              </a:rPr>
              <a:t>elit</a:t>
            </a:r>
            <a:r>
              <a:rPr lang="en-US" sz="2800" dirty="0">
                <a:solidFill>
                  <a:schemeClr val="tx1">
                    <a:lumMod val="75000"/>
                    <a:lumOff val="25000"/>
                  </a:schemeClr>
                </a:solidFill>
              </a:rPr>
              <a:t>. </a:t>
            </a:r>
            <a:r>
              <a:rPr lang="en-US" sz="2800" dirty="0" err="1">
                <a:solidFill>
                  <a:schemeClr val="tx1">
                    <a:lumMod val="75000"/>
                    <a:lumOff val="25000"/>
                  </a:schemeClr>
                </a:solidFill>
              </a:rPr>
              <a:t>Pellentesque</a:t>
            </a:r>
            <a:r>
              <a:rPr lang="en-US" sz="2800" dirty="0">
                <a:solidFill>
                  <a:schemeClr val="tx1">
                    <a:lumMod val="75000"/>
                    <a:lumOff val="25000"/>
                  </a:schemeClr>
                </a:solidFill>
              </a:rPr>
              <a:t>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feugiat</a:t>
            </a:r>
            <a:r>
              <a:rPr lang="en-US" sz="2800" dirty="0">
                <a:solidFill>
                  <a:schemeClr val="tx1">
                    <a:lumMod val="75000"/>
                    <a:lumOff val="25000"/>
                  </a:schemeClr>
                </a:solidFill>
              </a:rPr>
              <a:t> mi. Maecenas </a:t>
            </a:r>
            <a:r>
              <a:rPr lang="en-US" sz="2800" dirty="0" err="1">
                <a:solidFill>
                  <a:schemeClr val="tx1">
                    <a:lumMod val="75000"/>
                    <a:lumOff val="25000"/>
                  </a:schemeClr>
                </a:solidFill>
              </a:rPr>
              <a:t>volutpat</a:t>
            </a:r>
            <a:r>
              <a:rPr lang="en-US" sz="2800" dirty="0">
                <a:solidFill>
                  <a:schemeClr val="tx1">
                    <a:lumMod val="75000"/>
                    <a:lumOff val="25000"/>
                  </a:schemeClr>
                </a:solidFill>
              </a:rPr>
              <a:t> </a:t>
            </a:r>
            <a:r>
              <a:rPr lang="en-US" sz="2800" dirty="0" err="1">
                <a:solidFill>
                  <a:schemeClr val="tx1">
                    <a:lumMod val="75000"/>
                    <a:lumOff val="25000"/>
                  </a:schemeClr>
                </a:solidFill>
              </a:rPr>
              <a:t>hendrerit</a:t>
            </a:r>
            <a:r>
              <a:rPr lang="en-US" sz="2800" dirty="0">
                <a:solidFill>
                  <a:schemeClr val="tx1">
                    <a:lumMod val="75000"/>
                    <a:lumOff val="25000"/>
                  </a:schemeClr>
                </a:solidFill>
              </a:rPr>
              <a:t> </a:t>
            </a:r>
            <a:r>
              <a:rPr lang="en-US" sz="2800" dirty="0" err="1">
                <a:solidFill>
                  <a:schemeClr val="tx1">
                    <a:lumMod val="75000"/>
                    <a:lumOff val="25000"/>
                  </a:schemeClr>
                </a:solidFill>
              </a:rPr>
              <a:t>odio</a:t>
            </a:r>
            <a:r>
              <a:rPr lang="en-US" sz="2800" dirty="0">
                <a:solidFill>
                  <a:schemeClr val="tx1">
                    <a:lumMod val="75000"/>
                    <a:lumOff val="25000"/>
                  </a:schemeClr>
                </a:solidFill>
              </a:rPr>
              <a:t> </a:t>
            </a:r>
            <a:r>
              <a:rPr lang="en-US" sz="2800" dirty="0" err="1">
                <a:solidFill>
                  <a:schemeClr val="tx1">
                    <a:lumMod val="75000"/>
                    <a:lumOff val="25000"/>
                  </a:schemeClr>
                </a:solidFill>
              </a:rPr>
              <a:t>quis</a:t>
            </a:r>
            <a:r>
              <a:rPr lang="en-US" sz="2800" dirty="0">
                <a:solidFill>
                  <a:schemeClr val="tx1">
                    <a:lumMod val="75000"/>
                    <a:lumOff val="25000"/>
                  </a:schemeClr>
                </a:solidFill>
              </a:rPr>
              <a:t> </a:t>
            </a:r>
            <a:r>
              <a:rPr lang="en-US" sz="2800" dirty="0" err="1">
                <a:solidFill>
                  <a:schemeClr val="tx1">
                    <a:lumMod val="75000"/>
                    <a:lumOff val="25000"/>
                  </a:schemeClr>
                </a:solidFill>
              </a:rPr>
              <a:t>mattis</a:t>
            </a:r>
            <a:r>
              <a:rPr lang="en-US" sz="2800" dirty="0">
                <a:solidFill>
                  <a:schemeClr val="tx1">
                    <a:lumMod val="75000"/>
                    <a:lumOff val="25000"/>
                  </a:schemeClr>
                </a:solidFill>
              </a:rPr>
              <a:t>. </a:t>
            </a:r>
          </a:p>
        </p:txBody>
      </p:sp>
      <p:sp>
        <p:nvSpPr>
          <p:cNvPr id="174" name="TextBox 173">
            <a:extLst>
              <a:ext uri="{FF2B5EF4-FFF2-40B4-BE49-F238E27FC236}">
                <a16:creationId xmlns:a16="http://schemas.microsoft.com/office/drawing/2014/main" id="{5B5D859D-DB16-4E9D-930D-0A3370C68A3F}"/>
              </a:ext>
            </a:extLst>
          </p:cNvPr>
          <p:cNvSpPr txBox="1"/>
          <p:nvPr/>
        </p:nvSpPr>
        <p:spPr>
          <a:xfrm flipH="1">
            <a:off x="15913848" y="2696934"/>
            <a:ext cx="5716616" cy="2154436"/>
          </a:xfrm>
          <a:prstGeom prst="rect">
            <a:avLst/>
          </a:prstGeom>
          <a:noFill/>
          <a:ln w="6350">
            <a:noFill/>
            <a:prstDash val="dash"/>
          </a:ln>
        </p:spPr>
        <p:txBody>
          <a:bodyPr wrap="square" lIns="0" tIns="0" rIns="0" bIns="0" rtlCol="0" anchor="ctr">
            <a:spAutoFit/>
          </a:bodyPr>
          <a:lstStyle/>
          <a:p>
            <a:r>
              <a:rPr lang="en-US" sz="2800" dirty="0">
                <a:solidFill>
                  <a:schemeClr val="tx1">
                    <a:lumMod val="75000"/>
                    <a:lumOff val="25000"/>
                  </a:schemeClr>
                </a:solidFill>
              </a:rPr>
              <a:t>Lorem ipsum dolor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consectetur</a:t>
            </a:r>
            <a:r>
              <a:rPr lang="en-US" sz="2800" dirty="0">
                <a:solidFill>
                  <a:schemeClr val="tx1">
                    <a:lumMod val="75000"/>
                    <a:lumOff val="25000"/>
                  </a:schemeClr>
                </a:solidFill>
              </a:rPr>
              <a:t> </a:t>
            </a:r>
            <a:r>
              <a:rPr lang="en-US" sz="2800" dirty="0" err="1">
                <a:solidFill>
                  <a:schemeClr val="tx1">
                    <a:lumMod val="75000"/>
                    <a:lumOff val="25000"/>
                  </a:schemeClr>
                </a:solidFill>
              </a:rPr>
              <a:t>adipiscing</a:t>
            </a:r>
            <a:r>
              <a:rPr lang="en-US" sz="2800" dirty="0">
                <a:solidFill>
                  <a:schemeClr val="tx1">
                    <a:lumMod val="75000"/>
                    <a:lumOff val="25000"/>
                  </a:schemeClr>
                </a:solidFill>
              </a:rPr>
              <a:t> </a:t>
            </a:r>
            <a:r>
              <a:rPr lang="en-US" sz="2800" dirty="0" err="1">
                <a:solidFill>
                  <a:schemeClr val="tx1">
                    <a:lumMod val="75000"/>
                    <a:lumOff val="25000"/>
                  </a:schemeClr>
                </a:solidFill>
              </a:rPr>
              <a:t>elit</a:t>
            </a:r>
            <a:r>
              <a:rPr lang="en-US" sz="2800" dirty="0">
                <a:solidFill>
                  <a:schemeClr val="tx1">
                    <a:lumMod val="75000"/>
                    <a:lumOff val="25000"/>
                  </a:schemeClr>
                </a:solidFill>
              </a:rPr>
              <a:t>. </a:t>
            </a:r>
            <a:r>
              <a:rPr lang="en-US" sz="2800" dirty="0" err="1">
                <a:solidFill>
                  <a:schemeClr val="tx1">
                    <a:lumMod val="75000"/>
                    <a:lumOff val="25000"/>
                  </a:schemeClr>
                </a:solidFill>
              </a:rPr>
              <a:t>Pellentesque</a:t>
            </a:r>
            <a:r>
              <a:rPr lang="en-US" sz="2800" dirty="0">
                <a:solidFill>
                  <a:schemeClr val="tx1">
                    <a:lumMod val="75000"/>
                    <a:lumOff val="25000"/>
                  </a:schemeClr>
                </a:solidFill>
              </a:rPr>
              <a:t>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feugiat</a:t>
            </a:r>
            <a:r>
              <a:rPr lang="en-US" sz="2800" dirty="0">
                <a:solidFill>
                  <a:schemeClr val="tx1">
                    <a:lumMod val="75000"/>
                    <a:lumOff val="25000"/>
                  </a:schemeClr>
                </a:solidFill>
              </a:rPr>
              <a:t> mi. Maecenas </a:t>
            </a:r>
            <a:r>
              <a:rPr lang="en-US" sz="2800" dirty="0" err="1">
                <a:solidFill>
                  <a:schemeClr val="tx1">
                    <a:lumMod val="75000"/>
                    <a:lumOff val="25000"/>
                  </a:schemeClr>
                </a:solidFill>
              </a:rPr>
              <a:t>volutpat</a:t>
            </a:r>
            <a:r>
              <a:rPr lang="en-US" sz="2800" dirty="0">
                <a:solidFill>
                  <a:schemeClr val="tx1">
                    <a:lumMod val="75000"/>
                    <a:lumOff val="25000"/>
                  </a:schemeClr>
                </a:solidFill>
              </a:rPr>
              <a:t> </a:t>
            </a:r>
            <a:r>
              <a:rPr lang="en-US" sz="2800" dirty="0" err="1">
                <a:solidFill>
                  <a:schemeClr val="tx1">
                    <a:lumMod val="75000"/>
                    <a:lumOff val="25000"/>
                  </a:schemeClr>
                </a:solidFill>
              </a:rPr>
              <a:t>hendrerit</a:t>
            </a:r>
            <a:r>
              <a:rPr lang="en-US" sz="2800" dirty="0">
                <a:solidFill>
                  <a:schemeClr val="tx1">
                    <a:lumMod val="75000"/>
                    <a:lumOff val="25000"/>
                  </a:schemeClr>
                </a:solidFill>
              </a:rPr>
              <a:t> </a:t>
            </a:r>
            <a:r>
              <a:rPr lang="en-US" sz="2800" dirty="0" err="1">
                <a:solidFill>
                  <a:schemeClr val="tx1">
                    <a:lumMod val="75000"/>
                    <a:lumOff val="25000"/>
                  </a:schemeClr>
                </a:solidFill>
              </a:rPr>
              <a:t>odio</a:t>
            </a:r>
            <a:r>
              <a:rPr lang="en-US" sz="2800" dirty="0">
                <a:solidFill>
                  <a:schemeClr val="tx1">
                    <a:lumMod val="75000"/>
                    <a:lumOff val="25000"/>
                  </a:schemeClr>
                </a:solidFill>
              </a:rPr>
              <a:t> </a:t>
            </a:r>
            <a:r>
              <a:rPr lang="en-US" sz="2800" dirty="0" err="1">
                <a:solidFill>
                  <a:schemeClr val="tx1">
                    <a:lumMod val="75000"/>
                    <a:lumOff val="25000"/>
                  </a:schemeClr>
                </a:solidFill>
              </a:rPr>
              <a:t>quis</a:t>
            </a:r>
            <a:r>
              <a:rPr lang="en-US" sz="2800" dirty="0">
                <a:solidFill>
                  <a:schemeClr val="tx1">
                    <a:lumMod val="75000"/>
                    <a:lumOff val="25000"/>
                  </a:schemeClr>
                </a:solidFill>
              </a:rPr>
              <a:t> </a:t>
            </a:r>
            <a:r>
              <a:rPr lang="en-US" sz="2800" dirty="0" err="1">
                <a:solidFill>
                  <a:schemeClr val="tx1">
                    <a:lumMod val="75000"/>
                    <a:lumOff val="25000"/>
                  </a:schemeClr>
                </a:solidFill>
              </a:rPr>
              <a:t>mattis</a:t>
            </a:r>
            <a:r>
              <a:rPr lang="en-US" sz="2800" dirty="0">
                <a:solidFill>
                  <a:schemeClr val="tx1">
                    <a:lumMod val="75000"/>
                    <a:lumOff val="25000"/>
                  </a:schemeClr>
                </a:solidFill>
              </a:rPr>
              <a:t>. </a:t>
            </a:r>
          </a:p>
        </p:txBody>
      </p:sp>
      <p:sp>
        <p:nvSpPr>
          <p:cNvPr id="5" name="Title 4">
            <a:extLst>
              <a:ext uri="{FF2B5EF4-FFF2-40B4-BE49-F238E27FC236}">
                <a16:creationId xmlns:a16="http://schemas.microsoft.com/office/drawing/2014/main" id="{D0F49A63-A748-734C-8C30-F5C8997DF7FB}"/>
              </a:ext>
            </a:extLst>
          </p:cNvPr>
          <p:cNvSpPr>
            <a:spLocks noGrp="1"/>
          </p:cNvSpPr>
          <p:nvPr>
            <p:ph type="title"/>
          </p:nvPr>
        </p:nvSpPr>
        <p:spPr/>
        <p:txBody>
          <a:bodyPr/>
          <a:lstStyle/>
          <a:p>
            <a:r>
              <a:rPr lang="en-US" dirty="0"/>
              <a:t>Diagram</a:t>
            </a:r>
          </a:p>
        </p:txBody>
      </p:sp>
    </p:spTree>
    <p:extLst>
      <p:ext uri="{BB962C8B-B14F-4D97-AF65-F5344CB8AC3E}">
        <p14:creationId xmlns:p14="http://schemas.microsoft.com/office/powerpoint/2010/main" val="3175085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extBox 90"/>
          <p:cNvSpPr txBox="1"/>
          <p:nvPr/>
        </p:nvSpPr>
        <p:spPr>
          <a:xfrm>
            <a:off x="2235282" y="10507941"/>
            <a:ext cx="5449923" cy="813667"/>
          </a:xfrm>
          <a:prstGeom prst="rect">
            <a:avLst/>
          </a:prstGeom>
          <a:noFill/>
          <a:ln w="6350">
            <a:noFill/>
            <a:prstDash val="dash"/>
          </a:ln>
        </p:spPr>
        <p:txBody>
          <a:bodyPr wrap="square" lIns="0" tIns="0" rIns="0" bIns="0" rtlCol="0">
            <a:spAutoFit/>
          </a:bodyPr>
          <a:lstStyle/>
          <a:p>
            <a:pPr algn="r" defTabSz="1828709">
              <a:defRPr/>
            </a:pPr>
            <a:r>
              <a:rPr lang="en-US" sz="2400" b="1" dirty="0"/>
              <a:t>RAW MATERIALS</a:t>
            </a:r>
          </a:p>
          <a:p>
            <a:pPr algn="r" defTabSz="1828709">
              <a:defRPr/>
            </a:pPr>
            <a:r>
              <a:rPr lang="en-US" sz="2000" dirty="0"/>
              <a:t> </a:t>
            </a:r>
            <a:r>
              <a:rPr lang="en-US" sz="2200" dirty="0" err="1"/>
              <a:t>Lorem</a:t>
            </a:r>
            <a:r>
              <a:rPr lang="en-US" sz="2200" dirty="0"/>
              <a:t> </a:t>
            </a:r>
            <a:r>
              <a:rPr lang="en-US" sz="2200" dirty="0" err="1"/>
              <a:t>Ipsum</a:t>
            </a:r>
            <a:r>
              <a:rPr lang="en-US" sz="2200" dirty="0"/>
              <a:t> is simply dummy</a:t>
            </a:r>
          </a:p>
        </p:txBody>
      </p:sp>
      <p:sp>
        <p:nvSpPr>
          <p:cNvPr id="92" name="TextBox 91"/>
          <p:cNvSpPr txBox="1"/>
          <p:nvPr/>
        </p:nvSpPr>
        <p:spPr>
          <a:xfrm>
            <a:off x="986535" y="8171226"/>
            <a:ext cx="5323119" cy="813667"/>
          </a:xfrm>
          <a:prstGeom prst="rect">
            <a:avLst/>
          </a:prstGeom>
          <a:noFill/>
          <a:ln w="6350">
            <a:noFill/>
            <a:prstDash val="dash"/>
          </a:ln>
        </p:spPr>
        <p:txBody>
          <a:bodyPr wrap="square" lIns="0" tIns="0" rIns="0" bIns="0" rtlCol="0">
            <a:spAutoFit/>
          </a:bodyPr>
          <a:lstStyle/>
          <a:p>
            <a:pPr algn="r" defTabSz="1828709">
              <a:defRPr/>
            </a:pPr>
            <a:r>
              <a:rPr lang="en-US" sz="2400" b="1" dirty="0"/>
              <a:t>SUPPLIERS</a:t>
            </a:r>
          </a:p>
          <a:p>
            <a:pPr algn="r" defTabSz="1828709">
              <a:defRPr/>
            </a:pPr>
            <a:r>
              <a:rPr lang="en-US" sz="2000" dirty="0"/>
              <a:t> </a:t>
            </a:r>
            <a:r>
              <a:rPr lang="en-US" sz="2200" dirty="0" err="1"/>
              <a:t>Lorem</a:t>
            </a:r>
            <a:r>
              <a:rPr lang="en-US" sz="2200" dirty="0"/>
              <a:t> </a:t>
            </a:r>
            <a:r>
              <a:rPr lang="en-US" sz="2200" dirty="0" err="1"/>
              <a:t>Ipsum</a:t>
            </a:r>
            <a:r>
              <a:rPr lang="en-US" sz="2200" dirty="0"/>
              <a:t> is simply dummy</a:t>
            </a:r>
          </a:p>
        </p:txBody>
      </p:sp>
      <p:sp>
        <p:nvSpPr>
          <p:cNvPr id="93" name="TextBox 92"/>
          <p:cNvSpPr txBox="1"/>
          <p:nvPr/>
        </p:nvSpPr>
        <p:spPr>
          <a:xfrm>
            <a:off x="986534" y="5834507"/>
            <a:ext cx="5417744" cy="813667"/>
          </a:xfrm>
          <a:prstGeom prst="rect">
            <a:avLst/>
          </a:prstGeom>
          <a:noFill/>
          <a:ln w="6350">
            <a:noFill/>
            <a:prstDash val="dash"/>
          </a:ln>
        </p:spPr>
        <p:txBody>
          <a:bodyPr wrap="square" lIns="0" tIns="0" rIns="0" bIns="0" rtlCol="0">
            <a:spAutoFit/>
          </a:bodyPr>
          <a:lstStyle/>
          <a:p>
            <a:pPr algn="r" defTabSz="1828709">
              <a:defRPr/>
            </a:pPr>
            <a:r>
              <a:rPr lang="en-US" sz="2400" b="1" dirty="0"/>
              <a:t>MANUFACTURERS</a:t>
            </a:r>
          </a:p>
          <a:p>
            <a:pPr algn="r" defTabSz="1828709">
              <a:defRPr/>
            </a:pPr>
            <a:r>
              <a:rPr lang="en-US" sz="2000" dirty="0"/>
              <a:t> </a:t>
            </a:r>
            <a:r>
              <a:rPr lang="en-US" sz="2200" dirty="0" err="1"/>
              <a:t>Lorem</a:t>
            </a:r>
            <a:r>
              <a:rPr lang="en-US" sz="2200" dirty="0"/>
              <a:t> </a:t>
            </a:r>
            <a:r>
              <a:rPr lang="en-US" sz="2200" dirty="0" err="1"/>
              <a:t>Ipsum</a:t>
            </a:r>
            <a:r>
              <a:rPr lang="en-US" sz="2200" dirty="0"/>
              <a:t> is simply dummy</a:t>
            </a:r>
          </a:p>
        </p:txBody>
      </p:sp>
      <p:sp>
        <p:nvSpPr>
          <p:cNvPr id="94" name="TextBox 93"/>
          <p:cNvSpPr txBox="1"/>
          <p:nvPr/>
        </p:nvSpPr>
        <p:spPr>
          <a:xfrm>
            <a:off x="2691363" y="3497788"/>
            <a:ext cx="5328781" cy="813667"/>
          </a:xfrm>
          <a:prstGeom prst="rect">
            <a:avLst/>
          </a:prstGeom>
          <a:noFill/>
          <a:ln w="6350">
            <a:noFill/>
            <a:prstDash val="dash"/>
          </a:ln>
        </p:spPr>
        <p:txBody>
          <a:bodyPr wrap="square" lIns="0" tIns="0" rIns="0" bIns="0" rtlCol="0">
            <a:spAutoFit/>
          </a:bodyPr>
          <a:lstStyle/>
          <a:p>
            <a:pPr algn="r" defTabSz="1828709">
              <a:defRPr/>
            </a:pPr>
            <a:r>
              <a:rPr lang="en-US" sz="2400" b="1" dirty="0"/>
              <a:t>WAREHOUSE</a:t>
            </a:r>
          </a:p>
          <a:p>
            <a:pPr algn="r" defTabSz="1828709">
              <a:defRPr/>
            </a:pPr>
            <a:r>
              <a:rPr lang="en-US" sz="2000" dirty="0"/>
              <a:t> </a:t>
            </a:r>
            <a:r>
              <a:rPr lang="en-US" sz="2200" dirty="0" err="1"/>
              <a:t>Lorem</a:t>
            </a:r>
            <a:r>
              <a:rPr lang="en-US" sz="2200" dirty="0"/>
              <a:t> </a:t>
            </a:r>
            <a:r>
              <a:rPr lang="en-US" sz="2200" dirty="0" err="1"/>
              <a:t>Ipsum</a:t>
            </a:r>
            <a:r>
              <a:rPr lang="en-US" sz="2200" dirty="0"/>
              <a:t> is simply dummy</a:t>
            </a:r>
          </a:p>
        </p:txBody>
      </p:sp>
      <p:sp>
        <p:nvSpPr>
          <p:cNvPr id="95" name="TextBox 94"/>
          <p:cNvSpPr txBox="1"/>
          <p:nvPr/>
        </p:nvSpPr>
        <p:spPr>
          <a:xfrm>
            <a:off x="17921259" y="8171226"/>
            <a:ext cx="5469856" cy="813667"/>
          </a:xfrm>
          <a:prstGeom prst="rect">
            <a:avLst/>
          </a:prstGeom>
          <a:noFill/>
          <a:ln w="6350">
            <a:noFill/>
            <a:prstDash val="dash"/>
          </a:ln>
        </p:spPr>
        <p:txBody>
          <a:bodyPr wrap="square" lIns="0" tIns="0" rIns="0" bIns="0" rtlCol="0">
            <a:spAutoFit/>
          </a:bodyPr>
          <a:lstStyle/>
          <a:p>
            <a:pPr defTabSz="1828709">
              <a:defRPr/>
            </a:pPr>
            <a:r>
              <a:rPr lang="en-US" sz="2400" b="1" dirty="0"/>
              <a:t>TRANSPORTATION</a:t>
            </a:r>
          </a:p>
          <a:p>
            <a:pPr defTabSz="1828709">
              <a:defRPr/>
            </a:pPr>
            <a:r>
              <a:rPr lang="en-US" sz="2200" dirty="0" err="1"/>
              <a:t>Lorem</a:t>
            </a:r>
            <a:r>
              <a:rPr lang="en-US" sz="2200" dirty="0"/>
              <a:t> </a:t>
            </a:r>
            <a:r>
              <a:rPr lang="en-US" sz="2200" dirty="0" err="1"/>
              <a:t>Ipsum</a:t>
            </a:r>
            <a:r>
              <a:rPr lang="en-US" sz="2200" dirty="0"/>
              <a:t> is simply dummy</a:t>
            </a:r>
          </a:p>
        </p:txBody>
      </p:sp>
      <p:sp>
        <p:nvSpPr>
          <p:cNvPr id="96" name="TextBox 95"/>
          <p:cNvSpPr txBox="1"/>
          <p:nvPr/>
        </p:nvSpPr>
        <p:spPr>
          <a:xfrm>
            <a:off x="17819807" y="5834507"/>
            <a:ext cx="5345061" cy="813667"/>
          </a:xfrm>
          <a:prstGeom prst="rect">
            <a:avLst/>
          </a:prstGeom>
          <a:noFill/>
          <a:ln w="6350">
            <a:noFill/>
            <a:prstDash val="dash"/>
          </a:ln>
        </p:spPr>
        <p:txBody>
          <a:bodyPr wrap="square" lIns="0" tIns="0" rIns="0" bIns="0" rtlCol="0">
            <a:spAutoFit/>
          </a:bodyPr>
          <a:lstStyle/>
          <a:p>
            <a:pPr defTabSz="1828709">
              <a:defRPr/>
            </a:pPr>
            <a:r>
              <a:rPr lang="en-US" sz="2400" b="1" dirty="0"/>
              <a:t>CUSTOMERS</a:t>
            </a:r>
          </a:p>
          <a:p>
            <a:pPr defTabSz="1828709">
              <a:defRPr/>
            </a:pPr>
            <a:r>
              <a:rPr lang="en-US" sz="2200" dirty="0" err="1"/>
              <a:t>Lorem</a:t>
            </a:r>
            <a:r>
              <a:rPr lang="en-US" sz="2200" dirty="0"/>
              <a:t> </a:t>
            </a:r>
            <a:r>
              <a:rPr lang="en-US" sz="2200" dirty="0" err="1"/>
              <a:t>Ipsum</a:t>
            </a:r>
            <a:r>
              <a:rPr lang="en-US" sz="2200" dirty="0"/>
              <a:t> is simply dummy</a:t>
            </a:r>
          </a:p>
        </p:txBody>
      </p:sp>
      <p:sp>
        <p:nvSpPr>
          <p:cNvPr id="97" name="TextBox 96"/>
          <p:cNvSpPr txBox="1"/>
          <p:nvPr/>
        </p:nvSpPr>
        <p:spPr>
          <a:xfrm>
            <a:off x="16178800" y="3497788"/>
            <a:ext cx="5278037" cy="813667"/>
          </a:xfrm>
          <a:prstGeom prst="rect">
            <a:avLst/>
          </a:prstGeom>
          <a:noFill/>
          <a:ln w="6350">
            <a:noFill/>
            <a:prstDash val="dash"/>
          </a:ln>
        </p:spPr>
        <p:txBody>
          <a:bodyPr wrap="square" lIns="0" tIns="0" rIns="0" bIns="0" rtlCol="0">
            <a:spAutoFit/>
          </a:bodyPr>
          <a:lstStyle/>
          <a:p>
            <a:pPr defTabSz="1828709">
              <a:defRPr/>
            </a:pPr>
            <a:r>
              <a:rPr lang="en-US" sz="2400" b="1" dirty="0"/>
              <a:t>INVENTORY</a:t>
            </a:r>
          </a:p>
          <a:p>
            <a:pPr defTabSz="1828709">
              <a:defRPr/>
            </a:pPr>
            <a:r>
              <a:rPr lang="en-US" sz="2200" dirty="0" err="1"/>
              <a:t>Lorem</a:t>
            </a:r>
            <a:r>
              <a:rPr lang="en-US" sz="2200" dirty="0"/>
              <a:t> </a:t>
            </a:r>
            <a:r>
              <a:rPr lang="en-US" sz="2200" dirty="0" err="1"/>
              <a:t>Ipsum</a:t>
            </a:r>
            <a:r>
              <a:rPr lang="en-US" sz="2200" dirty="0"/>
              <a:t> is simply dummy</a:t>
            </a:r>
          </a:p>
        </p:txBody>
      </p:sp>
      <p:sp>
        <p:nvSpPr>
          <p:cNvPr id="98" name="TextBox 97"/>
          <p:cNvSpPr txBox="1"/>
          <p:nvPr/>
        </p:nvSpPr>
        <p:spPr>
          <a:xfrm>
            <a:off x="16475713" y="10507941"/>
            <a:ext cx="5437205" cy="813667"/>
          </a:xfrm>
          <a:prstGeom prst="rect">
            <a:avLst/>
          </a:prstGeom>
          <a:noFill/>
          <a:ln w="6350">
            <a:noFill/>
            <a:prstDash val="dash"/>
          </a:ln>
        </p:spPr>
        <p:txBody>
          <a:bodyPr wrap="square" lIns="0" tIns="0" rIns="0" bIns="0" rtlCol="0">
            <a:spAutoFit/>
          </a:bodyPr>
          <a:lstStyle/>
          <a:p>
            <a:pPr defTabSz="1828709">
              <a:defRPr/>
            </a:pPr>
            <a:r>
              <a:rPr lang="en-US" sz="2400" b="1" dirty="0"/>
              <a:t>COST</a:t>
            </a:r>
          </a:p>
          <a:p>
            <a:pPr defTabSz="1828709">
              <a:defRPr/>
            </a:pPr>
            <a:r>
              <a:rPr lang="en-US" sz="2200" dirty="0" err="1"/>
              <a:t>Lorem</a:t>
            </a:r>
            <a:r>
              <a:rPr lang="en-US" sz="2200" dirty="0"/>
              <a:t> </a:t>
            </a:r>
            <a:r>
              <a:rPr lang="en-US" sz="2200" dirty="0" err="1"/>
              <a:t>Ipsum</a:t>
            </a:r>
            <a:r>
              <a:rPr lang="en-US" sz="2200" dirty="0"/>
              <a:t> is simply dummy</a:t>
            </a:r>
          </a:p>
        </p:txBody>
      </p:sp>
      <p:sp>
        <p:nvSpPr>
          <p:cNvPr id="99" name="Freeform 23"/>
          <p:cNvSpPr>
            <a:spLocks/>
          </p:cNvSpPr>
          <p:nvPr/>
        </p:nvSpPr>
        <p:spPr bwMode="auto">
          <a:xfrm>
            <a:off x="7525165" y="3028893"/>
            <a:ext cx="9097872" cy="8347351"/>
          </a:xfrm>
          <a:custGeom>
            <a:avLst/>
            <a:gdLst>
              <a:gd name="T0" fmla="*/ 235 w 1090"/>
              <a:gd name="T1" fmla="*/ 1000 h 1000"/>
              <a:gd name="T2" fmla="*/ 254 w 1090"/>
              <a:gd name="T3" fmla="*/ 977 h 1000"/>
              <a:gd name="T4" fmla="*/ 32 w 1090"/>
              <a:gd name="T5" fmla="*/ 554 h 1000"/>
              <a:gd name="T6" fmla="*/ 545 w 1090"/>
              <a:gd name="T7" fmla="*/ 40 h 1000"/>
              <a:gd name="T8" fmla="*/ 1058 w 1090"/>
              <a:gd name="T9" fmla="*/ 554 h 1000"/>
              <a:gd name="T10" fmla="*/ 871 w 1090"/>
              <a:gd name="T11" fmla="*/ 951 h 1000"/>
              <a:gd name="T12" fmla="*/ 896 w 1090"/>
              <a:gd name="T13" fmla="*/ 969 h 1000"/>
              <a:gd name="T14" fmla="*/ 1090 w 1090"/>
              <a:gd name="T15" fmla="*/ 549 h 1000"/>
              <a:gd name="T16" fmla="*/ 545 w 1090"/>
              <a:gd name="T17" fmla="*/ 0 h 1000"/>
              <a:gd name="T18" fmla="*/ 0 w 1090"/>
              <a:gd name="T19" fmla="*/ 549 h 1000"/>
              <a:gd name="T20" fmla="*/ 235 w 1090"/>
              <a:gd name="T21" fmla="*/ 100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0" h="1000">
                <a:moveTo>
                  <a:pt x="235" y="1000"/>
                </a:moveTo>
                <a:cubicBezTo>
                  <a:pt x="254" y="977"/>
                  <a:pt x="254" y="977"/>
                  <a:pt x="254" y="977"/>
                </a:cubicBezTo>
                <a:cubicBezTo>
                  <a:pt x="120" y="885"/>
                  <a:pt x="32" y="730"/>
                  <a:pt x="32" y="554"/>
                </a:cubicBezTo>
                <a:cubicBezTo>
                  <a:pt x="32" y="270"/>
                  <a:pt x="262" y="40"/>
                  <a:pt x="545" y="40"/>
                </a:cubicBezTo>
                <a:cubicBezTo>
                  <a:pt x="828" y="40"/>
                  <a:pt x="1058" y="270"/>
                  <a:pt x="1058" y="554"/>
                </a:cubicBezTo>
                <a:cubicBezTo>
                  <a:pt x="1058" y="714"/>
                  <a:pt x="985" y="856"/>
                  <a:pt x="871" y="951"/>
                </a:cubicBezTo>
                <a:cubicBezTo>
                  <a:pt x="896" y="969"/>
                  <a:pt x="896" y="969"/>
                  <a:pt x="896" y="969"/>
                </a:cubicBezTo>
                <a:cubicBezTo>
                  <a:pt x="1014" y="868"/>
                  <a:pt x="1090" y="718"/>
                  <a:pt x="1090" y="549"/>
                </a:cubicBezTo>
                <a:cubicBezTo>
                  <a:pt x="1090" y="246"/>
                  <a:pt x="846" y="0"/>
                  <a:pt x="545" y="0"/>
                </a:cubicBezTo>
                <a:cubicBezTo>
                  <a:pt x="244" y="0"/>
                  <a:pt x="0" y="246"/>
                  <a:pt x="0" y="549"/>
                </a:cubicBezTo>
                <a:cubicBezTo>
                  <a:pt x="0" y="736"/>
                  <a:pt x="93" y="901"/>
                  <a:pt x="235" y="1000"/>
                </a:cubicBezTo>
                <a:close/>
              </a:path>
            </a:pathLst>
          </a:custGeom>
          <a:solidFill>
            <a:schemeClr val="accent6"/>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Light"/>
            </a:endParaRPr>
          </a:p>
        </p:txBody>
      </p:sp>
      <p:sp>
        <p:nvSpPr>
          <p:cNvPr id="100" name="Oval 8"/>
          <p:cNvSpPr>
            <a:spLocks noChangeArrowheads="1"/>
          </p:cNvSpPr>
          <p:nvPr/>
        </p:nvSpPr>
        <p:spPr bwMode="auto">
          <a:xfrm>
            <a:off x="6904291" y="7864192"/>
            <a:ext cx="1794946" cy="1816266"/>
          </a:xfrm>
          <a:prstGeom prst="ellipse">
            <a:avLst/>
          </a:prstGeom>
          <a:solidFill>
            <a:schemeClr val="accent4"/>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Light"/>
            </a:endParaRPr>
          </a:p>
        </p:txBody>
      </p:sp>
      <p:sp>
        <p:nvSpPr>
          <p:cNvPr id="101" name="Oval 7"/>
          <p:cNvSpPr>
            <a:spLocks noChangeArrowheads="1"/>
          </p:cNvSpPr>
          <p:nvPr/>
        </p:nvSpPr>
        <p:spPr bwMode="auto">
          <a:xfrm>
            <a:off x="7130525" y="8099319"/>
            <a:ext cx="1342488" cy="1346005"/>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Light"/>
            </a:endParaRPr>
          </a:p>
        </p:txBody>
      </p:sp>
      <p:sp>
        <p:nvSpPr>
          <p:cNvPr id="102" name="Oval 10"/>
          <p:cNvSpPr>
            <a:spLocks noChangeArrowheads="1"/>
          </p:cNvSpPr>
          <p:nvPr/>
        </p:nvSpPr>
        <p:spPr bwMode="auto">
          <a:xfrm>
            <a:off x="7020570" y="5218729"/>
            <a:ext cx="1794946" cy="1807734"/>
          </a:xfrm>
          <a:prstGeom prst="ellipse">
            <a:avLst/>
          </a:prstGeom>
          <a:solidFill>
            <a:schemeClr val="tx2"/>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Light"/>
            </a:endParaRPr>
          </a:p>
        </p:txBody>
      </p:sp>
      <p:sp>
        <p:nvSpPr>
          <p:cNvPr id="106" name="Oval 9"/>
          <p:cNvSpPr>
            <a:spLocks noChangeArrowheads="1"/>
          </p:cNvSpPr>
          <p:nvPr/>
        </p:nvSpPr>
        <p:spPr bwMode="auto">
          <a:xfrm>
            <a:off x="7246801" y="5451357"/>
            <a:ext cx="1342488" cy="1342488"/>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Light"/>
            </a:endParaRPr>
          </a:p>
        </p:txBody>
      </p:sp>
      <p:sp>
        <p:nvSpPr>
          <p:cNvPr id="118" name="Oval 12"/>
          <p:cNvSpPr>
            <a:spLocks noChangeArrowheads="1"/>
          </p:cNvSpPr>
          <p:nvPr/>
        </p:nvSpPr>
        <p:spPr bwMode="auto">
          <a:xfrm>
            <a:off x="8648462" y="3089746"/>
            <a:ext cx="1794946" cy="1816266"/>
          </a:xfrm>
          <a:prstGeom prst="ellipse">
            <a:avLst/>
          </a:prstGeom>
          <a:solidFill>
            <a:schemeClr val="accent1"/>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Light"/>
            </a:endParaRPr>
          </a:p>
        </p:txBody>
      </p:sp>
      <p:sp>
        <p:nvSpPr>
          <p:cNvPr id="119" name="Oval 11"/>
          <p:cNvSpPr>
            <a:spLocks noChangeArrowheads="1"/>
          </p:cNvSpPr>
          <p:nvPr/>
        </p:nvSpPr>
        <p:spPr bwMode="auto">
          <a:xfrm>
            <a:off x="8878217" y="3321350"/>
            <a:ext cx="1335435" cy="1353055"/>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Light"/>
            </a:endParaRPr>
          </a:p>
        </p:txBody>
      </p:sp>
      <p:sp>
        <p:nvSpPr>
          <p:cNvPr id="122" name="Oval 14"/>
          <p:cNvSpPr>
            <a:spLocks noChangeArrowheads="1"/>
          </p:cNvSpPr>
          <p:nvPr/>
        </p:nvSpPr>
        <p:spPr bwMode="auto">
          <a:xfrm>
            <a:off x="11174495" y="2285999"/>
            <a:ext cx="1799205" cy="1820531"/>
          </a:xfrm>
          <a:prstGeom prst="ellipse">
            <a:avLst/>
          </a:prstGeom>
          <a:solidFill>
            <a:schemeClr val="accent3"/>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Light"/>
            </a:endParaRPr>
          </a:p>
        </p:txBody>
      </p:sp>
      <p:sp>
        <p:nvSpPr>
          <p:cNvPr id="123" name="Oval 13"/>
          <p:cNvSpPr>
            <a:spLocks noChangeArrowheads="1"/>
          </p:cNvSpPr>
          <p:nvPr/>
        </p:nvSpPr>
        <p:spPr bwMode="auto">
          <a:xfrm>
            <a:off x="11408145" y="2525023"/>
            <a:ext cx="1331912" cy="1342488"/>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Light"/>
            </a:endParaRPr>
          </a:p>
        </p:txBody>
      </p:sp>
      <p:sp>
        <p:nvSpPr>
          <p:cNvPr id="124" name="Oval 16"/>
          <p:cNvSpPr>
            <a:spLocks noChangeArrowheads="1"/>
          </p:cNvSpPr>
          <p:nvPr/>
        </p:nvSpPr>
        <p:spPr bwMode="auto">
          <a:xfrm>
            <a:off x="13722407" y="3089746"/>
            <a:ext cx="1794946" cy="1816266"/>
          </a:xfrm>
          <a:prstGeom prst="ellipse">
            <a:avLst/>
          </a:prstGeom>
          <a:solidFill>
            <a:schemeClr val="tx2"/>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Light"/>
            </a:endParaRPr>
          </a:p>
        </p:txBody>
      </p:sp>
      <p:sp>
        <p:nvSpPr>
          <p:cNvPr id="125" name="Oval 15"/>
          <p:cNvSpPr>
            <a:spLocks noChangeArrowheads="1"/>
          </p:cNvSpPr>
          <p:nvPr/>
        </p:nvSpPr>
        <p:spPr bwMode="auto">
          <a:xfrm>
            <a:off x="13952167" y="3326637"/>
            <a:ext cx="1335435" cy="1342488"/>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Light"/>
            </a:endParaRPr>
          </a:p>
        </p:txBody>
      </p:sp>
      <p:sp>
        <p:nvSpPr>
          <p:cNvPr id="126" name="Oval 18"/>
          <p:cNvSpPr>
            <a:spLocks noChangeArrowheads="1"/>
          </p:cNvSpPr>
          <p:nvPr/>
        </p:nvSpPr>
        <p:spPr bwMode="auto">
          <a:xfrm>
            <a:off x="15357346" y="5193320"/>
            <a:ext cx="1794946" cy="1816266"/>
          </a:xfrm>
          <a:prstGeom prst="ellipse">
            <a:avLst/>
          </a:prstGeom>
          <a:solidFill>
            <a:schemeClr val="accent1"/>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Light"/>
            </a:endParaRPr>
          </a:p>
        </p:txBody>
      </p:sp>
      <p:sp>
        <p:nvSpPr>
          <p:cNvPr id="127" name="Oval 17"/>
          <p:cNvSpPr>
            <a:spLocks noChangeArrowheads="1"/>
          </p:cNvSpPr>
          <p:nvPr/>
        </p:nvSpPr>
        <p:spPr bwMode="auto">
          <a:xfrm>
            <a:off x="15583580" y="5424923"/>
            <a:ext cx="1342488" cy="1353055"/>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dirty="0">
              <a:solidFill>
                <a:prstClr val="black"/>
              </a:solidFill>
              <a:latin typeface="Calibri Light"/>
            </a:endParaRPr>
          </a:p>
        </p:txBody>
      </p:sp>
      <p:sp>
        <p:nvSpPr>
          <p:cNvPr id="128" name="Oval 20"/>
          <p:cNvSpPr>
            <a:spLocks noChangeArrowheads="1"/>
          </p:cNvSpPr>
          <p:nvPr/>
        </p:nvSpPr>
        <p:spPr bwMode="auto">
          <a:xfrm>
            <a:off x="15467318" y="7864192"/>
            <a:ext cx="1786420" cy="1816266"/>
          </a:xfrm>
          <a:prstGeom prst="ellipse">
            <a:avLst/>
          </a:prstGeom>
          <a:solidFill>
            <a:schemeClr val="accent3"/>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Light"/>
            </a:endParaRPr>
          </a:p>
        </p:txBody>
      </p:sp>
      <p:sp>
        <p:nvSpPr>
          <p:cNvPr id="129" name="Oval 19"/>
          <p:cNvSpPr>
            <a:spLocks noChangeArrowheads="1"/>
          </p:cNvSpPr>
          <p:nvPr/>
        </p:nvSpPr>
        <p:spPr bwMode="auto">
          <a:xfrm>
            <a:off x="15687526" y="8095793"/>
            <a:ext cx="1346003" cy="1353055"/>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Light"/>
            </a:endParaRPr>
          </a:p>
        </p:txBody>
      </p:sp>
      <p:sp>
        <p:nvSpPr>
          <p:cNvPr id="130" name="Oval 22"/>
          <p:cNvSpPr>
            <a:spLocks noChangeArrowheads="1"/>
          </p:cNvSpPr>
          <p:nvPr/>
        </p:nvSpPr>
        <p:spPr bwMode="auto">
          <a:xfrm>
            <a:off x="14021911" y="10097764"/>
            <a:ext cx="1794946" cy="1820531"/>
          </a:xfrm>
          <a:prstGeom prst="ellipse">
            <a:avLst/>
          </a:prstGeom>
          <a:solidFill>
            <a:schemeClr val="tx2"/>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Light"/>
            </a:endParaRPr>
          </a:p>
        </p:txBody>
      </p:sp>
      <p:sp>
        <p:nvSpPr>
          <p:cNvPr id="131" name="Oval 21"/>
          <p:cNvSpPr>
            <a:spLocks noChangeArrowheads="1"/>
          </p:cNvSpPr>
          <p:nvPr/>
        </p:nvSpPr>
        <p:spPr bwMode="auto">
          <a:xfrm>
            <a:off x="14248145" y="10331502"/>
            <a:ext cx="1342488" cy="1353055"/>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dirty="0">
              <a:solidFill>
                <a:prstClr val="black"/>
              </a:solidFill>
              <a:latin typeface="Calibri Light"/>
            </a:endParaRPr>
          </a:p>
        </p:txBody>
      </p:sp>
      <p:sp>
        <p:nvSpPr>
          <p:cNvPr id="132" name="TextBox 131"/>
          <p:cNvSpPr txBox="1"/>
          <p:nvPr/>
        </p:nvSpPr>
        <p:spPr>
          <a:xfrm>
            <a:off x="10710827" y="7336714"/>
            <a:ext cx="2737111" cy="424522"/>
          </a:xfrm>
          <a:prstGeom prst="rect">
            <a:avLst/>
          </a:prstGeom>
          <a:noFill/>
          <a:ln w="6350">
            <a:noFill/>
            <a:prstDash val="dash"/>
          </a:ln>
        </p:spPr>
        <p:txBody>
          <a:bodyPr wrap="square" lIns="0" tIns="0" rIns="0" bIns="0" rtlCol="0" anchor="ctr">
            <a:spAutoFit/>
          </a:bodyPr>
          <a:lstStyle/>
          <a:p>
            <a:pPr algn="ctr" defTabSz="1828709">
              <a:defRPr/>
            </a:pPr>
            <a:r>
              <a:rPr lang="en-US" sz="2400" b="1" dirty="0"/>
              <a:t>LOGISTICS</a:t>
            </a:r>
          </a:p>
        </p:txBody>
      </p:sp>
      <p:sp>
        <p:nvSpPr>
          <p:cNvPr id="133" name="TextBox 132"/>
          <p:cNvSpPr txBox="1"/>
          <p:nvPr/>
        </p:nvSpPr>
        <p:spPr>
          <a:xfrm>
            <a:off x="9588823" y="7949957"/>
            <a:ext cx="4981124" cy="1167435"/>
          </a:xfrm>
          <a:prstGeom prst="rect">
            <a:avLst/>
          </a:prstGeom>
          <a:noFill/>
          <a:ln w="6350">
            <a:noFill/>
            <a:prstDash val="dash"/>
          </a:ln>
        </p:spPr>
        <p:txBody>
          <a:bodyPr wrap="square" lIns="0" tIns="0" rIns="0" bIns="0" rtlCol="0">
            <a:spAutoFit/>
          </a:bodyPr>
          <a:lstStyle/>
          <a:p>
            <a:pPr algn="ctr" defTabSz="1828709">
              <a:defRPr/>
            </a:pPr>
            <a:r>
              <a:rPr lang="en-US" sz="2200" dirty="0" err="1"/>
              <a:t>Lorem</a:t>
            </a:r>
            <a:r>
              <a:rPr lang="en-US" sz="2200" dirty="0"/>
              <a:t> </a:t>
            </a:r>
            <a:r>
              <a:rPr lang="en-US" sz="2200" dirty="0" err="1"/>
              <a:t>Ipsum</a:t>
            </a:r>
            <a:r>
              <a:rPr lang="en-US" sz="2200" dirty="0"/>
              <a:t> is simply dummy text of the printing and typesetting industry. </a:t>
            </a:r>
          </a:p>
        </p:txBody>
      </p:sp>
      <p:sp>
        <p:nvSpPr>
          <p:cNvPr id="134" name="Oval 6"/>
          <p:cNvSpPr>
            <a:spLocks noChangeArrowheads="1"/>
          </p:cNvSpPr>
          <p:nvPr/>
        </p:nvSpPr>
        <p:spPr bwMode="auto">
          <a:xfrm>
            <a:off x="8331339" y="10109454"/>
            <a:ext cx="1794946" cy="1807734"/>
          </a:xfrm>
          <a:prstGeom prst="ellipse">
            <a:avLst/>
          </a:prstGeom>
          <a:solidFill>
            <a:schemeClr val="accent1"/>
          </a:solidFill>
          <a:ln w="15875"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Light"/>
            </a:endParaRPr>
          </a:p>
        </p:txBody>
      </p:sp>
      <p:sp>
        <p:nvSpPr>
          <p:cNvPr id="135" name="Oval 5"/>
          <p:cNvSpPr>
            <a:spLocks noChangeArrowheads="1"/>
          </p:cNvSpPr>
          <p:nvPr/>
        </p:nvSpPr>
        <p:spPr bwMode="auto">
          <a:xfrm>
            <a:off x="8561095" y="10340317"/>
            <a:ext cx="1335435" cy="1346003"/>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Light"/>
            </a:endParaRPr>
          </a:p>
        </p:txBody>
      </p:sp>
      <p:grpSp>
        <p:nvGrpSpPr>
          <p:cNvPr id="182" name="Group 181"/>
          <p:cNvGrpSpPr/>
          <p:nvPr/>
        </p:nvGrpSpPr>
        <p:grpSpPr>
          <a:xfrm>
            <a:off x="8977018" y="10683064"/>
            <a:ext cx="503590" cy="660508"/>
            <a:chOff x="6445250" y="2498725"/>
            <a:chExt cx="219075" cy="287338"/>
          </a:xfrm>
          <a:solidFill>
            <a:schemeClr val="accent1"/>
          </a:solidFill>
        </p:grpSpPr>
        <p:sp>
          <p:nvSpPr>
            <p:cNvPr id="183" name="Freeform 227"/>
            <p:cNvSpPr>
              <a:spLocks noEditPoints="1"/>
            </p:cNvSpPr>
            <p:nvPr/>
          </p:nvSpPr>
          <p:spPr bwMode="auto">
            <a:xfrm>
              <a:off x="6445250" y="2498725"/>
              <a:ext cx="219075" cy="287338"/>
            </a:xfrm>
            <a:custGeom>
              <a:avLst/>
              <a:gdLst>
                <a:gd name="T0" fmla="*/ 104 w 692"/>
                <a:gd name="T1" fmla="*/ 868 h 902"/>
                <a:gd name="T2" fmla="*/ 69 w 692"/>
                <a:gd name="T3" fmla="*/ 849 h 902"/>
                <a:gd name="T4" fmla="*/ 43 w 692"/>
                <a:gd name="T5" fmla="*/ 818 h 902"/>
                <a:gd name="T6" fmla="*/ 31 w 692"/>
                <a:gd name="T7" fmla="*/ 778 h 902"/>
                <a:gd name="T8" fmla="*/ 35 w 692"/>
                <a:gd name="T9" fmla="*/ 736 h 902"/>
                <a:gd name="T10" fmla="*/ 55 w 692"/>
                <a:gd name="T11" fmla="*/ 700 h 902"/>
                <a:gd name="T12" fmla="*/ 86 w 692"/>
                <a:gd name="T13" fmla="*/ 674 h 902"/>
                <a:gd name="T14" fmla="*/ 124 w 692"/>
                <a:gd name="T15" fmla="*/ 662 h 902"/>
                <a:gd name="T16" fmla="*/ 167 w 692"/>
                <a:gd name="T17" fmla="*/ 667 h 902"/>
                <a:gd name="T18" fmla="*/ 202 w 692"/>
                <a:gd name="T19" fmla="*/ 686 h 902"/>
                <a:gd name="T20" fmla="*/ 228 w 692"/>
                <a:gd name="T21" fmla="*/ 717 h 902"/>
                <a:gd name="T22" fmla="*/ 240 w 692"/>
                <a:gd name="T23" fmla="*/ 757 h 902"/>
                <a:gd name="T24" fmla="*/ 236 w 692"/>
                <a:gd name="T25" fmla="*/ 798 h 902"/>
                <a:gd name="T26" fmla="*/ 216 w 692"/>
                <a:gd name="T27" fmla="*/ 834 h 902"/>
                <a:gd name="T28" fmla="*/ 185 w 692"/>
                <a:gd name="T29" fmla="*/ 859 h 902"/>
                <a:gd name="T30" fmla="*/ 146 w 692"/>
                <a:gd name="T31" fmla="*/ 872 h 902"/>
                <a:gd name="T32" fmla="*/ 511 w 692"/>
                <a:gd name="T33" fmla="*/ 361 h 902"/>
                <a:gd name="T34" fmla="*/ 271 w 692"/>
                <a:gd name="T35" fmla="*/ 722 h 902"/>
                <a:gd name="T36" fmla="*/ 632 w 692"/>
                <a:gd name="T37" fmla="*/ 722 h 902"/>
                <a:gd name="T38" fmla="*/ 622 w 692"/>
                <a:gd name="T39" fmla="*/ 813 h 902"/>
                <a:gd name="T40" fmla="*/ 266 w 692"/>
                <a:gd name="T41" fmla="*/ 802 h 902"/>
                <a:gd name="T42" fmla="*/ 270 w 692"/>
                <a:gd name="T43" fmla="*/ 760 h 902"/>
                <a:gd name="T44" fmla="*/ 652 w 692"/>
                <a:gd name="T45" fmla="*/ 751 h 902"/>
                <a:gd name="T46" fmla="*/ 660 w 692"/>
                <a:gd name="T47" fmla="*/ 743 h 902"/>
                <a:gd name="T48" fmla="*/ 661 w 692"/>
                <a:gd name="T49" fmla="*/ 373 h 902"/>
                <a:gd name="T50" fmla="*/ 655 w 692"/>
                <a:gd name="T51" fmla="*/ 364 h 902"/>
                <a:gd name="T52" fmla="*/ 541 w 692"/>
                <a:gd name="T53" fmla="*/ 361 h 902"/>
                <a:gd name="T54" fmla="*/ 539 w 692"/>
                <a:gd name="T55" fmla="*/ 158 h 902"/>
                <a:gd name="T56" fmla="*/ 529 w 692"/>
                <a:gd name="T57" fmla="*/ 151 h 902"/>
                <a:gd name="T58" fmla="*/ 250 w 692"/>
                <a:gd name="T59" fmla="*/ 151 h 902"/>
                <a:gd name="T60" fmla="*/ 242 w 692"/>
                <a:gd name="T61" fmla="*/ 160 h 902"/>
                <a:gd name="T62" fmla="*/ 241 w 692"/>
                <a:gd name="T63" fmla="*/ 683 h 902"/>
                <a:gd name="T64" fmla="*/ 213 w 692"/>
                <a:gd name="T65" fmla="*/ 657 h 902"/>
                <a:gd name="T66" fmla="*/ 180 w 692"/>
                <a:gd name="T67" fmla="*/ 640 h 902"/>
                <a:gd name="T68" fmla="*/ 178 w 692"/>
                <a:gd name="T69" fmla="*/ 7 h 902"/>
                <a:gd name="T70" fmla="*/ 168 w 692"/>
                <a:gd name="T71" fmla="*/ 0 h 902"/>
                <a:gd name="T72" fmla="*/ 70 w 692"/>
                <a:gd name="T73" fmla="*/ 1 h 902"/>
                <a:gd name="T74" fmla="*/ 61 w 692"/>
                <a:gd name="T75" fmla="*/ 10 h 902"/>
                <a:gd name="T76" fmla="*/ 61 w 692"/>
                <a:gd name="T77" fmla="*/ 22 h 902"/>
                <a:gd name="T78" fmla="*/ 70 w 692"/>
                <a:gd name="T79" fmla="*/ 29 h 902"/>
                <a:gd name="T80" fmla="*/ 150 w 692"/>
                <a:gd name="T81" fmla="*/ 632 h 902"/>
                <a:gd name="T82" fmla="*/ 108 w 692"/>
                <a:gd name="T83" fmla="*/ 635 h 902"/>
                <a:gd name="T84" fmla="*/ 60 w 692"/>
                <a:gd name="T85" fmla="*/ 655 h 902"/>
                <a:gd name="T86" fmla="*/ 24 w 692"/>
                <a:gd name="T87" fmla="*/ 691 h 902"/>
                <a:gd name="T88" fmla="*/ 3 w 692"/>
                <a:gd name="T89" fmla="*/ 740 h 902"/>
                <a:gd name="T90" fmla="*/ 3 w 692"/>
                <a:gd name="T91" fmla="*/ 794 h 902"/>
                <a:gd name="T92" fmla="*/ 24 w 692"/>
                <a:gd name="T93" fmla="*/ 842 h 902"/>
                <a:gd name="T94" fmla="*/ 60 w 692"/>
                <a:gd name="T95" fmla="*/ 880 h 902"/>
                <a:gd name="T96" fmla="*/ 108 w 692"/>
                <a:gd name="T97" fmla="*/ 900 h 902"/>
                <a:gd name="T98" fmla="*/ 152 w 692"/>
                <a:gd name="T99" fmla="*/ 901 h 902"/>
                <a:gd name="T100" fmla="*/ 200 w 692"/>
                <a:gd name="T101" fmla="*/ 886 h 902"/>
                <a:gd name="T102" fmla="*/ 247 w 692"/>
                <a:gd name="T103" fmla="*/ 842 h 902"/>
                <a:gd name="T104" fmla="*/ 671 w 692"/>
                <a:gd name="T105" fmla="*/ 901 h 902"/>
                <a:gd name="T106" fmla="*/ 682 w 692"/>
                <a:gd name="T107" fmla="*/ 901 h 902"/>
                <a:gd name="T108" fmla="*/ 691 w 692"/>
                <a:gd name="T109" fmla="*/ 893 h 902"/>
                <a:gd name="T110" fmla="*/ 691 w 692"/>
                <a:gd name="T111" fmla="*/ 882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2" h="902">
                  <a:moveTo>
                    <a:pt x="135" y="872"/>
                  </a:moveTo>
                  <a:lnTo>
                    <a:pt x="124" y="872"/>
                  </a:lnTo>
                  <a:lnTo>
                    <a:pt x="115" y="870"/>
                  </a:lnTo>
                  <a:lnTo>
                    <a:pt x="104" y="868"/>
                  </a:lnTo>
                  <a:lnTo>
                    <a:pt x="94" y="864"/>
                  </a:lnTo>
                  <a:lnTo>
                    <a:pt x="86" y="859"/>
                  </a:lnTo>
                  <a:lnTo>
                    <a:pt x="76" y="854"/>
                  </a:lnTo>
                  <a:lnTo>
                    <a:pt x="69" y="849"/>
                  </a:lnTo>
                  <a:lnTo>
                    <a:pt x="61" y="841"/>
                  </a:lnTo>
                  <a:lnTo>
                    <a:pt x="55" y="834"/>
                  </a:lnTo>
                  <a:lnTo>
                    <a:pt x="48" y="826"/>
                  </a:lnTo>
                  <a:lnTo>
                    <a:pt x="43" y="818"/>
                  </a:lnTo>
                  <a:lnTo>
                    <a:pt x="39" y="808"/>
                  </a:lnTo>
                  <a:lnTo>
                    <a:pt x="35" y="798"/>
                  </a:lnTo>
                  <a:lnTo>
                    <a:pt x="32" y="789"/>
                  </a:lnTo>
                  <a:lnTo>
                    <a:pt x="31" y="778"/>
                  </a:lnTo>
                  <a:lnTo>
                    <a:pt x="30" y="767"/>
                  </a:lnTo>
                  <a:lnTo>
                    <a:pt x="31" y="757"/>
                  </a:lnTo>
                  <a:lnTo>
                    <a:pt x="32" y="746"/>
                  </a:lnTo>
                  <a:lnTo>
                    <a:pt x="35" y="736"/>
                  </a:lnTo>
                  <a:lnTo>
                    <a:pt x="39" y="727"/>
                  </a:lnTo>
                  <a:lnTo>
                    <a:pt x="43" y="717"/>
                  </a:lnTo>
                  <a:lnTo>
                    <a:pt x="48" y="708"/>
                  </a:lnTo>
                  <a:lnTo>
                    <a:pt x="55" y="700"/>
                  </a:lnTo>
                  <a:lnTo>
                    <a:pt x="61" y="692"/>
                  </a:lnTo>
                  <a:lnTo>
                    <a:pt x="69" y="686"/>
                  </a:lnTo>
                  <a:lnTo>
                    <a:pt x="76" y="680"/>
                  </a:lnTo>
                  <a:lnTo>
                    <a:pt x="86" y="674"/>
                  </a:lnTo>
                  <a:lnTo>
                    <a:pt x="94" y="670"/>
                  </a:lnTo>
                  <a:lnTo>
                    <a:pt x="104" y="667"/>
                  </a:lnTo>
                  <a:lnTo>
                    <a:pt x="115" y="665"/>
                  </a:lnTo>
                  <a:lnTo>
                    <a:pt x="124" y="662"/>
                  </a:lnTo>
                  <a:lnTo>
                    <a:pt x="135" y="662"/>
                  </a:lnTo>
                  <a:lnTo>
                    <a:pt x="146" y="662"/>
                  </a:lnTo>
                  <a:lnTo>
                    <a:pt x="156" y="665"/>
                  </a:lnTo>
                  <a:lnTo>
                    <a:pt x="167" y="667"/>
                  </a:lnTo>
                  <a:lnTo>
                    <a:pt x="177" y="670"/>
                  </a:lnTo>
                  <a:lnTo>
                    <a:pt x="185" y="674"/>
                  </a:lnTo>
                  <a:lnTo>
                    <a:pt x="194" y="680"/>
                  </a:lnTo>
                  <a:lnTo>
                    <a:pt x="202" y="686"/>
                  </a:lnTo>
                  <a:lnTo>
                    <a:pt x="210" y="692"/>
                  </a:lnTo>
                  <a:lnTo>
                    <a:pt x="216" y="700"/>
                  </a:lnTo>
                  <a:lnTo>
                    <a:pt x="223" y="708"/>
                  </a:lnTo>
                  <a:lnTo>
                    <a:pt x="228" y="717"/>
                  </a:lnTo>
                  <a:lnTo>
                    <a:pt x="232" y="727"/>
                  </a:lnTo>
                  <a:lnTo>
                    <a:pt x="236" y="736"/>
                  </a:lnTo>
                  <a:lnTo>
                    <a:pt x="239" y="746"/>
                  </a:lnTo>
                  <a:lnTo>
                    <a:pt x="240" y="757"/>
                  </a:lnTo>
                  <a:lnTo>
                    <a:pt x="241" y="767"/>
                  </a:lnTo>
                  <a:lnTo>
                    <a:pt x="240" y="778"/>
                  </a:lnTo>
                  <a:lnTo>
                    <a:pt x="239" y="789"/>
                  </a:lnTo>
                  <a:lnTo>
                    <a:pt x="236" y="798"/>
                  </a:lnTo>
                  <a:lnTo>
                    <a:pt x="232" y="808"/>
                  </a:lnTo>
                  <a:lnTo>
                    <a:pt x="228" y="818"/>
                  </a:lnTo>
                  <a:lnTo>
                    <a:pt x="223" y="826"/>
                  </a:lnTo>
                  <a:lnTo>
                    <a:pt x="216" y="834"/>
                  </a:lnTo>
                  <a:lnTo>
                    <a:pt x="210" y="841"/>
                  </a:lnTo>
                  <a:lnTo>
                    <a:pt x="202" y="849"/>
                  </a:lnTo>
                  <a:lnTo>
                    <a:pt x="194" y="854"/>
                  </a:lnTo>
                  <a:lnTo>
                    <a:pt x="185" y="859"/>
                  </a:lnTo>
                  <a:lnTo>
                    <a:pt x="177" y="864"/>
                  </a:lnTo>
                  <a:lnTo>
                    <a:pt x="167" y="868"/>
                  </a:lnTo>
                  <a:lnTo>
                    <a:pt x="156" y="870"/>
                  </a:lnTo>
                  <a:lnTo>
                    <a:pt x="146" y="872"/>
                  </a:lnTo>
                  <a:lnTo>
                    <a:pt x="135" y="872"/>
                  </a:lnTo>
                  <a:close/>
                  <a:moveTo>
                    <a:pt x="271" y="180"/>
                  </a:moveTo>
                  <a:lnTo>
                    <a:pt x="511" y="180"/>
                  </a:lnTo>
                  <a:lnTo>
                    <a:pt x="511" y="361"/>
                  </a:lnTo>
                  <a:lnTo>
                    <a:pt x="271" y="361"/>
                  </a:lnTo>
                  <a:lnTo>
                    <a:pt x="271" y="180"/>
                  </a:lnTo>
                  <a:close/>
                  <a:moveTo>
                    <a:pt x="632" y="722"/>
                  </a:moveTo>
                  <a:lnTo>
                    <a:pt x="271" y="722"/>
                  </a:lnTo>
                  <a:lnTo>
                    <a:pt x="271" y="391"/>
                  </a:lnTo>
                  <a:lnTo>
                    <a:pt x="526" y="391"/>
                  </a:lnTo>
                  <a:lnTo>
                    <a:pt x="632" y="391"/>
                  </a:lnTo>
                  <a:lnTo>
                    <a:pt x="632" y="722"/>
                  </a:lnTo>
                  <a:close/>
                  <a:moveTo>
                    <a:pt x="688" y="877"/>
                  </a:moveTo>
                  <a:lnTo>
                    <a:pt x="627" y="817"/>
                  </a:lnTo>
                  <a:lnTo>
                    <a:pt x="625" y="814"/>
                  </a:lnTo>
                  <a:lnTo>
                    <a:pt x="622" y="813"/>
                  </a:lnTo>
                  <a:lnTo>
                    <a:pt x="619" y="812"/>
                  </a:lnTo>
                  <a:lnTo>
                    <a:pt x="616" y="812"/>
                  </a:lnTo>
                  <a:lnTo>
                    <a:pt x="262" y="812"/>
                  </a:lnTo>
                  <a:lnTo>
                    <a:pt x="266" y="802"/>
                  </a:lnTo>
                  <a:lnTo>
                    <a:pt x="269" y="790"/>
                  </a:lnTo>
                  <a:lnTo>
                    <a:pt x="270" y="779"/>
                  </a:lnTo>
                  <a:lnTo>
                    <a:pt x="271" y="767"/>
                  </a:lnTo>
                  <a:lnTo>
                    <a:pt x="270" y="760"/>
                  </a:lnTo>
                  <a:lnTo>
                    <a:pt x="270" y="752"/>
                  </a:lnTo>
                  <a:lnTo>
                    <a:pt x="647" y="752"/>
                  </a:lnTo>
                  <a:lnTo>
                    <a:pt x="649" y="752"/>
                  </a:lnTo>
                  <a:lnTo>
                    <a:pt x="652" y="751"/>
                  </a:lnTo>
                  <a:lnTo>
                    <a:pt x="655" y="749"/>
                  </a:lnTo>
                  <a:lnTo>
                    <a:pt x="657" y="748"/>
                  </a:lnTo>
                  <a:lnTo>
                    <a:pt x="659" y="746"/>
                  </a:lnTo>
                  <a:lnTo>
                    <a:pt x="660" y="743"/>
                  </a:lnTo>
                  <a:lnTo>
                    <a:pt x="661" y="741"/>
                  </a:lnTo>
                  <a:lnTo>
                    <a:pt x="662" y="737"/>
                  </a:lnTo>
                  <a:lnTo>
                    <a:pt x="662" y="376"/>
                  </a:lnTo>
                  <a:lnTo>
                    <a:pt x="661" y="373"/>
                  </a:lnTo>
                  <a:lnTo>
                    <a:pt x="660" y="370"/>
                  </a:lnTo>
                  <a:lnTo>
                    <a:pt x="659" y="368"/>
                  </a:lnTo>
                  <a:lnTo>
                    <a:pt x="657" y="366"/>
                  </a:lnTo>
                  <a:lnTo>
                    <a:pt x="655" y="364"/>
                  </a:lnTo>
                  <a:lnTo>
                    <a:pt x="652" y="362"/>
                  </a:lnTo>
                  <a:lnTo>
                    <a:pt x="649" y="361"/>
                  </a:lnTo>
                  <a:lnTo>
                    <a:pt x="647" y="361"/>
                  </a:lnTo>
                  <a:lnTo>
                    <a:pt x="541" y="361"/>
                  </a:lnTo>
                  <a:lnTo>
                    <a:pt x="541" y="165"/>
                  </a:lnTo>
                  <a:lnTo>
                    <a:pt x="541" y="163"/>
                  </a:lnTo>
                  <a:lnTo>
                    <a:pt x="540" y="160"/>
                  </a:lnTo>
                  <a:lnTo>
                    <a:pt x="539" y="158"/>
                  </a:lnTo>
                  <a:lnTo>
                    <a:pt x="537" y="155"/>
                  </a:lnTo>
                  <a:lnTo>
                    <a:pt x="535" y="154"/>
                  </a:lnTo>
                  <a:lnTo>
                    <a:pt x="532" y="152"/>
                  </a:lnTo>
                  <a:lnTo>
                    <a:pt x="529" y="151"/>
                  </a:lnTo>
                  <a:lnTo>
                    <a:pt x="526" y="150"/>
                  </a:lnTo>
                  <a:lnTo>
                    <a:pt x="256" y="150"/>
                  </a:lnTo>
                  <a:lnTo>
                    <a:pt x="253" y="151"/>
                  </a:lnTo>
                  <a:lnTo>
                    <a:pt x="250" y="151"/>
                  </a:lnTo>
                  <a:lnTo>
                    <a:pt x="247" y="154"/>
                  </a:lnTo>
                  <a:lnTo>
                    <a:pt x="245" y="155"/>
                  </a:lnTo>
                  <a:lnTo>
                    <a:pt x="243" y="158"/>
                  </a:lnTo>
                  <a:lnTo>
                    <a:pt x="242" y="160"/>
                  </a:lnTo>
                  <a:lnTo>
                    <a:pt x="241" y="163"/>
                  </a:lnTo>
                  <a:lnTo>
                    <a:pt x="241" y="165"/>
                  </a:lnTo>
                  <a:lnTo>
                    <a:pt x="241" y="376"/>
                  </a:lnTo>
                  <a:lnTo>
                    <a:pt x="241" y="683"/>
                  </a:lnTo>
                  <a:lnTo>
                    <a:pt x="235" y="675"/>
                  </a:lnTo>
                  <a:lnTo>
                    <a:pt x="228" y="669"/>
                  </a:lnTo>
                  <a:lnTo>
                    <a:pt x="221" y="662"/>
                  </a:lnTo>
                  <a:lnTo>
                    <a:pt x="213" y="657"/>
                  </a:lnTo>
                  <a:lnTo>
                    <a:pt x="206" y="652"/>
                  </a:lnTo>
                  <a:lnTo>
                    <a:pt x="198" y="647"/>
                  </a:lnTo>
                  <a:lnTo>
                    <a:pt x="190" y="643"/>
                  </a:lnTo>
                  <a:lnTo>
                    <a:pt x="180" y="640"/>
                  </a:lnTo>
                  <a:lnTo>
                    <a:pt x="180" y="15"/>
                  </a:lnTo>
                  <a:lnTo>
                    <a:pt x="180" y="12"/>
                  </a:lnTo>
                  <a:lnTo>
                    <a:pt x="179" y="10"/>
                  </a:lnTo>
                  <a:lnTo>
                    <a:pt x="178" y="7"/>
                  </a:lnTo>
                  <a:lnTo>
                    <a:pt x="176" y="5"/>
                  </a:lnTo>
                  <a:lnTo>
                    <a:pt x="174" y="3"/>
                  </a:lnTo>
                  <a:lnTo>
                    <a:pt x="171" y="1"/>
                  </a:lnTo>
                  <a:lnTo>
                    <a:pt x="168" y="0"/>
                  </a:lnTo>
                  <a:lnTo>
                    <a:pt x="165" y="0"/>
                  </a:lnTo>
                  <a:lnTo>
                    <a:pt x="75" y="0"/>
                  </a:lnTo>
                  <a:lnTo>
                    <a:pt x="72" y="0"/>
                  </a:lnTo>
                  <a:lnTo>
                    <a:pt x="70" y="1"/>
                  </a:lnTo>
                  <a:lnTo>
                    <a:pt x="66" y="3"/>
                  </a:lnTo>
                  <a:lnTo>
                    <a:pt x="64" y="5"/>
                  </a:lnTo>
                  <a:lnTo>
                    <a:pt x="63" y="7"/>
                  </a:lnTo>
                  <a:lnTo>
                    <a:pt x="61" y="10"/>
                  </a:lnTo>
                  <a:lnTo>
                    <a:pt x="60" y="12"/>
                  </a:lnTo>
                  <a:lnTo>
                    <a:pt x="60" y="15"/>
                  </a:lnTo>
                  <a:lnTo>
                    <a:pt x="60" y="19"/>
                  </a:lnTo>
                  <a:lnTo>
                    <a:pt x="61" y="22"/>
                  </a:lnTo>
                  <a:lnTo>
                    <a:pt x="63" y="24"/>
                  </a:lnTo>
                  <a:lnTo>
                    <a:pt x="64" y="26"/>
                  </a:lnTo>
                  <a:lnTo>
                    <a:pt x="66" y="28"/>
                  </a:lnTo>
                  <a:lnTo>
                    <a:pt x="70" y="29"/>
                  </a:lnTo>
                  <a:lnTo>
                    <a:pt x="72" y="30"/>
                  </a:lnTo>
                  <a:lnTo>
                    <a:pt x="75" y="30"/>
                  </a:lnTo>
                  <a:lnTo>
                    <a:pt x="150" y="30"/>
                  </a:lnTo>
                  <a:lnTo>
                    <a:pt x="150" y="632"/>
                  </a:lnTo>
                  <a:lnTo>
                    <a:pt x="142" y="632"/>
                  </a:lnTo>
                  <a:lnTo>
                    <a:pt x="135" y="632"/>
                  </a:lnTo>
                  <a:lnTo>
                    <a:pt x="121" y="632"/>
                  </a:lnTo>
                  <a:lnTo>
                    <a:pt x="108" y="635"/>
                  </a:lnTo>
                  <a:lnTo>
                    <a:pt x="95" y="638"/>
                  </a:lnTo>
                  <a:lnTo>
                    <a:pt x="82" y="642"/>
                  </a:lnTo>
                  <a:lnTo>
                    <a:pt x="71" y="648"/>
                  </a:lnTo>
                  <a:lnTo>
                    <a:pt x="60" y="655"/>
                  </a:lnTo>
                  <a:lnTo>
                    <a:pt x="49" y="662"/>
                  </a:lnTo>
                  <a:lnTo>
                    <a:pt x="40" y="672"/>
                  </a:lnTo>
                  <a:lnTo>
                    <a:pt x="31" y="682"/>
                  </a:lnTo>
                  <a:lnTo>
                    <a:pt x="24" y="691"/>
                  </a:lnTo>
                  <a:lnTo>
                    <a:pt x="16" y="703"/>
                  </a:lnTo>
                  <a:lnTo>
                    <a:pt x="11" y="715"/>
                  </a:lnTo>
                  <a:lnTo>
                    <a:pt x="6" y="727"/>
                  </a:lnTo>
                  <a:lnTo>
                    <a:pt x="3" y="740"/>
                  </a:lnTo>
                  <a:lnTo>
                    <a:pt x="1" y="753"/>
                  </a:lnTo>
                  <a:lnTo>
                    <a:pt x="0" y="767"/>
                  </a:lnTo>
                  <a:lnTo>
                    <a:pt x="1" y="781"/>
                  </a:lnTo>
                  <a:lnTo>
                    <a:pt x="3" y="794"/>
                  </a:lnTo>
                  <a:lnTo>
                    <a:pt x="6" y="807"/>
                  </a:lnTo>
                  <a:lnTo>
                    <a:pt x="11" y="820"/>
                  </a:lnTo>
                  <a:lnTo>
                    <a:pt x="16" y="832"/>
                  </a:lnTo>
                  <a:lnTo>
                    <a:pt x="24" y="842"/>
                  </a:lnTo>
                  <a:lnTo>
                    <a:pt x="31" y="853"/>
                  </a:lnTo>
                  <a:lnTo>
                    <a:pt x="40" y="863"/>
                  </a:lnTo>
                  <a:lnTo>
                    <a:pt x="49" y="871"/>
                  </a:lnTo>
                  <a:lnTo>
                    <a:pt x="60" y="880"/>
                  </a:lnTo>
                  <a:lnTo>
                    <a:pt x="71" y="886"/>
                  </a:lnTo>
                  <a:lnTo>
                    <a:pt x="82" y="892"/>
                  </a:lnTo>
                  <a:lnTo>
                    <a:pt x="95" y="896"/>
                  </a:lnTo>
                  <a:lnTo>
                    <a:pt x="108" y="900"/>
                  </a:lnTo>
                  <a:lnTo>
                    <a:pt x="121" y="902"/>
                  </a:lnTo>
                  <a:lnTo>
                    <a:pt x="135" y="902"/>
                  </a:lnTo>
                  <a:lnTo>
                    <a:pt x="144" y="902"/>
                  </a:lnTo>
                  <a:lnTo>
                    <a:pt x="152" y="901"/>
                  </a:lnTo>
                  <a:lnTo>
                    <a:pt x="161" y="900"/>
                  </a:lnTo>
                  <a:lnTo>
                    <a:pt x="169" y="898"/>
                  </a:lnTo>
                  <a:lnTo>
                    <a:pt x="185" y="893"/>
                  </a:lnTo>
                  <a:lnTo>
                    <a:pt x="200" y="886"/>
                  </a:lnTo>
                  <a:lnTo>
                    <a:pt x="214" y="878"/>
                  </a:lnTo>
                  <a:lnTo>
                    <a:pt x="226" y="867"/>
                  </a:lnTo>
                  <a:lnTo>
                    <a:pt x="238" y="855"/>
                  </a:lnTo>
                  <a:lnTo>
                    <a:pt x="247" y="842"/>
                  </a:lnTo>
                  <a:lnTo>
                    <a:pt x="611" y="842"/>
                  </a:lnTo>
                  <a:lnTo>
                    <a:pt x="666" y="898"/>
                  </a:lnTo>
                  <a:lnTo>
                    <a:pt x="668" y="900"/>
                  </a:lnTo>
                  <a:lnTo>
                    <a:pt x="671" y="901"/>
                  </a:lnTo>
                  <a:lnTo>
                    <a:pt x="674" y="902"/>
                  </a:lnTo>
                  <a:lnTo>
                    <a:pt x="677" y="902"/>
                  </a:lnTo>
                  <a:lnTo>
                    <a:pt x="679" y="902"/>
                  </a:lnTo>
                  <a:lnTo>
                    <a:pt x="682" y="901"/>
                  </a:lnTo>
                  <a:lnTo>
                    <a:pt x="685" y="900"/>
                  </a:lnTo>
                  <a:lnTo>
                    <a:pt x="688" y="898"/>
                  </a:lnTo>
                  <a:lnTo>
                    <a:pt x="689" y="896"/>
                  </a:lnTo>
                  <a:lnTo>
                    <a:pt x="691" y="893"/>
                  </a:lnTo>
                  <a:lnTo>
                    <a:pt x="691" y="891"/>
                  </a:lnTo>
                  <a:lnTo>
                    <a:pt x="692" y="887"/>
                  </a:lnTo>
                  <a:lnTo>
                    <a:pt x="691" y="884"/>
                  </a:lnTo>
                  <a:lnTo>
                    <a:pt x="691" y="882"/>
                  </a:lnTo>
                  <a:lnTo>
                    <a:pt x="689" y="879"/>
                  </a:lnTo>
                  <a:lnTo>
                    <a:pt x="688" y="877"/>
                  </a:lnTo>
                  <a:lnTo>
                    <a:pt x="688" y="8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84" name="Freeform 228"/>
            <p:cNvSpPr>
              <a:spLocks/>
            </p:cNvSpPr>
            <p:nvPr/>
          </p:nvSpPr>
          <p:spPr bwMode="auto">
            <a:xfrm>
              <a:off x="6592888" y="2709863"/>
              <a:ext cx="42863" cy="9525"/>
            </a:xfrm>
            <a:custGeom>
              <a:avLst/>
              <a:gdLst>
                <a:gd name="T0" fmla="*/ 0 w 135"/>
                <a:gd name="T1" fmla="*/ 15 h 30"/>
                <a:gd name="T2" fmla="*/ 0 w 135"/>
                <a:gd name="T3" fmla="*/ 18 h 30"/>
                <a:gd name="T4" fmla="*/ 1 w 135"/>
                <a:gd name="T5" fmla="*/ 21 h 30"/>
                <a:gd name="T6" fmla="*/ 3 w 135"/>
                <a:gd name="T7" fmla="*/ 23 h 30"/>
                <a:gd name="T8" fmla="*/ 4 w 135"/>
                <a:gd name="T9" fmla="*/ 26 h 30"/>
                <a:gd name="T10" fmla="*/ 6 w 135"/>
                <a:gd name="T11" fmla="*/ 27 h 30"/>
                <a:gd name="T12" fmla="*/ 10 w 135"/>
                <a:gd name="T13" fmla="*/ 29 h 30"/>
                <a:gd name="T14" fmla="*/ 12 w 135"/>
                <a:gd name="T15" fmla="*/ 29 h 30"/>
                <a:gd name="T16" fmla="*/ 15 w 135"/>
                <a:gd name="T17" fmla="*/ 30 h 30"/>
                <a:gd name="T18" fmla="*/ 120 w 135"/>
                <a:gd name="T19" fmla="*/ 30 h 30"/>
                <a:gd name="T20" fmla="*/ 123 w 135"/>
                <a:gd name="T21" fmla="*/ 29 h 30"/>
                <a:gd name="T22" fmla="*/ 126 w 135"/>
                <a:gd name="T23" fmla="*/ 28 h 30"/>
                <a:gd name="T24" fmla="*/ 129 w 135"/>
                <a:gd name="T25" fmla="*/ 27 h 30"/>
                <a:gd name="T26" fmla="*/ 131 w 135"/>
                <a:gd name="T27" fmla="*/ 26 h 30"/>
                <a:gd name="T28" fmla="*/ 133 w 135"/>
                <a:gd name="T29" fmla="*/ 23 h 30"/>
                <a:gd name="T30" fmla="*/ 134 w 135"/>
                <a:gd name="T31" fmla="*/ 21 h 30"/>
                <a:gd name="T32" fmla="*/ 135 w 135"/>
                <a:gd name="T33" fmla="*/ 18 h 30"/>
                <a:gd name="T34" fmla="*/ 135 w 135"/>
                <a:gd name="T35" fmla="*/ 15 h 30"/>
                <a:gd name="T36" fmla="*/ 135 w 135"/>
                <a:gd name="T37" fmla="*/ 12 h 30"/>
                <a:gd name="T38" fmla="*/ 134 w 135"/>
                <a:gd name="T39" fmla="*/ 9 h 30"/>
                <a:gd name="T40" fmla="*/ 133 w 135"/>
                <a:gd name="T41" fmla="*/ 7 h 30"/>
                <a:gd name="T42" fmla="*/ 131 w 135"/>
                <a:gd name="T43" fmla="*/ 5 h 30"/>
                <a:gd name="T44" fmla="*/ 129 w 135"/>
                <a:gd name="T45" fmla="*/ 3 h 30"/>
                <a:gd name="T46" fmla="*/ 126 w 135"/>
                <a:gd name="T47" fmla="*/ 1 h 30"/>
                <a:gd name="T48" fmla="*/ 123 w 135"/>
                <a:gd name="T49" fmla="*/ 0 h 30"/>
                <a:gd name="T50" fmla="*/ 120 w 135"/>
                <a:gd name="T51" fmla="*/ 0 h 30"/>
                <a:gd name="T52" fmla="*/ 15 w 135"/>
                <a:gd name="T53" fmla="*/ 0 h 30"/>
                <a:gd name="T54" fmla="*/ 12 w 135"/>
                <a:gd name="T55" fmla="*/ 0 h 30"/>
                <a:gd name="T56" fmla="*/ 10 w 135"/>
                <a:gd name="T57" fmla="*/ 1 h 30"/>
                <a:gd name="T58" fmla="*/ 6 w 135"/>
                <a:gd name="T59" fmla="*/ 3 h 30"/>
                <a:gd name="T60" fmla="*/ 4 w 135"/>
                <a:gd name="T61" fmla="*/ 5 h 30"/>
                <a:gd name="T62" fmla="*/ 3 w 135"/>
                <a:gd name="T63" fmla="*/ 7 h 30"/>
                <a:gd name="T64" fmla="*/ 1 w 135"/>
                <a:gd name="T65" fmla="*/ 9 h 30"/>
                <a:gd name="T66" fmla="*/ 0 w 135"/>
                <a:gd name="T67" fmla="*/ 12 h 30"/>
                <a:gd name="T68" fmla="*/ 0 w 135"/>
                <a:gd name="T69" fmla="*/ 15 h 30"/>
                <a:gd name="T70" fmla="*/ 0 w 135"/>
                <a:gd name="T7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5" h="30">
                  <a:moveTo>
                    <a:pt x="0" y="15"/>
                  </a:moveTo>
                  <a:lnTo>
                    <a:pt x="0" y="18"/>
                  </a:lnTo>
                  <a:lnTo>
                    <a:pt x="1" y="21"/>
                  </a:lnTo>
                  <a:lnTo>
                    <a:pt x="3" y="23"/>
                  </a:lnTo>
                  <a:lnTo>
                    <a:pt x="4" y="26"/>
                  </a:lnTo>
                  <a:lnTo>
                    <a:pt x="6" y="27"/>
                  </a:lnTo>
                  <a:lnTo>
                    <a:pt x="10" y="29"/>
                  </a:lnTo>
                  <a:lnTo>
                    <a:pt x="12" y="29"/>
                  </a:lnTo>
                  <a:lnTo>
                    <a:pt x="15" y="30"/>
                  </a:lnTo>
                  <a:lnTo>
                    <a:pt x="120" y="30"/>
                  </a:lnTo>
                  <a:lnTo>
                    <a:pt x="123" y="29"/>
                  </a:lnTo>
                  <a:lnTo>
                    <a:pt x="126" y="28"/>
                  </a:lnTo>
                  <a:lnTo>
                    <a:pt x="129" y="27"/>
                  </a:lnTo>
                  <a:lnTo>
                    <a:pt x="131" y="26"/>
                  </a:lnTo>
                  <a:lnTo>
                    <a:pt x="133" y="23"/>
                  </a:lnTo>
                  <a:lnTo>
                    <a:pt x="134" y="21"/>
                  </a:lnTo>
                  <a:lnTo>
                    <a:pt x="135" y="18"/>
                  </a:lnTo>
                  <a:lnTo>
                    <a:pt x="135" y="15"/>
                  </a:lnTo>
                  <a:lnTo>
                    <a:pt x="135" y="12"/>
                  </a:lnTo>
                  <a:lnTo>
                    <a:pt x="134" y="9"/>
                  </a:lnTo>
                  <a:lnTo>
                    <a:pt x="133" y="7"/>
                  </a:lnTo>
                  <a:lnTo>
                    <a:pt x="131" y="5"/>
                  </a:lnTo>
                  <a:lnTo>
                    <a:pt x="129" y="3"/>
                  </a:lnTo>
                  <a:lnTo>
                    <a:pt x="126" y="1"/>
                  </a:lnTo>
                  <a:lnTo>
                    <a:pt x="123" y="0"/>
                  </a:lnTo>
                  <a:lnTo>
                    <a:pt x="120" y="0"/>
                  </a:lnTo>
                  <a:lnTo>
                    <a:pt x="15" y="0"/>
                  </a:lnTo>
                  <a:lnTo>
                    <a:pt x="12" y="0"/>
                  </a:lnTo>
                  <a:lnTo>
                    <a:pt x="10" y="1"/>
                  </a:lnTo>
                  <a:lnTo>
                    <a:pt x="6" y="3"/>
                  </a:lnTo>
                  <a:lnTo>
                    <a:pt x="4" y="5"/>
                  </a:lnTo>
                  <a:lnTo>
                    <a:pt x="3" y="7"/>
                  </a:lnTo>
                  <a:lnTo>
                    <a:pt x="1" y="9"/>
                  </a:lnTo>
                  <a:lnTo>
                    <a:pt x="0" y="12"/>
                  </a:lnTo>
                  <a:lnTo>
                    <a:pt x="0" y="15"/>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85" name="Freeform 229"/>
            <p:cNvSpPr>
              <a:spLocks/>
            </p:cNvSpPr>
            <p:nvPr/>
          </p:nvSpPr>
          <p:spPr bwMode="auto">
            <a:xfrm>
              <a:off x="6540500" y="2593975"/>
              <a:ext cx="28575" cy="9525"/>
            </a:xfrm>
            <a:custGeom>
              <a:avLst/>
              <a:gdLst>
                <a:gd name="T0" fmla="*/ 75 w 90"/>
                <a:gd name="T1" fmla="*/ 0 h 30"/>
                <a:gd name="T2" fmla="*/ 15 w 90"/>
                <a:gd name="T3" fmla="*/ 0 h 30"/>
                <a:gd name="T4" fmla="*/ 12 w 90"/>
                <a:gd name="T5" fmla="*/ 0 h 30"/>
                <a:gd name="T6" fmla="*/ 9 w 90"/>
                <a:gd name="T7" fmla="*/ 1 h 30"/>
                <a:gd name="T8" fmla="*/ 6 w 90"/>
                <a:gd name="T9" fmla="*/ 3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7 h 30"/>
                <a:gd name="T30" fmla="*/ 9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3 h 30"/>
                <a:gd name="T64" fmla="*/ 80 w 90"/>
                <a:gd name="T65" fmla="*/ 1 h 30"/>
                <a:gd name="T66" fmla="*/ 78 w 90"/>
                <a:gd name="T67" fmla="*/ 0 h 30"/>
                <a:gd name="T68" fmla="*/ 75 w 90"/>
                <a:gd name="T69" fmla="*/ 0 h 30"/>
                <a:gd name="T70" fmla="*/ 75 w 9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75" y="0"/>
                  </a:moveTo>
                  <a:lnTo>
                    <a:pt x="15" y="0"/>
                  </a:lnTo>
                  <a:lnTo>
                    <a:pt x="12" y="0"/>
                  </a:lnTo>
                  <a:lnTo>
                    <a:pt x="9" y="1"/>
                  </a:lnTo>
                  <a:lnTo>
                    <a:pt x="6" y="3"/>
                  </a:lnTo>
                  <a:lnTo>
                    <a:pt x="4" y="5"/>
                  </a:lnTo>
                  <a:lnTo>
                    <a:pt x="2" y="7"/>
                  </a:lnTo>
                  <a:lnTo>
                    <a:pt x="1" y="9"/>
                  </a:lnTo>
                  <a:lnTo>
                    <a:pt x="0" y="12"/>
                  </a:lnTo>
                  <a:lnTo>
                    <a:pt x="0" y="15"/>
                  </a:lnTo>
                  <a:lnTo>
                    <a:pt x="0" y="19"/>
                  </a:lnTo>
                  <a:lnTo>
                    <a:pt x="1" y="21"/>
                  </a:lnTo>
                  <a:lnTo>
                    <a:pt x="2" y="24"/>
                  </a:lnTo>
                  <a:lnTo>
                    <a:pt x="4" y="26"/>
                  </a:lnTo>
                  <a:lnTo>
                    <a:pt x="6" y="27"/>
                  </a:lnTo>
                  <a:lnTo>
                    <a:pt x="9" y="29"/>
                  </a:lnTo>
                  <a:lnTo>
                    <a:pt x="12" y="30"/>
                  </a:lnTo>
                  <a:lnTo>
                    <a:pt x="15" y="30"/>
                  </a:lnTo>
                  <a:lnTo>
                    <a:pt x="75" y="30"/>
                  </a:lnTo>
                  <a:lnTo>
                    <a:pt x="78" y="30"/>
                  </a:lnTo>
                  <a:lnTo>
                    <a:pt x="80" y="29"/>
                  </a:lnTo>
                  <a:lnTo>
                    <a:pt x="84" y="27"/>
                  </a:lnTo>
                  <a:lnTo>
                    <a:pt x="86" y="26"/>
                  </a:lnTo>
                  <a:lnTo>
                    <a:pt x="88" y="24"/>
                  </a:lnTo>
                  <a:lnTo>
                    <a:pt x="89" y="21"/>
                  </a:lnTo>
                  <a:lnTo>
                    <a:pt x="90" y="19"/>
                  </a:lnTo>
                  <a:lnTo>
                    <a:pt x="90" y="15"/>
                  </a:lnTo>
                  <a:lnTo>
                    <a:pt x="90" y="12"/>
                  </a:lnTo>
                  <a:lnTo>
                    <a:pt x="89" y="9"/>
                  </a:lnTo>
                  <a:lnTo>
                    <a:pt x="88" y="7"/>
                  </a:lnTo>
                  <a:lnTo>
                    <a:pt x="86" y="5"/>
                  </a:lnTo>
                  <a:lnTo>
                    <a:pt x="84" y="3"/>
                  </a:lnTo>
                  <a:lnTo>
                    <a:pt x="80" y="1"/>
                  </a:lnTo>
                  <a:lnTo>
                    <a:pt x="78" y="0"/>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186" name="Group 185"/>
          <p:cNvGrpSpPr/>
          <p:nvPr/>
        </p:nvGrpSpPr>
        <p:grpSpPr>
          <a:xfrm>
            <a:off x="7471510" y="8442064"/>
            <a:ext cx="660508" cy="660508"/>
            <a:chOff x="8743951" y="1343025"/>
            <a:chExt cx="287338" cy="287338"/>
          </a:xfrm>
          <a:solidFill>
            <a:schemeClr val="accent4"/>
          </a:solidFill>
        </p:grpSpPr>
        <p:sp>
          <p:nvSpPr>
            <p:cNvPr id="187" name="Freeform 369"/>
            <p:cNvSpPr>
              <a:spLocks noEditPoints="1"/>
            </p:cNvSpPr>
            <p:nvPr/>
          </p:nvSpPr>
          <p:spPr bwMode="auto">
            <a:xfrm>
              <a:off x="8767763" y="1343025"/>
              <a:ext cx="171450" cy="53975"/>
            </a:xfrm>
            <a:custGeom>
              <a:avLst/>
              <a:gdLst>
                <a:gd name="T0" fmla="*/ 209 w 541"/>
                <a:gd name="T1" fmla="*/ 33 h 167"/>
                <a:gd name="T2" fmla="*/ 267 w 541"/>
                <a:gd name="T3" fmla="*/ 47 h 167"/>
                <a:gd name="T4" fmla="*/ 356 w 541"/>
                <a:gd name="T5" fmla="*/ 75 h 167"/>
                <a:gd name="T6" fmla="*/ 402 w 541"/>
                <a:gd name="T7" fmla="*/ 84 h 167"/>
                <a:gd name="T8" fmla="*/ 442 w 541"/>
                <a:gd name="T9" fmla="*/ 83 h 167"/>
                <a:gd name="T10" fmla="*/ 449 w 541"/>
                <a:gd name="T11" fmla="*/ 92 h 167"/>
                <a:gd name="T12" fmla="*/ 398 w 541"/>
                <a:gd name="T13" fmla="*/ 122 h 167"/>
                <a:gd name="T14" fmla="*/ 344 w 541"/>
                <a:gd name="T15" fmla="*/ 136 h 167"/>
                <a:gd name="T16" fmla="*/ 289 w 541"/>
                <a:gd name="T17" fmla="*/ 134 h 167"/>
                <a:gd name="T18" fmla="*/ 218 w 541"/>
                <a:gd name="T19" fmla="*/ 116 h 167"/>
                <a:gd name="T20" fmla="*/ 125 w 541"/>
                <a:gd name="T21" fmla="*/ 85 h 167"/>
                <a:gd name="T22" fmla="*/ 82 w 541"/>
                <a:gd name="T23" fmla="*/ 77 h 167"/>
                <a:gd name="T24" fmla="*/ 66 w 541"/>
                <a:gd name="T25" fmla="*/ 76 h 167"/>
                <a:gd name="T26" fmla="*/ 108 w 541"/>
                <a:gd name="T27" fmla="*/ 48 h 167"/>
                <a:gd name="T28" fmla="*/ 151 w 541"/>
                <a:gd name="T29" fmla="*/ 33 h 167"/>
                <a:gd name="T30" fmla="*/ 181 w 541"/>
                <a:gd name="T31" fmla="*/ 31 h 167"/>
                <a:gd name="T32" fmla="*/ 43 w 541"/>
                <a:gd name="T33" fmla="*/ 109 h 167"/>
                <a:gd name="T34" fmla="*/ 80 w 541"/>
                <a:gd name="T35" fmla="*/ 107 h 167"/>
                <a:gd name="T36" fmla="*/ 119 w 541"/>
                <a:gd name="T37" fmla="*/ 115 h 167"/>
                <a:gd name="T38" fmla="*/ 210 w 541"/>
                <a:gd name="T39" fmla="*/ 145 h 167"/>
                <a:gd name="T40" fmla="*/ 285 w 541"/>
                <a:gd name="T41" fmla="*/ 164 h 167"/>
                <a:gd name="T42" fmla="*/ 339 w 541"/>
                <a:gd name="T43" fmla="*/ 166 h 167"/>
                <a:gd name="T44" fmla="*/ 383 w 541"/>
                <a:gd name="T45" fmla="*/ 159 h 167"/>
                <a:gd name="T46" fmla="*/ 425 w 541"/>
                <a:gd name="T47" fmla="*/ 143 h 167"/>
                <a:gd name="T48" fmla="*/ 465 w 541"/>
                <a:gd name="T49" fmla="*/ 118 h 167"/>
                <a:gd name="T50" fmla="*/ 503 w 541"/>
                <a:gd name="T51" fmla="*/ 84 h 167"/>
                <a:gd name="T52" fmla="*/ 539 w 541"/>
                <a:gd name="T53" fmla="*/ 40 h 167"/>
                <a:gd name="T54" fmla="*/ 540 w 541"/>
                <a:gd name="T55" fmla="*/ 25 h 167"/>
                <a:gd name="T56" fmla="*/ 527 w 541"/>
                <a:gd name="T57" fmla="*/ 16 h 167"/>
                <a:gd name="T58" fmla="*/ 506 w 541"/>
                <a:gd name="T59" fmla="*/ 27 h 167"/>
                <a:gd name="T60" fmla="*/ 469 w 541"/>
                <a:gd name="T61" fmla="*/ 45 h 167"/>
                <a:gd name="T62" fmla="*/ 432 w 541"/>
                <a:gd name="T63" fmla="*/ 54 h 167"/>
                <a:gd name="T64" fmla="*/ 390 w 541"/>
                <a:gd name="T65" fmla="*/ 51 h 167"/>
                <a:gd name="T66" fmla="*/ 333 w 541"/>
                <a:gd name="T67" fmla="*/ 37 h 167"/>
                <a:gd name="T68" fmla="*/ 244 w 541"/>
                <a:gd name="T69" fmla="*/ 10 h 167"/>
                <a:gd name="T70" fmla="*/ 197 w 541"/>
                <a:gd name="T71" fmla="*/ 1 h 167"/>
                <a:gd name="T72" fmla="*/ 156 w 541"/>
                <a:gd name="T73" fmla="*/ 2 h 167"/>
                <a:gd name="T74" fmla="*/ 122 w 541"/>
                <a:gd name="T75" fmla="*/ 10 h 167"/>
                <a:gd name="T76" fmla="*/ 89 w 541"/>
                <a:gd name="T77" fmla="*/ 24 h 167"/>
                <a:gd name="T78" fmla="*/ 56 w 541"/>
                <a:gd name="T79" fmla="*/ 45 h 167"/>
                <a:gd name="T80" fmla="*/ 24 w 541"/>
                <a:gd name="T81" fmla="*/ 73 h 167"/>
                <a:gd name="T82" fmla="*/ 1 w 541"/>
                <a:gd name="T83" fmla="*/ 101 h 167"/>
                <a:gd name="T84" fmla="*/ 3 w 541"/>
                <a:gd name="T85" fmla="*/ 116 h 167"/>
                <a:gd name="T86" fmla="*/ 18 w 541"/>
                <a:gd name="T87" fmla="*/ 12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1" h="167">
                  <a:moveTo>
                    <a:pt x="181" y="31"/>
                  </a:moveTo>
                  <a:lnTo>
                    <a:pt x="195" y="31"/>
                  </a:lnTo>
                  <a:lnTo>
                    <a:pt x="209" y="33"/>
                  </a:lnTo>
                  <a:lnTo>
                    <a:pt x="224" y="35"/>
                  </a:lnTo>
                  <a:lnTo>
                    <a:pt x="238" y="39"/>
                  </a:lnTo>
                  <a:lnTo>
                    <a:pt x="267" y="47"/>
                  </a:lnTo>
                  <a:lnTo>
                    <a:pt x="296" y="57"/>
                  </a:lnTo>
                  <a:lnTo>
                    <a:pt x="324" y="66"/>
                  </a:lnTo>
                  <a:lnTo>
                    <a:pt x="356" y="75"/>
                  </a:lnTo>
                  <a:lnTo>
                    <a:pt x="371" y="78"/>
                  </a:lnTo>
                  <a:lnTo>
                    <a:pt x="387" y="81"/>
                  </a:lnTo>
                  <a:lnTo>
                    <a:pt x="402" y="84"/>
                  </a:lnTo>
                  <a:lnTo>
                    <a:pt x="418" y="84"/>
                  </a:lnTo>
                  <a:lnTo>
                    <a:pt x="430" y="84"/>
                  </a:lnTo>
                  <a:lnTo>
                    <a:pt x="442" y="83"/>
                  </a:lnTo>
                  <a:lnTo>
                    <a:pt x="453" y="80"/>
                  </a:lnTo>
                  <a:lnTo>
                    <a:pt x="465" y="77"/>
                  </a:lnTo>
                  <a:lnTo>
                    <a:pt x="449" y="92"/>
                  </a:lnTo>
                  <a:lnTo>
                    <a:pt x="433" y="104"/>
                  </a:lnTo>
                  <a:lnTo>
                    <a:pt x="416" y="114"/>
                  </a:lnTo>
                  <a:lnTo>
                    <a:pt x="398" y="122"/>
                  </a:lnTo>
                  <a:lnTo>
                    <a:pt x="380" y="129"/>
                  </a:lnTo>
                  <a:lnTo>
                    <a:pt x="363" y="133"/>
                  </a:lnTo>
                  <a:lnTo>
                    <a:pt x="344" y="136"/>
                  </a:lnTo>
                  <a:lnTo>
                    <a:pt x="324" y="137"/>
                  </a:lnTo>
                  <a:lnTo>
                    <a:pt x="307" y="136"/>
                  </a:lnTo>
                  <a:lnTo>
                    <a:pt x="289" y="134"/>
                  </a:lnTo>
                  <a:lnTo>
                    <a:pt x="271" y="131"/>
                  </a:lnTo>
                  <a:lnTo>
                    <a:pt x="254" y="127"/>
                  </a:lnTo>
                  <a:lnTo>
                    <a:pt x="218" y="116"/>
                  </a:lnTo>
                  <a:lnTo>
                    <a:pt x="184" y="104"/>
                  </a:lnTo>
                  <a:lnTo>
                    <a:pt x="154" y="94"/>
                  </a:lnTo>
                  <a:lnTo>
                    <a:pt x="125" y="85"/>
                  </a:lnTo>
                  <a:lnTo>
                    <a:pt x="110" y="81"/>
                  </a:lnTo>
                  <a:lnTo>
                    <a:pt x="96" y="78"/>
                  </a:lnTo>
                  <a:lnTo>
                    <a:pt x="82" y="77"/>
                  </a:lnTo>
                  <a:lnTo>
                    <a:pt x="68" y="76"/>
                  </a:lnTo>
                  <a:lnTo>
                    <a:pt x="67" y="76"/>
                  </a:lnTo>
                  <a:lnTo>
                    <a:pt x="66" y="76"/>
                  </a:lnTo>
                  <a:lnTo>
                    <a:pt x="80" y="65"/>
                  </a:lnTo>
                  <a:lnTo>
                    <a:pt x="94" y="56"/>
                  </a:lnTo>
                  <a:lnTo>
                    <a:pt x="108" y="48"/>
                  </a:lnTo>
                  <a:lnTo>
                    <a:pt x="122" y="42"/>
                  </a:lnTo>
                  <a:lnTo>
                    <a:pt x="136" y="36"/>
                  </a:lnTo>
                  <a:lnTo>
                    <a:pt x="151" y="33"/>
                  </a:lnTo>
                  <a:lnTo>
                    <a:pt x="166" y="31"/>
                  </a:lnTo>
                  <a:lnTo>
                    <a:pt x="181" y="31"/>
                  </a:lnTo>
                  <a:lnTo>
                    <a:pt x="181" y="31"/>
                  </a:lnTo>
                  <a:close/>
                  <a:moveTo>
                    <a:pt x="23" y="119"/>
                  </a:moveTo>
                  <a:lnTo>
                    <a:pt x="33" y="114"/>
                  </a:lnTo>
                  <a:lnTo>
                    <a:pt x="43" y="109"/>
                  </a:lnTo>
                  <a:lnTo>
                    <a:pt x="55" y="107"/>
                  </a:lnTo>
                  <a:lnTo>
                    <a:pt x="68" y="106"/>
                  </a:lnTo>
                  <a:lnTo>
                    <a:pt x="80" y="107"/>
                  </a:lnTo>
                  <a:lnTo>
                    <a:pt x="93" y="108"/>
                  </a:lnTo>
                  <a:lnTo>
                    <a:pt x="106" y="112"/>
                  </a:lnTo>
                  <a:lnTo>
                    <a:pt x="119" y="115"/>
                  </a:lnTo>
                  <a:lnTo>
                    <a:pt x="145" y="123"/>
                  </a:lnTo>
                  <a:lnTo>
                    <a:pt x="174" y="133"/>
                  </a:lnTo>
                  <a:lnTo>
                    <a:pt x="210" y="145"/>
                  </a:lnTo>
                  <a:lnTo>
                    <a:pt x="246" y="155"/>
                  </a:lnTo>
                  <a:lnTo>
                    <a:pt x="265" y="161"/>
                  </a:lnTo>
                  <a:lnTo>
                    <a:pt x="285" y="164"/>
                  </a:lnTo>
                  <a:lnTo>
                    <a:pt x="305" y="166"/>
                  </a:lnTo>
                  <a:lnTo>
                    <a:pt x="324" y="167"/>
                  </a:lnTo>
                  <a:lnTo>
                    <a:pt x="339" y="166"/>
                  </a:lnTo>
                  <a:lnTo>
                    <a:pt x="355" y="165"/>
                  </a:lnTo>
                  <a:lnTo>
                    <a:pt x="370" y="163"/>
                  </a:lnTo>
                  <a:lnTo>
                    <a:pt x="383" y="159"/>
                  </a:lnTo>
                  <a:lnTo>
                    <a:pt x="397" y="154"/>
                  </a:lnTo>
                  <a:lnTo>
                    <a:pt x="411" y="149"/>
                  </a:lnTo>
                  <a:lnTo>
                    <a:pt x="425" y="143"/>
                  </a:lnTo>
                  <a:lnTo>
                    <a:pt x="438" y="135"/>
                  </a:lnTo>
                  <a:lnTo>
                    <a:pt x="451" y="127"/>
                  </a:lnTo>
                  <a:lnTo>
                    <a:pt x="465" y="118"/>
                  </a:lnTo>
                  <a:lnTo>
                    <a:pt x="478" y="107"/>
                  </a:lnTo>
                  <a:lnTo>
                    <a:pt x="490" y="95"/>
                  </a:lnTo>
                  <a:lnTo>
                    <a:pt x="503" y="84"/>
                  </a:lnTo>
                  <a:lnTo>
                    <a:pt x="514" y="70"/>
                  </a:lnTo>
                  <a:lnTo>
                    <a:pt x="527" y="55"/>
                  </a:lnTo>
                  <a:lnTo>
                    <a:pt x="539" y="40"/>
                  </a:lnTo>
                  <a:lnTo>
                    <a:pt x="541" y="34"/>
                  </a:lnTo>
                  <a:lnTo>
                    <a:pt x="541" y="29"/>
                  </a:lnTo>
                  <a:lnTo>
                    <a:pt x="540" y="25"/>
                  </a:lnTo>
                  <a:lnTo>
                    <a:pt x="537" y="20"/>
                  </a:lnTo>
                  <a:lnTo>
                    <a:pt x="533" y="17"/>
                  </a:lnTo>
                  <a:lnTo>
                    <a:pt x="527" y="16"/>
                  </a:lnTo>
                  <a:lnTo>
                    <a:pt x="522" y="16"/>
                  </a:lnTo>
                  <a:lnTo>
                    <a:pt x="518" y="18"/>
                  </a:lnTo>
                  <a:lnTo>
                    <a:pt x="506" y="27"/>
                  </a:lnTo>
                  <a:lnTo>
                    <a:pt x="493" y="34"/>
                  </a:lnTo>
                  <a:lnTo>
                    <a:pt x="481" y="41"/>
                  </a:lnTo>
                  <a:lnTo>
                    <a:pt x="469" y="45"/>
                  </a:lnTo>
                  <a:lnTo>
                    <a:pt x="456" y="49"/>
                  </a:lnTo>
                  <a:lnTo>
                    <a:pt x="445" y="51"/>
                  </a:lnTo>
                  <a:lnTo>
                    <a:pt x="432" y="54"/>
                  </a:lnTo>
                  <a:lnTo>
                    <a:pt x="418" y="54"/>
                  </a:lnTo>
                  <a:lnTo>
                    <a:pt x="404" y="54"/>
                  </a:lnTo>
                  <a:lnTo>
                    <a:pt x="390" y="51"/>
                  </a:lnTo>
                  <a:lnTo>
                    <a:pt x="376" y="49"/>
                  </a:lnTo>
                  <a:lnTo>
                    <a:pt x="362" y="46"/>
                  </a:lnTo>
                  <a:lnTo>
                    <a:pt x="333" y="37"/>
                  </a:lnTo>
                  <a:lnTo>
                    <a:pt x="305" y="28"/>
                  </a:lnTo>
                  <a:lnTo>
                    <a:pt x="275" y="18"/>
                  </a:lnTo>
                  <a:lnTo>
                    <a:pt x="244" y="10"/>
                  </a:lnTo>
                  <a:lnTo>
                    <a:pt x="228" y="5"/>
                  </a:lnTo>
                  <a:lnTo>
                    <a:pt x="213" y="3"/>
                  </a:lnTo>
                  <a:lnTo>
                    <a:pt x="197" y="1"/>
                  </a:lnTo>
                  <a:lnTo>
                    <a:pt x="181" y="0"/>
                  </a:lnTo>
                  <a:lnTo>
                    <a:pt x="168" y="1"/>
                  </a:lnTo>
                  <a:lnTo>
                    <a:pt x="156" y="2"/>
                  </a:lnTo>
                  <a:lnTo>
                    <a:pt x="145" y="3"/>
                  </a:lnTo>
                  <a:lnTo>
                    <a:pt x="134" y="6"/>
                  </a:lnTo>
                  <a:lnTo>
                    <a:pt x="122" y="10"/>
                  </a:lnTo>
                  <a:lnTo>
                    <a:pt x="111" y="14"/>
                  </a:lnTo>
                  <a:lnTo>
                    <a:pt x="99" y="18"/>
                  </a:lnTo>
                  <a:lnTo>
                    <a:pt x="89" y="24"/>
                  </a:lnTo>
                  <a:lnTo>
                    <a:pt x="78" y="30"/>
                  </a:lnTo>
                  <a:lnTo>
                    <a:pt x="67" y="37"/>
                  </a:lnTo>
                  <a:lnTo>
                    <a:pt x="56" y="45"/>
                  </a:lnTo>
                  <a:lnTo>
                    <a:pt x="46" y="54"/>
                  </a:lnTo>
                  <a:lnTo>
                    <a:pt x="35" y="63"/>
                  </a:lnTo>
                  <a:lnTo>
                    <a:pt x="24" y="73"/>
                  </a:lnTo>
                  <a:lnTo>
                    <a:pt x="13" y="84"/>
                  </a:lnTo>
                  <a:lnTo>
                    <a:pt x="3" y="95"/>
                  </a:lnTo>
                  <a:lnTo>
                    <a:pt x="1" y="101"/>
                  </a:lnTo>
                  <a:lnTo>
                    <a:pt x="0" y="106"/>
                  </a:lnTo>
                  <a:lnTo>
                    <a:pt x="1" y="110"/>
                  </a:lnTo>
                  <a:lnTo>
                    <a:pt x="3" y="116"/>
                  </a:lnTo>
                  <a:lnTo>
                    <a:pt x="7" y="119"/>
                  </a:lnTo>
                  <a:lnTo>
                    <a:pt x="12" y="121"/>
                  </a:lnTo>
                  <a:lnTo>
                    <a:pt x="18" y="120"/>
                  </a:lnTo>
                  <a:lnTo>
                    <a:pt x="23"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88" name="Freeform 370"/>
            <p:cNvSpPr>
              <a:spLocks/>
            </p:cNvSpPr>
            <p:nvPr/>
          </p:nvSpPr>
          <p:spPr bwMode="auto">
            <a:xfrm>
              <a:off x="8829676" y="1563688"/>
              <a:ext cx="28575" cy="9525"/>
            </a:xfrm>
            <a:custGeom>
              <a:avLst/>
              <a:gdLst>
                <a:gd name="T0" fmla="*/ 76 w 91"/>
                <a:gd name="T1" fmla="*/ 0 h 30"/>
                <a:gd name="T2" fmla="*/ 16 w 91"/>
                <a:gd name="T3" fmla="*/ 0 h 30"/>
                <a:gd name="T4" fmla="*/ 13 w 91"/>
                <a:gd name="T5" fmla="*/ 0 h 30"/>
                <a:gd name="T6" fmla="*/ 9 w 91"/>
                <a:gd name="T7" fmla="*/ 1 h 30"/>
                <a:gd name="T8" fmla="*/ 7 w 91"/>
                <a:gd name="T9" fmla="*/ 2 h 30"/>
                <a:gd name="T10" fmla="*/ 5 w 91"/>
                <a:gd name="T11" fmla="*/ 4 h 30"/>
                <a:gd name="T12" fmla="*/ 3 w 91"/>
                <a:gd name="T13" fmla="*/ 6 h 30"/>
                <a:gd name="T14" fmla="*/ 2 w 91"/>
                <a:gd name="T15" fmla="*/ 10 h 30"/>
                <a:gd name="T16" fmla="*/ 1 w 91"/>
                <a:gd name="T17" fmla="*/ 12 h 30"/>
                <a:gd name="T18" fmla="*/ 0 w 91"/>
                <a:gd name="T19" fmla="*/ 15 h 30"/>
                <a:gd name="T20" fmla="*/ 1 w 91"/>
                <a:gd name="T21" fmla="*/ 18 h 30"/>
                <a:gd name="T22" fmla="*/ 2 w 91"/>
                <a:gd name="T23" fmla="*/ 21 h 30"/>
                <a:gd name="T24" fmla="*/ 3 w 91"/>
                <a:gd name="T25" fmla="*/ 24 h 30"/>
                <a:gd name="T26" fmla="*/ 5 w 91"/>
                <a:gd name="T27" fmla="*/ 26 h 30"/>
                <a:gd name="T28" fmla="*/ 7 w 91"/>
                <a:gd name="T29" fmla="*/ 28 h 30"/>
                <a:gd name="T30" fmla="*/ 9 w 91"/>
                <a:gd name="T31" fmla="*/ 29 h 30"/>
                <a:gd name="T32" fmla="*/ 13 w 91"/>
                <a:gd name="T33" fmla="*/ 30 h 30"/>
                <a:gd name="T34" fmla="*/ 16 w 91"/>
                <a:gd name="T35" fmla="*/ 30 h 30"/>
                <a:gd name="T36" fmla="*/ 76 w 91"/>
                <a:gd name="T37" fmla="*/ 30 h 30"/>
                <a:gd name="T38" fmla="*/ 78 w 91"/>
                <a:gd name="T39" fmla="*/ 30 h 30"/>
                <a:gd name="T40" fmla="*/ 81 w 91"/>
                <a:gd name="T41" fmla="*/ 29 h 30"/>
                <a:gd name="T42" fmla="*/ 83 w 91"/>
                <a:gd name="T43" fmla="*/ 28 h 30"/>
                <a:gd name="T44" fmla="*/ 87 w 91"/>
                <a:gd name="T45" fmla="*/ 26 h 30"/>
                <a:gd name="T46" fmla="*/ 88 w 91"/>
                <a:gd name="T47" fmla="*/ 24 h 30"/>
                <a:gd name="T48" fmla="*/ 90 w 91"/>
                <a:gd name="T49" fmla="*/ 21 h 30"/>
                <a:gd name="T50" fmla="*/ 90 w 91"/>
                <a:gd name="T51" fmla="*/ 18 h 30"/>
                <a:gd name="T52" fmla="*/ 91 w 91"/>
                <a:gd name="T53" fmla="*/ 15 h 30"/>
                <a:gd name="T54" fmla="*/ 90 w 91"/>
                <a:gd name="T55" fmla="*/ 12 h 30"/>
                <a:gd name="T56" fmla="*/ 90 w 91"/>
                <a:gd name="T57" fmla="*/ 10 h 30"/>
                <a:gd name="T58" fmla="*/ 88 w 91"/>
                <a:gd name="T59" fmla="*/ 6 h 30"/>
                <a:gd name="T60" fmla="*/ 87 w 91"/>
                <a:gd name="T61" fmla="*/ 4 h 30"/>
                <a:gd name="T62" fmla="*/ 83 w 91"/>
                <a:gd name="T63" fmla="*/ 2 h 30"/>
                <a:gd name="T64" fmla="*/ 81 w 91"/>
                <a:gd name="T65" fmla="*/ 1 h 30"/>
                <a:gd name="T66" fmla="*/ 78 w 91"/>
                <a:gd name="T67" fmla="*/ 0 h 30"/>
                <a:gd name="T68" fmla="*/ 76 w 9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30">
                  <a:moveTo>
                    <a:pt x="76" y="0"/>
                  </a:moveTo>
                  <a:lnTo>
                    <a:pt x="16" y="0"/>
                  </a:lnTo>
                  <a:lnTo>
                    <a:pt x="13" y="0"/>
                  </a:lnTo>
                  <a:lnTo>
                    <a:pt x="9" y="1"/>
                  </a:lnTo>
                  <a:lnTo>
                    <a:pt x="7" y="2"/>
                  </a:lnTo>
                  <a:lnTo>
                    <a:pt x="5" y="4"/>
                  </a:lnTo>
                  <a:lnTo>
                    <a:pt x="3" y="6"/>
                  </a:lnTo>
                  <a:lnTo>
                    <a:pt x="2" y="10"/>
                  </a:lnTo>
                  <a:lnTo>
                    <a:pt x="1" y="12"/>
                  </a:lnTo>
                  <a:lnTo>
                    <a:pt x="0" y="15"/>
                  </a:lnTo>
                  <a:lnTo>
                    <a:pt x="1" y="18"/>
                  </a:lnTo>
                  <a:lnTo>
                    <a:pt x="2" y="21"/>
                  </a:lnTo>
                  <a:lnTo>
                    <a:pt x="3" y="24"/>
                  </a:lnTo>
                  <a:lnTo>
                    <a:pt x="5" y="26"/>
                  </a:lnTo>
                  <a:lnTo>
                    <a:pt x="7" y="28"/>
                  </a:lnTo>
                  <a:lnTo>
                    <a:pt x="9" y="29"/>
                  </a:lnTo>
                  <a:lnTo>
                    <a:pt x="13" y="30"/>
                  </a:lnTo>
                  <a:lnTo>
                    <a:pt x="16" y="30"/>
                  </a:lnTo>
                  <a:lnTo>
                    <a:pt x="76" y="30"/>
                  </a:lnTo>
                  <a:lnTo>
                    <a:pt x="78" y="30"/>
                  </a:lnTo>
                  <a:lnTo>
                    <a:pt x="81" y="29"/>
                  </a:lnTo>
                  <a:lnTo>
                    <a:pt x="83" y="28"/>
                  </a:lnTo>
                  <a:lnTo>
                    <a:pt x="87" y="26"/>
                  </a:lnTo>
                  <a:lnTo>
                    <a:pt x="88" y="24"/>
                  </a:lnTo>
                  <a:lnTo>
                    <a:pt x="90" y="21"/>
                  </a:lnTo>
                  <a:lnTo>
                    <a:pt x="90" y="18"/>
                  </a:lnTo>
                  <a:lnTo>
                    <a:pt x="91" y="15"/>
                  </a:lnTo>
                  <a:lnTo>
                    <a:pt x="90" y="12"/>
                  </a:lnTo>
                  <a:lnTo>
                    <a:pt x="90" y="10"/>
                  </a:lnTo>
                  <a:lnTo>
                    <a:pt x="88" y="6"/>
                  </a:lnTo>
                  <a:lnTo>
                    <a:pt x="87" y="4"/>
                  </a:lnTo>
                  <a:lnTo>
                    <a:pt x="83" y="2"/>
                  </a:lnTo>
                  <a:lnTo>
                    <a:pt x="81" y="1"/>
                  </a:lnTo>
                  <a:lnTo>
                    <a:pt x="78"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89" name="Freeform 371"/>
            <p:cNvSpPr>
              <a:spLocks/>
            </p:cNvSpPr>
            <p:nvPr/>
          </p:nvSpPr>
          <p:spPr bwMode="auto">
            <a:xfrm>
              <a:off x="8829676" y="1592263"/>
              <a:ext cx="28575" cy="9525"/>
            </a:xfrm>
            <a:custGeom>
              <a:avLst/>
              <a:gdLst>
                <a:gd name="T0" fmla="*/ 76 w 91"/>
                <a:gd name="T1" fmla="*/ 0 h 30"/>
                <a:gd name="T2" fmla="*/ 16 w 91"/>
                <a:gd name="T3" fmla="*/ 0 h 30"/>
                <a:gd name="T4" fmla="*/ 13 w 91"/>
                <a:gd name="T5" fmla="*/ 1 h 30"/>
                <a:gd name="T6" fmla="*/ 9 w 91"/>
                <a:gd name="T7" fmla="*/ 1 h 30"/>
                <a:gd name="T8" fmla="*/ 7 w 91"/>
                <a:gd name="T9" fmla="*/ 3 h 30"/>
                <a:gd name="T10" fmla="*/ 5 w 91"/>
                <a:gd name="T11" fmla="*/ 4 h 30"/>
                <a:gd name="T12" fmla="*/ 3 w 91"/>
                <a:gd name="T13" fmla="*/ 8 h 30"/>
                <a:gd name="T14" fmla="*/ 2 w 91"/>
                <a:gd name="T15" fmla="*/ 10 h 30"/>
                <a:gd name="T16" fmla="*/ 1 w 91"/>
                <a:gd name="T17" fmla="*/ 13 h 30"/>
                <a:gd name="T18" fmla="*/ 0 w 91"/>
                <a:gd name="T19" fmla="*/ 15 h 30"/>
                <a:gd name="T20" fmla="*/ 1 w 91"/>
                <a:gd name="T21" fmla="*/ 18 h 30"/>
                <a:gd name="T22" fmla="*/ 2 w 91"/>
                <a:gd name="T23" fmla="*/ 22 h 30"/>
                <a:gd name="T24" fmla="*/ 3 w 91"/>
                <a:gd name="T25" fmla="*/ 24 h 30"/>
                <a:gd name="T26" fmla="*/ 5 w 91"/>
                <a:gd name="T27" fmla="*/ 26 h 30"/>
                <a:gd name="T28" fmla="*/ 7 w 91"/>
                <a:gd name="T29" fmla="*/ 28 h 30"/>
                <a:gd name="T30" fmla="*/ 9 w 91"/>
                <a:gd name="T31" fmla="*/ 29 h 30"/>
                <a:gd name="T32" fmla="*/ 13 w 91"/>
                <a:gd name="T33" fmla="*/ 30 h 30"/>
                <a:gd name="T34" fmla="*/ 16 w 91"/>
                <a:gd name="T35" fmla="*/ 30 h 30"/>
                <a:gd name="T36" fmla="*/ 76 w 91"/>
                <a:gd name="T37" fmla="*/ 30 h 30"/>
                <a:gd name="T38" fmla="*/ 78 w 91"/>
                <a:gd name="T39" fmla="*/ 30 h 30"/>
                <a:gd name="T40" fmla="*/ 81 w 91"/>
                <a:gd name="T41" fmla="*/ 29 h 30"/>
                <a:gd name="T42" fmla="*/ 83 w 91"/>
                <a:gd name="T43" fmla="*/ 28 h 30"/>
                <a:gd name="T44" fmla="*/ 87 w 91"/>
                <a:gd name="T45" fmla="*/ 26 h 30"/>
                <a:gd name="T46" fmla="*/ 88 w 91"/>
                <a:gd name="T47" fmla="*/ 24 h 30"/>
                <a:gd name="T48" fmla="*/ 90 w 91"/>
                <a:gd name="T49" fmla="*/ 22 h 30"/>
                <a:gd name="T50" fmla="*/ 90 w 91"/>
                <a:gd name="T51" fmla="*/ 18 h 30"/>
                <a:gd name="T52" fmla="*/ 91 w 91"/>
                <a:gd name="T53" fmla="*/ 15 h 30"/>
                <a:gd name="T54" fmla="*/ 90 w 91"/>
                <a:gd name="T55" fmla="*/ 13 h 30"/>
                <a:gd name="T56" fmla="*/ 90 w 91"/>
                <a:gd name="T57" fmla="*/ 10 h 30"/>
                <a:gd name="T58" fmla="*/ 88 w 91"/>
                <a:gd name="T59" fmla="*/ 8 h 30"/>
                <a:gd name="T60" fmla="*/ 87 w 91"/>
                <a:gd name="T61" fmla="*/ 4 h 30"/>
                <a:gd name="T62" fmla="*/ 83 w 91"/>
                <a:gd name="T63" fmla="*/ 3 h 30"/>
                <a:gd name="T64" fmla="*/ 81 w 91"/>
                <a:gd name="T65" fmla="*/ 1 h 30"/>
                <a:gd name="T66" fmla="*/ 78 w 91"/>
                <a:gd name="T67" fmla="*/ 1 h 30"/>
                <a:gd name="T68" fmla="*/ 76 w 9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30">
                  <a:moveTo>
                    <a:pt x="76" y="0"/>
                  </a:moveTo>
                  <a:lnTo>
                    <a:pt x="16" y="0"/>
                  </a:lnTo>
                  <a:lnTo>
                    <a:pt x="13" y="1"/>
                  </a:lnTo>
                  <a:lnTo>
                    <a:pt x="9" y="1"/>
                  </a:lnTo>
                  <a:lnTo>
                    <a:pt x="7" y="3"/>
                  </a:lnTo>
                  <a:lnTo>
                    <a:pt x="5" y="4"/>
                  </a:lnTo>
                  <a:lnTo>
                    <a:pt x="3" y="8"/>
                  </a:lnTo>
                  <a:lnTo>
                    <a:pt x="2" y="10"/>
                  </a:lnTo>
                  <a:lnTo>
                    <a:pt x="1" y="13"/>
                  </a:lnTo>
                  <a:lnTo>
                    <a:pt x="0" y="15"/>
                  </a:lnTo>
                  <a:lnTo>
                    <a:pt x="1" y="18"/>
                  </a:lnTo>
                  <a:lnTo>
                    <a:pt x="2" y="22"/>
                  </a:lnTo>
                  <a:lnTo>
                    <a:pt x="3" y="24"/>
                  </a:lnTo>
                  <a:lnTo>
                    <a:pt x="5" y="26"/>
                  </a:lnTo>
                  <a:lnTo>
                    <a:pt x="7" y="28"/>
                  </a:lnTo>
                  <a:lnTo>
                    <a:pt x="9" y="29"/>
                  </a:lnTo>
                  <a:lnTo>
                    <a:pt x="13" y="30"/>
                  </a:lnTo>
                  <a:lnTo>
                    <a:pt x="16" y="30"/>
                  </a:lnTo>
                  <a:lnTo>
                    <a:pt x="76" y="30"/>
                  </a:lnTo>
                  <a:lnTo>
                    <a:pt x="78" y="30"/>
                  </a:lnTo>
                  <a:lnTo>
                    <a:pt x="81" y="29"/>
                  </a:lnTo>
                  <a:lnTo>
                    <a:pt x="83" y="28"/>
                  </a:lnTo>
                  <a:lnTo>
                    <a:pt x="87" y="26"/>
                  </a:lnTo>
                  <a:lnTo>
                    <a:pt x="88" y="24"/>
                  </a:lnTo>
                  <a:lnTo>
                    <a:pt x="90" y="22"/>
                  </a:lnTo>
                  <a:lnTo>
                    <a:pt x="90" y="18"/>
                  </a:lnTo>
                  <a:lnTo>
                    <a:pt x="91" y="15"/>
                  </a:lnTo>
                  <a:lnTo>
                    <a:pt x="90" y="13"/>
                  </a:lnTo>
                  <a:lnTo>
                    <a:pt x="90" y="10"/>
                  </a:lnTo>
                  <a:lnTo>
                    <a:pt x="88" y="8"/>
                  </a:lnTo>
                  <a:lnTo>
                    <a:pt x="87" y="4"/>
                  </a:lnTo>
                  <a:lnTo>
                    <a:pt x="83" y="3"/>
                  </a:lnTo>
                  <a:lnTo>
                    <a:pt x="81" y="1"/>
                  </a:lnTo>
                  <a:lnTo>
                    <a:pt x="78" y="1"/>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90" name="Freeform 372"/>
            <p:cNvSpPr>
              <a:spLocks/>
            </p:cNvSpPr>
            <p:nvPr/>
          </p:nvSpPr>
          <p:spPr bwMode="auto">
            <a:xfrm>
              <a:off x="8901113" y="1563688"/>
              <a:ext cx="28575" cy="9525"/>
            </a:xfrm>
            <a:custGeom>
              <a:avLst/>
              <a:gdLst>
                <a:gd name="T0" fmla="*/ 75 w 90"/>
                <a:gd name="T1" fmla="*/ 0 h 30"/>
                <a:gd name="T2" fmla="*/ 15 w 90"/>
                <a:gd name="T3" fmla="*/ 0 h 30"/>
                <a:gd name="T4" fmla="*/ 12 w 90"/>
                <a:gd name="T5" fmla="*/ 0 h 30"/>
                <a:gd name="T6" fmla="*/ 10 w 90"/>
                <a:gd name="T7" fmla="*/ 1 h 30"/>
                <a:gd name="T8" fmla="*/ 6 w 90"/>
                <a:gd name="T9" fmla="*/ 2 h 30"/>
                <a:gd name="T10" fmla="*/ 4 w 90"/>
                <a:gd name="T11" fmla="*/ 4 h 30"/>
                <a:gd name="T12" fmla="*/ 2 w 90"/>
                <a:gd name="T13" fmla="*/ 6 h 30"/>
                <a:gd name="T14" fmla="*/ 1 w 90"/>
                <a:gd name="T15" fmla="*/ 10 h 30"/>
                <a:gd name="T16" fmla="*/ 0 w 90"/>
                <a:gd name="T17" fmla="*/ 12 h 30"/>
                <a:gd name="T18" fmla="*/ 0 w 90"/>
                <a:gd name="T19" fmla="*/ 15 h 30"/>
                <a:gd name="T20" fmla="*/ 0 w 90"/>
                <a:gd name="T21" fmla="*/ 18 h 30"/>
                <a:gd name="T22" fmla="*/ 1 w 90"/>
                <a:gd name="T23" fmla="*/ 21 h 30"/>
                <a:gd name="T24" fmla="*/ 2 w 90"/>
                <a:gd name="T25" fmla="*/ 24 h 30"/>
                <a:gd name="T26" fmla="*/ 4 w 90"/>
                <a:gd name="T27" fmla="*/ 26 h 30"/>
                <a:gd name="T28" fmla="*/ 6 w 90"/>
                <a:gd name="T29" fmla="*/ 28 h 30"/>
                <a:gd name="T30" fmla="*/ 10 w 90"/>
                <a:gd name="T31" fmla="*/ 29 h 30"/>
                <a:gd name="T32" fmla="*/ 12 w 90"/>
                <a:gd name="T33" fmla="*/ 30 h 30"/>
                <a:gd name="T34" fmla="*/ 15 w 90"/>
                <a:gd name="T35" fmla="*/ 30 h 30"/>
                <a:gd name="T36" fmla="*/ 75 w 90"/>
                <a:gd name="T37" fmla="*/ 30 h 30"/>
                <a:gd name="T38" fmla="*/ 78 w 90"/>
                <a:gd name="T39" fmla="*/ 30 h 30"/>
                <a:gd name="T40" fmla="*/ 82 w 90"/>
                <a:gd name="T41" fmla="*/ 29 h 30"/>
                <a:gd name="T42" fmla="*/ 84 w 90"/>
                <a:gd name="T43" fmla="*/ 28 h 30"/>
                <a:gd name="T44" fmla="*/ 86 w 90"/>
                <a:gd name="T45" fmla="*/ 26 h 30"/>
                <a:gd name="T46" fmla="*/ 88 w 90"/>
                <a:gd name="T47" fmla="*/ 24 h 30"/>
                <a:gd name="T48" fmla="*/ 89 w 90"/>
                <a:gd name="T49" fmla="*/ 21 h 30"/>
                <a:gd name="T50" fmla="*/ 90 w 90"/>
                <a:gd name="T51" fmla="*/ 18 h 30"/>
                <a:gd name="T52" fmla="*/ 90 w 90"/>
                <a:gd name="T53" fmla="*/ 15 h 30"/>
                <a:gd name="T54" fmla="*/ 90 w 90"/>
                <a:gd name="T55" fmla="*/ 12 h 30"/>
                <a:gd name="T56" fmla="*/ 89 w 90"/>
                <a:gd name="T57" fmla="*/ 10 h 30"/>
                <a:gd name="T58" fmla="*/ 88 w 90"/>
                <a:gd name="T59" fmla="*/ 6 h 30"/>
                <a:gd name="T60" fmla="*/ 86 w 90"/>
                <a:gd name="T61" fmla="*/ 4 h 30"/>
                <a:gd name="T62" fmla="*/ 84 w 90"/>
                <a:gd name="T63" fmla="*/ 2 h 30"/>
                <a:gd name="T64" fmla="*/ 82 w 90"/>
                <a:gd name="T65" fmla="*/ 1 h 30"/>
                <a:gd name="T66" fmla="*/ 78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10" y="1"/>
                  </a:lnTo>
                  <a:lnTo>
                    <a:pt x="6" y="2"/>
                  </a:lnTo>
                  <a:lnTo>
                    <a:pt x="4" y="4"/>
                  </a:lnTo>
                  <a:lnTo>
                    <a:pt x="2" y="6"/>
                  </a:lnTo>
                  <a:lnTo>
                    <a:pt x="1" y="10"/>
                  </a:lnTo>
                  <a:lnTo>
                    <a:pt x="0" y="12"/>
                  </a:lnTo>
                  <a:lnTo>
                    <a:pt x="0" y="15"/>
                  </a:lnTo>
                  <a:lnTo>
                    <a:pt x="0" y="18"/>
                  </a:lnTo>
                  <a:lnTo>
                    <a:pt x="1" y="21"/>
                  </a:lnTo>
                  <a:lnTo>
                    <a:pt x="2" y="24"/>
                  </a:lnTo>
                  <a:lnTo>
                    <a:pt x="4" y="26"/>
                  </a:lnTo>
                  <a:lnTo>
                    <a:pt x="6" y="28"/>
                  </a:lnTo>
                  <a:lnTo>
                    <a:pt x="10" y="29"/>
                  </a:lnTo>
                  <a:lnTo>
                    <a:pt x="12" y="30"/>
                  </a:lnTo>
                  <a:lnTo>
                    <a:pt x="15" y="30"/>
                  </a:lnTo>
                  <a:lnTo>
                    <a:pt x="75" y="30"/>
                  </a:lnTo>
                  <a:lnTo>
                    <a:pt x="78" y="30"/>
                  </a:lnTo>
                  <a:lnTo>
                    <a:pt x="82" y="29"/>
                  </a:lnTo>
                  <a:lnTo>
                    <a:pt x="84" y="28"/>
                  </a:lnTo>
                  <a:lnTo>
                    <a:pt x="86" y="26"/>
                  </a:lnTo>
                  <a:lnTo>
                    <a:pt x="88" y="24"/>
                  </a:lnTo>
                  <a:lnTo>
                    <a:pt x="89" y="21"/>
                  </a:lnTo>
                  <a:lnTo>
                    <a:pt x="90" y="18"/>
                  </a:lnTo>
                  <a:lnTo>
                    <a:pt x="90" y="15"/>
                  </a:lnTo>
                  <a:lnTo>
                    <a:pt x="90" y="12"/>
                  </a:lnTo>
                  <a:lnTo>
                    <a:pt x="89" y="10"/>
                  </a:lnTo>
                  <a:lnTo>
                    <a:pt x="88" y="6"/>
                  </a:lnTo>
                  <a:lnTo>
                    <a:pt x="86" y="4"/>
                  </a:lnTo>
                  <a:lnTo>
                    <a:pt x="84" y="2"/>
                  </a:lnTo>
                  <a:lnTo>
                    <a:pt x="82" y="1"/>
                  </a:lnTo>
                  <a:lnTo>
                    <a:pt x="78"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91" name="Freeform 373"/>
            <p:cNvSpPr>
              <a:spLocks/>
            </p:cNvSpPr>
            <p:nvPr/>
          </p:nvSpPr>
          <p:spPr bwMode="auto">
            <a:xfrm>
              <a:off x="8901113" y="1592263"/>
              <a:ext cx="28575" cy="9525"/>
            </a:xfrm>
            <a:custGeom>
              <a:avLst/>
              <a:gdLst>
                <a:gd name="T0" fmla="*/ 75 w 90"/>
                <a:gd name="T1" fmla="*/ 0 h 30"/>
                <a:gd name="T2" fmla="*/ 15 w 90"/>
                <a:gd name="T3" fmla="*/ 0 h 30"/>
                <a:gd name="T4" fmla="*/ 12 w 90"/>
                <a:gd name="T5" fmla="*/ 1 h 30"/>
                <a:gd name="T6" fmla="*/ 10 w 90"/>
                <a:gd name="T7" fmla="*/ 1 h 30"/>
                <a:gd name="T8" fmla="*/ 6 w 90"/>
                <a:gd name="T9" fmla="*/ 3 h 30"/>
                <a:gd name="T10" fmla="*/ 4 w 90"/>
                <a:gd name="T11" fmla="*/ 4 h 30"/>
                <a:gd name="T12" fmla="*/ 2 w 90"/>
                <a:gd name="T13" fmla="*/ 8 h 30"/>
                <a:gd name="T14" fmla="*/ 1 w 90"/>
                <a:gd name="T15" fmla="*/ 10 h 30"/>
                <a:gd name="T16" fmla="*/ 0 w 90"/>
                <a:gd name="T17" fmla="*/ 13 h 30"/>
                <a:gd name="T18" fmla="*/ 0 w 90"/>
                <a:gd name="T19" fmla="*/ 15 h 30"/>
                <a:gd name="T20" fmla="*/ 0 w 90"/>
                <a:gd name="T21" fmla="*/ 18 h 30"/>
                <a:gd name="T22" fmla="*/ 1 w 90"/>
                <a:gd name="T23" fmla="*/ 22 h 30"/>
                <a:gd name="T24" fmla="*/ 2 w 90"/>
                <a:gd name="T25" fmla="*/ 24 h 30"/>
                <a:gd name="T26" fmla="*/ 4 w 90"/>
                <a:gd name="T27" fmla="*/ 26 h 30"/>
                <a:gd name="T28" fmla="*/ 6 w 90"/>
                <a:gd name="T29" fmla="*/ 28 h 30"/>
                <a:gd name="T30" fmla="*/ 10 w 90"/>
                <a:gd name="T31" fmla="*/ 29 h 30"/>
                <a:gd name="T32" fmla="*/ 12 w 90"/>
                <a:gd name="T33" fmla="*/ 30 h 30"/>
                <a:gd name="T34" fmla="*/ 15 w 90"/>
                <a:gd name="T35" fmla="*/ 30 h 30"/>
                <a:gd name="T36" fmla="*/ 75 w 90"/>
                <a:gd name="T37" fmla="*/ 30 h 30"/>
                <a:gd name="T38" fmla="*/ 78 w 90"/>
                <a:gd name="T39" fmla="*/ 30 h 30"/>
                <a:gd name="T40" fmla="*/ 82 w 90"/>
                <a:gd name="T41" fmla="*/ 29 h 30"/>
                <a:gd name="T42" fmla="*/ 84 w 90"/>
                <a:gd name="T43" fmla="*/ 28 h 30"/>
                <a:gd name="T44" fmla="*/ 86 w 90"/>
                <a:gd name="T45" fmla="*/ 26 h 30"/>
                <a:gd name="T46" fmla="*/ 88 w 90"/>
                <a:gd name="T47" fmla="*/ 24 h 30"/>
                <a:gd name="T48" fmla="*/ 89 w 90"/>
                <a:gd name="T49" fmla="*/ 22 h 30"/>
                <a:gd name="T50" fmla="*/ 90 w 90"/>
                <a:gd name="T51" fmla="*/ 18 h 30"/>
                <a:gd name="T52" fmla="*/ 90 w 90"/>
                <a:gd name="T53" fmla="*/ 15 h 30"/>
                <a:gd name="T54" fmla="*/ 90 w 90"/>
                <a:gd name="T55" fmla="*/ 13 h 30"/>
                <a:gd name="T56" fmla="*/ 89 w 90"/>
                <a:gd name="T57" fmla="*/ 10 h 30"/>
                <a:gd name="T58" fmla="*/ 88 w 90"/>
                <a:gd name="T59" fmla="*/ 8 h 30"/>
                <a:gd name="T60" fmla="*/ 86 w 90"/>
                <a:gd name="T61" fmla="*/ 4 h 30"/>
                <a:gd name="T62" fmla="*/ 84 w 90"/>
                <a:gd name="T63" fmla="*/ 3 h 30"/>
                <a:gd name="T64" fmla="*/ 82 w 90"/>
                <a:gd name="T65" fmla="*/ 1 h 30"/>
                <a:gd name="T66" fmla="*/ 78 w 90"/>
                <a:gd name="T67" fmla="*/ 1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1"/>
                  </a:lnTo>
                  <a:lnTo>
                    <a:pt x="10" y="1"/>
                  </a:lnTo>
                  <a:lnTo>
                    <a:pt x="6" y="3"/>
                  </a:lnTo>
                  <a:lnTo>
                    <a:pt x="4" y="4"/>
                  </a:lnTo>
                  <a:lnTo>
                    <a:pt x="2" y="8"/>
                  </a:lnTo>
                  <a:lnTo>
                    <a:pt x="1" y="10"/>
                  </a:lnTo>
                  <a:lnTo>
                    <a:pt x="0" y="13"/>
                  </a:lnTo>
                  <a:lnTo>
                    <a:pt x="0" y="15"/>
                  </a:lnTo>
                  <a:lnTo>
                    <a:pt x="0" y="18"/>
                  </a:lnTo>
                  <a:lnTo>
                    <a:pt x="1" y="22"/>
                  </a:lnTo>
                  <a:lnTo>
                    <a:pt x="2" y="24"/>
                  </a:lnTo>
                  <a:lnTo>
                    <a:pt x="4" y="26"/>
                  </a:lnTo>
                  <a:lnTo>
                    <a:pt x="6" y="28"/>
                  </a:lnTo>
                  <a:lnTo>
                    <a:pt x="10" y="29"/>
                  </a:lnTo>
                  <a:lnTo>
                    <a:pt x="12" y="30"/>
                  </a:lnTo>
                  <a:lnTo>
                    <a:pt x="15" y="30"/>
                  </a:lnTo>
                  <a:lnTo>
                    <a:pt x="75" y="30"/>
                  </a:lnTo>
                  <a:lnTo>
                    <a:pt x="78" y="30"/>
                  </a:lnTo>
                  <a:lnTo>
                    <a:pt x="82" y="29"/>
                  </a:lnTo>
                  <a:lnTo>
                    <a:pt x="84" y="28"/>
                  </a:lnTo>
                  <a:lnTo>
                    <a:pt x="86" y="26"/>
                  </a:lnTo>
                  <a:lnTo>
                    <a:pt x="88" y="24"/>
                  </a:lnTo>
                  <a:lnTo>
                    <a:pt x="89" y="22"/>
                  </a:lnTo>
                  <a:lnTo>
                    <a:pt x="90" y="18"/>
                  </a:lnTo>
                  <a:lnTo>
                    <a:pt x="90" y="15"/>
                  </a:lnTo>
                  <a:lnTo>
                    <a:pt x="90" y="13"/>
                  </a:lnTo>
                  <a:lnTo>
                    <a:pt x="89" y="10"/>
                  </a:lnTo>
                  <a:lnTo>
                    <a:pt x="88" y="8"/>
                  </a:lnTo>
                  <a:lnTo>
                    <a:pt x="86" y="4"/>
                  </a:lnTo>
                  <a:lnTo>
                    <a:pt x="84" y="3"/>
                  </a:lnTo>
                  <a:lnTo>
                    <a:pt x="82" y="1"/>
                  </a:lnTo>
                  <a:lnTo>
                    <a:pt x="78" y="1"/>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92" name="Freeform 374"/>
            <p:cNvSpPr>
              <a:spLocks/>
            </p:cNvSpPr>
            <p:nvPr/>
          </p:nvSpPr>
          <p:spPr bwMode="auto">
            <a:xfrm>
              <a:off x="8974138" y="1563688"/>
              <a:ext cx="28575" cy="9525"/>
            </a:xfrm>
            <a:custGeom>
              <a:avLst/>
              <a:gdLst>
                <a:gd name="T0" fmla="*/ 15 w 90"/>
                <a:gd name="T1" fmla="*/ 30 h 30"/>
                <a:gd name="T2" fmla="*/ 75 w 90"/>
                <a:gd name="T3" fmla="*/ 30 h 30"/>
                <a:gd name="T4" fmla="*/ 79 w 90"/>
                <a:gd name="T5" fmla="*/ 30 h 30"/>
                <a:gd name="T6" fmla="*/ 81 w 90"/>
                <a:gd name="T7" fmla="*/ 29 h 30"/>
                <a:gd name="T8" fmla="*/ 84 w 90"/>
                <a:gd name="T9" fmla="*/ 28 h 30"/>
                <a:gd name="T10" fmla="*/ 86 w 90"/>
                <a:gd name="T11" fmla="*/ 26 h 30"/>
                <a:gd name="T12" fmla="*/ 87 w 90"/>
                <a:gd name="T13" fmla="*/ 24 h 30"/>
                <a:gd name="T14" fmla="*/ 89 w 90"/>
                <a:gd name="T15" fmla="*/ 21 h 30"/>
                <a:gd name="T16" fmla="*/ 89 w 90"/>
                <a:gd name="T17" fmla="*/ 18 h 30"/>
                <a:gd name="T18" fmla="*/ 90 w 90"/>
                <a:gd name="T19" fmla="*/ 15 h 30"/>
                <a:gd name="T20" fmla="*/ 89 w 90"/>
                <a:gd name="T21" fmla="*/ 12 h 30"/>
                <a:gd name="T22" fmla="*/ 89 w 90"/>
                <a:gd name="T23" fmla="*/ 10 h 30"/>
                <a:gd name="T24" fmla="*/ 87 w 90"/>
                <a:gd name="T25" fmla="*/ 6 h 30"/>
                <a:gd name="T26" fmla="*/ 86 w 90"/>
                <a:gd name="T27" fmla="*/ 4 h 30"/>
                <a:gd name="T28" fmla="*/ 84 w 90"/>
                <a:gd name="T29" fmla="*/ 3 h 30"/>
                <a:gd name="T30" fmla="*/ 81 w 90"/>
                <a:gd name="T31" fmla="*/ 1 h 30"/>
                <a:gd name="T32" fmla="*/ 79 w 90"/>
                <a:gd name="T33" fmla="*/ 0 h 30"/>
                <a:gd name="T34" fmla="*/ 75 w 90"/>
                <a:gd name="T35" fmla="*/ 0 h 30"/>
                <a:gd name="T36" fmla="*/ 15 w 90"/>
                <a:gd name="T37" fmla="*/ 0 h 30"/>
                <a:gd name="T38" fmla="*/ 12 w 90"/>
                <a:gd name="T39" fmla="*/ 0 h 30"/>
                <a:gd name="T40" fmla="*/ 9 w 90"/>
                <a:gd name="T41" fmla="*/ 1 h 30"/>
                <a:gd name="T42" fmla="*/ 7 w 90"/>
                <a:gd name="T43" fmla="*/ 2 h 30"/>
                <a:gd name="T44" fmla="*/ 5 w 90"/>
                <a:gd name="T45" fmla="*/ 4 h 30"/>
                <a:gd name="T46" fmla="*/ 2 w 90"/>
                <a:gd name="T47" fmla="*/ 6 h 30"/>
                <a:gd name="T48" fmla="*/ 1 w 90"/>
                <a:gd name="T49" fmla="*/ 10 h 30"/>
                <a:gd name="T50" fmla="*/ 0 w 90"/>
                <a:gd name="T51" fmla="*/ 12 h 30"/>
                <a:gd name="T52" fmla="*/ 0 w 90"/>
                <a:gd name="T53" fmla="*/ 15 h 30"/>
                <a:gd name="T54" fmla="*/ 0 w 90"/>
                <a:gd name="T55" fmla="*/ 18 h 30"/>
                <a:gd name="T56" fmla="*/ 1 w 90"/>
                <a:gd name="T57" fmla="*/ 21 h 30"/>
                <a:gd name="T58" fmla="*/ 2 w 90"/>
                <a:gd name="T59" fmla="*/ 24 h 30"/>
                <a:gd name="T60" fmla="*/ 5 w 90"/>
                <a:gd name="T61" fmla="*/ 26 h 30"/>
                <a:gd name="T62" fmla="*/ 7 w 90"/>
                <a:gd name="T63" fmla="*/ 28 h 30"/>
                <a:gd name="T64" fmla="*/ 9 w 90"/>
                <a:gd name="T65" fmla="*/ 29 h 30"/>
                <a:gd name="T66" fmla="*/ 12 w 90"/>
                <a:gd name="T67" fmla="*/ 30 h 30"/>
                <a:gd name="T68" fmla="*/ 15 w 90"/>
                <a:gd name="T69" fmla="*/ 30 h 30"/>
                <a:gd name="T70" fmla="*/ 15 w 9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15" y="30"/>
                  </a:moveTo>
                  <a:lnTo>
                    <a:pt x="75" y="30"/>
                  </a:lnTo>
                  <a:lnTo>
                    <a:pt x="79" y="30"/>
                  </a:lnTo>
                  <a:lnTo>
                    <a:pt x="81" y="29"/>
                  </a:lnTo>
                  <a:lnTo>
                    <a:pt x="84" y="28"/>
                  </a:lnTo>
                  <a:lnTo>
                    <a:pt x="86" y="26"/>
                  </a:lnTo>
                  <a:lnTo>
                    <a:pt x="87" y="24"/>
                  </a:lnTo>
                  <a:lnTo>
                    <a:pt x="89" y="21"/>
                  </a:lnTo>
                  <a:lnTo>
                    <a:pt x="89" y="18"/>
                  </a:lnTo>
                  <a:lnTo>
                    <a:pt x="90" y="15"/>
                  </a:lnTo>
                  <a:lnTo>
                    <a:pt x="89" y="12"/>
                  </a:lnTo>
                  <a:lnTo>
                    <a:pt x="89" y="10"/>
                  </a:lnTo>
                  <a:lnTo>
                    <a:pt x="87" y="6"/>
                  </a:lnTo>
                  <a:lnTo>
                    <a:pt x="86" y="4"/>
                  </a:lnTo>
                  <a:lnTo>
                    <a:pt x="84" y="3"/>
                  </a:lnTo>
                  <a:lnTo>
                    <a:pt x="81" y="1"/>
                  </a:lnTo>
                  <a:lnTo>
                    <a:pt x="79" y="0"/>
                  </a:lnTo>
                  <a:lnTo>
                    <a:pt x="75" y="0"/>
                  </a:lnTo>
                  <a:lnTo>
                    <a:pt x="15" y="0"/>
                  </a:lnTo>
                  <a:lnTo>
                    <a:pt x="12" y="0"/>
                  </a:lnTo>
                  <a:lnTo>
                    <a:pt x="9" y="1"/>
                  </a:lnTo>
                  <a:lnTo>
                    <a:pt x="7" y="2"/>
                  </a:lnTo>
                  <a:lnTo>
                    <a:pt x="5" y="4"/>
                  </a:lnTo>
                  <a:lnTo>
                    <a:pt x="2" y="6"/>
                  </a:lnTo>
                  <a:lnTo>
                    <a:pt x="1" y="10"/>
                  </a:lnTo>
                  <a:lnTo>
                    <a:pt x="0" y="12"/>
                  </a:lnTo>
                  <a:lnTo>
                    <a:pt x="0" y="15"/>
                  </a:lnTo>
                  <a:lnTo>
                    <a:pt x="0" y="18"/>
                  </a:lnTo>
                  <a:lnTo>
                    <a:pt x="1" y="21"/>
                  </a:lnTo>
                  <a:lnTo>
                    <a:pt x="2" y="24"/>
                  </a:lnTo>
                  <a:lnTo>
                    <a:pt x="5" y="26"/>
                  </a:lnTo>
                  <a:lnTo>
                    <a:pt x="7" y="28"/>
                  </a:lnTo>
                  <a:lnTo>
                    <a:pt x="9" y="29"/>
                  </a:lnTo>
                  <a:lnTo>
                    <a:pt x="12"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93" name="Freeform 375"/>
            <p:cNvSpPr>
              <a:spLocks/>
            </p:cNvSpPr>
            <p:nvPr/>
          </p:nvSpPr>
          <p:spPr bwMode="auto">
            <a:xfrm>
              <a:off x="8974138" y="1592263"/>
              <a:ext cx="28575" cy="9525"/>
            </a:xfrm>
            <a:custGeom>
              <a:avLst/>
              <a:gdLst>
                <a:gd name="T0" fmla="*/ 15 w 90"/>
                <a:gd name="T1" fmla="*/ 30 h 30"/>
                <a:gd name="T2" fmla="*/ 75 w 90"/>
                <a:gd name="T3" fmla="*/ 30 h 30"/>
                <a:gd name="T4" fmla="*/ 79 w 90"/>
                <a:gd name="T5" fmla="*/ 30 h 30"/>
                <a:gd name="T6" fmla="*/ 81 w 90"/>
                <a:gd name="T7" fmla="*/ 29 h 30"/>
                <a:gd name="T8" fmla="*/ 84 w 90"/>
                <a:gd name="T9" fmla="*/ 28 h 30"/>
                <a:gd name="T10" fmla="*/ 86 w 90"/>
                <a:gd name="T11" fmla="*/ 26 h 30"/>
                <a:gd name="T12" fmla="*/ 87 w 90"/>
                <a:gd name="T13" fmla="*/ 24 h 30"/>
                <a:gd name="T14" fmla="*/ 89 w 90"/>
                <a:gd name="T15" fmla="*/ 22 h 30"/>
                <a:gd name="T16" fmla="*/ 89 w 90"/>
                <a:gd name="T17" fmla="*/ 18 h 30"/>
                <a:gd name="T18" fmla="*/ 90 w 90"/>
                <a:gd name="T19" fmla="*/ 15 h 30"/>
                <a:gd name="T20" fmla="*/ 89 w 90"/>
                <a:gd name="T21" fmla="*/ 13 h 30"/>
                <a:gd name="T22" fmla="*/ 89 w 90"/>
                <a:gd name="T23" fmla="*/ 10 h 30"/>
                <a:gd name="T24" fmla="*/ 87 w 90"/>
                <a:gd name="T25" fmla="*/ 8 h 30"/>
                <a:gd name="T26" fmla="*/ 86 w 90"/>
                <a:gd name="T27" fmla="*/ 4 h 30"/>
                <a:gd name="T28" fmla="*/ 84 w 90"/>
                <a:gd name="T29" fmla="*/ 3 h 30"/>
                <a:gd name="T30" fmla="*/ 81 w 90"/>
                <a:gd name="T31" fmla="*/ 1 h 30"/>
                <a:gd name="T32" fmla="*/ 79 w 90"/>
                <a:gd name="T33" fmla="*/ 1 h 30"/>
                <a:gd name="T34" fmla="*/ 75 w 90"/>
                <a:gd name="T35" fmla="*/ 0 h 30"/>
                <a:gd name="T36" fmla="*/ 15 w 90"/>
                <a:gd name="T37" fmla="*/ 0 h 30"/>
                <a:gd name="T38" fmla="*/ 12 w 90"/>
                <a:gd name="T39" fmla="*/ 1 h 30"/>
                <a:gd name="T40" fmla="*/ 9 w 90"/>
                <a:gd name="T41" fmla="*/ 1 h 30"/>
                <a:gd name="T42" fmla="*/ 7 w 90"/>
                <a:gd name="T43" fmla="*/ 3 h 30"/>
                <a:gd name="T44" fmla="*/ 5 w 90"/>
                <a:gd name="T45" fmla="*/ 4 h 30"/>
                <a:gd name="T46" fmla="*/ 2 w 90"/>
                <a:gd name="T47" fmla="*/ 8 h 30"/>
                <a:gd name="T48" fmla="*/ 1 w 90"/>
                <a:gd name="T49" fmla="*/ 10 h 30"/>
                <a:gd name="T50" fmla="*/ 0 w 90"/>
                <a:gd name="T51" fmla="*/ 13 h 30"/>
                <a:gd name="T52" fmla="*/ 0 w 90"/>
                <a:gd name="T53" fmla="*/ 15 h 30"/>
                <a:gd name="T54" fmla="*/ 0 w 90"/>
                <a:gd name="T55" fmla="*/ 18 h 30"/>
                <a:gd name="T56" fmla="*/ 1 w 90"/>
                <a:gd name="T57" fmla="*/ 22 h 30"/>
                <a:gd name="T58" fmla="*/ 2 w 90"/>
                <a:gd name="T59" fmla="*/ 24 h 30"/>
                <a:gd name="T60" fmla="*/ 5 w 90"/>
                <a:gd name="T61" fmla="*/ 26 h 30"/>
                <a:gd name="T62" fmla="*/ 7 w 90"/>
                <a:gd name="T63" fmla="*/ 28 h 30"/>
                <a:gd name="T64" fmla="*/ 9 w 90"/>
                <a:gd name="T65" fmla="*/ 29 h 30"/>
                <a:gd name="T66" fmla="*/ 12 w 90"/>
                <a:gd name="T67" fmla="*/ 30 h 30"/>
                <a:gd name="T68" fmla="*/ 15 w 9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15" y="30"/>
                  </a:moveTo>
                  <a:lnTo>
                    <a:pt x="75" y="30"/>
                  </a:lnTo>
                  <a:lnTo>
                    <a:pt x="79" y="30"/>
                  </a:lnTo>
                  <a:lnTo>
                    <a:pt x="81" y="29"/>
                  </a:lnTo>
                  <a:lnTo>
                    <a:pt x="84" y="28"/>
                  </a:lnTo>
                  <a:lnTo>
                    <a:pt x="86" y="26"/>
                  </a:lnTo>
                  <a:lnTo>
                    <a:pt x="87" y="24"/>
                  </a:lnTo>
                  <a:lnTo>
                    <a:pt x="89" y="22"/>
                  </a:lnTo>
                  <a:lnTo>
                    <a:pt x="89" y="18"/>
                  </a:lnTo>
                  <a:lnTo>
                    <a:pt x="90" y="15"/>
                  </a:lnTo>
                  <a:lnTo>
                    <a:pt x="89" y="13"/>
                  </a:lnTo>
                  <a:lnTo>
                    <a:pt x="89" y="10"/>
                  </a:lnTo>
                  <a:lnTo>
                    <a:pt x="87" y="8"/>
                  </a:lnTo>
                  <a:lnTo>
                    <a:pt x="86" y="4"/>
                  </a:lnTo>
                  <a:lnTo>
                    <a:pt x="84" y="3"/>
                  </a:lnTo>
                  <a:lnTo>
                    <a:pt x="81" y="1"/>
                  </a:lnTo>
                  <a:lnTo>
                    <a:pt x="79" y="1"/>
                  </a:lnTo>
                  <a:lnTo>
                    <a:pt x="75" y="0"/>
                  </a:lnTo>
                  <a:lnTo>
                    <a:pt x="15" y="0"/>
                  </a:lnTo>
                  <a:lnTo>
                    <a:pt x="12" y="1"/>
                  </a:lnTo>
                  <a:lnTo>
                    <a:pt x="9" y="1"/>
                  </a:lnTo>
                  <a:lnTo>
                    <a:pt x="7" y="3"/>
                  </a:lnTo>
                  <a:lnTo>
                    <a:pt x="5" y="4"/>
                  </a:lnTo>
                  <a:lnTo>
                    <a:pt x="2" y="8"/>
                  </a:lnTo>
                  <a:lnTo>
                    <a:pt x="1" y="10"/>
                  </a:lnTo>
                  <a:lnTo>
                    <a:pt x="0" y="13"/>
                  </a:lnTo>
                  <a:lnTo>
                    <a:pt x="0" y="15"/>
                  </a:lnTo>
                  <a:lnTo>
                    <a:pt x="0" y="18"/>
                  </a:lnTo>
                  <a:lnTo>
                    <a:pt x="1" y="22"/>
                  </a:lnTo>
                  <a:lnTo>
                    <a:pt x="2" y="24"/>
                  </a:lnTo>
                  <a:lnTo>
                    <a:pt x="5" y="26"/>
                  </a:lnTo>
                  <a:lnTo>
                    <a:pt x="7" y="28"/>
                  </a:lnTo>
                  <a:lnTo>
                    <a:pt x="9"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94" name="Freeform 376"/>
            <p:cNvSpPr>
              <a:spLocks noEditPoints="1"/>
            </p:cNvSpPr>
            <p:nvPr/>
          </p:nvSpPr>
          <p:spPr bwMode="auto">
            <a:xfrm>
              <a:off x="8743951" y="1401763"/>
              <a:ext cx="287338" cy="228600"/>
            </a:xfrm>
            <a:custGeom>
              <a:avLst/>
              <a:gdLst>
                <a:gd name="T0" fmla="*/ 873 w 903"/>
                <a:gd name="T1" fmla="*/ 692 h 722"/>
                <a:gd name="T2" fmla="*/ 30 w 903"/>
                <a:gd name="T3" fmla="*/ 692 h 722"/>
                <a:gd name="T4" fmla="*/ 30 w 903"/>
                <a:gd name="T5" fmla="*/ 394 h 722"/>
                <a:gd name="T6" fmla="*/ 86 w 903"/>
                <a:gd name="T7" fmla="*/ 30 h 722"/>
                <a:gd name="T8" fmla="*/ 126 w 903"/>
                <a:gd name="T9" fmla="*/ 30 h 722"/>
                <a:gd name="T10" fmla="*/ 197 w 903"/>
                <a:gd name="T11" fmla="*/ 397 h 722"/>
                <a:gd name="T12" fmla="*/ 205 w 903"/>
                <a:gd name="T13" fmla="*/ 442 h 722"/>
                <a:gd name="T14" fmla="*/ 243 w 903"/>
                <a:gd name="T15" fmla="*/ 417 h 722"/>
                <a:gd name="T16" fmla="*/ 422 w 903"/>
                <a:gd name="T17" fmla="*/ 297 h 722"/>
                <a:gd name="T18" fmla="*/ 422 w 903"/>
                <a:gd name="T19" fmla="*/ 392 h 722"/>
                <a:gd name="T20" fmla="*/ 422 w 903"/>
                <a:gd name="T21" fmla="*/ 448 h 722"/>
                <a:gd name="T22" fmla="*/ 468 w 903"/>
                <a:gd name="T23" fmla="*/ 417 h 722"/>
                <a:gd name="T24" fmla="*/ 647 w 903"/>
                <a:gd name="T25" fmla="*/ 297 h 722"/>
                <a:gd name="T26" fmla="*/ 647 w 903"/>
                <a:gd name="T27" fmla="*/ 392 h 722"/>
                <a:gd name="T28" fmla="*/ 647 w 903"/>
                <a:gd name="T29" fmla="*/ 448 h 722"/>
                <a:gd name="T30" fmla="*/ 694 w 903"/>
                <a:gd name="T31" fmla="*/ 417 h 722"/>
                <a:gd name="T32" fmla="*/ 873 w 903"/>
                <a:gd name="T33" fmla="*/ 297 h 722"/>
                <a:gd name="T34" fmla="*/ 873 w 903"/>
                <a:gd name="T35" fmla="*/ 692 h 722"/>
                <a:gd name="T36" fmla="*/ 677 w 903"/>
                <a:gd name="T37" fmla="*/ 392 h 722"/>
                <a:gd name="T38" fmla="*/ 677 w 903"/>
                <a:gd name="T39" fmla="*/ 241 h 722"/>
                <a:gd name="T40" fmla="*/ 452 w 903"/>
                <a:gd name="T41" fmla="*/ 392 h 722"/>
                <a:gd name="T42" fmla="*/ 452 w 903"/>
                <a:gd name="T43" fmla="*/ 241 h 722"/>
                <a:gd name="T44" fmla="*/ 226 w 903"/>
                <a:gd name="T45" fmla="*/ 392 h 722"/>
                <a:gd name="T46" fmla="*/ 151 w 903"/>
                <a:gd name="T47" fmla="*/ 0 h 722"/>
                <a:gd name="T48" fmla="*/ 60 w 903"/>
                <a:gd name="T49" fmla="*/ 0 h 722"/>
                <a:gd name="T50" fmla="*/ 0 w 903"/>
                <a:gd name="T51" fmla="*/ 392 h 722"/>
                <a:gd name="T52" fmla="*/ 0 w 903"/>
                <a:gd name="T53" fmla="*/ 722 h 722"/>
                <a:gd name="T54" fmla="*/ 903 w 903"/>
                <a:gd name="T55" fmla="*/ 722 h 722"/>
                <a:gd name="T56" fmla="*/ 903 w 903"/>
                <a:gd name="T57" fmla="*/ 241 h 722"/>
                <a:gd name="T58" fmla="*/ 677 w 903"/>
                <a:gd name="T59" fmla="*/ 39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3" h="722">
                  <a:moveTo>
                    <a:pt x="873" y="692"/>
                  </a:moveTo>
                  <a:lnTo>
                    <a:pt x="30" y="692"/>
                  </a:lnTo>
                  <a:lnTo>
                    <a:pt x="30" y="394"/>
                  </a:lnTo>
                  <a:lnTo>
                    <a:pt x="86" y="30"/>
                  </a:lnTo>
                  <a:lnTo>
                    <a:pt x="126" y="30"/>
                  </a:lnTo>
                  <a:lnTo>
                    <a:pt x="197" y="397"/>
                  </a:lnTo>
                  <a:lnTo>
                    <a:pt x="205" y="442"/>
                  </a:lnTo>
                  <a:lnTo>
                    <a:pt x="243" y="417"/>
                  </a:lnTo>
                  <a:lnTo>
                    <a:pt x="422" y="297"/>
                  </a:lnTo>
                  <a:lnTo>
                    <a:pt x="422" y="392"/>
                  </a:lnTo>
                  <a:lnTo>
                    <a:pt x="422" y="448"/>
                  </a:lnTo>
                  <a:lnTo>
                    <a:pt x="468" y="417"/>
                  </a:lnTo>
                  <a:lnTo>
                    <a:pt x="647" y="297"/>
                  </a:lnTo>
                  <a:lnTo>
                    <a:pt x="647" y="392"/>
                  </a:lnTo>
                  <a:lnTo>
                    <a:pt x="647" y="448"/>
                  </a:lnTo>
                  <a:lnTo>
                    <a:pt x="694" y="417"/>
                  </a:lnTo>
                  <a:lnTo>
                    <a:pt x="873" y="297"/>
                  </a:lnTo>
                  <a:lnTo>
                    <a:pt x="873" y="692"/>
                  </a:lnTo>
                  <a:close/>
                  <a:moveTo>
                    <a:pt x="677" y="392"/>
                  </a:moveTo>
                  <a:lnTo>
                    <a:pt x="677" y="241"/>
                  </a:lnTo>
                  <a:lnTo>
                    <a:pt x="452" y="392"/>
                  </a:lnTo>
                  <a:lnTo>
                    <a:pt x="452" y="241"/>
                  </a:lnTo>
                  <a:lnTo>
                    <a:pt x="226" y="392"/>
                  </a:lnTo>
                  <a:lnTo>
                    <a:pt x="151" y="0"/>
                  </a:lnTo>
                  <a:lnTo>
                    <a:pt x="60" y="0"/>
                  </a:lnTo>
                  <a:lnTo>
                    <a:pt x="0" y="392"/>
                  </a:lnTo>
                  <a:lnTo>
                    <a:pt x="0" y="722"/>
                  </a:lnTo>
                  <a:lnTo>
                    <a:pt x="903" y="722"/>
                  </a:lnTo>
                  <a:lnTo>
                    <a:pt x="903" y="241"/>
                  </a:lnTo>
                  <a:lnTo>
                    <a:pt x="677"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195" name="Group 194"/>
          <p:cNvGrpSpPr/>
          <p:nvPr/>
        </p:nvGrpSpPr>
        <p:grpSpPr>
          <a:xfrm>
            <a:off x="7587788" y="5847083"/>
            <a:ext cx="660508" cy="551029"/>
            <a:chOff x="10464801" y="817563"/>
            <a:chExt cx="287338" cy="239712"/>
          </a:xfrm>
          <a:solidFill>
            <a:schemeClr val="tx2"/>
          </a:solidFill>
        </p:grpSpPr>
        <p:sp>
          <p:nvSpPr>
            <p:cNvPr id="196" name="Freeform 334"/>
            <p:cNvSpPr>
              <a:spLocks noEditPoints="1"/>
            </p:cNvSpPr>
            <p:nvPr/>
          </p:nvSpPr>
          <p:spPr bwMode="auto">
            <a:xfrm>
              <a:off x="10464801" y="817563"/>
              <a:ext cx="287338" cy="239712"/>
            </a:xfrm>
            <a:custGeom>
              <a:avLst/>
              <a:gdLst>
                <a:gd name="T0" fmla="*/ 723 w 904"/>
                <a:gd name="T1" fmla="*/ 602 h 753"/>
                <a:gd name="T2" fmla="*/ 512 w 904"/>
                <a:gd name="T3" fmla="*/ 602 h 753"/>
                <a:gd name="T4" fmla="*/ 512 w 904"/>
                <a:gd name="T5" fmla="*/ 722 h 753"/>
                <a:gd name="T6" fmla="*/ 181 w 904"/>
                <a:gd name="T7" fmla="*/ 542 h 753"/>
                <a:gd name="T8" fmla="*/ 181 w 904"/>
                <a:gd name="T9" fmla="*/ 722 h 753"/>
                <a:gd name="T10" fmla="*/ 391 w 904"/>
                <a:gd name="T11" fmla="*/ 722 h 753"/>
                <a:gd name="T12" fmla="*/ 331 w 904"/>
                <a:gd name="T13" fmla="*/ 524 h 753"/>
                <a:gd name="T14" fmla="*/ 327 w 904"/>
                <a:gd name="T15" fmla="*/ 516 h 753"/>
                <a:gd name="T16" fmla="*/ 319 w 904"/>
                <a:gd name="T17" fmla="*/ 512 h 753"/>
                <a:gd name="T18" fmla="*/ 163 w 904"/>
                <a:gd name="T19" fmla="*/ 512 h 753"/>
                <a:gd name="T20" fmla="*/ 155 w 904"/>
                <a:gd name="T21" fmla="*/ 516 h 753"/>
                <a:gd name="T22" fmla="*/ 151 w 904"/>
                <a:gd name="T23" fmla="*/ 524 h 753"/>
                <a:gd name="T24" fmla="*/ 91 w 904"/>
                <a:gd name="T25" fmla="*/ 722 h 753"/>
                <a:gd name="T26" fmla="*/ 813 w 904"/>
                <a:gd name="T27" fmla="*/ 722 h 753"/>
                <a:gd name="T28" fmla="*/ 753 w 904"/>
                <a:gd name="T29" fmla="*/ 584 h 753"/>
                <a:gd name="T30" fmla="*/ 748 w 904"/>
                <a:gd name="T31" fmla="*/ 577 h 753"/>
                <a:gd name="T32" fmla="*/ 741 w 904"/>
                <a:gd name="T33" fmla="*/ 572 h 753"/>
                <a:gd name="T34" fmla="*/ 494 w 904"/>
                <a:gd name="T35" fmla="*/ 572 h 753"/>
                <a:gd name="T36" fmla="*/ 487 w 904"/>
                <a:gd name="T37" fmla="*/ 577 h 753"/>
                <a:gd name="T38" fmla="*/ 482 w 904"/>
                <a:gd name="T39" fmla="*/ 584 h 753"/>
                <a:gd name="T40" fmla="*/ 421 w 904"/>
                <a:gd name="T41" fmla="*/ 722 h 753"/>
                <a:gd name="T42" fmla="*/ 723 w 904"/>
                <a:gd name="T43" fmla="*/ 121 h 753"/>
                <a:gd name="T44" fmla="*/ 723 w 904"/>
                <a:gd name="T45" fmla="*/ 241 h 753"/>
                <a:gd name="T46" fmla="*/ 843 w 904"/>
                <a:gd name="T47" fmla="*/ 722 h 753"/>
                <a:gd name="T48" fmla="*/ 885 w 904"/>
                <a:gd name="T49" fmla="*/ 376 h 753"/>
                <a:gd name="T50" fmla="*/ 895 w 904"/>
                <a:gd name="T51" fmla="*/ 375 h 753"/>
                <a:gd name="T52" fmla="*/ 903 w 904"/>
                <a:gd name="T53" fmla="*/ 366 h 753"/>
                <a:gd name="T54" fmla="*/ 903 w 904"/>
                <a:gd name="T55" fmla="*/ 358 h 753"/>
                <a:gd name="T56" fmla="*/ 898 w 904"/>
                <a:gd name="T57" fmla="*/ 350 h 753"/>
                <a:gd name="T58" fmla="*/ 813 w 904"/>
                <a:gd name="T59" fmla="*/ 106 h 753"/>
                <a:gd name="T60" fmla="*/ 811 w 904"/>
                <a:gd name="T61" fmla="*/ 97 h 753"/>
                <a:gd name="T62" fmla="*/ 804 w 904"/>
                <a:gd name="T63" fmla="*/ 92 h 753"/>
                <a:gd name="T64" fmla="*/ 708 w 904"/>
                <a:gd name="T65" fmla="*/ 91 h 753"/>
                <a:gd name="T66" fmla="*/ 699 w 904"/>
                <a:gd name="T67" fmla="*/ 93 h 753"/>
                <a:gd name="T68" fmla="*/ 694 w 904"/>
                <a:gd name="T69" fmla="*/ 99 h 753"/>
                <a:gd name="T70" fmla="*/ 693 w 904"/>
                <a:gd name="T71" fmla="*/ 221 h 753"/>
                <a:gd name="T72" fmla="*/ 333 w 904"/>
                <a:gd name="T73" fmla="*/ 0 h 753"/>
                <a:gd name="T74" fmla="*/ 325 w 904"/>
                <a:gd name="T75" fmla="*/ 1 h 753"/>
                <a:gd name="T76" fmla="*/ 318 w 904"/>
                <a:gd name="T77" fmla="*/ 7 h 753"/>
                <a:gd name="T78" fmla="*/ 316 w 904"/>
                <a:gd name="T79" fmla="*/ 15 h 753"/>
                <a:gd name="T80" fmla="*/ 319 w 904"/>
                <a:gd name="T81" fmla="*/ 24 h 753"/>
                <a:gd name="T82" fmla="*/ 391 w 904"/>
                <a:gd name="T83" fmla="*/ 70 h 753"/>
                <a:gd name="T84" fmla="*/ 69 w 904"/>
                <a:gd name="T85" fmla="*/ 394 h 753"/>
                <a:gd name="T86" fmla="*/ 6 w 904"/>
                <a:gd name="T87" fmla="*/ 424 h 753"/>
                <a:gd name="T88" fmla="*/ 1 w 904"/>
                <a:gd name="T89" fmla="*/ 432 h 753"/>
                <a:gd name="T90" fmla="*/ 1 w 904"/>
                <a:gd name="T91" fmla="*/ 440 h 753"/>
                <a:gd name="T92" fmla="*/ 7 w 904"/>
                <a:gd name="T93" fmla="*/ 450 h 753"/>
                <a:gd name="T94" fmla="*/ 19 w 904"/>
                <a:gd name="T95" fmla="*/ 451 h 753"/>
                <a:gd name="T96" fmla="*/ 61 w 904"/>
                <a:gd name="T97" fmla="*/ 722 h 753"/>
                <a:gd name="T98" fmla="*/ 9 w 904"/>
                <a:gd name="T99" fmla="*/ 724 h 753"/>
                <a:gd name="T100" fmla="*/ 3 w 904"/>
                <a:gd name="T101" fmla="*/ 730 h 753"/>
                <a:gd name="T102" fmla="*/ 0 w 904"/>
                <a:gd name="T103" fmla="*/ 738 h 753"/>
                <a:gd name="T104" fmla="*/ 3 w 904"/>
                <a:gd name="T105" fmla="*/ 746 h 753"/>
                <a:gd name="T106" fmla="*/ 9 w 904"/>
                <a:gd name="T107" fmla="*/ 751 h 753"/>
                <a:gd name="T108" fmla="*/ 166 w 904"/>
                <a:gd name="T109" fmla="*/ 753 h 753"/>
                <a:gd name="T110" fmla="*/ 738 w 904"/>
                <a:gd name="T111" fmla="*/ 753 h 753"/>
                <a:gd name="T112" fmla="*/ 894 w 904"/>
                <a:gd name="T113" fmla="*/ 751 h 753"/>
                <a:gd name="T114" fmla="*/ 901 w 904"/>
                <a:gd name="T115" fmla="*/ 746 h 753"/>
                <a:gd name="T116" fmla="*/ 904 w 904"/>
                <a:gd name="T117" fmla="*/ 738 h 753"/>
                <a:gd name="T118" fmla="*/ 901 w 904"/>
                <a:gd name="T119" fmla="*/ 730 h 753"/>
                <a:gd name="T120" fmla="*/ 894 w 904"/>
                <a:gd name="T121" fmla="*/ 72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4" h="753">
                  <a:moveTo>
                    <a:pt x="632" y="722"/>
                  </a:moveTo>
                  <a:lnTo>
                    <a:pt x="632" y="602"/>
                  </a:lnTo>
                  <a:lnTo>
                    <a:pt x="723" y="602"/>
                  </a:lnTo>
                  <a:lnTo>
                    <a:pt x="723" y="722"/>
                  </a:lnTo>
                  <a:lnTo>
                    <a:pt x="632" y="722"/>
                  </a:lnTo>
                  <a:close/>
                  <a:moveTo>
                    <a:pt x="512" y="602"/>
                  </a:moveTo>
                  <a:lnTo>
                    <a:pt x="602" y="602"/>
                  </a:lnTo>
                  <a:lnTo>
                    <a:pt x="602" y="722"/>
                  </a:lnTo>
                  <a:lnTo>
                    <a:pt x="512" y="722"/>
                  </a:lnTo>
                  <a:lnTo>
                    <a:pt x="512" y="602"/>
                  </a:lnTo>
                  <a:close/>
                  <a:moveTo>
                    <a:pt x="181" y="722"/>
                  </a:moveTo>
                  <a:lnTo>
                    <a:pt x="181" y="542"/>
                  </a:lnTo>
                  <a:lnTo>
                    <a:pt x="301" y="542"/>
                  </a:lnTo>
                  <a:lnTo>
                    <a:pt x="301" y="722"/>
                  </a:lnTo>
                  <a:lnTo>
                    <a:pt x="181" y="722"/>
                  </a:lnTo>
                  <a:close/>
                  <a:moveTo>
                    <a:pt x="91" y="417"/>
                  </a:moveTo>
                  <a:lnTo>
                    <a:pt x="391" y="273"/>
                  </a:lnTo>
                  <a:lnTo>
                    <a:pt x="391" y="722"/>
                  </a:lnTo>
                  <a:lnTo>
                    <a:pt x="331" y="722"/>
                  </a:lnTo>
                  <a:lnTo>
                    <a:pt x="331" y="527"/>
                  </a:lnTo>
                  <a:lnTo>
                    <a:pt x="331" y="524"/>
                  </a:lnTo>
                  <a:lnTo>
                    <a:pt x="330" y="521"/>
                  </a:lnTo>
                  <a:lnTo>
                    <a:pt x="329" y="519"/>
                  </a:lnTo>
                  <a:lnTo>
                    <a:pt x="327" y="516"/>
                  </a:lnTo>
                  <a:lnTo>
                    <a:pt x="325" y="514"/>
                  </a:lnTo>
                  <a:lnTo>
                    <a:pt x="323" y="513"/>
                  </a:lnTo>
                  <a:lnTo>
                    <a:pt x="319" y="512"/>
                  </a:lnTo>
                  <a:lnTo>
                    <a:pt x="316" y="512"/>
                  </a:lnTo>
                  <a:lnTo>
                    <a:pt x="166" y="512"/>
                  </a:lnTo>
                  <a:lnTo>
                    <a:pt x="163" y="512"/>
                  </a:lnTo>
                  <a:lnTo>
                    <a:pt x="160" y="513"/>
                  </a:lnTo>
                  <a:lnTo>
                    <a:pt x="157" y="514"/>
                  </a:lnTo>
                  <a:lnTo>
                    <a:pt x="155" y="516"/>
                  </a:lnTo>
                  <a:lnTo>
                    <a:pt x="153" y="519"/>
                  </a:lnTo>
                  <a:lnTo>
                    <a:pt x="152" y="521"/>
                  </a:lnTo>
                  <a:lnTo>
                    <a:pt x="151" y="524"/>
                  </a:lnTo>
                  <a:lnTo>
                    <a:pt x="151" y="527"/>
                  </a:lnTo>
                  <a:lnTo>
                    <a:pt x="151" y="722"/>
                  </a:lnTo>
                  <a:lnTo>
                    <a:pt x="91" y="722"/>
                  </a:lnTo>
                  <a:lnTo>
                    <a:pt x="91" y="417"/>
                  </a:lnTo>
                  <a:close/>
                  <a:moveTo>
                    <a:pt x="813" y="332"/>
                  </a:moveTo>
                  <a:lnTo>
                    <a:pt x="813" y="722"/>
                  </a:lnTo>
                  <a:lnTo>
                    <a:pt x="753" y="722"/>
                  </a:lnTo>
                  <a:lnTo>
                    <a:pt x="753" y="587"/>
                  </a:lnTo>
                  <a:lnTo>
                    <a:pt x="753" y="584"/>
                  </a:lnTo>
                  <a:lnTo>
                    <a:pt x="752" y="582"/>
                  </a:lnTo>
                  <a:lnTo>
                    <a:pt x="750" y="579"/>
                  </a:lnTo>
                  <a:lnTo>
                    <a:pt x="748" y="577"/>
                  </a:lnTo>
                  <a:lnTo>
                    <a:pt x="746" y="574"/>
                  </a:lnTo>
                  <a:lnTo>
                    <a:pt x="744" y="573"/>
                  </a:lnTo>
                  <a:lnTo>
                    <a:pt x="741" y="572"/>
                  </a:lnTo>
                  <a:lnTo>
                    <a:pt x="738" y="572"/>
                  </a:lnTo>
                  <a:lnTo>
                    <a:pt x="497" y="572"/>
                  </a:lnTo>
                  <a:lnTo>
                    <a:pt x="494" y="572"/>
                  </a:lnTo>
                  <a:lnTo>
                    <a:pt x="491" y="573"/>
                  </a:lnTo>
                  <a:lnTo>
                    <a:pt x="489" y="574"/>
                  </a:lnTo>
                  <a:lnTo>
                    <a:pt x="487" y="577"/>
                  </a:lnTo>
                  <a:lnTo>
                    <a:pt x="484" y="579"/>
                  </a:lnTo>
                  <a:lnTo>
                    <a:pt x="483" y="582"/>
                  </a:lnTo>
                  <a:lnTo>
                    <a:pt x="482" y="584"/>
                  </a:lnTo>
                  <a:lnTo>
                    <a:pt x="482" y="587"/>
                  </a:lnTo>
                  <a:lnTo>
                    <a:pt x="482" y="722"/>
                  </a:lnTo>
                  <a:lnTo>
                    <a:pt x="421" y="722"/>
                  </a:lnTo>
                  <a:lnTo>
                    <a:pt x="421" y="89"/>
                  </a:lnTo>
                  <a:lnTo>
                    <a:pt x="813" y="332"/>
                  </a:lnTo>
                  <a:close/>
                  <a:moveTo>
                    <a:pt x="723" y="121"/>
                  </a:moveTo>
                  <a:lnTo>
                    <a:pt x="783" y="121"/>
                  </a:lnTo>
                  <a:lnTo>
                    <a:pt x="783" y="278"/>
                  </a:lnTo>
                  <a:lnTo>
                    <a:pt x="723" y="241"/>
                  </a:lnTo>
                  <a:lnTo>
                    <a:pt x="723" y="121"/>
                  </a:lnTo>
                  <a:close/>
                  <a:moveTo>
                    <a:pt x="889" y="722"/>
                  </a:moveTo>
                  <a:lnTo>
                    <a:pt x="843" y="722"/>
                  </a:lnTo>
                  <a:lnTo>
                    <a:pt x="843" y="351"/>
                  </a:lnTo>
                  <a:lnTo>
                    <a:pt x="880" y="374"/>
                  </a:lnTo>
                  <a:lnTo>
                    <a:pt x="885" y="376"/>
                  </a:lnTo>
                  <a:lnTo>
                    <a:pt x="889" y="377"/>
                  </a:lnTo>
                  <a:lnTo>
                    <a:pt x="892" y="376"/>
                  </a:lnTo>
                  <a:lnTo>
                    <a:pt x="895" y="375"/>
                  </a:lnTo>
                  <a:lnTo>
                    <a:pt x="898" y="373"/>
                  </a:lnTo>
                  <a:lnTo>
                    <a:pt x="901" y="369"/>
                  </a:lnTo>
                  <a:lnTo>
                    <a:pt x="903" y="366"/>
                  </a:lnTo>
                  <a:lnTo>
                    <a:pt x="903" y="364"/>
                  </a:lnTo>
                  <a:lnTo>
                    <a:pt x="904" y="361"/>
                  </a:lnTo>
                  <a:lnTo>
                    <a:pt x="903" y="358"/>
                  </a:lnTo>
                  <a:lnTo>
                    <a:pt x="902" y="356"/>
                  </a:lnTo>
                  <a:lnTo>
                    <a:pt x="901" y="352"/>
                  </a:lnTo>
                  <a:lnTo>
                    <a:pt x="898" y="350"/>
                  </a:lnTo>
                  <a:lnTo>
                    <a:pt x="896" y="349"/>
                  </a:lnTo>
                  <a:lnTo>
                    <a:pt x="813" y="297"/>
                  </a:lnTo>
                  <a:lnTo>
                    <a:pt x="813" y="106"/>
                  </a:lnTo>
                  <a:lnTo>
                    <a:pt x="813" y="102"/>
                  </a:lnTo>
                  <a:lnTo>
                    <a:pt x="812" y="99"/>
                  </a:lnTo>
                  <a:lnTo>
                    <a:pt x="811" y="97"/>
                  </a:lnTo>
                  <a:lnTo>
                    <a:pt x="808" y="95"/>
                  </a:lnTo>
                  <a:lnTo>
                    <a:pt x="806" y="93"/>
                  </a:lnTo>
                  <a:lnTo>
                    <a:pt x="804" y="92"/>
                  </a:lnTo>
                  <a:lnTo>
                    <a:pt x="801" y="91"/>
                  </a:lnTo>
                  <a:lnTo>
                    <a:pt x="798" y="91"/>
                  </a:lnTo>
                  <a:lnTo>
                    <a:pt x="708" y="91"/>
                  </a:lnTo>
                  <a:lnTo>
                    <a:pt x="704" y="91"/>
                  </a:lnTo>
                  <a:lnTo>
                    <a:pt x="702" y="92"/>
                  </a:lnTo>
                  <a:lnTo>
                    <a:pt x="699" y="93"/>
                  </a:lnTo>
                  <a:lnTo>
                    <a:pt x="697" y="95"/>
                  </a:lnTo>
                  <a:lnTo>
                    <a:pt x="695" y="97"/>
                  </a:lnTo>
                  <a:lnTo>
                    <a:pt x="694" y="99"/>
                  </a:lnTo>
                  <a:lnTo>
                    <a:pt x="693" y="102"/>
                  </a:lnTo>
                  <a:lnTo>
                    <a:pt x="693" y="106"/>
                  </a:lnTo>
                  <a:lnTo>
                    <a:pt x="693" y="221"/>
                  </a:lnTo>
                  <a:lnTo>
                    <a:pt x="340" y="3"/>
                  </a:lnTo>
                  <a:lnTo>
                    <a:pt x="336" y="0"/>
                  </a:lnTo>
                  <a:lnTo>
                    <a:pt x="333" y="0"/>
                  </a:lnTo>
                  <a:lnTo>
                    <a:pt x="331" y="0"/>
                  </a:lnTo>
                  <a:lnTo>
                    <a:pt x="328" y="0"/>
                  </a:lnTo>
                  <a:lnTo>
                    <a:pt x="325" y="1"/>
                  </a:lnTo>
                  <a:lnTo>
                    <a:pt x="323" y="3"/>
                  </a:lnTo>
                  <a:lnTo>
                    <a:pt x="320" y="5"/>
                  </a:lnTo>
                  <a:lnTo>
                    <a:pt x="318" y="7"/>
                  </a:lnTo>
                  <a:lnTo>
                    <a:pt x="317" y="10"/>
                  </a:lnTo>
                  <a:lnTo>
                    <a:pt x="316" y="12"/>
                  </a:lnTo>
                  <a:lnTo>
                    <a:pt x="316" y="15"/>
                  </a:lnTo>
                  <a:lnTo>
                    <a:pt x="317" y="19"/>
                  </a:lnTo>
                  <a:lnTo>
                    <a:pt x="317" y="21"/>
                  </a:lnTo>
                  <a:lnTo>
                    <a:pt x="319" y="24"/>
                  </a:lnTo>
                  <a:lnTo>
                    <a:pt x="321" y="26"/>
                  </a:lnTo>
                  <a:lnTo>
                    <a:pt x="324" y="28"/>
                  </a:lnTo>
                  <a:lnTo>
                    <a:pt x="391" y="70"/>
                  </a:lnTo>
                  <a:lnTo>
                    <a:pt x="391" y="239"/>
                  </a:lnTo>
                  <a:lnTo>
                    <a:pt x="72" y="393"/>
                  </a:lnTo>
                  <a:lnTo>
                    <a:pt x="69" y="394"/>
                  </a:lnTo>
                  <a:lnTo>
                    <a:pt x="67" y="395"/>
                  </a:lnTo>
                  <a:lnTo>
                    <a:pt x="8" y="423"/>
                  </a:lnTo>
                  <a:lnTo>
                    <a:pt x="6" y="424"/>
                  </a:lnTo>
                  <a:lnTo>
                    <a:pt x="4" y="426"/>
                  </a:lnTo>
                  <a:lnTo>
                    <a:pt x="2" y="429"/>
                  </a:lnTo>
                  <a:lnTo>
                    <a:pt x="1" y="432"/>
                  </a:lnTo>
                  <a:lnTo>
                    <a:pt x="1" y="435"/>
                  </a:lnTo>
                  <a:lnTo>
                    <a:pt x="1" y="437"/>
                  </a:lnTo>
                  <a:lnTo>
                    <a:pt x="1" y="440"/>
                  </a:lnTo>
                  <a:lnTo>
                    <a:pt x="2" y="444"/>
                  </a:lnTo>
                  <a:lnTo>
                    <a:pt x="4" y="447"/>
                  </a:lnTo>
                  <a:lnTo>
                    <a:pt x="7" y="450"/>
                  </a:lnTo>
                  <a:lnTo>
                    <a:pt x="12" y="451"/>
                  </a:lnTo>
                  <a:lnTo>
                    <a:pt x="16" y="452"/>
                  </a:lnTo>
                  <a:lnTo>
                    <a:pt x="19" y="451"/>
                  </a:lnTo>
                  <a:lnTo>
                    <a:pt x="22" y="450"/>
                  </a:lnTo>
                  <a:lnTo>
                    <a:pt x="61" y="432"/>
                  </a:lnTo>
                  <a:lnTo>
                    <a:pt x="61" y="722"/>
                  </a:lnTo>
                  <a:lnTo>
                    <a:pt x="16" y="722"/>
                  </a:lnTo>
                  <a:lnTo>
                    <a:pt x="13" y="724"/>
                  </a:lnTo>
                  <a:lnTo>
                    <a:pt x="9" y="724"/>
                  </a:lnTo>
                  <a:lnTo>
                    <a:pt x="7" y="726"/>
                  </a:lnTo>
                  <a:lnTo>
                    <a:pt x="5" y="727"/>
                  </a:lnTo>
                  <a:lnTo>
                    <a:pt x="3" y="730"/>
                  </a:lnTo>
                  <a:lnTo>
                    <a:pt x="2" y="732"/>
                  </a:lnTo>
                  <a:lnTo>
                    <a:pt x="1" y="735"/>
                  </a:lnTo>
                  <a:lnTo>
                    <a:pt x="0" y="738"/>
                  </a:lnTo>
                  <a:lnTo>
                    <a:pt x="1" y="741"/>
                  </a:lnTo>
                  <a:lnTo>
                    <a:pt x="2" y="744"/>
                  </a:lnTo>
                  <a:lnTo>
                    <a:pt x="3" y="746"/>
                  </a:lnTo>
                  <a:lnTo>
                    <a:pt x="5" y="748"/>
                  </a:lnTo>
                  <a:lnTo>
                    <a:pt x="7" y="750"/>
                  </a:lnTo>
                  <a:lnTo>
                    <a:pt x="9" y="751"/>
                  </a:lnTo>
                  <a:lnTo>
                    <a:pt x="13" y="753"/>
                  </a:lnTo>
                  <a:lnTo>
                    <a:pt x="16" y="753"/>
                  </a:lnTo>
                  <a:lnTo>
                    <a:pt x="166" y="753"/>
                  </a:lnTo>
                  <a:lnTo>
                    <a:pt x="316" y="753"/>
                  </a:lnTo>
                  <a:lnTo>
                    <a:pt x="497" y="753"/>
                  </a:lnTo>
                  <a:lnTo>
                    <a:pt x="738" y="753"/>
                  </a:lnTo>
                  <a:lnTo>
                    <a:pt x="889" y="753"/>
                  </a:lnTo>
                  <a:lnTo>
                    <a:pt x="891" y="753"/>
                  </a:lnTo>
                  <a:lnTo>
                    <a:pt x="894" y="751"/>
                  </a:lnTo>
                  <a:lnTo>
                    <a:pt x="896" y="750"/>
                  </a:lnTo>
                  <a:lnTo>
                    <a:pt x="898" y="748"/>
                  </a:lnTo>
                  <a:lnTo>
                    <a:pt x="901" y="746"/>
                  </a:lnTo>
                  <a:lnTo>
                    <a:pt x="902" y="744"/>
                  </a:lnTo>
                  <a:lnTo>
                    <a:pt x="903" y="741"/>
                  </a:lnTo>
                  <a:lnTo>
                    <a:pt x="904" y="738"/>
                  </a:lnTo>
                  <a:lnTo>
                    <a:pt x="903" y="735"/>
                  </a:lnTo>
                  <a:lnTo>
                    <a:pt x="902" y="732"/>
                  </a:lnTo>
                  <a:lnTo>
                    <a:pt x="901" y="730"/>
                  </a:lnTo>
                  <a:lnTo>
                    <a:pt x="898" y="727"/>
                  </a:lnTo>
                  <a:lnTo>
                    <a:pt x="896" y="726"/>
                  </a:lnTo>
                  <a:lnTo>
                    <a:pt x="894" y="724"/>
                  </a:lnTo>
                  <a:lnTo>
                    <a:pt x="891" y="724"/>
                  </a:lnTo>
                  <a:lnTo>
                    <a:pt x="889" y="7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97" name="Freeform 335"/>
            <p:cNvSpPr>
              <a:spLocks/>
            </p:cNvSpPr>
            <p:nvPr/>
          </p:nvSpPr>
          <p:spPr bwMode="auto">
            <a:xfrm>
              <a:off x="10512426" y="962025"/>
              <a:ext cx="57150" cy="9525"/>
            </a:xfrm>
            <a:custGeom>
              <a:avLst/>
              <a:gdLst>
                <a:gd name="T0" fmla="*/ 15 w 180"/>
                <a:gd name="T1" fmla="*/ 30 h 30"/>
                <a:gd name="T2" fmla="*/ 165 w 180"/>
                <a:gd name="T3" fmla="*/ 30 h 30"/>
                <a:gd name="T4" fmla="*/ 168 w 180"/>
                <a:gd name="T5" fmla="*/ 29 h 30"/>
                <a:gd name="T6" fmla="*/ 172 w 180"/>
                <a:gd name="T7" fmla="*/ 29 h 30"/>
                <a:gd name="T8" fmla="*/ 174 w 180"/>
                <a:gd name="T9" fmla="*/ 27 h 30"/>
                <a:gd name="T10" fmla="*/ 176 w 180"/>
                <a:gd name="T11" fmla="*/ 26 h 30"/>
                <a:gd name="T12" fmla="*/ 178 w 180"/>
                <a:gd name="T13" fmla="*/ 24 h 30"/>
                <a:gd name="T14" fmla="*/ 179 w 180"/>
                <a:gd name="T15" fmla="*/ 20 h 30"/>
                <a:gd name="T16" fmla="*/ 180 w 180"/>
                <a:gd name="T17" fmla="*/ 18 h 30"/>
                <a:gd name="T18" fmla="*/ 180 w 180"/>
                <a:gd name="T19" fmla="*/ 15 h 30"/>
                <a:gd name="T20" fmla="*/ 180 w 180"/>
                <a:gd name="T21" fmla="*/ 12 h 30"/>
                <a:gd name="T22" fmla="*/ 179 w 180"/>
                <a:gd name="T23" fmla="*/ 9 h 30"/>
                <a:gd name="T24" fmla="*/ 178 w 180"/>
                <a:gd name="T25" fmla="*/ 7 h 30"/>
                <a:gd name="T26" fmla="*/ 176 w 180"/>
                <a:gd name="T27" fmla="*/ 4 h 30"/>
                <a:gd name="T28" fmla="*/ 174 w 180"/>
                <a:gd name="T29" fmla="*/ 2 h 30"/>
                <a:gd name="T30" fmla="*/ 172 w 180"/>
                <a:gd name="T31" fmla="*/ 1 h 30"/>
                <a:gd name="T32" fmla="*/ 168 w 180"/>
                <a:gd name="T33" fmla="*/ 0 h 30"/>
                <a:gd name="T34" fmla="*/ 165 w 180"/>
                <a:gd name="T35" fmla="*/ 0 h 30"/>
                <a:gd name="T36" fmla="*/ 15 w 180"/>
                <a:gd name="T37" fmla="*/ 0 h 30"/>
                <a:gd name="T38" fmla="*/ 12 w 180"/>
                <a:gd name="T39" fmla="*/ 0 h 30"/>
                <a:gd name="T40" fmla="*/ 9 w 180"/>
                <a:gd name="T41" fmla="*/ 1 h 30"/>
                <a:gd name="T42" fmla="*/ 6 w 180"/>
                <a:gd name="T43" fmla="*/ 2 h 30"/>
                <a:gd name="T44" fmla="*/ 4 w 180"/>
                <a:gd name="T45" fmla="*/ 4 h 30"/>
                <a:gd name="T46" fmla="*/ 2 w 180"/>
                <a:gd name="T47" fmla="*/ 7 h 30"/>
                <a:gd name="T48" fmla="*/ 1 w 180"/>
                <a:gd name="T49" fmla="*/ 9 h 30"/>
                <a:gd name="T50" fmla="*/ 0 w 180"/>
                <a:gd name="T51" fmla="*/ 12 h 30"/>
                <a:gd name="T52" fmla="*/ 0 w 180"/>
                <a:gd name="T53" fmla="*/ 15 h 30"/>
                <a:gd name="T54" fmla="*/ 0 w 180"/>
                <a:gd name="T55" fmla="*/ 18 h 30"/>
                <a:gd name="T56" fmla="*/ 1 w 180"/>
                <a:gd name="T57" fmla="*/ 20 h 30"/>
                <a:gd name="T58" fmla="*/ 2 w 180"/>
                <a:gd name="T59" fmla="*/ 24 h 30"/>
                <a:gd name="T60" fmla="*/ 4 w 180"/>
                <a:gd name="T61" fmla="*/ 26 h 30"/>
                <a:gd name="T62" fmla="*/ 6 w 180"/>
                <a:gd name="T63" fmla="*/ 27 h 30"/>
                <a:gd name="T64" fmla="*/ 9 w 180"/>
                <a:gd name="T65" fmla="*/ 29 h 30"/>
                <a:gd name="T66" fmla="*/ 12 w 180"/>
                <a:gd name="T67" fmla="*/ 29 h 30"/>
                <a:gd name="T68" fmla="*/ 15 w 180"/>
                <a:gd name="T69" fmla="*/ 30 h 30"/>
                <a:gd name="T70" fmla="*/ 15 w 18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5" y="30"/>
                  </a:moveTo>
                  <a:lnTo>
                    <a:pt x="165" y="30"/>
                  </a:lnTo>
                  <a:lnTo>
                    <a:pt x="168" y="29"/>
                  </a:lnTo>
                  <a:lnTo>
                    <a:pt x="172" y="29"/>
                  </a:lnTo>
                  <a:lnTo>
                    <a:pt x="174" y="27"/>
                  </a:lnTo>
                  <a:lnTo>
                    <a:pt x="176" y="26"/>
                  </a:lnTo>
                  <a:lnTo>
                    <a:pt x="178" y="24"/>
                  </a:lnTo>
                  <a:lnTo>
                    <a:pt x="179" y="20"/>
                  </a:lnTo>
                  <a:lnTo>
                    <a:pt x="180" y="18"/>
                  </a:lnTo>
                  <a:lnTo>
                    <a:pt x="180" y="15"/>
                  </a:lnTo>
                  <a:lnTo>
                    <a:pt x="180" y="12"/>
                  </a:lnTo>
                  <a:lnTo>
                    <a:pt x="179" y="9"/>
                  </a:lnTo>
                  <a:lnTo>
                    <a:pt x="178" y="7"/>
                  </a:lnTo>
                  <a:lnTo>
                    <a:pt x="176" y="4"/>
                  </a:lnTo>
                  <a:lnTo>
                    <a:pt x="174" y="2"/>
                  </a:lnTo>
                  <a:lnTo>
                    <a:pt x="172" y="1"/>
                  </a:lnTo>
                  <a:lnTo>
                    <a:pt x="168" y="0"/>
                  </a:lnTo>
                  <a:lnTo>
                    <a:pt x="165" y="0"/>
                  </a:lnTo>
                  <a:lnTo>
                    <a:pt x="15" y="0"/>
                  </a:lnTo>
                  <a:lnTo>
                    <a:pt x="12" y="0"/>
                  </a:lnTo>
                  <a:lnTo>
                    <a:pt x="9" y="1"/>
                  </a:lnTo>
                  <a:lnTo>
                    <a:pt x="6" y="2"/>
                  </a:lnTo>
                  <a:lnTo>
                    <a:pt x="4" y="4"/>
                  </a:lnTo>
                  <a:lnTo>
                    <a:pt x="2" y="7"/>
                  </a:lnTo>
                  <a:lnTo>
                    <a:pt x="1" y="9"/>
                  </a:lnTo>
                  <a:lnTo>
                    <a:pt x="0" y="12"/>
                  </a:lnTo>
                  <a:lnTo>
                    <a:pt x="0" y="15"/>
                  </a:lnTo>
                  <a:lnTo>
                    <a:pt x="0" y="18"/>
                  </a:lnTo>
                  <a:lnTo>
                    <a:pt x="1" y="20"/>
                  </a:lnTo>
                  <a:lnTo>
                    <a:pt x="2" y="24"/>
                  </a:lnTo>
                  <a:lnTo>
                    <a:pt x="4" y="26"/>
                  </a:lnTo>
                  <a:lnTo>
                    <a:pt x="6" y="27"/>
                  </a:lnTo>
                  <a:lnTo>
                    <a:pt x="9" y="29"/>
                  </a:lnTo>
                  <a:lnTo>
                    <a:pt x="12"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98" name="Freeform 336"/>
            <p:cNvSpPr>
              <a:spLocks noEditPoints="1"/>
            </p:cNvSpPr>
            <p:nvPr/>
          </p:nvSpPr>
          <p:spPr bwMode="auto">
            <a:xfrm>
              <a:off x="10607676" y="893763"/>
              <a:ext cx="47625" cy="49212"/>
            </a:xfrm>
            <a:custGeom>
              <a:avLst/>
              <a:gdLst>
                <a:gd name="T0" fmla="*/ 84 w 150"/>
                <a:gd name="T1" fmla="*/ 31 h 151"/>
                <a:gd name="T2" fmla="*/ 100 w 150"/>
                <a:gd name="T3" fmla="*/ 37 h 151"/>
                <a:gd name="T4" fmla="*/ 113 w 150"/>
                <a:gd name="T5" fmla="*/ 50 h 151"/>
                <a:gd name="T6" fmla="*/ 119 w 150"/>
                <a:gd name="T7" fmla="*/ 66 h 151"/>
                <a:gd name="T8" fmla="*/ 119 w 150"/>
                <a:gd name="T9" fmla="*/ 84 h 151"/>
                <a:gd name="T10" fmla="*/ 113 w 150"/>
                <a:gd name="T11" fmla="*/ 101 h 151"/>
                <a:gd name="T12" fmla="*/ 100 w 150"/>
                <a:gd name="T13" fmla="*/ 112 h 151"/>
                <a:gd name="T14" fmla="*/ 84 w 150"/>
                <a:gd name="T15" fmla="*/ 120 h 151"/>
                <a:gd name="T16" fmla="*/ 66 w 150"/>
                <a:gd name="T17" fmla="*/ 120 h 151"/>
                <a:gd name="T18" fmla="*/ 50 w 150"/>
                <a:gd name="T19" fmla="*/ 112 h 151"/>
                <a:gd name="T20" fmla="*/ 38 w 150"/>
                <a:gd name="T21" fmla="*/ 101 h 151"/>
                <a:gd name="T22" fmla="*/ 30 w 150"/>
                <a:gd name="T23" fmla="*/ 84 h 151"/>
                <a:gd name="T24" fmla="*/ 30 w 150"/>
                <a:gd name="T25" fmla="*/ 66 h 151"/>
                <a:gd name="T26" fmla="*/ 38 w 150"/>
                <a:gd name="T27" fmla="*/ 50 h 151"/>
                <a:gd name="T28" fmla="*/ 50 w 150"/>
                <a:gd name="T29" fmla="*/ 37 h 151"/>
                <a:gd name="T30" fmla="*/ 66 w 150"/>
                <a:gd name="T31" fmla="*/ 31 h 151"/>
                <a:gd name="T32" fmla="*/ 75 w 150"/>
                <a:gd name="T33" fmla="*/ 150 h 151"/>
                <a:gd name="T34" fmla="*/ 90 w 150"/>
                <a:gd name="T35" fmla="*/ 149 h 151"/>
                <a:gd name="T36" fmla="*/ 104 w 150"/>
                <a:gd name="T37" fmla="*/ 145 h 151"/>
                <a:gd name="T38" fmla="*/ 117 w 150"/>
                <a:gd name="T39" fmla="*/ 137 h 151"/>
                <a:gd name="T40" fmla="*/ 128 w 150"/>
                <a:gd name="T41" fmla="*/ 128 h 151"/>
                <a:gd name="T42" fmla="*/ 138 w 150"/>
                <a:gd name="T43" fmla="*/ 118 h 151"/>
                <a:gd name="T44" fmla="*/ 144 w 150"/>
                <a:gd name="T45" fmla="*/ 105 h 151"/>
                <a:gd name="T46" fmla="*/ 148 w 150"/>
                <a:gd name="T47" fmla="*/ 90 h 151"/>
                <a:gd name="T48" fmla="*/ 150 w 150"/>
                <a:gd name="T49" fmla="*/ 75 h 151"/>
                <a:gd name="T50" fmla="*/ 148 w 150"/>
                <a:gd name="T51" fmla="*/ 60 h 151"/>
                <a:gd name="T52" fmla="*/ 144 w 150"/>
                <a:gd name="T53" fmla="*/ 46 h 151"/>
                <a:gd name="T54" fmla="*/ 138 w 150"/>
                <a:gd name="T55" fmla="*/ 33 h 151"/>
                <a:gd name="T56" fmla="*/ 128 w 150"/>
                <a:gd name="T57" fmla="*/ 22 h 151"/>
                <a:gd name="T58" fmla="*/ 117 w 150"/>
                <a:gd name="T59" fmla="*/ 13 h 151"/>
                <a:gd name="T60" fmla="*/ 104 w 150"/>
                <a:gd name="T61" fmla="*/ 6 h 151"/>
                <a:gd name="T62" fmla="*/ 90 w 150"/>
                <a:gd name="T63" fmla="*/ 2 h 151"/>
                <a:gd name="T64" fmla="*/ 75 w 150"/>
                <a:gd name="T65" fmla="*/ 0 h 151"/>
                <a:gd name="T66" fmla="*/ 60 w 150"/>
                <a:gd name="T67" fmla="*/ 2 h 151"/>
                <a:gd name="T68" fmla="*/ 45 w 150"/>
                <a:gd name="T69" fmla="*/ 6 h 151"/>
                <a:gd name="T70" fmla="*/ 32 w 150"/>
                <a:gd name="T71" fmla="*/ 13 h 151"/>
                <a:gd name="T72" fmla="*/ 22 w 150"/>
                <a:gd name="T73" fmla="*/ 22 h 151"/>
                <a:gd name="T74" fmla="*/ 13 w 150"/>
                <a:gd name="T75" fmla="*/ 33 h 151"/>
                <a:gd name="T76" fmla="*/ 6 w 150"/>
                <a:gd name="T77" fmla="*/ 46 h 151"/>
                <a:gd name="T78" fmla="*/ 1 w 150"/>
                <a:gd name="T79" fmla="*/ 60 h 151"/>
                <a:gd name="T80" fmla="*/ 0 w 150"/>
                <a:gd name="T81" fmla="*/ 75 h 151"/>
                <a:gd name="T82" fmla="*/ 1 w 150"/>
                <a:gd name="T83" fmla="*/ 90 h 151"/>
                <a:gd name="T84" fmla="*/ 6 w 150"/>
                <a:gd name="T85" fmla="*/ 105 h 151"/>
                <a:gd name="T86" fmla="*/ 13 w 150"/>
                <a:gd name="T87" fmla="*/ 117 h 151"/>
                <a:gd name="T88" fmla="*/ 22 w 150"/>
                <a:gd name="T89" fmla="*/ 128 h 151"/>
                <a:gd name="T90" fmla="*/ 32 w 150"/>
                <a:gd name="T91" fmla="*/ 137 h 151"/>
                <a:gd name="T92" fmla="*/ 45 w 150"/>
                <a:gd name="T93" fmla="*/ 145 h 151"/>
                <a:gd name="T94" fmla="*/ 60 w 150"/>
                <a:gd name="T95" fmla="*/ 149 h 151"/>
                <a:gd name="T96" fmla="*/ 75 w 150"/>
                <a:gd name="T9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1">
                  <a:moveTo>
                    <a:pt x="75" y="30"/>
                  </a:moveTo>
                  <a:lnTo>
                    <a:pt x="84" y="31"/>
                  </a:lnTo>
                  <a:lnTo>
                    <a:pt x="93" y="34"/>
                  </a:lnTo>
                  <a:lnTo>
                    <a:pt x="100" y="37"/>
                  </a:lnTo>
                  <a:lnTo>
                    <a:pt x="106" y="44"/>
                  </a:lnTo>
                  <a:lnTo>
                    <a:pt x="113" y="50"/>
                  </a:lnTo>
                  <a:lnTo>
                    <a:pt x="116" y="58"/>
                  </a:lnTo>
                  <a:lnTo>
                    <a:pt x="119" y="66"/>
                  </a:lnTo>
                  <a:lnTo>
                    <a:pt x="120" y="75"/>
                  </a:lnTo>
                  <a:lnTo>
                    <a:pt x="119" y="84"/>
                  </a:lnTo>
                  <a:lnTo>
                    <a:pt x="116" y="93"/>
                  </a:lnTo>
                  <a:lnTo>
                    <a:pt x="113" y="101"/>
                  </a:lnTo>
                  <a:lnTo>
                    <a:pt x="106" y="107"/>
                  </a:lnTo>
                  <a:lnTo>
                    <a:pt x="100" y="112"/>
                  </a:lnTo>
                  <a:lnTo>
                    <a:pt x="93" y="117"/>
                  </a:lnTo>
                  <a:lnTo>
                    <a:pt x="84" y="120"/>
                  </a:lnTo>
                  <a:lnTo>
                    <a:pt x="75" y="120"/>
                  </a:lnTo>
                  <a:lnTo>
                    <a:pt x="66" y="120"/>
                  </a:lnTo>
                  <a:lnTo>
                    <a:pt x="57" y="117"/>
                  </a:lnTo>
                  <a:lnTo>
                    <a:pt x="50" y="112"/>
                  </a:lnTo>
                  <a:lnTo>
                    <a:pt x="43" y="107"/>
                  </a:lnTo>
                  <a:lnTo>
                    <a:pt x="38" y="101"/>
                  </a:lnTo>
                  <a:lnTo>
                    <a:pt x="34" y="93"/>
                  </a:lnTo>
                  <a:lnTo>
                    <a:pt x="30" y="84"/>
                  </a:lnTo>
                  <a:lnTo>
                    <a:pt x="30" y="75"/>
                  </a:lnTo>
                  <a:lnTo>
                    <a:pt x="30" y="66"/>
                  </a:lnTo>
                  <a:lnTo>
                    <a:pt x="34" y="58"/>
                  </a:lnTo>
                  <a:lnTo>
                    <a:pt x="38" y="50"/>
                  </a:lnTo>
                  <a:lnTo>
                    <a:pt x="43" y="44"/>
                  </a:lnTo>
                  <a:lnTo>
                    <a:pt x="50" y="37"/>
                  </a:lnTo>
                  <a:lnTo>
                    <a:pt x="57" y="34"/>
                  </a:lnTo>
                  <a:lnTo>
                    <a:pt x="66" y="31"/>
                  </a:lnTo>
                  <a:lnTo>
                    <a:pt x="75" y="30"/>
                  </a:lnTo>
                  <a:close/>
                  <a:moveTo>
                    <a:pt x="75" y="150"/>
                  </a:moveTo>
                  <a:lnTo>
                    <a:pt x="83" y="150"/>
                  </a:lnTo>
                  <a:lnTo>
                    <a:pt x="90" y="149"/>
                  </a:lnTo>
                  <a:lnTo>
                    <a:pt x="98" y="147"/>
                  </a:lnTo>
                  <a:lnTo>
                    <a:pt x="104" y="145"/>
                  </a:lnTo>
                  <a:lnTo>
                    <a:pt x="111" y="141"/>
                  </a:lnTo>
                  <a:lnTo>
                    <a:pt x="117" y="137"/>
                  </a:lnTo>
                  <a:lnTo>
                    <a:pt x="123" y="133"/>
                  </a:lnTo>
                  <a:lnTo>
                    <a:pt x="128" y="128"/>
                  </a:lnTo>
                  <a:lnTo>
                    <a:pt x="133" y="123"/>
                  </a:lnTo>
                  <a:lnTo>
                    <a:pt x="138" y="118"/>
                  </a:lnTo>
                  <a:lnTo>
                    <a:pt x="141" y="111"/>
                  </a:lnTo>
                  <a:lnTo>
                    <a:pt x="144" y="105"/>
                  </a:lnTo>
                  <a:lnTo>
                    <a:pt x="147" y="97"/>
                  </a:lnTo>
                  <a:lnTo>
                    <a:pt x="148" y="90"/>
                  </a:lnTo>
                  <a:lnTo>
                    <a:pt x="150" y="83"/>
                  </a:lnTo>
                  <a:lnTo>
                    <a:pt x="150" y="75"/>
                  </a:lnTo>
                  <a:lnTo>
                    <a:pt x="150" y="67"/>
                  </a:lnTo>
                  <a:lnTo>
                    <a:pt x="148" y="60"/>
                  </a:lnTo>
                  <a:lnTo>
                    <a:pt x="147" y="52"/>
                  </a:lnTo>
                  <a:lnTo>
                    <a:pt x="144" y="46"/>
                  </a:lnTo>
                  <a:lnTo>
                    <a:pt x="141" y="39"/>
                  </a:lnTo>
                  <a:lnTo>
                    <a:pt x="138" y="33"/>
                  </a:lnTo>
                  <a:lnTo>
                    <a:pt x="133" y="28"/>
                  </a:lnTo>
                  <a:lnTo>
                    <a:pt x="128" y="22"/>
                  </a:lnTo>
                  <a:lnTo>
                    <a:pt x="123" y="17"/>
                  </a:lnTo>
                  <a:lnTo>
                    <a:pt x="117" y="13"/>
                  </a:lnTo>
                  <a:lnTo>
                    <a:pt x="111" y="9"/>
                  </a:lnTo>
                  <a:lnTo>
                    <a:pt x="104" y="6"/>
                  </a:lnTo>
                  <a:lnTo>
                    <a:pt x="98" y="3"/>
                  </a:lnTo>
                  <a:lnTo>
                    <a:pt x="90" y="2"/>
                  </a:lnTo>
                  <a:lnTo>
                    <a:pt x="83" y="1"/>
                  </a:lnTo>
                  <a:lnTo>
                    <a:pt x="75" y="0"/>
                  </a:lnTo>
                  <a:lnTo>
                    <a:pt x="68" y="1"/>
                  </a:lnTo>
                  <a:lnTo>
                    <a:pt x="60" y="2"/>
                  </a:lnTo>
                  <a:lnTo>
                    <a:pt x="53" y="3"/>
                  </a:lnTo>
                  <a:lnTo>
                    <a:pt x="45" y="6"/>
                  </a:lnTo>
                  <a:lnTo>
                    <a:pt x="39" y="9"/>
                  </a:lnTo>
                  <a:lnTo>
                    <a:pt x="32" y="13"/>
                  </a:lnTo>
                  <a:lnTo>
                    <a:pt x="27" y="17"/>
                  </a:lnTo>
                  <a:lnTo>
                    <a:pt x="22" y="22"/>
                  </a:lnTo>
                  <a:lnTo>
                    <a:pt x="17" y="28"/>
                  </a:lnTo>
                  <a:lnTo>
                    <a:pt x="13" y="33"/>
                  </a:lnTo>
                  <a:lnTo>
                    <a:pt x="9" y="39"/>
                  </a:lnTo>
                  <a:lnTo>
                    <a:pt x="6" y="46"/>
                  </a:lnTo>
                  <a:lnTo>
                    <a:pt x="4" y="53"/>
                  </a:lnTo>
                  <a:lnTo>
                    <a:pt x="1" y="60"/>
                  </a:lnTo>
                  <a:lnTo>
                    <a:pt x="0" y="67"/>
                  </a:lnTo>
                  <a:lnTo>
                    <a:pt x="0" y="75"/>
                  </a:lnTo>
                  <a:lnTo>
                    <a:pt x="0" y="83"/>
                  </a:lnTo>
                  <a:lnTo>
                    <a:pt x="1" y="90"/>
                  </a:lnTo>
                  <a:lnTo>
                    <a:pt x="4" y="97"/>
                  </a:lnTo>
                  <a:lnTo>
                    <a:pt x="6" y="105"/>
                  </a:lnTo>
                  <a:lnTo>
                    <a:pt x="9" y="111"/>
                  </a:lnTo>
                  <a:lnTo>
                    <a:pt x="13" y="117"/>
                  </a:lnTo>
                  <a:lnTo>
                    <a:pt x="17" y="123"/>
                  </a:lnTo>
                  <a:lnTo>
                    <a:pt x="22" y="128"/>
                  </a:lnTo>
                  <a:lnTo>
                    <a:pt x="27" y="133"/>
                  </a:lnTo>
                  <a:lnTo>
                    <a:pt x="32" y="137"/>
                  </a:lnTo>
                  <a:lnTo>
                    <a:pt x="39" y="141"/>
                  </a:lnTo>
                  <a:lnTo>
                    <a:pt x="45" y="145"/>
                  </a:lnTo>
                  <a:lnTo>
                    <a:pt x="53" y="147"/>
                  </a:lnTo>
                  <a:lnTo>
                    <a:pt x="60" y="149"/>
                  </a:lnTo>
                  <a:lnTo>
                    <a:pt x="68" y="150"/>
                  </a:lnTo>
                  <a:lnTo>
                    <a:pt x="75" y="151"/>
                  </a:lnTo>
                  <a:lnTo>
                    <a:pt x="75"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199" name="Group 198"/>
          <p:cNvGrpSpPr/>
          <p:nvPr/>
        </p:nvGrpSpPr>
        <p:grpSpPr>
          <a:xfrm>
            <a:off x="9215677" y="3722362"/>
            <a:ext cx="660508" cy="551029"/>
            <a:chOff x="11037888" y="817563"/>
            <a:chExt cx="287338" cy="239712"/>
          </a:xfrm>
          <a:solidFill>
            <a:schemeClr val="accent1"/>
          </a:solidFill>
        </p:grpSpPr>
        <p:sp>
          <p:nvSpPr>
            <p:cNvPr id="200" name="Freeform 294"/>
            <p:cNvSpPr>
              <a:spLocks noEditPoints="1"/>
            </p:cNvSpPr>
            <p:nvPr/>
          </p:nvSpPr>
          <p:spPr bwMode="auto">
            <a:xfrm>
              <a:off x="11037888" y="817563"/>
              <a:ext cx="287338" cy="239712"/>
            </a:xfrm>
            <a:custGeom>
              <a:avLst/>
              <a:gdLst>
                <a:gd name="T0" fmla="*/ 752 w 903"/>
                <a:gd name="T1" fmla="*/ 722 h 753"/>
                <a:gd name="T2" fmla="*/ 752 w 903"/>
                <a:gd name="T3" fmla="*/ 374 h 753"/>
                <a:gd name="T4" fmla="*/ 750 w 903"/>
                <a:gd name="T5" fmla="*/ 368 h 753"/>
                <a:gd name="T6" fmla="*/ 745 w 903"/>
                <a:gd name="T7" fmla="*/ 364 h 753"/>
                <a:gd name="T8" fmla="*/ 740 w 903"/>
                <a:gd name="T9" fmla="*/ 362 h 753"/>
                <a:gd name="T10" fmla="*/ 165 w 903"/>
                <a:gd name="T11" fmla="*/ 361 h 753"/>
                <a:gd name="T12" fmla="*/ 160 w 903"/>
                <a:gd name="T13" fmla="*/ 363 h 753"/>
                <a:gd name="T14" fmla="*/ 154 w 903"/>
                <a:gd name="T15" fmla="*/ 366 h 753"/>
                <a:gd name="T16" fmla="*/ 151 w 903"/>
                <a:gd name="T17" fmla="*/ 371 h 753"/>
                <a:gd name="T18" fmla="*/ 150 w 903"/>
                <a:gd name="T19" fmla="*/ 377 h 753"/>
                <a:gd name="T20" fmla="*/ 90 w 903"/>
                <a:gd name="T21" fmla="*/ 722 h 753"/>
                <a:gd name="T22" fmla="*/ 813 w 903"/>
                <a:gd name="T23" fmla="*/ 301 h 753"/>
                <a:gd name="T24" fmla="*/ 180 w 903"/>
                <a:gd name="T25" fmla="*/ 722 h 753"/>
                <a:gd name="T26" fmla="*/ 722 w 903"/>
                <a:gd name="T27" fmla="*/ 391 h 753"/>
                <a:gd name="T28" fmla="*/ 180 w 903"/>
                <a:gd name="T29" fmla="*/ 722 h 753"/>
                <a:gd name="T30" fmla="*/ 451 w 903"/>
                <a:gd name="T31" fmla="*/ 32 h 753"/>
                <a:gd name="T32" fmla="*/ 873 w 903"/>
                <a:gd name="T33" fmla="*/ 271 h 753"/>
                <a:gd name="T34" fmla="*/ 75 w 903"/>
                <a:gd name="T35" fmla="*/ 271 h 753"/>
                <a:gd name="T36" fmla="*/ 30 w 903"/>
                <a:gd name="T37" fmla="*/ 220 h 753"/>
                <a:gd name="T38" fmla="*/ 891 w 903"/>
                <a:gd name="T39" fmla="*/ 301 h 753"/>
                <a:gd name="T40" fmla="*/ 896 w 903"/>
                <a:gd name="T41" fmla="*/ 299 h 753"/>
                <a:gd name="T42" fmla="*/ 900 w 903"/>
                <a:gd name="T43" fmla="*/ 294 h 753"/>
                <a:gd name="T44" fmla="*/ 902 w 903"/>
                <a:gd name="T45" fmla="*/ 289 h 753"/>
                <a:gd name="T46" fmla="*/ 903 w 903"/>
                <a:gd name="T47" fmla="*/ 211 h 753"/>
                <a:gd name="T48" fmla="*/ 901 w 903"/>
                <a:gd name="T49" fmla="*/ 202 h 753"/>
                <a:gd name="T50" fmla="*/ 894 w 903"/>
                <a:gd name="T51" fmla="*/ 197 h 753"/>
                <a:gd name="T52" fmla="*/ 455 w 903"/>
                <a:gd name="T53" fmla="*/ 0 h 753"/>
                <a:gd name="T54" fmla="*/ 448 w 903"/>
                <a:gd name="T55" fmla="*/ 0 h 753"/>
                <a:gd name="T56" fmla="*/ 8 w 903"/>
                <a:gd name="T57" fmla="*/ 197 h 753"/>
                <a:gd name="T58" fmla="*/ 2 w 903"/>
                <a:gd name="T59" fmla="*/ 202 h 753"/>
                <a:gd name="T60" fmla="*/ 0 w 903"/>
                <a:gd name="T61" fmla="*/ 211 h 753"/>
                <a:gd name="T62" fmla="*/ 0 w 903"/>
                <a:gd name="T63" fmla="*/ 289 h 753"/>
                <a:gd name="T64" fmla="*/ 2 w 903"/>
                <a:gd name="T65" fmla="*/ 294 h 753"/>
                <a:gd name="T66" fmla="*/ 6 w 903"/>
                <a:gd name="T67" fmla="*/ 299 h 753"/>
                <a:gd name="T68" fmla="*/ 12 w 903"/>
                <a:gd name="T69" fmla="*/ 301 h 753"/>
                <a:gd name="T70" fmla="*/ 60 w 903"/>
                <a:gd name="T71" fmla="*/ 301 h 753"/>
                <a:gd name="T72" fmla="*/ 15 w 903"/>
                <a:gd name="T73" fmla="*/ 722 h 753"/>
                <a:gd name="T74" fmla="*/ 8 w 903"/>
                <a:gd name="T75" fmla="*/ 724 h 753"/>
                <a:gd name="T76" fmla="*/ 4 w 903"/>
                <a:gd name="T77" fmla="*/ 727 h 753"/>
                <a:gd name="T78" fmla="*/ 1 w 903"/>
                <a:gd name="T79" fmla="*/ 732 h 753"/>
                <a:gd name="T80" fmla="*/ 0 w 903"/>
                <a:gd name="T81" fmla="*/ 738 h 753"/>
                <a:gd name="T82" fmla="*/ 1 w 903"/>
                <a:gd name="T83" fmla="*/ 744 h 753"/>
                <a:gd name="T84" fmla="*/ 4 w 903"/>
                <a:gd name="T85" fmla="*/ 748 h 753"/>
                <a:gd name="T86" fmla="*/ 8 w 903"/>
                <a:gd name="T87" fmla="*/ 751 h 753"/>
                <a:gd name="T88" fmla="*/ 15 w 903"/>
                <a:gd name="T89" fmla="*/ 753 h 753"/>
                <a:gd name="T90" fmla="*/ 165 w 903"/>
                <a:gd name="T91" fmla="*/ 753 h 753"/>
                <a:gd name="T92" fmla="*/ 828 w 903"/>
                <a:gd name="T93" fmla="*/ 753 h 753"/>
                <a:gd name="T94" fmla="*/ 891 w 903"/>
                <a:gd name="T95" fmla="*/ 753 h 753"/>
                <a:gd name="T96" fmla="*/ 896 w 903"/>
                <a:gd name="T97" fmla="*/ 750 h 753"/>
                <a:gd name="T98" fmla="*/ 900 w 903"/>
                <a:gd name="T99" fmla="*/ 746 h 753"/>
                <a:gd name="T100" fmla="*/ 902 w 903"/>
                <a:gd name="T101" fmla="*/ 741 h 753"/>
                <a:gd name="T102" fmla="*/ 903 w 903"/>
                <a:gd name="T103" fmla="*/ 735 h 753"/>
                <a:gd name="T104" fmla="*/ 900 w 903"/>
                <a:gd name="T105" fmla="*/ 730 h 753"/>
                <a:gd name="T106" fmla="*/ 896 w 903"/>
                <a:gd name="T107" fmla="*/ 726 h 753"/>
                <a:gd name="T108" fmla="*/ 891 w 903"/>
                <a:gd name="T109" fmla="*/ 724 h 753"/>
                <a:gd name="T110" fmla="*/ 843 w 903"/>
                <a:gd name="T111" fmla="*/ 722 h 753"/>
                <a:gd name="T112" fmla="*/ 888 w 903"/>
                <a:gd name="T113" fmla="*/ 30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753">
                  <a:moveTo>
                    <a:pt x="813" y="722"/>
                  </a:moveTo>
                  <a:lnTo>
                    <a:pt x="752" y="722"/>
                  </a:lnTo>
                  <a:lnTo>
                    <a:pt x="752" y="376"/>
                  </a:lnTo>
                  <a:lnTo>
                    <a:pt x="752" y="374"/>
                  </a:lnTo>
                  <a:lnTo>
                    <a:pt x="751" y="371"/>
                  </a:lnTo>
                  <a:lnTo>
                    <a:pt x="750" y="368"/>
                  </a:lnTo>
                  <a:lnTo>
                    <a:pt x="747" y="366"/>
                  </a:lnTo>
                  <a:lnTo>
                    <a:pt x="745" y="364"/>
                  </a:lnTo>
                  <a:lnTo>
                    <a:pt x="743" y="363"/>
                  </a:lnTo>
                  <a:lnTo>
                    <a:pt x="740" y="362"/>
                  </a:lnTo>
                  <a:lnTo>
                    <a:pt x="737" y="361"/>
                  </a:lnTo>
                  <a:lnTo>
                    <a:pt x="165" y="361"/>
                  </a:lnTo>
                  <a:lnTo>
                    <a:pt x="162" y="362"/>
                  </a:lnTo>
                  <a:lnTo>
                    <a:pt x="160" y="363"/>
                  </a:lnTo>
                  <a:lnTo>
                    <a:pt x="156" y="364"/>
                  </a:lnTo>
                  <a:lnTo>
                    <a:pt x="154" y="366"/>
                  </a:lnTo>
                  <a:lnTo>
                    <a:pt x="152" y="368"/>
                  </a:lnTo>
                  <a:lnTo>
                    <a:pt x="151" y="371"/>
                  </a:lnTo>
                  <a:lnTo>
                    <a:pt x="150" y="374"/>
                  </a:lnTo>
                  <a:lnTo>
                    <a:pt x="150" y="377"/>
                  </a:lnTo>
                  <a:lnTo>
                    <a:pt x="150" y="722"/>
                  </a:lnTo>
                  <a:lnTo>
                    <a:pt x="90" y="722"/>
                  </a:lnTo>
                  <a:lnTo>
                    <a:pt x="90" y="301"/>
                  </a:lnTo>
                  <a:lnTo>
                    <a:pt x="813" y="301"/>
                  </a:lnTo>
                  <a:lnTo>
                    <a:pt x="813" y="722"/>
                  </a:lnTo>
                  <a:close/>
                  <a:moveTo>
                    <a:pt x="180" y="722"/>
                  </a:moveTo>
                  <a:lnTo>
                    <a:pt x="180" y="391"/>
                  </a:lnTo>
                  <a:lnTo>
                    <a:pt x="722" y="391"/>
                  </a:lnTo>
                  <a:lnTo>
                    <a:pt x="722" y="722"/>
                  </a:lnTo>
                  <a:lnTo>
                    <a:pt x="180" y="722"/>
                  </a:lnTo>
                  <a:close/>
                  <a:moveTo>
                    <a:pt x="30" y="220"/>
                  </a:moveTo>
                  <a:lnTo>
                    <a:pt x="451" y="32"/>
                  </a:lnTo>
                  <a:lnTo>
                    <a:pt x="873" y="220"/>
                  </a:lnTo>
                  <a:lnTo>
                    <a:pt x="873" y="271"/>
                  </a:lnTo>
                  <a:lnTo>
                    <a:pt x="828" y="271"/>
                  </a:lnTo>
                  <a:lnTo>
                    <a:pt x="75" y="271"/>
                  </a:lnTo>
                  <a:lnTo>
                    <a:pt x="30" y="271"/>
                  </a:lnTo>
                  <a:lnTo>
                    <a:pt x="30" y="220"/>
                  </a:lnTo>
                  <a:close/>
                  <a:moveTo>
                    <a:pt x="888" y="301"/>
                  </a:moveTo>
                  <a:lnTo>
                    <a:pt x="891" y="301"/>
                  </a:lnTo>
                  <a:lnTo>
                    <a:pt x="893" y="300"/>
                  </a:lnTo>
                  <a:lnTo>
                    <a:pt x="896" y="299"/>
                  </a:lnTo>
                  <a:lnTo>
                    <a:pt x="899" y="297"/>
                  </a:lnTo>
                  <a:lnTo>
                    <a:pt x="900" y="294"/>
                  </a:lnTo>
                  <a:lnTo>
                    <a:pt x="902" y="292"/>
                  </a:lnTo>
                  <a:lnTo>
                    <a:pt x="902" y="289"/>
                  </a:lnTo>
                  <a:lnTo>
                    <a:pt x="903" y="286"/>
                  </a:lnTo>
                  <a:lnTo>
                    <a:pt x="903" y="211"/>
                  </a:lnTo>
                  <a:lnTo>
                    <a:pt x="902" y="206"/>
                  </a:lnTo>
                  <a:lnTo>
                    <a:pt x="901" y="202"/>
                  </a:lnTo>
                  <a:lnTo>
                    <a:pt x="898" y="199"/>
                  </a:lnTo>
                  <a:lnTo>
                    <a:pt x="894" y="197"/>
                  </a:lnTo>
                  <a:lnTo>
                    <a:pt x="458" y="1"/>
                  </a:lnTo>
                  <a:lnTo>
                    <a:pt x="455" y="0"/>
                  </a:lnTo>
                  <a:lnTo>
                    <a:pt x="451" y="0"/>
                  </a:lnTo>
                  <a:lnTo>
                    <a:pt x="448" y="0"/>
                  </a:lnTo>
                  <a:lnTo>
                    <a:pt x="445" y="1"/>
                  </a:lnTo>
                  <a:lnTo>
                    <a:pt x="8" y="197"/>
                  </a:lnTo>
                  <a:lnTo>
                    <a:pt x="5" y="199"/>
                  </a:lnTo>
                  <a:lnTo>
                    <a:pt x="2" y="202"/>
                  </a:lnTo>
                  <a:lnTo>
                    <a:pt x="0" y="206"/>
                  </a:lnTo>
                  <a:lnTo>
                    <a:pt x="0" y="211"/>
                  </a:lnTo>
                  <a:lnTo>
                    <a:pt x="0" y="286"/>
                  </a:lnTo>
                  <a:lnTo>
                    <a:pt x="0" y="289"/>
                  </a:lnTo>
                  <a:lnTo>
                    <a:pt x="1" y="292"/>
                  </a:lnTo>
                  <a:lnTo>
                    <a:pt x="2" y="294"/>
                  </a:lnTo>
                  <a:lnTo>
                    <a:pt x="4" y="297"/>
                  </a:lnTo>
                  <a:lnTo>
                    <a:pt x="6" y="299"/>
                  </a:lnTo>
                  <a:lnTo>
                    <a:pt x="8" y="300"/>
                  </a:lnTo>
                  <a:lnTo>
                    <a:pt x="12" y="301"/>
                  </a:lnTo>
                  <a:lnTo>
                    <a:pt x="15" y="301"/>
                  </a:lnTo>
                  <a:lnTo>
                    <a:pt x="60" y="301"/>
                  </a:lnTo>
                  <a:lnTo>
                    <a:pt x="60" y="722"/>
                  </a:lnTo>
                  <a:lnTo>
                    <a:pt x="15" y="722"/>
                  </a:lnTo>
                  <a:lnTo>
                    <a:pt x="12" y="724"/>
                  </a:lnTo>
                  <a:lnTo>
                    <a:pt x="8" y="724"/>
                  </a:lnTo>
                  <a:lnTo>
                    <a:pt x="6" y="726"/>
                  </a:lnTo>
                  <a:lnTo>
                    <a:pt x="4" y="727"/>
                  </a:lnTo>
                  <a:lnTo>
                    <a:pt x="2" y="730"/>
                  </a:lnTo>
                  <a:lnTo>
                    <a:pt x="1" y="732"/>
                  </a:lnTo>
                  <a:lnTo>
                    <a:pt x="0" y="735"/>
                  </a:lnTo>
                  <a:lnTo>
                    <a:pt x="0" y="738"/>
                  </a:lnTo>
                  <a:lnTo>
                    <a:pt x="0" y="741"/>
                  </a:lnTo>
                  <a:lnTo>
                    <a:pt x="1" y="744"/>
                  </a:lnTo>
                  <a:lnTo>
                    <a:pt x="2" y="746"/>
                  </a:lnTo>
                  <a:lnTo>
                    <a:pt x="4" y="748"/>
                  </a:lnTo>
                  <a:lnTo>
                    <a:pt x="6" y="750"/>
                  </a:lnTo>
                  <a:lnTo>
                    <a:pt x="8" y="751"/>
                  </a:lnTo>
                  <a:lnTo>
                    <a:pt x="12" y="753"/>
                  </a:lnTo>
                  <a:lnTo>
                    <a:pt x="15" y="753"/>
                  </a:lnTo>
                  <a:lnTo>
                    <a:pt x="75" y="753"/>
                  </a:lnTo>
                  <a:lnTo>
                    <a:pt x="165" y="753"/>
                  </a:lnTo>
                  <a:lnTo>
                    <a:pt x="737" y="753"/>
                  </a:lnTo>
                  <a:lnTo>
                    <a:pt x="828" y="753"/>
                  </a:lnTo>
                  <a:lnTo>
                    <a:pt x="888" y="753"/>
                  </a:lnTo>
                  <a:lnTo>
                    <a:pt x="891" y="753"/>
                  </a:lnTo>
                  <a:lnTo>
                    <a:pt x="893" y="751"/>
                  </a:lnTo>
                  <a:lnTo>
                    <a:pt x="896" y="750"/>
                  </a:lnTo>
                  <a:lnTo>
                    <a:pt x="899" y="748"/>
                  </a:lnTo>
                  <a:lnTo>
                    <a:pt x="900" y="746"/>
                  </a:lnTo>
                  <a:lnTo>
                    <a:pt x="902" y="744"/>
                  </a:lnTo>
                  <a:lnTo>
                    <a:pt x="902" y="741"/>
                  </a:lnTo>
                  <a:lnTo>
                    <a:pt x="903" y="738"/>
                  </a:lnTo>
                  <a:lnTo>
                    <a:pt x="903" y="735"/>
                  </a:lnTo>
                  <a:lnTo>
                    <a:pt x="902" y="732"/>
                  </a:lnTo>
                  <a:lnTo>
                    <a:pt x="900" y="730"/>
                  </a:lnTo>
                  <a:lnTo>
                    <a:pt x="899" y="727"/>
                  </a:lnTo>
                  <a:lnTo>
                    <a:pt x="896" y="726"/>
                  </a:lnTo>
                  <a:lnTo>
                    <a:pt x="893" y="724"/>
                  </a:lnTo>
                  <a:lnTo>
                    <a:pt x="891" y="724"/>
                  </a:lnTo>
                  <a:lnTo>
                    <a:pt x="888" y="722"/>
                  </a:lnTo>
                  <a:lnTo>
                    <a:pt x="843" y="722"/>
                  </a:lnTo>
                  <a:lnTo>
                    <a:pt x="843" y="301"/>
                  </a:lnTo>
                  <a:lnTo>
                    <a:pt x="888"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01" name="Freeform 295"/>
            <p:cNvSpPr>
              <a:spLocks/>
            </p:cNvSpPr>
            <p:nvPr/>
          </p:nvSpPr>
          <p:spPr bwMode="auto">
            <a:xfrm>
              <a:off x="11114088" y="962025"/>
              <a:ext cx="134938" cy="9525"/>
            </a:xfrm>
            <a:custGeom>
              <a:avLst/>
              <a:gdLst>
                <a:gd name="T0" fmla="*/ 407 w 422"/>
                <a:gd name="T1" fmla="*/ 0 h 30"/>
                <a:gd name="T2" fmla="*/ 15 w 422"/>
                <a:gd name="T3" fmla="*/ 0 h 30"/>
                <a:gd name="T4" fmla="*/ 12 w 422"/>
                <a:gd name="T5" fmla="*/ 0 h 30"/>
                <a:gd name="T6" fmla="*/ 10 w 422"/>
                <a:gd name="T7" fmla="*/ 1 h 30"/>
                <a:gd name="T8" fmla="*/ 7 w 422"/>
                <a:gd name="T9" fmla="*/ 2 h 30"/>
                <a:gd name="T10" fmla="*/ 4 w 422"/>
                <a:gd name="T11" fmla="*/ 4 h 30"/>
                <a:gd name="T12" fmla="*/ 3 w 422"/>
                <a:gd name="T13" fmla="*/ 7 h 30"/>
                <a:gd name="T14" fmla="*/ 1 w 422"/>
                <a:gd name="T15" fmla="*/ 9 h 30"/>
                <a:gd name="T16" fmla="*/ 1 w 422"/>
                <a:gd name="T17" fmla="*/ 12 h 30"/>
                <a:gd name="T18" fmla="*/ 0 w 422"/>
                <a:gd name="T19" fmla="*/ 15 h 30"/>
                <a:gd name="T20" fmla="*/ 1 w 422"/>
                <a:gd name="T21" fmla="*/ 18 h 30"/>
                <a:gd name="T22" fmla="*/ 1 w 422"/>
                <a:gd name="T23" fmla="*/ 20 h 30"/>
                <a:gd name="T24" fmla="*/ 3 w 422"/>
                <a:gd name="T25" fmla="*/ 24 h 30"/>
                <a:gd name="T26" fmla="*/ 4 w 422"/>
                <a:gd name="T27" fmla="*/ 26 h 30"/>
                <a:gd name="T28" fmla="*/ 7 w 422"/>
                <a:gd name="T29" fmla="*/ 27 h 30"/>
                <a:gd name="T30" fmla="*/ 10 w 422"/>
                <a:gd name="T31" fmla="*/ 29 h 30"/>
                <a:gd name="T32" fmla="*/ 12 w 422"/>
                <a:gd name="T33" fmla="*/ 29 h 30"/>
                <a:gd name="T34" fmla="*/ 15 w 422"/>
                <a:gd name="T35" fmla="*/ 30 h 30"/>
                <a:gd name="T36" fmla="*/ 407 w 422"/>
                <a:gd name="T37" fmla="*/ 30 h 30"/>
                <a:gd name="T38" fmla="*/ 410 w 422"/>
                <a:gd name="T39" fmla="*/ 29 h 30"/>
                <a:gd name="T40" fmla="*/ 413 w 422"/>
                <a:gd name="T41" fmla="*/ 29 h 30"/>
                <a:gd name="T42" fmla="*/ 415 w 422"/>
                <a:gd name="T43" fmla="*/ 27 h 30"/>
                <a:gd name="T44" fmla="*/ 417 w 422"/>
                <a:gd name="T45" fmla="*/ 26 h 30"/>
                <a:gd name="T46" fmla="*/ 419 w 422"/>
                <a:gd name="T47" fmla="*/ 24 h 30"/>
                <a:gd name="T48" fmla="*/ 421 w 422"/>
                <a:gd name="T49" fmla="*/ 20 h 30"/>
                <a:gd name="T50" fmla="*/ 422 w 422"/>
                <a:gd name="T51" fmla="*/ 18 h 30"/>
                <a:gd name="T52" fmla="*/ 422 w 422"/>
                <a:gd name="T53" fmla="*/ 15 h 30"/>
                <a:gd name="T54" fmla="*/ 422 w 422"/>
                <a:gd name="T55" fmla="*/ 12 h 30"/>
                <a:gd name="T56" fmla="*/ 421 w 422"/>
                <a:gd name="T57" fmla="*/ 9 h 30"/>
                <a:gd name="T58" fmla="*/ 419 w 422"/>
                <a:gd name="T59" fmla="*/ 7 h 30"/>
                <a:gd name="T60" fmla="*/ 417 w 422"/>
                <a:gd name="T61" fmla="*/ 4 h 30"/>
                <a:gd name="T62" fmla="*/ 415 w 422"/>
                <a:gd name="T63" fmla="*/ 2 h 30"/>
                <a:gd name="T64" fmla="*/ 413 w 422"/>
                <a:gd name="T65" fmla="*/ 1 h 30"/>
                <a:gd name="T66" fmla="*/ 410 w 422"/>
                <a:gd name="T67" fmla="*/ 0 h 30"/>
                <a:gd name="T68" fmla="*/ 407 w 42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2" h="30">
                  <a:moveTo>
                    <a:pt x="407" y="0"/>
                  </a:moveTo>
                  <a:lnTo>
                    <a:pt x="15" y="0"/>
                  </a:lnTo>
                  <a:lnTo>
                    <a:pt x="12" y="0"/>
                  </a:lnTo>
                  <a:lnTo>
                    <a:pt x="10" y="1"/>
                  </a:lnTo>
                  <a:lnTo>
                    <a:pt x="7" y="2"/>
                  </a:lnTo>
                  <a:lnTo>
                    <a:pt x="4" y="4"/>
                  </a:lnTo>
                  <a:lnTo>
                    <a:pt x="3" y="7"/>
                  </a:lnTo>
                  <a:lnTo>
                    <a:pt x="1" y="9"/>
                  </a:lnTo>
                  <a:lnTo>
                    <a:pt x="1" y="12"/>
                  </a:lnTo>
                  <a:lnTo>
                    <a:pt x="0" y="15"/>
                  </a:lnTo>
                  <a:lnTo>
                    <a:pt x="1" y="18"/>
                  </a:lnTo>
                  <a:lnTo>
                    <a:pt x="1" y="20"/>
                  </a:lnTo>
                  <a:lnTo>
                    <a:pt x="3" y="24"/>
                  </a:lnTo>
                  <a:lnTo>
                    <a:pt x="4" y="26"/>
                  </a:lnTo>
                  <a:lnTo>
                    <a:pt x="7" y="27"/>
                  </a:lnTo>
                  <a:lnTo>
                    <a:pt x="10" y="29"/>
                  </a:lnTo>
                  <a:lnTo>
                    <a:pt x="12" y="29"/>
                  </a:lnTo>
                  <a:lnTo>
                    <a:pt x="15" y="30"/>
                  </a:lnTo>
                  <a:lnTo>
                    <a:pt x="407" y="30"/>
                  </a:lnTo>
                  <a:lnTo>
                    <a:pt x="410" y="29"/>
                  </a:lnTo>
                  <a:lnTo>
                    <a:pt x="413" y="29"/>
                  </a:lnTo>
                  <a:lnTo>
                    <a:pt x="415" y="27"/>
                  </a:lnTo>
                  <a:lnTo>
                    <a:pt x="417" y="26"/>
                  </a:lnTo>
                  <a:lnTo>
                    <a:pt x="419" y="24"/>
                  </a:lnTo>
                  <a:lnTo>
                    <a:pt x="421" y="20"/>
                  </a:lnTo>
                  <a:lnTo>
                    <a:pt x="422" y="18"/>
                  </a:lnTo>
                  <a:lnTo>
                    <a:pt x="422" y="15"/>
                  </a:lnTo>
                  <a:lnTo>
                    <a:pt x="422" y="12"/>
                  </a:lnTo>
                  <a:lnTo>
                    <a:pt x="421" y="9"/>
                  </a:lnTo>
                  <a:lnTo>
                    <a:pt x="419" y="7"/>
                  </a:lnTo>
                  <a:lnTo>
                    <a:pt x="417" y="4"/>
                  </a:lnTo>
                  <a:lnTo>
                    <a:pt x="415" y="2"/>
                  </a:lnTo>
                  <a:lnTo>
                    <a:pt x="413" y="1"/>
                  </a:lnTo>
                  <a:lnTo>
                    <a:pt x="410" y="0"/>
                  </a:lnTo>
                  <a:lnTo>
                    <a:pt x="4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02" name="Freeform 296"/>
            <p:cNvSpPr>
              <a:spLocks/>
            </p:cNvSpPr>
            <p:nvPr/>
          </p:nvSpPr>
          <p:spPr bwMode="auto">
            <a:xfrm>
              <a:off x="11114088" y="990600"/>
              <a:ext cx="134938" cy="9525"/>
            </a:xfrm>
            <a:custGeom>
              <a:avLst/>
              <a:gdLst>
                <a:gd name="T0" fmla="*/ 407 w 422"/>
                <a:gd name="T1" fmla="*/ 0 h 30"/>
                <a:gd name="T2" fmla="*/ 15 w 422"/>
                <a:gd name="T3" fmla="*/ 0 h 30"/>
                <a:gd name="T4" fmla="*/ 12 w 422"/>
                <a:gd name="T5" fmla="*/ 0 h 30"/>
                <a:gd name="T6" fmla="*/ 10 w 422"/>
                <a:gd name="T7" fmla="*/ 1 h 30"/>
                <a:gd name="T8" fmla="*/ 7 w 422"/>
                <a:gd name="T9" fmla="*/ 2 h 30"/>
                <a:gd name="T10" fmla="*/ 4 w 422"/>
                <a:gd name="T11" fmla="*/ 5 h 30"/>
                <a:gd name="T12" fmla="*/ 3 w 422"/>
                <a:gd name="T13" fmla="*/ 7 h 30"/>
                <a:gd name="T14" fmla="*/ 1 w 422"/>
                <a:gd name="T15" fmla="*/ 9 h 30"/>
                <a:gd name="T16" fmla="*/ 1 w 422"/>
                <a:gd name="T17" fmla="*/ 12 h 30"/>
                <a:gd name="T18" fmla="*/ 0 w 422"/>
                <a:gd name="T19" fmla="*/ 15 h 30"/>
                <a:gd name="T20" fmla="*/ 1 w 422"/>
                <a:gd name="T21" fmla="*/ 18 h 30"/>
                <a:gd name="T22" fmla="*/ 1 w 422"/>
                <a:gd name="T23" fmla="*/ 21 h 30"/>
                <a:gd name="T24" fmla="*/ 3 w 422"/>
                <a:gd name="T25" fmla="*/ 24 h 30"/>
                <a:gd name="T26" fmla="*/ 4 w 422"/>
                <a:gd name="T27" fmla="*/ 26 h 30"/>
                <a:gd name="T28" fmla="*/ 7 w 422"/>
                <a:gd name="T29" fmla="*/ 28 h 30"/>
                <a:gd name="T30" fmla="*/ 10 w 422"/>
                <a:gd name="T31" fmla="*/ 29 h 30"/>
                <a:gd name="T32" fmla="*/ 12 w 422"/>
                <a:gd name="T33" fmla="*/ 30 h 30"/>
                <a:gd name="T34" fmla="*/ 15 w 422"/>
                <a:gd name="T35" fmla="*/ 30 h 30"/>
                <a:gd name="T36" fmla="*/ 407 w 422"/>
                <a:gd name="T37" fmla="*/ 30 h 30"/>
                <a:gd name="T38" fmla="*/ 410 w 422"/>
                <a:gd name="T39" fmla="*/ 30 h 30"/>
                <a:gd name="T40" fmla="*/ 413 w 422"/>
                <a:gd name="T41" fmla="*/ 29 h 30"/>
                <a:gd name="T42" fmla="*/ 415 w 422"/>
                <a:gd name="T43" fmla="*/ 28 h 30"/>
                <a:gd name="T44" fmla="*/ 417 w 422"/>
                <a:gd name="T45" fmla="*/ 26 h 30"/>
                <a:gd name="T46" fmla="*/ 419 w 422"/>
                <a:gd name="T47" fmla="*/ 24 h 30"/>
                <a:gd name="T48" fmla="*/ 421 w 422"/>
                <a:gd name="T49" fmla="*/ 21 h 30"/>
                <a:gd name="T50" fmla="*/ 422 w 422"/>
                <a:gd name="T51" fmla="*/ 18 h 30"/>
                <a:gd name="T52" fmla="*/ 422 w 422"/>
                <a:gd name="T53" fmla="*/ 15 h 30"/>
                <a:gd name="T54" fmla="*/ 422 w 422"/>
                <a:gd name="T55" fmla="*/ 12 h 30"/>
                <a:gd name="T56" fmla="*/ 421 w 422"/>
                <a:gd name="T57" fmla="*/ 9 h 30"/>
                <a:gd name="T58" fmla="*/ 419 w 422"/>
                <a:gd name="T59" fmla="*/ 7 h 30"/>
                <a:gd name="T60" fmla="*/ 417 w 422"/>
                <a:gd name="T61" fmla="*/ 5 h 30"/>
                <a:gd name="T62" fmla="*/ 415 w 422"/>
                <a:gd name="T63" fmla="*/ 2 h 30"/>
                <a:gd name="T64" fmla="*/ 413 w 422"/>
                <a:gd name="T65" fmla="*/ 1 h 30"/>
                <a:gd name="T66" fmla="*/ 410 w 422"/>
                <a:gd name="T67" fmla="*/ 0 h 30"/>
                <a:gd name="T68" fmla="*/ 407 w 42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2" h="30">
                  <a:moveTo>
                    <a:pt x="407" y="0"/>
                  </a:moveTo>
                  <a:lnTo>
                    <a:pt x="15" y="0"/>
                  </a:lnTo>
                  <a:lnTo>
                    <a:pt x="12" y="0"/>
                  </a:lnTo>
                  <a:lnTo>
                    <a:pt x="10" y="1"/>
                  </a:lnTo>
                  <a:lnTo>
                    <a:pt x="7" y="2"/>
                  </a:lnTo>
                  <a:lnTo>
                    <a:pt x="4" y="5"/>
                  </a:lnTo>
                  <a:lnTo>
                    <a:pt x="3" y="7"/>
                  </a:lnTo>
                  <a:lnTo>
                    <a:pt x="1" y="9"/>
                  </a:lnTo>
                  <a:lnTo>
                    <a:pt x="1" y="12"/>
                  </a:lnTo>
                  <a:lnTo>
                    <a:pt x="0" y="15"/>
                  </a:lnTo>
                  <a:lnTo>
                    <a:pt x="1" y="18"/>
                  </a:lnTo>
                  <a:lnTo>
                    <a:pt x="1" y="21"/>
                  </a:lnTo>
                  <a:lnTo>
                    <a:pt x="3" y="24"/>
                  </a:lnTo>
                  <a:lnTo>
                    <a:pt x="4" y="26"/>
                  </a:lnTo>
                  <a:lnTo>
                    <a:pt x="7" y="28"/>
                  </a:lnTo>
                  <a:lnTo>
                    <a:pt x="10" y="29"/>
                  </a:lnTo>
                  <a:lnTo>
                    <a:pt x="12" y="30"/>
                  </a:lnTo>
                  <a:lnTo>
                    <a:pt x="15" y="30"/>
                  </a:lnTo>
                  <a:lnTo>
                    <a:pt x="407" y="30"/>
                  </a:lnTo>
                  <a:lnTo>
                    <a:pt x="410" y="30"/>
                  </a:lnTo>
                  <a:lnTo>
                    <a:pt x="413" y="29"/>
                  </a:lnTo>
                  <a:lnTo>
                    <a:pt x="415" y="28"/>
                  </a:lnTo>
                  <a:lnTo>
                    <a:pt x="417" y="26"/>
                  </a:lnTo>
                  <a:lnTo>
                    <a:pt x="419" y="24"/>
                  </a:lnTo>
                  <a:lnTo>
                    <a:pt x="421" y="21"/>
                  </a:lnTo>
                  <a:lnTo>
                    <a:pt x="422" y="18"/>
                  </a:lnTo>
                  <a:lnTo>
                    <a:pt x="422" y="15"/>
                  </a:lnTo>
                  <a:lnTo>
                    <a:pt x="422" y="12"/>
                  </a:lnTo>
                  <a:lnTo>
                    <a:pt x="421" y="9"/>
                  </a:lnTo>
                  <a:lnTo>
                    <a:pt x="419" y="7"/>
                  </a:lnTo>
                  <a:lnTo>
                    <a:pt x="417" y="5"/>
                  </a:lnTo>
                  <a:lnTo>
                    <a:pt x="415" y="2"/>
                  </a:lnTo>
                  <a:lnTo>
                    <a:pt x="413" y="1"/>
                  </a:lnTo>
                  <a:lnTo>
                    <a:pt x="410" y="0"/>
                  </a:lnTo>
                  <a:lnTo>
                    <a:pt x="4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03" name="Freeform 297"/>
            <p:cNvSpPr>
              <a:spLocks/>
            </p:cNvSpPr>
            <p:nvPr/>
          </p:nvSpPr>
          <p:spPr bwMode="auto">
            <a:xfrm>
              <a:off x="11114088" y="1019175"/>
              <a:ext cx="134938" cy="9525"/>
            </a:xfrm>
            <a:custGeom>
              <a:avLst/>
              <a:gdLst>
                <a:gd name="T0" fmla="*/ 407 w 422"/>
                <a:gd name="T1" fmla="*/ 0 h 30"/>
                <a:gd name="T2" fmla="*/ 15 w 422"/>
                <a:gd name="T3" fmla="*/ 0 h 30"/>
                <a:gd name="T4" fmla="*/ 12 w 422"/>
                <a:gd name="T5" fmla="*/ 0 h 30"/>
                <a:gd name="T6" fmla="*/ 10 w 422"/>
                <a:gd name="T7" fmla="*/ 1 h 30"/>
                <a:gd name="T8" fmla="*/ 7 w 422"/>
                <a:gd name="T9" fmla="*/ 3 h 30"/>
                <a:gd name="T10" fmla="*/ 4 w 422"/>
                <a:gd name="T11" fmla="*/ 5 h 30"/>
                <a:gd name="T12" fmla="*/ 3 w 422"/>
                <a:gd name="T13" fmla="*/ 7 h 30"/>
                <a:gd name="T14" fmla="*/ 1 w 422"/>
                <a:gd name="T15" fmla="*/ 10 h 30"/>
                <a:gd name="T16" fmla="*/ 1 w 422"/>
                <a:gd name="T17" fmla="*/ 12 h 30"/>
                <a:gd name="T18" fmla="*/ 0 w 422"/>
                <a:gd name="T19" fmla="*/ 15 h 30"/>
                <a:gd name="T20" fmla="*/ 1 w 422"/>
                <a:gd name="T21" fmla="*/ 19 h 30"/>
                <a:gd name="T22" fmla="*/ 1 w 422"/>
                <a:gd name="T23" fmla="*/ 22 h 30"/>
                <a:gd name="T24" fmla="*/ 3 w 422"/>
                <a:gd name="T25" fmla="*/ 24 h 30"/>
                <a:gd name="T26" fmla="*/ 4 w 422"/>
                <a:gd name="T27" fmla="*/ 26 h 30"/>
                <a:gd name="T28" fmla="*/ 7 w 422"/>
                <a:gd name="T29" fmla="*/ 28 h 30"/>
                <a:gd name="T30" fmla="*/ 10 w 422"/>
                <a:gd name="T31" fmla="*/ 29 h 30"/>
                <a:gd name="T32" fmla="*/ 12 w 422"/>
                <a:gd name="T33" fmla="*/ 30 h 30"/>
                <a:gd name="T34" fmla="*/ 15 w 422"/>
                <a:gd name="T35" fmla="*/ 30 h 30"/>
                <a:gd name="T36" fmla="*/ 407 w 422"/>
                <a:gd name="T37" fmla="*/ 30 h 30"/>
                <a:gd name="T38" fmla="*/ 410 w 422"/>
                <a:gd name="T39" fmla="*/ 30 h 30"/>
                <a:gd name="T40" fmla="*/ 413 w 422"/>
                <a:gd name="T41" fmla="*/ 29 h 30"/>
                <a:gd name="T42" fmla="*/ 415 w 422"/>
                <a:gd name="T43" fmla="*/ 28 h 30"/>
                <a:gd name="T44" fmla="*/ 417 w 422"/>
                <a:gd name="T45" fmla="*/ 26 h 30"/>
                <a:gd name="T46" fmla="*/ 419 w 422"/>
                <a:gd name="T47" fmla="*/ 24 h 30"/>
                <a:gd name="T48" fmla="*/ 421 w 422"/>
                <a:gd name="T49" fmla="*/ 22 h 30"/>
                <a:gd name="T50" fmla="*/ 422 w 422"/>
                <a:gd name="T51" fmla="*/ 19 h 30"/>
                <a:gd name="T52" fmla="*/ 422 w 422"/>
                <a:gd name="T53" fmla="*/ 15 h 30"/>
                <a:gd name="T54" fmla="*/ 422 w 422"/>
                <a:gd name="T55" fmla="*/ 12 h 30"/>
                <a:gd name="T56" fmla="*/ 421 w 422"/>
                <a:gd name="T57" fmla="*/ 10 h 30"/>
                <a:gd name="T58" fmla="*/ 419 w 422"/>
                <a:gd name="T59" fmla="*/ 7 h 30"/>
                <a:gd name="T60" fmla="*/ 417 w 422"/>
                <a:gd name="T61" fmla="*/ 5 h 30"/>
                <a:gd name="T62" fmla="*/ 415 w 422"/>
                <a:gd name="T63" fmla="*/ 3 h 30"/>
                <a:gd name="T64" fmla="*/ 413 w 422"/>
                <a:gd name="T65" fmla="*/ 1 h 30"/>
                <a:gd name="T66" fmla="*/ 410 w 422"/>
                <a:gd name="T67" fmla="*/ 0 h 30"/>
                <a:gd name="T68" fmla="*/ 407 w 422"/>
                <a:gd name="T69" fmla="*/ 0 h 30"/>
                <a:gd name="T70" fmla="*/ 407 w 422"/>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30">
                  <a:moveTo>
                    <a:pt x="407" y="0"/>
                  </a:moveTo>
                  <a:lnTo>
                    <a:pt x="15" y="0"/>
                  </a:lnTo>
                  <a:lnTo>
                    <a:pt x="12" y="0"/>
                  </a:lnTo>
                  <a:lnTo>
                    <a:pt x="10" y="1"/>
                  </a:lnTo>
                  <a:lnTo>
                    <a:pt x="7" y="3"/>
                  </a:lnTo>
                  <a:lnTo>
                    <a:pt x="4" y="5"/>
                  </a:lnTo>
                  <a:lnTo>
                    <a:pt x="3" y="7"/>
                  </a:lnTo>
                  <a:lnTo>
                    <a:pt x="1" y="10"/>
                  </a:lnTo>
                  <a:lnTo>
                    <a:pt x="1" y="12"/>
                  </a:lnTo>
                  <a:lnTo>
                    <a:pt x="0" y="15"/>
                  </a:lnTo>
                  <a:lnTo>
                    <a:pt x="1" y="19"/>
                  </a:lnTo>
                  <a:lnTo>
                    <a:pt x="1" y="22"/>
                  </a:lnTo>
                  <a:lnTo>
                    <a:pt x="3" y="24"/>
                  </a:lnTo>
                  <a:lnTo>
                    <a:pt x="4" y="26"/>
                  </a:lnTo>
                  <a:lnTo>
                    <a:pt x="7" y="28"/>
                  </a:lnTo>
                  <a:lnTo>
                    <a:pt x="10" y="29"/>
                  </a:lnTo>
                  <a:lnTo>
                    <a:pt x="12" y="30"/>
                  </a:lnTo>
                  <a:lnTo>
                    <a:pt x="15" y="30"/>
                  </a:lnTo>
                  <a:lnTo>
                    <a:pt x="407" y="30"/>
                  </a:lnTo>
                  <a:lnTo>
                    <a:pt x="410" y="30"/>
                  </a:lnTo>
                  <a:lnTo>
                    <a:pt x="413" y="29"/>
                  </a:lnTo>
                  <a:lnTo>
                    <a:pt x="415" y="28"/>
                  </a:lnTo>
                  <a:lnTo>
                    <a:pt x="417" y="26"/>
                  </a:lnTo>
                  <a:lnTo>
                    <a:pt x="419" y="24"/>
                  </a:lnTo>
                  <a:lnTo>
                    <a:pt x="421" y="22"/>
                  </a:lnTo>
                  <a:lnTo>
                    <a:pt x="422" y="19"/>
                  </a:lnTo>
                  <a:lnTo>
                    <a:pt x="422" y="15"/>
                  </a:lnTo>
                  <a:lnTo>
                    <a:pt x="422" y="12"/>
                  </a:lnTo>
                  <a:lnTo>
                    <a:pt x="421" y="10"/>
                  </a:lnTo>
                  <a:lnTo>
                    <a:pt x="419" y="7"/>
                  </a:lnTo>
                  <a:lnTo>
                    <a:pt x="417" y="5"/>
                  </a:lnTo>
                  <a:lnTo>
                    <a:pt x="415" y="3"/>
                  </a:lnTo>
                  <a:lnTo>
                    <a:pt x="413" y="1"/>
                  </a:lnTo>
                  <a:lnTo>
                    <a:pt x="410" y="0"/>
                  </a:lnTo>
                  <a:lnTo>
                    <a:pt x="407" y="0"/>
                  </a:lnTo>
                  <a:lnTo>
                    <a:pt x="4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204" name="Group 203"/>
          <p:cNvGrpSpPr/>
          <p:nvPr/>
        </p:nvGrpSpPr>
        <p:grpSpPr>
          <a:xfrm>
            <a:off x="11749093" y="2866014"/>
            <a:ext cx="660508" cy="660506"/>
            <a:chOff x="7023101" y="1917700"/>
            <a:chExt cx="287338" cy="287337"/>
          </a:xfrm>
          <a:solidFill>
            <a:schemeClr val="accent3"/>
          </a:solidFill>
        </p:grpSpPr>
        <p:sp>
          <p:nvSpPr>
            <p:cNvPr id="205" name="Freeform 274"/>
            <p:cNvSpPr>
              <a:spLocks noEditPoints="1"/>
            </p:cNvSpPr>
            <p:nvPr/>
          </p:nvSpPr>
          <p:spPr bwMode="auto">
            <a:xfrm>
              <a:off x="7023101" y="1917700"/>
              <a:ext cx="287338" cy="287337"/>
            </a:xfrm>
            <a:custGeom>
              <a:avLst/>
              <a:gdLst>
                <a:gd name="T0" fmla="*/ 813 w 903"/>
                <a:gd name="T1" fmla="*/ 795 h 903"/>
                <a:gd name="T2" fmla="*/ 807 w 903"/>
                <a:gd name="T3" fmla="*/ 785 h 903"/>
                <a:gd name="T4" fmla="*/ 738 w 903"/>
                <a:gd name="T5" fmla="*/ 782 h 903"/>
                <a:gd name="T6" fmla="*/ 727 w 903"/>
                <a:gd name="T7" fmla="*/ 787 h 903"/>
                <a:gd name="T8" fmla="*/ 723 w 903"/>
                <a:gd name="T9" fmla="*/ 798 h 903"/>
                <a:gd name="T10" fmla="*/ 678 w 903"/>
                <a:gd name="T11" fmla="*/ 391 h 903"/>
                <a:gd name="T12" fmla="*/ 753 w 903"/>
                <a:gd name="T13" fmla="*/ 873 h 903"/>
                <a:gd name="T14" fmla="*/ 753 w 903"/>
                <a:gd name="T15" fmla="*/ 873 h 903"/>
                <a:gd name="T16" fmla="*/ 181 w 903"/>
                <a:gd name="T17" fmla="*/ 873 h 903"/>
                <a:gd name="T18" fmla="*/ 286 w 903"/>
                <a:gd name="T19" fmla="*/ 300 h 903"/>
                <a:gd name="T20" fmla="*/ 211 w 903"/>
                <a:gd name="T21" fmla="*/ 797 h 903"/>
                <a:gd name="T22" fmla="*/ 207 w 903"/>
                <a:gd name="T23" fmla="*/ 787 h 903"/>
                <a:gd name="T24" fmla="*/ 196 w 903"/>
                <a:gd name="T25" fmla="*/ 783 h 903"/>
                <a:gd name="T26" fmla="*/ 128 w 903"/>
                <a:gd name="T27" fmla="*/ 785 h 903"/>
                <a:gd name="T28" fmla="*/ 121 w 903"/>
                <a:gd name="T29" fmla="*/ 795 h 903"/>
                <a:gd name="T30" fmla="*/ 30 w 903"/>
                <a:gd name="T31" fmla="*/ 300 h 903"/>
                <a:gd name="T32" fmla="*/ 90 w 903"/>
                <a:gd name="T33" fmla="*/ 270 h 903"/>
                <a:gd name="T34" fmla="*/ 362 w 903"/>
                <a:gd name="T35" fmla="*/ 873 h 903"/>
                <a:gd name="T36" fmla="*/ 813 w 903"/>
                <a:gd name="T37" fmla="*/ 300 h 903"/>
                <a:gd name="T38" fmla="*/ 888 w 903"/>
                <a:gd name="T39" fmla="*/ 361 h 903"/>
                <a:gd name="T40" fmla="*/ 842 w 903"/>
                <a:gd name="T41" fmla="*/ 280 h 903"/>
                <a:gd name="T42" fmla="*/ 834 w 903"/>
                <a:gd name="T43" fmla="*/ 271 h 903"/>
                <a:gd name="T44" fmla="*/ 675 w 903"/>
                <a:gd name="T45" fmla="*/ 271 h 903"/>
                <a:gd name="T46" fmla="*/ 665 w 903"/>
                <a:gd name="T47" fmla="*/ 278 h 903"/>
                <a:gd name="T48" fmla="*/ 663 w 903"/>
                <a:gd name="T49" fmla="*/ 361 h 903"/>
                <a:gd name="T50" fmla="*/ 609 w 903"/>
                <a:gd name="T51" fmla="*/ 364 h 903"/>
                <a:gd name="T52" fmla="*/ 603 w 903"/>
                <a:gd name="T53" fmla="*/ 373 h 903"/>
                <a:gd name="T54" fmla="*/ 362 w 903"/>
                <a:gd name="T55" fmla="*/ 285 h 903"/>
                <a:gd name="T56" fmla="*/ 357 w 903"/>
                <a:gd name="T57" fmla="*/ 274 h 903"/>
                <a:gd name="T58" fmla="*/ 347 w 903"/>
                <a:gd name="T59" fmla="*/ 270 h 903"/>
                <a:gd name="T60" fmla="*/ 300 w 903"/>
                <a:gd name="T61" fmla="*/ 160 h 903"/>
                <a:gd name="T62" fmla="*/ 292 w 903"/>
                <a:gd name="T63" fmla="*/ 151 h 903"/>
                <a:gd name="T64" fmla="*/ 181 w 903"/>
                <a:gd name="T65" fmla="*/ 15 h 903"/>
                <a:gd name="T66" fmla="*/ 177 w 903"/>
                <a:gd name="T67" fmla="*/ 4 h 903"/>
                <a:gd name="T68" fmla="*/ 166 w 903"/>
                <a:gd name="T69" fmla="*/ 0 h 903"/>
                <a:gd name="T70" fmla="*/ 156 w 903"/>
                <a:gd name="T71" fmla="*/ 4 h 903"/>
                <a:gd name="T72" fmla="*/ 151 w 903"/>
                <a:gd name="T73" fmla="*/ 15 h 903"/>
                <a:gd name="T74" fmla="*/ 70 w 903"/>
                <a:gd name="T75" fmla="*/ 151 h 903"/>
                <a:gd name="T76" fmla="*/ 61 w 903"/>
                <a:gd name="T77" fmla="*/ 160 h 903"/>
                <a:gd name="T78" fmla="*/ 15 w 903"/>
                <a:gd name="T79" fmla="*/ 270 h 903"/>
                <a:gd name="T80" fmla="*/ 4 w 903"/>
                <a:gd name="T81" fmla="*/ 274 h 903"/>
                <a:gd name="T82" fmla="*/ 0 w 903"/>
                <a:gd name="T83" fmla="*/ 285 h 903"/>
                <a:gd name="T84" fmla="*/ 3 w 903"/>
                <a:gd name="T85" fmla="*/ 897 h 903"/>
                <a:gd name="T86" fmla="*/ 12 w 903"/>
                <a:gd name="T87" fmla="*/ 903 h 903"/>
                <a:gd name="T88" fmla="*/ 347 w 903"/>
                <a:gd name="T89" fmla="*/ 903 h 903"/>
                <a:gd name="T90" fmla="*/ 888 w 903"/>
                <a:gd name="T91" fmla="*/ 903 h 903"/>
                <a:gd name="T92" fmla="*/ 899 w 903"/>
                <a:gd name="T93" fmla="*/ 899 h 903"/>
                <a:gd name="T94" fmla="*/ 903 w 903"/>
                <a:gd name="T95" fmla="*/ 888 h 903"/>
                <a:gd name="T96" fmla="*/ 901 w 903"/>
                <a:gd name="T97" fmla="*/ 368 h 903"/>
                <a:gd name="T98" fmla="*/ 891 w 903"/>
                <a:gd name="T99" fmla="*/ 361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3" h="903">
                  <a:moveTo>
                    <a:pt x="873" y="873"/>
                  </a:moveTo>
                  <a:lnTo>
                    <a:pt x="813" y="873"/>
                  </a:lnTo>
                  <a:lnTo>
                    <a:pt x="813" y="797"/>
                  </a:lnTo>
                  <a:lnTo>
                    <a:pt x="813" y="795"/>
                  </a:lnTo>
                  <a:lnTo>
                    <a:pt x="812" y="792"/>
                  </a:lnTo>
                  <a:lnTo>
                    <a:pt x="811" y="789"/>
                  </a:lnTo>
                  <a:lnTo>
                    <a:pt x="809" y="787"/>
                  </a:lnTo>
                  <a:lnTo>
                    <a:pt x="807" y="785"/>
                  </a:lnTo>
                  <a:lnTo>
                    <a:pt x="804" y="784"/>
                  </a:lnTo>
                  <a:lnTo>
                    <a:pt x="801" y="783"/>
                  </a:lnTo>
                  <a:lnTo>
                    <a:pt x="798" y="783"/>
                  </a:lnTo>
                  <a:lnTo>
                    <a:pt x="738" y="782"/>
                  </a:lnTo>
                  <a:lnTo>
                    <a:pt x="735" y="783"/>
                  </a:lnTo>
                  <a:lnTo>
                    <a:pt x="733" y="784"/>
                  </a:lnTo>
                  <a:lnTo>
                    <a:pt x="729" y="785"/>
                  </a:lnTo>
                  <a:lnTo>
                    <a:pt x="727" y="787"/>
                  </a:lnTo>
                  <a:lnTo>
                    <a:pt x="725" y="789"/>
                  </a:lnTo>
                  <a:lnTo>
                    <a:pt x="724" y="792"/>
                  </a:lnTo>
                  <a:lnTo>
                    <a:pt x="723" y="795"/>
                  </a:lnTo>
                  <a:lnTo>
                    <a:pt x="723" y="798"/>
                  </a:lnTo>
                  <a:lnTo>
                    <a:pt x="723" y="873"/>
                  </a:lnTo>
                  <a:lnTo>
                    <a:pt x="633" y="873"/>
                  </a:lnTo>
                  <a:lnTo>
                    <a:pt x="633" y="391"/>
                  </a:lnTo>
                  <a:lnTo>
                    <a:pt x="678" y="391"/>
                  </a:lnTo>
                  <a:lnTo>
                    <a:pt x="828" y="391"/>
                  </a:lnTo>
                  <a:lnTo>
                    <a:pt x="873" y="391"/>
                  </a:lnTo>
                  <a:lnTo>
                    <a:pt x="873" y="873"/>
                  </a:lnTo>
                  <a:close/>
                  <a:moveTo>
                    <a:pt x="753" y="873"/>
                  </a:moveTo>
                  <a:lnTo>
                    <a:pt x="753" y="813"/>
                  </a:lnTo>
                  <a:lnTo>
                    <a:pt x="783" y="813"/>
                  </a:lnTo>
                  <a:lnTo>
                    <a:pt x="783" y="873"/>
                  </a:lnTo>
                  <a:lnTo>
                    <a:pt x="753" y="873"/>
                  </a:lnTo>
                  <a:close/>
                  <a:moveTo>
                    <a:pt x="151" y="873"/>
                  </a:moveTo>
                  <a:lnTo>
                    <a:pt x="151" y="813"/>
                  </a:lnTo>
                  <a:lnTo>
                    <a:pt x="181" y="813"/>
                  </a:lnTo>
                  <a:lnTo>
                    <a:pt x="181" y="873"/>
                  </a:lnTo>
                  <a:lnTo>
                    <a:pt x="151" y="873"/>
                  </a:lnTo>
                  <a:close/>
                  <a:moveTo>
                    <a:pt x="30" y="300"/>
                  </a:moveTo>
                  <a:lnTo>
                    <a:pt x="75" y="300"/>
                  </a:lnTo>
                  <a:lnTo>
                    <a:pt x="286" y="300"/>
                  </a:lnTo>
                  <a:lnTo>
                    <a:pt x="331" y="300"/>
                  </a:lnTo>
                  <a:lnTo>
                    <a:pt x="331" y="873"/>
                  </a:lnTo>
                  <a:lnTo>
                    <a:pt x="211" y="873"/>
                  </a:lnTo>
                  <a:lnTo>
                    <a:pt x="211" y="797"/>
                  </a:lnTo>
                  <a:lnTo>
                    <a:pt x="210" y="795"/>
                  </a:lnTo>
                  <a:lnTo>
                    <a:pt x="210" y="792"/>
                  </a:lnTo>
                  <a:lnTo>
                    <a:pt x="208" y="789"/>
                  </a:lnTo>
                  <a:lnTo>
                    <a:pt x="207" y="787"/>
                  </a:lnTo>
                  <a:lnTo>
                    <a:pt x="205" y="785"/>
                  </a:lnTo>
                  <a:lnTo>
                    <a:pt x="202" y="784"/>
                  </a:lnTo>
                  <a:lnTo>
                    <a:pt x="200" y="783"/>
                  </a:lnTo>
                  <a:lnTo>
                    <a:pt x="196" y="783"/>
                  </a:lnTo>
                  <a:lnTo>
                    <a:pt x="136" y="782"/>
                  </a:lnTo>
                  <a:lnTo>
                    <a:pt x="133" y="783"/>
                  </a:lnTo>
                  <a:lnTo>
                    <a:pt x="130" y="784"/>
                  </a:lnTo>
                  <a:lnTo>
                    <a:pt x="128" y="785"/>
                  </a:lnTo>
                  <a:lnTo>
                    <a:pt x="126" y="787"/>
                  </a:lnTo>
                  <a:lnTo>
                    <a:pt x="123" y="789"/>
                  </a:lnTo>
                  <a:lnTo>
                    <a:pt x="122" y="792"/>
                  </a:lnTo>
                  <a:lnTo>
                    <a:pt x="121" y="795"/>
                  </a:lnTo>
                  <a:lnTo>
                    <a:pt x="121" y="798"/>
                  </a:lnTo>
                  <a:lnTo>
                    <a:pt x="121" y="873"/>
                  </a:lnTo>
                  <a:lnTo>
                    <a:pt x="30" y="873"/>
                  </a:lnTo>
                  <a:lnTo>
                    <a:pt x="30" y="300"/>
                  </a:lnTo>
                  <a:close/>
                  <a:moveTo>
                    <a:pt x="90" y="180"/>
                  </a:moveTo>
                  <a:lnTo>
                    <a:pt x="271" y="180"/>
                  </a:lnTo>
                  <a:lnTo>
                    <a:pt x="271" y="270"/>
                  </a:lnTo>
                  <a:lnTo>
                    <a:pt x="90" y="270"/>
                  </a:lnTo>
                  <a:lnTo>
                    <a:pt x="90" y="180"/>
                  </a:lnTo>
                  <a:close/>
                  <a:moveTo>
                    <a:pt x="603" y="542"/>
                  </a:moveTo>
                  <a:lnTo>
                    <a:pt x="603" y="873"/>
                  </a:lnTo>
                  <a:lnTo>
                    <a:pt x="362" y="873"/>
                  </a:lnTo>
                  <a:lnTo>
                    <a:pt x="362" y="542"/>
                  </a:lnTo>
                  <a:lnTo>
                    <a:pt x="603" y="542"/>
                  </a:lnTo>
                  <a:close/>
                  <a:moveTo>
                    <a:pt x="693" y="300"/>
                  </a:moveTo>
                  <a:lnTo>
                    <a:pt x="813" y="300"/>
                  </a:lnTo>
                  <a:lnTo>
                    <a:pt x="813" y="361"/>
                  </a:lnTo>
                  <a:lnTo>
                    <a:pt x="693" y="361"/>
                  </a:lnTo>
                  <a:lnTo>
                    <a:pt x="693" y="300"/>
                  </a:lnTo>
                  <a:close/>
                  <a:moveTo>
                    <a:pt x="888" y="361"/>
                  </a:moveTo>
                  <a:lnTo>
                    <a:pt x="843" y="361"/>
                  </a:lnTo>
                  <a:lnTo>
                    <a:pt x="843" y="285"/>
                  </a:lnTo>
                  <a:lnTo>
                    <a:pt x="843" y="282"/>
                  </a:lnTo>
                  <a:lnTo>
                    <a:pt x="842" y="280"/>
                  </a:lnTo>
                  <a:lnTo>
                    <a:pt x="841" y="277"/>
                  </a:lnTo>
                  <a:lnTo>
                    <a:pt x="839" y="274"/>
                  </a:lnTo>
                  <a:lnTo>
                    <a:pt x="837" y="273"/>
                  </a:lnTo>
                  <a:lnTo>
                    <a:pt x="834" y="271"/>
                  </a:lnTo>
                  <a:lnTo>
                    <a:pt x="831" y="271"/>
                  </a:lnTo>
                  <a:lnTo>
                    <a:pt x="828" y="270"/>
                  </a:lnTo>
                  <a:lnTo>
                    <a:pt x="678" y="270"/>
                  </a:lnTo>
                  <a:lnTo>
                    <a:pt x="675" y="271"/>
                  </a:lnTo>
                  <a:lnTo>
                    <a:pt x="671" y="271"/>
                  </a:lnTo>
                  <a:lnTo>
                    <a:pt x="669" y="273"/>
                  </a:lnTo>
                  <a:lnTo>
                    <a:pt x="667" y="274"/>
                  </a:lnTo>
                  <a:lnTo>
                    <a:pt x="665" y="278"/>
                  </a:lnTo>
                  <a:lnTo>
                    <a:pt x="664" y="280"/>
                  </a:lnTo>
                  <a:lnTo>
                    <a:pt x="663" y="283"/>
                  </a:lnTo>
                  <a:lnTo>
                    <a:pt x="663" y="285"/>
                  </a:lnTo>
                  <a:lnTo>
                    <a:pt x="663" y="361"/>
                  </a:lnTo>
                  <a:lnTo>
                    <a:pt x="618" y="361"/>
                  </a:lnTo>
                  <a:lnTo>
                    <a:pt x="615" y="361"/>
                  </a:lnTo>
                  <a:lnTo>
                    <a:pt x="611" y="362"/>
                  </a:lnTo>
                  <a:lnTo>
                    <a:pt x="609" y="364"/>
                  </a:lnTo>
                  <a:lnTo>
                    <a:pt x="607" y="366"/>
                  </a:lnTo>
                  <a:lnTo>
                    <a:pt x="605" y="368"/>
                  </a:lnTo>
                  <a:lnTo>
                    <a:pt x="604" y="370"/>
                  </a:lnTo>
                  <a:lnTo>
                    <a:pt x="603" y="373"/>
                  </a:lnTo>
                  <a:lnTo>
                    <a:pt x="603" y="376"/>
                  </a:lnTo>
                  <a:lnTo>
                    <a:pt x="603" y="512"/>
                  </a:lnTo>
                  <a:lnTo>
                    <a:pt x="362" y="512"/>
                  </a:lnTo>
                  <a:lnTo>
                    <a:pt x="362" y="285"/>
                  </a:lnTo>
                  <a:lnTo>
                    <a:pt x="362" y="282"/>
                  </a:lnTo>
                  <a:lnTo>
                    <a:pt x="360" y="280"/>
                  </a:lnTo>
                  <a:lnTo>
                    <a:pt x="359" y="277"/>
                  </a:lnTo>
                  <a:lnTo>
                    <a:pt x="357" y="274"/>
                  </a:lnTo>
                  <a:lnTo>
                    <a:pt x="355" y="273"/>
                  </a:lnTo>
                  <a:lnTo>
                    <a:pt x="352" y="271"/>
                  </a:lnTo>
                  <a:lnTo>
                    <a:pt x="350" y="271"/>
                  </a:lnTo>
                  <a:lnTo>
                    <a:pt x="347" y="270"/>
                  </a:lnTo>
                  <a:lnTo>
                    <a:pt x="301" y="270"/>
                  </a:lnTo>
                  <a:lnTo>
                    <a:pt x="301" y="165"/>
                  </a:lnTo>
                  <a:lnTo>
                    <a:pt x="301" y="162"/>
                  </a:lnTo>
                  <a:lnTo>
                    <a:pt x="300" y="160"/>
                  </a:lnTo>
                  <a:lnTo>
                    <a:pt x="299" y="156"/>
                  </a:lnTo>
                  <a:lnTo>
                    <a:pt x="297" y="154"/>
                  </a:lnTo>
                  <a:lnTo>
                    <a:pt x="295" y="152"/>
                  </a:lnTo>
                  <a:lnTo>
                    <a:pt x="292" y="151"/>
                  </a:lnTo>
                  <a:lnTo>
                    <a:pt x="290" y="150"/>
                  </a:lnTo>
                  <a:lnTo>
                    <a:pt x="286" y="150"/>
                  </a:lnTo>
                  <a:lnTo>
                    <a:pt x="181" y="150"/>
                  </a:lnTo>
                  <a:lnTo>
                    <a:pt x="181" y="15"/>
                  </a:lnTo>
                  <a:lnTo>
                    <a:pt x="180" y="12"/>
                  </a:lnTo>
                  <a:lnTo>
                    <a:pt x="180" y="8"/>
                  </a:lnTo>
                  <a:lnTo>
                    <a:pt x="178" y="6"/>
                  </a:lnTo>
                  <a:lnTo>
                    <a:pt x="177" y="4"/>
                  </a:lnTo>
                  <a:lnTo>
                    <a:pt x="174" y="2"/>
                  </a:lnTo>
                  <a:lnTo>
                    <a:pt x="172" y="1"/>
                  </a:lnTo>
                  <a:lnTo>
                    <a:pt x="168" y="0"/>
                  </a:lnTo>
                  <a:lnTo>
                    <a:pt x="166" y="0"/>
                  </a:lnTo>
                  <a:lnTo>
                    <a:pt x="163" y="0"/>
                  </a:lnTo>
                  <a:lnTo>
                    <a:pt x="160" y="1"/>
                  </a:lnTo>
                  <a:lnTo>
                    <a:pt x="158" y="2"/>
                  </a:lnTo>
                  <a:lnTo>
                    <a:pt x="156" y="4"/>
                  </a:lnTo>
                  <a:lnTo>
                    <a:pt x="153" y="6"/>
                  </a:lnTo>
                  <a:lnTo>
                    <a:pt x="152" y="8"/>
                  </a:lnTo>
                  <a:lnTo>
                    <a:pt x="151" y="12"/>
                  </a:lnTo>
                  <a:lnTo>
                    <a:pt x="151" y="15"/>
                  </a:lnTo>
                  <a:lnTo>
                    <a:pt x="151" y="150"/>
                  </a:lnTo>
                  <a:lnTo>
                    <a:pt x="75" y="150"/>
                  </a:lnTo>
                  <a:lnTo>
                    <a:pt x="73" y="150"/>
                  </a:lnTo>
                  <a:lnTo>
                    <a:pt x="70" y="151"/>
                  </a:lnTo>
                  <a:lnTo>
                    <a:pt x="68" y="152"/>
                  </a:lnTo>
                  <a:lnTo>
                    <a:pt x="64" y="154"/>
                  </a:lnTo>
                  <a:lnTo>
                    <a:pt x="63" y="156"/>
                  </a:lnTo>
                  <a:lnTo>
                    <a:pt x="61" y="160"/>
                  </a:lnTo>
                  <a:lnTo>
                    <a:pt x="61" y="162"/>
                  </a:lnTo>
                  <a:lnTo>
                    <a:pt x="60" y="165"/>
                  </a:lnTo>
                  <a:lnTo>
                    <a:pt x="60" y="270"/>
                  </a:lnTo>
                  <a:lnTo>
                    <a:pt x="15" y="270"/>
                  </a:lnTo>
                  <a:lnTo>
                    <a:pt x="12" y="271"/>
                  </a:lnTo>
                  <a:lnTo>
                    <a:pt x="10" y="271"/>
                  </a:lnTo>
                  <a:lnTo>
                    <a:pt x="7" y="273"/>
                  </a:lnTo>
                  <a:lnTo>
                    <a:pt x="4" y="274"/>
                  </a:lnTo>
                  <a:lnTo>
                    <a:pt x="3" y="278"/>
                  </a:lnTo>
                  <a:lnTo>
                    <a:pt x="1" y="280"/>
                  </a:lnTo>
                  <a:lnTo>
                    <a:pt x="1" y="283"/>
                  </a:lnTo>
                  <a:lnTo>
                    <a:pt x="0" y="285"/>
                  </a:lnTo>
                  <a:lnTo>
                    <a:pt x="0" y="888"/>
                  </a:lnTo>
                  <a:lnTo>
                    <a:pt x="1" y="891"/>
                  </a:lnTo>
                  <a:lnTo>
                    <a:pt x="1" y="894"/>
                  </a:lnTo>
                  <a:lnTo>
                    <a:pt x="3" y="897"/>
                  </a:lnTo>
                  <a:lnTo>
                    <a:pt x="4" y="899"/>
                  </a:lnTo>
                  <a:lnTo>
                    <a:pt x="7" y="900"/>
                  </a:lnTo>
                  <a:lnTo>
                    <a:pt x="10" y="902"/>
                  </a:lnTo>
                  <a:lnTo>
                    <a:pt x="12" y="903"/>
                  </a:lnTo>
                  <a:lnTo>
                    <a:pt x="15" y="903"/>
                  </a:lnTo>
                  <a:lnTo>
                    <a:pt x="136" y="903"/>
                  </a:lnTo>
                  <a:lnTo>
                    <a:pt x="196" y="903"/>
                  </a:lnTo>
                  <a:lnTo>
                    <a:pt x="347" y="903"/>
                  </a:lnTo>
                  <a:lnTo>
                    <a:pt x="618" y="903"/>
                  </a:lnTo>
                  <a:lnTo>
                    <a:pt x="738" y="903"/>
                  </a:lnTo>
                  <a:lnTo>
                    <a:pt x="798" y="903"/>
                  </a:lnTo>
                  <a:lnTo>
                    <a:pt x="888" y="903"/>
                  </a:lnTo>
                  <a:lnTo>
                    <a:pt x="891" y="902"/>
                  </a:lnTo>
                  <a:lnTo>
                    <a:pt x="895" y="902"/>
                  </a:lnTo>
                  <a:lnTo>
                    <a:pt x="897" y="900"/>
                  </a:lnTo>
                  <a:lnTo>
                    <a:pt x="899" y="899"/>
                  </a:lnTo>
                  <a:lnTo>
                    <a:pt x="901" y="897"/>
                  </a:lnTo>
                  <a:lnTo>
                    <a:pt x="902" y="894"/>
                  </a:lnTo>
                  <a:lnTo>
                    <a:pt x="903" y="891"/>
                  </a:lnTo>
                  <a:lnTo>
                    <a:pt x="903" y="888"/>
                  </a:lnTo>
                  <a:lnTo>
                    <a:pt x="903" y="376"/>
                  </a:lnTo>
                  <a:lnTo>
                    <a:pt x="903" y="373"/>
                  </a:lnTo>
                  <a:lnTo>
                    <a:pt x="902" y="370"/>
                  </a:lnTo>
                  <a:lnTo>
                    <a:pt x="901" y="368"/>
                  </a:lnTo>
                  <a:lnTo>
                    <a:pt x="899" y="366"/>
                  </a:lnTo>
                  <a:lnTo>
                    <a:pt x="897" y="364"/>
                  </a:lnTo>
                  <a:lnTo>
                    <a:pt x="895" y="362"/>
                  </a:lnTo>
                  <a:lnTo>
                    <a:pt x="891" y="361"/>
                  </a:lnTo>
                  <a:lnTo>
                    <a:pt x="888"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06" name="Freeform 275"/>
            <p:cNvSpPr>
              <a:spLocks/>
            </p:cNvSpPr>
            <p:nvPr/>
          </p:nvSpPr>
          <p:spPr bwMode="auto">
            <a:xfrm>
              <a:off x="7061201" y="1984375"/>
              <a:ext cx="38100" cy="9525"/>
            </a:xfrm>
            <a:custGeom>
              <a:avLst/>
              <a:gdLst>
                <a:gd name="T0" fmla="*/ 105 w 120"/>
                <a:gd name="T1" fmla="*/ 0 h 30"/>
                <a:gd name="T2" fmla="*/ 15 w 120"/>
                <a:gd name="T3" fmla="*/ 0 h 30"/>
                <a:gd name="T4" fmla="*/ 12 w 120"/>
                <a:gd name="T5" fmla="*/ 0 h 30"/>
                <a:gd name="T6" fmla="*/ 9 w 120"/>
                <a:gd name="T7" fmla="*/ 1 h 30"/>
                <a:gd name="T8" fmla="*/ 7 w 120"/>
                <a:gd name="T9" fmla="*/ 3 h 30"/>
                <a:gd name="T10" fmla="*/ 5 w 120"/>
                <a:gd name="T11" fmla="*/ 4 h 30"/>
                <a:gd name="T12" fmla="*/ 2 w 120"/>
                <a:gd name="T13" fmla="*/ 7 h 30"/>
                <a:gd name="T14" fmla="*/ 1 w 120"/>
                <a:gd name="T15" fmla="*/ 10 h 30"/>
                <a:gd name="T16" fmla="*/ 0 w 120"/>
                <a:gd name="T17" fmla="*/ 12 h 30"/>
                <a:gd name="T18" fmla="*/ 0 w 120"/>
                <a:gd name="T19" fmla="*/ 15 h 30"/>
                <a:gd name="T20" fmla="*/ 0 w 120"/>
                <a:gd name="T21" fmla="*/ 18 h 30"/>
                <a:gd name="T22" fmla="*/ 1 w 120"/>
                <a:gd name="T23" fmla="*/ 22 h 30"/>
                <a:gd name="T24" fmla="*/ 2 w 120"/>
                <a:gd name="T25" fmla="*/ 24 h 30"/>
                <a:gd name="T26" fmla="*/ 5 w 120"/>
                <a:gd name="T27" fmla="*/ 26 h 30"/>
                <a:gd name="T28" fmla="*/ 7 w 120"/>
                <a:gd name="T29" fmla="*/ 28 h 30"/>
                <a:gd name="T30" fmla="*/ 9 w 120"/>
                <a:gd name="T31" fmla="*/ 29 h 30"/>
                <a:gd name="T32" fmla="*/ 12 w 120"/>
                <a:gd name="T33" fmla="*/ 30 h 30"/>
                <a:gd name="T34" fmla="*/ 15 w 120"/>
                <a:gd name="T35" fmla="*/ 30 h 30"/>
                <a:gd name="T36" fmla="*/ 105 w 120"/>
                <a:gd name="T37" fmla="*/ 30 h 30"/>
                <a:gd name="T38" fmla="*/ 109 w 120"/>
                <a:gd name="T39" fmla="*/ 30 h 30"/>
                <a:gd name="T40" fmla="*/ 111 w 120"/>
                <a:gd name="T41" fmla="*/ 29 h 30"/>
                <a:gd name="T42" fmla="*/ 114 w 120"/>
                <a:gd name="T43" fmla="*/ 28 h 30"/>
                <a:gd name="T44" fmla="*/ 116 w 120"/>
                <a:gd name="T45" fmla="*/ 26 h 30"/>
                <a:gd name="T46" fmla="*/ 117 w 120"/>
                <a:gd name="T47" fmla="*/ 24 h 30"/>
                <a:gd name="T48" fmla="*/ 119 w 120"/>
                <a:gd name="T49" fmla="*/ 22 h 30"/>
                <a:gd name="T50" fmla="*/ 120 w 120"/>
                <a:gd name="T51" fmla="*/ 18 h 30"/>
                <a:gd name="T52" fmla="*/ 120 w 120"/>
                <a:gd name="T53" fmla="*/ 15 h 30"/>
                <a:gd name="T54" fmla="*/ 120 w 120"/>
                <a:gd name="T55" fmla="*/ 12 h 30"/>
                <a:gd name="T56" fmla="*/ 119 w 120"/>
                <a:gd name="T57" fmla="*/ 10 h 30"/>
                <a:gd name="T58" fmla="*/ 117 w 120"/>
                <a:gd name="T59" fmla="*/ 7 h 30"/>
                <a:gd name="T60" fmla="*/ 116 w 120"/>
                <a:gd name="T61" fmla="*/ 4 h 30"/>
                <a:gd name="T62" fmla="*/ 114 w 120"/>
                <a:gd name="T63" fmla="*/ 3 h 30"/>
                <a:gd name="T64" fmla="*/ 111 w 120"/>
                <a:gd name="T65" fmla="*/ 1 h 30"/>
                <a:gd name="T66" fmla="*/ 109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9" y="1"/>
                  </a:lnTo>
                  <a:lnTo>
                    <a:pt x="7" y="3"/>
                  </a:lnTo>
                  <a:lnTo>
                    <a:pt x="5" y="4"/>
                  </a:lnTo>
                  <a:lnTo>
                    <a:pt x="2" y="7"/>
                  </a:lnTo>
                  <a:lnTo>
                    <a:pt x="1" y="10"/>
                  </a:lnTo>
                  <a:lnTo>
                    <a:pt x="0" y="12"/>
                  </a:lnTo>
                  <a:lnTo>
                    <a:pt x="0" y="15"/>
                  </a:lnTo>
                  <a:lnTo>
                    <a:pt x="0" y="18"/>
                  </a:lnTo>
                  <a:lnTo>
                    <a:pt x="1" y="22"/>
                  </a:lnTo>
                  <a:lnTo>
                    <a:pt x="2" y="24"/>
                  </a:lnTo>
                  <a:lnTo>
                    <a:pt x="5" y="26"/>
                  </a:lnTo>
                  <a:lnTo>
                    <a:pt x="7" y="28"/>
                  </a:lnTo>
                  <a:lnTo>
                    <a:pt x="9" y="29"/>
                  </a:lnTo>
                  <a:lnTo>
                    <a:pt x="12" y="30"/>
                  </a:lnTo>
                  <a:lnTo>
                    <a:pt x="15" y="30"/>
                  </a:lnTo>
                  <a:lnTo>
                    <a:pt x="105" y="30"/>
                  </a:lnTo>
                  <a:lnTo>
                    <a:pt x="109" y="30"/>
                  </a:lnTo>
                  <a:lnTo>
                    <a:pt x="111" y="29"/>
                  </a:lnTo>
                  <a:lnTo>
                    <a:pt x="114" y="28"/>
                  </a:lnTo>
                  <a:lnTo>
                    <a:pt x="116" y="26"/>
                  </a:lnTo>
                  <a:lnTo>
                    <a:pt x="117" y="24"/>
                  </a:lnTo>
                  <a:lnTo>
                    <a:pt x="119" y="22"/>
                  </a:lnTo>
                  <a:lnTo>
                    <a:pt x="120" y="18"/>
                  </a:lnTo>
                  <a:lnTo>
                    <a:pt x="120" y="15"/>
                  </a:lnTo>
                  <a:lnTo>
                    <a:pt x="120" y="12"/>
                  </a:lnTo>
                  <a:lnTo>
                    <a:pt x="119" y="10"/>
                  </a:lnTo>
                  <a:lnTo>
                    <a:pt x="117" y="7"/>
                  </a:lnTo>
                  <a:lnTo>
                    <a:pt x="116" y="4"/>
                  </a:lnTo>
                  <a:lnTo>
                    <a:pt x="114" y="3"/>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07" name="Freeform 276"/>
            <p:cNvSpPr>
              <a:spLocks/>
            </p:cNvSpPr>
            <p:nvPr/>
          </p:nvSpPr>
          <p:spPr bwMode="auto">
            <a:xfrm>
              <a:off x="7042151" y="2041525"/>
              <a:ext cx="76200" cy="9525"/>
            </a:xfrm>
            <a:custGeom>
              <a:avLst/>
              <a:gdLst>
                <a:gd name="T0" fmla="*/ 15 w 241"/>
                <a:gd name="T1" fmla="*/ 30 h 30"/>
                <a:gd name="T2" fmla="*/ 226 w 241"/>
                <a:gd name="T3" fmla="*/ 30 h 30"/>
                <a:gd name="T4" fmla="*/ 230 w 241"/>
                <a:gd name="T5" fmla="*/ 29 h 30"/>
                <a:gd name="T6" fmla="*/ 232 w 241"/>
                <a:gd name="T7" fmla="*/ 29 h 30"/>
                <a:gd name="T8" fmla="*/ 235 w 241"/>
                <a:gd name="T9" fmla="*/ 27 h 30"/>
                <a:gd name="T10" fmla="*/ 237 w 241"/>
                <a:gd name="T11" fmla="*/ 26 h 30"/>
                <a:gd name="T12" fmla="*/ 239 w 241"/>
                <a:gd name="T13" fmla="*/ 23 h 30"/>
                <a:gd name="T14" fmla="*/ 240 w 241"/>
                <a:gd name="T15" fmla="*/ 21 h 30"/>
                <a:gd name="T16" fmla="*/ 241 w 241"/>
                <a:gd name="T17" fmla="*/ 18 h 30"/>
                <a:gd name="T18" fmla="*/ 241 w 241"/>
                <a:gd name="T19" fmla="*/ 15 h 30"/>
                <a:gd name="T20" fmla="*/ 241 w 241"/>
                <a:gd name="T21" fmla="*/ 12 h 30"/>
                <a:gd name="T22" fmla="*/ 240 w 241"/>
                <a:gd name="T23" fmla="*/ 9 h 30"/>
                <a:gd name="T24" fmla="*/ 239 w 241"/>
                <a:gd name="T25" fmla="*/ 7 h 30"/>
                <a:gd name="T26" fmla="*/ 237 w 241"/>
                <a:gd name="T27" fmla="*/ 5 h 30"/>
                <a:gd name="T28" fmla="*/ 235 w 241"/>
                <a:gd name="T29" fmla="*/ 3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3 h 30"/>
                <a:gd name="T44" fmla="*/ 4 w 241"/>
                <a:gd name="T45" fmla="*/ 5 h 30"/>
                <a:gd name="T46" fmla="*/ 3 w 241"/>
                <a:gd name="T47" fmla="*/ 7 h 30"/>
                <a:gd name="T48" fmla="*/ 1 w 241"/>
                <a:gd name="T49" fmla="*/ 9 h 30"/>
                <a:gd name="T50" fmla="*/ 1 w 241"/>
                <a:gd name="T51" fmla="*/ 12 h 30"/>
                <a:gd name="T52" fmla="*/ 0 w 241"/>
                <a:gd name="T53" fmla="*/ 15 h 30"/>
                <a:gd name="T54" fmla="*/ 1 w 241"/>
                <a:gd name="T55" fmla="*/ 18 h 30"/>
                <a:gd name="T56" fmla="*/ 1 w 241"/>
                <a:gd name="T57" fmla="*/ 21 h 30"/>
                <a:gd name="T58" fmla="*/ 3 w 241"/>
                <a:gd name="T59" fmla="*/ 23 h 30"/>
                <a:gd name="T60" fmla="*/ 4 w 241"/>
                <a:gd name="T61" fmla="*/ 26 h 30"/>
                <a:gd name="T62" fmla="*/ 8 w 241"/>
                <a:gd name="T63" fmla="*/ 27 h 30"/>
                <a:gd name="T64" fmla="*/ 10 w 241"/>
                <a:gd name="T65" fmla="*/ 29 h 30"/>
                <a:gd name="T66" fmla="*/ 13 w 241"/>
                <a:gd name="T67" fmla="*/ 29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29"/>
                  </a:lnTo>
                  <a:lnTo>
                    <a:pt x="232" y="29"/>
                  </a:lnTo>
                  <a:lnTo>
                    <a:pt x="235" y="27"/>
                  </a:lnTo>
                  <a:lnTo>
                    <a:pt x="237" y="26"/>
                  </a:lnTo>
                  <a:lnTo>
                    <a:pt x="239" y="23"/>
                  </a:lnTo>
                  <a:lnTo>
                    <a:pt x="240" y="21"/>
                  </a:lnTo>
                  <a:lnTo>
                    <a:pt x="241" y="18"/>
                  </a:lnTo>
                  <a:lnTo>
                    <a:pt x="241" y="15"/>
                  </a:lnTo>
                  <a:lnTo>
                    <a:pt x="241" y="12"/>
                  </a:lnTo>
                  <a:lnTo>
                    <a:pt x="240" y="9"/>
                  </a:lnTo>
                  <a:lnTo>
                    <a:pt x="239" y="7"/>
                  </a:lnTo>
                  <a:lnTo>
                    <a:pt x="237" y="5"/>
                  </a:lnTo>
                  <a:lnTo>
                    <a:pt x="235" y="3"/>
                  </a:lnTo>
                  <a:lnTo>
                    <a:pt x="232" y="1"/>
                  </a:lnTo>
                  <a:lnTo>
                    <a:pt x="230" y="0"/>
                  </a:lnTo>
                  <a:lnTo>
                    <a:pt x="226" y="0"/>
                  </a:lnTo>
                  <a:lnTo>
                    <a:pt x="15" y="0"/>
                  </a:lnTo>
                  <a:lnTo>
                    <a:pt x="13" y="0"/>
                  </a:lnTo>
                  <a:lnTo>
                    <a:pt x="10" y="1"/>
                  </a:lnTo>
                  <a:lnTo>
                    <a:pt x="8" y="3"/>
                  </a:lnTo>
                  <a:lnTo>
                    <a:pt x="4" y="5"/>
                  </a:lnTo>
                  <a:lnTo>
                    <a:pt x="3" y="7"/>
                  </a:lnTo>
                  <a:lnTo>
                    <a:pt x="1" y="9"/>
                  </a:lnTo>
                  <a:lnTo>
                    <a:pt x="1" y="12"/>
                  </a:lnTo>
                  <a:lnTo>
                    <a:pt x="0" y="15"/>
                  </a:lnTo>
                  <a:lnTo>
                    <a:pt x="1" y="18"/>
                  </a:lnTo>
                  <a:lnTo>
                    <a:pt x="1" y="21"/>
                  </a:lnTo>
                  <a:lnTo>
                    <a:pt x="3" y="23"/>
                  </a:lnTo>
                  <a:lnTo>
                    <a:pt x="4" y="26"/>
                  </a:lnTo>
                  <a:lnTo>
                    <a:pt x="8" y="27"/>
                  </a:lnTo>
                  <a:lnTo>
                    <a:pt x="10" y="29"/>
                  </a:lnTo>
                  <a:lnTo>
                    <a:pt x="13"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08" name="Freeform 277"/>
            <p:cNvSpPr>
              <a:spLocks/>
            </p:cNvSpPr>
            <p:nvPr/>
          </p:nvSpPr>
          <p:spPr bwMode="auto">
            <a:xfrm>
              <a:off x="7042151" y="2022475"/>
              <a:ext cx="76200" cy="9525"/>
            </a:xfrm>
            <a:custGeom>
              <a:avLst/>
              <a:gdLst>
                <a:gd name="T0" fmla="*/ 15 w 241"/>
                <a:gd name="T1" fmla="*/ 31 h 31"/>
                <a:gd name="T2" fmla="*/ 226 w 241"/>
                <a:gd name="T3" fmla="*/ 31 h 31"/>
                <a:gd name="T4" fmla="*/ 230 w 241"/>
                <a:gd name="T5" fmla="*/ 30 h 31"/>
                <a:gd name="T6" fmla="*/ 232 w 241"/>
                <a:gd name="T7" fmla="*/ 29 h 31"/>
                <a:gd name="T8" fmla="*/ 235 w 241"/>
                <a:gd name="T9" fmla="*/ 28 h 31"/>
                <a:gd name="T10" fmla="*/ 237 w 241"/>
                <a:gd name="T11" fmla="*/ 26 h 31"/>
                <a:gd name="T12" fmla="*/ 239 w 241"/>
                <a:gd name="T13" fmla="*/ 24 h 31"/>
                <a:gd name="T14" fmla="*/ 240 w 241"/>
                <a:gd name="T15" fmla="*/ 22 h 31"/>
                <a:gd name="T16" fmla="*/ 241 w 241"/>
                <a:gd name="T17" fmla="*/ 18 h 31"/>
                <a:gd name="T18" fmla="*/ 241 w 241"/>
                <a:gd name="T19" fmla="*/ 16 h 31"/>
                <a:gd name="T20" fmla="*/ 241 w 241"/>
                <a:gd name="T21" fmla="*/ 13 h 31"/>
                <a:gd name="T22" fmla="*/ 240 w 241"/>
                <a:gd name="T23" fmla="*/ 10 h 31"/>
                <a:gd name="T24" fmla="*/ 239 w 241"/>
                <a:gd name="T25" fmla="*/ 8 h 31"/>
                <a:gd name="T26" fmla="*/ 237 w 241"/>
                <a:gd name="T27" fmla="*/ 6 h 31"/>
                <a:gd name="T28" fmla="*/ 235 w 241"/>
                <a:gd name="T29" fmla="*/ 3 h 31"/>
                <a:gd name="T30" fmla="*/ 232 w 241"/>
                <a:gd name="T31" fmla="*/ 2 h 31"/>
                <a:gd name="T32" fmla="*/ 230 w 241"/>
                <a:gd name="T33" fmla="*/ 1 h 31"/>
                <a:gd name="T34" fmla="*/ 226 w 241"/>
                <a:gd name="T35" fmla="*/ 0 h 31"/>
                <a:gd name="T36" fmla="*/ 15 w 241"/>
                <a:gd name="T37" fmla="*/ 0 h 31"/>
                <a:gd name="T38" fmla="*/ 13 w 241"/>
                <a:gd name="T39" fmla="*/ 1 h 31"/>
                <a:gd name="T40" fmla="*/ 10 w 241"/>
                <a:gd name="T41" fmla="*/ 2 h 31"/>
                <a:gd name="T42" fmla="*/ 8 w 241"/>
                <a:gd name="T43" fmla="*/ 3 h 31"/>
                <a:gd name="T44" fmla="*/ 4 w 241"/>
                <a:gd name="T45" fmla="*/ 6 h 31"/>
                <a:gd name="T46" fmla="*/ 3 w 241"/>
                <a:gd name="T47" fmla="*/ 8 h 31"/>
                <a:gd name="T48" fmla="*/ 1 w 241"/>
                <a:gd name="T49" fmla="*/ 10 h 31"/>
                <a:gd name="T50" fmla="*/ 1 w 241"/>
                <a:gd name="T51" fmla="*/ 13 h 31"/>
                <a:gd name="T52" fmla="*/ 0 w 241"/>
                <a:gd name="T53" fmla="*/ 16 h 31"/>
                <a:gd name="T54" fmla="*/ 1 w 241"/>
                <a:gd name="T55" fmla="*/ 18 h 31"/>
                <a:gd name="T56" fmla="*/ 1 w 241"/>
                <a:gd name="T57" fmla="*/ 22 h 31"/>
                <a:gd name="T58" fmla="*/ 3 w 241"/>
                <a:gd name="T59" fmla="*/ 24 h 31"/>
                <a:gd name="T60" fmla="*/ 4 w 241"/>
                <a:gd name="T61" fmla="*/ 26 h 31"/>
                <a:gd name="T62" fmla="*/ 8 w 241"/>
                <a:gd name="T63" fmla="*/ 28 h 31"/>
                <a:gd name="T64" fmla="*/ 10 w 241"/>
                <a:gd name="T65" fmla="*/ 29 h 31"/>
                <a:gd name="T66" fmla="*/ 13 w 241"/>
                <a:gd name="T67" fmla="*/ 30 h 31"/>
                <a:gd name="T68" fmla="*/ 15 w 24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
                  <a:moveTo>
                    <a:pt x="15" y="31"/>
                  </a:moveTo>
                  <a:lnTo>
                    <a:pt x="226" y="31"/>
                  </a:lnTo>
                  <a:lnTo>
                    <a:pt x="230" y="30"/>
                  </a:lnTo>
                  <a:lnTo>
                    <a:pt x="232" y="29"/>
                  </a:lnTo>
                  <a:lnTo>
                    <a:pt x="235" y="28"/>
                  </a:lnTo>
                  <a:lnTo>
                    <a:pt x="237" y="26"/>
                  </a:lnTo>
                  <a:lnTo>
                    <a:pt x="239" y="24"/>
                  </a:lnTo>
                  <a:lnTo>
                    <a:pt x="240" y="22"/>
                  </a:lnTo>
                  <a:lnTo>
                    <a:pt x="241" y="18"/>
                  </a:lnTo>
                  <a:lnTo>
                    <a:pt x="241" y="16"/>
                  </a:lnTo>
                  <a:lnTo>
                    <a:pt x="241" y="13"/>
                  </a:lnTo>
                  <a:lnTo>
                    <a:pt x="240" y="10"/>
                  </a:lnTo>
                  <a:lnTo>
                    <a:pt x="239" y="8"/>
                  </a:lnTo>
                  <a:lnTo>
                    <a:pt x="237" y="6"/>
                  </a:lnTo>
                  <a:lnTo>
                    <a:pt x="235" y="3"/>
                  </a:lnTo>
                  <a:lnTo>
                    <a:pt x="232" y="2"/>
                  </a:lnTo>
                  <a:lnTo>
                    <a:pt x="230" y="1"/>
                  </a:lnTo>
                  <a:lnTo>
                    <a:pt x="226" y="0"/>
                  </a:lnTo>
                  <a:lnTo>
                    <a:pt x="15" y="0"/>
                  </a:lnTo>
                  <a:lnTo>
                    <a:pt x="13" y="1"/>
                  </a:lnTo>
                  <a:lnTo>
                    <a:pt x="10" y="2"/>
                  </a:lnTo>
                  <a:lnTo>
                    <a:pt x="8" y="3"/>
                  </a:lnTo>
                  <a:lnTo>
                    <a:pt x="4" y="6"/>
                  </a:lnTo>
                  <a:lnTo>
                    <a:pt x="3" y="8"/>
                  </a:lnTo>
                  <a:lnTo>
                    <a:pt x="1" y="10"/>
                  </a:lnTo>
                  <a:lnTo>
                    <a:pt x="1" y="13"/>
                  </a:lnTo>
                  <a:lnTo>
                    <a:pt x="0" y="16"/>
                  </a:lnTo>
                  <a:lnTo>
                    <a:pt x="1" y="18"/>
                  </a:lnTo>
                  <a:lnTo>
                    <a:pt x="1" y="22"/>
                  </a:lnTo>
                  <a:lnTo>
                    <a:pt x="3" y="24"/>
                  </a:lnTo>
                  <a:lnTo>
                    <a:pt x="4" y="26"/>
                  </a:lnTo>
                  <a:lnTo>
                    <a:pt x="8" y="28"/>
                  </a:lnTo>
                  <a:lnTo>
                    <a:pt x="10" y="29"/>
                  </a:lnTo>
                  <a:lnTo>
                    <a:pt x="13"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09" name="Freeform 278"/>
            <p:cNvSpPr>
              <a:spLocks/>
            </p:cNvSpPr>
            <p:nvPr/>
          </p:nvSpPr>
          <p:spPr bwMode="auto">
            <a:xfrm>
              <a:off x="7042151" y="2060575"/>
              <a:ext cx="76200" cy="9525"/>
            </a:xfrm>
            <a:custGeom>
              <a:avLst/>
              <a:gdLst>
                <a:gd name="T0" fmla="*/ 15 w 241"/>
                <a:gd name="T1" fmla="*/ 31 h 31"/>
                <a:gd name="T2" fmla="*/ 226 w 241"/>
                <a:gd name="T3" fmla="*/ 31 h 31"/>
                <a:gd name="T4" fmla="*/ 230 w 241"/>
                <a:gd name="T5" fmla="*/ 31 h 31"/>
                <a:gd name="T6" fmla="*/ 232 w 241"/>
                <a:gd name="T7" fmla="*/ 29 h 31"/>
                <a:gd name="T8" fmla="*/ 235 w 241"/>
                <a:gd name="T9" fmla="*/ 27 h 31"/>
                <a:gd name="T10" fmla="*/ 237 w 241"/>
                <a:gd name="T11" fmla="*/ 26 h 31"/>
                <a:gd name="T12" fmla="*/ 239 w 241"/>
                <a:gd name="T13" fmla="*/ 24 h 31"/>
                <a:gd name="T14" fmla="*/ 240 w 241"/>
                <a:gd name="T15" fmla="*/ 21 h 31"/>
                <a:gd name="T16" fmla="*/ 241 w 241"/>
                <a:gd name="T17" fmla="*/ 19 h 31"/>
                <a:gd name="T18" fmla="*/ 241 w 241"/>
                <a:gd name="T19" fmla="*/ 16 h 31"/>
                <a:gd name="T20" fmla="*/ 241 w 241"/>
                <a:gd name="T21" fmla="*/ 12 h 31"/>
                <a:gd name="T22" fmla="*/ 240 w 241"/>
                <a:gd name="T23" fmla="*/ 9 h 31"/>
                <a:gd name="T24" fmla="*/ 239 w 241"/>
                <a:gd name="T25" fmla="*/ 7 h 31"/>
                <a:gd name="T26" fmla="*/ 237 w 241"/>
                <a:gd name="T27" fmla="*/ 5 h 31"/>
                <a:gd name="T28" fmla="*/ 235 w 241"/>
                <a:gd name="T29" fmla="*/ 3 h 31"/>
                <a:gd name="T30" fmla="*/ 232 w 241"/>
                <a:gd name="T31" fmla="*/ 2 h 31"/>
                <a:gd name="T32" fmla="*/ 230 w 241"/>
                <a:gd name="T33" fmla="*/ 0 h 31"/>
                <a:gd name="T34" fmla="*/ 226 w 241"/>
                <a:gd name="T35" fmla="*/ 0 h 31"/>
                <a:gd name="T36" fmla="*/ 15 w 241"/>
                <a:gd name="T37" fmla="*/ 0 h 31"/>
                <a:gd name="T38" fmla="*/ 13 w 241"/>
                <a:gd name="T39" fmla="*/ 0 h 31"/>
                <a:gd name="T40" fmla="*/ 10 w 241"/>
                <a:gd name="T41" fmla="*/ 2 h 31"/>
                <a:gd name="T42" fmla="*/ 8 w 241"/>
                <a:gd name="T43" fmla="*/ 3 h 31"/>
                <a:gd name="T44" fmla="*/ 4 w 241"/>
                <a:gd name="T45" fmla="*/ 5 h 31"/>
                <a:gd name="T46" fmla="*/ 3 w 241"/>
                <a:gd name="T47" fmla="*/ 7 h 31"/>
                <a:gd name="T48" fmla="*/ 1 w 241"/>
                <a:gd name="T49" fmla="*/ 9 h 31"/>
                <a:gd name="T50" fmla="*/ 1 w 241"/>
                <a:gd name="T51" fmla="*/ 12 h 31"/>
                <a:gd name="T52" fmla="*/ 0 w 241"/>
                <a:gd name="T53" fmla="*/ 16 h 31"/>
                <a:gd name="T54" fmla="*/ 1 w 241"/>
                <a:gd name="T55" fmla="*/ 19 h 31"/>
                <a:gd name="T56" fmla="*/ 1 w 241"/>
                <a:gd name="T57" fmla="*/ 21 h 31"/>
                <a:gd name="T58" fmla="*/ 3 w 241"/>
                <a:gd name="T59" fmla="*/ 24 h 31"/>
                <a:gd name="T60" fmla="*/ 4 w 241"/>
                <a:gd name="T61" fmla="*/ 26 h 31"/>
                <a:gd name="T62" fmla="*/ 8 w 241"/>
                <a:gd name="T63" fmla="*/ 27 h 31"/>
                <a:gd name="T64" fmla="*/ 10 w 241"/>
                <a:gd name="T65" fmla="*/ 29 h 31"/>
                <a:gd name="T66" fmla="*/ 13 w 241"/>
                <a:gd name="T67" fmla="*/ 31 h 31"/>
                <a:gd name="T68" fmla="*/ 15 w 24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
                  <a:moveTo>
                    <a:pt x="15" y="31"/>
                  </a:moveTo>
                  <a:lnTo>
                    <a:pt x="226" y="31"/>
                  </a:lnTo>
                  <a:lnTo>
                    <a:pt x="230" y="31"/>
                  </a:lnTo>
                  <a:lnTo>
                    <a:pt x="232" y="29"/>
                  </a:lnTo>
                  <a:lnTo>
                    <a:pt x="235" y="27"/>
                  </a:lnTo>
                  <a:lnTo>
                    <a:pt x="237" y="26"/>
                  </a:lnTo>
                  <a:lnTo>
                    <a:pt x="239" y="24"/>
                  </a:lnTo>
                  <a:lnTo>
                    <a:pt x="240" y="21"/>
                  </a:lnTo>
                  <a:lnTo>
                    <a:pt x="241" y="19"/>
                  </a:lnTo>
                  <a:lnTo>
                    <a:pt x="241" y="16"/>
                  </a:lnTo>
                  <a:lnTo>
                    <a:pt x="241" y="12"/>
                  </a:lnTo>
                  <a:lnTo>
                    <a:pt x="240" y="9"/>
                  </a:lnTo>
                  <a:lnTo>
                    <a:pt x="239" y="7"/>
                  </a:lnTo>
                  <a:lnTo>
                    <a:pt x="237" y="5"/>
                  </a:lnTo>
                  <a:lnTo>
                    <a:pt x="235" y="3"/>
                  </a:lnTo>
                  <a:lnTo>
                    <a:pt x="232" y="2"/>
                  </a:lnTo>
                  <a:lnTo>
                    <a:pt x="230" y="0"/>
                  </a:lnTo>
                  <a:lnTo>
                    <a:pt x="226" y="0"/>
                  </a:lnTo>
                  <a:lnTo>
                    <a:pt x="15" y="0"/>
                  </a:lnTo>
                  <a:lnTo>
                    <a:pt x="13" y="0"/>
                  </a:lnTo>
                  <a:lnTo>
                    <a:pt x="10" y="2"/>
                  </a:lnTo>
                  <a:lnTo>
                    <a:pt x="8" y="3"/>
                  </a:lnTo>
                  <a:lnTo>
                    <a:pt x="4" y="5"/>
                  </a:lnTo>
                  <a:lnTo>
                    <a:pt x="3" y="7"/>
                  </a:lnTo>
                  <a:lnTo>
                    <a:pt x="1" y="9"/>
                  </a:lnTo>
                  <a:lnTo>
                    <a:pt x="1" y="12"/>
                  </a:lnTo>
                  <a:lnTo>
                    <a:pt x="0" y="16"/>
                  </a:lnTo>
                  <a:lnTo>
                    <a:pt x="1" y="19"/>
                  </a:lnTo>
                  <a:lnTo>
                    <a:pt x="1" y="21"/>
                  </a:lnTo>
                  <a:lnTo>
                    <a:pt x="3" y="24"/>
                  </a:lnTo>
                  <a:lnTo>
                    <a:pt x="4" y="26"/>
                  </a:lnTo>
                  <a:lnTo>
                    <a:pt x="8" y="27"/>
                  </a:lnTo>
                  <a:lnTo>
                    <a:pt x="10" y="29"/>
                  </a:lnTo>
                  <a:lnTo>
                    <a:pt x="13" y="31"/>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10" name="Freeform 279"/>
            <p:cNvSpPr>
              <a:spLocks/>
            </p:cNvSpPr>
            <p:nvPr/>
          </p:nvSpPr>
          <p:spPr bwMode="auto">
            <a:xfrm>
              <a:off x="7042151" y="207962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7 h 30"/>
                <a:gd name="T10" fmla="*/ 237 w 241"/>
                <a:gd name="T11" fmla="*/ 25 h 30"/>
                <a:gd name="T12" fmla="*/ 239 w 241"/>
                <a:gd name="T13" fmla="*/ 23 h 30"/>
                <a:gd name="T14" fmla="*/ 240 w 241"/>
                <a:gd name="T15" fmla="*/ 20 h 30"/>
                <a:gd name="T16" fmla="*/ 241 w 241"/>
                <a:gd name="T17" fmla="*/ 18 h 30"/>
                <a:gd name="T18" fmla="*/ 241 w 241"/>
                <a:gd name="T19" fmla="*/ 15 h 30"/>
                <a:gd name="T20" fmla="*/ 241 w 241"/>
                <a:gd name="T21" fmla="*/ 11 h 30"/>
                <a:gd name="T22" fmla="*/ 240 w 241"/>
                <a:gd name="T23" fmla="*/ 8 h 30"/>
                <a:gd name="T24" fmla="*/ 239 w 241"/>
                <a:gd name="T25" fmla="*/ 6 h 30"/>
                <a:gd name="T26" fmla="*/ 237 w 241"/>
                <a:gd name="T27" fmla="*/ 4 h 30"/>
                <a:gd name="T28" fmla="*/ 235 w 241"/>
                <a:gd name="T29" fmla="*/ 2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2 h 30"/>
                <a:gd name="T44" fmla="*/ 4 w 241"/>
                <a:gd name="T45" fmla="*/ 4 h 30"/>
                <a:gd name="T46" fmla="*/ 3 w 241"/>
                <a:gd name="T47" fmla="*/ 6 h 30"/>
                <a:gd name="T48" fmla="*/ 1 w 241"/>
                <a:gd name="T49" fmla="*/ 8 h 30"/>
                <a:gd name="T50" fmla="*/ 1 w 241"/>
                <a:gd name="T51" fmla="*/ 11 h 30"/>
                <a:gd name="T52" fmla="*/ 0 w 241"/>
                <a:gd name="T53" fmla="*/ 15 h 30"/>
                <a:gd name="T54" fmla="*/ 1 w 241"/>
                <a:gd name="T55" fmla="*/ 18 h 30"/>
                <a:gd name="T56" fmla="*/ 1 w 241"/>
                <a:gd name="T57" fmla="*/ 20 h 30"/>
                <a:gd name="T58" fmla="*/ 3 w 241"/>
                <a:gd name="T59" fmla="*/ 23 h 30"/>
                <a:gd name="T60" fmla="*/ 4 w 241"/>
                <a:gd name="T61" fmla="*/ 25 h 30"/>
                <a:gd name="T62" fmla="*/ 8 w 241"/>
                <a:gd name="T63" fmla="*/ 27 h 30"/>
                <a:gd name="T64" fmla="*/ 10 w 241"/>
                <a:gd name="T65" fmla="*/ 29 h 30"/>
                <a:gd name="T66" fmla="*/ 13 w 241"/>
                <a:gd name="T67" fmla="*/ 30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30"/>
                  </a:lnTo>
                  <a:lnTo>
                    <a:pt x="232" y="29"/>
                  </a:lnTo>
                  <a:lnTo>
                    <a:pt x="235" y="27"/>
                  </a:lnTo>
                  <a:lnTo>
                    <a:pt x="237" y="25"/>
                  </a:lnTo>
                  <a:lnTo>
                    <a:pt x="239" y="23"/>
                  </a:lnTo>
                  <a:lnTo>
                    <a:pt x="240" y="20"/>
                  </a:lnTo>
                  <a:lnTo>
                    <a:pt x="241" y="18"/>
                  </a:lnTo>
                  <a:lnTo>
                    <a:pt x="241" y="15"/>
                  </a:lnTo>
                  <a:lnTo>
                    <a:pt x="241" y="11"/>
                  </a:lnTo>
                  <a:lnTo>
                    <a:pt x="240" y="8"/>
                  </a:lnTo>
                  <a:lnTo>
                    <a:pt x="239" y="6"/>
                  </a:lnTo>
                  <a:lnTo>
                    <a:pt x="237" y="4"/>
                  </a:lnTo>
                  <a:lnTo>
                    <a:pt x="235" y="2"/>
                  </a:lnTo>
                  <a:lnTo>
                    <a:pt x="232" y="1"/>
                  </a:lnTo>
                  <a:lnTo>
                    <a:pt x="230" y="0"/>
                  </a:lnTo>
                  <a:lnTo>
                    <a:pt x="226" y="0"/>
                  </a:lnTo>
                  <a:lnTo>
                    <a:pt x="15" y="0"/>
                  </a:lnTo>
                  <a:lnTo>
                    <a:pt x="13" y="0"/>
                  </a:lnTo>
                  <a:lnTo>
                    <a:pt x="10" y="1"/>
                  </a:lnTo>
                  <a:lnTo>
                    <a:pt x="8" y="2"/>
                  </a:lnTo>
                  <a:lnTo>
                    <a:pt x="4" y="4"/>
                  </a:lnTo>
                  <a:lnTo>
                    <a:pt x="3" y="6"/>
                  </a:lnTo>
                  <a:lnTo>
                    <a:pt x="1" y="8"/>
                  </a:lnTo>
                  <a:lnTo>
                    <a:pt x="1" y="11"/>
                  </a:lnTo>
                  <a:lnTo>
                    <a:pt x="0" y="15"/>
                  </a:lnTo>
                  <a:lnTo>
                    <a:pt x="1" y="18"/>
                  </a:lnTo>
                  <a:lnTo>
                    <a:pt x="1" y="20"/>
                  </a:lnTo>
                  <a:lnTo>
                    <a:pt x="3" y="23"/>
                  </a:lnTo>
                  <a:lnTo>
                    <a:pt x="4" y="25"/>
                  </a:lnTo>
                  <a:lnTo>
                    <a:pt x="8" y="27"/>
                  </a:lnTo>
                  <a:lnTo>
                    <a:pt x="10" y="29"/>
                  </a:lnTo>
                  <a:lnTo>
                    <a:pt x="13"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11" name="Freeform 280"/>
            <p:cNvSpPr>
              <a:spLocks/>
            </p:cNvSpPr>
            <p:nvPr/>
          </p:nvSpPr>
          <p:spPr bwMode="auto">
            <a:xfrm>
              <a:off x="7042151" y="209867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8 h 30"/>
                <a:gd name="T10" fmla="*/ 237 w 241"/>
                <a:gd name="T11" fmla="*/ 25 h 30"/>
                <a:gd name="T12" fmla="*/ 239 w 241"/>
                <a:gd name="T13" fmla="*/ 23 h 30"/>
                <a:gd name="T14" fmla="*/ 240 w 241"/>
                <a:gd name="T15" fmla="*/ 21 h 30"/>
                <a:gd name="T16" fmla="*/ 241 w 241"/>
                <a:gd name="T17" fmla="*/ 18 h 30"/>
                <a:gd name="T18" fmla="*/ 241 w 241"/>
                <a:gd name="T19" fmla="*/ 15 h 30"/>
                <a:gd name="T20" fmla="*/ 241 w 241"/>
                <a:gd name="T21" fmla="*/ 11 h 30"/>
                <a:gd name="T22" fmla="*/ 240 w 241"/>
                <a:gd name="T23" fmla="*/ 9 h 30"/>
                <a:gd name="T24" fmla="*/ 239 w 241"/>
                <a:gd name="T25" fmla="*/ 6 h 30"/>
                <a:gd name="T26" fmla="*/ 237 w 241"/>
                <a:gd name="T27" fmla="*/ 4 h 30"/>
                <a:gd name="T28" fmla="*/ 235 w 241"/>
                <a:gd name="T29" fmla="*/ 2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2 h 30"/>
                <a:gd name="T44" fmla="*/ 4 w 241"/>
                <a:gd name="T45" fmla="*/ 4 h 30"/>
                <a:gd name="T46" fmla="*/ 3 w 241"/>
                <a:gd name="T47" fmla="*/ 6 h 30"/>
                <a:gd name="T48" fmla="*/ 1 w 241"/>
                <a:gd name="T49" fmla="*/ 9 h 30"/>
                <a:gd name="T50" fmla="*/ 1 w 241"/>
                <a:gd name="T51" fmla="*/ 11 h 30"/>
                <a:gd name="T52" fmla="*/ 0 w 241"/>
                <a:gd name="T53" fmla="*/ 15 h 30"/>
                <a:gd name="T54" fmla="*/ 1 w 241"/>
                <a:gd name="T55" fmla="*/ 18 h 30"/>
                <a:gd name="T56" fmla="*/ 1 w 241"/>
                <a:gd name="T57" fmla="*/ 21 h 30"/>
                <a:gd name="T58" fmla="*/ 3 w 241"/>
                <a:gd name="T59" fmla="*/ 23 h 30"/>
                <a:gd name="T60" fmla="*/ 4 w 241"/>
                <a:gd name="T61" fmla="*/ 25 h 30"/>
                <a:gd name="T62" fmla="*/ 8 w 241"/>
                <a:gd name="T63" fmla="*/ 28 h 30"/>
                <a:gd name="T64" fmla="*/ 10 w 241"/>
                <a:gd name="T65" fmla="*/ 29 h 30"/>
                <a:gd name="T66" fmla="*/ 13 w 241"/>
                <a:gd name="T67" fmla="*/ 30 h 30"/>
                <a:gd name="T68" fmla="*/ 15 w 24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0">
                  <a:moveTo>
                    <a:pt x="15" y="30"/>
                  </a:moveTo>
                  <a:lnTo>
                    <a:pt x="226" y="30"/>
                  </a:lnTo>
                  <a:lnTo>
                    <a:pt x="230" y="30"/>
                  </a:lnTo>
                  <a:lnTo>
                    <a:pt x="232" y="29"/>
                  </a:lnTo>
                  <a:lnTo>
                    <a:pt x="235" y="28"/>
                  </a:lnTo>
                  <a:lnTo>
                    <a:pt x="237" y="25"/>
                  </a:lnTo>
                  <a:lnTo>
                    <a:pt x="239" y="23"/>
                  </a:lnTo>
                  <a:lnTo>
                    <a:pt x="240" y="21"/>
                  </a:lnTo>
                  <a:lnTo>
                    <a:pt x="241" y="18"/>
                  </a:lnTo>
                  <a:lnTo>
                    <a:pt x="241" y="15"/>
                  </a:lnTo>
                  <a:lnTo>
                    <a:pt x="241" y="11"/>
                  </a:lnTo>
                  <a:lnTo>
                    <a:pt x="240" y="9"/>
                  </a:lnTo>
                  <a:lnTo>
                    <a:pt x="239" y="6"/>
                  </a:lnTo>
                  <a:lnTo>
                    <a:pt x="237" y="4"/>
                  </a:lnTo>
                  <a:lnTo>
                    <a:pt x="235" y="2"/>
                  </a:lnTo>
                  <a:lnTo>
                    <a:pt x="232" y="1"/>
                  </a:lnTo>
                  <a:lnTo>
                    <a:pt x="230" y="0"/>
                  </a:lnTo>
                  <a:lnTo>
                    <a:pt x="226" y="0"/>
                  </a:lnTo>
                  <a:lnTo>
                    <a:pt x="15" y="0"/>
                  </a:lnTo>
                  <a:lnTo>
                    <a:pt x="13" y="0"/>
                  </a:lnTo>
                  <a:lnTo>
                    <a:pt x="10" y="1"/>
                  </a:lnTo>
                  <a:lnTo>
                    <a:pt x="8" y="2"/>
                  </a:lnTo>
                  <a:lnTo>
                    <a:pt x="4" y="4"/>
                  </a:lnTo>
                  <a:lnTo>
                    <a:pt x="3" y="6"/>
                  </a:lnTo>
                  <a:lnTo>
                    <a:pt x="1" y="9"/>
                  </a:lnTo>
                  <a:lnTo>
                    <a:pt x="1" y="11"/>
                  </a:lnTo>
                  <a:lnTo>
                    <a:pt x="0" y="15"/>
                  </a:lnTo>
                  <a:lnTo>
                    <a:pt x="1" y="18"/>
                  </a:lnTo>
                  <a:lnTo>
                    <a:pt x="1" y="21"/>
                  </a:lnTo>
                  <a:lnTo>
                    <a:pt x="3" y="23"/>
                  </a:lnTo>
                  <a:lnTo>
                    <a:pt x="4" y="25"/>
                  </a:lnTo>
                  <a:lnTo>
                    <a:pt x="8" y="28"/>
                  </a:lnTo>
                  <a:lnTo>
                    <a:pt x="10" y="29"/>
                  </a:lnTo>
                  <a:lnTo>
                    <a:pt x="13"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12" name="Freeform 281"/>
            <p:cNvSpPr>
              <a:spLocks/>
            </p:cNvSpPr>
            <p:nvPr/>
          </p:nvSpPr>
          <p:spPr bwMode="auto">
            <a:xfrm>
              <a:off x="7042151" y="211772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8 h 30"/>
                <a:gd name="T10" fmla="*/ 237 w 241"/>
                <a:gd name="T11" fmla="*/ 25 h 30"/>
                <a:gd name="T12" fmla="*/ 239 w 241"/>
                <a:gd name="T13" fmla="*/ 23 h 30"/>
                <a:gd name="T14" fmla="*/ 240 w 241"/>
                <a:gd name="T15" fmla="*/ 21 h 30"/>
                <a:gd name="T16" fmla="*/ 241 w 241"/>
                <a:gd name="T17" fmla="*/ 18 h 30"/>
                <a:gd name="T18" fmla="*/ 241 w 241"/>
                <a:gd name="T19" fmla="*/ 15 h 30"/>
                <a:gd name="T20" fmla="*/ 241 w 241"/>
                <a:gd name="T21" fmla="*/ 12 h 30"/>
                <a:gd name="T22" fmla="*/ 240 w 241"/>
                <a:gd name="T23" fmla="*/ 9 h 30"/>
                <a:gd name="T24" fmla="*/ 239 w 241"/>
                <a:gd name="T25" fmla="*/ 6 h 30"/>
                <a:gd name="T26" fmla="*/ 237 w 241"/>
                <a:gd name="T27" fmla="*/ 4 h 30"/>
                <a:gd name="T28" fmla="*/ 235 w 241"/>
                <a:gd name="T29" fmla="*/ 3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3 h 30"/>
                <a:gd name="T44" fmla="*/ 4 w 241"/>
                <a:gd name="T45" fmla="*/ 4 h 30"/>
                <a:gd name="T46" fmla="*/ 3 w 241"/>
                <a:gd name="T47" fmla="*/ 6 h 30"/>
                <a:gd name="T48" fmla="*/ 1 w 241"/>
                <a:gd name="T49" fmla="*/ 9 h 30"/>
                <a:gd name="T50" fmla="*/ 1 w 241"/>
                <a:gd name="T51" fmla="*/ 12 h 30"/>
                <a:gd name="T52" fmla="*/ 0 w 241"/>
                <a:gd name="T53" fmla="*/ 15 h 30"/>
                <a:gd name="T54" fmla="*/ 1 w 241"/>
                <a:gd name="T55" fmla="*/ 18 h 30"/>
                <a:gd name="T56" fmla="*/ 1 w 241"/>
                <a:gd name="T57" fmla="*/ 21 h 30"/>
                <a:gd name="T58" fmla="*/ 3 w 241"/>
                <a:gd name="T59" fmla="*/ 23 h 30"/>
                <a:gd name="T60" fmla="*/ 4 w 241"/>
                <a:gd name="T61" fmla="*/ 25 h 30"/>
                <a:gd name="T62" fmla="*/ 8 w 241"/>
                <a:gd name="T63" fmla="*/ 28 h 30"/>
                <a:gd name="T64" fmla="*/ 10 w 241"/>
                <a:gd name="T65" fmla="*/ 29 h 30"/>
                <a:gd name="T66" fmla="*/ 13 w 241"/>
                <a:gd name="T67" fmla="*/ 30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30"/>
                  </a:lnTo>
                  <a:lnTo>
                    <a:pt x="232" y="29"/>
                  </a:lnTo>
                  <a:lnTo>
                    <a:pt x="235" y="28"/>
                  </a:lnTo>
                  <a:lnTo>
                    <a:pt x="237" y="25"/>
                  </a:lnTo>
                  <a:lnTo>
                    <a:pt x="239" y="23"/>
                  </a:lnTo>
                  <a:lnTo>
                    <a:pt x="240" y="21"/>
                  </a:lnTo>
                  <a:lnTo>
                    <a:pt x="241" y="18"/>
                  </a:lnTo>
                  <a:lnTo>
                    <a:pt x="241" y="15"/>
                  </a:lnTo>
                  <a:lnTo>
                    <a:pt x="241" y="12"/>
                  </a:lnTo>
                  <a:lnTo>
                    <a:pt x="240" y="9"/>
                  </a:lnTo>
                  <a:lnTo>
                    <a:pt x="239" y="6"/>
                  </a:lnTo>
                  <a:lnTo>
                    <a:pt x="237" y="4"/>
                  </a:lnTo>
                  <a:lnTo>
                    <a:pt x="235" y="3"/>
                  </a:lnTo>
                  <a:lnTo>
                    <a:pt x="232" y="1"/>
                  </a:lnTo>
                  <a:lnTo>
                    <a:pt x="230" y="0"/>
                  </a:lnTo>
                  <a:lnTo>
                    <a:pt x="226" y="0"/>
                  </a:lnTo>
                  <a:lnTo>
                    <a:pt x="15" y="0"/>
                  </a:lnTo>
                  <a:lnTo>
                    <a:pt x="13" y="0"/>
                  </a:lnTo>
                  <a:lnTo>
                    <a:pt x="10" y="1"/>
                  </a:lnTo>
                  <a:lnTo>
                    <a:pt x="8" y="3"/>
                  </a:lnTo>
                  <a:lnTo>
                    <a:pt x="4" y="4"/>
                  </a:lnTo>
                  <a:lnTo>
                    <a:pt x="3" y="6"/>
                  </a:lnTo>
                  <a:lnTo>
                    <a:pt x="1" y="9"/>
                  </a:lnTo>
                  <a:lnTo>
                    <a:pt x="1" y="12"/>
                  </a:lnTo>
                  <a:lnTo>
                    <a:pt x="0" y="15"/>
                  </a:lnTo>
                  <a:lnTo>
                    <a:pt x="1" y="18"/>
                  </a:lnTo>
                  <a:lnTo>
                    <a:pt x="1" y="21"/>
                  </a:lnTo>
                  <a:lnTo>
                    <a:pt x="3" y="23"/>
                  </a:lnTo>
                  <a:lnTo>
                    <a:pt x="4" y="25"/>
                  </a:lnTo>
                  <a:lnTo>
                    <a:pt x="8" y="28"/>
                  </a:lnTo>
                  <a:lnTo>
                    <a:pt x="10" y="29"/>
                  </a:lnTo>
                  <a:lnTo>
                    <a:pt x="13"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28" name="Freeform 282"/>
            <p:cNvSpPr>
              <a:spLocks/>
            </p:cNvSpPr>
            <p:nvPr/>
          </p:nvSpPr>
          <p:spPr bwMode="auto">
            <a:xfrm>
              <a:off x="7042151" y="2136775"/>
              <a:ext cx="76200" cy="9525"/>
            </a:xfrm>
            <a:custGeom>
              <a:avLst/>
              <a:gdLst>
                <a:gd name="T0" fmla="*/ 226 w 241"/>
                <a:gd name="T1" fmla="*/ 30 h 30"/>
                <a:gd name="T2" fmla="*/ 230 w 241"/>
                <a:gd name="T3" fmla="*/ 30 h 30"/>
                <a:gd name="T4" fmla="*/ 232 w 241"/>
                <a:gd name="T5" fmla="*/ 29 h 30"/>
                <a:gd name="T6" fmla="*/ 235 w 241"/>
                <a:gd name="T7" fmla="*/ 28 h 30"/>
                <a:gd name="T8" fmla="*/ 237 w 241"/>
                <a:gd name="T9" fmla="*/ 26 h 30"/>
                <a:gd name="T10" fmla="*/ 239 w 241"/>
                <a:gd name="T11" fmla="*/ 23 h 30"/>
                <a:gd name="T12" fmla="*/ 240 w 241"/>
                <a:gd name="T13" fmla="*/ 21 h 30"/>
                <a:gd name="T14" fmla="*/ 241 w 241"/>
                <a:gd name="T15" fmla="*/ 18 h 30"/>
                <a:gd name="T16" fmla="*/ 241 w 241"/>
                <a:gd name="T17" fmla="*/ 15 h 30"/>
                <a:gd name="T18" fmla="*/ 241 w 241"/>
                <a:gd name="T19" fmla="*/ 13 h 30"/>
                <a:gd name="T20" fmla="*/ 240 w 241"/>
                <a:gd name="T21" fmla="*/ 9 h 30"/>
                <a:gd name="T22" fmla="*/ 239 w 241"/>
                <a:gd name="T23" fmla="*/ 6 h 30"/>
                <a:gd name="T24" fmla="*/ 237 w 241"/>
                <a:gd name="T25" fmla="*/ 4 h 30"/>
                <a:gd name="T26" fmla="*/ 235 w 241"/>
                <a:gd name="T27" fmla="*/ 3 h 30"/>
                <a:gd name="T28" fmla="*/ 232 w 241"/>
                <a:gd name="T29" fmla="*/ 1 h 30"/>
                <a:gd name="T30" fmla="*/ 230 w 241"/>
                <a:gd name="T31" fmla="*/ 1 h 30"/>
                <a:gd name="T32" fmla="*/ 226 w 241"/>
                <a:gd name="T33" fmla="*/ 0 h 30"/>
                <a:gd name="T34" fmla="*/ 15 w 241"/>
                <a:gd name="T35" fmla="*/ 0 h 30"/>
                <a:gd name="T36" fmla="*/ 13 w 241"/>
                <a:gd name="T37" fmla="*/ 1 h 30"/>
                <a:gd name="T38" fmla="*/ 10 w 241"/>
                <a:gd name="T39" fmla="*/ 1 h 30"/>
                <a:gd name="T40" fmla="*/ 8 w 241"/>
                <a:gd name="T41" fmla="*/ 3 h 30"/>
                <a:gd name="T42" fmla="*/ 4 w 241"/>
                <a:gd name="T43" fmla="*/ 4 h 30"/>
                <a:gd name="T44" fmla="*/ 3 w 241"/>
                <a:gd name="T45" fmla="*/ 6 h 30"/>
                <a:gd name="T46" fmla="*/ 1 w 241"/>
                <a:gd name="T47" fmla="*/ 9 h 30"/>
                <a:gd name="T48" fmla="*/ 1 w 241"/>
                <a:gd name="T49" fmla="*/ 13 h 30"/>
                <a:gd name="T50" fmla="*/ 0 w 241"/>
                <a:gd name="T51" fmla="*/ 15 h 30"/>
                <a:gd name="T52" fmla="*/ 1 w 241"/>
                <a:gd name="T53" fmla="*/ 18 h 30"/>
                <a:gd name="T54" fmla="*/ 1 w 241"/>
                <a:gd name="T55" fmla="*/ 21 h 30"/>
                <a:gd name="T56" fmla="*/ 3 w 241"/>
                <a:gd name="T57" fmla="*/ 23 h 30"/>
                <a:gd name="T58" fmla="*/ 4 w 241"/>
                <a:gd name="T59" fmla="*/ 26 h 30"/>
                <a:gd name="T60" fmla="*/ 8 w 241"/>
                <a:gd name="T61" fmla="*/ 28 h 30"/>
                <a:gd name="T62" fmla="*/ 10 w 241"/>
                <a:gd name="T63" fmla="*/ 29 h 30"/>
                <a:gd name="T64" fmla="*/ 13 w 241"/>
                <a:gd name="T65" fmla="*/ 30 h 30"/>
                <a:gd name="T66" fmla="*/ 15 w 241"/>
                <a:gd name="T67" fmla="*/ 30 h 30"/>
                <a:gd name="T68" fmla="*/ 226 w 24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0">
                  <a:moveTo>
                    <a:pt x="226" y="30"/>
                  </a:moveTo>
                  <a:lnTo>
                    <a:pt x="230" y="30"/>
                  </a:lnTo>
                  <a:lnTo>
                    <a:pt x="232" y="29"/>
                  </a:lnTo>
                  <a:lnTo>
                    <a:pt x="235" y="28"/>
                  </a:lnTo>
                  <a:lnTo>
                    <a:pt x="237" y="26"/>
                  </a:lnTo>
                  <a:lnTo>
                    <a:pt x="239" y="23"/>
                  </a:lnTo>
                  <a:lnTo>
                    <a:pt x="240" y="21"/>
                  </a:lnTo>
                  <a:lnTo>
                    <a:pt x="241" y="18"/>
                  </a:lnTo>
                  <a:lnTo>
                    <a:pt x="241" y="15"/>
                  </a:lnTo>
                  <a:lnTo>
                    <a:pt x="241" y="13"/>
                  </a:lnTo>
                  <a:lnTo>
                    <a:pt x="240" y="9"/>
                  </a:lnTo>
                  <a:lnTo>
                    <a:pt x="239" y="6"/>
                  </a:lnTo>
                  <a:lnTo>
                    <a:pt x="237" y="4"/>
                  </a:lnTo>
                  <a:lnTo>
                    <a:pt x="235" y="3"/>
                  </a:lnTo>
                  <a:lnTo>
                    <a:pt x="232" y="1"/>
                  </a:lnTo>
                  <a:lnTo>
                    <a:pt x="230" y="1"/>
                  </a:lnTo>
                  <a:lnTo>
                    <a:pt x="226" y="0"/>
                  </a:lnTo>
                  <a:lnTo>
                    <a:pt x="15" y="0"/>
                  </a:lnTo>
                  <a:lnTo>
                    <a:pt x="13" y="1"/>
                  </a:lnTo>
                  <a:lnTo>
                    <a:pt x="10" y="1"/>
                  </a:lnTo>
                  <a:lnTo>
                    <a:pt x="8" y="3"/>
                  </a:lnTo>
                  <a:lnTo>
                    <a:pt x="4" y="4"/>
                  </a:lnTo>
                  <a:lnTo>
                    <a:pt x="3" y="6"/>
                  </a:lnTo>
                  <a:lnTo>
                    <a:pt x="1" y="9"/>
                  </a:lnTo>
                  <a:lnTo>
                    <a:pt x="1" y="13"/>
                  </a:lnTo>
                  <a:lnTo>
                    <a:pt x="0" y="15"/>
                  </a:lnTo>
                  <a:lnTo>
                    <a:pt x="1" y="18"/>
                  </a:lnTo>
                  <a:lnTo>
                    <a:pt x="1" y="21"/>
                  </a:lnTo>
                  <a:lnTo>
                    <a:pt x="3" y="23"/>
                  </a:lnTo>
                  <a:lnTo>
                    <a:pt x="4" y="26"/>
                  </a:lnTo>
                  <a:lnTo>
                    <a:pt x="8" y="28"/>
                  </a:lnTo>
                  <a:lnTo>
                    <a:pt x="10" y="29"/>
                  </a:lnTo>
                  <a:lnTo>
                    <a:pt x="13" y="30"/>
                  </a:lnTo>
                  <a:lnTo>
                    <a:pt x="15" y="30"/>
                  </a:lnTo>
                  <a:lnTo>
                    <a:pt x="22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54" name="Freeform 283"/>
            <p:cNvSpPr>
              <a:spLocks/>
            </p:cNvSpPr>
            <p:nvPr/>
          </p:nvSpPr>
          <p:spPr bwMode="auto">
            <a:xfrm>
              <a:off x="7234238" y="2051050"/>
              <a:ext cx="57150" cy="9525"/>
            </a:xfrm>
            <a:custGeom>
              <a:avLst/>
              <a:gdLst>
                <a:gd name="T0" fmla="*/ 15 w 180"/>
                <a:gd name="T1" fmla="*/ 0 h 30"/>
                <a:gd name="T2" fmla="*/ 12 w 180"/>
                <a:gd name="T3" fmla="*/ 0 h 30"/>
                <a:gd name="T4" fmla="*/ 8 w 180"/>
                <a:gd name="T5" fmla="*/ 2 h 30"/>
                <a:gd name="T6" fmla="*/ 6 w 180"/>
                <a:gd name="T7" fmla="*/ 3 h 30"/>
                <a:gd name="T8" fmla="*/ 4 w 180"/>
                <a:gd name="T9" fmla="*/ 5 h 30"/>
                <a:gd name="T10" fmla="*/ 2 w 180"/>
                <a:gd name="T11" fmla="*/ 7 h 30"/>
                <a:gd name="T12" fmla="*/ 1 w 180"/>
                <a:gd name="T13" fmla="*/ 9 h 30"/>
                <a:gd name="T14" fmla="*/ 0 w 180"/>
                <a:gd name="T15" fmla="*/ 12 h 30"/>
                <a:gd name="T16" fmla="*/ 0 w 180"/>
                <a:gd name="T17" fmla="*/ 15 h 30"/>
                <a:gd name="T18" fmla="*/ 0 w 180"/>
                <a:gd name="T19" fmla="*/ 19 h 30"/>
                <a:gd name="T20" fmla="*/ 1 w 180"/>
                <a:gd name="T21" fmla="*/ 21 h 30"/>
                <a:gd name="T22" fmla="*/ 2 w 180"/>
                <a:gd name="T23" fmla="*/ 24 h 30"/>
                <a:gd name="T24" fmla="*/ 4 w 180"/>
                <a:gd name="T25" fmla="*/ 26 h 30"/>
                <a:gd name="T26" fmla="*/ 6 w 180"/>
                <a:gd name="T27" fmla="*/ 27 h 30"/>
                <a:gd name="T28" fmla="*/ 8 w 180"/>
                <a:gd name="T29" fmla="*/ 29 h 30"/>
                <a:gd name="T30" fmla="*/ 12 w 180"/>
                <a:gd name="T31" fmla="*/ 29 h 30"/>
                <a:gd name="T32" fmla="*/ 15 w 180"/>
                <a:gd name="T33" fmla="*/ 30 h 30"/>
                <a:gd name="T34" fmla="*/ 165 w 180"/>
                <a:gd name="T35" fmla="*/ 30 h 30"/>
                <a:gd name="T36" fmla="*/ 168 w 180"/>
                <a:gd name="T37" fmla="*/ 29 h 30"/>
                <a:gd name="T38" fmla="*/ 171 w 180"/>
                <a:gd name="T39" fmla="*/ 29 h 30"/>
                <a:gd name="T40" fmla="*/ 174 w 180"/>
                <a:gd name="T41" fmla="*/ 27 h 30"/>
                <a:gd name="T42" fmla="*/ 176 w 180"/>
                <a:gd name="T43" fmla="*/ 26 h 30"/>
                <a:gd name="T44" fmla="*/ 178 w 180"/>
                <a:gd name="T45" fmla="*/ 24 h 30"/>
                <a:gd name="T46" fmla="*/ 179 w 180"/>
                <a:gd name="T47" fmla="*/ 21 h 30"/>
                <a:gd name="T48" fmla="*/ 180 w 180"/>
                <a:gd name="T49" fmla="*/ 19 h 30"/>
                <a:gd name="T50" fmla="*/ 180 w 180"/>
                <a:gd name="T51" fmla="*/ 15 h 30"/>
                <a:gd name="T52" fmla="*/ 180 w 180"/>
                <a:gd name="T53" fmla="*/ 12 h 30"/>
                <a:gd name="T54" fmla="*/ 179 w 180"/>
                <a:gd name="T55" fmla="*/ 9 h 30"/>
                <a:gd name="T56" fmla="*/ 178 w 180"/>
                <a:gd name="T57" fmla="*/ 7 h 30"/>
                <a:gd name="T58" fmla="*/ 176 w 180"/>
                <a:gd name="T59" fmla="*/ 5 h 30"/>
                <a:gd name="T60" fmla="*/ 174 w 180"/>
                <a:gd name="T61" fmla="*/ 3 h 30"/>
                <a:gd name="T62" fmla="*/ 171 w 180"/>
                <a:gd name="T63" fmla="*/ 2 h 30"/>
                <a:gd name="T64" fmla="*/ 168 w 180"/>
                <a:gd name="T65" fmla="*/ 0 h 30"/>
                <a:gd name="T66" fmla="*/ 165 w 180"/>
                <a:gd name="T67" fmla="*/ 0 h 30"/>
                <a:gd name="T68" fmla="*/ 1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5" y="0"/>
                  </a:moveTo>
                  <a:lnTo>
                    <a:pt x="12" y="0"/>
                  </a:lnTo>
                  <a:lnTo>
                    <a:pt x="8" y="2"/>
                  </a:lnTo>
                  <a:lnTo>
                    <a:pt x="6" y="3"/>
                  </a:lnTo>
                  <a:lnTo>
                    <a:pt x="4" y="5"/>
                  </a:lnTo>
                  <a:lnTo>
                    <a:pt x="2" y="7"/>
                  </a:lnTo>
                  <a:lnTo>
                    <a:pt x="1" y="9"/>
                  </a:lnTo>
                  <a:lnTo>
                    <a:pt x="0" y="12"/>
                  </a:lnTo>
                  <a:lnTo>
                    <a:pt x="0" y="15"/>
                  </a:lnTo>
                  <a:lnTo>
                    <a:pt x="0" y="19"/>
                  </a:lnTo>
                  <a:lnTo>
                    <a:pt x="1" y="21"/>
                  </a:lnTo>
                  <a:lnTo>
                    <a:pt x="2" y="24"/>
                  </a:lnTo>
                  <a:lnTo>
                    <a:pt x="4" y="26"/>
                  </a:lnTo>
                  <a:lnTo>
                    <a:pt x="6" y="27"/>
                  </a:lnTo>
                  <a:lnTo>
                    <a:pt x="8" y="29"/>
                  </a:lnTo>
                  <a:lnTo>
                    <a:pt x="12" y="29"/>
                  </a:lnTo>
                  <a:lnTo>
                    <a:pt x="15" y="30"/>
                  </a:lnTo>
                  <a:lnTo>
                    <a:pt x="165" y="30"/>
                  </a:lnTo>
                  <a:lnTo>
                    <a:pt x="168" y="29"/>
                  </a:lnTo>
                  <a:lnTo>
                    <a:pt x="171" y="29"/>
                  </a:lnTo>
                  <a:lnTo>
                    <a:pt x="174" y="27"/>
                  </a:lnTo>
                  <a:lnTo>
                    <a:pt x="176" y="26"/>
                  </a:lnTo>
                  <a:lnTo>
                    <a:pt x="178" y="24"/>
                  </a:lnTo>
                  <a:lnTo>
                    <a:pt x="179" y="21"/>
                  </a:lnTo>
                  <a:lnTo>
                    <a:pt x="180" y="19"/>
                  </a:lnTo>
                  <a:lnTo>
                    <a:pt x="180" y="15"/>
                  </a:lnTo>
                  <a:lnTo>
                    <a:pt x="180" y="12"/>
                  </a:lnTo>
                  <a:lnTo>
                    <a:pt x="179" y="9"/>
                  </a:lnTo>
                  <a:lnTo>
                    <a:pt x="178" y="7"/>
                  </a:lnTo>
                  <a:lnTo>
                    <a:pt x="176" y="5"/>
                  </a:lnTo>
                  <a:lnTo>
                    <a:pt x="174" y="3"/>
                  </a:lnTo>
                  <a:lnTo>
                    <a:pt x="171" y="2"/>
                  </a:lnTo>
                  <a:lnTo>
                    <a:pt x="168" y="0"/>
                  </a:lnTo>
                  <a:lnTo>
                    <a:pt x="16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87" name="Freeform 284"/>
            <p:cNvSpPr>
              <a:spLocks/>
            </p:cNvSpPr>
            <p:nvPr/>
          </p:nvSpPr>
          <p:spPr bwMode="auto">
            <a:xfrm>
              <a:off x="7234238" y="207010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2 h 30"/>
                <a:gd name="T10" fmla="*/ 4 w 180"/>
                <a:gd name="T11" fmla="*/ 4 h 30"/>
                <a:gd name="T12" fmla="*/ 2 w 180"/>
                <a:gd name="T13" fmla="*/ 6 h 30"/>
                <a:gd name="T14" fmla="*/ 1 w 180"/>
                <a:gd name="T15" fmla="*/ 8 h 30"/>
                <a:gd name="T16" fmla="*/ 0 w 180"/>
                <a:gd name="T17" fmla="*/ 11 h 30"/>
                <a:gd name="T18" fmla="*/ 0 w 180"/>
                <a:gd name="T19" fmla="*/ 15 h 30"/>
                <a:gd name="T20" fmla="*/ 0 w 180"/>
                <a:gd name="T21" fmla="*/ 18 h 30"/>
                <a:gd name="T22" fmla="*/ 1 w 180"/>
                <a:gd name="T23" fmla="*/ 20 h 30"/>
                <a:gd name="T24" fmla="*/ 2 w 180"/>
                <a:gd name="T25" fmla="*/ 23 h 30"/>
                <a:gd name="T26" fmla="*/ 4 w 180"/>
                <a:gd name="T27" fmla="*/ 25 h 30"/>
                <a:gd name="T28" fmla="*/ 6 w 180"/>
                <a:gd name="T29" fmla="*/ 26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6 h 30"/>
                <a:gd name="T44" fmla="*/ 176 w 180"/>
                <a:gd name="T45" fmla="*/ 25 h 30"/>
                <a:gd name="T46" fmla="*/ 178 w 180"/>
                <a:gd name="T47" fmla="*/ 23 h 30"/>
                <a:gd name="T48" fmla="*/ 179 w 180"/>
                <a:gd name="T49" fmla="*/ 20 h 30"/>
                <a:gd name="T50" fmla="*/ 180 w 180"/>
                <a:gd name="T51" fmla="*/ 18 h 30"/>
                <a:gd name="T52" fmla="*/ 180 w 180"/>
                <a:gd name="T53" fmla="*/ 15 h 30"/>
                <a:gd name="T54" fmla="*/ 180 w 180"/>
                <a:gd name="T55" fmla="*/ 11 h 30"/>
                <a:gd name="T56" fmla="*/ 179 w 180"/>
                <a:gd name="T57" fmla="*/ 8 h 30"/>
                <a:gd name="T58" fmla="*/ 178 w 180"/>
                <a:gd name="T59" fmla="*/ 6 h 30"/>
                <a:gd name="T60" fmla="*/ 176 w 180"/>
                <a:gd name="T61" fmla="*/ 4 h 30"/>
                <a:gd name="T62" fmla="*/ 174 w 180"/>
                <a:gd name="T63" fmla="*/ 2 h 30"/>
                <a:gd name="T64" fmla="*/ 171 w 180"/>
                <a:gd name="T65" fmla="*/ 1 h 30"/>
                <a:gd name="T66" fmla="*/ 168 w 180"/>
                <a:gd name="T67" fmla="*/ 0 h 30"/>
                <a:gd name="T68" fmla="*/ 16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65" y="0"/>
                  </a:moveTo>
                  <a:lnTo>
                    <a:pt x="15" y="0"/>
                  </a:lnTo>
                  <a:lnTo>
                    <a:pt x="12" y="0"/>
                  </a:lnTo>
                  <a:lnTo>
                    <a:pt x="8" y="1"/>
                  </a:lnTo>
                  <a:lnTo>
                    <a:pt x="6" y="2"/>
                  </a:lnTo>
                  <a:lnTo>
                    <a:pt x="4" y="4"/>
                  </a:lnTo>
                  <a:lnTo>
                    <a:pt x="2" y="6"/>
                  </a:lnTo>
                  <a:lnTo>
                    <a:pt x="1" y="8"/>
                  </a:lnTo>
                  <a:lnTo>
                    <a:pt x="0" y="11"/>
                  </a:lnTo>
                  <a:lnTo>
                    <a:pt x="0" y="15"/>
                  </a:lnTo>
                  <a:lnTo>
                    <a:pt x="0" y="18"/>
                  </a:lnTo>
                  <a:lnTo>
                    <a:pt x="1" y="20"/>
                  </a:lnTo>
                  <a:lnTo>
                    <a:pt x="2" y="23"/>
                  </a:lnTo>
                  <a:lnTo>
                    <a:pt x="4" y="25"/>
                  </a:lnTo>
                  <a:lnTo>
                    <a:pt x="6" y="26"/>
                  </a:lnTo>
                  <a:lnTo>
                    <a:pt x="8" y="29"/>
                  </a:lnTo>
                  <a:lnTo>
                    <a:pt x="12" y="30"/>
                  </a:lnTo>
                  <a:lnTo>
                    <a:pt x="15" y="30"/>
                  </a:lnTo>
                  <a:lnTo>
                    <a:pt x="165" y="30"/>
                  </a:lnTo>
                  <a:lnTo>
                    <a:pt x="168" y="30"/>
                  </a:lnTo>
                  <a:lnTo>
                    <a:pt x="171" y="29"/>
                  </a:lnTo>
                  <a:lnTo>
                    <a:pt x="174" y="26"/>
                  </a:lnTo>
                  <a:lnTo>
                    <a:pt x="176" y="25"/>
                  </a:lnTo>
                  <a:lnTo>
                    <a:pt x="178" y="23"/>
                  </a:lnTo>
                  <a:lnTo>
                    <a:pt x="179" y="20"/>
                  </a:lnTo>
                  <a:lnTo>
                    <a:pt x="180" y="18"/>
                  </a:lnTo>
                  <a:lnTo>
                    <a:pt x="180" y="15"/>
                  </a:lnTo>
                  <a:lnTo>
                    <a:pt x="180" y="11"/>
                  </a:lnTo>
                  <a:lnTo>
                    <a:pt x="179" y="8"/>
                  </a:lnTo>
                  <a:lnTo>
                    <a:pt x="178" y="6"/>
                  </a:lnTo>
                  <a:lnTo>
                    <a:pt x="176" y="4"/>
                  </a:lnTo>
                  <a:lnTo>
                    <a:pt x="174" y="2"/>
                  </a:lnTo>
                  <a:lnTo>
                    <a:pt x="171" y="1"/>
                  </a:lnTo>
                  <a:lnTo>
                    <a:pt x="168"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88" name="Freeform 285"/>
            <p:cNvSpPr>
              <a:spLocks/>
            </p:cNvSpPr>
            <p:nvPr/>
          </p:nvSpPr>
          <p:spPr bwMode="auto">
            <a:xfrm>
              <a:off x="7234238" y="208915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2 h 30"/>
                <a:gd name="T10" fmla="*/ 4 w 180"/>
                <a:gd name="T11" fmla="*/ 4 h 30"/>
                <a:gd name="T12" fmla="*/ 2 w 180"/>
                <a:gd name="T13" fmla="*/ 6 h 30"/>
                <a:gd name="T14" fmla="*/ 1 w 180"/>
                <a:gd name="T15" fmla="*/ 9 h 30"/>
                <a:gd name="T16" fmla="*/ 0 w 180"/>
                <a:gd name="T17" fmla="*/ 11 h 30"/>
                <a:gd name="T18" fmla="*/ 0 w 180"/>
                <a:gd name="T19" fmla="*/ 15 h 30"/>
                <a:gd name="T20" fmla="*/ 0 w 180"/>
                <a:gd name="T21" fmla="*/ 18 h 30"/>
                <a:gd name="T22" fmla="*/ 1 w 180"/>
                <a:gd name="T23" fmla="*/ 20 h 30"/>
                <a:gd name="T24" fmla="*/ 2 w 180"/>
                <a:gd name="T25" fmla="*/ 23 h 30"/>
                <a:gd name="T26" fmla="*/ 4 w 180"/>
                <a:gd name="T27" fmla="*/ 25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5 h 30"/>
                <a:gd name="T46" fmla="*/ 178 w 180"/>
                <a:gd name="T47" fmla="*/ 23 h 30"/>
                <a:gd name="T48" fmla="*/ 179 w 180"/>
                <a:gd name="T49" fmla="*/ 20 h 30"/>
                <a:gd name="T50" fmla="*/ 180 w 180"/>
                <a:gd name="T51" fmla="*/ 18 h 30"/>
                <a:gd name="T52" fmla="*/ 180 w 180"/>
                <a:gd name="T53" fmla="*/ 15 h 30"/>
                <a:gd name="T54" fmla="*/ 180 w 180"/>
                <a:gd name="T55" fmla="*/ 11 h 30"/>
                <a:gd name="T56" fmla="*/ 179 w 180"/>
                <a:gd name="T57" fmla="*/ 9 h 30"/>
                <a:gd name="T58" fmla="*/ 178 w 180"/>
                <a:gd name="T59" fmla="*/ 6 h 30"/>
                <a:gd name="T60" fmla="*/ 176 w 180"/>
                <a:gd name="T61" fmla="*/ 4 h 30"/>
                <a:gd name="T62" fmla="*/ 174 w 180"/>
                <a:gd name="T63" fmla="*/ 2 h 30"/>
                <a:gd name="T64" fmla="*/ 171 w 180"/>
                <a:gd name="T65" fmla="*/ 1 h 30"/>
                <a:gd name="T66" fmla="*/ 168 w 180"/>
                <a:gd name="T67" fmla="*/ 0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0"/>
                  </a:lnTo>
                  <a:lnTo>
                    <a:pt x="8" y="1"/>
                  </a:lnTo>
                  <a:lnTo>
                    <a:pt x="6" y="2"/>
                  </a:lnTo>
                  <a:lnTo>
                    <a:pt x="4" y="4"/>
                  </a:lnTo>
                  <a:lnTo>
                    <a:pt x="2" y="6"/>
                  </a:lnTo>
                  <a:lnTo>
                    <a:pt x="1" y="9"/>
                  </a:lnTo>
                  <a:lnTo>
                    <a:pt x="0" y="11"/>
                  </a:lnTo>
                  <a:lnTo>
                    <a:pt x="0" y="15"/>
                  </a:lnTo>
                  <a:lnTo>
                    <a:pt x="0" y="18"/>
                  </a:lnTo>
                  <a:lnTo>
                    <a:pt x="1" y="20"/>
                  </a:lnTo>
                  <a:lnTo>
                    <a:pt x="2" y="23"/>
                  </a:lnTo>
                  <a:lnTo>
                    <a:pt x="4" y="25"/>
                  </a:lnTo>
                  <a:lnTo>
                    <a:pt x="6" y="28"/>
                  </a:lnTo>
                  <a:lnTo>
                    <a:pt x="8" y="29"/>
                  </a:lnTo>
                  <a:lnTo>
                    <a:pt x="12" y="30"/>
                  </a:lnTo>
                  <a:lnTo>
                    <a:pt x="15" y="30"/>
                  </a:lnTo>
                  <a:lnTo>
                    <a:pt x="165" y="30"/>
                  </a:lnTo>
                  <a:lnTo>
                    <a:pt x="168" y="30"/>
                  </a:lnTo>
                  <a:lnTo>
                    <a:pt x="171" y="29"/>
                  </a:lnTo>
                  <a:lnTo>
                    <a:pt x="174" y="28"/>
                  </a:lnTo>
                  <a:lnTo>
                    <a:pt x="176" y="25"/>
                  </a:lnTo>
                  <a:lnTo>
                    <a:pt x="178" y="23"/>
                  </a:lnTo>
                  <a:lnTo>
                    <a:pt x="179" y="20"/>
                  </a:lnTo>
                  <a:lnTo>
                    <a:pt x="180" y="18"/>
                  </a:lnTo>
                  <a:lnTo>
                    <a:pt x="180" y="15"/>
                  </a:lnTo>
                  <a:lnTo>
                    <a:pt x="180" y="11"/>
                  </a:lnTo>
                  <a:lnTo>
                    <a:pt x="179" y="9"/>
                  </a:lnTo>
                  <a:lnTo>
                    <a:pt x="178" y="6"/>
                  </a:lnTo>
                  <a:lnTo>
                    <a:pt x="176" y="4"/>
                  </a:lnTo>
                  <a:lnTo>
                    <a:pt x="174" y="2"/>
                  </a:lnTo>
                  <a:lnTo>
                    <a:pt x="171" y="1"/>
                  </a:lnTo>
                  <a:lnTo>
                    <a:pt x="168" y="0"/>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89" name="Freeform 286"/>
            <p:cNvSpPr>
              <a:spLocks/>
            </p:cNvSpPr>
            <p:nvPr/>
          </p:nvSpPr>
          <p:spPr bwMode="auto">
            <a:xfrm>
              <a:off x="7234238" y="210820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3 h 30"/>
                <a:gd name="T10" fmla="*/ 4 w 180"/>
                <a:gd name="T11" fmla="*/ 4 h 30"/>
                <a:gd name="T12" fmla="*/ 2 w 180"/>
                <a:gd name="T13" fmla="*/ 6 h 30"/>
                <a:gd name="T14" fmla="*/ 1 w 180"/>
                <a:gd name="T15" fmla="*/ 9 h 30"/>
                <a:gd name="T16" fmla="*/ 0 w 180"/>
                <a:gd name="T17" fmla="*/ 12 h 30"/>
                <a:gd name="T18" fmla="*/ 0 w 180"/>
                <a:gd name="T19" fmla="*/ 15 h 30"/>
                <a:gd name="T20" fmla="*/ 0 w 180"/>
                <a:gd name="T21" fmla="*/ 18 h 30"/>
                <a:gd name="T22" fmla="*/ 1 w 180"/>
                <a:gd name="T23" fmla="*/ 21 h 30"/>
                <a:gd name="T24" fmla="*/ 2 w 180"/>
                <a:gd name="T25" fmla="*/ 23 h 30"/>
                <a:gd name="T26" fmla="*/ 4 w 180"/>
                <a:gd name="T27" fmla="*/ 25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5 h 30"/>
                <a:gd name="T46" fmla="*/ 178 w 180"/>
                <a:gd name="T47" fmla="*/ 23 h 30"/>
                <a:gd name="T48" fmla="*/ 179 w 180"/>
                <a:gd name="T49" fmla="*/ 21 h 30"/>
                <a:gd name="T50" fmla="*/ 180 w 180"/>
                <a:gd name="T51" fmla="*/ 18 h 30"/>
                <a:gd name="T52" fmla="*/ 180 w 180"/>
                <a:gd name="T53" fmla="*/ 15 h 30"/>
                <a:gd name="T54" fmla="*/ 180 w 180"/>
                <a:gd name="T55" fmla="*/ 12 h 30"/>
                <a:gd name="T56" fmla="*/ 179 w 180"/>
                <a:gd name="T57" fmla="*/ 9 h 30"/>
                <a:gd name="T58" fmla="*/ 178 w 180"/>
                <a:gd name="T59" fmla="*/ 6 h 30"/>
                <a:gd name="T60" fmla="*/ 176 w 180"/>
                <a:gd name="T61" fmla="*/ 4 h 30"/>
                <a:gd name="T62" fmla="*/ 174 w 180"/>
                <a:gd name="T63" fmla="*/ 3 h 30"/>
                <a:gd name="T64" fmla="*/ 171 w 180"/>
                <a:gd name="T65" fmla="*/ 1 h 30"/>
                <a:gd name="T66" fmla="*/ 168 w 180"/>
                <a:gd name="T67" fmla="*/ 0 h 30"/>
                <a:gd name="T68" fmla="*/ 16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65" y="0"/>
                  </a:moveTo>
                  <a:lnTo>
                    <a:pt x="15" y="0"/>
                  </a:lnTo>
                  <a:lnTo>
                    <a:pt x="12" y="0"/>
                  </a:lnTo>
                  <a:lnTo>
                    <a:pt x="8" y="1"/>
                  </a:lnTo>
                  <a:lnTo>
                    <a:pt x="6" y="3"/>
                  </a:lnTo>
                  <a:lnTo>
                    <a:pt x="4" y="4"/>
                  </a:lnTo>
                  <a:lnTo>
                    <a:pt x="2" y="6"/>
                  </a:lnTo>
                  <a:lnTo>
                    <a:pt x="1" y="9"/>
                  </a:lnTo>
                  <a:lnTo>
                    <a:pt x="0" y="12"/>
                  </a:lnTo>
                  <a:lnTo>
                    <a:pt x="0" y="15"/>
                  </a:lnTo>
                  <a:lnTo>
                    <a:pt x="0" y="18"/>
                  </a:lnTo>
                  <a:lnTo>
                    <a:pt x="1" y="21"/>
                  </a:lnTo>
                  <a:lnTo>
                    <a:pt x="2" y="23"/>
                  </a:lnTo>
                  <a:lnTo>
                    <a:pt x="4" y="25"/>
                  </a:lnTo>
                  <a:lnTo>
                    <a:pt x="6" y="28"/>
                  </a:lnTo>
                  <a:lnTo>
                    <a:pt x="8" y="29"/>
                  </a:lnTo>
                  <a:lnTo>
                    <a:pt x="12" y="30"/>
                  </a:lnTo>
                  <a:lnTo>
                    <a:pt x="15" y="30"/>
                  </a:lnTo>
                  <a:lnTo>
                    <a:pt x="165" y="30"/>
                  </a:lnTo>
                  <a:lnTo>
                    <a:pt x="168" y="30"/>
                  </a:lnTo>
                  <a:lnTo>
                    <a:pt x="171" y="29"/>
                  </a:lnTo>
                  <a:lnTo>
                    <a:pt x="174" y="28"/>
                  </a:lnTo>
                  <a:lnTo>
                    <a:pt x="176" y="25"/>
                  </a:lnTo>
                  <a:lnTo>
                    <a:pt x="178" y="23"/>
                  </a:lnTo>
                  <a:lnTo>
                    <a:pt x="179" y="21"/>
                  </a:lnTo>
                  <a:lnTo>
                    <a:pt x="180" y="18"/>
                  </a:lnTo>
                  <a:lnTo>
                    <a:pt x="180" y="15"/>
                  </a:lnTo>
                  <a:lnTo>
                    <a:pt x="180" y="12"/>
                  </a:lnTo>
                  <a:lnTo>
                    <a:pt x="179" y="9"/>
                  </a:lnTo>
                  <a:lnTo>
                    <a:pt x="178" y="6"/>
                  </a:lnTo>
                  <a:lnTo>
                    <a:pt x="176" y="4"/>
                  </a:lnTo>
                  <a:lnTo>
                    <a:pt x="174" y="3"/>
                  </a:lnTo>
                  <a:lnTo>
                    <a:pt x="171" y="1"/>
                  </a:lnTo>
                  <a:lnTo>
                    <a:pt x="168"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90" name="Freeform 287"/>
            <p:cNvSpPr>
              <a:spLocks/>
            </p:cNvSpPr>
            <p:nvPr/>
          </p:nvSpPr>
          <p:spPr bwMode="auto">
            <a:xfrm>
              <a:off x="7234238" y="2146300"/>
              <a:ext cx="57150" cy="9525"/>
            </a:xfrm>
            <a:custGeom>
              <a:avLst/>
              <a:gdLst>
                <a:gd name="T0" fmla="*/ 165 w 180"/>
                <a:gd name="T1" fmla="*/ 0 h 30"/>
                <a:gd name="T2" fmla="*/ 15 w 180"/>
                <a:gd name="T3" fmla="*/ 0 h 30"/>
                <a:gd name="T4" fmla="*/ 12 w 180"/>
                <a:gd name="T5" fmla="*/ 1 h 30"/>
                <a:gd name="T6" fmla="*/ 8 w 180"/>
                <a:gd name="T7" fmla="*/ 1 h 30"/>
                <a:gd name="T8" fmla="*/ 6 w 180"/>
                <a:gd name="T9" fmla="*/ 3 h 30"/>
                <a:gd name="T10" fmla="*/ 4 w 180"/>
                <a:gd name="T11" fmla="*/ 4 h 30"/>
                <a:gd name="T12" fmla="*/ 2 w 180"/>
                <a:gd name="T13" fmla="*/ 7 h 30"/>
                <a:gd name="T14" fmla="*/ 1 w 180"/>
                <a:gd name="T15" fmla="*/ 10 h 30"/>
                <a:gd name="T16" fmla="*/ 0 w 180"/>
                <a:gd name="T17" fmla="*/ 13 h 30"/>
                <a:gd name="T18" fmla="*/ 0 w 180"/>
                <a:gd name="T19" fmla="*/ 15 h 30"/>
                <a:gd name="T20" fmla="*/ 0 w 180"/>
                <a:gd name="T21" fmla="*/ 18 h 30"/>
                <a:gd name="T22" fmla="*/ 1 w 180"/>
                <a:gd name="T23" fmla="*/ 21 h 30"/>
                <a:gd name="T24" fmla="*/ 2 w 180"/>
                <a:gd name="T25" fmla="*/ 23 h 30"/>
                <a:gd name="T26" fmla="*/ 4 w 180"/>
                <a:gd name="T27" fmla="*/ 26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6 h 30"/>
                <a:gd name="T46" fmla="*/ 178 w 180"/>
                <a:gd name="T47" fmla="*/ 23 h 30"/>
                <a:gd name="T48" fmla="*/ 179 w 180"/>
                <a:gd name="T49" fmla="*/ 21 h 30"/>
                <a:gd name="T50" fmla="*/ 180 w 180"/>
                <a:gd name="T51" fmla="*/ 18 h 30"/>
                <a:gd name="T52" fmla="*/ 180 w 180"/>
                <a:gd name="T53" fmla="*/ 15 h 30"/>
                <a:gd name="T54" fmla="*/ 180 w 180"/>
                <a:gd name="T55" fmla="*/ 13 h 30"/>
                <a:gd name="T56" fmla="*/ 179 w 180"/>
                <a:gd name="T57" fmla="*/ 10 h 30"/>
                <a:gd name="T58" fmla="*/ 178 w 180"/>
                <a:gd name="T59" fmla="*/ 7 h 30"/>
                <a:gd name="T60" fmla="*/ 176 w 180"/>
                <a:gd name="T61" fmla="*/ 4 h 30"/>
                <a:gd name="T62" fmla="*/ 174 w 180"/>
                <a:gd name="T63" fmla="*/ 3 h 30"/>
                <a:gd name="T64" fmla="*/ 171 w 180"/>
                <a:gd name="T65" fmla="*/ 1 h 30"/>
                <a:gd name="T66" fmla="*/ 168 w 180"/>
                <a:gd name="T67" fmla="*/ 1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1"/>
                  </a:lnTo>
                  <a:lnTo>
                    <a:pt x="8" y="1"/>
                  </a:lnTo>
                  <a:lnTo>
                    <a:pt x="6" y="3"/>
                  </a:lnTo>
                  <a:lnTo>
                    <a:pt x="4" y="4"/>
                  </a:lnTo>
                  <a:lnTo>
                    <a:pt x="2" y="7"/>
                  </a:lnTo>
                  <a:lnTo>
                    <a:pt x="1" y="10"/>
                  </a:lnTo>
                  <a:lnTo>
                    <a:pt x="0" y="13"/>
                  </a:lnTo>
                  <a:lnTo>
                    <a:pt x="0" y="15"/>
                  </a:lnTo>
                  <a:lnTo>
                    <a:pt x="0" y="18"/>
                  </a:lnTo>
                  <a:lnTo>
                    <a:pt x="1" y="21"/>
                  </a:lnTo>
                  <a:lnTo>
                    <a:pt x="2" y="23"/>
                  </a:lnTo>
                  <a:lnTo>
                    <a:pt x="4" y="26"/>
                  </a:lnTo>
                  <a:lnTo>
                    <a:pt x="6" y="28"/>
                  </a:lnTo>
                  <a:lnTo>
                    <a:pt x="8" y="29"/>
                  </a:lnTo>
                  <a:lnTo>
                    <a:pt x="12" y="30"/>
                  </a:lnTo>
                  <a:lnTo>
                    <a:pt x="15" y="30"/>
                  </a:lnTo>
                  <a:lnTo>
                    <a:pt x="165" y="30"/>
                  </a:lnTo>
                  <a:lnTo>
                    <a:pt x="168" y="30"/>
                  </a:lnTo>
                  <a:lnTo>
                    <a:pt x="171" y="29"/>
                  </a:lnTo>
                  <a:lnTo>
                    <a:pt x="174" y="28"/>
                  </a:lnTo>
                  <a:lnTo>
                    <a:pt x="176" y="26"/>
                  </a:lnTo>
                  <a:lnTo>
                    <a:pt x="178" y="23"/>
                  </a:lnTo>
                  <a:lnTo>
                    <a:pt x="179" y="21"/>
                  </a:lnTo>
                  <a:lnTo>
                    <a:pt x="180" y="18"/>
                  </a:lnTo>
                  <a:lnTo>
                    <a:pt x="180" y="15"/>
                  </a:lnTo>
                  <a:lnTo>
                    <a:pt x="180" y="13"/>
                  </a:lnTo>
                  <a:lnTo>
                    <a:pt x="179" y="10"/>
                  </a:lnTo>
                  <a:lnTo>
                    <a:pt x="178" y="7"/>
                  </a:lnTo>
                  <a:lnTo>
                    <a:pt x="176" y="4"/>
                  </a:lnTo>
                  <a:lnTo>
                    <a:pt x="174" y="3"/>
                  </a:lnTo>
                  <a:lnTo>
                    <a:pt x="171" y="1"/>
                  </a:lnTo>
                  <a:lnTo>
                    <a:pt x="168" y="1"/>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91" name="Freeform 288"/>
            <p:cNvSpPr>
              <a:spLocks/>
            </p:cNvSpPr>
            <p:nvPr/>
          </p:nvSpPr>
          <p:spPr bwMode="auto">
            <a:xfrm>
              <a:off x="7234238" y="212725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3 h 30"/>
                <a:gd name="T10" fmla="*/ 4 w 180"/>
                <a:gd name="T11" fmla="*/ 4 h 30"/>
                <a:gd name="T12" fmla="*/ 2 w 180"/>
                <a:gd name="T13" fmla="*/ 6 h 30"/>
                <a:gd name="T14" fmla="*/ 1 w 180"/>
                <a:gd name="T15" fmla="*/ 9 h 30"/>
                <a:gd name="T16" fmla="*/ 0 w 180"/>
                <a:gd name="T17" fmla="*/ 12 h 30"/>
                <a:gd name="T18" fmla="*/ 0 w 180"/>
                <a:gd name="T19" fmla="*/ 15 h 30"/>
                <a:gd name="T20" fmla="*/ 0 w 180"/>
                <a:gd name="T21" fmla="*/ 18 h 30"/>
                <a:gd name="T22" fmla="*/ 1 w 180"/>
                <a:gd name="T23" fmla="*/ 21 h 30"/>
                <a:gd name="T24" fmla="*/ 2 w 180"/>
                <a:gd name="T25" fmla="*/ 23 h 30"/>
                <a:gd name="T26" fmla="*/ 4 w 180"/>
                <a:gd name="T27" fmla="*/ 26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6 h 30"/>
                <a:gd name="T46" fmla="*/ 178 w 180"/>
                <a:gd name="T47" fmla="*/ 23 h 30"/>
                <a:gd name="T48" fmla="*/ 179 w 180"/>
                <a:gd name="T49" fmla="*/ 21 h 30"/>
                <a:gd name="T50" fmla="*/ 180 w 180"/>
                <a:gd name="T51" fmla="*/ 18 h 30"/>
                <a:gd name="T52" fmla="*/ 180 w 180"/>
                <a:gd name="T53" fmla="*/ 15 h 30"/>
                <a:gd name="T54" fmla="*/ 180 w 180"/>
                <a:gd name="T55" fmla="*/ 12 h 30"/>
                <a:gd name="T56" fmla="*/ 179 w 180"/>
                <a:gd name="T57" fmla="*/ 9 h 30"/>
                <a:gd name="T58" fmla="*/ 178 w 180"/>
                <a:gd name="T59" fmla="*/ 6 h 30"/>
                <a:gd name="T60" fmla="*/ 176 w 180"/>
                <a:gd name="T61" fmla="*/ 4 h 30"/>
                <a:gd name="T62" fmla="*/ 174 w 180"/>
                <a:gd name="T63" fmla="*/ 3 h 30"/>
                <a:gd name="T64" fmla="*/ 171 w 180"/>
                <a:gd name="T65" fmla="*/ 1 h 30"/>
                <a:gd name="T66" fmla="*/ 168 w 180"/>
                <a:gd name="T67" fmla="*/ 1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0"/>
                  </a:lnTo>
                  <a:lnTo>
                    <a:pt x="8" y="1"/>
                  </a:lnTo>
                  <a:lnTo>
                    <a:pt x="6" y="3"/>
                  </a:lnTo>
                  <a:lnTo>
                    <a:pt x="4" y="4"/>
                  </a:lnTo>
                  <a:lnTo>
                    <a:pt x="2" y="6"/>
                  </a:lnTo>
                  <a:lnTo>
                    <a:pt x="1" y="9"/>
                  </a:lnTo>
                  <a:lnTo>
                    <a:pt x="0" y="12"/>
                  </a:lnTo>
                  <a:lnTo>
                    <a:pt x="0" y="15"/>
                  </a:lnTo>
                  <a:lnTo>
                    <a:pt x="0" y="18"/>
                  </a:lnTo>
                  <a:lnTo>
                    <a:pt x="1" y="21"/>
                  </a:lnTo>
                  <a:lnTo>
                    <a:pt x="2" y="23"/>
                  </a:lnTo>
                  <a:lnTo>
                    <a:pt x="4" y="26"/>
                  </a:lnTo>
                  <a:lnTo>
                    <a:pt x="6" y="28"/>
                  </a:lnTo>
                  <a:lnTo>
                    <a:pt x="8" y="29"/>
                  </a:lnTo>
                  <a:lnTo>
                    <a:pt x="12" y="30"/>
                  </a:lnTo>
                  <a:lnTo>
                    <a:pt x="15" y="30"/>
                  </a:lnTo>
                  <a:lnTo>
                    <a:pt x="165" y="30"/>
                  </a:lnTo>
                  <a:lnTo>
                    <a:pt x="168" y="30"/>
                  </a:lnTo>
                  <a:lnTo>
                    <a:pt x="171" y="29"/>
                  </a:lnTo>
                  <a:lnTo>
                    <a:pt x="174" y="28"/>
                  </a:lnTo>
                  <a:lnTo>
                    <a:pt x="176" y="26"/>
                  </a:lnTo>
                  <a:lnTo>
                    <a:pt x="178" y="23"/>
                  </a:lnTo>
                  <a:lnTo>
                    <a:pt x="179" y="21"/>
                  </a:lnTo>
                  <a:lnTo>
                    <a:pt x="180" y="18"/>
                  </a:lnTo>
                  <a:lnTo>
                    <a:pt x="180" y="15"/>
                  </a:lnTo>
                  <a:lnTo>
                    <a:pt x="180" y="12"/>
                  </a:lnTo>
                  <a:lnTo>
                    <a:pt x="179" y="9"/>
                  </a:lnTo>
                  <a:lnTo>
                    <a:pt x="178" y="6"/>
                  </a:lnTo>
                  <a:lnTo>
                    <a:pt x="176" y="4"/>
                  </a:lnTo>
                  <a:lnTo>
                    <a:pt x="174" y="3"/>
                  </a:lnTo>
                  <a:lnTo>
                    <a:pt x="171" y="1"/>
                  </a:lnTo>
                  <a:lnTo>
                    <a:pt x="168" y="1"/>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92" name="Freeform 289"/>
            <p:cNvSpPr>
              <a:spLocks/>
            </p:cNvSpPr>
            <p:nvPr/>
          </p:nvSpPr>
          <p:spPr bwMode="auto">
            <a:xfrm>
              <a:off x="7148513" y="2108200"/>
              <a:ext cx="57150" cy="9525"/>
            </a:xfrm>
            <a:custGeom>
              <a:avLst/>
              <a:gdLst>
                <a:gd name="T0" fmla="*/ 15 w 181"/>
                <a:gd name="T1" fmla="*/ 30 h 30"/>
                <a:gd name="T2" fmla="*/ 166 w 181"/>
                <a:gd name="T3" fmla="*/ 30 h 30"/>
                <a:gd name="T4" fmla="*/ 168 w 181"/>
                <a:gd name="T5" fmla="*/ 30 h 30"/>
                <a:gd name="T6" fmla="*/ 171 w 181"/>
                <a:gd name="T7" fmla="*/ 29 h 30"/>
                <a:gd name="T8" fmla="*/ 173 w 181"/>
                <a:gd name="T9" fmla="*/ 28 h 30"/>
                <a:gd name="T10" fmla="*/ 175 w 181"/>
                <a:gd name="T11" fmla="*/ 25 h 30"/>
                <a:gd name="T12" fmla="*/ 178 w 181"/>
                <a:gd name="T13" fmla="*/ 23 h 30"/>
                <a:gd name="T14" fmla="*/ 179 w 181"/>
                <a:gd name="T15" fmla="*/ 21 h 30"/>
                <a:gd name="T16" fmla="*/ 180 w 181"/>
                <a:gd name="T17" fmla="*/ 18 h 30"/>
                <a:gd name="T18" fmla="*/ 181 w 181"/>
                <a:gd name="T19" fmla="*/ 15 h 30"/>
                <a:gd name="T20" fmla="*/ 180 w 181"/>
                <a:gd name="T21" fmla="*/ 12 h 30"/>
                <a:gd name="T22" fmla="*/ 179 w 181"/>
                <a:gd name="T23" fmla="*/ 9 h 30"/>
                <a:gd name="T24" fmla="*/ 178 w 181"/>
                <a:gd name="T25" fmla="*/ 6 h 30"/>
                <a:gd name="T26" fmla="*/ 175 w 181"/>
                <a:gd name="T27" fmla="*/ 4 h 30"/>
                <a:gd name="T28" fmla="*/ 173 w 181"/>
                <a:gd name="T29" fmla="*/ 3 h 30"/>
                <a:gd name="T30" fmla="*/ 171 w 181"/>
                <a:gd name="T31" fmla="*/ 1 h 30"/>
                <a:gd name="T32" fmla="*/ 168 w 181"/>
                <a:gd name="T33" fmla="*/ 0 h 30"/>
                <a:gd name="T34" fmla="*/ 166 w 181"/>
                <a:gd name="T35" fmla="*/ 0 h 30"/>
                <a:gd name="T36" fmla="*/ 15 w 181"/>
                <a:gd name="T37" fmla="*/ 0 h 30"/>
                <a:gd name="T38" fmla="*/ 11 w 181"/>
                <a:gd name="T39" fmla="*/ 0 h 30"/>
                <a:gd name="T40" fmla="*/ 9 w 181"/>
                <a:gd name="T41" fmla="*/ 1 h 30"/>
                <a:gd name="T42" fmla="*/ 6 w 181"/>
                <a:gd name="T43" fmla="*/ 3 h 30"/>
                <a:gd name="T44" fmla="*/ 4 w 181"/>
                <a:gd name="T45" fmla="*/ 4 h 30"/>
                <a:gd name="T46" fmla="*/ 3 w 181"/>
                <a:gd name="T47" fmla="*/ 6 h 30"/>
                <a:gd name="T48" fmla="*/ 1 w 181"/>
                <a:gd name="T49" fmla="*/ 9 h 30"/>
                <a:gd name="T50" fmla="*/ 0 w 181"/>
                <a:gd name="T51" fmla="*/ 12 h 30"/>
                <a:gd name="T52" fmla="*/ 0 w 181"/>
                <a:gd name="T53" fmla="*/ 15 h 30"/>
                <a:gd name="T54" fmla="*/ 0 w 181"/>
                <a:gd name="T55" fmla="*/ 18 h 30"/>
                <a:gd name="T56" fmla="*/ 1 w 181"/>
                <a:gd name="T57" fmla="*/ 21 h 30"/>
                <a:gd name="T58" fmla="*/ 3 w 181"/>
                <a:gd name="T59" fmla="*/ 23 h 30"/>
                <a:gd name="T60" fmla="*/ 4 w 181"/>
                <a:gd name="T61" fmla="*/ 25 h 30"/>
                <a:gd name="T62" fmla="*/ 6 w 181"/>
                <a:gd name="T63" fmla="*/ 28 h 30"/>
                <a:gd name="T64" fmla="*/ 9 w 181"/>
                <a:gd name="T65" fmla="*/ 29 h 30"/>
                <a:gd name="T66" fmla="*/ 11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8" y="30"/>
                  </a:lnTo>
                  <a:lnTo>
                    <a:pt x="171" y="29"/>
                  </a:lnTo>
                  <a:lnTo>
                    <a:pt x="173" y="28"/>
                  </a:lnTo>
                  <a:lnTo>
                    <a:pt x="175" y="25"/>
                  </a:lnTo>
                  <a:lnTo>
                    <a:pt x="178" y="23"/>
                  </a:lnTo>
                  <a:lnTo>
                    <a:pt x="179" y="21"/>
                  </a:lnTo>
                  <a:lnTo>
                    <a:pt x="180" y="18"/>
                  </a:lnTo>
                  <a:lnTo>
                    <a:pt x="181" y="15"/>
                  </a:lnTo>
                  <a:lnTo>
                    <a:pt x="180" y="12"/>
                  </a:lnTo>
                  <a:lnTo>
                    <a:pt x="179" y="9"/>
                  </a:lnTo>
                  <a:lnTo>
                    <a:pt x="178" y="6"/>
                  </a:lnTo>
                  <a:lnTo>
                    <a:pt x="175" y="4"/>
                  </a:lnTo>
                  <a:lnTo>
                    <a:pt x="173" y="3"/>
                  </a:lnTo>
                  <a:lnTo>
                    <a:pt x="171" y="1"/>
                  </a:lnTo>
                  <a:lnTo>
                    <a:pt x="168" y="0"/>
                  </a:lnTo>
                  <a:lnTo>
                    <a:pt x="166" y="0"/>
                  </a:lnTo>
                  <a:lnTo>
                    <a:pt x="15" y="0"/>
                  </a:lnTo>
                  <a:lnTo>
                    <a:pt x="11" y="0"/>
                  </a:lnTo>
                  <a:lnTo>
                    <a:pt x="9" y="1"/>
                  </a:lnTo>
                  <a:lnTo>
                    <a:pt x="6" y="3"/>
                  </a:lnTo>
                  <a:lnTo>
                    <a:pt x="4" y="4"/>
                  </a:lnTo>
                  <a:lnTo>
                    <a:pt x="3" y="6"/>
                  </a:lnTo>
                  <a:lnTo>
                    <a:pt x="1" y="9"/>
                  </a:lnTo>
                  <a:lnTo>
                    <a:pt x="0" y="12"/>
                  </a:lnTo>
                  <a:lnTo>
                    <a:pt x="0" y="15"/>
                  </a:lnTo>
                  <a:lnTo>
                    <a:pt x="0" y="18"/>
                  </a:lnTo>
                  <a:lnTo>
                    <a:pt x="1" y="21"/>
                  </a:lnTo>
                  <a:lnTo>
                    <a:pt x="3" y="23"/>
                  </a:lnTo>
                  <a:lnTo>
                    <a:pt x="4" y="25"/>
                  </a:lnTo>
                  <a:lnTo>
                    <a:pt x="6" y="28"/>
                  </a:lnTo>
                  <a:lnTo>
                    <a:pt x="9" y="29"/>
                  </a:lnTo>
                  <a:lnTo>
                    <a:pt x="11"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93" name="Freeform 290"/>
            <p:cNvSpPr>
              <a:spLocks/>
            </p:cNvSpPr>
            <p:nvPr/>
          </p:nvSpPr>
          <p:spPr bwMode="auto">
            <a:xfrm>
              <a:off x="7148513" y="2127250"/>
              <a:ext cx="57150" cy="9525"/>
            </a:xfrm>
            <a:custGeom>
              <a:avLst/>
              <a:gdLst>
                <a:gd name="T0" fmla="*/ 15 w 181"/>
                <a:gd name="T1" fmla="*/ 30 h 30"/>
                <a:gd name="T2" fmla="*/ 166 w 181"/>
                <a:gd name="T3" fmla="*/ 30 h 30"/>
                <a:gd name="T4" fmla="*/ 168 w 181"/>
                <a:gd name="T5" fmla="*/ 30 h 30"/>
                <a:gd name="T6" fmla="*/ 171 w 181"/>
                <a:gd name="T7" fmla="*/ 29 h 30"/>
                <a:gd name="T8" fmla="*/ 173 w 181"/>
                <a:gd name="T9" fmla="*/ 28 h 30"/>
                <a:gd name="T10" fmla="*/ 175 w 181"/>
                <a:gd name="T11" fmla="*/ 26 h 30"/>
                <a:gd name="T12" fmla="*/ 178 w 181"/>
                <a:gd name="T13" fmla="*/ 23 h 30"/>
                <a:gd name="T14" fmla="*/ 179 w 181"/>
                <a:gd name="T15" fmla="*/ 21 h 30"/>
                <a:gd name="T16" fmla="*/ 180 w 181"/>
                <a:gd name="T17" fmla="*/ 18 h 30"/>
                <a:gd name="T18" fmla="*/ 181 w 181"/>
                <a:gd name="T19" fmla="*/ 15 h 30"/>
                <a:gd name="T20" fmla="*/ 180 w 181"/>
                <a:gd name="T21" fmla="*/ 12 h 30"/>
                <a:gd name="T22" fmla="*/ 179 w 181"/>
                <a:gd name="T23" fmla="*/ 9 h 30"/>
                <a:gd name="T24" fmla="*/ 178 w 181"/>
                <a:gd name="T25" fmla="*/ 6 h 30"/>
                <a:gd name="T26" fmla="*/ 175 w 181"/>
                <a:gd name="T27" fmla="*/ 4 h 30"/>
                <a:gd name="T28" fmla="*/ 173 w 181"/>
                <a:gd name="T29" fmla="*/ 3 h 30"/>
                <a:gd name="T30" fmla="*/ 171 w 181"/>
                <a:gd name="T31" fmla="*/ 1 h 30"/>
                <a:gd name="T32" fmla="*/ 168 w 181"/>
                <a:gd name="T33" fmla="*/ 1 h 30"/>
                <a:gd name="T34" fmla="*/ 166 w 181"/>
                <a:gd name="T35" fmla="*/ 0 h 30"/>
                <a:gd name="T36" fmla="*/ 15 w 181"/>
                <a:gd name="T37" fmla="*/ 0 h 30"/>
                <a:gd name="T38" fmla="*/ 11 w 181"/>
                <a:gd name="T39" fmla="*/ 0 h 30"/>
                <a:gd name="T40" fmla="*/ 9 w 181"/>
                <a:gd name="T41" fmla="*/ 1 h 30"/>
                <a:gd name="T42" fmla="*/ 6 w 181"/>
                <a:gd name="T43" fmla="*/ 3 h 30"/>
                <a:gd name="T44" fmla="*/ 4 w 181"/>
                <a:gd name="T45" fmla="*/ 4 h 30"/>
                <a:gd name="T46" fmla="*/ 3 w 181"/>
                <a:gd name="T47" fmla="*/ 6 h 30"/>
                <a:gd name="T48" fmla="*/ 1 w 181"/>
                <a:gd name="T49" fmla="*/ 9 h 30"/>
                <a:gd name="T50" fmla="*/ 0 w 181"/>
                <a:gd name="T51" fmla="*/ 12 h 30"/>
                <a:gd name="T52" fmla="*/ 0 w 181"/>
                <a:gd name="T53" fmla="*/ 15 h 30"/>
                <a:gd name="T54" fmla="*/ 0 w 181"/>
                <a:gd name="T55" fmla="*/ 18 h 30"/>
                <a:gd name="T56" fmla="*/ 1 w 181"/>
                <a:gd name="T57" fmla="*/ 21 h 30"/>
                <a:gd name="T58" fmla="*/ 3 w 181"/>
                <a:gd name="T59" fmla="*/ 23 h 30"/>
                <a:gd name="T60" fmla="*/ 4 w 181"/>
                <a:gd name="T61" fmla="*/ 26 h 30"/>
                <a:gd name="T62" fmla="*/ 6 w 181"/>
                <a:gd name="T63" fmla="*/ 28 h 30"/>
                <a:gd name="T64" fmla="*/ 9 w 181"/>
                <a:gd name="T65" fmla="*/ 29 h 30"/>
                <a:gd name="T66" fmla="*/ 11 w 181"/>
                <a:gd name="T67" fmla="*/ 30 h 30"/>
                <a:gd name="T68" fmla="*/ 15 w 181"/>
                <a:gd name="T69" fmla="*/ 30 h 30"/>
                <a:gd name="T70" fmla="*/ 15 w 18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30">
                  <a:moveTo>
                    <a:pt x="15" y="30"/>
                  </a:moveTo>
                  <a:lnTo>
                    <a:pt x="166" y="30"/>
                  </a:lnTo>
                  <a:lnTo>
                    <a:pt x="168" y="30"/>
                  </a:lnTo>
                  <a:lnTo>
                    <a:pt x="171" y="29"/>
                  </a:lnTo>
                  <a:lnTo>
                    <a:pt x="173" y="28"/>
                  </a:lnTo>
                  <a:lnTo>
                    <a:pt x="175" y="26"/>
                  </a:lnTo>
                  <a:lnTo>
                    <a:pt x="178" y="23"/>
                  </a:lnTo>
                  <a:lnTo>
                    <a:pt x="179" y="21"/>
                  </a:lnTo>
                  <a:lnTo>
                    <a:pt x="180" y="18"/>
                  </a:lnTo>
                  <a:lnTo>
                    <a:pt x="181" y="15"/>
                  </a:lnTo>
                  <a:lnTo>
                    <a:pt x="180" y="12"/>
                  </a:lnTo>
                  <a:lnTo>
                    <a:pt x="179" y="9"/>
                  </a:lnTo>
                  <a:lnTo>
                    <a:pt x="178" y="6"/>
                  </a:lnTo>
                  <a:lnTo>
                    <a:pt x="175" y="4"/>
                  </a:lnTo>
                  <a:lnTo>
                    <a:pt x="173" y="3"/>
                  </a:lnTo>
                  <a:lnTo>
                    <a:pt x="171" y="1"/>
                  </a:lnTo>
                  <a:lnTo>
                    <a:pt x="168" y="1"/>
                  </a:lnTo>
                  <a:lnTo>
                    <a:pt x="166" y="0"/>
                  </a:lnTo>
                  <a:lnTo>
                    <a:pt x="15" y="0"/>
                  </a:lnTo>
                  <a:lnTo>
                    <a:pt x="11" y="0"/>
                  </a:lnTo>
                  <a:lnTo>
                    <a:pt x="9" y="1"/>
                  </a:lnTo>
                  <a:lnTo>
                    <a:pt x="6" y="3"/>
                  </a:lnTo>
                  <a:lnTo>
                    <a:pt x="4" y="4"/>
                  </a:lnTo>
                  <a:lnTo>
                    <a:pt x="3" y="6"/>
                  </a:lnTo>
                  <a:lnTo>
                    <a:pt x="1" y="9"/>
                  </a:lnTo>
                  <a:lnTo>
                    <a:pt x="0" y="12"/>
                  </a:lnTo>
                  <a:lnTo>
                    <a:pt x="0" y="15"/>
                  </a:lnTo>
                  <a:lnTo>
                    <a:pt x="0" y="18"/>
                  </a:lnTo>
                  <a:lnTo>
                    <a:pt x="1" y="21"/>
                  </a:lnTo>
                  <a:lnTo>
                    <a:pt x="3" y="23"/>
                  </a:lnTo>
                  <a:lnTo>
                    <a:pt x="4" y="26"/>
                  </a:lnTo>
                  <a:lnTo>
                    <a:pt x="6" y="28"/>
                  </a:lnTo>
                  <a:lnTo>
                    <a:pt x="9" y="29"/>
                  </a:lnTo>
                  <a:lnTo>
                    <a:pt x="11"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94" name="Freeform 291"/>
            <p:cNvSpPr>
              <a:spLocks/>
            </p:cNvSpPr>
            <p:nvPr/>
          </p:nvSpPr>
          <p:spPr bwMode="auto">
            <a:xfrm>
              <a:off x="7148513" y="2146300"/>
              <a:ext cx="57150" cy="9525"/>
            </a:xfrm>
            <a:custGeom>
              <a:avLst/>
              <a:gdLst>
                <a:gd name="T0" fmla="*/ 166 w 181"/>
                <a:gd name="T1" fmla="*/ 0 h 30"/>
                <a:gd name="T2" fmla="*/ 15 w 181"/>
                <a:gd name="T3" fmla="*/ 0 h 30"/>
                <a:gd name="T4" fmla="*/ 11 w 181"/>
                <a:gd name="T5" fmla="*/ 1 h 30"/>
                <a:gd name="T6" fmla="*/ 9 w 181"/>
                <a:gd name="T7" fmla="*/ 1 h 30"/>
                <a:gd name="T8" fmla="*/ 6 w 181"/>
                <a:gd name="T9" fmla="*/ 3 h 30"/>
                <a:gd name="T10" fmla="*/ 4 w 181"/>
                <a:gd name="T11" fmla="*/ 4 h 30"/>
                <a:gd name="T12" fmla="*/ 3 w 181"/>
                <a:gd name="T13" fmla="*/ 7 h 30"/>
                <a:gd name="T14" fmla="*/ 1 w 181"/>
                <a:gd name="T15" fmla="*/ 10 h 30"/>
                <a:gd name="T16" fmla="*/ 0 w 181"/>
                <a:gd name="T17" fmla="*/ 13 h 30"/>
                <a:gd name="T18" fmla="*/ 0 w 181"/>
                <a:gd name="T19" fmla="*/ 15 h 30"/>
                <a:gd name="T20" fmla="*/ 0 w 181"/>
                <a:gd name="T21" fmla="*/ 18 h 30"/>
                <a:gd name="T22" fmla="*/ 1 w 181"/>
                <a:gd name="T23" fmla="*/ 21 h 30"/>
                <a:gd name="T24" fmla="*/ 3 w 181"/>
                <a:gd name="T25" fmla="*/ 23 h 30"/>
                <a:gd name="T26" fmla="*/ 4 w 181"/>
                <a:gd name="T27" fmla="*/ 26 h 30"/>
                <a:gd name="T28" fmla="*/ 6 w 181"/>
                <a:gd name="T29" fmla="*/ 28 h 30"/>
                <a:gd name="T30" fmla="*/ 9 w 181"/>
                <a:gd name="T31" fmla="*/ 29 h 30"/>
                <a:gd name="T32" fmla="*/ 11 w 181"/>
                <a:gd name="T33" fmla="*/ 30 h 30"/>
                <a:gd name="T34" fmla="*/ 15 w 181"/>
                <a:gd name="T35" fmla="*/ 30 h 30"/>
                <a:gd name="T36" fmla="*/ 166 w 181"/>
                <a:gd name="T37" fmla="*/ 30 h 30"/>
                <a:gd name="T38" fmla="*/ 168 w 181"/>
                <a:gd name="T39" fmla="*/ 30 h 30"/>
                <a:gd name="T40" fmla="*/ 171 w 181"/>
                <a:gd name="T41" fmla="*/ 29 h 30"/>
                <a:gd name="T42" fmla="*/ 173 w 181"/>
                <a:gd name="T43" fmla="*/ 28 h 30"/>
                <a:gd name="T44" fmla="*/ 175 w 181"/>
                <a:gd name="T45" fmla="*/ 26 h 30"/>
                <a:gd name="T46" fmla="*/ 178 w 181"/>
                <a:gd name="T47" fmla="*/ 23 h 30"/>
                <a:gd name="T48" fmla="*/ 179 w 181"/>
                <a:gd name="T49" fmla="*/ 21 h 30"/>
                <a:gd name="T50" fmla="*/ 180 w 181"/>
                <a:gd name="T51" fmla="*/ 18 h 30"/>
                <a:gd name="T52" fmla="*/ 181 w 181"/>
                <a:gd name="T53" fmla="*/ 15 h 30"/>
                <a:gd name="T54" fmla="*/ 180 w 181"/>
                <a:gd name="T55" fmla="*/ 13 h 30"/>
                <a:gd name="T56" fmla="*/ 179 w 181"/>
                <a:gd name="T57" fmla="*/ 10 h 30"/>
                <a:gd name="T58" fmla="*/ 178 w 181"/>
                <a:gd name="T59" fmla="*/ 7 h 30"/>
                <a:gd name="T60" fmla="*/ 175 w 181"/>
                <a:gd name="T61" fmla="*/ 4 h 30"/>
                <a:gd name="T62" fmla="*/ 173 w 181"/>
                <a:gd name="T63" fmla="*/ 3 h 30"/>
                <a:gd name="T64" fmla="*/ 171 w 181"/>
                <a:gd name="T65" fmla="*/ 1 h 30"/>
                <a:gd name="T66" fmla="*/ 168 w 181"/>
                <a:gd name="T67" fmla="*/ 1 h 30"/>
                <a:gd name="T68" fmla="*/ 166 w 181"/>
                <a:gd name="T69" fmla="*/ 0 h 30"/>
                <a:gd name="T70" fmla="*/ 166 w 181"/>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30">
                  <a:moveTo>
                    <a:pt x="166" y="0"/>
                  </a:moveTo>
                  <a:lnTo>
                    <a:pt x="15" y="0"/>
                  </a:lnTo>
                  <a:lnTo>
                    <a:pt x="11" y="1"/>
                  </a:lnTo>
                  <a:lnTo>
                    <a:pt x="9" y="1"/>
                  </a:lnTo>
                  <a:lnTo>
                    <a:pt x="6" y="3"/>
                  </a:lnTo>
                  <a:lnTo>
                    <a:pt x="4" y="4"/>
                  </a:lnTo>
                  <a:lnTo>
                    <a:pt x="3" y="7"/>
                  </a:lnTo>
                  <a:lnTo>
                    <a:pt x="1" y="10"/>
                  </a:lnTo>
                  <a:lnTo>
                    <a:pt x="0" y="13"/>
                  </a:lnTo>
                  <a:lnTo>
                    <a:pt x="0" y="15"/>
                  </a:lnTo>
                  <a:lnTo>
                    <a:pt x="0" y="18"/>
                  </a:lnTo>
                  <a:lnTo>
                    <a:pt x="1" y="21"/>
                  </a:lnTo>
                  <a:lnTo>
                    <a:pt x="3" y="23"/>
                  </a:lnTo>
                  <a:lnTo>
                    <a:pt x="4" y="26"/>
                  </a:lnTo>
                  <a:lnTo>
                    <a:pt x="6" y="28"/>
                  </a:lnTo>
                  <a:lnTo>
                    <a:pt x="9" y="29"/>
                  </a:lnTo>
                  <a:lnTo>
                    <a:pt x="11" y="30"/>
                  </a:lnTo>
                  <a:lnTo>
                    <a:pt x="15" y="30"/>
                  </a:lnTo>
                  <a:lnTo>
                    <a:pt x="166" y="30"/>
                  </a:lnTo>
                  <a:lnTo>
                    <a:pt x="168" y="30"/>
                  </a:lnTo>
                  <a:lnTo>
                    <a:pt x="171" y="29"/>
                  </a:lnTo>
                  <a:lnTo>
                    <a:pt x="173" y="28"/>
                  </a:lnTo>
                  <a:lnTo>
                    <a:pt x="175" y="26"/>
                  </a:lnTo>
                  <a:lnTo>
                    <a:pt x="178" y="23"/>
                  </a:lnTo>
                  <a:lnTo>
                    <a:pt x="179" y="21"/>
                  </a:lnTo>
                  <a:lnTo>
                    <a:pt x="180" y="18"/>
                  </a:lnTo>
                  <a:lnTo>
                    <a:pt x="181" y="15"/>
                  </a:lnTo>
                  <a:lnTo>
                    <a:pt x="180" y="13"/>
                  </a:lnTo>
                  <a:lnTo>
                    <a:pt x="179" y="10"/>
                  </a:lnTo>
                  <a:lnTo>
                    <a:pt x="178" y="7"/>
                  </a:lnTo>
                  <a:lnTo>
                    <a:pt x="175" y="4"/>
                  </a:lnTo>
                  <a:lnTo>
                    <a:pt x="173" y="3"/>
                  </a:lnTo>
                  <a:lnTo>
                    <a:pt x="171" y="1"/>
                  </a:lnTo>
                  <a:lnTo>
                    <a:pt x="168" y="1"/>
                  </a:lnTo>
                  <a:lnTo>
                    <a:pt x="166"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295" name="Group 294"/>
          <p:cNvGrpSpPr/>
          <p:nvPr/>
        </p:nvGrpSpPr>
        <p:grpSpPr>
          <a:xfrm>
            <a:off x="14289629" y="3667625"/>
            <a:ext cx="660508" cy="660508"/>
            <a:chOff x="885825" y="1925638"/>
            <a:chExt cx="287338" cy="287338"/>
          </a:xfrm>
          <a:solidFill>
            <a:schemeClr val="tx2"/>
          </a:solidFill>
        </p:grpSpPr>
        <p:sp>
          <p:nvSpPr>
            <p:cNvPr id="296" name="Freeform 50"/>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97" name="Freeform 51"/>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98" name="Freeform 52"/>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99" name="Freeform 53"/>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00" name="Freeform 54"/>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01" name="Freeform 55"/>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02" name="Freeform 56"/>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303" name="Group 302"/>
          <p:cNvGrpSpPr/>
          <p:nvPr/>
        </p:nvGrpSpPr>
        <p:grpSpPr>
          <a:xfrm>
            <a:off x="15926393" y="5814986"/>
            <a:ext cx="656858" cy="572927"/>
            <a:chOff x="3173413" y="1952625"/>
            <a:chExt cx="285750" cy="249238"/>
          </a:xfrm>
          <a:solidFill>
            <a:schemeClr val="accent1"/>
          </a:solidFill>
        </p:grpSpPr>
        <p:sp>
          <p:nvSpPr>
            <p:cNvPr id="304" name="Freeform 83"/>
            <p:cNvSpPr>
              <a:spLocks noEditPoints="1"/>
            </p:cNvSpPr>
            <p:nvPr/>
          </p:nvSpPr>
          <p:spPr bwMode="auto">
            <a:xfrm>
              <a:off x="3173413" y="1952625"/>
              <a:ext cx="225425" cy="249238"/>
            </a:xfrm>
            <a:custGeom>
              <a:avLst/>
              <a:gdLst>
                <a:gd name="T0" fmla="*/ 37 w 713"/>
                <a:gd name="T1" fmla="*/ 654 h 786"/>
                <a:gd name="T2" fmla="*/ 60 w 713"/>
                <a:gd name="T3" fmla="*/ 578 h 786"/>
                <a:gd name="T4" fmla="*/ 188 w 713"/>
                <a:gd name="T5" fmla="*/ 520 h 786"/>
                <a:gd name="T6" fmla="*/ 295 w 713"/>
                <a:gd name="T7" fmla="*/ 482 h 786"/>
                <a:gd name="T8" fmla="*/ 299 w 713"/>
                <a:gd name="T9" fmla="*/ 372 h 786"/>
                <a:gd name="T10" fmla="*/ 265 w 713"/>
                <a:gd name="T11" fmla="*/ 342 h 786"/>
                <a:gd name="T12" fmla="*/ 241 w 713"/>
                <a:gd name="T13" fmla="*/ 287 h 786"/>
                <a:gd name="T14" fmla="*/ 235 w 713"/>
                <a:gd name="T15" fmla="*/ 248 h 786"/>
                <a:gd name="T16" fmla="*/ 220 w 713"/>
                <a:gd name="T17" fmla="*/ 237 h 786"/>
                <a:gd name="T18" fmla="*/ 221 w 713"/>
                <a:gd name="T19" fmla="*/ 202 h 786"/>
                <a:gd name="T20" fmla="*/ 235 w 713"/>
                <a:gd name="T21" fmla="*/ 193 h 786"/>
                <a:gd name="T22" fmla="*/ 235 w 713"/>
                <a:gd name="T23" fmla="*/ 164 h 786"/>
                <a:gd name="T24" fmla="*/ 225 w 713"/>
                <a:gd name="T25" fmla="*/ 96 h 786"/>
                <a:gd name="T26" fmla="*/ 246 w 713"/>
                <a:gd name="T27" fmla="*/ 83 h 786"/>
                <a:gd name="T28" fmla="*/ 275 w 713"/>
                <a:gd name="T29" fmla="*/ 79 h 786"/>
                <a:gd name="T30" fmla="*/ 289 w 713"/>
                <a:gd name="T31" fmla="*/ 56 h 786"/>
                <a:gd name="T32" fmla="*/ 345 w 713"/>
                <a:gd name="T33" fmla="*/ 34 h 786"/>
                <a:gd name="T34" fmla="*/ 459 w 713"/>
                <a:gd name="T35" fmla="*/ 42 h 786"/>
                <a:gd name="T36" fmla="*/ 490 w 713"/>
                <a:gd name="T37" fmla="*/ 64 h 786"/>
                <a:gd name="T38" fmla="*/ 493 w 713"/>
                <a:gd name="T39" fmla="*/ 123 h 786"/>
                <a:gd name="T40" fmla="*/ 476 w 713"/>
                <a:gd name="T41" fmla="*/ 189 h 786"/>
                <a:gd name="T42" fmla="*/ 489 w 713"/>
                <a:gd name="T43" fmla="*/ 198 h 786"/>
                <a:gd name="T44" fmla="*/ 493 w 713"/>
                <a:gd name="T45" fmla="*/ 238 h 786"/>
                <a:gd name="T46" fmla="*/ 479 w 713"/>
                <a:gd name="T47" fmla="*/ 248 h 786"/>
                <a:gd name="T48" fmla="*/ 473 w 713"/>
                <a:gd name="T49" fmla="*/ 287 h 786"/>
                <a:gd name="T50" fmla="*/ 453 w 713"/>
                <a:gd name="T51" fmla="*/ 342 h 786"/>
                <a:gd name="T52" fmla="*/ 424 w 713"/>
                <a:gd name="T53" fmla="*/ 372 h 786"/>
                <a:gd name="T54" fmla="*/ 427 w 713"/>
                <a:gd name="T55" fmla="*/ 482 h 786"/>
                <a:gd name="T56" fmla="*/ 531 w 713"/>
                <a:gd name="T57" fmla="*/ 520 h 786"/>
                <a:gd name="T58" fmla="*/ 654 w 713"/>
                <a:gd name="T59" fmla="*/ 578 h 786"/>
                <a:gd name="T60" fmla="*/ 677 w 713"/>
                <a:gd name="T61" fmla="*/ 654 h 786"/>
                <a:gd name="T62" fmla="*/ 30 w 713"/>
                <a:gd name="T63" fmla="*/ 756 h 786"/>
                <a:gd name="T64" fmla="*/ 452 w 713"/>
                <a:gd name="T65" fmla="*/ 387 h 786"/>
                <a:gd name="T66" fmla="*/ 490 w 713"/>
                <a:gd name="T67" fmla="*/ 335 h 786"/>
                <a:gd name="T68" fmla="*/ 504 w 713"/>
                <a:gd name="T69" fmla="*/ 271 h 786"/>
                <a:gd name="T70" fmla="*/ 524 w 713"/>
                <a:gd name="T71" fmla="*/ 238 h 786"/>
                <a:gd name="T72" fmla="*/ 522 w 713"/>
                <a:gd name="T73" fmla="*/ 193 h 786"/>
                <a:gd name="T74" fmla="*/ 523 w 713"/>
                <a:gd name="T75" fmla="*/ 127 h 786"/>
                <a:gd name="T76" fmla="*/ 516 w 713"/>
                <a:gd name="T77" fmla="*/ 49 h 786"/>
                <a:gd name="T78" fmla="*/ 471 w 713"/>
                <a:gd name="T79" fmla="*/ 14 h 786"/>
                <a:gd name="T80" fmla="*/ 385 w 713"/>
                <a:gd name="T81" fmla="*/ 0 h 786"/>
                <a:gd name="T82" fmla="*/ 290 w 713"/>
                <a:gd name="T83" fmla="*/ 19 h 786"/>
                <a:gd name="T84" fmla="*/ 252 w 713"/>
                <a:gd name="T85" fmla="*/ 53 h 786"/>
                <a:gd name="T86" fmla="*/ 211 w 713"/>
                <a:gd name="T87" fmla="*/ 64 h 786"/>
                <a:gd name="T88" fmla="*/ 195 w 713"/>
                <a:gd name="T89" fmla="*/ 95 h 786"/>
                <a:gd name="T90" fmla="*/ 206 w 713"/>
                <a:gd name="T91" fmla="*/ 173 h 786"/>
                <a:gd name="T92" fmla="*/ 192 w 713"/>
                <a:gd name="T93" fmla="*/ 192 h 786"/>
                <a:gd name="T94" fmla="*/ 189 w 713"/>
                <a:gd name="T95" fmla="*/ 237 h 786"/>
                <a:gd name="T96" fmla="*/ 209 w 713"/>
                <a:gd name="T97" fmla="*/ 271 h 786"/>
                <a:gd name="T98" fmla="*/ 226 w 713"/>
                <a:gd name="T99" fmla="*/ 336 h 786"/>
                <a:gd name="T100" fmla="*/ 271 w 713"/>
                <a:gd name="T101" fmla="*/ 388 h 786"/>
                <a:gd name="T102" fmla="*/ 173 w 713"/>
                <a:gd name="T103" fmla="*/ 495 h 786"/>
                <a:gd name="T104" fmla="*/ 51 w 713"/>
                <a:gd name="T105" fmla="*/ 549 h 786"/>
                <a:gd name="T106" fmla="*/ 16 w 713"/>
                <a:gd name="T107" fmla="*/ 596 h 786"/>
                <a:gd name="T108" fmla="*/ 1 w 713"/>
                <a:gd name="T109" fmla="*/ 725 h 786"/>
                <a:gd name="T110" fmla="*/ 3 w 713"/>
                <a:gd name="T111" fmla="*/ 780 h 786"/>
                <a:gd name="T112" fmla="*/ 698 w 713"/>
                <a:gd name="T113" fmla="*/ 786 h 786"/>
                <a:gd name="T114" fmla="*/ 712 w 713"/>
                <a:gd name="T115" fmla="*/ 777 h 786"/>
                <a:gd name="T116" fmla="*/ 711 w 713"/>
                <a:gd name="T117" fmla="*/ 697 h 786"/>
                <a:gd name="T118" fmla="*/ 695 w 713"/>
                <a:gd name="T119" fmla="*/ 586 h 786"/>
                <a:gd name="T120" fmla="*/ 655 w 713"/>
                <a:gd name="T121" fmla="*/ 542 h 786"/>
                <a:gd name="T122" fmla="*/ 512 w 713"/>
                <a:gd name="T123" fmla="*/ 482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3" h="786">
                  <a:moveTo>
                    <a:pt x="30" y="756"/>
                  </a:moveTo>
                  <a:lnTo>
                    <a:pt x="31" y="740"/>
                  </a:lnTo>
                  <a:lnTo>
                    <a:pt x="31" y="722"/>
                  </a:lnTo>
                  <a:lnTo>
                    <a:pt x="32" y="700"/>
                  </a:lnTo>
                  <a:lnTo>
                    <a:pt x="34" y="678"/>
                  </a:lnTo>
                  <a:lnTo>
                    <a:pt x="37" y="654"/>
                  </a:lnTo>
                  <a:lnTo>
                    <a:pt x="40" y="632"/>
                  </a:lnTo>
                  <a:lnTo>
                    <a:pt x="43" y="613"/>
                  </a:lnTo>
                  <a:lnTo>
                    <a:pt x="47" y="595"/>
                  </a:lnTo>
                  <a:lnTo>
                    <a:pt x="51" y="589"/>
                  </a:lnTo>
                  <a:lnTo>
                    <a:pt x="55" y="584"/>
                  </a:lnTo>
                  <a:lnTo>
                    <a:pt x="60" y="578"/>
                  </a:lnTo>
                  <a:lnTo>
                    <a:pt x="68" y="573"/>
                  </a:lnTo>
                  <a:lnTo>
                    <a:pt x="86" y="562"/>
                  </a:lnTo>
                  <a:lnTo>
                    <a:pt x="107" y="551"/>
                  </a:lnTo>
                  <a:lnTo>
                    <a:pt x="133" y="541"/>
                  </a:lnTo>
                  <a:lnTo>
                    <a:pt x="160" y="531"/>
                  </a:lnTo>
                  <a:lnTo>
                    <a:pt x="188" y="520"/>
                  </a:lnTo>
                  <a:lnTo>
                    <a:pt x="216" y="511"/>
                  </a:lnTo>
                  <a:lnTo>
                    <a:pt x="235" y="504"/>
                  </a:lnTo>
                  <a:lnTo>
                    <a:pt x="254" y="498"/>
                  </a:lnTo>
                  <a:lnTo>
                    <a:pt x="273" y="491"/>
                  </a:lnTo>
                  <a:lnTo>
                    <a:pt x="292" y="484"/>
                  </a:lnTo>
                  <a:lnTo>
                    <a:pt x="295" y="482"/>
                  </a:lnTo>
                  <a:lnTo>
                    <a:pt x="298" y="479"/>
                  </a:lnTo>
                  <a:lnTo>
                    <a:pt x="300" y="474"/>
                  </a:lnTo>
                  <a:lnTo>
                    <a:pt x="301" y="470"/>
                  </a:lnTo>
                  <a:lnTo>
                    <a:pt x="301" y="380"/>
                  </a:lnTo>
                  <a:lnTo>
                    <a:pt x="300" y="376"/>
                  </a:lnTo>
                  <a:lnTo>
                    <a:pt x="299" y="372"/>
                  </a:lnTo>
                  <a:lnTo>
                    <a:pt x="296" y="369"/>
                  </a:lnTo>
                  <a:lnTo>
                    <a:pt x="293" y="366"/>
                  </a:lnTo>
                  <a:lnTo>
                    <a:pt x="290" y="365"/>
                  </a:lnTo>
                  <a:lnTo>
                    <a:pt x="283" y="361"/>
                  </a:lnTo>
                  <a:lnTo>
                    <a:pt x="275" y="353"/>
                  </a:lnTo>
                  <a:lnTo>
                    <a:pt x="265" y="342"/>
                  </a:lnTo>
                  <a:lnTo>
                    <a:pt x="261" y="335"/>
                  </a:lnTo>
                  <a:lnTo>
                    <a:pt x="255" y="327"/>
                  </a:lnTo>
                  <a:lnTo>
                    <a:pt x="251" y="319"/>
                  </a:lnTo>
                  <a:lnTo>
                    <a:pt x="247" y="309"/>
                  </a:lnTo>
                  <a:lnTo>
                    <a:pt x="244" y="298"/>
                  </a:lnTo>
                  <a:lnTo>
                    <a:pt x="241" y="287"/>
                  </a:lnTo>
                  <a:lnTo>
                    <a:pt x="239" y="273"/>
                  </a:lnTo>
                  <a:lnTo>
                    <a:pt x="239" y="259"/>
                  </a:lnTo>
                  <a:lnTo>
                    <a:pt x="239" y="256"/>
                  </a:lnTo>
                  <a:lnTo>
                    <a:pt x="238" y="253"/>
                  </a:lnTo>
                  <a:lnTo>
                    <a:pt x="236" y="250"/>
                  </a:lnTo>
                  <a:lnTo>
                    <a:pt x="235" y="248"/>
                  </a:lnTo>
                  <a:lnTo>
                    <a:pt x="233" y="246"/>
                  </a:lnTo>
                  <a:lnTo>
                    <a:pt x="230" y="245"/>
                  </a:lnTo>
                  <a:lnTo>
                    <a:pt x="227" y="244"/>
                  </a:lnTo>
                  <a:lnTo>
                    <a:pt x="224" y="244"/>
                  </a:lnTo>
                  <a:lnTo>
                    <a:pt x="222" y="243"/>
                  </a:lnTo>
                  <a:lnTo>
                    <a:pt x="220" y="237"/>
                  </a:lnTo>
                  <a:lnTo>
                    <a:pt x="218" y="231"/>
                  </a:lnTo>
                  <a:lnTo>
                    <a:pt x="217" y="221"/>
                  </a:lnTo>
                  <a:lnTo>
                    <a:pt x="217" y="216"/>
                  </a:lnTo>
                  <a:lnTo>
                    <a:pt x="218" y="210"/>
                  </a:lnTo>
                  <a:lnTo>
                    <a:pt x="219" y="206"/>
                  </a:lnTo>
                  <a:lnTo>
                    <a:pt x="221" y="202"/>
                  </a:lnTo>
                  <a:lnTo>
                    <a:pt x="222" y="200"/>
                  </a:lnTo>
                  <a:lnTo>
                    <a:pt x="224" y="198"/>
                  </a:lnTo>
                  <a:lnTo>
                    <a:pt x="227" y="198"/>
                  </a:lnTo>
                  <a:lnTo>
                    <a:pt x="230" y="197"/>
                  </a:lnTo>
                  <a:lnTo>
                    <a:pt x="233" y="195"/>
                  </a:lnTo>
                  <a:lnTo>
                    <a:pt x="235" y="193"/>
                  </a:lnTo>
                  <a:lnTo>
                    <a:pt x="236" y="191"/>
                  </a:lnTo>
                  <a:lnTo>
                    <a:pt x="238" y="189"/>
                  </a:lnTo>
                  <a:lnTo>
                    <a:pt x="239" y="186"/>
                  </a:lnTo>
                  <a:lnTo>
                    <a:pt x="239" y="183"/>
                  </a:lnTo>
                  <a:lnTo>
                    <a:pt x="238" y="176"/>
                  </a:lnTo>
                  <a:lnTo>
                    <a:pt x="235" y="164"/>
                  </a:lnTo>
                  <a:lnTo>
                    <a:pt x="231" y="147"/>
                  </a:lnTo>
                  <a:lnTo>
                    <a:pt x="225" y="126"/>
                  </a:lnTo>
                  <a:lnTo>
                    <a:pt x="224" y="114"/>
                  </a:lnTo>
                  <a:lnTo>
                    <a:pt x="224" y="104"/>
                  </a:lnTo>
                  <a:lnTo>
                    <a:pt x="224" y="100"/>
                  </a:lnTo>
                  <a:lnTo>
                    <a:pt x="225" y="96"/>
                  </a:lnTo>
                  <a:lnTo>
                    <a:pt x="227" y="91"/>
                  </a:lnTo>
                  <a:lnTo>
                    <a:pt x="229" y="88"/>
                  </a:lnTo>
                  <a:lnTo>
                    <a:pt x="231" y="87"/>
                  </a:lnTo>
                  <a:lnTo>
                    <a:pt x="233" y="85"/>
                  </a:lnTo>
                  <a:lnTo>
                    <a:pt x="238" y="83"/>
                  </a:lnTo>
                  <a:lnTo>
                    <a:pt x="246" y="83"/>
                  </a:lnTo>
                  <a:lnTo>
                    <a:pt x="252" y="83"/>
                  </a:lnTo>
                  <a:lnTo>
                    <a:pt x="259" y="84"/>
                  </a:lnTo>
                  <a:lnTo>
                    <a:pt x="265" y="84"/>
                  </a:lnTo>
                  <a:lnTo>
                    <a:pt x="270" y="82"/>
                  </a:lnTo>
                  <a:lnTo>
                    <a:pt x="273" y="81"/>
                  </a:lnTo>
                  <a:lnTo>
                    <a:pt x="275" y="79"/>
                  </a:lnTo>
                  <a:lnTo>
                    <a:pt x="276" y="75"/>
                  </a:lnTo>
                  <a:lnTo>
                    <a:pt x="277" y="73"/>
                  </a:lnTo>
                  <a:lnTo>
                    <a:pt x="278" y="68"/>
                  </a:lnTo>
                  <a:lnTo>
                    <a:pt x="281" y="64"/>
                  </a:lnTo>
                  <a:lnTo>
                    <a:pt x="284" y="59"/>
                  </a:lnTo>
                  <a:lnTo>
                    <a:pt x="289" y="56"/>
                  </a:lnTo>
                  <a:lnTo>
                    <a:pt x="293" y="52"/>
                  </a:lnTo>
                  <a:lnTo>
                    <a:pt x="298" y="49"/>
                  </a:lnTo>
                  <a:lnTo>
                    <a:pt x="305" y="45"/>
                  </a:lnTo>
                  <a:lnTo>
                    <a:pt x="312" y="42"/>
                  </a:lnTo>
                  <a:lnTo>
                    <a:pt x="327" y="37"/>
                  </a:lnTo>
                  <a:lnTo>
                    <a:pt x="345" y="34"/>
                  </a:lnTo>
                  <a:lnTo>
                    <a:pt x="365" y="30"/>
                  </a:lnTo>
                  <a:lnTo>
                    <a:pt x="385" y="30"/>
                  </a:lnTo>
                  <a:lnTo>
                    <a:pt x="407" y="30"/>
                  </a:lnTo>
                  <a:lnTo>
                    <a:pt x="426" y="34"/>
                  </a:lnTo>
                  <a:lnTo>
                    <a:pt x="443" y="37"/>
                  </a:lnTo>
                  <a:lnTo>
                    <a:pt x="459" y="42"/>
                  </a:lnTo>
                  <a:lnTo>
                    <a:pt x="466" y="45"/>
                  </a:lnTo>
                  <a:lnTo>
                    <a:pt x="472" y="49"/>
                  </a:lnTo>
                  <a:lnTo>
                    <a:pt x="477" y="52"/>
                  </a:lnTo>
                  <a:lnTo>
                    <a:pt x="483" y="56"/>
                  </a:lnTo>
                  <a:lnTo>
                    <a:pt x="487" y="59"/>
                  </a:lnTo>
                  <a:lnTo>
                    <a:pt x="490" y="64"/>
                  </a:lnTo>
                  <a:lnTo>
                    <a:pt x="492" y="68"/>
                  </a:lnTo>
                  <a:lnTo>
                    <a:pt x="494" y="73"/>
                  </a:lnTo>
                  <a:lnTo>
                    <a:pt x="496" y="85"/>
                  </a:lnTo>
                  <a:lnTo>
                    <a:pt x="497" y="98"/>
                  </a:lnTo>
                  <a:lnTo>
                    <a:pt x="496" y="111"/>
                  </a:lnTo>
                  <a:lnTo>
                    <a:pt x="493" y="123"/>
                  </a:lnTo>
                  <a:lnTo>
                    <a:pt x="487" y="145"/>
                  </a:lnTo>
                  <a:lnTo>
                    <a:pt x="481" y="163"/>
                  </a:lnTo>
                  <a:lnTo>
                    <a:pt x="476" y="175"/>
                  </a:lnTo>
                  <a:lnTo>
                    <a:pt x="474" y="183"/>
                  </a:lnTo>
                  <a:lnTo>
                    <a:pt x="475" y="186"/>
                  </a:lnTo>
                  <a:lnTo>
                    <a:pt x="476" y="189"/>
                  </a:lnTo>
                  <a:lnTo>
                    <a:pt x="477" y="191"/>
                  </a:lnTo>
                  <a:lnTo>
                    <a:pt x="479" y="193"/>
                  </a:lnTo>
                  <a:lnTo>
                    <a:pt x="482" y="195"/>
                  </a:lnTo>
                  <a:lnTo>
                    <a:pt x="484" y="197"/>
                  </a:lnTo>
                  <a:lnTo>
                    <a:pt x="487" y="198"/>
                  </a:lnTo>
                  <a:lnTo>
                    <a:pt x="489" y="198"/>
                  </a:lnTo>
                  <a:lnTo>
                    <a:pt x="491" y="200"/>
                  </a:lnTo>
                  <a:lnTo>
                    <a:pt x="493" y="204"/>
                  </a:lnTo>
                  <a:lnTo>
                    <a:pt x="496" y="210"/>
                  </a:lnTo>
                  <a:lnTo>
                    <a:pt x="497" y="221"/>
                  </a:lnTo>
                  <a:lnTo>
                    <a:pt x="496" y="231"/>
                  </a:lnTo>
                  <a:lnTo>
                    <a:pt x="493" y="238"/>
                  </a:lnTo>
                  <a:lnTo>
                    <a:pt x="491" y="243"/>
                  </a:lnTo>
                  <a:lnTo>
                    <a:pt x="489" y="244"/>
                  </a:lnTo>
                  <a:lnTo>
                    <a:pt x="487" y="244"/>
                  </a:lnTo>
                  <a:lnTo>
                    <a:pt x="484" y="245"/>
                  </a:lnTo>
                  <a:lnTo>
                    <a:pt x="482" y="246"/>
                  </a:lnTo>
                  <a:lnTo>
                    <a:pt x="479" y="248"/>
                  </a:lnTo>
                  <a:lnTo>
                    <a:pt x="477" y="250"/>
                  </a:lnTo>
                  <a:lnTo>
                    <a:pt x="476" y="253"/>
                  </a:lnTo>
                  <a:lnTo>
                    <a:pt x="475" y="256"/>
                  </a:lnTo>
                  <a:lnTo>
                    <a:pt x="474" y="259"/>
                  </a:lnTo>
                  <a:lnTo>
                    <a:pt x="474" y="273"/>
                  </a:lnTo>
                  <a:lnTo>
                    <a:pt x="473" y="287"/>
                  </a:lnTo>
                  <a:lnTo>
                    <a:pt x="471" y="298"/>
                  </a:lnTo>
                  <a:lnTo>
                    <a:pt x="468" y="309"/>
                  </a:lnTo>
                  <a:lnTo>
                    <a:pt x="464" y="319"/>
                  </a:lnTo>
                  <a:lnTo>
                    <a:pt x="460" y="327"/>
                  </a:lnTo>
                  <a:lnTo>
                    <a:pt x="457" y="336"/>
                  </a:lnTo>
                  <a:lnTo>
                    <a:pt x="453" y="342"/>
                  </a:lnTo>
                  <a:lnTo>
                    <a:pt x="444" y="353"/>
                  </a:lnTo>
                  <a:lnTo>
                    <a:pt x="437" y="361"/>
                  </a:lnTo>
                  <a:lnTo>
                    <a:pt x="431" y="365"/>
                  </a:lnTo>
                  <a:lnTo>
                    <a:pt x="429" y="367"/>
                  </a:lnTo>
                  <a:lnTo>
                    <a:pt x="426" y="369"/>
                  </a:lnTo>
                  <a:lnTo>
                    <a:pt x="424" y="372"/>
                  </a:lnTo>
                  <a:lnTo>
                    <a:pt x="423" y="376"/>
                  </a:lnTo>
                  <a:lnTo>
                    <a:pt x="422" y="380"/>
                  </a:lnTo>
                  <a:lnTo>
                    <a:pt x="422" y="470"/>
                  </a:lnTo>
                  <a:lnTo>
                    <a:pt x="423" y="474"/>
                  </a:lnTo>
                  <a:lnTo>
                    <a:pt x="425" y="479"/>
                  </a:lnTo>
                  <a:lnTo>
                    <a:pt x="427" y="482"/>
                  </a:lnTo>
                  <a:lnTo>
                    <a:pt x="431" y="484"/>
                  </a:lnTo>
                  <a:lnTo>
                    <a:pt x="449" y="490"/>
                  </a:lnTo>
                  <a:lnTo>
                    <a:pt x="467" y="497"/>
                  </a:lnTo>
                  <a:lnTo>
                    <a:pt x="485" y="503"/>
                  </a:lnTo>
                  <a:lnTo>
                    <a:pt x="502" y="510"/>
                  </a:lnTo>
                  <a:lnTo>
                    <a:pt x="531" y="520"/>
                  </a:lnTo>
                  <a:lnTo>
                    <a:pt x="559" y="530"/>
                  </a:lnTo>
                  <a:lnTo>
                    <a:pt x="586" y="541"/>
                  </a:lnTo>
                  <a:lnTo>
                    <a:pt x="609" y="551"/>
                  </a:lnTo>
                  <a:lnTo>
                    <a:pt x="631" y="562"/>
                  </a:lnTo>
                  <a:lnTo>
                    <a:pt x="647" y="573"/>
                  </a:lnTo>
                  <a:lnTo>
                    <a:pt x="654" y="578"/>
                  </a:lnTo>
                  <a:lnTo>
                    <a:pt x="660" y="584"/>
                  </a:lnTo>
                  <a:lnTo>
                    <a:pt x="663" y="589"/>
                  </a:lnTo>
                  <a:lnTo>
                    <a:pt x="666" y="595"/>
                  </a:lnTo>
                  <a:lnTo>
                    <a:pt x="670" y="613"/>
                  </a:lnTo>
                  <a:lnTo>
                    <a:pt x="675" y="632"/>
                  </a:lnTo>
                  <a:lnTo>
                    <a:pt x="677" y="654"/>
                  </a:lnTo>
                  <a:lnTo>
                    <a:pt x="679" y="678"/>
                  </a:lnTo>
                  <a:lnTo>
                    <a:pt x="681" y="700"/>
                  </a:lnTo>
                  <a:lnTo>
                    <a:pt x="682" y="722"/>
                  </a:lnTo>
                  <a:lnTo>
                    <a:pt x="682" y="740"/>
                  </a:lnTo>
                  <a:lnTo>
                    <a:pt x="683" y="756"/>
                  </a:lnTo>
                  <a:lnTo>
                    <a:pt x="30" y="756"/>
                  </a:lnTo>
                  <a:close/>
                  <a:moveTo>
                    <a:pt x="512" y="482"/>
                  </a:moveTo>
                  <a:lnTo>
                    <a:pt x="497" y="476"/>
                  </a:lnTo>
                  <a:lnTo>
                    <a:pt x="482" y="471"/>
                  </a:lnTo>
                  <a:lnTo>
                    <a:pt x="467" y="466"/>
                  </a:lnTo>
                  <a:lnTo>
                    <a:pt x="452" y="459"/>
                  </a:lnTo>
                  <a:lnTo>
                    <a:pt x="452" y="387"/>
                  </a:lnTo>
                  <a:lnTo>
                    <a:pt x="458" y="382"/>
                  </a:lnTo>
                  <a:lnTo>
                    <a:pt x="466" y="373"/>
                  </a:lnTo>
                  <a:lnTo>
                    <a:pt x="474" y="364"/>
                  </a:lnTo>
                  <a:lnTo>
                    <a:pt x="483" y="351"/>
                  </a:lnTo>
                  <a:lnTo>
                    <a:pt x="487" y="343"/>
                  </a:lnTo>
                  <a:lnTo>
                    <a:pt x="490" y="335"/>
                  </a:lnTo>
                  <a:lnTo>
                    <a:pt x="493" y="326"/>
                  </a:lnTo>
                  <a:lnTo>
                    <a:pt x="497" y="317"/>
                  </a:lnTo>
                  <a:lnTo>
                    <a:pt x="500" y="306"/>
                  </a:lnTo>
                  <a:lnTo>
                    <a:pt x="502" y="295"/>
                  </a:lnTo>
                  <a:lnTo>
                    <a:pt x="503" y="283"/>
                  </a:lnTo>
                  <a:lnTo>
                    <a:pt x="504" y="271"/>
                  </a:lnTo>
                  <a:lnTo>
                    <a:pt x="508" y="267"/>
                  </a:lnTo>
                  <a:lnTo>
                    <a:pt x="513" y="264"/>
                  </a:lnTo>
                  <a:lnTo>
                    <a:pt x="517" y="259"/>
                  </a:lnTo>
                  <a:lnTo>
                    <a:pt x="519" y="254"/>
                  </a:lnTo>
                  <a:lnTo>
                    <a:pt x="522" y="247"/>
                  </a:lnTo>
                  <a:lnTo>
                    <a:pt x="524" y="238"/>
                  </a:lnTo>
                  <a:lnTo>
                    <a:pt x="527" y="230"/>
                  </a:lnTo>
                  <a:lnTo>
                    <a:pt x="527" y="221"/>
                  </a:lnTo>
                  <a:lnTo>
                    <a:pt x="527" y="213"/>
                  </a:lnTo>
                  <a:lnTo>
                    <a:pt x="526" y="206"/>
                  </a:lnTo>
                  <a:lnTo>
                    <a:pt x="524" y="199"/>
                  </a:lnTo>
                  <a:lnTo>
                    <a:pt x="522" y="193"/>
                  </a:lnTo>
                  <a:lnTo>
                    <a:pt x="519" y="187"/>
                  </a:lnTo>
                  <a:lnTo>
                    <a:pt x="516" y="183"/>
                  </a:lnTo>
                  <a:lnTo>
                    <a:pt x="513" y="177"/>
                  </a:lnTo>
                  <a:lnTo>
                    <a:pt x="508" y="174"/>
                  </a:lnTo>
                  <a:lnTo>
                    <a:pt x="516" y="154"/>
                  </a:lnTo>
                  <a:lnTo>
                    <a:pt x="523" y="127"/>
                  </a:lnTo>
                  <a:lnTo>
                    <a:pt x="526" y="113"/>
                  </a:lnTo>
                  <a:lnTo>
                    <a:pt x="527" y="97"/>
                  </a:lnTo>
                  <a:lnTo>
                    <a:pt x="526" y="82"/>
                  </a:lnTo>
                  <a:lnTo>
                    <a:pt x="523" y="66"/>
                  </a:lnTo>
                  <a:lnTo>
                    <a:pt x="520" y="57"/>
                  </a:lnTo>
                  <a:lnTo>
                    <a:pt x="516" y="49"/>
                  </a:lnTo>
                  <a:lnTo>
                    <a:pt x="511" y="41"/>
                  </a:lnTo>
                  <a:lnTo>
                    <a:pt x="504" y="35"/>
                  </a:lnTo>
                  <a:lnTo>
                    <a:pt x="497" y="29"/>
                  </a:lnTo>
                  <a:lnTo>
                    <a:pt x="489" y="24"/>
                  </a:lnTo>
                  <a:lnTo>
                    <a:pt x="481" y="19"/>
                  </a:lnTo>
                  <a:lnTo>
                    <a:pt x="471" y="14"/>
                  </a:lnTo>
                  <a:lnTo>
                    <a:pt x="461" y="11"/>
                  </a:lnTo>
                  <a:lnTo>
                    <a:pt x="450" y="8"/>
                  </a:lnTo>
                  <a:lnTo>
                    <a:pt x="440" y="6"/>
                  </a:lnTo>
                  <a:lnTo>
                    <a:pt x="429" y="4"/>
                  </a:lnTo>
                  <a:lnTo>
                    <a:pt x="407" y="0"/>
                  </a:lnTo>
                  <a:lnTo>
                    <a:pt x="385" y="0"/>
                  </a:lnTo>
                  <a:lnTo>
                    <a:pt x="366" y="0"/>
                  </a:lnTo>
                  <a:lnTo>
                    <a:pt x="345" y="3"/>
                  </a:lnTo>
                  <a:lnTo>
                    <a:pt x="326" y="7"/>
                  </a:lnTo>
                  <a:lnTo>
                    <a:pt x="308" y="12"/>
                  </a:lnTo>
                  <a:lnTo>
                    <a:pt x="298" y="15"/>
                  </a:lnTo>
                  <a:lnTo>
                    <a:pt x="290" y="19"/>
                  </a:lnTo>
                  <a:lnTo>
                    <a:pt x="282" y="23"/>
                  </a:lnTo>
                  <a:lnTo>
                    <a:pt x="275" y="28"/>
                  </a:lnTo>
                  <a:lnTo>
                    <a:pt x="268" y="34"/>
                  </a:lnTo>
                  <a:lnTo>
                    <a:pt x="262" y="39"/>
                  </a:lnTo>
                  <a:lnTo>
                    <a:pt x="256" y="45"/>
                  </a:lnTo>
                  <a:lnTo>
                    <a:pt x="252" y="53"/>
                  </a:lnTo>
                  <a:lnTo>
                    <a:pt x="244" y="53"/>
                  </a:lnTo>
                  <a:lnTo>
                    <a:pt x="235" y="53"/>
                  </a:lnTo>
                  <a:lnTo>
                    <a:pt x="227" y="55"/>
                  </a:lnTo>
                  <a:lnTo>
                    <a:pt x="221" y="57"/>
                  </a:lnTo>
                  <a:lnTo>
                    <a:pt x="216" y="60"/>
                  </a:lnTo>
                  <a:lnTo>
                    <a:pt x="211" y="64"/>
                  </a:lnTo>
                  <a:lnTo>
                    <a:pt x="208" y="67"/>
                  </a:lnTo>
                  <a:lnTo>
                    <a:pt x="205" y="70"/>
                  </a:lnTo>
                  <a:lnTo>
                    <a:pt x="202" y="75"/>
                  </a:lnTo>
                  <a:lnTo>
                    <a:pt x="199" y="82"/>
                  </a:lnTo>
                  <a:lnTo>
                    <a:pt x="196" y="87"/>
                  </a:lnTo>
                  <a:lnTo>
                    <a:pt x="195" y="95"/>
                  </a:lnTo>
                  <a:lnTo>
                    <a:pt x="194" y="108"/>
                  </a:lnTo>
                  <a:lnTo>
                    <a:pt x="195" y="122"/>
                  </a:lnTo>
                  <a:lnTo>
                    <a:pt x="197" y="137"/>
                  </a:lnTo>
                  <a:lnTo>
                    <a:pt x="200" y="149"/>
                  </a:lnTo>
                  <a:lnTo>
                    <a:pt x="203" y="162"/>
                  </a:lnTo>
                  <a:lnTo>
                    <a:pt x="206" y="173"/>
                  </a:lnTo>
                  <a:lnTo>
                    <a:pt x="206" y="173"/>
                  </a:lnTo>
                  <a:lnTo>
                    <a:pt x="206" y="174"/>
                  </a:lnTo>
                  <a:lnTo>
                    <a:pt x="202" y="177"/>
                  </a:lnTo>
                  <a:lnTo>
                    <a:pt x="199" y="182"/>
                  </a:lnTo>
                  <a:lnTo>
                    <a:pt x="195" y="187"/>
                  </a:lnTo>
                  <a:lnTo>
                    <a:pt x="192" y="192"/>
                  </a:lnTo>
                  <a:lnTo>
                    <a:pt x="190" y="199"/>
                  </a:lnTo>
                  <a:lnTo>
                    <a:pt x="188" y="205"/>
                  </a:lnTo>
                  <a:lnTo>
                    <a:pt x="187" y="213"/>
                  </a:lnTo>
                  <a:lnTo>
                    <a:pt x="187" y="221"/>
                  </a:lnTo>
                  <a:lnTo>
                    <a:pt x="187" y="230"/>
                  </a:lnTo>
                  <a:lnTo>
                    <a:pt x="189" y="237"/>
                  </a:lnTo>
                  <a:lnTo>
                    <a:pt x="190" y="245"/>
                  </a:lnTo>
                  <a:lnTo>
                    <a:pt x="193" y="251"/>
                  </a:lnTo>
                  <a:lnTo>
                    <a:pt x="196" y="258"/>
                  </a:lnTo>
                  <a:lnTo>
                    <a:pt x="200" y="263"/>
                  </a:lnTo>
                  <a:lnTo>
                    <a:pt x="205" y="267"/>
                  </a:lnTo>
                  <a:lnTo>
                    <a:pt x="209" y="271"/>
                  </a:lnTo>
                  <a:lnTo>
                    <a:pt x="210" y="283"/>
                  </a:lnTo>
                  <a:lnTo>
                    <a:pt x="212" y="295"/>
                  </a:lnTo>
                  <a:lnTo>
                    <a:pt x="215" y="307"/>
                  </a:lnTo>
                  <a:lnTo>
                    <a:pt x="218" y="317"/>
                  </a:lnTo>
                  <a:lnTo>
                    <a:pt x="222" y="326"/>
                  </a:lnTo>
                  <a:lnTo>
                    <a:pt x="226" y="336"/>
                  </a:lnTo>
                  <a:lnTo>
                    <a:pt x="231" y="343"/>
                  </a:lnTo>
                  <a:lnTo>
                    <a:pt x="235" y="351"/>
                  </a:lnTo>
                  <a:lnTo>
                    <a:pt x="245" y="365"/>
                  </a:lnTo>
                  <a:lnTo>
                    <a:pt x="254" y="375"/>
                  </a:lnTo>
                  <a:lnTo>
                    <a:pt x="264" y="383"/>
                  </a:lnTo>
                  <a:lnTo>
                    <a:pt x="271" y="388"/>
                  </a:lnTo>
                  <a:lnTo>
                    <a:pt x="271" y="459"/>
                  </a:lnTo>
                  <a:lnTo>
                    <a:pt x="255" y="466"/>
                  </a:lnTo>
                  <a:lnTo>
                    <a:pt x="239" y="471"/>
                  </a:lnTo>
                  <a:lnTo>
                    <a:pt x="222" y="477"/>
                  </a:lnTo>
                  <a:lnTo>
                    <a:pt x="206" y="483"/>
                  </a:lnTo>
                  <a:lnTo>
                    <a:pt x="173" y="495"/>
                  </a:lnTo>
                  <a:lnTo>
                    <a:pt x="140" y="506"/>
                  </a:lnTo>
                  <a:lnTo>
                    <a:pt x="111" y="518"/>
                  </a:lnTo>
                  <a:lnTo>
                    <a:pt x="84" y="530"/>
                  </a:lnTo>
                  <a:lnTo>
                    <a:pt x="71" y="536"/>
                  </a:lnTo>
                  <a:lnTo>
                    <a:pt x="60" y="542"/>
                  </a:lnTo>
                  <a:lnTo>
                    <a:pt x="51" y="549"/>
                  </a:lnTo>
                  <a:lnTo>
                    <a:pt x="42" y="556"/>
                  </a:lnTo>
                  <a:lnTo>
                    <a:pt x="33" y="562"/>
                  </a:lnTo>
                  <a:lnTo>
                    <a:pt x="28" y="570"/>
                  </a:lnTo>
                  <a:lnTo>
                    <a:pt x="23" y="577"/>
                  </a:lnTo>
                  <a:lnTo>
                    <a:pt x="19" y="586"/>
                  </a:lnTo>
                  <a:lnTo>
                    <a:pt x="16" y="596"/>
                  </a:lnTo>
                  <a:lnTo>
                    <a:pt x="13" y="609"/>
                  </a:lnTo>
                  <a:lnTo>
                    <a:pt x="11" y="623"/>
                  </a:lnTo>
                  <a:lnTo>
                    <a:pt x="9" y="637"/>
                  </a:lnTo>
                  <a:lnTo>
                    <a:pt x="6" y="667"/>
                  </a:lnTo>
                  <a:lnTo>
                    <a:pt x="3" y="697"/>
                  </a:lnTo>
                  <a:lnTo>
                    <a:pt x="1" y="725"/>
                  </a:lnTo>
                  <a:lnTo>
                    <a:pt x="1" y="748"/>
                  </a:lnTo>
                  <a:lnTo>
                    <a:pt x="0" y="764"/>
                  </a:lnTo>
                  <a:lnTo>
                    <a:pt x="0" y="771"/>
                  </a:lnTo>
                  <a:lnTo>
                    <a:pt x="1" y="774"/>
                  </a:lnTo>
                  <a:lnTo>
                    <a:pt x="1" y="777"/>
                  </a:lnTo>
                  <a:lnTo>
                    <a:pt x="3" y="780"/>
                  </a:lnTo>
                  <a:lnTo>
                    <a:pt x="4" y="782"/>
                  </a:lnTo>
                  <a:lnTo>
                    <a:pt x="7" y="783"/>
                  </a:lnTo>
                  <a:lnTo>
                    <a:pt x="10" y="785"/>
                  </a:lnTo>
                  <a:lnTo>
                    <a:pt x="12" y="785"/>
                  </a:lnTo>
                  <a:lnTo>
                    <a:pt x="15" y="786"/>
                  </a:lnTo>
                  <a:lnTo>
                    <a:pt x="698" y="786"/>
                  </a:lnTo>
                  <a:lnTo>
                    <a:pt x="701" y="785"/>
                  </a:lnTo>
                  <a:lnTo>
                    <a:pt x="704" y="785"/>
                  </a:lnTo>
                  <a:lnTo>
                    <a:pt x="707" y="783"/>
                  </a:lnTo>
                  <a:lnTo>
                    <a:pt x="709" y="782"/>
                  </a:lnTo>
                  <a:lnTo>
                    <a:pt x="711" y="780"/>
                  </a:lnTo>
                  <a:lnTo>
                    <a:pt x="712" y="777"/>
                  </a:lnTo>
                  <a:lnTo>
                    <a:pt x="713" y="774"/>
                  </a:lnTo>
                  <a:lnTo>
                    <a:pt x="713" y="771"/>
                  </a:lnTo>
                  <a:lnTo>
                    <a:pt x="713" y="764"/>
                  </a:lnTo>
                  <a:lnTo>
                    <a:pt x="713" y="748"/>
                  </a:lnTo>
                  <a:lnTo>
                    <a:pt x="712" y="725"/>
                  </a:lnTo>
                  <a:lnTo>
                    <a:pt x="711" y="697"/>
                  </a:lnTo>
                  <a:lnTo>
                    <a:pt x="709" y="667"/>
                  </a:lnTo>
                  <a:lnTo>
                    <a:pt x="706" y="637"/>
                  </a:lnTo>
                  <a:lnTo>
                    <a:pt x="704" y="623"/>
                  </a:lnTo>
                  <a:lnTo>
                    <a:pt x="700" y="609"/>
                  </a:lnTo>
                  <a:lnTo>
                    <a:pt x="698" y="596"/>
                  </a:lnTo>
                  <a:lnTo>
                    <a:pt x="695" y="586"/>
                  </a:lnTo>
                  <a:lnTo>
                    <a:pt x="691" y="577"/>
                  </a:lnTo>
                  <a:lnTo>
                    <a:pt x="686" y="570"/>
                  </a:lnTo>
                  <a:lnTo>
                    <a:pt x="680" y="562"/>
                  </a:lnTo>
                  <a:lnTo>
                    <a:pt x="672" y="555"/>
                  </a:lnTo>
                  <a:lnTo>
                    <a:pt x="665" y="548"/>
                  </a:lnTo>
                  <a:lnTo>
                    <a:pt x="655" y="542"/>
                  </a:lnTo>
                  <a:lnTo>
                    <a:pt x="645" y="535"/>
                  </a:lnTo>
                  <a:lnTo>
                    <a:pt x="633" y="529"/>
                  </a:lnTo>
                  <a:lnTo>
                    <a:pt x="607" y="517"/>
                  </a:lnTo>
                  <a:lnTo>
                    <a:pt x="578" y="505"/>
                  </a:lnTo>
                  <a:lnTo>
                    <a:pt x="546" y="494"/>
                  </a:lnTo>
                  <a:lnTo>
                    <a:pt x="512" y="4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05" name="Freeform 84"/>
            <p:cNvSpPr>
              <a:spLocks/>
            </p:cNvSpPr>
            <p:nvPr/>
          </p:nvSpPr>
          <p:spPr bwMode="auto">
            <a:xfrm>
              <a:off x="3348038" y="1954213"/>
              <a:ext cx="111125" cy="247650"/>
            </a:xfrm>
            <a:custGeom>
              <a:avLst/>
              <a:gdLst>
                <a:gd name="T0" fmla="*/ 315 w 353"/>
                <a:gd name="T1" fmla="*/ 553 h 782"/>
                <a:gd name="T2" fmla="*/ 265 w 353"/>
                <a:gd name="T3" fmla="*/ 517 h 782"/>
                <a:gd name="T4" fmla="*/ 129 w 353"/>
                <a:gd name="T5" fmla="*/ 458 h 782"/>
                <a:gd name="T6" fmla="*/ 90 w 353"/>
                <a:gd name="T7" fmla="*/ 394 h 782"/>
                <a:gd name="T8" fmla="*/ 124 w 353"/>
                <a:gd name="T9" fmla="*/ 358 h 782"/>
                <a:gd name="T10" fmla="*/ 139 w 353"/>
                <a:gd name="T11" fmla="*/ 321 h 782"/>
                <a:gd name="T12" fmla="*/ 148 w 353"/>
                <a:gd name="T13" fmla="*/ 283 h 782"/>
                <a:gd name="T14" fmla="*/ 162 w 353"/>
                <a:gd name="T15" fmla="*/ 261 h 782"/>
                <a:gd name="T16" fmla="*/ 166 w 353"/>
                <a:gd name="T17" fmla="*/ 228 h 782"/>
                <a:gd name="T18" fmla="*/ 159 w 353"/>
                <a:gd name="T19" fmla="*/ 202 h 782"/>
                <a:gd name="T20" fmla="*/ 148 w 353"/>
                <a:gd name="T21" fmla="*/ 188 h 782"/>
                <a:gd name="T22" fmla="*/ 165 w 353"/>
                <a:gd name="T23" fmla="*/ 122 h 782"/>
                <a:gd name="T24" fmla="*/ 159 w 353"/>
                <a:gd name="T25" fmla="*/ 64 h 782"/>
                <a:gd name="T26" fmla="*/ 129 w 353"/>
                <a:gd name="T27" fmla="*/ 26 h 782"/>
                <a:gd name="T28" fmla="*/ 83 w 353"/>
                <a:gd name="T29" fmla="*/ 3 h 782"/>
                <a:gd name="T30" fmla="*/ 38 w 353"/>
                <a:gd name="T31" fmla="*/ 2 h 782"/>
                <a:gd name="T32" fmla="*/ 5 w 353"/>
                <a:gd name="T33" fmla="*/ 17 h 782"/>
                <a:gd name="T34" fmla="*/ 0 w 353"/>
                <a:gd name="T35" fmla="*/ 27 h 782"/>
                <a:gd name="T36" fmla="*/ 5 w 353"/>
                <a:gd name="T37" fmla="*/ 38 h 782"/>
                <a:gd name="T38" fmla="*/ 15 w 353"/>
                <a:gd name="T39" fmla="*/ 42 h 782"/>
                <a:gd name="T40" fmla="*/ 32 w 353"/>
                <a:gd name="T41" fmla="*/ 35 h 782"/>
                <a:gd name="T42" fmla="*/ 65 w 353"/>
                <a:gd name="T43" fmla="*/ 30 h 782"/>
                <a:gd name="T44" fmla="*/ 93 w 353"/>
                <a:gd name="T45" fmla="*/ 39 h 782"/>
                <a:gd name="T46" fmla="*/ 124 w 353"/>
                <a:gd name="T47" fmla="*/ 64 h 782"/>
                <a:gd name="T48" fmla="*/ 135 w 353"/>
                <a:gd name="T49" fmla="*/ 94 h 782"/>
                <a:gd name="T50" fmla="*/ 127 w 353"/>
                <a:gd name="T51" fmla="*/ 158 h 782"/>
                <a:gd name="T52" fmla="*/ 115 w 353"/>
                <a:gd name="T53" fmla="*/ 201 h 782"/>
                <a:gd name="T54" fmla="*/ 120 w 353"/>
                <a:gd name="T55" fmla="*/ 211 h 782"/>
                <a:gd name="T56" fmla="*/ 131 w 353"/>
                <a:gd name="T57" fmla="*/ 214 h 782"/>
                <a:gd name="T58" fmla="*/ 136 w 353"/>
                <a:gd name="T59" fmla="*/ 241 h 782"/>
                <a:gd name="T60" fmla="*/ 131 w 353"/>
                <a:gd name="T61" fmla="*/ 258 h 782"/>
                <a:gd name="T62" fmla="*/ 120 w 353"/>
                <a:gd name="T63" fmla="*/ 261 h 782"/>
                <a:gd name="T64" fmla="*/ 115 w 353"/>
                <a:gd name="T65" fmla="*/ 271 h 782"/>
                <a:gd name="T66" fmla="*/ 110 w 353"/>
                <a:gd name="T67" fmla="*/ 313 h 782"/>
                <a:gd name="T68" fmla="*/ 93 w 353"/>
                <a:gd name="T69" fmla="*/ 348 h 782"/>
                <a:gd name="T70" fmla="*/ 65 w 353"/>
                <a:gd name="T71" fmla="*/ 376 h 782"/>
                <a:gd name="T72" fmla="*/ 53 w 353"/>
                <a:gd name="T73" fmla="*/ 387 h 782"/>
                <a:gd name="T74" fmla="*/ 55 w 353"/>
                <a:gd name="T75" fmla="*/ 460 h 782"/>
                <a:gd name="T76" fmla="*/ 112 w 353"/>
                <a:gd name="T77" fmla="*/ 484 h 782"/>
                <a:gd name="T78" fmla="*/ 239 w 353"/>
                <a:gd name="T79" fmla="*/ 538 h 782"/>
                <a:gd name="T80" fmla="*/ 289 w 353"/>
                <a:gd name="T81" fmla="*/ 569 h 782"/>
                <a:gd name="T82" fmla="*/ 310 w 353"/>
                <a:gd name="T83" fmla="*/ 609 h 782"/>
                <a:gd name="T84" fmla="*/ 321 w 353"/>
                <a:gd name="T85" fmla="*/ 696 h 782"/>
                <a:gd name="T86" fmla="*/ 262 w 353"/>
                <a:gd name="T87" fmla="*/ 752 h 782"/>
                <a:gd name="T88" fmla="*/ 251 w 353"/>
                <a:gd name="T89" fmla="*/ 756 h 782"/>
                <a:gd name="T90" fmla="*/ 247 w 353"/>
                <a:gd name="T91" fmla="*/ 767 h 782"/>
                <a:gd name="T92" fmla="*/ 251 w 353"/>
                <a:gd name="T93" fmla="*/ 778 h 782"/>
                <a:gd name="T94" fmla="*/ 262 w 353"/>
                <a:gd name="T95" fmla="*/ 782 h 782"/>
                <a:gd name="T96" fmla="*/ 347 w 353"/>
                <a:gd name="T97" fmla="*/ 779 h 782"/>
                <a:gd name="T98" fmla="*/ 353 w 353"/>
                <a:gd name="T99" fmla="*/ 770 h 782"/>
                <a:gd name="T100" fmla="*/ 352 w 353"/>
                <a:gd name="T101" fmla="*/ 721 h 782"/>
                <a:gd name="T102" fmla="*/ 342 w 353"/>
                <a:gd name="T103" fmla="*/ 619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82">
                  <a:moveTo>
                    <a:pt x="334" y="582"/>
                  </a:moveTo>
                  <a:lnTo>
                    <a:pt x="329" y="572"/>
                  </a:lnTo>
                  <a:lnTo>
                    <a:pt x="323" y="562"/>
                  </a:lnTo>
                  <a:lnTo>
                    <a:pt x="315" y="553"/>
                  </a:lnTo>
                  <a:lnTo>
                    <a:pt x="305" y="544"/>
                  </a:lnTo>
                  <a:lnTo>
                    <a:pt x="293" y="536"/>
                  </a:lnTo>
                  <a:lnTo>
                    <a:pt x="280" y="526"/>
                  </a:lnTo>
                  <a:lnTo>
                    <a:pt x="265" y="517"/>
                  </a:lnTo>
                  <a:lnTo>
                    <a:pt x="249" y="509"/>
                  </a:lnTo>
                  <a:lnTo>
                    <a:pt x="214" y="493"/>
                  </a:lnTo>
                  <a:lnTo>
                    <a:pt x="173" y="476"/>
                  </a:lnTo>
                  <a:lnTo>
                    <a:pt x="129" y="458"/>
                  </a:lnTo>
                  <a:lnTo>
                    <a:pt x="83" y="441"/>
                  </a:lnTo>
                  <a:lnTo>
                    <a:pt x="82" y="440"/>
                  </a:lnTo>
                  <a:lnTo>
                    <a:pt x="82" y="399"/>
                  </a:lnTo>
                  <a:lnTo>
                    <a:pt x="90" y="394"/>
                  </a:lnTo>
                  <a:lnTo>
                    <a:pt x="99" y="387"/>
                  </a:lnTo>
                  <a:lnTo>
                    <a:pt x="109" y="377"/>
                  </a:lnTo>
                  <a:lnTo>
                    <a:pt x="118" y="364"/>
                  </a:lnTo>
                  <a:lnTo>
                    <a:pt x="124" y="358"/>
                  </a:lnTo>
                  <a:lnTo>
                    <a:pt x="128" y="349"/>
                  </a:lnTo>
                  <a:lnTo>
                    <a:pt x="132" y="341"/>
                  </a:lnTo>
                  <a:lnTo>
                    <a:pt x="135" y="331"/>
                  </a:lnTo>
                  <a:lnTo>
                    <a:pt x="139" y="321"/>
                  </a:lnTo>
                  <a:lnTo>
                    <a:pt x="141" y="309"/>
                  </a:lnTo>
                  <a:lnTo>
                    <a:pt x="143" y="298"/>
                  </a:lnTo>
                  <a:lnTo>
                    <a:pt x="144" y="285"/>
                  </a:lnTo>
                  <a:lnTo>
                    <a:pt x="148" y="283"/>
                  </a:lnTo>
                  <a:lnTo>
                    <a:pt x="152" y="278"/>
                  </a:lnTo>
                  <a:lnTo>
                    <a:pt x="156" y="274"/>
                  </a:lnTo>
                  <a:lnTo>
                    <a:pt x="159" y="269"/>
                  </a:lnTo>
                  <a:lnTo>
                    <a:pt x="162" y="261"/>
                  </a:lnTo>
                  <a:lnTo>
                    <a:pt x="164" y="254"/>
                  </a:lnTo>
                  <a:lnTo>
                    <a:pt x="166" y="245"/>
                  </a:lnTo>
                  <a:lnTo>
                    <a:pt x="166" y="235"/>
                  </a:lnTo>
                  <a:lnTo>
                    <a:pt x="166" y="228"/>
                  </a:lnTo>
                  <a:lnTo>
                    <a:pt x="165" y="220"/>
                  </a:lnTo>
                  <a:lnTo>
                    <a:pt x="163" y="214"/>
                  </a:lnTo>
                  <a:lnTo>
                    <a:pt x="161" y="208"/>
                  </a:lnTo>
                  <a:lnTo>
                    <a:pt x="159" y="202"/>
                  </a:lnTo>
                  <a:lnTo>
                    <a:pt x="156" y="197"/>
                  </a:lnTo>
                  <a:lnTo>
                    <a:pt x="151" y="193"/>
                  </a:lnTo>
                  <a:lnTo>
                    <a:pt x="147" y="189"/>
                  </a:lnTo>
                  <a:lnTo>
                    <a:pt x="148" y="188"/>
                  </a:lnTo>
                  <a:lnTo>
                    <a:pt x="148" y="188"/>
                  </a:lnTo>
                  <a:lnTo>
                    <a:pt x="156" y="166"/>
                  </a:lnTo>
                  <a:lnTo>
                    <a:pt x="162" y="137"/>
                  </a:lnTo>
                  <a:lnTo>
                    <a:pt x="165" y="122"/>
                  </a:lnTo>
                  <a:lnTo>
                    <a:pt x="166" y="106"/>
                  </a:lnTo>
                  <a:lnTo>
                    <a:pt x="165" y="90"/>
                  </a:lnTo>
                  <a:lnTo>
                    <a:pt x="163" y="74"/>
                  </a:lnTo>
                  <a:lnTo>
                    <a:pt x="159" y="64"/>
                  </a:lnTo>
                  <a:lnTo>
                    <a:pt x="154" y="54"/>
                  </a:lnTo>
                  <a:lnTo>
                    <a:pt x="147" y="45"/>
                  </a:lnTo>
                  <a:lnTo>
                    <a:pt x="139" y="35"/>
                  </a:lnTo>
                  <a:lnTo>
                    <a:pt x="129" y="26"/>
                  </a:lnTo>
                  <a:lnTo>
                    <a:pt x="118" y="19"/>
                  </a:lnTo>
                  <a:lnTo>
                    <a:pt x="106" y="12"/>
                  </a:lnTo>
                  <a:lnTo>
                    <a:pt x="95" y="6"/>
                  </a:lnTo>
                  <a:lnTo>
                    <a:pt x="83" y="3"/>
                  </a:lnTo>
                  <a:lnTo>
                    <a:pt x="72" y="1"/>
                  </a:lnTo>
                  <a:lnTo>
                    <a:pt x="60" y="0"/>
                  </a:lnTo>
                  <a:lnTo>
                    <a:pt x="50" y="0"/>
                  </a:lnTo>
                  <a:lnTo>
                    <a:pt x="38" y="2"/>
                  </a:lnTo>
                  <a:lnTo>
                    <a:pt x="27" y="5"/>
                  </a:lnTo>
                  <a:lnTo>
                    <a:pt x="17" y="9"/>
                  </a:lnTo>
                  <a:lnTo>
                    <a:pt x="7" y="15"/>
                  </a:lnTo>
                  <a:lnTo>
                    <a:pt x="5" y="17"/>
                  </a:lnTo>
                  <a:lnTo>
                    <a:pt x="3" y="19"/>
                  </a:lnTo>
                  <a:lnTo>
                    <a:pt x="1" y="22"/>
                  </a:lnTo>
                  <a:lnTo>
                    <a:pt x="0" y="24"/>
                  </a:lnTo>
                  <a:lnTo>
                    <a:pt x="0" y="27"/>
                  </a:lnTo>
                  <a:lnTo>
                    <a:pt x="0" y="31"/>
                  </a:lnTo>
                  <a:lnTo>
                    <a:pt x="1" y="33"/>
                  </a:lnTo>
                  <a:lnTo>
                    <a:pt x="3" y="36"/>
                  </a:lnTo>
                  <a:lnTo>
                    <a:pt x="5" y="38"/>
                  </a:lnTo>
                  <a:lnTo>
                    <a:pt x="7" y="40"/>
                  </a:lnTo>
                  <a:lnTo>
                    <a:pt x="10" y="41"/>
                  </a:lnTo>
                  <a:lnTo>
                    <a:pt x="12" y="42"/>
                  </a:lnTo>
                  <a:lnTo>
                    <a:pt x="15" y="42"/>
                  </a:lnTo>
                  <a:lnTo>
                    <a:pt x="18" y="42"/>
                  </a:lnTo>
                  <a:lnTo>
                    <a:pt x="21" y="41"/>
                  </a:lnTo>
                  <a:lnTo>
                    <a:pt x="24" y="40"/>
                  </a:lnTo>
                  <a:lnTo>
                    <a:pt x="32" y="35"/>
                  </a:lnTo>
                  <a:lnTo>
                    <a:pt x="41" y="32"/>
                  </a:lnTo>
                  <a:lnTo>
                    <a:pt x="48" y="31"/>
                  </a:lnTo>
                  <a:lnTo>
                    <a:pt x="57" y="30"/>
                  </a:lnTo>
                  <a:lnTo>
                    <a:pt x="65" y="30"/>
                  </a:lnTo>
                  <a:lnTo>
                    <a:pt x="71" y="31"/>
                  </a:lnTo>
                  <a:lnTo>
                    <a:pt x="77" y="33"/>
                  </a:lnTo>
                  <a:lnTo>
                    <a:pt x="84" y="35"/>
                  </a:lnTo>
                  <a:lnTo>
                    <a:pt x="93" y="39"/>
                  </a:lnTo>
                  <a:lnTo>
                    <a:pt x="103" y="45"/>
                  </a:lnTo>
                  <a:lnTo>
                    <a:pt x="111" y="51"/>
                  </a:lnTo>
                  <a:lnTo>
                    <a:pt x="118" y="57"/>
                  </a:lnTo>
                  <a:lnTo>
                    <a:pt x="124" y="64"/>
                  </a:lnTo>
                  <a:lnTo>
                    <a:pt x="129" y="70"/>
                  </a:lnTo>
                  <a:lnTo>
                    <a:pt x="132" y="76"/>
                  </a:lnTo>
                  <a:lnTo>
                    <a:pt x="133" y="81"/>
                  </a:lnTo>
                  <a:lnTo>
                    <a:pt x="135" y="94"/>
                  </a:lnTo>
                  <a:lnTo>
                    <a:pt x="136" y="107"/>
                  </a:lnTo>
                  <a:lnTo>
                    <a:pt x="135" y="121"/>
                  </a:lnTo>
                  <a:lnTo>
                    <a:pt x="133" y="134"/>
                  </a:lnTo>
                  <a:lnTo>
                    <a:pt x="127" y="158"/>
                  </a:lnTo>
                  <a:lnTo>
                    <a:pt x="119" y="178"/>
                  </a:lnTo>
                  <a:lnTo>
                    <a:pt x="116" y="190"/>
                  </a:lnTo>
                  <a:lnTo>
                    <a:pt x="114" y="198"/>
                  </a:lnTo>
                  <a:lnTo>
                    <a:pt x="115" y="201"/>
                  </a:lnTo>
                  <a:lnTo>
                    <a:pt x="115" y="203"/>
                  </a:lnTo>
                  <a:lnTo>
                    <a:pt x="117" y="206"/>
                  </a:lnTo>
                  <a:lnTo>
                    <a:pt x="118" y="209"/>
                  </a:lnTo>
                  <a:lnTo>
                    <a:pt x="120" y="211"/>
                  </a:lnTo>
                  <a:lnTo>
                    <a:pt x="124" y="212"/>
                  </a:lnTo>
                  <a:lnTo>
                    <a:pt x="127" y="213"/>
                  </a:lnTo>
                  <a:lnTo>
                    <a:pt x="129" y="213"/>
                  </a:lnTo>
                  <a:lnTo>
                    <a:pt x="131" y="214"/>
                  </a:lnTo>
                  <a:lnTo>
                    <a:pt x="133" y="218"/>
                  </a:lnTo>
                  <a:lnTo>
                    <a:pt x="135" y="226"/>
                  </a:lnTo>
                  <a:lnTo>
                    <a:pt x="136" y="235"/>
                  </a:lnTo>
                  <a:lnTo>
                    <a:pt x="136" y="241"/>
                  </a:lnTo>
                  <a:lnTo>
                    <a:pt x="135" y="246"/>
                  </a:lnTo>
                  <a:lnTo>
                    <a:pt x="134" y="252"/>
                  </a:lnTo>
                  <a:lnTo>
                    <a:pt x="132" y="255"/>
                  </a:lnTo>
                  <a:lnTo>
                    <a:pt x="131" y="258"/>
                  </a:lnTo>
                  <a:lnTo>
                    <a:pt x="129" y="259"/>
                  </a:lnTo>
                  <a:lnTo>
                    <a:pt x="127" y="259"/>
                  </a:lnTo>
                  <a:lnTo>
                    <a:pt x="124" y="260"/>
                  </a:lnTo>
                  <a:lnTo>
                    <a:pt x="120" y="261"/>
                  </a:lnTo>
                  <a:lnTo>
                    <a:pt x="118" y="263"/>
                  </a:lnTo>
                  <a:lnTo>
                    <a:pt x="117" y="265"/>
                  </a:lnTo>
                  <a:lnTo>
                    <a:pt x="115" y="268"/>
                  </a:lnTo>
                  <a:lnTo>
                    <a:pt x="115" y="271"/>
                  </a:lnTo>
                  <a:lnTo>
                    <a:pt x="114" y="274"/>
                  </a:lnTo>
                  <a:lnTo>
                    <a:pt x="114" y="288"/>
                  </a:lnTo>
                  <a:lnTo>
                    <a:pt x="112" y="301"/>
                  </a:lnTo>
                  <a:lnTo>
                    <a:pt x="110" y="313"/>
                  </a:lnTo>
                  <a:lnTo>
                    <a:pt x="106" y="323"/>
                  </a:lnTo>
                  <a:lnTo>
                    <a:pt x="102" y="332"/>
                  </a:lnTo>
                  <a:lnTo>
                    <a:pt x="98" y="341"/>
                  </a:lnTo>
                  <a:lnTo>
                    <a:pt x="93" y="348"/>
                  </a:lnTo>
                  <a:lnTo>
                    <a:pt x="88" y="354"/>
                  </a:lnTo>
                  <a:lnTo>
                    <a:pt x="78" y="365"/>
                  </a:lnTo>
                  <a:lnTo>
                    <a:pt x="70" y="372"/>
                  </a:lnTo>
                  <a:lnTo>
                    <a:pt x="65" y="376"/>
                  </a:lnTo>
                  <a:lnTo>
                    <a:pt x="61" y="377"/>
                  </a:lnTo>
                  <a:lnTo>
                    <a:pt x="57" y="379"/>
                  </a:lnTo>
                  <a:lnTo>
                    <a:pt x="55" y="382"/>
                  </a:lnTo>
                  <a:lnTo>
                    <a:pt x="53" y="387"/>
                  </a:lnTo>
                  <a:lnTo>
                    <a:pt x="52" y="391"/>
                  </a:lnTo>
                  <a:lnTo>
                    <a:pt x="52" y="451"/>
                  </a:lnTo>
                  <a:lnTo>
                    <a:pt x="53" y="455"/>
                  </a:lnTo>
                  <a:lnTo>
                    <a:pt x="55" y="460"/>
                  </a:lnTo>
                  <a:lnTo>
                    <a:pt x="58" y="463"/>
                  </a:lnTo>
                  <a:lnTo>
                    <a:pt x="61" y="465"/>
                  </a:lnTo>
                  <a:lnTo>
                    <a:pt x="73" y="469"/>
                  </a:lnTo>
                  <a:lnTo>
                    <a:pt x="112" y="484"/>
                  </a:lnTo>
                  <a:lnTo>
                    <a:pt x="150" y="499"/>
                  </a:lnTo>
                  <a:lnTo>
                    <a:pt x="188" y="514"/>
                  </a:lnTo>
                  <a:lnTo>
                    <a:pt x="223" y="530"/>
                  </a:lnTo>
                  <a:lnTo>
                    <a:pt x="239" y="538"/>
                  </a:lnTo>
                  <a:lnTo>
                    <a:pt x="253" y="545"/>
                  </a:lnTo>
                  <a:lnTo>
                    <a:pt x="266" y="553"/>
                  </a:lnTo>
                  <a:lnTo>
                    <a:pt x="278" y="561"/>
                  </a:lnTo>
                  <a:lnTo>
                    <a:pt x="289" y="569"/>
                  </a:lnTo>
                  <a:lnTo>
                    <a:pt x="296" y="576"/>
                  </a:lnTo>
                  <a:lnTo>
                    <a:pt x="301" y="584"/>
                  </a:lnTo>
                  <a:lnTo>
                    <a:pt x="306" y="591"/>
                  </a:lnTo>
                  <a:lnTo>
                    <a:pt x="310" y="609"/>
                  </a:lnTo>
                  <a:lnTo>
                    <a:pt x="313" y="628"/>
                  </a:lnTo>
                  <a:lnTo>
                    <a:pt x="317" y="650"/>
                  </a:lnTo>
                  <a:lnTo>
                    <a:pt x="319" y="674"/>
                  </a:lnTo>
                  <a:lnTo>
                    <a:pt x="321" y="696"/>
                  </a:lnTo>
                  <a:lnTo>
                    <a:pt x="322" y="718"/>
                  </a:lnTo>
                  <a:lnTo>
                    <a:pt x="322" y="736"/>
                  </a:lnTo>
                  <a:lnTo>
                    <a:pt x="323" y="752"/>
                  </a:lnTo>
                  <a:lnTo>
                    <a:pt x="262" y="752"/>
                  </a:lnTo>
                  <a:lnTo>
                    <a:pt x="259" y="752"/>
                  </a:lnTo>
                  <a:lnTo>
                    <a:pt x="256" y="753"/>
                  </a:lnTo>
                  <a:lnTo>
                    <a:pt x="253" y="754"/>
                  </a:lnTo>
                  <a:lnTo>
                    <a:pt x="251" y="756"/>
                  </a:lnTo>
                  <a:lnTo>
                    <a:pt x="249" y="759"/>
                  </a:lnTo>
                  <a:lnTo>
                    <a:pt x="248" y="761"/>
                  </a:lnTo>
                  <a:lnTo>
                    <a:pt x="247" y="764"/>
                  </a:lnTo>
                  <a:lnTo>
                    <a:pt x="247" y="767"/>
                  </a:lnTo>
                  <a:lnTo>
                    <a:pt x="247" y="770"/>
                  </a:lnTo>
                  <a:lnTo>
                    <a:pt x="248" y="773"/>
                  </a:lnTo>
                  <a:lnTo>
                    <a:pt x="249" y="776"/>
                  </a:lnTo>
                  <a:lnTo>
                    <a:pt x="251" y="778"/>
                  </a:lnTo>
                  <a:lnTo>
                    <a:pt x="253" y="779"/>
                  </a:lnTo>
                  <a:lnTo>
                    <a:pt x="256" y="781"/>
                  </a:lnTo>
                  <a:lnTo>
                    <a:pt x="259" y="781"/>
                  </a:lnTo>
                  <a:lnTo>
                    <a:pt x="262" y="782"/>
                  </a:lnTo>
                  <a:lnTo>
                    <a:pt x="338" y="782"/>
                  </a:lnTo>
                  <a:lnTo>
                    <a:pt x="341" y="781"/>
                  </a:lnTo>
                  <a:lnTo>
                    <a:pt x="343" y="781"/>
                  </a:lnTo>
                  <a:lnTo>
                    <a:pt x="347" y="779"/>
                  </a:lnTo>
                  <a:lnTo>
                    <a:pt x="349" y="778"/>
                  </a:lnTo>
                  <a:lnTo>
                    <a:pt x="351" y="776"/>
                  </a:lnTo>
                  <a:lnTo>
                    <a:pt x="352" y="773"/>
                  </a:lnTo>
                  <a:lnTo>
                    <a:pt x="353" y="770"/>
                  </a:lnTo>
                  <a:lnTo>
                    <a:pt x="353" y="767"/>
                  </a:lnTo>
                  <a:lnTo>
                    <a:pt x="353" y="760"/>
                  </a:lnTo>
                  <a:lnTo>
                    <a:pt x="353" y="744"/>
                  </a:lnTo>
                  <a:lnTo>
                    <a:pt x="352" y="721"/>
                  </a:lnTo>
                  <a:lnTo>
                    <a:pt x="351" y="693"/>
                  </a:lnTo>
                  <a:lnTo>
                    <a:pt x="349" y="663"/>
                  </a:lnTo>
                  <a:lnTo>
                    <a:pt x="344" y="633"/>
                  </a:lnTo>
                  <a:lnTo>
                    <a:pt x="342" y="619"/>
                  </a:lnTo>
                  <a:lnTo>
                    <a:pt x="340" y="605"/>
                  </a:lnTo>
                  <a:lnTo>
                    <a:pt x="337" y="592"/>
                  </a:lnTo>
                  <a:lnTo>
                    <a:pt x="334" y="5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306" name="Group 305"/>
          <p:cNvGrpSpPr/>
          <p:nvPr/>
        </p:nvGrpSpPr>
        <p:grpSpPr>
          <a:xfrm>
            <a:off x="16030274" y="8485858"/>
            <a:ext cx="660508" cy="572927"/>
            <a:chOff x="8736013" y="2536825"/>
            <a:chExt cx="287338" cy="249238"/>
          </a:xfrm>
          <a:solidFill>
            <a:schemeClr val="accent3"/>
          </a:solidFill>
        </p:grpSpPr>
        <p:sp>
          <p:nvSpPr>
            <p:cNvPr id="307" name="Freeform 219"/>
            <p:cNvSpPr>
              <a:spLocks noEditPoints="1"/>
            </p:cNvSpPr>
            <p:nvPr/>
          </p:nvSpPr>
          <p:spPr bwMode="auto">
            <a:xfrm>
              <a:off x="8793163" y="2632075"/>
              <a:ext cx="230188" cy="153988"/>
            </a:xfrm>
            <a:custGeom>
              <a:avLst/>
              <a:gdLst>
                <a:gd name="T0" fmla="*/ 621 w 722"/>
                <a:gd name="T1" fmla="*/ 368 h 481"/>
                <a:gd name="T2" fmla="*/ 588 w 722"/>
                <a:gd name="T3" fmla="*/ 338 h 481"/>
                <a:gd name="T4" fmla="*/ 557 w 722"/>
                <a:gd name="T5" fmla="*/ 331 h 481"/>
                <a:gd name="T6" fmla="*/ 525 w 722"/>
                <a:gd name="T7" fmla="*/ 338 h 481"/>
                <a:gd name="T8" fmla="*/ 493 w 722"/>
                <a:gd name="T9" fmla="*/ 368 h 481"/>
                <a:gd name="T10" fmla="*/ 451 w 722"/>
                <a:gd name="T11" fmla="*/ 391 h 481"/>
                <a:gd name="T12" fmla="*/ 557 w 722"/>
                <a:gd name="T13" fmla="*/ 451 h 481"/>
                <a:gd name="T14" fmla="*/ 520 w 722"/>
                <a:gd name="T15" fmla="*/ 432 h 481"/>
                <a:gd name="T16" fmla="*/ 515 w 722"/>
                <a:gd name="T17" fmla="*/ 389 h 481"/>
                <a:gd name="T18" fmla="*/ 547 w 722"/>
                <a:gd name="T19" fmla="*/ 362 h 481"/>
                <a:gd name="T20" fmla="*/ 588 w 722"/>
                <a:gd name="T21" fmla="*/ 374 h 481"/>
                <a:gd name="T22" fmla="*/ 601 w 722"/>
                <a:gd name="T23" fmla="*/ 415 h 481"/>
                <a:gd name="T24" fmla="*/ 574 w 722"/>
                <a:gd name="T25" fmla="*/ 448 h 481"/>
                <a:gd name="T26" fmla="*/ 451 w 722"/>
                <a:gd name="T27" fmla="*/ 241 h 481"/>
                <a:gd name="T28" fmla="*/ 163 w 722"/>
                <a:gd name="T29" fmla="*/ 448 h 481"/>
                <a:gd name="T30" fmla="*/ 136 w 722"/>
                <a:gd name="T31" fmla="*/ 415 h 481"/>
                <a:gd name="T32" fmla="*/ 149 w 722"/>
                <a:gd name="T33" fmla="*/ 374 h 481"/>
                <a:gd name="T34" fmla="*/ 190 w 722"/>
                <a:gd name="T35" fmla="*/ 362 h 481"/>
                <a:gd name="T36" fmla="*/ 222 w 722"/>
                <a:gd name="T37" fmla="*/ 389 h 481"/>
                <a:gd name="T38" fmla="*/ 219 w 722"/>
                <a:gd name="T39" fmla="*/ 431 h 481"/>
                <a:gd name="T40" fmla="*/ 181 w 722"/>
                <a:gd name="T41" fmla="*/ 451 h 481"/>
                <a:gd name="T42" fmla="*/ 565 w 722"/>
                <a:gd name="T43" fmla="*/ 94 h 481"/>
                <a:gd name="T44" fmla="*/ 451 w 722"/>
                <a:gd name="T45" fmla="*/ 15 h 481"/>
                <a:gd name="T46" fmla="*/ 445 w 722"/>
                <a:gd name="T47" fmla="*/ 3 h 481"/>
                <a:gd name="T48" fmla="*/ 253 w 722"/>
                <a:gd name="T49" fmla="*/ 0 h 481"/>
                <a:gd name="T50" fmla="*/ 242 w 722"/>
                <a:gd name="T51" fmla="*/ 10 h 481"/>
                <a:gd name="T52" fmla="*/ 243 w 722"/>
                <a:gd name="T53" fmla="*/ 24 h 481"/>
                <a:gd name="T54" fmla="*/ 256 w 722"/>
                <a:gd name="T55" fmla="*/ 30 h 481"/>
                <a:gd name="T56" fmla="*/ 251 w 722"/>
                <a:gd name="T57" fmla="*/ 378 h 481"/>
                <a:gd name="T58" fmla="*/ 224 w 722"/>
                <a:gd name="T59" fmla="*/ 344 h 481"/>
                <a:gd name="T60" fmla="*/ 194 w 722"/>
                <a:gd name="T61" fmla="*/ 332 h 481"/>
                <a:gd name="T62" fmla="*/ 161 w 722"/>
                <a:gd name="T63" fmla="*/ 334 h 481"/>
                <a:gd name="T64" fmla="*/ 133 w 722"/>
                <a:gd name="T65" fmla="*/ 349 h 481"/>
                <a:gd name="T66" fmla="*/ 108 w 722"/>
                <a:gd name="T67" fmla="*/ 385 h 481"/>
                <a:gd name="T68" fmla="*/ 29 w 722"/>
                <a:gd name="T69" fmla="*/ 115 h 481"/>
                <a:gd name="T70" fmla="*/ 18 w 722"/>
                <a:gd name="T71" fmla="*/ 106 h 481"/>
                <a:gd name="T72" fmla="*/ 4 w 722"/>
                <a:gd name="T73" fmla="*/ 110 h 481"/>
                <a:gd name="T74" fmla="*/ 0 w 722"/>
                <a:gd name="T75" fmla="*/ 406 h 481"/>
                <a:gd name="T76" fmla="*/ 6 w 722"/>
                <a:gd name="T77" fmla="*/ 419 h 481"/>
                <a:gd name="T78" fmla="*/ 108 w 722"/>
                <a:gd name="T79" fmla="*/ 428 h 481"/>
                <a:gd name="T80" fmla="*/ 133 w 722"/>
                <a:gd name="T81" fmla="*/ 464 h 481"/>
                <a:gd name="T82" fmla="*/ 161 w 722"/>
                <a:gd name="T83" fmla="*/ 479 h 481"/>
                <a:gd name="T84" fmla="*/ 194 w 722"/>
                <a:gd name="T85" fmla="*/ 480 h 481"/>
                <a:gd name="T86" fmla="*/ 224 w 722"/>
                <a:gd name="T87" fmla="*/ 468 h 481"/>
                <a:gd name="T88" fmla="*/ 251 w 722"/>
                <a:gd name="T89" fmla="*/ 434 h 481"/>
                <a:gd name="T90" fmla="*/ 484 w 722"/>
                <a:gd name="T91" fmla="*/ 428 h 481"/>
                <a:gd name="T92" fmla="*/ 509 w 722"/>
                <a:gd name="T93" fmla="*/ 464 h 481"/>
                <a:gd name="T94" fmla="*/ 537 w 722"/>
                <a:gd name="T95" fmla="*/ 479 h 481"/>
                <a:gd name="T96" fmla="*/ 570 w 722"/>
                <a:gd name="T97" fmla="*/ 480 h 481"/>
                <a:gd name="T98" fmla="*/ 599 w 722"/>
                <a:gd name="T99" fmla="*/ 468 h 481"/>
                <a:gd name="T100" fmla="*/ 627 w 722"/>
                <a:gd name="T101" fmla="*/ 434 h 481"/>
                <a:gd name="T102" fmla="*/ 712 w 722"/>
                <a:gd name="T103" fmla="*/ 420 h 481"/>
                <a:gd name="T104" fmla="*/ 722 w 722"/>
                <a:gd name="T105" fmla="*/ 410 h 481"/>
                <a:gd name="T106" fmla="*/ 721 w 722"/>
                <a:gd name="T107" fmla="*/ 25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2" h="481">
                  <a:moveTo>
                    <a:pt x="630" y="391"/>
                  </a:moveTo>
                  <a:lnTo>
                    <a:pt x="629" y="385"/>
                  </a:lnTo>
                  <a:lnTo>
                    <a:pt x="627" y="378"/>
                  </a:lnTo>
                  <a:lnTo>
                    <a:pt x="623" y="373"/>
                  </a:lnTo>
                  <a:lnTo>
                    <a:pt x="621" y="368"/>
                  </a:lnTo>
                  <a:lnTo>
                    <a:pt x="614" y="357"/>
                  </a:lnTo>
                  <a:lnTo>
                    <a:pt x="604" y="349"/>
                  </a:lnTo>
                  <a:lnTo>
                    <a:pt x="599" y="344"/>
                  </a:lnTo>
                  <a:lnTo>
                    <a:pt x="593" y="341"/>
                  </a:lnTo>
                  <a:lnTo>
                    <a:pt x="588" y="338"/>
                  </a:lnTo>
                  <a:lnTo>
                    <a:pt x="583" y="336"/>
                  </a:lnTo>
                  <a:lnTo>
                    <a:pt x="576" y="334"/>
                  </a:lnTo>
                  <a:lnTo>
                    <a:pt x="570" y="332"/>
                  </a:lnTo>
                  <a:lnTo>
                    <a:pt x="563" y="331"/>
                  </a:lnTo>
                  <a:lnTo>
                    <a:pt x="557" y="331"/>
                  </a:lnTo>
                  <a:lnTo>
                    <a:pt x="550" y="331"/>
                  </a:lnTo>
                  <a:lnTo>
                    <a:pt x="543" y="332"/>
                  </a:lnTo>
                  <a:lnTo>
                    <a:pt x="537" y="334"/>
                  </a:lnTo>
                  <a:lnTo>
                    <a:pt x="530" y="336"/>
                  </a:lnTo>
                  <a:lnTo>
                    <a:pt x="525" y="338"/>
                  </a:lnTo>
                  <a:lnTo>
                    <a:pt x="520" y="341"/>
                  </a:lnTo>
                  <a:lnTo>
                    <a:pt x="514" y="344"/>
                  </a:lnTo>
                  <a:lnTo>
                    <a:pt x="509" y="349"/>
                  </a:lnTo>
                  <a:lnTo>
                    <a:pt x="499" y="357"/>
                  </a:lnTo>
                  <a:lnTo>
                    <a:pt x="493" y="368"/>
                  </a:lnTo>
                  <a:lnTo>
                    <a:pt x="490" y="373"/>
                  </a:lnTo>
                  <a:lnTo>
                    <a:pt x="486" y="378"/>
                  </a:lnTo>
                  <a:lnTo>
                    <a:pt x="484" y="385"/>
                  </a:lnTo>
                  <a:lnTo>
                    <a:pt x="483" y="391"/>
                  </a:lnTo>
                  <a:lnTo>
                    <a:pt x="451" y="391"/>
                  </a:lnTo>
                  <a:lnTo>
                    <a:pt x="451" y="271"/>
                  </a:lnTo>
                  <a:lnTo>
                    <a:pt x="692" y="271"/>
                  </a:lnTo>
                  <a:lnTo>
                    <a:pt x="692" y="391"/>
                  </a:lnTo>
                  <a:lnTo>
                    <a:pt x="630" y="391"/>
                  </a:lnTo>
                  <a:close/>
                  <a:moveTo>
                    <a:pt x="557" y="451"/>
                  </a:moveTo>
                  <a:lnTo>
                    <a:pt x="547" y="450"/>
                  </a:lnTo>
                  <a:lnTo>
                    <a:pt x="539" y="448"/>
                  </a:lnTo>
                  <a:lnTo>
                    <a:pt x="531" y="444"/>
                  </a:lnTo>
                  <a:lnTo>
                    <a:pt x="525" y="438"/>
                  </a:lnTo>
                  <a:lnTo>
                    <a:pt x="520" y="432"/>
                  </a:lnTo>
                  <a:lnTo>
                    <a:pt x="515" y="423"/>
                  </a:lnTo>
                  <a:lnTo>
                    <a:pt x="512" y="415"/>
                  </a:lnTo>
                  <a:lnTo>
                    <a:pt x="511" y="406"/>
                  </a:lnTo>
                  <a:lnTo>
                    <a:pt x="512" y="398"/>
                  </a:lnTo>
                  <a:lnTo>
                    <a:pt x="515" y="389"/>
                  </a:lnTo>
                  <a:lnTo>
                    <a:pt x="520" y="381"/>
                  </a:lnTo>
                  <a:lnTo>
                    <a:pt x="525" y="374"/>
                  </a:lnTo>
                  <a:lnTo>
                    <a:pt x="531" y="369"/>
                  </a:lnTo>
                  <a:lnTo>
                    <a:pt x="539" y="365"/>
                  </a:lnTo>
                  <a:lnTo>
                    <a:pt x="547" y="362"/>
                  </a:lnTo>
                  <a:lnTo>
                    <a:pt x="557" y="361"/>
                  </a:lnTo>
                  <a:lnTo>
                    <a:pt x="566" y="362"/>
                  </a:lnTo>
                  <a:lnTo>
                    <a:pt x="574" y="365"/>
                  </a:lnTo>
                  <a:lnTo>
                    <a:pt x="582" y="369"/>
                  </a:lnTo>
                  <a:lnTo>
                    <a:pt x="588" y="374"/>
                  </a:lnTo>
                  <a:lnTo>
                    <a:pt x="593" y="381"/>
                  </a:lnTo>
                  <a:lnTo>
                    <a:pt x="598" y="389"/>
                  </a:lnTo>
                  <a:lnTo>
                    <a:pt x="601" y="398"/>
                  </a:lnTo>
                  <a:lnTo>
                    <a:pt x="602" y="406"/>
                  </a:lnTo>
                  <a:lnTo>
                    <a:pt x="601" y="415"/>
                  </a:lnTo>
                  <a:lnTo>
                    <a:pt x="598" y="423"/>
                  </a:lnTo>
                  <a:lnTo>
                    <a:pt x="593" y="431"/>
                  </a:lnTo>
                  <a:lnTo>
                    <a:pt x="588" y="438"/>
                  </a:lnTo>
                  <a:lnTo>
                    <a:pt x="582" y="444"/>
                  </a:lnTo>
                  <a:lnTo>
                    <a:pt x="574" y="448"/>
                  </a:lnTo>
                  <a:lnTo>
                    <a:pt x="566" y="450"/>
                  </a:lnTo>
                  <a:lnTo>
                    <a:pt x="557" y="451"/>
                  </a:lnTo>
                  <a:close/>
                  <a:moveTo>
                    <a:pt x="551" y="120"/>
                  </a:moveTo>
                  <a:lnTo>
                    <a:pt x="671" y="241"/>
                  </a:lnTo>
                  <a:lnTo>
                    <a:pt x="451" y="241"/>
                  </a:lnTo>
                  <a:lnTo>
                    <a:pt x="451" y="120"/>
                  </a:lnTo>
                  <a:lnTo>
                    <a:pt x="551" y="120"/>
                  </a:lnTo>
                  <a:close/>
                  <a:moveTo>
                    <a:pt x="181" y="451"/>
                  </a:moveTo>
                  <a:lnTo>
                    <a:pt x="171" y="450"/>
                  </a:lnTo>
                  <a:lnTo>
                    <a:pt x="163" y="448"/>
                  </a:lnTo>
                  <a:lnTo>
                    <a:pt x="155" y="444"/>
                  </a:lnTo>
                  <a:lnTo>
                    <a:pt x="149" y="438"/>
                  </a:lnTo>
                  <a:lnTo>
                    <a:pt x="144" y="432"/>
                  </a:lnTo>
                  <a:lnTo>
                    <a:pt x="139" y="423"/>
                  </a:lnTo>
                  <a:lnTo>
                    <a:pt x="136" y="415"/>
                  </a:lnTo>
                  <a:lnTo>
                    <a:pt x="136" y="406"/>
                  </a:lnTo>
                  <a:lnTo>
                    <a:pt x="136" y="398"/>
                  </a:lnTo>
                  <a:lnTo>
                    <a:pt x="139" y="389"/>
                  </a:lnTo>
                  <a:lnTo>
                    <a:pt x="144" y="381"/>
                  </a:lnTo>
                  <a:lnTo>
                    <a:pt x="149" y="374"/>
                  </a:lnTo>
                  <a:lnTo>
                    <a:pt x="155" y="369"/>
                  </a:lnTo>
                  <a:lnTo>
                    <a:pt x="163" y="365"/>
                  </a:lnTo>
                  <a:lnTo>
                    <a:pt x="171" y="362"/>
                  </a:lnTo>
                  <a:lnTo>
                    <a:pt x="181" y="361"/>
                  </a:lnTo>
                  <a:lnTo>
                    <a:pt x="190" y="362"/>
                  </a:lnTo>
                  <a:lnTo>
                    <a:pt x="198" y="365"/>
                  </a:lnTo>
                  <a:lnTo>
                    <a:pt x="206" y="369"/>
                  </a:lnTo>
                  <a:lnTo>
                    <a:pt x="212" y="374"/>
                  </a:lnTo>
                  <a:lnTo>
                    <a:pt x="219" y="381"/>
                  </a:lnTo>
                  <a:lnTo>
                    <a:pt x="222" y="389"/>
                  </a:lnTo>
                  <a:lnTo>
                    <a:pt x="225" y="398"/>
                  </a:lnTo>
                  <a:lnTo>
                    <a:pt x="226" y="406"/>
                  </a:lnTo>
                  <a:lnTo>
                    <a:pt x="225" y="415"/>
                  </a:lnTo>
                  <a:lnTo>
                    <a:pt x="222" y="423"/>
                  </a:lnTo>
                  <a:lnTo>
                    <a:pt x="219" y="431"/>
                  </a:lnTo>
                  <a:lnTo>
                    <a:pt x="212" y="438"/>
                  </a:lnTo>
                  <a:lnTo>
                    <a:pt x="206" y="444"/>
                  </a:lnTo>
                  <a:lnTo>
                    <a:pt x="198" y="448"/>
                  </a:lnTo>
                  <a:lnTo>
                    <a:pt x="190" y="450"/>
                  </a:lnTo>
                  <a:lnTo>
                    <a:pt x="181" y="451"/>
                  </a:lnTo>
                  <a:close/>
                  <a:moveTo>
                    <a:pt x="721" y="250"/>
                  </a:moveTo>
                  <a:lnTo>
                    <a:pt x="720" y="248"/>
                  </a:lnTo>
                  <a:lnTo>
                    <a:pt x="718" y="246"/>
                  </a:lnTo>
                  <a:lnTo>
                    <a:pt x="568" y="95"/>
                  </a:lnTo>
                  <a:lnTo>
                    <a:pt x="565" y="94"/>
                  </a:lnTo>
                  <a:lnTo>
                    <a:pt x="562" y="91"/>
                  </a:lnTo>
                  <a:lnTo>
                    <a:pt x="559" y="91"/>
                  </a:lnTo>
                  <a:lnTo>
                    <a:pt x="557" y="90"/>
                  </a:lnTo>
                  <a:lnTo>
                    <a:pt x="451" y="90"/>
                  </a:lnTo>
                  <a:lnTo>
                    <a:pt x="451" y="15"/>
                  </a:lnTo>
                  <a:lnTo>
                    <a:pt x="451" y="12"/>
                  </a:lnTo>
                  <a:lnTo>
                    <a:pt x="450" y="10"/>
                  </a:lnTo>
                  <a:lnTo>
                    <a:pt x="449" y="7"/>
                  </a:lnTo>
                  <a:lnTo>
                    <a:pt x="447" y="5"/>
                  </a:lnTo>
                  <a:lnTo>
                    <a:pt x="445" y="3"/>
                  </a:lnTo>
                  <a:lnTo>
                    <a:pt x="442" y="1"/>
                  </a:lnTo>
                  <a:lnTo>
                    <a:pt x="439" y="0"/>
                  </a:lnTo>
                  <a:lnTo>
                    <a:pt x="436" y="0"/>
                  </a:lnTo>
                  <a:lnTo>
                    <a:pt x="256" y="0"/>
                  </a:lnTo>
                  <a:lnTo>
                    <a:pt x="253" y="0"/>
                  </a:lnTo>
                  <a:lnTo>
                    <a:pt x="250" y="1"/>
                  </a:lnTo>
                  <a:lnTo>
                    <a:pt x="247" y="3"/>
                  </a:lnTo>
                  <a:lnTo>
                    <a:pt x="245" y="5"/>
                  </a:lnTo>
                  <a:lnTo>
                    <a:pt x="243" y="7"/>
                  </a:lnTo>
                  <a:lnTo>
                    <a:pt x="242" y="10"/>
                  </a:lnTo>
                  <a:lnTo>
                    <a:pt x="241" y="12"/>
                  </a:lnTo>
                  <a:lnTo>
                    <a:pt x="241" y="15"/>
                  </a:lnTo>
                  <a:lnTo>
                    <a:pt x="241" y="19"/>
                  </a:lnTo>
                  <a:lnTo>
                    <a:pt x="242" y="22"/>
                  </a:lnTo>
                  <a:lnTo>
                    <a:pt x="243" y="24"/>
                  </a:lnTo>
                  <a:lnTo>
                    <a:pt x="245" y="26"/>
                  </a:lnTo>
                  <a:lnTo>
                    <a:pt x="247" y="28"/>
                  </a:lnTo>
                  <a:lnTo>
                    <a:pt x="250" y="29"/>
                  </a:lnTo>
                  <a:lnTo>
                    <a:pt x="253" y="30"/>
                  </a:lnTo>
                  <a:lnTo>
                    <a:pt x="256" y="30"/>
                  </a:lnTo>
                  <a:lnTo>
                    <a:pt x="421" y="30"/>
                  </a:lnTo>
                  <a:lnTo>
                    <a:pt x="421" y="391"/>
                  </a:lnTo>
                  <a:lnTo>
                    <a:pt x="254" y="391"/>
                  </a:lnTo>
                  <a:lnTo>
                    <a:pt x="253" y="385"/>
                  </a:lnTo>
                  <a:lnTo>
                    <a:pt x="251" y="378"/>
                  </a:lnTo>
                  <a:lnTo>
                    <a:pt x="249" y="373"/>
                  </a:lnTo>
                  <a:lnTo>
                    <a:pt x="245" y="368"/>
                  </a:lnTo>
                  <a:lnTo>
                    <a:pt x="238" y="357"/>
                  </a:lnTo>
                  <a:lnTo>
                    <a:pt x="228" y="349"/>
                  </a:lnTo>
                  <a:lnTo>
                    <a:pt x="224" y="344"/>
                  </a:lnTo>
                  <a:lnTo>
                    <a:pt x="219" y="341"/>
                  </a:lnTo>
                  <a:lnTo>
                    <a:pt x="212" y="338"/>
                  </a:lnTo>
                  <a:lnTo>
                    <a:pt x="207" y="336"/>
                  </a:lnTo>
                  <a:lnTo>
                    <a:pt x="200" y="334"/>
                  </a:lnTo>
                  <a:lnTo>
                    <a:pt x="194" y="332"/>
                  </a:lnTo>
                  <a:lnTo>
                    <a:pt x="187" y="331"/>
                  </a:lnTo>
                  <a:lnTo>
                    <a:pt x="181" y="331"/>
                  </a:lnTo>
                  <a:lnTo>
                    <a:pt x="174" y="331"/>
                  </a:lnTo>
                  <a:lnTo>
                    <a:pt x="167" y="332"/>
                  </a:lnTo>
                  <a:lnTo>
                    <a:pt x="161" y="334"/>
                  </a:lnTo>
                  <a:lnTo>
                    <a:pt x="155" y="336"/>
                  </a:lnTo>
                  <a:lnTo>
                    <a:pt x="149" y="338"/>
                  </a:lnTo>
                  <a:lnTo>
                    <a:pt x="144" y="341"/>
                  </a:lnTo>
                  <a:lnTo>
                    <a:pt x="138" y="344"/>
                  </a:lnTo>
                  <a:lnTo>
                    <a:pt x="133" y="349"/>
                  </a:lnTo>
                  <a:lnTo>
                    <a:pt x="124" y="357"/>
                  </a:lnTo>
                  <a:lnTo>
                    <a:pt x="117" y="368"/>
                  </a:lnTo>
                  <a:lnTo>
                    <a:pt x="114" y="373"/>
                  </a:lnTo>
                  <a:lnTo>
                    <a:pt x="110" y="378"/>
                  </a:lnTo>
                  <a:lnTo>
                    <a:pt x="108" y="385"/>
                  </a:lnTo>
                  <a:lnTo>
                    <a:pt x="107" y="391"/>
                  </a:lnTo>
                  <a:lnTo>
                    <a:pt x="30" y="391"/>
                  </a:lnTo>
                  <a:lnTo>
                    <a:pt x="30" y="120"/>
                  </a:lnTo>
                  <a:lnTo>
                    <a:pt x="30" y="117"/>
                  </a:lnTo>
                  <a:lnTo>
                    <a:pt x="29" y="115"/>
                  </a:lnTo>
                  <a:lnTo>
                    <a:pt x="28" y="112"/>
                  </a:lnTo>
                  <a:lnTo>
                    <a:pt x="26" y="110"/>
                  </a:lnTo>
                  <a:lnTo>
                    <a:pt x="24" y="109"/>
                  </a:lnTo>
                  <a:lnTo>
                    <a:pt x="21" y="106"/>
                  </a:lnTo>
                  <a:lnTo>
                    <a:pt x="18" y="106"/>
                  </a:lnTo>
                  <a:lnTo>
                    <a:pt x="15" y="105"/>
                  </a:lnTo>
                  <a:lnTo>
                    <a:pt x="12" y="106"/>
                  </a:lnTo>
                  <a:lnTo>
                    <a:pt x="10" y="106"/>
                  </a:lnTo>
                  <a:lnTo>
                    <a:pt x="6" y="109"/>
                  </a:lnTo>
                  <a:lnTo>
                    <a:pt x="4" y="110"/>
                  </a:lnTo>
                  <a:lnTo>
                    <a:pt x="3" y="112"/>
                  </a:lnTo>
                  <a:lnTo>
                    <a:pt x="1" y="115"/>
                  </a:lnTo>
                  <a:lnTo>
                    <a:pt x="1" y="117"/>
                  </a:lnTo>
                  <a:lnTo>
                    <a:pt x="0" y="120"/>
                  </a:lnTo>
                  <a:lnTo>
                    <a:pt x="0" y="406"/>
                  </a:lnTo>
                  <a:lnTo>
                    <a:pt x="1" y="410"/>
                  </a:lnTo>
                  <a:lnTo>
                    <a:pt x="1" y="412"/>
                  </a:lnTo>
                  <a:lnTo>
                    <a:pt x="3" y="415"/>
                  </a:lnTo>
                  <a:lnTo>
                    <a:pt x="4" y="417"/>
                  </a:lnTo>
                  <a:lnTo>
                    <a:pt x="6" y="419"/>
                  </a:lnTo>
                  <a:lnTo>
                    <a:pt x="10" y="420"/>
                  </a:lnTo>
                  <a:lnTo>
                    <a:pt x="12" y="421"/>
                  </a:lnTo>
                  <a:lnTo>
                    <a:pt x="15" y="421"/>
                  </a:lnTo>
                  <a:lnTo>
                    <a:pt x="107" y="421"/>
                  </a:lnTo>
                  <a:lnTo>
                    <a:pt x="108" y="428"/>
                  </a:lnTo>
                  <a:lnTo>
                    <a:pt x="110" y="434"/>
                  </a:lnTo>
                  <a:lnTo>
                    <a:pt x="114" y="440"/>
                  </a:lnTo>
                  <a:lnTo>
                    <a:pt x="117" y="445"/>
                  </a:lnTo>
                  <a:lnTo>
                    <a:pt x="124" y="456"/>
                  </a:lnTo>
                  <a:lnTo>
                    <a:pt x="133" y="464"/>
                  </a:lnTo>
                  <a:lnTo>
                    <a:pt x="138" y="468"/>
                  </a:lnTo>
                  <a:lnTo>
                    <a:pt x="144" y="472"/>
                  </a:lnTo>
                  <a:lnTo>
                    <a:pt x="149" y="475"/>
                  </a:lnTo>
                  <a:lnTo>
                    <a:pt x="155" y="477"/>
                  </a:lnTo>
                  <a:lnTo>
                    <a:pt x="161" y="479"/>
                  </a:lnTo>
                  <a:lnTo>
                    <a:pt x="167" y="480"/>
                  </a:lnTo>
                  <a:lnTo>
                    <a:pt x="174" y="481"/>
                  </a:lnTo>
                  <a:lnTo>
                    <a:pt x="181" y="481"/>
                  </a:lnTo>
                  <a:lnTo>
                    <a:pt x="187" y="481"/>
                  </a:lnTo>
                  <a:lnTo>
                    <a:pt x="194" y="480"/>
                  </a:lnTo>
                  <a:lnTo>
                    <a:pt x="200" y="479"/>
                  </a:lnTo>
                  <a:lnTo>
                    <a:pt x="207" y="477"/>
                  </a:lnTo>
                  <a:lnTo>
                    <a:pt x="212" y="475"/>
                  </a:lnTo>
                  <a:lnTo>
                    <a:pt x="219" y="472"/>
                  </a:lnTo>
                  <a:lnTo>
                    <a:pt x="224" y="468"/>
                  </a:lnTo>
                  <a:lnTo>
                    <a:pt x="228" y="464"/>
                  </a:lnTo>
                  <a:lnTo>
                    <a:pt x="238" y="456"/>
                  </a:lnTo>
                  <a:lnTo>
                    <a:pt x="245" y="445"/>
                  </a:lnTo>
                  <a:lnTo>
                    <a:pt x="249" y="440"/>
                  </a:lnTo>
                  <a:lnTo>
                    <a:pt x="251" y="434"/>
                  </a:lnTo>
                  <a:lnTo>
                    <a:pt x="253" y="428"/>
                  </a:lnTo>
                  <a:lnTo>
                    <a:pt x="254" y="421"/>
                  </a:lnTo>
                  <a:lnTo>
                    <a:pt x="436" y="421"/>
                  </a:lnTo>
                  <a:lnTo>
                    <a:pt x="483" y="421"/>
                  </a:lnTo>
                  <a:lnTo>
                    <a:pt x="484" y="428"/>
                  </a:lnTo>
                  <a:lnTo>
                    <a:pt x="486" y="434"/>
                  </a:lnTo>
                  <a:lnTo>
                    <a:pt x="490" y="440"/>
                  </a:lnTo>
                  <a:lnTo>
                    <a:pt x="493" y="445"/>
                  </a:lnTo>
                  <a:lnTo>
                    <a:pt x="499" y="456"/>
                  </a:lnTo>
                  <a:lnTo>
                    <a:pt x="509" y="464"/>
                  </a:lnTo>
                  <a:lnTo>
                    <a:pt x="514" y="468"/>
                  </a:lnTo>
                  <a:lnTo>
                    <a:pt x="520" y="472"/>
                  </a:lnTo>
                  <a:lnTo>
                    <a:pt x="525" y="475"/>
                  </a:lnTo>
                  <a:lnTo>
                    <a:pt x="530" y="477"/>
                  </a:lnTo>
                  <a:lnTo>
                    <a:pt x="537" y="479"/>
                  </a:lnTo>
                  <a:lnTo>
                    <a:pt x="543" y="480"/>
                  </a:lnTo>
                  <a:lnTo>
                    <a:pt x="550" y="481"/>
                  </a:lnTo>
                  <a:lnTo>
                    <a:pt x="557" y="481"/>
                  </a:lnTo>
                  <a:lnTo>
                    <a:pt x="563" y="481"/>
                  </a:lnTo>
                  <a:lnTo>
                    <a:pt x="570" y="480"/>
                  </a:lnTo>
                  <a:lnTo>
                    <a:pt x="576" y="479"/>
                  </a:lnTo>
                  <a:lnTo>
                    <a:pt x="583" y="477"/>
                  </a:lnTo>
                  <a:lnTo>
                    <a:pt x="588" y="475"/>
                  </a:lnTo>
                  <a:lnTo>
                    <a:pt x="593" y="472"/>
                  </a:lnTo>
                  <a:lnTo>
                    <a:pt x="599" y="468"/>
                  </a:lnTo>
                  <a:lnTo>
                    <a:pt x="604" y="464"/>
                  </a:lnTo>
                  <a:lnTo>
                    <a:pt x="614" y="456"/>
                  </a:lnTo>
                  <a:lnTo>
                    <a:pt x="621" y="445"/>
                  </a:lnTo>
                  <a:lnTo>
                    <a:pt x="623" y="440"/>
                  </a:lnTo>
                  <a:lnTo>
                    <a:pt x="627" y="434"/>
                  </a:lnTo>
                  <a:lnTo>
                    <a:pt x="629" y="428"/>
                  </a:lnTo>
                  <a:lnTo>
                    <a:pt x="630" y="421"/>
                  </a:lnTo>
                  <a:lnTo>
                    <a:pt x="707" y="421"/>
                  </a:lnTo>
                  <a:lnTo>
                    <a:pt x="710" y="421"/>
                  </a:lnTo>
                  <a:lnTo>
                    <a:pt x="712" y="420"/>
                  </a:lnTo>
                  <a:lnTo>
                    <a:pt x="716" y="419"/>
                  </a:lnTo>
                  <a:lnTo>
                    <a:pt x="718" y="417"/>
                  </a:lnTo>
                  <a:lnTo>
                    <a:pt x="720" y="415"/>
                  </a:lnTo>
                  <a:lnTo>
                    <a:pt x="721" y="412"/>
                  </a:lnTo>
                  <a:lnTo>
                    <a:pt x="722" y="410"/>
                  </a:lnTo>
                  <a:lnTo>
                    <a:pt x="722" y="406"/>
                  </a:lnTo>
                  <a:lnTo>
                    <a:pt x="722" y="256"/>
                  </a:lnTo>
                  <a:lnTo>
                    <a:pt x="722" y="253"/>
                  </a:lnTo>
                  <a:lnTo>
                    <a:pt x="721" y="250"/>
                  </a:lnTo>
                  <a:lnTo>
                    <a:pt x="721"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08" name="Freeform 220"/>
            <p:cNvSpPr>
              <a:spLocks/>
            </p:cNvSpPr>
            <p:nvPr/>
          </p:nvSpPr>
          <p:spPr bwMode="auto">
            <a:xfrm>
              <a:off x="8793163" y="2565400"/>
              <a:ext cx="28575" cy="38100"/>
            </a:xfrm>
            <a:custGeom>
              <a:avLst/>
              <a:gdLst>
                <a:gd name="T0" fmla="*/ 15 w 90"/>
                <a:gd name="T1" fmla="*/ 120 h 120"/>
                <a:gd name="T2" fmla="*/ 75 w 90"/>
                <a:gd name="T3" fmla="*/ 120 h 120"/>
                <a:gd name="T4" fmla="*/ 78 w 90"/>
                <a:gd name="T5" fmla="*/ 120 h 120"/>
                <a:gd name="T6" fmla="*/ 81 w 90"/>
                <a:gd name="T7" fmla="*/ 119 h 120"/>
                <a:gd name="T8" fmla="*/ 84 w 90"/>
                <a:gd name="T9" fmla="*/ 117 h 120"/>
                <a:gd name="T10" fmla="*/ 86 w 90"/>
                <a:gd name="T11" fmla="*/ 116 h 120"/>
                <a:gd name="T12" fmla="*/ 88 w 90"/>
                <a:gd name="T13" fmla="*/ 114 h 120"/>
                <a:gd name="T14" fmla="*/ 89 w 90"/>
                <a:gd name="T15" fmla="*/ 111 h 120"/>
                <a:gd name="T16" fmla="*/ 90 w 90"/>
                <a:gd name="T17" fmla="*/ 109 h 120"/>
                <a:gd name="T18" fmla="*/ 90 w 90"/>
                <a:gd name="T19" fmla="*/ 105 h 120"/>
                <a:gd name="T20" fmla="*/ 90 w 90"/>
                <a:gd name="T21" fmla="*/ 102 h 120"/>
                <a:gd name="T22" fmla="*/ 89 w 90"/>
                <a:gd name="T23" fmla="*/ 99 h 120"/>
                <a:gd name="T24" fmla="*/ 88 w 90"/>
                <a:gd name="T25" fmla="*/ 97 h 120"/>
                <a:gd name="T26" fmla="*/ 86 w 90"/>
                <a:gd name="T27" fmla="*/ 95 h 120"/>
                <a:gd name="T28" fmla="*/ 84 w 90"/>
                <a:gd name="T29" fmla="*/ 93 h 120"/>
                <a:gd name="T30" fmla="*/ 81 w 90"/>
                <a:gd name="T31" fmla="*/ 91 h 120"/>
                <a:gd name="T32" fmla="*/ 78 w 90"/>
                <a:gd name="T33" fmla="*/ 90 h 120"/>
                <a:gd name="T34" fmla="*/ 75 w 90"/>
                <a:gd name="T35" fmla="*/ 90 h 120"/>
                <a:gd name="T36" fmla="*/ 30 w 90"/>
                <a:gd name="T37" fmla="*/ 90 h 120"/>
                <a:gd name="T38" fmla="*/ 30 w 90"/>
                <a:gd name="T39" fmla="*/ 15 h 120"/>
                <a:gd name="T40" fmla="*/ 30 w 90"/>
                <a:gd name="T41" fmla="*/ 12 h 120"/>
                <a:gd name="T42" fmla="*/ 29 w 90"/>
                <a:gd name="T43" fmla="*/ 9 h 120"/>
                <a:gd name="T44" fmla="*/ 28 w 90"/>
                <a:gd name="T45" fmla="*/ 7 h 120"/>
                <a:gd name="T46" fmla="*/ 26 w 90"/>
                <a:gd name="T47" fmla="*/ 5 h 120"/>
                <a:gd name="T48" fmla="*/ 24 w 90"/>
                <a:gd name="T49" fmla="*/ 3 h 120"/>
                <a:gd name="T50" fmla="*/ 21 w 90"/>
                <a:gd name="T51" fmla="*/ 1 h 120"/>
                <a:gd name="T52" fmla="*/ 18 w 90"/>
                <a:gd name="T53" fmla="*/ 0 h 120"/>
                <a:gd name="T54" fmla="*/ 15 w 90"/>
                <a:gd name="T55" fmla="*/ 0 h 120"/>
                <a:gd name="T56" fmla="*/ 12 w 90"/>
                <a:gd name="T57" fmla="*/ 0 h 120"/>
                <a:gd name="T58" fmla="*/ 10 w 90"/>
                <a:gd name="T59" fmla="*/ 1 h 120"/>
                <a:gd name="T60" fmla="*/ 6 w 90"/>
                <a:gd name="T61" fmla="*/ 3 h 120"/>
                <a:gd name="T62" fmla="*/ 4 w 90"/>
                <a:gd name="T63" fmla="*/ 5 h 120"/>
                <a:gd name="T64" fmla="*/ 3 w 90"/>
                <a:gd name="T65" fmla="*/ 7 h 120"/>
                <a:gd name="T66" fmla="*/ 1 w 90"/>
                <a:gd name="T67" fmla="*/ 9 h 120"/>
                <a:gd name="T68" fmla="*/ 1 w 90"/>
                <a:gd name="T69" fmla="*/ 12 h 120"/>
                <a:gd name="T70" fmla="*/ 0 w 90"/>
                <a:gd name="T71" fmla="*/ 15 h 120"/>
                <a:gd name="T72" fmla="*/ 0 w 90"/>
                <a:gd name="T73" fmla="*/ 105 h 120"/>
                <a:gd name="T74" fmla="*/ 1 w 90"/>
                <a:gd name="T75" fmla="*/ 109 h 120"/>
                <a:gd name="T76" fmla="*/ 1 w 90"/>
                <a:gd name="T77" fmla="*/ 111 h 120"/>
                <a:gd name="T78" fmla="*/ 3 w 90"/>
                <a:gd name="T79" fmla="*/ 114 h 120"/>
                <a:gd name="T80" fmla="*/ 4 w 90"/>
                <a:gd name="T81" fmla="*/ 116 h 120"/>
                <a:gd name="T82" fmla="*/ 6 w 90"/>
                <a:gd name="T83" fmla="*/ 117 h 120"/>
                <a:gd name="T84" fmla="*/ 10 w 90"/>
                <a:gd name="T85" fmla="*/ 119 h 120"/>
                <a:gd name="T86" fmla="*/ 13 w 90"/>
                <a:gd name="T87" fmla="*/ 120 h 120"/>
                <a:gd name="T88" fmla="*/ 15 w 90"/>
                <a:gd name="T8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0">
                  <a:moveTo>
                    <a:pt x="15" y="120"/>
                  </a:moveTo>
                  <a:lnTo>
                    <a:pt x="75" y="120"/>
                  </a:lnTo>
                  <a:lnTo>
                    <a:pt x="78" y="120"/>
                  </a:lnTo>
                  <a:lnTo>
                    <a:pt x="81" y="119"/>
                  </a:lnTo>
                  <a:lnTo>
                    <a:pt x="84" y="117"/>
                  </a:lnTo>
                  <a:lnTo>
                    <a:pt x="86" y="116"/>
                  </a:lnTo>
                  <a:lnTo>
                    <a:pt x="88" y="114"/>
                  </a:lnTo>
                  <a:lnTo>
                    <a:pt x="89" y="111"/>
                  </a:lnTo>
                  <a:lnTo>
                    <a:pt x="90" y="109"/>
                  </a:lnTo>
                  <a:lnTo>
                    <a:pt x="90" y="105"/>
                  </a:lnTo>
                  <a:lnTo>
                    <a:pt x="90" y="102"/>
                  </a:lnTo>
                  <a:lnTo>
                    <a:pt x="89" y="99"/>
                  </a:lnTo>
                  <a:lnTo>
                    <a:pt x="88" y="97"/>
                  </a:lnTo>
                  <a:lnTo>
                    <a:pt x="86" y="95"/>
                  </a:lnTo>
                  <a:lnTo>
                    <a:pt x="84" y="93"/>
                  </a:lnTo>
                  <a:lnTo>
                    <a:pt x="81" y="91"/>
                  </a:lnTo>
                  <a:lnTo>
                    <a:pt x="78" y="90"/>
                  </a:lnTo>
                  <a:lnTo>
                    <a:pt x="75" y="90"/>
                  </a:lnTo>
                  <a:lnTo>
                    <a:pt x="30" y="90"/>
                  </a:lnTo>
                  <a:lnTo>
                    <a:pt x="30" y="15"/>
                  </a:lnTo>
                  <a:lnTo>
                    <a:pt x="30" y="12"/>
                  </a:lnTo>
                  <a:lnTo>
                    <a:pt x="29" y="9"/>
                  </a:lnTo>
                  <a:lnTo>
                    <a:pt x="28" y="7"/>
                  </a:lnTo>
                  <a:lnTo>
                    <a:pt x="26" y="5"/>
                  </a:lnTo>
                  <a:lnTo>
                    <a:pt x="24" y="3"/>
                  </a:lnTo>
                  <a:lnTo>
                    <a:pt x="21" y="1"/>
                  </a:lnTo>
                  <a:lnTo>
                    <a:pt x="18" y="0"/>
                  </a:lnTo>
                  <a:lnTo>
                    <a:pt x="15" y="0"/>
                  </a:lnTo>
                  <a:lnTo>
                    <a:pt x="12" y="0"/>
                  </a:lnTo>
                  <a:lnTo>
                    <a:pt x="10" y="1"/>
                  </a:lnTo>
                  <a:lnTo>
                    <a:pt x="6" y="3"/>
                  </a:lnTo>
                  <a:lnTo>
                    <a:pt x="4" y="5"/>
                  </a:lnTo>
                  <a:lnTo>
                    <a:pt x="3" y="7"/>
                  </a:lnTo>
                  <a:lnTo>
                    <a:pt x="1" y="9"/>
                  </a:lnTo>
                  <a:lnTo>
                    <a:pt x="1" y="12"/>
                  </a:lnTo>
                  <a:lnTo>
                    <a:pt x="0" y="15"/>
                  </a:lnTo>
                  <a:lnTo>
                    <a:pt x="0" y="105"/>
                  </a:lnTo>
                  <a:lnTo>
                    <a:pt x="1" y="109"/>
                  </a:lnTo>
                  <a:lnTo>
                    <a:pt x="1" y="111"/>
                  </a:lnTo>
                  <a:lnTo>
                    <a:pt x="3" y="114"/>
                  </a:lnTo>
                  <a:lnTo>
                    <a:pt x="4" y="116"/>
                  </a:lnTo>
                  <a:lnTo>
                    <a:pt x="6" y="117"/>
                  </a:lnTo>
                  <a:lnTo>
                    <a:pt x="10" y="119"/>
                  </a:lnTo>
                  <a:lnTo>
                    <a:pt x="13"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09" name="Freeform 221"/>
            <p:cNvSpPr>
              <a:spLocks/>
            </p:cNvSpPr>
            <p:nvPr/>
          </p:nvSpPr>
          <p:spPr bwMode="auto">
            <a:xfrm>
              <a:off x="8736013" y="2698750"/>
              <a:ext cx="47625" cy="11113"/>
            </a:xfrm>
            <a:custGeom>
              <a:avLst/>
              <a:gdLst>
                <a:gd name="T0" fmla="*/ 135 w 150"/>
                <a:gd name="T1" fmla="*/ 0 h 31"/>
                <a:gd name="T2" fmla="*/ 15 w 150"/>
                <a:gd name="T3" fmla="*/ 0 h 31"/>
                <a:gd name="T4" fmla="*/ 12 w 150"/>
                <a:gd name="T5" fmla="*/ 1 h 31"/>
                <a:gd name="T6" fmla="*/ 9 w 150"/>
                <a:gd name="T7" fmla="*/ 2 h 31"/>
                <a:gd name="T8" fmla="*/ 6 w 150"/>
                <a:gd name="T9" fmla="*/ 4 h 31"/>
                <a:gd name="T10" fmla="*/ 4 w 150"/>
                <a:gd name="T11" fmla="*/ 6 h 31"/>
                <a:gd name="T12" fmla="*/ 2 w 150"/>
                <a:gd name="T13" fmla="*/ 8 h 31"/>
                <a:gd name="T14" fmla="*/ 1 w 150"/>
                <a:gd name="T15" fmla="*/ 10 h 31"/>
                <a:gd name="T16" fmla="*/ 0 w 150"/>
                <a:gd name="T17" fmla="*/ 13 h 31"/>
                <a:gd name="T18" fmla="*/ 0 w 150"/>
                <a:gd name="T19" fmla="*/ 16 h 31"/>
                <a:gd name="T20" fmla="*/ 0 w 150"/>
                <a:gd name="T21" fmla="*/ 19 h 31"/>
                <a:gd name="T22" fmla="*/ 1 w 150"/>
                <a:gd name="T23" fmla="*/ 22 h 31"/>
                <a:gd name="T24" fmla="*/ 2 w 150"/>
                <a:gd name="T25" fmla="*/ 24 h 31"/>
                <a:gd name="T26" fmla="*/ 4 w 150"/>
                <a:gd name="T27" fmla="*/ 26 h 31"/>
                <a:gd name="T28" fmla="*/ 6 w 150"/>
                <a:gd name="T29" fmla="*/ 28 h 31"/>
                <a:gd name="T30" fmla="*/ 9 w 150"/>
                <a:gd name="T31" fmla="*/ 29 h 31"/>
                <a:gd name="T32" fmla="*/ 12 w 150"/>
                <a:gd name="T33" fmla="*/ 30 h 31"/>
                <a:gd name="T34" fmla="*/ 15 w 150"/>
                <a:gd name="T35" fmla="*/ 31 h 31"/>
                <a:gd name="T36" fmla="*/ 135 w 150"/>
                <a:gd name="T37" fmla="*/ 31 h 31"/>
                <a:gd name="T38" fmla="*/ 138 w 150"/>
                <a:gd name="T39" fmla="*/ 30 h 31"/>
                <a:gd name="T40" fmla="*/ 141 w 150"/>
                <a:gd name="T41" fmla="*/ 29 h 31"/>
                <a:gd name="T42" fmla="*/ 144 w 150"/>
                <a:gd name="T43" fmla="*/ 28 h 31"/>
                <a:gd name="T44" fmla="*/ 146 w 150"/>
                <a:gd name="T45" fmla="*/ 26 h 31"/>
                <a:gd name="T46" fmla="*/ 148 w 150"/>
                <a:gd name="T47" fmla="*/ 24 h 31"/>
                <a:gd name="T48" fmla="*/ 149 w 150"/>
                <a:gd name="T49" fmla="*/ 22 h 31"/>
                <a:gd name="T50" fmla="*/ 150 w 150"/>
                <a:gd name="T51" fmla="*/ 19 h 31"/>
                <a:gd name="T52" fmla="*/ 150 w 150"/>
                <a:gd name="T53" fmla="*/ 16 h 31"/>
                <a:gd name="T54" fmla="*/ 150 w 150"/>
                <a:gd name="T55" fmla="*/ 13 h 31"/>
                <a:gd name="T56" fmla="*/ 149 w 150"/>
                <a:gd name="T57" fmla="*/ 10 h 31"/>
                <a:gd name="T58" fmla="*/ 148 w 150"/>
                <a:gd name="T59" fmla="*/ 8 h 31"/>
                <a:gd name="T60" fmla="*/ 146 w 150"/>
                <a:gd name="T61" fmla="*/ 6 h 31"/>
                <a:gd name="T62" fmla="*/ 144 w 150"/>
                <a:gd name="T63" fmla="*/ 4 h 31"/>
                <a:gd name="T64" fmla="*/ 141 w 150"/>
                <a:gd name="T65" fmla="*/ 2 h 31"/>
                <a:gd name="T66" fmla="*/ 138 w 150"/>
                <a:gd name="T67" fmla="*/ 1 h 31"/>
                <a:gd name="T68" fmla="*/ 135 w 150"/>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31">
                  <a:moveTo>
                    <a:pt x="135" y="0"/>
                  </a:moveTo>
                  <a:lnTo>
                    <a:pt x="15" y="0"/>
                  </a:lnTo>
                  <a:lnTo>
                    <a:pt x="12" y="1"/>
                  </a:lnTo>
                  <a:lnTo>
                    <a:pt x="9" y="2"/>
                  </a:lnTo>
                  <a:lnTo>
                    <a:pt x="6" y="4"/>
                  </a:lnTo>
                  <a:lnTo>
                    <a:pt x="4" y="6"/>
                  </a:lnTo>
                  <a:lnTo>
                    <a:pt x="2" y="8"/>
                  </a:lnTo>
                  <a:lnTo>
                    <a:pt x="1" y="10"/>
                  </a:lnTo>
                  <a:lnTo>
                    <a:pt x="0" y="13"/>
                  </a:lnTo>
                  <a:lnTo>
                    <a:pt x="0" y="16"/>
                  </a:lnTo>
                  <a:lnTo>
                    <a:pt x="0" y="19"/>
                  </a:lnTo>
                  <a:lnTo>
                    <a:pt x="1" y="22"/>
                  </a:lnTo>
                  <a:lnTo>
                    <a:pt x="2" y="24"/>
                  </a:lnTo>
                  <a:lnTo>
                    <a:pt x="4" y="26"/>
                  </a:lnTo>
                  <a:lnTo>
                    <a:pt x="6" y="28"/>
                  </a:lnTo>
                  <a:lnTo>
                    <a:pt x="9" y="29"/>
                  </a:lnTo>
                  <a:lnTo>
                    <a:pt x="12" y="30"/>
                  </a:lnTo>
                  <a:lnTo>
                    <a:pt x="15" y="31"/>
                  </a:lnTo>
                  <a:lnTo>
                    <a:pt x="135" y="31"/>
                  </a:lnTo>
                  <a:lnTo>
                    <a:pt x="138" y="30"/>
                  </a:lnTo>
                  <a:lnTo>
                    <a:pt x="141" y="29"/>
                  </a:lnTo>
                  <a:lnTo>
                    <a:pt x="144" y="28"/>
                  </a:lnTo>
                  <a:lnTo>
                    <a:pt x="146" y="26"/>
                  </a:lnTo>
                  <a:lnTo>
                    <a:pt x="148" y="24"/>
                  </a:lnTo>
                  <a:lnTo>
                    <a:pt x="149" y="22"/>
                  </a:lnTo>
                  <a:lnTo>
                    <a:pt x="150" y="19"/>
                  </a:lnTo>
                  <a:lnTo>
                    <a:pt x="150" y="16"/>
                  </a:lnTo>
                  <a:lnTo>
                    <a:pt x="150" y="13"/>
                  </a:lnTo>
                  <a:lnTo>
                    <a:pt x="149" y="10"/>
                  </a:lnTo>
                  <a:lnTo>
                    <a:pt x="148" y="8"/>
                  </a:lnTo>
                  <a:lnTo>
                    <a:pt x="146" y="6"/>
                  </a:lnTo>
                  <a:lnTo>
                    <a:pt x="144" y="4"/>
                  </a:lnTo>
                  <a:lnTo>
                    <a:pt x="141" y="2"/>
                  </a:lnTo>
                  <a:lnTo>
                    <a:pt x="138" y="1"/>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10" name="Freeform 222"/>
            <p:cNvSpPr>
              <a:spLocks/>
            </p:cNvSpPr>
            <p:nvPr/>
          </p:nvSpPr>
          <p:spPr bwMode="auto">
            <a:xfrm>
              <a:off x="8755063" y="2719388"/>
              <a:ext cx="28575" cy="9525"/>
            </a:xfrm>
            <a:custGeom>
              <a:avLst/>
              <a:gdLst>
                <a:gd name="T0" fmla="*/ 75 w 90"/>
                <a:gd name="T1" fmla="*/ 0 h 30"/>
                <a:gd name="T2" fmla="*/ 15 w 90"/>
                <a:gd name="T3" fmla="*/ 0 h 30"/>
                <a:gd name="T4" fmla="*/ 12 w 90"/>
                <a:gd name="T5" fmla="*/ 0 h 30"/>
                <a:gd name="T6" fmla="*/ 10 w 90"/>
                <a:gd name="T7" fmla="*/ 1 h 30"/>
                <a:gd name="T8" fmla="*/ 6 w 90"/>
                <a:gd name="T9" fmla="*/ 3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7 h 30"/>
                <a:gd name="T30" fmla="*/ 10 w 90"/>
                <a:gd name="T31" fmla="*/ 29 h 30"/>
                <a:gd name="T32" fmla="*/ 12 w 90"/>
                <a:gd name="T33" fmla="*/ 29 h 30"/>
                <a:gd name="T34" fmla="*/ 15 w 90"/>
                <a:gd name="T35" fmla="*/ 30 h 30"/>
                <a:gd name="T36" fmla="*/ 75 w 90"/>
                <a:gd name="T37" fmla="*/ 30 h 30"/>
                <a:gd name="T38" fmla="*/ 78 w 90"/>
                <a:gd name="T39" fmla="*/ 29 h 30"/>
                <a:gd name="T40" fmla="*/ 81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3 h 30"/>
                <a:gd name="T64" fmla="*/ 81 w 90"/>
                <a:gd name="T65" fmla="*/ 1 h 30"/>
                <a:gd name="T66" fmla="*/ 78 w 90"/>
                <a:gd name="T67" fmla="*/ 0 h 30"/>
                <a:gd name="T68" fmla="*/ 75 w 90"/>
                <a:gd name="T69" fmla="*/ 0 h 30"/>
                <a:gd name="T70" fmla="*/ 75 w 9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7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29"/>
                  </a:lnTo>
                  <a:lnTo>
                    <a:pt x="15" y="30"/>
                  </a:lnTo>
                  <a:lnTo>
                    <a:pt x="75" y="30"/>
                  </a:lnTo>
                  <a:lnTo>
                    <a:pt x="78" y="29"/>
                  </a:lnTo>
                  <a:lnTo>
                    <a:pt x="81" y="29"/>
                  </a:lnTo>
                  <a:lnTo>
                    <a:pt x="84" y="27"/>
                  </a:lnTo>
                  <a:lnTo>
                    <a:pt x="86" y="26"/>
                  </a:lnTo>
                  <a:lnTo>
                    <a:pt x="88" y="24"/>
                  </a:lnTo>
                  <a:lnTo>
                    <a:pt x="89" y="21"/>
                  </a:lnTo>
                  <a:lnTo>
                    <a:pt x="90" y="19"/>
                  </a:lnTo>
                  <a:lnTo>
                    <a:pt x="90" y="15"/>
                  </a:lnTo>
                  <a:lnTo>
                    <a:pt x="90" y="12"/>
                  </a:lnTo>
                  <a:lnTo>
                    <a:pt x="89" y="9"/>
                  </a:lnTo>
                  <a:lnTo>
                    <a:pt x="88" y="7"/>
                  </a:lnTo>
                  <a:lnTo>
                    <a:pt x="86" y="5"/>
                  </a:lnTo>
                  <a:lnTo>
                    <a:pt x="84" y="3"/>
                  </a:lnTo>
                  <a:lnTo>
                    <a:pt x="81" y="1"/>
                  </a:lnTo>
                  <a:lnTo>
                    <a:pt x="78" y="0"/>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11" name="Freeform 223"/>
            <p:cNvSpPr>
              <a:spLocks/>
            </p:cNvSpPr>
            <p:nvPr/>
          </p:nvSpPr>
          <p:spPr bwMode="auto">
            <a:xfrm>
              <a:off x="8764588" y="2738438"/>
              <a:ext cx="19050" cy="9525"/>
            </a:xfrm>
            <a:custGeom>
              <a:avLst/>
              <a:gdLst>
                <a:gd name="T0" fmla="*/ 45 w 60"/>
                <a:gd name="T1" fmla="*/ 0 h 30"/>
                <a:gd name="T2" fmla="*/ 15 w 60"/>
                <a:gd name="T3" fmla="*/ 0 h 30"/>
                <a:gd name="T4" fmla="*/ 12 w 60"/>
                <a:gd name="T5" fmla="*/ 0 h 30"/>
                <a:gd name="T6" fmla="*/ 10 w 60"/>
                <a:gd name="T7" fmla="*/ 1 h 30"/>
                <a:gd name="T8" fmla="*/ 6 w 60"/>
                <a:gd name="T9" fmla="*/ 3 h 30"/>
                <a:gd name="T10" fmla="*/ 4 w 60"/>
                <a:gd name="T11" fmla="*/ 5 h 30"/>
                <a:gd name="T12" fmla="*/ 2 w 60"/>
                <a:gd name="T13" fmla="*/ 7 h 30"/>
                <a:gd name="T14" fmla="*/ 1 w 60"/>
                <a:gd name="T15" fmla="*/ 9 h 30"/>
                <a:gd name="T16" fmla="*/ 0 w 60"/>
                <a:gd name="T17" fmla="*/ 12 h 30"/>
                <a:gd name="T18" fmla="*/ 0 w 60"/>
                <a:gd name="T19" fmla="*/ 15 h 30"/>
                <a:gd name="T20" fmla="*/ 0 w 60"/>
                <a:gd name="T21" fmla="*/ 19 h 30"/>
                <a:gd name="T22" fmla="*/ 1 w 60"/>
                <a:gd name="T23" fmla="*/ 21 h 30"/>
                <a:gd name="T24" fmla="*/ 2 w 60"/>
                <a:gd name="T25" fmla="*/ 24 h 30"/>
                <a:gd name="T26" fmla="*/ 4 w 60"/>
                <a:gd name="T27" fmla="*/ 26 h 30"/>
                <a:gd name="T28" fmla="*/ 6 w 60"/>
                <a:gd name="T29" fmla="*/ 27 h 30"/>
                <a:gd name="T30" fmla="*/ 10 w 60"/>
                <a:gd name="T31" fmla="*/ 29 h 30"/>
                <a:gd name="T32" fmla="*/ 12 w 60"/>
                <a:gd name="T33" fmla="*/ 30 h 30"/>
                <a:gd name="T34" fmla="*/ 15 w 60"/>
                <a:gd name="T35" fmla="*/ 30 h 30"/>
                <a:gd name="T36" fmla="*/ 45 w 60"/>
                <a:gd name="T37" fmla="*/ 30 h 30"/>
                <a:gd name="T38" fmla="*/ 48 w 60"/>
                <a:gd name="T39" fmla="*/ 30 h 30"/>
                <a:gd name="T40" fmla="*/ 51 w 60"/>
                <a:gd name="T41" fmla="*/ 29 h 30"/>
                <a:gd name="T42" fmla="*/ 54 w 60"/>
                <a:gd name="T43" fmla="*/ 27 h 30"/>
                <a:gd name="T44" fmla="*/ 56 w 60"/>
                <a:gd name="T45" fmla="*/ 26 h 30"/>
                <a:gd name="T46" fmla="*/ 58 w 60"/>
                <a:gd name="T47" fmla="*/ 24 h 30"/>
                <a:gd name="T48" fmla="*/ 59 w 60"/>
                <a:gd name="T49" fmla="*/ 21 h 30"/>
                <a:gd name="T50" fmla="*/ 60 w 60"/>
                <a:gd name="T51" fmla="*/ 19 h 30"/>
                <a:gd name="T52" fmla="*/ 60 w 60"/>
                <a:gd name="T53" fmla="*/ 15 h 30"/>
                <a:gd name="T54" fmla="*/ 60 w 60"/>
                <a:gd name="T55" fmla="*/ 12 h 30"/>
                <a:gd name="T56" fmla="*/ 59 w 60"/>
                <a:gd name="T57" fmla="*/ 9 h 30"/>
                <a:gd name="T58" fmla="*/ 58 w 60"/>
                <a:gd name="T59" fmla="*/ 7 h 30"/>
                <a:gd name="T60" fmla="*/ 56 w 60"/>
                <a:gd name="T61" fmla="*/ 5 h 30"/>
                <a:gd name="T62" fmla="*/ 54 w 60"/>
                <a:gd name="T63" fmla="*/ 3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30"/>
                  </a:lnTo>
                  <a:lnTo>
                    <a:pt x="15" y="30"/>
                  </a:lnTo>
                  <a:lnTo>
                    <a:pt x="45" y="30"/>
                  </a:lnTo>
                  <a:lnTo>
                    <a:pt x="48" y="30"/>
                  </a:lnTo>
                  <a:lnTo>
                    <a:pt x="51" y="29"/>
                  </a:lnTo>
                  <a:lnTo>
                    <a:pt x="54" y="27"/>
                  </a:lnTo>
                  <a:lnTo>
                    <a:pt x="56" y="26"/>
                  </a:lnTo>
                  <a:lnTo>
                    <a:pt x="58" y="24"/>
                  </a:lnTo>
                  <a:lnTo>
                    <a:pt x="59" y="21"/>
                  </a:lnTo>
                  <a:lnTo>
                    <a:pt x="60" y="19"/>
                  </a:lnTo>
                  <a:lnTo>
                    <a:pt x="60" y="15"/>
                  </a:lnTo>
                  <a:lnTo>
                    <a:pt x="60" y="12"/>
                  </a:lnTo>
                  <a:lnTo>
                    <a:pt x="59" y="9"/>
                  </a:lnTo>
                  <a:lnTo>
                    <a:pt x="58" y="7"/>
                  </a:lnTo>
                  <a:lnTo>
                    <a:pt x="56" y="5"/>
                  </a:lnTo>
                  <a:lnTo>
                    <a:pt x="54" y="3"/>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12" name="Freeform 224"/>
            <p:cNvSpPr>
              <a:spLocks noEditPoints="1"/>
            </p:cNvSpPr>
            <p:nvPr/>
          </p:nvSpPr>
          <p:spPr bwMode="auto">
            <a:xfrm>
              <a:off x="8740775" y="2536825"/>
              <a:ext cx="115888" cy="114300"/>
            </a:xfrm>
            <a:custGeom>
              <a:avLst/>
              <a:gdLst>
                <a:gd name="T0" fmla="*/ 211 w 361"/>
                <a:gd name="T1" fmla="*/ 34 h 361"/>
                <a:gd name="T2" fmla="*/ 252 w 361"/>
                <a:gd name="T3" fmla="*/ 49 h 361"/>
                <a:gd name="T4" fmla="*/ 286 w 361"/>
                <a:gd name="T5" fmla="*/ 75 h 361"/>
                <a:gd name="T6" fmla="*/ 313 w 361"/>
                <a:gd name="T7" fmla="*/ 110 h 361"/>
                <a:gd name="T8" fmla="*/ 328 w 361"/>
                <a:gd name="T9" fmla="*/ 151 h 361"/>
                <a:gd name="T10" fmla="*/ 330 w 361"/>
                <a:gd name="T11" fmla="*/ 196 h 361"/>
                <a:gd name="T12" fmla="*/ 319 w 361"/>
                <a:gd name="T13" fmla="*/ 239 h 361"/>
                <a:gd name="T14" fmla="*/ 297 w 361"/>
                <a:gd name="T15" fmla="*/ 277 h 361"/>
                <a:gd name="T16" fmla="*/ 265 w 361"/>
                <a:gd name="T17" fmla="*/ 306 h 361"/>
                <a:gd name="T18" fmla="*/ 225 w 361"/>
                <a:gd name="T19" fmla="*/ 325 h 361"/>
                <a:gd name="T20" fmla="*/ 180 w 361"/>
                <a:gd name="T21" fmla="*/ 331 h 361"/>
                <a:gd name="T22" fmla="*/ 136 w 361"/>
                <a:gd name="T23" fmla="*/ 325 h 361"/>
                <a:gd name="T24" fmla="*/ 96 w 361"/>
                <a:gd name="T25" fmla="*/ 306 h 361"/>
                <a:gd name="T26" fmla="*/ 64 w 361"/>
                <a:gd name="T27" fmla="*/ 277 h 361"/>
                <a:gd name="T28" fmla="*/ 42 w 361"/>
                <a:gd name="T29" fmla="*/ 239 h 361"/>
                <a:gd name="T30" fmla="*/ 31 w 361"/>
                <a:gd name="T31" fmla="*/ 196 h 361"/>
                <a:gd name="T32" fmla="*/ 33 w 361"/>
                <a:gd name="T33" fmla="*/ 151 h 361"/>
                <a:gd name="T34" fmla="*/ 48 w 361"/>
                <a:gd name="T35" fmla="*/ 110 h 361"/>
                <a:gd name="T36" fmla="*/ 74 w 361"/>
                <a:gd name="T37" fmla="*/ 75 h 361"/>
                <a:gd name="T38" fmla="*/ 108 w 361"/>
                <a:gd name="T39" fmla="*/ 49 h 361"/>
                <a:gd name="T40" fmla="*/ 150 w 361"/>
                <a:gd name="T41" fmla="*/ 34 h 361"/>
                <a:gd name="T42" fmla="*/ 180 w 361"/>
                <a:gd name="T43" fmla="*/ 30 h 361"/>
                <a:gd name="T44" fmla="*/ 216 w 361"/>
                <a:gd name="T45" fmla="*/ 358 h 361"/>
                <a:gd name="T46" fmla="*/ 267 w 361"/>
                <a:gd name="T47" fmla="*/ 340 h 361"/>
                <a:gd name="T48" fmla="*/ 307 w 361"/>
                <a:gd name="T49" fmla="*/ 309 h 361"/>
                <a:gd name="T50" fmla="*/ 339 w 361"/>
                <a:gd name="T51" fmla="*/ 267 h 361"/>
                <a:gd name="T52" fmla="*/ 357 w 361"/>
                <a:gd name="T53" fmla="*/ 218 h 361"/>
                <a:gd name="T54" fmla="*/ 360 w 361"/>
                <a:gd name="T55" fmla="*/ 163 h 361"/>
                <a:gd name="T56" fmla="*/ 346 w 361"/>
                <a:gd name="T57" fmla="*/ 111 h 361"/>
                <a:gd name="T58" fmla="*/ 319 w 361"/>
                <a:gd name="T59" fmla="*/ 67 h 361"/>
                <a:gd name="T60" fmla="*/ 281 w 361"/>
                <a:gd name="T61" fmla="*/ 31 h 361"/>
                <a:gd name="T62" fmla="*/ 234 w 361"/>
                <a:gd name="T63" fmla="*/ 9 h 361"/>
                <a:gd name="T64" fmla="*/ 180 w 361"/>
                <a:gd name="T65" fmla="*/ 0 h 361"/>
                <a:gd name="T66" fmla="*/ 126 w 361"/>
                <a:gd name="T67" fmla="*/ 9 h 361"/>
                <a:gd name="T68" fmla="*/ 79 w 361"/>
                <a:gd name="T69" fmla="*/ 31 h 361"/>
                <a:gd name="T70" fmla="*/ 41 w 361"/>
                <a:gd name="T71" fmla="*/ 67 h 361"/>
                <a:gd name="T72" fmla="*/ 14 w 361"/>
                <a:gd name="T73" fmla="*/ 111 h 361"/>
                <a:gd name="T74" fmla="*/ 1 w 361"/>
                <a:gd name="T75" fmla="*/ 163 h 361"/>
                <a:gd name="T76" fmla="*/ 3 w 361"/>
                <a:gd name="T77" fmla="*/ 218 h 361"/>
                <a:gd name="T78" fmla="*/ 21 w 361"/>
                <a:gd name="T79" fmla="*/ 267 h 361"/>
                <a:gd name="T80" fmla="*/ 53 w 361"/>
                <a:gd name="T81" fmla="*/ 309 h 361"/>
                <a:gd name="T82" fmla="*/ 94 w 361"/>
                <a:gd name="T83" fmla="*/ 340 h 361"/>
                <a:gd name="T84" fmla="*/ 144 w 361"/>
                <a:gd name="T85" fmla="*/ 35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1" h="361">
                  <a:moveTo>
                    <a:pt x="180" y="30"/>
                  </a:moveTo>
                  <a:lnTo>
                    <a:pt x="196" y="31"/>
                  </a:lnTo>
                  <a:lnTo>
                    <a:pt x="211" y="34"/>
                  </a:lnTo>
                  <a:lnTo>
                    <a:pt x="225" y="38"/>
                  </a:lnTo>
                  <a:lnTo>
                    <a:pt x="239" y="42"/>
                  </a:lnTo>
                  <a:lnTo>
                    <a:pt x="252" y="49"/>
                  </a:lnTo>
                  <a:lnTo>
                    <a:pt x="265" y="56"/>
                  </a:lnTo>
                  <a:lnTo>
                    <a:pt x="276" y="65"/>
                  </a:lnTo>
                  <a:lnTo>
                    <a:pt x="286" y="75"/>
                  </a:lnTo>
                  <a:lnTo>
                    <a:pt x="297" y="85"/>
                  </a:lnTo>
                  <a:lnTo>
                    <a:pt x="305" y="97"/>
                  </a:lnTo>
                  <a:lnTo>
                    <a:pt x="313" y="110"/>
                  </a:lnTo>
                  <a:lnTo>
                    <a:pt x="319" y="122"/>
                  </a:lnTo>
                  <a:lnTo>
                    <a:pt x="324" y="136"/>
                  </a:lnTo>
                  <a:lnTo>
                    <a:pt x="328" y="151"/>
                  </a:lnTo>
                  <a:lnTo>
                    <a:pt x="330" y="165"/>
                  </a:lnTo>
                  <a:lnTo>
                    <a:pt x="331" y="181"/>
                  </a:lnTo>
                  <a:lnTo>
                    <a:pt x="330" y="196"/>
                  </a:lnTo>
                  <a:lnTo>
                    <a:pt x="328" y="211"/>
                  </a:lnTo>
                  <a:lnTo>
                    <a:pt x="324" y="225"/>
                  </a:lnTo>
                  <a:lnTo>
                    <a:pt x="319" y="239"/>
                  </a:lnTo>
                  <a:lnTo>
                    <a:pt x="313" y="253"/>
                  </a:lnTo>
                  <a:lnTo>
                    <a:pt x="305" y="265"/>
                  </a:lnTo>
                  <a:lnTo>
                    <a:pt x="297" y="277"/>
                  </a:lnTo>
                  <a:lnTo>
                    <a:pt x="286" y="287"/>
                  </a:lnTo>
                  <a:lnTo>
                    <a:pt x="276" y="297"/>
                  </a:lnTo>
                  <a:lnTo>
                    <a:pt x="265" y="306"/>
                  </a:lnTo>
                  <a:lnTo>
                    <a:pt x="252" y="313"/>
                  </a:lnTo>
                  <a:lnTo>
                    <a:pt x="239" y="320"/>
                  </a:lnTo>
                  <a:lnTo>
                    <a:pt x="225" y="325"/>
                  </a:lnTo>
                  <a:lnTo>
                    <a:pt x="211" y="328"/>
                  </a:lnTo>
                  <a:lnTo>
                    <a:pt x="196" y="330"/>
                  </a:lnTo>
                  <a:lnTo>
                    <a:pt x="180" y="331"/>
                  </a:lnTo>
                  <a:lnTo>
                    <a:pt x="165" y="330"/>
                  </a:lnTo>
                  <a:lnTo>
                    <a:pt x="150" y="328"/>
                  </a:lnTo>
                  <a:lnTo>
                    <a:pt x="136" y="325"/>
                  </a:lnTo>
                  <a:lnTo>
                    <a:pt x="122" y="320"/>
                  </a:lnTo>
                  <a:lnTo>
                    <a:pt x="108" y="313"/>
                  </a:lnTo>
                  <a:lnTo>
                    <a:pt x="96" y="306"/>
                  </a:lnTo>
                  <a:lnTo>
                    <a:pt x="85" y="297"/>
                  </a:lnTo>
                  <a:lnTo>
                    <a:pt x="74" y="287"/>
                  </a:lnTo>
                  <a:lnTo>
                    <a:pt x="64" y="277"/>
                  </a:lnTo>
                  <a:lnTo>
                    <a:pt x="56" y="265"/>
                  </a:lnTo>
                  <a:lnTo>
                    <a:pt x="48" y="253"/>
                  </a:lnTo>
                  <a:lnTo>
                    <a:pt x="42" y="239"/>
                  </a:lnTo>
                  <a:lnTo>
                    <a:pt x="36" y="225"/>
                  </a:lnTo>
                  <a:lnTo>
                    <a:pt x="33" y="211"/>
                  </a:lnTo>
                  <a:lnTo>
                    <a:pt x="31" y="196"/>
                  </a:lnTo>
                  <a:lnTo>
                    <a:pt x="30" y="181"/>
                  </a:lnTo>
                  <a:lnTo>
                    <a:pt x="31" y="165"/>
                  </a:lnTo>
                  <a:lnTo>
                    <a:pt x="33" y="151"/>
                  </a:lnTo>
                  <a:lnTo>
                    <a:pt x="36" y="136"/>
                  </a:lnTo>
                  <a:lnTo>
                    <a:pt x="42" y="122"/>
                  </a:lnTo>
                  <a:lnTo>
                    <a:pt x="48" y="110"/>
                  </a:lnTo>
                  <a:lnTo>
                    <a:pt x="56" y="97"/>
                  </a:lnTo>
                  <a:lnTo>
                    <a:pt x="64" y="86"/>
                  </a:lnTo>
                  <a:lnTo>
                    <a:pt x="74" y="75"/>
                  </a:lnTo>
                  <a:lnTo>
                    <a:pt x="85" y="65"/>
                  </a:lnTo>
                  <a:lnTo>
                    <a:pt x="96" y="56"/>
                  </a:lnTo>
                  <a:lnTo>
                    <a:pt x="108" y="49"/>
                  </a:lnTo>
                  <a:lnTo>
                    <a:pt x="122" y="42"/>
                  </a:lnTo>
                  <a:lnTo>
                    <a:pt x="136" y="38"/>
                  </a:lnTo>
                  <a:lnTo>
                    <a:pt x="150" y="34"/>
                  </a:lnTo>
                  <a:lnTo>
                    <a:pt x="165" y="31"/>
                  </a:lnTo>
                  <a:lnTo>
                    <a:pt x="180" y="30"/>
                  </a:lnTo>
                  <a:lnTo>
                    <a:pt x="180" y="30"/>
                  </a:lnTo>
                  <a:close/>
                  <a:moveTo>
                    <a:pt x="180" y="361"/>
                  </a:moveTo>
                  <a:lnTo>
                    <a:pt x="199" y="360"/>
                  </a:lnTo>
                  <a:lnTo>
                    <a:pt x="216" y="358"/>
                  </a:lnTo>
                  <a:lnTo>
                    <a:pt x="234" y="354"/>
                  </a:lnTo>
                  <a:lnTo>
                    <a:pt x="251" y="347"/>
                  </a:lnTo>
                  <a:lnTo>
                    <a:pt x="267" y="340"/>
                  </a:lnTo>
                  <a:lnTo>
                    <a:pt x="281" y="330"/>
                  </a:lnTo>
                  <a:lnTo>
                    <a:pt x="295" y="321"/>
                  </a:lnTo>
                  <a:lnTo>
                    <a:pt x="307" y="309"/>
                  </a:lnTo>
                  <a:lnTo>
                    <a:pt x="319" y="296"/>
                  </a:lnTo>
                  <a:lnTo>
                    <a:pt x="330" y="282"/>
                  </a:lnTo>
                  <a:lnTo>
                    <a:pt x="339" y="267"/>
                  </a:lnTo>
                  <a:lnTo>
                    <a:pt x="346" y="251"/>
                  </a:lnTo>
                  <a:lnTo>
                    <a:pt x="352" y="235"/>
                  </a:lnTo>
                  <a:lnTo>
                    <a:pt x="357" y="218"/>
                  </a:lnTo>
                  <a:lnTo>
                    <a:pt x="360" y="200"/>
                  </a:lnTo>
                  <a:lnTo>
                    <a:pt x="361" y="181"/>
                  </a:lnTo>
                  <a:lnTo>
                    <a:pt x="360" y="163"/>
                  </a:lnTo>
                  <a:lnTo>
                    <a:pt x="357" y="145"/>
                  </a:lnTo>
                  <a:lnTo>
                    <a:pt x="352" y="128"/>
                  </a:lnTo>
                  <a:lnTo>
                    <a:pt x="346" y="111"/>
                  </a:lnTo>
                  <a:lnTo>
                    <a:pt x="339" y="96"/>
                  </a:lnTo>
                  <a:lnTo>
                    <a:pt x="330" y="81"/>
                  </a:lnTo>
                  <a:lnTo>
                    <a:pt x="319" y="67"/>
                  </a:lnTo>
                  <a:lnTo>
                    <a:pt x="307" y="54"/>
                  </a:lnTo>
                  <a:lnTo>
                    <a:pt x="295" y="42"/>
                  </a:lnTo>
                  <a:lnTo>
                    <a:pt x="281" y="31"/>
                  </a:lnTo>
                  <a:lnTo>
                    <a:pt x="267" y="23"/>
                  </a:lnTo>
                  <a:lnTo>
                    <a:pt x="251" y="15"/>
                  </a:lnTo>
                  <a:lnTo>
                    <a:pt x="234" y="9"/>
                  </a:lnTo>
                  <a:lnTo>
                    <a:pt x="216" y="5"/>
                  </a:lnTo>
                  <a:lnTo>
                    <a:pt x="199" y="1"/>
                  </a:lnTo>
                  <a:lnTo>
                    <a:pt x="180" y="0"/>
                  </a:lnTo>
                  <a:lnTo>
                    <a:pt x="162" y="1"/>
                  </a:lnTo>
                  <a:lnTo>
                    <a:pt x="144" y="5"/>
                  </a:lnTo>
                  <a:lnTo>
                    <a:pt x="126" y="9"/>
                  </a:lnTo>
                  <a:lnTo>
                    <a:pt x="110" y="15"/>
                  </a:lnTo>
                  <a:lnTo>
                    <a:pt x="94" y="23"/>
                  </a:lnTo>
                  <a:lnTo>
                    <a:pt x="79" y="31"/>
                  </a:lnTo>
                  <a:lnTo>
                    <a:pt x="65" y="42"/>
                  </a:lnTo>
                  <a:lnTo>
                    <a:pt x="53" y="54"/>
                  </a:lnTo>
                  <a:lnTo>
                    <a:pt x="41" y="67"/>
                  </a:lnTo>
                  <a:lnTo>
                    <a:pt x="31" y="81"/>
                  </a:lnTo>
                  <a:lnTo>
                    <a:pt x="21" y="96"/>
                  </a:lnTo>
                  <a:lnTo>
                    <a:pt x="14" y="111"/>
                  </a:lnTo>
                  <a:lnTo>
                    <a:pt x="8" y="128"/>
                  </a:lnTo>
                  <a:lnTo>
                    <a:pt x="3" y="145"/>
                  </a:lnTo>
                  <a:lnTo>
                    <a:pt x="1" y="163"/>
                  </a:lnTo>
                  <a:lnTo>
                    <a:pt x="0" y="181"/>
                  </a:lnTo>
                  <a:lnTo>
                    <a:pt x="1" y="200"/>
                  </a:lnTo>
                  <a:lnTo>
                    <a:pt x="3" y="218"/>
                  </a:lnTo>
                  <a:lnTo>
                    <a:pt x="8" y="235"/>
                  </a:lnTo>
                  <a:lnTo>
                    <a:pt x="14" y="251"/>
                  </a:lnTo>
                  <a:lnTo>
                    <a:pt x="21" y="267"/>
                  </a:lnTo>
                  <a:lnTo>
                    <a:pt x="31" y="282"/>
                  </a:lnTo>
                  <a:lnTo>
                    <a:pt x="41" y="296"/>
                  </a:lnTo>
                  <a:lnTo>
                    <a:pt x="53" y="309"/>
                  </a:lnTo>
                  <a:lnTo>
                    <a:pt x="65" y="321"/>
                  </a:lnTo>
                  <a:lnTo>
                    <a:pt x="79" y="330"/>
                  </a:lnTo>
                  <a:lnTo>
                    <a:pt x="94" y="340"/>
                  </a:lnTo>
                  <a:lnTo>
                    <a:pt x="110" y="347"/>
                  </a:lnTo>
                  <a:lnTo>
                    <a:pt x="126" y="354"/>
                  </a:lnTo>
                  <a:lnTo>
                    <a:pt x="144" y="358"/>
                  </a:lnTo>
                  <a:lnTo>
                    <a:pt x="162" y="360"/>
                  </a:lnTo>
                  <a:lnTo>
                    <a:pt x="180"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313" name="Group 312"/>
          <p:cNvGrpSpPr/>
          <p:nvPr/>
        </p:nvGrpSpPr>
        <p:grpSpPr>
          <a:xfrm>
            <a:off x="14590958" y="10679601"/>
            <a:ext cx="656858" cy="656858"/>
            <a:chOff x="9882188" y="1354138"/>
            <a:chExt cx="285750" cy="285750"/>
          </a:xfrm>
          <a:solidFill>
            <a:schemeClr val="tx2"/>
          </a:solidFill>
        </p:grpSpPr>
        <p:sp>
          <p:nvSpPr>
            <p:cNvPr id="314" name="Freeform 186"/>
            <p:cNvSpPr>
              <a:spLocks noEditPoints="1"/>
            </p:cNvSpPr>
            <p:nvPr/>
          </p:nvSpPr>
          <p:spPr bwMode="auto">
            <a:xfrm>
              <a:off x="9891713" y="1482725"/>
              <a:ext cx="133350" cy="157163"/>
            </a:xfrm>
            <a:custGeom>
              <a:avLst/>
              <a:gdLst>
                <a:gd name="T0" fmla="*/ 89 w 421"/>
                <a:gd name="T1" fmla="*/ 454 h 496"/>
                <a:gd name="T2" fmla="*/ 30 w 421"/>
                <a:gd name="T3" fmla="*/ 392 h 496"/>
                <a:gd name="T4" fmla="*/ 145 w 421"/>
                <a:gd name="T5" fmla="*/ 416 h 496"/>
                <a:gd name="T6" fmla="*/ 253 w 421"/>
                <a:gd name="T7" fmla="*/ 418 h 496"/>
                <a:gd name="T8" fmla="*/ 373 w 421"/>
                <a:gd name="T9" fmla="*/ 399 h 496"/>
                <a:gd name="T10" fmla="*/ 355 w 421"/>
                <a:gd name="T11" fmla="*/ 448 h 496"/>
                <a:gd name="T12" fmla="*/ 211 w 421"/>
                <a:gd name="T13" fmla="*/ 466 h 496"/>
                <a:gd name="T14" fmla="*/ 302 w 421"/>
                <a:gd name="T15" fmla="*/ 36 h 496"/>
                <a:gd name="T16" fmla="*/ 389 w 421"/>
                <a:gd name="T17" fmla="*/ 60 h 496"/>
                <a:gd name="T18" fmla="*/ 302 w 421"/>
                <a:gd name="T19" fmla="*/ 83 h 496"/>
                <a:gd name="T20" fmla="*/ 148 w 421"/>
                <a:gd name="T21" fmla="*/ 86 h 496"/>
                <a:gd name="T22" fmla="*/ 43 w 421"/>
                <a:gd name="T23" fmla="*/ 64 h 496"/>
                <a:gd name="T24" fmla="*/ 95 w 421"/>
                <a:gd name="T25" fmla="*/ 39 h 496"/>
                <a:gd name="T26" fmla="*/ 391 w 421"/>
                <a:gd name="T27" fmla="*/ 132 h 496"/>
                <a:gd name="T28" fmla="*/ 306 w 421"/>
                <a:gd name="T29" fmla="*/ 157 h 496"/>
                <a:gd name="T30" fmla="*/ 145 w 421"/>
                <a:gd name="T31" fmla="*/ 161 h 496"/>
                <a:gd name="T32" fmla="*/ 37 w 421"/>
                <a:gd name="T33" fmla="*/ 137 h 496"/>
                <a:gd name="T34" fmla="*/ 94 w 421"/>
                <a:gd name="T35" fmla="*/ 109 h 496"/>
                <a:gd name="T36" fmla="*/ 211 w 421"/>
                <a:gd name="T37" fmla="*/ 120 h 496"/>
                <a:gd name="T38" fmla="*/ 327 w 421"/>
                <a:gd name="T39" fmla="*/ 109 h 496"/>
                <a:gd name="T40" fmla="*/ 391 w 421"/>
                <a:gd name="T41" fmla="*/ 207 h 496"/>
                <a:gd name="T42" fmla="*/ 306 w 421"/>
                <a:gd name="T43" fmla="*/ 233 h 496"/>
                <a:gd name="T44" fmla="*/ 145 w 421"/>
                <a:gd name="T45" fmla="*/ 236 h 496"/>
                <a:gd name="T46" fmla="*/ 37 w 421"/>
                <a:gd name="T47" fmla="*/ 212 h 496"/>
                <a:gd name="T48" fmla="*/ 94 w 421"/>
                <a:gd name="T49" fmla="*/ 184 h 496"/>
                <a:gd name="T50" fmla="*/ 211 w 421"/>
                <a:gd name="T51" fmla="*/ 195 h 496"/>
                <a:gd name="T52" fmla="*/ 327 w 421"/>
                <a:gd name="T53" fmla="*/ 184 h 496"/>
                <a:gd name="T54" fmla="*/ 391 w 421"/>
                <a:gd name="T55" fmla="*/ 282 h 496"/>
                <a:gd name="T56" fmla="*/ 306 w 421"/>
                <a:gd name="T57" fmla="*/ 308 h 496"/>
                <a:gd name="T58" fmla="*/ 145 w 421"/>
                <a:gd name="T59" fmla="*/ 311 h 496"/>
                <a:gd name="T60" fmla="*/ 37 w 421"/>
                <a:gd name="T61" fmla="*/ 288 h 496"/>
                <a:gd name="T62" fmla="*/ 94 w 421"/>
                <a:gd name="T63" fmla="*/ 260 h 496"/>
                <a:gd name="T64" fmla="*/ 211 w 421"/>
                <a:gd name="T65" fmla="*/ 270 h 496"/>
                <a:gd name="T66" fmla="*/ 327 w 421"/>
                <a:gd name="T67" fmla="*/ 260 h 496"/>
                <a:gd name="T68" fmla="*/ 391 w 421"/>
                <a:gd name="T69" fmla="*/ 357 h 496"/>
                <a:gd name="T70" fmla="*/ 306 w 421"/>
                <a:gd name="T71" fmla="*/ 383 h 496"/>
                <a:gd name="T72" fmla="*/ 145 w 421"/>
                <a:gd name="T73" fmla="*/ 386 h 496"/>
                <a:gd name="T74" fmla="*/ 37 w 421"/>
                <a:gd name="T75" fmla="*/ 363 h 496"/>
                <a:gd name="T76" fmla="*/ 94 w 421"/>
                <a:gd name="T77" fmla="*/ 335 h 496"/>
                <a:gd name="T78" fmla="*/ 211 w 421"/>
                <a:gd name="T79" fmla="*/ 344 h 496"/>
                <a:gd name="T80" fmla="*/ 327 w 421"/>
                <a:gd name="T81" fmla="*/ 335 h 496"/>
                <a:gd name="T82" fmla="*/ 211 w 421"/>
                <a:gd name="T83" fmla="*/ 0 h 496"/>
                <a:gd name="T84" fmla="*/ 64 w 421"/>
                <a:gd name="T85" fmla="*/ 16 h 496"/>
                <a:gd name="T86" fmla="*/ 6 w 421"/>
                <a:gd name="T87" fmla="*/ 43 h 496"/>
                <a:gd name="T88" fmla="*/ 0 w 421"/>
                <a:gd name="T89" fmla="*/ 135 h 496"/>
                <a:gd name="T90" fmla="*/ 1 w 421"/>
                <a:gd name="T91" fmla="*/ 440 h 496"/>
                <a:gd name="T92" fmla="*/ 24 w 421"/>
                <a:gd name="T93" fmla="*/ 463 h 496"/>
                <a:gd name="T94" fmla="*/ 114 w 421"/>
                <a:gd name="T95" fmla="*/ 488 h 496"/>
                <a:gd name="T96" fmla="*/ 273 w 421"/>
                <a:gd name="T97" fmla="*/ 492 h 496"/>
                <a:gd name="T98" fmla="*/ 387 w 421"/>
                <a:gd name="T99" fmla="*/ 469 h 496"/>
                <a:gd name="T100" fmla="*/ 420 w 421"/>
                <a:gd name="T101" fmla="*/ 443 h 496"/>
                <a:gd name="T102" fmla="*/ 421 w 421"/>
                <a:gd name="T103" fmla="*/ 210 h 496"/>
                <a:gd name="T104" fmla="*/ 418 w 421"/>
                <a:gd name="T105" fmla="*/ 48 h 496"/>
                <a:gd name="T106" fmla="*/ 373 w 421"/>
                <a:gd name="T107" fmla="*/ 20 h 496"/>
                <a:gd name="T108" fmla="*/ 240 w 421"/>
                <a:gd name="T109"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1" h="496">
                  <a:moveTo>
                    <a:pt x="211" y="466"/>
                  </a:moveTo>
                  <a:lnTo>
                    <a:pt x="177" y="464"/>
                  </a:lnTo>
                  <a:lnTo>
                    <a:pt x="145" y="462"/>
                  </a:lnTo>
                  <a:lnTo>
                    <a:pt x="115" y="458"/>
                  </a:lnTo>
                  <a:lnTo>
                    <a:pt x="89" y="454"/>
                  </a:lnTo>
                  <a:lnTo>
                    <a:pt x="67" y="448"/>
                  </a:lnTo>
                  <a:lnTo>
                    <a:pt x="50" y="443"/>
                  </a:lnTo>
                  <a:lnTo>
                    <a:pt x="37" y="438"/>
                  </a:lnTo>
                  <a:lnTo>
                    <a:pt x="30" y="433"/>
                  </a:lnTo>
                  <a:lnTo>
                    <a:pt x="30" y="392"/>
                  </a:lnTo>
                  <a:lnTo>
                    <a:pt x="49" y="399"/>
                  </a:lnTo>
                  <a:lnTo>
                    <a:pt x="71" y="404"/>
                  </a:lnTo>
                  <a:lnTo>
                    <a:pt x="94" y="410"/>
                  </a:lnTo>
                  <a:lnTo>
                    <a:pt x="119" y="414"/>
                  </a:lnTo>
                  <a:lnTo>
                    <a:pt x="145" y="416"/>
                  </a:lnTo>
                  <a:lnTo>
                    <a:pt x="168" y="418"/>
                  </a:lnTo>
                  <a:lnTo>
                    <a:pt x="191" y="419"/>
                  </a:lnTo>
                  <a:lnTo>
                    <a:pt x="211" y="421"/>
                  </a:lnTo>
                  <a:lnTo>
                    <a:pt x="230" y="419"/>
                  </a:lnTo>
                  <a:lnTo>
                    <a:pt x="253" y="418"/>
                  </a:lnTo>
                  <a:lnTo>
                    <a:pt x="277" y="416"/>
                  </a:lnTo>
                  <a:lnTo>
                    <a:pt x="302" y="414"/>
                  </a:lnTo>
                  <a:lnTo>
                    <a:pt x="327" y="410"/>
                  </a:lnTo>
                  <a:lnTo>
                    <a:pt x="350" y="404"/>
                  </a:lnTo>
                  <a:lnTo>
                    <a:pt x="373" y="399"/>
                  </a:lnTo>
                  <a:lnTo>
                    <a:pt x="391" y="392"/>
                  </a:lnTo>
                  <a:lnTo>
                    <a:pt x="391" y="432"/>
                  </a:lnTo>
                  <a:lnTo>
                    <a:pt x="385" y="438"/>
                  </a:lnTo>
                  <a:lnTo>
                    <a:pt x="372" y="443"/>
                  </a:lnTo>
                  <a:lnTo>
                    <a:pt x="355" y="448"/>
                  </a:lnTo>
                  <a:lnTo>
                    <a:pt x="332" y="454"/>
                  </a:lnTo>
                  <a:lnTo>
                    <a:pt x="306" y="458"/>
                  </a:lnTo>
                  <a:lnTo>
                    <a:pt x="277" y="462"/>
                  </a:lnTo>
                  <a:lnTo>
                    <a:pt x="245" y="464"/>
                  </a:lnTo>
                  <a:lnTo>
                    <a:pt x="211" y="466"/>
                  </a:lnTo>
                  <a:lnTo>
                    <a:pt x="211" y="466"/>
                  </a:lnTo>
                  <a:close/>
                  <a:moveTo>
                    <a:pt x="211" y="30"/>
                  </a:moveTo>
                  <a:lnTo>
                    <a:pt x="243" y="30"/>
                  </a:lnTo>
                  <a:lnTo>
                    <a:pt x="274" y="32"/>
                  </a:lnTo>
                  <a:lnTo>
                    <a:pt x="302" y="36"/>
                  </a:lnTo>
                  <a:lnTo>
                    <a:pt x="327" y="39"/>
                  </a:lnTo>
                  <a:lnTo>
                    <a:pt x="348" y="45"/>
                  </a:lnTo>
                  <a:lnTo>
                    <a:pt x="365" y="50"/>
                  </a:lnTo>
                  <a:lnTo>
                    <a:pt x="379" y="54"/>
                  </a:lnTo>
                  <a:lnTo>
                    <a:pt x="389" y="60"/>
                  </a:lnTo>
                  <a:lnTo>
                    <a:pt x="379" y="64"/>
                  </a:lnTo>
                  <a:lnTo>
                    <a:pt x="365" y="69"/>
                  </a:lnTo>
                  <a:lnTo>
                    <a:pt x="348" y="75"/>
                  </a:lnTo>
                  <a:lnTo>
                    <a:pt x="327" y="79"/>
                  </a:lnTo>
                  <a:lnTo>
                    <a:pt x="302" y="83"/>
                  </a:lnTo>
                  <a:lnTo>
                    <a:pt x="274" y="86"/>
                  </a:lnTo>
                  <a:lnTo>
                    <a:pt x="243" y="88"/>
                  </a:lnTo>
                  <a:lnTo>
                    <a:pt x="211" y="90"/>
                  </a:lnTo>
                  <a:lnTo>
                    <a:pt x="178" y="88"/>
                  </a:lnTo>
                  <a:lnTo>
                    <a:pt x="148" y="86"/>
                  </a:lnTo>
                  <a:lnTo>
                    <a:pt x="120" y="83"/>
                  </a:lnTo>
                  <a:lnTo>
                    <a:pt x="95" y="79"/>
                  </a:lnTo>
                  <a:lnTo>
                    <a:pt x="74" y="75"/>
                  </a:lnTo>
                  <a:lnTo>
                    <a:pt x="56" y="69"/>
                  </a:lnTo>
                  <a:lnTo>
                    <a:pt x="43" y="64"/>
                  </a:lnTo>
                  <a:lnTo>
                    <a:pt x="33" y="60"/>
                  </a:lnTo>
                  <a:lnTo>
                    <a:pt x="43" y="54"/>
                  </a:lnTo>
                  <a:lnTo>
                    <a:pt x="56" y="50"/>
                  </a:lnTo>
                  <a:lnTo>
                    <a:pt x="74" y="45"/>
                  </a:lnTo>
                  <a:lnTo>
                    <a:pt x="95" y="39"/>
                  </a:lnTo>
                  <a:lnTo>
                    <a:pt x="120" y="36"/>
                  </a:lnTo>
                  <a:lnTo>
                    <a:pt x="148" y="32"/>
                  </a:lnTo>
                  <a:lnTo>
                    <a:pt x="178" y="30"/>
                  </a:lnTo>
                  <a:lnTo>
                    <a:pt x="211" y="30"/>
                  </a:lnTo>
                  <a:close/>
                  <a:moveTo>
                    <a:pt x="391" y="132"/>
                  </a:moveTo>
                  <a:lnTo>
                    <a:pt x="385" y="137"/>
                  </a:lnTo>
                  <a:lnTo>
                    <a:pt x="372" y="142"/>
                  </a:lnTo>
                  <a:lnTo>
                    <a:pt x="355" y="147"/>
                  </a:lnTo>
                  <a:lnTo>
                    <a:pt x="332" y="153"/>
                  </a:lnTo>
                  <a:lnTo>
                    <a:pt x="306" y="157"/>
                  </a:lnTo>
                  <a:lnTo>
                    <a:pt x="277" y="161"/>
                  </a:lnTo>
                  <a:lnTo>
                    <a:pt x="245" y="163"/>
                  </a:lnTo>
                  <a:lnTo>
                    <a:pt x="211" y="165"/>
                  </a:lnTo>
                  <a:lnTo>
                    <a:pt x="177" y="163"/>
                  </a:lnTo>
                  <a:lnTo>
                    <a:pt x="145" y="161"/>
                  </a:lnTo>
                  <a:lnTo>
                    <a:pt x="115" y="157"/>
                  </a:lnTo>
                  <a:lnTo>
                    <a:pt x="89" y="153"/>
                  </a:lnTo>
                  <a:lnTo>
                    <a:pt x="67" y="147"/>
                  </a:lnTo>
                  <a:lnTo>
                    <a:pt x="50" y="142"/>
                  </a:lnTo>
                  <a:lnTo>
                    <a:pt x="37" y="137"/>
                  </a:lnTo>
                  <a:lnTo>
                    <a:pt x="30" y="132"/>
                  </a:lnTo>
                  <a:lnTo>
                    <a:pt x="30" y="91"/>
                  </a:lnTo>
                  <a:lnTo>
                    <a:pt x="49" y="98"/>
                  </a:lnTo>
                  <a:lnTo>
                    <a:pt x="71" y="105"/>
                  </a:lnTo>
                  <a:lnTo>
                    <a:pt x="94" y="109"/>
                  </a:lnTo>
                  <a:lnTo>
                    <a:pt x="119" y="113"/>
                  </a:lnTo>
                  <a:lnTo>
                    <a:pt x="145" y="116"/>
                  </a:lnTo>
                  <a:lnTo>
                    <a:pt x="168" y="117"/>
                  </a:lnTo>
                  <a:lnTo>
                    <a:pt x="191" y="120"/>
                  </a:lnTo>
                  <a:lnTo>
                    <a:pt x="211" y="120"/>
                  </a:lnTo>
                  <a:lnTo>
                    <a:pt x="230" y="120"/>
                  </a:lnTo>
                  <a:lnTo>
                    <a:pt x="253" y="117"/>
                  </a:lnTo>
                  <a:lnTo>
                    <a:pt x="277" y="116"/>
                  </a:lnTo>
                  <a:lnTo>
                    <a:pt x="302" y="113"/>
                  </a:lnTo>
                  <a:lnTo>
                    <a:pt x="327" y="109"/>
                  </a:lnTo>
                  <a:lnTo>
                    <a:pt x="350" y="105"/>
                  </a:lnTo>
                  <a:lnTo>
                    <a:pt x="373" y="98"/>
                  </a:lnTo>
                  <a:lnTo>
                    <a:pt x="391" y="91"/>
                  </a:lnTo>
                  <a:lnTo>
                    <a:pt x="391" y="132"/>
                  </a:lnTo>
                  <a:close/>
                  <a:moveTo>
                    <a:pt x="391" y="207"/>
                  </a:moveTo>
                  <a:lnTo>
                    <a:pt x="385" y="212"/>
                  </a:lnTo>
                  <a:lnTo>
                    <a:pt x="372" y="217"/>
                  </a:lnTo>
                  <a:lnTo>
                    <a:pt x="355" y="222"/>
                  </a:lnTo>
                  <a:lnTo>
                    <a:pt x="332" y="228"/>
                  </a:lnTo>
                  <a:lnTo>
                    <a:pt x="306" y="233"/>
                  </a:lnTo>
                  <a:lnTo>
                    <a:pt x="277" y="236"/>
                  </a:lnTo>
                  <a:lnTo>
                    <a:pt x="245" y="238"/>
                  </a:lnTo>
                  <a:lnTo>
                    <a:pt x="211" y="240"/>
                  </a:lnTo>
                  <a:lnTo>
                    <a:pt x="177" y="238"/>
                  </a:lnTo>
                  <a:lnTo>
                    <a:pt x="145" y="236"/>
                  </a:lnTo>
                  <a:lnTo>
                    <a:pt x="115" y="233"/>
                  </a:lnTo>
                  <a:lnTo>
                    <a:pt x="89" y="228"/>
                  </a:lnTo>
                  <a:lnTo>
                    <a:pt x="67" y="222"/>
                  </a:lnTo>
                  <a:lnTo>
                    <a:pt x="50" y="217"/>
                  </a:lnTo>
                  <a:lnTo>
                    <a:pt x="37" y="212"/>
                  </a:lnTo>
                  <a:lnTo>
                    <a:pt x="30" y="207"/>
                  </a:lnTo>
                  <a:lnTo>
                    <a:pt x="30" y="166"/>
                  </a:lnTo>
                  <a:lnTo>
                    <a:pt x="49" y="173"/>
                  </a:lnTo>
                  <a:lnTo>
                    <a:pt x="71" y="180"/>
                  </a:lnTo>
                  <a:lnTo>
                    <a:pt x="94" y="184"/>
                  </a:lnTo>
                  <a:lnTo>
                    <a:pt x="119" y="188"/>
                  </a:lnTo>
                  <a:lnTo>
                    <a:pt x="145" y="191"/>
                  </a:lnTo>
                  <a:lnTo>
                    <a:pt x="168" y="193"/>
                  </a:lnTo>
                  <a:lnTo>
                    <a:pt x="191" y="195"/>
                  </a:lnTo>
                  <a:lnTo>
                    <a:pt x="211" y="195"/>
                  </a:lnTo>
                  <a:lnTo>
                    <a:pt x="230" y="195"/>
                  </a:lnTo>
                  <a:lnTo>
                    <a:pt x="253" y="193"/>
                  </a:lnTo>
                  <a:lnTo>
                    <a:pt x="277" y="191"/>
                  </a:lnTo>
                  <a:lnTo>
                    <a:pt x="302" y="188"/>
                  </a:lnTo>
                  <a:lnTo>
                    <a:pt x="327" y="184"/>
                  </a:lnTo>
                  <a:lnTo>
                    <a:pt x="350" y="180"/>
                  </a:lnTo>
                  <a:lnTo>
                    <a:pt x="373" y="173"/>
                  </a:lnTo>
                  <a:lnTo>
                    <a:pt x="391" y="167"/>
                  </a:lnTo>
                  <a:lnTo>
                    <a:pt x="391" y="207"/>
                  </a:lnTo>
                  <a:close/>
                  <a:moveTo>
                    <a:pt x="391" y="282"/>
                  </a:moveTo>
                  <a:lnTo>
                    <a:pt x="385" y="288"/>
                  </a:lnTo>
                  <a:lnTo>
                    <a:pt x="372" y="293"/>
                  </a:lnTo>
                  <a:lnTo>
                    <a:pt x="355" y="298"/>
                  </a:lnTo>
                  <a:lnTo>
                    <a:pt x="332" y="303"/>
                  </a:lnTo>
                  <a:lnTo>
                    <a:pt x="306" y="308"/>
                  </a:lnTo>
                  <a:lnTo>
                    <a:pt x="277" y="311"/>
                  </a:lnTo>
                  <a:lnTo>
                    <a:pt x="245" y="315"/>
                  </a:lnTo>
                  <a:lnTo>
                    <a:pt x="211" y="315"/>
                  </a:lnTo>
                  <a:lnTo>
                    <a:pt x="177" y="315"/>
                  </a:lnTo>
                  <a:lnTo>
                    <a:pt x="145" y="311"/>
                  </a:lnTo>
                  <a:lnTo>
                    <a:pt x="115" y="308"/>
                  </a:lnTo>
                  <a:lnTo>
                    <a:pt x="89" y="303"/>
                  </a:lnTo>
                  <a:lnTo>
                    <a:pt x="67" y="298"/>
                  </a:lnTo>
                  <a:lnTo>
                    <a:pt x="50" y="293"/>
                  </a:lnTo>
                  <a:lnTo>
                    <a:pt x="37" y="288"/>
                  </a:lnTo>
                  <a:lnTo>
                    <a:pt x="30" y="282"/>
                  </a:lnTo>
                  <a:lnTo>
                    <a:pt x="30" y="242"/>
                  </a:lnTo>
                  <a:lnTo>
                    <a:pt x="49" y="248"/>
                  </a:lnTo>
                  <a:lnTo>
                    <a:pt x="71" y="255"/>
                  </a:lnTo>
                  <a:lnTo>
                    <a:pt x="94" y="260"/>
                  </a:lnTo>
                  <a:lnTo>
                    <a:pt x="119" y="263"/>
                  </a:lnTo>
                  <a:lnTo>
                    <a:pt x="145" y="266"/>
                  </a:lnTo>
                  <a:lnTo>
                    <a:pt x="168" y="268"/>
                  </a:lnTo>
                  <a:lnTo>
                    <a:pt x="191" y="270"/>
                  </a:lnTo>
                  <a:lnTo>
                    <a:pt x="211" y="270"/>
                  </a:lnTo>
                  <a:lnTo>
                    <a:pt x="230" y="270"/>
                  </a:lnTo>
                  <a:lnTo>
                    <a:pt x="253" y="268"/>
                  </a:lnTo>
                  <a:lnTo>
                    <a:pt x="277" y="266"/>
                  </a:lnTo>
                  <a:lnTo>
                    <a:pt x="302" y="263"/>
                  </a:lnTo>
                  <a:lnTo>
                    <a:pt x="327" y="260"/>
                  </a:lnTo>
                  <a:lnTo>
                    <a:pt x="350" y="255"/>
                  </a:lnTo>
                  <a:lnTo>
                    <a:pt x="373" y="248"/>
                  </a:lnTo>
                  <a:lnTo>
                    <a:pt x="391" y="242"/>
                  </a:lnTo>
                  <a:lnTo>
                    <a:pt x="391" y="282"/>
                  </a:lnTo>
                  <a:close/>
                  <a:moveTo>
                    <a:pt x="391" y="357"/>
                  </a:moveTo>
                  <a:lnTo>
                    <a:pt x="385" y="363"/>
                  </a:lnTo>
                  <a:lnTo>
                    <a:pt x="372" y="368"/>
                  </a:lnTo>
                  <a:lnTo>
                    <a:pt x="355" y="373"/>
                  </a:lnTo>
                  <a:lnTo>
                    <a:pt x="332" y="379"/>
                  </a:lnTo>
                  <a:lnTo>
                    <a:pt x="306" y="383"/>
                  </a:lnTo>
                  <a:lnTo>
                    <a:pt x="277" y="386"/>
                  </a:lnTo>
                  <a:lnTo>
                    <a:pt x="245" y="389"/>
                  </a:lnTo>
                  <a:lnTo>
                    <a:pt x="211" y="391"/>
                  </a:lnTo>
                  <a:lnTo>
                    <a:pt x="177" y="389"/>
                  </a:lnTo>
                  <a:lnTo>
                    <a:pt x="145" y="386"/>
                  </a:lnTo>
                  <a:lnTo>
                    <a:pt x="115" y="383"/>
                  </a:lnTo>
                  <a:lnTo>
                    <a:pt x="89" y="379"/>
                  </a:lnTo>
                  <a:lnTo>
                    <a:pt x="67" y="373"/>
                  </a:lnTo>
                  <a:lnTo>
                    <a:pt x="50" y="368"/>
                  </a:lnTo>
                  <a:lnTo>
                    <a:pt x="37" y="363"/>
                  </a:lnTo>
                  <a:lnTo>
                    <a:pt x="30" y="357"/>
                  </a:lnTo>
                  <a:lnTo>
                    <a:pt x="30" y="317"/>
                  </a:lnTo>
                  <a:lnTo>
                    <a:pt x="49" y="324"/>
                  </a:lnTo>
                  <a:lnTo>
                    <a:pt x="71" y="329"/>
                  </a:lnTo>
                  <a:lnTo>
                    <a:pt x="94" y="335"/>
                  </a:lnTo>
                  <a:lnTo>
                    <a:pt x="119" y="338"/>
                  </a:lnTo>
                  <a:lnTo>
                    <a:pt x="145" y="341"/>
                  </a:lnTo>
                  <a:lnTo>
                    <a:pt x="168" y="343"/>
                  </a:lnTo>
                  <a:lnTo>
                    <a:pt x="191" y="344"/>
                  </a:lnTo>
                  <a:lnTo>
                    <a:pt x="211" y="344"/>
                  </a:lnTo>
                  <a:lnTo>
                    <a:pt x="230" y="344"/>
                  </a:lnTo>
                  <a:lnTo>
                    <a:pt x="253" y="343"/>
                  </a:lnTo>
                  <a:lnTo>
                    <a:pt x="277" y="341"/>
                  </a:lnTo>
                  <a:lnTo>
                    <a:pt x="302" y="338"/>
                  </a:lnTo>
                  <a:lnTo>
                    <a:pt x="327" y="335"/>
                  </a:lnTo>
                  <a:lnTo>
                    <a:pt x="350" y="329"/>
                  </a:lnTo>
                  <a:lnTo>
                    <a:pt x="373" y="324"/>
                  </a:lnTo>
                  <a:lnTo>
                    <a:pt x="391" y="317"/>
                  </a:lnTo>
                  <a:lnTo>
                    <a:pt x="391" y="357"/>
                  </a:lnTo>
                  <a:close/>
                  <a:moveTo>
                    <a:pt x="211" y="0"/>
                  </a:moveTo>
                  <a:lnTo>
                    <a:pt x="182" y="0"/>
                  </a:lnTo>
                  <a:lnTo>
                    <a:pt x="149" y="2"/>
                  </a:lnTo>
                  <a:lnTo>
                    <a:pt x="114" y="6"/>
                  </a:lnTo>
                  <a:lnTo>
                    <a:pt x="80" y="12"/>
                  </a:lnTo>
                  <a:lnTo>
                    <a:pt x="64" y="16"/>
                  </a:lnTo>
                  <a:lnTo>
                    <a:pt x="49" y="20"/>
                  </a:lnTo>
                  <a:lnTo>
                    <a:pt x="35" y="25"/>
                  </a:lnTo>
                  <a:lnTo>
                    <a:pt x="24" y="31"/>
                  </a:lnTo>
                  <a:lnTo>
                    <a:pt x="14" y="37"/>
                  </a:lnTo>
                  <a:lnTo>
                    <a:pt x="6" y="43"/>
                  </a:lnTo>
                  <a:lnTo>
                    <a:pt x="4" y="48"/>
                  </a:lnTo>
                  <a:lnTo>
                    <a:pt x="2" y="51"/>
                  </a:lnTo>
                  <a:lnTo>
                    <a:pt x="1" y="55"/>
                  </a:lnTo>
                  <a:lnTo>
                    <a:pt x="0" y="60"/>
                  </a:lnTo>
                  <a:lnTo>
                    <a:pt x="0" y="135"/>
                  </a:lnTo>
                  <a:lnTo>
                    <a:pt x="0" y="210"/>
                  </a:lnTo>
                  <a:lnTo>
                    <a:pt x="0" y="285"/>
                  </a:lnTo>
                  <a:lnTo>
                    <a:pt x="0" y="359"/>
                  </a:lnTo>
                  <a:lnTo>
                    <a:pt x="0" y="436"/>
                  </a:lnTo>
                  <a:lnTo>
                    <a:pt x="1" y="440"/>
                  </a:lnTo>
                  <a:lnTo>
                    <a:pt x="2" y="443"/>
                  </a:lnTo>
                  <a:lnTo>
                    <a:pt x="4" y="447"/>
                  </a:lnTo>
                  <a:lnTo>
                    <a:pt x="6" y="451"/>
                  </a:lnTo>
                  <a:lnTo>
                    <a:pt x="14" y="458"/>
                  </a:lnTo>
                  <a:lnTo>
                    <a:pt x="24" y="463"/>
                  </a:lnTo>
                  <a:lnTo>
                    <a:pt x="35" y="469"/>
                  </a:lnTo>
                  <a:lnTo>
                    <a:pt x="49" y="474"/>
                  </a:lnTo>
                  <a:lnTo>
                    <a:pt x="64" y="478"/>
                  </a:lnTo>
                  <a:lnTo>
                    <a:pt x="80" y="483"/>
                  </a:lnTo>
                  <a:lnTo>
                    <a:pt x="114" y="488"/>
                  </a:lnTo>
                  <a:lnTo>
                    <a:pt x="149" y="492"/>
                  </a:lnTo>
                  <a:lnTo>
                    <a:pt x="182" y="494"/>
                  </a:lnTo>
                  <a:lnTo>
                    <a:pt x="211" y="496"/>
                  </a:lnTo>
                  <a:lnTo>
                    <a:pt x="240" y="494"/>
                  </a:lnTo>
                  <a:lnTo>
                    <a:pt x="273" y="492"/>
                  </a:lnTo>
                  <a:lnTo>
                    <a:pt x="307" y="488"/>
                  </a:lnTo>
                  <a:lnTo>
                    <a:pt x="342" y="483"/>
                  </a:lnTo>
                  <a:lnTo>
                    <a:pt x="358" y="478"/>
                  </a:lnTo>
                  <a:lnTo>
                    <a:pt x="373" y="474"/>
                  </a:lnTo>
                  <a:lnTo>
                    <a:pt x="387" y="469"/>
                  </a:lnTo>
                  <a:lnTo>
                    <a:pt x="398" y="463"/>
                  </a:lnTo>
                  <a:lnTo>
                    <a:pt x="408" y="458"/>
                  </a:lnTo>
                  <a:lnTo>
                    <a:pt x="416" y="451"/>
                  </a:lnTo>
                  <a:lnTo>
                    <a:pt x="418" y="447"/>
                  </a:lnTo>
                  <a:lnTo>
                    <a:pt x="420" y="443"/>
                  </a:lnTo>
                  <a:lnTo>
                    <a:pt x="421" y="440"/>
                  </a:lnTo>
                  <a:lnTo>
                    <a:pt x="421" y="436"/>
                  </a:lnTo>
                  <a:lnTo>
                    <a:pt x="421" y="359"/>
                  </a:lnTo>
                  <a:lnTo>
                    <a:pt x="421" y="285"/>
                  </a:lnTo>
                  <a:lnTo>
                    <a:pt x="421" y="210"/>
                  </a:lnTo>
                  <a:lnTo>
                    <a:pt x="421" y="135"/>
                  </a:lnTo>
                  <a:lnTo>
                    <a:pt x="421" y="60"/>
                  </a:lnTo>
                  <a:lnTo>
                    <a:pt x="421" y="55"/>
                  </a:lnTo>
                  <a:lnTo>
                    <a:pt x="420" y="51"/>
                  </a:lnTo>
                  <a:lnTo>
                    <a:pt x="418" y="48"/>
                  </a:lnTo>
                  <a:lnTo>
                    <a:pt x="416" y="43"/>
                  </a:lnTo>
                  <a:lnTo>
                    <a:pt x="408" y="37"/>
                  </a:lnTo>
                  <a:lnTo>
                    <a:pt x="398" y="31"/>
                  </a:lnTo>
                  <a:lnTo>
                    <a:pt x="387" y="25"/>
                  </a:lnTo>
                  <a:lnTo>
                    <a:pt x="373" y="20"/>
                  </a:lnTo>
                  <a:lnTo>
                    <a:pt x="358" y="16"/>
                  </a:lnTo>
                  <a:lnTo>
                    <a:pt x="342" y="12"/>
                  </a:lnTo>
                  <a:lnTo>
                    <a:pt x="307" y="6"/>
                  </a:lnTo>
                  <a:lnTo>
                    <a:pt x="273" y="2"/>
                  </a:lnTo>
                  <a:lnTo>
                    <a:pt x="240"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15" name="Freeform 187"/>
            <p:cNvSpPr>
              <a:spLocks/>
            </p:cNvSpPr>
            <p:nvPr/>
          </p:nvSpPr>
          <p:spPr bwMode="auto">
            <a:xfrm>
              <a:off x="9882188" y="1354138"/>
              <a:ext cx="285750" cy="180975"/>
            </a:xfrm>
            <a:custGeom>
              <a:avLst/>
              <a:gdLst>
                <a:gd name="T0" fmla="*/ 0 w 902"/>
                <a:gd name="T1" fmla="*/ 0 h 571"/>
                <a:gd name="T2" fmla="*/ 0 w 902"/>
                <a:gd name="T3" fmla="*/ 345 h 571"/>
                <a:gd name="T4" fmla="*/ 1 w 902"/>
                <a:gd name="T5" fmla="*/ 348 h 571"/>
                <a:gd name="T6" fmla="*/ 1 w 902"/>
                <a:gd name="T7" fmla="*/ 351 h 571"/>
                <a:gd name="T8" fmla="*/ 3 w 902"/>
                <a:gd name="T9" fmla="*/ 353 h 571"/>
                <a:gd name="T10" fmla="*/ 4 w 902"/>
                <a:gd name="T11" fmla="*/ 355 h 571"/>
                <a:gd name="T12" fmla="*/ 6 w 902"/>
                <a:gd name="T13" fmla="*/ 357 h 571"/>
                <a:gd name="T14" fmla="*/ 10 w 902"/>
                <a:gd name="T15" fmla="*/ 358 h 571"/>
                <a:gd name="T16" fmla="*/ 12 w 902"/>
                <a:gd name="T17" fmla="*/ 360 h 571"/>
                <a:gd name="T18" fmla="*/ 15 w 902"/>
                <a:gd name="T19" fmla="*/ 361 h 571"/>
                <a:gd name="T20" fmla="*/ 18 w 902"/>
                <a:gd name="T21" fmla="*/ 360 h 571"/>
                <a:gd name="T22" fmla="*/ 21 w 902"/>
                <a:gd name="T23" fmla="*/ 358 h 571"/>
                <a:gd name="T24" fmla="*/ 24 w 902"/>
                <a:gd name="T25" fmla="*/ 357 h 571"/>
                <a:gd name="T26" fmla="*/ 26 w 902"/>
                <a:gd name="T27" fmla="*/ 355 h 571"/>
                <a:gd name="T28" fmla="*/ 28 w 902"/>
                <a:gd name="T29" fmla="*/ 353 h 571"/>
                <a:gd name="T30" fmla="*/ 29 w 902"/>
                <a:gd name="T31" fmla="*/ 351 h 571"/>
                <a:gd name="T32" fmla="*/ 30 w 902"/>
                <a:gd name="T33" fmla="*/ 348 h 571"/>
                <a:gd name="T34" fmla="*/ 30 w 902"/>
                <a:gd name="T35" fmla="*/ 345 h 571"/>
                <a:gd name="T36" fmla="*/ 30 w 902"/>
                <a:gd name="T37" fmla="*/ 30 h 571"/>
                <a:gd name="T38" fmla="*/ 872 w 902"/>
                <a:gd name="T39" fmla="*/ 30 h 571"/>
                <a:gd name="T40" fmla="*/ 872 w 902"/>
                <a:gd name="T41" fmla="*/ 541 h 571"/>
                <a:gd name="T42" fmla="*/ 572 w 902"/>
                <a:gd name="T43" fmla="*/ 541 h 571"/>
                <a:gd name="T44" fmla="*/ 569 w 902"/>
                <a:gd name="T45" fmla="*/ 541 h 571"/>
                <a:gd name="T46" fmla="*/ 566 w 902"/>
                <a:gd name="T47" fmla="*/ 542 h 571"/>
                <a:gd name="T48" fmla="*/ 563 w 902"/>
                <a:gd name="T49" fmla="*/ 543 h 571"/>
                <a:gd name="T50" fmla="*/ 561 w 902"/>
                <a:gd name="T51" fmla="*/ 545 h 571"/>
                <a:gd name="T52" fmla="*/ 559 w 902"/>
                <a:gd name="T53" fmla="*/ 547 h 571"/>
                <a:gd name="T54" fmla="*/ 558 w 902"/>
                <a:gd name="T55" fmla="*/ 550 h 571"/>
                <a:gd name="T56" fmla="*/ 557 w 902"/>
                <a:gd name="T57" fmla="*/ 552 h 571"/>
                <a:gd name="T58" fmla="*/ 557 w 902"/>
                <a:gd name="T59" fmla="*/ 556 h 571"/>
                <a:gd name="T60" fmla="*/ 557 w 902"/>
                <a:gd name="T61" fmla="*/ 559 h 571"/>
                <a:gd name="T62" fmla="*/ 558 w 902"/>
                <a:gd name="T63" fmla="*/ 561 h 571"/>
                <a:gd name="T64" fmla="*/ 559 w 902"/>
                <a:gd name="T65" fmla="*/ 564 h 571"/>
                <a:gd name="T66" fmla="*/ 561 w 902"/>
                <a:gd name="T67" fmla="*/ 566 h 571"/>
                <a:gd name="T68" fmla="*/ 563 w 902"/>
                <a:gd name="T69" fmla="*/ 568 h 571"/>
                <a:gd name="T70" fmla="*/ 566 w 902"/>
                <a:gd name="T71" fmla="*/ 569 h 571"/>
                <a:gd name="T72" fmla="*/ 569 w 902"/>
                <a:gd name="T73" fmla="*/ 571 h 571"/>
                <a:gd name="T74" fmla="*/ 572 w 902"/>
                <a:gd name="T75" fmla="*/ 571 h 571"/>
                <a:gd name="T76" fmla="*/ 902 w 902"/>
                <a:gd name="T77" fmla="*/ 571 h 571"/>
                <a:gd name="T78" fmla="*/ 902 w 902"/>
                <a:gd name="T79" fmla="*/ 0 h 571"/>
                <a:gd name="T80" fmla="*/ 0 w 902"/>
                <a:gd name="T81"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2" h="571">
                  <a:moveTo>
                    <a:pt x="0" y="0"/>
                  </a:moveTo>
                  <a:lnTo>
                    <a:pt x="0" y="345"/>
                  </a:lnTo>
                  <a:lnTo>
                    <a:pt x="1" y="348"/>
                  </a:lnTo>
                  <a:lnTo>
                    <a:pt x="1" y="351"/>
                  </a:lnTo>
                  <a:lnTo>
                    <a:pt x="3" y="353"/>
                  </a:lnTo>
                  <a:lnTo>
                    <a:pt x="4" y="355"/>
                  </a:lnTo>
                  <a:lnTo>
                    <a:pt x="6" y="357"/>
                  </a:lnTo>
                  <a:lnTo>
                    <a:pt x="10" y="358"/>
                  </a:lnTo>
                  <a:lnTo>
                    <a:pt x="12" y="360"/>
                  </a:lnTo>
                  <a:lnTo>
                    <a:pt x="15" y="361"/>
                  </a:lnTo>
                  <a:lnTo>
                    <a:pt x="18" y="360"/>
                  </a:lnTo>
                  <a:lnTo>
                    <a:pt x="21" y="358"/>
                  </a:lnTo>
                  <a:lnTo>
                    <a:pt x="24" y="357"/>
                  </a:lnTo>
                  <a:lnTo>
                    <a:pt x="26" y="355"/>
                  </a:lnTo>
                  <a:lnTo>
                    <a:pt x="28" y="353"/>
                  </a:lnTo>
                  <a:lnTo>
                    <a:pt x="29" y="351"/>
                  </a:lnTo>
                  <a:lnTo>
                    <a:pt x="30" y="348"/>
                  </a:lnTo>
                  <a:lnTo>
                    <a:pt x="30" y="345"/>
                  </a:lnTo>
                  <a:lnTo>
                    <a:pt x="30" y="30"/>
                  </a:lnTo>
                  <a:lnTo>
                    <a:pt x="872" y="30"/>
                  </a:lnTo>
                  <a:lnTo>
                    <a:pt x="872" y="541"/>
                  </a:lnTo>
                  <a:lnTo>
                    <a:pt x="572" y="541"/>
                  </a:lnTo>
                  <a:lnTo>
                    <a:pt x="569" y="541"/>
                  </a:lnTo>
                  <a:lnTo>
                    <a:pt x="566" y="542"/>
                  </a:lnTo>
                  <a:lnTo>
                    <a:pt x="563" y="543"/>
                  </a:lnTo>
                  <a:lnTo>
                    <a:pt x="561" y="545"/>
                  </a:lnTo>
                  <a:lnTo>
                    <a:pt x="559" y="547"/>
                  </a:lnTo>
                  <a:lnTo>
                    <a:pt x="558" y="550"/>
                  </a:lnTo>
                  <a:lnTo>
                    <a:pt x="557" y="552"/>
                  </a:lnTo>
                  <a:lnTo>
                    <a:pt x="557" y="556"/>
                  </a:lnTo>
                  <a:lnTo>
                    <a:pt x="557" y="559"/>
                  </a:lnTo>
                  <a:lnTo>
                    <a:pt x="558" y="561"/>
                  </a:lnTo>
                  <a:lnTo>
                    <a:pt x="559" y="564"/>
                  </a:lnTo>
                  <a:lnTo>
                    <a:pt x="561" y="566"/>
                  </a:lnTo>
                  <a:lnTo>
                    <a:pt x="563" y="568"/>
                  </a:lnTo>
                  <a:lnTo>
                    <a:pt x="566" y="569"/>
                  </a:lnTo>
                  <a:lnTo>
                    <a:pt x="569" y="571"/>
                  </a:lnTo>
                  <a:lnTo>
                    <a:pt x="572" y="571"/>
                  </a:lnTo>
                  <a:lnTo>
                    <a:pt x="902" y="571"/>
                  </a:lnTo>
                  <a:lnTo>
                    <a:pt x="90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16" name="Freeform 188"/>
            <p:cNvSpPr>
              <a:spLocks noEditPoints="1"/>
            </p:cNvSpPr>
            <p:nvPr/>
          </p:nvSpPr>
          <p:spPr bwMode="auto">
            <a:xfrm>
              <a:off x="9986963" y="1406525"/>
              <a:ext cx="76200" cy="76200"/>
            </a:xfrm>
            <a:custGeom>
              <a:avLst/>
              <a:gdLst>
                <a:gd name="T0" fmla="*/ 102 w 241"/>
                <a:gd name="T1" fmla="*/ 208 h 241"/>
                <a:gd name="T2" fmla="*/ 77 w 241"/>
                <a:gd name="T3" fmla="*/ 199 h 241"/>
                <a:gd name="T4" fmla="*/ 57 w 241"/>
                <a:gd name="T5" fmla="*/ 184 h 241"/>
                <a:gd name="T6" fmla="*/ 41 w 241"/>
                <a:gd name="T7" fmla="*/ 162 h 241"/>
                <a:gd name="T8" fmla="*/ 32 w 241"/>
                <a:gd name="T9" fmla="*/ 138 h 241"/>
                <a:gd name="T10" fmla="*/ 31 w 241"/>
                <a:gd name="T11" fmla="*/ 111 h 241"/>
                <a:gd name="T12" fmla="*/ 37 w 241"/>
                <a:gd name="T13" fmla="*/ 85 h 241"/>
                <a:gd name="T14" fmla="*/ 50 w 241"/>
                <a:gd name="T15" fmla="*/ 63 h 241"/>
                <a:gd name="T16" fmla="*/ 70 w 241"/>
                <a:gd name="T17" fmla="*/ 46 h 241"/>
                <a:gd name="T18" fmla="*/ 93 w 241"/>
                <a:gd name="T19" fmla="*/ 34 h 241"/>
                <a:gd name="T20" fmla="*/ 120 w 241"/>
                <a:gd name="T21" fmla="*/ 30 h 241"/>
                <a:gd name="T22" fmla="*/ 147 w 241"/>
                <a:gd name="T23" fmla="*/ 34 h 241"/>
                <a:gd name="T24" fmla="*/ 170 w 241"/>
                <a:gd name="T25" fmla="*/ 46 h 241"/>
                <a:gd name="T26" fmla="*/ 190 w 241"/>
                <a:gd name="T27" fmla="*/ 63 h 241"/>
                <a:gd name="T28" fmla="*/ 204 w 241"/>
                <a:gd name="T29" fmla="*/ 85 h 241"/>
                <a:gd name="T30" fmla="*/ 210 w 241"/>
                <a:gd name="T31" fmla="*/ 111 h 241"/>
                <a:gd name="T32" fmla="*/ 209 w 241"/>
                <a:gd name="T33" fmla="*/ 138 h 241"/>
                <a:gd name="T34" fmla="*/ 199 w 241"/>
                <a:gd name="T35" fmla="*/ 162 h 241"/>
                <a:gd name="T36" fmla="*/ 184 w 241"/>
                <a:gd name="T37" fmla="*/ 184 h 241"/>
                <a:gd name="T38" fmla="*/ 163 w 241"/>
                <a:gd name="T39" fmla="*/ 199 h 241"/>
                <a:gd name="T40" fmla="*/ 138 w 241"/>
                <a:gd name="T41" fmla="*/ 208 h 241"/>
                <a:gd name="T42" fmla="*/ 120 w 241"/>
                <a:gd name="T43" fmla="*/ 210 h 241"/>
                <a:gd name="T44" fmla="*/ 96 w 241"/>
                <a:gd name="T45" fmla="*/ 2 h 241"/>
                <a:gd name="T46" fmla="*/ 63 w 241"/>
                <a:gd name="T47" fmla="*/ 15 h 241"/>
                <a:gd name="T48" fmla="*/ 35 w 241"/>
                <a:gd name="T49" fmla="*/ 35 h 241"/>
                <a:gd name="T50" fmla="*/ 15 w 241"/>
                <a:gd name="T51" fmla="*/ 63 h 241"/>
                <a:gd name="T52" fmla="*/ 2 w 241"/>
                <a:gd name="T53" fmla="*/ 96 h 241"/>
                <a:gd name="T54" fmla="*/ 1 w 241"/>
                <a:gd name="T55" fmla="*/ 132 h 241"/>
                <a:gd name="T56" fmla="*/ 10 w 241"/>
                <a:gd name="T57" fmla="*/ 167 h 241"/>
                <a:gd name="T58" fmla="*/ 28 w 241"/>
                <a:gd name="T59" fmla="*/ 197 h 241"/>
                <a:gd name="T60" fmla="*/ 54 w 241"/>
                <a:gd name="T61" fmla="*/ 219 h 241"/>
                <a:gd name="T62" fmla="*/ 85 w 241"/>
                <a:gd name="T63" fmla="*/ 235 h 241"/>
                <a:gd name="T64" fmla="*/ 120 w 241"/>
                <a:gd name="T65" fmla="*/ 241 h 241"/>
                <a:gd name="T66" fmla="*/ 156 w 241"/>
                <a:gd name="T67" fmla="*/ 235 h 241"/>
                <a:gd name="T68" fmla="*/ 187 w 241"/>
                <a:gd name="T69" fmla="*/ 219 h 241"/>
                <a:gd name="T70" fmla="*/ 213 w 241"/>
                <a:gd name="T71" fmla="*/ 197 h 241"/>
                <a:gd name="T72" fmla="*/ 231 w 241"/>
                <a:gd name="T73" fmla="*/ 167 h 241"/>
                <a:gd name="T74" fmla="*/ 240 w 241"/>
                <a:gd name="T75" fmla="*/ 132 h 241"/>
                <a:gd name="T76" fmla="*/ 238 w 241"/>
                <a:gd name="T77" fmla="*/ 96 h 241"/>
                <a:gd name="T78" fmla="*/ 226 w 241"/>
                <a:gd name="T79" fmla="*/ 63 h 241"/>
                <a:gd name="T80" fmla="*/ 206 w 241"/>
                <a:gd name="T81" fmla="*/ 35 h 241"/>
                <a:gd name="T82" fmla="*/ 178 w 241"/>
                <a:gd name="T83" fmla="*/ 15 h 241"/>
                <a:gd name="T84" fmla="*/ 145 w 241"/>
                <a:gd name="T85" fmla="*/ 2 h 241"/>
                <a:gd name="T86" fmla="*/ 120 w 241"/>
                <a:gd name="T8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1" h="241">
                  <a:moveTo>
                    <a:pt x="120" y="210"/>
                  </a:moveTo>
                  <a:lnTo>
                    <a:pt x="111" y="210"/>
                  </a:lnTo>
                  <a:lnTo>
                    <a:pt x="102" y="208"/>
                  </a:lnTo>
                  <a:lnTo>
                    <a:pt x="93" y="206"/>
                  </a:lnTo>
                  <a:lnTo>
                    <a:pt x="86" y="203"/>
                  </a:lnTo>
                  <a:lnTo>
                    <a:pt x="77" y="199"/>
                  </a:lnTo>
                  <a:lnTo>
                    <a:pt x="70" y="195"/>
                  </a:lnTo>
                  <a:lnTo>
                    <a:pt x="63" y="189"/>
                  </a:lnTo>
                  <a:lnTo>
                    <a:pt x="57" y="184"/>
                  </a:lnTo>
                  <a:lnTo>
                    <a:pt x="50" y="177"/>
                  </a:lnTo>
                  <a:lnTo>
                    <a:pt x="46" y="170"/>
                  </a:lnTo>
                  <a:lnTo>
                    <a:pt x="41" y="162"/>
                  </a:lnTo>
                  <a:lnTo>
                    <a:pt x="37" y="155"/>
                  </a:lnTo>
                  <a:lnTo>
                    <a:pt x="34" y="146"/>
                  </a:lnTo>
                  <a:lnTo>
                    <a:pt x="32" y="138"/>
                  </a:lnTo>
                  <a:lnTo>
                    <a:pt x="31" y="129"/>
                  </a:lnTo>
                  <a:lnTo>
                    <a:pt x="30" y="120"/>
                  </a:lnTo>
                  <a:lnTo>
                    <a:pt x="31" y="111"/>
                  </a:lnTo>
                  <a:lnTo>
                    <a:pt x="32" y="101"/>
                  </a:lnTo>
                  <a:lnTo>
                    <a:pt x="34" y="93"/>
                  </a:lnTo>
                  <a:lnTo>
                    <a:pt x="37" y="85"/>
                  </a:lnTo>
                  <a:lnTo>
                    <a:pt x="41" y="77"/>
                  </a:lnTo>
                  <a:lnTo>
                    <a:pt x="46" y="69"/>
                  </a:lnTo>
                  <a:lnTo>
                    <a:pt x="50" y="63"/>
                  </a:lnTo>
                  <a:lnTo>
                    <a:pt x="57" y="56"/>
                  </a:lnTo>
                  <a:lnTo>
                    <a:pt x="63" y="50"/>
                  </a:lnTo>
                  <a:lnTo>
                    <a:pt x="70" y="46"/>
                  </a:lnTo>
                  <a:lnTo>
                    <a:pt x="77" y="40"/>
                  </a:lnTo>
                  <a:lnTo>
                    <a:pt x="86" y="37"/>
                  </a:lnTo>
                  <a:lnTo>
                    <a:pt x="93" y="34"/>
                  </a:lnTo>
                  <a:lnTo>
                    <a:pt x="102" y="32"/>
                  </a:lnTo>
                  <a:lnTo>
                    <a:pt x="111" y="31"/>
                  </a:lnTo>
                  <a:lnTo>
                    <a:pt x="120" y="30"/>
                  </a:lnTo>
                  <a:lnTo>
                    <a:pt x="130" y="31"/>
                  </a:lnTo>
                  <a:lnTo>
                    <a:pt x="138" y="32"/>
                  </a:lnTo>
                  <a:lnTo>
                    <a:pt x="147" y="34"/>
                  </a:lnTo>
                  <a:lnTo>
                    <a:pt x="155" y="37"/>
                  </a:lnTo>
                  <a:lnTo>
                    <a:pt x="163" y="40"/>
                  </a:lnTo>
                  <a:lnTo>
                    <a:pt x="170" y="46"/>
                  </a:lnTo>
                  <a:lnTo>
                    <a:pt x="178" y="50"/>
                  </a:lnTo>
                  <a:lnTo>
                    <a:pt x="184" y="56"/>
                  </a:lnTo>
                  <a:lnTo>
                    <a:pt x="190" y="63"/>
                  </a:lnTo>
                  <a:lnTo>
                    <a:pt x="195" y="69"/>
                  </a:lnTo>
                  <a:lnTo>
                    <a:pt x="199" y="77"/>
                  </a:lnTo>
                  <a:lnTo>
                    <a:pt x="204" y="85"/>
                  </a:lnTo>
                  <a:lnTo>
                    <a:pt x="207" y="93"/>
                  </a:lnTo>
                  <a:lnTo>
                    <a:pt x="209" y="101"/>
                  </a:lnTo>
                  <a:lnTo>
                    <a:pt x="210" y="111"/>
                  </a:lnTo>
                  <a:lnTo>
                    <a:pt x="211" y="120"/>
                  </a:lnTo>
                  <a:lnTo>
                    <a:pt x="210" y="129"/>
                  </a:lnTo>
                  <a:lnTo>
                    <a:pt x="209" y="138"/>
                  </a:lnTo>
                  <a:lnTo>
                    <a:pt x="207" y="146"/>
                  </a:lnTo>
                  <a:lnTo>
                    <a:pt x="204" y="155"/>
                  </a:lnTo>
                  <a:lnTo>
                    <a:pt x="199" y="162"/>
                  </a:lnTo>
                  <a:lnTo>
                    <a:pt x="195" y="170"/>
                  </a:lnTo>
                  <a:lnTo>
                    <a:pt x="190" y="177"/>
                  </a:lnTo>
                  <a:lnTo>
                    <a:pt x="184" y="184"/>
                  </a:lnTo>
                  <a:lnTo>
                    <a:pt x="178" y="189"/>
                  </a:lnTo>
                  <a:lnTo>
                    <a:pt x="170" y="195"/>
                  </a:lnTo>
                  <a:lnTo>
                    <a:pt x="163" y="199"/>
                  </a:lnTo>
                  <a:lnTo>
                    <a:pt x="155" y="203"/>
                  </a:lnTo>
                  <a:lnTo>
                    <a:pt x="147" y="206"/>
                  </a:lnTo>
                  <a:lnTo>
                    <a:pt x="138" y="208"/>
                  </a:lnTo>
                  <a:lnTo>
                    <a:pt x="130" y="210"/>
                  </a:lnTo>
                  <a:lnTo>
                    <a:pt x="120" y="211"/>
                  </a:lnTo>
                  <a:lnTo>
                    <a:pt x="120" y="210"/>
                  </a:lnTo>
                  <a:close/>
                  <a:moveTo>
                    <a:pt x="120" y="0"/>
                  </a:moveTo>
                  <a:lnTo>
                    <a:pt x="108" y="1"/>
                  </a:lnTo>
                  <a:lnTo>
                    <a:pt x="96" y="2"/>
                  </a:lnTo>
                  <a:lnTo>
                    <a:pt x="85" y="5"/>
                  </a:lnTo>
                  <a:lnTo>
                    <a:pt x="74" y="9"/>
                  </a:lnTo>
                  <a:lnTo>
                    <a:pt x="63" y="15"/>
                  </a:lnTo>
                  <a:lnTo>
                    <a:pt x="54" y="20"/>
                  </a:lnTo>
                  <a:lnTo>
                    <a:pt x="44" y="27"/>
                  </a:lnTo>
                  <a:lnTo>
                    <a:pt x="35" y="35"/>
                  </a:lnTo>
                  <a:lnTo>
                    <a:pt x="28" y="43"/>
                  </a:lnTo>
                  <a:lnTo>
                    <a:pt x="20" y="53"/>
                  </a:lnTo>
                  <a:lnTo>
                    <a:pt x="15" y="63"/>
                  </a:lnTo>
                  <a:lnTo>
                    <a:pt x="10" y="73"/>
                  </a:lnTo>
                  <a:lnTo>
                    <a:pt x="5" y="84"/>
                  </a:lnTo>
                  <a:lnTo>
                    <a:pt x="2" y="96"/>
                  </a:lnTo>
                  <a:lnTo>
                    <a:pt x="1" y="108"/>
                  </a:lnTo>
                  <a:lnTo>
                    <a:pt x="0" y="120"/>
                  </a:lnTo>
                  <a:lnTo>
                    <a:pt x="1" y="132"/>
                  </a:lnTo>
                  <a:lnTo>
                    <a:pt x="2" y="144"/>
                  </a:lnTo>
                  <a:lnTo>
                    <a:pt x="5" y="156"/>
                  </a:lnTo>
                  <a:lnTo>
                    <a:pt x="10" y="167"/>
                  </a:lnTo>
                  <a:lnTo>
                    <a:pt x="15" y="177"/>
                  </a:lnTo>
                  <a:lnTo>
                    <a:pt x="20" y="187"/>
                  </a:lnTo>
                  <a:lnTo>
                    <a:pt x="28" y="197"/>
                  </a:lnTo>
                  <a:lnTo>
                    <a:pt x="35" y="205"/>
                  </a:lnTo>
                  <a:lnTo>
                    <a:pt x="44" y="213"/>
                  </a:lnTo>
                  <a:lnTo>
                    <a:pt x="54" y="219"/>
                  </a:lnTo>
                  <a:lnTo>
                    <a:pt x="63" y="226"/>
                  </a:lnTo>
                  <a:lnTo>
                    <a:pt x="74" y="231"/>
                  </a:lnTo>
                  <a:lnTo>
                    <a:pt x="85" y="235"/>
                  </a:lnTo>
                  <a:lnTo>
                    <a:pt x="96" y="237"/>
                  </a:lnTo>
                  <a:lnTo>
                    <a:pt x="108" y="239"/>
                  </a:lnTo>
                  <a:lnTo>
                    <a:pt x="120" y="241"/>
                  </a:lnTo>
                  <a:lnTo>
                    <a:pt x="133" y="239"/>
                  </a:lnTo>
                  <a:lnTo>
                    <a:pt x="145" y="237"/>
                  </a:lnTo>
                  <a:lnTo>
                    <a:pt x="156" y="235"/>
                  </a:lnTo>
                  <a:lnTo>
                    <a:pt x="167" y="231"/>
                  </a:lnTo>
                  <a:lnTo>
                    <a:pt x="178" y="226"/>
                  </a:lnTo>
                  <a:lnTo>
                    <a:pt x="187" y="219"/>
                  </a:lnTo>
                  <a:lnTo>
                    <a:pt x="197" y="213"/>
                  </a:lnTo>
                  <a:lnTo>
                    <a:pt x="206" y="205"/>
                  </a:lnTo>
                  <a:lnTo>
                    <a:pt x="213" y="197"/>
                  </a:lnTo>
                  <a:lnTo>
                    <a:pt x="220" y="187"/>
                  </a:lnTo>
                  <a:lnTo>
                    <a:pt x="226" y="177"/>
                  </a:lnTo>
                  <a:lnTo>
                    <a:pt x="231" y="167"/>
                  </a:lnTo>
                  <a:lnTo>
                    <a:pt x="236" y="156"/>
                  </a:lnTo>
                  <a:lnTo>
                    <a:pt x="238" y="144"/>
                  </a:lnTo>
                  <a:lnTo>
                    <a:pt x="240" y="132"/>
                  </a:lnTo>
                  <a:lnTo>
                    <a:pt x="241" y="120"/>
                  </a:lnTo>
                  <a:lnTo>
                    <a:pt x="240" y="108"/>
                  </a:lnTo>
                  <a:lnTo>
                    <a:pt x="238" y="96"/>
                  </a:lnTo>
                  <a:lnTo>
                    <a:pt x="236" y="84"/>
                  </a:lnTo>
                  <a:lnTo>
                    <a:pt x="231" y="73"/>
                  </a:lnTo>
                  <a:lnTo>
                    <a:pt x="226" y="63"/>
                  </a:lnTo>
                  <a:lnTo>
                    <a:pt x="220" y="53"/>
                  </a:lnTo>
                  <a:lnTo>
                    <a:pt x="213" y="43"/>
                  </a:lnTo>
                  <a:lnTo>
                    <a:pt x="206" y="35"/>
                  </a:lnTo>
                  <a:lnTo>
                    <a:pt x="197" y="27"/>
                  </a:lnTo>
                  <a:lnTo>
                    <a:pt x="187" y="20"/>
                  </a:lnTo>
                  <a:lnTo>
                    <a:pt x="178" y="15"/>
                  </a:lnTo>
                  <a:lnTo>
                    <a:pt x="167" y="9"/>
                  </a:lnTo>
                  <a:lnTo>
                    <a:pt x="156" y="5"/>
                  </a:lnTo>
                  <a:lnTo>
                    <a:pt x="145" y="2"/>
                  </a:lnTo>
                  <a:lnTo>
                    <a:pt x="133" y="1"/>
                  </a:lnTo>
                  <a:lnTo>
                    <a:pt x="120" y="0"/>
                  </a:lnTo>
                  <a:lnTo>
                    <a:pt x="1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17" name="Freeform 189"/>
            <p:cNvSpPr>
              <a:spLocks noEditPoints="1"/>
            </p:cNvSpPr>
            <p:nvPr/>
          </p:nvSpPr>
          <p:spPr bwMode="auto">
            <a:xfrm>
              <a:off x="10091738" y="1458913"/>
              <a:ext cx="28575" cy="28575"/>
            </a:xfrm>
            <a:custGeom>
              <a:avLst/>
              <a:gdLst>
                <a:gd name="T0" fmla="*/ 30 w 90"/>
                <a:gd name="T1" fmla="*/ 42 h 91"/>
                <a:gd name="T2" fmla="*/ 32 w 90"/>
                <a:gd name="T3" fmla="*/ 37 h 91"/>
                <a:gd name="T4" fmla="*/ 36 w 90"/>
                <a:gd name="T5" fmla="*/ 33 h 91"/>
                <a:gd name="T6" fmla="*/ 42 w 90"/>
                <a:gd name="T7" fmla="*/ 31 h 91"/>
                <a:gd name="T8" fmla="*/ 48 w 90"/>
                <a:gd name="T9" fmla="*/ 31 h 91"/>
                <a:gd name="T10" fmla="*/ 54 w 90"/>
                <a:gd name="T11" fmla="*/ 33 h 91"/>
                <a:gd name="T12" fmla="*/ 58 w 90"/>
                <a:gd name="T13" fmla="*/ 37 h 91"/>
                <a:gd name="T14" fmla="*/ 60 w 90"/>
                <a:gd name="T15" fmla="*/ 42 h 91"/>
                <a:gd name="T16" fmla="*/ 60 w 90"/>
                <a:gd name="T17" fmla="*/ 48 h 91"/>
                <a:gd name="T18" fmla="*/ 58 w 90"/>
                <a:gd name="T19" fmla="*/ 53 h 91"/>
                <a:gd name="T20" fmla="*/ 54 w 90"/>
                <a:gd name="T21" fmla="*/ 57 h 91"/>
                <a:gd name="T22" fmla="*/ 48 w 90"/>
                <a:gd name="T23" fmla="*/ 60 h 91"/>
                <a:gd name="T24" fmla="*/ 42 w 90"/>
                <a:gd name="T25" fmla="*/ 60 h 91"/>
                <a:gd name="T26" fmla="*/ 36 w 90"/>
                <a:gd name="T27" fmla="*/ 57 h 91"/>
                <a:gd name="T28" fmla="*/ 32 w 90"/>
                <a:gd name="T29" fmla="*/ 53 h 91"/>
                <a:gd name="T30" fmla="*/ 30 w 90"/>
                <a:gd name="T31" fmla="*/ 48 h 91"/>
                <a:gd name="T32" fmla="*/ 30 w 90"/>
                <a:gd name="T33" fmla="*/ 45 h 91"/>
                <a:gd name="T34" fmla="*/ 89 w 90"/>
                <a:gd name="T35" fmla="*/ 36 h 91"/>
                <a:gd name="T36" fmla="*/ 83 w 90"/>
                <a:gd name="T37" fmla="*/ 20 h 91"/>
                <a:gd name="T38" fmla="*/ 70 w 90"/>
                <a:gd name="T39" fmla="*/ 8 h 91"/>
                <a:gd name="T40" fmla="*/ 54 w 90"/>
                <a:gd name="T41" fmla="*/ 1 h 91"/>
                <a:gd name="T42" fmla="*/ 35 w 90"/>
                <a:gd name="T43" fmla="*/ 1 h 91"/>
                <a:gd name="T44" fmla="*/ 19 w 90"/>
                <a:gd name="T45" fmla="*/ 8 h 91"/>
                <a:gd name="T46" fmla="*/ 8 w 90"/>
                <a:gd name="T47" fmla="*/ 20 h 91"/>
                <a:gd name="T48" fmla="*/ 1 w 90"/>
                <a:gd name="T49" fmla="*/ 36 h 91"/>
                <a:gd name="T50" fmla="*/ 1 w 90"/>
                <a:gd name="T51" fmla="*/ 54 h 91"/>
                <a:gd name="T52" fmla="*/ 8 w 90"/>
                <a:gd name="T53" fmla="*/ 70 h 91"/>
                <a:gd name="T54" fmla="*/ 19 w 90"/>
                <a:gd name="T55" fmla="*/ 82 h 91"/>
                <a:gd name="T56" fmla="*/ 35 w 90"/>
                <a:gd name="T57" fmla="*/ 89 h 91"/>
                <a:gd name="T58" fmla="*/ 54 w 90"/>
                <a:gd name="T59" fmla="*/ 89 h 91"/>
                <a:gd name="T60" fmla="*/ 70 w 90"/>
                <a:gd name="T61" fmla="*/ 82 h 91"/>
                <a:gd name="T62" fmla="*/ 83 w 90"/>
                <a:gd name="T63" fmla="*/ 70 h 91"/>
                <a:gd name="T64" fmla="*/ 89 w 90"/>
                <a:gd name="T65" fmla="*/ 54 h 91"/>
                <a:gd name="T66" fmla="*/ 90 w 90"/>
                <a:gd name="T67"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 h="91">
                  <a:moveTo>
                    <a:pt x="30" y="45"/>
                  </a:moveTo>
                  <a:lnTo>
                    <a:pt x="30" y="42"/>
                  </a:lnTo>
                  <a:lnTo>
                    <a:pt x="31" y="39"/>
                  </a:lnTo>
                  <a:lnTo>
                    <a:pt x="32" y="37"/>
                  </a:lnTo>
                  <a:lnTo>
                    <a:pt x="34" y="35"/>
                  </a:lnTo>
                  <a:lnTo>
                    <a:pt x="36" y="33"/>
                  </a:lnTo>
                  <a:lnTo>
                    <a:pt x="39" y="32"/>
                  </a:lnTo>
                  <a:lnTo>
                    <a:pt x="42" y="31"/>
                  </a:lnTo>
                  <a:lnTo>
                    <a:pt x="45" y="31"/>
                  </a:lnTo>
                  <a:lnTo>
                    <a:pt x="48" y="31"/>
                  </a:lnTo>
                  <a:lnTo>
                    <a:pt x="50" y="32"/>
                  </a:lnTo>
                  <a:lnTo>
                    <a:pt x="54" y="33"/>
                  </a:lnTo>
                  <a:lnTo>
                    <a:pt x="56" y="35"/>
                  </a:lnTo>
                  <a:lnTo>
                    <a:pt x="58" y="37"/>
                  </a:lnTo>
                  <a:lnTo>
                    <a:pt x="59" y="39"/>
                  </a:lnTo>
                  <a:lnTo>
                    <a:pt x="60" y="42"/>
                  </a:lnTo>
                  <a:lnTo>
                    <a:pt x="60" y="46"/>
                  </a:lnTo>
                  <a:lnTo>
                    <a:pt x="60" y="48"/>
                  </a:lnTo>
                  <a:lnTo>
                    <a:pt x="59" y="51"/>
                  </a:lnTo>
                  <a:lnTo>
                    <a:pt x="58" y="53"/>
                  </a:lnTo>
                  <a:lnTo>
                    <a:pt x="56" y="55"/>
                  </a:lnTo>
                  <a:lnTo>
                    <a:pt x="54" y="57"/>
                  </a:lnTo>
                  <a:lnTo>
                    <a:pt x="50" y="58"/>
                  </a:lnTo>
                  <a:lnTo>
                    <a:pt x="48" y="60"/>
                  </a:lnTo>
                  <a:lnTo>
                    <a:pt x="45" y="61"/>
                  </a:lnTo>
                  <a:lnTo>
                    <a:pt x="42" y="60"/>
                  </a:lnTo>
                  <a:lnTo>
                    <a:pt x="39" y="58"/>
                  </a:lnTo>
                  <a:lnTo>
                    <a:pt x="36" y="57"/>
                  </a:lnTo>
                  <a:lnTo>
                    <a:pt x="34" y="55"/>
                  </a:lnTo>
                  <a:lnTo>
                    <a:pt x="32" y="53"/>
                  </a:lnTo>
                  <a:lnTo>
                    <a:pt x="31" y="51"/>
                  </a:lnTo>
                  <a:lnTo>
                    <a:pt x="30" y="48"/>
                  </a:lnTo>
                  <a:lnTo>
                    <a:pt x="30" y="46"/>
                  </a:lnTo>
                  <a:lnTo>
                    <a:pt x="30" y="45"/>
                  </a:lnTo>
                  <a:close/>
                  <a:moveTo>
                    <a:pt x="90" y="45"/>
                  </a:moveTo>
                  <a:lnTo>
                    <a:pt x="89" y="36"/>
                  </a:lnTo>
                  <a:lnTo>
                    <a:pt x="87" y="27"/>
                  </a:lnTo>
                  <a:lnTo>
                    <a:pt x="83" y="20"/>
                  </a:lnTo>
                  <a:lnTo>
                    <a:pt x="77" y="13"/>
                  </a:lnTo>
                  <a:lnTo>
                    <a:pt x="70" y="8"/>
                  </a:lnTo>
                  <a:lnTo>
                    <a:pt x="62" y="4"/>
                  </a:lnTo>
                  <a:lnTo>
                    <a:pt x="54" y="1"/>
                  </a:lnTo>
                  <a:lnTo>
                    <a:pt x="45" y="0"/>
                  </a:lnTo>
                  <a:lnTo>
                    <a:pt x="35" y="1"/>
                  </a:lnTo>
                  <a:lnTo>
                    <a:pt x="28" y="4"/>
                  </a:lnTo>
                  <a:lnTo>
                    <a:pt x="19" y="8"/>
                  </a:lnTo>
                  <a:lnTo>
                    <a:pt x="13" y="13"/>
                  </a:lnTo>
                  <a:lnTo>
                    <a:pt x="8" y="20"/>
                  </a:lnTo>
                  <a:lnTo>
                    <a:pt x="3" y="27"/>
                  </a:lnTo>
                  <a:lnTo>
                    <a:pt x="1" y="36"/>
                  </a:lnTo>
                  <a:lnTo>
                    <a:pt x="0" y="46"/>
                  </a:lnTo>
                  <a:lnTo>
                    <a:pt x="1" y="54"/>
                  </a:lnTo>
                  <a:lnTo>
                    <a:pt x="3" y="63"/>
                  </a:lnTo>
                  <a:lnTo>
                    <a:pt x="8" y="70"/>
                  </a:lnTo>
                  <a:lnTo>
                    <a:pt x="13" y="77"/>
                  </a:lnTo>
                  <a:lnTo>
                    <a:pt x="19" y="82"/>
                  </a:lnTo>
                  <a:lnTo>
                    <a:pt x="28" y="86"/>
                  </a:lnTo>
                  <a:lnTo>
                    <a:pt x="35" y="89"/>
                  </a:lnTo>
                  <a:lnTo>
                    <a:pt x="45" y="91"/>
                  </a:lnTo>
                  <a:lnTo>
                    <a:pt x="54" y="89"/>
                  </a:lnTo>
                  <a:lnTo>
                    <a:pt x="62" y="86"/>
                  </a:lnTo>
                  <a:lnTo>
                    <a:pt x="70" y="82"/>
                  </a:lnTo>
                  <a:lnTo>
                    <a:pt x="77" y="77"/>
                  </a:lnTo>
                  <a:lnTo>
                    <a:pt x="83" y="70"/>
                  </a:lnTo>
                  <a:lnTo>
                    <a:pt x="87" y="63"/>
                  </a:lnTo>
                  <a:lnTo>
                    <a:pt x="89" y="54"/>
                  </a:lnTo>
                  <a:lnTo>
                    <a:pt x="90" y="46"/>
                  </a:lnTo>
                  <a:lnTo>
                    <a:pt x="9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18" name="Freeform 190"/>
            <p:cNvSpPr>
              <a:spLocks noEditPoints="1"/>
            </p:cNvSpPr>
            <p:nvPr/>
          </p:nvSpPr>
          <p:spPr bwMode="auto">
            <a:xfrm>
              <a:off x="9929813" y="1401763"/>
              <a:ext cx="28575" cy="28575"/>
            </a:xfrm>
            <a:custGeom>
              <a:avLst/>
              <a:gdLst>
                <a:gd name="T0" fmla="*/ 59 w 90"/>
                <a:gd name="T1" fmla="*/ 48 h 90"/>
                <a:gd name="T2" fmla="*/ 57 w 90"/>
                <a:gd name="T3" fmla="*/ 53 h 90"/>
                <a:gd name="T4" fmla="*/ 54 w 90"/>
                <a:gd name="T5" fmla="*/ 57 h 90"/>
                <a:gd name="T6" fmla="*/ 48 w 90"/>
                <a:gd name="T7" fmla="*/ 60 h 90"/>
                <a:gd name="T8" fmla="*/ 42 w 90"/>
                <a:gd name="T9" fmla="*/ 60 h 90"/>
                <a:gd name="T10" fmla="*/ 36 w 90"/>
                <a:gd name="T11" fmla="*/ 57 h 90"/>
                <a:gd name="T12" fmla="*/ 32 w 90"/>
                <a:gd name="T13" fmla="*/ 53 h 90"/>
                <a:gd name="T14" fmla="*/ 30 w 90"/>
                <a:gd name="T15" fmla="*/ 48 h 90"/>
                <a:gd name="T16" fmla="*/ 30 w 90"/>
                <a:gd name="T17" fmla="*/ 41 h 90"/>
                <a:gd name="T18" fmla="*/ 32 w 90"/>
                <a:gd name="T19" fmla="*/ 36 h 90"/>
                <a:gd name="T20" fmla="*/ 36 w 90"/>
                <a:gd name="T21" fmla="*/ 32 h 90"/>
                <a:gd name="T22" fmla="*/ 42 w 90"/>
                <a:gd name="T23" fmla="*/ 30 h 90"/>
                <a:gd name="T24" fmla="*/ 48 w 90"/>
                <a:gd name="T25" fmla="*/ 30 h 90"/>
                <a:gd name="T26" fmla="*/ 54 w 90"/>
                <a:gd name="T27" fmla="*/ 32 h 90"/>
                <a:gd name="T28" fmla="*/ 57 w 90"/>
                <a:gd name="T29" fmla="*/ 36 h 90"/>
                <a:gd name="T30" fmla="*/ 59 w 90"/>
                <a:gd name="T31" fmla="*/ 41 h 90"/>
                <a:gd name="T32" fmla="*/ 60 w 90"/>
                <a:gd name="T33" fmla="*/ 45 h 90"/>
                <a:gd name="T34" fmla="*/ 0 w 90"/>
                <a:gd name="T35" fmla="*/ 54 h 90"/>
                <a:gd name="T36" fmla="*/ 8 w 90"/>
                <a:gd name="T37" fmla="*/ 70 h 90"/>
                <a:gd name="T38" fmla="*/ 19 w 90"/>
                <a:gd name="T39" fmla="*/ 82 h 90"/>
                <a:gd name="T40" fmla="*/ 35 w 90"/>
                <a:gd name="T41" fmla="*/ 88 h 90"/>
                <a:gd name="T42" fmla="*/ 54 w 90"/>
                <a:gd name="T43" fmla="*/ 88 h 90"/>
                <a:gd name="T44" fmla="*/ 70 w 90"/>
                <a:gd name="T45" fmla="*/ 82 h 90"/>
                <a:gd name="T46" fmla="*/ 83 w 90"/>
                <a:gd name="T47" fmla="*/ 70 h 90"/>
                <a:gd name="T48" fmla="*/ 89 w 90"/>
                <a:gd name="T49" fmla="*/ 54 h 90"/>
                <a:gd name="T50" fmla="*/ 89 w 90"/>
                <a:gd name="T51" fmla="*/ 36 h 90"/>
                <a:gd name="T52" fmla="*/ 83 w 90"/>
                <a:gd name="T53" fmla="*/ 20 h 90"/>
                <a:gd name="T54" fmla="*/ 70 w 90"/>
                <a:gd name="T55" fmla="*/ 7 h 90"/>
                <a:gd name="T56" fmla="*/ 54 w 90"/>
                <a:gd name="T57" fmla="*/ 1 h 90"/>
                <a:gd name="T58" fmla="*/ 35 w 90"/>
                <a:gd name="T59" fmla="*/ 1 h 90"/>
                <a:gd name="T60" fmla="*/ 19 w 90"/>
                <a:gd name="T61" fmla="*/ 7 h 90"/>
                <a:gd name="T62" fmla="*/ 8 w 90"/>
                <a:gd name="T63" fmla="*/ 20 h 90"/>
                <a:gd name="T64" fmla="*/ 0 w 90"/>
                <a:gd name="T65" fmla="*/ 3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90">
                  <a:moveTo>
                    <a:pt x="60" y="45"/>
                  </a:moveTo>
                  <a:lnTo>
                    <a:pt x="59" y="48"/>
                  </a:lnTo>
                  <a:lnTo>
                    <a:pt x="59" y="51"/>
                  </a:lnTo>
                  <a:lnTo>
                    <a:pt x="57" y="53"/>
                  </a:lnTo>
                  <a:lnTo>
                    <a:pt x="56" y="55"/>
                  </a:lnTo>
                  <a:lnTo>
                    <a:pt x="54" y="57"/>
                  </a:lnTo>
                  <a:lnTo>
                    <a:pt x="50" y="58"/>
                  </a:lnTo>
                  <a:lnTo>
                    <a:pt x="48" y="60"/>
                  </a:lnTo>
                  <a:lnTo>
                    <a:pt x="45" y="60"/>
                  </a:lnTo>
                  <a:lnTo>
                    <a:pt x="42" y="60"/>
                  </a:lnTo>
                  <a:lnTo>
                    <a:pt x="39" y="58"/>
                  </a:lnTo>
                  <a:lnTo>
                    <a:pt x="36" y="57"/>
                  </a:lnTo>
                  <a:lnTo>
                    <a:pt x="34" y="55"/>
                  </a:lnTo>
                  <a:lnTo>
                    <a:pt x="32" y="53"/>
                  </a:lnTo>
                  <a:lnTo>
                    <a:pt x="31" y="51"/>
                  </a:lnTo>
                  <a:lnTo>
                    <a:pt x="30" y="48"/>
                  </a:lnTo>
                  <a:lnTo>
                    <a:pt x="30" y="45"/>
                  </a:lnTo>
                  <a:lnTo>
                    <a:pt x="30" y="41"/>
                  </a:lnTo>
                  <a:lnTo>
                    <a:pt x="31" y="39"/>
                  </a:lnTo>
                  <a:lnTo>
                    <a:pt x="32" y="36"/>
                  </a:lnTo>
                  <a:lnTo>
                    <a:pt x="34" y="34"/>
                  </a:lnTo>
                  <a:lnTo>
                    <a:pt x="36" y="32"/>
                  </a:lnTo>
                  <a:lnTo>
                    <a:pt x="39" y="31"/>
                  </a:lnTo>
                  <a:lnTo>
                    <a:pt x="42" y="30"/>
                  </a:lnTo>
                  <a:lnTo>
                    <a:pt x="45" y="30"/>
                  </a:lnTo>
                  <a:lnTo>
                    <a:pt x="48" y="30"/>
                  </a:lnTo>
                  <a:lnTo>
                    <a:pt x="50" y="31"/>
                  </a:lnTo>
                  <a:lnTo>
                    <a:pt x="54" y="32"/>
                  </a:lnTo>
                  <a:lnTo>
                    <a:pt x="56" y="34"/>
                  </a:lnTo>
                  <a:lnTo>
                    <a:pt x="57" y="36"/>
                  </a:lnTo>
                  <a:lnTo>
                    <a:pt x="59" y="39"/>
                  </a:lnTo>
                  <a:lnTo>
                    <a:pt x="59" y="41"/>
                  </a:lnTo>
                  <a:lnTo>
                    <a:pt x="60" y="45"/>
                  </a:lnTo>
                  <a:lnTo>
                    <a:pt x="60" y="45"/>
                  </a:lnTo>
                  <a:close/>
                  <a:moveTo>
                    <a:pt x="0" y="45"/>
                  </a:moveTo>
                  <a:lnTo>
                    <a:pt x="0" y="54"/>
                  </a:lnTo>
                  <a:lnTo>
                    <a:pt x="3" y="62"/>
                  </a:lnTo>
                  <a:lnTo>
                    <a:pt x="8" y="70"/>
                  </a:lnTo>
                  <a:lnTo>
                    <a:pt x="13" y="77"/>
                  </a:lnTo>
                  <a:lnTo>
                    <a:pt x="19" y="82"/>
                  </a:lnTo>
                  <a:lnTo>
                    <a:pt x="27" y="86"/>
                  </a:lnTo>
                  <a:lnTo>
                    <a:pt x="35" y="88"/>
                  </a:lnTo>
                  <a:lnTo>
                    <a:pt x="45" y="90"/>
                  </a:lnTo>
                  <a:lnTo>
                    <a:pt x="54" y="88"/>
                  </a:lnTo>
                  <a:lnTo>
                    <a:pt x="62" y="86"/>
                  </a:lnTo>
                  <a:lnTo>
                    <a:pt x="70" y="82"/>
                  </a:lnTo>
                  <a:lnTo>
                    <a:pt x="76" y="77"/>
                  </a:lnTo>
                  <a:lnTo>
                    <a:pt x="83" y="70"/>
                  </a:lnTo>
                  <a:lnTo>
                    <a:pt x="87" y="62"/>
                  </a:lnTo>
                  <a:lnTo>
                    <a:pt x="89" y="54"/>
                  </a:lnTo>
                  <a:lnTo>
                    <a:pt x="90" y="45"/>
                  </a:lnTo>
                  <a:lnTo>
                    <a:pt x="89" y="36"/>
                  </a:lnTo>
                  <a:lnTo>
                    <a:pt x="87" y="27"/>
                  </a:lnTo>
                  <a:lnTo>
                    <a:pt x="83" y="20"/>
                  </a:lnTo>
                  <a:lnTo>
                    <a:pt x="76" y="12"/>
                  </a:lnTo>
                  <a:lnTo>
                    <a:pt x="70" y="7"/>
                  </a:lnTo>
                  <a:lnTo>
                    <a:pt x="62" y="3"/>
                  </a:lnTo>
                  <a:lnTo>
                    <a:pt x="54" y="1"/>
                  </a:lnTo>
                  <a:lnTo>
                    <a:pt x="45" y="0"/>
                  </a:lnTo>
                  <a:lnTo>
                    <a:pt x="35" y="1"/>
                  </a:lnTo>
                  <a:lnTo>
                    <a:pt x="27" y="3"/>
                  </a:lnTo>
                  <a:lnTo>
                    <a:pt x="19" y="7"/>
                  </a:lnTo>
                  <a:lnTo>
                    <a:pt x="13" y="12"/>
                  </a:lnTo>
                  <a:lnTo>
                    <a:pt x="8" y="20"/>
                  </a:lnTo>
                  <a:lnTo>
                    <a:pt x="3" y="27"/>
                  </a:lnTo>
                  <a:lnTo>
                    <a:pt x="0" y="36"/>
                  </a:lnTo>
                  <a:lnTo>
                    <a:pt x="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19" name="Freeform 191"/>
            <p:cNvSpPr>
              <a:spLocks/>
            </p:cNvSpPr>
            <p:nvPr/>
          </p:nvSpPr>
          <p:spPr bwMode="auto">
            <a:xfrm>
              <a:off x="9901238" y="1373188"/>
              <a:ext cx="247650" cy="142875"/>
            </a:xfrm>
            <a:custGeom>
              <a:avLst/>
              <a:gdLst>
                <a:gd name="T0" fmla="*/ 498 w 782"/>
                <a:gd name="T1" fmla="*/ 441 h 451"/>
                <a:gd name="T2" fmla="*/ 503 w 782"/>
                <a:gd name="T3" fmla="*/ 447 h 451"/>
                <a:gd name="T4" fmla="*/ 512 w 782"/>
                <a:gd name="T5" fmla="*/ 451 h 451"/>
                <a:gd name="T6" fmla="*/ 710 w 782"/>
                <a:gd name="T7" fmla="*/ 448 h 451"/>
                <a:gd name="T8" fmla="*/ 735 w 782"/>
                <a:gd name="T9" fmla="*/ 440 h 451"/>
                <a:gd name="T10" fmla="*/ 756 w 782"/>
                <a:gd name="T11" fmla="*/ 424 h 451"/>
                <a:gd name="T12" fmla="*/ 771 w 782"/>
                <a:gd name="T13" fmla="*/ 403 h 451"/>
                <a:gd name="T14" fmla="*/ 781 w 782"/>
                <a:gd name="T15" fmla="*/ 379 h 451"/>
                <a:gd name="T16" fmla="*/ 782 w 782"/>
                <a:gd name="T17" fmla="*/ 90 h 451"/>
                <a:gd name="T18" fmla="*/ 779 w 782"/>
                <a:gd name="T19" fmla="*/ 63 h 451"/>
                <a:gd name="T20" fmla="*/ 767 w 782"/>
                <a:gd name="T21" fmla="*/ 39 h 451"/>
                <a:gd name="T22" fmla="*/ 750 w 782"/>
                <a:gd name="T23" fmla="*/ 20 h 451"/>
                <a:gd name="T24" fmla="*/ 727 w 782"/>
                <a:gd name="T25" fmla="*/ 6 h 451"/>
                <a:gd name="T26" fmla="*/ 702 w 782"/>
                <a:gd name="T27" fmla="*/ 0 h 451"/>
                <a:gd name="T28" fmla="*/ 81 w 782"/>
                <a:gd name="T29" fmla="*/ 0 h 451"/>
                <a:gd name="T30" fmla="*/ 56 w 782"/>
                <a:gd name="T31" fmla="*/ 6 h 451"/>
                <a:gd name="T32" fmla="*/ 33 w 782"/>
                <a:gd name="T33" fmla="*/ 20 h 451"/>
                <a:gd name="T34" fmla="*/ 16 w 782"/>
                <a:gd name="T35" fmla="*/ 39 h 451"/>
                <a:gd name="T36" fmla="*/ 4 w 782"/>
                <a:gd name="T37" fmla="*/ 63 h 451"/>
                <a:gd name="T38" fmla="*/ 0 w 782"/>
                <a:gd name="T39" fmla="*/ 90 h 451"/>
                <a:gd name="T40" fmla="*/ 2 w 782"/>
                <a:gd name="T41" fmla="*/ 291 h 451"/>
                <a:gd name="T42" fmla="*/ 7 w 782"/>
                <a:gd name="T43" fmla="*/ 297 h 451"/>
                <a:gd name="T44" fmla="*/ 15 w 782"/>
                <a:gd name="T45" fmla="*/ 301 h 451"/>
                <a:gd name="T46" fmla="*/ 24 w 782"/>
                <a:gd name="T47" fmla="*/ 297 h 451"/>
                <a:gd name="T48" fmla="*/ 29 w 782"/>
                <a:gd name="T49" fmla="*/ 291 h 451"/>
                <a:gd name="T50" fmla="*/ 30 w 782"/>
                <a:gd name="T51" fmla="*/ 90 h 451"/>
                <a:gd name="T52" fmla="*/ 33 w 782"/>
                <a:gd name="T53" fmla="*/ 71 h 451"/>
                <a:gd name="T54" fmla="*/ 41 w 782"/>
                <a:gd name="T55" fmla="*/ 55 h 451"/>
                <a:gd name="T56" fmla="*/ 52 w 782"/>
                <a:gd name="T57" fmla="*/ 43 h 451"/>
                <a:gd name="T58" fmla="*/ 67 w 782"/>
                <a:gd name="T59" fmla="*/ 34 h 451"/>
                <a:gd name="T60" fmla="*/ 85 w 782"/>
                <a:gd name="T61" fmla="*/ 30 h 451"/>
                <a:gd name="T62" fmla="*/ 698 w 782"/>
                <a:gd name="T63" fmla="*/ 30 h 451"/>
                <a:gd name="T64" fmla="*/ 716 w 782"/>
                <a:gd name="T65" fmla="*/ 34 h 451"/>
                <a:gd name="T66" fmla="*/ 731 w 782"/>
                <a:gd name="T67" fmla="*/ 43 h 451"/>
                <a:gd name="T68" fmla="*/ 742 w 782"/>
                <a:gd name="T69" fmla="*/ 55 h 451"/>
                <a:gd name="T70" fmla="*/ 750 w 782"/>
                <a:gd name="T71" fmla="*/ 71 h 451"/>
                <a:gd name="T72" fmla="*/ 752 w 782"/>
                <a:gd name="T73" fmla="*/ 90 h 451"/>
                <a:gd name="T74" fmla="*/ 751 w 782"/>
                <a:gd name="T75" fmla="*/ 372 h 451"/>
                <a:gd name="T76" fmla="*/ 744 w 782"/>
                <a:gd name="T77" fmla="*/ 389 h 451"/>
                <a:gd name="T78" fmla="*/ 735 w 782"/>
                <a:gd name="T79" fmla="*/ 403 h 451"/>
                <a:gd name="T80" fmla="*/ 721 w 782"/>
                <a:gd name="T81" fmla="*/ 413 h 451"/>
                <a:gd name="T82" fmla="*/ 704 w 782"/>
                <a:gd name="T83" fmla="*/ 419 h 451"/>
                <a:gd name="T84" fmla="*/ 512 w 782"/>
                <a:gd name="T85" fmla="*/ 421 h 451"/>
                <a:gd name="T86" fmla="*/ 503 w 782"/>
                <a:gd name="T87" fmla="*/ 423 h 451"/>
                <a:gd name="T88" fmla="*/ 498 w 782"/>
                <a:gd name="T89" fmla="*/ 429 h 451"/>
                <a:gd name="T90" fmla="*/ 497 w 782"/>
                <a:gd name="T91" fmla="*/ 43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2" h="451">
                  <a:moveTo>
                    <a:pt x="497" y="436"/>
                  </a:moveTo>
                  <a:lnTo>
                    <a:pt x="497" y="439"/>
                  </a:lnTo>
                  <a:lnTo>
                    <a:pt x="498" y="441"/>
                  </a:lnTo>
                  <a:lnTo>
                    <a:pt x="499" y="444"/>
                  </a:lnTo>
                  <a:lnTo>
                    <a:pt x="501" y="446"/>
                  </a:lnTo>
                  <a:lnTo>
                    <a:pt x="503" y="447"/>
                  </a:lnTo>
                  <a:lnTo>
                    <a:pt x="506" y="449"/>
                  </a:lnTo>
                  <a:lnTo>
                    <a:pt x="509" y="451"/>
                  </a:lnTo>
                  <a:lnTo>
                    <a:pt x="512" y="451"/>
                  </a:lnTo>
                  <a:lnTo>
                    <a:pt x="692" y="451"/>
                  </a:lnTo>
                  <a:lnTo>
                    <a:pt x="702" y="449"/>
                  </a:lnTo>
                  <a:lnTo>
                    <a:pt x="710" y="448"/>
                  </a:lnTo>
                  <a:lnTo>
                    <a:pt x="719" y="446"/>
                  </a:lnTo>
                  <a:lnTo>
                    <a:pt x="727" y="443"/>
                  </a:lnTo>
                  <a:lnTo>
                    <a:pt x="735" y="440"/>
                  </a:lnTo>
                  <a:lnTo>
                    <a:pt x="742" y="436"/>
                  </a:lnTo>
                  <a:lnTo>
                    <a:pt x="750" y="430"/>
                  </a:lnTo>
                  <a:lnTo>
                    <a:pt x="756" y="424"/>
                  </a:lnTo>
                  <a:lnTo>
                    <a:pt x="762" y="417"/>
                  </a:lnTo>
                  <a:lnTo>
                    <a:pt x="767" y="411"/>
                  </a:lnTo>
                  <a:lnTo>
                    <a:pt x="771" y="403"/>
                  </a:lnTo>
                  <a:lnTo>
                    <a:pt x="776" y="396"/>
                  </a:lnTo>
                  <a:lnTo>
                    <a:pt x="779" y="387"/>
                  </a:lnTo>
                  <a:lnTo>
                    <a:pt x="781" y="379"/>
                  </a:lnTo>
                  <a:lnTo>
                    <a:pt x="782" y="369"/>
                  </a:lnTo>
                  <a:lnTo>
                    <a:pt x="782" y="361"/>
                  </a:lnTo>
                  <a:lnTo>
                    <a:pt x="782" y="90"/>
                  </a:lnTo>
                  <a:lnTo>
                    <a:pt x="782" y="80"/>
                  </a:lnTo>
                  <a:lnTo>
                    <a:pt x="781" y="71"/>
                  </a:lnTo>
                  <a:lnTo>
                    <a:pt x="779" y="63"/>
                  </a:lnTo>
                  <a:lnTo>
                    <a:pt x="776" y="54"/>
                  </a:lnTo>
                  <a:lnTo>
                    <a:pt x="771" y="47"/>
                  </a:lnTo>
                  <a:lnTo>
                    <a:pt x="767" y="39"/>
                  </a:lnTo>
                  <a:lnTo>
                    <a:pt x="762" y="32"/>
                  </a:lnTo>
                  <a:lnTo>
                    <a:pt x="756" y="25"/>
                  </a:lnTo>
                  <a:lnTo>
                    <a:pt x="750" y="20"/>
                  </a:lnTo>
                  <a:lnTo>
                    <a:pt x="742" y="15"/>
                  </a:lnTo>
                  <a:lnTo>
                    <a:pt x="735" y="10"/>
                  </a:lnTo>
                  <a:lnTo>
                    <a:pt x="727" y="6"/>
                  </a:lnTo>
                  <a:lnTo>
                    <a:pt x="719" y="4"/>
                  </a:lnTo>
                  <a:lnTo>
                    <a:pt x="710" y="1"/>
                  </a:lnTo>
                  <a:lnTo>
                    <a:pt x="702" y="0"/>
                  </a:lnTo>
                  <a:lnTo>
                    <a:pt x="692" y="0"/>
                  </a:lnTo>
                  <a:lnTo>
                    <a:pt x="91" y="0"/>
                  </a:lnTo>
                  <a:lnTo>
                    <a:pt x="81" y="0"/>
                  </a:lnTo>
                  <a:lnTo>
                    <a:pt x="72" y="1"/>
                  </a:lnTo>
                  <a:lnTo>
                    <a:pt x="63" y="4"/>
                  </a:lnTo>
                  <a:lnTo>
                    <a:pt x="56" y="6"/>
                  </a:lnTo>
                  <a:lnTo>
                    <a:pt x="47" y="10"/>
                  </a:lnTo>
                  <a:lnTo>
                    <a:pt x="40" y="15"/>
                  </a:lnTo>
                  <a:lnTo>
                    <a:pt x="33" y="20"/>
                  </a:lnTo>
                  <a:lnTo>
                    <a:pt x="27" y="25"/>
                  </a:lnTo>
                  <a:lnTo>
                    <a:pt x="20" y="32"/>
                  </a:lnTo>
                  <a:lnTo>
                    <a:pt x="16" y="39"/>
                  </a:lnTo>
                  <a:lnTo>
                    <a:pt x="11" y="47"/>
                  </a:lnTo>
                  <a:lnTo>
                    <a:pt x="7" y="54"/>
                  </a:lnTo>
                  <a:lnTo>
                    <a:pt x="4" y="63"/>
                  </a:lnTo>
                  <a:lnTo>
                    <a:pt x="2" y="71"/>
                  </a:lnTo>
                  <a:lnTo>
                    <a:pt x="1" y="80"/>
                  </a:lnTo>
                  <a:lnTo>
                    <a:pt x="0" y="90"/>
                  </a:lnTo>
                  <a:lnTo>
                    <a:pt x="0" y="285"/>
                  </a:lnTo>
                  <a:lnTo>
                    <a:pt x="1" y="288"/>
                  </a:lnTo>
                  <a:lnTo>
                    <a:pt x="2" y="291"/>
                  </a:lnTo>
                  <a:lnTo>
                    <a:pt x="3" y="293"/>
                  </a:lnTo>
                  <a:lnTo>
                    <a:pt x="5" y="295"/>
                  </a:lnTo>
                  <a:lnTo>
                    <a:pt x="7" y="297"/>
                  </a:lnTo>
                  <a:lnTo>
                    <a:pt x="10" y="298"/>
                  </a:lnTo>
                  <a:lnTo>
                    <a:pt x="13" y="300"/>
                  </a:lnTo>
                  <a:lnTo>
                    <a:pt x="15" y="301"/>
                  </a:lnTo>
                  <a:lnTo>
                    <a:pt x="18" y="300"/>
                  </a:lnTo>
                  <a:lnTo>
                    <a:pt x="21" y="298"/>
                  </a:lnTo>
                  <a:lnTo>
                    <a:pt x="24" y="297"/>
                  </a:lnTo>
                  <a:lnTo>
                    <a:pt x="26" y="295"/>
                  </a:lnTo>
                  <a:lnTo>
                    <a:pt x="28" y="293"/>
                  </a:lnTo>
                  <a:lnTo>
                    <a:pt x="29" y="291"/>
                  </a:lnTo>
                  <a:lnTo>
                    <a:pt x="30" y="288"/>
                  </a:lnTo>
                  <a:lnTo>
                    <a:pt x="30" y="285"/>
                  </a:lnTo>
                  <a:lnTo>
                    <a:pt x="30" y="90"/>
                  </a:lnTo>
                  <a:lnTo>
                    <a:pt x="31" y="83"/>
                  </a:lnTo>
                  <a:lnTo>
                    <a:pt x="32" y="78"/>
                  </a:lnTo>
                  <a:lnTo>
                    <a:pt x="33" y="71"/>
                  </a:lnTo>
                  <a:lnTo>
                    <a:pt x="35" y="66"/>
                  </a:lnTo>
                  <a:lnTo>
                    <a:pt x="37" y="61"/>
                  </a:lnTo>
                  <a:lnTo>
                    <a:pt x="41" y="55"/>
                  </a:lnTo>
                  <a:lnTo>
                    <a:pt x="44" y="51"/>
                  </a:lnTo>
                  <a:lnTo>
                    <a:pt x="48" y="47"/>
                  </a:lnTo>
                  <a:lnTo>
                    <a:pt x="52" y="43"/>
                  </a:lnTo>
                  <a:lnTo>
                    <a:pt x="57" y="39"/>
                  </a:lnTo>
                  <a:lnTo>
                    <a:pt x="62" y="37"/>
                  </a:lnTo>
                  <a:lnTo>
                    <a:pt x="67" y="34"/>
                  </a:lnTo>
                  <a:lnTo>
                    <a:pt x="73" y="32"/>
                  </a:lnTo>
                  <a:lnTo>
                    <a:pt x="78" y="31"/>
                  </a:lnTo>
                  <a:lnTo>
                    <a:pt x="85" y="30"/>
                  </a:lnTo>
                  <a:lnTo>
                    <a:pt x="91" y="30"/>
                  </a:lnTo>
                  <a:lnTo>
                    <a:pt x="692" y="30"/>
                  </a:lnTo>
                  <a:lnTo>
                    <a:pt x="698" y="30"/>
                  </a:lnTo>
                  <a:lnTo>
                    <a:pt x="704" y="31"/>
                  </a:lnTo>
                  <a:lnTo>
                    <a:pt x="710" y="32"/>
                  </a:lnTo>
                  <a:lnTo>
                    <a:pt x="716" y="34"/>
                  </a:lnTo>
                  <a:lnTo>
                    <a:pt x="721" y="37"/>
                  </a:lnTo>
                  <a:lnTo>
                    <a:pt x="726" y="39"/>
                  </a:lnTo>
                  <a:lnTo>
                    <a:pt x="731" y="43"/>
                  </a:lnTo>
                  <a:lnTo>
                    <a:pt x="735" y="47"/>
                  </a:lnTo>
                  <a:lnTo>
                    <a:pt x="738" y="51"/>
                  </a:lnTo>
                  <a:lnTo>
                    <a:pt x="742" y="55"/>
                  </a:lnTo>
                  <a:lnTo>
                    <a:pt x="744" y="61"/>
                  </a:lnTo>
                  <a:lnTo>
                    <a:pt x="748" y="66"/>
                  </a:lnTo>
                  <a:lnTo>
                    <a:pt x="750" y="71"/>
                  </a:lnTo>
                  <a:lnTo>
                    <a:pt x="751" y="78"/>
                  </a:lnTo>
                  <a:lnTo>
                    <a:pt x="752" y="83"/>
                  </a:lnTo>
                  <a:lnTo>
                    <a:pt x="752" y="90"/>
                  </a:lnTo>
                  <a:lnTo>
                    <a:pt x="752" y="361"/>
                  </a:lnTo>
                  <a:lnTo>
                    <a:pt x="752" y="366"/>
                  </a:lnTo>
                  <a:lnTo>
                    <a:pt x="751" y="372"/>
                  </a:lnTo>
                  <a:lnTo>
                    <a:pt x="750" y="379"/>
                  </a:lnTo>
                  <a:lnTo>
                    <a:pt x="748" y="384"/>
                  </a:lnTo>
                  <a:lnTo>
                    <a:pt x="744" y="389"/>
                  </a:lnTo>
                  <a:lnTo>
                    <a:pt x="742" y="394"/>
                  </a:lnTo>
                  <a:lnTo>
                    <a:pt x="738" y="399"/>
                  </a:lnTo>
                  <a:lnTo>
                    <a:pt x="735" y="403"/>
                  </a:lnTo>
                  <a:lnTo>
                    <a:pt x="731" y="407"/>
                  </a:lnTo>
                  <a:lnTo>
                    <a:pt x="726" y="410"/>
                  </a:lnTo>
                  <a:lnTo>
                    <a:pt x="721" y="413"/>
                  </a:lnTo>
                  <a:lnTo>
                    <a:pt x="716" y="415"/>
                  </a:lnTo>
                  <a:lnTo>
                    <a:pt x="710" y="417"/>
                  </a:lnTo>
                  <a:lnTo>
                    <a:pt x="704" y="419"/>
                  </a:lnTo>
                  <a:lnTo>
                    <a:pt x="698" y="421"/>
                  </a:lnTo>
                  <a:lnTo>
                    <a:pt x="692" y="421"/>
                  </a:lnTo>
                  <a:lnTo>
                    <a:pt x="512" y="421"/>
                  </a:lnTo>
                  <a:lnTo>
                    <a:pt x="509" y="421"/>
                  </a:lnTo>
                  <a:lnTo>
                    <a:pt x="506" y="422"/>
                  </a:lnTo>
                  <a:lnTo>
                    <a:pt x="503" y="423"/>
                  </a:lnTo>
                  <a:lnTo>
                    <a:pt x="501" y="425"/>
                  </a:lnTo>
                  <a:lnTo>
                    <a:pt x="499" y="427"/>
                  </a:lnTo>
                  <a:lnTo>
                    <a:pt x="498" y="429"/>
                  </a:lnTo>
                  <a:lnTo>
                    <a:pt x="497" y="432"/>
                  </a:lnTo>
                  <a:lnTo>
                    <a:pt x="497" y="436"/>
                  </a:lnTo>
                  <a:lnTo>
                    <a:pt x="497" y="4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320" name="Group 319"/>
          <p:cNvGrpSpPr/>
          <p:nvPr/>
        </p:nvGrpSpPr>
        <p:grpSpPr>
          <a:xfrm>
            <a:off x="11418637" y="6215653"/>
            <a:ext cx="1321420" cy="932344"/>
            <a:chOff x="8164513" y="2584450"/>
            <a:chExt cx="285750" cy="201613"/>
          </a:xfrm>
        </p:grpSpPr>
        <p:sp>
          <p:nvSpPr>
            <p:cNvPr id="321" name="Freeform 106"/>
            <p:cNvSpPr>
              <a:spLocks noEditPoints="1"/>
            </p:cNvSpPr>
            <p:nvPr/>
          </p:nvSpPr>
          <p:spPr bwMode="auto">
            <a:xfrm>
              <a:off x="8164513" y="2584450"/>
              <a:ext cx="285750" cy="201613"/>
            </a:xfrm>
            <a:custGeom>
              <a:avLst/>
              <a:gdLst>
                <a:gd name="T0" fmla="*/ 806 w 902"/>
                <a:gd name="T1" fmla="*/ 508 h 631"/>
                <a:gd name="T2" fmla="*/ 872 w 902"/>
                <a:gd name="T3" fmla="*/ 481 h 631"/>
                <a:gd name="T4" fmla="*/ 709 w 902"/>
                <a:gd name="T5" fmla="*/ 600 h 631"/>
                <a:gd name="T6" fmla="*/ 683 w 902"/>
                <a:gd name="T7" fmla="*/ 587 h 631"/>
                <a:gd name="T8" fmla="*/ 666 w 902"/>
                <a:gd name="T9" fmla="*/ 565 h 631"/>
                <a:gd name="T10" fmla="*/ 661 w 902"/>
                <a:gd name="T11" fmla="*/ 535 h 631"/>
                <a:gd name="T12" fmla="*/ 672 w 902"/>
                <a:gd name="T13" fmla="*/ 508 h 631"/>
                <a:gd name="T14" fmla="*/ 693 w 902"/>
                <a:gd name="T15" fmla="*/ 489 h 631"/>
                <a:gd name="T16" fmla="*/ 721 w 902"/>
                <a:gd name="T17" fmla="*/ 481 h 631"/>
                <a:gd name="T18" fmla="*/ 750 w 902"/>
                <a:gd name="T19" fmla="*/ 489 h 631"/>
                <a:gd name="T20" fmla="*/ 771 w 902"/>
                <a:gd name="T21" fmla="*/ 508 h 631"/>
                <a:gd name="T22" fmla="*/ 781 w 902"/>
                <a:gd name="T23" fmla="*/ 535 h 631"/>
                <a:gd name="T24" fmla="*/ 777 w 902"/>
                <a:gd name="T25" fmla="*/ 565 h 631"/>
                <a:gd name="T26" fmla="*/ 760 w 902"/>
                <a:gd name="T27" fmla="*/ 587 h 631"/>
                <a:gd name="T28" fmla="*/ 734 w 902"/>
                <a:gd name="T29" fmla="*/ 600 h 631"/>
                <a:gd name="T30" fmla="*/ 269 w 902"/>
                <a:gd name="T31" fmla="*/ 524 h 631"/>
                <a:gd name="T32" fmla="*/ 252 w 902"/>
                <a:gd name="T33" fmla="*/ 488 h 631"/>
                <a:gd name="T34" fmla="*/ 641 w 902"/>
                <a:gd name="T35" fmla="*/ 501 h 631"/>
                <a:gd name="T36" fmla="*/ 631 w 902"/>
                <a:gd name="T37" fmla="*/ 541 h 631"/>
                <a:gd name="T38" fmla="*/ 162 w 902"/>
                <a:gd name="T39" fmla="*/ 599 h 631"/>
                <a:gd name="T40" fmla="*/ 137 w 902"/>
                <a:gd name="T41" fmla="*/ 584 h 631"/>
                <a:gd name="T42" fmla="*/ 122 w 902"/>
                <a:gd name="T43" fmla="*/ 560 h 631"/>
                <a:gd name="T44" fmla="*/ 121 w 902"/>
                <a:gd name="T45" fmla="*/ 530 h 631"/>
                <a:gd name="T46" fmla="*/ 134 w 902"/>
                <a:gd name="T47" fmla="*/ 503 h 631"/>
                <a:gd name="T48" fmla="*/ 156 w 902"/>
                <a:gd name="T49" fmla="*/ 486 h 631"/>
                <a:gd name="T50" fmla="*/ 186 w 902"/>
                <a:gd name="T51" fmla="*/ 481 h 631"/>
                <a:gd name="T52" fmla="*/ 213 w 902"/>
                <a:gd name="T53" fmla="*/ 491 h 631"/>
                <a:gd name="T54" fmla="*/ 232 w 902"/>
                <a:gd name="T55" fmla="*/ 512 h 631"/>
                <a:gd name="T56" fmla="*/ 240 w 902"/>
                <a:gd name="T57" fmla="*/ 541 h 631"/>
                <a:gd name="T58" fmla="*/ 232 w 902"/>
                <a:gd name="T59" fmla="*/ 570 h 631"/>
                <a:gd name="T60" fmla="*/ 213 w 902"/>
                <a:gd name="T61" fmla="*/ 591 h 631"/>
                <a:gd name="T62" fmla="*/ 186 w 902"/>
                <a:gd name="T63" fmla="*/ 601 h 631"/>
                <a:gd name="T64" fmla="*/ 108 w 902"/>
                <a:gd name="T65" fmla="*/ 488 h 631"/>
                <a:gd name="T66" fmla="*/ 91 w 902"/>
                <a:gd name="T67" fmla="*/ 524 h 631"/>
                <a:gd name="T68" fmla="*/ 117 w 902"/>
                <a:gd name="T69" fmla="*/ 265 h 631"/>
                <a:gd name="T70" fmla="*/ 30 w 902"/>
                <a:gd name="T71" fmla="*/ 451 h 631"/>
                <a:gd name="T72" fmla="*/ 872 w 902"/>
                <a:gd name="T73" fmla="*/ 451 h 631"/>
                <a:gd name="T74" fmla="*/ 887 w 902"/>
                <a:gd name="T75" fmla="*/ 0 h 631"/>
                <a:gd name="T76" fmla="*/ 365 w 902"/>
                <a:gd name="T77" fmla="*/ 5 h 631"/>
                <a:gd name="T78" fmla="*/ 361 w 902"/>
                <a:gd name="T79" fmla="*/ 90 h 631"/>
                <a:gd name="T80" fmla="*/ 182 w 902"/>
                <a:gd name="T81" fmla="*/ 98 h 631"/>
                <a:gd name="T82" fmla="*/ 0 w 902"/>
                <a:gd name="T83" fmla="*/ 327 h 631"/>
                <a:gd name="T84" fmla="*/ 2 w 902"/>
                <a:gd name="T85" fmla="*/ 565 h 631"/>
                <a:gd name="T86" fmla="*/ 15 w 902"/>
                <a:gd name="T87" fmla="*/ 571 h 631"/>
                <a:gd name="T88" fmla="*/ 128 w 902"/>
                <a:gd name="T89" fmla="*/ 614 h 631"/>
                <a:gd name="T90" fmla="*/ 172 w 902"/>
                <a:gd name="T91" fmla="*/ 631 h 631"/>
                <a:gd name="T92" fmla="*/ 208 w 902"/>
                <a:gd name="T93" fmla="*/ 627 h 631"/>
                <a:gd name="T94" fmla="*/ 259 w 902"/>
                <a:gd name="T95" fmla="*/ 584 h 631"/>
                <a:gd name="T96" fmla="*/ 659 w 902"/>
                <a:gd name="T97" fmla="*/ 606 h 631"/>
                <a:gd name="T98" fmla="*/ 707 w 902"/>
                <a:gd name="T99" fmla="*/ 630 h 631"/>
                <a:gd name="T100" fmla="*/ 742 w 902"/>
                <a:gd name="T101" fmla="*/ 629 h 631"/>
                <a:gd name="T102" fmla="*/ 793 w 902"/>
                <a:gd name="T103" fmla="*/ 596 h 631"/>
                <a:gd name="T104" fmla="*/ 892 w 902"/>
                <a:gd name="T105" fmla="*/ 570 h 631"/>
                <a:gd name="T106" fmla="*/ 901 w 902"/>
                <a:gd name="T107" fmla="*/ 560 h 631"/>
                <a:gd name="T108" fmla="*/ 899 w 902"/>
                <a:gd name="T109" fmla="*/ 7 h 631"/>
                <a:gd name="T110" fmla="*/ 887 w 902"/>
                <a:gd name="T111" fmla="*/ 0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631">
                  <a:moveTo>
                    <a:pt x="812" y="541"/>
                  </a:moveTo>
                  <a:lnTo>
                    <a:pt x="811" y="533"/>
                  </a:lnTo>
                  <a:lnTo>
                    <a:pt x="810" y="524"/>
                  </a:lnTo>
                  <a:lnTo>
                    <a:pt x="808" y="517"/>
                  </a:lnTo>
                  <a:lnTo>
                    <a:pt x="806" y="508"/>
                  </a:lnTo>
                  <a:lnTo>
                    <a:pt x="802" y="501"/>
                  </a:lnTo>
                  <a:lnTo>
                    <a:pt x="798" y="494"/>
                  </a:lnTo>
                  <a:lnTo>
                    <a:pt x="794" y="488"/>
                  </a:lnTo>
                  <a:lnTo>
                    <a:pt x="788" y="481"/>
                  </a:lnTo>
                  <a:lnTo>
                    <a:pt x="872" y="481"/>
                  </a:lnTo>
                  <a:lnTo>
                    <a:pt x="872" y="541"/>
                  </a:lnTo>
                  <a:lnTo>
                    <a:pt x="812" y="541"/>
                  </a:lnTo>
                  <a:close/>
                  <a:moveTo>
                    <a:pt x="721" y="601"/>
                  </a:moveTo>
                  <a:lnTo>
                    <a:pt x="716" y="601"/>
                  </a:lnTo>
                  <a:lnTo>
                    <a:pt x="709" y="600"/>
                  </a:lnTo>
                  <a:lnTo>
                    <a:pt x="704" y="599"/>
                  </a:lnTo>
                  <a:lnTo>
                    <a:pt x="697" y="597"/>
                  </a:lnTo>
                  <a:lnTo>
                    <a:pt x="693" y="594"/>
                  </a:lnTo>
                  <a:lnTo>
                    <a:pt x="688" y="591"/>
                  </a:lnTo>
                  <a:lnTo>
                    <a:pt x="683" y="587"/>
                  </a:lnTo>
                  <a:lnTo>
                    <a:pt x="679" y="584"/>
                  </a:lnTo>
                  <a:lnTo>
                    <a:pt x="675" y="580"/>
                  </a:lnTo>
                  <a:lnTo>
                    <a:pt x="672" y="575"/>
                  </a:lnTo>
                  <a:lnTo>
                    <a:pt x="668" y="570"/>
                  </a:lnTo>
                  <a:lnTo>
                    <a:pt x="666" y="565"/>
                  </a:lnTo>
                  <a:lnTo>
                    <a:pt x="664" y="560"/>
                  </a:lnTo>
                  <a:lnTo>
                    <a:pt x="662" y="553"/>
                  </a:lnTo>
                  <a:lnTo>
                    <a:pt x="661" y="548"/>
                  </a:lnTo>
                  <a:lnTo>
                    <a:pt x="661" y="541"/>
                  </a:lnTo>
                  <a:lnTo>
                    <a:pt x="661" y="535"/>
                  </a:lnTo>
                  <a:lnTo>
                    <a:pt x="662" y="530"/>
                  </a:lnTo>
                  <a:lnTo>
                    <a:pt x="664" y="523"/>
                  </a:lnTo>
                  <a:lnTo>
                    <a:pt x="666" y="518"/>
                  </a:lnTo>
                  <a:lnTo>
                    <a:pt x="668" y="512"/>
                  </a:lnTo>
                  <a:lnTo>
                    <a:pt x="672" y="508"/>
                  </a:lnTo>
                  <a:lnTo>
                    <a:pt x="675" y="503"/>
                  </a:lnTo>
                  <a:lnTo>
                    <a:pt x="679" y="499"/>
                  </a:lnTo>
                  <a:lnTo>
                    <a:pt x="683" y="495"/>
                  </a:lnTo>
                  <a:lnTo>
                    <a:pt x="688" y="491"/>
                  </a:lnTo>
                  <a:lnTo>
                    <a:pt x="693" y="489"/>
                  </a:lnTo>
                  <a:lnTo>
                    <a:pt x="697" y="486"/>
                  </a:lnTo>
                  <a:lnTo>
                    <a:pt x="704" y="484"/>
                  </a:lnTo>
                  <a:lnTo>
                    <a:pt x="709" y="482"/>
                  </a:lnTo>
                  <a:lnTo>
                    <a:pt x="716" y="481"/>
                  </a:lnTo>
                  <a:lnTo>
                    <a:pt x="721" y="481"/>
                  </a:lnTo>
                  <a:lnTo>
                    <a:pt x="727" y="481"/>
                  </a:lnTo>
                  <a:lnTo>
                    <a:pt x="734" y="482"/>
                  </a:lnTo>
                  <a:lnTo>
                    <a:pt x="739" y="484"/>
                  </a:lnTo>
                  <a:lnTo>
                    <a:pt x="745" y="486"/>
                  </a:lnTo>
                  <a:lnTo>
                    <a:pt x="750" y="489"/>
                  </a:lnTo>
                  <a:lnTo>
                    <a:pt x="755" y="491"/>
                  </a:lnTo>
                  <a:lnTo>
                    <a:pt x="760" y="495"/>
                  </a:lnTo>
                  <a:lnTo>
                    <a:pt x="764" y="499"/>
                  </a:lnTo>
                  <a:lnTo>
                    <a:pt x="768" y="503"/>
                  </a:lnTo>
                  <a:lnTo>
                    <a:pt x="771" y="508"/>
                  </a:lnTo>
                  <a:lnTo>
                    <a:pt x="775" y="512"/>
                  </a:lnTo>
                  <a:lnTo>
                    <a:pt x="777" y="518"/>
                  </a:lnTo>
                  <a:lnTo>
                    <a:pt x="779" y="523"/>
                  </a:lnTo>
                  <a:lnTo>
                    <a:pt x="780" y="530"/>
                  </a:lnTo>
                  <a:lnTo>
                    <a:pt x="781" y="535"/>
                  </a:lnTo>
                  <a:lnTo>
                    <a:pt x="781" y="541"/>
                  </a:lnTo>
                  <a:lnTo>
                    <a:pt x="781" y="548"/>
                  </a:lnTo>
                  <a:lnTo>
                    <a:pt x="780" y="553"/>
                  </a:lnTo>
                  <a:lnTo>
                    <a:pt x="779" y="560"/>
                  </a:lnTo>
                  <a:lnTo>
                    <a:pt x="777" y="565"/>
                  </a:lnTo>
                  <a:lnTo>
                    <a:pt x="775" y="570"/>
                  </a:lnTo>
                  <a:lnTo>
                    <a:pt x="771" y="575"/>
                  </a:lnTo>
                  <a:lnTo>
                    <a:pt x="768" y="580"/>
                  </a:lnTo>
                  <a:lnTo>
                    <a:pt x="764" y="584"/>
                  </a:lnTo>
                  <a:lnTo>
                    <a:pt x="760" y="587"/>
                  </a:lnTo>
                  <a:lnTo>
                    <a:pt x="755" y="591"/>
                  </a:lnTo>
                  <a:lnTo>
                    <a:pt x="750" y="594"/>
                  </a:lnTo>
                  <a:lnTo>
                    <a:pt x="745" y="597"/>
                  </a:lnTo>
                  <a:lnTo>
                    <a:pt x="739" y="599"/>
                  </a:lnTo>
                  <a:lnTo>
                    <a:pt x="734" y="600"/>
                  </a:lnTo>
                  <a:lnTo>
                    <a:pt x="727" y="601"/>
                  </a:lnTo>
                  <a:lnTo>
                    <a:pt x="721" y="601"/>
                  </a:lnTo>
                  <a:close/>
                  <a:moveTo>
                    <a:pt x="270" y="541"/>
                  </a:moveTo>
                  <a:lnTo>
                    <a:pt x="270" y="533"/>
                  </a:lnTo>
                  <a:lnTo>
                    <a:pt x="269" y="524"/>
                  </a:lnTo>
                  <a:lnTo>
                    <a:pt x="267" y="517"/>
                  </a:lnTo>
                  <a:lnTo>
                    <a:pt x="264" y="508"/>
                  </a:lnTo>
                  <a:lnTo>
                    <a:pt x="260" y="501"/>
                  </a:lnTo>
                  <a:lnTo>
                    <a:pt x="257" y="494"/>
                  </a:lnTo>
                  <a:lnTo>
                    <a:pt x="252" y="488"/>
                  </a:lnTo>
                  <a:lnTo>
                    <a:pt x="247" y="481"/>
                  </a:lnTo>
                  <a:lnTo>
                    <a:pt x="655" y="481"/>
                  </a:lnTo>
                  <a:lnTo>
                    <a:pt x="649" y="488"/>
                  </a:lnTo>
                  <a:lnTo>
                    <a:pt x="645" y="494"/>
                  </a:lnTo>
                  <a:lnTo>
                    <a:pt x="641" y="501"/>
                  </a:lnTo>
                  <a:lnTo>
                    <a:pt x="637" y="508"/>
                  </a:lnTo>
                  <a:lnTo>
                    <a:pt x="634" y="517"/>
                  </a:lnTo>
                  <a:lnTo>
                    <a:pt x="633" y="524"/>
                  </a:lnTo>
                  <a:lnTo>
                    <a:pt x="632" y="533"/>
                  </a:lnTo>
                  <a:lnTo>
                    <a:pt x="631" y="541"/>
                  </a:lnTo>
                  <a:lnTo>
                    <a:pt x="270" y="541"/>
                  </a:lnTo>
                  <a:close/>
                  <a:moveTo>
                    <a:pt x="180" y="601"/>
                  </a:moveTo>
                  <a:lnTo>
                    <a:pt x="174" y="601"/>
                  </a:lnTo>
                  <a:lnTo>
                    <a:pt x="168" y="600"/>
                  </a:lnTo>
                  <a:lnTo>
                    <a:pt x="162" y="599"/>
                  </a:lnTo>
                  <a:lnTo>
                    <a:pt x="156" y="597"/>
                  </a:lnTo>
                  <a:lnTo>
                    <a:pt x="151" y="594"/>
                  </a:lnTo>
                  <a:lnTo>
                    <a:pt x="147" y="591"/>
                  </a:lnTo>
                  <a:lnTo>
                    <a:pt x="141" y="587"/>
                  </a:lnTo>
                  <a:lnTo>
                    <a:pt x="137" y="584"/>
                  </a:lnTo>
                  <a:lnTo>
                    <a:pt x="134" y="580"/>
                  </a:lnTo>
                  <a:lnTo>
                    <a:pt x="131" y="575"/>
                  </a:lnTo>
                  <a:lnTo>
                    <a:pt x="128" y="570"/>
                  </a:lnTo>
                  <a:lnTo>
                    <a:pt x="124" y="565"/>
                  </a:lnTo>
                  <a:lnTo>
                    <a:pt x="122" y="560"/>
                  </a:lnTo>
                  <a:lnTo>
                    <a:pt x="121" y="553"/>
                  </a:lnTo>
                  <a:lnTo>
                    <a:pt x="120" y="548"/>
                  </a:lnTo>
                  <a:lnTo>
                    <a:pt x="120" y="541"/>
                  </a:lnTo>
                  <a:lnTo>
                    <a:pt x="120" y="535"/>
                  </a:lnTo>
                  <a:lnTo>
                    <a:pt x="121" y="530"/>
                  </a:lnTo>
                  <a:lnTo>
                    <a:pt x="122" y="523"/>
                  </a:lnTo>
                  <a:lnTo>
                    <a:pt x="124" y="518"/>
                  </a:lnTo>
                  <a:lnTo>
                    <a:pt x="128" y="512"/>
                  </a:lnTo>
                  <a:lnTo>
                    <a:pt x="131" y="508"/>
                  </a:lnTo>
                  <a:lnTo>
                    <a:pt x="134" y="503"/>
                  </a:lnTo>
                  <a:lnTo>
                    <a:pt x="137" y="499"/>
                  </a:lnTo>
                  <a:lnTo>
                    <a:pt x="141" y="495"/>
                  </a:lnTo>
                  <a:lnTo>
                    <a:pt x="147" y="491"/>
                  </a:lnTo>
                  <a:lnTo>
                    <a:pt x="151" y="489"/>
                  </a:lnTo>
                  <a:lnTo>
                    <a:pt x="156" y="486"/>
                  </a:lnTo>
                  <a:lnTo>
                    <a:pt x="162" y="484"/>
                  </a:lnTo>
                  <a:lnTo>
                    <a:pt x="168" y="482"/>
                  </a:lnTo>
                  <a:lnTo>
                    <a:pt x="174" y="481"/>
                  </a:lnTo>
                  <a:lnTo>
                    <a:pt x="180" y="481"/>
                  </a:lnTo>
                  <a:lnTo>
                    <a:pt x="186" y="481"/>
                  </a:lnTo>
                  <a:lnTo>
                    <a:pt x="192" y="482"/>
                  </a:lnTo>
                  <a:lnTo>
                    <a:pt x="198" y="484"/>
                  </a:lnTo>
                  <a:lnTo>
                    <a:pt x="204" y="486"/>
                  </a:lnTo>
                  <a:lnTo>
                    <a:pt x="209" y="489"/>
                  </a:lnTo>
                  <a:lnTo>
                    <a:pt x="213" y="491"/>
                  </a:lnTo>
                  <a:lnTo>
                    <a:pt x="219" y="495"/>
                  </a:lnTo>
                  <a:lnTo>
                    <a:pt x="223" y="499"/>
                  </a:lnTo>
                  <a:lnTo>
                    <a:pt x="226" y="503"/>
                  </a:lnTo>
                  <a:lnTo>
                    <a:pt x="230" y="508"/>
                  </a:lnTo>
                  <a:lnTo>
                    <a:pt x="232" y="512"/>
                  </a:lnTo>
                  <a:lnTo>
                    <a:pt x="236" y="518"/>
                  </a:lnTo>
                  <a:lnTo>
                    <a:pt x="238" y="523"/>
                  </a:lnTo>
                  <a:lnTo>
                    <a:pt x="239" y="530"/>
                  </a:lnTo>
                  <a:lnTo>
                    <a:pt x="240" y="535"/>
                  </a:lnTo>
                  <a:lnTo>
                    <a:pt x="240" y="541"/>
                  </a:lnTo>
                  <a:lnTo>
                    <a:pt x="240" y="548"/>
                  </a:lnTo>
                  <a:lnTo>
                    <a:pt x="239" y="553"/>
                  </a:lnTo>
                  <a:lnTo>
                    <a:pt x="238" y="560"/>
                  </a:lnTo>
                  <a:lnTo>
                    <a:pt x="236" y="565"/>
                  </a:lnTo>
                  <a:lnTo>
                    <a:pt x="232" y="570"/>
                  </a:lnTo>
                  <a:lnTo>
                    <a:pt x="230" y="575"/>
                  </a:lnTo>
                  <a:lnTo>
                    <a:pt x="226" y="580"/>
                  </a:lnTo>
                  <a:lnTo>
                    <a:pt x="223" y="584"/>
                  </a:lnTo>
                  <a:lnTo>
                    <a:pt x="219" y="587"/>
                  </a:lnTo>
                  <a:lnTo>
                    <a:pt x="213" y="591"/>
                  </a:lnTo>
                  <a:lnTo>
                    <a:pt x="209" y="594"/>
                  </a:lnTo>
                  <a:lnTo>
                    <a:pt x="204" y="597"/>
                  </a:lnTo>
                  <a:lnTo>
                    <a:pt x="198" y="599"/>
                  </a:lnTo>
                  <a:lnTo>
                    <a:pt x="192" y="600"/>
                  </a:lnTo>
                  <a:lnTo>
                    <a:pt x="186" y="601"/>
                  </a:lnTo>
                  <a:lnTo>
                    <a:pt x="180" y="601"/>
                  </a:lnTo>
                  <a:close/>
                  <a:moveTo>
                    <a:pt x="30" y="541"/>
                  </a:moveTo>
                  <a:lnTo>
                    <a:pt x="30" y="481"/>
                  </a:lnTo>
                  <a:lnTo>
                    <a:pt x="113" y="481"/>
                  </a:lnTo>
                  <a:lnTo>
                    <a:pt x="108" y="488"/>
                  </a:lnTo>
                  <a:lnTo>
                    <a:pt x="103" y="494"/>
                  </a:lnTo>
                  <a:lnTo>
                    <a:pt x="100" y="501"/>
                  </a:lnTo>
                  <a:lnTo>
                    <a:pt x="96" y="508"/>
                  </a:lnTo>
                  <a:lnTo>
                    <a:pt x="93" y="517"/>
                  </a:lnTo>
                  <a:lnTo>
                    <a:pt x="91" y="524"/>
                  </a:lnTo>
                  <a:lnTo>
                    <a:pt x="90" y="533"/>
                  </a:lnTo>
                  <a:lnTo>
                    <a:pt x="90" y="541"/>
                  </a:lnTo>
                  <a:lnTo>
                    <a:pt x="30" y="541"/>
                  </a:lnTo>
                  <a:close/>
                  <a:moveTo>
                    <a:pt x="115" y="267"/>
                  </a:moveTo>
                  <a:lnTo>
                    <a:pt x="117" y="265"/>
                  </a:lnTo>
                  <a:lnTo>
                    <a:pt x="118" y="264"/>
                  </a:lnTo>
                  <a:lnTo>
                    <a:pt x="204" y="120"/>
                  </a:lnTo>
                  <a:lnTo>
                    <a:pt x="361" y="120"/>
                  </a:lnTo>
                  <a:lnTo>
                    <a:pt x="361" y="451"/>
                  </a:lnTo>
                  <a:lnTo>
                    <a:pt x="30" y="451"/>
                  </a:lnTo>
                  <a:lnTo>
                    <a:pt x="30" y="338"/>
                  </a:lnTo>
                  <a:lnTo>
                    <a:pt x="115" y="267"/>
                  </a:lnTo>
                  <a:close/>
                  <a:moveTo>
                    <a:pt x="391" y="30"/>
                  </a:moveTo>
                  <a:lnTo>
                    <a:pt x="872" y="30"/>
                  </a:lnTo>
                  <a:lnTo>
                    <a:pt x="872" y="451"/>
                  </a:lnTo>
                  <a:lnTo>
                    <a:pt x="391" y="451"/>
                  </a:lnTo>
                  <a:lnTo>
                    <a:pt x="391" y="105"/>
                  </a:lnTo>
                  <a:lnTo>
                    <a:pt x="391" y="90"/>
                  </a:lnTo>
                  <a:lnTo>
                    <a:pt x="391" y="30"/>
                  </a:lnTo>
                  <a:close/>
                  <a:moveTo>
                    <a:pt x="887" y="0"/>
                  </a:moveTo>
                  <a:lnTo>
                    <a:pt x="376" y="0"/>
                  </a:lnTo>
                  <a:lnTo>
                    <a:pt x="373" y="0"/>
                  </a:lnTo>
                  <a:lnTo>
                    <a:pt x="370" y="1"/>
                  </a:lnTo>
                  <a:lnTo>
                    <a:pt x="367" y="3"/>
                  </a:lnTo>
                  <a:lnTo>
                    <a:pt x="365" y="5"/>
                  </a:lnTo>
                  <a:lnTo>
                    <a:pt x="363" y="7"/>
                  </a:lnTo>
                  <a:lnTo>
                    <a:pt x="362" y="9"/>
                  </a:lnTo>
                  <a:lnTo>
                    <a:pt x="361" y="12"/>
                  </a:lnTo>
                  <a:lnTo>
                    <a:pt x="360" y="15"/>
                  </a:lnTo>
                  <a:lnTo>
                    <a:pt x="361" y="90"/>
                  </a:lnTo>
                  <a:lnTo>
                    <a:pt x="195" y="90"/>
                  </a:lnTo>
                  <a:lnTo>
                    <a:pt x="192" y="90"/>
                  </a:lnTo>
                  <a:lnTo>
                    <a:pt x="187" y="93"/>
                  </a:lnTo>
                  <a:lnTo>
                    <a:pt x="184" y="95"/>
                  </a:lnTo>
                  <a:lnTo>
                    <a:pt x="182" y="98"/>
                  </a:lnTo>
                  <a:lnTo>
                    <a:pt x="93" y="246"/>
                  </a:lnTo>
                  <a:lnTo>
                    <a:pt x="5" y="320"/>
                  </a:lnTo>
                  <a:lnTo>
                    <a:pt x="3" y="322"/>
                  </a:lnTo>
                  <a:lnTo>
                    <a:pt x="1" y="324"/>
                  </a:lnTo>
                  <a:lnTo>
                    <a:pt x="0" y="327"/>
                  </a:lnTo>
                  <a:lnTo>
                    <a:pt x="0" y="330"/>
                  </a:lnTo>
                  <a:lnTo>
                    <a:pt x="0" y="556"/>
                  </a:lnTo>
                  <a:lnTo>
                    <a:pt x="0" y="560"/>
                  </a:lnTo>
                  <a:lnTo>
                    <a:pt x="1" y="562"/>
                  </a:lnTo>
                  <a:lnTo>
                    <a:pt x="2" y="565"/>
                  </a:lnTo>
                  <a:lnTo>
                    <a:pt x="4" y="567"/>
                  </a:lnTo>
                  <a:lnTo>
                    <a:pt x="6" y="569"/>
                  </a:lnTo>
                  <a:lnTo>
                    <a:pt x="9" y="570"/>
                  </a:lnTo>
                  <a:lnTo>
                    <a:pt x="12" y="571"/>
                  </a:lnTo>
                  <a:lnTo>
                    <a:pt x="15" y="571"/>
                  </a:lnTo>
                  <a:lnTo>
                    <a:pt x="95" y="571"/>
                  </a:lnTo>
                  <a:lnTo>
                    <a:pt x="101" y="584"/>
                  </a:lnTo>
                  <a:lnTo>
                    <a:pt x="108" y="596"/>
                  </a:lnTo>
                  <a:lnTo>
                    <a:pt x="117" y="606"/>
                  </a:lnTo>
                  <a:lnTo>
                    <a:pt x="128" y="614"/>
                  </a:lnTo>
                  <a:lnTo>
                    <a:pt x="139" y="622"/>
                  </a:lnTo>
                  <a:lnTo>
                    <a:pt x="152" y="627"/>
                  </a:lnTo>
                  <a:lnTo>
                    <a:pt x="159" y="629"/>
                  </a:lnTo>
                  <a:lnTo>
                    <a:pt x="166" y="630"/>
                  </a:lnTo>
                  <a:lnTo>
                    <a:pt x="172" y="631"/>
                  </a:lnTo>
                  <a:lnTo>
                    <a:pt x="180" y="631"/>
                  </a:lnTo>
                  <a:lnTo>
                    <a:pt x="187" y="631"/>
                  </a:lnTo>
                  <a:lnTo>
                    <a:pt x="195" y="630"/>
                  </a:lnTo>
                  <a:lnTo>
                    <a:pt x="201" y="629"/>
                  </a:lnTo>
                  <a:lnTo>
                    <a:pt x="208" y="627"/>
                  </a:lnTo>
                  <a:lnTo>
                    <a:pt x="221" y="622"/>
                  </a:lnTo>
                  <a:lnTo>
                    <a:pt x="232" y="614"/>
                  </a:lnTo>
                  <a:lnTo>
                    <a:pt x="243" y="606"/>
                  </a:lnTo>
                  <a:lnTo>
                    <a:pt x="252" y="596"/>
                  </a:lnTo>
                  <a:lnTo>
                    <a:pt x="259" y="584"/>
                  </a:lnTo>
                  <a:lnTo>
                    <a:pt x="265" y="571"/>
                  </a:lnTo>
                  <a:lnTo>
                    <a:pt x="636" y="571"/>
                  </a:lnTo>
                  <a:lnTo>
                    <a:pt x="642" y="584"/>
                  </a:lnTo>
                  <a:lnTo>
                    <a:pt x="649" y="596"/>
                  </a:lnTo>
                  <a:lnTo>
                    <a:pt x="659" y="606"/>
                  </a:lnTo>
                  <a:lnTo>
                    <a:pt x="668" y="614"/>
                  </a:lnTo>
                  <a:lnTo>
                    <a:pt x="680" y="622"/>
                  </a:lnTo>
                  <a:lnTo>
                    <a:pt x="693" y="627"/>
                  </a:lnTo>
                  <a:lnTo>
                    <a:pt x="700" y="629"/>
                  </a:lnTo>
                  <a:lnTo>
                    <a:pt x="707" y="630"/>
                  </a:lnTo>
                  <a:lnTo>
                    <a:pt x="715" y="631"/>
                  </a:lnTo>
                  <a:lnTo>
                    <a:pt x="721" y="631"/>
                  </a:lnTo>
                  <a:lnTo>
                    <a:pt x="728" y="631"/>
                  </a:lnTo>
                  <a:lnTo>
                    <a:pt x="736" y="630"/>
                  </a:lnTo>
                  <a:lnTo>
                    <a:pt x="742" y="629"/>
                  </a:lnTo>
                  <a:lnTo>
                    <a:pt x="750" y="627"/>
                  </a:lnTo>
                  <a:lnTo>
                    <a:pt x="762" y="622"/>
                  </a:lnTo>
                  <a:lnTo>
                    <a:pt x="773" y="614"/>
                  </a:lnTo>
                  <a:lnTo>
                    <a:pt x="784" y="606"/>
                  </a:lnTo>
                  <a:lnTo>
                    <a:pt x="793" y="596"/>
                  </a:lnTo>
                  <a:lnTo>
                    <a:pt x="800" y="584"/>
                  </a:lnTo>
                  <a:lnTo>
                    <a:pt x="807" y="571"/>
                  </a:lnTo>
                  <a:lnTo>
                    <a:pt x="887" y="571"/>
                  </a:lnTo>
                  <a:lnTo>
                    <a:pt x="890" y="571"/>
                  </a:lnTo>
                  <a:lnTo>
                    <a:pt x="892" y="570"/>
                  </a:lnTo>
                  <a:lnTo>
                    <a:pt x="896" y="569"/>
                  </a:lnTo>
                  <a:lnTo>
                    <a:pt x="898" y="567"/>
                  </a:lnTo>
                  <a:lnTo>
                    <a:pt x="899" y="565"/>
                  </a:lnTo>
                  <a:lnTo>
                    <a:pt x="901" y="562"/>
                  </a:lnTo>
                  <a:lnTo>
                    <a:pt x="901" y="560"/>
                  </a:lnTo>
                  <a:lnTo>
                    <a:pt x="902" y="556"/>
                  </a:lnTo>
                  <a:lnTo>
                    <a:pt x="902" y="15"/>
                  </a:lnTo>
                  <a:lnTo>
                    <a:pt x="901" y="12"/>
                  </a:lnTo>
                  <a:lnTo>
                    <a:pt x="901" y="9"/>
                  </a:lnTo>
                  <a:lnTo>
                    <a:pt x="899" y="7"/>
                  </a:lnTo>
                  <a:lnTo>
                    <a:pt x="898" y="5"/>
                  </a:lnTo>
                  <a:lnTo>
                    <a:pt x="896" y="3"/>
                  </a:lnTo>
                  <a:lnTo>
                    <a:pt x="892" y="1"/>
                  </a:lnTo>
                  <a:lnTo>
                    <a:pt x="890" y="0"/>
                  </a:lnTo>
                  <a:lnTo>
                    <a:pt x="887" y="0"/>
                  </a:lnTo>
                  <a:lnTo>
                    <a:pt x="887" y="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322" name="Freeform 107"/>
            <p:cNvSpPr>
              <a:spLocks/>
            </p:cNvSpPr>
            <p:nvPr/>
          </p:nvSpPr>
          <p:spPr bwMode="auto">
            <a:xfrm>
              <a:off x="8216900" y="2632075"/>
              <a:ext cx="38100" cy="47625"/>
            </a:xfrm>
            <a:custGeom>
              <a:avLst/>
              <a:gdLst>
                <a:gd name="T0" fmla="*/ 9 w 120"/>
                <a:gd name="T1" fmla="*/ 149 h 150"/>
                <a:gd name="T2" fmla="*/ 12 w 120"/>
                <a:gd name="T3" fmla="*/ 150 h 150"/>
                <a:gd name="T4" fmla="*/ 15 w 120"/>
                <a:gd name="T5" fmla="*/ 150 h 150"/>
                <a:gd name="T6" fmla="*/ 19 w 120"/>
                <a:gd name="T7" fmla="*/ 150 h 150"/>
                <a:gd name="T8" fmla="*/ 22 w 120"/>
                <a:gd name="T9" fmla="*/ 148 h 150"/>
                <a:gd name="T10" fmla="*/ 26 w 120"/>
                <a:gd name="T11" fmla="*/ 146 h 150"/>
                <a:gd name="T12" fmla="*/ 29 w 120"/>
                <a:gd name="T13" fmla="*/ 143 h 150"/>
                <a:gd name="T14" fmla="*/ 85 w 120"/>
                <a:gd name="T15" fmla="*/ 30 h 150"/>
                <a:gd name="T16" fmla="*/ 105 w 120"/>
                <a:gd name="T17" fmla="*/ 30 h 150"/>
                <a:gd name="T18" fmla="*/ 108 w 120"/>
                <a:gd name="T19" fmla="*/ 30 h 150"/>
                <a:gd name="T20" fmla="*/ 111 w 120"/>
                <a:gd name="T21" fmla="*/ 29 h 150"/>
                <a:gd name="T22" fmla="*/ 114 w 120"/>
                <a:gd name="T23" fmla="*/ 28 h 150"/>
                <a:gd name="T24" fmla="*/ 116 w 120"/>
                <a:gd name="T25" fmla="*/ 26 h 150"/>
                <a:gd name="T26" fmla="*/ 118 w 120"/>
                <a:gd name="T27" fmla="*/ 24 h 150"/>
                <a:gd name="T28" fmla="*/ 119 w 120"/>
                <a:gd name="T29" fmla="*/ 22 h 150"/>
                <a:gd name="T30" fmla="*/ 120 w 120"/>
                <a:gd name="T31" fmla="*/ 19 h 150"/>
                <a:gd name="T32" fmla="*/ 120 w 120"/>
                <a:gd name="T33" fmla="*/ 15 h 150"/>
                <a:gd name="T34" fmla="*/ 120 w 120"/>
                <a:gd name="T35" fmla="*/ 12 h 150"/>
                <a:gd name="T36" fmla="*/ 119 w 120"/>
                <a:gd name="T37" fmla="*/ 10 h 150"/>
                <a:gd name="T38" fmla="*/ 118 w 120"/>
                <a:gd name="T39" fmla="*/ 7 h 150"/>
                <a:gd name="T40" fmla="*/ 116 w 120"/>
                <a:gd name="T41" fmla="*/ 5 h 150"/>
                <a:gd name="T42" fmla="*/ 114 w 120"/>
                <a:gd name="T43" fmla="*/ 3 h 150"/>
                <a:gd name="T44" fmla="*/ 111 w 120"/>
                <a:gd name="T45" fmla="*/ 1 h 150"/>
                <a:gd name="T46" fmla="*/ 108 w 120"/>
                <a:gd name="T47" fmla="*/ 0 h 150"/>
                <a:gd name="T48" fmla="*/ 105 w 120"/>
                <a:gd name="T49" fmla="*/ 0 h 150"/>
                <a:gd name="T50" fmla="*/ 75 w 120"/>
                <a:gd name="T51" fmla="*/ 0 h 150"/>
                <a:gd name="T52" fmla="*/ 71 w 120"/>
                <a:gd name="T53" fmla="*/ 1 h 150"/>
                <a:gd name="T54" fmla="*/ 67 w 120"/>
                <a:gd name="T55" fmla="*/ 3 h 150"/>
                <a:gd name="T56" fmla="*/ 64 w 120"/>
                <a:gd name="T57" fmla="*/ 6 h 150"/>
                <a:gd name="T58" fmla="*/ 62 w 120"/>
                <a:gd name="T59" fmla="*/ 9 h 150"/>
                <a:gd name="T60" fmla="*/ 1 w 120"/>
                <a:gd name="T61" fmla="*/ 129 h 150"/>
                <a:gd name="T62" fmla="*/ 0 w 120"/>
                <a:gd name="T63" fmla="*/ 132 h 150"/>
                <a:gd name="T64" fmla="*/ 0 w 120"/>
                <a:gd name="T65" fmla="*/ 134 h 150"/>
                <a:gd name="T66" fmla="*/ 0 w 120"/>
                <a:gd name="T67" fmla="*/ 137 h 150"/>
                <a:gd name="T68" fmla="*/ 1 w 120"/>
                <a:gd name="T69" fmla="*/ 141 h 150"/>
                <a:gd name="T70" fmla="*/ 2 w 120"/>
                <a:gd name="T71" fmla="*/ 143 h 150"/>
                <a:gd name="T72" fmla="*/ 3 w 120"/>
                <a:gd name="T73" fmla="*/ 145 h 150"/>
                <a:gd name="T74" fmla="*/ 5 w 120"/>
                <a:gd name="T75" fmla="*/ 147 h 150"/>
                <a:gd name="T76" fmla="*/ 9 w 120"/>
                <a:gd name="T77" fmla="*/ 14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0" h="150">
                  <a:moveTo>
                    <a:pt x="9" y="149"/>
                  </a:moveTo>
                  <a:lnTo>
                    <a:pt x="12" y="150"/>
                  </a:lnTo>
                  <a:lnTo>
                    <a:pt x="15" y="150"/>
                  </a:lnTo>
                  <a:lnTo>
                    <a:pt x="19" y="150"/>
                  </a:lnTo>
                  <a:lnTo>
                    <a:pt x="22" y="148"/>
                  </a:lnTo>
                  <a:lnTo>
                    <a:pt x="26" y="146"/>
                  </a:lnTo>
                  <a:lnTo>
                    <a:pt x="29" y="143"/>
                  </a:lnTo>
                  <a:lnTo>
                    <a:pt x="85" y="30"/>
                  </a:lnTo>
                  <a:lnTo>
                    <a:pt x="105" y="30"/>
                  </a:lnTo>
                  <a:lnTo>
                    <a:pt x="108" y="30"/>
                  </a:lnTo>
                  <a:lnTo>
                    <a:pt x="111" y="29"/>
                  </a:lnTo>
                  <a:lnTo>
                    <a:pt x="114" y="28"/>
                  </a:lnTo>
                  <a:lnTo>
                    <a:pt x="116" y="26"/>
                  </a:lnTo>
                  <a:lnTo>
                    <a:pt x="118" y="24"/>
                  </a:lnTo>
                  <a:lnTo>
                    <a:pt x="119" y="22"/>
                  </a:lnTo>
                  <a:lnTo>
                    <a:pt x="120" y="19"/>
                  </a:lnTo>
                  <a:lnTo>
                    <a:pt x="120" y="15"/>
                  </a:lnTo>
                  <a:lnTo>
                    <a:pt x="120" y="12"/>
                  </a:lnTo>
                  <a:lnTo>
                    <a:pt x="119" y="10"/>
                  </a:lnTo>
                  <a:lnTo>
                    <a:pt x="118" y="7"/>
                  </a:lnTo>
                  <a:lnTo>
                    <a:pt x="116" y="5"/>
                  </a:lnTo>
                  <a:lnTo>
                    <a:pt x="114" y="3"/>
                  </a:lnTo>
                  <a:lnTo>
                    <a:pt x="111" y="1"/>
                  </a:lnTo>
                  <a:lnTo>
                    <a:pt x="108" y="0"/>
                  </a:lnTo>
                  <a:lnTo>
                    <a:pt x="105" y="0"/>
                  </a:lnTo>
                  <a:lnTo>
                    <a:pt x="75" y="0"/>
                  </a:lnTo>
                  <a:lnTo>
                    <a:pt x="71" y="1"/>
                  </a:lnTo>
                  <a:lnTo>
                    <a:pt x="67" y="3"/>
                  </a:lnTo>
                  <a:lnTo>
                    <a:pt x="64" y="6"/>
                  </a:lnTo>
                  <a:lnTo>
                    <a:pt x="62" y="9"/>
                  </a:lnTo>
                  <a:lnTo>
                    <a:pt x="1" y="129"/>
                  </a:lnTo>
                  <a:lnTo>
                    <a:pt x="0" y="132"/>
                  </a:lnTo>
                  <a:lnTo>
                    <a:pt x="0" y="134"/>
                  </a:lnTo>
                  <a:lnTo>
                    <a:pt x="0" y="137"/>
                  </a:lnTo>
                  <a:lnTo>
                    <a:pt x="1" y="141"/>
                  </a:lnTo>
                  <a:lnTo>
                    <a:pt x="2" y="143"/>
                  </a:lnTo>
                  <a:lnTo>
                    <a:pt x="3" y="145"/>
                  </a:lnTo>
                  <a:lnTo>
                    <a:pt x="5" y="147"/>
                  </a:lnTo>
                  <a:lnTo>
                    <a:pt x="9" y="149"/>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sp>
        <p:nvSpPr>
          <p:cNvPr id="3" name="Title 2">
            <a:extLst>
              <a:ext uri="{FF2B5EF4-FFF2-40B4-BE49-F238E27FC236}">
                <a16:creationId xmlns:a16="http://schemas.microsoft.com/office/drawing/2014/main" id="{2EF8FA2A-72A6-2F41-B1DC-1844DFB903DA}"/>
              </a:ext>
            </a:extLst>
          </p:cNvPr>
          <p:cNvSpPr>
            <a:spLocks noGrp="1"/>
          </p:cNvSpPr>
          <p:nvPr>
            <p:ph type="title"/>
          </p:nvPr>
        </p:nvSpPr>
        <p:spPr/>
        <p:txBody>
          <a:bodyPr/>
          <a:lstStyle/>
          <a:p>
            <a:r>
              <a:rPr lang="en-US" dirty="0"/>
              <a:t>Diagram</a:t>
            </a:r>
          </a:p>
        </p:txBody>
      </p:sp>
    </p:spTree>
    <p:extLst>
      <p:ext uri="{BB962C8B-B14F-4D97-AF65-F5344CB8AC3E}">
        <p14:creationId xmlns:p14="http://schemas.microsoft.com/office/powerpoint/2010/main" val="34005809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 name="Oval 261"/>
          <p:cNvSpPr/>
          <p:nvPr/>
        </p:nvSpPr>
        <p:spPr>
          <a:xfrm>
            <a:off x="12864698" y="3786338"/>
            <a:ext cx="8282417" cy="8282417"/>
          </a:xfrm>
          <a:prstGeom prst="ellipse">
            <a:avLst/>
          </a:prstGeom>
          <a:solidFill>
            <a:schemeClr val="bg1"/>
          </a:solidFill>
          <a:ln w="57150">
            <a:solidFill>
              <a:schemeClr val="accent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709">
              <a:defRPr/>
            </a:pPr>
            <a:endParaRPr lang="en-US" sz="3600">
              <a:solidFill>
                <a:prstClr val="white"/>
              </a:solidFill>
              <a:latin typeface="Calibri"/>
            </a:endParaRPr>
          </a:p>
        </p:txBody>
      </p:sp>
      <p:sp>
        <p:nvSpPr>
          <p:cNvPr id="263" name="Oval 262"/>
          <p:cNvSpPr/>
          <p:nvPr/>
        </p:nvSpPr>
        <p:spPr>
          <a:xfrm>
            <a:off x="13583421" y="4505060"/>
            <a:ext cx="6844972" cy="6844972"/>
          </a:xfrm>
          <a:prstGeom prst="ellipse">
            <a:avLst/>
          </a:prstGeom>
          <a:solidFill>
            <a:schemeClr val="bg1"/>
          </a:solidFill>
          <a:ln>
            <a:noFill/>
          </a:ln>
          <a:effectLst>
            <a:outerShdw blurRad="63500" sx="102000" sy="102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709">
              <a:defRPr/>
            </a:pPr>
            <a:endParaRPr lang="en-US" sz="3600">
              <a:solidFill>
                <a:prstClr val="white"/>
              </a:solidFill>
              <a:latin typeface="Calibri"/>
            </a:endParaRPr>
          </a:p>
        </p:txBody>
      </p:sp>
      <p:sp>
        <p:nvSpPr>
          <p:cNvPr id="268" name="Freeform 114"/>
          <p:cNvSpPr>
            <a:spLocks/>
          </p:cNvSpPr>
          <p:nvPr/>
        </p:nvSpPr>
        <p:spPr bwMode="auto">
          <a:xfrm>
            <a:off x="14004833" y="6614812"/>
            <a:ext cx="3250234" cy="4332406"/>
          </a:xfrm>
          <a:custGeom>
            <a:avLst/>
            <a:gdLst>
              <a:gd name="T0" fmla="*/ 358 w 369"/>
              <a:gd name="T1" fmla="*/ 321 h 492"/>
              <a:gd name="T2" fmla="*/ 358 w 369"/>
              <a:gd name="T3" fmla="*/ 321 h 492"/>
              <a:gd name="T4" fmla="*/ 344 w 369"/>
              <a:gd name="T5" fmla="*/ 322 h 492"/>
              <a:gd name="T6" fmla="*/ 171 w 369"/>
              <a:gd name="T7" fmla="*/ 150 h 492"/>
              <a:gd name="T8" fmla="*/ 189 w 369"/>
              <a:gd name="T9" fmla="*/ 73 h 492"/>
              <a:gd name="T10" fmla="*/ 189 w 369"/>
              <a:gd name="T11" fmla="*/ 73 h 492"/>
              <a:gd name="T12" fmla="*/ 126 w 369"/>
              <a:gd name="T13" fmla="*/ 7 h 492"/>
              <a:gd name="T14" fmla="*/ 35 w 369"/>
              <a:gd name="T15" fmla="*/ 0 h 492"/>
              <a:gd name="T16" fmla="*/ 0 w 369"/>
              <a:gd name="T17" fmla="*/ 150 h 492"/>
              <a:gd name="T18" fmla="*/ 344 w 369"/>
              <a:gd name="T19" fmla="*/ 492 h 492"/>
              <a:gd name="T20" fmla="*/ 369 w 369"/>
              <a:gd name="T21" fmla="*/ 491 h 492"/>
              <a:gd name="T22" fmla="*/ 331 w 369"/>
              <a:gd name="T23" fmla="*/ 410 h 492"/>
              <a:gd name="T24" fmla="*/ 358 w 369"/>
              <a:gd name="T25" fmla="*/ 321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492">
                <a:moveTo>
                  <a:pt x="358" y="321"/>
                </a:moveTo>
                <a:cubicBezTo>
                  <a:pt x="358" y="321"/>
                  <a:pt x="358" y="321"/>
                  <a:pt x="358" y="321"/>
                </a:cubicBezTo>
                <a:cubicBezTo>
                  <a:pt x="353" y="321"/>
                  <a:pt x="348" y="322"/>
                  <a:pt x="344" y="322"/>
                </a:cubicBezTo>
                <a:cubicBezTo>
                  <a:pt x="248" y="322"/>
                  <a:pt x="171" y="245"/>
                  <a:pt x="171" y="150"/>
                </a:cubicBezTo>
                <a:cubicBezTo>
                  <a:pt x="171" y="122"/>
                  <a:pt x="177" y="96"/>
                  <a:pt x="189" y="73"/>
                </a:cubicBezTo>
                <a:cubicBezTo>
                  <a:pt x="189" y="73"/>
                  <a:pt x="189" y="73"/>
                  <a:pt x="189" y="73"/>
                </a:cubicBezTo>
                <a:cubicBezTo>
                  <a:pt x="126" y="7"/>
                  <a:pt x="126" y="7"/>
                  <a:pt x="126" y="7"/>
                </a:cubicBezTo>
                <a:cubicBezTo>
                  <a:pt x="35" y="0"/>
                  <a:pt x="35" y="0"/>
                  <a:pt x="35" y="0"/>
                </a:cubicBezTo>
                <a:cubicBezTo>
                  <a:pt x="13" y="46"/>
                  <a:pt x="0" y="96"/>
                  <a:pt x="0" y="150"/>
                </a:cubicBezTo>
                <a:cubicBezTo>
                  <a:pt x="0" y="339"/>
                  <a:pt x="154" y="492"/>
                  <a:pt x="344" y="492"/>
                </a:cubicBezTo>
                <a:cubicBezTo>
                  <a:pt x="352" y="492"/>
                  <a:pt x="361" y="491"/>
                  <a:pt x="369" y="491"/>
                </a:cubicBezTo>
                <a:cubicBezTo>
                  <a:pt x="331" y="410"/>
                  <a:pt x="331" y="410"/>
                  <a:pt x="331" y="410"/>
                </a:cubicBezTo>
                <a:lnTo>
                  <a:pt x="358" y="321"/>
                </a:lnTo>
                <a:close/>
              </a:path>
            </a:pathLst>
          </a:custGeom>
          <a:solidFill>
            <a:schemeClr val="tx2"/>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269" name="Freeform 115"/>
          <p:cNvSpPr>
            <a:spLocks/>
          </p:cNvSpPr>
          <p:nvPr/>
        </p:nvSpPr>
        <p:spPr bwMode="auto">
          <a:xfrm>
            <a:off x="16920375" y="6228058"/>
            <a:ext cx="3134950" cy="4711723"/>
          </a:xfrm>
          <a:custGeom>
            <a:avLst/>
            <a:gdLst>
              <a:gd name="T0" fmla="*/ 356 w 356"/>
              <a:gd name="T1" fmla="*/ 194 h 535"/>
              <a:gd name="T2" fmla="*/ 295 w 356"/>
              <a:gd name="T3" fmla="*/ 0 h 535"/>
              <a:gd name="T4" fmla="*/ 246 w 356"/>
              <a:gd name="T5" fmla="*/ 74 h 535"/>
              <a:gd name="T6" fmla="*/ 154 w 356"/>
              <a:gd name="T7" fmla="*/ 96 h 535"/>
              <a:gd name="T8" fmla="*/ 154 w 356"/>
              <a:gd name="T9" fmla="*/ 96 h 535"/>
              <a:gd name="T10" fmla="*/ 186 w 356"/>
              <a:gd name="T11" fmla="*/ 194 h 535"/>
              <a:gd name="T12" fmla="*/ 27 w 356"/>
              <a:gd name="T13" fmla="*/ 365 h 535"/>
              <a:gd name="T14" fmla="*/ 27 w 356"/>
              <a:gd name="T15" fmla="*/ 365 h 535"/>
              <a:gd name="T16" fmla="*/ 0 w 356"/>
              <a:gd name="T17" fmla="*/ 454 h 535"/>
              <a:gd name="T18" fmla="*/ 38 w 356"/>
              <a:gd name="T19" fmla="*/ 535 h 535"/>
              <a:gd name="T20" fmla="*/ 356 w 356"/>
              <a:gd name="T21" fmla="*/ 194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 h="535">
                <a:moveTo>
                  <a:pt x="356" y="194"/>
                </a:moveTo>
                <a:cubicBezTo>
                  <a:pt x="356" y="122"/>
                  <a:pt x="333" y="55"/>
                  <a:pt x="295" y="0"/>
                </a:cubicBezTo>
                <a:cubicBezTo>
                  <a:pt x="246" y="74"/>
                  <a:pt x="246" y="74"/>
                  <a:pt x="246" y="74"/>
                </a:cubicBezTo>
                <a:cubicBezTo>
                  <a:pt x="154" y="96"/>
                  <a:pt x="154" y="96"/>
                  <a:pt x="154" y="96"/>
                </a:cubicBezTo>
                <a:cubicBezTo>
                  <a:pt x="154" y="96"/>
                  <a:pt x="154" y="96"/>
                  <a:pt x="154" y="96"/>
                </a:cubicBezTo>
                <a:cubicBezTo>
                  <a:pt x="174" y="123"/>
                  <a:pt x="186" y="157"/>
                  <a:pt x="186" y="194"/>
                </a:cubicBezTo>
                <a:cubicBezTo>
                  <a:pt x="186" y="284"/>
                  <a:pt x="116" y="358"/>
                  <a:pt x="27" y="365"/>
                </a:cubicBezTo>
                <a:cubicBezTo>
                  <a:pt x="27" y="365"/>
                  <a:pt x="27" y="365"/>
                  <a:pt x="27" y="365"/>
                </a:cubicBezTo>
                <a:cubicBezTo>
                  <a:pt x="0" y="454"/>
                  <a:pt x="0" y="454"/>
                  <a:pt x="0" y="454"/>
                </a:cubicBezTo>
                <a:cubicBezTo>
                  <a:pt x="38" y="535"/>
                  <a:pt x="38" y="535"/>
                  <a:pt x="38" y="535"/>
                </a:cubicBezTo>
                <a:cubicBezTo>
                  <a:pt x="215" y="522"/>
                  <a:pt x="356" y="374"/>
                  <a:pt x="356" y="194"/>
                </a:cubicBezTo>
                <a:close/>
              </a:path>
            </a:pathLst>
          </a:custGeom>
          <a:solidFill>
            <a:schemeClr val="accent1"/>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grpSp>
        <p:nvGrpSpPr>
          <p:cNvPr id="270" name="Group 269"/>
          <p:cNvGrpSpPr/>
          <p:nvPr/>
        </p:nvGrpSpPr>
        <p:grpSpPr>
          <a:xfrm>
            <a:off x="18073204" y="7749047"/>
            <a:ext cx="3848959" cy="3822929"/>
            <a:chOff x="12573000" y="3162300"/>
            <a:chExt cx="1643062" cy="1631950"/>
          </a:xfrm>
          <a:solidFill>
            <a:schemeClr val="accent1"/>
          </a:solidFill>
        </p:grpSpPr>
        <p:sp>
          <p:nvSpPr>
            <p:cNvPr id="304" name="Oval 109"/>
            <p:cNvSpPr>
              <a:spLocks noChangeArrowheads="1"/>
            </p:cNvSpPr>
            <p:nvPr/>
          </p:nvSpPr>
          <p:spPr bwMode="auto">
            <a:xfrm>
              <a:off x="12573000" y="3162300"/>
              <a:ext cx="1643062" cy="1631950"/>
            </a:xfrm>
            <a:prstGeom prst="ellipse">
              <a:avLst/>
            </a:prstGeom>
            <a:grpFill/>
            <a:ln w="14288" cap="flat">
              <a:noFill/>
              <a:prstDash val="solid"/>
              <a:miter lim="800000"/>
              <a:headEnd/>
              <a:tailEnd/>
            </a:ln>
            <a:effectLst>
              <a:outerShdw blurRad="50800" dist="38100" dir="13500000" algn="br"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305" name="Oval 110"/>
            <p:cNvSpPr>
              <a:spLocks noChangeArrowheads="1"/>
            </p:cNvSpPr>
            <p:nvPr/>
          </p:nvSpPr>
          <p:spPr bwMode="auto">
            <a:xfrm>
              <a:off x="12754553" y="3338946"/>
              <a:ext cx="1281545" cy="1278659"/>
            </a:xfrm>
            <a:prstGeom prst="ellipse">
              <a:avLst/>
            </a:prstGeom>
            <a:solidFill>
              <a:schemeClr val="bg1"/>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dirty="0">
                <a:solidFill>
                  <a:prstClr val="black"/>
                </a:solidFill>
                <a:latin typeface="Calibri"/>
              </a:endParaRPr>
            </a:p>
          </p:txBody>
        </p:sp>
      </p:grpSp>
      <p:sp>
        <p:nvSpPr>
          <p:cNvPr id="271" name="Freeform 113"/>
          <p:cNvSpPr>
            <a:spLocks/>
          </p:cNvSpPr>
          <p:nvPr/>
        </p:nvSpPr>
        <p:spPr bwMode="auto">
          <a:xfrm>
            <a:off x="14313494" y="4930195"/>
            <a:ext cx="5206325" cy="2327970"/>
          </a:xfrm>
          <a:custGeom>
            <a:avLst/>
            <a:gdLst>
              <a:gd name="T0" fmla="*/ 154 w 591"/>
              <a:gd name="T1" fmla="*/ 264 h 264"/>
              <a:gd name="T2" fmla="*/ 154 w 591"/>
              <a:gd name="T3" fmla="*/ 264 h 264"/>
              <a:gd name="T4" fmla="*/ 309 w 591"/>
              <a:gd name="T5" fmla="*/ 170 h 264"/>
              <a:gd name="T6" fmla="*/ 450 w 591"/>
              <a:gd name="T7" fmla="*/ 243 h 264"/>
              <a:gd name="T8" fmla="*/ 450 w 591"/>
              <a:gd name="T9" fmla="*/ 243 h 264"/>
              <a:gd name="T10" fmla="*/ 542 w 591"/>
              <a:gd name="T11" fmla="*/ 221 h 264"/>
              <a:gd name="T12" fmla="*/ 591 w 591"/>
              <a:gd name="T13" fmla="*/ 147 h 264"/>
              <a:gd name="T14" fmla="*/ 309 w 591"/>
              <a:gd name="T15" fmla="*/ 0 h 264"/>
              <a:gd name="T16" fmla="*/ 0 w 591"/>
              <a:gd name="T17" fmla="*/ 191 h 264"/>
              <a:gd name="T18" fmla="*/ 91 w 591"/>
              <a:gd name="T19" fmla="*/ 198 h 264"/>
              <a:gd name="T20" fmla="*/ 154 w 591"/>
              <a:gd name="T21"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264">
                <a:moveTo>
                  <a:pt x="154" y="264"/>
                </a:moveTo>
                <a:cubicBezTo>
                  <a:pt x="154" y="264"/>
                  <a:pt x="154" y="264"/>
                  <a:pt x="154" y="264"/>
                </a:cubicBezTo>
                <a:cubicBezTo>
                  <a:pt x="183" y="208"/>
                  <a:pt x="241" y="170"/>
                  <a:pt x="309" y="170"/>
                </a:cubicBezTo>
                <a:cubicBezTo>
                  <a:pt x="367" y="170"/>
                  <a:pt x="419" y="199"/>
                  <a:pt x="450" y="243"/>
                </a:cubicBezTo>
                <a:cubicBezTo>
                  <a:pt x="450" y="243"/>
                  <a:pt x="450" y="243"/>
                  <a:pt x="450" y="243"/>
                </a:cubicBezTo>
                <a:cubicBezTo>
                  <a:pt x="542" y="221"/>
                  <a:pt x="542" y="221"/>
                  <a:pt x="542" y="221"/>
                </a:cubicBezTo>
                <a:cubicBezTo>
                  <a:pt x="591" y="147"/>
                  <a:pt x="591" y="147"/>
                  <a:pt x="591" y="147"/>
                </a:cubicBezTo>
                <a:cubicBezTo>
                  <a:pt x="529" y="58"/>
                  <a:pt x="425" y="0"/>
                  <a:pt x="309" y="0"/>
                </a:cubicBezTo>
                <a:cubicBezTo>
                  <a:pt x="173" y="0"/>
                  <a:pt x="56" y="78"/>
                  <a:pt x="0" y="191"/>
                </a:cubicBezTo>
                <a:cubicBezTo>
                  <a:pt x="91" y="198"/>
                  <a:pt x="91" y="198"/>
                  <a:pt x="91" y="198"/>
                </a:cubicBezTo>
                <a:lnTo>
                  <a:pt x="154" y="264"/>
                </a:lnTo>
                <a:close/>
              </a:path>
            </a:pathLst>
          </a:custGeom>
          <a:solidFill>
            <a:schemeClr val="accent2"/>
          </a:solidFill>
          <a:ln w="14288" cap="flat">
            <a:noFill/>
            <a:prstDash val="solid"/>
            <a:miter lim="800000"/>
            <a:headEnd/>
            <a:tailEnd/>
          </a:ln>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272" name="Oval 111"/>
          <p:cNvSpPr>
            <a:spLocks noChangeArrowheads="1"/>
          </p:cNvSpPr>
          <p:nvPr/>
        </p:nvSpPr>
        <p:spPr bwMode="auto">
          <a:xfrm>
            <a:off x="15113037" y="2598505"/>
            <a:ext cx="3822929" cy="3830367"/>
          </a:xfrm>
          <a:prstGeom prst="ellipse">
            <a:avLst/>
          </a:prstGeom>
          <a:solidFill>
            <a:schemeClr val="accent2"/>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273" name="Oval 107"/>
          <p:cNvSpPr>
            <a:spLocks noChangeArrowheads="1"/>
          </p:cNvSpPr>
          <p:nvPr/>
        </p:nvSpPr>
        <p:spPr bwMode="auto">
          <a:xfrm>
            <a:off x="12171463" y="7749047"/>
            <a:ext cx="3841522" cy="3822929"/>
          </a:xfrm>
          <a:prstGeom prst="ellipse">
            <a:avLst/>
          </a:prstGeom>
          <a:solidFill>
            <a:schemeClr val="tx2"/>
          </a:solidFill>
          <a:ln w="14288" cap="flat">
            <a:noFill/>
            <a:prstDash val="solid"/>
            <a:miter lim="800000"/>
            <a:headEnd/>
            <a:tailEnd/>
          </a:ln>
          <a:effectLst>
            <a:outerShdw blurRad="50800" dist="38100" dir="18900000" algn="bl"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274" name="Oval 108"/>
          <p:cNvSpPr>
            <a:spLocks noChangeArrowheads="1"/>
          </p:cNvSpPr>
          <p:nvPr/>
        </p:nvSpPr>
        <p:spPr bwMode="auto">
          <a:xfrm>
            <a:off x="12586109" y="8162850"/>
            <a:ext cx="3012230" cy="2995327"/>
          </a:xfrm>
          <a:prstGeom prst="ellipse">
            <a:avLst/>
          </a:prstGeom>
          <a:solidFill>
            <a:schemeClr val="bg1"/>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295" name="TextBox 294"/>
          <p:cNvSpPr txBox="1"/>
          <p:nvPr/>
        </p:nvSpPr>
        <p:spPr>
          <a:xfrm>
            <a:off x="13270178" y="9940251"/>
            <a:ext cx="1644093" cy="369332"/>
          </a:xfrm>
          <a:prstGeom prst="rect">
            <a:avLst/>
          </a:prstGeom>
          <a:noFill/>
          <a:ln w="6350">
            <a:noFill/>
            <a:prstDash val="dash"/>
          </a:ln>
        </p:spPr>
        <p:txBody>
          <a:bodyPr wrap="square" lIns="0" tIns="0" rIns="0" bIns="0" rtlCol="0">
            <a:spAutoFit/>
          </a:bodyPr>
          <a:lstStyle/>
          <a:p>
            <a:pPr algn="ctr" defTabSz="1828709">
              <a:defRPr/>
            </a:pPr>
            <a:r>
              <a:rPr lang="en-US" sz="2400" b="1" dirty="0">
                <a:solidFill>
                  <a:schemeClr val="tx2"/>
                </a:solidFill>
              </a:rPr>
              <a:t>SUPPLIER</a:t>
            </a:r>
          </a:p>
        </p:txBody>
      </p:sp>
      <p:grpSp>
        <p:nvGrpSpPr>
          <p:cNvPr id="296" name="Group 295"/>
          <p:cNvGrpSpPr>
            <a:grpSpLocks noChangeAspect="1"/>
          </p:cNvGrpSpPr>
          <p:nvPr/>
        </p:nvGrpSpPr>
        <p:grpSpPr>
          <a:xfrm>
            <a:off x="13769676" y="8948181"/>
            <a:ext cx="645100" cy="843319"/>
            <a:chOff x="3359150" y="3986213"/>
            <a:chExt cx="284162" cy="371476"/>
          </a:xfrm>
          <a:solidFill>
            <a:schemeClr val="tx2"/>
          </a:solidFill>
        </p:grpSpPr>
        <p:sp>
          <p:nvSpPr>
            <p:cNvPr id="297" name="Freeform 121"/>
            <p:cNvSpPr>
              <a:spLocks noEditPoints="1"/>
            </p:cNvSpPr>
            <p:nvPr/>
          </p:nvSpPr>
          <p:spPr bwMode="auto">
            <a:xfrm>
              <a:off x="3359150" y="4249738"/>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298" name="Freeform 122"/>
            <p:cNvSpPr>
              <a:spLocks/>
            </p:cNvSpPr>
            <p:nvPr/>
          </p:nvSpPr>
          <p:spPr bwMode="auto">
            <a:xfrm>
              <a:off x="3373438" y="3986213"/>
              <a:ext cx="63500" cy="282575"/>
            </a:xfrm>
            <a:custGeom>
              <a:avLst/>
              <a:gdLst>
                <a:gd name="T0" fmla="*/ 14 w 16"/>
                <a:gd name="T1" fmla="*/ 73 h 73"/>
                <a:gd name="T2" fmla="*/ 12 w 16"/>
                <a:gd name="T3" fmla="*/ 71 h 73"/>
                <a:gd name="T4" fmla="*/ 12 w 16"/>
                <a:gd name="T5" fmla="*/ 4 h 73"/>
                <a:gd name="T6" fmla="*/ 2 w 16"/>
                <a:gd name="T7" fmla="*/ 4 h 73"/>
                <a:gd name="T8" fmla="*/ 0 w 16"/>
                <a:gd name="T9" fmla="*/ 2 h 73"/>
                <a:gd name="T10" fmla="*/ 2 w 16"/>
                <a:gd name="T11" fmla="*/ 0 h 73"/>
                <a:gd name="T12" fmla="*/ 14 w 16"/>
                <a:gd name="T13" fmla="*/ 0 h 73"/>
                <a:gd name="T14" fmla="*/ 16 w 16"/>
                <a:gd name="T15" fmla="*/ 2 h 73"/>
                <a:gd name="T16" fmla="*/ 16 w 16"/>
                <a:gd name="T17" fmla="*/ 71 h 73"/>
                <a:gd name="T18" fmla="*/ 14 w 16"/>
                <a:gd name="T1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3">
                  <a:moveTo>
                    <a:pt x="14" y="73"/>
                  </a:moveTo>
                  <a:cubicBezTo>
                    <a:pt x="13" y="73"/>
                    <a:pt x="12" y="72"/>
                    <a:pt x="12" y="71"/>
                  </a:cubicBezTo>
                  <a:cubicBezTo>
                    <a:pt x="12" y="4"/>
                    <a:pt x="12" y="4"/>
                    <a:pt x="12" y="4"/>
                  </a:cubicBez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71"/>
                    <a:pt x="16" y="71"/>
                    <a:pt x="16" y="71"/>
                  </a:cubicBezTo>
                  <a:cubicBezTo>
                    <a:pt x="16" y="72"/>
                    <a:pt x="15" y="73"/>
                    <a:pt x="14"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299" name="Freeform 123"/>
            <p:cNvSpPr>
              <a:spLocks/>
            </p:cNvSpPr>
            <p:nvPr/>
          </p:nvSpPr>
          <p:spPr bwMode="auto">
            <a:xfrm>
              <a:off x="3448050" y="4311651"/>
              <a:ext cx="195262" cy="46038"/>
            </a:xfrm>
            <a:custGeom>
              <a:avLst/>
              <a:gdLst>
                <a:gd name="T0" fmla="*/ 47 w 50"/>
                <a:gd name="T1" fmla="*/ 12 h 12"/>
                <a:gd name="T2" fmla="*/ 46 w 50"/>
                <a:gd name="T3" fmla="*/ 11 h 12"/>
                <a:gd name="T4" fmla="*/ 38 w 50"/>
                <a:gd name="T5" fmla="*/ 4 h 12"/>
                <a:gd name="T6" fmla="*/ 2 w 50"/>
                <a:gd name="T7" fmla="*/ 4 h 12"/>
                <a:gd name="T8" fmla="*/ 0 w 50"/>
                <a:gd name="T9" fmla="*/ 2 h 12"/>
                <a:gd name="T10" fmla="*/ 2 w 50"/>
                <a:gd name="T11" fmla="*/ 0 h 12"/>
                <a:gd name="T12" fmla="*/ 39 w 50"/>
                <a:gd name="T13" fmla="*/ 0 h 12"/>
                <a:gd name="T14" fmla="*/ 40 w 50"/>
                <a:gd name="T15" fmla="*/ 1 h 12"/>
                <a:gd name="T16" fmla="*/ 49 w 50"/>
                <a:gd name="T17" fmla="*/ 9 h 12"/>
                <a:gd name="T18" fmla="*/ 49 w 50"/>
                <a:gd name="T19" fmla="*/ 11 h 12"/>
                <a:gd name="T20" fmla="*/ 47 w 50"/>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2">
                  <a:moveTo>
                    <a:pt x="47" y="12"/>
                  </a:moveTo>
                  <a:cubicBezTo>
                    <a:pt x="47" y="12"/>
                    <a:pt x="46" y="12"/>
                    <a:pt x="46" y="11"/>
                  </a:cubicBezTo>
                  <a:cubicBezTo>
                    <a:pt x="38" y="4"/>
                    <a:pt x="38" y="4"/>
                    <a:pt x="38" y="4"/>
                  </a:cubicBezTo>
                  <a:cubicBezTo>
                    <a:pt x="2" y="4"/>
                    <a:pt x="2" y="4"/>
                    <a:pt x="2" y="4"/>
                  </a:cubicBezTo>
                  <a:cubicBezTo>
                    <a:pt x="1" y="4"/>
                    <a:pt x="0" y="3"/>
                    <a:pt x="0" y="2"/>
                  </a:cubicBezTo>
                  <a:cubicBezTo>
                    <a:pt x="0" y="1"/>
                    <a:pt x="1" y="0"/>
                    <a:pt x="2" y="0"/>
                  </a:cubicBezTo>
                  <a:cubicBezTo>
                    <a:pt x="39" y="0"/>
                    <a:pt x="39" y="0"/>
                    <a:pt x="39" y="0"/>
                  </a:cubicBezTo>
                  <a:cubicBezTo>
                    <a:pt x="40" y="0"/>
                    <a:pt x="40" y="0"/>
                    <a:pt x="40" y="1"/>
                  </a:cubicBezTo>
                  <a:cubicBezTo>
                    <a:pt x="49" y="9"/>
                    <a:pt x="49" y="9"/>
                    <a:pt x="49" y="9"/>
                  </a:cubicBezTo>
                  <a:cubicBezTo>
                    <a:pt x="50" y="9"/>
                    <a:pt x="50" y="11"/>
                    <a:pt x="49" y="11"/>
                  </a:cubicBezTo>
                  <a:cubicBezTo>
                    <a:pt x="48" y="12"/>
                    <a:pt x="48" y="12"/>
                    <a:pt x="4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300" name="Freeform 124"/>
            <p:cNvSpPr>
              <a:spLocks noEditPoints="1"/>
            </p:cNvSpPr>
            <p:nvPr/>
          </p:nvSpPr>
          <p:spPr bwMode="auto">
            <a:xfrm>
              <a:off x="3452813" y="4141788"/>
              <a:ext cx="171450" cy="153988"/>
            </a:xfrm>
            <a:custGeom>
              <a:avLst/>
              <a:gdLst>
                <a:gd name="T0" fmla="*/ 42 w 44"/>
                <a:gd name="T1" fmla="*/ 40 h 40"/>
                <a:gd name="T2" fmla="*/ 2 w 44"/>
                <a:gd name="T3" fmla="*/ 40 h 40"/>
                <a:gd name="T4" fmla="*/ 0 w 44"/>
                <a:gd name="T5" fmla="*/ 38 h 40"/>
                <a:gd name="T6" fmla="*/ 0 w 44"/>
                <a:gd name="T7" fmla="*/ 2 h 40"/>
                <a:gd name="T8" fmla="*/ 2 w 44"/>
                <a:gd name="T9" fmla="*/ 0 h 40"/>
                <a:gd name="T10" fmla="*/ 42 w 44"/>
                <a:gd name="T11" fmla="*/ 0 h 40"/>
                <a:gd name="T12" fmla="*/ 44 w 44"/>
                <a:gd name="T13" fmla="*/ 2 h 40"/>
                <a:gd name="T14" fmla="*/ 44 w 44"/>
                <a:gd name="T15" fmla="*/ 38 h 40"/>
                <a:gd name="T16" fmla="*/ 42 w 44"/>
                <a:gd name="T17" fmla="*/ 40 h 40"/>
                <a:gd name="T18" fmla="*/ 4 w 44"/>
                <a:gd name="T19" fmla="*/ 36 h 40"/>
                <a:gd name="T20" fmla="*/ 40 w 44"/>
                <a:gd name="T21" fmla="*/ 36 h 40"/>
                <a:gd name="T22" fmla="*/ 40 w 44"/>
                <a:gd name="T23" fmla="*/ 4 h 40"/>
                <a:gd name="T24" fmla="*/ 4 w 44"/>
                <a:gd name="T25" fmla="*/ 4 h 40"/>
                <a:gd name="T26" fmla="*/ 4 w 44"/>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0">
                  <a:moveTo>
                    <a:pt x="42" y="40"/>
                  </a:moveTo>
                  <a:cubicBezTo>
                    <a:pt x="2" y="40"/>
                    <a:pt x="2" y="40"/>
                    <a:pt x="2" y="40"/>
                  </a:cubicBezTo>
                  <a:cubicBezTo>
                    <a:pt x="1" y="40"/>
                    <a:pt x="0" y="39"/>
                    <a:pt x="0" y="38"/>
                  </a:cubicBezTo>
                  <a:cubicBezTo>
                    <a:pt x="0" y="2"/>
                    <a:pt x="0" y="2"/>
                    <a:pt x="0" y="2"/>
                  </a:cubicBezTo>
                  <a:cubicBezTo>
                    <a:pt x="0" y="1"/>
                    <a:pt x="1" y="0"/>
                    <a:pt x="2" y="0"/>
                  </a:cubicBezTo>
                  <a:cubicBezTo>
                    <a:pt x="42" y="0"/>
                    <a:pt x="42" y="0"/>
                    <a:pt x="42" y="0"/>
                  </a:cubicBezTo>
                  <a:cubicBezTo>
                    <a:pt x="43" y="0"/>
                    <a:pt x="44" y="1"/>
                    <a:pt x="44" y="2"/>
                  </a:cubicBezTo>
                  <a:cubicBezTo>
                    <a:pt x="44" y="38"/>
                    <a:pt x="44" y="38"/>
                    <a:pt x="44" y="38"/>
                  </a:cubicBezTo>
                  <a:cubicBezTo>
                    <a:pt x="44" y="39"/>
                    <a:pt x="43" y="40"/>
                    <a:pt x="42" y="40"/>
                  </a:cubicBezTo>
                  <a:close/>
                  <a:moveTo>
                    <a:pt x="4" y="36"/>
                  </a:moveTo>
                  <a:cubicBezTo>
                    <a:pt x="40" y="36"/>
                    <a:pt x="40" y="36"/>
                    <a:pt x="40" y="36"/>
                  </a:cubicBezTo>
                  <a:cubicBezTo>
                    <a:pt x="40" y="4"/>
                    <a:pt x="40" y="4"/>
                    <a:pt x="40" y="4"/>
                  </a:cubicBezTo>
                  <a:cubicBezTo>
                    <a:pt x="4" y="4"/>
                    <a:pt x="4" y="4"/>
                    <a:pt x="4" y="4"/>
                  </a:cubicBezTo>
                  <a:lnTo>
                    <a:pt x="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301" name="Freeform 125"/>
            <p:cNvSpPr>
              <a:spLocks noEditPoints="1"/>
            </p:cNvSpPr>
            <p:nvPr/>
          </p:nvSpPr>
          <p:spPr bwMode="auto">
            <a:xfrm>
              <a:off x="3452813" y="4064001"/>
              <a:ext cx="123825" cy="92075"/>
            </a:xfrm>
            <a:custGeom>
              <a:avLst/>
              <a:gdLst>
                <a:gd name="T0" fmla="*/ 30 w 32"/>
                <a:gd name="T1" fmla="*/ 24 h 24"/>
                <a:gd name="T2" fmla="*/ 2 w 32"/>
                <a:gd name="T3" fmla="*/ 24 h 24"/>
                <a:gd name="T4" fmla="*/ 0 w 32"/>
                <a:gd name="T5" fmla="*/ 22 h 24"/>
                <a:gd name="T6" fmla="*/ 0 w 32"/>
                <a:gd name="T7" fmla="*/ 2 h 24"/>
                <a:gd name="T8" fmla="*/ 2 w 32"/>
                <a:gd name="T9" fmla="*/ 0 h 24"/>
                <a:gd name="T10" fmla="*/ 30 w 32"/>
                <a:gd name="T11" fmla="*/ 0 h 24"/>
                <a:gd name="T12" fmla="*/ 32 w 32"/>
                <a:gd name="T13" fmla="*/ 2 h 24"/>
                <a:gd name="T14" fmla="*/ 32 w 32"/>
                <a:gd name="T15" fmla="*/ 22 h 24"/>
                <a:gd name="T16" fmla="*/ 30 w 32"/>
                <a:gd name="T17" fmla="*/ 24 h 24"/>
                <a:gd name="T18" fmla="*/ 4 w 32"/>
                <a:gd name="T19" fmla="*/ 20 h 24"/>
                <a:gd name="T20" fmla="*/ 28 w 32"/>
                <a:gd name="T21" fmla="*/ 20 h 24"/>
                <a:gd name="T22" fmla="*/ 28 w 32"/>
                <a:gd name="T23" fmla="*/ 4 h 24"/>
                <a:gd name="T24" fmla="*/ 4 w 32"/>
                <a:gd name="T25" fmla="*/ 4 h 24"/>
                <a:gd name="T26" fmla="*/ 4 w 32"/>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4">
                  <a:moveTo>
                    <a:pt x="30" y="24"/>
                  </a:moveTo>
                  <a:cubicBezTo>
                    <a:pt x="2" y="24"/>
                    <a:pt x="2" y="24"/>
                    <a:pt x="2" y="24"/>
                  </a:cubicBezTo>
                  <a:cubicBezTo>
                    <a:pt x="1" y="24"/>
                    <a:pt x="0" y="23"/>
                    <a:pt x="0" y="22"/>
                  </a:cubicBezTo>
                  <a:cubicBezTo>
                    <a:pt x="0" y="2"/>
                    <a:pt x="0" y="2"/>
                    <a:pt x="0" y="2"/>
                  </a:cubicBezTo>
                  <a:cubicBezTo>
                    <a:pt x="0" y="1"/>
                    <a:pt x="1" y="0"/>
                    <a:pt x="2" y="0"/>
                  </a:cubicBezTo>
                  <a:cubicBezTo>
                    <a:pt x="30" y="0"/>
                    <a:pt x="30" y="0"/>
                    <a:pt x="30" y="0"/>
                  </a:cubicBezTo>
                  <a:cubicBezTo>
                    <a:pt x="31" y="0"/>
                    <a:pt x="32" y="1"/>
                    <a:pt x="32" y="2"/>
                  </a:cubicBezTo>
                  <a:cubicBezTo>
                    <a:pt x="32" y="22"/>
                    <a:pt x="32" y="22"/>
                    <a:pt x="32" y="22"/>
                  </a:cubicBezTo>
                  <a:cubicBezTo>
                    <a:pt x="32" y="23"/>
                    <a:pt x="31" y="24"/>
                    <a:pt x="30" y="24"/>
                  </a:cubicBezTo>
                  <a:close/>
                  <a:moveTo>
                    <a:pt x="4" y="20"/>
                  </a:moveTo>
                  <a:cubicBezTo>
                    <a:pt x="28" y="20"/>
                    <a:pt x="28" y="20"/>
                    <a:pt x="28" y="20"/>
                  </a:cubicBezTo>
                  <a:cubicBezTo>
                    <a:pt x="28" y="4"/>
                    <a:pt x="28" y="4"/>
                    <a:pt x="28"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302" name="Freeform 126"/>
            <p:cNvSpPr>
              <a:spLocks/>
            </p:cNvSpPr>
            <p:nvPr/>
          </p:nvSpPr>
          <p:spPr bwMode="auto">
            <a:xfrm>
              <a:off x="3546475" y="4249738"/>
              <a:ext cx="46037" cy="15875"/>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303" name="Freeform 127"/>
            <p:cNvSpPr>
              <a:spLocks/>
            </p:cNvSpPr>
            <p:nvPr/>
          </p:nvSpPr>
          <p:spPr bwMode="auto">
            <a:xfrm>
              <a:off x="3482975" y="4110038"/>
              <a:ext cx="31750" cy="15875"/>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grpSp>
      <p:sp>
        <p:nvSpPr>
          <p:cNvPr id="286" name="Oval 112"/>
          <p:cNvSpPr>
            <a:spLocks noChangeArrowheads="1"/>
          </p:cNvSpPr>
          <p:nvPr/>
        </p:nvSpPr>
        <p:spPr bwMode="auto">
          <a:xfrm>
            <a:off x="15526840" y="3019406"/>
            <a:ext cx="2995327" cy="2988565"/>
          </a:xfrm>
          <a:prstGeom prst="ellipse">
            <a:avLst/>
          </a:prstGeom>
          <a:solidFill>
            <a:schemeClr val="bg1"/>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288" name="TextBox 287"/>
          <p:cNvSpPr txBox="1"/>
          <p:nvPr/>
        </p:nvSpPr>
        <p:spPr>
          <a:xfrm>
            <a:off x="15773721" y="4740364"/>
            <a:ext cx="2501561" cy="369332"/>
          </a:xfrm>
          <a:prstGeom prst="rect">
            <a:avLst/>
          </a:prstGeom>
          <a:noFill/>
          <a:ln w="6350">
            <a:noFill/>
            <a:prstDash val="dash"/>
          </a:ln>
        </p:spPr>
        <p:txBody>
          <a:bodyPr wrap="square" lIns="0" tIns="0" rIns="0" bIns="0" rtlCol="0">
            <a:spAutoFit/>
          </a:bodyPr>
          <a:lstStyle/>
          <a:p>
            <a:pPr algn="ctr" defTabSz="1828709">
              <a:defRPr/>
            </a:pPr>
            <a:r>
              <a:rPr lang="en-US" sz="2400" b="1" dirty="0">
                <a:solidFill>
                  <a:schemeClr val="accent2"/>
                </a:solidFill>
              </a:rPr>
              <a:t>YOUR PROCESS</a:t>
            </a:r>
          </a:p>
        </p:txBody>
      </p:sp>
      <p:grpSp>
        <p:nvGrpSpPr>
          <p:cNvPr id="289" name="Group 288"/>
          <p:cNvGrpSpPr>
            <a:grpSpLocks noChangeAspect="1"/>
          </p:cNvGrpSpPr>
          <p:nvPr/>
        </p:nvGrpSpPr>
        <p:grpSpPr>
          <a:xfrm>
            <a:off x="16584119" y="3854423"/>
            <a:ext cx="880769" cy="696959"/>
            <a:chOff x="8045450" y="1020762"/>
            <a:chExt cx="365126" cy="288926"/>
          </a:xfrm>
          <a:solidFill>
            <a:schemeClr val="accent2"/>
          </a:solidFill>
        </p:grpSpPr>
        <p:sp>
          <p:nvSpPr>
            <p:cNvPr id="290" name="Freeform 131"/>
            <p:cNvSpPr>
              <a:spLocks/>
            </p:cNvSpPr>
            <p:nvPr/>
          </p:nvSpPr>
          <p:spPr bwMode="auto">
            <a:xfrm>
              <a:off x="8045450" y="1133475"/>
              <a:ext cx="109538" cy="82550"/>
            </a:xfrm>
            <a:custGeom>
              <a:avLst/>
              <a:gdLst>
                <a:gd name="T0" fmla="*/ 13 w 28"/>
                <a:gd name="T1" fmla="*/ 21 h 21"/>
                <a:gd name="T2" fmla="*/ 13 w 28"/>
                <a:gd name="T3" fmla="*/ 21 h 21"/>
                <a:gd name="T4" fmla="*/ 11 w 28"/>
                <a:gd name="T5" fmla="*/ 20 h 21"/>
                <a:gd name="T6" fmla="*/ 0 w 28"/>
                <a:gd name="T7" fmla="*/ 4 h 21"/>
                <a:gd name="T8" fmla="*/ 1 w 28"/>
                <a:gd name="T9" fmla="*/ 1 h 21"/>
                <a:gd name="T10" fmla="*/ 4 w 28"/>
                <a:gd name="T11" fmla="*/ 1 h 21"/>
                <a:gd name="T12" fmla="*/ 13 w 28"/>
                <a:gd name="T13" fmla="*/ 16 h 21"/>
                <a:gd name="T14" fmla="*/ 24 w 28"/>
                <a:gd name="T15" fmla="*/ 2 h 21"/>
                <a:gd name="T16" fmla="*/ 27 w 28"/>
                <a:gd name="T17" fmla="*/ 2 h 21"/>
                <a:gd name="T18" fmla="*/ 27 w 28"/>
                <a:gd name="T19" fmla="*/ 5 h 21"/>
                <a:gd name="T20" fmla="*/ 15 w 28"/>
                <a:gd name="T21" fmla="*/ 20 h 21"/>
                <a:gd name="T22" fmla="*/ 13 w 28"/>
                <a:gd name="T2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1">
                  <a:moveTo>
                    <a:pt x="13" y="21"/>
                  </a:moveTo>
                  <a:cubicBezTo>
                    <a:pt x="13" y="21"/>
                    <a:pt x="13" y="21"/>
                    <a:pt x="13" y="21"/>
                  </a:cubicBezTo>
                  <a:cubicBezTo>
                    <a:pt x="12" y="21"/>
                    <a:pt x="12" y="21"/>
                    <a:pt x="11" y="20"/>
                  </a:cubicBezTo>
                  <a:cubicBezTo>
                    <a:pt x="0" y="4"/>
                    <a:pt x="0" y="4"/>
                    <a:pt x="0" y="4"/>
                  </a:cubicBezTo>
                  <a:cubicBezTo>
                    <a:pt x="0" y="3"/>
                    <a:pt x="0" y="1"/>
                    <a:pt x="1" y="1"/>
                  </a:cubicBezTo>
                  <a:cubicBezTo>
                    <a:pt x="2" y="0"/>
                    <a:pt x="3" y="0"/>
                    <a:pt x="4" y="1"/>
                  </a:cubicBezTo>
                  <a:cubicBezTo>
                    <a:pt x="13" y="16"/>
                    <a:pt x="13" y="16"/>
                    <a:pt x="13" y="16"/>
                  </a:cubicBezTo>
                  <a:cubicBezTo>
                    <a:pt x="24" y="2"/>
                    <a:pt x="24" y="2"/>
                    <a:pt x="24" y="2"/>
                  </a:cubicBezTo>
                  <a:cubicBezTo>
                    <a:pt x="25" y="2"/>
                    <a:pt x="26" y="1"/>
                    <a:pt x="27" y="2"/>
                  </a:cubicBezTo>
                  <a:cubicBezTo>
                    <a:pt x="28" y="3"/>
                    <a:pt x="28" y="4"/>
                    <a:pt x="27" y="5"/>
                  </a:cubicBezTo>
                  <a:cubicBezTo>
                    <a:pt x="15" y="20"/>
                    <a:pt x="15" y="20"/>
                    <a:pt x="15" y="20"/>
                  </a:cubicBezTo>
                  <a:cubicBezTo>
                    <a:pt x="14" y="21"/>
                    <a:pt x="14" y="21"/>
                    <a:pt x="1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291" name="Freeform 132"/>
            <p:cNvSpPr>
              <a:spLocks/>
            </p:cNvSpPr>
            <p:nvPr/>
          </p:nvSpPr>
          <p:spPr bwMode="auto">
            <a:xfrm>
              <a:off x="8080375" y="1020762"/>
              <a:ext cx="255588" cy="195263"/>
            </a:xfrm>
            <a:custGeom>
              <a:avLst/>
              <a:gdLst>
                <a:gd name="T0" fmla="*/ 4 w 66"/>
                <a:gd name="T1" fmla="*/ 50 h 50"/>
                <a:gd name="T2" fmla="*/ 2 w 66"/>
                <a:gd name="T3" fmla="*/ 48 h 50"/>
                <a:gd name="T4" fmla="*/ 7 w 66"/>
                <a:gd name="T5" fmla="*/ 20 h 50"/>
                <a:gd name="T6" fmla="*/ 30 w 66"/>
                <a:gd name="T7" fmla="*/ 3 h 50"/>
                <a:gd name="T8" fmla="*/ 65 w 66"/>
                <a:gd name="T9" fmla="*/ 14 h 50"/>
                <a:gd name="T10" fmla="*/ 65 w 66"/>
                <a:gd name="T11" fmla="*/ 17 h 50"/>
                <a:gd name="T12" fmla="*/ 62 w 66"/>
                <a:gd name="T13" fmla="*/ 17 h 50"/>
                <a:gd name="T14" fmla="*/ 31 w 66"/>
                <a:gd name="T15" fmla="*/ 7 h 50"/>
                <a:gd name="T16" fmla="*/ 10 w 66"/>
                <a:gd name="T17" fmla="*/ 22 h 50"/>
                <a:gd name="T18" fmla="*/ 6 w 66"/>
                <a:gd name="T19" fmla="*/ 47 h 50"/>
                <a:gd name="T20" fmla="*/ 4 w 66"/>
                <a:gd name="T21" fmla="*/ 50 h 50"/>
                <a:gd name="T22" fmla="*/ 4 w 6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0">
                  <a:moveTo>
                    <a:pt x="4" y="50"/>
                  </a:moveTo>
                  <a:cubicBezTo>
                    <a:pt x="3" y="50"/>
                    <a:pt x="2" y="49"/>
                    <a:pt x="2" y="48"/>
                  </a:cubicBezTo>
                  <a:cubicBezTo>
                    <a:pt x="0" y="39"/>
                    <a:pt x="1" y="28"/>
                    <a:pt x="7" y="20"/>
                  </a:cubicBezTo>
                  <a:cubicBezTo>
                    <a:pt x="12" y="11"/>
                    <a:pt x="20" y="5"/>
                    <a:pt x="30" y="3"/>
                  </a:cubicBezTo>
                  <a:cubicBezTo>
                    <a:pt x="43" y="0"/>
                    <a:pt x="56" y="4"/>
                    <a:pt x="65" y="14"/>
                  </a:cubicBezTo>
                  <a:cubicBezTo>
                    <a:pt x="66" y="15"/>
                    <a:pt x="66" y="16"/>
                    <a:pt x="65" y="17"/>
                  </a:cubicBezTo>
                  <a:cubicBezTo>
                    <a:pt x="64" y="18"/>
                    <a:pt x="63" y="18"/>
                    <a:pt x="62" y="17"/>
                  </a:cubicBezTo>
                  <a:cubicBezTo>
                    <a:pt x="54" y="8"/>
                    <a:pt x="42" y="4"/>
                    <a:pt x="31" y="7"/>
                  </a:cubicBezTo>
                  <a:cubicBezTo>
                    <a:pt x="22" y="9"/>
                    <a:pt x="15" y="14"/>
                    <a:pt x="10" y="22"/>
                  </a:cubicBezTo>
                  <a:cubicBezTo>
                    <a:pt x="5" y="30"/>
                    <a:pt x="4" y="39"/>
                    <a:pt x="6" y="47"/>
                  </a:cubicBezTo>
                  <a:cubicBezTo>
                    <a:pt x="6" y="48"/>
                    <a:pt x="5" y="49"/>
                    <a:pt x="4" y="50"/>
                  </a:cubicBezTo>
                  <a:cubicBezTo>
                    <a:pt x="4" y="50"/>
                    <a:pt x="4" y="50"/>
                    <a:pt x="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292" name="Freeform 133"/>
            <p:cNvSpPr>
              <a:spLocks/>
            </p:cNvSpPr>
            <p:nvPr/>
          </p:nvSpPr>
          <p:spPr bwMode="auto">
            <a:xfrm>
              <a:off x="8301038" y="1122363"/>
              <a:ext cx="109538" cy="82550"/>
            </a:xfrm>
            <a:custGeom>
              <a:avLst/>
              <a:gdLst>
                <a:gd name="T0" fmla="*/ 26 w 28"/>
                <a:gd name="T1" fmla="*/ 21 h 21"/>
                <a:gd name="T2" fmla="*/ 24 w 28"/>
                <a:gd name="T3" fmla="*/ 20 h 21"/>
                <a:gd name="T4" fmla="*/ 15 w 28"/>
                <a:gd name="T5" fmla="*/ 5 h 21"/>
                <a:gd name="T6" fmla="*/ 4 w 28"/>
                <a:gd name="T7" fmla="*/ 19 h 21"/>
                <a:gd name="T8" fmla="*/ 1 w 28"/>
                <a:gd name="T9" fmla="*/ 19 h 21"/>
                <a:gd name="T10" fmla="*/ 1 w 28"/>
                <a:gd name="T11" fmla="*/ 16 h 21"/>
                <a:gd name="T12" fmla="*/ 13 w 28"/>
                <a:gd name="T13" fmla="*/ 1 h 21"/>
                <a:gd name="T14" fmla="*/ 15 w 28"/>
                <a:gd name="T15" fmla="*/ 0 h 21"/>
                <a:gd name="T16" fmla="*/ 17 w 28"/>
                <a:gd name="T17" fmla="*/ 1 h 21"/>
                <a:gd name="T18" fmla="*/ 28 w 28"/>
                <a:gd name="T19" fmla="*/ 17 h 21"/>
                <a:gd name="T20" fmla="*/ 27 w 28"/>
                <a:gd name="T21" fmla="*/ 20 h 21"/>
                <a:gd name="T22" fmla="*/ 26 w 28"/>
                <a:gd name="T2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1">
                  <a:moveTo>
                    <a:pt x="26" y="21"/>
                  </a:moveTo>
                  <a:cubicBezTo>
                    <a:pt x="25" y="21"/>
                    <a:pt x="25" y="20"/>
                    <a:pt x="24" y="20"/>
                  </a:cubicBezTo>
                  <a:cubicBezTo>
                    <a:pt x="15" y="5"/>
                    <a:pt x="15" y="5"/>
                    <a:pt x="15" y="5"/>
                  </a:cubicBezTo>
                  <a:cubicBezTo>
                    <a:pt x="4" y="19"/>
                    <a:pt x="4" y="19"/>
                    <a:pt x="4" y="19"/>
                  </a:cubicBezTo>
                  <a:cubicBezTo>
                    <a:pt x="3" y="19"/>
                    <a:pt x="2" y="20"/>
                    <a:pt x="1" y="19"/>
                  </a:cubicBezTo>
                  <a:cubicBezTo>
                    <a:pt x="0" y="18"/>
                    <a:pt x="0" y="17"/>
                    <a:pt x="1" y="16"/>
                  </a:cubicBezTo>
                  <a:cubicBezTo>
                    <a:pt x="13" y="1"/>
                    <a:pt x="13" y="1"/>
                    <a:pt x="13" y="1"/>
                  </a:cubicBezTo>
                  <a:cubicBezTo>
                    <a:pt x="14" y="0"/>
                    <a:pt x="14" y="0"/>
                    <a:pt x="15" y="0"/>
                  </a:cubicBezTo>
                  <a:cubicBezTo>
                    <a:pt x="16" y="0"/>
                    <a:pt x="16" y="0"/>
                    <a:pt x="17" y="1"/>
                  </a:cubicBezTo>
                  <a:cubicBezTo>
                    <a:pt x="28" y="17"/>
                    <a:pt x="28" y="17"/>
                    <a:pt x="28" y="17"/>
                  </a:cubicBezTo>
                  <a:cubicBezTo>
                    <a:pt x="28" y="18"/>
                    <a:pt x="28" y="20"/>
                    <a:pt x="27" y="20"/>
                  </a:cubicBezTo>
                  <a:cubicBezTo>
                    <a:pt x="27" y="20"/>
                    <a:pt x="27" y="21"/>
                    <a:pt x="26"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293" name="Freeform 134"/>
            <p:cNvSpPr>
              <a:spLocks/>
            </p:cNvSpPr>
            <p:nvPr/>
          </p:nvSpPr>
          <p:spPr bwMode="auto">
            <a:xfrm>
              <a:off x="8120063" y="1122363"/>
              <a:ext cx="255588" cy="187325"/>
            </a:xfrm>
            <a:custGeom>
              <a:avLst/>
              <a:gdLst>
                <a:gd name="T0" fmla="*/ 28 w 66"/>
                <a:gd name="T1" fmla="*/ 48 h 48"/>
                <a:gd name="T2" fmla="*/ 1 w 66"/>
                <a:gd name="T3" fmla="*/ 36 h 48"/>
                <a:gd name="T4" fmla="*/ 1 w 66"/>
                <a:gd name="T5" fmla="*/ 33 h 48"/>
                <a:gd name="T6" fmla="*/ 4 w 66"/>
                <a:gd name="T7" fmla="*/ 33 h 48"/>
                <a:gd name="T8" fmla="*/ 35 w 66"/>
                <a:gd name="T9" fmla="*/ 43 h 48"/>
                <a:gd name="T10" fmla="*/ 56 w 66"/>
                <a:gd name="T11" fmla="*/ 28 h 48"/>
                <a:gd name="T12" fmla="*/ 60 w 66"/>
                <a:gd name="T13" fmla="*/ 3 h 48"/>
                <a:gd name="T14" fmla="*/ 62 w 66"/>
                <a:gd name="T15" fmla="*/ 0 h 48"/>
                <a:gd name="T16" fmla="*/ 64 w 66"/>
                <a:gd name="T17" fmla="*/ 2 h 48"/>
                <a:gd name="T18" fmla="*/ 59 w 66"/>
                <a:gd name="T19" fmla="*/ 30 h 48"/>
                <a:gd name="T20" fmla="*/ 36 w 66"/>
                <a:gd name="T21" fmla="*/ 47 h 48"/>
                <a:gd name="T22" fmla="*/ 28 w 66"/>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48">
                  <a:moveTo>
                    <a:pt x="28" y="48"/>
                  </a:moveTo>
                  <a:cubicBezTo>
                    <a:pt x="18" y="48"/>
                    <a:pt x="8" y="44"/>
                    <a:pt x="1" y="36"/>
                  </a:cubicBezTo>
                  <a:cubicBezTo>
                    <a:pt x="0" y="35"/>
                    <a:pt x="0" y="34"/>
                    <a:pt x="1" y="33"/>
                  </a:cubicBezTo>
                  <a:cubicBezTo>
                    <a:pt x="2" y="32"/>
                    <a:pt x="3" y="32"/>
                    <a:pt x="4" y="33"/>
                  </a:cubicBezTo>
                  <a:cubicBezTo>
                    <a:pt x="12" y="42"/>
                    <a:pt x="24" y="46"/>
                    <a:pt x="35" y="43"/>
                  </a:cubicBezTo>
                  <a:cubicBezTo>
                    <a:pt x="44" y="41"/>
                    <a:pt x="51" y="36"/>
                    <a:pt x="56" y="28"/>
                  </a:cubicBezTo>
                  <a:cubicBezTo>
                    <a:pt x="61" y="20"/>
                    <a:pt x="62" y="11"/>
                    <a:pt x="60" y="3"/>
                  </a:cubicBezTo>
                  <a:cubicBezTo>
                    <a:pt x="60" y="2"/>
                    <a:pt x="60" y="1"/>
                    <a:pt x="62" y="0"/>
                  </a:cubicBezTo>
                  <a:cubicBezTo>
                    <a:pt x="63" y="0"/>
                    <a:pt x="64" y="1"/>
                    <a:pt x="64" y="2"/>
                  </a:cubicBezTo>
                  <a:cubicBezTo>
                    <a:pt x="66" y="11"/>
                    <a:pt x="65" y="22"/>
                    <a:pt x="59" y="30"/>
                  </a:cubicBezTo>
                  <a:cubicBezTo>
                    <a:pt x="54" y="39"/>
                    <a:pt x="46" y="45"/>
                    <a:pt x="36" y="47"/>
                  </a:cubicBezTo>
                  <a:cubicBezTo>
                    <a:pt x="34" y="48"/>
                    <a:pt x="31" y="48"/>
                    <a:pt x="28"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294" name="Freeform 135"/>
            <p:cNvSpPr>
              <a:spLocks noEditPoints="1"/>
            </p:cNvSpPr>
            <p:nvPr/>
          </p:nvSpPr>
          <p:spPr bwMode="auto">
            <a:xfrm>
              <a:off x="8189913" y="1130300"/>
              <a:ext cx="76200"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6"/>
                    <a:pt x="0" y="10"/>
                  </a:cubicBezTo>
                  <a:cubicBezTo>
                    <a:pt x="0" y="4"/>
                    <a:pt x="4"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grpSp>
      <p:sp>
        <p:nvSpPr>
          <p:cNvPr id="278" name="TextBox 277"/>
          <p:cNvSpPr txBox="1"/>
          <p:nvPr/>
        </p:nvSpPr>
        <p:spPr>
          <a:xfrm>
            <a:off x="19032655" y="9930438"/>
            <a:ext cx="1930058" cy="369332"/>
          </a:xfrm>
          <a:prstGeom prst="rect">
            <a:avLst/>
          </a:prstGeom>
          <a:noFill/>
          <a:ln w="6350">
            <a:noFill/>
            <a:prstDash val="dash"/>
          </a:ln>
        </p:spPr>
        <p:txBody>
          <a:bodyPr wrap="square" lIns="0" tIns="0" rIns="0" bIns="0" rtlCol="0">
            <a:spAutoFit/>
          </a:bodyPr>
          <a:lstStyle/>
          <a:p>
            <a:pPr algn="ctr" defTabSz="1828709">
              <a:defRPr/>
            </a:pPr>
            <a:r>
              <a:rPr lang="en-US" sz="2400" b="1" dirty="0">
                <a:solidFill>
                  <a:schemeClr val="accent1"/>
                </a:solidFill>
              </a:rPr>
              <a:t>CUSTOMER</a:t>
            </a:r>
          </a:p>
        </p:txBody>
      </p:sp>
      <p:grpSp>
        <p:nvGrpSpPr>
          <p:cNvPr id="279" name="Group 278"/>
          <p:cNvGrpSpPr>
            <a:grpSpLocks noChangeAspect="1"/>
          </p:cNvGrpSpPr>
          <p:nvPr/>
        </p:nvGrpSpPr>
        <p:grpSpPr>
          <a:xfrm>
            <a:off x="19516115" y="8957996"/>
            <a:ext cx="963137" cy="843319"/>
            <a:chOff x="7548563" y="349250"/>
            <a:chExt cx="3317876" cy="2905126"/>
          </a:xfrm>
          <a:solidFill>
            <a:schemeClr val="accent1"/>
          </a:solidFill>
        </p:grpSpPr>
        <p:sp>
          <p:nvSpPr>
            <p:cNvPr id="280" name="Freeform 139"/>
            <p:cNvSpPr>
              <a:spLocks noEditPoints="1"/>
            </p:cNvSpPr>
            <p:nvPr/>
          </p:nvSpPr>
          <p:spPr bwMode="auto">
            <a:xfrm>
              <a:off x="7548563" y="1316038"/>
              <a:ext cx="831850" cy="1384300"/>
            </a:xfrm>
            <a:custGeom>
              <a:avLst/>
              <a:gdLst>
                <a:gd name="T0" fmla="*/ 165 w 221"/>
                <a:gd name="T1" fmla="*/ 368 h 368"/>
                <a:gd name="T2" fmla="*/ 55 w 221"/>
                <a:gd name="T3" fmla="*/ 368 h 368"/>
                <a:gd name="T4" fmla="*/ 37 w 221"/>
                <a:gd name="T5" fmla="*/ 350 h 368"/>
                <a:gd name="T6" fmla="*/ 37 w 221"/>
                <a:gd name="T7" fmla="*/ 200 h 368"/>
                <a:gd name="T8" fmla="*/ 0 w 221"/>
                <a:gd name="T9" fmla="*/ 129 h 368"/>
                <a:gd name="T10" fmla="*/ 0 w 221"/>
                <a:gd name="T11" fmla="*/ 19 h 368"/>
                <a:gd name="T12" fmla="*/ 18 w 221"/>
                <a:gd name="T13" fmla="*/ 0 h 368"/>
                <a:gd name="T14" fmla="*/ 202 w 221"/>
                <a:gd name="T15" fmla="*/ 0 h 368"/>
                <a:gd name="T16" fmla="*/ 221 w 221"/>
                <a:gd name="T17" fmla="*/ 19 h 368"/>
                <a:gd name="T18" fmla="*/ 221 w 221"/>
                <a:gd name="T19" fmla="*/ 129 h 368"/>
                <a:gd name="T20" fmla="*/ 184 w 221"/>
                <a:gd name="T21" fmla="*/ 200 h 368"/>
                <a:gd name="T22" fmla="*/ 184 w 221"/>
                <a:gd name="T23" fmla="*/ 350 h 368"/>
                <a:gd name="T24" fmla="*/ 165 w 221"/>
                <a:gd name="T25" fmla="*/ 368 h 368"/>
                <a:gd name="T26" fmla="*/ 74 w 221"/>
                <a:gd name="T27" fmla="*/ 331 h 368"/>
                <a:gd name="T28" fmla="*/ 147 w 221"/>
                <a:gd name="T29" fmla="*/ 331 h 368"/>
                <a:gd name="T30" fmla="*/ 147 w 221"/>
                <a:gd name="T31" fmla="*/ 184 h 368"/>
                <a:gd name="T32" fmla="*/ 165 w 221"/>
                <a:gd name="T33" fmla="*/ 166 h 368"/>
                <a:gd name="T34" fmla="*/ 184 w 221"/>
                <a:gd name="T35" fmla="*/ 129 h 368"/>
                <a:gd name="T36" fmla="*/ 184 w 221"/>
                <a:gd name="T37" fmla="*/ 37 h 368"/>
                <a:gd name="T38" fmla="*/ 37 w 221"/>
                <a:gd name="T39" fmla="*/ 37 h 368"/>
                <a:gd name="T40" fmla="*/ 37 w 221"/>
                <a:gd name="T41" fmla="*/ 129 h 368"/>
                <a:gd name="T42" fmla="*/ 55 w 221"/>
                <a:gd name="T43" fmla="*/ 166 h 368"/>
                <a:gd name="T44" fmla="*/ 74 w 221"/>
                <a:gd name="T45" fmla="*/ 184 h 368"/>
                <a:gd name="T46" fmla="*/ 74 w 221"/>
                <a:gd name="T47" fmla="*/ 331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368">
                  <a:moveTo>
                    <a:pt x="165" y="368"/>
                  </a:moveTo>
                  <a:cubicBezTo>
                    <a:pt x="55" y="368"/>
                    <a:pt x="55" y="368"/>
                    <a:pt x="55" y="368"/>
                  </a:cubicBezTo>
                  <a:cubicBezTo>
                    <a:pt x="45" y="368"/>
                    <a:pt x="37" y="360"/>
                    <a:pt x="37" y="350"/>
                  </a:cubicBezTo>
                  <a:cubicBezTo>
                    <a:pt x="37" y="200"/>
                    <a:pt x="37" y="200"/>
                    <a:pt x="37" y="200"/>
                  </a:cubicBezTo>
                  <a:cubicBezTo>
                    <a:pt x="12" y="193"/>
                    <a:pt x="0" y="169"/>
                    <a:pt x="0" y="129"/>
                  </a:cubicBezTo>
                  <a:cubicBezTo>
                    <a:pt x="0" y="19"/>
                    <a:pt x="0" y="19"/>
                    <a:pt x="0" y="19"/>
                  </a:cubicBezTo>
                  <a:cubicBezTo>
                    <a:pt x="0" y="9"/>
                    <a:pt x="8" y="0"/>
                    <a:pt x="18" y="0"/>
                  </a:cubicBezTo>
                  <a:cubicBezTo>
                    <a:pt x="202" y="0"/>
                    <a:pt x="202" y="0"/>
                    <a:pt x="202" y="0"/>
                  </a:cubicBezTo>
                  <a:cubicBezTo>
                    <a:pt x="212" y="0"/>
                    <a:pt x="221" y="9"/>
                    <a:pt x="221" y="19"/>
                  </a:cubicBezTo>
                  <a:cubicBezTo>
                    <a:pt x="221" y="129"/>
                    <a:pt x="221" y="129"/>
                    <a:pt x="221" y="129"/>
                  </a:cubicBezTo>
                  <a:cubicBezTo>
                    <a:pt x="221" y="169"/>
                    <a:pt x="208" y="193"/>
                    <a:pt x="184" y="200"/>
                  </a:cubicBezTo>
                  <a:cubicBezTo>
                    <a:pt x="184" y="350"/>
                    <a:pt x="184" y="350"/>
                    <a:pt x="184" y="350"/>
                  </a:cubicBezTo>
                  <a:cubicBezTo>
                    <a:pt x="184" y="360"/>
                    <a:pt x="176" y="368"/>
                    <a:pt x="165" y="368"/>
                  </a:cubicBezTo>
                  <a:close/>
                  <a:moveTo>
                    <a:pt x="74" y="331"/>
                  </a:moveTo>
                  <a:cubicBezTo>
                    <a:pt x="147" y="331"/>
                    <a:pt x="147" y="331"/>
                    <a:pt x="147" y="331"/>
                  </a:cubicBezTo>
                  <a:cubicBezTo>
                    <a:pt x="147" y="184"/>
                    <a:pt x="147" y="184"/>
                    <a:pt x="147" y="184"/>
                  </a:cubicBezTo>
                  <a:cubicBezTo>
                    <a:pt x="147" y="174"/>
                    <a:pt x="155" y="166"/>
                    <a:pt x="165" y="166"/>
                  </a:cubicBezTo>
                  <a:cubicBezTo>
                    <a:pt x="174" y="166"/>
                    <a:pt x="184" y="166"/>
                    <a:pt x="184" y="129"/>
                  </a:cubicBezTo>
                  <a:cubicBezTo>
                    <a:pt x="184" y="37"/>
                    <a:pt x="184" y="37"/>
                    <a:pt x="184" y="37"/>
                  </a:cubicBezTo>
                  <a:cubicBezTo>
                    <a:pt x="37" y="37"/>
                    <a:pt x="37" y="37"/>
                    <a:pt x="37" y="37"/>
                  </a:cubicBezTo>
                  <a:cubicBezTo>
                    <a:pt x="37" y="129"/>
                    <a:pt x="37" y="129"/>
                    <a:pt x="37" y="129"/>
                  </a:cubicBezTo>
                  <a:cubicBezTo>
                    <a:pt x="37" y="166"/>
                    <a:pt x="47" y="166"/>
                    <a:pt x="55" y="166"/>
                  </a:cubicBezTo>
                  <a:cubicBezTo>
                    <a:pt x="65" y="166"/>
                    <a:pt x="74" y="174"/>
                    <a:pt x="74" y="184"/>
                  </a:cubicBezTo>
                  <a:lnTo>
                    <a:pt x="74"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281" name="Freeform 140"/>
            <p:cNvSpPr>
              <a:spLocks noEditPoints="1"/>
            </p:cNvSpPr>
            <p:nvPr/>
          </p:nvSpPr>
          <p:spPr bwMode="auto">
            <a:xfrm>
              <a:off x="10039351" y="1316038"/>
              <a:ext cx="827088" cy="1384300"/>
            </a:xfrm>
            <a:custGeom>
              <a:avLst/>
              <a:gdLst>
                <a:gd name="T0" fmla="*/ 165 w 220"/>
                <a:gd name="T1" fmla="*/ 368 h 368"/>
                <a:gd name="T2" fmla="*/ 55 w 220"/>
                <a:gd name="T3" fmla="*/ 368 h 368"/>
                <a:gd name="T4" fmla="*/ 36 w 220"/>
                <a:gd name="T5" fmla="*/ 350 h 368"/>
                <a:gd name="T6" fmla="*/ 36 w 220"/>
                <a:gd name="T7" fmla="*/ 200 h 368"/>
                <a:gd name="T8" fmla="*/ 0 w 220"/>
                <a:gd name="T9" fmla="*/ 129 h 368"/>
                <a:gd name="T10" fmla="*/ 0 w 220"/>
                <a:gd name="T11" fmla="*/ 19 h 368"/>
                <a:gd name="T12" fmla="*/ 18 w 220"/>
                <a:gd name="T13" fmla="*/ 0 h 368"/>
                <a:gd name="T14" fmla="*/ 202 w 220"/>
                <a:gd name="T15" fmla="*/ 0 h 368"/>
                <a:gd name="T16" fmla="*/ 220 w 220"/>
                <a:gd name="T17" fmla="*/ 19 h 368"/>
                <a:gd name="T18" fmla="*/ 220 w 220"/>
                <a:gd name="T19" fmla="*/ 129 h 368"/>
                <a:gd name="T20" fmla="*/ 184 w 220"/>
                <a:gd name="T21" fmla="*/ 200 h 368"/>
                <a:gd name="T22" fmla="*/ 184 w 220"/>
                <a:gd name="T23" fmla="*/ 350 h 368"/>
                <a:gd name="T24" fmla="*/ 165 w 220"/>
                <a:gd name="T25" fmla="*/ 368 h 368"/>
                <a:gd name="T26" fmla="*/ 73 w 220"/>
                <a:gd name="T27" fmla="*/ 331 h 368"/>
                <a:gd name="T28" fmla="*/ 147 w 220"/>
                <a:gd name="T29" fmla="*/ 331 h 368"/>
                <a:gd name="T30" fmla="*/ 147 w 220"/>
                <a:gd name="T31" fmla="*/ 184 h 368"/>
                <a:gd name="T32" fmla="*/ 165 w 220"/>
                <a:gd name="T33" fmla="*/ 166 h 368"/>
                <a:gd name="T34" fmla="*/ 184 w 220"/>
                <a:gd name="T35" fmla="*/ 129 h 368"/>
                <a:gd name="T36" fmla="*/ 184 w 220"/>
                <a:gd name="T37" fmla="*/ 37 h 368"/>
                <a:gd name="T38" fmla="*/ 36 w 220"/>
                <a:gd name="T39" fmla="*/ 37 h 368"/>
                <a:gd name="T40" fmla="*/ 36 w 220"/>
                <a:gd name="T41" fmla="*/ 129 h 368"/>
                <a:gd name="T42" fmla="*/ 55 w 220"/>
                <a:gd name="T43" fmla="*/ 166 h 368"/>
                <a:gd name="T44" fmla="*/ 73 w 220"/>
                <a:gd name="T45" fmla="*/ 184 h 368"/>
                <a:gd name="T46" fmla="*/ 73 w 220"/>
                <a:gd name="T47" fmla="*/ 331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0" h="368">
                  <a:moveTo>
                    <a:pt x="165" y="368"/>
                  </a:moveTo>
                  <a:cubicBezTo>
                    <a:pt x="55" y="368"/>
                    <a:pt x="55" y="368"/>
                    <a:pt x="55" y="368"/>
                  </a:cubicBezTo>
                  <a:cubicBezTo>
                    <a:pt x="45" y="368"/>
                    <a:pt x="36" y="360"/>
                    <a:pt x="36" y="350"/>
                  </a:cubicBezTo>
                  <a:cubicBezTo>
                    <a:pt x="36" y="200"/>
                    <a:pt x="36" y="200"/>
                    <a:pt x="36" y="200"/>
                  </a:cubicBezTo>
                  <a:cubicBezTo>
                    <a:pt x="12" y="193"/>
                    <a:pt x="0" y="169"/>
                    <a:pt x="0" y="129"/>
                  </a:cubicBezTo>
                  <a:cubicBezTo>
                    <a:pt x="0" y="19"/>
                    <a:pt x="0" y="19"/>
                    <a:pt x="0" y="19"/>
                  </a:cubicBezTo>
                  <a:cubicBezTo>
                    <a:pt x="0" y="9"/>
                    <a:pt x="8" y="0"/>
                    <a:pt x="18" y="0"/>
                  </a:cubicBezTo>
                  <a:cubicBezTo>
                    <a:pt x="202" y="0"/>
                    <a:pt x="202" y="0"/>
                    <a:pt x="202" y="0"/>
                  </a:cubicBezTo>
                  <a:cubicBezTo>
                    <a:pt x="212" y="0"/>
                    <a:pt x="220" y="9"/>
                    <a:pt x="220" y="19"/>
                  </a:cubicBezTo>
                  <a:cubicBezTo>
                    <a:pt x="220" y="129"/>
                    <a:pt x="220" y="129"/>
                    <a:pt x="220" y="129"/>
                  </a:cubicBezTo>
                  <a:cubicBezTo>
                    <a:pt x="220" y="169"/>
                    <a:pt x="208" y="193"/>
                    <a:pt x="184" y="200"/>
                  </a:cubicBezTo>
                  <a:cubicBezTo>
                    <a:pt x="184" y="350"/>
                    <a:pt x="184" y="350"/>
                    <a:pt x="184" y="350"/>
                  </a:cubicBezTo>
                  <a:cubicBezTo>
                    <a:pt x="184" y="360"/>
                    <a:pt x="175" y="368"/>
                    <a:pt x="165" y="368"/>
                  </a:cubicBezTo>
                  <a:close/>
                  <a:moveTo>
                    <a:pt x="73" y="331"/>
                  </a:moveTo>
                  <a:cubicBezTo>
                    <a:pt x="147" y="331"/>
                    <a:pt x="147" y="331"/>
                    <a:pt x="147" y="331"/>
                  </a:cubicBezTo>
                  <a:cubicBezTo>
                    <a:pt x="147" y="184"/>
                    <a:pt x="147" y="184"/>
                    <a:pt x="147" y="184"/>
                  </a:cubicBezTo>
                  <a:cubicBezTo>
                    <a:pt x="147" y="174"/>
                    <a:pt x="155" y="166"/>
                    <a:pt x="165" y="166"/>
                  </a:cubicBezTo>
                  <a:cubicBezTo>
                    <a:pt x="173" y="166"/>
                    <a:pt x="183" y="166"/>
                    <a:pt x="184" y="129"/>
                  </a:cubicBezTo>
                  <a:cubicBezTo>
                    <a:pt x="184" y="37"/>
                    <a:pt x="184" y="37"/>
                    <a:pt x="184" y="37"/>
                  </a:cubicBezTo>
                  <a:cubicBezTo>
                    <a:pt x="36" y="37"/>
                    <a:pt x="36" y="37"/>
                    <a:pt x="36" y="37"/>
                  </a:cubicBezTo>
                  <a:cubicBezTo>
                    <a:pt x="36" y="129"/>
                    <a:pt x="36" y="129"/>
                    <a:pt x="36" y="129"/>
                  </a:cubicBezTo>
                  <a:cubicBezTo>
                    <a:pt x="36" y="166"/>
                    <a:pt x="47" y="166"/>
                    <a:pt x="55" y="166"/>
                  </a:cubicBezTo>
                  <a:cubicBezTo>
                    <a:pt x="65" y="166"/>
                    <a:pt x="73" y="174"/>
                    <a:pt x="73" y="184"/>
                  </a:cubicBezTo>
                  <a:lnTo>
                    <a:pt x="73"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282" name="Freeform 141"/>
            <p:cNvSpPr>
              <a:spLocks noEditPoints="1"/>
            </p:cNvSpPr>
            <p:nvPr/>
          </p:nvSpPr>
          <p:spPr bwMode="auto">
            <a:xfrm>
              <a:off x="8655051" y="1316038"/>
              <a:ext cx="1104900" cy="1938338"/>
            </a:xfrm>
            <a:custGeom>
              <a:avLst/>
              <a:gdLst>
                <a:gd name="T0" fmla="*/ 202 w 294"/>
                <a:gd name="T1" fmla="*/ 515 h 515"/>
                <a:gd name="T2" fmla="*/ 92 w 294"/>
                <a:gd name="T3" fmla="*/ 515 h 515"/>
                <a:gd name="T4" fmla="*/ 74 w 294"/>
                <a:gd name="T5" fmla="*/ 497 h 515"/>
                <a:gd name="T6" fmla="*/ 74 w 294"/>
                <a:gd name="T7" fmla="*/ 293 h 515"/>
                <a:gd name="T8" fmla="*/ 0 w 294"/>
                <a:gd name="T9" fmla="*/ 203 h 515"/>
                <a:gd name="T10" fmla="*/ 0 w 294"/>
                <a:gd name="T11" fmla="*/ 19 h 515"/>
                <a:gd name="T12" fmla="*/ 18 w 294"/>
                <a:gd name="T13" fmla="*/ 0 h 515"/>
                <a:gd name="T14" fmla="*/ 276 w 294"/>
                <a:gd name="T15" fmla="*/ 0 h 515"/>
                <a:gd name="T16" fmla="*/ 294 w 294"/>
                <a:gd name="T17" fmla="*/ 19 h 515"/>
                <a:gd name="T18" fmla="*/ 294 w 294"/>
                <a:gd name="T19" fmla="*/ 203 h 515"/>
                <a:gd name="T20" fmla="*/ 221 w 294"/>
                <a:gd name="T21" fmla="*/ 293 h 515"/>
                <a:gd name="T22" fmla="*/ 221 w 294"/>
                <a:gd name="T23" fmla="*/ 497 h 515"/>
                <a:gd name="T24" fmla="*/ 202 w 294"/>
                <a:gd name="T25" fmla="*/ 515 h 515"/>
                <a:gd name="T26" fmla="*/ 110 w 294"/>
                <a:gd name="T27" fmla="*/ 478 h 515"/>
                <a:gd name="T28" fmla="*/ 184 w 294"/>
                <a:gd name="T29" fmla="*/ 478 h 515"/>
                <a:gd name="T30" fmla="*/ 184 w 294"/>
                <a:gd name="T31" fmla="*/ 276 h 515"/>
                <a:gd name="T32" fmla="*/ 202 w 294"/>
                <a:gd name="T33" fmla="*/ 258 h 515"/>
                <a:gd name="T34" fmla="*/ 257 w 294"/>
                <a:gd name="T35" fmla="*/ 203 h 515"/>
                <a:gd name="T36" fmla="*/ 257 w 294"/>
                <a:gd name="T37" fmla="*/ 37 h 515"/>
                <a:gd name="T38" fmla="*/ 37 w 294"/>
                <a:gd name="T39" fmla="*/ 37 h 515"/>
                <a:gd name="T40" fmla="*/ 37 w 294"/>
                <a:gd name="T41" fmla="*/ 203 h 515"/>
                <a:gd name="T42" fmla="*/ 92 w 294"/>
                <a:gd name="T43" fmla="*/ 258 h 515"/>
                <a:gd name="T44" fmla="*/ 110 w 294"/>
                <a:gd name="T45" fmla="*/ 276 h 515"/>
                <a:gd name="T46" fmla="*/ 110 w 294"/>
                <a:gd name="T47" fmla="*/ 47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4" h="515">
                  <a:moveTo>
                    <a:pt x="202" y="515"/>
                  </a:moveTo>
                  <a:cubicBezTo>
                    <a:pt x="92" y="515"/>
                    <a:pt x="92" y="515"/>
                    <a:pt x="92" y="515"/>
                  </a:cubicBezTo>
                  <a:cubicBezTo>
                    <a:pt x="82" y="515"/>
                    <a:pt x="74" y="507"/>
                    <a:pt x="74" y="497"/>
                  </a:cubicBezTo>
                  <a:cubicBezTo>
                    <a:pt x="74" y="293"/>
                    <a:pt x="74" y="293"/>
                    <a:pt x="74" y="293"/>
                  </a:cubicBezTo>
                  <a:cubicBezTo>
                    <a:pt x="32" y="284"/>
                    <a:pt x="0" y="247"/>
                    <a:pt x="0" y="203"/>
                  </a:cubicBezTo>
                  <a:cubicBezTo>
                    <a:pt x="0" y="19"/>
                    <a:pt x="0" y="19"/>
                    <a:pt x="0" y="19"/>
                  </a:cubicBezTo>
                  <a:cubicBezTo>
                    <a:pt x="0" y="9"/>
                    <a:pt x="8" y="0"/>
                    <a:pt x="18" y="0"/>
                  </a:cubicBezTo>
                  <a:cubicBezTo>
                    <a:pt x="276" y="0"/>
                    <a:pt x="276" y="0"/>
                    <a:pt x="276" y="0"/>
                  </a:cubicBezTo>
                  <a:cubicBezTo>
                    <a:pt x="286" y="0"/>
                    <a:pt x="294" y="9"/>
                    <a:pt x="294" y="19"/>
                  </a:cubicBezTo>
                  <a:cubicBezTo>
                    <a:pt x="294" y="203"/>
                    <a:pt x="294" y="203"/>
                    <a:pt x="294" y="203"/>
                  </a:cubicBezTo>
                  <a:cubicBezTo>
                    <a:pt x="294" y="247"/>
                    <a:pt x="263" y="284"/>
                    <a:pt x="221" y="293"/>
                  </a:cubicBezTo>
                  <a:cubicBezTo>
                    <a:pt x="221" y="497"/>
                    <a:pt x="221" y="497"/>
                    <a:pt x="221" y="497"/>
                  </a:cubicBezTo>
                  <a:cubicBezTo>
                    <a:pt x="221" y="507"/>
                    <a:pt x="212" y="515"/>
                    <a:pt x="202" y="515"/>
                  </a:cubicBezTo>
                  <a:close/>
                  <a:moveTo>
                    <a:pt x="110" y="478"/>
                  </a:moveTo>
                  <a:cubicBezTo>
                    <a:pt x="184" y="478"/>
                    <a:pt x="184" y="478"/>
                    <a:pt x="184" y="478"/>
                  </a:cubicBezTo>
                  <a:cubicBezTo>
                    <a:pt x="184" y="276"/>
                    <a:pt x="184" y="276"/>
                    <a:pt x="184" y="276"/>
                  </a:cubicBezTo>
                  <a:cubicBezTo>
                    <a:pt x="184" y="266"/>
                    <a:pt x="192" y="258"/>
                    <a:pt x="202" y="258"/>
                  </a:cubicBezTo>
                  <a:cubicBezTo>
                    <a:pt x="233" y="258"/>
                    <a:pt x="257" y="233"/>
                    <a:pt x="257" y="203"/>
                  </a:cubicBezTo>
                  <a:cubicBezTo>
                    <a:pt x="257" y="37"/>
                    <a:pt x="257" y="37"/>
                    <a:pt x="257" y="37"/>
                  </a:cubicBezTo>
                  <a:cubicBezTo>
                    <a:pt x="37" y="37"/>
                    <a:pt x="37" y="37"/>
                    <a:pt x="37" y="37"/>
                  </a:cubicBezTo>
                  <a:cubicBezTo>
                    <a:pt x="37" y="203"/>
                    <a:pt x="37" y="203"/>
                    <a:pt x="37" y="203"/>
                  </a:cubicBezTo>
                  <a:cubicBezTo>
                    <a:pt x="37" y="233"/>
                    <a:pt x="62" y="258"/>
                    <a:pt x="92" y="258"/>
                  </a:cubicBezTo>
                  <a:cubicBezTo>
                    <a:pt x="102" y="258"/>
                    <a:pt x="110" y="266"/>
                    <a:pt x="110" y="276"/>
                  </a:cubicBezTo>
                  <a:lnTo>
                    <a:pt x="110" y="4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283" name="Freeform 142"/>
            <p:cNvSpPr>
              <a:spLocks noEditPoints="1"/>
            </p:cNvSpPr>
            <p:nvPr/>
          </p:nvSpPr>
          <p:spPr bwMode="auto">
            <a:xfrm>
              <a:off x="7688263" y="627063"/>
              <a:ext cx="552450" cy="554038"/>
            </a:xfrm>
            <a:custGeom>
              <a:avLst/>
              <a:gdLst>
                <a:gd name="T0" fmla="*/ 73 w 147"/>
                <a:gd name="T1" fmla="*/ 147 h 147"/>
                <a:gd name="T2" fmla="*/ 0 w 147"/>
                <a:gd name="T3" fmla="*/ 73 h 147"/>
                <a:gd name="T4" fmla="*/ 73 w 147"/>
                <a:gd name="T5" fmla="*/ 0 h 147"/>
                <a:gd name="T6" fmla="*/ 147 w 147"/>
                <a:gd name="T7" fmla="*/ 73 h 147"/>
                <a:gd name="T8" fmla="*/ 73 w 147"/>
                <a:gd name="T9" fmla="*/ 147 h 147"/>
                <a:gd name="T10" fmla="*/ 73 w 147"/>
                <a:gd name="T11" fmla="*/ 36 h 147"/>
                <a:gd name="T12" fmla="*/ 37 w 147"/>
                <a:gd name="T13" fmla="*/ 73 h 147"/>
                <a:gd name="T14" fmla="*/ 73 w 147"/>
                <a:gd name="T15" fmla="*/ 110 h 147"/>
                <a:gd name="T16" fmla="*/ 110 w 147"/>
                <a:gd name="T17" fmla="*/ 73 h 147"/>
                <a:gd name="T18" fmla="*/ 73 w 147"/>
                <a:gd name="T19"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47">
                  <a:moveTo>
                    <a:pt x="73" y="147"/>
                  </a:moveTo>
                  <a:cubicBezTo>
                    <a:pt x="33" y="147"/>
                    <a:pt x="0" y="114"/>
                    <a:pt x="0" y="73"/>
                  </a:cubicBezTo>
                  <a:cubicBezTo>
                    <a:pt x="0" y="32"/>
                    <a:pt x="33" y="0"/>
                    <a:pt x="73" y="0"/>
                  </a:cubicBezTo>
                  <a:cubicBezTo>
                    <a:pt x="114" y="0"/>
                    <a:pt x="147" y="32"/>
                    <a:pt x="147" y="73"/>
                  </a:cubicBezTo>
                  <a:cubicBezTo>
                    <a:pt x="147" y="114"/>
                    <a:pt x="114" y="147"/>
                    <a:pt x="73" y="147"/>
                  </a:cubicBezTo>
                  <a:close/>
                  <a:moveTo>
                    <a:pt x="73" y="36"/>
                  </a:moveTo>
                  <a:cubicBezTo>
                    <a:pt x="53" y="36"/>
                    <a:pt x="37" y="53"/>
                    <a:pt x="37" y="73"/>
                  </a:cubicBezTo>
                  <a:cubicBezTo>
                    <a:pt x="37" y="93"/>
                    <a:pt x="53" y="110"/>
                    <a:pt x="73" y="110"/>
                  </a:cubicBezTo>
                  <a:cubicBezTo>
                    <a:pt x="94" y="110"/>
                    <a:pt x="110" y="93"/>
                    <a:pt x="110" y="73"/>
                  </a:cubicBezTo>
                  <a:cubicBezTo>
                    <a:pt x="110" y="53"/>
                    <a:pt x="94" y="36"/>
                    <a:pt x="73"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284" name="Freeform 143"/>
            <p:cNvSpPr>
              <a:spLocks noEditPoints="1"/>
            </p:cNvSpPr>
            <p:nvPr/>
          </p:nvSpPr>
          <p:spPr bwMode="auto">
            <a:xfrm>
              <a:off x="10174288" y="627063"/>
              <a:ext cx="557213" cy="554038"/>
            </a:xfrm>
            <a:custGeom>
              <a:avLst/>
              <a:gdLst>
                <a:gd name="T0" fmla="*/ 74 w 148"/>
                <a:gd name="T1" fmla="*/ 147 h 147"/>
                <a:gd name="T2" fmla="*/ 0 w 148"/>
                <a:gd name="T3" fmla="*/ 73 h 147"/>
                <a:gd name="T4" fmla="*/ 74 w 148"/>
                <a:gd name="T5" fmla="*/ 0 h 147"/>
                <a:gd name="T6" fmla="*/ 148 w 148"/>
                <a:gd name="T7" fmla="*/ 73 h 147"/>
                <a:gd name="T8" fmla="*/ 74 w 148"/>
                <a:gd name="T9" fmla="*/ 147 h 147"/>
                <a:gd name="T10" fmla="*/ 74 w 148"/>
                <a:gd name="T11" fmla="*/ 36 h 147"/>
                <a:gd name="T12" fmla="*/ 37 w 148"/>
                <a:gd name="T13" fmla="*/ 73 h 147"/>
                <a:gd name="T14" fmla="*/ 74 w 148"/>
                <a:gd name="T15" fmla="*/ 110 h 147"/>
                <a:gd name="T16" fmla="*/ 111 w 148"/>
                <a:gd name="T17" fmla="*/ 73 h 147"/>
                <a:gd name="T18" fmla="*/ 74 w 148"/>
                <a:gd name="T19"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 h="147">
                  <a:moveTo>
                    <a:pt x="74" y="147"/>
                  </a:moveTo>
                  <a:cubicBezTo>
                    <a:pt x="33" y="147"/>
                    <a:pt x="0" y="114"/>
                    <a:pt x="0" y="73"/>
                  </a:cubicBezTo>
                  <a:cubicBezTo>
                    <a:pt x="0" y="32"/>
                    <a:pt x="33" y="0"/>
                    <a:pt x="74" y="0"/>
                  </a:cubicBezTo>
                  <a:cubicBezTo>
                    <a:pt x="115" y="0"/>
                    <a:pt x="148" y="32"/>
                    <a:pt x="148" y="73"/>
                  </a:cubicBezTo>
                  <a:cubicBezTo>
                    <a:pt x="148" y="114"/>
                    <a:pt x="115" y="147"/>
                    <a:pt x="74" y="147"/>
                  </a:cubicBezTo>
                  <a:close/>
                  <a:moveTo>
                    <a:pt x="74" y="36"/>
                  </a:moveTo>
                  <a:cubicBezTo>
                    <a:pt x="54" y="36"/>
                    <a:pt x="37" y="53"/>
                    <a:pt x="37" y="73"/>
                  </a:cubicBezTo>
                  <a:cubicBezTo>
                    <a:pt x="37" y="93"/>
                    <a:pt x="54" y="110"/>
                    <a:pt x="74" y="110"/>
                  </a:cubicBezTo>
                  <a:cubicBezTo>
                    <a:pt x="94" y="110"/>
                    <a:pt x="111" y="93"/>
                    <a:pt x="111" y="73"/>
                  </a:cubicBezTo>
                  <a:cubicBezTo>
                    <a:pt x="111" y="53"/>
                    <a:pt x="94" y="36"/>
                    <a:pt x="7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sp>
          <p:nvSpPr>
            <p:cNvPr id="285" name="Freeform 144"/>
            <p:cNvSpPr>
              <a:spLocks noEditPoints="1"/>
            </p:cNvSpPr>
            <p:nvPr/>
          </p:nvSpPr>
          <p:spPr bwMode="auto">
            <a:xfrm>
              <a:off x="8793163" y="349250"/>
              <a:ext cx="828675" cy="831850"/>
            </a:xfrm>
            <a:custGeom>
              <a:avLst/>
              <a:gdLst>
                <a:gd name="T0" fmla="*/ 110 w 220"/>
                <a:gd name="T1" fmla="*/ 221 h 221"/>
                <a:gd name="T2" fmla="*/ 0 w 220"/>
                <a:gd name="T3" fmla="*/ 110 h 221"/>
                <a:gd name="T4" fmla="*/ 110 w 220"/>
                <a:gd name="T5" fmla="*/ 0 h 221"/>
                <a:gd name="T6" fmla="*/ 220 w 220"/>
                <a:gd name="T7" fmla="*/ 110 h 221"/>
                <a:gd name="T8" fmla="*/ 110 w 220"/>
                <a:gd name="T9" fmla="*/ 221 h 221"/>
                <a:gd name="T10" fmla="*/ 110 w 220"/>
                <a:gd name="T11" fmla="*/ 37 h 221"/>
                <a:gd name="T12" fmla="*/ 37 w 220"/>
                <a:gd name="T13" fmla="*/ 110 h 221"/>
                <a:gd name="T14" fmla="*/ 110 w 220"/>
                <a:gd name="T15" fmla="*/ 184 h 221"/>
                <a:gd name="T16" fmla="*/ 184 w 220"/>
                <a:gd name="T17" fmla="*/ 110 h 221"/>
                <a:gd name="T18" fmla="*/ 110 w 220"/>
                <a:gd name="T19" fmla="*/ 3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1">
                  <a:moveTo>
                    <a:pt x="110" y="221"/>
                  </a:moveTo>
                  <a:cubicBezTo>
                    <a:pt x="49" y="221"/>
                    <a:pt x="0" y="171"/>
                    <a:pt x="0" y="110"/>
                  </a:cubicBezTo>
                  <a:cubicBezTo>
                    <a:pt x="0" y="49"/>
                    <a:pt x="49" y="0"/>
                    <a:pt x="110" y="0"/>
                  </a:cubicBezTo>
                  <a:cubicBezTo>
                    <a:pt x="171" y="0"/>
                    <a:pt x="220" y="49"/>
                    <a:pt x="220" y="110"/>
                  </a:cubicBezTo>
                  <a:cubicBezTo>
                    <a:pt x="220" y="171"/>
                    <a:pt x="171" y="221"/>
                    <a:pt x="110" y="221"/>
                  </a:cubicBezTo>
                  <a:close/>
                  <a:moveTo>
                    <a:pt x="110" y="37"/>
                  </a:moveTo>
                  <a:cubicBezTo>
                    <a:pt x="70" y="37"/>
                    <a:pt x="37" y="70"/>
                    <a:pt x="37" y="110"/>
                  </a:cubicBezTo>
                  <a:cubicBezTo>
                    <a:pt x="37" y="151"/>
                    <a:pt x="70" y="184"/>
                    <a:pt x="110" y="184"/>
                  </a:cubicBezTo>
                  <a:cubicBezTo>
                    <a:pt x="151" y="184"/>
                    <a:pt x="184" y="151"/>
                    <a:pt x="184" y="110"/>
                  </a:cubicBezTo>
                  <a:cubicBezTo>
                    <a:pt x="184" y="70"/>
                    <a:pt x="151" y="37"/>
                    <a:pt x="11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3600">
                <a:solidFill>
                  <a:prstClr val="black"/>
                </a:solidFill>
                <a:latin typeface="Calibri"/>
              </a:endParaRPr>
            </a:p>
          </p:txBody>
        </p:sp>
      </p:grpSp>
      <p:sp>
        <p:nvSpPr>
          <p:cNvPr id="265" name="TextBox 264"/>
          <p:cNvSpPr txBox="1"/>
          <p:nvPr/>
        </p:nvSpPr>
        <p:spPr>
          <a:xfrm>
            <a:off x="12845518" y="5438355"/>
            <a:ext cx="1444055" cy="514728"/>
          </a:xfrm>
          <a:prstGeom prst="rect">
            <a:avLst/>
          </a:prstGeom>
          <a:solidFill>
            <a:schemeClr val="bg1"/>
          </a:solidFill>
          <a:ln w="6350">
            <a:noFill/>
            <a:prstDash val="dash"/>
          </a:ln>
        </p:spPr>
        <p:txBody>
          <a:bodyPr wrap="square" lIns="0" tIns="71995" rIns="21599" bIns="71995" rtlCol="0">
            <a:spAutoFit/>
          </a:bodyPr>
          <a:lstStyle/>
          <a:p>
            <a:pPr algn="ctr" defTabSz="1828709">
              <a:defRPr/>
            </a:pPr>
            <a:r>
              <a:rPr lang="en-US" sz="2400" b="1" dirty="0"/>
              <a:t>Inputs</a:t>
            </a:r>
          </a:p>
        </p:txBody>
      </p:sp>
      <p:sp>
        <p:nvSpPr>
          <p:cNvPr id="266" name="TextBox 265"/>
          <p:cNvSpPr txBox="1"/>
          <p:nvPr/>
        </p:nvSpPr>
        <p:spPr>
          <a:xfrm>
            <a:off x="19803119" y="5438356"/>
            <a:ext cx="1656591" cy="514728"/>
          </a:xfrm>
          <a:prstGeom prst="rect">
            <a:avLst/>
          </a:prstGeom>
          <a:solidFill>
            <a:schemeClr val="bg1"/>
          </a:solidFill>
          <a:ln w="6350">
            <a:noFill/>
            <a:prstDash val="dash"/>
          </a:ln>
        </p:spPr>
        <p:txBody>
          <a:bodyPr wrap="square" lIns="0" tIns="71995" rIns="21599" bIns="71995" rtlCol="0">
            <a:spAutoFit/>
          </a:bodyPr>
          <a:lstStyle/>
          <a:p>
            <a:pPr algn="ctr" defTabSz="1828709">
              <a:defRPr/>
            </a:pPr>
            <a:r>
              <a:rPr lang="en-US" sz="2400" b="1" dirty="0"/>
              <a:t>Outputs</a:t>
            </a:r>
          </a:p>
        </p:txBody>
      </p:sp>
      <p:sp>
        <p:nvSpPr>
          <p:cNvPr id="267" name="TextBox 266"/>
          <p:cNvSpPr txBox="1"/>
          <p:nvPr/>
        </p:nvSpPr>
        <p:spPr>
          <a:xfrm>
            <a:off x="15762666" y="11838528"/>
            <a:ext cx="2583462" cy="514728"/>
          </a:xfrm>
          <a:prstGeom prst="rect">
            <a:avLst/>
          </a:prstGeom>
          <a:solidFill>
            <a:schemeClr val="bg1"/>
          </a:solidFill>
          <a:ln w="6350">
            <a:noFill/>
            <a:prstDash val="dash"/>
          </a:ln>
        </p:spPr>
        <p:txBody>
          <a:bodyPr wrap="square" lIns="71995" tIns="71995" rIns="71995" bIns="71995" rtlCol="0">
            <a:spAutoFit/>
          </a:bodyPr>
          <a:lstStyle/>
          <a:p>
            <a:pPr algn="ctr" defTabSz="1828709">
              <a:defRPr/>
            </a:pPr>
            <a:r>
              <a:rPr lang="en-US" sz="2400" b="1" dirty="0"/>
              <a:t>Feedback</a:t>
            </a:r>
          </a:p>
        </p:txBody>
      </p:sp>
      <p:sp>
        <p:nvSpPr>
          <p:cNvPr id="207" name="TextBox 206"/>
          <p:cNvSpPr txBox="1"/>
          <p:nvPr/>
        </p:nvSpPr>
        <p:spPr>
          <a:xfrm>
            <a:off x="2617904" y="4127518"/>
            <a:ext cx="8849122" cy="1477328"/>
          </a:xfrm>
          <a:prstGeom prst="rect">
            <a:avLst/>
          </a:prstGeom>
          <a:noFill/>
          <a:ln w="6350">
            <a:noFill/>
            <a:prstDash val="dash"/>
          </a:ln>
        </p:spPr>
        <p:txBody>
          <a:bodyPr wrap="square" lIns="0" tIns="0" rIns="0" bIns="0" rtlCol="0">
            <a:spAutoFit/>
          </a:bodyPr>
          <a:lstStyle/>
          <a:p>
            <a:pPr defTabSz="1828709">
              <a:defRPr/>
            </a:pPr>
            <a:r>
              <a:rPr lang="en-US" sz="2400" dirty="0"/>
              <a:t>Lorem </a:t>
            </a:r>
            <a:r>
              <a:rPr lang="en-US" sz="2400" dirty="0" err="1"/>
              <a:t>Ipsum</a:t>
            </a:r>
            <a:r>
              <a:rPr lang="en-US" sz="2400" dirty="0"/>
              <a:t> is simply dummy text of the printing and typesetting industry. Lorem </a:t>
            </a:r>
            <a:r>
              <a:rPr lang="en-US" sz="2400" dirty="0" err="1"/>
              <a:t>Ipsum</a:t>
            </a:r>
            <a:r>
              <a:rPr lang="en-US" sz="2400" dirty="0"/>
              <a:t> has been the industry's standard dummy text ever since the 1500s, when an unknown printer took a galley of type and scrambled it to make a type specimen book. </a:t>
            </a:r>
          </a:p>
        </p:txBody>
      </p:sp>
      <p:sp>
        <p:nvSpPr>
          <p:cNvPr id="208" name="TextBox 207"/>
          <p:cNvSpPr txBox="1"/>
          <p:nvPr/>
        </p:nvSpPr>
        <p:spPr>
          <a:xfrm>
            <a:off x="2617903" y="3719653"/>
            <a:ext cx="7913613" cy="369332"/>
          </a:xfrm>
          <a:prstGeom prst="rect">
            <a:avLst/>
          </a:prstGeom>
          <a:noFill/>
          <a:ln w="6350">
            <a:noFill/>
            <a:prstDash val="dash"/>
          </a:ln>
        </p:spPr>
        <p:txBody>
          <a:bodyPr wrap="square" lIns="0" tIns="0" rIns="0" bIns="0" rtlCol="0">
            <a:spAutoFit/>
          </a:bodyPr>
          <a:lstStyle/>
          <a:p>
            <a:pPr defTabSz="1828709">
              <a:defRPr/>
            </a:pPr>
            <a:r>
              <a:rPr lang="en-US" sz="2400" b="1" dirty="0"/>
              <a:t>CUSTOMER SUPPLIER MODEL</a:t>
            </a:r>
          </a:p>
        </p:txBody>
      </p:sp>
      <p:grpSp>
        <p:nvGrpSpPr>
          <p:cNvPr id="196" name="Group 195"/>
          <p:cNvGrpSpPr>
            <a:grpSpLocks noChangeAspect="1"/>
          </p:cNvGrpSpPr>
          <p:nvPr/>
        </p:nvGrpSpPr>
        <p:grpSpPr>
          <a:xfrm>
            <a:off x="2592703" y="6328494"/>
            <a:ext cx="645098" cy="843319"/>
            <a:chOff x="3359150" y="3986213"/>
            <a:chExt cx="284162" cy="371476"/>
          </a:xfrm>
          <a:solidFill>
            <a:schemeClr val="tx2"/>
          </a:solidFill>
        </p:grpSpPr>
        <p:sp>
          <p:nvSpPr>
            <p:cNvPr id="200" name="Freeform 121"/>
            <p:cNvSpPr>
              <a:spLocks noEditPoints="1"/>
            </p:cNvSpPr>
            <p:nvPr/>
          </p:nvSpPr>
          <p:spPr bwMode="auto">
            <a:xfrm>
              <a:off x="3359150" y="4249738"/>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sp>
          <p:nvSpPr>
            <p:cNvPr id="201" name="Freeform 122"/>
            <p:cNvSpPr>
              <a:spLocks/>
            </p:cNvSpPr>
            <p:nvPr/>
          </p:nvSpPr>
          <p:spPr bwMode="auto">
            <a:xfrm>
              <a:off x="3373438" y="3986213"/>
              <a:ext cx="63500" cy="282575"/>
            </a:xfrm>
            <a:custGeom>
              <a:avLst/>
              <a:gdLst>
                <a:gd name="T0" fmla="*/ 14 w 16"/>
                <a:gd name="T1" fmla="*/ 73 h 73"/>
                <a:gd name="T2" fmla="*/ 12 w 16"/>
                <a:gd name="T3" fmla="*/ 71 h 73"/>
                <a:gd name="T4" fmla="*/ 12 w 16"/>
                <a:gd name="T5" fmla="*/ 4 h 73"/>
                <a:gd name="T6" fmla="*/ 2 w 16"/>
                <a:gd name="T7" fmla="*/ 4 h 73"/>
                <a:gd name="T8" fmla="*/ 0 w 16"/>
                <a:gd name="T9" fmla="*/ 2 h 73"/>
                <a:gd name="T10" fmla="*/ 2 w 16"/>
                <a:gd name="T11" fmla="*/ 0 h 73"/>
                <a:gd name="T12" fmla="*/ 14 w 16"/>
                <a:gd name="T13" fmla="*/ 0 h 73"/>
                <a:gd name="T14" fmla="*/ 16 w 16"/>
                <a:gd name="T15" fmla="*/ 2 h 73"/>
                <a:gd name="T16" fmla="*/ 16 w 16"/>
                <a:gd name="T17" fmla="*/ 71 h 73"/>
                <a:gd name="T18" fmla="*/ 14 w 16"/>
                <a:gd name="T1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3">
                  <a:moveTo>
                    <a:pt x="14" y="73"/>
                  </a:moveTo>
                  <a:cubicBezTo>
                    <a:pt x="13" y="73"/>
                    <a:pt x="12" y="72"/>
                    <a:pt x="12" y="71"/>
                  </a:cubicBezTo>
                  <a:cubicBezTo>
                    <a:pt x="12" y="4"/>
                    <a:pt x="12" y="4"/>
                    <a:pt x="12" y="4"/>
                  </a:cubicBez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71"/>
                    <a:pt x="16" y="71"/>
                    <a:pt x="16" y="71"/>
                  </a:cubicBezTo>
                  <a:cubicBezTo>
                    <a:pt x="16" y="72"/>
                    <a:pt x="15" y="73"/>
                    <a:pt x="14"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sp>
          <p:nvSpPr>
            <p:cNvPr id="202" name="Freeform 123"/>
            <p:cNvSpPr>
              <a:spLocks/>
            </p:cNvSpPr>
            <p:nvPr/>
          </p:nvSpPr>
          <p:spPr bwMode="auto">
            <a:xfrm>
              <a:off x="3448050" y="4311651"/>
              <a:ext cx="195262" cy="46038"/>
            </a:xfrm>
            <a:custGeom>
              <a:avLst/>
              <a:gdLst>
                <a:gd name="T0" fmla="*/ 47 w 50"/>
                <a:gd name="T1" fmla="*/ 12 h 12"/>
                <a:gd name="T2" fmla="*/ 46 w 50"/>
                <a:gd name="T3" fmla="*/ 11 h 12"/>
                <a:gd name="T4" fmla="*/ 38 w 50"/>
                <a:gd name="T5" fmla="*/ 4 h 12"/>
                <a:gd name="T6" fmla="*/ 2 w 50"/>
                <a:gd name="T7" fmla="*/ 4 h 12"/>
                <a:gd name="T8" fmla="*/ 0 w 50"/>
                <a:gd name="T9" fmla="*/ 2 h 12"/>
                <a:gd name="T10" fmla="*/ 2 w 50"/>
                <a:gd name="T11" fmla="*/ 0 h 12"/>
                <a:gd name="T12" fmla="*/ 39 w 50"/>
                <a:gd name="T13" fmla="*/ 0 h 12"/>
                <a:gd name="T14" fmla="*/ 40 w 50"/>
                <a:gd name="T15" fmla="*/ 1 h 12"/>
                <a:gd name="T16" fmla="*/ 49 w 50"/>
                <a:gd name="T17" fmla="*/ 9 h 12"/>
                <a:gd name="T18" fmla="*/ 49 w 50"/>
                <a:gd name="T19" fmla="*/ 11 h 12"/>
                <a:gd name="T20" fmla="*/ 47 w 50"/>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2">
                  <a:moveTo>
                    <a:pt x="47" y="12"/>
                  </a:moveTo>
                  <a:cubicBezTo>
                    <a:pt x="47" y="12"/>
                    <a:pt x="46" y="12"/>
                    <a:pt x="46" y="11"/>
                  </a:cubicBezTo>
                  <a:cubicBezTo>
                    <a:pt x="38" y="4"/>
                    <a:pt x="38" y="4"/>
                    <a:pt x="38" y="4"/>
                  </a:cubicBezTo>
                  <a:cubicBezTo>
                    <a:pt x="2" y="4"/>
                    <a:pt x="2" y="4"/>
                    <a:pt x="2" y="4"/>
                  </a:cubicBezTo>
                  <a:cubicBezTo>
                    <a:pt x="1" y="4"/>
                    <a:pt x="0" y="3"/>
                    <a:pt x="0" y="2"/>
                  </a:cubicBezTo>
                  <a:cubicBezTo>
                    <a:pt x="0" y="1"/>
                    <a:pt x="1" y="0"/>
                    <a:pt x="2" y="0"/>
                  </a:cubicBezTo>
                  <a:cubicBezTo>
                    <a:pt x="39" y="0"/>
                    <a:pt x="39" y="0"/>
                    <a:pt x="39" y="0"/>
                  </a:cubicBezTo>
                  <a:cubicBezTo>
                    <a:pt x="40" y="0"/>
                    <a:pt x="40" y="0"/>
                    <a:pt x="40" y="1"/>
                  </a:cubicBezTo>
                  <a:cubicBezTo>
                    <a:pt x="49" y="9"/>
                    <a:pt x="49" y="9"/>
                    <a:pt x="49" y="9"/>
                  </a:cubicBezTo>
                  <a:cubicBezTo>
                    <a:pt x="50" y="9"/>
                    <a:pt x="50" y="11"/>
                    <a:pt x="49" y="11"/>
                  </a:cubicBezTo>
                  <a:cubicBezTo>
                    <a:pt x="48" y="12"/>
                    <a:pt x="48" y="12"/>
                    <a:pt x="4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sp>
          <p:nvSpPr>
            <p:cNvPr id="203" name="Freeform 124"/>
            <p:cNvSpPr>
              <a:spLocks noEditPoints="1"/>
            </p:cNvSpPr>
            <p:nvPr/>
          </p:nvSpPr>
          <p:spPr bwMode="auto">
            <a:xfrm>
              <a:off x="3452813" y="4141788"/>
              <a:ext cx="171450" cy="153988"/>
            </a:xfrm>
            <a:custGeom>
              <a:avLst/>
              <a:gdLst>
                <a:gd name="T0" fmla="*/ 42 w 44"/>
                <a:gd name="T1" fmla="*/ 40 h 40"/>
                <a:gd name="T2" fmla="*/ 2 w 44"/>
                <a:gd name="T3" fmla="*/ 40 h 40"/>
                <a:gd name="T4" fmla="*/ 0 w 44"/>
                <a:gd name="T5" fmla="*/ 38 h 40"/>
                <a:gd name="T6" fmla="*/ 0 w 44"/>
                <a:gd name="T7" fmla="*/ 2 h 40"/>
                <a:gd name="T8" fmla="*/ 2 w 44"/>
                <a:gd name="T9" fmla="*/ 0 h 40"/>
                <a:gd name="T10" fmla="*/ 42 w 44"/>
                <a:gd name="T11" fmla="*/ 0 h 40"/>
                <a:gd name="T12" fmla="*/ 44 w 44"/>
                <a:gd name="T13" fmla="*/ 2 h 40"/>
                <a:gd name="T14" fmla="*/ 44 w 44"/>
                <a:gd name="T15" fmla="*/ 38 h 40"/>
                <a:gd name="T16" fmla="*/ 42 w 44"/>
                <a:gd name="T17" fmla="*/ 40 h 40"/>
                <a:gd name="T18" fmla="*/ 4 w 44"/>
                <a:gd name="T19" fmla="*/ 36 h 40"/>
                <a:gd name="T20" fmla="*/ 40 w 44"/>
                <a:gd name="T21" fmla="*/ 36 h 40"/>
                <a:gd name="T22" fmla="*/ 40 w 44"/>
                <a:gd name="T23" fmla="*/ 4 h 40"/>
                <a:gd name="T24" fmla="*/ 4 w 44"/>
                <a:gd name="T25" fmla="*/ 4 h 40"/>
                <a:gd name="T26" fmla="*/ 4 w 44"/>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0">
                  <a:moveTo>
                    <a:pt x="42" y="40"/>
                  </a:moveTo>
                  <a:cubicBezTo>
                    <a:pt x="2" y="40"/>
                    <a:pt x="2" y="40"/>
                    <a:pt x="2" y="40"/>
                  </a:cubicBezTo>
                  <a:cubicBezTo>
                    <a:pt x="1" y="40"/>
                    <a:pt x="0" y="39"/>
                    <a:pt x="0" y="38"/>
                  </a:cubicBezTo>
                  <a:cubicBezTo>
                    <a:pt x="0" y="2"/>
                    <a:pt x="0" y="2"/>
                    <a:pt x="0" y="2"/>
                  </a:cubicBezTo>
                  <a:cubicBezTo>
                    <a:pt x="0" y="1"/>
                    <a:pt x="1" y="0"/>
                    <a:pt x="2" y="0"/>
                  </a:cubicBezTo>
                  <a:cubicBezTo>
                    <a:pt x="42" y="0"/>
                    <a:pt x="42" y="0"/>
                    <a:pt x="42" y="0"/>
                  </a:cubicBezTo>
                  <a:cubicBezTo>
                    <a:pt x="43" y="0"/>
                    <a:pt x="44" y="1"/>
                    <a:pt x="44" y="2"/>
                  </a:cubicBezTo>
                  <a:cubicBezTo>
                    <a:pt x="44" y="38"/>
                    <a:pt x="44" y="38"/>
                    <a:pt x="44" y="38"/>
                  </a:cubicBezTo>
                  <a:cubicBezTo>
                    <a:pt x="44" y="39"/>
                    <a:pt x="43" y="40"/>
                    <a:pt x="42" y="40"/>
                  </a:cubicBezTo>
                  <a:close/>
                  <a:moveTo>
                    <a:pt x="4" y="36"/>
                  </a:moveTo>
                  <a:cubicBezTo>
                    <a:pt x="40" y="36"/>
                    <a:pt x="40" y="36"/>
                    <a:pt x="40" y="36"/>
                  </a:cubicBezTo>
                  <a:cubicBezTo>
                    <a:pt x="40" y="4"/>
                    <a:pt x="40" y="4"/>
                    <a:pt x="40" y="4"/>
                  </a:cubicBezTo>
                  <a:cubicBezTo>
                    <a:pt x="4" y="4"/>
                    <a:pt x="4" y="4"/>
                    <a:pt x="4" y="4"/>
                  </a:cubicBezTo>
                  <a:lnTo>
                    <a:pt x="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sp>
          <p:nvSpPr>
            <p:cNvPr id="204" name="Freeform 125"/>
            <p:cNvSpPr>
              <a:spLocks noEditPoints="1"/>
            </p:cNvSpPr>
            <p:nvPr/>
          </p:nvSpPr>
          <p:spPr bwMode="auto">
            <a:xfrm>
              <a:off x="3452813" y="4064001"/>
              <a:ext cx="123825" cy="92075"/>
            </a:xfrm>
            <a:custGeom>
              <a:avLst/>
              <a:gdLst>
                <a:gd name="T0" fmla="*/ 30 w 32"/>
                <a:gd name="T1" fmla="*/ 24 h 24"/>
                <a:gd name="T2" fmla="*/ 2 w 32"/>
                <a:gd name="T3" fmla="*/ 24 h 24"/>
                <a:gd name="T4" fmla="*/ 0 w 32"/>
                <a:gd name="T5" fmla="*/ 22 h 24"/>
                <a:gd name="T6" fmla="*/ 0 w 32"/>
                <a:gd name="T7" fmla="*/ 2 h 24"/>
                <a:gd name="T8" fmla="*/ 2 w 32"/>
                <a:gd name="T9" fmla="*/ 0 h 24"/>
                <a:gd name="T10" fmla="*/ 30 w 32"/>
                <a:gd name="T11" fmla="*/ 0 h 24"/>
                <a:gd name="T12" fmla="*/ 32 w 32"/>
                <a:gd name="T13" fmla="*/ 2 h 24"/>
                <a:gd name="T14" fmla="*/ 32 w 32"/>
                <a:gd name="T15" fmla="*/ 22 h 24"/>
                <a:gd name="T16" fmla="*/ 30 w 32"/>
                <a:gd name="T17" fmla="*/ 24 h 24"/>
                <a:gd name="T18" fmla="*/ 4 w 32"/>
                <a:gd name="T19" fmla="*/ 20 h 24"/>
                <a:gd name="T20" fmla="*/ 28 w 32"/>
                <a:gd name="T21" fmla="*/ 20 h 24"/>
                <a:gd name="T22" fmla="*/ 28 w 32"/>
                <a:gd name="T23" fmla="*/ 4 h 24"/>
                <a:gd name="T24" fmla="*/ 4 w 32"/>
                <a:gd name="T25" fmla="*/ 4 h 24"/>
                <a:gd name="T26" fmla="*/ 4 w 32"/>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4">
                  <a:moveTo>
                    <a:pt x="30" y="24"/>
                  </a:moveTo>
                  <a:cubicBezTo>
                    <a:pt x="2" y="24"/>
                    <a:pt x="2" y="24"/>
                    <a:pt x="2" y="24"/>
                  </a:cubicBezTo>
                  <a:cubicBezTo>
                    <a:pt x="1" y="24"/>
                    <a:pt x="0" y="23"/>
                    <a:pt x="0" y="22"/>
                  </a:cubicBezTo>
                  <a:cubicBezTo>
                    <a:pt x="0" y="2"/>
                    <a:pt x="0" y="2"/>
                    <a:pt x="0" y="2"/>
                  </a:cubicBezTo>
                  <a:cubicBezTo>
                    <a:pt x="0" y="1"/>
                    <a:pt x="1" y="0"/>
                    <a:pt x="2" y="0"/>
                  </a:cubicBezTo>
                  <a:cubicBezTo>
                    <a:pt x="30" y="0"/>
                    <a:pt x="30" y="0"/>
                    <a:pt x="30" y="0"/>
                  </a:cubicBezTo>
                  <a:cubicBezTo>
                    <a:pt x="31" y="0"/>
                    <a:pt x="32" y="1"/>
                    <a:pt x="32" y="2"/>
                  </a:cubicBezTo>
                  <a:cubicBezTo>
                    <a:pt x="32" y="22"/>
                    <a:pt x="32" y="22"/>
                    <a:pt x="32" y="22"/>
                  </a:cubicBezTo>
                  <a:cubicBezTo>
                    <a:pt x="32" y="23"/>
                    <a:pt x="31" y="24"/>
                    <a:pt x="30" y="24"/>
                  </a:cubicBezTo>
                  <a:close/>
                  <a:moveTo>
                    <a:pt x="4" y="20"/>
                  </a:moveTo>
                  <a:cubicBezTo>
                    <a:pt x="28" y="20"/>
                    <a:pt x="28" y="20"/>
                    <a:pt x="28" y="20"/>
                  </a:cubicBezTo>
                  <a:cubicBezTo>
                    <a:pt x="28" y="4"/>
                    <a:pt x="28" y="4"/>
                    <a:pt x="28"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sp>
          <p:nvSpPr>
            <p:cNvPr id="205" name="Freeform 126"/>
            <p:cNvSpPr>
              <a:spLocks/>
            </p:cNvSpPr>
            <p:nvPr/>
          </p:nvSpPr>
          <p:spPr bwMode="auto">
            <a:xfrm>
              <a:off x="3546475" y="4249738"/>
              <a:ext cx="46037" cy="15875"/>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sp>
          <p:nvSpPr>
            <p:cNvPr id="206" name="Freeform 127"/>
            <p:cNvSpPr>
              <a:spLocks/>
            </p:cNvSpPr>
            <p:nvPr/>
          </p:nvSpPr>
          <p:spPr bwMode="auto">
            <a:xfrm>
              <a:off x="3482975" y="4110038"/>
              <a:ext cx="31750" cy="15875"/>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grpSp>
      <p:grpSp>
        <p:nvGrpSpPr>
          <p:cNvPr id="197" name="Group 196"/>
          <p:cNvGrpSpPr/>
          <p:nvPr/>
        </p:nvGrpSpPr>
        <p:grpSpPr>
          <a:xfrm>
            <a:off x="3508144" y="6328496"/>
            <a:ext cx="7542283" cy="1051671"/>
            <a:chOff x="949864" y="3145757"/>
            <a:chExt cx="3219685" cy="448942"/>
          </a:xfrm>
        </p:grpSpPr>
        <p:sp>
          <p:nvSpPr>
            <p:cNvPr id="198" name="TextBox 197"/>
            <p:cNvSpPr txBox="1"/>
            <p:nvPr/>
          </p:nvSpPr>
          <p:spPr>
            <a:xfrm>
              <a:off x="949864" y="3145757"/>
              <a:ext cx="701838" cy="157662"/>
            </a:xfrm>
            <a:prstGeom prst="rect">
              <a:avLst/>
            </a:prstGeom>
            <a:noFill/>
            <a:ln w="6350">
              <a:noFill/>
              <a:prstDash val="dash"/>
            </a:ln>
          </p:spPr>
          <p:txBody>
            <a:bodyPr wrap="square" lIns="0" tIns="0" rIns="0" bIns="0" rtlCol="0">
              <a:spAutoFit/>
            </a:bodyPr>
            <a:lstStyle/>
            <a:p>
              <a:pPr defTabSz="1828709">
                <a:defRPr/>
              </a:pPr>
              <a:r>
                <a:rPr lang="en-US" sz="2400" b="1" dirty="0"/>
                <a:t>SUPPLIER</a:t>
              </a:r>
            </a:p>
          </p:txBody>
        </p:sp>
        <p:sp>
          <p:nvSpPr>
            <p:cNvPr id="199" name="TextBox 198"/>
            <p:cNvSpPr txBox="1"/>
            <p:nvPr/>
          </p:nvSpPr>
          <p:spPr>
            <a:xfrm>
              <a:off x="949864" y="3279375"/>
              <a:ext cx="3219685" cy="315324"/>
            </a:xfrm>
            <a:prstGeom prst="rect">
              <a:avLst/>
            </a:prstGeom>
            <a:noFill/>
            <a:ln w="6350">
              <a:noFill/>
              <a:prstDash val="dash"/>
            </a:ln>
          </p:spPr>
          <p:txBody>
            <a:bodyPr wrap="square" lIns="0" tIns="0" rIns="0" bIns="0" rtlCol="0">
              <a:spAutoFit/>
            </a:bodyPr>
            <a:lstStyle/>
            <a:p>
              <a:pPr defTabSz="1828709">
                <a:defRPr/>
              </a:pPr>
              <a:r>
                <a:rPr lang="en-US" sz="2400" dirty="0"/>
                <a:t>Lorem </a:t>
              </a:r>
              <a:r>
                <a:rPr lang="en-US" sz="2400" dirty="0" err="1"/>
                <a:t>Ipsum</a:t>
              </a:r>
              <a:r>
                <a:rPr lang="en-US" sz="2400" dirty="0"/>
                <a:t> is simply dummy text of the printing and typesetting industry.</a:t>
              </a:r>
            </a:p>
          </p:txBody>
        </p:sp>
      </p:grpSp>
      <p:grpSp>
        <p:nvGrpSpPr>
          <p:cNvPr id="187" name="Group 186"/>
          <p:cNvGrpSpPr>
            <a:grpSpLocks noChangeAspect="1"/>
          </p:cNvGrpSpPr>
          <p:nvPr/>
        </p:nvGrpSpPr>
        <p:grpSpPr>
          <a:xfrm>
            <a:off x="2592703" y="7931666"/>
            <a:ext cx="727909" cy="575998"/>
            <a:chOff x="8045450" y="1020762"/>
            <a:chExt cx="365126" cy="288926"/>
          </a:xfrm>
          <a:solidFill>
            <a:schemeClr val="accent2"/>
          </a:solidFill>
        </p:grpSpPr>
        <p:sp>
          <p:nvSpPr>
            <p:cNvPr id="191" name="Freeform 131"/>
            <p:cNvSpPr>
              <a:spLocks/>
            </p:cNvSpPr>
            <p:nvPr/>
          </p:nvSpPr>
          <p:spPr bwMode="auto">
            <a:xfrm>
              <a:off x="8045450" y="1133475"/>
              <a:ext cx="109538" cy="82550"/>
            </a:xfrm>
            <a:custGeom>
              <a:avLst/>
              <a:gdLst>
                <a:gd name="T0" fmla="*/ 13 w 28"/>
                <a:gd name="T1" fmla="*/ 21 h 21"/>
                <a:gd name="T2" fmla="*/ 13 w 28"/>
                <a:gd name="T3" fmla="*/ 21 h 21"/>
                <a:gd name="T4" fmla="*/ 11 w 28"/>
                <a:gd name="T5" fmla="*/ 20 h 21"/>
                <a:gd name="T6" fmla="*/ 0 w 28"/>
                <a:gd name="T7" fmla="*/ 4 h 21"/>
                <a:gd name="T8" fmla="*/ 1 w 28"/>
                <a:gd name="T9" fmla="*/ 1 h 21"/>
                <a:gd name="T10" fmla="*/ 4 w 28"/>
                <a:gd name="T11" fmla="*/ 1 h 21"/>
                <a:gd name="T12" fmla="*/ 13 w 28"/>
                <a:gd name="T13" fmla="*/ 16 h 21"/>
                <a:gd name="T14" fmla="*/ 24 w 28"/>
                <a:gd name="T15" fmla="*/ 2 h 21"/>
                <a:gd name="T16" fmla="*/ 27 w 28"/>
                <a:gd name="T17" fmla="*/ 2 h 21"/>
                <a:gd name="T18" fmla="*/ 27 w 28"/>
                <a:gd name="T19" fmla="*/ 5 h 21"/>
                <a:gd name="T20" fmla="*/ 15 w 28"/>
                <a:gd name="T21" fmla="*/ 20 h 21"/>
                <a:gd name="T22" fmla="*/ 13 w 28"/>
                <a:gd name="T2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1">
                  <a:moveTo>
                    <a:pt x="13" y="21"/>
                  </a:moveTo>
                  <a:cubicBezTo>
                    <a:pt x="13" y="21"/>
                    <a:pt x="13" y="21"/>
                    <a:pt x="13" y="21"/>
                  </a:cubicBezTo>
                  <a:cubicBezTo>
                    <a:pt x="12" y="21"/>
                    <a:pt x="12" y="21"/>
                    <a:pt x="11" y="20"/>
                  </a:cubicBezTo>
                  <a:cubicBezTo>
                    <a:pt x="0" y="4"/>
                    <a:pt x="0" y="4"/>
                    <a:pt x="0" y="4"/>
                  </a:cubicBezTo>
                  <a:cubicBezTo>
                    <a:pt x="0" y="3"/>
                    <a:pt x="0" y="1"/>
                    <a:pt x="1" y="1"/>
                  </a:cubicBezTo>
                  <a:cubicBezTo>
                    <a:pt x="2" y="0"/>
                    <a:pt x="3" y="0"/>
                    <a:pt x="4" y="1"/>
                  </a:cubicBezTo>
                  <a:cubicBezTo>
                    <a:pt x="13" y="16"/>
                    <a:pt x="13" y="16"/>
                    <a:pt x="13" y="16"/>
                  </a:cubicBezTo>
                  <a:cubicBezTo>
                    <a:pt x="24" y="2"/>
                    <a:pt x="24" y="2"/>
                    <a:pt x="24" y="2"/>
                  </a:cubicBezTo>
                  <a:cubicBezTo>
                    <a:pt x="25" y="2"/>
                    <a:pt x="26" y="1"/>
                    <a:pt x="27" y="2"/>
                  </a:cubicBezTo>
                  <a:cubicBezTo>
                    <a:pt x="28" y="3"/>
                    <a:pt x="28" y="4"/>
                    <a:pt x="27" y="5"/>
                  </a:cubicBezTo>
                  <a:cubicBezTo>
                    <a:pt x="15" y="20"/>
                    <a:pt x="15" y="20"/>
                    <a:pt x="15" y="20"/>
                  </a:cubicBezTo>
                  <a:cubicBezTo>
                    <a:pt x="14" y="21"/>
                    <a:pt x="14" y="21"/>
                    <a:pt x="1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sp>
          <p:nvSpPr>
            <p:cNvPr id="192" name="Freeform 132"/>
            <p:cNvSpPr>
              <a:spLocks/>
            </p:cNvSpPr>
            <p:nvPr/>
          </p:nvSpPr>
          <p:spPr bwMode="auto">
            <a:xfrm>
              <a:off x="8080375" y="1020762"/>
              <a:ext cx="255588" cy="195263"/>
            </a:xfrm>
            <a:custGeom>
              <a:avLst/>
              <a:gdLst>
                <a:gd name="T0" fmla="*/ 4 w 66"/>
                <a:gd name="T1" fmla="*/ 50 h 50"/>
                <a:gd name="T2" fmla="*/ 2 w 66"/>
                <a:gd name="T3" fmla="*/ 48 h 50"/>
                <a:gd name="T4" fmla="*/ 7 w 66"/>
                <a:gd name="T5" fmla="*/ 20 h 50"/>
                <a:gd name="T6" fmla="*/ 30 w 66"/>
                <a:gd name="T7" fmla="*/ 3 h 50"/>
                <a:gd name="T8" fmla="*/ 65 w 66"/>
                <a:gd name="T9" fmla="*/ 14 h 50"/>
                <a:gd name="T10" fmla="*/ 65 w 66"/>
                <a:gd name="T11" fmla="*/ 17 h 50"/>
                <a:gd name="T12" fmla="*/ 62 w 66"/>
                <a:gd name="T13" fmla="*/ 17 h 50"/>
                <a:gd name="T14" fmla="*/ 31 w 66"/>
                <a:gd name="T15" fmla="*/ 7 h 50"/>
                <a:gd name="T16" fmla="*/ 10 w 66"/>
                <a:gd name="T17" fmla="*/ 22 h 50"/>
                <a:gd name="T18" fmla="*/ 6 w 66"/>
                <a:gd name="T19" fmla="*/ 47 h 50"/>
                <a:gd name="T20" fmla="*/ 4 w 66"/>
                <a:gd name="T21" fmla="*/ 50 h 50"/>
                <a:gd name="T22" fmla="*/ 4 w 6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0">
                  <a:moveTo>
                    <a:pt x="4" y="50"/>
                  </a:moveTo>
                  <a:cubicBezTo>
                    <a:pt x="3" y="50"/>
                    <a:pt x="2" y="49"/>
                    <a:pt x="2" y="48"/>
                  </a:cubicBezTo>
                  <a:cubicBezTo>
                    <a:pt x="0" y="39"/>
                    <a:pt x="1" y="28"/>
                    <a:pt x="7" y="20"/>
                  </a:cubicBezTo>
                  <a:cubicBezTo>
                    <a:pt x="12" y="11"/>
                    <a:pt x="20" y="5"/>
                    <a:pt x="30" y="3"/>
                  </a:cubicBezTo>
                  <a:cubicBezTo>
                    <a:pt x="43" y="0"/>
                    <a:pt x="56" y="4"/>
                    <a:pt x="65" y="14"/>
                  </a:cubicBezTo>
                  <a:cubicBezTo>
                    <a:pt x="66" y="15"/>
                    <a:pt x="66" y="16"/>
                    <a:pt x="65" y="17"/>
                  </a:cubicBezTo>
                  <a:cubicBezTo>
                    <a:pt x="64" y="18"/>
                    <a:pt x="63" y="18"/>
                    <a:pt x="62" y="17"/>
                  </a:cubicBezTo>
                  <a:cubicBezTo>
                    <a:pt x="54" y="8"/>
                    <a:pt x="42" y="4"/>
                    <a:pt x="31" y="7"/>
                  </a:cubicBezTo>
                  <a:cubicBezTo>
                    <a:pt x="22" y="9"/>
                    <a:pt x="15" y="14"/>
                    <a:pt x="10" y="22"/>
                  </a:cubicBezTo>
                  <a:cubicBezTo>
                    <a:pt x="5" y="30"/>
                    <a:pt x="4" y="39"/>
                    <a:pt x="6" y="47"/>
                  </a:cubicBezTo>
                  <a:cubicBezTo>
                    <a:pt x="6" y="48"/>
                    <a:pt x="5" y="49"/>
                    <a:pt x="4" y="50"/>
                  </a:cubicBezTo>
                  <a:cubicBezTo>
                    <a:pt x="4" y="50"/>
                    <a:pt x="4" y="50"/>
                    <a:pt x="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sp>
          <p:nvSpPr>
            <p:cNvPr id="193" name="Freeform 133"/>
            <p:cNvSpPr>
              <a:spLocks/>
            </p:cNvSpPr>
            <p:nvPr/>
          </p:nvSpPr>
          <p:spPr bwMode="auto">
            <a:xfrm>
              <a:off x="8301038" y="1122363"/>
              <a:ext cx="109538" cy="82550"/>
            </a:xfrm>
            <a:custGeom>
              <a:avLst/>
              <a:gdLst>
                <a:gd name="T0" fmla="*/ 26 w 28"/>
                <a:gd name="T1" fmla="*/ 21 h 21"/>
                <a:gd name="T2" fmla="*/ 24 w 28"/>
                <a:gd name="T3" fmla="*/ 20 h 21"/>
                <a:gd name="T4" fmla="*/ 15 w 28"/>
                <a:gd name="T5" fmla="*/ 5 h 21"/>
                <a:gd name="T6" fmla="*/ 4 w 28"/>
                <a:gd name="T7" fmla="*/ 19 h 21"/>
                <a:gd name="T8" fmla="*/ 1 w 28"/>
                <a:gd name="T9" fmla="*/ 19 h 21"/>
                <a:gd name="T10" fmla="*/ 1 w 28"/>
                <a:gd name="T11" fmla="*/ 16 h 21"/>
                <a:gd name="T12" fmla="*/ 13 w 28"/>
                <a:gd name="T13" fmla="*/ 1 h 21"/>
                <a:gd name="T14" fmla="*/ 15 w 28"/>
                <a:gd name="T15" fmla="*/ 0 h 21"/>
                <a:gd name="T16" fmla="*/ 17 w 28"/>
                <a:gd name="T17" fmla="*/ 1 h 21"/>
                <a:gd name="T18" fmla="*/ 28 w 28"/>
                <a:gd name="T19" fmla="*/ 17 h 21"/>
                <a:gd name="T20" fmla="*/ 27 w 28"/>
                <a:gd name="T21" fmla="*/ 20 h 21"/>
                <a:gd name="T22" fmla="*/ 26 w 28"/>
                <a:gd name="T2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1">
                  <a:moveTo>
                    <a:pt x="26" y="21"/>
                  </a:moveTo>
                  <a:cubicBezTo>
                    <a:pt x="25" y="21"/>
                    <a:pt x="25" y="20"/>
                    <a:pt x="24" y="20"/>
                  </a:cubicBezTo>
                  <a:cubicBezTo>
                    <a:pt x="15" y="5"/>
                    <a:pt x="15" y="5"/>
                    <a:pt x="15" y="5"/>
                  </a:cubicBezTo>
                  <a:cubicBezTo>
                    <a:pt x="4" y="19"/>
                    <a:pt x="4" y="19"/>
                    <a:pt x="4" y="19"/>
                  </a:cubicBezTo>
                  <a:cubicBezTo>
                    <a:pt x="3" y="19"/>
                    <a:pt x="2" y="20"/>
                    <a:pt x="1" y="19"/>
                  </a:cubicBezTo>
                  <a:cubicBezTo>
                    <a:pt x="0" y="18"/>
                    <a:pt x="0" y="17"/>
                    <a:pt x="1" y="16"/>
                  </a:cubicBezTo>
                  <a:cubicBezTo>
                    <a:pt x="13" y="1"/>
                    <a:pt x="13" y="1"/>
                    <a:pt x="13" y="1"/>
                  </a:cubicBezTo>
                  <a:cubicBezTo>
                    <a:pt x="14" y="0"/>
                    <a:pt x="14" y="0"/>
                    <a:pt x="15" y="0"/>
                  </a:cubicBezTo>
                  <a:cubicBezTo>
                    <a:pt x="16" y="0"/>
                    <a:pt x="16" y="0"/>
                    <a:pt x="17" y="1"/>
                  </a:cubicBezTo>
                  <a:cubicBezTo>
                    <a:pt x="28" y="17"/>
                    <a:pt x="28" y="17"/>
                    <a:pt x="28" y="17"/>
                  </a:cubicBezTo>
                  <a:cubicBezTo>
                    <a:pt x="28" y="18"/>
                    <a:pt x="28" y="20"/>
                    <a:pt x="27" y="20"/>
                  </a:cubicBezTo>
                  <a:cubicBezTo>
                    <a:pt x="27" y="20"/>
                    <a:pt x="27" y="21"/>
                    <a:pt x="26"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sp>
          <p:nvSpPr>
            <p:cNvPr id="194" name="Freeform 134"/>
            <p:cNvSpPr>
              <a:spLocks/>
            </p:cNvSpPr>
            <p:nvPr/>
          </p:nvSpPr>
          <p:spPr bwMode="auto">
            <a:xfrm>
              <a:off x="8120063" y="1122363"/>
              <a:ext cx="255588" cy="187325"/>
            </a:xfrm>
            <a:custGeom>
              <a:avLst/>
              <a:gdLst>
                <a:gd name="T0" fmla="*/ 28 w 66"/>
                <a:gd name="T1" fmla="*/ 48 h 48"/>
                <a:gd name="T2" fmla="*/ 1 w 66"/>
                <a:gd name="T3" fmla="*/ 36 h 48"/>
                <a:gd name="T4" fmla="*/ 1 w 66"/>
                <a:gd name="T5" fmla="*/ 33 h 48"/>
                <a:gd name="T6" fmla="*/ 4 w 66"/>
                <a:gd name="T7" fmla="*/ 33 h 48"/>
                <a:gd name="T8" fmla="*/ 35 w 66"/>
                <a:gd name="T9" fmla="*/ 43 h 48"/>
                <a:gd name="T10" fmla="*/ 56 w 66"/>
                <a:gd name="T11" fmla="*/ 28 h 48"/>
                <a:gd name="T12" fmla="*/ 60 w 66"/>
                <a:gd name="T13" fmla="*/ 3 h 48"/>
                <a:gd name="T14" fmla="*/ 62 w 66"/>
                <a:gd name="T15" fmla="*/ 0 h 48"/>
                <a:gd name="T16" fmla="*/ 64 w 66"/>
                <a:gd name="T17" fmla="*/ 2 h 48"/>
                <a:gd name="T18" fmla="*/ 59 w 66"/>
                <a:gd name="T19" fmla="*/ 30 h 48"/>
                <a:gd name="T20" fmla="*/ 36 w 66"/>
                <a:gd name="T21" fmla="*/ 47 h 48"/>
                <a:gd name="T22" fmla="*/ 28 w 66"/>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48">
                  <a:moveTo>
                    <a:pt x="28" y="48"/>
                  </a:moveTo>
                  <a:cubicBezTo>
                    <a:pt x="18" y="48"/>
                    <a:pt x="8" y="44"/>
                    <a:pt x="1" y="36"/>
                  </a:cubicBezTo>
                  <a:cubicBezTo>
                    <a:pt x="0" y="35"/>
                    <a:pt x="0" y="34"/>
                    <a:pt x="1" y="33"/>
                  </a:cubicBezTo>
                  <a:cubicBezTo>
                    <a:pt x="2" y="32"/>
                    <a:pt x="3" y="32"/>
                    <a:pt x="4" y="33"/>
                  </a:cubicBezTo>
                  <a:cubicBezTo>
                    <a:pt x="12" y="42"/>
                    <a:pt x="24" y="46"/>
                    <a:pt x="35" y="43"/>
                  </a:cubicBezTo>
                  <a:cubicBezTo>
                    <a:pt x="44" y="41"/>
                    <a:pt x="51" y="36"/>
                    <a:pt x="56" y="28"/>
                  </a:cubicBezTo>
                  <a:cubicBezTo>
                    <a:pt x="61" y="20"/>
                    <a:pt x="62" y="11"/>
                    <a:pt x="60" y="3"/>
                  </a:cubicBezTo>
                  <a:cubicBezTo>
                    <a:pt x="60" y="2"/>
                    <a:pt x="60" y="1"/>
                    <a:pt x="62" y="0"/>
                  </a:cubicBezTo>
                  <a:cubicBezTo>
                    <a:pt x="63" y="0"/>
                    <a:pt x="64" y="1"/>
                    <a:pt x="64" y="2"/>
                  </a:cubicBezTo>
                  <a:cubicBezTo>
                    <a:pt x="66" y="11"/>
                    <a:pt x="65" y="22"/>
                    <a:pt x="59" y="30"/>
                  </a:cubicBezTo>
                  <a:cubicBezTo>
                    <a:pt x="54" y="39"/>
                    <a:pt x="46" y="45"/>
                    <a:pt x="36" y="47"/>
                  </a:cubicBezTo>
                  <a:cubicBezTo>
                    <a:pt x="34" y="48"/>
                    <a:pt x="31" y="48"/>
                    <a:pt x="28"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sp>
          <p:nvSpPr>
            <p:cNvPr id="195" name="Freeform 135"/>
            <p:cNvSpPr>
              <a:spLocks noEditPoints="1"/>
            </p:cNvSpPr>
            <p:nvPr/>
          </p:nvSpPr>
          <p:spPr bwMode="auto">
            <a:xfrm>
              <a:off x="8189913" y="1130300"/>
              <a:ext cx="76200"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6"/>
                    <a:pt x="0" y="10"/>
                  </a:cubicBezTo>
                  <a:cubicBezTo>
                    <a:pt x="0" y="4"/>
                    <a:pt x="4"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grpSp>
      <p:grpSp>
        <p:nvGrpSpPr>
          <p:cNvPr id="188" name="Group 187"/>
          <p:cNvGrpSpPr/>
          <p:nvPr/>
        </p:nvGrpSpPr>
        <p:grpSpPr>
          <a:xfrm>
            <a:off x="3549547" y="7931669"/>
            <a:ext cx="7542285" cy="1051671"/>
            <a:chOff x="949864" y="3145757"/>
            <a:chExt cx="3219685" cy="448942"/>
          </a:xfrm>
        </p:grpSpPr>
        <p:sp>
          <p:nvSpPr>
            <p:cNvPr id="189" name="TextBox 188"/>
            <p:cNvSpPr txBox="1"/>
            <p:nvPr/>
          </p:nvSpPr>
          <p:spPr>
            <a:xfrm>
              <a:off x="949864" y="3145757"/>
              <a:ext cx="1312030" cy="157662"/>
            </a:xfrm>
            <a:prstGeom prst="rect">
              <a:avLst/>
            </a:prstGeom>
            <a:noFill/>
            <a:ln w="6350">
              <a:noFill/>
              <a:prstDash val="dash"/>
            </a:ln>
          </p:spPr>
          <p:txBody>
            <a:bodyPr wrap="square" lIns="0" tIns="0" rIns="0" bIns="0" rtlCol="0">
              <a:spAutoFit/>
            </a:bodyPr>
            <a:lstStyle/>
            <a:p>
              <a:pPr defTabSz="1828709">
                <a:defRPr/>
              </a:pPr>
              <a:r>
                <a:rPr lang="en-US" sz="2400" b="1" dirty="0"/>
                <a:t>YOUR PROCESS</a:t>
              </a:r>
            </a:p>
          </p:txBody>
        </p:sp>
        <p:sp>
          <p:nvSpPr>
            <p:cNvPr id="190" name="TextBox 189"/>
            <p:cNvSpPr txBox="1"/>
            <p:nvPr/>
          </p:nvSpPr>
          <p:spPr>
            <a:xfrm>
              <a:off x="949864" y="3279375"/>
              <a:ext cx="3219685" cy="315324"/>
            </a:xfrm>
            <a:prstGeom prst="rect">
              <a:avLst/>
            </a:prstGeom>
            <a:noFill/>
            <a:ln w="6350">
              <a:noFill/>
              <a:prstDash val="dash"/>
            </a:ln>
          </p:spPr>
          <p:txBody>
            <a:bodyPr wrap="square" lIns="0" tIns="0" rIns="0" bIns="0" rtlCol="0">
              <a:spAutoFit/>
            </a:bodyPr>
            <a:lstStyle/>
            <a:p>
              <a:pPr defTabSz="1828709">
                <a:defRPr/>
              </a:pPr>
              <a:r>
                <a:rPr lang="en-US" sz="2400" dirty="0"/>
                <a:t>Lorem </a:t>
              </a:r>
              <a:r>
                <a:rPr lang="en-US" sz="2400" dirty="0" err="1"/>
                <a:t>Ipsum</a:t>
              </a:r>
              <a:r>
                <a:rPr lang="en-US" sz="2400" dirty="0"/>
                <a:t> is simply dummy text of the printing and typesetting industry.</a:t>
              </a:r>
            </a:p>
          </p:txBody>
        </p:sp>
      </p:grpSp>
      <p:grpSp>
        <p:nvGrpSpPr>
          <p:cNvPr id="131" name="Group 130"/>
          <p:cNvGrpSpPr/>
          <p:nvPr/>
        </p:nvGrpSpPr>
        <p:grpSpPr>
          <a:xfrm>
            <a:off x="3547404" y="9581735"/>
            <a:ext cx="7542283" cy="1051671"/>
            <a:chOff x="949864" y="3145757"/>
            <a:chExt cx="3219685" cy="448942"/>
          </a:xfrm>
        </p:grpSpPr>
        <p:sp>
          <p:nvSpPr>
            <p:cNvPr id="185" name="TextBox 184"/>
            <p:cNvSpPr txBox="1"/>
            <p:nvPr/>
          </p:nvSpPr>
          <p:spPr>
            <a:xfrm>
              <a:off x="949864" y="3145757"/>
              <a:ext cx="1042939" cy="157662"/>
            </a:xfrm>
            <a:prstGeom prst="rect">
              <a:avLst/>
            </a:prstGeom>
            <a:noFill/>
            <a:ln w="6350">
              <a:noFill/>
              <a:prstDash val="dash"/>
            </a:ln>
          </p:spPr>
          <p:txBody>
            <a:bodyPr wrap="square" lIns="0" tIns="0" rIns="0" bIns="0" rtlCol="0">
              <a:spAutoFit/>
            </a:bodyPr>
            <a:lstStyle/>
            <a:p>
              <a:pPr defTabSz="1828709">
                <a:defRPr/>
              </a:pPr>
              <a:r>
                <a:rPr lang="en-US" sz="2400" b="1" dirty="0"/>
                <a:t>CUSTOMER</a:t>
              </a:r>
            </a:p>
          </p:txBody>
        </p:sp>
        <p:sp>
          <p:nvSpPr>
            <p:cNvPr id="186" name="TextBox 185"/>
            <p:cNvSpPr txBox="1"/>
            <p:nvPr/>
          </p:nvSpPr>
          <p:spPr>
            <a:xfrm>
              <a:off x="949864" y="3279375"/>
              <a:ext cx="3219685" cy="315324"/>
            </a:xfrm>
            <a:prstGeom prst="rect">
              <a:avLst/>
            </a:prstGeom>
            <a:noFill/>
            <a:ln w="6350">
              <a:noFill/>
              <a:prstDash val="dash"/>
            </a:ln>
          </p:spPr>
          <p:txBody>
            <a:bodyPr wrap="square" lIns="0" tIns="0" rIns="0" bIns="0" rtlCol="0">
              <a:spAutoFit/>
            </a:bodyPr>
            <a:lstStyle/>
            <a:p>
              <a:pPr defTabSz="1828709">
                <a:defRPr/>
              </a:pPr>
              <a:r>
                <a:rPr lang="en-US" sz="2400" dirty="0"/>
                <a:t>Lorem </a:t>
              </a:r>
              <a:r>
                <a:rPr lang="en-US" sz="2400" dirty="0" err="1"/>
                <a:t>Ipsum</a:t>
              </a:r>
              <a:r>
                <a:rPr lang="en-US" sz="2400" dirty="0"/>
                <a:t> is simply dummy text of the printing and typesetting industry.</a:t>
              </a:r>
            </a:p>
          </p:txBody>
        </p:sp>
      </p:grpSp>
      <p:grpSp>
        <p:nvGrpSpPr>
          <p:cNvPr id="132" name="Group 131"/>
          <p:cNvGrpSpPr>
            <a:grpSpLocks noChangeAspect="1"/>
          </p:cNvGrpSpPr>
          <p:nvPr/>
        </p:nvGrpSpPr>
        <p:grpSpPr>
          <a:xfrm>
            <a:off x="2592704" y="9581732"/>
            <a:ext cx="723619" cy="633599"/>
            <a:chOff x="7548563" y="349250"/>
            <a:chExt cx="3317876" cy="2905126"/>
          </a:xfrm>
          <a:solidFill>
            <a:schemeClr val="accent1"/>
          </a:solidFill>
        </p:grpSpPr>
        <p:sp>
          <p:nvSpPr>
            <p:cNvPr id="133" name="Freeform 139"/>
            <p:cNvSpPr>
              <a:spLocks noEditPoints="1"/>
            </p:cNvSpPr>
            <p:nvPr/>
          </p:nvSpPr>
          <p:spPr bwMode="auto">
            <a:xfrm>
              <a:off x="7548563" y="1316038"/>
              <a:ext cx="831850" cy="1384300"/>
            </a:xfrm>
            <a:custGeom>
              <a:avLst/>
              <a:gdLst>
                <a:gd name="T0" fmla="*/ 165 w 221"/>
                <a:gd name="T1" fmla="*/ 368 h 368"/>
                <a:gd name="T2" fmla="*/ 55 w 221"/>
                <a:gd name="T3" fmla="*/ 368 h 368"/>
                <a:gd name="T4" fmla="*/ 37 w 221"/>
                <a:gd name="T5" fmla="*/ 350 h 368"/>
                <a:gd name="T6" fmla="*/ 37 w 221"/>
                <a:gd name="T7" fmla="*/ 200 h 368"/>
                <a:gd name="T8" fmla="*/ 0 w 221"/>
                <a:gd name="T9" fmla="*/ 129 h 368"/>
                <a:gd name="T10" fmla="*/ 0 w 221"/>
                <a:gd name="T11" fmla="*/ 19 h 368"/>
                <a:gd name="T12" fmla="*/ 18 w 221"/>
                <a:gd name="T13" fmla="*/ 0 h 368"/>
                <a:gd name="T14" fmla="*/ 202 w 221"/>
                <a:gd name="T15" fmla="*/ 0 h 368"/>
                <a:gd name="T16" fmla="*/ 221 w 221"/>
                <a:gd name="T17" fmla="*/ 19 h 368"/>
                <a:gd name="T18" fmla="*/ 221 w 221"/>
                <a:gd name="T19" fmla="*/ 129 h 368"/>
                <a:gd name="T20" fmla="*/ 184 w 221"/>
                <a:gd name="T21" fmla="*/ 200 h 368"/>
                <a:gd name="T22" fmla="*/ 184 w 221"/>
                <a:gd name="T23" fmla="*/ 350 h 368"/>
                <a:gd name="T24" fmla="*/ 165 w 221"/>
                <a:gd name="T25" fmla="*/ 368 h 368"/>
                <a:gd name="T26" fmla="*/ 74 w 221"/>
                <a:gd name="T27" fmla="*/ 331 h 368"/>
                <a:gd name="T28" fmla="*/ 147 w 221"/>
                <a:gd name="T29" fmla="*/ 331 h 368"/>
                <a:gd name="T30" fmla="*/ 147 w 221"/>
                <a:gd name="T31" fmla="*/ 184 h 368"/>
                <a:gd name="T32" fmla="*/ 165 w 221"/>
                <a:gd name="T33" fmla="*/ 166 h 368"/>
                <a:gd name="T34" fmla="*/ 184 w 221"/>
                <a:gd name="T35" fmla="*/ 129 h 368"/>
                <a:gd name="T36" fmla="*/ 184 w 221"/>
                <a:gd name="T37" fmla="*/ 37 h 368"/>
                <a:gd name="T38" fmla="*/ 37 w 221"/>
                <a:gd name="T39" fmla="*/ 37 h 368"/>
                <a:gd name="T40" fmla="*/ 37 w 221"/>
                <a:gd name="T41" fmla="*/ 129 h 368"/>
                <a:gd name="T42" fmla="*/ 55 w 221"/>
                <a:gd name="T43" fmla="*/ 166 h 368"/>
                <a:gd name="T44" fmla="*/ 74 w 221"/>
                <a:gd name="T45" fmla="*/ 184 h 368"/>
                <a:gd name="T46" fmla="*/ 74 w 221"/>
                <a:gd name="T47" fmla="*/ 331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368">
                  <a:moveTo>
                    <a:pt x="165" y="368"/>
                  </a:moveTo>
                  <a:cubicBezTo>
                    <a:pt x="55" y="368"/>
                    <a:pt x="55" y="368"/>
                    <a:pt x="55" y="368"/>
                  </a:cubicBezTo>
                  <a:cubicBezTo>
                    <a:pt x="45" y="368"/>
                    <a:pt x="37" y="360"/>
                    <a:pt x="37" y="350"/>
                  </a:cubicBezTo>
                  <a:cubicBezTo>
                    <a:pt x="37" y="200"/>
                    <a:pt x="37" y="200"/>
                    <a:pt x="37" y="200"/>
                  </a:cubicBezTo>
                  <a:cubicBezTo>
                    <a:pt x="12" y="193"/>
                    <a:pt x="0" y="169"/>
                    <a:pt x="0" y="129"/>
                  </a:cubicBezTo>
                  <a:cubicBezTo>
                    <a:pt x="0" y="19"/>
                    <a:pt x="0" y="19"/>
                    <a:pt x="0" y="19"/>
                  </a:cubicBezTo>
                  <a:cubicBezTo>
                    <a:pt x="0" y="9"/>
                    <a:pt x="8" y="0"/>
                    <a:pt x="18" y="0"/>
                  </a:cubicBezTo>
                  <a:cubicBezTo>
                    <a:pt x="202" y="0"/>
                    <a:pt x="202" y="0"/>
                    <a:pt x="202" y="0"/>
                  </a:cubicBezTo>
                  <a:cubicBezTo>
                    <a:pt x="212" y="0"/>
                    <a:pt x="221" y="9"/>
                    <a:pt x="221" y="19"/>
                  </a:cubicBezTo>
                  <a:cubicBezTo>
                    <a:pt x="221" y="129"/>
                    <a:pt x="221" y="129"/>
                    <a:pt x="221" y="129"/>
                  </a:cubicBezTo>
                  <a:cubicBezTo>
                    <a:pt x="221" y="169"/>
                    <a:pt x="208" y="193"/>
                    <a:pt x="184" y="200"/>
                  </a:cubicBezTo>
                  <a:cubicBezTo>
                    <a:pt x="184" y="350"/>
                    <a:pt x="184" y="350"/>
                    <a:pt x="184" y="350"/>
                  </a:cubicBezTo>
                  <a:cubicBezTo>
                    <a:pt x="184" y="360"/>
                    <a:pt x="176" y="368"/>
                    <a:pt x="165" y="368"/>
                  </a:cubicBezTo>
                  <a:close/>
                  <a:moveTo>
                    <a:pt x="74" y="331"/>
                  </a:moveTo>
                  <a:cubicBezTo>
                    <a:pt x="147" y="331"/>
                    <a:pt x="147" y="331"/>
                    <a:pt x="147" y="331"/>
                  </a:cubicBezTo>
                  <a:cubicBezTo>
                    <a:pt x="147" y="184"/>
                    <a:pt x="147" y="184"/>
                    <a:pt x="147" y="184"/>
                  </a:cubicBezTo>
                  <a:cubicBezTo>
                    <a:pt x="147" y="174"/>
                    <a:pt x="155" y="166"/>
                    <a:pt x="165" y="166"/>
                  </a:cubicBezTo>
                  <a:cubicBezTo>
                    <a:pt x="174" y="166"/>
                    <a:pt x="184" y="166"/>
                    <a:pt x="184" y="129"/>
                  </a:cubicBezTo>
                  <a:cubicBezTo>
                    <a:pt x="184" y="37"/>
                    <a:pt x="184" y="37"/>
                    <a:pt x="184" y="37"/>
                  </a:cubicBezTo>
                  <a:cubicBezTo>
                    <a:pt x="37" y="37"/>
                    <a:pt x="37" y="37"/>
                    <a:pt x="37" y="37"/>
                  </a:cubicBezTo>
                  <a:cubicBezTo>
                    <a:pt x="37" y="129"/>
                    <a:pt x="37" y="129"/>
                    <a:pt x="37" y="129"/>
                  </a:cubicBezTo>
                  <a:cubicBezTo>
                    <a:pt x="37" y="166"/>
                    <a:pt x="47" y="166"/>
                    <a:pt x="55" y="166"/>
                  </a:cubicBezTo>
                  <a:cubicBezTo>
                    <a:pt x="65" y="166"/>
                    <a:pt x="74" y="174"/>
                    <a:pt x="74" y="184"/>
                  </a:cubicBezTo>
                  <a:lnTo>
                    <a:pt x="74"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sp>
          <p:nvSpPr>
            <p:cNvPr id="134" name="Freeform 140"/>
            <p:cNvSpPr>
              <a:spLocks noEditPoints="1"/>
            </p:cNvSpPr>
            <p:nvPr/>
          </p:nvSpPr>
          <p:spPr bwMode="auto">
            <a:xfrm>
              <a:off x="10039351" y="1316038"/>
              <a:ext cx="827088" cy="1384300"/>
            </a:xfrm>
            <a:custGeom>
              <a:avLst/>
              <a:gdLst>
                <a:gd name="T0" fmla="*/ 165 w 220"/>
                <a:gd name="T1" fmla="*/ 368 h 368"/>
                <a:gd name="T2" fmla="*/ 55 w 220"/>
                <a:gd name="T3" fmla="*/ 368 h 368"/>
                <a:gd name="T4" fmla="*/ 36 w 220"/>
                <a:gd name="T5" fmla="*/ 350 h 368"/>
                <a:gd name="T6" fmla="*/ 36 w 220"/>
                <a:gd name="T7" fmla="*/ 200 h 368"/>
                <a:gd name="T8" fmla="*/ 0 w 220"/>
                <a:gd name="T9" fmla="*/ 129 h 368"/>
                <a:gd name="T10" fmla="*/ 0 w 220"/>
                <a:gd name="T11" fmla="*/ 19 h 368"/>
                <a:gd name="T12" fmla="*/ 18 w 220"/>
                <a:gd name="T13" fmla="*/ 0 h 368"/>
                <a:gd name="T14" fmla="*/ 202 w 220"/>
                <a:gd name="T15" fmla="*/ 0 h 368"/>
                <a:gd name="T16" fmla="*/ 220 w 220"/>
                <a:gd name="T17" fmla="*/ 19 h 368"/>
                <a:gd name="T18" fmla="*/ 220 w 220"/>
                <a:gd name="T19" fmla="*/ 129 h 368"/>
                <a:gd name="T20" fmla="*/ 184 w 220"/>
                <a:gd name="T21" fmla="*/ 200 h 368"/>
                <a:gd name="T22" fmla="*/ 184 w 220"/>
                <a:gd name="T23" fmla="*/ 350 h 368"/>
                <a:gd name="T24" fmla="*/ 165 w 220"/>
                <a:gd name="T25" fmla="*/ 368 h 368"/>
                <a:gd name="T26" fmla="*/ 73 w 220"/>
                <a:gd name="T27" fmla="*/ 331 h 368"/>
                <a:gd name="T28" fmla="*/ 147 w 220"/>
                <a:gd name="T29" fmla="*/ 331 h 368"/>
                <a:gd name="T30" fmla="*/ 147 w 220"/>
                <a:gd name="T31" fmla="*/ 184 h 368"/>
                <a:gd name="T32" fmla="*/ 165 w 220"/>
                <a:gd name="T33" fmla="*/ 166 h 368"/>
                <a:gd name="T34" fmla="*/ 184 w 220"/>
                <a:gd name="T35" fmla="*/ 129 h 368"/>
                <a:gd name="T36" fmla="*/ 184 w 220"/>
                <a:gd name="T37" fmla="*/ 37 h 368"/>
                <a:gd name="T38" fmla="*/ 36 w 220"/>
                <a:gd name="T39" fmla="*/ 37 h 368"/>
                <a:gd name="T40" fmla="*/ 36 w 220"/>
                <a:gd name="T41" fmla="*/ 129 h 368"/>
                <a:gd name="T42" fmla="*/ 55 w 220"/>
                <a:gd name="T43" fmla="*/ 166 h 368"/>
                <a:gd name="T44" fmla="*/ 73 w 220"/>
                <a:gd name="T45" fmla="*/ 184 h 368"/>
                <a:gd name="T46" fmla="*/ 73 w 220"/>
                <a:gd name="T47" fmla="*/ 331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0" h="368">
                  <a:moveTo>
                    <a:pt x="165" y="368"/>
                  </a:moveTo>
                  <a:cubicBezTo>
                    <a:pt x="55" y="368"/>
                    <a:pt x="55" y="368"/>
                    <a:pt x="55" y="368"/>
                  </a:cubicBezTo>
                  <a:cubicBezTo>
                    <a:pt x="45" y="368"/>
                    <a:pt x="36" y="360"/>
                    <a:pt x="36" y="350"/>
                  </a:cubicBezTo>
                  <a:cubicBezTo>
                    <a:pt x="36" y="200"/>
                    <a:pt x="36" y="200"/>
                    <a:pt x="36" y="200"/>
                  </a:cubicBezTo>
                  <a:cubicBezTo>
                    <a:pt x="12" y="193"/>
                    <a:pt x="0" y="169"/>
                    <a:pt x="0" y="129"/>
                  </a:cubicBezTo>
                  <a:cubicBezTo>
                    <a:pt x="0" y="19"/>
                    <a:pt x="0" y="19"/>
                    <a:pt x="0" y="19"/>
                  </a:cubicBezTo>
                  <a:cubicBezTo>
                    <a:pt x="0" y="9"/>
                    <a:pt x="8" y="0"/>
                    <a:pt x="18" y="0"/>
                  </a:cubicBezTo>
                  <a:cubicBezTo>
                    <a:pt x="202" y="0"/>
                    <a:pt x="202" y="0"/>
                    <a:pt x="202" y="0"/>
                  </a:cubicBezTo>
                  <a:cubicBezTo>
                    <a:pt x="212" y="0"/>
                    <a:pt x="220" y="9"/>
                    <a:pt x="220" y="19"/>
                  </a:cubicBezTo>
                  <a:cubicBezTo>
                    <a:pt x="220" y="129"/>
                    <a:pt x="220" y="129"/>
                    <a:pt x="220" y="129"/>
                  </a:cubicBezTo>
                  <a:cubicBezTo>
                    <a:pt x="220" y="169"/>
                    <a:pt x="208" y="193"/>
                    <a:pt x="184" y="200"/>
                  </a:cubicBezTo>
                  <a:cubicBezTo>
                    <a:pt x="184" y="350"/>
                    <a:pt x="184" y="350"/>
                    <a:pt x="184" y="350"/>
                  </a:cubicBezTo>
                  <a:cubicBezTo>
                    <a:pt x="184" y="360"/>
                    <a:pt x="175" y="368"/>
                    <a:pt x="165" y="368"/>
                  </a:cubicBezTo>
                  <a:close/>
                  <a:moveTo>
                    <a:pt x="73" y="331"/>
                  </a:moveTo>
                  <a:cubicBezTo>
                    <a:pt x="147" y="331"/>
                    <a:pt x="147" y="331"/>
                    <a:pt x="147" y="331"/>
                  </a:cubicBezTo>
                  <a:cubicBezTo>
                    <a:pt x="147" y="184"/>
                    <a:pt x="147" y="184"/>
                    <a:pt x="147" y="184"/>
                  </a:cubicBezTo>
                  <a:cubicBezTo>
                    <a:pt x="147" y="174"/>
                    <a:pt x="155" y="166"/>
                    <a:pt x="165" y="166"/>
                  </a:cubicBezTo>
                  <a:cubicBezTo>
                    <a:pt x="173" y="166"/>
                    <a:pt x="183" y="166"/>
                    <a:pt x="184" y="129"/>
                  </a:cubicBezTo>
                  <a:cubicBezTo>
                    <a:pt x="184" y="37"/>
                    <a:pt x="184" y="37"/>
                    <a:pt x="184" y="37"/>
                  </a:cubicBezTo>
                  <a:cubicBezTo>
                    <a:pt x="36" y="37"/>
                    <a:pt x="36" y="37"/>
                    <a:pt x="36" y="37"/>
                  </a:cubicBezTo>
                  <a:cubicBezTo>
                    <a:pt x="36" y="129"/>
                    <a:pt x="36" y="129"/>
                    <a:pt x="36" y="129"/>
                  </a:cubicBezTo>
                  <a:cubicBezTo>
                    <a:pt x="36" y="166"/>
                    <a:pt x="47" y="166"/>
                    <a:pt x="55" y="166"/>
                  </a:cubicBezTo>
                  <a:cubicBezTo>
                    <a:pt x="65" y="166"/>
                    <a:pt x="73" y="174"/>
                    <a:pt x="73" y="184"/>
                  </a:cubicBezTo>
                  <a:lnTo>
                    <a:pt x="73"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sp>
          <p:nvSpPr>
            <p:cNvPr id="135" name="Freeform 141"/>
            <p:cNvSpPr>
              <a:spLocks noEditPoints="1"/>
            </p:cNvSpPr>
            <p:nvPr/>
          </p:nvSpPr>
          <p:spPr bwMode="auto">
            <a:xfrm>
              <a:off x="8655051" y="1316038"/>
              <a:ext cx="1104900" cy="1938338"/>
            </a:xfrm>
            <a:custGeom>
              <a:avLst/>
              <a:gdLst>
                <a:gd name="T0" fmla="*/ 202 w 294"/>
                <a:gd name="T1" fmla="*/ 515 h 515"/>
                <a:gd name="T2" fmla="*/ 92 w 294"/>
                <a:gd name="T3" fmla="*/ 515 h 515"/>
                <a:gd name="T4" fmla="*/ 74 w 294"/>
                <a:gd name="T5" fmla="*/ 497 h 515"/>
                <a:gd name="T6" fmla="*/ 74 w 294"/>
                <a:gd name="T7" fmla="*/ 293 h 515"/>
                <a:gd name="T8" fmla="*/ 0 w 294"/>
                <a:gd name="T9" fmla="*/ 203 h 515"/>
                <a:gd name="T10" fmla="*/ 0 w 294"/>
                <a:gd name="T11" fmla="*/ 19 h 515"/>
                <a:gd name="T12" fmla="*/ 18 w 294"/>
                <a:gd name="T13" fmla="*/ 0 h 515"/>
                <a:gd name="T14" fmla="*/ 276 w 294"/>
                <a:gd name="T15" fmla="*/ 0 h 515"/>
                <a:gd name="T16" fmla="*/ 294 w 294"/>
                <a:gd name="T17" fmla="*/ 19 h 515"/>
                <a:gd name="T18" fmla="*/ 294 w 294"/>
                <a:gd name="T19" fmla="*/ 203 h 515"/>
                <a:gd name="T20" fmla="*/ 221 w 294"/>
                <a:gd name="T21" fmla="*/ 293 h 515"/>
                <a:gd name="T22" fmla="*/ 221 w 294"/>
                <a:gd name="T23" fmla="*/ 497 h 515"/>
                <a:gd name="T24" fmla="*/ 202 w 294"/>
                <a:gd name="T25" fmla="*/ 515 h 515"/>
                <a:gd name="T26" fmla="*/ 110 w 294"/>
                <a:gd name="T27" fmla="*/ 478 h 515"/>
                <a:gd name="T28" fmla="*/ 184 w 294"/>
                <a:gd name="T29" fmla="*/ 478 h 515"/>
                <a:gd name="T30" fmla="*/ 184 w 294"/>
                <a:gd name="T31" fmla="*/ 276 h 515"/>
                <a:gd name="T32" fmla="*/ 202 w 294"/>
                <a:gd name="T33" fmla="*/ 258 h 515"/>
                <a:gd name="T34" fmla="*/ 257 w 294"/>
                <a:gd name="T35" fmla="*/ 203 h 515"/>
                <a:gd name="T36" fmla="*/ 257 w 294"/>
                <a:gd name="T37" fmla="*/ 37 h 515"/>
                <a:gd name="T38" fmla="*/ 37 w 294"/>
                <a:gd name="T39" fmla="*/ 37 h 515"/>
                <a:gd name="T40" fmla="*/ 37 w 294"/>
                <a:gd name="T41" fmla="*/ 203 h 515"/>
                <a:gd name="T42" fmla="*/ 92 w 294"/>
                <a:gd name="T43" fmla="*/ 258 h 515"/>
                <a:gd name="T44" fmla="*/ 110 w 294"/>
                <a:gd name="T45" fmla="*/ 276 h 515"/>
                <a:gd name="T46" fmla="*/ 110 w 294"/>
                <a:gd name="T47" fmla="*/ 47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4" h="515">
                  <a:moveTo>
                    <a:pt x="202" y="515"/>
                  </a:moveTo>
                  <a:cubicBezTo>
                    <a:pt x="92" y="515"/>
                    <a:pt x="92" y="515"/>
                    <a:pt x="92" y="515"/>
                  </a:cubicBezTo>
                  <a:cubicBezTo>
                    <a:pt x="82" y="515"/>
                    <a:pt x="74" y="507"/>
                    <a:pt x="74" y="497"/>
                  </a:cubicBezTo>
                  <a:cubicBezTo>
                    <a:pt x="74" y="293"/>
                    <a:pt x="74" y="293"/>
                    <a:pt x="74" y="293"/>
                  </a:cubicBezTo>
                  <a:cubicBezTo>
                    <a:pt x="32" y="284"/>
                    <a:pt x="0" y="247"/>
                    <a:pt x="0" y="203"/>
                  </a:cubicBezTo>
                  <a:cubicBezTo>
                    <a:pt x="0" y="19"/>
                    <a:pt x="0" y="19"/>
                    <a:pt x="0" y="19"/>
                  </a:cubicBezTo>
                  <a:cubicBezTo>
                    <a:pt x="0" y="9"/>
                    <a:pt x="8" y="0"/>
                    <a:pt x="18" y="0"/>
                  </a:cubicBezTo>
                  <a:cubicBezTo>
                    <a:pt x="276" y="0"/>
                    <a:pt x="276" y="0"/>
                    <a:pt x="276" y="0"/>
                  </a:cubicBezTo>
                  <a:cubicBezTo>
                    <a:pt x="286" y="0"/>
                    <a:pt x="294" y="9"/>
                    <a:pt x="294" y="19"/>
                  </a:cubicBezTo>
                  <a:cubicBezTo>
                    <a:pt x="294" y="203"/>
                    <a:pt x="294" y="203"/>
                    <a:pt x="294" y="203"/>
                  </a:cubicBezTo>
                  <a:cubicBezTo>
                    <a:pt x="294" y="247"/>
                    <a:pt x="263" y="284"/>
                    <a:pt x="221" y="293"/>
                  </a:cubicBezTo>
                  <a:cubicBezTo>
                    <a:pt x="221" y="497"/>
                    <a:pt x="221" y="497"/>
                    <a:pt x="221" y="497"/>
                  </a:cubicBezTo>
                  <a:cubicBezTo>
                    <a:pt x="221" y="507"/>
                    <a:pt x="212" y="515"/>
                    <a:pt x="202" y="515"/>
                  </a:cubicBezTo>
                  <a:close/>
                  <a:moveTo>
                    <a:pt x="110" y="478"/>
                  </a:moveTo>
                  <a:cubicBezTo>
                    <a:pt x="184" y="478"/>
                    <a:pt x="184" y="478"/>
                    <a:pt x="184" y="478"/>
                  </a:cubicBezTo>
                  <a:cubicBezTo>
                    <a:pt x="184" y="276"/>
                    <a:pt x="184" y="276"/>
                    <a:pt x="184" y="276"/>
                  </a:cubicBezTo>
                  <a:cubicBezTo>
                    <a:pt x="184" y="266"/>
                    <a:pt x="192" y="258"/>
                    <a:pt x="202" y="258"/>
                  </a:cubicBezTo>
                  <a:cubicBezTo>
                    <a:pt x="233" y="258"/>
                    <a:pt x="257" y="233"/>
                    <a:pt x="257" y="203"/>
                  </a:cubicBezTo>
                  <a:cubicBezTo>
                    <a:pt x="257" y="37"/>
                    <a:pt x="257" y="37"/>
                    <a:pt x="257" y="37"/>
                  </a:cubicBezTo>
                  <a:cubicBezTo>
                    <a:pt x="37" y="37"/>
                    <a:pt x="37" y="37"/>
                    <a:pt x="37" y="37"/>
                  </a:cubicBezTo>
                  <a:cubicBezTo>
                    <a:pt x="37" y="203"/>
                    <a:pt x="37" y="203"/>
                    <a:pt x="37" y="203"/>
                  </a:cubicBezTo>
                  <a:cubicBezTo>
                    <a:pt x="37" y="233"/>
                    <a:pt x="62" y="258"/>
                    <a:pt x="92" y="258"/>
                  </a:cubicBezTo>
                  <a:cubicBezTo>
                    <a:pt x="102" y="258"/>
                    <a:pt x="110" y="266"/>
                    <a:pt x="110" y="276"/>
                  </a:cubicBezTo>
                  <a:lnTo>
                    <a:pt x="110" y="4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sp>
          <p:nvSpPr>
            <p:cNvPr id="182" name="Freeform 142"/>
            <p:cNvSpPr>
              <a:spLocks noEditPoints="1"/>
            </p:cNvSpPr>
            <p:nvPr/>
          </p:nvSpPr>
          <p:spPr bwMode="auto">
            <a:xfrm>
              <a:off x="7688263" y="627063"/>
              <a:ext cx="552450" cy="554038"/>
            </a:xfrm>
            <a:custGeom>
              <a:avLst/>
              <a:gdLst>
                <a:gd name="T0" fmla="*/ 73 w 147"/>
                <a:gd name="T1" fmla="*/ 147 h 147"/>
                <a:gd name="T2" fmla="*/ 0 w 147"/>
                <a:gd name="T3" fmla="*/ 73 h 147"/>
                <a:gd name="T4" fmla="*/ 73 w 147"/>
                <a:gd name="T5" fmla="*/ 0 h 147"/>
                <a:gd name="T6" fmla="*/ 147 w 147"/>
                <a:gd name="T7" fmla="*/ 73 h 147"/>
                <a:gd name="T8" fmla="*/ 73 w 147"/>
                <a:gd name="T9" fmla="*/ 147 h 147"/>
                <a:gd name="T10" fmla="*/ 73 w 147"/>
                <a:gd name="T11" fmla="*/ 36 h 147"/>
                <a:gd name="T12" fmla="*/ 37 w 147"/>
                <a:gd name="T13" fmla="*/ 73 h 147"/>
                <a:gd name="T14" fmla="*/ 73 w 147"/>
                <a:gd name="T15" fmla="*/ 110 h 147"/>
                <a:gd name="T16" fmla="*/ 110 w 147"/>
                <a:gd name="T17" fmla="*/ 73 h 147"/>
                <a:gd name="T18" fmla="*/ 73 w 147"/>
                <a:gd name="T19"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47">
                  <a:moveTo>
                    <a:pt x="73" y="147"/>
                  </a:moveTo>
                  <a:cubicBezTo>
                    <a:pt x="33" y="147"/>
                    <a:pt x="0" y="114"/>
                    <a:pt x="0" y="73"/>
                  </a:cubicBezTo>
                  <a:cubicBezTo>
                    <a:pt x="0" y="32"/>
                    <a:pt x="33" y="0"/>
                    <a:pt x="73" y="0"/>
                  </a:cubicBezTo>
                  <a:cubicBezTo>
                    <a:pt x="114" y="0"/>
                    <a:pt x="147" y="32"/>
                    <a:pt x="147" y="73"/>
                  </a:cubicBezTo>
                  <a:cubicBezTo>
                    <a:pt x="147" y="114"/>
                    <a:pt x="114" y="147"/>
                    <a:pt x="73" y="147"/>
                  </a:cubicBezTo>
                  <a:close/>
                  <a:moveTo>
                    <a:pt x="73" y="36"/>
                  </a:moveTo>
                  <a:cubicBezTo>
                    <a:pt x="53" y="36"/>
                    <a:pt x="37" y="53"/>
                    <a:pt x="37" y="73"/>
                  </a:cubicBezTo>
                  <a:cubicBezTo>
                    <a:pt x="37" y="93"/>
                    <a:pt x="53" y="110"/>
                    <a:pt x="73" y="110"/>
                  </a:cubicBezTo>
                  <a:cubicBezTo>
                    <a:pt x="94" y="110"/>
                    <a:pt x="110" y="93"/>
                    <a:pt x="110" y="73"/>
                  </a:cubicBezTo>
                  <a:cubicBezTo>
                    <a:pt x="110" y="53"/>
                    <a:pt x="94" y="36"/>
                    <a:pt x="73"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sp>
          <p:nvSpPr>
            <p:cNvPr id="183" name="Freeform 143"/>
            <p:cNvSpPr>
              <a:spLocks noEditPoints="1"/>
            </p:cNvSpPr>
            <p:nvPr/>
          </p:nvSpPr>
          <p:spPr bwMode="auto">
            <a:xfrm>
              <a:off x="10174288" y="627063"/>
              <a:ext cx="557213" cy="554038"/>
            </a:xfrm>
            <a:custGeom>
              <a:avLst/>
              <a:gdLst>
                <a:gd name="T0" fmla="*/ 74 w 148"/>
                <a:gd name="T1" fmla="*/ 147 h 147"/>
                <a:gd name="T2" fmla="*/ 0 w 148"/>
                <a:gd name="T3" fmla="*/ 73 h 147"/>
                <a:gd name="T4" fmla="*/ 74 w 148"/>
                <a:gd name="T5" fmla="*/ 0 h 147"/>
                <a:gd name="T6" fmla="*/ 148 w 148"/>
                <a:gd name="T7" fmla="*/ 73 h 147"/>
                <a:gd name="T8" fmla="*/ 74 w 148"/>
                <a:gd name="T9" fmla="*/ 147 h 147"/>
                <a:gd name="T10" fmla="*/ 74 w 148"/>
                <a:gd name="T11" fmla="*/ 36 h 147"/>
                <a:gd name="T12" fmla="*/ 37 w 148"/>
                <a:gd name="T13" fmla="*/ 73 h 147"/>
                <a:gd name="T14" fmla="*/ 74 w 148"/>
                <a:gd name="T15" fmla="*/ 110 h 147"/>
                <a:gd name="T16" fmla="*/ 111 w 148"/>
                <a:gd name="T17" fmla="*/ 73 h 147"/>
                <a:gd name="T18" fmla="*/ 74 w 148"/>
                <a:gd name="T19"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 h="147">
                  <a:moveTo>
                    <a:pt x="74" y="147"/>
                  </a:moveTo>
                  <a:cubicBezTo>
                    <a:pt x="33" y="147"/>
                    <a:pt x="0" y="114"/>
                    <a:pt x="0" y="73"/>
                  </a:cubicBezTo>
                  <a:cubicBezTo>
                    <a:pt x="0" y="32"/>
                    <a:pt x="33" y="0"/>
                    <a:pt x="74" y="0"/>
                  </a:cubicBezTo>
                  <a:cubicBezTo>
                    <a:pt x="115" y="0"/>
                    <a:pt x="148" y="32"/>
                    <a:pt x="148" y="73"/>
                  </a:cubicBezTo>
                  <a:cubicBezTo>
                    <a:pt x="148" y="114"/>
                    <a:pt x="115" y="147"/>
                    <a:pt x="74" y="147"/>
                  </a:cubicBezTo>
                  <a:close/>
                  <a:moveTo>
                    <a:pt x="74" y="36"/>
                  </a:moveTo>
                  <a:cubicBezTo>
                    <a:pt x="54" y="36"/>
                    <a:pt x="37" y="53"/>
                    <a:pt x="37" y="73"/>
                  </a:cubicBezTo>
                  <a:cubicBezTo>
                    <a:pt x="37" y="93"/>
                    <a:pt x="54" y="110"/>
                    <a:pt x="74" y="110"/>
                  </a:cubicBezTo>
                  <a:cubicBezTo>
                    <a:pt x="94" y="110"/>
                    <a:pt x="111" y="93"/>
                    <a:pt x="111" y="73"/>
                  </a:cubicBezTo>
                  <a:cubicBezTo>
                    <a:pt x="111" y="53"/>
                    <a:pt x="94" y="36"/>
                    <a:pt x="7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sp>
          <p:nvSpPr>
            <p:cNvPr id="184" name="Freeform 144"/>
            <p:cNvSpPr>
              <a:spLocks noEditPoints="1"/>
            </p:cNvSpPr>
            <p:nvPr/>
          </p:nvSpPr>
          <p:spPr bwMode="auto">
            <a:xfrm>
              <a:off x="8793163" y="349250"/>
              <a:ext cx="828675" cy="831850"/>
            </a:xfrm>
            <a:custGeom>
              <a:avLst/>
              <a:gdLst>
                <a:gd name="T0" fmla="*/ 110 w 220"/>
                <a:gd name="T1" fmla="*/ 221 h 221"/>
                <a:gd name="T2" fmla="*/ 0 w 220"/>
                <a:gd name="T3" fmla="*/ 110 h 221"/>
                <a:gd name="T4" fmla="*/ 110 w 220"/>
                <a:gd name="T5" fmla="*/ 0 h 221"/>
                <a:gd name="T6" fmla="*/ 220 w 220"/>
                <a:gd name="T7" fmla="*/ 110 h 221"/>
                <a:gd name="T8" fmla="*/ 110 w 220"/>
                <a:gd name="T9" fmla="*/ 221 h 221"/>
                <a:gd name="T10" fmla="*/ 110 w 220"/>
                <a:gd name="T11" fmla="*/ 37 h 221"/>
                <a:gd name="T12" fmla="*/ 37 w 220"/>
                <a:gd name="T13" fmla="*/ 110 h 221"/>
                <a:gd name="T14" fmla="*/ 110 w 220"/>
                <a:gd name="T15" fmla="*/ 184 h 221"/>
                <a:gd name="T16" fmla="*/ 184 w 220"/>
                <a:gd name="T17" fmla="*/ 110 h 221"/>
                <a:gd name="T18" fmla="*/ 110 w 220"/>
                <a:gd name="T19" fmla="*/ 3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1">
                  <a:moveTo>
                    <a:pt x="110" y="221"/>
                  </a:moveTo>
                  <a:cubicBezTo>
                    <a:pt x="49" y="221"/>
                    <a:pt x="0" y="171"/>
                    <a:pt x="0" y="110"/>
                  </a:cubicBezTo>
                  <a:cubicBezTo>
                    <a:pt x="0" y="49"/>
                    <a:pt x="49" y="0"/>
                    <a:pt x="110" y="0"/>
                  </a:cubicBezTo>
                  <a:cubicBezTo>
                    <a:pt x="171" y="0"/>
                    <a:pt x="220" y="49"/>
                    <a:pt x="220" y="110"/>
                  </a:cubicBezTo>
                  <a:cubicBezTo>
                    <a:pt x="220" y="171"/>
                    <a:pt x="171" y="221"/>
                    <a:pt x="110" y="221"/>
                  </a:cubicBezTo>
                  <a:close/>
                  <a:moveTo>
                    <a:pt x="110" y="37"/>
                  </a:moveTo>
                  <a:cubicBezTo>
                    <a:pt x="70" y="37"/>
                    <a:pt x="37" y="70"/>
                    <a:pt x="37" y="110"/>
                  </a:cubicBezTo>
                  <a:cubicBezTo>
                    <a:pt x="37" y="151"/>
                    <a:pt x="70" y="184"/>
                    <a:pt x="110" y="184"/>
                  </a:cubicBezTo>
                  <a:cubicBezTo>
                    <a:pt x="151" y="184"/>
                    <a:pt x="184" y="151"/>
                    <a:pt x="184" y="110"/>
                  </a:cubicBezTo>
                  <a:cubicBezTo>
                    <a:pt x="184" y="70"/>
                    <a:pt x="151" y="37"/>
                    <a:pt x="11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pPr defTabSz="1828709">
                <a:defRPr/>
              </a:pPr>
              <a:endParaRPr lang="en-US" sz="2400"/>
            </a:p>
          </p:txBody>
        </p:sp>
      </p:grpSp>
      <p:cxnSp>
        <p:nvCxnSpPr>
          <p:cNvPr id="129" name="Straight Connector 128"/>
          <p:cNvCxnSpPr/>
          <p:nvPr/>
        </p:nvCxnSpPr>
        <p:spPr>
          <a:xfrm>
            <a:off x="2592703" y="7635354"/>
            <a:ext cx="8637658" cy="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2592703" y="9285416"/>
            <a:ext cx="8637658" cy="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A6AEDB5E-1486-F04A-9CFC-1EF2E828B670}"/>
              </a:ext>
            </a:extLst>
          </p:cNvPr>
          <p:cNvSpPr>
            <a:spLocks noGrp="1"/>
          </p:cNvSpPr>
          <p:nvPr>
            <p:ph type="title"/>
          </p:nvPr>
        </p:nvSpPr>
        <p:spPr/>
        <p:txBody>
          <a:bodyPr/>
          <a:lstStyle/>
          <a:p>
            <a:r>
              <a:rPr lang="en-US" dirty="0"/>
              <a:t>Diagram</a:t>
            </a:r>
          </a:p>
        </p:txBody>
      </p:sp>
    </p:spTree>
    <p:extLst>
      <p:ext uri="{BB962C8B-B14F-4D97-AF65-F5344CB8AC3E}">
        <p14:creationId xmlns:p14="http://schemas.microsoft.com/office/powerpoint/2010/main" val="266359900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 name="Title 1"/>
          <p:cNvSpPr txBox="1">
            <a:spLocks/>
          </p:cNvSpPr>
          <p:nvPr/>
        </p:nvSpPr>
        <p:spPr>
          <a:xfrm>
            <a:off x="20952110" y="4536588"/>
            <a:ext cx="1599038" cy="1231106"/>
          </a:xfrm>
          <a:prstGeom prst="rect">
            <a:avLst/>
          </a:prstGeom>
          <a:effectLst/>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8000" b="1" dirty="0">
                <a:solidFill>
                  <a:schemeClr val="accent3">
                    <a:lumMod val="60000"/>
                    <a:lumOff val="40000"/>
                  </a:schemeClr>
                </a:solidFill>
                <a:latin typeface="+mn-lt"/>
                <a:ea typeface="Segoe UI" panose="020B0502040204020203" pitchFamily="34" charset="0"/>
                <a:cs typeface="Segoe UI" panose="020B0502040204020203" pitchFamily="34" charset="0"/>
              </a:rPr>
              <a:t>02</a:t>
            </a:r>
          </a:p>
        </p:txBody>
      </p:sp>
      <p:sp>
        <p:nvSpPr>
          <p:cNvPr id="211" name="Title 1"/>
          <p:cNvSpPr txBox="1">
            <a:spLocks/>
          </p:cNvSpPr>
          <p:nvPr/>
        </p:nvSpPr>
        <p:spPr>
          <a:xfrm>
            <a:off x="2299518" y="8425119"/>
            <a:ext cx="1599038" cy="1231106"/>
          </a:xfrm>
          <a:prstGeom prst="rect">
            <a:avLst/>
          </a:prstGeom>
          <a:effectLst/>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8000" b="1" dirty="0">
                <a:solidFill>
                  <a:srgbClr val="76C8D2"/>
                </a:solidFill>
                <a:latin typeface="+mn-lt"/>
                <a:ea typeface="Segoe UI" panose="020B0502040204020203" pitchFamily="34" charset="0"/>
                <a:cs typeface="Segoe UI" panose="020B0502040204020203" pitchFamily="34" charset="0"/>
              </a:rPr>
              <a:t>03</a:t>
            </a:r>
          </a:p>
        </p:txBody>
      </p:sp>
      <p:sp>
        <p:nvSpPr>
          <p:cNvPr id="212" name="Title 1"/>
          <p:cNvSpPr txBox="1">
            <a:spLocks/>
          </p:cNvSpPr>
          <p:nvPr/>
        </p:nvSpPr>
        <p:spPr>
          <a:xfrm>
            <a:off x="20499968" y="8425119"/>
            <a:ext cx="1599038" cy="1231106"/>
          </a:xfrm>
          <a:prstGeom prst="rect">
            <a:avLst/>
          </a:prstGeom>
          <a:effectLst/>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8000" b="1" dirty="0">
                <a:solidFill>
                  <a:schemeClr val="accent2">
                    <a:lumMod val="40000"/>
                    <a:lumOff val="60000"/>
                  </a:schemeClr>
                </a:solidFill>
                <a:latin typeface="+mn-lt"/>
                <a:ea typeface="Segoe UI" panose="020B0502040204020203" pitchFamily="34" charset="0"/>
                <a:cs typeface="Segoe UI" panose="020B0502040204020203" pitchFamily="34" charset="0"/>
              </a:rPr>
              <a:t>04</a:t>
            </a:r>
          </a:p>
        </p:txBody>
      </p:sp>
      <p:sp>
        <p:nvSpPr>
          <p:cNvPr id="213" name="Title 1"/>
          <p:cNvSpPr txBox="1">
            <a:spLocks/>
          </p:cNvSpPr>
          <p:nvPr/>
        </p:nvSpPr>
        <p:spPr>
          <a:xfrm>
            <a:off x="1847376" y="4536588"/>
            <a:ext cx="1599038" cy="1231106"/>
          </a:xfrm>
          <a:prstGeom prst="rect">
            <a:avLst/>
          </a:prstGeom>
          <a:effectLst/>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8000" b="1" dirty="0">
                <a:solidFill>
                  <a:schemeClr val="accent1">
                    <a:lumMod val="40000"/>
                    <a:lumOff val="60000"/>
                  </a:schemeClr>
                </a:solidFill>
                <a:latin typeface="+mn-lt"/>
                <a:ea typeface="Segoe UI" panose="020B0502040204020203" pitchFamily="34" charset="0"/>
                <a:cs typeface="Segoe UI" panose="020B0502040204020203" pitchFamily="34" charset="0"/>
              </a:rPr>
              <a:t>01</a:t>
            </a:r>
          </a:p>
        </p:txBody>
      </p:sp>
      <p:sp>
        <p:nvSpPr>
          <p:cNvPr id="214" name="Freeform 213"/>
          <p:cNvSpPr>
            <a:spLocks/>
          </p:cNvSpPr>
          <p:nvPr/>
        </p:nvSpPr>
        <p:spPr bwMode="auto">
          <a:xfrm>
            <a:off x="12352632" y="8758876"/>
            <a:ext cx="1321912" cy="1331177"/>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5"/>
          </a:solidFill>
          <a:ln>
            <a:noFill/>
          </a:ln>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15" name="Freeform 214"/>
          <p:cNvSpPr>
            <a:spLocks/>
          </p:cNvSpPr>
          <p:nvPr/>
        </p:nvSpPr>
        <p:spPr bwMode="auto">
          <a:xfrm>
            <a:off x="13502343" y="6823931"/>
            <a:ext cx="2101899" cy="2116632"/>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2"/>
          </a:solidFill>
          <a:ln>
            <a:noFill/>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16" name="Freeform 215"/>
          <p:cNvSpPr>
            <a:spLocks/>
          </p:cNvSpPr>
          <p:nvPr/>
        </p:nvSpPr>
        <p:spPr bwMode="auto">
          <a:xfrm>
            <a:off x="13502339" y="4292852"/>
            <a:ext cx="2274100" cy="2290045"/>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3"/>
          </a:solidFill>
          <a:ln>
            <a:noFill/>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17" name="Freeform 216"/>
          <p:cNvSpPr>
            <a:spLocks/>
          </p:cNvSpPr>
          <p:nvPr/>
        </p:nvSpPr>
        <p:spPr bwMode="auto">
          <a:xfrm>
            <a:off x="10811812" y="2601704"/>
            <a:ext cx="2682085" cy="2700890"/>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tx2"/>
          </a:solidFill>
          <a:ln>
            <a:noFill/>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18" name="Freeform 217"/>
          <p:cNvSpPr>
            <a:spLocks/>
          </p:cNvSpPr>
          <p:nvPr/>
        </p:nvSpPr>
        <p:spPr bwMode="auto">
          <a:xfrm flipH="1">
            <a:off x="10696508" y="8758876"/>
            <a:ext cx="1321912" cy="1331177"/>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5"/>
          </a:solidFill>
          <a:ln>
            <a:noFill/>
          </a:ln>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19" name="Freeform 218"/>
          <p:cNvSpPr>
            <a:spLocks/>
          </p:cNvSpPr>
          <p:nvPr/>
        </p:nvSpPr>
        <p:spPr bwMode="auto">
          <a:xfrm flipH="1">
            <a:off x="8766807" y="6823931"/>
            <a:ext cx="2101899" cy="2116632"/>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4"/>
          </a:solidFill>
          <a:ln>
            <a:noFill/>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20" name="Freeform 219"/>
          <p:cNvSpPr>
            <a:spLocks/>
          </p:cNvSpPr>
          <p:nvPr/>
        </p:nvSpPr>
        <p:spPr bwMode="auto">
          <a:xfrm flipH="1">
            <a:off x="8594606" y="4292852"/>
            <a:ext cx="2274100" cy="2290045"/>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1"/>
          </a:solidFill>
          <a:ln>
            <a:noFill/>
          </a:ln>
          <a:effectLst>
            <a:outerShdw blurRad="50800" dist="38100" dir="5400000" algn="t" rotWithShape="0">
              <a:prstClr val="black">
                <a:alpha val="40000"/>
              </a:prstClr>
            </a:outerShdw>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21" name="Freeform 220"/>
          <p:cNvSpPr>
            <a:spLocks/>
          </p:cNvSpPr>
          <p:nvPr/>
        </p:nvSpPr>
        <p:spPr bwMode="auto">
          <a:xfrm>
            <a:off x="15176748" y="6362760"/>
            <a:ext cx="762278" cy="767622"/>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5"/>
          </a:solidFill>
          <a:ln>
            <a:noFill/>
          </a:ln>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22" name="Freeform 221"/>
          <p:cNvSpPr>
            <a:spLocks/>
          </p:cNvSpPr>
          <p:nvPr/>
        </p:nvSpPr>
        <p:spPr bwMode="auto">
          <a:xfrm>
            <a:off x="8443382" y="6362760"/>
            <a:ext cx="762278" cy="767622"/>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5"/>
          </a:solidFill>
          <a:ln>
            <a:noFill/>
          </a:ln>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23" name="Freeform 23"/>
          <p:cNvSpPr>
            <a:spLocks noEditPoints="1"/>
          </p:cNvSpPr>
          <p:nvPr/>
        </p:nvSpPr>
        <p:spPr bwMode="auto">
          <a:xfrm>
            <a:off x="13674551" y="3434599"/>
            <a:ext cx="765212" cy="766890"/>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chemeClr val="accent5"/>
          </a:solidFill>
          <a:ln>
            <a:noFill/>
          </a:ln>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24" name="Freeform 23"/>
          <p:cNvSpPr>
            <a:spLocks noEditPoints="1"/>
          </p:cNvSpPr>
          <p:nvPr/>
        </p:nvSpPr>
        <p:spPr bwMode="auto">
          <a:xfrm>
            <a:off x="9819272" y="3434599"/>
            <a:ext cx="765212" cy="766890"/>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chemeClr val="accent5"/>
          </a:solidFill>
          <a:ln>
            <a:noFill/>
          </a:ln>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25" name="Freeform 23"/>
          <p:cNvSpPr>
            <a:spLocks noEditPoints="1"/>
          </p:cNvSpPr>
          <p:nvPr/>
        </p:nvSpPr>
        <p:spPr bwMode="auto">
          <a:xfrm>
            <a:off x="10864163" y="5379724"/>
            <a:ext cx="1604266" cy="1607787"/>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chemeClr val="accent5"/>
          </a:solidFill>
          <a:ln>
            <a:noFill/>
          </a:ln>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26" name="Freeform 23"/>
          <p:cNvSpPr>
            <a:spLocks noEditPoints="1"/>
          </p:cNvSpPr>
          <p:nvPr/>
        </p:nvSpPr>
        <p:spPr bwMode="auto">
          <a:xfrm>
            <a:off x="12482275" y="5302421"/>
            <a:ext cx="879267" cy="881199"/>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chemeClr val="accent5"/>
          </a:solidFill>
          <a:ln>
            <a:noFill/>
          </a:ln>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27" name="Freeform 23"/>
          <p:cNvSpPr>
            <a:spLocks noEditPoints="1"/>
          </p:cNvSpPr>
          <p:nvPr/>
        </p:nvSpPr>
        <p:spPr bwMode="auto">
          <a:xfrm>
            <a:off x="11470710" y="6930616"/>
            <a:ext cx="1824255" cy="1828259"/>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chemeClr val="accent5"/>
          </a:solidFill>
          <a:ln>
            <a:noFill/>
          </a:ln>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28" name="Freeform 227"/>
          <p:cNvSpPr>
            <a:spLocks/>
          </p:cNvSpPr>
          <p:nvPr/>
        </p:nvSpPr>
        <p:spPr bwMode="auto">
          <a:xfrm>
            <a:off x="12757119" y="6290447"/>
            <a:ext cx="762278" cy="767622"/>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5"/>
          </a:solidFill>
          <a:ln>
            <a:noFill/>
          </a:ln>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grpSp>
        <p:nvGrpSpPr>
          <p:cNvPr id="5" name="Group 4">
            <a:extLst>
              <a:ext uri="{FF2B5EF4-FFF2-40B4-BE49-F238E27FC236}">
                <a16:creationId xmlns:a16="http://schemas.microsoft.com/office/drawing/2014/main" id="{8D5B03FB-B9F3-6C49-8A58-2654CF85CB8A}"/>
              </a:ext>
            </a:extLst>
          </p:cNvPr>
          <p:cNvGrpSpPr/>
          <p:nvPr/>
        </p:nvGrpSpPr>
        <p:grpSpPr>
          <a:xfrm>
            <a:off x="11115409" y="10410075"/>
            <a:ext cx="2177431" cy="1845426"/>
            <a:chOff x="10886809" y="10486274"/>
            <a:chExt cx="2577900" cy="2184833"/>
          </a:xfrm>
          <a:solidFill>
            <a:schemeClr val="accent5"/>
          </a:solidFill>
        </p:grpSpPr>
        <p:sp>
          <p:nvSpPr>
            <p:cNvPr id="229" name="Freeform 6"/>
            <p:cNvSpPr>
              <a:spLocks/>
            </p:cNvSpPr>
            <p:nvPr/>
          </p:nvSpPr>
          <p:spPr bwMode="auto">
            <a:xfrm>
              <a:off x="10886809" y="10486274"/>
              <a:ext cx="2577900" cy="365972"/>
            </a:xfrm>
            <a:custGeom>
              <a:avLst/>
              <a:gdLst>
                <a:gd name="T0" fmla="*/ 52 w 56"/>
                <a:gd name="T1" fmla="*/ 0 h 8"/>
                <a:gd name="T2" fmla="*/ 4 w 56"/>
                <a:gd name="T3" fmla="*/ 0 h 8"/>
                <a:gd name="T4" fmla="*/ 0 w 56"/>
                <a:gd name="T5" fmla="*/ 4 h 8"/>
                <a:gd name="T6" fmla="*/ 4 w 56"/>
                <a:gd name="T7" fmla="*/ 8 h 8"/>
                <a:gd name="T8" fmla="*/ 52 w 56"/>
                <a:gd name="T9" fmla="*/ 8 h 8"/>
                <a:gd name="T10" fmla="*/ 56 w 56"/>
                <a:gd name="T11" fmla="*/ 4 h 8"/>
                <a:gd name="T12" fmla="*/ 52 w 5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6" h="8">
                  <a:moveTo>
                    <a:pt x="52" y="0"/>
                  </a:moveTo>
                  <a:cubicBezTo>
                    <a:pt x="4" y="0"/>
                    <a:pt x="4" y="0"/>
                    <a:pt x="4" y="0"/>
                  </a:cubicBezTo>
                  <a:cubicBezTo>
                    <a:pt x="2" y="0"/>
                    <a:pt x="0" y="2"/>
                    <a:pt x="0" y="4"/>
                  </a:cubicBezTo>
                  <a:cubicBezTo>
                    <a:pt x="0" y="6"/>
                    <a:pt x="2" y="8"/>
                    <a:pt x="4" y="8"/>
                  </a:cubicBezTo>
                  <a:cubicBezTo>
                    <a:pt x="52" y="8"/>
                    <a:pt x="52" y="8"/>
                    <a:pt x="52" y="8"/>
                  </a:cubicBezTo>
                  <a:cubicBezTo>
                    <a:pt x="54" y="8"/>
                    <a:pt x="56" y="6"/>
                    <a:pt x="56" y="4"/>
                  </a:cubicBezTo>
                  <a:cubicBezTo>
                    <a:pt x="56" y="2"/>
                    <a:pt x="54" y="0"/>
                    <a:pt x="52" y="0"/>
                  </a:cubicBezTo>
                  <a:close/>
                </a:path>
              </a:pathLst>
            </a:custGeom>
            <a:grpFill/>
            <a:ln>
              <a:noFill/>
            </a:ln>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30" name="Freeform 7"/>
            <p:cNvSpPr>
              <a:spLocks/>
            </p:cNvSpPr>
            <p:nvPr/>
          </p:nvSpPr>
          <p:spPr bwMode="auto">
            <a:xfrm>
              <a:off x="10886809" y="11015020"/>
              <a:ext cx="2577900" cy="365972"/>
            </a:xfrm>
            <a:custGeom>
              <a:avLst/>
              <a:gdLst>
                <a:gd name="T0" fmla="*/ 52 w 56"/>
                <a:gd name="T1" fmla="*/ 0 h 8"/>
                <a:gd name="T2" fmla="*/ 4 w 56"/>
                <a:gd name="T3" fmla="*/ 0 h 8"/>
                <a:gd name="T4" fmla="*/ 0 w 56"/>
                <a:gd name="T5" fmla="*/ 4 h 8"/>
                <a:gd name="T6" fmla="*/ 4 w 56"/>
                <a:gd name="T7" fmla="*/ 8 h 8"/>
                <a:gd name="T8" fmla="*/ 52 w 56"/>
                <a:gd name="T9" fmla="*/ 8 h 8"/>
                <a:gd name="T10" fmla="*/ 56 w 56"/>
                <a:gd name="T11" fmla="*/ 4 h 8"/>
                <a:gd name="T12" fmla="*/ 52 w 5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6" h="8">
                  <a:moveTo>
                    <a:pt x="52" y="0"/>
                  </a:moveTo>
                  <a:cubicBezTo>
                    <a:pt x="4" y="0"/>
                    <a:pt x="4" y="0"/>
                    <a:pt x="4" y="0"/>
                  </a:cubicBezTo>
                  <a:cubicBezTo>
                    <a:pt x="2" y="0"/>
                    <a:pt x="0" y="2"/>
                    <a:pt x="0" y="4"/>
                  </a:cubicBezTo>
                  <a:cubicBezTo>
                    <a:pt x="0" y="6"/>
                    <a:pt x="2" y="8"/>
                    <a:pt x="4" y="8"/>
                  </a:cubicBezTo>
                  <a:cubicBezTo>
                    <a:pt x="52" y="8"/>
                    <a:pt x="52" y="8"/>
                    <a:pt x="52" y="8"/>
                  </a:cubicBezTo>
                  <a:cubicBezTo>
                    <a:pt x="54" y="8"/>
                    <a:pt x="56" y="6"/>
                    <a:pt x="56" y="4"/>
                  </a:cubicBezTo>
                  <a:cubicBezTo>
                    <a:pt x="56" y="2"/>
                    <a:pt x="54" y="0"/>
                    <a:pt x="52" y="0"/>
                  </a:cubicBezTo>
                  <a:close/>
                </a:path>
              </a:pathLst>
            </a:custGeom>
            <a:grpFill/>
            <a:ln>
              <a:noFill/>
            </a:ln>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sp>
          <p:nvSpPr>
            <p:cNvPr id="231" name="Freeform 8"/>
            <p:cNvSpPr>
              <a:spLocks/>
            </p:cNvSpPr>
            <p:nvPr/>
          </p:nvSpPr>
          <p:spPr bwMode="auto">
            <a:xfrm>
              <a:off x="10886809" y="11573190"/>
              <a:ext cx="2577900" cy="1097917"/>
            </a:xfrm>
            <a:custGeom>
              <a:avLst/>
              <a:gdLst>
                <a:gd name="T0" fmla="*/ 52 w 56"/>
                <a:gd name="T1" fmla="*/ 0 h 24"/>
                <a:gd name="T2" fmla="*/ 4 w 56"/>
                <a:gd name="T3" fmla="*/ 0 h 24"/>
                <a:gd name="T4" fmla="*/ 0 w 56"/>
                <a:gd name="T5" fmla="*/ 4 h 24"/>
                <a:gd name="T6" fmla="*/ 4 w 56"/>
                <a:gd name="T7" fmla="*/ 8 h 24"/>
                <a:gd name="T8" fmla="*/ 24 w 56"/>
                <a:gd name="T9" fmla="*/ 8 h 24"/>
                <a:gd name="T10" fmla="*/ 24 w 56"/>
                <a:gd name="T11" fmla="*/ 20 h 24"/>
                <a:gd name="T12" fmla="*/ 28 w 56"/>
                <a:gd name="T13" fmla="*/ 24 h 24"/>
                <a:gd name="T14" fmla="*/ 32 w 56"/>
                <a:gd name="T15" fmla="*/ 20 h 24"/>
                <a:gd name="T16" fmla="*/ 32 w 56"/>
                <a:gd name="T17" fmla="*/ 8 h 24"/>
                <a:gd name="T18" fmla="*/ 52 w 56"/>
                <a:gd name="T19" fmla="*/ 8 h 24"/>
                <a:gd name="T20" fmla="*/ 56 w 56"/>
                <a:gd name="T21" fmla="*/ 4 h 24"/>
                <a:gd name="T22" fmla="*/ 52 w 56"/>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24">
                  <a:moveTo>
                    <a:pt x="52" y="0"/>
                  </a:moveTo>
                  <a:cubicBezTo>
                    <a:pt x="4" y="0"/>
                    <a:pt x="4" y="0"/>
                    <a:pt x="4" y="0"/>
                  </a:cubicBezTo>
                  <a:cubicBezTo>
                    <a:pt x="2" y="0"/>
                    <a:pt x="0" y="2"/>
                    <a:pt x="0" y="4"/>
                  </a:cubicBezTo>
                  <a:cubicBezTo>
                    <a:pt x="0" y="6"/>
                    <a:pt x="2" y="8"/>
                    <a:pt x="4" y="8"/>
                  </a:cubicBezTo>
                  <a:cubicBezTo>
                    <a:pt x="24" y="8"/>
                    <a:pt x="24" y="8"/>
                    <a:pt x="24" y="8"/>
                  </a:cubicBezTo>
                  <a:cubicBezTo>
                    <a:pt x="24" y="20"/>
                    <a:pt x="24" y="20"/>
                    <a:pt x="24" y="20"/>
                  </a:cubicBezTo>
                  <a:cubicBezTo>
                    <a:pt x="24" y="22"/>
                    <a:pt x="26" y="24"/>
                    <a:pt x="28" y="24"/>
                  </a:cubicBezTo>
                  <a:cubicBezTo>
                    <a:pt x="30" y="24"/>
                    <a:pt x="32" y="22"/>
                    <a:pt x="32" y="20"/>
                  </a:cubicBezTo>
                  <a:cubicBezTo>
                    <a:pt x="32" y="8"/>
                    <a:pt x="32" y="8"/>
                    <a:pt x="32" y="8"/>
                  </a:cubicBezTo>
                  <a:cubicBezTo>
                    <a:pt x="52" y="8"/>
                    <a:pt x="52" y="8"/>
                    <a:pt x="52" y="8"/>
                  </a:cubicBezTo>
                  <a:cubicBezTo>
                    <a:pt x="54" y="8"/>
                    <a:pt x="56" y="6"/>
                    <a:pt x="56" y="4"/>
                  </a:cubicBezTo>
                  <a:cubicBezTo>
                    <a:pt x="56" y="2"/>
                    <a:pt x="54" y="0"/>
                    <a:pt x="52" y="0"/>
                  </a:cubicBezTo>
                  <a:close/>
                </a:path>
              </a:pathLst>
            </a:custGeom>
            <a:grpFill/>
            <a:ln>
              <a:noFill/>
            </a:ln>
            <a:effectLst/>
          </p:spPr>
          <p:txBody>
            <a:bodyPr vert="horz" wrap="square" lIns="182868" tIns="91434" rIns="182868" bIns="91434" numCol="1" anchor="t" anchorCtr="0" compatLnSpc="1">
              <a:prstTxWarp prst="textNoShape">
                <a:avLst/>
              </a:prstTxWarp>
            </a:bodyPr>
            <a:lstStyle/>
            <a:p>
              <a:endParaRPr lang="en-US" sz="3600">
                <a:solidFill>
                  <a:prstClr val="black"/>
                </a:solidFill>
              </a:endParaRPr>
            </a:p>
          </p:txBody>
        </p:sp>
      </p:grpSp>
      <p:sp>
        <p:nvSpPr>
          <p:cNvPr id="248" name="Rectangle 247"/>
          <p:cNvSpPr/>
          <p:nvPr>
            <p:custDataLst>
              <p:tags r:id="rId1"/>
            </p:custDataLst>
          </p:nvPr>
        </p:nvSpPr>
        <p:spPr>
          <a:xfrm>
            <a:off x="11379936" y="3536652"/>
            <a:ext cx="1622540" cy="830997"/>
          </a:xfrm>
          <a:prstGeom prst="rect">
            <a:avLst/>
          </a:prstGeom>
          <a:effectLst/>
        </p:spPr>
        <p:txBody>
          <a:bodyPr wrap="square" anchor="ctr">
            <a:spAutoFit/>
          </a:bodyPr>
          <a:lstStyle/>
          <a:p>
            <a:pPr algn="ctr"/>
            <a:r>
              <a:rPr lang="en-US" sz="2400" b="1" dirty="0">
                <a:solidFill>
                  <a:prstClr val="white"/>
                </a:solidFill>
              </a:rPr>
              <a:t>LOREM IPSUM</a:t>
            </a:r>
          </a:p>
        </p:txBody>
      </p:sp>
      <p:sp>
        <p:nvSpPr>
          <p:cNvPr id="249" name="Rectangle 248"/>
          <p:cNvSpPr/>
          <p:nvPr>
            <p:custDataLst>
              <p:tags r:id="rId2"/>
            </p:custDataLst>
          </p:nvPr>
        </p:nvSpPr>
        <p:spPr>
          <a:xfrm>
            <a:off x="2994273" y="4674221"/>
            <a:ext cx="5315646" cy="1323439"/>
          </a:xfrm>
          <a:prstGeom prst="rect">
            <a:avLst/>
          </a:prstGeom>
        </p:spPr>
        <p:txBody>
          <a:bodyPr wrap="square" anchor="t">
            <a:spAutoFit/>
          </a:bodyPr>
          <a:lstStyle/>
          <a:p>
            <a:pPr algn="r"/>
            <a:r>
              <a:rPr lang="en-US" sz="2000" dirty="0"/>
              <a:t>Lorem </a:t>
            </a:r>
            <a:r>
              <a:rPr lang="en-US" sz="2000" dirty="0" err="1"/>
              <a:t>Ipsum</a:t>
            </a:r>
            <a:r>
              <a:rPr lang="en-US" sz="2000" dirty="0"/>
              <a:t> is simply dummy text of the printing and typesetting industry. Lorem </a:t>
            </a:r>
            <a:r>
              <a:rPr lang="en-US" sz="2000" dirty="0" err="1"/>
              <a:t>Ipsum</a:t>
            </a:r>
            <a:r>
              <a:rPr lang="en-US" sz="2000" dirty="0"/>
              <a:t> has been the industry's standard dummy text ever since the 1500s.</a:t>
            </a:r>
          </a:p>
        </p:txBody>
      </p:sp>
      <p:sp>
        <p:nvSpPr>
          <p:cNvPr id="250" name="Rectangle 249"/>
          <p:cNvSpPr/>
          <p:nvPr>
            <p:custDataLst>
              <p:tags r:id="rId3"/>
            </p:custDataLst>
          </p:nvPr>
        </p:nvSpPr>
        <p:spPr>
          <a:xfrm>
            <a:off x="16072495" y="4674221"/>
            <a:ext cx="5315646" cy="1323439"/>
          </a:xfrm>
          <a:prstGeom prst="rect">
            <a:avLst/>
          </a:prstGeom>
        </p:spPr>
        <p:txBody>
          <a:bodyPr wrap="square" anchor="t">
            <a:spAutoFit/>
          </a:bodyPr>
          <a:lstStyle/>
          <a:p>
            <a:r>
              <a:rPr lang="en-US" sz="2000" dirty="0"/>
              <a:t>Lorem </a:t>
            </a:r>
            <a:r>
              <a:rPr lang="en-US" sz="2000" dirty="0" err="1"/>
              <a:t>Ipsum</a:t>
            </a:r>
            <a:r>
              <a:rPr lang="en-US" sz="2000" dirty="0"/>
              <a:t> is simply dummy text of the printing and typesetting industry. Lorem </a:t>
            </a:r>
            <a:r>
              <a:rPr lang="en-US" sz="2000" dirty="0" err="1"/>
              <a:t>Ipsum</a:t>
            </a:r>
            <a:r>
              <a:rPr lang="en-US" sz="2000" dirty="0"/>
              <a:t> has been the industry's standard dummy text ever since the 1500s.</a:t>
            </a:r>
          </a:p>
        </p:txBody>
      </p:sp>
      <p:sp>
        <p:nvSpPr>
          <p:cNvPr id="251" name="Rectangle 250"/>
          <p:cNvSpPr/>
          <p:nvPr>
            <p:custDataLst>
              <p:tags r:id="rId4"/>
            </p:custDataLst>
          </p:nvPr>
        </p:nvSpPr>
        <p:spPr>
          <a:xfrm>
            <a:off x="3446415" y="8562756"/>
            <a:ext cx="5315646" cy="1323439"/>
          </a:xfrm>
          <a:prstGeom prst="rect">
            <a:avLst/>
          </a:prstGeom>
        </p:spPr>
        <p:txBody>
          <a:bodyPr wrap="square" anchor="t">
            <a:spAutoFit/>
          </a:bodyPr>
          <a:lstStyle/>
          <a:p>
            <a:pPr algn="r"/>
            <a:r>
              <a:rPr lang="en-US" sz="2000" dirty="0"/>
              <a:t>Lorem </a:t>
            </a:r>
            <a:r>
              <a:rPr lang="en-US" sz="2000" dirty="0" err="1"/>
              <a:t>Ipsum</a:t>
            </a:r>
            <a:r>
              <a:rPr lang="en-US" sz="2000" dirty="0"/>
              <a:t> is simply dummy text of the printing and typesetting industry. Lorem </a:t>
            </a:r>
            <a:r>
              <a:rPr lang="en-US" sz="2000" dirty="0" err="1"/>
              <a:t>Ipsum</a:t>
            </a:r>
            <a:r>
              <a:rPr lang="en-US" sz="2000" dirty="0"/>
              <a:t> has been the industry's standard dummy text ever since the 1500s.</a:t>
            </a:r>
          </a:p>
        </p:txBody>
      </p:sp>
      <p:sp>
        <p:nvSpPr>
          <p:cNvPr id="252" name="Rectangle 251"/>
          <p:cNvSpPr/>
          <p:nvPr>
            <p:custDataLst>
              <p:tags r:id="rId5"/>
            </p:custDataLst>
          </p:nvPr>
        </p:nvSpPr>
        <p:spPr>
          <a:xfrm>
            <a:off x="15620353" y="8562756"/>
            <a:ext cx="5315646" cy="1323439"/>
          </a:xfrm>
          <a:prstGeom prst="rect">
            <a:avLst/>
          </a:prstGeom>
        </p:spPr>
        <p:txBody>
          <a:bodyPr wrap="square" anchor="t">
            <a:spAutoFit/>
          </a:bodyPr>
          <a:lstStyle/>
          <a:p>
            <a:r>
              <a:rPr lang="en-US" sz="2000" dirty="0"/>
              <a:t>Lorem </a:t>
            </a:r>
            <a:r>
              <a:rPr lang="en-US" sz="2000" dirty="0" err="1"/>
              <a:t>Ipsum</a:t>
            </a:r>
            <a:r>
              <a:rPr lang="en-US" sz="2000" dirty="0"/>
              <a:t> is simply dummy text of the printing and typesetting industry. Lorem </a:t>
            </a:r>
            <a:r>
              <a:rPr lang="en-US" sz="2000" dirty="0" err="1"/>
              <a:t>Ipsum</a:t>
            </a:r>
            <a:r>
              <a:rPr lang="en-US" sz="2000" dirty="0"/>
              <a:t> has been the industry's standard dummy text ever since the 1500s.</a:t>
            </a:r>
          </a:p>
        </p:txBody>
      </p:sp>
      <p:grpSp>
        <p:nvGrpSpPr>
          <p:cNvPr id="254" name="Group 253"/>
          <p:cNvGrpSpPr/>
          <p:nvPr/>
        </p:nvGrpSpPr>
        <p:grpSpPr>
          <a:xfrm>
            <a:off x="9445925" y="5152141"/>
            <a:ext cx="571463" cy="571463"/>
            <a:chOff x="2046288" y="2765425"/>
            <a:chExt cx="285750" cy="285750"/>
          </a:xfrm>
          <a:solidFill>
            <a:schemeClr val="bg1"/>
          </a:solidFill>
        </p:grpSpPr>
        <p:sp>
          <p:nvSpPr>
            <p:cNvPr id="255" name="Freeform 114"/>
            <p:cNvSpPr>
              <a:spLocks noEditPoints="1"/>
            </p:cNvSpPr>
            <p:nvPr/>
          </p:nvSpPr>
          <p:spPr bwMode="auto">
            <a:xfrm>
              <a:off x="2141538" y="2784475"/>
              <a:ext cx="95250" cy="38100"/>
            </a:xfrm>
            <a:custGeom>
              <a:avLst/>
              <a:gdLst>
                <a:gd name="T0" fmla="*/ 30 w 298"/>
                <a:gd name="T1" fmla="*/ 30 h 120"/>
                <a:gd name="T2" fmla="*/ 268 w 298"/>
                <a:gd name="T3" fmla="*/ 30 h 120"/>
                <a:gd name="T4" fmla="*/ 268 w 298"/>
                <a:gd name="T5" fmla="*/ 90 h 120"/>
                <a:gd name="T6" fmla="*/ 30 w 298"/>
                <a:gd name="T7" fmla="*/ 90 h 120"/>
                <a:gd name="T8" fmla="*/ 30 w 298"/>
                <a:gd name="T9" fmla="*/ 30 h 120"/>
                <a:gd name="T10" fmla="*/ 15 w 298"/>
                <a:gd name="T11" fmla="*/ 120 h 120"/>
                <a:gd name="T12" fmla="*/ 283 w 298"/>
                <a:gd name="T13" fmla="*/ 120 h 120"/>
                <a:gd name="T14" fmla="*/ 287 w 298"/>
                <a:gd name="T15" fmla="*/ 119 h 120"/>
                <a:gd name="T16" fmla="*/ 290 w 298"/>
                <a:gd name="T17" fmla="*/ 119 h 120"/>
                <a:gd name="T18" fmla="*/ 292 w 298"/>
                <a:gd name="T19" fmla="*/ 116 h 120"/>
                <a:gd name="T20" fmla="*/ 294 w 298"/>
                <a:gd name="T21" fmla="*/ 115 h 120"/>
                <a:gd name="T22" fmla="*/ 296 w 298"/>
                <a:gd name="T23" fmla="*/ 113 h 120"/>
                <a:gd name="T24" fmla="*/ 297 w 298"/>
                <a:gd name="T25" fmla="*/ 110 h 120"/>
                <a:gd name="T26" fmla="*/ 298 w 298"/>
                <a:gd name="T27" fmla="*/ 108 h 120"/>
                <a:gd name="T28" fmla="*/ 298 w 298"/>
                <a:gd name="T29" fmla="*/ 105 h 120"/>
                <a:gd name="T30" fmla="*/ 298 w 298"/>
                <a:gd name="T31" fmla="*/ 15 h 120"/>
                <a:gd name="T32" fmla="*/ 298 w 298"/>
                <a:gd name="T33" fmla="*/ 12 h 120"/>
                <a:gd name="T34" fmla="*/ 297 w 298"/>
                <a:gd name="T35" fmla="*/ 9 h 120"/>
                <a:gd name="T36" fmla="*/ 296 w 298"/>
                <a:gd name="T37" fmla="*/ 6 h 120"/>
                <a:gd name="T38" fmla="*/ 294 w 298"/>
                <a:gd name="T39" fmla="*/ 4 h 120"/>
                <a:gd name="T40" fmla="*/ 292 w 298"/>
                <a:gd name="T41" fmla="*/ 2 h 120"/>
                <a:gd name="T42" fmla="*/ 290 w 298"/>
                <a:gd name="T43" fmla="*/ 1 h 120"/>
                <a:gd name="T44" fmla="*/ 287 w 298"/>
                <a:gd name="T45" fmla="*/ 0 h 120"/>
                <a:gd name="T46" fmla="*/ 283 w 298"/>
                <a:gd name="T47" fmla="*/ 0 h 120"/>
                <a:gd name="T48" fmla="*/ 15 w 298"/>
                <a:gd name="T49" fmla="*/ 0 h 120"/>
                <a:gd name="T50" fmla="*/ 11 w 298"/>
                <a:gd name="T51" fmla="*/ 0 h 120"/>
                <a:gd name="T52" fmla="*/ 8 w 298"/>
                <a:gd name="T53" fmla="*/ 1 h 120"/>
                <a:gd name="T54" fmla="*/ 6 w 298"/>
                <a:gd name="T55" fmla="*/ 2 h 120"/>
                <a:gd name="T56" fmla="*/ 4 w 298"/>
                <a:gd name="T57" fmla="*/ 4 h 120"/>
                <a:gd name="T58" fmla="*/ 2 w 298"/>
                <a:gd name="T59" fmla="*/ 6 h 120"/>
                <a:gd name="T60" fmla="*/ 1 w 298"/>
                <a:gd name="T61" fmla="*/ 9 h 120"/>
                <a:gd name="T62" fmla="*/ 0 w 298"/>
                <a:gd name="T63" fmla="*/ 12 h 120"/>
                <a:gd name="T64" fmla="*/ 0 w 298"/>
                <a:gd name="T65" fmla="*/ 15 h 120"/>
                <a:gd name="T66" fmla="*/ 0 w 298"/>
                <a:gd name="T67" fmla="*/ 105 h 120"/>
                <a:gd name="T68" fmla="*/ 0 w 298"/>
                <a:gd name="T69" fmla="*/ 108 h 120"/>
                <a:gd name="T70" fmla="*/ 1 w 298"/>
                <a:gd name="T71" fmla="*/ 110 h 120"/>
                <a:gd name="T72" fmla="*/ 2 w 298"/>
                <a:gd name="T73" fmla="*/ 113 h 120"/>
                <a:gd name="T74" fmla="*/ 4 w 298"/>
                <a:gd name="T75" fmla="*/ 115 h 120"/>
                <a:gd name="T76" fmla="*/ 6 w 298"/>
                <a:gd name="T77" fmla="*/ 116 h 120"/>
                <a:gd name="T78" fmla="*/ 8 w 298"/>
                <a:gd name="T79" fmla="*/ 119 h 120"/>
                <a:gd name="T80" fmla="*/ 11 w 298"/>
                <a:gd name="T81" fmla="*/ 119 h 120"/>
                <a:gd name="T82" fmla="*/ 15 w 298"/>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8" h="120">
                  <a:moveTo>
                    <a:pt x="30" y="30"/>
                  </a:moveTo>
                  <a:lnTo>
                    <a:pt x="268" y="30"/>
                  </a:lnTo>
                  <a:lnTo>
                    <a:pt x="268" y="90"/>
                  </a:lnTo>
                  <a:lnTo>
                    <a:pt x="30" y="90"/>
                  </a:lnTo>
                  <a:lnTo>
                    <a:pt x="30" y="30"/>
                  </a:lnTo>
                  <a:close/>
                  <a:moveTo>
                    <a:pt x="15" y="120"/>
                  </a:moveTo>
                  <a:lnTo>
                    <a:pt x="283" y="120"/>
                  </a:lnTo>
                  <a:lnTo>
                    <a:pt x="287" y="119"/>
                  </a:lnTo>
                  <a:lnTo>
                    <a:pt x="290" y="119"/>
                  </a:lnTo>
                  <a:lnTo>
                    <a:pt x="292" y="116"/>
                  </a:lnTo>
                  <a:lnTo>
                    <a:pt x="294" y="115"/>
                  </a:lnTo>
                  <a:lnTo>
                    <a:pt x="296" y="113"/>
                  </a:lnTo>
                  <a:lnTo>
                    <a:pt x="297" y="110"/>
                  </a:lnTo>
                  <a:lnTo>
                    <a:pt x="298" y="108"/>
                  </a:lnTo>
                  <a:lnTo>
                    <a:pt x="298" y="105"/>
                  </a:lnTo>
                  <a:lnTo>
                    <a:pt x="298" y="15"/>
                  </a:lnTo>
                  <a:lnTo>
                    <a:pt x="298" y="12"/>
                  </a:lnTo>
                  <a:lnTo>
                    <a:pt x="297" y="9"/>
                  </a:lnTo>
                  <a:lnTo>
                    <a:pt x="296" y="6"/>
                  </a:lnTo>
                  <a:lnTo>
                    <a:pt x="294" y="4"/>
                  </a:lnTo>
                  <a:lnTo>
                    <a:pt x="292" y="2"/>
                  </a:lnTo>
                  <a:lnTo>
                    <a:pt x="290" y="1"/>
                  </a:lnTo>
                  <a:lnTo>
                    <a:pt x="287" y="0"/>
                  </a:lnTo>
                  <a:lnTo>
                    <a:pt x="283" y="0"/>
                  </a:lnTo>
                  <a:lnTo>
                    <a:pt x="15" y="0"/>
                  </a:lnTo>
                  <a:lnTo>
                    <a:pt x="11" y="0"/>
                  </a:lnTo>
                  <a:lnTo>
                    <a:pt x="8" y="1"/>
                  </a:lnTo>
                  <a:lnTo>
                    <a:pt x="6" y="2"/>
                  </a:lnTo>
                  <a:lnTo>
                    <a:pt x="4" y="4"/>
                  </a:lnTo>
                  <a:lnTo>
                    <a:pt x="2" y="6"/>
                  </a:lnTo>
                  <a:lnTo>
                    <a:pt x="1" y="9"/>
                  </a:lnTo>
                  <a:lnTo>
                    <a:pt x="0" y="12"/>
                  </a:lnTo>
                  <a:lnTo>
                    <a:pt x="0" y="15"/>
                  </a:lnTo>
                  <a:lnTo>
                    <a:pt x="0" y="105"/>
                  </a:lnTo>
                  <a:lnTo>
                    <a:pt x="0" y="108"/>
                  </a:lnTo>
                  <a:lnTo>
                    <a:pt x="1" y="110"/>
                  </a:lnTo>
                  <a:lnTo>
                    <a:pt x="2" y="113"/>
                  </a:lnTo>
                  <a:lnTo>
                    <a:pt x="4" y="115"/>
                  </a:lnTo>
                  <a:lnTo>
                    <a:pt x="6" y="116"/>
                  </a:lnTo>
                  <a:lnTo>
                    <a:pt x="8" y="119"/>
                  </a:lnTo>
                  <a:lnTo>
                    <a:pt x="11" y="119"/>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56" name="Freeform 115"/>
            <p:cNvSpPr>
              <a:spLocks/>
            </p:cNvSpPr>
            <p:nvPr/>
          </p:nvSpPr>
          <p:spPr bwMode="auto">
            <a:xfrm>
              <a:off x="2122488" y="2984500"/>
              <a:ext cx="38100" cy="9525"/>
            </a:xfrm>
            <a:custGeom>
              <a:avLst/>
              <a:gdLst>
                <a:gd name="T0" fmla="*/ 105 w 120"/>
                <a:gd name="T1" fmla="*/ 0 h 30"/>
                <a:gd name="T2" fmla="*/ 15 w 120"/>
                <a:gd name="T3" fmla="*/ 0 h 30"/>
                <a:gd name="T4" fmla="*/ 11 w 120"/>
                <a:gd name="T5" fmla="*/ 0 h 30"/>
                <a:gd name="T6" fmla="*/ 8 w 120"/>
                <a:gd name="T7" fmla="*/ 1 h 30"/>
                <a:gd name="T8" fmla="*/ 6 w 120"/>
                <a:gd name="T9" fmla="*/ 2 h 30"/>
                <a:gd name="T10" fmla="*/ 4 w 120"/>
                <a:gd name="T11" fmla="*/ 4 h 30"/>
                <a:gd name="T12" fmla="*/ 2 w 120"/>
                <a:gd name="T13" fmla="*/ 6 h 30"/>
                <a:gd name="T14" fmla="*/ 1 w 120"/>
                <a:gd name="T15" fmla="*/ 10 h 30"/>
                <a:gd name="T16" fmla="*/ 0 w 120"/>
                <a:gd name="T17" fmla="*/ 12 h 30"/>
                <a:gd name="T18" fmla="*/ 0 w 120"/>
                <a:gd name="T19" fmla="*/ 15 h 30"/>
                <a:gd name="T20" fmla="*/ 0 w 120"/>
                <a:gd name="T21" fmla="*/ 18 h 30"/>
                <a:gd name="T22" fmla="*/ 1 w 120"/>
                <a:gd name="T23" fmla="*/ 21 h 30"/>
                <a:gd name="T24" fmla="*/ 2 w 120"/>
                <a:gd name="T25" fmla="*/ 24 h 30"/>
                <a:gd name="T26" fmla="*/ 4 w 120"/>
                <a:gd name="T27" fmla="*/ 26 h 30"/>
                <a:gd name="T28" fmla="*/ 6 w 120"/>
                <a:gd name="T29" fmla="*/ 28 h 30"/>
                <a:gd name="T30" fmla="*/ 8 w 120"/>
                <a:gd name="T31" fmla="*/ 29 h 30"/>
                <a:gd name="T32" fmla="*/ 11 w 120"/>
                <a:gd name="T33" fmla="*/ 30 h 30"/>
                <a:gd name="T34" fmla="*/ 15 w 120"/>
                <a:gd name="T35" fmla="*/ 30 h 30"/>
                <a:gd name="T36" fmla="*/ 105 w 120"/>
                <a:gd name="T37" fmla="*/ 30 h 30"/>
                <a:gd name="T38" fmla="*/ 107 w 120"/>
                <a:gd name="T39" fmla="*/ 30 h 30"/>
                <a:gd name="T40" fmla="*/ 110 w 120"/>
                <a:gd name="T41" fmla="*/ 29 h 30"/>
                <a:gd name="T42" fmla="*/ 112 w 120"/>
                <a:gd name="T43" fmla="*/ 28 h 30"/>
                <a:gd name="T44" fmla="*/ 114 w 120"/>
                <a:gd name="T45" fmla="*/ 26 h 30"/>
                <a:gd name="T46" fmla="*/ 116 w 120"/>
                <a:gd name="T47" fmla="*/ 24 h 30"/>
                <a:gd name="T48" fmla="*/ 117 w 120"/>
                <a:gd name="T49" fmla="*/ 21 h 30"/>
                <a:gd name="T50" fmla="*/ 118 w 120"/>
                <a:gd name="T51" fmla="*/ 18 h 30"/>
                <a:gd name="T52" fmla="*/ 120 w 120"/>
                <a:gd name="T53" fmla="*/ 15 h 30"/>
                <a:gd name="T54" fmla="*/ 118 w 120"/>
                <a:gd name="T55" fmla="*/ 12 h 30"/>
                <a:gd name="T56" fmla="*/ 117 w 120"/>
                <a:gd name="T57" fmla="*/ 10 h 30"/>
                <a:gd name="T58" fmla="*/ 116 w 120"/>
                <a:gd name="T59" fmla="*/ 6 h 30"/>
                <a:gd name="T60" fmla="*/ 114 w 120"/>
                <a:gd name="T61" fmla="*/ 4 h 30"/>
                <a:gd name="T62" fmla="*/ 112 w 120"/>
                <a:gd name="T63" fmla="*/ 2 h 30"/>
                <a:gd name="T64" fmla="*/ 110 w 120"/>
                <a:gd name="T65" fmla="*/ 1 h 30"/>
                <a:gd name="T66" fmla="*/ 107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1" y="0"/>
                  </a:lnTo>
                  <a:lnTo>
                    <a:pt x="8" y="1"/>
                  </a:lnTo>
                  <a:lnTo>
                    <a:pt x="6" y="2"/>
                  </a:lnTo>
                  <a:lnTo>
                    <a:pt x="4" y="4"/>
                  </a:lnTo>
                  <a:lnTo>
                    <a:pt x="2" y="6"/>
                  </a:lnTo>
                  <a:lnTo>
                    <a:pt x="1" y="10"/>
                  </a:lnTo>
                  <a:lnTo>
                    <a:pt x="0" y="12"/>
                  </a:lnTo>
                  <a:lnTo>
                    <a:pt x="0" y="15"/>
                  </a:lnTo>
                  <a:lnTo>
                    <a:pt x="0" y="18"/>
                  </a:lnTo>
                  <a:lnTo>
                    <a:pt x="1" y="21"/>
                  </a:lnTo>
                  <a:lnTo>
                    <a:pt x="2" y="24"/>
                  </a:lnTo>
                  <a:lnTo>
                    <a:pt x="4" y="26"/>
                  </a:lnTo>
                  <a:lnTo>
                    <a:pt x="6" y="28"/>
                  </a:lnTo>
                  <a:lnTo>
                    <a:pt x="8" y="29"/>
                  </a:lnTo>
                  <a:lnTo>
                    <a:pt x="11" y="30"/>
                  </a:lnTo>
                  <a:lnTo>
                    <a:pt x="15" y="30"/>
                  </a:lnTo>
                  <a:lnTo>
                    <a:pt x="105" y="30"/>
                  </a:lnTo>
                  <a:lnTo>
                    <a:pt x="107" y="30"/>
                  </a:lnTo>
                  <a:lnTo>
                    <a:pt x="110" y="29"/>
                  </a:lnTo>
                  <a:lnTo>
                    <a:pt x="112" y="28"/>
                  </a:lnTo>
                  <a:lnTo>
                    <a:pt x="114" y="26"/>
                  </a:lnTo>
                  <a:lnTo>
                    <a:pt x="116" y="24"/>
                  </a:lnTo>
                  <a:lnTo>
                    <a:pt x="117" y="21"/>
                  </a:lnTo>
                  <a:lnTo>
                    <a:pt x="118" y="18"/>
                  </a:lnTo>
                  <a:lnTo>
                    <a:pt x="120" y="15"/>
                  </a:lnTo>
                  <a:lnTo>
                    <a:pt x="118" y="12"/>
                  </a:lnTo>
                  <a:lnTo>
                    <a:pt x="117" y="10"/>
                  </a:lnTo>
                  <a:lnTo>
                    <a:pt x="116" y="6"/>
                  </a:lnTo>
                  <a:lnTo>
                    <a:pt x="114" y="4"/>
                  </a:lnTo>
                  <a:lnTo>
                    <a:pt x="112" y="2"/>
                  </a:lnTo>
                  <a:lnTo>
                    <a:pt x="110" y="1"/>
                  </a:lnTo>
                  <a:lnTo>
                    <a:pt x="107"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57" name="Freeform 116"/>
            <p:cNvSpPr>
              <a:spLocks/>
            </p:cNvSpPr>
            <p:nvPr/>
          </p:nvSpPr>
          <p:spPr bwMode="auto">
            <a:xfrm>
              <a:off x="2217738" y="2984500"/>
              <a:ext cx="38100" cy="9525"/>
            </a:xfrm>
            <a:custGeom>
              <a:avLst/>
              <a:gdLst>
                <a:gd name="T0" fmla="*/ 105 w 120"/>
                <a:gd name="T1" fmla="*/ 0 h 30"/>
                <a:gd name="T2" fmla="*/ 15 w 120"/>
                <a:gd name="T3" fmla="*/ 0 h 30"/>
                <a:gd name="T4" fmla="*/ 12 w 120"/>
                <a:gd name="T5" fmla="*/ 0 h 30"/>
                <a:gd name="T6" fmla="*/ 10 w 120"/>
                <a:gd name="T7" fmla="*/ 1 h 30"/>
                <a:gd name="T8" fmla="*/ 7 w 120"/>
                <a:gd name="T9" fmla="*/ 2 h 30"/>
                <a:gd name="T10" fmla="*/ 5 w 120"/>
                <a:gd name="T11" fmla="*/ 4 h 30"/>
                <a:gd name="T12" fmla="*/ 4 w 120"/>
                <a:gd name="T13" fmla="*/ 6 h 30"/>
                <a:gd name="T14" fmla="*/ 1 w 120"/>
                <a:gd name="T15" fmla="*/ 10 h 30"/>
                <a:gd name="T16" fmla="*/ 1 w 120"/>
                <a:gd name="T17" fmla="*/ 12 h 30"/>
                <a:gd name="T18" fmla="*/ 0 w 120"/>
                <a:gd name="T19" fmla="*/ 15 h 30"/>
                <a:gd name="T20" fmla="*/ 1 w 120"/>
                <a:gd name="T21" fmla="*/ 18 h 30"/>
                <a:gd name="T22" fmla="*/ 1 w 120"/>
                <a:gd name="T23" fmla="*/ 21 h 30"/>
                <a:gd name="T24" fmla="*/ 4 w 120"/>
                <a:gd name="T25" fmla="*/ 24 h 30"/>
                <a:gd name="T26" fmla="*/ 5 w 120"/>
                <a:gd name="T27" fmla="*/ 26 h 30"/>
                <a:gd name="T28" fmla="*/ 7 w 120"/>
                <a:gd name="T29" fmla="*/ 28 h 30"/>
                <a:gd name="T30" fmla="*/ 10 w 120"/>
                <a:gd name="T31" fmla="*/ 29 h 30"/>
                <a:gd name="T32" fmla="*/ 12 w 120"/>
                <a:gd name="T33" fmla="*/ 30 h 30"/>
                <a:gd name="T34" fmla="*/ 15 w 120"/>
                <a:gd name="T35" fmla="*/ 30 h 30"/>
                <a:gd name="T36" fmla="*/ 105 w 120"/>
                <a:gd name="T37" fmla="*/ 30 h 30"/>
                <a:gd name="T38" fmla="*/ 108 w 120"/>
                <a:gd name="T39" fmla="*/ 30 h 30"/>
                <a:gd name="T40" fmla="*/ 112 w 120"/>
                <a:gd name="T41" fmla="*/ 29 h 30"/>
                <a:gd name="T42" fmla="*/ 114 w 120"/>
                <a:gd name="T43" fmla="*/ 28 h 30"/>
                <a:gd name="T44" fmla="*/ 116 w 120"/>
                <a:gd name="T45" fmla="*/ 26 h 30"/>
                <a:gd name="T46" fmla="*/ 118 w 120"/>
                <a:gd name="T47" fmla="*/ 24 h 30"/>
                <a:gd name="T48" fmla="*/ 119 w 120"/>
                <a:gd name="T49" fmla="*/ 21 h 30"/>
                <a:gd name="T50" fmla="*/ 120 w 120"/>
                <a:gd name="T51" fmla="*/ 18 h 30"/>
                <a:gd name="T52" fmla="*/ 120 w 120"/>
                <a:gd name="T53" fmla="*/ 15 h 30"/>
                <a:gd name="T54" fmla="*/ 120 w 120"/>
                <a:gd name="T55" fmla="*/ 12 h 30"/>
                <a:gd name="T56" fmla="*/ 119 w 120"/>
                <a:gd name="T57" fmla="*/ 10 h 30"/>
                <a:gd name="T58" fmla="*/ 118 w 120"/>
                <a:gd name="T59" fmla="*/ 6 h 30"/>
                <a:gd name="T60" fmla="*/ 116 w 120"/>
                <a:gd name="T61" fmla="*/ 4 h 30"/>
                <a:gd name="T62" fmla="*/ 114 w 120"/>
                <a:gd name="T63" fmla="*/ 2 h 30"/>
                <a:gd name="T64" fmla="*/ 112 w 120"/>
                <a:gd name="T65" fmla="*/ 1 h 30"/>
                <a:gd name="T66" fmla="*/ 108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10" y="1"/>
                  </a:lnTo>
                  <a:lnTo>
                    <a:pt x="7" y="2"/>
                  </a:lnTo>
                  <a:lnTo>
                    <a:pt x="5" y="4"/>
                  </a:lnTo>
                  <a:lnTo>
                    <a:pt x="4" y="6"/>
                  </a:lnTo>
                  <a:lnTo>
                    <a:pt x="1" y="10"/>
                  </a:lnTo>
                  <a:lnTo>
                    <a:pt x="1" y="12"/>
                  </a:lnTo>
                  <a:lnTo>
                    <a:pt x="0" y="15"/>
                  </a:lnTo>
                  <a:lnTo>
                    <a:pt x="1" y="18"/>
                  </a:lnTo>
                  <a:lnTo>
                    <a:pt x="1" y="21"/>
                  </a:lnTo>
                  <a:lnTo>
                    <a:pt x="4" y="24"/>
                  </a:lnTo>
                  <a:lnTo>
                    <a:pt x="5" y="26"/>
                  </a:lnTo>
                  <a:lnTo>
                    <a:pt x="7" y="28"/>
                  </a:lnTo>
                  <a:lnTo>
                    <a:pt x="10" y="29"/>
                  </a:lnTo>
                  <a:lnTo>
                    <a:pt x="12" y="30"/>
                  </a:lnTo>
                  <a:lnTo>
                    <a:pt x="15" y="30"/>
                  </a:lnTo>
                  <a:lnTo>
                    <a:pt x="105" y="30"/>
                  </a:lnTo>
                  <a:lnTo>
                    <a:pt x="108" y="30"/>
                  </a:lnTo>
                  <a:lnTo>
                    <a:pt x="112" y="29"/>
                  </a:lnTo>
                  <a:lnTo>
                    <a:pt x="114" y="28"/>
                  </a:lnTo>
                  <a:lnTo>
                    <a:pt x="116" y="26"/>
                  </a:lnTo>
                  <a:lnTo>
                    <a:pt x="118" y="24"/>
                  </a:lnTo>
                  <a:lnTo>
                    <a:pt x="119" y="21"/>
                  </a:lnTo>
                  <a:lnTo>
                    <a:pt x="120" y="18"/>
                  </a:lnTo>
                  <a:lnTo>
                    <a:pt x="120" y="15"/>
                  </a:lnTo>
                  <a:lnTo>
                    <a:pt x="120" y="12"/>
                  </a:lnTo>
                  <a:lnTo>
                    <a:pt x="119" y="10"/>
                  </a:lnTo>
                  <a:lnTo>
                    <a:pt x="118" y="6"/>
                  </a:lnTo>
                  <a:lnTo>
                    <a:pt x="116" y="4"/>
                  </a:lnTo>
                  <a:lnTo>
                    <a:pt x="114" y="2"/>
                  </a:lnTo>
                  <a:lnTo>
                    <a:pt x="112" y="1"/>
                  </a:lnTo>
                  <a:lnTo>
                    <a:pt x="108"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58" name="Freeform 117"/>
            <p:cNvSpPr>
              <a:spLocks noEditPoints="1"/>
            </p:cNvSpPr>
            <p:nvPr/>
          </p:nvSpPr>
          <p:spPr bwMode="auto">
            <a:xfrm>
              <a:off x="2046288" y="2765425"/>
              <a:ext cx="285750" cy="285750"/>
            </a:xfrm>
            <a:custGeom>
              <a:avLst/>
              <a:gdLst>
                <a:gd name="T0" fmla="*/ 868 w 898"/>
                <a:gd name="T1" fmla="*/ 268 h 898"/>
                <a:gd name="T2" fmla="*/ 204 w 898"/>
                <a:gd name="T3" fmla="*/ 807 h 898"/>
                <a:gd name="T4" fmla="*/ 186 w 898"/>
                <a:gd name="T5" fmla="*/ 793 h 898"/>
                <a:gd name="T6" fmla="*/ 180 w 898"/>
                <a:gd name="T7" fmla="*/ 598 h 898"/>
                <a:gd name="T8" fmla="*/ 715 w 898"/>
                <a:gd name="T9" fmla="*/ 788 h 898"/>
                <a:gd name="T10" fmla="*/ 698 w 898"/>
                <a:gd name="T11" fmla="*/ 805 h 898"/>
                <a:gd name="T12" fmla="*/ 598 w 898"/>
                <a:gd name="T13" fmla="*/ 868 h 898"/>
                <a:gd name="T14" fmla="*/ 300 w 898"/>
                <a:gd name="T15" fmla="*/ 868 h 898"/>
                <a:gd name="T16" fmla="*/ 300 w 898"/>
                <a:gd name="T17" fmla="*/ 868 h 898"/>
                <a:gd name="T18" fmla="*/ 622 w 898"/>
                <a:gd name="T19" fmla="*/ 32 h 898"/>
                <a:gd name="T20" fmla="*/ 665 w 898"/>
                <a:gd name="T21" fmla="*/ 50 h 898"/>
                <a:gd name="T22" fmla="*/ 698 w 898"/>
                <a:gd name="T23" fmla="*/ 83 h 898"/>
                <a:gd name="T24" fmla="*/ 716 w 898"/>
                <a:gd name="T25" fmla="*/ 126 h 898"/>
                <a:gd name="T26" fmla="*/ 180 w 898"/>
                <a:gd name="T27" fmla="*/ 210 h 898"/>
                <a:gd name="T28" fmla="*/ 185 w 898"/>
                <a:gd name="T29" fmla="*/ 114 h 898"/>
                <a:gd name="T30" fmla="*/ 208 w 898"/>
                <a:gd name="T31" fmla="*/ 74 h 898"/>
                <a:gd name="T32" fmla="*/ 243 w 898"/>
                <a:gd name="T33" fmla="*/ 45 h 898"/>
                <a:gd name="T34" fmla="*/ 287 w 898"/>
                <a:gd name="T35" fmla="*/ 30 h 898"/>
                <a:gd name="T36" fmla="*/ 718 w 898"/>
                <a:gd name="T37" fmla="*/ 568 h 898"/>
                <a:gd name="T38" fmla="*/ 30 w 898"/>
                <a:gd name="T39" fmla="*/ 508 h 898"/>
                <a:gd name="T40" fmla="*/ 883 w 898"/>
                <a:gd name="T41" fmla="*/ 239 h 898"/>
                <a:gd name="T42" fmla="*/ 747 w 898"/>
                <a:gd name="T43" fmla="*/ 135 h 898"/>
                <a:gd name="T44" fmla="*/ 730 w 898"/>
                <a:gd name="T45" fmla="*/ 79 h 898"/>
                <a:gd name="T46" fmla="*/ 694 w 898"/>
                <a:gd name="T47" fmla="*/ 34 h 898"/>
                <a:gd name="T48" fmla="*/ 642 w 898"/>
                <a:gd name="T49" fmla="*/ 6 h 898"/>
                <a:gd name="T50" fmla="*/ 300 w 898"/>
                <a:gd name="T51" fmla="*/ 0 h 898"/>
                <a:gd name="T52" fmla="*/ 242 w 898"/>
                <a:gd name="T53" fmla="*/ 12 h 898"/>
                <a:gd name="T54" fmla="*/ 194 w 898"/>
                <a:gd name="T55" fmla="*/ 44 h 898"/>
                <a:gd name="T56" fmla="*/ 161 w 898"/>
                <a:gd name="T57" fmla="*/ 92 h 898"/>
                <a:gd name="T58" fmla="*/ 150 w 898"/>
                <a:gd name="T59" fmla="*/ 150 h 898"/>
                <a:gd name="T60" fmla="*/ 12 w 898"/>
                <a:gd name="T61" fmla="*/ 240 h 898"/>
                <a:gd name="T62" fmla="*/ 2 w 898"/>
                <a:gd name="T63" fmla="*/ 246 h 898"/>
                <a:gd name="T64" fmla="*/ 0 w 898"/>
                <a:gd name="T65" fmla="*/ 523 h 898"/>
                <a:gd name="T66" fmla="*/ 4 w 898"/>
                <a:gd name="T67" fmla="*/ 534 h 898"/>
                <a:gd name="T68" fmla="*/ 15 w 898"/>
                <a:gd name="T69" fmla="*/ 538 h 898"/>
                <a:gd name="T70" fmla="*/ 113 w 898"/>
                <a:gd name="T71" fmla="*/ 536 h 898"/>
                <a:gd name="T72" fmla="*/ 120 w 898"/>
                <a:gd name="T73" fmla="*/ 526 h 898"/>
                <a:gd name="T74" fmla="*/ 150 w 898"/>
                <a:gd name="T75" fmla="*/ 778 h 898"/>
                <a:gd name="T76" fmla="*/ 155 w 898"/>
                <a:gd name="T77" fmla="*/ 799 h 898"/>
                <a:gd name="T78" fmla="*/ 187 w 898"/>
                <a:gd name="T79" fmla="*/ 833 h 898"/>
                <a:gd name="T80" fmla="*/ 210 w 898"/>
                <a:gd name="T81" fmla="*/ 838 h 898"/>
                <a:gd name="T82" fmla="*/ 212 w 898"/>
                <a:gd name="T83" fmla="*/ 891 h 898"/>
                <a:gd name="T84" fmla="*/ 221 w 898"/>
                <a:gd name="T85" fmla="*/ 897 h 898"/>
                <a:gd name="T86" fmla="*/ 320 w 898"/>
                <a:gd name="T87" fmla="*/ 897 h 898"/>
                <a:gd name="T88" fmla="*/ 327 w 898"/>
                <a:gd name="T89" fmla="*/ 888 h 898"/>
                <a:gd name="T90" fmla="*/ 568 w 898"/>
                <a:gd name="T91" fmla="*/ 838 h 898"/>
                <a:gd name="T92" fmla="*/ 572 w 898"/>
                <a:gd name="T93" fmla="*/ 891 h 898"/>
                <a:gd name="T94" fmla="*/ 580 w 898"/>
                <a:gd name="T95" fmla="*/ 897 h 898"/>
                <a:gd name="T96" fmla="*/ 680 w 898"/>
                <a:gd name="T97" fmla="*/ 897 h 898"/>
                <a:gd name="T98" fmla="*/ 687 w 898"/>
                <a:gd name="T99" fmla="*/ 888 h 898"/>
                <a:gd name="T100" fmla="*/ 694 w 898"/>
                <a:gd name="T101" fmla="*/ 837 h 898"/>
                <a:gd name="T102" fmla="*/ 720 w 898"/>
                <a:gd name="T103" fmla="*/ 826 h 898"/>
                <a:gd name="T104" fmla="*/ 745 w 898"/>
                <a:gd name="T105" fmla="*/ 794 h 898"/>
                <a:gd name="T106" fmla="*/ 748 w 898"/>
                <a:gd name="T107" fmla="*/ 268 h 898"/>
                <a:gd name="T108" fmla="*/ 779 w 898"/>
                <a:gd name="T109" fmla="*/ 530 h 898"/>
                <a:gd name="T110" fmla="*/ 788 w 898"/>
                <a:gd name="T111" fmla="*/ 537 h 898"/>
                <a:gd name="T112" fmla="*/ 886 w 898"/>
                <a:gd name="T113" fmla="*/ 538 h 898"/>
                <a:gd name="T114" fmla="*/ 895 w 898"/>
                <a:gd name="T115" fmla="*/ 532 h 898"/>
                <a:gd name="T116" fmla="*/ 898 w 898"/>
                <a:gd name="T117" fmla="*/ 253 h 898"/>
                <a:gd name="T118" fmla="*/ 894 w 898"/>
                <a:gd name="T119" fmla="*/ 244 h 898"/>
                <a:gd name="T120" fmla="*/ 883 w 898"/>
                <a:gd name="T121" fmla="*/ 239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8" h="898">
                  <a:moveTo>
                    <a:pt x="868" y="508"/>
                  </a:moveTo>
                  <a:lnTo>
                    <a:pt x="808" y="508"/>
                  </a:lnTo>
                  <a:lnTo>
                    <a:pt x="808" y="268"/>
                  </a:lnTo>
                  <a:lnTo>
                    <a:pt x="868" y="268"/>
                  </a:lnTo>
                  <a:lnTo>
                    <a:pt x="868" y="508"/>
                  </a:lnTo>
                  <a:close/>
                  <a:moveTo>
                    <a:pt x="688" y="808"/>
                  </a:moveTo>
                  <a:lnTo>
                    <a:pt x="210" y="808"/>
                  </a:lnTo>
                  <a:lnTo>
                    <a:pt x="204" y="807"/>
                  </a:lnTo>
                  <a:lnTo>
                    <a:pt x="199" y="805"/>
                  </a:lnTo>
                  <a:lnTo>
                    <a:pt x="195" y="802"/>
                  </a:lnTo>
                  <a:lnTo>
                    <a:pt x="189" y="797"/>
                  </a:lnTo>
                  <a:lnTo>
                    <a:pt x="186" y="793"/>
                  </a:lnTo>
                  <a:lnTo>
                    <a:pt x="182" y="788"/>
                  </a:lnTo>
                  <a:lnTo>
                    <a:pt x="180" y="783"/>
                  </a:lnTo>
                  <a:lnTo>
                    <a:pt x="180" y="778"/>
                  </a:lnTo>
                  <a:lnTo>
                    <a:pt x="180" y="598"/>
                  </a:lnTo>
                  <a:lnTo>
                    <a:pt x="718" y="598"/>
                  </a:lnTo>
                  <a:lnTo>
                    <a:pt x="718" y="778"/>
                  </a:lnTo>
                  <a:lnTo>
                    <a:pt x="717" y="783"/>
                  </a:lnTo>
                  <a:lnTo>
                    <a:pt x="715" y="788"/>
                  </a:lnTo>
                  <a:lnTo>
                    <a:pt x="712" y="793"/>
                  </a:lnTo>
                  <a:lnTo>
                    <a:pt x="708" y="797"/>
                  </a:lnTo>
                  <a:lnTo>
                    <a:pt x="703" y="802"/>
                  </a:lnTo>
                  <a:lnTo>
                    <a:pt x="698" y="805"/>
                  </a:lnTo>
                  <a:lnTo>
                    <a:pt x="694" y="807"/>
                  </a:lnTo>
                  <a:lnTo>
                    <a:pt x="688" y="808"/>
                  </a:lnTo>
                  <a:close/>
                  <a:moveTo>
                    <a:pt x="658" y="868"/>
                  </a:moveTo>
                  <a:lnTo>
                    <a:pt x="598" y="868"/>
                  </a:lnTo>
                  <a:lnTo>
                    <a:pt x="598" y="838"/>
                  </a:lnTo>
                  <a:lnTo>
                    <a:pt x="658" y="838"/>
                  </a:lnTo>
                  <a:lnTo>
                    <a:pt x="658" y="868"/>
                  </a:lnTo>
                  <a:close/>
                  <a:moveTo>
                    <a:pt x="300" y="868"/>
                  </a:moveTo>
                  <a:lnTo>
                    <a:pt x="240" y="868"/>
                  </a:lnTo>
                  <a:lnTo>
                    <a:pt x="240" y="838"/>
                  </a:lnTo>
                  <a:lnTo>
                    <a:pt x="300" y="838"/>
                  </a:lnTo>
                  <a:lnTo>
                    <a:pt x="300" y="868"/>
                  </a:lnTo>
                  <a:close/>
                  <a:moveTo>
                    <a:pt x="300" y="30"/>
                  </a:moveTo>
                  <a:lnTo>
                    <a:pt x="598" y="30"/>
                  </a:lnTo>
                  <a:lnTo>
                    <a:pt x="610" y="30"/>
                  </a:lnTo>
                  <a:lnTo>
                    <a:pt x="622" y="32"/>
                  </a:lnTo>
                  <a:lnTo>
                    <a:pt x="634" y="35"/>
                  </a:lnTo>
                  <a:lnTo>
                    <a:pt x="644" y="39"/>
                  </a:lnTo>
                  <a:lnTo>
                    <a:pt x="655" y="45"/>
                  </a:lnTo>
                  <a:lnTo>
                    <a:pt x="665" y="50"/>
                  </a:lnTo>
                  <a:lnTo>
                    <a:pt x="674" y="58"/>
                  </a:lnTo>
                  <a:lnTo>
                    <a:pt x="683" y="65"/>
                  </a:lnTo>
                  <a:lnTo>
                    <a:pt x="690" y="74"/>
                  </a:lnTo>
                  <a:lnTo>
                    <a:pt x="698" y="83"/>
                  </a:lnTo>
                  <a:lnTo>
                    <a:pt x="703" y="93"/>
                  </a:lnTo>
                  <a:lnTo>
                    <a:pt x="709" y="104"/>
                  </a:lnTo>
                  <a:lnTo>
                    <a:pt x="713" y="114"/>
                  </a:lnTo>
                  <a:lnTo>
                    <a:pt x="716" y="126"/>
                  </a:lnTo>
                  <a:lnTo>
                    <a:pt x="717" y="137"/>
                  </a:lnTo>
                  <a:lnTo>
                    <a:pt x="718" y="150"/>
                  </a:lnTo>
                  <a:lnTo>
                    <a:pt x="718" y="210"/>
                  </a:lnTo>
                  <a:lnTo>
                    <a:pt x="180" y="210"/>
                  </a:lnTo>
                  <a:lnTo>
                    <a:pt x="180" y="150"/>
                  </a:lnTo>
                  <a:lnTo>
                    <a:pt x="180" y="137"/>
                  </a:lnTo>
                  <a:lnTo>
                    <a:pt x="182" y="126"/>
                  </a:lnTo>
                  <a:lnTo>
                    <a:pt x="185" y="114"/>
                  </a:lnTo>
                  <a:lnTo>
                    <a:pt x="189" y="104"/>
                  </a:lnTo>
                  <a:lnTo>
                    <a:pt x="194" y="93"/>
                  </a:lnTo>
                  <a:lnTo>
                    <a:pt x="200" y="83"/>
                  </a:lnTo>
                  <a:lnTo>
                    <a:pt x="208" y="74"/>
                  </a:lnTo>
                  <a:lnTo>
                    <a:pt x="215" y="65"/>
                  </a:lnTo>
                  <a:lnTo>
                    <a:pt x="224" y="58"/>
                  </a:lnTo>
                  <a:lnTo>
                    <a:pt x="233" y="50"/>
                  </a:lnTo>
                  <a:lnTo>
                    <a:pt x="243" y="45"/>
                  </a:lnTo>
                  <a:lnTo>
                    <a:pt x="254" y="39"/>
                  </a:lnTo>
                  <a:lnTo>
                    <a:pt x="264" y="35"/>
                  </a:lnTo>
                  <a:lnTo>
                    <a:pt x="275" y="32"/>
                  </a:lnTo>
                  <a:lnTo>
                    <a:pt x="287" y="30"/>
                  </a:lnTo>
                  <a:lnTo>
                    <a:pt x="300" y="30"/>
                  </a:lnTo>
                  <a:close/>
                  <a:moveTo>
                    <a:pt x="180" y="239"/>
                  </a:moveTo>
                  <a:lnTo>
                    <a:pt x="718" y="239"/>
                  </a:lnTo>
                  <a:lnTo>
                    <a:pt x="718" y="568"/>
                  </a:lnTo>
                  <a:lnTo>
                    <a:pt x="180" y="568"/>
                  </a:lnTo>
                  <a:lnTo>
                    <a:pt x="180" y="239"/>
                  </a:lnTo>
                  <a:close/>
                  <a:moveTo>
                    <a:pt x="90" y="508"/>
                  </a:moveTo>
                  <a:lnTo>
                    <a:pt x="30" y="508"/>
                  </a:lnTo>
                  <a:lnTo>
                    <a:pt x="30" y="268"/>
                  </a:lnTo>
                  <a:lnTo>
                    <a:pt x="90" y="268"/>
                  </a:lnTo>
                  <a:lnTo>
                    <a:pt x="90" y="508"/>
                  </a:lnTo>
                  <a:close/>
                  <a:moveTo>
                    <a:pt x="883" y="239"/>
                  </a:moveTo>
                  <a:lnTo>
                    <a:pt x="793" y="239"/>
                  </a:lnTo>
                  <a:lnTo>
                    <a:pt x="748" y="239"/>
                  </a:lnTo>
                  <a:lnTo>
                    <a:pt x="748" y="150"/>
                  </a:lnTo>
                  <a:lnTo>
                    <a:pt x="747" y="135"/>
                  </a:lnTo>
                  <a:lnTo>
                    <a:pt x="745" y="120"/>
                  </a:lnTo>
                  <a:lnTo>
                    <a:pt x="742" y="106"/>
                  </a:lnTo>
                  <a:lnTo>
                    <a:pt x="736" y="92"/>
                  </a:lnTo>
                  <a:lnTo>
                    <a:pt x="730" y="79"/>
                  </a:lnTo>
                  <a:lnTo>
                    <a:pt x="723" y="66"/>
                  </a:lnTo>
                  <a:lnTo>
                    <a:pt x="714" y="54"/>
                  </a:lnTo>
                  <a:lnTo>
                    <a:pt x="704" y="44"/>
                  </a:lnTo>
                  <a:lnTo>
                    <a:pt x="694" y="34"/>
                  </a:lnTo>
                  <a:lnTo>
                    <a:pt x="682" y="25"/>
                  </a:lnTo>
                  <a:lnTo>
                    <a:pt x="669" y="18"/>
                  </a:lnTo>
                  <a:lnTo>
                    <a:pt x="656" y="12"/>
                  </a:lnTo>
                  <a:lnTo>
                    <a:pt x="642" y="6"/>
                  </a:lnTo>
                  <a:lnTo>
                    <a:pt x="628" y="3"/>
                  </a:lnTo>
                  <a:lnTo>
                    <a:pt x="613" y="1"/>
                  </a:lnTo>
                  <a:lnTo>
                    <a:pt x="598" y="0"/>
                  </a:lnTo>
                  <a:lnTo>
                    <a:pt x="300" y="0"/>
                  </a:lnTo>
                  <a:lnTo>
                    <a:pt x="285" y="1"/>
                  </a:lnTo>
                  <a:lnTo>
                    <a:pt x="270" y="3"/>
                  </a:lnTo>
                  <a:lnTo>
                    <a:pt x="256" y="6"/>
                  </a:lnTo>
                  <a:lnTo>
                    <a:pt x="242" y="12"/>
                  </a:lnTo>
                  <a:lnTo>
                    <a:pt x="229" y="18"/>
                  </a:lnTo>
                  <a:lnTo>
                    <a:pt x="216" y="25"/>
                  </a:lnTo>
                  <a:lnTo>
                    <a:pt x="204" y="34"/>
                  </a:lnTo>
                  <a:lnTo>
                    <a:pt x="194" y="44"/>
                  </a:lnTo>
                  <a:lnTo>
                    <a:pt x="184" y="54"/>
                  </a:lnTo>
                  <a:lnTo>
                    <a:pt x="175" y="66"/>
                  </a:lnTo>
                  <a:lnTo>
                    <a:pt x="168" y="79"/>
                  </a:lnTo>
                  <a:lnTo>
                    <a:pt x="161" y="92"/>
                  </a:lnTo>
                  <a:lnTo>
                    <a:pt x="156" y="106"/>
                  </a:lnTo>
                  <a:lnTo>
                    <a:pt x="153" y="120"/>
                  </a:lnTo>
                  <a:lnTo>
                    <a:pt x="151" y="135"/>
                  </a:lnTo>
                  <a:lnTo>
                    <a:pt x="150" y="150"/>
                  </a:lnTo>
                  <a:lnTo>
                    <a:pt x="150" y="239"/>
                  </a:lnTo>
                  <a:lnTo>
                    <a:pt x="105" y="239"/>
                  </a:lnTo>
                  <a:lnTo>
                    <a:pt x="15" y="239"/>
                  </a:lnTo>
                  <a:lnTo>
                    <a:pt x="12" y="240"/>
                  </a:lnTo>
                  <a:lnTo>
                    <a:pt x="9" y="241"/>
                  </a:lnTo>
                  <a:lnTo>
                    <a:pt x="6" y="242"/>
                  </a:lnTo>
                  <a:lnTo>
                    <a:pt x="4" y="244"/>
                  </a:lnTo>
                  <a:lnTo>
                    <a:pt x="2" y="246"/>
                  </a:lnTo>
                  <a:lnTo>
                    <a:pt x="1" y="248"/>
                  </a:lnTo>
                  <a:lnTo>
                    <a:pt x="0" y="251"/>
                  </a:lnTo>
                  <a:lnTo>
                    <a:pt x="0" y="253"/>
                  </a:lnTo>
                  <a:lnTo>
                    <a:pt x="0" y="523"/>
                  </a:lnTo>
                  <a:lnTo>
                    <a:pt x="0" y="526"/>
                  </a:lnTo>
                  <a:lnTo>
                    <a:pt x="1" y="530"/>
                  </a:lnTo>
                  <a:lnTo>
                    <a:pt x="2" y="532"/>
                  </a:lnTo>
                  <a:lnTo>
                    <a:pt x="4" y="534"/>
                  </a:lnTo>
                  <a:lnTo>
                    <a:pt x="6" y="536"/>
                  </a:lnTo>
                  <a:lnTo>
                    <a:pt x="9" y="537"/>
                  </a:lnTo>
                  <a:lnTo>
                    <a:pt x="12" y="538"/>
                  </a:lnTo>
                  <a:lnTo>
                    <a:pt x="15" y="538"/>
                  </a:lnTo>
                  <a:lnTo>
                    <a:pt x="105" y="538"/>
                  </a:lnTo>
                  <a:lnTo>
                    <a:pt x="108" y="538"/>
                  </a:lnTo>
                  <a:lnTo>
                    <a:pt x="110" y="537"/>
                  </a:lnTo>
                  <a:lnTo>
                    <a:pt x="113" y="536"/>
                  </a:lnTo>
                  <a:lnTo>
                    <a:pt x="115" y="534"/>
                  </a:lnTo>
                  <a:lnTo>
                    <a:pt x="117" y="532"/>
                  </a:lnTo>
                  <a:lnTo>
                    <a:pt x="119" y="530"/>
                  </a:lnTo>
                  <a:lnTo>
                    <a:pt x="120" y="526"/>
                  </a:lnTo>
                  <a:lnTo>
                    <a:pt x="120" y="523"/>
                  </a:lnTo>
                  <a:lnTo>
                    <a:pt x="120" y="268"/>
                  </a:lnTo>
                  <a:lnTo>
                    <a:pt x="150" y="268"/>
                  </a:lnTo>
                  <a:lnTo>
                    <a:pt x="150" y="778"/>
                  </a:lnTo>
                  <a:lnTo>
                    <a:pt x="150" y="783"/>
                  </a:lnTo>
                  <a:lnTo>
                    <a:pt x="151" y="789"/>
                  </a:lnTo>
                  <a:lnTo>
                    <a:pt x="153" y="794"/>
                  </a:lnTo>
                  <a:lnTo>
                    <a:pt x="155" y="799"/>
                  </a:lnTo>
                  <a:lnTo>
                    <a:pt x="160" y="810"/>
                  </a:lnTo>
                  <a:lnTo>
                    <a:pt x="169" y="819"/>
                  </a:lnTo>
                  <a:lnTo>
                    <a:pt x="178" y="826"/>
                  </a:lnTo>
                  <a:lnTo>
                    <a:pt x="187" y="833"/>
                  </a:lnTo>
                  <a:lnTo>
                    <a:pt x="193" y="835"/>
                  </a:lnTo>
                  <a:lnTo>
                    <a:pt x="198" y="836"/>
                  </a:lnTo>
                  <a:lnTo>
                    <a:pt x="204" y="837"/>
                  </a:lnTo>
                  <a:lnTo>
                    <a:pt x="210" y="838"/>
                  </a:lnTo>
                  <a:lnTo>
                    <a:pt x="210" y="883"/>
                  </a:lnTo>
                  <a:lnTo>
                    <a:pt x="210" y="886"/>
                  </a:lnTo>
                  <a:lnTo>
                    <a:pt x="211" y="888"/>
                  </a:lnTo>
                  <a:lnTo>
                    <a:pt x="212" y="891"/>
                  </a:lnTo>
                  <a:lnTo>
                    <a:pt x="214" y="894"/>
                  </a:lnTo>
                  <a:lnTo>
                    <a:pt x="216" y="895"/>
                  </a:lnTo>
                  <a:lnTo>
                    <a:pt x="218" y="897"/>
                  </a:lnTo>
                  <a:lnTo>
                    <a:pt x="221" y="897"/>
                  </a:lnTo>
                  <a:lnTo>
                    <a:pt x="225" y="898"/>
                  </a:lnTo>
                  <a:lnTo>
                    <a:pt x="315" y="898"/>
                  </a:lnTo>
                  <a:lnTo>
                    <a:pt x="317" y="897"/>
                  </a:lnTo>
                  <a:lnTo>
                    <a:pt x="320" y="897"/>
                  </a:lnTo>
                  <a:lnTo>
                    <a:pt x="322" y="895"/>
                  </a:lnTo>
                  <a:lnTo>
                    <a:pt x="324" y="894"/>
                  </a:lnTo>
                  <a:lnTo>
                    <a:pt x="326" y="891"/>
                  </a:lnTo>
                  <a:lnTo>
                    <a:pt x="327" y="888"/>
                  </a:lnTo>
                  <a:lnTo>
                    <a:pt x="329" y="886"/>
                  </a:lnTo>
                  <a:lnTo>
                    <a:pt x="330" y="883"/>
                  </a:lnTo>
                  <a:lnTo>
                    <a:pt x="330" y="838"/>
                  </a:lnTo>
                  <a:lnTo>
                    <a:pt x="568" y="838"/>
                  </a:lnTo>
                  <a:lnTo>
                    <a:pt x="568" y="883"/>
                  </a:lnTo>
                  <a:lnTo>
                    <a:pt x="569" y="886"/>
                  </a:lnTo>
                  <a:lnTo>
                    <a:pt x="569" y="888"/>
                  </a:lnTo>
                  <a:lnTo>
                    <a:pt x="572" y="891"/>
                  </a:lnTo>
                  <a:lnTo>
                    <a:pt x="573" y="894"/>
                  </a:lnTo>
                  <a:lnTo>
                    <a:pt x="575" y="895"/>
                  </a:lnTo>
                  <a:lnTo>
                    <a:pt x="578" y="897"/>
                  </a:lnTo>
                  <a:lnTo>
                    <a:pt x="580" y="897"/>
                  </a:lnTo>
                  <a:lnTo>
                    <a:pt x="583" y="898"/>
                  </a:lnTo>
                  <a:lnTo>
                    <a:pt x="673" y="898"/>
                  </a:lnTo>
                  <a:lnTo>
                    <a:pt x="676" y="897"/>
                  </a:lnTo>
                  <a:lnTo>
                    <a:pt x="680" y="897"/>
                  </a:lnTo>
                  <a:lnTo>
                    <a:pt x="682" y="895"/>
                  </a:lnTo>
                  <a:lnTo>
                    <a:pt x="684" y="894"/>
                  </a:lnTo>
                  <a:lnTo>
                    <a:pt x="686" y="891"/>
                  </a:lnTo>
                  <a:lnTo>
                    <a:pt x="687" y="888"/>
                  </a:lnTo>
                  <a:lnTo>
                    <a:pt x="688" y="886"/>
                  </a:lnTo>
                  <a:lnTo>
                    <a:pt x="688" y="883"/>
                  </a:lnTo>
                  <a:lnTo>
                    <a:pt x="688" y="838"/>
                  </a:lnTo>
                  <a:lnTo>
                    <a:pt x="694" y="837"/>
                  </a:lnTo>
                  <a:lnTo>
                    <a:pt x="699" y="836"/>
                  </a:lnTo>
                  <a:lnTo>
                    <a:pt x="704" y="835"/>
                  </a:lnTo>
                  <a:lnTo>
                    <a:pt x="710" y="833"/>
                  </a:lnTo>
                  <a:lnTo>
                    <a:pt x="720" y="826"/>
                  </a:lnTo>
                  <a:lnTo>
                    <a:pt x="729" y="819"/>
                  </a:lnTo>
                  <a:lnTo>
                    <a:pt x="736" y="810"/>
                  </a:lnTo>
                  <a:lnTo>
                    <a:pt x="743" y="799"/>
                  </a:lnTo>
                  <a:lnTo>
                    <a:pt x="745" y="794"/>
                  </a:lnTo>
                  <a:lnTo>
                    <a:pt x="747" y="789"/>
                  </a:lnTo>
                  <a:lnTo>
                    <a:pt x="748" y="783"/>
                  </a:lnTo>
                  <a:lnTo>
                    <a:pt x="748" y="778"/>
                  </a:lnTo>
                  <a:lnTo>
                    <a:pt x="748" y="268"/>
                  </a:lnTo>
                  <a:lnTo>
                    <a:pt x="778" y="268"/>
                  </a:lnTo>
                  <a:lnTo>
                    <a:pt x="778" y="523"/>
                  </a:lnTo>
                  <a:lnTo>
                    <a:pt x="778" y="526"/>
                  </a:lnTo>
                  <a:lnTo>
                    <a:pt x="779" y="530"/>
                  </a:lnTo>
                  <a:lnTo>
                    <a:pt x="780" y="532"/>
                  </a:lnTo>
                  <a:lnTo>
                    <a:pt x="782" y="534"/>
                  </a:lnTo>
                  <a:lnTo>
                    <a:pt x="785" y="536"/>
                  </a:lnTo>
                  <a:lnTo>
                    <a:pt x="788" y="537"/>
                  </a:lnTo>
                  <a:lnTo>
                    <a:pt x="790" y="538"/>
                  </a:lnTo>
                  <a:lnTo>
                    <a:pt x="793" y="538"/>
                  </a:lnTo>
                  <a:lnTo>
                    <a:pt x="883" y="538"/>
                  </a:lnTo>
                  <a:lnTo>
                    <a:pt x="886" y="538"/>
                  </a:lnTo>
                  <a:lnTo>
                    <a:pt x="888" y="537"/>
                  </a:lnTo>
                  <a:lnTo>
                    <a:pt x="892" y="536"/>
                  </a:lnTo>
                  <a:lnTo>
                    <a:pt x="894" y="534"/>
                  </a:lnTo>
                  <a:lnTo>
                    <a:pt x="895" y="532"/>
                  </a:lnTo>
                  <a:lnTo>
                    <a:pt x="897" y="530"/>
                  </a:lnTo>
                  <a:lnTo>
                    <a:pt x="898" y="526"/>
                  </a:lnTo>
                  <a:lnTo>
                    <a:pt x="898" y="523"/>
                  </a:lnTo>
                  <a:lnTo>
                    <a:pt x="898" y="253"/>
                  </a:lnTo>
                  <a:lnTo>
                    <a:pt x="898" y="251"/>
                  </a:lnTo>
                  <a:lnTo>
                    <a:pt x="897" y="248"/>
                  </a:lnTo>
                  <a:lnTo>
                    <a:pt x="895" y="246"/>
                  </a:lnTo>
                  <a:lnTo>
                    <a:pt x="894" y="244"/>
                  </a:lnTo>
                  <a:lnTo>
                    <a:pt x="892" y="242"/>
                  </a:lnTo>
                  <a:lnTo>
                    <a:pt x="888" y="241"/>
                  </a:lnTo>
                  <a:lnTo>
                    <a:pt x="886" y="240"/>
                  </a:lnTo>
                  <a:lnTo>
                    <a:pt x="883" y="2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259" name="Group 258"/>
          <p:cNvGrpSpPr/>
          <p:nvPr/>
        </p:nvGrpSpPr>
        <p:grpSpPr>
          <a:xfrm>
            <a:off x="9532025" y="7682235"/>
            <a:ext cx="571463" cy="400024"/>
            <a:chOff x="5467350" y="3421063"/>
            <a:chExt cx="285750" cy="200025"/>
          </a:xfrm>
          <a:solidFill>
            <a:schemeClr val="bg1"/>
          </a:solidFill>
        </p:grpSpPr>
        <p:sp>
          <p:nvSpPr>
            <p:cNvPr id="260" name="Freeform 102"/>
            <p:cNvSpPr>
              <a:spLocks/>
            </p:cNvSpPr>
            <p:nvPr/>
          </p:nvSpPr>
          <p:spPr bwMode="auto">
            <a:xfrm>
              <a:off x="5695950" y="3459163"/>
              <a:ext cx="57150" cy="61913"/>
            </a:xfrm>
            <a:custGeom>
              <a:avLst/>
              <a:gdLst>
                <a:gd name="T0" fmla="*/ 165 w 180"/>
                <a:gd name="T1" fmla="*/ 90 h 195"/>
                <a:gd name="T2" fmla="*/ 84 w 180"/>
                <a:gd name="T3" fmla="*/ 90 h 195"/>
                <a:gd name="T4" fmla="*/ 28 w 180"/>
                <a:gd name="T5" fmla="*/ 8 h 195"/>
                <a:gd name="T6" fmla="*/ 26 w 180"/>
                <a:gd name="T7" fmla="*/ 6 h 195"/>
                <a:gd name="T8" fmla="*/ 24 w 180"/>
                <a:gd name="T9" fmla="*/ 4 h 195"/>
                <a:gd name="T10" fmla="*/ 22 w 180"/>
                <a:gd name="T11" fmla="*/ 2 h 195"/>
                <a:gd name="T12" fmla="*/ 18 w 180"/>
                <a:gd name="T13" fmla="*/ 2 h 195"/>
                <a:gd name="T14" fmla="*/ 15 w 180"/>
                <a:gd name="T15" fmla="*/ 0 h 195"/>
                <a:gd name="T16" fmla="*/ 13 w 180"/>
                <a:gd name="T17" fmla="*/ 2 h 195"/>
                <a:gd name="T18" fmla="*/ 10 w 180"/>
                <a:gd name="T19" fmla="*/ 2 h 195"/>
                <a:gd name="T20" fmla="*/ 7 w 180"/>
                <a:gd name="T21" fmla="*/ 4 h 195"/>
                <a:gd name="T22" fmla="*/ 4 w 180"/>
                <a:gd name="T23" fmla="*/ 6 h 195"/>
                <a:gd name="T24" fmla="*/ 2 w 180"/>
                <a:gd name="T25" fmla="*/ 8 h 195"/>
                <a:gd name="T26" fmla="*/ 1 w 180"/>
                <a:gd name="T27" fmla="*/ 10 h 195"/>
                <a:gd name="T28" fmla="*/ 0 w 180"/>
                <a:gd name="T29" fmla="*/ 13 h 195"/>
                <a:gd name="T30" fmla="*/ 0 w 180"/>
                <a:gd name="T31" fmla="*/ 15 h 195"/>
                <a:gd name="T32" fmla="*/ 0 w 180"/>
                <a:gd name="T33" fmla="*/ 19 h 195"/>
                <a:gd name="T34" fmla="*/ 1 w 180"/>
                <a:gd name="T35" fmla="*/ 22 h 195"/>
                <a:gd name="T36" fmla="*/ 3 w 180"/>
                <a:gd name="T37" fmla="*/ 24 h 195"/>
                <a:gd name="T38" fmla="*/ 57 w 180"/>
                <a:gd name="T39" fmla="*/ 105 h 195"/>
                <a:gd name="T40" fmla="*/ 3 w 180"/>
                <a:gd name="T41" fmla="*/ 171 h 195"/>
                <a:gd name="T42" fmla="*/ 2 w 180"/>
                <a:gd name="T43" fmla="*/ 174 h 195"/>
                <a:gd name="T44" fmla="*/ 1 w 180"/>
                <a:gd name="T45" fmla="*/ 176 h 195"/>
                <a:gd name="T46" fmla="*/ 0 w 180"/>
                <a:gd name="T47" fmla="*/ 179 h 195"/>
                <a:gd name="T48" fmla="*/ 0 w 180"/>
                <a:gd name="T49" fmla="*/ 182 h 195"/>
                <a:gd name="T50" fmla="*/ 1 w 180"/>
                <a:gd name="T51" fmla="*/ 185 h 195"/>
                <a:gd name="T52" fmla="*/ 2 w 180"/>
                <a:gd name="T53" fmla="*/ 188 h 195"/>
                <a:gd name="T54" fmla="*/ 3 w 180"/>
                <a:gd name="T55" fmla="*/ 190 h 195"/>
                <a:gd name="T56" fmla="*/ 5 w 180"/>
                <a:gd name="T57" fmla="*/ 192 h 195"/>
                <a:gd name="T58" fmla="*/ 8 w 180"/>
                <a:gd name="T59" fmla="*/ 194 h 195"/>
                <a:gd name="T60" fmla="*/ 11 w 180"/>
                <a:gd name="T61" fmla="*/ 194 h 195"/>
                <a:gd name="T62" fmla="*/ 13 w 180"/>
                <a:gd name="T63" fmla="*/ 195 h 195"/>
                <a:gd name="T64" fmla="*/ 15 w 180"/>
                <a:gd name="T65" fmla="*/ 195 h 195"/>
                <a:gd name="T66" fmla="*/ 18 w 180"/>
                <a:gd name="T67" fmla="*/ 194 h 195"/>
                <a:gd name="T68" fmla="*/ 22 w 180"/>
                <a:gd name="T69" fmla="*/ 194 h 195"/>
                <a:gd name="T70" fmla="*/ 25 w 180"/>
                <a:gd name="T71" fmla="*/ 192 h 195"/>
                <a:gd name="T72" fmla="*/ 27 w 180"/>
                <a:gd name="T73" fmla="*/ 191 h 195"/>
                <a:gd name="T74" fmla="*/ 83 w 180"/>
                <a:gd name="T75" fmla="*/ 120 h 195"/>
                <a:gd name="T76" fmla="*/ 165 w 180"/>
                <a:gd name="T77" fmla="*/ 120 h 195"/>
                <a:gd name="T78" fmla="*/ 168 w 180"/>
                <a:gd name="T79" fmla="*/ 120 h 195"/>
                <a:gd name="T80" fmla="*/ 170 w 180"/>
                <a:gd name="T81" fmla="*/ 119 h 195"/>
                <a:gd name="T82" fmla="*/ 174 w 180"/>
                <a:gd name="T83" fmla="*/ 118 h 195"/>
                <a:gd name="T84" fmla="*/ 176 w 180"/>
                <a:gd name="T85" fmla="*/ 116 h 195"/>
                <a:gd name="T86" fmla="*/ 178 w 180"/>
                <a:gd name="T87" fmla="*/ 114 h 195"/>
                <a:gd name="T88" fmla="*/ 179 w 180"/>
                <a:gd name="T89" fmla="*/ 112 h 195"/>
                <a:gd name="T90" fmla="*/ 180 w 180"/>
                <a:gd name="T91" fmla="*/ 109 h 195"/>
                <a:gd name="T92" fmla="*/ 180 w 180"/>
                <a:gd name="T93" fmla="*/ 105 h 195"/>
                <a:gd name="T94" fmla="*/ 180 w 180"/>
                <a:gd name="T95" fmla="*/ 102 h 195"/>
                <a:gd name="T96" fmla="*/ 179 w 180"/>
                <a:gd name="T97" fmla="*/ 100 h 195"/>
                <a:gd name="T98" fmla="*/ 178 w 180"/>
                <a:gd name="T99" fmla="*/ 97 h 195"/>
                <a:gd name="T100" fmla="*/ 176 w 180"/>
                <a:gd name="T101" fmla="*/ 95 h 195"/>
                <a:gd name="T102" fmla="*/ 174 w 180"/>
                <a:gd name="T103" fmla="*/ 93 h 195"/>
                <a:gd name="T104" fmla="*/ 170 w 180"/>
                <a:gd name="T105" fmla="*/ 91 h 195"/>
                <a:gd name="T106" fmla="*/ 168 w 180"/>
                <a:gd name="T107" fmla="*/ 90 h 195"/>
                <a:gd name="T108" fmla="*/ 165 w 180"/>
                <a:gd name="T109" fmla="*/ 9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0" h="195">
                  <a:moveTo>
                    <a:pt x="165" y="90"/>
                  </a:moveTo>
                  <a:lnTo>
                    <a:pt x="84" y="90"/>
                  </a:lnTo>
                  <a:lnTo>
                    <a:pt x="28" y="8"/>
                  </a:lnTo>
                  <a:lnTo>
                    <a:pt x="26" y="6"/>
                  </a:lnTo>
                  <a:lnTo>
                    <a:pt x="24" y="4"/>
                  </a:lnTo>
                  <a:lnTo>
                    <a:pt x="22" y="2"/>
                  </a:lnTo>
                  <a:lnTo>
                    <a:pt x="18" y="2"/>
                  </a:lnTo>
                  <a:lnTo>
                    <a:pt x="15" y="0"/>
                  </a:lnTo>
                  <a:lnTo>
                    <a:pt x="13" y="2"/>
                  </a:lnTo>
                  <a:lnTo>
                    <a:pt x="10" y="2"/>
                  </a:lnTo>
                  <a:lnTo>
                    <a:pt x="7" y="4"/>
                  </a:lnTo>
                  <a:lnTo>
                    <a:pt x="4" y="6"/>
                  </a:lnTo>
                  <a:lnTo>
                    <a:pt x="2" y="8"/>
                  </a:lnTo>
                  <a:lnTo>
                    <a:pt x="1" y="10"/>
                  </a:lnTo>
                  <a:lnTo>
                    <a:pt x="0" y="13"/>
                  </a:lnTo>
                  <a:lnTo>
                    <a:pt x="0" y="15"/>
                  </a:lnTo>
                  <a:lnTo>
                    <a:pt x="0" y="19"/>
                  </a:lnTo>
                  <a:lnTo>
                    <a:pt x="1" y="22"/>
                  </a:lnTo>
                  <a:lnTo>
                    <a:pt x="3" y="24"/>
                  </a:lnTo>
                  <a:lnTo>
                    <a:pt x="57" y="105"/>
                  </a:lnTo>
                  <a:lnTo>
                    <a:pt x="3" y="171"/>
                  </a:lnTo>
                  <a:lnTo>
                    <a:pt x="2" y="174"/>
                  </a:lnTo>
                  <a:lnTo>
                    <a:pt x="1" y="176"/>
                  </a:lnTo>
                  <a:lnTo>
                    <a:pt x="0" y="179"/>
                  </a:lnTo>
                  <a:lnTo>
                    <a:pt x="0" y="182"/>
                  </a:lnTo>
                  <a:lnTo>
                    <a:pt x="1" y="185"/>
                  </a:lnTo>
                  <a:lnTo>
                    <a:pt x="2" y="188"/>
                  </a:lnTo>
                  <a:lnTo>
                    <a:pt x="3" y="190"/>
                  </a:lnTo>
                  <a:lnTo>
                    <a:pt x="5" y="192"/>
                  </a:lnTo>
                  <a:lnTo>
                    <a:pt x="8" y="194"/>
                  </a:lnTo>
                  <a:lnTo>
                    <a:pt x="11" y="194"/>
                  </a:lnTo>
                  <a:lnTo>
                    <a:pt x="13" y="195"/>
                  </a:lnTo>
                  <a:lnTo>
                    <a:pt x="15" y="195"/>
                  </a:lnTo>
                  <a:lnTo>
                    <a:pt x="18" y="194"/>
                  </a:lnTo>
                  <a:lnTo>
                    <a:pt x="22" y="194"/>
                  </a:lnTo>
                  <a:lnTo>
                    <a:pt x="25" y="192"/>
                  </a:lnTo>
                  <a:lnTo>
                    <a:pt x="27" y="191"/>
                  </a:lnTo>
                  <a:lnTo>
                    <a:pt x="83" y="120"/>
                  </a:lnTo>
                  <a:lnTo>
                    <a:pt x="165" y="120"/>
                  </a:lnTo>
                  <a:lnTo>
                    <a:pt x="168" y="120"/>
                  </a:lnTo>
                  <a:lnTo>
                    <a:pt x="170" y="119"/>
                  </a:lnTo>
                  <a:lnTo>
                    <a:pt x="174" y="118"/>
                  </a:lnTo>
                  <a:lnTo>
                    <a:pt x="176" y="116"/>
                  </a:lnTo>
                  <a:lnTo>
                    <a:pt x="178" y="114"/>
                  </a:lnTo>
                  <a:lnTo>
                    <a:pt x="179" y="112"/>
                  </a:lnTo>
                  <a:lnTo>
                    <a:pt x="180" y="109"/>
                  </a:lnTo>
                  <a:lnTo>
                    <a:pt x="180" y="105"/>
                  </a:lnTo>
                  <a:lnTo>
                    <a:pt x="180" y="102"/>
                  </a:lnTo>
                  <a:lnTo>
                    <a:pt x="179" y="100"/>
                  </a:lnTo>
                  <a:lnTo>
                    <a:pt x="178" y="97"/>
                  </a:lnTo>
                  <a:lnTo>
                    <a:pt x="176" y="95"/>
                  </a:lnTo>
                  <a:lnTo>
                    <a:pt x="174" y="93"/>
                  </a:lnTo>
                  <a:lnTo>
                    <a:pt x="170" y="91"/>
                  </a:lnTo>
                  <a:lnTo>
                    <a:pt x="168" y="90"/>
                  </a:lnTo>
                  <a:lnTo>
                    <a:pt x="16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61" name="Freeform 103"/>
            <p:cNvSpPr>
              <a:spLocks/>
            </p:cNvSpPr>
            <p:nvPr/>
          </p:nvSpPr>
          <p:spPr bwMode="auto">
            <a:xfrm>
              <a:off x="5586413" y="3516313"/>
              <a:ext cx="19050" cy="9525"/>
            </a:xfrm>
            <a:custGeom>
              <a:avLst/>
              <a:gdLst>
                <a:gd name="T0" fmla="*/ 15 w 60"/>
                <a:gd name="T1" fmla="*/ 0 h 30"/>
                <a:gd name="T2" fmla="*/ 12 w 60"/>
                <a:gd name="T3" fmla="*/ 0 h 30"/>
                <a:gd name="T4" fmla="*/ 9 w 60"/>
                <a:gd name="T5" fmla="*/ 1 h 30"/>
                <a:gd name="T6" fmla="*/ 7 w 60"/>
                <a:gd name="T7" fmla="*/ 2 h 30"/>
                <a:gd name="T8" fmla="*/ 5 w 60"/>
                <a:gd name="T9" fmla="*/ 5 h 30"/>
                <a:gd name="T10" fmla="*/ 3 w 60"/>
                <a:gd name="T11" fmla="*/ 7 h 30"/>
                <a:gd name="T12" fmla="*/ 2 w 60"/>
                <a:gd name="T13" fmla="*/ 10 h 30"/>
                <a:gd name="T14" fmla="*/ 0 w 60"/>
                <a:gd name="T15" fmla="*/ 12 h 30"/>
                <a:gd name="T16" fmla="*/ 0 w 60"/>
                <a:gd name="T17" fmla="*/ 15 h 30"/>
                <a:gd name="T18" fmla="*/ 0 w 60"/>
                <a:gd name="T19" fmla="*/ 18 h 30"/>
                <a:gd name="T20" fmla="*/ 2 w 60"/>
                <a:gd name="T21" fmla="*/ 21 h 30"/>
                <a:gd name="T22" fmla="*/ 3 w 60"/>
                <a:gd name="T23" fmla="*/ 24 h 30"/>
                <a:gd name="T24" fmla="*/ 5 w 60"/>
                <a:gd name="T25" fmla="*/ 26 h 30"/>
                <a:gd name="T26" fmla="*/ 7 w 60"/>
                <a:gd name="T27" fmla="*/ 27 h 30"/>
                <a:gd name="T28" fmla="*/ 9 w 60"/>
                <a:gd name="T29" fmla="*/ 29 h 30"/>
                <a:gd name="T30" fmla="*/ 12 w 60"/>
                <a:gd name="T31" fmla="*/ 29 h 30"/>
                <a:gd name="T32" fmla="*/ 15 w 60"/>
                <a:gd name="T33" fmla="*/ 30 h 30"/>
                <a:gd name="T34" fmla="*/ 45 w 60"/>
                <a:gd name="T35" fmla="*/ 30 h 30"/>
                <a:gd name="T36" fmla="*/ 48 w 60"/>
                <a:gd name="T37" fmla="*/ 29 h 30"/>
                <a:gd name="T38" fmla="*/ 51 w 60"/>
                <a:gd name="T39" fmla="*/ 29 h 30"/>
                <a:gd name="T40" fmla="*/ 53 w 60"/>
                <a:gd name="T41" fmla="*/ 27 h 30"/>
                <a:gd name="T42" fmla="*/ 55 w 60"/>
                <a:gd name="T43" fmla="*/ 26 h 30"/>
                <a:gd name="T44" fmla="*/ 57 w 60"/>
                <a:gd name="T45" fmla="*/ 24 h 30"/>
                <a:gd name="T46" fmla="*/ 58 w 60"/>
                <a:gd name="T47" fmla="*/ 21 h 30"/>
                <a:gd name="T48" fmla="*/ 59 w 60"/>
                <a:gd name="T49" fmla="*/ 18 h 30"/>
                <a:gd name="T50" fmla="*/ 60 w 60"/>
                <a:gd name="T51" fmla="*/ 15 h 30"/>
                <a:gd name="T52" fmla="*/ 59 w 60"/>
                <a:gd name="T53" fmla="*/ 12 h 30"/>
                <a:gd name="T54" fmla="*/ 58 w 60"/>
                <a:gd name="T55" fmla="*/ 10 h 30"/>
                <a:gd name="T56" fmla="*/ 57 w 60"/>
                <a:gd name="T57" fmla="*/ 7 h 30"/>
                <a:gd name="T58" fmla="*/ 55 w 60"/>
                <a:gd name="T59" fmla="*/ 5 h 30"/>
                <a:gd name="T60" fmla="*/ 53 w 60"/>
                <a:gd name="T61" fmla="*/ 2 h 30"/>
                <a:gd name="T62" fmla="*/ 51 w 60"/>
                <a:gd name="T63" fmla="*/ 1 h 30"/>
                <a:gd name="T64" fmla="*/ 48 w 60"/>
                <a:gd name="T65" fmla="*/ 0 h 30"/>
                <a:gd name="T66" fmla="*/ 45 w 60"/>
                <a:gd name="T67" fmla="*/ 0 h 30"/>
                <a:gd name="T68" fmla="*/ 1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15" y="0"/>
                  </a:moveTo>
                  <a:lnTo>
                    <a:pt x="12" y="0"/>
                  </a:lnTo>
                  <a:lnTo>
                    <a:pt x="9" y="1"/>
                  </a:lnTo>
                  <a:lnTo>
                    <a:pt x="7" y="2"/>
                  </a:lnTo>
                  <a:lnTo>
                    <a:pt x="5" y="5"/>
                  </a:lnTo>
                  <a:lnTo>
                    <a:pt x="3" y="7"/>
                  </a:lnTo>
                  <a:lnTo>
                    <a:pt x="2" y="10"/>
                  </a:lnTo>
                  <a:lnTo>
                    <a:pt x="0" y="12"/>
                  </a:lnTo>
                  <a:lnTo>
                    <a:pt x="0" y="15"/>
                  </a:lnTo>
                  <a:lnTo>
                    <a:pt x="0" y="18"/>
                  </a:lnTo>
                  <a:lnTo>
                    <a:pt x="2" y="21"/>
                  </a:lnTo>
                  <a:lnTo>
                    <a:pt x="3" y="24"/>
                  </a:lnTo>
                  <a:lnTo>
                    <a:pt x="5" y="26"/>
                  </a:lnTo>
                  <a:lnTo>
                    <a:pt x="7" y="27"/>
                  </a:lnTo>
                  <a:lnTo>
                    <a:pt x="9" y="29"/>
                  </a:lnTo>
                  <a:lnTo>
                    <a:pt x="12" y="29"/>
                  </a:lnTo>
                  <a:lnTo>
                    <a:pt x="15" y="30"/>
                  </a:lnTo>
                  <a:lnTo>
                    <a:pt x="45" y="30"/>
                  </a:lnTo>
                  <a:lnTo>
                    <a:pt x="48" y="29"/>
                  </a:lnTo>
                  <a:lnTo>
                    <a:pt x="51" y="29"/>
                  </a:lnTo>
                  <a:lnTo>
                    <a:pt x="53" y="27"/>
                  </a:lnTo>
                  <a:lnTo>
                    <a:pt x="55" y="26"/>
                  </a:lnTo>
                  <a:lnTo>
                    <a:pt x="57" y="24"/>
                  </a:lnTo>
                  <a:lnTo>
                    <a:pt x="58" y="21"/>
                  </a:lnTo>
                  <a:lnTo>
                    <a:pt x="59" y="18"/>
                  </a:lnTo>
                  <a:lnTo>
                    <a:pt x="60" y="15"/>
                  </a:lnTo>
                  <a:lnTo>
                    <a:pt x="59" y="12"/>
                  </a:lnTo>
                  <a:lnTo>
                    <a:pt x="58" y="10"/>
                  </a:lnTo>
                  <a:lnTo>
                    <a:pt x="57" y="7"/>
                  </a:lnTo>
                  <a:lnTo>
                    <a:pt x="55" y="5"/>
                  </a:lnTo>
                  <a:lnTo>
                    <a:pt x="53" y="2"/>
                  </a:lnTo>
                  <a:lnTo>
                    <a:pt x="51" y="1"/>
                  </a:lnTo>
                  <a:lnTo>
                    <a:pt x="48" y="0"/>
                  </a:lnTo>
                  <a:lnTo>
                    <a:pt x="4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62" name="Freeform 104"/>
            <p:cNvSpPr>
              <a:spLocks noEditPoints="1"/>
            </p:cNvSpPr>
            <p:nvPr/>
          </p:nvSpPr>
          <p:spPr bwMode="auto">
            <a:xfrm>
              <a:off x="5467350" y="3421063"/>
              <a:ext cx="233363" cy="200025"/>
            </a:xfrm>
            <a:custGeom>
              <a:avLst/>
              <a:gdLst>
                <a:gd name="T0" fmla="*/ 419 w 733"/>
                <a:gd name="T1" fmla="*/ 179 h 628"/>
                <a:gd name="T2" fmla="*/ 129 w 733"/>
                <a:gd name="T3" fmla="*/ 598 h 628"/>
                <a:gd name="T4" fmla="*/ 729 w 733"/>
                <a:gd name="T5" fmla="*/ 55 h 628"/>
                <a:gd name="T6" fmla="*/ 733 w 733"/>
                <a:gd name="T7" fmla="*/ 41 h 628"/>
                <a:gd name="T8" fmla="*/ 725 w 733"/>
                <a:gd name="T9" fmla="*/ 31 h 628"/>
                <a:gd name="T10" fmla="*/ 388 w 733"/>
                <a:gd name="T11" fmla="*/ 11 h 628"/>
                <a:gd name="T12" fmla="*/ 380 w 733"/>
                <a:gd name="T13" fmla="*/ 1 h 628"/>
                <a:gd name="T14" fmla="*/ 366 w 733"/>
                <a:gd name="T15" fmla="*/ 3 h 628"/>
                <a:gd name="T16" fmla="*/ 359 w 733"/>
                <a:gd name="T17" fmla="*/ 15 h 628"/>
                <a:gd name="T18" fmla="*/ 6 w 733"/>
                <a:gd name="T19" fmla="*/ 33 h 628"/>
                <a:gd name="T20" fmla="*/ 0 w 733"/>
                <a:gd name="T21" fmla="*/ 45 h 628"/>
                <a:gd name="T22" fmla="*/ 6 w 733"/>
                <a:gd name="T23" fmla="*/ 57 h 628"/>
                <a:gd name="T24" fmla="*/ 359 w 733"/>
                <a:gd name="T25" fmla="*/ 89 h 628"/>
                <a:gd name="T26" fmla="*/ 304 w 733"/>
                <a:gd name="T27" fmla="*/ 94 h 628"/>
                <a:gd name="T28" fmla="*/ 300 w 733"/>
                <a:gd name="T29" fmla="*/ 179 h 628"/>
                <a:gd name="T30" fmla="*/ 233 w 733"/>
                <a:gd name="T31" fmla="*/ 188 h 628"/>
                <a:gd name="T32" fmla="*/ 172 w 733"/>
                <a:gd name="T33" fmla="*/ 212 h 628"/>
                <a:gd name="T34" fmla="*/ 93 w 733"/>
                <a:gd name="T35" fmla="*/ 270 h 628"/>
                <a:gd name="T36" fmla="*/ 43 w 733"/>
                <a:gd name="T37" fmla="*/ 345 h 628"/>
                <a:gd name="T38" fmla="*/ 30 w 733"/>
                <a:gd name="T39" fmla="*/ 395 h 628"/>
                <a:gd name="T40" fmla="*/ 35 w 733"/>
                <a:gd name="T41" fmla="*/ 461 h 628"/>
                <a:gd name="T42" fmla="*/ 56 w 733"/>
                <a:gd name="T43" fmla="*/ 522 h 628"/>
                <a:gd name="T44" fmla="*/ 92 w 733"/>
                <a:gd name="T45" fmla="*/ 562 h 628"/>
                <a:gd name="T46" fmla="*/ 30 w 733"/>
                <a:gd name="T47" fmla="*/ 596 h 628"/>
                <a:gd name="T48" fmla="*/ 21 w 733"/>
                <a:gd name="T49" fmla="*/ 585 h 628"/>
                <a:gd name="T50" fmla="*/ 6 w 733"/>
                <a:gd name="T51" fmla="*/ 586 h 628"/>
                <a:gd name="T52" fmla="*/ 0 w 733"/>
                <a:gd name="T53" fmla="*/ 598 h 628"/>
                <a:gd name="T54" fmla="*/ 13 w 733"/>
                <a:gd name="T55" fmla="*/ 624 h 628"/>
                <a:gd name="T56" fmla="*/ 482 w 733"/>
                <a:gd name="T57" fmla="*/ 628 h 628"/>
                <a:gd name="T58" fmla="*/ 492 w 733"/>
                <a:gd name="T59" fmla="*/ 619 h 628"/>
                <a:gd name="T60" fmla="*/ 491 w 733"/>
                <a:gd name="T61" fmla="*/ 605 h 628"/>
                <a:gd name="T62" fmla="*/ 479 w 733"/>
                <a:gd name="T63" fmla="*/ 598 h 628"/>
                <a:gd name="T64" fmla="*/ 410 w 733"/>
                <a:gd name="T65" fmla="*/ 553 h 628"/>
                <a:gd name="T66" fmla="*/ 447 w 733"/>
                <a:gd name="T67" fmla="*/ 520 h 628"/>
                <a:gd name="T68" fmla="*/ 497 w 733"/>
                <a:gd name="T69" fmla="*/ 430 h 628"/>
                <a:gd name="T70" fmla="*/ 522 w 733"/>
                <a:gd name="T71" fmla="*/ 326 h 628"/>
                <a:gd name="T72" fmla="*/ 686 w 733"/>
                <a:gd name="T73" fmla="*/ 277 h 628"/>
                <a:gd name="T74" fmla="*/ 687 w 733"/>
                <a:gd name="T75" fmla="*/ 263 h 628"/>
                <a:gd name="T76" fmla="*/ 675 w 733"/>
                <a:gd name="T77" fmla="*/ 254 h 628"/>
                <a:gd name="T78" fmla="*/ 498 w 733"/>
                <a:gd name="T79" fmla="*/ 305 h 628"/>
                <a:gd name="T80" fmla="*/ 486 w 733"/>
                <a:gd name="T81" fmla="*/ 359 h 628"/>
                <a:gd name="T82" fmla="*/ 455 w 733"/>
                <a:gd name="T83" fmla="*/ 452 h 628"/>
                <a:gd name="T84" fmla="*/ 413 w 733"/>
                <a:gd name="T85" fmla="*/ 512 h 628"/>
                <a:gd name="T86" fmla="*/ 371 w 733"/>
                <a:gd name="T87" fmla="*/ 538 h 628"/>
                <a:gd name="T88" fmla="*/ 95 w 733"/>
                <a:gd name="T89" fmla="*/ 526 h 628"/>
                <a:gd name="T90" fmla="*/ 73 w 733"/>
                <a:gd name="T91" fmla="*/ 486 h 628"/>
                <a:gd name="T92" fmla="*/ 61 w 733"/>
                <a:gd name="T93" fmla="*/ 428 h 628"/>
                <a:gd name="T94" fmla="*/ 63 w 733"/>
                <a:gd name="T95" fmla="*/ 380 h 628"/>
                <a:gd name="T96" fmla="*/ 103 w 733"/>
                <a:gd name="T97" fmla="*/ 305 h 628"/>
                <a:gd name="T98" fmla="*/ 187 w 733"/>
                <a:gd name="T99" fmla="*/ 237 h 628"/>
                <a:gd name="T100" fmla="*/ 276 w 733"/>
                <a:gd name="T101" fmla="*/ 210 h 628"/>
                <a:gd name="T102" fmla="*/ 673 w 733"/>
                <a:gd name="T103" fmla="*/ 209 h 628"/>
                <a:gd name="T104" fmla="*/ 686 w 733"/>
                <a:gd name="T105" fmla="*/ 203 h 628"/>
                <a:gd name="T106" fmla="*/ 687 w 733"/>
                <a:gd name="T107" fmla="*/ 189 h 628"/>
                <a:gd name="T108" fmla="*/ 676 w 733"/>
                <a:gd name="T109" fmla="*/ 179 h 628"/>
                <a:gd name="T110" fmla="*/ 447 w 733"/>
                <a:gd name="T111" fmla="*/ 99 h 628"/>
                <a:gd name="T112" fmla="*/ 437 w 733"/>
                <a:gd name="T113" fmla="*/ 89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3" h="628">
                  <a:moveTo>
                    <a:pt x="419" y="179"/>
                  </a:moveTo>
                  <a:lnTo>
                    <a:pt x="329" y="179"/>
                  </a:lnTo>
                  <a:lnTo>
                    <a:pt x="329" y="119"/>
                  </a:lnTo>
                  <a:lnTo>
                    <a:pt x="419" y="119"/>
                  </a:lnTo>
                  <a:lnTo>
                    <a:pt x="419" y="179"/>
                  </a:lnTo>
                  <a:close/>
                  <a:moveTo>
                    <a:pt x="129" y="598"/>
                  </a:moveTo>
                  <a:lnTo>
                    <a:pt x="144" y="568"/>
                  </a:lnTo>
                  <a:lnTo>
                    <a:pt x="350" y="568"/>
                  </a:lnTo>
                  <a:lnTo>
                    <a:pt x="365" y="598"/>
                  </a:lnTo>
                  <a:lnTo>
                    <a:pt x="129" y="598"/>
                  </a:lnTo>
                  <a:close/>
                  <a:moveTo>
                    <a:pt x="718" y="60"/>
                  </a:moveTo>
                  <a:lnTo>
                    <a:pt x="721" y="60"/>
                  </a:lnTo>
                  <a:lnTo>
                    <a:pt x="725" y="58"/>
                  </a:lnTo>
                  <a:lnTo>
                    <a:pt x="727" y="57"/>
                  </a:lnTo>
                  <a:lnTo>
                    <a:pt x="729" y="55"/>
                  </a:lnTo>
                  <a:lnTo>
                    <a:pt x="731" y="53"/>
                  </a:lnTo>
                  <a:lnTo>
                    <a:pt x="732" y="51"/>
                  </a:lnTo>
                  <a:lnTo>
                    <a:pt x="733" y="48"/>
                  </a:lnTo>
                  <a:lnTo>
                    <a:pt x="733" y="45"/>
                  </a:lnTo>
                  <a:lnTo>
                    <a:pt x="733" y="41"/>
                  </a:lnTo>
                  <a:lnTo>
                    <a:pt x="732" y="39"/>
                  </a:lnTo>
                  <a:lnTo>
                    <a:pt x="731" y="37"/>
                  </a:lnTo>
                  <a:lnTo>
                    <a:pt x="729" y="34"/>
                  </a:lnTo>
                  <a:lnTo>
                    <a:pt x="727" y="33"/>
                  </a:lnTo>
                  <a:lnTo>
                    <a:pt x="725" y="31"/>
                  </a:lnTo>
                  <a:lnTo>
                    <a:pt x="721" y="30"/>
                  </a:lnTo>
                  <a:lnTo>
                    <a:pt x="718" y="30"/>
                  </a:lnTo>
                  <a:lnTo>
                    <a:pt x="389" y="30"/>
                  </a:lnTo>
                  <a:lnTo>
                    <a:pt x="389" y="15"/>
                  </a:lnTo>
                  <a:lnTo>
                    <a:pt x="388" y="11"/>
                  </a:lnTo>
                  <a:lnTo>
                    <a:pt x="388" y="9"/>
                  </a:lnTo>
                  <a:lnTo>
                    <a:pt x="386" y="7"/>
                  </a:lnTo>
                  <a:lnTo>
                    <a:pt x="385" y="4"/>
                  </a:lnTo>
                  <a:lnTo>
                    <a:pt x="382" y="3"/>
                  </a:lnTo>
                  <a:lnTo>
                    <a:pt x="380" y="1"/>
                  </a:lnTo>
                  <a:lnTo>
                    <a:pt x="377" y="0"/>
                  </a:lnTo>
                  <a:lnTo>
                    <a:pt x="374" y="0"/>
                  </a:lnTo>
                  <a:lnTo>
                    <a:pt x="371" y="0"/>
                  </a:lnTo>
                  <a:lnTo>
                    <a:pt x="368" y="1"/>
                  </a:lnTo>
                  <a:lnTo>
                    <a:pt x="366" y="3"/>
                  </a:lnTo>
                  <a:lnTo>
                    <a:pt x="364" y="4"/>
                  </a:lnTo>
                  <a:lnTo>
                    <a:pt x="362" y="7"/>
                  </a:lnTo>
                  <a:lnTo>
                    <a:pt x="361" y="9"/>
                  </a:lnTo>
                  <a:lnTo>
                    <a:pt x="359" y="12"/>
                  </a:lnTo>
                  <a:lnTo>
                    <a:pt x="359" y="15"/>
                  </a:lnTo>
                  <a:lnTo>
                    <a:pt x="359" y="30"/>
                  </a:lnTo>
                  <a:lnTo>
                    <a:pt x="15" y="30"/>
                  </a:lnTo>
                  <a:lnTo>
                    <a:pt x="12" y="30"/>
                  </a:lnTo>
                  <a:lnTo>
                    <a:pt x="9" y="31"/>
                  </a:lnTo>
                  <a:lnTo>
                    <a:pt x="6" y="33"/>
                  </a:lnTo>
                  <a:lnTo>
                    <a:pt x="4" y="34"/>
                  </a:lnTo>
                  <a:lnTo>
                    <a:pt x="3" y="37"/>
                  </a:lnTo>
                  <a:lnTo>
                    <a:pt x="1" y="39"/>
                  </a:lnTo>
                  <a:lnTo>
                    <a:pt x="0" y="41"/>
                  </a:lnTo>
                  <a:lnTo>
                    <a:pt x="0" y="45"/>
                  </a:lnTo>
                  <a:lnTo>
                    <a:pt x="0" y="48"/>
                  </a:lnTo>
                  <a:lnTo>
                    <a:pt x="1" y="51"/>
                  </a:lnTo>
                  <a:lnTo>
                    <a:pt x="3" y="53"/>
                  </a:lnTo>
                  <a:lnTo>
                    <a:pt x="4" y="55"/>
                  </a:lnTo>
                  <a:lnTo>
                    <a:pt x="6" y="57"/>
                  </a:lnTo>
                  <a:lnTo>
                    <a:pt x="9" y="58"/>
                  </a:lnTo>
                  <a:lnTo>
                    <a:pt x="12" y="60"/>
                  </a:lnTo>
                  <a:lnTo>
                    <a:pt x="15" y="60"/>
                  </a:lnTo>
                  <a:lnTo>
                    <a:pt x="359" y="60"/>
                  </a:lnTo>
                  <a:lnTo>
                    <a:pt x="359" y="89"/>
                  </a:lnTo>
                  <a:lnTo>
                    <a:pt x="315" y="89"/>
                  </a:lnTo>
                  <a:lnTo>
                    <a:pt x="311" y="89"/>
                  </a:lnTo>
                  <a:lnTo>
                    <a:pt x="308" y="91"/>
                  </a:lnTo>
                  <a:lnTo>
                    <a:pt x="306" y="93"/>
                  </a:lnTo>
                  <a:lnTo>
                    <a:pt x="304" y="94"/>
                  </a:lnTo>
                  <a:lnTo>
                    <a:pt x="302" y="96"/>
                  </a:lnTo>
                  <a:lnTo>
                    <a:pt x="301" y="99"/>
                  </a:lnTo>
                  <a:lnTo>
                    <a:pt x="300" y="101"/>
                  </a:lnTo>
                  <a:lnTo>
                    <a:pt x="300" y="104"/>
                  </a:lnTo>
                  <a:lnTo>
                    <a:pt x="300" y="179"/>
                  </a:lnTo>
                  <a:lnTo>
                    <a:pt x="286" y="179"/>
                  </a:lnTo>
                  <a:lnTo>
                    <a:pt x="273" y="180"/>
                  </a:lnTo>
                  <a:lnTo>
                    <a:pt x="259" y="183"/>
                  </a:lnTo>
                  <a:lnTo>
                    <a:pt x="246" y="185"/>
                  </a:lnTo>
                  <a:lnTo>
                    <a:pt x="233" y="188"/>
                  </a:lnTo>
                  <a:lnTo>
                    <a:pt x="220" y="191"/>
                  </a:lnTo>
                  <a:lnTo>
                    <a:pt x="209" y="195"/>
                  </a:lnTo>
                  <a:lnTo>
                    <a:pt x="196" y="200"/>
                  </a:lnTo>
                  <a:lnTo>
                    <a:pt x="184" y="205"/>
                  </a:lnTo>
                  <a:lnTo>
                    <a:pt x="172" y="212"/>
                  </a:lnTo>
                  <a:lnTo>
                    <a:pt x="161" y="217"/>
                  </a:lnTo>
                  <a:lnTo>
                    <a:pt x="151" y="224"/>
                  </a:lnTo>
                  <a:lnTo>
                    <a:pt x="129" y="238"/>
                  </a:lnTo>
                  <a:lnTo>
                    <a:pt x="110" y="254"/>
                  </a:lnTo>
                  <a:lnTo>
                    <a:pt x="93" y="270"/>
                  </a:lnTo>
                  <a:lnTo>
                    <a:pt x="77" y="289"/>
                  </a:lnTo>
                  <a:lnTo>
                    <a:pt x="63" y="307"/>
                  </a:lnTo>
                  <a:lnTo>
                    <a:pt x="51" y="326"/>
                  </a:lnTo>
                  <a:lnTo>
                    <a:pt x="47" y="336"/>
                  </a:lnTo>
                  <a:lnTo>
                    <a:pt x="43" y="345"/>
                  </a:lnTo>
                  <a:lnTo>
                    <a:pt x="38" y="356"/>
                  </a:lnTo>
                  <a:lnTo>
                    <a:pt x="35" y="366"/>
                  </a:lnTo>
                  <a:lnTo>
                    <a:pt x="33" y="375"/>
                  </a:lnTo>
                  <a:lnTo>
                    <a:pt x="31" y="385"/>
                  </a:lnTo>
                  <a:lnTo>
                    <a:pt x="30" y="395"/>
                  </a:lnTo>
                  <a:lnTo>
                    <a:pt x="30" y="404"/>
                  </a:lnTo>
                  <a:lnTo>
                    <a:pt x="30" y="418"/>
                  </a:lnTo>
                  <a:lnTo>
                    <a:pt x="31" y="432"/>
                  </a:lnTo>
                  <a:lnTo>
                    <a:pt x="33" y="447"/>
                  </a:lnTo>
                  <a:lnTo>
                    <a:pt x="35" y="461"/>
                  </a:lnTo>
                  <a:lnTo>
                    <a:pt x="38" y="474"/>
                  </a:lnTo>
                  <a:lnTo>
                    <a:pt x="42" y="487"/>
                  </a:lnTo>
                  <a:lnTo>
                    <a:pt x="46" y="499"/>
                  </a:lnTo>
                  <a:lnTo>
                    <a:pt x="50" y="511"/>
                  </a:lnTo>
                  <a:lnTo>
                    <a:pt x="56" y="522"/>
                  </a:lnTo>
                  <a:lnTo>
                    <a:pt x="62" y="533"/>
                  </a:lnTo>
                  <a:lnTo>
                    <a:pt x="68" y="541"/>
                  </a:lnTo>
                  <a:lnTo>
                    <a:pt x="76" y="550"/>
                  </a:lnTo>
                  <a:lnTo>
                    <a:pt x="83" y="556"/>
                  </a:lnTo>
                  <a:lnTo>
                    <a:pt x="92" y="562"/>
                  </a:lnTo>
                  <a:lnTo>
                    <a:pt x="101" y="566"/>
                  </a:lnTo>
                  <a:lnTo>
                    <a:pt x="111" y="568"/>
                  </a:lnTo>
                  <a:lnTo>
                    <a:pt x="95" y="598"/>
                  </a:lnTo>
                  <a:lnTo>
                    <a:pt x="30" y="598"/>
                  </a:lnTo>
                  <a:lnTo>
                    <a:pt x="30" y="596"/>
                  </a:lnTo>
                  <a:lnTo>
                    <a:pt x="29" y="593"/>
                  </a:lnTo>
                  <a:lnTo>
                    <a:pt x="28" y="590"/>
                  </a:lnTo>
                  <a:lnTo>
                    <a:pt x="25" y="588"/>
                  </a:lnTo>
                  <a:lnTo>
                    <a:pt x="23" y="586"/>
                  </a:lnTo>
                  <a:lnTo>
                    <a:pt x="21" y="585"/>
                  </a:lnTo>
                  <a:lnTo>
                    <a:pt x="18" y="584"/>
                  </a:lnTo>
                  <a:lnTo>
                    <a:pt x="15" y="583"/>
                  </a:lnTo>
                  <a:lnTo>
                    <a:pt x="12" y="584"/>
                  </a:lnTo>
                  <a:lnTo>
                    <a:pt x="9" y="585"/>
                  </a:lnTo>
                  <a:lnTo>
                    <a:pt x="6" y="586"/>
                  </a:lnTo>
                  <a:lnTo>
                    <a:pt x="4" y="588"/>
                  </a:lnTo>
                  <a:lnTo>
                    <a:pt x="3" y="590"/>
                  </a:lnTo>
                  <a:lnTo>
                    <a:pt x="1" y="593"/>
                  </a:lnTo>
                  <a:lnTo>
                    <a:pt x="0" y="596"/>
                  </a:lnTo>
                  <a:lnTo>
                    <a:pt x="0" y="598"/>
                  </a:lnTo>
                  <a:lnTo>
                    <a:pt x="1" y="605"/>
                  </a:lnTo>
                  <a:lnTo>
                    <a:pt x="2" y="611"/>
                  </a:lnTo>
                  <a:lnTo>
                    <a:pt x="4" y="616"/>
                  </a:lnTo>
                  <a:lnTo>
                    <a:pt x="8" y="620"/>
                  </a:lnTo>
                  <a:lnTo>
                    <a:pt x="13" y="624"/>
                  </a:lnTo>
                  <a:lnTo>
                    <a:pt x="17" y="627"/>
                  </a:lnTo>
                  <a:lnTo>
                    <a:pt x="23" y="628"/>
                  </a:lnTo>
                  <a:lnTo>
                    <a:pt x="30" y="628"/>
                  </a:lnTo>
                  <a:lnTo>
                    <a:pt x="479" y="628"/>
                  </a:lnTo>
                  <a:lnTo>
                    <a:pt x="482" y="628"/>
                  </a:lnTo>
                  <a:lnTo>
                    <a:pt x="485" y="627"/>
                  </a:lnTo>
                  <a:lnTo>
                    <a:pt x="487" y="626"/>
                  </a:lnTo>
                  <a:lnTo>
                    <a:pt x="489" y="624"/>
                  </a:lnTo>
                  <a:lnTo>
                    <a:pt x="491" y="621"/>
                  </a:lnTo>
                  <a:lnTo>
                    <a:pt x="492" y="619"/>
                  </a:lnTo>
                  <a:lnTo>
                    <a:pt x="493" y="616"/>
                  </a:lnTo>
                  <a:lnTo>
                    <a:pt x="494" y="613"/>
                  </a:lnTo>
                  <a:lnTo>
                    <a:pt x="493" y="611"/>
                  </a:lnTo>
                  <a:lnTo>
                    <a:pt x="492" y="608"/>
                  </a:lnTo>
                  <a:lnTo>
                    <a:pt x="491" y="605"/>
                  </a:lnTo>
                  <a:lnTo>
                    <a:pt x="489" y="603"/>
                  </a:lnTo>
                  <a:lnTo>
                    <a:pt x="487" y="601"/>
                  </a:lnTo>
                  <a:lnTo>
                    <a:pt x="485" y="600"/>
                  </a:lnTo>
                  <a:lnTo>
                    <a:pt x="482" y="599"/>
                  </a:lnTo>
                  <a:lnTo>
                    <a:pt x="479" y="598"/>
                  </a:lnTo>
                  <a:lnTo>
                    <a:pt x="398" y="598"/>
                  </a:lnTo>
                  <a:lnTo>
                    <a:pt x="382" y="567"/>
                  </a:lnTo>
                  <a:lnTo>
                    <a:pt x="392" y="563"/>
                  </a:lnTo>
                  <a:lnTo>
                    <a:pt x="401" y="558"/>
                  </a:lnTo>
                  <a:lnTo>
                    <a:pt x="410" y="553"/>
                  </a:lnTo>
                  <a:lnTo>
                    <a:pt x="418" y="548"/>
                  </a:lnTo>
                  <a:lnTo>
                    <a:pt x="426" y="541"/>
                  </a:lnTo>
                  <a:lnTo>
                    <a:pt x="433" y="535"/>
                  </a:lnTo>
                  <a:lnTo>
                    <a:pt x="441" y="527"/>
                  </a:lnTo>
                  <a:lnTo>
                    <a:pt x="447" y="520"/>
                  </a:lnTo>
                  <a:lnTo>
                    <a:pt x="459" y="503"/>
                  </a:lnTo>
                  <a:lnTo>
                    <a:pt x="471" y="486"/>
                  </a:lnTo>
                  <a:lnTo>
                    <a:pt x="480" y="467"/>
                  </a:lnTo>
                  <a:lnTo>
                    <a:pt x="489" y="449"/>
                  </a:lnTo>
                  <a:lnTo>
                    <a:pt x="497" y="430"/>
                  </a:lnTo>
                  <a:lnTo>
                    <a:pt x="503" y="412"/>
                  </a:lnTo>
                  <a:lnTo>
                    <a:pt x="508" y="393"/>
                  </a:lnTo>
                  <a:lnTo>
                    <a:pt x="513" y="376"/>
                  </a:lnTo>
                  <a:lnTo>
                    <a:pt x="519" y="347"/>
                  </a:lnTo>
                  <a:lnTo>
                    <a:pt x="522" y="326"/>
                  </a:lnTo>
                  <a:lnTo>
                    <a:pt x="677" y="284"/>
                  </a:lnTo>
                  <a:lnTo>
                    <a:pt x="681" y="283"/>
                  </a:lnTo>
                  <a:lnTo>
                    <a:pt x="683" y="282"/>
                  </a:lnTo>
                  <a:lnTo>
                    <a:pt x="685" y="280"/>
                  </a:lnTo>
                  <a:lnTo>
                    <a:pt x="686" y="277"/>
                  </a:lnTo>
                  <a:lnTo>
                    <a:pt x="688" y="275"/>
                  </a:lnTo>
                  <a:lnTo>
                    <a:pt x="688" y="271"/>
                  </a:lnTo>
                  <a:lnTo>
                    <a:pt x="688" y="269"/>
                  </a:lnTo>
                  <a:lnTo>
                    <a:pt x="688" y="266"/>
                  </a:lnTo>
                  <a:lnTo>
                    <a:pt x="687" y="263"/>
                  </a:lnTo>
                  <a:lnTo>
                    <a:pt x="685" y="261"/>
                  </a:lnTo>
                  <a:lnTo>
                    <a:pt x="683" y="258"/>
                  </a:lnTo>
                  <a:lnTo>
                    <a:pt x="681" y="256"/>
                  </a:lnTo>
                  <a:lnTo>
                    <a:pt x="679" y="255"/>
                  </a:lnTo>
                  <a:lnTo>
                    <a:pt x="675" y="254"/>
                  </a:lnTo>
                  <a:lnTo>
                    <a:pt x="672" y="254"/>
                  </a:lnTo>
                  <a:lnTo>
                    <a:pt x="670" y="255"/>
                  </a:lnTo>
                  <a:lnTo>
                    <a:pt x="505" y="300"/>
                  </a:lnTo>
                  <a:lnTo>
                    <a:pt x="501" y="302"/>
                  </a:lnTo>
                  <a:lnTo>
                    <a:pt x="498" y="305"/>
                  </a:lnTo>
                  <a:lnTo>
                    <a:pt x="495" y="308"/>
                  </a:lnTo>
                  <a:lnTo>
                    <a:pt x="494" y="312"/>
                  </a:lnTo>
                  <a:lnTo>
                    <a:pt x="493" y="322"/>
                  </a:lnTo>
                  <a:lnTo>
                    <a:pt x="489" y="344"/>
                  </a:lnTo>
                  <a:lnTo>
                    <a:pt x="486" y="359"/>
                  </a:lnTo>
                  <a:lnTo>
                    <a:pt x="482" y="375"/>
                  </a:lnTo>
                  <a:lnTo>
                    <a:pt x="476" y="395"/>
                  </a:lnTo>
                  <a:lnTo>
                    <a:pt x="471" y="413"/>
                  </a:lnTo>
                  <a:lnTo>
                    <a:pt x="463" y="433"/>
                  </a:lnTo>
                  <a:lnTo>
                    <a:pt x="455" y="452"/>
                  </a:lnTo>
                  <a:lnTo>
                    <a:pt x="445" y="471"/>
                  </a:lnTo>
                  <a:lnTo>
                    <a:pt x="433" y="489"/>
                  </a:lnTo>
                  <a:lnTo>
                    <a:pt x="427" y="496"/>
                  </a:lnTo>
                  <a:lnTo>
                    <a:pt x="421" y="505"/>
                  </a:lnTo>
                  <a:lnTo>
                    <a:pt x="413" y="512"/>
                  </a:lnTo>
                  <a:lnTo>
                    <a:pt x="406" y="519"/>
                  </a:lnTo>
                  <a:lnTo>
                    <a:pt x="398" y="525"/>
                  </a:lnTo>
                  <a:lnTo>
                    <a:pt x="389" y="530"/>
                  </a:lnTo>
                  <a:lnTo>
                    <a:pt x="381" y="535"/>
                  </a:lnTo>
                  <a:lnTo>
                    <a:pt x="371" y="538"/>
                  </a:lnTo>
                  <a:lnTo>
                    <a:pt x="120" y="538"/>
                  </a:lnTo>
                  <a:lnTo>
                    <a:pt x="113" y="538"/>
                  </a:lnTo>
                  <a:lnTo>
                    <a:pt x="107" y="535"/>
                  </a:lnTo>
                  <a:lnTo>
                    <a:pt x="101" y="532"/>
                  </a:lnTo>
                  <a:lnTo>
                    <a:pt x="95" y="526"/>
                  </a:lnTo>
                  <a:lnTo>
                    <a:pt x="90" y="520"/>
                  </a:lnTo>
                  <a:lnTo>
                    <a:pt x="85" y="512"/>
                  </a:lnTo>
                  <a:lnTo>
                    <a:pt x="81" y="505"/>
                  </a:lnTo>
                  <a:lnTo>
                    <a:pt x="77" y="495"/>
                  </a:lnTo>
                  <a:lnTo>
                    <a:pt x="73" y="486"/>
                  </a:lnTo>
                  <a:lnTo>
                    <a:pt x="69" y="475"/>
                  </a:lnTo>
                  <a:lnTo>
                    <a:pt x="66" y="463"/>
                  </a:lnTo>
                  <a:lnTo>
                    <a:pt x="64" y="452"/>
                  </a:lnTo>
                  <a:lnTo>
                    <a:pt x="62" y="441"/>
                  </a:lnTo>
                  <a:lnTo>
                    <a:pt x="61" y="428"/>
                  </a:lnTo>
                  <a:lnTo>
                    <a:pt x="60" y="416"/>
                  </a:lnTo>
                  <a:lnTo>
                    <a:pt x="60" y="404"/>
                  </a:lnTo>
                  <a:lnTo>
                    <a:pt x="60" y="396"/>
                  </a:lnTo>
                  <a:lnTo>
                    <a:pt x="61" y="387"/>
                  </a:lnTo>
                  <a:lnTo>
                    <a:pt x="63" y="380"/>
                  </a:lnTo>
                  <a:lnTo>
                    <a:pt x="65" y="371"/>
                  </a:lnTo>
                  <a:lnTo>
                    <a:pt x="71" y="354"/>
                  </a:lnTo>
                  <a:lnTo>
                    <a:pt x="79" y="338"/>
                  </a:lnTo>
                  <a:lnTo>
                    <a:pt x="90" y="321"/>
                  </a:lnTo>
                  <a:lnTo>
                    <a:pt x="103" y="305"/>
                  </a:lnTo>
                  <a:lnTo>
                    <a:pt x="116" y="290"/>
                  </a:lnTo>
                  <a:lnTo>
                    <a:pt x="133" y="275"/>
                  </a:lnTo>
                  <a:lnTo>
                    <a:pt x="150" y="261"/>
                  </a:lnTo>
                  <a:lnTo>
                    <a:pt x="168" y="248"/>
                  </a:lnTo>
                  <a:lnTo>
                    <a:pt x="187" y="237"/>
                  </a:lnTo>
                  <a:lnTo>
                    <a:pt x="209" y="228"/>
                  </a:lnTo>
                  <a:lnTo>
                    <a:pt x="230" y="220"/>
                  </a:lnTo>
                  <a:lnTo>
                    <a:pt x="252" y="214"/>
                  </a:lnTo>
                  <a:lnTo>
                    <a:pt x="264" y="212"/>
                  </a:lnTo>
                  <a:lnTo>
                    <a:pt x="276" y="210"/>
                  </a:lnTo>
                  <a:lnTo>
                    <a:pt x="288" y="209"/>
                  </a:lnTo>
                  <a:lnTo>
                    <a:pt x="300" y="209"/>
                  </a:lnTo>
                  <a:lnTo>
                    <a:pt x="315" y="209"/>
                  </a:lnTo>
                  <a:lnTo>
                    <a:pt x="434" y="209"/>
                  </a:lnTo>
                  <a:lnTo>
                    <a:pt x="673" y="209"/>
                  </a:lnTo>
                  <a:lnTo>
                    <a:pt x="676" y="209"/>
                  </a:lnTo>
                  <a:lnTo>
                    <a:pt x="680" y="208"/>
                  </a:lnTo>
                  <a:lnTo>
                    <a:pt x="682" y="207"/>
                  </a:lnTo>
                  <a:lnTo>
                    <a:pt x="684" y="205"/>
                  </a:lnTo>
                  <a:lnTo>
                    <a:pt x="686" y="203"/>
                  </a:lnTo>
                  <a:lnTo>
                    <a:pt x="687" y="201"/>
                  </a:lnTo>
                  <a:lnTo>
                    <a:pt x="688" y="198"/>
                  </a:lnTo>
                  <a:lnTo>
                    <a:pt x="688" y="194"/>
                  </a:lnTo>
                  <a:lnTo>
                    <a:pt x="688" y="191"/>
                  </a:lnTo>
                  <a:lnTo>
                    <a:pt x="687" y="189"/>
                  </a:lnTo>
                  <a:lnTo>
                    <a:pt x="686" y="186"/>
                  </a:lnTo>
                  <a:lnTo>
                    <a:pt x="684" y="184"/>
                  </a:lnTo>
                  <a:lnTo>
                    <a:pt x="682" y="182"/>
                  </a:lnTo>
                  <a:lnTo>
                    <a:pt x="680" y="180"/>
                  </a:lnTo>
                  <a:lnTo>
                    <a:pt x="676" y="179"/>
                  </a:lnTo>
                  <a:lnTo>
                    <a:pt x="673" y="179"/>
                  </a:lnTo>
                  <a:lnTo>
                    <a:pt x="449" y="179"/>
                  </a:lnTo>
                  <a:lnTo>
                    <a:pt x="449" y="104"/>
                  </a:lnTo>
                  <a:lnTo>
                    <a:pt x="448" y="101"/>
                  </a:lnTo>
                  <a:lnTo>
                    <a:pt x="447" y="99"/>
                  </a:lnTo>
                  <a:lnTo>
                    <a:pt x="446" y="96"/>
                  </a:lnTo>
                  <a:lnTo>
                    <a:pt x="444" y="94"/>
                  </a:lnTo>
                  <a:lnTo>
                    <a:pt x="442" y="93"/>
                  </a:lnTo>
                  <a:lnTo>
                    <a:pt x="440" y="91"/>
                  </a:lnTo>
                  <a:lnTo>
                    <a:pt x="437" y="89"/>
                  </a:lnTo>
                  <a:lnTo>
                    <a:pt x="434" y="89"/>
                  </a:lnTo>
                  <a:lnTo>
                    <a:pt x="389" y="89"/>
                  </a:lnTo>
                  <a:lnTo>
                    <a:pt x="389" y="60"/>
                  </a:lnTo>
                  <a:lnTo>
                    <a:pt x="718"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63" name="Freeform 105"/>
            <p:cNvSpPr>
              <a:spLocks noEditPoints="1"/>
            </p:cNvSpPr>
            <p:nvPr/>
          </p:nvSpPr>
          <p:spPr bwMode="auto">
            <a:xfrm>
              <a:off x="5505450" y="3506788"/>
              <a:ext cx="47625" cy="47625"/>
            </a:xfrm>
            <a:custGeom>
              <a:avLst/>
              <a:gdLst>
                <a:gd name="T0" fmla="*/ 120 w 150"/>
                <a:gd name="T1" fmla="*/ 120 h 150"/>
                <a:gd name="T2" fmla="*/ 31 w 150"/>
                <a:gd name="T3" fmla="*/ 120 h 150"/>
                <a:gd name="T4" fmla="*/ 33 w 150"/>
                <a:gd name="T5" fmla="*/ 112 h 150"/>
                <a:gd name="T6" fmla="*/ 35 w 150"/>
                <a:gd name="T7" fmla="*/ 104 h 150"/>
                <a:gd name="T8" fmla="*/ 38 w 150"/>
                <a:gd name="T9" fmla="*/ 97 h 150"/>
                <a:gd name="T10" fmla="*/ 41 w 150"/>
                <a:gd name="T11" fmla="*/ 89 h 150"/>
                <a:gd name="T12" fmla="*/ 46 w 150"/>
                <a:gd name="T13" fmla="*/ 83 h 150"/>
                <a:gd name="T14" fmla="*/ 51 w 150"/>
                <a:gd name="T15" fmla="*/ 75 h 150"/>
                <a:gd name="T16" fmla="*/ 56 w 150"/>
                <a:gd name="T17" fmla="*/ 69 h 150"/>
                <a:gd name="T18" fmla="*/ 62 w 150"/>
                <a:gd name="T19" fmla="*/ 62 h 150"/>
                <a:gd name="T20" fmla="*/ 68 w 150"/>
                <a:gd name="T21" fmla="*/ 57 h 150"/>
                <a:gd name="T22" fmla="*/ 75 w 150"/>
                <a:gd name="T23" fmla="*/ 52 h 150"/>
                <a:gd name="T24" fmla="*/ 81 w 150"/>
                <a:gd name="T25" fmla="*/ 46 h 150"/>
                <a:gd name="T26" fmla="*/ 89 w 150"/>
                <a:gd name="T27" fmla="*/ 42 h 150"/>
                <a:gd name="T28" fmla="*/ 96 w 150"/>
                <a:gd name="T29" fmla="*/ 39 h 150"/>
                <a:gd name="T30" fmla="*/ 104 w 150"/>
                <a:gd name="T31" fmla="*/ 36 h 150"/>
                <a:gd name="T32" fmla="*/ 111 w 150"/>
                <a:gd name="T33" fmla="*/ 33 h 150"/>
                <a:gd name="T34" fmla="*/ 120 w 150"/>
                <a:gd name="T35" fmla="*/ 31 h 150"/>
                <a:gd name="T36" fmla="*/ 120 w 150"/>
                <a:gd name="T37" fmla="*/ 120 h 150"/>
                <a:gd name="T38" fmla="*/ 0 w 150"/>
                <a:gd name="T39" fmla="*/ 135 h 150"/>
                <a:gd name="T40" fmla="*/ 0 w 150"/>
                <a:gd name="T41" fmla="*/ 138 h 150"/>
                <a:gd name="T42" fmla="*/ 1 w 150"/>
                <a:gd name="T43" fmla="*/ 141 h 150"/>
                <a:gd name="T44" fmla="*/ 2 w 150"/>
                <a:gd name="T45" fmla="*/ 144 h 150"/>
                <a:gd name="T46" fmla="*/ 4 w 150"/>
                <a:gd name="T47" fmla="*/ 146 h 150"/>
                <a:gd name="T48" fmla="*/ 6 w 150"/>
                <a:gd name="T49" fmla="*/ 147 h 150"/>
                <a:gd name="T50" fmla="*/ 9 w 150"/>
                <a:gd name="T51" fmla="*/ 149 h 150"/>
                <a:gd name="T52" fmla="*/ 11 w 150"/>
                <a:gd name="T53" fmla="*/ 149 h 150"/>
                <a:gd name="T54" fmla="*/ 15 w 150"/>
                <a:gd name="T55" fmla="*/ 150 h 150"/>
                <a:gd name="T56" fmla="*/ 135 w 150"/>
                <a:gd name="T57" fmla="*/ 150 h 150"/>
                <a:gd name="T58" fmla="*/ 138 w 150"/>
                <a:gd name="T59" fmla="*/ 149 h 150"/>
                <a:gd name="T60" fmla="*/ 140 w 150"/>
                <a:gd name="T61" fmla="*/ 149 h 150"/>
                <a:gd name="T62" fmla="*/ 143 w 150"/>
                <a:gd name="T63" fmla="*/ 147 h 150"/>
                <a:gd name="T64" fmla="*/ 145 w 150"/>
                <a:gd name="T65" fmla="*/ 146 h 150"/>
                <a:gd name="T66" fmla="*/ 146 w 150"/>
                <a:gd name="T67" fmla="*/ 144 h 150"/>
                <a:gd name="T68" fmla="*/ 148 w 150"/>
                <a:gd name="T69" fmla="*/ 141 h 150"/>
                <a:gd name="T70" fmla="*/ 150 w 150"/>
                <a:gd name="T71" fmla="*/ 138 h 150"/>
                <a:gd name="T72" fmla="*/ 150 w 150"/>
                <a:gd name="T73" fmla="*/ 135 h 150"/>
                <a:gd name="T74" fmla="*/ 150 w 150"/>
                <a:gd name="T75" fmla="*/ 15 h 150"/>
                <a:gd name="T76" fmla="*/ 150 w 150"/>
                <a:gd name="T77" fmla="*/ 12 h 150"/>
                <a:gd name="T78" fmla="*/ 148 w 150"/>
                <a:gd name="T79" fmla="*/ 10 h 150"/>
                <a:gd name="T80" fmla="*/ 146 w 150"/>
                <a:gd name="T81" fmla="*/ 7 h 150"/>
                <a:gd name="T82" fmla="*/ 145 w 150"/>
                <a:gd name="T83" fmla="*/ 5 h 150"/>
                <a:gd name="T84" fmla="*/ 143 w 150"/>
                <a:gd name="T85" fmla="*/ 2 h 150"/>
                <a:gd name="T86" fmla="*/ 140 w 150"/>
                <a:gd name="T87" fmla="*/ 1 h 150"/>
                <a:gd name="T88" fmla="*/ 138 w 150"/>
                <a:gd name="T89" fmla="*/ 0 h 150"/>
                <a:gd name="T90" fmla="*/ 135 w 150"/>
                <a:gd name="T91" fmla="*/ 0 h 150"/>
                <a:gd name="T92" fmla="*/ 122 w 150"/>
                <a:gd name="T93" fmla="*/ 0 h 150"/>
                <a:gd name="T94" fmla="*/ 109 w 150"/>
                <a:gd name="T95" fmla="*/ 2 h 150"/>
                <a:gd name="T96" fmla="*/ 96 w 150"/>
                <a:gd name="T97" fmla="*/ 7 h 150"/>
                <a:gd name="T98" fmla="*/ 83 w 150"/>
                <a:gd name="T99" fmla="*/ 11 h 150"/>
                <a:gd name="T100" fmla="*/ 71 w 150"/>
                <a:gd name="T101" fmla="*/ 17 h 150"/>
                <a:gd name="T102" fmla="*/ 61 w 150"/>
                <a:gd name="T103" fmla="*/ 24 h 150"/>
                <a:gd name="T104" fmla="*/ 50 w 150"/>
                <a:gd name="T105" fmla="*/ 32 h 150"/>
                <a:gd name="T106" fmla="*/ 40 w 150"/>
                <a:gd name="T107" fmla="*/ 41 h 150"/>
                <a:gd name="T108" fmla="*/ 32 w 150"/>
                <a:gd name="T109" fmla="*/ 51 h 150"/>
                <a:gd name="T110" fmla="*/ 23 w 150"/>
                <a:gd name="T111" fmla="*/ 61 h 150"/>
                <a:gd name="T112" fmla="*/ 17 w 150"/>
                <a:gd name="T113" fmla="*/ 72 h 150"/>
                <a:gd name="T114" fmla="*/ 10 w 150"/>
                <a:gd name="T115" fmla="*/ 84 h 150"/>
                <a:gd name="T116" fmla="*/ 6 w 150"/>
                <a:gd name="T117" fmla="*/ 97 h 150"/>
                <a:gd name="T118" fmla="*/ 3 w 150"/>
                <a:gd name="T119" fmla="*/ 108 h 150"/>
                <a:gd name="T120" fmla="*/ 1 w 150"/>
                <a:gd name="T121" fmla="*/ 121 h 150"/>
                <a:gd name="T122" fmla="*/ 0 w 150"/>
                <a:gd name="T123" fmla="*/ 1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0" h="150">
                  <a:moveTo>
                    <a:pt x="120" y="120"/>
                  </a:moveTo>
                  <a:lnTo>
                    <a:pt x="31" y="120"/>
                  </a:lnTo>
                  <a:lnTo>
                    <a:pt x="33" y="112"/>
                  </a:lnTo>
                  <a:lnTo>
                    <a:pt x="35" y="104"/>
                  </a:lnTo>
                  <a:lnTo>
                    <a:pt x="38" y="97"/>
                  </a:lnTo>
                  <a:lnTo>
                    <a:pt x="41" y="89"/>
                  </a:lnTo>
                  <a:lnTo>
                    <a:pt x="46" y="83"/>
                  </a:lnTo>
                  <a:lnTo>
                    <a:pt x="51" y="75"/>
                  </a:lnTo>
                  <a:lnTo>
                    <a:pt x="56" y="69"/>
                  </a:lnTo>
                  <a:lnTo>
                    <a:pt x="62" y="62"/>
                  </a:lnTo>
                  <a:lnTo>
                    <a:pt x="68" y="57"/>
                  </a:lnTo>
                  <a:lnTo>
                    <a:pt x="75" y="52"/>
                  </a:lnTo>
                  <a:lnTo>
                    <a:pt x="81" y="46"/>
                  </a:lnTo>
                  <a:lnTo>
                    <a:pt x="89" y="42"/>
                  </a:lnTo>
                  <a:lnTo>
                    <a:pt x="96" y="39"/>
                  </a:lnTo>
                  <a:lnTo>
                    <a:pt x="104" y="36"/>
                  </a:lnTo>
                  <a:lnTo>
                    <a:pt x="111" y="33"/>
                  </a:lnTo>
                  <a:lnTo>
                    <a:pt x="120" y="31"/>
                  </a:lnTo>
                  <a:lnTo>
                    <a:pt x="120" y="120"/>
                  </a:lnTo>
                  <a:close/>
                  <a:moveTo>
                    <a:pt x="0" y="135"/>
                  </a:moveTo>
                  <a:lnTo>
                    <a:pt x="0" y="138"/>
                  </a:lnTo>
                  <a:lnTo>
                    <a:pt x="1" y="141"/>
                  </a:lnTo>
                  <a:lnTo>
                    <a:pt x="2" y="144"/>
                  </a:lnTo>
                  <a:lnTo>
                    <a:pt x="4" y="146"/>
                  </a:lnTo>
                  <a:lnTo>
                    <a:pt x="6" y="147"/>
                  </a:lnTo>
                  <a:lnTo>
                    <a:pt x="9" y="149"/>
                  </a:lnTo>
                  <a:lnTo>
                    <a:pt x="11" y="149"/>
                  </a:lnTo>
                  <a:lnTo>
                    <a:pt x="15" y="150"/>
                  </a:lnTo>
                  <a:lnTo>
                    <a:pt x="135" y="150"/>
                  </a:lnTo>
                  <a:lnTo>
                    <a:pt x="138" y="149"/>
                  </a:lnTo>
                  <a:lnTo>
                    <a:pt x="140" y="149"/>
                  </a:lnTo>
                  <a:lnTo>
                    <a:pt x="143" y="147"/>
                  </a:lnTo>
                  <a:lnTo>
                    <a:pt x="145" y="146"/>
                  </a:lnTo>
                  <a:lnTo>
                    <a:pt x="146" y="144"/>
                  </a:lnTo>
                  <a:lnTo>
                    <a:pt x="148" y="141"/>
                  </a:lnTo>
                  <a:lnTo>
                    <a:pt x="150" y="138"/>
                  </a:lnTo>
                  <a:lnTo>
                    <a:pt x="150" y="135"/>
                  </a:lnTo>
                  <a:lnTo>
                    <a:pt x="150" y="15"/>
                  </a:lnTo>
                  <a:lnTo>
                    <a:pt x="150" y="12"/>
                  </a:lnTo>
                  <a:lnTo>
                    <a:pt x="148" y="10"/>
                  </a:lnTo>
                  <a:lnTo>
                    <a:pt x="146" y="7"/>
                  </a:lnTo>
                  <a:lnTo>
                    <a:pt x="145" y="5"/>
                  </a:lnTo>
                  <a:lnTo>
                    <a:pt x="143" y="2"/>
                  </a:lnTo>
                  <a:lnTo>
                    <a:pt x="140" y="1"/>
                  </a:lnTo>
                  <a:lnTo>
                    <a:pt x="138" y="0"/>
                  </a:lnTo>
                  <a:lnTo>
                    <a:pt x="135" y="0"/>
                  </a:lnTo>
                  <a:lnTo>
                    <a:pt x="122" y="0"/>
                  </a:lnTo>
                  <a:lnTo>
                    <a:pt x="109" y="2"/>
                  </a:lnTo>
                  <a:lnTo>
                    <a:pt x="96" y="7"/>
                  </a:lnTo>
                  <a:lnTo>
                    <a:pt x="83" y="11"/>
                  </a:lnTo>
                  <a:lnTo>
                    <a:pt x="71" y="17"/>
                  </a:lnTo>
                  <a:lnTo>
                    <a:pt x="61" y="24"/>
                  </a:lnTo>
                  <a:lnTo>
                    <a:pt x="50" y="32"/>
                  </a:lnTo>
                  <a:lnTo>
                    <a:pt x="40" y="41"/>
                  </a:lnTo>
                  <a:lnTo>
                    <a:pt x="32" y="51"/>
                  </a:lnTo>
                  <a:lnTo>
                    <a:pt x="23" y="61"/>
                  </a:lnTo>
                  <a:lnTo>
                    <a:pt x="17" y="72"/>
                  </a:lnTo>
                  <a:lnTo>
                    <a:pt x="10" y="84"/>
                  </a:lnTo>
                  <a:lnTo>
                    <a:pt x="6" y="97"/>
                  </a:lnTo>
                  <a:lnTo>
                    <a:pt x="3" y="108"/>
                  </a:lnTo>
                  <a:lnTo>
                    <a:pt x="1" y="121"/>
                  </a:lnTo>
                  <a:lnTo>
                    <a:pt x="0"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sp>
        <p:nvSpPr>
          <p:cNvPr id="264" name="Freeform 136"/>
          <p:cNvSpPr>
            <a:spLocks noEditPoints="1"/>
          </p:cNvSpPr>
          <p:nvPr/>
        </p:nvSpPr>
        <p:spPr bwMode="auto">
          <a:xfrm>
            <a:off x="14353657" y="5331653"/>
            <a:ext cx="571463" cy="361926"/>
          </a:xfrm>
          <a:custGeom>
            <a:avLst/>
            <a:gdLst>
              <a:gd name="T0" fmla="*/ 659 w 899"/>
              <a:gd name="T1" fmla="*/ 514 h 567"/>
              <a:gd name="T2" fmla="*/ 605 w 899"/>
              <a:gd name="T3" fmla="*/ 443 h 567"/>
              <a:gd name="T4" fmla="*/ 615 w 899"/>
              <a:gd name="T5" fmla="*/ 339 h 567"/>
              <a:gd name="T6" fmla="*/ 676 w 899"/>
              <a:gd name="T7" fmla="*/ 382 h 567"/>
              <a:gd name="T8" fmla="*/ 740 w 899"/>
              <a:gd name="T9" fmla="*/ 416 h 567"/>
              <a:gd name="T10" fmla="*/ 748 w 899"/>
              <a:gd name="T11" fmla="*/ 398 h 567"/>
              <a:gd name="T12" fmla="*/ 709 w 899"/>
              <a:gd name="T13" fmla="*/ 270 h 567"/>
              <a:gd name="T14" fmla="*/ 798 w 899"/>
              <a:gd name="T15" fmla="*/ 284 h 567"/>
              <a:gd name="T16" fmla="*/ 858 w 899"/>
              <a:gd name="T17" fmla="*/ 351 h 567"/>
              <a:gd name="T18" fmla="*/ 862 w 899"/>
              <a:gd name="T19" fmla="*/ 443 h 567"/>
              <a:gd name="T20" fmla="*/ 809 w 899"/>
              <a:gd name="T21" fmla="*/ 514 h 567"/>
              <a:gd name="T22" fmla="*/ 410 w 899"/>
              <a:gd name="T23" fmla="*/ 377 h 567"/>
              <a:gd name="T24" fmla="*/ 315 w 899"/>
              <a:gd name="T25" fmla="*/ 337 h 567"/>
              <a:gd name="T26" fmla="*/ 383 w 899"/>
              <a:gd name="T27" fmla="*/ 388 h 567"/>
              <a:gd name="T28" fmla="*/ 274 w 899"/>
              <a:gd name="T29" fmla="*/ 325 h 567"/>
              <a:gd name="T30" fmla="*/ 151 w 899"/>
              <a:gd name="T31" fmla="*/ 537 h 567"/>
              <a:gd name="T32" fmla="*/ 70 w 899"/>
              <a:gd name="T33" fmla="*/ 498 h 567"/>
              <a:gd name="T34" fmla="*/ 31 w 899"/>
              <a:gd name="T35" fmla="*/ 416 h 567"/>
              <a:gd name="T36" fmla="*/ 53 w 899"/>
              <a:gd name="T37" fmla="*/ 328 h 567"/>
              <a:gd name="T38" fmla="*/ 125 w 899"/>
              <a:gd name="T39" fmla="*/ 274 h 567"/>
              <a:gd name="T40" fmla="*/ 221 w 899"/>
              <a:gd name="T41" fmla="*/ 281 h 567"/>
              <a:gd name="T42" fmla="*/ 158 w 899"/>
              <a:gd name="T43" fmla="*/ 416 h 567"/>
              <a:gd name="T44" fmla="*/ 284 w 899"/>
              <a:gd name="T45" fmla="*/ 465 h 567"/>
              <a:gd name="T46" fmla="*/ 225 w 899"/>
              <a:gd name="T47" fmla="*/ 523 h 567"/>
              <a:gd name="T48" fmla="*/ 720 w 899"/>
              <a:gd name="T49" fmla="*/ 238 h 567"/>
              <a:gd name="T50" fmla="*/ 740 w 899"/>
              <a:gd name="T51" fmla="*/ 92 h 567"/>
              <a:gd name="T52" fmla="*/ 750 w 899"/>
              <a:gd name="T53" fmla="*/ 119 h 567"/>
              <a:gd name="T54" fmla="*/ 721 w 899"/>
              <a:gd name="T55" fmla="*/ 133 h 567"/>
              <a:gd name="T56" fmla="*/ 704 w 899"/>
              <a:gd name="T57" fmla="*/ 149 h 567"/>
              <a:gd name="T58" fmla="*/ 717 w 899"/>
              <a:gd name="T59" fmla="*/ 163 h 567"/>
              <a:gd name="T60" fmla="*/ 766 w 899"/>
              <a:gd name="T61" fmla="*/ 146 h 567"/>
              <a:gd name="T62" fmla="*/ 780 w 899"/>
              <a:gd name="T63" fmla="*/ 98 h 567"/>
              <a:gd name="T64" fmla="*/ 631 w 899"/>
              <a:gd name="T65" fmla="*/ 43 h 567"/>
              <a:gd name="T66" fmla="*/ 614 w 899"/>
              <a:gd name="T67" fmla="*/ 58 h 567"/>
              <a:gd name="T68" fmla="*/ 329 w 899"/>
              <a:gd name="T69" fmla="*/ 58 h 567"/>
              <a:gd name="T70" fmla="*/ 344 w 899"/>
              <a:gd name="T71" fmla="*/ 39 h 567"/>
              <a:gd name="T72" fmla="*/ 226 w 899"/>
              <a:gd name="T73" fmla="*/ 0 h 567"/>
              <a:gd name="T74" fmla="*/ 210 w 899"/>
              <a:gd name="T75" fmla="*/ 10 h 567"/>
              <a:gd name="T76" fmla="*/ 241 w 899"/>
              <a:gd name="T77" fmla="*/ 35 h 567"/>
              <a:gd name="T78" fmla="*/ 193 w 899"/>
              <a:gd name="T79" fmla="*/ 240 h 567"/>
              <a:gd name="T80" fmla="*/ 101 w 899"/>
              <a:gd name="T81" fmla="*/ 251 h 567"/>
              <a:gd name="T82" fmla="*/ 21 w 899"/>
              <a:gd name="T83" fmla="*/ 325 h 567"/>
              <a:gd name="T84" fmla="*/ 4 w 899"/>
              <a:gd name="T85" fmla="*/ 436 h 567"/>
              <a:gd name="T86" fmla="*/ 60 w 899"/>
              <a:gd name="T87" fmla="*/ 529 h 567"/>
              <a:gd name="T88" fmla="*/ 165 w 899"/>
              <a:gd name="T89" fmla="*/ 567 h 567"/>
              <a:gd name="T90" fmla="*/ 265 w 899"/>
              <a:gd name="T91" fmla="*/ 534 h 567"/>
              <a:gd name="T92" fmla="*/ 323 w 899"/>
              <a:gd name="T93" fmla="*/ 448 h 567"/>
              <a:gd name="T94" fmla="*/ 415 w 899"/>
              <a:gd name="T95" fmla="*/ 415 h 567"/>
              <a:gd name="T96" fmla="*/ 611 w 899"/>
              <a:gd name="T97" fmla="*/ 294 h 567"/>
              <a:gd name="T98" fmla="*/ 575 w 899"/>
              <a:gd name="T99" fmla="*/ 359 h 567"/>
              <a:gd name="T100" fmla="*/ 576 w 899"/>
              <a:gd name="T101" fmla="*/ 451 h 567"/>
              <a:gd name="T102" fmla="*/ 642 w 899"/>
              <a:gd name="T103" fmla="*/ 539 h 567"/>
              <a:gd name="T104" fmla="*/ 751 w 899"/>
              <a:gd name="T105" fmla="*/ 567 h 567"/>
              <a:gd name="T106" fmla="*/ 850 w 899"/>
              <a:gd name="T107" fmla="*/ 519 h 567"/>
              <a:gd name="T108" fmla="*/ 898 w 899"/>
              <a:gd name="T109" fmla="*/ 419 h 567"/>
              <a:gd name="T110" fmla="*/ 870 w 899"/>
              <a:gd name="T111" fmla="*/ 311 h 567"/>
              <a:gd name="T112" fmla="*/ 783 w 899"/>
              <a:gd name="T113" fmla="*/ 246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9" h="567">
                <a:moveTo>
                  <a:pt x="734" y="537"/>
                </a:moveTo>
                <a:lnTo>
                  <a:pt x="720" y="537"/>
                </a:lnTo>
                <a:lnTo>
                  <a:pt x="707" y="535"/>
                </a:lnTo>
                <a:lnTo>
                  <a:pt x="694" y="532"/>
                </a:lnTo>
                <a:lnTo>
                  <a:pt x="681" y="527"/>
                </a:lnTo>
                <a:lnTo>
                  <a:pt x="670" y="521"/>
                </a:lnTo>
                <a:lnTo>
                  <a:pt x="659" y="514"/>
                </a:lnTo>
                <a:lnTo>
                  <a:pt x="648" y="507"/>
                </a:lnTo>
                <a:lnTo>
                  <a:pt x="638" y="498"/>
                </a:lnTo>
                <a:lnTo>
                  <a:pt x="630" y="489"/>
                </a:lnTo>
                <a:lnTo>
                  <a:pt x="622" y="478"/>
                </a:lnTo>
                <a:lnTo>
                  <a:pt x="615" y="467"/>
                </a:lnTo>
                <a:lnTo>
                  <a:pt x="610" y="456"/>
                </a:lnTo>
                <a:lnTo>
                  <a:pt x="605" y="443"/>
                </a:lnTo>
                <a:lnTo>
                  <a:pt x="602" y="430"/>
                </a:lnTo>
                <a:lnTo>
                  <a:pt x="600" y="416"/>
                </a:lnTo>
                <a:lnTo>
                  <a:pt x="599" y="403"/>
                </a:lnTo>
                <a:lnTo>
                  <a:pt x="600" y="386"/>
                </a:lnTo>
                <a:lnTo>
                  <a:pt x="603" y="369"/>
                </a:lnTo>
                <a:lnTo>
                  <a:pt x="608" y="354"/>
                </a:lnTo>
                <a:lnTo>
                  <a:pt x="615" y="339"/>
                </a:lnTo>
                <a:lnTo>
                  <a:pt x="623" y="325"/>
                </a:lnTo>
                <a:lnTo>
                  <a:pt x="634" y="313"/>
                </a:lnTo>
                <a:lnTo>
                  <a:pt x="645" y="301"/>
                </a:lnTo>
                <a:lnTo>
                  <a:pt x="658" y="292"/>
                </a:lnTo>
                <a:lnTo>
                  <a:pt x="674" y="375"/>
                </a:lnTo>
                <a:lnTo>
                  <a:pt x="675" y="379"/>
                </a:lnTo>
                <a:lnTo>
                  <a:pt x="676" y="382"/>
                </a:lnTo>
                <a:lnTo>
                  <a:pt x="678" y="384"/>
                </a:lnTo>
                <a:lnTo>
                  <a:pt x="680" y="386"/>
                </a:lnTo>
                <a:lnTo>
                  <a:pt x="725" y="416"/>
                </a:lnTo>
                <a:lnTo>
                  <a:pt x="729" y="417"/>
                </a:lnTo>
                <a:lnTo>
                  <a:pt x="734" y="418"/>
                </a:lnTo>
                <a:lnTo>
                  <a:pt x="737" y="417"/>
                </a:lnTo>
                <a:lnTo>
                  <a:pt x="740" y="416"/>
                </a:lnTo>
                <a:lnTo>
                  <a:pt x="743" y="415"/>
                </a:lnTo>
                <a:lnTo>
                  <a:pt x="747" y="412"/>
                </a:lnTo>
                <a:lnTo>
                  <a:pt x="748" y="408"/>
                </a:lnTo>
                <a:lnTo>
                  <a:pt x="749" y="405"/>
                </a:lnTo>
                <a:lnTo>
                  <a:pt x="749" y="403"/>
                </a:lnTo>
                <a:lnTo>
                  <a:pt x="749" y="400"/>
                </a:lnTo>
                <a:lnTo>
                  <a:pt x="748" y="398"/>
                </a:lnTo>
                <a:lnTo>
                  <a:pt x="747" y="395"/>
                </a:lnTo>
                <a:lnTo>
                  <a:pt x="744" y="392"/>
                </a:lnTo>
                <a:lnTo>
                  <a:pt x="742" y="390"/>
                </a:lnTo>
                <a:lnTo>
                  <a:pt x="703" y="364"/>
                </a:lnTo>
                <a:lnTo>
                  <a:pt x="686" y="277"/>
                </a:lnTo>
                <a:lnTo>
                  <a:pt x="697" y="274"/>
                </a:lnTo>
                <a:lnTo>
                  <a:pt x="709" y="270"/>
                </a:lnTo>
                <a:lnTo>
                  <a:pt x="721" y="268"/>
                </a:lnTo>
                <a:lnTo>
                  <a:pt x="734" y="268"/>
                </a:lnTo>
                <a:lnTo>
                  <a:pt x="748" y="268"/>
                </a:lnTo>
                <a:lnTo>
                  <a:pt x="761" y="270"/>
                </a:lnTo>
                <a:lnTo>
                  <a:pt x="773" y="274"/>
                </a:lnTo>
                <a:lnTo>
                  <a:pt x="786" y="279"/>
                </a:lnTo>
                <a:lnTo>
                  <a:pt x="798" y="284"/>
                </a:lnTo>
                <a:lnTo>
                  <a:pt x="809" y="291"/>
                </a:lnTo>
                <a:lnTo>
                  <a:pt x="819" y="299"/>
                </a:lnTo>
                <a:lnTo>
                  <a:pt x="829" y="308"/>
                </a:lnTo>
                <a:lnTo>
                  <a:pt x="838" y="317"/>
                </a:lnTo>
                <a:lnTo>
                  <a:pt x="845" y="328"/>
                </a:lnTo>
                <a:lnTo>
                  <a:pt x="853" y="339"/>
                </a:lnTo>
                <a:lnTo>
                  <a:pt x="858" y="351"/>
                </a:lnTo>
                <a:lnTo>
                  <a:pt x="862" y="362"/>
                </a:lnTo>
                <a:lnTo>
                  <a:pt x="865" y="375"/>
                </a:lnTo>
                <a:lnTo>
                  <a:pt x="868" y="389"/>
                </a:lnTo>
                <a:lnTo>
                  <a:pt x="869" y="403"/>
                </a:lnTo>
                <a:lnTo>
                  <a:pt x="868" y="416"/>
                </a:lnTo>
                <a:lnTo>
                  <a:pt x="865" y="430"/>
                </a:lnTo>
                <a:lnTo>
                  <a:pt x="862" y="443"/>
                </a:lnTo>
                <a:lnTo>
                  <a:pt x="858" y="456"/>
                </a:lnTo>
                <a:lnTo>
                  <a:pt x="853" y="467"/>
                </a:lnTo>
                <a:lnTo>
                  <a:pt x="845" y="478"/>
                </a:lnTo>
                <a:lnTo>
                  <a:pt x="838" y="489"/>
                </a:lnTo>
                <a:lnTo>
                  <a:pt x="829" y="498"/>
                </a:lnTo>
                <a:lnTo>
                  <a:pt x="819" y="507"/>
                </a:lnTo>
                <a:lnTo>
                  <a:pt x="809" y="514"/>
                </a:lnTo>
                <a:lnTo>
                  <a:pt x="798" y="521"/>
                </a:lnTo>
                <a:lnTo>
                  <a:pt x="786" y="527"/>
                </a:lnTo>
                <a:lnTo>
                  <a:pt x="773" y="532"/>
                </a:lnTo>
                <a:lnTo>
                  <a:pt x="761" y="535"/>
                </a:lnTo>
                <a:lnTo>
                  <a:pt x="748" y="537"/>
                </a:lnTo>
                <a:lnTo>
                  <a:pt x="734" y="537"/>
                </a:lnTo>
                <a:close/>
                <a:moveTo>
                  <a:pt x="410" y="377"/>
                </a:moveTo>
                <a:lnTo>
                  <a:pt x="331" y="178"/>
                </a:lnTo>
                <a:lnTo>
                  <a:pt x="612" y="178"/>
                </a:lnTo>
                <a:lnTo>
                  <a:pt x="410" y="377"/>
                </a:lnTo>
                <a:close/>
                <a:moveTo>
                  <a:pt x="329" y="388"/>
                </a:moveTo>
                <a:lnTo>
                  <a:pt x="326" y="370"/>
                </a:lnTo>
                <a:lnTo>
                  <a:pt x="322" y="353"/>
                </a:lnTo>
                <a:lnTo>
                  <a:pt x="315" y="337"/>
                </a:lnTo>
                <a:lnTo>
                  <a:pt x="308" y="322"/>
                </a:lnTo>
                <a:lnTo>
                  <a:pt x="298" y="307"/>
                </a:lnTo>
                <a:lnTo>
                  <a:pt x="287" y="294"/>
                </a:lnTo>
                <a:lnTo>
                  <a:pt x="276" y="282"/>
                </a:lnTo>
                <a:lnTo>
                  <a:pt x="263" y="271"/>
                </a:lnTo>
                <a:lnTo>
                  <a:pt x="307" y="198"/>
                </a:lnTo>
                <a:lnTo>
                  <a:pt x="383" y="388"/>
                </a:lnTo>
                <a:lnTo>
                  <a:pt x="329" y="388"/>
                </a:lnTo>
                <a:close/>
                <a:moveTo>
                  <a:pt x="299" y="388"/>
                </a:moveTo>
                <a:lnTo>
                  <a:pt x="191" y="388"/>
                </a:lnTo>
                <a:lnTo>
                  <a:pt x="247" y="296"/>
                </a:lnTo>
                <a:lnTo>
                  <a:pt x="257" y="306"/>
                </a:lnTo>
                <a:lnTo>
                  <a:pt x="266" y="315"/>
                </a:lnTo>
                <a:lnTo>
                  <a:pt x="274" y="325"/>
                </a:lnTo>
                <a:lnTo>
                  <a:pt x="282" y="337"/>
                </a:lnTo>
                <a:lnTo>
                  <a:pt x="288" y="349"/>
                </a:lnTo>
                <a:lnTo>
                  <a:pt x="293" y="360"/>
                </a:lnTo>
                <a:lnTo>
                  <a:pt x="297" y="374"/>
                </a:lnTo>
                <a:lnTo>
                  <a:pt x="299" y="388"/>
                </a:lnTo>
                <a:close/>
                <a:moveTo>
                  <a:pt x="165" y="537"/>
                </a:moveTo>
                <a:lnTo>
                  <a:pt x="151" y="537"/>
                </a:lnTo>
                <a:lnTo>
                  <a:pt x="137" y="535"/>
                </a:lnTo>
                <a:lnTo>
                  <a:pt x="125" y="532"/>
                </a:lnTo>
                <a:lnTo>
                  <a:pt x="113" y="527"/>
                </a:lnTo>
                <a:lnTo>
                  <a:pt x="101" y="521"/>
                </a:lnTo>
                <a:lnTo>
                  <a:pt x="89" y="514"/>
                </a:lnTo>
                <a:lnTo>
                  <a:pt x="80" y="507"/>
                </a:lnTo>
                <a:lnTo>
                  <a:pt x="70" y="498"/>
                </a:lnTo>
                <a:lnTo>
                  <a:pt x="61" y="489"/>
                </a:lnTo>
                <a:lnTo>
                  <a:pt x="53" y="478"/>
                </a:lnTo>
                <a:lnTo>
                  <a:pt x="46" y="467"/>
                </a:lnTo>
                <a:lnTo>
                  <a:pt x="41" y="456"/>
                </a:lnTo>
                <a:lnTo>
                  <a:pt x="37" y="443"/>
                </a:lnTo>
                <a:lnTo>
                  <a:pt x="32" y="430"/>
                </a:lnTo>
                <a:lnTo>
                  <a:pt x="31" y="416"/>
                </a:lnTo>
                <a:lnTo>
                  <a:pt x="30" y="403"/>
                </a:lnTo>
                <a:lnTo>
                  <a:pt x="31" y="389"/>
                </a:lnTo>
                <a:lnTo>
                  <a:pt x="32" y="375"/>
                </a:lnTo>
                <a:lnTo>
                  <a:pt x="37" y="362"/>
                </a:lnTo>
                <a:lnTo>
                  <a:pt x="41" y="351"/>
                </a:lnTo>
                <a:lnTo>
                  <a:pt x="46" y="339"/>
                </a:lnTo>
                <a:lnTo>
                  <a:pt x="53" y="328"/>
                </a:lnTo>
                <a:lnTo>
                  <a:pt x="61" y="317"/>
                </a:lnTo>
                <a:lnTo>
                  <a:pt x="70" y="308"/>
                </a:lnTo>
                <a:lnTo>
                  <a:pt x="80" y="299"/>
                </a:lnTo>
                <a:lnTo>
                  <a:pt x="89" y="291"/>
                </a:lnTo>
                <a:lnTo>
                  <a:pt x="101" y="284"/>
                </a:lnTo>
                <a:lnTo>
                  <a:pt x="113" y="279"/>
                </a:lnTo>
                <a:lnTo>
                  <a:pt x="125" y="274"/>
                </a:lnTo>
                <a:lnTo>
                  <a:pt x="137" y="270"/>
                </a:lnTo>
                <a:lnTo>
                  <a:pt x="151" y="268"/>
                </a:lnTo>
                <a:lnTo>
                  <a:pt x="165" y="268"/>
                </a:lnTo>
                <a:lnTo>
                  <a:pt x="180" y="268"/>
                </a:lnTo>
                <a:lnTo>
                  <a:pt x="194" y="271"/>
                </a:lnTo>
                <a:lnTo>
                  <a:pt x="208" y="276"/>
                </a:lnTo>
                <a:lnTo>
                  <a:pt x="221" y="281"/>
                </a:lnTo>
                <a:lnTo>
                  <a:pt x="152" y="396"/>
                </a:lnTo>
                <a:lnTo>
                  <a:pt x="150" y="399"/>
                </a:lnTo>
                <a:lnTo>
                  <a:pt x="150" y="403"/>
                </a:lnTo>
                <a:lnTo>
                  <a:pt x="150" y="406"/>
                </a:lnTo>
                <a:lnTo>
                  <a:pt x="152" y="411"/>
                </a:lnTo>
                <a:lnTo>
                  <a:pt x="155" y="413"/>
                </a:lnTo>
                <a:lnTo>
                  <a:pt x="158" y="416"/>
                </a:lnTo>
                <a:lnTo>
                  <a:pt x="161" y="417"/>
                </a:lnTo>
                <a:lnTo>
                  <a:pt x="165" y="418"/>
                </a:lnTo>
                <a:lnTo>
                  <a:pt x="299" y="418"/>
                </a:lnTo>
                <a:lnTo>
                  <a:pt x="297" y="430"/>
                </a:lnTo>
                <a:lnTo>
                  <a:pt x="294" y="442"/>
                </a:lnTo>
                <a:lnTo>
                  <a:pt x="289" y="453"/>
                </a:lnTo>
                <a:lnTo>
                  <a:pt x="284" y="465"/>
                </a:lnTo>
                <a:lnTo>
                  <a:pt x="279" y="475"/>
                </a:lnTo>
                <a:lnTo>
                  <a:pt x="271" y="486"/>
                </a:lnTo>
                <a:lnTo>
                  <a:pt x="264" y="494"/>
                </a:lnTo>
                <a:lnTo>
                  <a:pt x="255" y="503"/>
                </a:lnTo>
                <a:lnTo>
                  <a:pt x="246" y="510"/>
                </a:lnTo>
                <a:lnTo>
                  <a:pt x="236" y="518"/>
                </a:lnTo>
                <a:lnTo>
                  <a:pt x="225" y="523"/>
                </a:lnTo>
                <a:lnTo>
                  <a:pt x="215" y="528"/>
                </a:lnTo>
                <a:lnTo>
                  <a:pt x="203" y="532"/>
                </a:lnTo>
                <a:lnTo>
                  <a:pt x="190" y="535"/>
                </a:lnTo>
                <a:lnTo>
                  <a:pt x="178" y="537"/>
                </a:lnTo>
                <a:lnTo>
                  <a:pt x="165" y="537"/>
                </a:lnTo>
                <a:close/>
                <a:moveTo>
                  <a:pt x="734" y="238"/>
                </a:moveTo>
                <a:lnTo>
                  <a:pt x="720" y="238"/>
                </a:lnTo>
                <a:lnTo>
                  <a:pt x="706" y="240"/>
                </a:lnTo>
                <a:lnTo>
                  <a:pt x="693" y="244"/>
                </a:lnTo>
                <a:lnTo>
                  <a:pt x="680" y="247"/>
                </a:lnTo>
                <a:lnTo>
                  <a:pt x="647" y="77"/>
                </a:lnTo>
                <a:lnTo>
                  <a:pt x="732" y="88"/>
                </a:lnTo>
                <a:lnTo>
                  <a:pt x="736" y="90"/>
                </a:lnTo>
                <a:lnTo>
                  <a:pt x="740" y="92"/>
                </a:lnTo>
                <a:lnTo>
                  <a:pt x="743" y="94"/>
                </a:lnTo>
                <a:lnTo>
                  <a:pt x="747" y="97"/>
                </a:lnTo>
                <a:lnTo>
                  <a:pt x="749" y="101"/>
                </a:lnTo>
                <a:lnTo>
                  <a:pt x="751" y="106"/>
                </a:lnTo>
                <a:lnTo>
                  <a:pt x="751" y="110"/>
                </a:lnTo>
                <a:lnTo>
                  <a:pt x="751" y="115"/>
                </a:lnTo>
                <a:lnTo>
                  <a:pt x="750" y="119"/>
                </a:lnTo>
                <a:lnTo>
                  <a:pt x="748" y="123"/>
                </a:lnTo>
                <a:lnTo>
                  <a:pt x="744" y="126"/>
                </a:lnTo>
                <a:lnTo>
                  <a:pt x="740" y="129"/>
                </a:lnTo>
                <a:lnTo>
                  <a:pt x="736" y="131"/>
                </a:lnTo>
                <a:lnTo>
                  <a:pt x="731" y="133"/>
                </a:lnTo>
                <a:lnTo>
                  <a:pt x="726" y="133"/>
                </a:lnTo>
                <a:lnTo>
                  <a:pt x="721" y="133"/>
                </a:lnTo>
                <a:lnTo>
                  <a:pt x="714" y="134"/>
                </a:lnTo>
                <a:lnTo>
                  <a:pt x="710" y="137"/>
                </a:lnTo>
                <a:lnTo>
                  <a:pt x="708" y="139"/>
                </a:lnTo>
                <a:lnTo>
                  <a:pt x="706" y="141"/>
                </a:lnTo>
                <a:lnTo>
                  <a:pt x="705" y="144"/>
                </a:lnTo>
                <a:lnTo>
                  <a:pt x="704" y="146"/>
                </a:lnTo>
                <a:lnTo>
                  <a:pt x="704" y="149"/>
                </a:lnTo>
                <a:lnTo>
                  <a:pt x="704" y="153"/>
                </a:lnTo>
                <a:lnTo>
                  <a:pt x="705" y="155"/>
                </a:lnTo>
                <a:lnTo>
                  <a:pt x="707" y="157"/>
                </a:lnTo>
                <a:lnTo>
                  <a:pt x="709" y="159"/>
                </a:lnTo>
                <a:lnTo>
                  <a:pt x="711" y="161"/>
                </a:lnTo>
                <a:lnTo>
                  <a:pt x="713" y="162"/>
                </a:lnTo>
                <a:lnTo>
                  <a:pt x="717" y="163"/>
                </a:lnTo>
                <a:lnTo>
                  <a:pt x="722" y="163"/>
                </a:lnTo>
                <a:lnTo>
                  <a:pt x="727" y="163"/>
                </a:lnTo>
                <a:lnTo>
                  <a:pt x="733" y="163"/>
                </a:lnTo>
                <a:lnTo>
                  <a:pt x="739" y="162"/>
                </a:lnTo>
                <a:lnTo>
                  <a:pt x="749" y="158"/>
                </a:lnTo>
                <a:lnTo>
                  <a:pt x="758" y="153"/>
                </a:lnTo>
                <a:lnTo>
                  <a:pt x="766" y="146"/>
                </a:lnTo>
                <a:lnTo>
                  <a:pt x="773" y="138"/>
                </a:lnTo>
                <a:lnTo>
                  <a:pt x="776" y="133"/>
                </a:lnTo>
                <a:lnTo>
                  <a:pt x="778" y="129"/>
                </a:lnTo>
                <a:lnTo>
                  <a:pt x="780" y="124"/>
                </a:lnTo>
                <a:lnTo>
                  <a:pt x="781" y="118"/>
                </a:lnTo>
                <a:lnTo>
                  <a:pt x="781" y="108"/>
                </a:lnTo>
                <a:lnTo>
                  <a:pt x="780" y="98"/>
                </a:lnTo>
                <a:lnTo>
                  <a:pt x="776" y="88"/>
                </a:lnTo>
                <a:lnTo>
                  <a:pt x="770" y="80"/>
                </a:lnTo>
                <a:lnTo>
                  <a:pt x="764" y="72"/>
                </a:lnTo>
                <a:lnTo>
                  <a:pt x="755" y="66"/>
                </a:lnTo>
                <a:lnTo>
                  <a:pt x="747" y="61"/>
                </a:lnTo>
                <a:lnTo>
                  <a:pt x="736" y="58"/>
                </a:lnTo>
                <a:lnTo>
                  <a:pt x="631" y="43"/>
                </a:lnTo>
                <a:lnTo>
                  <a:pt x="628" y="43"/>
                </a:lnTo>
                <a:lnTo>
                  <a:pt x="625" y="45"/>
                </a:lnTo>
                <a:lnTo>
                  <a:pt x="621" y="46"/>
                </a:lnTo>
                <a:lnTo>
                  <a:pt x="618" y="48"/>
                </a:lnTo>
                <a:lnTo>
                  <a:pt x="616" y="51"/>
                </a:lnTo>
                <a:lnTo>
                  <a:pt x="615" y="54"/>
                </a:lnTo>
                <a:lnTo>
                  <a:pt x="614" y="58"/>
                </a:lnTo>
                <a:lnTo>
                  <a:pt x="614" y="62"/>
                </a:lnTo>
                <a:lnTo>
                  <a:pt x="631" y="148"/>
                </a:lnTo>
                <a:lnTo>
                  <a:pt x="319" y="148"/>
                </a:lnTo>
                <a:lnTo>
                  <a:pt x="278" y="45"/>
                </a:lnTo>
                <a:lnTo>
                  <a:pt x="326" y="58"/>
                </a:lnTo>
                <a:lnTo>
                  <a:pt x="328" y="58"/>
                </a:lnTo>
                <a:lnTo>
                  <a:pt x="329" y="58"/>
                </a:lnTo>
                <a:lnTo>
                  <a:pt x="334" y="57"/>
                </a:lnTo>
                <a:lnTo>
                  <a:pt x="339" y="56"/>
                </a:lnTo>
                <a:lnTo>
                  <a:pt x="342" y="53"/>
                </a:lnTo>
                <a:lnTo>
                  <a:pt x="344" y="48"/>
                </a:lnTo>
                <a:lnTo>
                  <a:pt x="344" y="46"/>
                </a:lnTo>
                <a:lnTo>
                  <a:pt x="344" y="42"/>
                </a:lnTo>
                <a:lnTo>
                  <a:pt x="344" y="39"/>
                </a:lnTo>
                <a:lnTo>
                  <a:pt x="343" y="37"/>
                </a:lnTo>
                <a:lnTo>
                  <a:pt x="341" y="34"/>
                </a:lnTo>
                <a:lnTo>
                  <a:pt x="339" y="33"/>
                </a:lnTo>
                <a:lnTo>
                  <a:pt x="337" y="31"/>
                </a:lnTo>
                <a:lnTo>
                  <a:pt x="333" y="30"/>
                </a:lnTo>
                <a:lnTo>
                  <a:pt x="228" y="0"/>
                </a:lnTo>
                <a:lnTo>
                  <a:pt x="226" y="0"/>
                </a:lnTo>
                <a:lnTo>
                  <a:pt x="223" y="0"/>
                </a:lnTo>
                <a:lnTo>
                  <a:pt x="220" y="0"/>
                </a:lnTo>
                <a:lnTo>
                  <a:pt x="218" y="1"/>
                </a:lnTo>
                <a:lnTo>
                  <a:pt x="216" y="3"/>
                </a:lnTo>
                <a:lnTo>
                  <a:pt x="213" y="5"/>
                </a:lnTo>
                <a:lnTo>
                  <a:pt x="211" y="7"/>
                </a:lnTo>
                <a:lnTo>
                  <a:pt x="210" y="10"/>
                </a:lnTo>
                <a:lnTo>
                  <a:pt x="210" y="14"/>
                </a:lnTo>
                <a:lnTo>
                  <a:pt x="210" y="16"/>
                </a:lnTo>
                <a:lnTo>
                  <a:pt x="210" y="19"/>
                </a:lnTo>
                <a:lnTo>
                  <a:pt x="211" y="21"/>
                </a:lnTo>
                <a:lnTo>
                  <a:pt x="216" y="25"/>
                </a:lnTo>
                <a:lnTo>
                  <a:pt x="221" y="28"/>
                </a:lnTo>
                <a:lnTo>
                  <a:pt x="241" y="35"/>
                </a:lnTo>
                <a:lnTo>
                  <a:pt x="293" y="161"/>
                </a:lnTo>
                <a:lnTo>
                  <a:pt x="237" y="256"/>
                </a:lnTo>
                <a:lnTo>
                  <a:pt x="228" y="252"/>
                </a:lnTo>
                <a:lnTo>
                  <a:pt x="220" y="248"/>
                </a:lnTo>
                <a:lnTo>
                  <a:pt x="211" y="245"/>
                </a:lnTo>
                <a:lnTo>
                  <a:pt x="203" y="243"/>
                </a:lnTo>
                <a:lnTo>
                  <a:pt x="193" y="240"/>
                </a:lnTo>
                <a:lnTo>
                  <a:pt x="183" y="239"/>
                </a:lnTo>
                <a:lnTo>
                  <a:pt x="175" y="238"/>
                </a:lnTo>
                <a:lnTo>
                  <a:pt x="165" y="238"/>
                </a:lnTo>
                <a:lnTo>
                  <a:pt x="148" y="239"/>
                </a:lnTo>
                <a:lnTo>
                  <a:pt x="132" y="241"/>
                </a:lnTo>
                <a:lnTo>
                  <a:pt x="116" y="246"/>
                </a:lnTo>
                <a:lnTo>
                  <a:pt x="101" y="251"/>
                </a:lnTo>
                <a:lnTo>
                  <a:pt x="86" y="259"/>
                </a:lnTo>
                <a:lnTo>
                  <a:pt x="73" y="266"/>
                </a:lnTo>
                <a:lnTo>
                  <a:pt x="60" y="276"/>
                </a:lnTo>
                <a:lnTo>
                  <a:pt x="49" y="286"/>
                </a:lnTo>
                <a:lnTo>
                  <a:pt x="38" y="298"/>
                </a:lnTo>
                <a:lnTo>
                  <a:pt x="28" y="311"/>
                </a:lnTo>
                <a:lnTo>
                  <a:pt x="21" y="325"/>
                </a:lnTo>
                <a:lnTo>
                  <a:pt x="13" y="339"/>
                </a:lnTo>
                <a:lnTo>
                  <a:pt x="8" y="354"/>
                </a:lnTo>
                <a:lnTo>
                  <a:pt x="4" y="370"/>
                </a:lnTo>
                <a:lnTo>
                  <a:pt x="1" y="386"/>
                </a:lnTo>
                <a:lnTo>
                  <a:pt x="0" y="403"/>
                </a:lnTo>
                <a:lnTo>
                  <a:pt x="1" y="419"/>
                </a:lnTo>
                <a:lnTo>
                  <a:pt x="4" y="436"/>
                </a:lnTo>
                <a:lnTo>
                  <a:pt x="8" y="451"/>
                </a:lnTo>
                <a:lnTo>
                  <a:pt x="13" y="467"/>
                </a:lnTo>
                <a:lnTo>
                  <a:pt x="21" y="481"/>
                </a:lnTo>
                <a:lnTo>
                  <a:pt x="28" y="495"/>
                </a:lnTo>
                <a:lnTo>
                  <a:pt x="38" y="507"/>
                </a:lnTo>
                <a:lnTo>
                  <a:pt x="49" y="519"/>
                </a:lnTo>
                <a:lnTo>
                  <a:pt x="60" y="529"/>
                </a:lnTo>
                <a:lnTo>
                  <a:pt x="73" y="539"/>
                </a:lnTo>
                <a:lnTo>
                  <a:pt x="86" y="548"/>
                </a:lnTo>
                <a:lnTo>
                  <a:pt x="101" y="554"/>
                </a:lnTo>
                <a:lnTo>
                  <a:pt x="116" y="559"/>
                </a:lnTo>
                <a:lnTo>
                  <a:pt x="132" y="564"/>
                </a:lnTo>
                <a:lnTo>
                  <a:pt x="148" y="567"/>
                </a:lnTo>
                <a:lnTo>
                  <a:pt x="165" y="567"/>
                </a:lnTo>
                <a:lnTo>
                  <a:pt x="181" y="567"/>
                </a:lnTo>
                <a:lnTo>
                  <a:pt x="196" y="565"/>
                </a:lnTo>
                <a:lnTo>
                  <a:pt x="211" y="560"/>
                </a:lnTo>
                <a:lnTo>
                  <a:pt x="225" y="555"/>
                </a:lnTo>
                <a:lnTo>
                  <a:pt x="239" y="550"/>
                </a:lnTo>
                <a:lnTo>
                  <a:pt x="252" y="542"/>
                </a:lnTo>
                <a:lnTo>
                  <a:pt x="265" y="534"/>
                </a:lnTo>
                <a:lnTo>
                  <a:pt x="277" y="524"/>
                </a:lnTo>
                <a:lnTo>
                  <a:pt x="286" y="513"/>
                </a:lnTo>
                <a:lnTo>
                  <a:pt x="296" y="502"/>
                </a:lnTo>
                <a:lnTo>
                  <a:pt x="304" y="490"/>
                </a:lnTo>
                <a:lnTo>
                  <a:pt x="312" y="476"/>
                </a:lnTo>
                <a:lnTo>
                  <a:pt x="318" y="462"/>
                </a:lnTo>
                <a:lnTo>
                  <a:pt x="323" y="448"/>
                </a:lnTo>
                <a:lnTo>
                  <a:pt x="327" y="433"/>
                </a:lnTo>
                <a:lnTo>
                  <a:pt x="329" y="418"/>
                </a:lnTo>
                <a:lnTo>
                  <a:pt x="404" y="418"/>
                </a:lnTo>
                <a:lnTo>
                  <a:pt x="406" y="417"/>
                </a:lnTo>
                <a:lnTo>
                  <a:pt x="409" y="417"/>
                </a:lnTo>
                <a:lnTo>
                  <a:pt x="413" y="416"/>
                </a:lnTo>
                <a:lnTo>
                  <a:pt x="415" y="415"/>
                </a:lnTo>
                <a:lnTo>
                  <a:pt x="640" y="194"/>
                </a:lnTo>
                <a:lnTo>
                  <a:pt x="652" y="261"/>
                </a:lnTo>
                <a:lnTo>
                  <a:pt x="643" y="266"/>
                </a:lnTo>
                <a:lnTo>
                  <a:pt x="634" y="273"/>
                </a:lnTo>
                <a:lnTo>
                  <a:pt x="626" y="279"/>
                </a:lnTo>
                <a:lnTo>
                  <a:pt x="618" y="286"/>
                </a:lnTo>
                <a:lnTo>
                  <a:pt x="611" y="294"/>
                </a:lnTo>
                <a:lnTo>
                  <a:pt x="604" y="303"/>
                </a:lnTo>
                <a:lnTo>
                  <a:pt x="598" y="311"/>
                </a:lnTo>
                <a:lnTo>
                  <a:pt x="592" y="320"/>
                </a:lnTo>
                <a:lnTo>
                  <a:pt x="587" y="329"/>
                </a:lnTo>
                <a:lnTo>
                  <a:pt x="583" y="339"/>
                </a:lnTo>
                <a:lnTo>
                  <a:pt x="579" y="349"/>
                </a:lnTo>
                <a:lnTo>
                  <a:pt x="575" y="359"/>
                </a:lnTo>
                <a:lnTo>
                  <a:pt x="572" y="370"/>
                </a:lnTo>
                <a:lnTo>
                  <a:pt x="571" y="381"/>
                </a:lnTo>
                <a:lnTo>
                  <a:pt x="570" y="391"/>
                </a:lnTo>
                <a:lnTo>
                  <a:pt x="569" y="403"/>
                </a:lnTo>
                <a:lnTo>
                  <a:pt x="570" y="419"/>
                </a:lnTo>
                <a:lnTo>
                  <a:pt x="572" y="436"/>
                </a:lnTo>
                <a:lnTo>
                  <a:pt x="576" y="451"/>
                </a:lnTo>
                <a:lnTo>
                  <a:pt x="582" y="467"/>
                </a:lnTo>
                <a:lnTo>
                  <a:pt x="589" y="481"/>
                </a:lnTo>
                <a:lnTo>
                  <a:pt x="597" y="495"/>
                </a:lnTo>
                <a:lnTo>
                  <a:pt x="606" y="507"/>
                </a:lnTo>
                <a:lnTo>
                  <a:pt x="617" y="519"/>
                </a:lnTo>
                <a:lnTo>
                  <a:pt x="629" y="529"/>
                </a:lnTo>
                <a:lnTo>
                  <a:pt x="642" y="539"/>
                </a:lnTo>
                <a:lnTo>
                  <a:pt x="656" y="548"/>
                </a:lnTo>
                <a:lnTo>
                  <a:pt x="670" y="554"/>
                </a:lnTo>
                <a:lnTo>
                  <a:pt x="685" y="559"/>
                </a:lnTo>
                <a:lnTo>
                  <a:pt x="701" y="564"/>
                </a:lnTo>
                <a:lnTo>
                  <a:pt x="717" y="567"/>
                </a:lnTo>
                <a:lnTo>
                  <a:pt x="734" y="567"/>
                </a:lnTo>
                <a:lnTo>
                  <a:pt x="751" y="567"/>
                </a:lnTo>
                <a:lnTo>
                  <a:pt x="767" y="564"/>
                </a:lnTo>
                <a:lnTo>
                  <a:pt x="783" y="559"/>
                </a:lnTo>
                <a:lnTo>
                  <a:pt x="798" y="554"/>
                </a:lnTo>
                <a:lnTo>
                  <a:pt x="812" y="548"/>
                </a:lnTo>
                <a:lnTo>
                  <a:pt x="826" y="539"/>
                </a:lnTo>
                <a:lnTo>
                  <a:pt x="839" y="529"/>
                </a:lnTo>
                <a:lnTo>
                  <a:pt x="850" y="519"/>
                </a:lnTo>
                <a:lnTo>
                  <a:pt x="861" y="507"/>
                </a:lnTo>
                <a:lnTo>
                  <a:pt x="870" y="495"/>
                </a:lnTo>
                <a:lnTo>
                  <a:pt x="878" y="481"/>
                </a:lnTo>
                <a:lnTo>
                  <a:pt x="886" y="467"/>
                </a:lnTo>
                <a:lnTo>
                  <a:pt x="891" y="451"/>
                </a:lnTo>
                <a:lnTo>
                  <a:pt x="895" y="436"/>
                </a:lnTo>
                <a:lnTo>
                  <a:pt x="898" y="419"/>
                </a:lnTo>
                <a:lnTo>
                  <a:pt x="899" y="403"/>
                </a:lnTo>
                <a:lnTo>
                  <a:pt x="898" y="386"/>
                </a:lnTo>
                <a:lnTo>
                  <a:pt x="895" y="370"/>
                </a:lnTo>
                <a:lnTo>
                  <a:pt x="891" y="354"/>
                </a:lnTo>
                <a:lnTo>
                  <a:pt x="886" y="339"/>
                </a:lnTo>
                <a:lnTo>
                  <a:pt x="878" y="325"/>
                </a:lnTo>
                <a:lnTo>
                  <a:pt x="870" y="311"/>
                </a:lnTo>
                <a:lnTo>
                  <a:pt x="861" y="298"/>
                </a:lnTo>
                <a:lnTo>
                  <a:pt x="850" y="286"/>
                </a:lnTo>
                <a:lnTo>
                  <a:pt x="839" y="276"/>
                </a:lnTo>
                <a:lnTo>
                  <a:pt x="826" y="266"/>
                </a:lnTo>
                <a:lnTo>
                  <a:pt x="812" y="259"/>
                </a:lnTo>
                <a:lnTo>
                  <a:pt x="798" y="251"/>
                </a:lnTo>
                <a:lnTo>
                  <a:pt x="783" y="246"/>
                </a:lnTo>
                <a:lnTo>
                  <a:pt x="767" y="241"/>
                </a:lnTo>
                <a:lnTo>
                  <a:pt x="751" y="239"/>
                </a:lnTo>
                <a:lnTo>
                  <a:pt x="734" y="238"/>
                </a:lnTo>
                <a:close/>
              </a:path>
            </a:pathLst>
          </a:custGeom>
          <a:solidFill>
            <a:schemeClr val="bg1"/>
          </a:solidFill>
          <a:ln>
            <a:noFill/>
          </a:ln>
        </p:spPr>
        <p:txBody>
          <a:bodyPr vert="horz" wrap="square" lIns="182868" tIns="91434" rIns="182868" bIns="91434" numCol="1" anchor="t" anchorCtr="0" compatLnSpc="1">
            <a:prstTxWarp prst="textNoShape">
              <a:avLst/>
            </a:prstTxWarp>
          </a:bodyPr>
          <a:lstStyle/>
          <a:p>
            <a:endParaRPr lang="en-US" sz="3600"/>
          </a:p>
        </p:txBody>
      </p:sp>
      <p:grpSp>
        <p:nvGrpSpPr>
          <p:cNvPr id="265" name="Group 264"/>
          <p:cNvGrpSpPr/>
          <p:nvPr/>
        </p:nvGrpSpPr>
        <p:grpSpPr>
          <a:xfrm>
            <a:off x="14315183" y="7586990"/>
            <a:ext cx="476219" cy="571463"/>
            <a:chOff x="5505450" y="2765425"/>
            <a:chExt cx="238125" cy="285750"/>
          </a:xfrm>
          <a:solidFill>
            <a:schemeClr val="bg1"/>
          </a:solidFill>
        </p:grpSpPr>
        <p:sp>
          <p:nvSpPr>
            <p:cNvPr id="266" name="Freeform 128"/>
            <p:cNvSpPr>
              <a:spLocks/>
            </p:cNvSpPr>
            <p:nvPr/>
          </p:nvSpPr>
          <p:spPr bwMode="auto">
            <a:xfrm>
              <a:off x="5586413" y="2851150"/>
              <a:ext cx="76200" cy="9525"/>
            </a:xfrm>
            <a:custGeom>
              <a:avLst/>
              <a:gdLst>
                <a:gd name="T0" fmla="*/ 239 w 239"/>
                <a:gd name="T1" fmla="*/ 15 h 30"/>
                <a:gd name="T2" fmla="*/ 239 w 239"/>
                <a:gd name="T3" fmla="*/ 13 h 30"/>
                <a:gd name="T4" fmla="*/ 238 w 239"/>
                <a:gd name="T5" fmla="*/ 10 h 30"/>
                <a:gd name="T6" fmla="*/ 237 w 239"/>
                <a:gd name="T7" fmla="*/ 8 h 30"/>
                <a:gd name="T8" fmla="*/ 235 w 239"/>
                <a:gd name="T9" fmla="*/ 6 h 30"/>
                <a:gd name="T10" fmla="*/ 233 w 239"/>
                <a:gd name="T11" fmla="*/ 4 h 30"/>
                <a:gd name="T12" fmla="*/ 231 w 239"/>
                <a:gd name="T13" fmla="*/ 3 h 30"/>
                <a:gd name="T14" fmla="*/ 227 w 239"/>
                <a:gd name="T15" fmla="*/ 2 h 30"/>
                <a:gd name="T16" fmla="*/ 224 w 239"/>
                <a:gd name="T17" fmla="*/ 0 h 30"/>
                <a:gd name="T18" fmla="*/ 15 w 239"/>
                <a:gd name="T19" fmla="*/ 0 h 30"/>
                <a:gd name="T20" fmla="*/ 12 w 239"/>
                <a:gd name="T21" fmla="*/ 2 h 30"/>
                <a:gd name="T22" fmla="*/ 9 w 239"/>
                <a:gd name="T23" fmla="*/ 3 h 30"/>
                <a:gd name="T24" fmla="*/ 7 w 239"/>
                <a:gd name="T25" fmla="*/ 4 h 30"/>
                <a:gd name="T26" fmla="*/ 5 w 239"/>
                <a:gd name="T27" fmla="*/ 6 h 30"/>
                <a:gd name="T28" fmla="*/ 3 w 239"/>
                <a:gd name="T29" fmla="*/ 8 h 30"/>
                <a:gd name="T30" fmla="*/ 2 w 239"/>
                <a:gd name="T31" fmla="*/ 10 h 30"/>
                <a:gd name="T32" fmla="*/ 0 w 239"/>
                <a:gd name="T33" fmla="*/ 13 h 30"/>
                <a:gd name="T34" fmla="*/ 0 w 239"/>
                <a:gd name="T35" fmla="*/ 15 h 30"/>
                <a:gd name="T36" fmla="*/ 0 w 239"/>
                <a:gd name="T37" fmla="*/ 19 h 30"/>
                <a:gd name="T38" fmla="*/ 2 w 239"/>
                <a:gd name="T39" fmla="*/ 22 h 30"/>
                <a:gd name="T40" fmla="*/ 3 w 239"/>
                <a:gd name="T41" fmla="*/ 25 h 30"/>
                <a:gd name="T42" fmla="*/ 5 w 239"/>
                <a:gd name="T43" fmla="*/ 27 h 30"/>
                <a:gd name="T44" fmla="*/ 7 w 239"/>
                <a:gd name="T45" fmla="*/ 28 h 30"/>
                <a:gd name="T46" fmla="*/ 9 w 239"/>
                <a:gd name="T47" fmla="*/ 29 h 30"/>
                <a:gd name="T48" fmla="*/ 12 w 239"/>
                <a:gd name="T49" fmla="*/ 30 h 30"/>
                <a:gd name="T50" fmla="*/ 15 w 239"/>
                <a:gd name="T51" fmla="*/ 30 h 30"/>
                <a:gd name="T52" fmla="*/ 224 w 239"/>
                <a:gd name="T53" fmla="*/ 30 h 30"/>
                <a:gd name="T54" fmla="*/ 227 w 239"/>
                <a:gd name="T55" fmla="*/ 30 h 30"/>
                <a:gd name="T56" fmla="*/ 231 w 239"/>
                <a:gd name="T57" fmla="*/ 29 h 30"/>
                <a:gd name="T58" fmla="*/ 233 w 239"/>
                <a:gd name="T59" fmla="*/ 28 h 30"/>
                <a:gd name="T60" fmla="*/ 235 w 239"/>
                <a:gd name="T61" fmla="*/ 27 h 30"/>
                <a:gd name="T62" fmla="*/ 237 w 239"/>
                <a:gd name="T63" fmla="*/ 25 h 30"/>
                <a:gd name="T64" fmla="*/ 238 w 239"/>
                <a:gd name="T65" fmla="*/ 22 h 30"/>
                <a:gd name="T66" fmla="*/ 239 w 239"/>
                <a:gd name="T67" fmla="*/ 19 h 30"/>
                <a:gd name="T68" fmla="*/ 239 w 239"/>
                <a:gd name="T6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9" h="30">
                  <a:moveTo>
                    <a:pt x="239" y="15"/>
                  </a:moveTo>
                  <a:lnTo>
                    <a:pt x="239" y="13"/>
                  </a:lnTo>
                  <a:lnTo>
                    <a:pt x="238" y="10"/>
                  </a:lnTo>
                  <a:lnTo>
                    <a:pt x="237" y="8"/>
                  </a:lnTo>
                  <a:lnTo>
                    <a:pt x="235" y="6"/>
                  </a:lnTo>
                  <a:lnTo>
                    <a:pt x="233" y="4"/>
                  </a:lnTo>
                  <a:lnTo>
                    <a:pt x="231" y="3"/>
                  </a:lnTo>
                  <a:lnTo>
                    <a:pt x="227" y="2"/>
                  </a:lnTo>
                  <a:lnTo>
                    <a:pt x="224" y="0"/>
                  </a:lnTo>
                  <a:lnTo>
                    <a:pt x="15" y="0"/>
                  </a:lnTo>
                  <a:lnTo>
                    <a:pt x="12" y="2"/>
                  </a:lnTo>
                  <a:lnTo>
                    <a:pt x="9" y="3"/>
                  </a:lnTo>
                  <a:lnTo>
                    <a:pt x="7" y="4"/>
                  </a:lnTo>
                  <a:lnTo>
                    <a:pt x="5" y="6"/>
                  </a:lnTo>
                  <a:lnTo>
                    <a:pt x="3" y="8"/>
                  </a:lnTo>
                  <a:lnTo>
                    <a:pt x="2" y="10"/>
                  </a:lnTo>
                  <a:lnTo>
                    <a:pt x="0" y="13"/>
                  </a:lnTo>
                  <a:lnTo>
                    <a:pt x="0" y="15"/>
                  </a:lnTo>
                  <a:lnTo>
                    <a:pt x="0" y="19"/>
                  </a:lnTo>
                  <a:lnTo>
                    <a:pt x="2" y="22"/>
                  </a:lnTo>
                  <a:lnTo>
                    <a:pt x="3" y="25"/>
                  </a:lnTo>
                  <a:lnTo>
                    <a:pt x="5" y="27"/>
                  </a:lnTo>
                  <a:lnTo>
                    <a:pt x="7" y="28"/>
                  </a:lnTo>
                  <a:lnTo>
                    <a:pt x="9" y="29"/>
                  </a:lnTo>
                  <a:lnTo>
                    <a:pt x="12" y="30"/>
                  </a:lnTo>
                  <a:lnTo>
                    <a:pt x="15" y="30"/>
                  </a:lnTo>
                  <a:lnTo>
                    <a:pt x="224" y="30"/>
                  </a:lnTo>
                  <a:lnTo>
                    <a:pt x="227" y="30"/>
                  </a:lnTo>
                  <a:lnTo>
                    <a:pt x="231" y="29"/>
                  </a:lnTo>
                  <a:lnTo>
                    <a:pt x="233" y="28"/>
                  </a:lnTo>
                  <a:lnTo>
                    <a:pt x="235" y="27"/>
                  </a:lnTo>
                  <a:lnTo>
                    <a:pt x="237" y="25"/>
                  </a:lnTo>
                  <a:lnTo>
                    <a:pt x="238" y="22"/>
                  </a:lnTo>
                  <a:lnTo>
                    <a:pt x="239" y="19"/>
                  </a:lnTo>
                  <a:lnTo>
                    <a:pt x="239"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267" name="Freeform 129"/>
            <p:cNvSpPr>
              <a:spLocks noEditPoints="1"/>
            </p:cNvSpPr>
            <p:nvPr/>
          </p:nvSpPr>
          <p:spPr bwMode="auto">
            <a:xfrm>
              <a:off x="5505450" y="2765425"/>
              <a:ext cx="238125" cy="285750"/>
            </a:xfrm>
            <a:custGeom>
              <a:avLst/>
              <a:gdLst>
                <a:gd name="T0" fmla="*/ 485 w 748"/>
                <a:gd name="T1" fmla="*/ 867 h 898"/>
                <a:gd name="T2" fmla="*/ 449 w 748"/>
                <a:gd name="T3" fmla="*/ 843 h 898"/>
                <a:gd name="T4" fmla="*/ 423 w 748"/>
                <a:gd name="T5" fmla="*/ 781 h 898"/>
                <a:gd name="T6" fmla="*/ 548 w 748"/>
                <a:gd name="T7" fmla="*/ 774 h 898"/>
                <a:gd name="T8" fmla="*/ 508 w 748"/>
                <a:gd name="T9" fmla="*/ 838 h 898"/>
                <a:gd name="T10" fmla="*/ 275 w 748"/>
                <a:gd name="T11" fmla="*/ 867 h 898"/>
                <a:gd name="T12" fmla="*/ 239 w 748"/>
                <a:gd name="T13" fmla="*/ 843 h 898"/>
                <a:gd name="T14" fmla="*/ 197 w 748"/>
                <a:gd name="T15" fmla="*/ 772 h 898"/>
                <a:gd name="T16" fmla="*/ 335 w 748"/>
                <a:gd name="T17" fmla="*/ 774 h 898"/>
                <a:gd name="T18" fmla="*/ 299 w 748"/>
                <a:gd name="T19" fmla="*/ 838 h 898"/>
                <a:gd name="T20" fmla="*/ 183 w 748"/>
                <a:gd name="T21" fmla="*/ 236 h 898"/>
                <a:gd name="T22" fmla="*/ 533 w 748"/>
                <a:gd name="T23" fmla="*/ 210 h 898"/>
                <a:gd name="T24" fmla="*/ 568 w 748"/>
                <a:gd name="T25" fmla="*/ 390 h 898"/>
                <a:gd name="T26" fmla="*/ 329 w 748"/>
                <a:gd name="T27" fmla="*/ 90 h 898"/>
                <a:gd name="T28" fmla="*/ 389 w 748"/>
                <a:gd name="T29" fmla="*/ 378 h 898"/>
                <a:gd name="T30" fmla="*/ 720 w 748"/>
                <a:gd name="T31" fmla="*/ 829 h 898"/>
                <a:gd name="T32" fmla="*/ 705 w 748"/>
                <a:gd name="T33" fmla="*/ 863 h 898"/>
                <a:gd name="T34" fmla="*/ 663 w 748"/>
                <a:gd name="T35" fmla="*/ 854 h 898"/>
                <a:gd name="T36" fmla="*/ 650 w 748"/>
                <a:gd name="T37" fmla="*/ 803 h 898"/>
                <a:gd name="T38" fmla="*/ 606 w 748"/>
                <a:gd name="T39" fmla="*/ 766 h 898"/>
                <a:gd name="T40" fmla="*/ 687 w 748"/>
                <a:gd name="T41" fmla="*/ 448 h 898"/>
                <a:gd name="T42" fmla="*/ 702 w 748"/>
                <a:gd name="T43" fmla="*/ 429 h 898"/>
                <a:gd name="T44" fmla="*/ 598 w 748"/>
                <a:gd name="T45" fmla="*/ 246 h 898"/>
                <a:gd name="T46" fmla="*/ 571 w 748"/>
                <a:gd name="T47" fmla="*/ 197 h 898"/>
                <a:gd name="T48" fmla="*/ 448 w 748"/>
                <a:gd name="T49" fmla="*/ 180 h 898"/>
                <a:gd name="T50" fmla="*/ 436 w 748"/>
                <a:gd name="T51" fmla="*/ 0 h 898"/>
                <a:gd name="T52" fmla="*/ 301 w 748"/>
                <a:gd name="T53" fmla="*/ 9 h 898"/>
                <a:gd name="T54" fmla="*/ 196 w 748"/>
                <a:gd name="T55" fmla="*/ 185 h 898"/>
                <a:gd name="T56" fmla="*/ 155 w 748"/>
                <a:gd name="T57" fmla="*/ 226 h 898"/>
                <a:gd name="T58" fmla="*/ 51 w 748"/>
                <a:gd name="T59" fmla="*/ 423 h 898"/>
                <a:gd name="T60" fmla="*/ 48 w 748"/>
                <a:gd name="T61" fmla="*/ 443 h 898"/>
                <a:gd name="T62" fmla="*/ 141 w 748"/>
                <a:gd name="T63" fmla="*/ 767 h 898"/>
                <a:gd name="T64" fmla="*/ 100 w 748"/>
                <a:gd name="T65" fmla="*/ 799 h 898"/>
                <a:gd name="T66" fmla="*/ 87 w 748"/>
                <a:gd name="T67" fmla="*/ 850 h 898"/>
                <a:gd name="T68" fmla="*/ 48 w 748"/>
                <a:gd name="T69" fmla="*/ 865 h 898"/>
                <a:gd name="T70" fmla="*/ 29 w 748"/>
                <a:gd name="T71" fmla="*/ 833 h 898"/>
                <a:gd name="T72" fmla="*/ 9 w 748"/>
                <a:gd name="T73" fmla="*/ 824 h 898"/>
                <a:gd name="T74" fmla="*/ 1 w 748"/>
                <a:gd name="T75" fmla="*/ 850 h 898"/>
                <a:gd name="T76" fmla="*/ 26 w 748"/>
                <a:gd name="T77" fmla="*/ 887 h 898"/>
                <a:gd name="T78" fmla="*/ 71 w 748"/>
                <a:gd name="T79" fmla="*/ 896 h 898"/>
                <a:gd name="T80" fmla="*/ 109 w 748"/>
                <a:gd name="T81" fmla="*/ 871 h 898"/>
                <a:gd name="T82" fmla="*/ 123 w 748"/>
                <a:gd name="T83" fmla="*/ 821 h 898"/>
                <a:gd name="T84" fmla="*/ 182 w 748"/>
                <a:gd name="T85" fmla="*/ 796 h 898"/>
                <a:gd name="T86" fmla="*/ 211 w 748"/>
                <a:gd name="T87" fmla="*/ 850 h 898"/>
                <a:gd name="T88" fmla="*/ 235 w 748"/>
                <a:gd name="T89" fmla="*/ 887 h 898"/>
                <a:gd name="T90" fmla="*/ 281 w 748"/>
                <a:gd name="T91" fmla="*/ 896 h 898"/>
                <a:gd name="T92" fmla="*/ 319 w 748"/>
                <a:gd name="T93" fmla="*/ 871 h 898"/>
                <a:gd name="T94" fmla="*/ 333 w 748"/>
                <a:gd name="T95" fmla="*/ 821 h 898"/>
                <a:gd name="T96" fmla="*/ 392 w 748"/>
                <a:gd name="T97" fmla="*/ 796 h 898"/>
                <a:gd name="T98" fmla="*/ 420 w 748"/>
                <a:gd name="T99" fmla="*/ 850 h 898"/>
                <a:gd name="T100" fmla="*/ 445 w 748"/>
                <a:gd name="T101" fmla="*/ 887 h 898"/>
                <a:gd name="T102" fmla="*/ 491 w 748"/>
                <a:gd name="T103" fmla="*/ 896 h 898"/>
                <a:gd name="T104" fmla="*/ 529 w 748"/>
                <a:gd name="T105" fmla="*/ 871 h 898"/>
                <a:gd name="T106" fmla="*/ 542 w 748"/>
                <a:gd name="T107" fmla="*/ 821 h 898"/>
                <a:gd name="T108" fmla="*/ 601 w 748"/>
                <a:gd name="T109" fmla="*/ 796 h 898"/>
                <a:gd name="T110" fmla="*/ 629 w 748"/>
                <a:gd name="T111" fmla="*/ 850 h 898"/>
                <a:gd name="T112" fmla="*/ 655 w 748"/>
                <a:gd name="T113" fmla="*/ 887 h 898"/>
                <a:gd name="T114" fmla="*/ 700 w 748"/>
                <a:gd name="T115" fmla="*/ 896 h 898"/>
                <a:gd name="T116" fmla="*/ 737 w 748"/>
                <a:gd name="T117" fmla="*/ 871 h 898"/>
                <a:gd name="T118" fmla="*/ 747 w 748"/>
                <a:gd name="T119" fmla="*/ 833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8" h="898">
                  <a:moveTo>
                    <a:pt x="508" y="838"/>
                  </a:moveTo>
                  <a:lnTo>
                    <a:pt x="508" y="843"/>
                  </a:lnTo>
                  <a:lnTo>
                    <a:pt x="506" y="850"/>
                  </a:lnTo>
                  <a:lnTo>
                    <a:pt x="504" y="854"/>
                  </a:lnTo>
                  <a:lnTo>
                    <a:pt x="500" y="858"/>
                  </a:lnTo>
                  <a:lnTo>
                    <a:pt x="495" y="863"/>
                  </a:lnTo>
                  <a:lnTo>
                    <a:pt x="490" y="865"/>
                  </a:lnTo>
                  <a:lnTo>
                    <a:pt x="485" y="867"/>
                  </a:lnTo>
                  <a:lnTo>
                    <a:pt x="478" y="868"/>
                  </a:lnTo>
                  <a:lnTo>
                    <a:pt x="473" y="867"/>
                  </a:lnTo>
                  <a:lnTo>
                    <a:pt x="468" y="865"/>
                  </a:lnTo>
                  <a:lnTo>
                    <a:pt x="462" y="863"/>
                  </a:lnTo>
                  <a:lnTo>
                    <a:pt x="458" y="858"/>
                  </a:lnTo>
                  <a:lnTo>
                    <a:pt x="454" y="854"/>
                  </a:lnTo>
                  <a:lnTo>
                    <a:pt x="451" y="850"/>
                  </a:lnTo>
                  <a:lnTo>
                    <a:pt x="449" y="843"/>
                  </a:lnTo>
                  <a:lnTo>
                    <a:pt x="448" y="838"/>
                  </a:lnTo>
                  <a:lnTo>
                    <a:pt x="448" y="830"/>
                  </a:lnTo>
                  <a:lnTo>
                    <a:pt x="447" y="824"/>
                  </a:lnTo>
                  <a:lnTo>
                    <a:pt x="446" y="819"/>
                  </a:lnTo>
                  <a:lnTo>
                    <a:pt x="444" y="812"/>
                  </a:lnTo>
                  <a:lnTo>
                    <a:pt x="439" y="800"/>
                  </a:lnTo>
                  <a:lnTo>
                    <a:pt x="431" y="790"/>
                  </a:lnTo>
                  <a:lnTo>
                    <a:pt x="423" y="781"/>
                  </a:lnTo>
                  <a:lnTo>
                    <a:pt x="413" y="774"/>
                  </a:lnTo>
                  <a:lnTo>
                    <a:pt x="406" y="770"/>
                  </a:lnTo>
                  <a:lnTo>
                    <a:pt x="401" y="768"/>
                  </a:lnTo>
                  <a:lnTo>
                    <a:pt x="395" y="766"/>
                  </a:lnTo>
                  <a:lnTo>
                    <a:pt x="388" y="764"/>
                  </a:lnTo>
                  <a:lnTo>
                    <a:pt x="389" y="485"/>
                  </a:lnTo>
                  <a:lnTo>
                    <a:pt x="607" y="553"/>
                  </a:lnTo>
                  <a:lnTo>
                    <a:pt x="548" y="774"/>
                  </a:lnTo>
                  <a:lnTo>
                    <a:pt x="539" y="778"/>
                  </a:lnTo>
                  <a:lnTo>
                    <a:pt x="532" y="784"/>
                  </a:lnTo>
                  <a:lnTo>
                    <a:pt x="525" y="792"/>
                  </a:lnTo>
                  <a:lnTo>
                    <a:pt x="519" y="799"/>
                  </a:lnTo>
                  <a:lnTo>
                    <a:pt x="515" y="808"/>
                  </a:lnTo>
                  <a:lnTo>
                    <a:pt x="511" y="818"/>
                  </a:lnTo>
                  <a:lnTo>
                    <a:pt x="509" y="827"/>
                  </a:lnTo>
                  <a:lnTo>
                    <a:pt x="508" y="838"/>
                  </a:lnTo>
                  <a:close/>
                  <a:moveTo>
                    <a:pt x="299" y="838"/>
                  </a:moveTo>
                  <a:lnTo>
                    <a:pt x="298" y="843"/>
                  </a:lnTo>
                  <a:lnTo>
                    <a:pt x="296" y="850"/>
                  </a:lnTo>
                  <a:lnTo>
                    <a:pt x="294" y="854"/>
                  </a:lnTo>
                  <a:lnTo>
                    <a:pt x="290" y="858"/>
                  </a:lnTo>
                  <a:lnTo>
                    <a:pt x="286" y="863"/>
                  </a:lnTo>
                  <a:lnTo>
                    <a:pt x="281" y="865"/>
                  </a:lnTo>
                  <a:lnTo>
                    <a:pt x="275" y="867"/>
                  </a:lnTo>
                  <a:lnTo>
                    <a:pt x="269" y="868"/>
                  </a:lnTo>
                  <a:lnTo>
                    <a:pt x="263" y="867"/>
                  </a:lnTo>
                  <a:lnTo>
                    <a:pt x="258" y="865"/>
                  </a:lnTo>
                  <a:lnTo>
                    <a:pt x="252" y="863"/>
                  </a:lnTo>
                  <a:lnTo>
                    <a:pt x="248" y="858"/>
                  </a:lnTo>
                  <a:lnTo>
                    <a:pt x="244" y="854"/>
                  </a:lnTo>
                  <a:lnTo>
                    <a:pt x="242" y="850"/>
                  </a:lnTo>
                  <a:lnTo>
                    <a:pt x="239" y="843"/>
                  </a:lnTo>
                  <a:lnTo>
                    <a:pt x="239" y="838"/>
                  </a:lnTo>
                  <a:lnTo>
                    <a:pt x="238" y="825"/>
                  </a:lnTo>
                  <a:lnTo>
                    <a:pt x="235" y="814"/>
                  </a:lnTo>
                  <a:lnTo>
                    <a:pt x="231" y="804"/>
                  </a:lnTo>
                  <a:lnTo>
                    <a:pt x="224" y="793"/>
                  </a:lnTo>
                  <a:lnTo>
                    <a:pt x="216" y="784"/>
                  </a:lnTo>
                  <a:lnTo>
                    <a:pt x="207" y="777"/>
                  </a:lnTo>
                  <a:lnTo>
                    <a:pt x="197" y="772"/>
                  </a:lnTo>
                  <a:lnTo>
                    <a:pt x="186" y="767"/>
                  </a:lnTo>
                  <a:lnTo>
                    <a:pt x="133" y="553"/>
                  </a:lnTo>
                  <a:lnTo>
                    <a:pt x="359" y="485"/>
                  </a:lnTo>
                  <a:lnTo>
                    <a:pt x="359" y="764"/>
                  </a:lnTo>
                  <a:lnTo>
                    <a:pt x="353" y="766"/>
                  </a:lnTo>
                  <a:lnTo>
                    <a:pt x="347" y="768"/>
                  </a:lnTo>
                  <a:lnTo>
                    <a:pt x="341" y="770"/>
                  </a:lnTo>
                  <a:lnTo>
                    <a:pt x="335" y="774"/>
                  </a:lnTo>
                  <a:lnTo>
                    <a:pt x="325" y="781"/>
                  </a:lnTo>
                  <a:lnTo>
                    <a:pt x="317" y="790"/>
                  </a:lnTo>
                  <a:lnTo>
                    <a:pt x="309" y="800"/>
                  </a:lnTo>
                  <a:lnTo>
                    <a:pt x="304" y="812"/>
                  </a:lnTo>
                  <a:lnTo>
                    <a:pt x="302" y="819"/>
                  </a:lnTo>
                  <a:lnTo>
                    <a:pt x="301" y="824"/>
                  </a:lnTo>
                  <a:lnTo>
                    <a:pt x="299" y="830"/>
                  </a:lnTo>
                  <a:lnTo>
                    <a:pt x="299" y="838"/>
                  </a:lnTo>
                  <a:close/>
                  <a:moveTo>
                    <a:pt x="359" y="378"/>
                  </a:moveTo>
                  <a:lnTo>
                    <a:pt x="359" y="453"/>
                  </a:lnTo>
                  <a:lnTo>
                    <a:pt x="126" y="524"/>
                  </a:lnTo>
                  <a:lnTo>
                    <a:pt x="106" y="438"/>
                  </a:lnTo>
                  <a:lnTo>
                    <a:pt x="359" y="378"/>
                  </a:lnTo>
                  <a:close/>
                  <a:moveTo>
                    <a:pt x="180" y="253"/>
                  </a:moveTo>
                  <a:lnTo>
                    <a:pt x="181" y="245"/>
                  </a:lnTo>
                  <a:lnTo>
                    <a:pt x="183" y="236"/>
                  </a:lnTo>
                  <a:lnTo>
                    <a:pt x="187" y="229"/>
                  </a:lnTo>
                  <a:lnTo>
                    <a:pt x="192" y="222"/>
                  </a:lnTo>
                  <a:lnTo>
                    <a:pt x="199" y="217"/>
                  </a:lnTo>
                  <a:lnTo>
                    <a:pt x="206" y="213"/>
                  </a:lnTo>
                  <a:lnTo>
                    <a:pt x="215" y="210"/>
                  </a:lnTo>
                  <a:lnTo>
                    <a:pt x="224" y="210"/>
                  </a:lnTo>
                  <a:lnTo>
                    <a:pt x="523" y="210"/>
                  </a:lnTo>
                  <a:lnTo>
                    <a:pt x="533" y="210"/>
                  </a:lnTo>
                  <a:lnTo>
                    <a:pt x="541" y="213"/>
                  </a:lnTo>
                  <a:lnTo>
                    <a:pt x="549" y="217"/>
                  </a:lnTo>
                  <a:lnTo>
                    <a:pt x="555" y="222"/>
                  </a:lnTo>
                  <a:lnTo>
                    <a:pt x="561" y="229"/>
                  </a:lnTo>
                  <a:lnTo>
                    <a:pt x="565" y="236"/>
                  </a:lnTo>
                  <a:lnTo>
                    <a:pt x="567" y="245"/>
                  </a:lnTo>
                  <a:lnTo>
                    <a:pt x="568" y="253"/>
                  </a:lnTo>
                  <a:lnTo>
                    <a:pt x="568" y="390"/>
                  </a:lnTo>
                  <a:lnTo>
                    <a:pt x="374" y="343"/>
                  </a:lnTo>
                  <a:lnTo>
                    <a:pt x="180" y="390"/>
                  </a:lnTo>
                  <a:lnTo>
                    <a:pt x="180" y="253"/>
                  </a:lnTo>
                  <a:close/>
                  <a:moveTo>
                    <a:pt x="329" y="90"/>
                  </a:moveTo>
                  <a:lnTo>
                    <a:pt x="418" y="90"/>
                  </a:lnTo>
                  <a:lnTo>
                    <a:pt x="418" y="180"/>
                  </a:lnTo>
                  <a:lnTo>
                    <a:pt x="329" y="180"/>
                  </a:lnTo>
                  <a:lnTo>
                    <a:pt x="329" y="90"/>
                  </a:lnTo>
                  <a:close/>
                  <a:moveTo>
                    <a:pt x="418" y="30"/>
                  </a:moveTo>
                  <a:lnTo>
                    <a:pt x="418" y="60"/>
                  </a:lnTo>
                  <a:lnTo>
                    <a:pt x="329" y="60"/>
                  </a:lnTo>
                  <a:lnTo>
                    <a:pt x="329" y="30"/>
                  </a:lnTo>
                  <a:lnTo>
                    <a:pt x="418" y="30"/>
                  </a:lnTo>
                  <a:close/>
                  <a:moveTo>
                    <a:pt x="614" y="524"/>
                  </a:moveTo>
                  <a:lnTo>
                    <a:pt x="389" y="453"/>
                  </a:lnTo>
                  <a:lnTo>
                    <a:pt x="389" y="378"/>
                  </a:lnTo>
                  <a:lnTo>
                    <a:pt x="638" y="438"/>
                  </a:lnTo>
                  <a:lnTo>
                    <a:pt x="614" y="524"/>
                  </a:lnTo>
                  <a:close/>
                  <a:moveTo>
                    <a:pt x="733" y="823"/>
                  </a:moveTo>
                  <a:lnTo>
                    <a:pt x="730" y="823"/>
                  </a:lnTo>
                  <a:lnTo>
                    <a:pt x="728" y="824"/>
                  </a:lnTo>
                  <a:lnTo>
                    <a:pt x="724" y="825"/>
                  </a:lnTo>
                  <a:lnTo>
                    <a:pt x="722" y="827"/>
                  </a:lnTo>
                  <a:lnTo>
                    <a:pt x="720" y="829"/>
                  </a:lnTo>
                  <a:lnTo>
                    <a:pt x="719" y="833"/>
                  </a:lnTo>
                  <a:lnTo>
                    <a:pt x="718" y="835"/>
                  </a:lnTo>
                  <a:lnTo>
                    <a:pt x="718" y="838"/>
                  </a:lnTo>
                  <a:lnTo>
                    <a:pt x="718" y="843"/>
                  </a:lnTo>
                  <a:lnTo>
                    <a:pt x="716" y="850"/>
                  </a:lnTo>
                  <a:lnTo>
                    <a:pt x="713" y="854"/>
                  </a:lnTo>
                  <a:lnTo>
                    <a:pt x="709" y="858"/>
                  </a:lnTo>
                  <a:lnTo>
                    <a:pt x="705" y="863"/>
                  </a:lnTo>
                  <a:lnTo>
                    <a:pt x="700" y="865"/>
                  </a:lnTo>
                  <a:lnTo>
                    <a:pt x="694" y="867"/>
                  </a:lnTo>
                  <a:lnTo>
                    <a:pt x="688" y="868"/>
                  </a:lnTo>
                  <a:lnTo>
                    <a:pt x="683" y="867"/>
                  </a:lnTo>
                  <a:lnTo>
                    <a:pt x="676" y="865"/>
                  </a:lnTo>
                  <a:lnTo>
                    <a:pt x="672" y="863"/>
                  </a:lnTo>
                  <a:lnTo>
                    <a:pt x="667" y="858"/>
                  </a:lnTo>
                  <a:lnTo>
                    <a:pt x="663" y="854"/>
                  </a:lnTo>
                  <a:lnTo>
                    <a:pt x="660" y="850"/>
                  </a:lnTo>
                  <a:lnTo>
                    <a:pt x="659" y="843"/>
                  </a:lnTo>
                  <a:lnTo>
                    <a:pt x="658" y="838"/>
                  </a:lnTo>
                  <a:lnTo>
                    <a:pt x="658" y="830"/>
                  </a:lnTo>
                  <a:lnTo>
                    <a:pt x="657" y="823"/>
                  </a:lnTo>
                  <a:lnTo>
                    <a:pt x="655" y="815"/>
                  </a:lnTo>
                  <a:lnTo>
                    <a:pt x="653" y="809"/>
                  </a:lnTo>
                  <a:lnTo>
                    <a:pt x="650" y="803"/>
                  </a:lnTo>
                  <a:lnTo>
                    <a:pt x="645" y="796"/>
                  </a:lnTo>
                  <a:lnTo>
                    <a:pt x="641" y="791"/>
                  </a:lnTo>
                  <a:lnTo>
                    <a:pt x="637" y="785"/>
                  </a:lnTo>
                  <a:lnTo>
                    <a:pt x="631" y="780"/>
                  </a:lnTo>
                  <a:lnTo>
                    <a:pt x="625" y="776"/>
                  </a:lnTo>
                  <a:lnTo>
                    <a:pt x="620" y="772"/>
                  </a:lnTo>
                  <a:lnTo>
                    <a:pt x="612" y="768"/>
                  </a:lnTo>
                  <a:lnTo>
                    <a:pt x="606" y="766"/>
                  </a:lnTo>
                  <a:lnTo>
                    <a:pt x="598" y="764"/>
                  </a:lnTo>
                  <a:lnTo>
                    <a:pt x="591" y="763"/>
                  </a:lnTo>
                  <a:lnTo>
                    <a:pt x="583" y="763"/>
                  </a:lnTo>
                  <a:lnTo>
                    <a:pt x="582" y="764"/>
                  </a:lnTo>
                  <a:lnTo>
                    <a:pt x="581" y="764"/>
                  </a:lnTo>
                  <a:lnTo>
                    <a:pt x="668" y="444"/>
                  </a:lnTo>
                  <a:lnTo>
                    <a:pt x="685" y="448"/>
                  </a:lnTo>
                  <a:lnTo>
                    <a:pt x="687" y="448"/>
                  </a:lnTo>
                  <a:lnTo>
                    <a:pt x="688" y="448"/>
                  </a:lnTo>
                  <a:lnTo>
                    <a:pt x="693" y="447"/>
                  </a:lnTo>
                  <a:lnTo>
                    <a:pt x="698" y="445"/>
                  </a:lnTo>
                  <a:lnTo>
                    <a:pt x="701" y="442"/>
                  </a:lnTo>
                  <a:lnTo>
                    <a:pt x="703" y="438"/>
                  </a:lnTo>
                  <a:lnTo>
                    <a:pt x="703" y="434"/>
                  </a:lnTo>
                  <a:lnTo>
                    <a:pt x="703" y="431"/>
                  </a:lnTo>
                  <a:lnTo>
                    <a:pt x="702" y="429"/>
                  </a:lnTo>
                  <a:lnTo>
                    <a:pt x="701" y="426"/>
                  </a:lnTo>
                  <a:lnTo>
                    <a:pt x="699" y="424"/>
                  </a:lnTo>
                  <a:lnTo>
                    <a:pt x="697" y="423"/>
                  </a:lnTo>
                  <a:lnTo>
                    <a:pt x="694" y="420"/>
                  </a:lnTo>
                  <a:lnTo>
                    <a:pt x="691" y="420"/>
                  </a:lnTo>
                  <a:lnTo>
                    <a:pt x="598" y="398"/>
                  </a:lnTo>
                  <a:lnTo>
                    <a:pt x="598" y="253"/>
                  </a:lnTo>
                  <a:lnTo>
                    <a:pt x="598" y="246"/>
                  </a:lnTo>
                  <a:lnTo>
                    <a:pt x="597" y="240"/>
                  </a:lnTo>
                  <a:lnTo>
                    <a:pt x="595" y="232"/>
                  </a:lnTo>
                  <a:lnTo>
                    <a:pt x="593" y="226"/>
                  </a:lnTo>
                  <a:lnTo>
                    <a:pt x="590" y="219"/>
                  </a:lnTo>
                  <a:lnTo>
                    <a:pt x="585" y="213"/>
                  </a:lnTo>
                  <a:lnTo>
                    <a:pt x="581" y="206"/>
                  </a:lnTo>
                  <a:lnTo>
                    <a:pt x="577" y="201"/>
                  </a:lnTo>
                  <a:lnTo>
                    <a:pt x="571" y="197"/>
                  </a:lnTo>
                  <a:lnTo>
                    <a:pt x="565" y="192"/>
                  </a:lnTo>
                  <a:lnTo>
                    <a:pt x="560" y="188"/>
                  </a:lnTo>
                  <a:lnTo>
                    <a:pt x="553" y="185"/>
                  </a:lnTo>
                  <a:lnTo>
                    <a:pt x="546" y="183"/>
                  </a:lnTo>
                  <a:lnTo>
                    <a:pt x="538" y="181"/>
                  </a:lnTo>
                  <a:lnTo>
                    <a:pt x="531" y="180"/>
                  </a:lnTo>
                  <a:lnTo>
                    <a:pt x="523" y="180"/>
                  </a:lnTo>
                  <a:lnTo>
                    <a:pt x="448" y="180"/>
                  </a:lnTo>
                  <a:lnTo>
                    <a:pt x="448" y="15"/>
                  </a:lnTo>
                  <a:lnTo>
                    <a:pt x="448" y="12"/>
                  </a:lnTo>
                  <a:lnTo>
                    <a:pt x="447" y="9"/>
                  </a:lnTo>
                  <a:lnTo>
                    <a:pt x="446" y="6"/>
                  </a:lnTo>
                  <a:lnTo>
                    <a:pt x="444" y="4"/>
                  </a:lnTo>
                  <a:lnTo>
                    <a:pt x="442" y="2"/>
                  </a:lnTo>
                  <a:lnTo>
                    <a:pt x="440" y="1"/>
                  </a:lnTo>
                  <a:lnTo>
                    <a:pt x="436" y="0"/>
                  </a:lnTo>
                  <a:lnTo>
                    <a:pt x="433" y="0"/>
                  </a:lnTo>
                  <a:lnTo>
                    <a:pt x="314" y="0"/>
                  </a:lnTo>
                  <a:lnTo>
                    <a:pt x="311" y="0"/>
                  </a:lnTo>
                  <a:lnTo>
                    <a:pt x="308" y="1"/>
                  </a:lnTo>
                  <a:lnTo>
                    <a:pt x="306" y="2"/>
                  </a:lnTo>
                  <a:lnTo>
                    <a:pt x="304" y="4"/>
                  </a:lnTo>
                  <a:lnTo>
                    <a:pt x="302" y="6"/>
                  </a:lnTo>
                  <a:lnTo>
                    <a:pt x="301" y="9"/>
                  </a:lnTo>
                  <a:lnTo>
                    <a:pt x="299" y="12"/>
                  </a:lnTo>
                  <a:lnTo>
                    <a:pt x="299" y="15"/>
                  </a:lnTo>
                  <a:lnTo>
                    <a:pt x="299" y="180"/>
                  </a:lnTo>
                  <a:lnTo>
                    <a:pt x="224" y="180"/>
                  </a:lnTo>
                  <a:lnTo>
                    <a:pt x="217" y="180"/>
                  </a:lnTo>
                  <a:lnTo>
                    <a:pt x="209" y="181"/>
                  </a:lnTo>
                  <a:lnTo>
                    <a:pt x="202" y="183"/>
                  </a:lnTo>
                  <a:lnTo>
                    <a:pt x="196" y="185"/>
                  </a:lnTo>
                  <a:lnTo>
                    <a:pt x="188" y="188"/>
                  </a:lnTo>
                  <a:lnTo>
                    <a:pt x="183" y="192"/>
                  </a:lnTo>
                  <a:lnTo>
                    <a:pt x="176" y="197"/>
                  </a:lnTo>
                  <a:lnTo>
                    <a:pt x="171" y="201"/>
                  </a:lnTo>
                  <a:lnTo>
                    <a:pt x="167" y="206"/>
                  </a:lnTo>
                  <a:lnTo>
                    <a:pt x="162" y="213"/>
                  </a:lnTo>
                  <a:lnTo>
                    <a:pt x="158" y="219"/>
                  </a:lnTo>
                  <a:lnTo>
                    <a:pt x="155" y="226"/>
                  </a:lnTo>
                  <a:lnTo>
                    <a:pt x="153" y="232"/>
                  </a:lnTo>
                  <a:lnTo>
                    <a:pt x="151" y="240"/>
                  </a:lnTo>
                  <a:lnTo>
                    <a:pt x="150" y="246"/>
                  </a:lnTo>
                  <a:lnTo>
                    <a:pt x="150" y="253"/>
                  </a:lnTo>
                  <a:lnTo>
                    <a:pt x="150" y="398"/>
                  </a:lnTo>
                  <a:lnTo>
                    <a:pt x="56" y="420"/>
                  </a:lnTo>
                  <a:lnTo>
                    <a:pt x="53" y="420"/>
                  </a:lnTo>
                  <a:lnTo>
                    <a:pt x="51" y="423"/>
                  </a:lnTo>
                  <a:lnTo>
                    <a:pt x="49" y="424"/>
                  </a:lnTo>
                  <a:lnTo>
                    <a:pt x="47" y="426"/>
                  </a:lnTo>
                  <a:lnTo>
                    <a:pt x="46" y="429"/>
                  </a:lnTo>
                  <a:lnTo>
                    <a:pt x="45" y="431"/>
                  </a:lnTo>
                  <a:lnTo>
                    <a:pt x="45" y="434"/>
                  </a:lnTo>
                  <a:lnTo>
                    <a:pt x="45" y="438"/>
                  </a:lnTo>
                  <a:lnTo>
                    <a:pt x="46" y="441"/>
                  </a:lnTo>
                  <a:lnTo>
                    <a:pt x="48" y="443"/>
                  </a:lnTo>
                  <a:lnTo>
                    <a:pt x="50" y="445"/>
                  </a:lnTo>
                  <a:lnTo>
                    <a:pt x="52" y="446"/>
                  </a:lnTo>
                  <a:lnTo>
                    <a:pt x="57" y="448"/>
                  </a:lnTo>
                  <a:lnTo>
                    <a:pt x="63" y="448"/>
                  </a:lnTo>
                  <a:lnTo>
                    <a:pt x="76" y="445"/>
                  </a:lnTo>
                  <a:lnTo>
                    <a:pt x="155" y="764"/>
                  </a:lnTo>
                  <a:lnTo>
                    <a:pt x="147" y="765"/>
                  </a:lnTo>
                  <a:lnTo>
                    <a:pt x="141" y="767"/>
                  </a:lnTo>
                  <a:lnTo>
                    <a:pt x="135" y="769"/>
                  </a:lnTo>
                  <a:lnTo>
                    <a:pt x="129" y="773"/>
                  </a:lnTo>
                  <a:lnTo>
                    <a:pt x="123" y="776"/>
                  </a:lnTo>
                  <a:lnTo>
                    <a:pt x="117" y="780"/>
                  </a:lnTo>
                  <a:lnTo>
                    <a:pt x="113" y="784"/>
                  </a:lnTo>
                  <a:lnTo>
                    <a:pt x="108" y="789"/>
                  </a:lnTo>
                  <a:lnTo>
                    <a:pt x="105" y="794"/>
                  </a:lnTo>
                  <a:lnTo>
                    <a:pt x="100" y="799"/>
                  </a:lnTo>
                  <a:lnTo>
                    <a:pt x="97" y="805"/>
                  </a:lnTo>
                  <a:lnTo>
                    <a:pt x="95" y="811"/>
                  </a:lnTo>
                  <a:lnTo>
                    <a:pt x="93" y="818"/>
                  </a:lnTo>
                  <a:lnTo>
                    <a:pt x="91" y="824"/>
                  </a:lnTo>
                  <a:lnTo>
                    <a:pt x="90" y="830"/>
                  </a:lnTo>
                  <a:lnTo>
                    <a:pt x="90" y="838"/>
                  </a:lnTo>
                  <a:lnTo>
                    <a:pt x="89" y="843"/>
                  </a:lnTo>
                  <a:lnTo>
                    <a:pt x="87" y="850"/>
                  </a:lnTo>
                  <a:lnTo>
                    <a:pt x="84" y="854"/>
                  </a:lnTo>
                  <a:lnTo>
                    <a:pt x="81" y="858"/>
                  </a:lnTo>
                  <a:lnTo>
                    <a:pt x="77" y="863"/>
                  </a:lnTo>
                  <a:lnTo>
                    <a:pt x="71" y="865"/>
                  </a:lnTo>
                  <a:lnTo>
                    <a:pt x="66" y="867"/>
                  </a:lnTo>
                  <a:lnTo>
                    <a:pt x="60" y="868"/>
                  </a:lnTo>
                  <a:lnTo>
                    <a:pt x="53" y="867"/>
                  </a:lnTo>
                  <a:lnTo>
                    <a:pt x="48" y="865"/>
                  </a:lnTo>
                  <a:lnTo>
                    <a:pt x="42" y="863"/>
                  </a:lnTo>
                  <a:lnTo>
                    <a:pt x="38" y="858"/>
                  </a:lnTo>
                  <a:lnTo>
                    <a:pt x="35" y="854"/>
                  </a:lnTo>
                  <a:lnTo>
                    <a:pt x="32" y="850"/>
                  </a:lnTo>
                  <a:lnTo>
                    <a:pt x="31" y="843"/>
                  </a:lnTo>
                  <a:lnTo>
                    <a:pt x="30" y="838"/>
                  </a:lnTo>
                  <a:lnTo>
                    <a:pt x="30" y="835"/>
                  </a:lnTo>
                  <a:lnTo>
                    <a:pt x="29" y="833"/>
                  </a:lnTo>
                  <a:lnTo>
                    <a:pt x="27" y="829"/>
                  </a:lnTo>
                  <a:lnTo>
                    <a:pt x="25" y="827"/>
                  </a:lnTo>
                  <a:lnTo>
                    <a:pt x="23" y="825"/>
                  </a:lnTo>
                  <a:lnTo>
                    <a:pt x="20" y="824"/>
                  </a:lnTo>
                  <a:lnTo>
                    <a:pt x="18" y="823"/>
                  </a:lnTo>
                  <a:lnTo>
                    <a:pt x="15" y="823"/>
                  </a:lnTo>
                  <a:lnTo>
                    <a:pt x="11" y="823"/>
                  </a:lnTo>
                  <a:lnTo>
                    <a:pt x="9" y="824"/>
                  </a:lnTo>
                  <a:lnTo>
                    <a:pt x="6" y="825"/>
                  </a:lnTo>
                  <a:lnTo>
                    <a:pt x="4" y="827"/>
                  </a:lnTo>
                  <a:lnTo>
                    <a:pt x="2" y="829"/>
                  </a:lnTo>
                  <a:lnTo>
                    <a:pt x="1" y="833"/>
                  </a:lnTo>
                  <a:lnTo>
                    <a:pt x="0" y="835"/>
                  </a:lnTo>
                  <a:lnTo>
                    <a:pt x="0" y="838"/>
                  </a:lnTo>
                  <a:lnTo>
                    <a:pt x="0" y="843"/>
                  </a:lnTo>
                  <a:lnTo>
                    <a:pt x="1" y="850"/>
                  </a:lnTo>
                  <a:lnTo>
                    <a:pt x="3" y="855"/>
                  </a:lnTo>
                  <a:lnTo>
                    <a:pt x="4" y="860"/>
                  </a:lnTo>
                  <a:lnTo>
                    <a:pt x="7" y="866"/>
                  </a:lnTo>
                  <a:lnTo>
                    <a:pt x="10" y="871"/>
                  </a:lnTo>
                  <a:lnTo>
                    <a:pt x="14" y="875"/>
                  </a:lnTo>
                  <a:lnTo>
                    <a:pt x="17" y="880"/>
                  </a:lnTo>
                  <a:lnTo>
                    <a:pt x="21" y="884"/>
                  </a:lnTo>
                  <a:lnTo>
                    <a:pt x="26" y="887"/>
                  </a:lnTo>
                  <a:lnTo>
                    <a:pt x="31" y="890"/>
                  </a:lnTo>
                  <a:lnTo>
                    <a:pt x="36" y="893"/>
                  </a:lnTo>
                  <a:lnTo>
                    <a:pt x="41" y="895"/>
                  </a:lnTo>
                  <a:lnTo>
                    <a:pt x="48" y="896"/>
                  </a:lnTo>
                  <a:lnTo>
                    <a:pt x="53" y="897"/>
                  </a:lnTo>
                  <a:lnTo>
                    <a:pt x="60" y="898"/>
                  </a:lnTo>
                  <a:lnTo>
                    <a:pt x="66" y="897"/>
                  </a:lnTo>
                  <a:lnTo>
                    <a:pt x="71" y="896"/>
                  </a:lnTo>
                  <a:lnTo>
                    <a:pt x="78" y="895"/>
                  </a:lnTo>
                  <a:lnTo>
                    <a:pt x="83" y="893"/>
                  </a:lnTo>
                  <a:lnTo>
                    <a:pt x="89" y="890"/>
                  </a:lnTo>
                  <a:lnTo>
                    <a:pt x="93" y="887"/>
                  </a:lnTo>
                  <a:lnTo>
                    <a:pt x="98" y="884"/>
                  </a:lnTo>
                  <a:lnTo>
                    <a:pt x="101" y="880"/>
                  </a:lnTo>
                  <a:lnTo>
                    <a:pt x="106" y="875"/>
                  </a:lnTo>
                  <a:lnTo>
                    <a:pt x="109" y="871"/>
                  </a:lnTo>
                  <a:lnTo>
                    <a:pt x="112" y="866"/>
                  </a:lnTo>
                  <a:lnTo>
                    <a:pt x="114" y="860"/>
                  </a:lnTo>
                  <a:lnTo>
                    <a:pt x="116" y="855"/>
                  </a:lnTo>
                  <a:lnTo>
                    <a:pt x="118" y="850"/>
                  </a:lnTo>
                  <a:lnTo>
                    <a:pt x="120" y="843"/>
                  </a:lnTo>
                  <a:lnTo>
                    <a:pt x="120" y="838"/>
                  </a:lnTo>
                  <a:lnTo>
                    <a:pt x="121" y="828"/>
                  </a:lnTo>
                  <a:lnTo>
                    <a:pt x="123" y="821"/>
                  </a:lnTo>
                  <a:lnTo>
                    <a:pt x="127" y="813"/>
                  </a:lnTo>
                  <a:lnTo>
                    <a:pt x="132" y="806"/>
                  </a:lnTo>
                  <a:lnTo>
                    <a:pt x="139" y="800"/>
                  </a:lnTo>
                  <a:lnTo>
                    <a:pt x="147" y="796"/>
                  </a:lnTo>
                  <a:lnTo>
                    <a:pt x="155" y="794"/>
                  </a:lnTo>
                  <a:lnTo>
                    <a:pt x="165" y="793"/>
                  </a:lnTo>
                  <a:lnTo>
                    <a:pt x="173" y="794"/>
                  </a:lnTo>
                  <a:lnTo>
                    <a:pt x="182" y="796"/>
                  </a:lnTo>
                  <a:lnTo>
                    <a:pt x="189" y="800"/>
                  </a:lnTo>
                  <a:lnTo>
                    <a:pt x="196" y="806"/>
                  </a:lnTo>
                  <a:lnTo>
                    <a:pt x="202" y="813"/>
                  </a:lnTo>
                  <a:lnTo>
                    <a:pt x="205" y="821"/>
                  </a:lnTo>
                  <a:lnTo>
                    <a:pt x="208" y="828"/>
                  </a:lnTo>
                  <a:lnTo>
                    <a:pt x="209" y="838"/>
                  </a:lnTo>
                  <a:lnTo>
                    <a:pt x="209" y="843"/>
                  </a:lnTo>
                  <a:lnTo>
                    <a:pt x="211" y="850"/>
                  </a:lnTo>
                  <a:lnTo>
                    <a:pt x="212" y="855"/>
                  </a:lnTo>
                  <a:lnTo>
                    <a:pt x="214" y="860"/>
                  </a:lnTo>
                  <a:lnTo>
                    <a:pt x="216" y="866"/>
                  </a:lnTo>
                  <a:lnTo>
                    <a:pt x="219" y="871"/>
                  </a:lnTo>
                  <a:lnTo>
                    <a:pt x="222" y="875"/>
                  </a:lnTo>
                  <a:lnTo>
                    <a:pt x="227" y="880"/>
                  </a:lnTo>
                  <a:lnTo>
                    <a:pt x="231" y="884"/>
                  </a:lnTo>
                  <a:lnTo>
                    <a:pt x="235" y="887"/>
                  </a:lnTo>
                  <a:lnTo>
                    <a:pt x="241" y="890"/>
                  </a:lnTo>
                  <a:lnTo>
                    <a:pt x="246" y="893"/>
                  </a:lnTo>
                  <a:lnTo>
                    <a:pt x="251" y="895"/>
                  </a:lnTo>
                  <a:lnTo>
                    <a:pt x="257" y="896"/>
                  </a:lnTo>
                  <a:lnTo>
                    <a:pt x="263" y="897"/>
                  </a:lnTo>
                  <a:lnTo>
                    <a:pt x="269" y="898"/>
                  </a:lnTo>
                  <a:lnTo>
                    <a:pt x="275" y="897"/>
                  </a:lnTo>
                  <a:lnTo>
                    <a:pt x="281" y="896"/>
                  </a:lnTo>
                  <a:lnTo>
                    <a:pt x="287" y="895"/>
                  </a:lnTo>
                  <a:lnTo>
                    <a:pt x="292" y="893"/>
                  </a:lnTo>
                  <a:lnTo>
                    <a:pt x="297" y="890"/>
                  </a:lnTo>
                  <a:lnTo>
                    <a:pt x="303" y="887"/>
                  </a:lnTo>
                  <a:lnTo>
                    <a:pt x="307" y="884"/>
                  </a:lnTo>
                  <a:lnTo>
                    <a:pt x="311" y="880"/>
                  </a:lnTo>
                  <a:lnTo>
                    <a:pt x="315" y="875"/>
                  </a:lnTo>
                  <a:lnTo>
                    <a:pt x="319" y="871"/>
                  </a:lnTo>
                  <a:lnTo>
                    <a:pt x="322" y="866"/>
                  </a:lnTo>
                  <a:lnTo>
                    <a:pt x="324" y="860"/>
                  </a:lnTo>
                  <a:lnTo>
                    <a:pt x="326" y="855"/>
                  </a:lnTo>
                  <a:lnTo>
                    <a:pt x="327" y="850"/>
                  </a:lnTo>
                  <a:lnTo>
                    <a:pt x="328" y="843"/>
                  </a:lnTo>
                  <a:lnTo>
                    <a:pt x="329" y="838"/>
                  </a:lnTo>
                  <a:lnTo>
                    <a:pt x="329" y="828"/>
                  </a:lnTo>
                  <a:lnTo>
                    <a:pt x="333" y="821"/>
                  </a:lnTo>
                  <a:lnTo>
                    <a:pt x="337" y="813"/>
                  </a:lnTo>
                  <a:lnTo>
                    <a:pt x="342" y="806"/>
                  </a:lnTo>
                  <a:lnTo>
                    <a:pt x="349" y="800"/>
                  </a:lnTo>
                  <a:lnTo>
                    <a:pt x="356" y="796"/>
                  </a:lnTo>
                  <a:lnTo>
                    <a:pt x="365" y="794"/>
                  </a:lnTo>
                  <a:lnTo>
                    <a:pt x="374" y="793"/>
                  </a:lnTo>
                  <a:lnTo>
                    <a:pt x="383" y="794"/>
                  </a:lnTo>
                  <a:lnTo>
                    <a:pt x="392" y="796"/>
                  </a:lnTo>
                  <a:lnTo>
                    <a:pt x="399" y="800"/>
                  </a:lnTo>
                  <a:lnTo>
                    <a:pt x="405" y="806"/>
                  </a:lnTo>
                  <a:lnTo>
                    <a:pt x="411" y="813"/>
                  </a:lnTo>
                  <a:lnTo>
                    <a:pt x="415" y="821"/>
                  </a:lnTo>
                  <a:lnTo>
                    <a:pt x="418" y="828"/>
                  </a:lnTo>
                  <a:lnTo>
                    <a:pt x="418" y="838"/>
                  </a:lnTo>
                  <a:lnTo>
                    <a:pt x="419" y="843"/>
                  </a:lnTo>
                  <a:lnTo>
                    <a:pt x="420" y="850"/>
                  </a:lnTo>
                  <a:lnTo>
                    <a:pt x="421" y="855"/>
                  </a:lnTo>
                  <a:lnTo>
                    <a:pt x="424" y="860"/>
                  </a:lnTo>
                  <a:lnTo>
                    <a:pt x="426" y="866"/>
                  </a:lnTo>
                  <a:lnTo>
                    <a:pt x="429" y="871"/>
                  </a:lnTo>
                  <a:lnTo>
                    <a:pt x="432" y="875"/>
                  </a:lnTo>
                  <a:lnTo>
                    <a:pt x="436" y="880"/>
                  </a:lnTo>
                  <a:lnTo>
                    <a:pt x="441" y="884"/>
                  </a:lnTo>
                  <a:lnTo>
                    <a:pt x="445" y="887"/>
                  </a:lnTo>
                  <a:lnTo>
                    <a:pt x="450" y="890"/>
                  </a:lnTo>
                  <a:lnTo>
                    <a:pt x="456" y="893"/>
                  </a:lnTo>
                  <a:lnTo>
                    <a:pt x="461" y="895"/>
                  </a:lnTo>
                  <a:lnTo>
                    <a:pt x="466" y="896"/>
                  </a:lnTo>
                  <a:lnTo>
                    <a:pt x="473" y="897"/>
                  </a:lnTo>
                  <a:lnTo>
                    <a:pt x="478" y="898"/>
                  </a:lnTo>
                  <a:lnTo>
                    <a:pt x="485" y="897"/>
                  </a:lnTo>
                  <a:lnTo>
                    <a:pt x="491" y="896"/>
                  </a:lnTo>
                  <a:lnTo>
                    <a:pt x="496" y="895"/>
                  </a:lnTo>
                  <a:lnTo>
                    <a:pt x="502" y="893"/>
                  </a:lnTo>
                  <a:lnTo>
                    <a:pt x="507" y="890"/>
                  </a:lnTo>
                  <a:lnTo>
                    <a:pt x="512" y="887"/>
                  </a:lnTo>
                  <a:lnTo>
                    <a:pt x="517" y="884"/>
                  </a:lnTo>
                  <a:lnTo>
                    <a:pt x="521" y="880"/>
                  </a:lnTo>
                  <a:lnTo>
                    <a:pt x="525" y="875"/>
                  </a:lnTo>
                  <a:lnTo>
                    <a:pt x="529" y="871"/>
                  </a:lnTo>
                  <a:lnTo>
                    <a:pt x="532" y="866"/>
                  </a:lnTo>
                  <a:lnTo>
                    <a:pt x="534" y="860"/>
                  </a:lnTo>
                  <a:lnTo>
                    <a:pt x="536" y="855"/>
                  </a:lnTo>
                  <a:lnTo>
                    <a:pt x="537" y="850"/>
                  </a:lnTo>
                  <a:lnTo>
                    <a:pt x="538" y="843"/>
                  </a:lnTo>
                  <a:lnTo>
                    <a:pt x="538" y="838"/>
                  </a:lnTo>
                  <a:lnTo>
                    <a:pt x="539" y="828"/>
                  </a:lnTo>
                  <a:lnTo>
                    <a:pt x="542" y="821"/>
                  </a:lnTo>
                  <a:lnTo>
                    <a:pt x="546" y="813"/>
                  </a:lnTo>
                  <a:lnTo>
                    <a:pt x="552" y="806"/>
                  </a:lnTo>
                  <a:lnTo>
                    <a:pt x="559" y="800"/>
                  </a:lnTo>
                  <a:lnTo>
                    <a:pt x="566" y="796"/>
                  </a:lnTo>
                  <a:lnTo>
                    <a:pt x="575" y="794"/>
                  </a:lnTo>
                  <a:lnTo>
                    <a:pt x="583" y="793"/>
                  </a:lnTo>
                  <a:lnTo>
                    <a:pt x="593" y="794"/>
                  </a:lnTo>
                  <a:lnTo>
                    <a:pt x="601" y="796"/>
                  </a:lnTo>
                  <a:lnTo>
                    <a:pt x="609" y="800"/>
                  </a:lnTo>
                  <a:lnTo>
                    <a:pt x="615" y="806"/>
                  </a:lnTo>
                  <a:lnTo>
                    <a:pt x="621" y="813"/>
                  </a:lnTo>
                  <a:lnTo>
                    <a:pt x="625" y="821"/>
                  </a:lnTo>
                  <a:lnTo>
                    <a:pt x="627" y="828"/>
                  </a:lnTo>
                  <a:lnTo>
                    <a:pt x="628" y="838"/>
                  </a:lnTo>
                  <a:lnTo>
                    <a:pt x="628" y="843"/>
                  </a:lnTo>
                  <a:lnTo>
                    <a:pt x="629" y="850"/>
                  </a:lnTo>
                  <a:lnTo>
                    <a:pt x="631" y="855"/>
                  </a:lnTo>
                  <a:lnTo>
                    <a:pt x="633" y="860"/>
                  </a:lnTo>
                  <a:lnTo>
                    <a:pt x="636" y="866"/>
                  </a:lnTo>
                  <a:lnTo>
                    <a:pt x="639" y="871"/>
                  </a:lnTo>
                  <a:lnTo>
                    <a:pt x="642" y="875"/>
                  </a:lnTo>
                  <a:lnTo>
                    <a:pt x="646" y="880"/>
                  </a:lnTo>
                  <a:lnTo>
                    <a:pt x="651" y="884"/>
                  </a:lnTo>
                  <a:lnTo>
                    <a:pt x="655" y="887"/>
                  </a:lnTo>
                  <a:lnTo>
                    <a:pt x="659" y="890"/>
                  </a:lnTo>
                  <a:lnTo>
                    <a:pt x="665" y="893"/>
                  </a:lnTo>
                  <a:lnTo>
                    <a:pt x="670" y="895"/>
                  </a:lnTo>
                  <a:lnTo>
                    <a:pt x="676" y="896"/>
                  </a:lnTo>
                  <a:lnTo>
                    <a:pt x="682" y="897"/>
                  </a:lnTo>
                  <a:lnTo>
                    <a:pt x="688" y="898"/>
                  </a:lnTo>
                  <a:lnTo>
                    <a:pt x="694" y="897"/>
                  </a:lnTo>
                  <a:lnTo>
                    <a:pt x="700" y="896"/>
                  </a:lnTo>
                  <a:lnTo>
                    <a:pt x="706" y="895"/>
                  </a:lnTo>
                  <a:lnTo>
                    <a:pt x="712" y="893"/>
                  </a:lnTo>
                  <a:lnTo>
                    <a:pt x="717" y="890"/>
                  </a:lnTo>
                  <a:lnTo>
                    <a:pt x="721" y="887"/>
                  </a:lnTo>
                  <a:lnTo>
                    <a:pt x="727" y="884"/>
                  </a:lnTo>
                  <a:lnTo>
                    <a:pt x="731" y="880"/>
                  </a:lnTo>
                  <a:lnTo>
                    <a:pt x="734" y="875"/>
                  </a:lnTo>
                  <a:lnTo>
                    <a:pt x="737" y="871"/>
                  </a:lnTo>
                  <a:lnTo>
                    <a:pt x="741" y="866"/>
                  </a:lnTo>
                  <a:lnTo>
                    <a:pt x="744" y="860"/>
                  </a:lnTo>
                  <a:lnTo>
                    <a:pt x="746" y="855"/>
                  </a:lnTo>
                  <a:lnTo>
                    <a:pt x="747" y="850"/>
                  </a:lnTo>
                  <a:lnTo>
                    <a:pt x="748" y="843"/>
                  </a:lnTo>
                  <a:lnTo>
                    <a:pt x="748" y="838"/>
                  </a:lnTo>
                  <a:lnTo>
                    <a:pt x="748" y="835"/>
                  </a:lnTo>
                  <a:lnTo>
                    <a:pt x="747" y="833"/>
                  </a:lnTo>
                  <a:lnTo>
                    <a:pt x="746" y="829"/>
                  </a:lnTo>
                  <a:lnTo>
                    <a:pt x="744" y="827"/>
                  </a:lnTo>
                  <a:lnTo>
                    <a:pt x="742" y="825"/>
                  </a:lnTo>
                  <a:lnTo>
                    <a:pt x="738" y="824"/>
                  </a:lnTo>
                  <a:lnTo>
                    <a:pt x="736" y="823"/>
                  </a:lnTo>
                  <a:lnTo>
                    <a:pt x="733" y="8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sp>
        <p:nvSpPr>
          <p:cNvPr id="4" name="Title 3">
            <a:extLst>
              <a:ext uri="{FF2B5EF4-FFF2-40B4-BE49-F238E27FC236}">
                <a16:creationId xmlns:a16="http://schemas.microsoft.com/office/drawing/2014/main" id="{87E626BC-F0B3-C148-B05D-01D7F2F0D3B4}"/>
              </a:ext>
            </a:extLst>
          </p:cNvPr>
          <p:cNvSpPr>
            <a:spLocks noGrp="1"/>
          </p:cNvSpPr>
          <p:nvPr>
            <p:ph type="title"/>
          </p:nvPr>
        </p:nvSpPr>
        <p:spPr/>
        <p:txBody>
          <a:bodyPr/>
          <a:lstStyle/>
          <a:p>
            <a:r>
              <a:rPr lang="en-US" dirty="0"/>
              <a:t>Diagram</a:t>
            </a:r>
          </a:p>
        </p:txBody>
      </p:sp>
    </p:spTree>
    <p:extLst>
      <p:ext uri="{BB962C8B-B14F-4D97-AF65-F5344CB8AC3E}">
        <p14:creationId xmlns:p14="http://schemas.microsoft.com/office/powerpoint/2010/main" val="327973029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010668" y="3276132"/>
            <a:ext cx="20361080" cy="8450034"/>
            <a:chOff x="1005399" y="1373664"/>
            <a:chExt cx="10181203" cy="4225292"/>
          </a:xfrm>
        </p:grpSpPr>
        <p:grpSp>
          <p:nvGrpSpPr>
            <p:cNvPr id="97" name="Group 96"/>
            <p:cNvGrpSpPr/>
            <p:nvPr/>
          </p:nvGrpSpPr>
          <p:grpSpPr>
            <a:xfrm>
              <a:off x="3978521" y="1373664"/>
              <a:ext cx="4073039" cy="4110671"/>
              <a:chOff x="1525588" y="565151"/>
              <a:chExt cx="5842001" cy="5895975"/>
            </a:xfrm>
          </p:grpSpPr>
          <p:sp>
            <p:nvSpPr>
              <p:cNvPr id="146" name="Freeform 145"/>
              <p:cNvSpPr>
                <a:spLocks/>
              </p:cNvSpPr>
              <p:nvPr/>
            </p:nvSpPr>
            <p:spPr bwMode="auto">
              <a:xfrm>
                <a:off x="1633538" y="565151"/>
                <a:ext cx="2690813" cy="4194175"/>
              </a:xfrm>
              <a:custGeom>
                <a:avLst/>
                <a:gdLst>
                  <a:gd name="T0" fmla="*/ 552 w 716"/>
                  <a:gd name="T1" fmla="*/ 328 h 1116"/>
                  <a:gd name="T2" fmla="*/ 622 w 716"/>
                  <a:gd name="T3" fmla="*/ 346 h 1116"/>
                  <a:gd name="T4" fmla="*/ 681 w 716"/>
                  <a:gd name="T5" fmla="*/ 288 h 1116"/>
                  <a:gd name="T6" fmla="*/ 668 w 716"/>
                  <a:gd name="T7" fmla="*/ 222 h 1116"/>
                  <a:gd name="T8" fmla="*/ 220 w 716"/>
                  <a:gd name="T9" fmla="*/ 124 h 1116"/>
                  <a:gd name="T10" fmla="*/ 62 w 716"/>
                  <a:gd name="T11" fmla="*/ 509 h 1116"/>
                  <a:gd name="T12" fmla="*/ 175 w 716"/>
                  <a:gd name="T13" fmla="*/ 682 h 1116"/>
                  <a:gd name="T14" fmla="*/ 549 w 716"/>
                  <a:gd name="T15" fmla="*/ 1058 h 1116"/>
                  <a:gd name="T16" fmla="*/ 626 w 716"/>
                  <a:gd name="T17" fmla="*/ 1075 h 1116"/>
                  <a:gd name="T18" fmla="*/ 679 w 716"/>
                  <a:gd name="T19" fmla="*/ 1025 h 1116"/>
                  <a:gd name="T20" fmla="*/ 674 w 716"/>
                  <a:gd name="T21" fmla="*/ 961 h 1116"/>
                  <a:gd name="T22" fmla="*/ 253 w 716"/>
                  <a:gd name="T23" fmla="*/ 539 h 1116"/>
                  <a:gd name="T24" fmla="*/ 253 w 716"/>
                  <a:gd name="T25" fmla="*/ 296 h 1116"/>
                  <a:gd name="T26" fmla="*/ 552 w 716"/>
                  <a:gd name="T27" fmla="*/ 328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6" h="1116">
                    <a:moveTo>
                      <a:pt x="552" y="328"/>
                    </a:moveTo>
                    <a:cubicBezTo>
                      <a:pt x="552" y="328"/>
                      <a:pt x="582" y="382"/>
                      <a:pt x="622" y="346"/>
                    </a:cubicBezTo>
                    <a:cubicBezTo>
                      <a:pt x="662" y="309"/>
                      <a:pt x="681" y="288"/>
                      <a:pt x="681" y="288"/>
                    </a:cubicBezTo>
                    <a:cubicBezTo>
                      <a:pt x="681" y="288"/>
                      <a:pt x="716" y="266"/>
                      <a:pt x="668" y="222"/>
                    </a:cubicBezTo>
                    <a:cubicBezTo>
                      <a:pt x="620" y="178"/>
                      <a:pt x="472" y="0"/>
                      <a:pt x="220" y="124"/>
                    </a:cubicBezTo>
                    <a:cubicBezTo>
                      <a:pt x="220" y="124"/>
                      <a:pt x="0" y="248"/>
                      <a:pt x="62" y="509"/>
                    </a:cubicBezTo>
                    <a:cubicBezTo>
                      <a:pt x="62" y="509"/>
                      <a:pt x="85" y="597"/>
                      <a:pt x="175" y="682"/>
                    </a:cubicBezTo>
                    <a:cubicBezTo>
                      <a:pt x="265" y="767"/>
                      <a:pt x="549" y="1058"/>
                      <a:pt x="549" y="1058"/>
                    </a:cubicBezTo>
                    <a:cubicBezTo>
                      <a:pt x="549" y="1058"/>
                      <a:pt x="581" y="1116"/>
                      <a:pt x="626" y="1075"/>
                    </a:cubicBezTo>
                    <a:cubicBezTo>
                      <a:pt x="670" y="1034"/>
                      <a:pt x="679" y="1025"/>
                      <a:pt x="679" y="1025"/>
                    </a:cubicBezTo>
                    <a:cubicBezTo>
                      <a:pt x="679" y="1025"/>
                      <a:pt x="714" y="1000"/>
                      <a:pt x="674" y="961"/>
                    </a:cubicBezTo>
                    <a:cubicBezTo>
                      <a:pt x="635" y="922"/>
                      <a:pt x="253" y="539"/>
                      <a:pt x="253" y="539"/>
                    </a:cubicBezTo>
                    <a:cubicBezTo>
                      <a:pt x="253" y="539"/>
                      <a:pt x="153" y="417"/>
                      <a:pt x="253" y="296"/>
                    </a:cubicBezTo>
                    <a:cubicBezTo>
                      <a:pt x="253" y="296"/>
                      <a:pt x="402" y="150"/>
                      <a:pt x="552" y="328"/>
                    </a:cubicBezTo>
                    <a:close/>
                  </a:path>
                </a:pathLst>
              </a:custGeom>
              <a:solidFill>
                <a:schemeClr val="accent2"/>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600"/>
              </a:p>
            </p:txBody>
          </p:sp>
          <p:sp>
            <p:nvSpPr>
              <p:cNvPr id="147" name="Freeform 146"/>
              <p:cNvSpPr>
                <a:spLocks/>
              </p:cNvSpPr>
              <p:nvPr/>
            </p:nvSpPr>
            <p:spPr bwMode="auto">
              <a:xfrm>
                <a:off x="3178176" y="681038"/>
                <a:ext cx="4189413" cy="2698750"/>
              </a:xfrm>
              <a:custGeom>
                <a:avLst/>
                <a:gdLst>
                  <a:gd name="T0" fmla="*/ 788 w 1115"/>
                  <a:gd name="T1" fmla="*/ 552 h 718"/>
                  <a:gd name="T2" fmla="*/ 771 w 1115"/>
                  <a:gd name="T3" fmla="*/ 623 h 718"/>
                  <a:gd name="T4" fmla="*/ 828 w 1115"/>
                  <a:gd name="T5" fmla="*/ 681 h 718"/>
                  <a:gd name="T6" fmla="*/ 895 w 1115"/>
                  <a:gd name="T7" fmla="*/ 667 h 718"/>
                  <a:gd name="T8" fmla="*/ 990 w 1115"/>
                  <a:gd name="T9" fmla="*/ 219 h 718"/>
                  <a:gd name="T10" fmla="*/ 604 w 1115"/>
                  <a:gd name="T11" fmla="*/ 64 h 718"/>
                  <a:gd name="T12" fmla="*/ 431 w 1115"/>
                  <a:gd name="T13" fmla="*/ 178 h 718"/>
                  <a:gd name="T14" fmla="*/ 57 w 1115"/>
                  <a:gd name="T15" fmla="*/ 554 h 718"/>
                  <a:gd name="T16" fmla="*/ 41 w 1115"/>
                  <a:gd name="T17" fmla="*/ 631 h 718"/>
                  <a:gd name="T18" fmla="*/ 92 w 1115"/>
                  <a:gd name="T19" fmla="*/ 684 h 718"/>
                  <a:gd name="T20" fmla="*/ 156 w 1115"/>
                  <a:gd name="T21" fmla="*/ 679 h 718"/>
                  <a:gd name="T22" fmla="*/ 575 w 1115"/>
                  <a:gd name="T23" fmla="*/ 255 h 718"/>
                  <a:gd name="T24" fmla="*/ 818 w 1115"/>
                  <a:gd name="T25" fmla="*/ 253 h 718"/>
                  <a:gd name="T26" fmla="*/ 788 w 1115"/>
                  <a:gd name="T27" fmla="*/ 552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5" h="718">
                    <a:moveTo>
                      <a:pt x="788" y="552"/>
                    </a:moveTo>
                    <a:cubicBezTo>
                      <a:pt x="788" y="552"/>
                      <a:pt x="734" y="583"/>
                      <a:pt x="771" y="623"/>
                    </a:cubicBezTo>
                    <a:cubicBezTo>
                      <a:pt x="808" y="663"/>
                      <a:pt x="828" y="681"/>
                      <a:pt x="828" y="681"/>
                    </a:cubicBezTo>
                    <a:cubicBezTo>
                      <a:pt x="828" y="681"/>
                      <a:pt x="851" y="716"/>
                      <a:pt x="895" y="667"/>
                    </a:cubicBezTo>
                    <a:cubicBezTo>
                      <a:pt x="939" y="619"/>
                      <a:pt x="1115" y="471"/>
                      <a:pt x="990" y="219"/>
                    </a:cubicBezTo>
                    <a:cubicBezTo>
                      <a:pt x="990" y="219"/>
                      <a:pt x="864" y="0"/>
                      <a:pt x="604" y="64"/>
                    </a:cubicBezTo>
                    <a:cubicBezTo>
                      <a:pt x="604" y="64"/>
                      <a:pt x="516" y="87"/>
                      <a:pt x="431" y="178"/>
                    </a:cubicBezTo>
                    <a:cubicBezTo>
                      <a:pt x="347" y="268"/>
                      <a:pt x="57" y="554"/>
                      <a:pt x="57" y="554"/>
                    </a:cubicBezTo>
                    <a:cubicBezTo>
                      <a:pt x="57" y="554"/>
                      <a:pt x="0" y="587"/>
                      <a:pt x="41" y="631"/>
                    </a:cubicBezTo>
                    <a:cubicBezTo>
                      <a:pt x="83" y="675"/>
                      <a:pt x="92" y="684"/>
                      <a:pt x="92" y="684"/>
                    </a:cubicBezTo>
                    <a:cubicBezTo>
                      <a:pt x="92" y="684"/>
                      <a:pt x="117" y="718"/>
                      <a:pt x="156" y="679"/>
                    </a:cubicBezTo>
                    <a:cubicBezTo>
                      <a:pt x="195" y="639"/>
                      <a:pt x="575" y="255"/>
                      <a:pt x="575" y="255"/>
                    </a:cubicBezTo>
                    <a:cubicBezTo>
                      <a:pt x="575" y="255"/>
                      <a:pt x="696" y="154"/>
                      <a:pt x="818" y="253"/>
                    </a:cubicBezTo>
                    <a:cubicBezTo>
                      <a:pt x="818" y="253"/>
                      <a:pt x="964" y="402"/>
                      <a:pt x="788" y="552"/>
                    </a:cubicBezTo>
                    <a:close/>
                  </a:path>
                </a:pathLst>
              </a:custGeom>
              <a:solidFill>
                <a:schemeClr val="accent4"/>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600"/>
              </a:p>
            </p:txBody>
          </p:sp>
          <p:sp>
            <p:nvSpPr>
              <p:cNvPr id="148" name="Freeform 147"/>
              <p:cNvSpPr>
                <a:spLocks/>
              </p:cNvSpPr>
              <p:nvPr/>
            </p:nvSpPr>
            <p:spPr bwMode="auto">
              <a:xfrm>
                <a:off x="4591051" y="2266951"/>
                <a:ext cx="2689225" cy="4194175"/>
              </a:xfrm>
              <a:custGeom>
                <a:avLst/>
                <a:gdLst>
                  <a:gd name="T0" fmla="*/ 164 w 716"/>
                  <a:gd name="T1" fmla="*/ 789 h 1116"/>
                  <a:gd name="T2" fmla="*/ 93 w 716"/>
                  <a:gd name="T3" fmla="*/ 771 h 1116"/>
                  <a:gd name="T4" fmla="*/ 35 w 716"/>
                  <a:gd name="T5" fmla="*/ 828 h 1116"/>
                  <a:gd name="T6" fmla="*/ 48 w 716"/>
                  <a:gd name="T7" fmla="*/ 895 h 1116"/>
                  <a:gd name="T8" fmla="*/ 495 w 716"/>
                  <a:gd name="T9" fmla="*/ 993 h 1116"/>
                  <a:gd name="T10" fmla="*/ 653 w 716"/>
                  <a:gd name="T11" fmla="*/ 608 h 1116"/>
                  <a:gd name="T12" fmla="*/ 541 w 716"/>
                  <a:gd name="T13" fmla="*/ 435 h 1116"/>
                  <a:gd name="T14" fmla="*/ 167 w 716"/>
                  <a:gd name="T15" fmla="*/ 58 h 1116"/>
                  <a:gd name="T16" fmla="*/ 90 w 716"/>
                  <a:gd name="T17" fmla="*/ 42 h 1116"/>
                  <a:gd name="T18" fmla="*/ 37 w 716"/>
                  <a:gd name="T19" fmla="*/ 92 h 1116"/>
                  <a:gd name="T20" fmla="*/ 41 w 716"/>
                  <a:gd name="T21" fmla="*/ 156 h 1116"/>
                  <a:gd name="T22" fmla="*/ 463 w 716"/>
                  <a:gd name="T23" fmla="*/ 578 h 1116"/>
                  <a:gd name="T24" fmla="*/ 463 w 716"/>
                  <a:gd name="T25" fmla="*/ 821 h 1116"/>
                  <a:gd name="T26" fmla="*/ 164 w 716"/>
                  <a:gd name="T27" fmla="*/ 789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6" h="1116">
                    <a:moveTo>
                      <a:pt x="164" y="789"/>
                    </a:moveTo>
                    <a:cubicBezTo>
                      <a:pt x="164" y="789"/>
                      <a:pt x="133" y="734"/>
                      <a:pt x="93" y="771"/>
                    </a:cubicBezTo>
                    <a:cubicBezTo>
                      <a:pt x="53" y="808"/>
                      <a:pt x="35" y="828"/>
                      <a:pt x="35" y="828"/>
                    </a:cubicBezTo>
                    <a:cubicBezTo>
                      <a:pt x="35" y="828"/>
                      <a:pt x="0" y="851"/>
                      <a:pt x="48" y="895"/>
                    </a:cubicBezTo>
                    <a:cubicBezTo>
                      <a:pt x="96" y="939"/>
                      <a:pt x="243" y="1116"/>
                      <a:pt x="495" y="993"/>
                    </a:cubicBezTo>
                    <a:cubicBezTo>
                      <a:pt x="495" y="993"/>
                      <a:pt x="716" y="869"/>
                      <a:pt x="653" y="608"/>
                    </a:cubicBezTo>
                    <a:cubicBezTo>
                      <a:pt x="653" y="608"/>
                      <a:pt x="631" y="520"/>
                      <a:pt x="541" y="435"/>
                    </a:cubicBezTo>
                    <a:cubicBezTo>
                      <a:pt x="451" y="350"/>
                      <a:pt x="167" y="58"/>
                      <a:pt x="167" y="58"/>
                    </a:cubicBezTo>
                    <a:cubicBezTo>
                      <a:pt x="167" y="58"/>
                      <a:pt x="135" y="0"/>
                      <a:pt x="90" y="42"/>
                    </a:cubicBezTo>
                    <a:cubicBezTo>
                      <a:pt x="45" y="83"/>
                      <a:pt x="37" y="92"/>
                      <a:pt x="37" y="92"/>
                    </a:cubicBezTo>
                    <a:cubicBezTo>
                      <a:pt x="37" y="92"/>
                      <a:pt x="2" y="116"/>
                      <a:pt x="41" y="156"/>
                    </a:cubicBezTo>
                    <a:cubicBezTo>
                      <a:pt x="81" y="195"/>
                      <a:pt x="463" y="578"/>
                      <a:pt x="463" y="578"/>
                    </a:cubicBezTo>
                    <a:cubicBezTo>
                      <a:pt x="463" y="578"/>
                      <a:pt x="563" y="700"/>
                      <a:pt x="463" y="821"/>
                    </a:cubicBezTo>
                    <a:cubicBezTo>
                      <a:pt x="463" y="821"/>
                      <a:pt x="313" y="966"/>
                      <a:pt x="164" y="789"/>
                    </a:cubicBezTo>
                    <a:close/>
                  </a:path>
                </a:pathLst>
              </a:custGeom>
              <a:solidFill>
                <a:schemeClr val="accent1">
                  <a:lumMod val="60000"/>
                  <a:lumOff val="40000"/>
                </a:schemeClr>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600"/>
              </a:p>
            </p:txBody>
          </p:sp>
          <p:sp>
            <p:nvSpPr>
              <p:cNvPr id="149" name="Freeform 148"/>
              <p:cNvSpPr>
                <a:spLocks/>
              </p:cNvSpPr>
              <p:nvPr/>
            </p:nvSpPr>
            <p:spPr bwMode="auto">
              <a:xfrm>
                <a:off x="1525588" y="3630613"/>
                <a:ext cx="4192588" cy="2703513"/>
              </a:xfrm>
              <a:custGeom>
                <a:avLst/>
                <a:gdLst>
                  <a:gd name="T0" fmla="*/ 327 w 1116"/>
                  <a:gd name="T1" fmla="*/ 167 h 719"/>
                  <a:gd name="T2" fmla="*/ 345 w 1116"/>
                  <a:gd name="T3" fmla="*/ 96 h 719"/>
                  <a:gd name="T4" fmla="*/ 287 w 1116"/>
                  <a:gd name="T5" fmla="*/ 38 h 719"/>
                  <a:gd name="T6" fmla="*/ 220 w 1116"/>
                  <a:gd name="T7" fmla="*/ 51 h 719"/>
                  <a:gd name="T8" fmla="*/ 125 w 1116"/>
                  <a:gd name="T9" fmla="*/ 499 h 719"/>
                  <a:gd name="T10" fmla="*/ 512 w 1116"/>
                  <a:gd name="T11" fmla="*/ 655 h 719"/>
                  <a:gd name="T12" fmla="*/ 684 w 1116"/>
                  <a:gd name="T13" fmla="*/ 541 h 719"/>
                  <a:gd name="T14" fmla="*/ 1058 w 1116"/>
                  <a:gd name="T15" fmla="*/ 164 h 719"/>
                  <a:gd name="T16" fmla="*/ 1074 w 1116"/>
                  <a:gd name="T17" fmla="*/ 88 h 719"/>
                  <a:gd name="T18" fmla="*/ 1024 w 1116"/>
                  <a:gd name="T19" fmla="*/ 35 h 719"/>
                  <a:gd name="T20" fmla="*/ 960 w 1116"/>
                  <a:gd name="T21" fmla="*/ 40 h 719"/>
                  <a:gd name="T22" fmla="*/ 540 w 1116"/>
                  <a:gd name="T23" fmla="*/ 464 h 719"/>
                  <a:gd name="T24" fmla="*/ 297 w 1116"/>
                  <a:gd name="T25" fmla="*/ 465 h 719"/>
                  <a:gd name="T26" fmla="*/ 327 w 1116"/>
                  <a:gd name="T27" fmla="*/ 167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6" h="719">
                    <a:moveTo>
                      <a:pt x="327" y="167"/>
                    </a:moveTo>
                    <a:cubicBezTo>
                      <a:pt x="327" y="167"/>
                      <a:pt x="382" y="136"/>
                      <a:pt x="345" y="96"/>
                    </a:cubicBezTo>
                    <a:cubicBezTo>
                      <a:pt x="308" y="56"/>
                      <a:pt x="287" y="38"/>
                      <a:pt x="287" y="38"/>
                    </a:cubicBezTo>
                    <a:cubicBezTo>
                      <a:pt x="287" y="38"/>
                      <a:pt x="264" y="3"/>
                      <a:pt x="220" y="51"/>
                    </a:cubicBezTo>
                    <a:cubicBezTo>
                      <a:pt x="177" y="100"/>
                      <a:pt x="0" y="248"/>
                      <a:pt x="125" y="499"/>
                    </a:cubicBezTo>
                    <a:cubicBezTo>
                      <a:pt x="125" y="499"/>
                      <a:pt x="251" y="719"/>
                      <a:pt x="512" y="655"/>
                    </a:cubicBezTo>
                    <a:cubicBezTo>
                      <a:pt x="512" y="655"/>
                      <a:pt x="600" y="631"/>
                      <a:pt x="684" y="541"/>
                    </a:cubicBezTo>
                    <a:cubicBezTo>
                      <a:pt x="768" y="450"/>
                      <a:pt x="1058" y="164"/>
                      <a:pt x="1058" y="164"/>
                    </a:cubicBezTo>
                    <a:cubicBezTo>
                      <a:pt x="1058" y="164"/>
                      <a:pt x="1116" y="132"/>
                      <a:pt x="1074" y="88"/>
                    </a:cubicBezTo>
                    <a:cubicBezTo>
                      <a:pt x="1032" y="43"/>
                      <a:pt x="1024" y="35"/>
                      <a:pt x="1024" y="35"/>
                    </a:cubicBezTo>
                    <a:cubicBezTo>
                      <a:pt x="1024" y="35"/>
                      <a:pt x="999" y="0"/>
                      <a:pt x="960" y="40"/>
                    </a:cubicBezTo>
                    <a:cubicBezTo>
                      <a:pt x="921" y="79"/>
                      <a:pt x="540" y="464"/>
                      <a:pt x="540" y="464"/>
                    </a:cubicBezTo>
                    <a:cubicBezTo>
                      <a:pt x="540" y="464"/>
                      <a:pt x="419" y="565"/>
                      <a:pt x="297" y="465"/>
                    </a:cubicBezTo>
                    <a:cubicBezTo>
                      <a:pt x="297" y="465"/>
                      <a:pt x="151" y="317"/>
                      <a:pt x="327" y="167"/>
                    </a:cubicBezTo>
                    <a:close/>
                  </a:path>
                </a:pathLst>
              </a:custGeom>
              <a:solidFill>
                <a:schemeClr val="accent3"/>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5600"/>
              </a:p>
            </p:txBody>
          </p:sp>
        </p:grpSp>
        <p:sp>
          <p:nvSpPr>
            <p:cNvPr id="99" name="TextBox 50"/>
            <p:cNvSpPr txBox="1"/>
            <p:nvPr/>
          </p:nvSpPr>
          <p:spPr>
            <a:xfrm>
              <a:off x="2176811" y="2024900"/>
              <a:ext cx="1688513" cy="30779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4000" b="1" dirty="0"/>
                <a:t>STRENGTHS</a:t>
              </a:r>
            </a:p>
          </p:txBody>
        </p:sp>
        <p:sp>
          <p:nvSpPr>
            <p:cNvPr id="100" name="TextBox 48"/>
            <p:cNvSpPr txBox="1"/>
            <p:nvPr/>
          </p:nvSpPr>
          <p:spPr>
            <a:xfrm>
              <a:off x="1005399" y="2385703"/>
              <a:ext cx="2859925" cy="738712"/>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400" dirty="0"/>
                <a:t>Lorem Ipsum is simply dummy text of the printing and typesetting industry. Lorem Ipsum has been the industry's standard dummy text ever since the 1500s.</a:t>
              </a:r>
            </a:p>
          </p:txBody>
        </p:sp>
        <p:sp>
          <p:nvSpPr>
            <p:cNvPr id="101" name="TextBox 14"/>
            <p:cNvSpPr txBox="1"/>
            <p:nvPr/>
          </p:nvSpPr>
          <p:spPr>
            <a:xfrm flipH="1">
              <a:off x="8189206" y="2033037"/>
              <a:ext cx="2051916" cy="30779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000" b="1" dirty="0"/>
                <a:t>WEAKNESSES</a:t>
              </a:r>
            </a:p>
          </p:txBody>
        </p:sp>
        <p:sp>
          <p:nvSpPr>
            <p:cNvPr id="102" name="TextBox 15"/>
            <p:cNvSpPr txBox="1"/>
            <p:nvPr/>
          </p:nvSpPr>
          <p:spPr>
            <a:xfrm flipH="1">
              <a:off x="8189204" y="2368296"/>
              <a:ext cx="2851391" cy="738712"/>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t>Lorem Ipsum is simply dummy text of the printing and typesetting industry. Lorem Ipsum has been the industry's standard dummy text ever since the 1500s.</a:t>
              </a:r>
            </a:p>
          </p:txBody>
        </p:sp>
        <p:sp>
          <p:nvSpPr>
            <p:cNvPr id="103" name="TextBox 17"/>
            <p:cNvSpPr txBox="1"/>
            <p:nvPr/>
          </p:nvSpPr>
          <p:spPr>
            <a:xfrm>
              <a:off x="1620184" y="4470531"/>
              <a:ext cx="2245139" cy="30779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4000" b="1" dirty="0"/>
                <a:t>OPPORTUNITIES</a:t>
              </a:r>
            </a:p>
          </p:txBody>
        </p:sp>
        <p:sp>
          <p:nvSpPr>
            <p:cNvPr id="104" name="TextBox 18"/>
            <p:cNvSpPr txBox="1"/>
            <p:nvPr/>
          </p:nvSpPr>
          <p:spPr>
            <a:xfrm>
              <a:off x="1005399" y="4860244"/>
              <a:ext cx="2859925" cy="738712"/>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400" dirty="0"/>
                <a:t>Lorem Ipsum is simply dummy text of the printing and typesetting industry. Lorem Ipsum has been the industry's standard dummy text ever since the 1500s.</a:t>
              </a:r>
            </a:p>
          </p:txBody>
        </p:sp>
        <p:sp>
          <p:nvSpPr>
            <p:cNvPr id="105" name="TextBox 20"/>
            <p:cNvSpPr txBox="1"/>
            <p:nvPr/>
          </p:nvSpPr>
          <p:spPr>
            <a:xfrm flipH="1">
              <a:off x="8189205" y="4472842"/>
              <a:ext cx="1770451" cy="30779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000" b="1" dirty="0"/>
                <a:t>THREATS</a:t>
              </a:r>
            </a:p>
          </p:txBody>
        </p:sp>
        <p:sp>
          <p:nvSpPr>
            <p:cNvPr id="106" name="TextBox 21"/>
            <p:cNvSpPr txBox="1"/>
            <p:nvPr/>
          </p:nvSpPr>
          <p:spPr>
            <a:xfrm flipH="1">
              <a:off x="8189204" y="4808500"/>
              <a:ext cx="2997398" cy="738712"/>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t>Lorem Ipsum is simply dummy text of the printing and typesetting industry. Lorem Ipsum has been the industry's standard dummy text ever since the 1500s.</a:t>
              </a:r>
            </a:p>
          </p:txBody>
        </p:sp>
        <p:cxnSp>
          <p:nvCxnSpPr>
            <p:cNvPr id="110" name="Straight Connector 109"/>
            <p:cNvCxnSpPr/>
            <p:nvPr/>
          </p:nvCxnSpPr>
          <p:spPr>
            <a:xfrm flipH="1">
              <a:off x="1005399" y="2365386"/>
              <a:ext cx="3344807" cy="0"/>
            </a:xfrm>
            <a:prstGeom prst="line">
              <a:avLst/>
            </a:prstGeom>
            <a:ln>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H="1">
              <a:off x="1005399" y="4799519"/>
              <a:ext cx="3344807" cy="0"/>
            </a:xfrm>
            <a:prstGeom prst="line">
              <a:avLst/>
            </a:prstGeom>
            <a:ln>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H="1">
              <a:off x="7679877" y="2365386"/>
              <a:ext cx="3344807" cy="0"/>
            </a:xfrm>
            <a:prstGeom prst="line">
              <a:avLst/>
            </a:prstGeom>
            <a:ln>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H="1">
              <a:off x="7679877" y="4799519"/>
              <a:ext cx="3344807" cy="0"/>
            </a:xfrm>
            <a:prstGeom prst="line">
              <a:avLst/>
            </a:prstGeom>
            <a:ln>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50" name="Group 149"/>
            <p:cNvGrpSpPr/>
            <p:nvPr/>
          </p:nvGrpSpPr>
          <p:grpSpPr>
            <a:xfrm>
              <a:off x="4865070" y="2321034"/>
              <a:ext cx="406200" cy="231154"/>
              <a:chOff x="10453688" y="2085975"/>
              <a:chExt cx="287337" cy="163513"/>
            </a:xfrm>
            <a:solidFill>
              <a:srgbClr val="016AA3"/>
            </a:solidFill>
            <a:effectLst>
              <a:outerShdw blurRad="38100" dist="25400" dir="5400000" algn="ctr" rotWithShape="0">
                <a:srgbClr val="000000">
                  <a:alpha val="20000"/>
                </a:srgbClr>
              </a:outerShdw>
            </a:effectLst>
          </p:grpSpPr>
          <p:sp>
            <p:nvSpPr>
              <p:cNvPr id="151" name="Freeform 2072"/>
              <p:cNvSpPr>
                <a:spLocks/>
              </p:cNvSpPr>
              <p:nvPr/>
            </p:nvSpPr>
            <p:spPr bwMode="auto">
              <a:xfrm>
                <a:off x="10453688" y="2114550"/>
                <a:ext cx="49213" cy="106363"/>
              </a:xfrm>
              <a:custGeom>
                <a:avLst/>
                <a:gdLst>
                  <a:gd name="T0" fmla="*/ 135 w 151"/>
                  <a:gd name="T1" fmla="*/ 0 h 331"/>
                  <a:gd name="T2" fmla="*/ 90 w 151"/>
                  <a:gd name="T3" fmla="*/ 0 h 331"/>
                  <a:gd name="T4" fmla="*/ 85 w 151"/>
                  <a:gd name="T5" fmla="*/ 0 h 331"/>
                  <a:gd name="T6" fmla="*/ 79 w 151"/>
                  <a:gd name="T7" fmla="*/ 2 h 331"/>
                  <a:gd name="T8" fmla="*/ 74 w 151"/>
                  <a:gd name="T9" fmla="*/ 4 h 331"/>
                  <a:gd name="T10" fmla="*/ 68 w 151"/>
                  <a:gd name="T11" fmla="*/ 5 h 331"/>
                  <a:gd name="T12" fmla="*/ 58 w 151"/>
                  <a:gd name="T13" fmla="*/ 11 h 331"/>
                  <a:gd name="T14" fmla="*/ 50 w 151"/>
                  <a:gd name="T15" fmla="*/ 20 h 331"/>
                  <a:gd name="T16" fmla="*/ 41 w 151"/>
                  <a:gd name="T17" fmla="*/ 28 h 331"/>
                  <a:gd name="T18" fmla="*/ 35 w 151"/>
                  <a:gd name="T19" fmla="*/ 39 h 331"/>
                  <a:gd name="T20" fmla="*/ 34 w 151"/>
                  <a:gd name="T21" fmla="*/ 44 h 331"/>
                  <a:gd name="T22" fmla="*/ 32 w 151"/>
                  <a:gd name="T23" fmla="*/ 49 h 331"/>
                  <a:gd name="T24" fmla="*/ 30 w 151"/>
                  <a:gd name="T25" fmla="*/ 55 h 331"/>
                  <a:gd name="T26" fmla="*/ 30 w 151"/>
                  <a:gd name="T27" fmla="*/ 60 h 331"/>
                  <a:gd name="T28" fmla="*/ 30 w 151"/>
                  <a:gd name="T29" fmla="*/ 151 h 331"/>
                  <a:gd name="T30" fmla="*/ 16 w 151"/>
                  <a:gd name="T31" fmla="*/ 151 h 331"/>
                  <a:gd name="T32" fmla="*/ 10 w 151"/>
                  <a:gd name="T33" fmla="*/ 152 h 331"/>
                  <a:gd name="T34" fmla="*/ 5 w 151"/>
                  <a:gd name="T35" fmla="*/ 155 h 331"/>
                  <a:gd name="T36" fmla="*/ 1 w 151"/>
                  <a:gd name="T37" fmla="*/ 160 h 331"/>
                  <a:gd name="T38" fmla="*/ 0 w 151"/>
                  <a:gd name="T39" fmla="*/ 166 h 331"/>
                  <a:gd name="T40" fmla="*/ 1 w 151"/>
                  <a:gd name="T41" fmla="*/ 171 h 331"/>
                  <a:gd name="T42" fmla="*/ 5 w 151"/>
                  <a:gd name="T43" fmla="*/ 176 h 331"/>
                  <a:gd name="T44" fmla="*/ 10 w 151"/>
                  <a:gd name="T45" fmla="*/ 180 h 331"/>
                  <a:gd name="T46" fmla="*/ 16 w 151"/>
                  <a:gd name="T47" fmla="*/ 181 h 331"/>
                  <a:gd name="T48" fmla="*/ 30 w 151"/>
                  <a:gd name="T49" fmla="*/ 181 h 331"/>
                  <a:gd name="T50" fmla="*/ 30 w 151"/>
                  <a:gd name="T51" fmla="*/ 271 h 331"/>
                  <a:gd name="T52" fmla="*/ 30 w 151"/>
                  <a:gd name="T53" fmla="*/ 276 h 331"/>
                  <a:gd name="T54" fmla="*/ 32 w 151"/>
                  <a:gd name="T55" fmla="*/ 282 h 331"/>
                  <a:gd name="T56" fmla="*/ 34 w 151"/>
                  <a:gd name="T57" fmla="*/ 287 h 331"/>
                  <a:gd name="T58" fmla="*/ 35 w 151"/>
                  <a:gd name="T59" fmla="*/ 293 h 331"/>
                  <a:gd name="T60" fmla="*/ 41 w 151"/>
                  <a:gd name="T61" fmla="*/ 303 h 331"/>
                  <a:gd name="T62" fmla="*/ 50 w 151"/>
                  <a:gd name="T63" fmla="*/ 312 h 331"/>
                  <a:gd name="T64" fmla="*/ 58 w 151"/>
                  <a:gd name="T65" fmla="*/ 320 h 331"/>
                  <a:gd name="T66" fmla="*/ 68 w 151"/>
                  <a:gd name="T67" fmla="*/ 326 h 331"/>
                  <a:gd name="T68" fmla="*/ 74 w 151"/>
                  <a:gd name="T69" fmla="*/ 329 h 331"/>
                  <a:gd name="T70" fmla="*/ 79 w 151"/>
                  <a:gd name="T71" fmla="*/ 330 h 331"/>
                  <a:gd name="T72" fmla="*/ 85 w 151"/>
                  <a:gd name="T73" fmla="*/ 331 h 331"/>
                  <a:gd name="T74" fmla="*/ 90 w 151"/>
                  <a:gd name="T75" fmla="*/ 331 h 331"/>
                  <a:gd name="T76" fmla="*/ 135 w 151"/>
                  <a:gd name="T77" fmla="*/ 331 h 331"/>
                  <a:gd name="T78" fmla="*/ 141 w 151"/>
                  <a:gd name="T79" fmla="*/ 330 h 331"/>
                  <a:gd name="T80" fmla="*/ 146 w 151"/>
                  <a:gd name="T81" fmla="*/ 326 h 331"/>
                  <a:gd name="T82" fmla="*/ 150 w 151"/>
                  <a:gd name="T83" fmla="*/ 322 h 331"/>
                  <a:gd name="T84" fmla="*/ 151 w 151"/>
                  <a:gd name="T85" fmla="*/ 317 h 331"/>
                  <a:gd name="T86" fmla="*/ 151 w 151"/>
                  <a:gd name="T87" fmla="*/ 15 h 331"/>
                  <a:gd name="T88" fmla="*/ 150 w 151"/>
                  <a:gd name="T89" fmla="*/ 10 h 331"/>
                  <a:gd name="T90" fmla="*/ 146 w 151"/>
                  <a:gd name="T91" fmla="*/ 5 h 331"/>
                  <a:gd name="T92" fmla="*/ 141 w 151"/>
                  <a:gd name="T93" fmla="*/ 2 h 331"/>
                  <a:gd name="T94" fmla="*/ 135 w 151"/>
                  <a:gd name="T9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1" h="331">
                    <a:moveTo>
                      <a:pt x="135" y="0"/>
                    </a:moveTo>
                    <a:lnTo>
                      <a:pt x="90" y="0"/>
                    </a:lnTo>
                    <a:lnTo>
                      <a:pt x="85" y="0"/>
                    </a:lnTo>
                    <a:lnTo>
                      <a:pt x="79" y="2"/>
                    </a:lnTo>
                    <a:lnTo>
                      <a:pt x="74" y="4"/>
                    </a:lnTo>
                    <a:lnTo>
                      <a:pt x="68" y="5"/>
                    </a:lnTo>
                    <a:lnTo>
                      <a:pt x="58" y="11"/>
                    </a:lnTo>
                    <a:lnTo>
                      <a:pt x="50" y="20"/>
                    </a:lnTo>
                    <a:lnTo>
                      <a:pt x="41" y="28"/>
                    </a:lnTo>
                    <a:lnTo>
                      <a:pt x="35" y="39"/>
                    </a:lnTo>
                    <a:lnTo>
                      <a:pt x="34" y="44"/>
                    </a:lnTo>
                    <a:lnTo>
                      <a:pt x="32" y="49"/>
                    </a:lnTo>
                    <a:lnTo>
                      <a:pt x="30" y="55"/>
                    </a:lnTo>
                    <a:lnTo>
                      <a:pt x="30" y="60"/>
                    </a:lnTo>
                    <a:lnTo>
                      <a:pt x="30" y="151"/>
                    </a:lnTo>
                    <a:lnTo>
                      <a:pt x="16" y="151"/>
                    </a:lnTo>
                    <a:lnTo>
                      <a:pt x="10" y="152"/>
                    </a:lnTo>
                    <a:lnTo>
                      <a:pt x="5" y="155"/>
                    </a:lnTo>
                    <a:lnTo>
                      <a:pt x="1" y="160"/>
                    </a:lnTo>
                    <a:lnTo>
                      <a:pt x="0" y="166"/>
                    </a:lnTo>
                    <a:lnTo>
                      <a:pt x="1" y="171"/>
                    </a:lnTo>
                    <a:lnTo>
                      <a:pt x="5" y="176"/>
                    </a:lnTo>
                    <a:lnTo>
                      <a:pt x="10" y="180"/>
                    </a:lnTo>
                    <a:lnTo>
                      <a:pt x="16" y="181"/>
                    </a:lnTo>
                    <a:lnTo>
                      <a:pt x="30" y="181"/>
                    </a:lnTo>
                    <a:lnTo>
                      <a:pt x="30" y="271"/>
                    </a:lnTo>
                    <a:lnTo>
                      <a:pt x="30" y="276"/>
                    </a:lnTo>
                    <a:lnTo>
                      <a:pt x="32" y="282"/>
                    </a:lnTo>
                    <a:lnTo>
                      <a:pt x="34" y="287"/>
                    </a:lnTo>
                    <a:lnTo>
                      <a:pt x="35" y="293"/>
                    </a:lnTo>
                    <a:lnTo>
                      <a:pt x="41" y="303"/>
                    </a:lnTo>
                    <a:lnTo>
                      <a:pt x="50" y="312"/>
                    </a:lnTo>
                    <a:lnTo>
                      <a:pt x="58" y="320"/>
                    </a:lnTo>
                    <a:lnTo>
                      <a:pt x="68" y="326"/>
                    </a:lnTo>
                    <a:lnTo>
                      <a:pt x="74" y="329"/>
                    </a:lnTo>
                    <a:lnTo>
                      <a:pt x="79" y="330"/>
                    </a:lnTo>
                    <a:lnTo>
                      <a:pt x="85" y="331"/>
                    </a:lnTo>
                    <a:lnTo>
                      <a:pt x="90" y="331"/>
                    </a:lnTo>
                    <a:lnTo>
                      <a:pt x="135" y="331"/>
                    </a:lnTo>
                    <a:lnTo>
                      <a:pt x="141" y="330"/>
                    </a:lnTo>
                    <a:lnTo>
                      <a:pt x="146" y="326"/>
                    </a:lnTo>
                    <a:lnTo>
                      <a:pt x="150" y="322"/>
                    </a:lnTo>
                    <a:lnTo>
                      <a:pt x="151" y="317"/>
                    </a:lnTo>
                    <a:lnTo>
                      <a:pt x="151" y="15"/>
                    </a:lnTo>
                    <a:lnTo>
                      <a:pt x="150" y="10"/>
                    </a:lnTo>
                    <a:lnTo>
                      <a:pt x="146" y="5"/>
                    </a:lnTo>
                    <a:lnTo>
                      <a:pt x="141" y="2"/>
                    </a:lnTo>
                    <a:lnTo>
                      <a:pt x="135"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52" name="Freeform 2073"/>
              <p:cNvSpPr>
                <a:spLocks/>
              </p:cNvSpPr>
              <p:nvPr/>
            </p:nvSpPr>
            <p:spPr bwMode="auto">
              <a:xfrm>
                <a:off x="10512425" y="2085975"/>
                <a:ext cx="171450" cy="163513"/>
              </a:xfrm>
              <a:custGeom>
                <a:avLst/>
                <a:gdLst>
                  <a:gd name="T0" fmla="*/ 421 w 542"/>
                  <a:gd name="T1" fmla="*/ 0 h 512"/>
                  <a:gd name="T2" fmla="*/ 395 w 542"/>
                  <a:gd name="T3" fmla="*/ 4 h 512"/>
                  <a:gd name="T4" fmla="*/ 386 w 542"/>
                  <a:gd name="T5" fmla="*/ 10 h 512"/>
                  <a:gd name="T6" fmla="*/ 377 w 542"/>
                  <a:gd name="T7" fmla="*/ 16 h 512"/>
                  <a:gd name="T8" fmla="*/ 370 w 542"/>
                  <a:gd name="T9" fmla="*/ 24 h 512"/>
                  <a:gd name="T10" fmla="*/ 365 w 542"/>
                  <a:gd name="T11" fmla="*/ 35 h 512"/>
                  <a:gd name="T12" fmla="*/ 361 w 542"/>
                  <a:gd name="T13" fmla="*/ 60 h 512"/>
                  <a:gd name="T14" fmla="*/ 180 w 542"/>
                  <a:gd name="T15" fmla="*/ 241 h 512"/>
                  <a:gd name="T16" fmla="*/ 179 w 542"/>
                  <a:gd name="T17" fmla="*/ 46 h 512"/>
                  <a:gd name="T18" fmla="*/ 174 w 542"/>
                  <a:gd name="T19" fmla="*/ 29 h 512"/>
                  <a:gd name="T20" fmla="*/ 168 w 542"/>
                  <a:gd name="T21" fmla="*/ 20 h 512"/>
                  <a:gd name="T22" fmla="*/ 161 w 542"/>
                  <a:gd name="T23" fmla="*/ 12 h 512"/>
                  <a:gd name="T24" fmla="*/ 151 w 542"/>
                  <a:gd name="T25" fmla="*/ 6 h 512"/>
                  <a:gd name="T26" fmla="*/ 134 w 542"/>
                  <a:gd name="T27" fmla="*/ 1 h 512"/>
                  <a:gd name="T28" fmla="*/ 59 w 542"/>
                  <a:gd name="T29" fmla="*/ 0 h 512"/>
                  <a:gd name="T30" fmla="*/ 35 w 542"/>
                  <a:gd name="T31" fmla="*/ 4 h 512"/>
                  <a:gd name="T32" fmla="*/ 24 w 542"/>
                  <a:gd name="T33" fmla="*/ 10 h 512"/>
                  <a:gd name="T34" fmla="*/ 15 w 542"/>
                  <a:gd name="T35" fmla="*/ 16 h 512"/>
                  <a:gd name="T36" fmla="*/ 9 w 542"/>
                  <a:gd name="T37" fmla="*/ 24 h 512"/>
                  <a:gd name="T38" fmla="*/ 3 w 542"/>
                  <a:gd name="T39" fmla="*/ 35 h 512"/>
                  <a:gd name="T40" fmla="*/ 0 w 542"/>
                  <a:gd name="T41" fmla="*/ 60 h 512"/>
                  <a:gd name="T42" fmla="*/ 1 w 542"/>
                  <a:gd name="T43" fmla="*/ 465 h 512"/>
                  <a:gd name="T44" fmla="*/ 6 w 542"/>
                  <a:gd name="T45" fmla="*/ 482 h 512"/>
                  <a:gd name="T46" fmla="*/ 12 w 542"/>
                  <a:gd name="T47" fmla="*/ 492 h 512"/>
                  <a:gd name="T48" fmla="*/ 19 w 542"/>
                  <a:gd name="T49" fmla="*/ 499 h 512"/>
                  <a:gd name="T50" fmla="*/ 29 w 542"/>
                  <a:gd name="T51" fmla="*/ 506 h 512"/>
                  <a:gd name="T52" fmla="*/ 46 w 542"/>
                  <a:gd name="T53" fmla="*/ 510 h 512"/>
                  <a:gd name="T54" fmla="*/ 120 w 542"/>
                  <a:gd name="T55" fmla="*/ 512 h 512"/>
                  <a:gd name="T56" fmla="*/ 146 w 542"/>
                  <a:gd name="T57" fmla="*/ 508 h 512"/>
                  <a:gd name="T58" fmla="*/ 156 w 542"/>
                  <a:gd name="T59" fmla="*/ 503 h 512"/>
                  <a:gd name="T60" fmla="*/ 164 w 542"/>
                  <a:gd name="T61" fmla="*/ 496 h 512"/>
                  <a:gd name="T62" fmla="*/ 172 w 542"/>
                  <a:gd name="T63" fmla="*/ 487 h 512"/>
                  <a:gd name="T64" fmla="*/ 177 w 542"/>
                  <a:gd name="T65" fmla="*/ 477 h 512"/>
                  <a:gd name="T66" fmla="*/ 180 w 542"/>
                  <a:gd name="T67" fmla="*/ 452 h 512"/>
                  <a:gd name="T68" fmla="*/ 361 w 542"/>
                  <a:gd name="T69" fmla="*/ 271 h 512"/>
                  <a:gd name="T70" fmla="*/ 362 w 542"/>
                  <a:gd name="T71" fmla="*/ 465 h 512"/>
                  <a:gd name="T72" fmla="*/ 367 w 542"/>
                  <a:gd name="T73" fmla="*/ 482 h 512"/>
                  <a:gd name="T74" fmla="*/ 373 w 542"/>
                  <a:gd name="T75" fmla="*/ 492 h 512"/>
                  <a:gd name="T76" fmla="*/ 381 w 542"/>
                  <a:gd name="T77" fmla="*/ 499 h 512"/>
                  <a:gd name="T78" fmla="*/ 390 w 542"/>
                  <a:gd name="T79" fmla="*/ 506 h 512"/>
                  <a:gd name="T80" fmla="*/ 408 w 542"/>
                  <a:gd name="T81" fmla="*/ 510 h 512"/>
                  <a:gd name="T82" fmla="*/ 481 w 542"/>
                  <a:gd name="T83" fmla="*/ 512 h 512"/>
                  <a:gd name="T84" fmla="*/ 506 w 542"/>
                  <a:gd name="T85" fmla="*/ 508 h 512"/>
                  <a:gd name="T86" fmla="*/ 517 w 542"/>
                  <a:gd name="T87" fmla="*/ 503 h 512"/>
                  <a:gd name="T88" fmla="*/ 526 w 542"/>
                  <a:gd name="T89" fmla="*/ 496 h 512"/>
                  <a:gd name="T90" fmla="*/ 532 w 542"/>
                  <a:gd name="T91" fmla="*/ 487 h 512"/>
                  <a:gd name="T92" fmla="*/ 537 w 542"/>
                  <a:gd name="T93" fmla="*/ 477 h 512"/>
                  <a:gd name="T94" fmla="*/ 542 w 542"/>
                  <a:gd name="T95" fmla="*/ 452 h 512"/>
                  <a:gd name="T96" fmla="*/ 541 w 542"/>
                  <a:gd name="T97" fmla="*/ 46 h 512"/>
                  <a:gd name="T98" fmla="*/ 535 w 542"/>
                  <a:gd name="T99" fmla="*/ 29 h 512"/>
                  <a:gd name="T100" fmla="*/ 530 w 542"/>
                  <a:gd name="T101" fmla="*/ 20 h 512"/>
                  <a:gd name="T102" fmla="*/ 521 w 542"/>
                  <a:gd name="T103" fmla="*/ 12 h 512"/>
                  <a:gd name="T104" fmla="*/ 513 w 542"/>
                  <a:gd name="T105" fmla="*/ 6 h 512"/>
                  <a:gd name="T106" fmla="*/ 494 w 542"/>
                  <a:gd name="T107" fmla="*/ 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2" h="512">
                    <a:moveTo>
                      <a:pt x="481" y="0"/>
                    </a:moveTo>
                    <a:lnTo>
                      <a:pt x="421" y="0"/>
                    </a:lnTo>
                    <a:lnTo>
                      <a:pt x="408" y="1"/>
                    </a:lnTo>
                    <a:lnTo>
                      <a:pt x="395" y="4"/>
                    </a:lnTo>
                    <a:lnTo>
                      <a:pt x="390" y="6"/>
                    </a:lnTo>
                    <a:lnTo>
                      <a:pt x="386" y="10"/>
                    </a:lnTo>
                    <a:lnTo>
                      <a:pt x="381" y="12"/>
                    </a:lnTo>
                    <a:lnTo>
                      <a:pt x="377" y="16"/>
                    </a:lnTo>
                    <a:lnTo>
                      <a:pt x="373" y="20"/>
                    </a:lnTo>
                    <a:lnTo>
                      <a:pt x="370" y="24"/>
                    </a:lnTo>
                    <a:lnTo>
                      <a:pt x="367" y="29"/>
                    </a:lnTo>
                    <a:lnTo>
                      <a:pt x="365" y="35"/>
                    </a:lnTo>
                    <a:lnTo>
                      <a:pt x="362" y="46"/>
                    </a:lnTo>
                    <a:lnTo>
                      <a:pt x="361" y="60"/>
                    </a:lnTo>
                    <a:lnTo>
                      <a:pt x="361" y="241"/>
                    </a:lnTo>
                    <a:lnTo>
                      <a:pt x="180" y="241"/>
                    </a:lnTo>
                    <a:lnTo>
                      <a:pt x="180" y="60"/>
                    </a:lnTo>
                    <a:lnTo>
                      <a:pt x="179" y="46"/>
                    </a:lnTo>
                    <a:lnTo>
                      <a:pt x="177" y="35"/>
                    </a:lnTo>
                    <a:lnTo>
                      <a:pt x="174" y="29"/>
                    </a:lnTo>
                    <a:lnTo>
                      <a:pt x="172" y="24"/>
                    </a:lnTo>
                    <a:lnTo>
                      <a:pt x="168" y="20"/>
                    </a:lnTo>
                    <a:lnTo>
                      <a:pt x="164" y="16"/>
                    </a:lnTo>
                    <a:lnTo>
                      <a:pt x="161" y="12"/>
                    </a:lnTo>
                    <a:lnTo>
                      <a:pt x="156" y="10"/>
                    </a:lnTo>
                    <a:lnTo>
                      <a:pt x="151" y="6"/>
                    </a:lnTo>
                    <a:lnTo>
                      <a:pt x="146" y="4"/>
                    </a:lnTo>
                    <a:lnTo>
                      <a:pt x="134" y="1"/>
                    </a:lnTo>
                    <a:lnTo>
                      <a:pt x="120" y="0"/>
                    </a:lnTo>
                    <a:lnTo>
                      <a:pt x="59" y="0"/>
                    </a:lnTo>
                    <a:lnTo>
                      <a:pt x="46" y="1"/>
                    </a:lnTo>
                    <a:lnTo>
                      <a:pt x="35" y="4"/>
                    </a:lnTo>
                    <a:lnTo>
                      <a:pt x="29" y="6"/>
                    </a:lnTo>
                    <a:lnTo>
                      <a:pt x="24" y="10"/>
                    </a:lnTo>
                    <a:lnTo>
                      <a:pt x="19" y="12"/>
                    </a:lnTo>
                    <a:lnTo>
                      <a:pt x="15" y="16"/>
                    </a:lnTo>
                    <a:lnTo>
                      <a:pt x="12" y="20"/>
                    </a:lnTo>
                    <a:lnTo>
                      <a:pt x="9" y="24"/>
                    </a:lnTo>
                    <a:lnTo>
                      <a:pt x="6" y="29"/>
                    </a:lnTo>
                    <a:lnTo>
                      <a:pt x="3" y="35"/>
                    </a:lnTo>
                    <a:lnTo>
                      <a:pt x="1" y="46"/>
                    </a:lnTo>
                    <a:lnTo>
                      <a:pt x="0" y="60"/>
                    </a:lnTo>
                    <a:lnTo>
                      <a:pt x="0" y="452"/>
                    </a:lnTo>
                    <a:lnTo>
                      <a:pt x="1" y="465"/>
                    </a:lnTo>
                    <a:lnTo>
                      <a:pt x="3" y="477"/>
                    </a:lnTo>
                    <a:lnTo>
                      <a:pt x="6" y="482"/>
                    </a:lnTo>
                    <a:lnTo>
                      <a:pt x="9" y="487"/>
                    </a:lnTo>
                    <a:lnTo>
                      <a:pt x="12" y="492"/>
                    </a:lnTo>
                    <a:lnTo>
                      <a:pt x="15" y="496"/>
                    </a:lnTo>
                    <a:lnTo>
                      <a:pt x="19" y="499"/>
                    </a:lnTo>
                    <a:lnTo>
                      <a:pt x="24" y="503"/>
                    </a:lnTo>
                    <a:lnTo>
                      <a:pt x="29" y="506"/>
                    </a:lnTo>
                    <a:lnTo>
                      <a:pt x="35" y="508"/>
                    </a:lnTo>
                    <a:lnTo>
                      <a:pt x="46" y="510"/>
                    </a:lnTo>
                    <a:lnTo>
                      <a:pt x="59" y="512"/>
                    </a:lnTo>
                    <a:lnTo>
                      <a:pt x="120" y="512"/>
                    </a:lnTo>
                    <a:lnTo>
                      <a:pt x="134" y="510"/>
                    </a:lnTo>
                    <a:lnTo>
                      <a:pt x="146" y="508"/>
                    </a:lnTo>
                    <a:lnTo>
                      <a:pt x="151" y="506"/>
                    </a:lnTo>
                    <a:lnTo>
                      <a:pt x="156" y="503"/>
                    </a:lnTo>
                    <a:lnTo>
                      <a:pt x="161" y="499"/>
                    </a:lnTo>
                    <a:lnTo>
                      <a:pt x="164" y="496"/>
                    </a:lnTo>
                    <a:lnTo>
                      <a:pt x="168" y="492"/>
                    </a:lnTo>
                    <a:lnTo>
                      <a:pt x="172" y="487"/>
                    </a:lnTo>
                    <a:lnTo>
                      <a:pt x="174" y="482"/>
                    </a:lnTo>
                    <a:lnTo>
                      <a:pt x="177" y="477"/>
                    </a:lnTo>
                    <a:lnTo>
                      <a:pt x="179" y="465"/>
                    </a:lnTo>
                    <a:lnTo>
                      <a:pt x="180" y="452"/>
                    </a:lnTo>
                    <a:lnTo>
                      <a:pt x="180" y="271"/>
                    </a:lnTo>
                    <a:lnTo>
                      <a:pt x="361" y="271"/>
                    </a:lnTo>
                    <a:lnTo>
                      <a:pt x="361" y="452"/>
                    </a:lnTo>
                    <a:lnTo>
                      <a:pt x="362" y="465"/>
                    </a:lnTo>
                    <a:lnTo>
                      <a:pt x="365" y="477"/>
                    </a:lnTo>
                    <a:lnTo>
                      <a:pt x="367" y="482"/>
                    </a:lnTo>
                    <a:lnTo>
                      <a:pt x="370" y="487"/>
                    </a:lnTo>
                    <a:lnTo>
                      <a:pt x="373" y="492"/>
                    </a:lnTo>
                    <a:lnTo>
                      <a:pt x="377" y="496"/>
                    </a:lnTo>
                    <a:lnTo>
                      <a:pt x="381" y="499"/>
                    </a:lnTo>
                    <a:lnTo>
                      <a:pt x="386" y="503"/>
                    </a:lnTo>
                    <a:lnTo>
                      <a:pt x="390" y="506"/>
                    </a:lnTo>
                    <a:lnTo>
                      <a:pt x="395" y="508"/>
                    </a:lnTo>
                    <a:lnTo>
                      <a:pt x="408" y="510"/>
                    </a:lnTo>
                    <a:lnTo>
                      <a:pt x="421" y="512"/>
                    </a:lnTo>
                    <a:lnTo>
                      <a:pt x="481" y="512"/>
                    </a:lnTo>
                    <a:lnTo>
                      <a:pt x="494" y="510"/>
                    </a:lnTo>
                    <a:lnTo>
                      <a:pt x="506" y="508"/>
                    </a:lnTo>
                    <a:lnTo>
                      <a:pt x="513" y="506"/>
                    </a:lnTo>
                    <a:lnTo>
                      <a:pt x="517" y="503"/>
                    </a:lnTo>
                    <a:lnTo>
                      <a:pt x="521" y="499"/>
                    </a:lnTo>
                    <a:lnTo>
                      <a:pt x="526" y="496"/>
                    </a:lnTo>
                    <a:lnTo>
                      <a:pt x="530" y="492"/>
                    </a:lnTo>
                    <a:lnTo>
                      <a:pt x="532" y="487"/>
                    </a:lnTo>
                    <a:lnTo>
                      <a:pt x="535" y="482"/>
                    </a:lnTo>
                    <a:lnTo>
                      <a:pt x="537" y="477"/>
                    </a:lnTo>
                    <a:lnTo>
                      <a:pt x="541" y="465"/>
                    </a:lnTo>
                    <a:lnTo>
                      <a:pt x="542" y="452"/>
                    </a:lnTo>
                    <a:lnTo>
                      <a:pt x="542" y="60"/>
                    </a:lnTo>
                    <a:lnTo>
                      <a:pt x="541" y="46"/>
                    </a:lnTo>
                    <a:lnTo>
                      <a:pt x="537" y="35"/>
                    </a:lnTo>
                    <a:lnTo>
                      <a:pt x="535" y="29"/>
                    </a:lnTo>
                    <a:lnTo>
                      <a:pt x="532" y="24"/>
                    </a:lnTo>
                    <a:lnTo>
                      <a:pt x="530" y="20"/>
                    </a:lnTo>
                    <a:lnTo>
                      <a:pt x="526" y="16"/>
                    </a:lnTo>
                    <a:lnTo>
                      <a:pt x="521" y="12"/>
                    </a:lnTo>
                    <a:lnTo>
                      <a:pt x="517" y="10"/>
                    </a:lnTo>
                    <a:lnTo>
                      <a:pt x="513" y="6"/>
                    </a:lnTo>
                    <a:lnTo>
                      <a:pt x="506" y="4"/>
                    </a:lnTo>
                    <a:lnTo>
                      <a:pt x="494" y="1"/>
                    </a:lnTo>
                    <a:lnTo>
                      <a:pt x="481"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53" name="Freeform 2074"/>
              <p:cNvSpPr>
                <a:spLocks/>
              </p:cNvSpPr>
              <p:nvPr/>
            </p:nvSpPr>
            <p:spPr bwMode="auto">
              <a:xfrm>
                <a:off x="10693400" y="2114550"/>
                <a:ext cx="47625" cy="106363"/>
              </a:xfrm>
              <a:custGeom>
                <a:avLst/>
                <a:gdLst>
                  <a:gd name="T0" fmla="*/ 136 w 150"/>
                  <a:gd name="T1" fmla="*/ 151 h 331"/>
                  <a:gd name="T2" fmla="*/ 121 w 150"/>
                  <a:gd name="T3" fmla="*/ 151 h 331"/>
                  <a:gd name="T4" fmla="*/ 121 w 150"/>
                  <a:gd name="T5" fmla="*/ 60 h 331"/>
                  <a:gd name="T6" fmla="*/ 120 w 150"/>
                  <a:gd name="T7" fmla="*/ 55 h 331"/>
                  <a:gd name="T8" fmla="*/ 120 w 150"/>
                  <a:gd name="T9" fmla="*/ 49 h 331"/>
                  <a:gd name="T10" fmla="*/ 117 w 150"/>
                  <a:gd name="T11" fmla="*/ 44 h 331"/>
                  <a:gd name="T12" fmla="*/ 115 w 150"/>
                  <a:gd name="T13" fmla="*/ 38 h 331"/>
                  <a:gd name="T14" fmla="*/ 109 w 150"/>
                  <a:gd name="T15" fmla="*/ 28 h 331"/>
                  <a:gd name="T16" fmla="*/ 102 w 150"/>
                  <a:gd name="T17" fmla="*/ 20 h 331"/>
                  <a:gd name="T18" fmla="*/ 93 w 150"/>
                  <a:gd name="T19" fmla="*/ 11 h 331"/>
                  <a:gd name="T20" fmla="*/ 82 w 150"/>
                  <a:gd name="T21" fmla="*/ 5 h 331"/>
                  <a:gd name="T22" fmla="*/ 77 w 150"/>
                  <a:gd name="T23" fmla="*/ 4 h 331"/>
                  <a:gd name="T24" fmla="*/ 71 w 150"/>
                  <a:gd name="T25" fmla="*/ 2 h 331"/>
                  <a:gd name="T26" fmla="*/ 66 w 150"/>
                  <a:gd name="T27" fmla="*/ 0 h 331"/>
                  <a:gd name="T28" fmla="*/ 60 w 150"/>
                  <a:gd name="T29" fmla="*/ 0 h 331"/>
                  <a:gd name="T30" fmla="*/ 15 w 150"/>
                  <a:gd name="T31" fmla="*/ 0 h 331"/>
                  <a:gd name="T32" fmla="*/ 10 w 150"/>
                  <a:gd name="T33" fmla="*/ 2 h 331"/>
                  <a:gd name="T34" fmla="*/ 5 w 150"/>
                  <a:gd name="T35" fmla="*/ 5 h 331"/>
                  <a:gd name="T36" fmla="*/ 1 w 150"/>
                  <a:gd name="T37" fmla="*/ 10 h 331"/>
                  <a:gd name="T38" fmla="*/ 0 w 150"/>
                  <a:gd name="T39" fmla="*/ 15 h 331"/>
                  <a:gd name="T40" fmla="*/ 0 w 150"/>
                  <a:gd name="T41" fmla="*/ 317 h 331"/>
                  <a:gd name="T42" fmla="*/ 1 w 150"/>
                  <a:gd name="T43" fmla="*/ 322 h 331"/>
                  <a:gd name="T44" fmla="*/ 5 w 150"/>
                  <a:gd name="T45" fmla="*/ 326 h 331"/>
                  <a:gd name="T46" fmla="*/ 10 w 150"/>
                  <a:gd name="T47" fmla="*/ 330 h 331"/>
                  <a:gd name="T48" fmla="*/ 15 w 150"/>
                  <a:gd name="T49" fmla="*/ 331 h 331"/>
                  <a:gd name="T50" fmla="*/ 60 w 150"/>
                  <a:gd name="T51" fmla="*/ 331 h 331"/>
                  <a:gd name="T52" fmla="*/ 66 w 150"/>
                  <a:gd name="T53" fmla="*/ 331 h 331"/>
                  <a:gd name="T54" fmla="*/ 71 w 150"/>
                  <a:gd name="T55" fmla="*/ 330 h 331"/>
                  <a:gd name="T56" fmla="*/ 77 w 150"/>
                  <a:gd name="T57" fmla="*/ 329 h 331"/>
                  <a:gd name="T58" fmla="*/ 82 w 150"/>
                  <a:gd name="T59" fmla="*/ 326 h 331"/>
                  <a:gd name="T60" fmla="*/ 93 w 150"/>
                  <a:gd name="T61" fmla="*/ 320 h 331"/>
                  <a:gd name="T62" fmla="*/ 102 w 150"/>
                  <a:gd name="T63" fmla="*/ 312 h 331"/>
                  <a:gd name="T64" fmla="*/ 109 w 150"/>
                  <a:gd name="T65" fmla="*/ 303 h 331"/>
                  <a:gd name="T66" fmla="*/ 115 w 150"/>
                  <a:gd name="T67" fmla="*/ 293 h 331"/>
                  <a:gd name="T68" fmla="*/ 117 w 150"/>
                  <a:gd name="T69" fmla="*/ 287 h 331"/>
                  <a:gd name="T70" fmla="*/ 120 w 150"/>
                  <a:gd name="T71" fmla="*/ 282 h 331"/>
                  <a:gd name="T72" fmla="*/ 120 w 150"/>
                  <a:gd name="T73" fmla="*/ 276 h 331"/>
                  <a:gd name="T74" fmla="*/ 121 w 150"/>
                  <a:gd name="T75" fmla="*/ 271 h 331"/>
                  <a:gd name="T76" fmla="*/ 121 w 150"/>
                  <a:gd name="T77" fmla="*/ 181 h 331"/>
                  <a:gd name="T78" fmla="*/ 136 w 150"/>
                  <a:gd name="T79" fmla="*/ 181 h 331"/>
                  <a:gd name="T80" fmla="*/ 142 w 150"/>
                  <a:gd name="T81" fmla="*/ 180 h 331"/>
                  <a:gd name="T82" fmla="*/ 147 w 150"/>
                  <a:gd name="T83" fmla="*/ 176 h 331"/>
                  <a:gd name="T84" fmla="*/ 149 w 150"/>
                  <a:gd name="T85" fmla="*/ 171 h 331"/>
                  <a:gd name="T86" fmla="*/ 150 w 150"/>
                  <a:gd name="T87" fmla="*/ 166 h 331"/>
                  <a:gd name="T88" fmla="*/ 149 w 150"/>
                  <a:gd name="T89" fmla="*/ 160 h 331"/>
                  <a:gd name="T90" fmla="*/ 147 w 150"/>
                  <a:gd name="T91" fmla="*/ 155 h 331"/>
                  <a:gd name="T92" fmla="*/ 142 w 150"/>
                  <a:gd name="T93" fmla="*/ 152 h 331"/>
                  <a:gd name="T94" fmla="*/ 136 w 150"/>
                  <a:gd name="T95" fmla="*/ 15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0" h="331">
                    <a:moveTo>
                      <a:pt x="136" y="151"/>
                    </a:moveTo>
                    <a:lnTo>
                      <a:pt x="121" y="151"/>
                    </a:lnTo>
                    <a:lnTo>
                      <a:pt x="121" y="60"/>
                    </a:lnTo>
                    <a:lnTo>
                      <a:pt x="120" y="55"/>
                    </a:lnTo>
                    <a:lnTo>
                      <a:pt x="120" y="49"/>
                    </a:lnTo>
                    <a:lnTo>
                      <a:pt x="117" y="44"/>
                    </a:lnTo>
                    <a:lnTo>
                      <a:pt x="115" y="38"/>
                    </a:lnTo>
                    <a:lnTo>
                      <a:pt x="109" y="28"/>
                    </a:lnTo>
                    <a:lnTo>
                      <a:pt x="102" y="20"/>
                    </a:lnTo>
                    <a:lnTo>
                      <a:pt x="93" y="11"/>
                    </a:lnTo>
                    <a:lnTo>
                      <a:pt x="82" y="5"/>
                    </a:lnTo>
                    <a:lnTo>
                      <a:pt x="77" y="4"/>
                    </a:lnTo>
                    <a:lnTo>
                      <a:pt x="71" y="2"/>
                    </a:lnTo>
                    <a:lnTo>
                      <a:pt x="66" y="0"/>
                    </a:lnTo>
                    <a:lnTo>
                      <a:pt x="60" y="0"/>
                    </a:lnTo>
                    <a:lnTo>
                      <a:pt x="15" y="0"/>
                    </a:lnTo>
                    <a:lnTo>
                      <a:pt x="10" y="2"/>
                    </a:lnTo>
                    <a:lnTo>
                      <a:pt x="5" y="5"/>
                    </a:lnTo>
                    <a:lnTo>
                      <a:pt x="1" y="10"/>
                    </a:lnTo>
                    <a:lnTo>
                      <a:pt x="0" y="15"/>
                    </a:lnTo>
                    <a:lnTo>
                      <a:pt x="0" y="317"/>
                    </a:lnTo>
                    <a:lnTo>
                      <a:pt x="1" y="322"/>
                    </a:lnTo>
                    <a:lnTo>
                      <a:pt x="5" y="326"/>
                    </a:lnTo>
                    <a:lnTo>
                      <a:pt x="10" y="330"/>
                    </a:lnTo>
                    <a:lnTo>
                      <a:pt x="15" y="331"/>
                    </a:lnTo>
                    <a:lnTo>
                      <a:pt x="60" y="331"/>
                    </a:lnTo>
                    <a:lnTo>
                      <a:pt x="66" y="331"/>
                    </a:lnTo>
                    <a:lnTo>
                      <a:pt x="71" y="330"/>
                    </a:lnTo>
                    <a:lnTo>
                      <a:pt x="77" y="329"/>
                    </a:lnTo>
                    <a:lnTo>
                      <a:pt x="82" y="326"/>
                    </a:lnTo>
                    <a:lnTo>
                      <a:pt x="93" y="320"/>
                    </a:lnTo>
                    <a:lnTo>
                      <a:pt x="102" y="312"/>
                    </a:lnTo>
                    <a:lnTo>
                      <a:pt x="109" y="303"/>
                    </a:lnTo>
                    <a:lnTo>
                      <a:pt x="115" y="293"/>
                    </a:lnTo>
                    <a:lnTo>
                      <a:pt x="117" y="287"/>
                    </a:lnTo>
                    <a:lnTo>
                      <a:pt x="120" y="282"/>
                    </a:lnTo>
                    <a:lnTo>
                      <a:pt x="120" y="276"/>
                    </a:lnTo>
                    <a:lnTo>
                      <a:pt x="121" y="271"/>
                    </a:lnTo>
                    <a:lnTo>
                      <a:pt x="121" y="181"/>
                    </a:lnTo>
                    <a:lnTo>
                      <a:pt x="136" y="181"/>
                    </a:lnTo>
                    <a:lnTo>
                      <a:pt x="142" y="180"/>
                    </a:lnTo>
                    <a:lnTo>
                      <a:pt x="147" y="176"/>
                    </a:lnTo>
                    <a:lnTo>
                      <a:pt x="149" y="171"/>
                    </a:lnTo>
                    <a:lnTo>
                      <a:pt x="150" y="166"/>
                    </a:lnTo>
                    <a:lnTo>
                      <a:pt x="149" y="160"/>
                    </a:lnTo>
                    <a:lnTo>
                      <a:pt x="147" y="155"/>
                    </a:lnTo>
                    <a:lnTo>
                      <a:pt x="142" y="152"/>
                    </a:lnTo>
                    <a:lnTo>
                      <a:pt x="136" y="15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154" name="Group 153"/>
            <p:cNvGrpSpPr/>
            <p:nvPr/>
          </p:nvGrpSpPr>
          <p:grpSpPr>
            <a:xfrm>
              <a:off x="6868970" y="2282847"/>
              <a:ext cx="312740" cy="307528"/>
              <a:chOff x="6443663" y="2484438"/>
              <a:chExt cx="285750" cy="280987"/>
            </a:xfrm>
            <a:solidFill>
              <a:srgbClr val="46B688"/>
            </a:solidFill>
            <a:effectLst>
              <a:outerShdw blurRad="38100" dist="25400" dir="5400000" algn="ctr" rotWithShape="0">
                <a:srgbClr val="000000">
                  <a:alpha val="20000"/>
                </a:srgbClr>
              </a:outerShdw>
            </a:effectLst>
          </p:grpSpPr>
          <p:sp>
            <p:nvSpPr>
              <p:cNvPr id="155" name="Freeform 3837"/>
              <p:cNvSpPr>
                <a:spLocks/>
              </p:cNvSpPr>
              <p:nvPr/>
            </p:nvSpPr>
            <p:spPr bwMode="auto">
              <a:xfrm>
                <a:off x="6486525" y="2498725"/>
                <a:ext cx="42863" cy="42863"/>
              </a:xfrm>
              <a:custGeom>
                <a:avLst/>
                <a:gdLst>
                  <a:gd name="T0" fmla="*/ 84 w 135"/>
                  <a:gd name="T1" fmla="*/ 127 h 136"/>
                  <a:gd name="T2" fmla="*/ 89 w 135"/>
                  <a:gd name="T3" fmla="*/ 130 h 136"/>
                  <a:gd name="T4" fmla="*/ 95 w 135"/>
                  <a:gd name="T5" fmla="*/ 133 h 136"/>
                  <a:gd name="T6" fmla="*/ 100 w 135"/>
                  <a:gd name="T7" fmla="*/ 134 h 136"/>
                  <a:gd name="T8" fmla="*/ 105 w 135"/>
                  <a:gd name="T9" fmla="*/ 136 h 136"/>
                  <a:gd name="T10" fmla="*/ 112 w 135"/>
                  <a:gd name="T11" fmla="*/ 134 h 136"/>
                  <a:gd name="T12" fmla="*/ 117 w 135"/>
                  <a:gd name="T13" fmla="*/ 133 h 136"/>
                  <a:gd name="T14" fmla="*/ 122 w 135"/>
                  <a:gd name="T15" fmla="*/ 130 h 136"/>
                  <a:gd name="T16" fmla="*/ 127 w 135"/>
                  <a:gd name="T17" fmla="*/ 127 h 136"/>
                  <a:gd name="T18" fmla="*/ 131 w 135"/>
                  <a:gd name="T19" fmla="*/ 122 h 136"/>
                  <a:gd name="T20" fmla="*/ 133 w 135"/>
                  <a:gd name="T21" fmla="*/ 116 h 136"/>
                  <a:gd name="T22" fmla="*/ 135 w 135"/>
                  <a:gd name="T23" fmla="*/ 111 h 136"/>
                  <a:gd name="T24" fmla="*/ 135 w 135"/>
                  <a:gd name="T25" fmla="*/ 106 h 136"/>
                  <a:gd name="T26" fmla="*/ 135 w 135"/>
                  <a:gd name="T27" fmla="*/ 100 h 136"/>
                  <a:gd name="T28" fmla="*/ 133 w 135"/>
                  <a:gd name="T29" fmla="*/ 94 h 136"/>
                  <a:gd name="T30" fmla="*/ 131 w 135"/>
                  <a:gd name="T31" fmla="*/ 89 h 136"/>
                  <a:gd name="T32" fmla="*/ 127 w 135"/>
                  <a:gd name="T33" fmla="*/ 84 h 136"/>
                  <a:gd name="T34" fmla="*/ 52 w 135"/>
                  <a:gd name="T35" fmla="*/ 9 h 136"/>
                  <a:gd name="T36" fmla="*/ 47 w 135"/>
                  <a:gd name="T37" fmla="*/ 5 h 136"/>
                  <a:gd name="T38" fmla="*/ 42 w 135"/>
                  <a:gd name="T39" fmla="*/ 3 h 136"/>
                  <a:gd name="T40" fmla="*/ 36 w 135"/>
                  <a:gd name="T41" fmla="*/ 0 h 136"/>
                  <a:gd name="T42" fmla="*/ 30 w 135"/>
                  <a:gd name="T43" fmla="*/ 0 h 136"/>
                  <a:gd name="T44" fmla="*/ 25 w 135"/>
                  <a:gd name="T45" fmla="*/ 0 h 136"/>
                  <a:gd name="T46" fmla="*/ 19 w 135"/>
                  <a:gd name="T47" fmla="*/ 3 h 136"/>
                  <a:gd name="T48" fmla="*/ 14 w 135"/>
                  <a:gd name="T49" fmla="*/ 5 h 136"/>
                  <a:gd name="T50" fmla="*/ 9 w 135"/>
                  <a:gd name="T51" fmla="*/ 9 h 136"/>
                  <a:gd name="T52" fmla="*/ 6 w 135"/>
                  <a:gd name="T53" fmla="*/ 13 h 136"/>
                  <a:gd name="T54" fmla="*/ 2 w 135"/>
                  <a:gd name="T55" fmla="*/ 19 h 136"/>
                  <a:gd name="T56" fmla="*/ 1 w 135"/>
                  <a:gd name="T57" fmla="*/ 25 h 136"/>
                  <a:gd name="T58" fmla="*/ 0 w 135"/>
                  <a:gd name="T59" fmla="*/ 30 h 136"/>
                  <a:gd name="T60" fmla="*/ 1 w 135"/>
                  <a:gd name="T61" fmla="*/ 36 h 136"/>
                  <a:gd name="T62" fmla="*/ 2 w 135"/>
                  <a:gd name="T63" fmla="*/ 41 h 136"/>
                  <a:gd name="T64" fmla="*/ 6 w 135"/>
                  <a:gd name="T65" fmla="*/ 47 h 136"/>
                  <a:gd name="T66" fmla="*/ 9 w 135"/>
                  <a:gd name="T67" fmla="*/ 52 h 136"/>
                  <a:gd name="T68" fmla="*/ 84 w 135"/>
                  <a:gd name="T69" fmla="*/ 12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5" h="136">
                    <a:moveTo>
                      <a:pt x="84" y="127"/>
                    </a:moveTo>
                    <a:lnTo>
                      <a:pt x="89" y="130"/>
                    </a:lnTo>
                    <a:lnTo>
                      <a:pt x="95" y="133"/>
                    </a:lnTo>
                    <a:lnTo>
                      <a:pt x="100" y="134"/>
                    </a:lnTo>
                    <a:lnTo>
                      <a:pt x="105" y="136"/>
                    </a:lnTo>
                    <a:lnTo>
                      <a:pt x="112" y="134"/>
                    </a:lnTo>
                    <a:lnTo>
                      <a:pt x="117" y="133"/>
                    </a:lnTo>
                    <a:lnTo>
                      <a:pt x="122" y="130"/>
                    </a:lnTo>
                    <a:lnTo>
                      <a:pt x="127" y="127"/>
                    </a:lnTo>
                    <a:lnTo>
                      <a:pt x="131" y="122"/>
                    </a:lnTo>
                    <a:lnTo>
                      <a:pt x="133" y="116"/>
                    </a:lnTo>
                    <a:lnTo>
                      <a:pt x="135" y="111"/>
                    </a:lnTo>
                    <a:lnTo>
                      <a:pt x="135" y="106"/>
                    </a:lnTo>
                    <a:lnTo>
                      <a:pt x="135" y="100"/>
                    </a:lnTo>
                    <a:lnTo>
                      <a:pt x="133" y="94"/>
                    </a:lnTo>
                    <a:lnTo>
                      <a:pt x="131" y="89"/>
                    </a:lnTo>
                    <a:lnTo>
                      <a:pt x="127" y="84"/>
                    </a:lnTo>
                    <a:lnTo>
                      <a:pt x="52" y="9"/>
                    </a:lnTo>
                    <a:lnTo>
                      <a:pt x="47" y="5"/>
                    </a:lnTo>
                    <a:lnTo>
                      <a:pt x="42" y="3"/>
                    </a:lnTo>
                    <a:lnTo>
                      <a:pt x="36" y="0"/>
                    </a:lnTo>
                    <a:lnTo>
                      <a:pt x="30" y="0"/>
                    </a:lnTo>
                    <a:lnTo>
                      <a:pt x="25" y="0"/>
                    </a:lnTo>
                    <a:lnTo>
                      <a:pt x="19" y="3"/>
                    </a:lnTo>
                    <a:lnTo>
                      <a:pt x="14" y="5"/>
                    </a:lnTo>
                    <a:lnTo>
                      <a:pt x="9" y="9"/>
                    </a:lnTo>
                    <a:lnTo>
                      <a:pt x="6" y="13"/>
                    </a:lnTo>
                    <a:lnTo>
                      <a:pt x="2" y="19"/>
                    </a:lnTo>
                    <a:lnTo>
                      <a:pt x="1" y="25"/>
                    </a:lnTo>
                    <a:lnTo>
                      <a:pt x="0" y="30"/>
                    </a:lnTo>
                    <a:lnTo>
                      <a:pt x="1" y="36"/>
                    </a:lnTo>
                    <a:lnTo>
                      <a:pt x="2" y="41"/>
                    </a:lnTo>
                    <a:lnTo>
                      <a:pt x="6" y="47"/>
                    </a:lnTo>
                    <a:lnTo>
                      <a:pt x="9" y="52"/>
                    </a:lnTo>
                    <a:lnTo>
                      <a:pt x="84" y="12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59" name="Freeform 3838"/>
              <p:cNvSpPr>
                <a:spLocks/>
              </p:cNvSpPr>
              <p:nvPr/>
            </p:nvSpPr>
            <p:spPr bwMode="auto">
              <a:xfrm>
                <a:off x="6543675" y="2484438"/>
                <a:ext cx="19050" cy="47625"/>
              </a:xfrm>
              <a:custGeom>
                <a:avLst/>
                <a:gdLst>
                  <a:gd name="T0" fmla="*/ 30 w 60"/>
                  <a:gd name="T1" fmla="*/ 151 h 151"/>
                  <a:gd name="T2" fmla="*/ 37 w 60"/>
                  <a:gd name="T3" fmla="*/ 149 h 151"/>
                  <a:gd name="T4" fmla="*/ 42 w 60"/>
                  <a:gd name="T5" fmla="*/ 148 h 151"/>
                  <a:gd name="T6" fmla="*/ 48 w 60"/>
                  <a:gd name="T7" fmla="*/ 145 h 151"/>
                  <a:gd name="T8" fmla="*/ 52 w 60"/>
                  <a:gd name="T9" fmla="*/ 142 h 151"/>
                  <a:gd name="T10" fmla="*/ 55 w 60"/>
                  <a:gd name="T11" fmla="*/ 138 h 151"/>
                  <a:gd name="T12" fmla="*/ 58 w 60"/>
                  <a:gd name="T13" fmla="*/ 132 h 151"/>
                  <a:gd name="T14" fmla="*/ 60 w 60"/>
                  <a:gd name="T15" fmla="*/ 127 h 151"/>
                  <a:gd name="T16" fmla="*/ 60 w 60"/>
                  <a:gd name="T17" fmla="*/ 120 h 151"/>
                  <a:gd name="T18" fmla="*/ 60 w 60"/>
                  <a:gd name="T19" fmla="*/ 30 h 151"/>
                  <a:gd name="T20" fmla="*/ 60 w 60"/>
                  <a:gd name="T21" fmla="*/ 24 h 151"/>
                  <a:gd name="T22" fmla="*/ 58 w 60"/>
                  <a:gd name="T23" fmla="*/ 19 h 151"/>
                  <a:gd name="T24" fmla="*/ 55 w 60"/>
                  <a:gd name="T25" fmla="*/ 13 h 151"/>
                  <a:gd name="T26" fmla="*/ 52 w 60"/>
                  <a:gd name="T27" fmla="*/ 9 h 151"/>
                  <a:gd name="T28" fmla="*/ 48 w 60"/>
                  <a:gd name="T29" fmla="*/ 6 h 151"/>
                  <a:gd name="T30" fmla="*/ 42 w 60"/>
                  <a:gd name="T31" fmla="*/ 3 h 151"/>
                  <a:gd name="T32" fmla="*/ 37 w 60"/>
                  <a:gd name="T33" fmla="*/ 0 h 151"/>
                  <a:gd name="T34" fmla="*/ 30 w 60"/>
                  <a:gd name="T35" fmla="*/ 0 h 151"/>
                  <a:gd name="T36" fmla="*/ 25 w 60"/>
                  <a:gd name="T37" fmla="*/ 0 h 151"/>
                  <a:gd name="T38" fmla="*/ 19 w 60"/>
                  <a:gd name="T39" fmla="*/ 3 h 151"/>
                  <a:gd name="T40" fmla="*/ 14 w 60"/>
                  <a:gd name="T41" fmla="*/ 6 h 151"/>
                  <a:gd name="T42" fmla="*/ 9 w 60"/>
                  <a:gd name="T43" fmla="*/ 9 h 151"/>
                  <a:gd name="T44" fmla="*/ 6 w 60"/>
                  <a:gd name="T45" fmla="*/ 13 h 151"/>
                  <a:gd name="T46" fmla="*/ 2 w 60"/>
                  <a:gd name="T47" fmla="*/ 19 h 151"/>
                  <a:gd name="T48" fmla="*/ 1 w 60"/>
                  <a:gd name="T49" fmla="*/ 24 h 151"/>
                  <a:gd name="T50" fmla="*/ 0 w 60"/>
                  <a:gd name="T51" fmla="*/ 30 h 151"/>
                  <a:gd name="T52" fmla="*/ 0 w 60"/>
                  <a:gd name="T53" fmla="*/ 120 h 151"/>
                  <a:gd name="T54" fmla="*/ 1 w 60"/>
                  <a:gd name="T55" fmla="*/ 127 h 151"/>
                  <a:gd name="T56" fmla="*/ 2 w 60"/>
                  <a:gd name="T57" fmla="*/ 132 h 151"/>
                  <a:gd name="T58" fmla="*/ 6 w 60"/>
                  <a:gd name="T59" fmla="*/ 138 h 151"/>
                  <a:gd name="T60" fmla="*/ 9 w 60"/>
                  <a:gd name="T61" fmla="*/ 142 h 151"/>
                  <a:gd name="T62" fmla="*/ 14 w 60"/>
                  <a:gd name="T63" fmla="*/ 145 h 151"/>
                  <a:gd name="T64" fmla="*/ 19 w 60"/>
                  <a:gd name="T65" fmla="*/ 148 h 151"/>
                  <a:gd name="T66" fmla="*/ 25 w 60"/>
                  <a:gd name="T67" fmla="*/ 149 h 151"/>
                  <a:gd name="T68" fmla="*/ 30 w 60"/>
                  <a:gd name="T69" fmla="*/ 151 h 151"/>
                  <a:gd name="T70" fmla="*/ 30 w 60"/>
                  <a:gd name="T71"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151">
                    <a:moveTo>
                      <a:pt x="30" y="151"/>
                    </a:moveTo>
                    <a:lnTo>
                      <a:pt x="37" y="149"/>
                    </a:lnTo>
                    <a:lnTo>
                      <a:pt x="42" y="148"/>
                    </a:lnTo>
                    <a:lnTo>
                      <a:pt x="48" y="145"/>
                    </a:lnTo>
                    <a:lnTo>
                      <a:pt x="52" y="142"/>
                    </a:lnTo>
                    <a:lnTo>
                      <a:pt x="55" y="138"/>
                    </a:lnTo>
                    <a:lnTo>
                      <a:pt x="58" y="132"/>
                    </a:lnTo>
                    <a:lnTo>
                      <a:pt x="60" y="127"/>
                    </a:lnTo>
                    <a:lnTo>
                      <a:pt x="60" y="120"/>
                    </a:lnTo>
                    <a:lnTo>
                      <a:pt x="60" y="30"/>
                    </a:lnTo>
                    <a:lnTo>
                      <a:pt x="60" y="24"/>
                    </a:lnTo>
                    <a:lnTo>
                      <a:pt x="58" y="19"/>
                    </a:lnTo>
                    <a:lnTo>
                      <a:pt x="55" y="13"/>
                    </a:lnTo>
                    <a:lnTo>
                      <a:pt x="52" y="9"/>
                    </a:lnTo>
                    <a:lnTo>
                      <a:pt x="48" y="6"/>
                    </a:lnTo>
                    <a:lnTo>
                      <a:pt x="42" y="3"/>
                    </a:lnTo>
                    <a:lnTo>
                      <a:pt x="37" y="0"/>
                    </a:lnTo>
                    <a:lnTo>
                      <a:pt x="30" y="0"/>
                    </a:lnTo>
                    <a:lnTo>
                      <a:pt x="25" y="0"/>
                    </a:lnTo>
                    <a:lnTo>
                      <a:pt x="19" y="3"/>
                    </a:lnTo>
                    <a:lnTo>
                      <a:pt x="14" y="6"/>
                    </a:lnTo>
                    <a:lnTo>
                      <a:pt x="9" y="9"/>
                    </a:lnTo>
                    <a:lnTo>
                      <a:pt x="6" y="13"/>
                    </a:lnTo>
                    <a:lnTo>
                      <a:pt x="2" y="19"/>
                    </a:lnTo>
                    <a:lnTo>
                      <a:pt x="1" y="24"/>
                    </a:lnTo>
                    <a:lnTo>
                      <a:pt x="0" y="30"/>
                    </a:lnTo>
                    <a:lnTo>
                      <a:pt x="0" y="120"/>
                    </a:lnTo>
                    <a:lnTo>
                      <a:pt x="1" y="127"/>
                    </a:lnTo>
                    <a:lnTo>
                      <a:pt x="2" y="132"/>
                    </a:lnTo>
                    <a:lnTo>
                      <a:pt x="6" y="138"/>
                    </a:lnTo>
                    <a:lnTo>
                      <a:pt x="9" y="142"/>
                    </a:lnTo>
                    <a:lnTo>
                      <a:pt x="14" y="145"/>
                    </a:lnTo>
                    <a:lnTo>
                      <a:pt x="19" y="148"/>
                    </a:lnTo>
                    <a:lnTo>
                      <a:pt x="25" y="149"/>
                    </a:lnTo>
                    <a:lnTo>
                      <a:pt x="30" y="151"/>
                    </a:lnTo>
                    <a:lnTo>
                      <a:pt x="30" y="151"/>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60" name="Freeform 3839"/>
              <p:cNvSpPr>
                <a:spLocks/>
              </p:cNvSpPr>
              <p:nvPr/>
            </p:nvSpPr>
            <p:spPr bwMode="auto">
              <a:xfrm>
                <a:off x="6467475" y="2555875"/>
                <a:ext cx="47625" cy="19050"/>
              </a:xfrm>
              <a:custGeom>
                <a:avLst/>
                <a:gdLst>
                  <a:gd name="T0" fmla="*/ 30 w 150"/>
                  <a:gd name="T1" fmla="*/ 60 h 60"/>
                  <a:gd name="T2" fmla="*/ 120 w 150"/>
                  <a:gd name="T3" fmla="*/ 60 h 60"/>
                  <a:gd name="T4" fmla="*/ 127 w 150"/>
                  <a:gd name="T5" fmla="*/ 59 h 60"/>
                  <a:gd name="T6" fmla="*/ 132 w 150"/>
                  <a:gd name="T7" fmla="*/ 57 h 60"/>
                  <a:gd name="T8" fmla="*/ 137 w 150"/>
                  <a:gd name="T9" fmla="*/ 54 h 60"/>
                  <a:gd name="T10" fmla="*/ 142 w 150"/>
                  <a:gd name="T11" fmla="*/ 51 h 60"/>
                  <a:gd name="T12" fmla="*/ 145 w 150"/>
                  <a:gd name="T13" fmla="*/ 47 h 60"/>
                  <a:gd name="T14" fmla="*/ 148 w 150"/>
                  <a:gd name="T15" fmla="*/ 41 h 60"/>
                  <a:gd name="T16" fmla="*/ 150 w 150"/>
                  <a:gd name="T17" fmla="*/ 36 h 60"/>
                  <a:gd name="T18" fmla="*/ 150 w 150"/>
                  <a:gd name="T19" fmla="*/ 30 h 60"/>
                  <a:gd name="T20" fmla="*/ 150 w 150"/>
                  <a:gd name="T21" fmla="*/ 23 h 60"/>
                  <a:gd name="T22" fmla="*/ 148 w 150"/>
                  <a:gd name="T23" fmla="*/ 18 h 60"/>
                  <a:gd name="T24" fmla="*/ 145 w 150"/>
                  <a:gd name="T25" fmla="*/ 12 h 60"/>
                  <a:gd name="T26" fmla="*/ 142 w 150"/>
                  <a:gd name="T27" fmla="*/ 8 h 60"/>
                  <a:gd name="T28" fmla="*/ 137 w 150"/>
                  <a:gd name="T29" fmla="*/ 5 h 60"/>
                  <a:gd name="T30" fmla="*/ 132 w 150"/>
                  <a:gd name="T31" fmla="*/ 2 h 60"/>
                  <a:gd name="T32" fmla="*/ 127 w 150"/>
                  <a:gd name="T33" fmla="*/ 1 h 60"/>
                  <a:gd name="T34" fmla="*/ 120 w 150"/>
                  <a:gd name="T35" fmla="*/ 0 h 60"/>
                  <a:gd name="T36" fmla="*/ 30 w 150"/>
                  <a:gd name="T37" fmla="*/ 0 h 60"/>
                  <a:gd name="T38" fmla="*/ 24 w 150"/>
                  <a:gd name="T39" fmla="*/ 1 h 60"/>
                  <a:gd name="T40" fmla="*/ 18 w 150"/>
                  <a:gd name="T41" fmla="*/ 2 h 60"/>
                  <a:gd name="T42" fmla="*/ 13 w 150"/>
                  <a:gd name="T43" fmla="*/ 5 h 60"/>
                  <a:gd name="T44" fmla="*/ 9 w 150"/>
                  <a:gd name="T45" fmla="*/ 8 h 60"/>
                  <a:gd name="T46" fmla="*/ 5 w 150"/>
                  <a:gd name="T47" fmla="*/ 12 h 60"/>
                  <a:gd name="T48" fmla="*/ 2 w 150"/>
                  <a:gd name="T49" fmla="*/ 18 h 60"/>
                  <a:gd name="T50" fmla="*/ 1 w 150"/>
                  <a:gd name="T51" fmla="*/ 23 h 60"/>
                  <a:gd name="T52" fmla="*/ 0 w 150"/>
                  <a:gd name="T53" fmla="*/ 30 h 60"/>
                  <a:gd name="T54" fmla="*/ 1 w 150"/>
                  <a:gd name="T55" fmla="*/ 36 h 60"/>
                  <a:gd name="T56" fmla="*/ 2 w 150"/>
                  <a:gd name="T57" fmla="*/ 41 h 60"/>
                  <a:gd name="T58" fmla="*/ 5 w 150"/>
                  <a:gd name="T59" fmla="*/ 47 h 60"/>
                  <a:gd name="T60" fmla="*/ 9 w 150"/>
                  <a:gd name="T61" fmla="*/ 51 h 60"/>
                  <a:gd name="T62" fmla="*/ 13 w 150"/>
                  <a:gd name="T63" fmla="*/ 54 h 60"/>
                  <a:gd name="T64" fmla="*/ 18 w 150"/>
                  <a:gd name="T65" fmla="*/ 57 h 60"/>
                  <a:gd name="T66" fmla="*/ 24 w 150"/>
                  <a:gd name="T67" fmla="*/ 59 h 60"/>
                  <a:gd name="T68" fmla="*/ 30 w 150"/>
                  <a:gd name="T69" fmla="*/ 60 h 60"/>
                  <a:gd name="T70" fmla="*/ 30 w 150"/>
                  <a:gd name="T7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0" h="60">
                    <a:moveTo>
                      <a:pt x="30" y="60"/>
                    </a:moveTo>
                    <a:lnTo>
                      <a:pt x="120" y="60"/>
                    </a:lnTo>
                    <a:lnTo>
                      <a:pt x="127" y="59"/>
                    </a:lnTo>
                    <a:lnTo>
                      <a:pt x="132" y="57"/>
                    </a:lnTo>
                    <a:lnTo>
                      <a:pt x="137" y="54"/>
                    </a:lnTo>
                    <a:lnTo>
                      <a:pt x="142" y="51"/>
                    </a:lnTo>
                    <a:lnTo>
                      <a:pt x="145" y="47"/>
                    </a:lnTo>
                    <a:lnTo>
                      <a:pt x="148" y="41"/>
                    </a:lnTo>
                    <a:lnTo>
                      <a:pt x="150" y="36"/>
                    </a:lnTo>
                    <a:lnTo>
                      <a:pt x="150" y="30"/>
                    </a:lnTo>
                    <a:lnTo>
                      <a:pt x="150" y="23"/>
                    </a:lnTo>
                    <a:lnTo>
                      <a:pt x="148" y="18"/>
                    </a:lnTo>
                    <a:lnTo>
                      <a:pt x="145" y="12"/>
                    </a:lnTo>
                    <a:lnTo>
                      <a:pt x="142" y="8"/>
                    </a:lnTo>
                    <a:lnTo>
                      <a:pt x="137" y="5"/>
                    </a:lnTo>
                    <a:lnTo>
                      <a:pt x="132" y="2"/>
                    </a:lnTo>
                    <a:lnTo>
                      <a:pt x="127" y="1"/>
                    </a:lnTo>
                    <a:lnTo>
                      <a:pt x="120" y="0"/>
                    </a:lnTo>
                    <a:lnTo>
                      <a:pt x="30" y="0"/>
                    </a:lnTo>
                    <a:lnTo>
                      <a:pt x="24" y="1"/>
                    </a:lnTo>
                    <a:lnTo>
                      <a:pt x="18" y="2"/>
                    </a:lnTo>
                    <a:lnTo>
                      <a:pt x="13" y="5"/>
                    </a:lnTo>
                    <a:lnTo>
                      <a:pt x="9" y="8"/>
                    </a:lnTo>
                    <a:lnTo>
                      <a:pt x="5" y="12"/>
                    </a:lnTo>
                    <a:lnTo>
                      <a:pt x="2" y="18"/>
                    </a:lnTo>
                    <a:lnTo>
                      <a:pt x="1" y="23"/>
                    </a:lnTo>
                    <a:lnTo>
                      <a:pt x="0" y="30"/>
                    </a:lnTo>
                    <a:lnTo>
                      <a:pt x="1" y="36"/>
                    </a:lnTo>
                    <a:lnTo>
                      <a:pt x="2" y="41"/>
                    </a:lnTo>
                    <a:lnTo>
                      <a:pt x="5" y="47"/>
                    </a:lnTo>
                    <a:lnTo>
                      <a:pt x="9" y="51"/>
                    </a:lnTo>
                    <a:lnTo>
                      <a:pt x="13" y="54"/>
                    </a:lnTo>
                    <a:lnTo>
                      <a:pt x="18" y="57"/>
                    </a:lnTo>
                    <a:lnTo>
                      <a:pt x="24" y="59"/>
                    </a:lnTo>
                    <a:lnTo>
                      <a:pt x="30" y="60"/>
                    </a:lnTo>
                    <a:lnTo>
                      <a:pt x="30" y="6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61" name="Freeform 3840"/>
              <p:cNvSpPr>
                <a:spLocks/>
              </p:cNvSpPr>
              <p:nvPr/>
            </p:nvSpPr>
            <p:spPr bwMode="auto">
              <a:xfrm>
                <a:off x="6443663" y="2622550"/>
                <a:ext cx="142875" cy="142875"/>
              </a:xfrm>
              <a:custGeom>
                <a:avLst/>
                <a:gdLst>
                  <a:gd name="T0" fmla="*/ 279 w 450"/>
                  <a:gd name="T1" fmla="*/ 355 h 451"/>
                  <a:gd name="T2" fmla="*/ 261 w 450"/>
                  <a:gd name="T3" fmla="*/ 370 h 451"/>
                  <a:gd name="T4" fmla="*/ 241 w 450"/>
                  <a:gd name="T5" fmla="*/ 381 h 451"/>
                  <a:gd name="T6" fmla="*/ 222 w 450"/>
                  <a:gd name="T7" fmla="*/ 388 h 451"/>
                  <a:gd name="T8" fmla="*/ 203 w 450"/>
                  <a:gd name="T9" fmla="*/ 391 h 451"/>
                  <a:gd name="T10" fmla="*/ 183 w 450"/>
                  <a:gd name="T11" fmla="*/ 388 h 451"/>
                  <a:gd name="T12" fmla="*/ 164 w 450"/>
                  <a:gd name="T13" fmla="*/ 381 h 451"/>
                  <a:gd name="T14" fmla="*/ 145 w 450"/>
                  <a:gd name="T15" fmla="*/ 370 h 451"/>
                  <a:gd name="T16" fmla="*/ 127 w 450"/>
                  <a:gd name="T17" fmla="*/ 355 h 451"/>
                  <a:gd name="T18" fmla="*/ 88 w 450"/>
                  <a:gd name="T19" fmla="*/ 315 h 451"/>
                  <a:gd name="T20" fmla="*/ 74 w 450"/>
                  <a:gd name="T21" fmla="*/ 296 h 451"/>
                  <a:gd name="T22" fmla="*/ 65 w 450"/>
                  <a:gd name="T23" fmla="*/ 277 h 451"/>
                  <a:gd name="T24" fmla="*/ 60 w 450"/>
                  <a:gd name="T25" fmla="*/ 257 h 451"/>
                  <a:gd name="T26" fmla="*/ 60 w 450"/>
                  <a:gd name="T27" fmla="*/ 238 h 451"/>
                  <a:gd name="T28" fmla="*/ 65 w 450"/>
                  <a:gd name="T29" fmla="*/ 218 h 451"/>
                  <a:gd name="T30" fmla="*/ 74 w 450"/>
                  <a:gd name="T31" fmla="*/ 199 h 451"/>
                  <a:gd name="T32" fmla="*/ 88 w 450"/>
                  <a:gd name="T33" fmla="*/ 181 h 451"/>
                  <a:gd name="T34" fmla="*/ 217 w 450"/>
                  <a:gd name="T35" fmla="*/ 51 h 451"/>
                  <a:gd name="T36" fmla="*/ 223 w 450"/>
                  <a:gd name="T37" fmla="*/ 42 h 451"/>
                  <a:gd name="T38" fmla="*/ 225 w 450"/>
                  <a:gd name="T39" fmla="*/ 30 h 451"/>
                  <a:gd name="T40" fmla="*/ 223 w 450"/>
                  <a:gd name="T41" fmla="*/ 19 h 451"/>
                  <a:gd name="T42" fmla="*/ 217 w 450"/>
                  <a:gd name="T43" fmla="*/ 8 h 451"/>
                  <a:gd name="T44" fmla="*/ 207 w 450"/>
                  <a:gd name="T45" fmla="*/ 2 h 451"/>
                  <a:gd name="T46" fmla="*/ 195 w 450"/>
                  <a:gd name="T47" fmla="*/ 0 h 451"/>
                  <a:gd name="T48" fmla="*/ 184 w 450"/>
                  <a:gd name="T49" fmla="*/ 2 h 451"/>
                  <a:gd name="T50" fmla="*/ 174 w 450"/>
                  <a:gd name="T51" fmla="*/ 8 h 451"/>
                  <a:gd name="T52" fmla="*/ 41 w 450"/>
                  <a:gd name="T53" fmla="*/ 142 h 451"/>
                  <a:gd name="T54" fmla="*/ 20 w 450"/>
                  <a:gd name="T55" fmla="*/ 171 h 451"/>
                  <a:gd name="T56" fmla="*/ 8 w 450"/>
                  <a:gd name="T57" fmla="*/ 201 h 451"/>
                  <a:gd name="T58" fmla="*/ 1 w 450"/>
                  <a:gd name="T59" fmla="*/ 232 h 451"/>
                  <a:gd name="T60" fmla="*/ 1 w 450"/>
                  <a:gd name="T61" fmla="*/ 263 h 451"/>
                  <a:gd name="T62" fmla="*/ 8 w 450"/>
                  <a:gd name="T63" fmla="*/ 294 h 451"/>
                  <a:gd name="T64" fmla="*/ 20 w 450"/>
                  <a:gd name="T65" fmla="*/ 324 h 451"/>
                  <a:gd name="T66" fmla="*/ 41 w 450"/>
                  <a:gd name="T67" fmla="*/ 352 h 451"/>
                  <a:gd name="T68" fmla="*/ 84 w 450"/>
                  <a:gd name="T69" fmla="*/ 396 h 451"/>
                  <a:gd name="T70" fmla="*/ 112 w 450"/>
                  <a:gd name="T71" fmla="*/ 420 h 451"/>
                  <a:gd name="T72" fmla="*/ 142 w 450"/>
                  <a:gd name="T73" fmla="*/ 437 h 451"/>
                  <a:gd name="T74" fmla="*/ 172 w 450"/>
                  <a:gd name="T75" fmla="*/ 448 h 451"/>
                  <a:gd name="T76" fmla="*/ 203 w 450"/>
                  <a:gd name="T77" fmla="*/ 451 h 451"/>
                  <a:gd name="T78" fmla="*/ 234 w 450"/>
                  <a:gd name="T79" fmla="*/ 448 h 451"/>
                  <a:gd name="T80" fmla="*/ 264 w 450"/>
                  <a:gd name="T81" fmla="*/ 437 h 451"/>
                  <a:gd name="T82" fmla="*/ 294 w 450"/>
                  <a:gd name="T83" fmla="*/ 420 h 451"/>
                  <a:gd name="T84" fmla="*/ 322 w 450"/>
                  <a:gd name="T85" fmla="*/ 396 h 451"/>
                  <a:gd name="T86" fmla="*/ 446 w 450"/>
                  <a:gd name="T87" fmla="*/ 272 h 451"/>
                  <a:gd name="T88" fmla="*/ 450 w 450"/>
                  <a:gd name="T89" fmla="*/ 261 h 451"/>
                  <a:gd name="T90" fmla="*/ 450 w 450"/>
                  <a:gd name="T91" fmla="*/ 250 h 451"/>
                  <a:gd name="T92" fmla="*/ 446 w 450"/>
                  <a:gd name="T93" fmla="*/ 239 h 451"/>
                  <a:gd name="T94" fmla="*/ 438 w 450"/>
                  <a:gd name="T95" fmla="*/ 230 h 451"/>
                  <a:gd name="T96" fmla="*/ 427 w 450"/>
                  <a:gd name="T97" fmla="*/ 226 h 451"/>
                  <a:gd name="T98" fmla="*/ 415 w 450"/>
                  <a:gd name="T99" fmla="*/ 226 h 451"/>
                  <a:gd name="T100" fmla="*/ 404 w 450"/>
                  <a:gd name="T101" fmla="*/ 230 h 451"/>
                  <a:gd name="T102" fmla="*/ 399 w 450"/>
                  <a:gd name="T103" fmla="*/ 233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0" h="451">
                    <a:moveTo>
                      <a:pt x="399" y="233"/>
                    </a:moveTo>
                    <a:lnTo>
                      <a:pt x="279" y="355"/>
                    </a:lnTo>
                    <a:lnTo>
                      <a:pt x="270" y="362"/>
                    </a:lnTo>
                    <a:lnTo>
                      <a:pt x="261" y="370"/>
                    </a:lnTo>
                    <a:lnTo>
                      <a:pt x="251" y="376"/>
                    </a:lnTo>
                    <a:lnTo>
                      <a:pt x="241" y="381"/>
                    </a:lnTo>
                    <a:lnTo>
                      <a:pt x="232" y="386"/>
                    </a:lnTo>
                    <a:lnTo>
                      <a:pt x="222" y="388"/>
                    </a:lnTo>
                    <a:lnTo>
                      <a:pt x="212" y="390"/>
                    </a:lnTo>
                    <a:lnTo>
                      <a:pt x="203" y="391"/>
                    </a:lnTo>
                    <a:lnTo>
                      <a:pt x="193" y="390"/>
                    </a:lnTo>
                    <a:lnTo>
                      <a:pt x="183" y="388"/>
                    </a:lnTo>
                    <a:lnTo>
                      <a:pt x="174" y="386"/>
                    </a:lnTo>
                    <a:lnTo>
                      <a:pt x="164" y="381"/>
                    </a:lnTo>
                    <a:lnTo>
                      <a:pt x="154" y="376"/>
                    </a:lnTo>
                    <a:lnTo>
                      <a:pt x="145" y="370"/>
                    </a:lnTo>
                    <a:lnTo>
                      <a:pt x="135" y="363"/>
                    </a:lnTo>
                    <a:lnTo>
                      <a:pt x="127" y="355"/>
                    </a:lnTo>
                    <a:lnTo>
                      <a:pt x="97" y="325"/>
                    </a:lnTo>
                    <a:lnTo>
                      <a:pt x="88" y="315"/>
                    </a:lnTo>
                    <a:lnTo>
                      <a:pt x="80" y="305"/>
                    </a:lnTo>
                    <a:lnTo>
                      <a:pt x="74" y="296"/>
                    </a:lnTo>
                    <a:lnTo>
                      <a:pt x="69" y="287"/>
                    </a:lnTo>
                    <a:lnTo>
                      <a:pt x="65" y="277"/>
                    </a:lnTo>
                    <a:lnTo>
                      <a:pt x="62" y="268"/>
                    </a:lnTo>
                    <a:lnTo>
                      <a:pt x="60" y="257"/>
                    </a:lnTo>
                    <a:lnTo>
                      <a:pt x="60" y="247"/>
                    </a:lnTo>
                    <a:lnTo>
                      <a:pt x="60" y="238"/>
                    </a:lnTo>
                    <a:lnTo>
                      <a:pt x="62" y="228"/>
                    </a:lnTo>
                    <a:lnTo>
                      <a:pt x="65" y="218"/>
                    </a:lnTo>
                    <a:lnTo>
                      <a:pt x="69" y="209"/>
                    </a:lnTo>
                    <a:lnTo>
                      <a:pt x="74" y="199"/>
                    </a:lnTo>
                    <a:lnTo>
                      <a:pt x="80" y="190"/>
                    </a:lnTo>
                    <a:lnTo>
                      <a:pt x="88" y="181"/>
                    </a:lnTo>
                    <a:lnTo>
                      <a:pt x="97" y="171"/>
                    </a:lnTo>
                    <a:lnTo>
                      <a:pt x="217" y="51"/>
                    </a:lnTo>
                    <a:lnTo>
                      <a:pt x="221" y="47"/>
                    </a:lnTo>
                    <a:lnTo>
                      <a:pt x="223" y="42"/>
                    </a:lnTo>
                    <a:lnTo>
                      <a:pt x="225" y="35"/>
                    </a:lnTo>
                    <a:lnTo>
                      <a:pt x="225" y="30"/>
                    </a:lnTo>
                    <a:lnTo>
                      <a:pt x="225" y="24"/>
                    </a:lnTo>
                    <a:lnTo>
                      <a:pt x="223" y="19"/>
                    </a:lnTo>
                    <a:lnTo>
                      <a:pt x="221" y="14"/>
                    </a:lnTo>
                    <a:lnTo>
                      <a:pt x="217" y="8"/>
                    </a:lnTo>
                    <a:lnTo>
                      <a:pt x="212" y="5"/>
                    </a:lnTo>
                    <a:lnTo>
                      <a:pt x="207" y="2"/>
                    </a:lnTo>
                    <a:lnTo>
                      <a:pt x="202" y="1"/>
                    </a:lnTo>
                    <a:lnTo>
                      <a:pt x="195" y="0"/>
                    </a:lnTo>
                    <a:lnTo>
                      <a:pt x="190" y="1"/>
                    </a:lnTo>
                    <a:lnTo>
                      <a:pt x="184" y="2"/>
                    </a:lnTo>
                    <a:lnTo>
                      <a:pt x="179" y="5"/>
                    </a:lnTo>
                    <a:lnTo>
                      <a:pt x="174" y="8"/>
                    </a:lnTo>
                    <a:lnTo>
                      <a:pt x="54" y="128"/>
                    </a:lnTo>
                    <a:lnTo>
                      <a:pt x="41" y="142"/>
                    </a:lnTo>
                    <a:lnTo>
                      <a:pt x="30" y="157"/>
                    </a:lnTo>
                    <a:lnTo>
                      <a:pt x="20" y="171"/>
                    </a:lnTo>
                    <a:lnTo>
                      <a:pt x="13" y="186"/>
                    </a:lnTo>
                    <a:lnTo>
                      <a:pt x="8" y="201"/>
                    </a:lnTo>
                    <a:lnTo>
                      <a:pt x="3" y="216"/>
                    </a:lnTo>
                    <a:lnTo>
                      <a:pt x="1" y="232"/>
                    </a:lnTo>
                    <a:lnTo>
                      <a:pt x="0" y="247"/>
                    </a:lnTo>
                    <a:lnTo>
                      <a:pt x="1" y="263"/>
                    </a:lnTo>
                    <a:lnTo>
                      <a:pt x="3" y="278"/>
                    </a:lnTo>
                    <a:lnTo>
                      <a:pt x="8" y="294"/>
                    </a:lnTo>
                    <a:lnTo>
                      <a:pt x="13" y="310"/>
                    </a:lnTo>
                    <a:lnTo>
                      <a:pt x="20" y="324"/>
                    </a:lnTo>
                    <a:lnTo>
                      <a:pt x="30" y="339"/>
                    </a:lnTo>
                    <a:lnTo>
                      <a:pt x="41" y="352"/>
                    </a:lnTo>
                    <a:lnTo>
                      <a:pt x="54" y="366"/>
                    </a:lnTo>
                    <a:lnTo>
                      <a:pt x="84" y="396"/>
                    </a:lnTo>
                    <a:lnTo>
                      <a:pt x="98" y="409"/>
                    </a:lnTo>
                    <a:lnTo>
                      <a:pt x="112" y="420"/>
                    </a:lnTo>
                    <a:lnTo>
                      <a:pt x="127" y="430"/>
                    </a:lnTo>
                    <a:lnTo>
                      <a:pt x="142" y="437"/>
                    </a:lnTo>
                    <a:lnTo>
                      <a:pt x="157" y="444"/>
                    </a:lnTo>
                    <a:lnTo>
                      <a:pt x="172" y="448"/>
                    </a:lnTo>
                    <a:lnTo>
                      <a:pt x="188" y="450"/>
                    </a:lnTo>
                    <a:lnTo>
                      <a:pt x="203" y="451"/>
                    </a:lnTo>
                    <a:lnTo>
                      <a:pt x="219" y="450"/>
                    </a:lnTo>
                    <a:lnTo>
                      <a:pt x="234" y="448"/>
                    </a:lnTo>
                    <a:lnTo>
                      <a:pt x="249" y="444"/>
                    </a:lnTo>
                    <a:lnTo>
                      <a:pt x="264" y="437"/>
                    </a:lnTo>
                    <a:lnTo>
                      <a:pt x="279" y="430"/>
                    </a:lnTo>
                    <a:lnTo>
                      <a:pt x="294" y="420"/>
                    </a:lnTo>
                    <a:lnTo>
                      <a:pt x="308" y="409"/>
                    </a:lnTo>
                    <a:lnTo>
                      <a:pt x="322" y="396"/>
                    </a:lnTo>
                    <a:lnTo>
                      <a:pt x="442" y="276"/>
                    </a:lnTo>
                    <a:lnTo>
                      <a:pt x="446" y="272"/>
                    </a:lnTo>
                    <a:lnTo>
                      <a:pt x="448" y="267"/>
                    </a:lnTo>
                    <a:lnTo>
                      <a:pt x="450" y="261"/>
                    </a:lnTo>
                    <a:lnTo>
                      <a:pt x="450" y="255"/>
                    </a:lnTo>
                    <a:lnTo>
                      <a:pt x="450" y="250"/>
                    </a:lnTo>
                    <a:lnTo>
                      <a:pt x="448" y="244"/>
                    </a:lnTo>
                    <a:lnTo>
                      <a:pt x="446" y="239"/>
                    </a:lnTo>
                    <a:lnTo>
                      <a:pt x="442" y="235"/>
                    </a:lnTo>
                    <a:lnTo>
                      <a:pt x="438" y="230"/>
                    </a:lnTo>
                    <a:lnTo>
                      <a:pt x="432" y="227"/>
                    </a:lnTo>
                    <a:lnTo>
                      <a:pt x="427" y="226"/>
                    </a:lnTo>
                    <a:lnTo>
                      <a:pt x="420" y="225"/>
                    </a:lnTo>
                    <a:lnTo>
                      <a:pt x="415" y="226"/>
                    </a:lnTo>
                    <a:lnTo>
                      <a:pt x="410" y="227"/>
                    </a:lnTo>
                    <a:lnTo>
                      <a:pt x="404" y="230"/>
                    </a:lnTo>
                    <a:lnTo>
                      <a:pt x="399" y="235"/>
                    </a:lnTo>
                    <a:lnTo>
                      <a:pt x="399" y="2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62" name="Freeform 3841"/>
              <p:cNvSpPr>
                <a:spLocks/>
              </p:cNvSpPr>
              <p:nvPr/>
            </p:nvSpPr>
            <p:spPr bwMode="auto">
              <a:xfrm>
                <a:off x="6615113" y="2555875"/>
                <a:ext cx="114300" cy="133350"/>
              </a:xfrm>
              <a:custGeom>
                <a:avLst/>
                <a:gdLst>
                  <a:gd name="T0" fmla="*/ 30 w 361"/>
                  <a:gd name="T1" fmla="*/ 0 h 420"/>
                  <a:gd name="T2" fmla="*/ 19 w 361"/>
                  <a:gd name="T3" fmla="*/ 2 h 420"/>
                  <a:gd name="T4" fmla="*/ 9 w 361"/>
                  <a:gd name="T5" fmla="*/ 8 h 420"/>
                  <a:gd name="T6" fmla="*/ 3 w 361"/>
                  <a:gd name="T7" fmla="*/ 18 h 420"/>
                  <a:gd name="T8" fmla="*/ 0 w 361"/>
                  <a:gd name="T9" fmla="*/ 30 h 420"/>
                  <a:gd name="T10" fmla="*/ 3 w 361"/>
                  <a:gd name="T11" fmla="*/ 41 h 420"/>
                  <a:gd name="T12" fmla="*/ 9 w 361"/>
                  <a:gd name="T13" fmla="*/ 51 h 420"/>
                  <a:gd name="T14" fmla="*/ 19 w 361"/>
                  <a:gd name="T15" fmla="*/ 57 h 420"/>
                  <a:gd name="T16" fmla="*/ 30 w 361"/>
                  <a:gd name="T17" fmla="*/ 60 h 420"/>
                  <a:gd name="T18" fmla="*/ 205 w 361"/>
                  <a:gd name="T19" fmla="*/ 61 h 420"/>
                  <a:gd name="T20" fmla="*/ 225 w 361"/>
                  <a:gd name="T21" fmla="*/ 65 h 420"/>
                  <a:gd name="T22" fmla="*/ 243 w 361"/>
                  <a:gd name="T23" fmla="*/ 75 h 420"/>
                  <a:gd name="T24" fmla="*/ 260 w 361"/>
                  <a:gd name="T25" fmla="*/ 89 h 420"/>
                  <a:gd name="T26" fmla="*/ 275 w 361"/>
                  <a:gd name="T27" fmla="*/ 106 h 420"/>
                  <a:gd name="T28" fmla="*/ 287 w 361"/>
                  <a:gd name="T29" fmla="*/ 125 h 420"/>
                  <a:gd name="T30" fmla="*/ 296 w 361"/>
                  <a:gd name="T31" fmla="*/ 145 h 420"/>
                  <a:gd name="T32" fmla="*/ 300 w 361"/>
                  <a:gd name="T33" fmla="*/ 168 h 420"/>
                  <a:gd name="T34" fmla="*/ 301 w 361"/>
                  <a:gd name="T35" fmla="*/ 255 h 420"/>
                  <a:gd name="T36" fmla="*/ 299 w 361"/>
                  <a:gd name="T37" fmla="*/ 275 h 420"/>
                  <a:gd name="T38" fmla="*/ 292 w 361"/>
                  <a:gd name="T39" fmla="*/ 295 h 420"/>
                  <a:gd name="T40" fmla="*/ 282 w 361"/>
                  <a:gd name="T41" fmla="*/ 313 h 420"/>
                  <a:gd name="T42" fmla="*/ 269 w 361"/>
                  <a:gd name="T43" fmla="*/ 329 h 420"/>
                  <a:gd name="T44" fmla="*/ 254 w 361"/>
                  <a:gd name="T45" fmla="*/ 342 h 420"/>
                  <a:gd name="T46" fmla="*/ 236 w 361"/>
                  <a:gd name="T47" fmla="*/ 351 h 420"/>
                  <a:gd name="T48" fmla="*/ 216 w 361"/>
                  <a:gd name="T49" fmla="*/ 358 h 420"/>
                  <a:gd name="T50" fmla="*/ 196 w 361"/>
                  <a:gd name="T51" fmla="*/ 360 h 420"/>
                  <a:gd name="T52" fmla="*/ 24 w 361"/>
                  <a:gd name="T53" fmla="*/ 361 h 420"/>
                  <a:gd name="T54" fmla="*/ 13 w 361"/>
                  <a:gd name="T55" fmla="*/ 365 h 420"/>
                  <a:gd name="T56" fmla="*/ 5 w 361"/>
                  <a:gd name="T57" fmla="*/ 374 h 420"/>
                  <a:gd name="T58" fmla="*/ 1 w 361"/>
                  <a:gd name="T59" fmla="*/ 384 h 420"/>
                  <a:gd name="T60" fmla="*/ 1 w 361"/>
                  <a:gd name="T61" fmla="*/ 396 h 420"/>
                  <a:gd name="T62" fmla="*/ 5 w 361"/>
                  <a:gd name="T63" fmla="*/ 407 h 420"/>
                  <a:gd name="T64" fmla="*/ 13 w 361"/>
                  <a:gd name="T65" fmla="*/ 416 h 420"/>
                  <a:gd name="T66" fmla="*/ 24 w 361"/>
                  <a:gd name="T67" fmla="*/ 420 h 420"/>
                  <a:gd name="T68" fmla="*/ 196 w 361"/>
                  <a:gd name="T69" fmla="*/ 420 h 420"/>
                  <a:gd name="T70" fmla="*/ 228 w 361"/>
                  <a:gd name="T71" fmla="*/ 417 h 420"/>
                  <a:gd name="T72" fmla="*/ 259 w 361"/>
                  <a:gd name="T73" fmla="*/ 407 h 420"/>
                  <a:gd name="T74" fmla="*/ 287 w 361"/>
                  <a:gd name="T75" fmla="*/ 392 h 420"/>
                  <a:gd name="T76" fmla="*/ 312 w 361"/>
                  <a:gd name="T77" fmla="*/ 372 h 420"/>
                  <a:gd name="T78" fmla="*/ 332 w 361"/>
                  <a:gd name="T79" fmla="*/ 347 h 420"/>
                  <a:gd name="T80" fmla="*/ 347 w 361"/>
                  <a:gd name="T81" fmla="*/ 319 h 420"/>
                  <a:gd name="T82" fmla="*/ 357 w 361"/>
                  <a:gd name="T83" fmla="*/ 288 h 420"/>
                  <a:gd name="T84" fmla="*/ 361 w 361"/>
                  <a:gd name="T85" fmla="*/ 255 h 420"/>
                  <a:gd name="T86" fmla="*/ 360 w 361"/>
                  <a:gd name="T87" fmla="*/ 163 h 420"/>
                  <a:gd name="T88" fmla="*/ 353 w 361"/>
                  <a:gd name="T89" fmla="*/ 130 h 420"/>
                  <a:gd name="T90" fmla="*/ 342 w 361"/>
                  <a:gd name="T91" fmla="*/ 99 h 420"/>
                  <a:gd name="T92" fmla="*/ 323 w 361"/>
                  <a:gd name="T93" fmla="*/ 70 h 420"/>
                  <a:gd name="T94" fmla="*/ 302 w 361"/>
                  <a:gd name="T95" fmla="*/ 45 h 420"/>
                  <a:gd name="T96" fmla="*/ 275 w 361"/>
                  <a:gd name="T97" fmla="*/ 24 h 420"/>
                  <a:gd name="T98" fmla="*/ 246 w 361"/>
                  <a:gd name="T99" fmla="*/ 9 h 420"/>
                  <a:gd name="T100" fmla="*/ 213 w 361"/>
                  <a:gd name="T101" fmla="*/ 1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1" h="420">
                    <a:moveTo>
                      <a:pt x="196" y="0"/>
                    </a:moveTo>
                    <a:lnTo>
                      <a:pt x="30" y="0"/>
                    </a:lnTo>
                    <a:lnTo>
                      <a:pt x="24" y="1"/>
                    </a:lnTo>
                    <a:lnTo>
                      <a:pt x="19" y="2"/>
                    </a:lnTo>
                    <a:lnTo>
                      <a:pt x="13" y="5"/>
                    </a:lnTo>
                    <a:lnTo>
                      <a:pt x="9" y="8"/>
                    </a:lnTo>
                    <a:lnTo>
                      <a:pt x="5" y="12"/>
                    </a:lnTo>
                    <a:lnTo>
                      <a:pt x="3" y="18"/>
                    </a:lnTo>
                    <a:lnTo>
                      <a:pt x="1" y="23"/>
                    </a:lnTo>
                    <a:lnTo>
                      <a:pt x="0" y="30"/>
                    </a:lnTo>
                    <a:lnTo>
                      <a:pt x="1" y="36"/>
                    </a:lnTo>
                    <a:lnTo>
                      <a:pt x="3" y="41"/>
                    </a:lnTo>
                    <a:lnTo>
                      <a:pt x="5" y="47"/>
                    </a:lnTo>
                    <a:lnTo>
                      <a:pt x="9" y="51"/>
                    </a:lnTo>
                    <a:lnTo>
                      <a:pt x="13" y="54"/>
                    </a:lnTo>
                    <a:lnTo>
                      <a:pt x="19" y="57"/>
                    </a:lnTo>
                    <a:lnTo>
                      <a:pt x="24" y="59"/>
                    </a:lnTo>
                    <a:lnTo>
                      <a:pt x="30" y="60"/>
                    </a:lnTo>
                    <a:lnTo>
                      <a:pt x="196" y="60"/>
                    </a:lnTo>
                    <a:lnTo>
                      <a:pt x="205" y="61"/>
                    </a:lnTo>
                    <a:lnTo>
                      <a:pt x="215" y="62"/>
                    </a:lnTo>
                    <a:lnTo>
                      <a:pt x="225" y="65"/>
                    </a:lnTo>
                    <a:lnTo>
                      <a:pt x="234" y="69"/>
                    </a:lnTo>
                    <a:lnTo>
                      <a:pt x="243" y="75"/>
                    </a:lnTo>
                    <a:lnTo>
                      <a:pt x="252" y="81"/>
                    </a:lnTo>
                    <a:lnTo>
                      <a:pt x="260" y="89"/>
                    </a:lnTo>
                    <a:lnTo>
                      <a:pt x="268" y="97"/>
                    </a:lnTo>
                    <a:lnTo>
                      <a:pt x="275" y="106"/>
                    </a:lnTo>
                    <a:lnTo>
                      <a:pt x="282" y="114"/>
                    </a:lnTo>
                    <a:lnTo>
                      <a:pt x="287" y="125"/>
                    </a:lnTo>
                    <a:lnTo>
                      <a:pt x="291" y="135"/>
                    </a:lnTo>
                    <a:lnTo>
                      <a:pt x="296" y="145"/>
                    </a:lnTo>
                    <a:lnTo>
                      <a:pt x="298" y="156"/>
                    </a:lnTo>
                    <a:lnTo>
                      <a:pt x="300" y="168"/>
                    </a:lnTo>
                    <a:lnTo>
                      <a:pt x="301" y="179"/>
                    </a:lnTo>
                    <a:lnTo>
                      <a:pt x="301" y="255"/>
                    </a:lnTo>
                    <a:lnTo>
                      <a:pt x="300" y="265"/>
                    </a:lnTo>
                    <a:lnTo>
                      <a:pt x="299" y="275"/>
                    </a:lnTo>
                    <a:lnTo>
                      <a:pt x="296" y="286"/>
                    </a:lnTo>
                    <a:lnTo>
                      <a:pt x="292" y="295"/>
                    </a:lnTo>
                    <a:lnTo>
                      <a:pt x="287" y="304"/>
                    </a:lnTo>
                    <a:lnTo>
                      <a:pt x="282" y="313"/>
                    </a:lnTo>
                    <a:lnTo>
                      <a:pt x="276" y="321"/>
                    </a:lnTo>
                    <a:lnTo>
                      <a:pt x="269" y="329"/>
                    </a:lnTo>
                    <a:lnTo>
                      <a:pt x="261" y="335"/>
                    </a:lnTo>
                    <a:lnTo>
                      <a:pt x="254" y="342"/>
                    </a:lnTo>
                    <a:lnTo>
                      <a:pt x="244" y="347"/>
                    </a:lnTo>
                    <a:lnTo>
                      <a:pt x="236" y="351"/>
                    </a:lnTo>
                    <a:lnTo>
                      <a:pt x="226" y="356"/>
                    </a:lnTo>
                    <a:lnTo>
                      <a:pt x="216" y="358"/>
                    </a:lnTo>
                    <a:lnTo>
                      <a:pt x="205" y="360"/>
                    </a:lnTo>
                    <a:lnTo>
                      <a:pt x="196" y="360"/>
                    </a:lnTo>
                    <a:lnTo>
                      <a:pt x="30" y="360"/>
                    </a:lnTo>
                    <a:lnTo>
                      <a:pt x="24" y="361"/>
                    </a:lnTo>
                    <a:lnTo>
                      <a:pt x="19" y="362"/>
                    </a:lnTo>
                    <a:lnTo>
                      <a:pt x="13" y="365"/>
                    </a:lnTo>
                    <a:lnTo>
                      <a:pt x="9" y="368"/>
                    </a:lnTo>
                    <a:lnTo>
                      <a:pt x="5" y="374"/>
                    </a:lnTo>
                    <a:lnTo>
                      <a:pt x="3" y="378"/>
                    </a:lnTo>
                    <a:lnTo>
                      <a:pt x="1" y="384"/>
                    </a:lnTo>
                    <a:lnTo>
                      <a:pt x="0" y="390"/>
                    </a:lnTo>
                    <a:lnTo>
                      <a:pt x="1" y="396"/>
                    </a:lnTo>
                    <a:lnTo>
                      <a:pt x="3" y="402"/>
                    </a:lnTo>
                    <a:lnTo>
                      <a:pt x="5" y="407"/>
                    </a:lnTo>
                    <a:lnTo>
                      <a:pt x="9" y="411"/>
                    </a:lnTo>
                    <a:lnTo>
                      <a:pt x="13" y="416"/>
                    </a:lnTo>
                    <a:lnTo>
                      <a:pt x="19" y="418"/>
                    </a:lnTo>
                    <a:lnTo>
                      <a:pt x="24" y="420"/>
                    </a:lnTo>
                    <a:lnTo>
                      <a:pt x="30" y="420"/>
                    </a:lnTo>
                    <a:lnTo>
                      <a:pt x="196" y="420"/>
                    </a:lnTo>
                    <a:lnTo>
                      <a:pt x="212" y="419"/>
                    </a:lnTo>
                    <a:lnTo>
                      <a:pt x="228" y="417"/>
                    </a:lnTo>
                    <a:lnTo>
                      <a:pt x="244" y="412"/>
                    </a:lnTo>
                    <a:lnTo>
                      <a:pt x="259" y="407"/>
                    </a:lnTo>
                    <a:lnTo>
                      <a:pt x="273" y="400"/>
                    </a:lnTo>
                    <a:lnTo>
                      <a:pt x="287" y="392"/>
                    </a:lnTo>
                    <a:lnTo>
                      <a:pt x="300" y="382"/>
                    </a:lnTo>
                    <a:lnTo>
                      <a:pt x="312" y="372"/>
                    </a:lnTo>
                    <a:lnTo>
                      <a:pt x="322" y="360"/>
                    </a:lnTo>
                    <a:lnTo>
                      <a:pt x="332" y="347"/>
                    </a:lnTo>
                    <a:lnTo>
                      <a:pt x="341" y="333"/>
                    </a:lnTo>
                    <a:lnTo>
                      <a:pt x="347" y="319"/>
                    </a:lnTo>
                    <a:lnTo>
                      <a:pt x="353" y="303"/>
                    </a:lnTo>
                    <a:lnTo>
                      <a:pt x="357" y="288"/>
                    </a:lnTo>
                    <a:lnTo>
                      <a:pt x="360" y="272"/>
                    </a:lnTo>
                    <a:lnTo>
                      <a:pt x="361" y="255"/>
                    </a:lnTo>
                    <a:lnTo>
                      <a:pt x="361" y="179"/>
                    </a:lnTo>
                    <a:lnTo>
                      <a:pt x="360" y="163"/>
                    </a:lnTo>
                    <a:lnTo>
                      <a:pt x="358" y="146"/>
                    </a:lnTo>
                    <a:lnTo>
                      <a:pt x="353" y="130"/>
                    </a:lnTo>
                    <a:lnTo>
                      <a:pt x="348" y="115"/>
                    </a:lnTo>
                    <a:lnTo>
                      <a:pt x="342" y="99"/>
                    </a:lnTo>
                    <a:lnTo>
                      <a:pt x="333" y="85"/>
                    </a:lnTo>
                    <a:lnTo>
                      <a:pt x="323" y="70"/>
                    </a:lnTo>
                    <a:lnTo>
                      <a:pt x="314" y="57"/>
                    </a:lnTo>
                    <a:lnTo>
                      <a:pt x="302" y="45"/>
                    </a:lnTo>
                    <a:lnTo>
                      <a:pt x="289" y="34"/>
                    </a:lnTo>
                    <a:lnTo>
                      <a:pt x="275" y="24"/>
                    </a:lnTo>
                    <a:lnTo>
                      <a:pt x="261" y="16"/>
                    </a:lnTo>
                    <a:lnTo>
                      <a:pt x="246" y="9"/>
                    </a:lnTo>
                    <a:lnTo>
                      <a:pt x="229" y="4"/>
                    </a:lnTo>
                    <a:lnTo>
                      <a:pt x="213" y="1"/>
                    </a:lnTo>
                    <a:lnTo>
                      <a:pt x="196"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163" name="Group 162"/>
            <p:cNvGrpSpPr/>
            <p:nvPr/>
          </p:nvGrpSpPr>
          <p:grpSpPr>
            <a:xfrm>
              <a:off x="4908976" y="4248669"/>
              <a:ext cx="320632" cy="297478"/>
              <a:chOff x="9879013" y="2500313"/>
              <a:chExt cx="285750" cy="265113"/>
            </a:xfrm>
            <a:solidFill>
              <a:srgbClr val="AAAAAA"/>
            </a:solidFill>
            <a:effectLst>
              <a:outerShdw blurRad="38100" dist="25400" dir="5400000" algn="ctr" rotWithShape="0">
                <a:srgbClr val="000000">
                  <a:alpha val="20000"/>
                </a:srgbClr>
              </a:outerShdw>
            </a:effectLst>
          </p:grpSpPr>
          <p:sp>
            <p:nvSpPr>
              <p:cNvPr id="164" name="Freeform 3859"/>
              <p:cNvSpPr>
                <a:spLocks noEditPoints="1"/>
              </p:cNvSpPr>
              <p:nvPr/>
            </p:nvSpPr>
            <p:spPr bwMode="auto">
              <a:xfrm>
                <a:off x="10031413" y="2500313"/>
                <a:ext cx="133350" cy="265113"/>
              </a:xfrm>
              <a:custGeom>
                <a:avLst/>
                <a:gdLst>
                  <a:gd name="T0" fmla="*/ 156 w 420"/>
                  <a:gd name="T1" fmla="*/ 795 h 832"/>
                  <a:gd name="T2" fmla="*/ 95 w 420"/>
                  <a:gd name="T3" fmla="*/ 761 h 832"/>
                  <a:gd name="T4" fmla="*/ 51 w 420"/>
                  <a:gd name="T5" fmla="*/ 708 h 832"/>
                  <a:gd name="T6" fmla="*/ 31 w 420"/>
                  <a:gd name="T7" fmla="*/ 640 h 832"/>
                  <a:gd name="T8" fmla="*/ 38 w 420"/>
                  <a:gd name="T9" fmla="*/ 576 h 832"/>
                  <a:gd name="T10" fmla="*/ 73 w 420"/>
                  <a:gd name="T11" fmla="*/ 517 h 832"/>
                  <a:gd name="T12" fmla="*/ 128 w 420"/>
                  <a:gd name="T13" fmla="*/ 469 h 832"/>
                  <a:gd name="T14" fmla="*/ 186 w 420"/>
                  <a:gd name="T15" fmla="*/ 446 h 832"/>
                  <a:gd name="T16" fmla="*/ 224 w 420"/>
                  <a:gd name="T17" fmla="*/ 444 h 832"/>
                  <a:gd name="T18" fmla="*/ 263 w 420"/>
                  <a:gd name="T19" fmla="*/ 451 h 832"/>
                  <a:gd name="T20" fmla="*/ 300 w 420"/>
                  <a:gd name="T21" fmla="*/ 470 h 832"/>
                  <a:gd name="T22" fmla="*/ 344 w 420"/>
                  <a:gd name="T23" fmla="*/ 505 h 832"/>
                  <a:gd name="T24" fmla="*/ 378 w 420"/>
                  <a:gd name="T25" fmla="*/ 556 h 832"/>
                  <a:gd name="T26" fmla="*/ 390 w 420"/>
                  <a:gd name="T27" fmla="*/ 609 h 832"/>
                  <a:gd name="T28" fmla="*/ 383 w 420"/>
                  <a:gd name="T29" fmla="*/ 676 h 832"/>
                  <a:gd name="T30" fmla="*/ 350 w 420"/>
                  <a:gd name="T31" fmla="*/ 737 h 832"/>
                  <a:gd name="T32" fmla="*/ 296 w 420"/>
                  <a:gd name="T33" fmla="*/ 781 h 832"/>
                  <a:gd name="T34" fmla="*/ 228 w 420"/>
                  <a:gd name="T35" fmla="*/ 802 h 832"/>
                  <a:gd name="T36" fmla="*/ 388 w 420"/>
                  <a:gd name="T37" fmla="*/ 508 h 832"/>
                  <a:gd name="T38" fmla="*/ 208 w 420"/>
                  <a:gd name="T39" fmla="*/ 178 h 832"/>
                  <a:gd name="T40" fmla="*/ 145 w 420"/>
                  <a:gd name="T41" fmla="*/ 20 h 832"/>
                  <a:gd name="T42" fmla="*/ 109 w 420"/>
                  <a:gd name="T43" fmla="*/ 4 h 832"/>
                  <a:gd name="T44" fmla="*/ 66 w 420"/>
                  <a:gd name="T45" fmla="*/ 0 h 832"/>
                  <a:gd name="T46" fmla="*/ 27 w 420"/>
                  <a:gd name="T47" fmla="*/ 11 h 832"/>
                  <a:gd name="T48" fmla="*/ 2 w 420"/>
                  <a:gd name="T49" fmla="*/ 28 h 832"/>
                  <a:gd name="T50" fmla="*/ 0 w 420"/>
                  <a:gd name="T51" fmla="*/ 263 h 832"/>
                  <a:gd name="T52" fmla="*/ 55 w 420"/>
                  <a:gd name="T53" fmla="*/ 273 h 832"/>
                  <a:gd name="T54" fmla="*/ 97 w 420"/>
                  <a:gd name="T55" fmla="*/ 293 h 832"/>
                  <a:gd name="T56" fmla="*/ 125 w 420"/>
                  <a:gd name="T57" fmla="*/ 320 h 832"/>
                  <a:gd name="T58" fmla="*/ 135 w 420"/>
                  <a:gd name="T59" fmla="*/ 352 h 832"/>
                  <a:gd name="T60" fmla="*/ 131 w 420"/>
                  <a:gd name="T61" fmla="*/ 362 h 832"/>
                  <a:gd name="T62" fmla="*/ 120 w 420"/>
                  <a:gd name="T63" fmla="*/ 367 h 832"/>
                  <a:gd name="T64" fmla="*/ 109 w 420"/>
                  <a:gd name="T65" fmla="*/ 362 h 832"/>
                  <a:gd name="T66" fmla="*/ 105 w 420"/>
                  <a:gd name="T67" fmla="*/ 352 h 832"/>
                  <a:gd name="T68" fmla="*/ 97 w 420"/>
                  <a:gd name="T69" fmla="*/ 333 h 832"/>
                  <a:gd name="T70" fmla="*/ 76 w 420"/>
                  <a:gd name="T71" fmla="*/ 315 h 832"/>
                  <a:gd name="T72" fmla="*/ 0 w 420"/>
                  <a:gd name="T73" fmla="*/ 293 h 832"/>
                  <a:gd name="T74" fmla="*/ 2 w 420"/>
                  <a:gd name="T75" fmla="*/ 648 h 832"/>
                  <a:gd name="T76" fmla="*/ 27 w 420"/>
                  <a:gd name="T77" fmla="*/ 725 h 832"/>
                  <a:gd name="T78" fmla="*/ 78 w 420"/>
                  <a:gd name="T79" fmla="*/ 786 h 832"/>
                  <a:gd name="T80" fmla="*/ 149 w 420"/>
                  <a:gd name="T81" fmla="*/ 823 h 832"/>
                  <a:gd name="T82" fmla="*/ 221 w 420"/>
                  <a:gd name="T83" fmla="*/ 832 h 832"/>
                  <a:gd name="T84" fmla="*/ 272 w 420"/>
                  <a:gd name="T85" fmla="*/ 823 h 832"/>
                  <a:gd name="T86" fmla="*/ 344 w 420"/>
                  <a:gd name="T87" fmla="*/ 785 h 832"/>
                  <a:gd name="T88" fmla="*/ 396 w 420"/>
                  <a:gd name="T89" fmla="*/ 723 h 832"/>
                  <a:gd name="T90" fmla="*/ 418 w 420"/>
                  <a:gd name="T91" fmla="*/ 654 h 832"/>
                  <a:gd name="T92" fmla="*/ 420 w 420"/>
                  <a:gd name="T93" fmla="*/ 608 h 832"/>
                  <a:gd name="T94" fmla="*/ 408 w 420"/>
                  <a:gd name="T95" fmla="*/ 55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832">
                    <a:moveTo>
                      <a:pt x="210" y="802"/>
                    </a:moveTo>
                    <a:lnTo>
                      <a:pt x="192" y="802"/>
                    </a:lnTo>
                    <a:lnTo>
                      <a:pt x="174" y="799"/>
                    </a:lnTo>
                    <a:lnTo>
                      <a:pt x="156" y="795"/>
                    </a:lnTo>
                    <a:lnTo>
                      <a:pt x="140" y="788"/>
                    </a:lnTo>
                    <a:lnTo>
                      <a:pt x="124" y="781"/>
                    </a:lnTo>
                    <a:lnTo>
                      <a:pt x="109" y="772"/>
                    </a:lnTo>
                    <a:lnTo>
                      <a:pt x="95" y="761"/>
                    </a:lnTo>
                    <a:lnTo>
                      <a:pt x="82" y="749"/>
                    </a:lnTo>
                    <a:lnTo>
                      <a:pt x="71" y="737"/>
                    </a:lnTo>
                    <a:lnTo>
                      <a:pt x="61" y="723"/>
                    </a:lnTo>
                    <a:lnTo>
                      <a:pt x="51" y="708"/>
                    </a:lnTo>
                    <a:lnTo>
                      <a:pt x="44" y="693"/>
                    </a:lnTo>
                    <a:lnTo>
                      <a:pt x="38" y="676"/>
                    </a:lnTo>
                    <a:lnTo>
                      <a:pt x="33" y="658"/>
                    </a:lnTo>
                    <a:lnTo>
                      <a:pt x="31" y="640"/>
                    </a:lnTo>
                    <a:lnTo>
                      <a:pt x="30" y="622"/>
                    </a:lnTo>
                    <a:lnTo>
                      <a:pt x="31" y="607"/>
                    </a:lnTo>
                    <a:lnTo>
                      <a:pt x="34" y="592"/>
                    </a:lnTo>
                    <a:lnTo>
                      <a:pt x="38" y="576"/>
                    </a:lnTo>
                    <a:lnTo>
                      <a:pt x="45" y="561"/>
                    </a:lnTo>
                    <a:lnTo>
                      <a:pt x="52" y="546"/>
                    </a:lnTo>
                    <a:lnTo>
                      <a:pt x="62" y="531"/>
                    </a:lnTo>
                    <a:lnTo>
                      <a:pt x="73" y="517"/>
                    </a:lnTo>
                    <a:lnTo>
                      <a:pt x="85" y="503"/>
                    </a:lnTo>
                    <a:lnTo>
                      <a:pt x="97" y="490"/>
                    </a:lnTo>
                    <a:lnTo>
                      <a:pt x="112" y="479"/>
                    </a:lnTo>
                    <a:lnTo>
                      <a:pt x="128" y="469"/>
                    </a:lnTo>
                    <a:lnTo>
                      <a:pt x="144" y="460"/>
                    </a:lnTo>
                    <a:lnTo>
                      <a:pt x="161" y="454"/>
                    </a:lnTo>
                    <a:lnTo>
                      <a:pt x="178" y="448"/>
                    </a:lnTo>
                    <a:lnTo>
                      <a:pt x="186" y="446"/>
                    </a:lnTo>
                    <a:lnTo>
                      <a:pt x="196" y="445"/>
                    </a:lnTo>
                    <a:lnTo>
                      <a:pt x="205" y="444"/>
                    </a:lnTo>
                    <a:lnTo>
                      <a:pt x="214" y="444"/>
                    </a:lnTo>
                    <a:lnTo>
                      <a:pt x="224" y="444"/>
                    </a:lnTo>
                    <a:lnTo>
                      <a:pt x="234" y="445"/>
                    </a:lnTo>
                    <a:lnTo>
                      <a:pt x="243" y="447"/>
                    </a:lnTo>
                    <a:lnTo>
                      <a:pt x="253" y="449"/>
                    </a:lnTo>
                    <a:lnTo>
                      <a:pt x="263" y="451"/>
                    </a:lnTo>
                    <a:lnTo>
                      <a:pt x="272" y="456"/>
                    </a:lnTo>
                    <a:lnTo>
                      <a:pt x="281" y="459"/>
                    </a:lnTo>
                    <a:lnTo>
                      <a:pt x="291" y="464"/>
                    </a:lnTo>
                    <a:lnTo>
                      <a:pt x="300" y="470"/>
                    </a:lnTo>
                    <a:lnTo>
                      <a:pt x="309" y="475"/>
                    </a:lnTo>
                    <a:lnTo>
                      <a:pt x="317" y="481"/>
                    </a:lnTo>
                    <a:lnTo>
                      <a:pt x="327" y="489"/>
                    </a:lnTo>
                    <a:lnTo>
                      <a:pt x="344" y="505"/>
                    </a:lnTo>
                    <a:lnTo>
                      <a:pt x="360" y="522"/>
                    </a:lnTo>
                    <a:lnTo>
                      <a:pt x="367" y="534"/>
                    </a:lnTo>
                    <a:lnTo>
                      <a:pt x="373" y="545"/>
                    </a:lnTo>
                    <a:lnTo>
                      <a:pt x="378" y="556"/>
                    </a:lnTo>
                    <a:lnTo>
                      <a:pt x="383" y="569"/>
                    </a:lnTo>
                    <a:lnTo>
                      <a:pt x="386" y="582"/>
                    </a:lnTo>
                    <a:lnTo>
                      <a:pt x="388" y="595"/>
                    </a:lnTo>
                    <a:lnTo>
                      <a:pt x="390" y="609"/>
                    </a:lnTo>
                    <a:lnTo>
                      <a:pt x="390" y="622"/>
                    </a:lnTo>
                    <a:lnTo>
                      <a:pt x="389" y="640"/>
                    </a:lnTo>
                    <a:lnTo>
                      <a:pt x="387" y="658"/>
                    </a:lnTo>
                    <a:lnTo>
                      <a:pt x="383" y="676"/>
                    </a:lnTo>
                    <a:lnTo>
                      <a:pt x="376" y="693"/>
                    </a:lnTo>
                    <a:lnTo>
                      <a:pt x="369" y="708"/>
                    </a:lnTo>
                    <a:lnTo>
                      <a:pt x="359" y="723"/>
                    </a:lnTo>
                    <a:lnTo>
                      <a:pt x="350" y="737"/>
                    </a:lnTo>
                    <a:lnTo>
                      <a:pt x="338" y="749"/>
                    </a:lnTo>
                    <a:lnTo>
                      <a:pt x="325" y="761"/>
                    </a:lnTo>
                    <a:lnTo>
                      <a:pt x="311" y="772"/>
                    </a:lnTo>
                    <a:lnTo>
                      <a:pt x="296" y="781"/>
                    </a:lnTo>
                    <a:lnTo>
                      <a:pt x="280" y="788"/>
                    </a:lnTo>
                    <a:lnTo>
                      <a:pt x="264" y="795"/>
                    </a:lnTo>
                    <a:lnTo>
                      <a:pt x="247" y="799"/>
                    </a:lnTo>
                    <a:lnTo>
                      <a:pt x="228" y="802"/>
                    </a:lnTo>
                    <a:lnTo>
                      <a:pt x="210" y="802"/>
                    </a:lnTo>
                    <a:close/>
                    <a:moveTo>
                      <a:pt x="390" y="515"/>
                    </a:moveTo>
                    <a:lnTo>
                      <a:pt x="389" y="511"/>
                    </a:lnTo>
                    <a:lnTo>
                      <a:pt x="388" y="508"/>
                    </a:lnTo>
                    <a:lnTo>
                      <a:pt x="269" y="240"/>
                    </a:lnTo>
                    <a:lnTo>
                      <a:pt x="268" y="238"/>
                    </a:lnTo>
                    <a:lnTo>
                      <a:pt x="266" y="236"/>
                    </a:lnTo>
                    <a:lnTo>
                      <a:pt x="208" y="178"/>
                    </a:lnTo>
                    <a:lnTo>
                      <a:pt x="154" y="31"/>
                    </a:lnTo>
                    <a:lnTo>
                      <a:pt x="153" y="28"/>
                    </a:lnTo>
                    <a:lnTo>
                      <a:pt x="151" y="26"/>
                    </a:lnTo>
                    <a:lnTo>
                      <a:pt x="145" y="20"/>
                    </a:lnTo>
                    <a:lnTo>
                      <a:pt x="137" y="15"/>
                    </a:lnTo>
                    <a:lnTo>
                      <a:pt x="129" y="11"/>
                    </a:lnTo>
                    <a:lnTo>
                      <a:pt x="119" y="6"/>
                    </a:lnTo>
                    <a:lnTo>
                      <a:pt x="109" y="4"/>
                    </a:lnTo>
                    <a:lnTo>
                      <a:pt x="100" y="2"/>
                    </a:lnTo>
                    <a:lnTo>
                      <a:pt x="89" y="0"/>
                    </a:lnTo>
                    <a:lnTo>
                      <a:pt x="77" y="0"/>
                    </a:lnTo>
                    <a:lnTo>
                      <a:pt x="66" y="0"/>
                    </a:lnTo>
                    <a:lnTo>
                      <a:pt x="56" y="2"/>
                    </a:lnTo>
                    <a:lnTo>
                      <a:pt x="45" y="4"/>
                    </a:lnTo>
                    <a:lnTo>
                      <a:pt x="35" y="6"/>
                    </a:lnTo>
                    <a:lnTo>
                      <a:pt x="27" y="11"/>
                    </a:lnTo>
                    <a:lnTo>
                      <a:pt x="18" y="15"/>
                    </a:lnTo>
                    <a:lnTo>
                      <a:pt x="11" y="20"/>
                    </a:lnTo>
                    <a:lnTo>
                      <a:pt x="4" y="26"/>
                    </a:lnTo>
                    <a:lnTo>
                      <a:pt x="2" y="28"/>
                    </a:lnTo>
                    <a:lnTo>
                      <a:pt x="1" y="31"/>
                    </a:lnTo>
                    <a:lnTo>
                      <a:pt x="0" y="33"/>
                    </a:lnTo>
                    <a:lnTo>
                      <a:pt x="0" y="36"/>
                    </a:lnTo>
                    <a:lnTo>
                      <a:pt x="0" y="263"/>
                    </a:lnTo>
                    <a:lnTo>
                      <a:pt x="14" y="265"/>
                    </a:lnTo>
                    <a:lnTo>
                      <a:pt x="28" y="267"/>
                    </a:lnTo>
                    <a:lnTo>
                      <a:pt x="42" y="270"/>
                    </a:lnTo>
                    <a:lnTo>
                      <a:pt x="55" y="273"/>
                    </a:lnTo>
                    <a:lnTo>
                      <a:pt x="66" y="278"/>
                    </a:lnTo>
                    <a:lnTo>
                      <a:pt x="77" y="282"/>
                    </a:lnTo>
                    <a:lnTo>
                      <a:pt x="88" y="287"/>
                    </a:lnTo>
                    <a:lnTo>
                      <a:pt x="97" y="293"/>
                    </a:lnTo>
                    <a:lnTo>
                      <a:pt x="106" y="299"/>
                    </a:lnTo>
                    <a:lnTo>
                      <a:pt x="114" y="306"/>
                    </a:lnTo>
                    <a:lnTo>
                      <a:pt x="120" y="312"/>
                    </a:lnTo>
                    <a:lnTo>
                      <a:pt x="125" y="320"/>
                    </a:lnTo>
                    <a:lnTo>
                      <a:pt x="130" y="327"/>
                    </a:lnTo>
                    <a:lnTo>
                      <a:pt x="133" y="336"/>
                    </a:lnTo>
                    <a:lnTo>
                      <a:pt x="134" y="343"/>
                    </a:lnTo>
                    <a:lnTo>
                      <a:pt x="135" y="352"/>
                    </a:lnTo>
                    <a:lnTo>
                      <a:pt x="135" y="355"/>
                    </a:lnTo>
                    <a:lnTo>
                      <a:pt x="134" y="358"/>
                    </a:lnTo>
                    <a:lnTo>
                      <a:pt x="133" y="360"/>
                    </a:lnTo>
                    <a:lnTo>
                      <a:pt x="131" y="362"/>
                    </a:lnTo>
                    <a:lnTo>
                      <a:pt x="129" y="365"/>
                    </a:lnTo>
                    <a:lnTo>
                      <a:pt x="125" y="366"/>
                    </a:lnTo>
                    <a:lnTo>
                      <a:pt x="123" y="367"/>
                    </a:lnTo>
                    <a:lnTo>
                      <a:pt x="120" y="367"/>
                    </a:lnTo>
                    <a:lnTo>
                      <a:pt x="117" y="367"/>
                    </a:lnTo>
                    <a:lnTo>
                      <a:pt x="115" y="366"/>
                    </a:lnTo>
                    <a:lnTo>
                      <a:pt x="111" y="365"/>
                    </a:lnTo>
                    <a:lnTo>
                      <a:pt x="109" y="362"/>
                    </a:lnTo>
                    <a:lnTo>
                      <a:pt x="107" y="360"/>
                    </a:lnTo>
                    <a:lnTo>
                      <a:pt x="106" y="358"/>
                    </a:lnTo>
                    <a:lnTo>
                      <a:pt x="105" y="355"/>
                    </a:lnTo>
                    <a:lnTo>
                      <a:pt x="105" y="352"/>
                    </a:lnTo>
                    <a:lnTo>
                      <a:pt x="105" y="347"/>
                    </a:lnTo>
                    <a:lnTo>
                      <a:pt x="103" y="342"/>
                    </a:lnTo>
                    <a:lnTo>
                      <a:pt x="101" y="338"/>
                    </a:lnTo>
                    <a:lnTo>
                      <a:pt x="97" y="333"/>
                    </a:lnTo>
                    <a:lnTo>
                      <a:pt x="93" y="328"/>
                    </a:lnTo>
                    <a:lnTo>
                      <a:pt x="89" y="324"/>
                    </a:lnTo>
                    <a:lnTo>
                      <a:pt x="82" y="320"/>
                    </a:lnTo>
                    <a:lnTo>
                      <a:pt x="76" y="315"/>
                    </a:lnTo>
                    <a:lnTo>
                      <a:pt x="61" y="308"/>
                    </a:lnTo>
                    <a:lnTo>
                      <a:pt x="43" y="301"/>
                    </a:lnTo>
                    <a:lnTo>
                      <a:pt x="22" y="297"/>
                    </a:lnTo>
                    <a:lnTo>
                      <a:pt x="0" y="293"/>
                    </a:lnTo>
                    <a:lnTo>
                      <a:pt x="0" y="626"/>
                    </a:lnTo>
                    <a:lnTo>
                      <a:pt x="0" y="626"/>
                    </a:lnTo>
                    <a:lnTo>
                      <a:pt x="0" y="627"/>
                    </a:lnTo>
                    <a:lnTo>
                      <a:pt x="2" y="648"/>
                    </a:lnTo>
                    <a:lnTo>
                      <a:pt x="5" y="669"/>
                    </a:lnTo>
                    <a:lnTo>
                      <a:pt x="11" y="688"/>
                    </a:lnTo>
                    <a:lnTo>
                      <a:pt x="18" y="707"/>
                    </a:lnTo>
                    <a:lnTo>
                      <a:pt x="27" y="725"/>
                    </a:lnTo>
                    <a:lnTo>
                      <a:pt x="37" y="742"/>
                    </a:lnTo>
                    <a:lnTo>
                      <a:pt x="49" y="758"/>
                    </a:lnTo>
                    <a:lnTo>
                      <a:pt x="63" y="772"/>
                    </a:lnTo>
                    <a:lnTo>
                      <a:pt x="78" y="786"/>
                    </a:lnTo>
                    <a:lnTo>
                      <a:pt x="94" y="798"/>
                    </a:lnTo>
                    <a:lnTo>
                      <a:pt x="111" y="807"/>
                    </a:lnTo>
                    <a:lnTo>
                      <a:pt x="130" y="816"/>
                    </a:lnTo>
                    <a:lnTo>
                      <a:pt x="149" y="823"/>
                    </a:lnTo>
                    <a:lnTo>
                      <a:pt x="168" y="829"/>
                    </a:lnTo>
                    <a:lnTo>
                      <a:pt x="189" y="831"/>
                    </a:lnTo>
                    <a:lnTo>
                      <a:pt x="210" y="832"/>
                    </a:lnTo>
                    <a:lnTo>
                      <a:pt x="221" y="832"/>
                    </a:lnTo>
                    <a:lnTo>
                      <a:pt x="232" y="831"/>
                    </a:lnTo>
                    <a:lnTo>
                      <a:pt x="242" y="830"/>
                    </a:lnTo>
                    <a:lnTo>
                      <a:pt x="253" y="828"/>
                    </a:lnTo>
                    <a:lnTo>
                      <a:pt x="272" y="823"/>
                    </a:lnTo>
                    <a:lnTo>
                      <a:pt x="292" y="816"/>
                    </a:lnTo>
                    <a:lnTo>
                      <a:pt x="311" y="807"/>
                    </a:lnTo>
                    <a:lnTo>
                      <a:pt x="328" y="797"/>
                    </a:lnTo>
                    <a:lnTo>
                      <a:pt x="344" y="785"/>
                    </a:lnTo>
                    <a:lnTo>
                      <a:pt x="359" y="771"/>
                    </a:lnTo>
                    <a:lnTo>
                      <a:pt x="372" y="756"/>
                    </a:lnTo>
                    <a:lnTo>
                      <a:pt x="385" y="740"/>
                    </a:lnTo>
                    <a:lnTo>
                      <a:pt x="396" y="723"/>
                    </a:lnTo>
                    <a:lnTo>
                      <a:pt x="404" y="704"/>
                    </a:lnTo>
                    <a:lnTo>
                      <a:pt x="411" y="685"/>
                    </a:lnTo>
                    <a:lnTo>
                      <a:pt x="416" y="665"/>
                    </a:lnTo>
                    <a:lnTo>
                      <a:pt x="418" y="654"/>
                    </a:lnTo>
                    <a:lnTo>
                      <a:pt x="419" y="643"/>
                    </a:lnTo>
                    <a:lnTo>
                      <a:pt x="420" y="633"/>
                    </a:lnTo>
                    <a:lnTo>
                      <a:pt x="420" y="622"/>
                    </a:lnTo>
                    <a:lnTo>
                      <a:pt x="420" y="608"/>
                    </a:lnTo>
                    <a:lnTo>
                      <a:pt x="418" y="593"/>
                    </a:lnTo>
                    <a:lnTo>
                      <a:pt x="416" y="579"/>
                    </a:lnTo>
                    <a:lnTo>
                      <a:pt x="413" y="565"/>
                    </a:lnTo>
                    <a:lnTo>
                      <a:pt x="408" y="552"/>
                    </a:lnTo>
                    <a:lnTo>
                      <a:pt x="403" y="539"/>
                    </a:lnTo>
                    <a:lnTo>
                      <a:pt x="397" y="526"/>
                    </a:lnTo>
                    <a:lnTo>
                      <a:pt x="390" y="515"/>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68" name="Freeform 3860"/>
              <p:cNvSpPr>
                <a:spLocks noEditPoints="1"/>
              </p:cNvSpPr>
              <p:nvPr/>
            </p:nvSpPr>
            <p:spPr bwMode="auto">
              <a:xfrm>
                <a:off x="9879013" y="2500313"/>
                <a:ext cx="133350" cy="265113"/>
              </a:xfrm>
              <a:custGeom>
                <a:avLst/>
                <a:gdLst>
                  <a:gd name="T0" fmla="*/ 382 w 421"/>
                  <a:gd name="T1" fmla="*/ 676 h 832"/>
                  <a:gd name="T2" fmla="*/ 349 w 421"/>
                  <a:gd name="T3" fmla="*/ 737 h 832"/>
                  <a:gd name="T4" fmla="*/ 296 w 421"/>
                  <a:gd name="T5" fmla="*/ 781 h 832"/>
                  <a:gd name="T6" fmla="*/ 229 w 421"/>
                  <a:gd name="T7" fmla="*/ 802 h 832"/>
                  <a:gd name="T8" fmla="*/ 157 w 421"/>
                  <a:gd name="T9" fmla="*/ 795 h 832"/>
                  <a:gd name="T10" fmla="*/ 96 w 421"/>
                  <a:gd name="T11" fmla="*/ 761 h 832"/>
                  <a:gd name="T12" fmla="*/ 52 w 421"/>
                  <a:gd name="T13" fmla="*/ 708 h 832"/>
                  <a:gd name="T14" fmla="*/ 30 w 421"/>
                  <a:gd name="T15" fmla="*/ 640 h 832"/>
                  <a:gd name="T16" fmla="*/ 35 w 421"/>
                  <a:gd name="T17" fmla="*/ 582 h 832"/>
                  <a:gd name="T18" fmla="*/ 53 w 421"/>
                  <a:gd name="T19" fmla="*/ 534 h 832"/>
                  <a:gd name="T20" fmla="*/ 103 w 421"/>
                  <a:gd name="T21" fmla="*/ 481 h 832"/>
                  <a:gd name="T22" fmla="*/ 139 w 421"/>
                  <a:gd name="T23" fmla="*/ 459 h 832"/>
                  <a:gd name="T24" fmla="*/ 177 w 421"/>
                  <a:gd name="T25" fmla="*/ 447 h 832"/>
                  <a:gd name="T26" fmla="*/ 216 w 421"/>
                  <a:gd name="T27" fmla="*/ 444 h 832"/>
                  <a:gd name="T28" fmla="*/ 260 w 421"/>
                  <a:gd name="T29" fmla="*/ 454 h 832"/>
                  <a:gd name="T30" fmla="*/ 322 w 421"/>
                  <a:gd name="T31" fmla="*/ 490 h 832"/>
                  <a:gd name="T32" fmla="*/ 368 w 421"/>
                  <a:gd name="T33" fmla="*/ 546 h 832"/>
                  <a:gd name="T34" fmla="*/ 390 w 421"/>
                  <a:gd name="T35" fmla="*/ 607 h 832"/>
                  <a:gd name="T36" fmla="*/ 332 w 421"/>
                  <a:gd name="T37" fmla="*/ 0 h 832"/>
                  <a:gd name="T38" fmla="*/ 292 w 421"/>
                  <a:gd name="T39" fmla="*/ 11 h 832"/>
                  <a:gd name="T40" fmla="*/ 267 w 421"/>
                  <a:gd name="T41" fmla="*/ 28 h 832"/>
                  <a:gd name="T42" fmla="*/ 153 w 421"/>
                  <a:gd name="T43" fmla="*/ 238 h 832"/>
                  <a:gd name="T44" fmla="*/ 30 w 421"/>
                  <a:gd name="T45" fmla="*/ 514 h 832"/>
                  <a:gd name="T46" fmla="*/ 8 w 421"/>
                  <a:gd name="T47" fmla="*/ 565 h 832"/>
                  <a:gd name="T48" fmla="*/ 0 w 421"/>
                  <a:gd name="T49" fmla="*/ 622 h 832"/>
                  <a:gd name="T50" fmla="*/ 5 w 421"/>
                  <a:gd name="T51" fmla="*/ 665 h 832"/>
                  <a:gd name="T52" fmla="*/ 36 w 421"/>
                  <a:gd name="T53" fmla="*/ 740 h 832"/>
                  <a:gd name="T54" fmla="*/ 93 w 421"/>
                  <a:gd name="T55" fmla="*/ 797 h 832"/>
                  <a:gd name="T56" fmla="*/ 168 w 421"/>
                  <a:gd name="T57" fmla="*/ 828 h 832"/>
                  <a:gd name="T58" fmla="*/ 211 w 421"/>
                  <a:gd name="T59" fmla="*/ 832 h 832"/>
                  <a:gd name="T60" fmla="*/ 291 w 421"/>
                  <a:gd name="T61" fmla="*/ 816 h 832"/>
                  <a:gd name="T62" fmla="*/ 358 w 421"/>
                  <a:gd name="T63" fmla="*/ 772 h 832"/>
                  <a:gd name="T64" fmla="*/ 403 w 421"/>
                  <a:gd name="T65" fmla="*/ 708 h 832"/>
                  <a:gd name="T66" fmla="*/ 421 w 421"/>
                  <a:gd name="T67" fmla="*/ 627 h 832"/>
                  <a:gd name="T68" fmla="*/ 398 w 421"/>
                  <a:gd name="T69" fmla="*/ 297 h 832"/>
                  <a:gd name="T70" fmla="*/ 337 w 421"/>
                  <a:gd name="T71" fmla="*/ 320 h 832"/>
                  <a:gd name="T72" fmla="*/ 320 w 421"/>
                  <a:gd name="T73" fmla="*/ 338 h 832"/>
                  <a:gd name="T74" fmla="*/ 316 w 421"/>
                  <a:gd name="T75" fmla="*/ 355 h 832"/>
                  <a:gd name="T76" fmla="*/ 309 w 421"/>
                  <a:gd name="T77" fmla="*/ 365 h 832"/>
                  <a:gd name="T78" fmla="*/ 297 w 421"/>
                  <a:gd name="T79" fmla="*/ 367 h 832"/>
                  <a:gd name="T80" fmla="*/ 288 w 421"/>
                  <a:gd name="T81" fmla="*/ 360 h 832"/>
                  <a:gd name="T82" fmla="*/ 286 w 421"/>
                  <a:gd name="T83" fmla="*/ 343 h 832"/>
                  <a:gd name="T84" fmla="*/ 301 w 421"/>
                  <a:gd name="T85" fmla="*/ 312 h 832"/>
                  <a:gd name="T86" fmla="*/ 333 w 421"/>
                  <a:gd name="T87" fmla="*/ 287 h 832"/>
                  <a:gd name="T88" fmla="*/ 379 w 421"/>
                  <a:gd name="T89" fmla="*/ 270 h 832"/>
                  <a:gd name="T90" fmla="*/ 421 w 421"/>
                  <a:gd name="T91" fmla="*/ 36 h 832"/>
                  <a:gd name="T92" fmla="*/ 417 w 421"/>
                  <a:gd name="T93" fmla="*/ 26 h 832"/>
                  <a:gd name="T94" fmla="*/ 384 w 421"/>
                  <a:gd name="T95" fmla="*/ 6 h 832"/>
                  <a:gd name="T96" fmla="*/ 343 w 421"/>
                  <a:gd name="T97" fmla="*/ 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1" h="832">
                    <a:moveTo>
                      <a:pt x="391" y="622"/>
                    </a:moveTo>
                    <a:lnTo>
                      <a:pt x="390" y="640"/>
                    </a:lnTo>
                    <a:lnTo>
                      <a:pt x="386" y="658"/>
                    </a:lnTo>
                    <a:lnTo>
                      <a:pt x="382" y="676"/>
                    </a:lnTo>
                    <a:lnTo>
                      <a:pt x="377" y="693"/>
                    </a:lnTo>
                    <a:lnTo>
                      <a:pt x="369" y="708"/>
                    </a:lnTo>
                    <a:lnTo>
                      <a:pt x="360" y="723"/>
                    </a:lnTo>
                    <a:lnTo>
                      <a:pt x="349" y="737"/>
                    </a:lnTo>
                    <a:lnTo>
                      <a:pt x="338" y="749"/>
                    </a:lnTo>
                    <a:lnTo>
                      <a:pt x="325" y="761"/>
                    </a:lnTo>
                    <a:lnTo>
                      <a:pt x="311" y="772"/>
                    </a:lnTo>
                    <a:lnTo>
                      <a:pt x="296" y="781"/>
                    </a:lnTo>
                    <a:lnTo>
                      <a:pt x="280" y="788"/>
                    </a:lnTo>
                    <a:lnTo>
                      <a:pt x="264" y="795"/>
                    </a:lnTo>
                    <a:lnTo>
                      <a:pt x="247" y="799"/>
                    </a:lnTo>
                    <a:lnTo>
                      <a:pt x="229" y="802"/>
                    </a:lnTo>
                    <a:lnTo>
                      <a:pt x="211" y="802"/>
                    </a:lnTo>
                    <a:lnTo>
                      <a:pt x="192" y="802"/>
                    </a:lnTo>
                    <a:lnTo>
                      <a:pt x="174" y="799"/>
                    </a:lnTo>
                    <a:lnTo>
                      <a:pt x="157" y="795"/>
                    </a:lnTo>
                    <a:lnTo>
                      <a:pt x="140" y="788"/>
                    </a:lnTo>
                    <a:lnTo>
                      <a:pt x="125" y="781"/>
                    </a:lnTo>
                    <a:lnTo>
                      <a:pt x="110" y="772"/>
                    </a:lnTo>
                    <a:lnTo>
                      <a:pt x="96" y="761"/>
                    </a:lnTo>
                    <a:lnTo>
                      <a:pt x="83" y="749"/>
                    </a:lnTo>
                    <a:lnTo>
                      <a:pt x="71" y="737"/>
                    </a:lnTo>
                    <a:lnTo>
                      <a:pt x="60" y="723"/>
                    </a:lnTo>
                    <a:lnTo>
                      <a:pt x="52" y="708"/>
                    </a:lnTo>
                    <a:lnTo>
                      <a:pt x="44" y="693"/>
                    </a:lnTo>
                    <a:lnTo>
                      <a:pt x="38" y="676"/>
                    </a:lnTo>
                    <a:lnTo>
                      <a:pt x="34" y="658"/>
                    </a:lnTo>
                    <a:lnTo>
                      <a:pt x="30" y="640"/>
                    </a:lnTo>
                    <a:lnTo>
                      <a:pt x="30" y="622"/>
                    </a:lnTo>
                    <a:lnTo>
                      <a:pt x="30" y="609"/>
                    </a:lnTo>
                    <a:lnTo>
                      <a:pt x="33" y="595"/>
                    </a:lnTo>
                    <a:lnTo>
                      <a:pt x="35" y="582"/>
                    </a:lnTo>
                    <a:lnTo>
                      <a:pt x="38" y="569"/>
                    </a:lnTo>
                    <a:lnTo>
                      <a:pt x="42" y="556"/>
                    </a:lnTo>
                    <a:lnTo>
                      <a:pt x="48" y="545"/>
                    </a:lnTo>
                    <a:lnTo>
                      <a:pt x="53" y="534"/>
                    </a:lnTo>
                    <a:lnTo>
                      <a:pt x="60" y="522"/>
                    </a:lnTo>
                    <a:lnTo>
                      <a:pt x="77" y="505"/>
                    </a:lnTo>
                    <a:lnTo>
                      <a:pt x="94" y="489"/>
                    </a:lnTo>
                    <a:lnTo>
                      <a:pt x="103" y="481"/>
                    </a:lnTo>
                    <a:lnTo>
                      <a:pt x="112" y="475"/>
                    </a:lnTo>
                    <a:lnTo>
                      <a:pt x="121" y="470"/>
                    </a:lnTo>
                    <a:lnTo>
                      <a:pt x="130" y="464"/>
                    </a:lnTo>
                    <a:lnTo>
                      <a:pt x="139" y="459"/>
                    </a:lnTo>
                    <a:lnTo>
                      <a:pt x="148" y="456"/>
                    </a:lnTo>
                    <a:lnTo>
                      <a:pt x="158" y="451"/>
                    </a:lnTo>
                    <a:lnTo>
                      <a:pt x="168" y="449"/>
                    </a:lnTo>
                    <a:lnTo>
                      <a:pt x="177" y="447"/>
                    </a:lnTo>
                    <a:lnTo>
                      <a:pt x="187" y="445"/>
                    </a:lnTo>
                    <a:lnTo>
                      <a:pt x="197" y="444"/>
                    </a:lnTo>
                    <a:lnTo>
                      <a:pt x="206" y="444"/>
                    </a:lnTo>
                    <a:lnTo>
                      <a:pt x="216" y="444"/>
                    </a:lnTo>
                    <a:lnTo>
                      <a:pt x="225" y="445"/>
                    </a:lnTo>
                    <a:lnTo>
                      <a:pt x="234" y="446"/>
                    </a:lnTo>
                    <a:lnTo>
                      <a:pt x="243" y="448"/>
                    </a:lnTo>
                    <a:lnTo>
                      <a:pt x="260" y="454"/>
                    </a:lnTo>
                    <a:lnTo>
                      <a:pt x="277" y="460"/>
                    </a:lnTo>
                    <a:lnTo>
                      <a:pt x="293" y="469"/>
                    </a:lnTo>
                    <a:lnTo>
                      <a:pt x="308" y="479"/>
                    </a:lnTo>
                    <a:lnTo>
                      <a:pt x="322" y="490"/>
                    </a:lnTo>
                    <a:lnTo>
                      <a:pt x="336" y="503"/>
                    </a:lnTo>
                    <a:lnTo>
                      <a:pt x="348" y="517"/>
                    </a:lnTo>
                    <a:lnTo>
                      <a:pt x="359" y="531"/>
                    </a:lnTo>
                    <a:lnTo>
                      <a:pt x="368" y="546"/>
                    </a:lnTo>
                    <a:lnTo>
                      <a:pt x="376" y="561"/>
                    </a:lnTo>
                    <a:lnTo>
                      <a:pt x="382" y="576"/>
                    </a:lnTo>
                    <a:lnTo>
                      <a:pt x="386" y="592"/>
                    </a:lnTo>
                    <a:lnTo>
                      <a:pt x="390" y="607"/>
                    </a:lnTo>
                    <a:lnTo>
                      <a:pt x="391" y="622"/>
                    </a:lnTo>
                    <a:lnTo>
                      <a:pt x="391" y="622"/>
                    </a:lnTo>
                    <a:close/>
                    <a:moveTo>
                      <a:pt x="343" y="0"/>
                    </a:moveTo>
                    <a:lnTo>
                      <a:pt x="332" y="0"/>
                    </a:lnTo>
                    <a:lnTo>
                      <a:pt x="321" y="2"/>
                    </a:lnTo>
                    <a:lnTo>
                      <a:pt x="310" y="4"/>
                    </a:lnTo>
                    <a:lnTo>
                      <a:pt x="301" y="6"/>
                    </a:lnTo>
                    <a:lnTo>
                      <a:pt x="292" y="11"/>
                    </a:lnTo>
                    <a:lnTo>
                      <a:pt x="284" y="15"/>
                    </a:lnTo>
                    <a:lnTo>
                      <a:pt x="276" y="20"/>
                    </a:lnTo>
                    <a:lnTo>
                      <a:pt x="270" y="26"/>
                    </a:lnTo>
                    <a:lnTo>
                      <a:pt x="267" y="28"/>
                    </a:lnTo>
                    <a:lnTo>
                      <a:pt x="266" y="31"/>
                    </a:lnTo>
                    <a:lnTo>
                      <a:pt x="213" y="178"/>
                    </a:lnTo>
                    <a:lnTo>
                      <a:pt x="155" y="236"/>
                    </a:lnTo>
                    <a:lnTo>
                      <a:pt x="153" y="238"/>
                    </a:lnTo>
                    <a:lnTo>
                      <a:pt x="152" y="240"/>
                    </a:lnTo>
                    <a:lnTo>
                      <a:pt x="31" y="510"/>
                    </a:lnTo>
                    <a:lnTo>
                      <a:pt x="31" y="513"/>
                    </a:lnTo>
                    <a:lnTo>
                      <a:pt x="30" y="514"/>
                    </a:lnTo>
                    <a:lnTo>
                      <a:pt x="24" y="525"/>
                    </a:lnTo>
                    <a:lnTo>
                      <a:pt x="18" y="538"/>
                    </a:lnTo>
                    <a:lnTo>
                      <a:pt x="12" y="551"/>
                    </a:lnTo>
                    <a:lnTo>
                      <a:pt x="8" y="565"/>
                    </a:lnTo>
                    <a:lnTo>
                      <a:pt x="5" y="579"/>
                    </a:lnTo>
                    <a:lnTo>
                      <a:pt x="3" y="593"/>
                    </a:lnTo>
                    <a:lnTo>
                      <a:pt x="0" y="607"/>
                    </a:lnTo>
                    <a:lnTo>
                      <a:pt x="0" y="622"/>
                    </a:lnTo>
                    <a:lnTo>
                      <a:pt x="0" y="633"/>
                    </a:lnTo>
                    <a:lnTo>
                      <a:pt x="1" y="643"/>
                    </a:lnTo>
                    <a:lnTo>
                      <a:pt x="3" y="654"/>
                    </a:lnTo>
                    <a:lnTo>
                      <a:pt x="5" y="665"/>
                    </a:lnTo>
                    <a:lnTo>
                      <a:pt x="9" y="685"/>
                    </a:lnTo>
                    <a:lnTo>
                      <a:pt x="16" y="704"/>
                    </a:lnTo>
                    <a:lnTo>
                      <a:pt x="25" y="723"/>
                    </a:lnTo>
                    <a:lnTo>
                      <a:pt x="36" y="740"/>
                    </a:lnTo>
                    <a:lnTo>
                      <a:pt x="48" y="756"/>
                    </a:lnTo>
                    <a:lnTo>
                      <a:pt x="62" y="771"/>
                    </a:lnTo>
                    <a:lnTo>
                      <a:pt x="77" y="785"/>
                    </a:lnTo>
                    <a:lnTo>
                      <a:pt x="93" y="797"/>
                    </a:lnTo>
                    <a:lnTo>
                      <a:pt x="110" y="807"/>
                    </a:lnTo>
                    <a:lnTo>
                      <a:pt x="128" y="816"/>
                    </a:lnTo>
                    <a:lnTo>
                      <a:pt x="147" y="823"/>
                    </a:lnTo>
                    <a:lnTo>
                      <a:pt x="168" y="828"/>
                    </a:lnTo>
                    <a:lnTo>
                      <a:pt x="178" y="830"/>
                    </a:lnTo>
                    <a:lnTo>
                      <a:pt x="189" y="831"/>
                    </a:lnTo>
                    <a:lnTo>
                      <a:pt x="200" y="832"/>
                    </a:lnTo>
                    <a:lnTo>
                      <a:pt x="211" y="832"/>
                    </a:lnTo>
                    <a:lnTo>
                      <a:pt x="232" y="831"/>
                    </a:lnTo>
                    <a:lnTo>
                      <a:pt x="252" y="829"/>
                    </a:lnTo>
                    <a:lnTo>
                      <a:pt x="272" y="823"/>
                    </a:lnTo>
                    <a:lnTo>
                      <a:pt x="291" y="816"/>
                    </a:lnTo>
                    <a:lnTo>
                      <a:pt x="309" y="807"/>
                    </a:lnTo>
                    <a:lnTo>
                      <a:pt x="326" y="798"/>
                    </a:lnTo>
                    <a:lnTo>
                      <a:pt x="343" y="786"/>
                    </a:lnTo>
                    <a:lnTo>
                      <a:pt x="358" y="772"/>
                    </a:lnTo>
                    <a:lnTo>
                      <a:pt x="370" y="758"/>
                    </a:lnTo>
                    <a:lnTo>
                      <a:pt x="383" y="742"/>
                    </a:lnTo>
                    <a:lnTo>
                      <a:pt x="394" y="725"/>
                    </a:lnTo>
                    <a:lnTo>
                      <a:pt x="403" y="708"/>
                    </a:lnTo>
                    <a:lnTo>
                      <a:pt x="410" y="688"/>
                    </a:lnTo>
                    <a:lnTo>
                      <a:pt x="415" y="669"/>
                    </a:lnTo>
                    <a:lnTo>
                      <a:pt x="419" y="648"/>
                    </a:lnTo>
                    <a:lnTo>
                      <a:pt x="421" y="627"/>
                    </a:lnTo>
                    <a:lnTo>
                      <a:pt x="421" y="626"/>
                    </a:lnTo>
                    <a:lnTo>
                      <a:pt x="421" y="626"/>
                    </a:lnTo>
                    <a:lnTo>
                      <a:pt x="421" y="293"/>
                    </a:lnTo>
                    <a:lnTo>
                      <a:pt x="398" y="297"/>
                    </a:lnTo>
                    <a:lnTo>
                      <a:pt x="377" y="301"/>
                    </a:lnTo>
                    <a:lnTo>
                      <a:pt x="360" y="308"/>
                    </a:lnTo>
                    <a:lnTo>
                      <a:pt x="344" y="315"/>
                    </a:lnTo>
                    <a:lnTo>
                      <a:pt x="337" y="320"/>
                    </a:lnTo>
                    <a:lnTo>
                      <a:pt x="332" y="324"/>
                    </a:lnTo>
                    <a:lnTo>
                      <a:pt x="328" y="328"/>
                    </a:lnTo>
                    <a:lnTo>
                      <a:pt x="323" y="333"/>
                    </a:lnTo>
                    <a:lnTo>
                      <a:pt x="320" y="338"/>
                    </a:lnTo>
                    <a:lnTo>
                      <a:pt x="318" y="342"/>
                    </a:lnTo>
                    <a:lnTo>
                      <a:pt x="316" y="347"/>
                    </a:lnTo>
                    <a:lnTo>
                      <a:pt x="316" y="352"/>
                    </a:lnTo>
                    <a:lnTo>
                      <a:pt x="316" y="355"/>
                    </a:lnTo>
                    <a:lnTo>
                      <a:pt x="315" y="358"/>
                    </a:lnTo>
                    <a:lnTo>
                      <a:pt x="312" y="360"/>
                    </a:lnTo>
                    <a:lnTo>
                      <a:pt x="311" y="362"/>
                    </a:lnTo>
                    <a:lnTo>
                      <a:pt x="309" y="365"/>
                    </a:lnTo>
                    <a:lnTo>
                      <a:pt x="306" y="366"/>
                    </a:lnTo>
                    <a:lnTo>
                      <a:pt x="304" y="367"/>
                    </a:lnTo>
                    <a:lnTo>
                      <a:pt x="301" y="367"/>
                    </a:lnTo>
                    <a:lnTo>
                      <a:pt x="297" y="367"/>
                    </a:lnTo>
                    <a:lnTo>
                      <a:pt x="294" y="366"/>
                    </a:lnTo>
                    <a:lnTo>
                      <a:pt x="292" y="365"/>
                    </a:lnTo>
                    <a:lnTo>
                      <a:pt x="290" y="362"/>
                    </a:lnTo>
                    <a:lnTo>
                      <a:pt x="288" y="360"/>
                    </a:lnTo>
                    <a:lnTo>
                      <a:pt x="287" y="358"/>
                    </a:lnTo>
                    <a:lnTo>
                      <a:pt x="286" y="355"/>
                    </a:lnTo>
                    <a:lnTo>
                      <a:pt x="286" y="352"/>
                    </a:lnTo>
                    <a:lnTo>
                      <a:pt x="286" y="343"/>
                    </a:lnTo>
                    <a:lnTo>
                      <a:pt x="288" y="336"/>
                    </a:lnTo>
                    <a:lnTo>
                      <a:pt x="291" y="327"/>
                    </a:lnTo>
                    <a:lnTo>
                      <a:pt x="295" y="320"/>
                    </a:lnTo>
                    <a:lnTo>
                      <a:pt x="301" y="312"/>
                    </a:lnTo>
                    <a:lnTo>
                      <a:pt x="307" y="306"/>
                    </a:lnTo>
                    <a:lnTo>
                      <a:pt x="315" y="299"/>
                    </a:lnTo>
                    <a:lnTo>
                      <a:pt x="323" y="293"/>
                    </a:lnTo>
                    <a:lnTo>
                      <a:pt x="333" y="287"/>
                    </a:lnTo>
                    <a:lnTo>
                      <a:pt x="344" y="282"/>
                    </a:lnTo>
                    <a:lnTo>
                      <a:pt x="354" y="278"/>
                    </a:lnTo>
                    <a:lnTo>
                      <a:pt x="366" y="273"/>
                    </a:lnTo>
                    <a:lnTo>
                      <a:pt x="379" y="270"/>
                    </a:lnTo>
                    <a:lnTo>
                      <a:pt x="392" y="267"/>
                    </a:lnTo>
                    <a:lnTo>
                      <a:pt x="406" y="265"/>
                    </a:lnTo>
                    <a:lnTo>
                      <a:pt x="421" y="263"/>
                    </a:lnTo>
                    <a:lnTo>
                      <a:pt x="421" y="36"/>
                    </a:lnTo>
                    <a:lnTo>
                      <a:pt x="421" y="33"/>
                    </a:lnTo>
                    <a:lnTo>
                      <a:pt x="420" y="31"/>
                    </a:lnTo>
                    <a:lnTo>
                      <a:pt x="419" y="28"/>
                    </a:lnTo>
                    <a:lnTo>
                      <a:pt x="417" y="26"/>
                    </a:lnTo>
                    <a:lnTo>
                      <a:pt x="410" y="20"/>
                    </a:lnTo>
                    <a:lnTo>
                      <a:pt x="403" y="15"/>
                    </a:lnTo>
                    <a:lnTo>
                      <a:pt x="394" y="11"/>
                    </a:lnTo>
                    <a:lnTo>
                      <a:pt x="384" y="6"/>
                    </a:lnTo>
                    <a:lnTo>
                      <a:pt x="375" y="4"/>
                    </a:lnTo>
                    <a:lnTo>
                      <a:pt x="365" y="2"/>
                    </a:lnTo>
                    <a:lnTo>
                      <a:pt x="354" y="0"/>
                    </a:lnTo>
                    <a:lnTo>
                      <a:pt x="343" y="0"/>
                    </a:lnTo>
                    <a:lnTo>
                      <a:pt x="343"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69" name="Freeform 3861"/>
              <p:cNvSpPr>
                <a:spLocks/>
              </p:cNvSpPr>
              <p:nvPr/>
            </p:nvSpPr>
            <p:spPr bwMode="auto">
              <a:xfrm>
                <a:off x="9902825" y="2659063"/>
                <a:ext cx="46038" cy="46038"/>
              </a:xfrm>
              <a:custGeom>
                <a:avLst/>
                <a:gdLst>
                  <a:gd name="T0" fmla="*/ 2 w 144"/>
                  <a:gd name="T1" fmla="*/ 132 h 143"/>
                  <a:gd name="T2" fmla="*/ 4 w 144"/>
                  <a:gd name="T3" fmla="*/ 137 h 143"/>
                  <a:gd name="T4" fmla="*/ 7 w 144"/>
                  <a:gd name="T5" fmla="*/ 140 h 143"/>
                  <a:gd name="T6" fmla="*/ 12 w 144"/>
                  <a:gd name="T7" fmla="*/ 143 h 143"/>
                  <a:gd name="T8" fmla="*/ 19 w 144"/>
                  <a:gd name="T9" fmla="*/ 143 h 143"/>
                  <a:gd name="T10" fmla="*/ 24 w 144"/>
                  <a:gd name="T11" fmla="*/ 140 h 143"/>
                  <a:gd name="T12" fmla="*/ 28 w 144"/>
                  <a:gd name="T13" fmla="*/ 137 h 143"/>
                  <a:gd name="T14" fmla="*/ 31 w 144"/>
                  <a:gd name="T15" fmla="*/ 132 h 143"/>
                  <a:gd name="T16" fmla="*/ 32 w 144"/>
                  <a:gd name="T17" fmla="*/ 118 h 143"/>
                  <a:gd name="T18" fmla="*/ 35 w 144"/>
                  <a:gd name="T19" fmla="*/ 98 h 143"/>
                  <a:gd name="T20" fmla="*/ 42 w 144"/>
                  <a:gd name="T21" fmla="*/ 81 h 143"/>
                  <a:gd name="T22" fmla="*/ 53 w 144"/>
                  <a:gd name="T23" fmla="*/ 65 h 143"/>
                  <a:gd name="T24" fmla="*/ 67 w 144"/>
                  <a:gd name="T25" fmla="*/ 52 h 143"/>
                  <a:gd name="T26" fmla="*/ 82 w 144"/>
                  <a:gd name="T27" fmla="*/ 41 h 143"/>
                  <a:gd name="T28" fmla="*/ 100 w 144"/>
                  <a:gd name="T29" fmla="*/ 34 h 143"/>
                  <a:gd name="T30" fmla="*/ 120 w 144"/>
                  <a:gd name="T31" fmla="*/ 30 h 143"/>
                  <a:gd name="T32" fmla="*/ 132 w 144"/>
                  <a:gd name="T33" fmla="*/ 30 h 143"/>
                  <a:gd name="T34" fmla="*/ 138 w 144"/>
                  <a:gd name="T35" fmla="*/ 26 h 143"/>
                  <a:gd name="T36" fmla="*/ 142 w 144"/>
                  <a:gd name="T37" fmla="*/ 23 h 143"/>
                  <a:gd name="T38" fmla="*/ 144 w 144"/>
                  <a:gd name="T39" fmla="*/ 18 h 143"/>
                  <a:gd name="T40" fmla="*/ 144 w 144"/>
                  <a:gd name="T41" fmla="*/ 11 h 143"/>
                  <a:gd name="T42" fmla="*/ 142 w 144"/>
                  <a:gd name="T43" fmla="*/ 6 h 143"/>
                  <a:gd name="T44" fmla="*/ 138 w 144"/>
                  <a:gd name="T45" fmla="*/ 2 h 143"/>
                  <a:gd name="T46" fmla="*/ 132 w 144"/>
                  <a:gd name="T47" fmla="*/ 0 h 143"/>
                  <a:gd name="T48" fmla="*/ 116 w 144"/>
                  <a:gd name="T49" fmla="*/ 0 h 143"/>
                  <a:gd name="T50" fmla="*/ 92 w 144"/>
                  <a:gd name="T51" fmla="*/ 5 h 143"/>
                  <a:gd name="T52" fmla="*/ 68 w 144"/>
                  <a:gd name="T53" fmla="*/ 15 h 143"/>
                  <a:gd name="T54" fmla="*/ 48 w 144"/>
                  <a:gd name="T55" fmla="*/ 29 h 143"/>
                  <a:gd name="T56" fmla="*/ 31 w 144"/>
                  <a:gd name="T57" fmla="*/ 46 h 143"/>
                  <a:gd name="T58" fmla="*/ 17 w 144"/>
                  <a:gd name="T59" fmla="*/ 67 h 143"/>
                  <a:gd name="T60" fmla="*/ 7 w 144"/>
                  <a:gd name="T61" fmla="*/ 90 h 143"/>
                  <a:gd name="T62" fmla="*/ 2 w 144"/>
                  <a:gd name="T63" fmla="*/ 1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143">
                    <a:moveTo>
                      <a:pt x="0" y="128"/>
                    </a:moveTo>
                    <a:lnTo>
                      <a:pt x="2" y="132"/>
                    </a:lnTo>
                    <a:lnTo>
                      <a:pt x="2" y="134"/>
                    </a:lnTo>
                    <a:lnTo>
                      <a:pt x="4" y="137"/>
                    </a:lnTo>
                    <a:lnTo>
                      <a:pt x="5" y="139"/>
                    </a:lnTo>
                    <a:lnTo>
                      <a:pt x="7" y="140"/>
                    </a:lnTo>
                    <a:lnTo>
                      <a:pt x="10" y="142"/>
                    </a:lnTo>
                    <a:lnTo>
                      <a:pt x="12" y="143"/>
                    </a:lnTo>
                    <a:lnTo>
                      <a:pt x="15" y="143"/>
                    </a:lnTo>
                    <a:lnTo>
                      <a:pt x="19" y="143"/>
                    </a:lnTo>
                    <a:lnTo>
                      <a:pt x="22" y="142"/>
                    </a:lnTo>
                    <a:lnTo>
                      <a:pt x="24" y="140"/>
                    </a:lnTo>
                    <a:lnTo>
                      <a:pt x="26" y="139"/>
                    </a:lnTo>
                    <a:lnTo>
                      <a:pt x="28" y="137"/>
                    </a:lnTo>
                    <a:lnTo>
                      <a:pt x="29" y="134"/>
                    </a:lnTo>
                    <a:lnTo>
                      <a:pt x="31" y="132"/>
                    </a:lnTo>
                    <a:lnTo>
                      <a:pt x="31" y="128"/>
                    </a:lnTo>
                    <a:lnTo>
                      <a:pt x="32" y="118"/>
                    </a:lnTo>
                    <a:lnTo>
                      <a:pt x="33" y="108"/>
                    </a:lnTo>
                    <a:lnTo>
                      <a:pt x="35" y="98"/>
                    </a:lnTo>
                    <a:lnTo>
                      <a:pt x="39" y="90"/>
                    </a:lnTo>
                    <a:lnTo>
                      <a:pt x="42" y="81"/>
                    </a:lnTo>
                    <a:lnTo>
                      <a:pt x="48" y="73"/>
                    </a:lnTo>
                    <a:lnTo>
                      <a:pt x="53" y="65"/>
                    </a:lnTo>
                    <a:lnTo>
                      <a:pt x="59" y="59"/>
                    </a:lnTo>
                    <a:lnTo>
                      <a:pt x="67" y="52"/>
                    </a:lnTo>
                    <a:lnTo>
                      <a:pt x="74" y="47"/>
                    </a:lnTo>
                    <a:lnTo>
                      <a:pt x="82" y="41"/>
                    </a:lnTo>
                    <a:lnTo>
                      <a:pt x="92" y="37"/>
                    </a:lnTo>
                    <a:lnTo>
                      <a:pt x="100" y="34"/>
                    </a:lnTo>
                    <a:lnTo>
                      <a:pt x="110" y="32"/>
                    </a:lnTo>
                    <a:lnTo>
                      <a:pt x="120" y="30"/>
                    </a:lnTo>
                    <a:lnTo>
                      <a:pt x="129" y="30"/>
                    </a:lnTo>
                    <a:lnTo>
                      <a:pt x="132" y="30"/>
                    </a:lnTo>
                    <a:lnTo>
                      <a:pt x="136" y="29"/>
                    </a:lnTo>
                    <a:lnTo>
                      <a:pt x="138" y="26"/>
                    </a:lnTo>
                    <a:lnTo>
                      <a:pt x="140" y="25"/>
                    </a:lnTo>
                    <a:lnTo>
                      <a:pt x="142" y="23"/>
                    </a:lnTo>
                    <a:lnTo>
                      <a:pt x="143" y="20"/>
                    </a:lnTo>
                    <a:lnTo>
                      <a:pt x="144" y="18"/>
                    </a:lnTo>
                    <a:lnTo>
                      <a:pt x="144" y="15"/>
                    </a:lnTo>
                    <a:lnTo>
                      <a:pt x="144" y="11"/>
                    </a:lnTo>
                    <a:lnTo>
                      <a:pt x="143" y="8"/>
                    </a:lnTo>
                    <a:lnTo>
                      <a:pt x="142" y="6"/>
                    </a:lnTo>
                    <a:lnTo>
                      <a:pt x="140" y="4"/>
                    </a:lnTo>
                    <a:lnTo>
                      <a:pt x="138" y="2"/>
                    </a:lnTo>
                    <a:lnTo>
                      <a:pt x="136" y="1"/>
                    </a:lnTo>
                    <a:lnTo>
                      <a:pt x="132" y="0"/>
                    </a:lnTo>
                    <a:lnTo>
                      <a:pt x="129" y="0"/>
                    </a:lnTo>
                    <a:lnTo>
                      <a:pt x="116" y="0"/>
                    </a:lnTo>
                    <a:lnTo>
                      <a:pt x="103" y="2"/>
                    </a:lnTo>
                    <a:lnTo>
                      <a:pt x="92" y="5"/>
                    </a:lnTo>
                    <a:lnTo>
                      <a:pt x="80" y="9"/>
                    </a:lnTo>
                    <a:lnTo>
                      <a:pt x="68" y="15"/>
                    </a:lnTo>
                    <a:lnTo>
                      <a:pt x="57" y="21"/>
                    </a:lnTo>
                    <a:lnTo>
                      <a:pt x="48" y="29"/>
                    </a:lnTo>
                    <a:lnTo>
                      <a:pt x="38" y="37"/>
                    </a:lnTo>
                    <a:lnTo>
                      <a:pt x="31" y="46"/>
                    </a:lnTo>
                    <a:lnTo>
                      <a:pt x="23" y="56"/>
                    </a:lnTo>
                    <a:lnTo>
                      <a:pt x="17" y="67"/>
                    </a:lnTo>
                    <a:lnTo>
                      <a:pt x="11" y="78"/>
                    </a:lnTo>
                    <a:lnTo>
                      <a:pt x="7" y="90"/>
                    </a:lnTo>
                    <a:lnTo>
                      <a:pt x="4" y="103"/>
                    </a:lnTo>
                    <a:lnTo>
                      <a:pt x="2" y="115"/>
                    </a:lnTo>
                    <a:lnTo>
                      <a:pt x="0" y="12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70" name="Freeform 3862"/>
              <p:cNvSpPr>
                <a:spLocks/>
              </p:cNvSpPr>
              <p:nvPr/>
            </p:nvSpPr>
            <p:spPr bwMode="auto">
              <a:xfrm>
                <a:off x="10059988" y="2659063"/>
                <a:ext cx="44450" cy="46038"/>
              </a:xfrm>
              <a:custGeom>
                <a:avLst/>
                <a:gdLst>
                  <a:gd name="T0" fmla="*/ 115 w 144"/>
                  <a:gd name="T1" fmla="*/ 0 h 143"/>
                  <a:gd name="T2" fmla="*/ 90 w 144"/>
                  <a:gd name="T3" fmla="*/ 5 h 143"/>
                  <a:gd name="T4" fmla="*/ 66 w 144"/>
                  <a:gd name="T5" fmla="*/ 15 h 143"/>
                  <a:gd name="T6" fmla="*/ 46 w 144"/>
                  <a:gd name="T7" fmla="*/ 29 h 143"/>
                  <a:gd name="T8" fmla="*/ 29 w 144"/>
                  <a:gd name="T9" fmla="*/ 46 h 143"/>
                  <a:gd name="T10" fmla="*/ 15 w 144"/>
                  <a:gd name="T11" fmla="*/ 67 h 143"/>
                  <a:gd name="T12" fmla="*/ 5 w 144"/>
                  <a:gd name="T13" fmla="*/ 90 h 143"/>
                  <a:gd name="T14" fmla="*/ 0 w 144"/>
                  <a:gd name="T15" fmla="*/ 115 h 143"/>
                  <a:gd name="T16" fmla="*/ 0 w 144"/>
                  <a:gd name="T17" fmla="*/ 132 h 143"/>
                  <a:gd name="T18" fmla="*/ 2 w 144"/>
                  <a:gd name="T19" fmla="*/ 137 h 143"/>
                  <a:gd name="T20" fmla="*/ 6 w 144"/>
                  <a:gd name="T21" fmla="*/ 140 h 143"/>
                  <a:gd name="T22" fmla="*/ 12 w 144"/>
                  <a:gd name="T23" fmla="*/ 143 h 143"/>
                  <a:gd name="T24" fmla="*/ 17 w 144"/>
                  <a:gd name="T25" fmla="*/ 143 h 143"/>
                  <a:gd name="T26" fmla="*/ 22 w 144"/>
                  <a:gd name="T27" fmla="*/ 140 h 143"/>
                  <a:gd name="T28" fmla="*/ 27 w 144"/>
                  <a:gd name="T29" fmla="*/ 137 h 143"/>
                  <a:gd name="T30" fmla="*/ 29 w 144"/>
                  <a:gd name="T31" fmla="*/ 132 h 143"/>
                  <a:gd name="T32" fmla="*/ 30 w 144"/>
                  <a:gd name="T33" fmla="*/ 118 h 143"/>
                  <a:gd name="T34" fmla="*/ 34 w 144"/>
                  <a:gd name="T35" fmla="*/ 98 h 143"/>
                  <a:gd name="T36" fmla="*/ 42 w 144"/>
                  <a:gd name="T37" fmla="*/ 81 h 143"/>
                  <a:gd name="T38" fmla="*/ 52 w 144"/>
                  <a:gd name="T39" fmla="*/ 65 h 143"/>
                  <a:gd name="T40" fmla="*/ 65 w 144"/>
                  <a:gd name="T41" fmla="*/ 52 h 143"/>
                  <a:gd name="T42" fmla="*/ 81 w 144"/>
                  <a:gd name="T43" fmla="*/ 41 h 143"/>
                  <a:gd name="T44" fmla="*/ 98 w 144"/>
                  <a:gd name="T45" fmla="*/ 34 h 143"/>
                  <a:gd name="T46" fmla="*/ 118 w 144"/>
                  <a:gd name="T47" fmla="*/ 30 h 143"/>
                  <a:gd name="T48" fmla="*/ 131 w 144"/>
                  <a:gd name="T49" fmla="*/ 30 h 143"/>
                  <a:gd name="T50" fmla="*/ 136 w 144"/>
                  <a:gd name="T51" fmla="*/ 26 h 143"/>
                  <a:gd name="T52" fmla="*/ 140 w 144"/>
                  <a:gd name="T53" fmla="*/ 23 h 143"/>
                  <a:gd name="T54" fmla="*/ 142 w 144"/>
                  <a:gd name="T55" fmla="*/ 18 h 143"/>
                  <a:gd name="T56" fmla="*/ 142 w 144"/>
                  <a:gd name="T57" fmla="*/ 11 h 143"/>
                  <a:gd name="T58" fmla="*/ 140 w 144"/>
                  <a:gd name="T59" fmla="*/ 6 h 143"/>
                  <a:gd name="T60" fmla="*/ 136 w 144"/>
                  <a:gd name="T61" fmla="*/ 2 h 143"/>
                  <a:gd name="T62" fmla="*/ 131 w 144"/>
                  <a:gd name="T63" fmla="*/ 0 h 143"/>
                  <a:gd name="T64" fmla="*/ 129 w 144"/>
                  <a:gd name="T6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4" h="143">
                    <a:moveTo>
                      <a:pt x="129" y="0"/>
                    </a:moveTo>
                    <a:lnTo>
                      <a:pt x="115" y="0"/>
                    </a:lnTo>
                    <a:lnTo>
                      <a:pt x="102" y="2"/>
                    </a:lnTo>
                    <a:lnTo>
                      <a:pt x="90" y="5"/>
                    </a:lnTo>
                    <a:lnTo>
                      <a:pt x="78" y="9"/>
                    </a:lnTo>
                    <a:lnTo>
                      <a:pt x="66" y="15"/>
                    </a:lnTo>
                    <a:lnTo>
                      <a:pt x="57" y="21"/>
                    </a:lnTo>
                    <a:lnTo>
                      <a:pt x="46" y="29"/>
                    </a:lnTo>
                    <a:lnTo>
                      <a:pt x="37" y="37"/>
                    </a:lnTo>
                    <a:lnTo>
                      <a:pt x="29" y="46"/>
                    </a:lnTo>
                    <a:lnTo>
                      <a:pt x="21" y="56"/>
                    </a:lnTo>
                    <a:lnTo>
                      <a:pt x="15" y="67"/>
                    </a:lnTo>
                    <a:lnTo>
                      <a:pt x="9" y="78"/>
                    </a:lnTo>
                    <a:lnTo>
                      <a:pt x="5" y="90"/>
                    </a:lnTo>
                    <a:lnTo>
                      <a:pt x="2" y="103"/>
                    </a:lnTo>
                    <a:lnTo>
                      <a:pt x="0" y="115"/>
                    </a:lnTo>
                    <a:lnTo>
                      <a:pt x="0" y="128"/>
                    </a:lnTo>
                    <a:lnTo>
                      <a:pt x="0" y="132"/>
                    </a:lnTo>
                    <a:lnTo>
                      <a:pt x="1" y="134"/>
                    </a:lnTo>
                    <a:lnTo>
                      <a:pt x="2" y="137"/>
                    </a:lnTo>
                    <a:lnTo>
                      <a:pt x="4" y="139"/>
                    </a:lnTo>
                    <a:lnTo>
                      <a:pt x="6" y="140"/>
                    </a:lnTo>
                    <a:lnTo>
                      <a:pt x="8" y="142"/>
                    </a:lnTo>
                    <a:lnTo>
                      <a:pt x="12" y="143"/>
                    </a:lnTo>
                    <a:lnTo>
                      <a:pt x="15" y="143"/>
                    </a:lnTo>
                    <a:lnTo>
                      <a:pt x="17" y="143"/>
                    </a:lnTo>
                    <a:lnTo>
                      <a:pt x="20" y="142"/>
                    </a:lnTo>
                    <a:lnTo>
                      <a:pt x="22" y="140"/>
                    </a:lnTo>
                    <a:lnTo>
                      <a:pt x="24" y="139"/>
                    </a:lnTo>
                    <a:lnTo>
                      <a:pt x="27" y="137"/>
                    </a:lnTo>
                    <a:lnTo>
                      <a:pt x="28" y="134"/>
                    </a:lnTo>
                    <a:lnTo>
                      <a:pt x="29" y="132"/>
                    </a:lnTo>
                    <a:lnTo>
                      <a:pt x="30" y="128"/>
                    </a:lnTo>
                    <a:lnTo>
                      <a:pt x="30" y="118"/>
                    </a:lnTo>
                    <a:lnTo>
                      <a:pt x="31" y="108"/>
                    </a:lnTo>
                    <a:lnTo>
                      <a:pt x="34" y="98"/>
                    </a:lnTo>
                    <a:lnTo>
                      <a:pt x="37" y="90"/>
                    </a:lnTo>
                    <a:lnTo>
                      <a:pt x="42" y="81"/>
                    </a:lnTo>
                    <a:lnTo>
                      <a:pt x="46" y="73"/>
                    </a:lnTo>
                    <a:lnTo>
                      <a:pt x="52" y="65"/>
                    </a:lnTo>
                    <a:lnTo>
                      <a:pt x="59" y="59"/>
                    </a:lnTo>
                    <a:lnTo>
                      <a:pt x="65" y="52"/>
                    </a:lnTo>
                    <a:lnTo>
                      <a:pt x="73" y="47"/>
                    </a:lnTo>
                    <a:lnTo>
                      <a:pt x="81" y="41"/>
                    </a:lnTo>
                    <a:lnTo>
                      <a:pt x="90" y="37"/>
                    </a:lnTo>
                    <a:lnTo>
                      <a:pt x="98" y="34"/>
                    </a:lnTo>
                    <a:lnTo>
                      <a:pt x="108" y="32"/>
                    </a:lnTo>
                    <a:lnTo>
                      <a:pt x="118" y="30"/>
                    </a:lnTo>
                    <a:lnTo>
                      <a:pt x="129" y="30"/>
                    </a:lnTo>
                    <a:lnTo>
                      <a:pt x="131" y="30"/>
                    </a:lnTo>
                    <a:lnTo>
                      <a:pt x="134" y="29"/>
                    </a:lnTo>
                    <a:lnTo>
                      <a:pt x="136" y="26"/>
                    </a:lnTo>
                    <a:lnTo>
                      <a:pt x="138" y="25"/>
                    </a:lnTo>
                    <a:lnTo>
                      <a:pt x="140" y="23"/>
                    </a:lnTo>
                    <a:lnTo>
                      <a:pt x="141" y="20"/>
                    </a:lnTo>
                    <a:lnTo>
                      <a:pt x="142" y="18"/>
                    </a:lnTo>
                    <a:lnTo>
                      <a:pt x="144" y="15"/>
                    </a:lnTo>
                    <a:lnTo>
                      <a:pt x="142" y="11"/>
                    </a:lnTo>
                    <a:lnTo>
                      <a:pt x="141" y="8"/>
                    </a:lnTo>
                    <a:lnTo>
                      <a:pt x="140" y="6"/>
                    </a:lnTo>
                    <a:lnTo>
                      <a:pt x="138" y="4"/>
                    </a:lnTo>
                    <a:lnTo>
                      <a:pt x="136" y="2"/>
                    </a:lnTo>
                    <a:lnTo>
                      <a:pt x="134" y="1"/>
                    </a:lnTo>
                    <a:lnTo>
                      <a:pt x="131" y="0"/>
                    </a:lnTo>
                    <a:lnTo>
                      <a:pt x="129" y="0"/>
                    </a:lnTo>
                    <a:lnTo>
                      <a:pt x="129"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dirty="0"/>
              </a:p>
            </p:txBody>
          </p:sp>
        </p:grpSp>
        <p:sp>
          <p:nvSpPr>
            <p:cNvPr id="171" name="Freeform 3091"/>
            <p:cNvSpPr>
              <a:spLocks noEditPoints="1"/>
            </p:cNvSpPr>
            <p:nvPr/>
          </p:nvSpPr>
          <p:spPr bwMode="auto">
            <a:xfrm>
              <a:off x="6868970" y="4251700"/>
              <a:ext cx="312740" cy="312740"/>
            </a:xfrm>
            <a:custGeom>
              <a:avLst/>
              <a:gdLst>
                <a:gd name="T0" fmla="*/ 175 w 360"/>
                <a:gd name="T1" fmla="*/ 322 h 359"/>
                <a:gd name="T2" fmla="*/ 166 w 360"/>
                <a:gd name="T3" fmla="*/ 319 h 359"/>
                <a:gd name="T4" fmla="*/ 161 w 360"/>
                <a:gd name="T5" fmla="*/ 313 h 359"/>
                <a:gd name="T6" fmla="*/ 157 w 360"/>
                <a:gd name="T7" fmla="*/ 303 h 359"/>
                <a:gd name="T8" fmla="*/ 157 w 360"/>
                <a:gd name="T9" fmla="*/ 294 h 359"/>
                <a:gd name="T10" fmla="*/ 161 w 360"/>
                <a:gd name="T11" fmla="*/ 286 h 359"/>
                <a:gd name="T12" fmla="*/ 166 w 360"/>
                <a:gd name="T13" fmla="*/ 280 h 359"/>
                <a:gd name="T14" fmla="*/ 175 w 360"/>
                <a:gd name="T15" fmla="*/ 276 h 359"/>
                <a:gd name="T16" fmla="*/ 184 w 360"/>
                <a:gd name="T17" fmla="*/ 276 h 359"/>
                <a:gd name="T18" fmla="*/ 194 w 360"/>
                <a:gd name="T19" fmla="*/ 280 h 359"/>
                <a:gd name="T20" fmla="*/ 200 w 360"/>
                <a:gd name="T21" fmla="*/ 286 h 359"/>
                <a:gd name="T22" fmla="*/ 203 w 360"/>
                <a:gd name="T23" fmla="*/ 294 h 359"/>
                <a:gd name="T24" fmla="*/ 203 w 360"/>
                <a:gd name="T25" fmla="*/ 303 h 359"/>
                <a:gd name="T26" fmla="*/ 200 w 360"/>
                <a:gd name="T27" fmla="*/ 313 h 359"/>
                <a:gd name="T28" fmla="*/ 194 w 360"/>
                <a:gd name="T29" fmla="*/ 319 h 359"/>
                <a:gd name="T30" fmla="*/ 184 w 360"/>
                <a:gd name="T31" fmla="*/ 322 h 359"/>
                <a:gd name="T32" fmla="*/ 168 w 360"/>
                <a:gd name="T33" fmla="*/ 140 h 359"/>
                <a:gd name="T34" fmla="*/ 171 w 360"/>
                <a:gd name="T35" fmla="*/ 132 h 359"/>
                <a:gd name="T36" fmla="*/ 180 w 360"/>
                <a:gd name="T37" fmla="*/ 128 h 359"/>
                <a:gd name="T38" fmla="*/ 188 w 360"/>
                <a:gd name="T39" fmla="*/ 132 h 359"/>
                <a:gd name="T40" fmla="*/ 191 w 360"/>
                <a:gd name="T41" fmla="*/ 140 h 359"/>
                <a:gd name="T42" fmla="*/ 191 w 360"/>
                <a:gd name="T43" fmla="*/ 244 h 359"/>
                <a:gd name="T44" fmla="*/ 184 w 360"/>
                <a:gd name="T45" fmla="*/ 250 h 359"/>
                <a:gd name="T46" fmla="*/ 175 w 360"/>
                <a:gd name="T47" fmla="*/ 250 h 359"/>
                <a:gd name="T48" fmla="*/ 169 w 360"/>
                <a:gd name="T49" fmla="*/ 244 h 359"/>
                <a:gd name="T50" fmla="*/ 168 w 360"/>
                <a:gd name="T51" fmla="*/ 140 h 359"/>
                <a:gd name="T52" fmla="*/ 190 w 360"/>
                <a:gd name="T53" fmla="*/ 6 h 359"/>
                <a:gd name="T54" fmla="*/ 187 w 360"/>
                <a:gd name="T55" fmla="*/ 1 h 359"/>
                <a:gd name="T56" fmla="*/ 180 w 360"/>
                <a:gd name="T57" fmla="*/ 0 h 359"/>
                <a:gd name="T58" fmla="*/ 174 w 360"/>
                <a:gd name="T59" fmla="*/ 1 h 359"/>
                <a:gd name="T60" fmla="*/ 169 w 360"/>
                <a:gd name="T61" fmla="*/ 6 h 359"/>
                <a:gd name="T62" fmla="*/ 1 w 360"/>
                <a:gd name="T63" fmla="*/ 344 h 359"/>
                <a:gd name="T64" fmla="*/ 1 w 360"/>
                <a:gd name="T65" fmla="*/ 351 h 359"/>
                <a:gd name="T66" fmla="*/ 4 w 360"/>
                <a:gd name="T67" fmla="*/ 356 h 359"/>
                <a:gd name="T68" fmla="*/ 9 w 360"/>
                <a:gd name="T69" fmla="*/ 358 h 359"/>
                <a:gd name="T70" fmla="*/ 347 w 360"/>
                <a:gd name="T71" fmla="*/ 359 h 359"/>
                <a:gd name="T72" fmla="*/ 348 w 360"/>
                <a:gd name="T73" fmla="*/ 359 h 359"/>
                <a:gd name="T74" fmla="*/ 357 w 360"/>
                <a:gd name="T75" fmla="*/ 356 h 359"/>
                <a:gd name="T76" fmla="*/ 360 w 360"/>
                <a:gd name="T77" fmla="*/ 347 h 359"/>
                <a:gd name="T78" fmla="*/ 358 w 360"/>
                <a:gd name="T79" fmla="*/ 34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0" h="359">
                  <a:moveTo>
                    <a:pt x="180" y="322"/>
                  </a:moveTo>
                  <a:lnTo>
                    <a:pt x="175" y="322"/>
                  </a:lnTo>
                  <a:lnTo>
                    <a:pt x="171" y="321"/>
                  </a:lnTo>
                  <a:lnTo>
                    <a:pt x="166" y="319"/>
                  </a:lnTo>
                  <a:lnTo>
                    <a:pt x="163" y="316"/>
                  </a:lnTo>
                  <a:lnTo>
                    <a:pt x="161" y="313"/>
                  </a:lnTo>
                  <a:lnTo>
                    <a:pt x="158" y="308"/>
                  </a:lnTo>
                  <a:lnTo>
                    <a:pt x="157" y="303"/>
                  </a:lnTo>
                  <a:lnTo>
                    <a:pt x="156" y="299"/>
                  </a:lnTo>
                  <a:lnTo>
                    <a:pt x="157" y="294"/>
                  </a:lnTo>
                  <a:lnTo>
                    <a:pt x="158" y="290"/>
                  </a:lnTo>
                  <a:lnTo>
                    <a:pt x="161" y="286"/>
                  </a:lnTo>
                  <a:lnTo>
                    <a:pt x="163" y="282"/>
                  </a:lnTo>
                  <a:lnTo>
                    <a:pt x="166" y="280"/>
                  </a:lnTo>
                  <a:lnTo>
                    <a:pt x="171" y="277"/>
                  </a:lnTo>
                  <a:lnTo>
                    <a:pt x="175" y="276"/>
                  </a:lnTo>
                  <a:lnTo>
                    <a:pt x="180" y="275"/>
                  </a:lnTo>
                  <a:lnTo>
                    <a:pt x="184" y="276"/>
                  </a:lnTo>
                  <a:lnTo>
                    <a:pt x="189" y="277"/>
                  </a:lnTo>
                  <a:lnTo>
                    <a:pt x="194" y="280"/>
                  </a:lnTo>
                  <a:lnTo>
                    <a:pt x="197" y="282"/>
                  </a:lnTo>
                  <a:lnTo>
                    <a:pt x="200" y="286"/>
                  </a:lnTo>
                  <a:lnTo>
                    <a:pt x="202" y="290"/>
                  </a:lnTo>
                  <a:lnTo>
                    <a:pt x="203" y="294"/>
                  </a:lnTo>
                  <a:lnTo>
                    <a:pt x="205" y="299"/>
                  </a:lnTo>
                  <a:lnTo>
                    <a:pt x="203" y="303"/>
                  </a:lnTo>
                  <a:lnTo>
                    <a:pt x="202" y="308"/>
                  </a:lnTo>
                  <a:lnTo>
                    <a:pt x="200" y="313"/>
                  </a:lnTo>
                  <a:lnTo>
                    <a:pt x="197" y="316"/>
                  </a:lnTo>
                  <a:lnTo>
                    <a:pt x="194" y="319"/>
                  </a:lnTo>
                  <a:lnTo>
                    <a:pt x="189" y="321"/>
                  </a:lnTo>
                  <a:lnTo>
                    <a:pt x="184" y="322"/>
                  </a:lnTo>
                  <a:lnTo>
                    <a:pt x="180" y="322"/>
                  </a:lnTo>
                  <a:close/>
                  <a:moveTo>
                    <a:pt x="168" y="140"/>
                  </a:moveTo>
                  <a:lnTo>
                    <a:pt x="169" y="136"/>
                  </a:lnTo>
                  <a:lnTo>
                    <a:pt x="171" y="132"/>
                  </a:lnTo>
                  <a:lnTo>
                    <a:pt x="175" y="130"/>
                  </a:lnTo>
                  <a:lnTo>
                    <a:pt x="180" y="128"/>
                  </a:lnTo>
                  <a:lnTo>
                    <a:pt x="184" y="130"/>
                  </a:lnTo>
                  <a:lnTo>
                    <a:pt x="188" y="132"/>
                  </a:lnTo>
                  <a:lnTo>
                    <a:pt x="191" y="136"/>
                  </a:lnTo>
                  <a:lnTo>
                    <a:pt x="191" y="140"/>
                  </a:lnTo>
                  <a:lnTo>
                    <a:pt x="191" y="239"/>
                  </a:lnTo>
                  <a:lnTo>
                    <a:pt x="191" y="244"/>
                  </a:lnTo>
                  <a:lnTo>
                    <a:pt x="188" y="247"/>
                  </a:lnTo>
                  <a:lnTo>
                    <a:pt x="184" y="250"/>
                  </a:lnTo>
                  <a:lnTo>
                    <a:pt x="180" y="251"/>
                  </a:lnTo>
                  <a:lnTo>
                    <a:pt x="175" y="250"/>
                  </a:lnTo>
                  <a:lnTo>
                    <a:pt x="171" y="247"/>
                  </a:lnTo>
                  <a:lnTo>
                    <a:pt x="169" y="244"/>
                  </a:lnTo>
                  <a:lnTo>
                    <a:pt x="168" y="239"/>
                  </a:lnTo>
                  <a:lnTo>
                    <a:pt x="168" y="140"/>
                  </a:lnTo>
                  <a:close/>
                  <a:moveTo>
                    <a:pt x="358" y="339"/>
                  </a:moveTo>
                  <a:lnTo>
                    <a:pt x="190" y="6"/>
                  </a:lnTo>
                  <a:lnTo>
                    <a:pt x="189" y="4"/>
                  </a:lnTo>
                  <a:lnTo>
                    <a:pt x="187" y="1"/>
                  </a:lnTo>
                  <a:lnTo>
                    <a:pt x="183" y="0"/>
                  </a:lnTo>
                  <a:lnTo>
                    <a:pt x="180" y="0"/>
                  </a:lnTo>
                  <a:lnTo>
                    <a:pt x="177" y="0"/>
                  </a:lnTo>
                  <a:lnTo>
                    <a:pt x="174" y="1"/>
                  </a:lnTo>
                  <a:lnTo>
                    <a:pt x="171" y="4"/>
                  </a:lnTo>
                  <a:lnTo>
                    <a:pt x="169" y="6"/>
                  </a:lnTo>
                  <a:lnTo>
                    <a:pt x="1" y="341"/>
                  </a:lnTo>
                  <a:lnTo>
                    <a:pt x="1" y="344"/>
                  </a:lnTo>
                  <a:lnTo>
                    <a:pt x="0" y="347"/>
                  </a:lnTo>
                  <a:lnTo>
                    <a:pt x="1" y="351"/>
                  </a:lnTo>
                  <a:lnTo>
                    <a:pt x="2" y="353"/>
                  </a:lnTo>
                  <a:lnTo>
                    <a:pt x="4" y="356"/>
                  </a:lnTo>
                  <a:lnTo>
                    <a:pt x="7" y="357"/>
                  </a:lnTo>
                  <a:lnTo>
                    <a:pt x="9" y="358"/>
                  </a:lnTo>
                  <a:lnTo>
                    <a:pt x="12" y="359"/>
                  </a:lnTo>
                  <a:lnTo>
                    <a:pt x="347" y="359"/>
                  </a:lnTo>
                  <a:lnTo>
                    <a:pt x="347" y="359"/>
                  </a:lnTo>
                  <a:lnTo>
                    <a:pt x="348" y="359"/>
                  </a:lnTo>
                  <a:lnTo>
                    <a:pt x="352" y="358"/>
                  </a:lnTo>
                  <a:lnTo>
                    <a:pt x="357" y="356"/>
                  </a:lnTo>
                  <a:lnTo>
                    <a:pt x="359" y="352"/>
                  </a:lnTo>
                  <a:lnTo>
                    <a:pt x="360" y="347"/>
                  </a:lnTo>
                  <a:lnTo>
                    <a:pt x="359" y="343"/>
                  </a:lnTo>
                  <a:lnTo>
                    <a:pt x="358" y="340"/>
                  </a:lnTo>
                  <a:lnTo>
                    <a:pt x="358" y="339"/>
                  </a:lnTo>
                  <a:close/>
                </a:path>
              </a:pathLst>
            </a:custGeom>
            <a:solidFill>
              <a:schemeClr val="accent1">
                <a:lumMod val="60000"/>
                <a:lumOff val="40000"/>
              </a:schemeClr>
            </a:solidFill>
            <a:ln>
              <a:noFill/>
            </a:ln>
            <a:effectLst>
              <a:outerShdw blurRad="38100" dist="25400" dir="5400000" algn="ctr" rotWithShape="0">
                <a:srgbClr val="000000">
                  <a:alpha val="20000"/>
                </a:srgbClr>
              </a:outerShdw>
            </a:effectLst>
          </p:spPr>
          <p:txBody>
            <a:bodyPr vert="horz" wrap="square" lIns="182868" tIns="91434" rIns="182868" bIns="91434" numCol="1" anchor="t" anchorCtr="0" compatLnSpc="1">
              <a:prstTxWarp prst="textNoShape">
                <a:avLst/>
              </a:prstTxWarp>
            </a:bodyPr>
            <a:lstStyle/>
            <a:p>
              <a:endParaRPr lang="en-US" sz="3600"/>
            </a:p>
          </p:txBody>
        </p:sp>
      </p:grpSp>
      <p:sp>
        <p:nvSpPr>
          <p:cNvPr id="3" name="Title 2">
            <a:extLst>
              <a:ext uri="{FF2B5EF4-FFF2-40B4-BE49-F238E27FC236}">
                <a16:creationId xmlns:a16="http://schemas.microsoft.com/office/drawing/2014/main" id="{06CF4B0A-68FE-8A48-A28A-4FE32A6BD7FF}"/>
              </a:ext>
            </a:extLst>
          </p:cNvPr>
          <p:cNvSpPr>
            <a:spLocks noGrp="1"/>
          </p:cNvSpPr>
          <p:nvPr>
            <p:ph type="title"/>
          </p:nvPr>
        </p:nvSpPr>
        <p:spPr/>
        <p:txBody>
          <a:bodyPr/>
          <a:lstStyle/>
          <a:p>
            <a:r>
              <a:rPr lang="en-US" dirty="0"/>
              <a:t>SWOT Diagram</a:t>
            </a:r>
          </a:p>
        </p:txBody>
      </p:sp>
    </p:spTree>
    <p:extLst>
      <p:ext uri="{BB962C8B-B14F-4D97-AF65-F5344CB8AC3E}">
        <p14:creationId xmlns:p14="http://schemas.microsoft.com/office/powerpoint/2010/main" val="8320496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lide design boundaries</a:t>
            </a:r>
          </a:p>
        </p:txBody>
      </p:sp>
      <p:sp>
        <p:nvSpPr>
          <p:cNvPr id="5" name="Content Placeholder 4"/>
          <p:cNvSpPr>
            <a:spLocks noGrp="1"/>
          </p:cNvSpPr>
          <p:nvPr>
            <p:ph idx="10"/>
          </p:nvPr>
        </p:nvSpPr>
        <p:spPr/>
        <p:txBody>
          <a:bodyPr/>
          <a:lstStyle/>
          <a:p>
            <a:r>
              <a:rPr lang="en-US" dirty="0"/>
              <a:t>To access these guide-lines on other slides:</a:t>
            </a:r>
          </a:p>
          <a:p>
            <a:pPr lvl="1"/>
            <a:r>
              <a:rPr lang="en-US" dirty="0"/>
              <a:t>Go to the View &gt; Guides menu</a:t>
            </a:r>
          </a:p>
          <a:p>
            <a:pPr lvl="1"/>
            <a:r>
              <a:rPr lang="en-US" dirty="0"/>
              <a:t>Make sure Guides is checked</a:t>
            </a:r>
          </a:p>
        </p:txBody>
      </p:sp>
      <p:cxnSp>
        <p:nvCxnSpPr>
          <p:cNvPr id="6" name="Straight Connector 5"/>
          <p:cNvCxnSpPr/>
          <p:nvPr/>
        </p:nvCxnSpPr>
        <p:spPr>
          <a:xfrm>
            <a:off x="0" y="12334164"/>
            <a:ext cx="24576582" cy="0"/>
          </a:xfrm>
          <a:prstGeom prst="line">
            <a:avLst/>
          </a:prstGeom>
          <a:ln w="12700">
            <a:solidFill>
              <a:srgbClr val="FF0000"/>
            </a:solidFill>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3098766" y="6358504"/>
            <a:ext cx="8064896" cy="1477328"/>
          </a:xfrm>
          <a:prstGeom prst="rect">
            <a:avLst/>
          </a:prstGeom>
          <a:noFill/>
        </p:spPr>
        <p:txBody>
          <a:bodyPr wrap="square" rtlCol="0">
            <a:spAutoFit/>
          </a:bodyPr>
          <a:lstStyle/>
          <a:p>
            <a:r>
              <a:rPr lang="en-US" sz="3000" b="1" dirty="0">
                <a:solidFill>
                  <a:schemeClr val="bg1">
                    <a:lumMod val="50000"/>
                  </a:schemeClr>
                </a:solidFill>
              </a:rPr>
              <a:t>Left aligned </a:t>
            </a:r>
            <a:r>
              <a:rPr lang="en-US" sz="3000" b="1">
                <a:solidFill>
                  <a:schemeClr val="bg1">
                    <a:lumMod val="50000"/>
                  </a:schemeClr>
                </a:solidFill>
              </a:rPr>
              <a:t>content must be </a:t>
            </a:r>
            <a:r>
              <a:rPr lang="en-US" sz="3000" b="1" dirty="0">
                <a:solidFill>
                  <a:schemeClr val="bg1">
                    <a:lumMod val="50000"/>
                  </a:schemeClr>
                </a:solidFill>
              </a:rPr>
              <a:t>aligned with the </a:t>
            </a:r>
            <a:r>
              <a:rPr lang="en-US" sz="3000" b="1" dirty="0" err="1">
                <a:solidFill>
                  <a:schemeClr val="bg1">
                    <a:lumMod val="50000"/>
                  </a:schemeClr>
                </a:solidFill>
              </a:rPr>
              <a:t>OpenText</a:t>
            </a:r>
            <a:r>
              <a:rPr lang="en-US" sz="3000" b="1" dirty="0">
                <a:solidFill>
                  <a:schemeClr val="bg1">
                    <a:lumMod val="50000"/>
                  </a:schemeClr>
                </a:solidFill>
              </a:rPr>
              <a:t> logo</a:t>
            </a:r>
            <a:r>
              <a:rPr lang="en-US" sz="3000" b="1" baseline="0" dirty="0">
                <a:solidFill>
                  <a:schemeClr val="bg1">
                    <a:lumMod val="50000"/>
                  </a:schemeClr>
                </a:solidFill>
              </a:rPr>
              <a:t>. Slide content should not extend beyond this margin.</a:t>
            </a:r>
            <a:endParaRPr lang="en-US" sz="3000" b="1" dirty="0">
              <a:solidFill>
                <a:schemeClr val="bg1">
                  <a:lumMod val="50000"/>
                </a:schemeClr>
              </a:solidFill>
            </a:endParaRPr>
          </a:p>
        </p:txBody>
      </p:sp>
      <p:cxnSp>
        <p:nvCxnSpPr>
          <p:cNvPr id="8" name="Straight Connector 7"/>
          <p:cNvCxnSpPr/>
          <p:nvPr/>
        </p:nvCxnSpPr>
        <p:spPr>
          <a:xfrm flipV="1">
            <a:off x="1246188" y="-342800"/>
            <a:ext cx="0" cy="14905656"/>
          </a:xfrm>
          <a:prstGeom prst="line">
            <a:avLst/>
          </a:prstGeom>
          <a:ln w="127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H="1">
            <a:off x="1586054" y="7078584"/>
            <a:ext cx="1296144" cy="0"/>
          </a:xfrm>
          <a:prstGeom prst="straightConnector1">
            <a:avLst/>
          </a:prstGeom>
          <a:ln w="38100">
            <a:solidFill>
              <a:schemeClr val="accent2"/>
            </a:solidFill>
            <a:tailEnd type="triangle"/>
          </a:ln>
        </p:spPr>
        <p:style>
          <a:lnRef idx="1">
            <a:schemeClr val="accent3"/>
          </a:lnRef>
          <a:fillRef idx="0">
            <a:schemeClr val="accent3"/>
          </a:fillRef>
          <a:effectRef idx="0">
            <a:schemeClr val="accent3"/>
          </a:effectRef>
          <a:fontRef idx="minor">
            <a:schemeClr val="tx1"/>
          </a:fontRef>
        </p:style>
      </p:cxnSp>
      <p:sp>
        <p:nvSpPr>
          <p:cNvPr id="10" name="TextBox 9"/>
          <p:cNvSpPr txBox="1"/>
          <p:nvPr/>
        </p:nvSpPr>
        <p:spPr>
          <a:xfrm>
            <a:off x="3190206" y="9250264"/>
            <a:ext cx="6120680" cy="1477328"/>
          </a:xfrm>
          <a:prstGeom prst="rect">
            <a:avLst/>
          </a:prstGeom>
          <a:noFill/>
        </p:spPr>
        <p:txBody>
          <a:bodyPr wrap="square" rtlCol="0">
            <a:spAutoFit/>
          </a:bodyPr>
          <a:lstStyle/>
          <a:p>
            <a:r>
              <a:rPr lang="en-US" sz="3000" b="1" dirty="0">
                <a:solidFill>
                  <a:schemeClr val="bg1">
                    <a:lumMod val="50000"/>
                  </a:schemeClr>
                </a:solidFill>
              </a:rPr>
              <a:t>Content </a:t>
            </a:r>
            <a:r>
              <a:rPr lang="en-US" sz="3000" b="1" dirty="0">
                <a:solidFill>
                  <a:srgbClr val="FF0000"/>
                </a:solidFill>
              </a:rPr>
              <a:t>must not </a:t>
            </a:r>
            <a:r>
              <a:rPr lang="en-US" sz="3000" b="1" dirty="0">
                <a:solidFill>
                  <a:schemeClr val="bg1">
                    <a:lumMod val="50000"/>
                  </a:schemeClr>
                </a:solidFill>
              </a:rPr>
              <a:t>dip below this line or encroach on the</a:t>
            </a:r>
            <a:r>
              <a:rPr lang="en-US" sz="3000" b="1" baseline="0" dirty="0">
                <a:solidFill>
                  <a:schemeClr val="bg1">
                    <a:lumMod val="50000"/>
                  </a:schemeClr>
                </a:solidFill>
              </a:rPr>
              <a:t> breathing room around the logo.</a:t>
            </a:r>
            <a:endParaRPr lang="en-US" sz="3000" b="1" dirty="0">
              <a:solidFill>
                <a:schemeClr val="bg1">
                  <a:lumMod val="50000"/>
                </a:schemeClr>
              </a:solidFill>
            </a:endParaRPr>
          </a:p>
        </p:txBody>
      </p:sp>
      <p:cxnSp>
        <p:nvCxnSpPr>
          <p:cNvPr id="11" name="Straight Arrow Connector 10"/>
          <p:cNvCxnSpPr/>
          <p:nvPr/>
        </p:nvCxnSpPr>
        <p:spPr>
          <a:xfrm>
            <a:off x="3334222" y="10762432"/>
            <a:ext cx="0" cy="1512168"/>
          </a:xfrm>
          <a:prstGeom prst="straightConnector1">
            <a:avLst/>
          </a:prstGeom>
          <a:ln w="38100">
            <a:solidFill>
              <a:schemeClr val="accent2"/>
            </a:solidFill>
            <a:tailEnd type="triangle"/>
          </a:ln>
        </p:spPr>
        <p:style>
          <a:lnRef idx="1">
            <a:schemeClr val="accent3"/>
          </a:lnRef>
          <a:fillRef idx="0">
            <a:schemeClr val="accent3"/>
          </a:fillRef>
          <a:effectRef idx="0">
            <a:schemeClr val="accent3"/>
          </a:effectRef>
          <a:fontRef idx="minor">
            <a:schemeClr val="tx1"/>
          </a:fontRef>
        </p:style>
      </p:cxnSp>
      <p:sp>
        <p:nvSpPr>
          <p:cNvPr id="12" name="TextBox 11"/>
          <p:cNvSpPr txBox="1"/>
          <p:nvPr/>
        </p:nvSpPr>
        <p:spPr>
          <a:xfrm>
            <a:off x="13728774" y="575276"/>
            <a:ext cx="9459918" cy="1477328"/>
          </a:xfrm>
          <a:prstGeom prst="rect">
            <a:avLst/>
          </a:prstGeom>
          <a:noFill/>
        </p:spPr>
        <p:txBody>
          <a:bodyPr wrap="square" rtlCol="0">
            <a:spAutoFit/>
          </a:bodyPr>
          <a:lstStyle/>
          <a:p>
            <a:r>
              <a:rPr lang="en-US" sz="3000" b="1" dirty="0">
                <a:solidFill>
                  <a:schemeClr val="bg1">
                    <a:lumMod val="50000"/>
                  </a:schemeClr>
                </a:solidFill>
              </a:rPr>
              <a:t>Headline (max. 2 lines) will center within allotted space. </a:t>
            </a:r>
            <a:r>
              <a:rPr lang="en-US" sz="3000" b="1" dirty="0">
                <a:solidFill>
                  <a:srgbClr val="FF0000"/>
                </a:solidFill>
              </a:rPr>
              <a:t>Do not </a:t>
            </a:r>
            <a:r>
              <a:rPr lang="en-US" sz="3000" b="1" dirty="0">
                <a:solidFill>
                  <a:schemeClr val="bg1">
                    <a:lumMod val="50000"/>
                  </a:schemeClr>
                </a:solidFill>
              </a:rPr>
              <a:t>move the position</a:t>
            </a:r>
            <a:r>
              <a:rPr lang="en-US" sz="3000" b="1" baseline="0" dirty="0">
                <a:solidFill>
                  <a:schemeClr val="bg1">
                    <a:lumMod val="50000"/>
                  </a:schemeClr>
                </a:solidFill>
              </a:rPr>
              <a:t> of the headline to create more space on slide.</a:t>
            </a:r>
            <a:endParaRPr lang="en-US" sz="3000" b="1" dirty="0">
              <a:solidFill>
                <a:schemeClr val="bg1">
                  <a:lumMod val="50000"/>
                </a:schemeClr>
              </a:solidFill>
            </a:endParaRPr>
          </a:p>
        </p:txBody>
      </p:sp>
      <p:sp>
        <p:nvSpPr>
          <p:cNvPr id="13" name="TextBox 12"/>
          <p:cNvSpPr txBox="1"/>
          <p:nvPr/>
        </p:nvSpPr>
        <p:spPr>
          <a:xfrm>
            <a:off x="13728774" y="10054187"/>
            <a:ext cx="7192698" cy="553998"/>
          </a:xfrm>
          <a:prstGeom prst="rect">
            <a:avLst/>
          </a:prstGeom>
          <a:noFill/>
        </p:spPr>
        <p:txBody>
          <a:bodyPr wrap="square" rtlCol="0">
            <a:spAutoFit/>
          </a:bodyPr>
          <a:lstStyle/>
          <a:p>
            <a:r>
              <a:rPr lang="en-US" sz="3000" b="1" baseline="0" dirty="0">
                <a:solidFill>
                  <a:schemeClr val="bg1">
                    <a:lumMod val="50000"/>
                  </a:schemeClr>
                </a:solidFill>
              </a:rPr>
              <a:t>Copyright notice must be on </a:t>
            </a:r>
            <a:r>
              <a:rPr lang="en-US" sz="3000" b="1" baseline="0">
                <a:solidFill>
                  <a:schemeClr val="bg1">
                    <a:lumMod val="50000"/>
                  </a:schemeClr>
                </a:solidFill>
              </a:rPr>
              <a:t>all slides.</a:t>
            </a:r>
            <a:endParaRPr lang="en-US" sz="3000" b="1" i="1" dirty="0">
              <a:solidFill>
                <a:schemeClr val="bg1">
                  <a:lumMod val="50000"/>
                </a:schemeClr>
              </a:solidFill>
            </a:endParaRPr>
          </a:p>
        </p:txBody>
      </p:sp>
      <p:cxnSp>
        <p:nvCxnSpPr>
          <p:cNvPr id="14" name="Straight Arrow Connector 13"/>
          <p:cNvCxnSpPr/>
          <p:nvPr/>
        </p:nvCxnSpPr>
        <p:spPr>
          <a:xfrm>
            <a:off x="18529038" y="10608185"/>
            <a:ext cx="0" cy="2331003"/>
          </a:xfrm>
          <a:prstGeom prst="straightConnector1">
            <a:avLst/>
          </a:prstGeom>
          <a:ln w="38100">
            <a:solidFill>
              <a:schemeClr val="accent2"/>
            </a:solidFill>
            <a:tailEnd type="triangle"/>
          </a:ln>
        </p:spPr>
        <p:style>
          <a:lnRef idx="1">
            <a:schemeClr val="accent3"/>
          </a:lnRef>
          <a:fillRef idx="0">
            <a:schemeClr val="accent3"/>
          </a:fillRef>
          <a:effectRef idx="0">
            <a:schemeClr val="accent3"/>
          </a:effectRef>
          <a:fontRef idx="minor">
            <a:schemeClr val="tx1"/>
          </a:fontRef>
        </p:style>
      </p:cxnSp>
      <p:cxnSp>
        <p:nvCxnSpPr>
          <p:cNvPr id="15" name="Straight Connector 14"/>
          <p:cNvCxnSpPr/>
          <p:nvPr/>
        </p:nvCxnSpPr>
        <p:spPr>
          <a:xfrm flipV="1">
            <a:off x="23132671" y="-342800"/>
            <a:ext cx="0" cy="14905656"/>
          </a:xfrm>
          <a:prstGeom prst="line">
            <a:avLst/>
          </a:prstGeom>
          <a:ln w="127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2862263"/>
            <a:ext cx="24576582" cy="0"/>
          </a:xfrm>
          <a:prstGeom prst="line">
            <a:avLst/>
          </a:prstGeom>
          <a:ln w="12700">
            <a:solidFill>
              <a:srgbClr val="FF0000"/>
            </a:solidFill>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3703374" y="5270981"/>
            <a:ext cx="8064896" cy="1938992"/>
          </a:xfrm>
          <a:prstGeom prst="rect">
            <a:avLst/>
          </a:prstGeom>
          <a:noFill/>
        </p:spPr>
        <p:txBody>
          <a:bodyPr wrap="square" rtlCol="0">
            <a:spAutoFit/>
          </a:bodyPr>
          <a:lstStyle/>
          <a:p>
            <a:r>
              <a:rPr lang="en-US" sz="3000" b="1" dirty="0">
                <a:solidFill>
                  <a:schemeClr val="bg1">
                    <a:lumMod val="50000"/>
                  </a:schemeClr>
                </a:solidFill>
              </a:rPr>
              <a:t>Content should not extend beyond this</a:t>
            </a:r>
            <a:r>
              <a:rPr lang="en-US" sz="3000" b="1" baseline="0" dirty="0">
                <a:solidFill>
                  <a:schemeClr val="bg1">
                    <a:lumMod val="50000"/>
                  </a:schemeClr>
                </a:solidFill>
              </a:rPr>
              <a:t> right margin</a:t>
            </a:r>
            <a:r>
              <a:rPr lang="en-US" sz="3000" b="1" dirty="0">
                <a:solidFill>
                  <a:schemeClr val="bg1">
                    <a:lumMod val="50000"/>
                  </a:schemeClr>
                </a:solidFill>
              </a:rPr>
              <a:t>. White space</a:t>
            </a:r>
            <a:r>
              <a:rPr lang="en-US" sz="3000" b="1" baseline="0" dirty="0">
                <a:solidFill>
                  <a:schemeClr val="bg1">
                    <a:lumMod val="50000"/>
                  </a:schemeClr>
                </a:solidFill>
              </a:rPr>
              <a:t> and comfortable margins around our content is an integral part of maintaining our clean, simple look. </a:t>
            </a:r>
          </a:p>
        </p:txBody>
      </p:sp>
      <p:cxnSp>
        <p:nvCxnSpPr>
          <p:cNvPr id="18" name="Straight Arrow Connector 17"/>
          <p:cNvCxnSpPr/>
          <p:nvPr/>
        </p:nvCxnSpPr>
        <p:spPr>
          <a:xfrm>
            <a:off x="21107400" y="5540912"/>
            <a:ext cx="1885006" cy="0"/>
          </a:xfrm>
          <a:prstGeom prst="straightConnector1">
            <a:avLst/>
          </a:prstGeom>
          <a:ln w="38100">
            <a:solidFill>
              <a:schemeClr val="accent2"/>
            </a:solidFill>
            <a:tailEnd type="triangle"/>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p:nvCxnSpPr>
        <p:spPr>
          <a:xfrm>
            <a:off x="0" y="341313"/>
            <a:ext cx="24576582" cy="0"/>
          </a:xfrm>
          <a:prstGeom prst="line">
            <a:avLst/>
          </a:prstGeom>
          <a:ln w="127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0" y="2311757"/>
            <a:ext cx="24576582" cy="0"/>
          </a:xfrm>
          <a:prstGeom prst="line">
            <a:avLst/>
          </a:prstGeom>
          <a:ln w="12700">
            <a:solidFill>
              <a:srgbClr val="FF00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170190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Oval 143">
            <a:extLst>
              <a:ext uri="{FF2B5EF4-FFF2-40B4-BE49-F238E27FC236}">
                <a16:creationId xmlns:a16="http://schemas.microsoft.com/office/drawing/2014/main" id="{D3B2EA31-DD4D-4541-BA19-85A457C94D46}"/>
              </a:ext>
            </a:extLst>
          </p:cNvPr>
          <p:cNvSpPr/>
          <p:nvPr/>
        </p:nvSpPr>
        <p:spPr>
          <a:xfrm>
            <a:off x="1124855" y="11912271"/>
            <a:ext cx="5682878" cy="81274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24" name="Rectangle 123">
            <a:extLst>
              <a:ext uri="{FF2B5EF4-FFF2-40B4-BE49-F238E27FC236}">
                <a16:creationId xmlns:a16="http://schemas.microsoft.com/office/drawing/2014/main" id="{19CAA9B6-59DE-4A3D-A94A-718224BF37C8}"/>
              </a:ext>
            </a:extLst>
          </p:cNvPr>
          <p:cNvSpPr/>
          <p:nvPr/>
        </p:nvSpPr>
        <p:spPr>
          <a:xfrm>
            <a:off x="9863981" y="9758310"/>
            <a:ext cx="7470498" cy="166188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23" name="Rectangle 122">
            <a:extLst>
              <a:ext uri="{FF2B5EF4-FFF2-40B4-BE49-F238E27FC236}">
                <a16:creationId xmlns:a16="http://schemas.microsoft.com/office/drawing/2014/main" id="{A3D8F679-E289-4651-A73C-4E0CCFD9484D}"/>
              </a:ext>
            </a:extLst>
          </p:cNvPr>
          <p:cNvSpPr/>
          <p:nvPr/>
        </p:nvSpPr>
        <p:spPr>
          <a:xfrm>
            <a:off x="9863981" y="6787308"/>
            <a:ext cx="7470498" cy="166188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1" name="Rectangle 20">
            <a:extLst>
              <a:ext uri="{FF2B5EF4-FFF2-40B4-BE49-F238E27FC236}">
                <a16:creationId xmlns:a16="http://schemas.microsoft.com/office/drawing/2014/main" id="{F503AEBE-1E03-4684-8C14-3D2431798396}"/>
              </a:ext>
            </a:extLst>
          </p:cNvPr>
          <p:cNvSpPr/>
          <p:nvPr/>
        </p:nvSpPr>
        <p:spPr>
          <a:xfrm>
            <a:off x="9863981" y="3816307"/>
            <a:ext cx="7470498" cy="166188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20" name="Freeform: Shape 119">
            <a:extLst>
              <a:ext uri="{FF2B5EF4-FFF2-40B4-BE49-F238E27FC236}">
                <a16:creationId xmlns:a16="http://schemas.microsoft.com/office/drawing/2014/main" id="{52A9698E-9662-4C29-95B1-61AEB7D9493A}"/>
              </a:ext>
            </a:extLst>
          </p:cNvPr>
          <p:cNvSpPr/>
          <p:nvPr/>
        </p:nvSpPr>
        <p:spPr>
          <a:xfrm rot="13500000">
            <a:off x="8603099" y="3419767"/>
            <a:ext cx="2373053" cy="2620819"/>
          </a:xfrm>
          <a:custGeom>
            <a:avLst/>
            <a:gdLst>
              <a:gd name="connsiteX0" fmla="*/ 1012829 w 1186604"/>
              <a:gd name="connsiteY0" fmla="*/ 1136721 h 1310495"/>
              <a:gd name="connsiteX1" fmla="*/ 173774 w 1186604"/>
              <a:gd name="connsiteY1" fmla="*/ 1136721 h 1310495"/>
              <a:gd name="connsiteX2" fmla="*/ 173774 w 1186604"/>
              <a:gd name="connsiteY2" fmla="*/ 297665 h 1310495"/>
              <a:gd name="connsiteX3" fmla="*/ 479985 w 1186604"/>
              <a:gd name="connsiteY3" fmla="*/ 134752 h 1310495"/>
              <a:gd name="connsiteX4" fmla="*/ 532312 w 1186604"/>
              <a:gd name="connsiteY4" fmla="*/ 129737 h 1310495"/>
              <a:gd name="connsiteX5" fmla="*/ 607559 w 1186604"/>
              <a:gd name="connsiteY5" fmla="*/ 0 h 1310495"/>
              <a:gd name="connsiteX6" fmla="*/ 684485 w 1186604"/>
              <a:gd name="connsiteY6" fmla="*/ 132631 h 1310495"/>
              <a:gd name="connsiteX7" fmla="*/ 706619 w 1186604"/>
              <a:gd name="connsiteY7" fmla="*/ 134752 h 1310495"/>
              <a:gd name="connsiteX8" fmla="*/ 1012829 w 1186604"/>
              <a:gd name="connsiteY8" fmla="*/ 297665 h 1310495"/>
              <a:gd name="connsiteX9" fmla="*/ 1012829 w 1186604"/>
              <a:gd name="connsiteY9" fmla="*/ 1136721 h 131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604" h="1310495">
                <a:moveTo>
                  <a:pt x="1012829" y="1136721"/>
                </a:moveTo>
                <a:cubicBezTo>
                  <a:pt x="781130" y="1368420"/>
                  <a:pt x="405473" y="1368420"/>
                  <a:pt x="173774" y="1136721"/>
                </a:cubicBezTo>
                <a:cubicBezTo>
                  <a:pt x="-57925" y="905022"/>
                  <a:pt x="-57925" y="529364"/>
                  <a:pt x="173774" y="297665"/>
                </a:cubicBezTo>
                <a:cubicBezTo>
                  <a:pt x="260661" y="210778"/>
                  <a:pt x="367792" y="156474"/>
                  <a:pt x="479985" y="134752"/>
                </a:cubicBezTo>
                <a:lnTo>
                  <a:pt x="532312" y="129737"/>
                </a:lnTo>
                <a:lnTo>
                  <a:pt x="607559" y="0"/>
                </a:lnTo>
                <a:lnTo>
                  <a:pt x="684485" y="132631"/>
                </a:lnTo>
                <a:lnTo>
                  <a:pt x="706619" y="134752"/>
                </a:lnTo>
                <a:cubicBezTo>
                  <a:pt x="818811" y="156474"/>
                  <a:pt x="925942" y="210778"/>
                  <a:pt x="1012829" y="297665"/>
                </a:cubicBezTo>
                <a:cubicBezTo>
                  <a:pt x="1244529" y="529364"/>
                  <a:pt x="1244529" y="905022"/>
                  <a:pt x="1012829" y="1136721"/>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19" name="Freeform: Shape 118">
            <a:extLst>
              <a:ext uri="{FF2B5EF4-FFF2-40B4-BE49-F238E27FC236}">
                <a16:creationId xmlns:a16="http://schemas.microsoft.com/office/drawing/2014/main" id="{4CDD7D33-54D4-4394-823C-AF7DCDA47606}"/>
              </a:ext>
            </a:extLst>
          </p:cNvPr>
          <p:cNvSpPr/>
          <p:nvPr/>
        </p:nvSpPr>
        <p:spPr>
          <a:xfrm rot="16200000">
            <a:off x="8574633" y="6315659"/>
            <a:ext cx="2373053" cy="2605184"/>
          </a:xfrm>
          <a:custGeom>
            <a:avLst/>
            <a:gdLst>
              <a:gd name="connsiteX0" fmla="*/ 1186604 w 1186604"/>
              <a:gd name="connsiteY0" fmla="*/ 709375 h 1302677"/>
              <a:gd name="connsiteX1" fmla="*/ 593302 w 1186604"/>
              <a:gd name="connsiteY1" fmla="*/ 1302677 h 1302677"/>
              <a:gd name="connsiteX2" fmla="*/ 0 w 1186604"/>
              <a:gd name="connsiteY2" fmla="*/ 709375 h 1302677"/>
              <a:gd name="connsiteX3" fmla="*/ 473731 w 1186604"/>
              <a:gd name="connsiteY3" fmla="*/ 128127 h 1302677"/>
              <a:gd name="connsiteX4" fmla="*/ 530377 w 1186604"/>
              <a:gd name="connsiteY4" fmla="*/ 122417 h 1302677"/>
              <a:gd name="connsiteX5" fmla="*/ 601378 w 1186604"/>
              <a:gd name="connsiteY5" fmla="*/ 0 h 1302677"/>
              <a:gd name="connsiteX6" fmla="*/ 673383 w 1186604"/>
              <a:gd name="connsiteY6" fmla="*/ 124146 h 1302677"/>
              <a:gd name="connsiteX7" fmla="*/ 712873 w 1186604"/>
              <a:gd name="connsiteY7" fmla="*/ 128127 h 1302677"/>
              <a:gd name="connsiteX8" fmla="*/ 1186604 w 1186604"/>
              <a:gd name="connsiteY8" fmla="*/ 709375 h 1302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6604" h="1302677">
                <a:moveTo>
                  <a:pt x="1186604" y="709375"/>
                </a:moveTo>
                <a:cubicBezTo>
                  <a:pt x="1186604" y="1037047"/>
                  <a:pt x="920974" y="1302677"/>
                  <a:pt x="593302" y="1302677"/>
                </a:cubicBezTo>
                <a:cubicBezTo>
                  <a:pt x="265630" y="1302677"/>
                  <a:pt x="0" y="1037047"/>
                  <a:pt x="0" y="709375"/>
                </a:cubicBezTo>
                <a:cubicBezTo>
                  <a:pt x="0" y="422662"/>
                  <a:pt x="203373" y="183450"/>
                  <a:pt x="473731" y="128127"/>
                </a:cubicBezTo>
                <a:lnTo>
                  <a:pt x="530377" y="122417"/>
                </a:lnTo>
                <a:lnTo>
                  <a:pt x="601378" y="0"/>
                </a:lnTo>
                <a:lnTo>
                  <a:pt x="673383" y="124146"/>
                </a:lnTo>
                <a:lnTo>
                  <a:pt x="712873" y="128127"/>
                </a:lnTo>
                <a:cubicBezTo>
                  <a:pt x="983231" y="183450"/>
                  <a:pt x="1186604" y="422662"/>
                  <a:pt x="1186604" y="709375"/>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18" name="Freeform: Shape 117">
            <a:extLst>
              <a:ext uri="{FF2B5EF4-FFF2-40B4-BE49-F238E27FC236}">
                <a16:creationId xmlns:a16="http://schemas.microsoft.com/office/drawing/2014/main" id="{FE2942CA-CE16-4D63-86BD-4353699C5501}"/>
              </a:ext>
            </a:extLst>
          </p:cNvPr>
          <p:cNvSpPr/>
          <p:nvPr/>
        </p:nvSpPr>
        <p:spPr>
          <a:xfrm rot="8100000" flipV="1">
            <a:off x="8603101" y="9195913"/>
            <a:ext cx="2373053" cy="2620819"/>
          </a:xfrm>
          <a:custGeom>
            <a:avLst/>
            <a:gdLst>
              <a:gd name="connsiteX0" fmla="*/ 173774 w 1186604"/>
              <a:gd name="connsiteY0" fmla="*/ 297665 h 1310495"/>
              <a:gd name="connsiteX1" fmla="*/ 173774 w 1186604"/>
              <a:gd name="connsiteY1" fmla="*/ 1136721 h 1310495"/>
              <a:gd name="connsiteX2" fmla="*/ 1012829 w 1186604"/>
              <a:gd name="connsiteY2" fmla="*/ 1136721 h 1310495"/>
              <a:gd name="connsiteX3" fmla="*/ 1012829 w 1186604"/>
              <a:gd name="connsiteY3" fmla="*/ 297665 h 1310495"/>
              <a:gd name="connsiteX4" fmla="*/ 706619 w 1186604"/>
              <a:gd name="connsiteY4" fmla="*/ 134752 h 1310495"/>
              <a:gd name="connsiteX5" fmla="*/ 684485 w 1186604"/>
              <a:gd name="connsiteY5" fmla="*/ 132631 h 1310495"/>
              <a:gd name="connsiteX6" fmla="*/ 607559 w 1186604"/>
              <a:gd name="connsiteY6" fmla="*/ 0 h 1310495"/>
              <a:gd name="connsiteX7" fmla="*/ 532312 w 1186604"/>
              <a:gd name="connsiteY7" fmla="*/ 129737 h 1310495"/>
              <a:gd name="connsiteX8" fmla="*/ 479985 w 1186604"/>
              <a:gd name="connsiteY8" fmla="*/ 134752 h 1310495"/>
              <a:gd name="connsiteX9" fmla="*/ 173774 w 1186604"/>
              <a:gd name="connsiteY9" fmla="*/ 297665 h 131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604" h="1310495">
                <a:moveTo>
                  <a:pt x="173774" y="297665"/>
                </a:moveTo>
                <a:cubicBezTo>
                  <a:pt x="-57925" y="529364"/>
                  <a:pt x="-57925" y="905022"/>
                  <a:pt x="173774" y="1136721"/>
                </a:cubicBezTo>
                <a:cubicBezTo>
                  <a:pt x="405473" y="1368420"/>
                  <a:pt x="781130" y="1368420"/>
                  <a:pt x="1012829" y="1136721"/>
                </a:cubicBezTo>
                <a:cubicBezTo>
                  <a:pt x="1244529" y="905022"/>
                  <a:pt x="1244529" y="529364"/>
                  <a:pt x="1012829" y="297665"/>
                </a:cubicBezTo>
                <a:cubicBezTo>
                  <a:pt x="925942" y="210778"/>
                  <a:pt x="818811" y="156474"/>
                  <a:pt x="706619" y="134752"/>
                </a:cubicBezTo>
                <a:lnTo>
                  <a:pt x="684485" y="132631"/>
                </a:lnTo>
                <a:lnTo>
                  <a:pt x="607559" y="0"/>
                </a:lnTo>
                <a:lnTo>
                  <a:pt x="532312" y="129737"/>
                </a:lnTo>
                <a:lnTo>
                  <a:pt x="479985" y="134752"/>
                </a:lnTo>
                <a:cubicBezTo>
                  <a:pt x="367792" y="156474"/>
                  <a:pt x="260661" y="210778"/>
                  <a:pt x="173774" y="29766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9" name="Oval 18">
            <a:extLst>
              <a:ext uri="{FF2B5EF4-FFF2-40B4-BE49-F238E27FC236}">
                <a16:creationId xmlns:a16="http://schemas.microsoft.com/office/drawing/2014/main" id="{A8518D7B-A519-46BC-9B88-0E5F6FDDF7E4}"/>
              </a:ext>
            </a:extLst>
          </p:cNvPr>
          <p:cNvSpPr/>
          <p:nvPr/>
        </p:nvSpPr>
        <p:spPr>
          <a:xfrm>
            <a:off x="8897152" y="3656713"/>
            <a:ext cx="1981071" cy="1981071"/>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21" name="Oval 120">
            <a:extLst>
              <a:ext uri="{FF2B5EF4-FFF2-40B4-BE49-F238E27FC236}">
                <a16:creationId xmlns:a16="http://schemas.microsoft.com/office/drawing/2014/main" id="{54599A4C-8E0A-49EE-8500-22AF10A78572}"/>
              </a:ext>
            </a:extLst>
          </p:cNvPr>
          <p:cNvSpPr/>
          <p:nvPr/>
        </p:nvSpPr>
        <p:spPr>
          <a:xfrm>
            <a:off x="8897152" y="6627713"/>
            <a:ext cx="1981071" cy="1981071"/>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22" name="Oval 121">
            <a:extLst>
              <a:ext uri="{FF2B5EF4-FFF2-40B4-BE49-F238E27FC236}">
                <a16:creationId xmlns:a16="http://schemas.microsoft.com/office/drawing/2014/main" id="{6FAEE154-5E1C-4636-98C9-292848A8CA4C}"/>
              </a:ext>
            </a:extLst>
          </p:cNvPr>
          <p:cNvSpPr/>
          <p:nvPr/>
        </p:nvSpPr>
        <p:spPr>
          <a:xfrm>
            <a:off x="8897152" y="9598716"/>
            <a:ext cx="1981071" cy="1981071"/>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25" name="TextBox 124">
            <a:extLst>
              <a:ext uri="{FF2B5EF4-FFF2-40B4-BE49-F238E27FC236}">
                <a16:creationId xmlns:a16="http://schemas.microsoft.com/office/drawing/2014/main" id="{A7647FA1-136D-4676-838B-A2E2DC354F22}"/>
              </a:ext>
            </a:extLst>
          </p:cNvPr>
          <p:cNvSpPr txBox="1"/>
          <p:nvPr/>
        </p:nvSpPr>
        <p:spPr>
          <a:xfrm>
            <a:off x="11389573" y="4216363"/>
            <a:ext cx="5257458" cy="861774"/>
          </a:xfrm>
          <a:prstGeom prst="rect">
            <a:avLst/>
          </a:prstGeom>
          <a:noFill/>
          <a:ln>
            <a:noFill/>
          </a:ln>
        </p:spPr>
        <p:txBody>
          <a:bodyPr wrap="square" lIns="0" tIns="0" rIns="0" bIns="0" rtlCol="0" anchor="ctr">
            <a:spAutoFit/>
          </a:bodyPr>
          <a:lstStyle/>
          <a:p>
            <a:pPr>
              <a:buClr>
                <a:schemeClr val="accent1"/>
              </a:buClr>
            </a:pPr>
            <a:r>
              <a:rPr lang="en-US" sz="2800" dirty="0">
                <a:solidFill>
                  <a:schemeClr val="tx1">
                    <a:lumMod val="75000"/>
                    <a:lumOff val="25000"/>
                  </a:schemeClr>
                </a:solidFill>
              </a:rPr>
              <a:t>Lorem ipsum dolor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consectetur</a:t>
            </a:r>
            <a:r>
              <a:rPr lang="en-US" sz="2800" dirty="0">
                <a:solidFill>
                  <a:schemeClr val="tx1">
                    <a:lumMod val="75000"/>
                    <a:lumOff val="25000"/>
                  </a:schemeClr>
                </a:solidFill>
              </a:rPr>
              <a:t> </a:t>
            </a:r>
            <a:r>
              <a:rPr lang="en-US" sz="2800" dirty="0" err="1">
                <a:solidFill>
                  <a:schemeClr val="tx1">
                    <a:lumMod val="75000"/>
                    <a:lumOff val="25000"/>
                  </a:schemeClr>
                </a:solidFill>
              </a:rPr>
              <a:t>adipiscing</a:t>
            </a:r>
            <a:r>
              <a:rPr lang="en-US" sz="2800" dirty="0">
                <a:solidFill>
                  <a:schemeClr val="tx1">
                    <a:lumMod val="75000"/>
                    <a:lumOff val="25000"/>
                  </a:schemeClr>
                </a:solidFill>
              </a:rPr>
              <a:t> </a:t>
            </a:r>
            <a:r>
              <a:rPr lang="en-US" sz="2800" dirty="0" err="1">
                <a:solidFill>
                  <a:schemeClr val="tx1">
                    <a:lumMod val="75000"/>
                    <a:lumOff val="25000"/>
                  </a:schemeClr>
                </a:solidFill>
              </a:rPr>
              <a:t>elit</a:t>
            </a:r>
            <a:r>
              <a:rPr lang="en-US" sz="2800" dirty="0">
                <a:solidFill>
                  <a:schemeClr val="tx1">
                    <a:lumMod val="75000"/>
                    <a:lumOff val="25000"/>
                  </a:schemeClr>
                </a:solidFill>
              </a:rPr>
              <a:t>. </a:t>
            </a:r>
          </a:p>
        </p:txBody>
      </p:sp>
      <p:sp>
        <p:nvSpPr>
          <p:cNvPr id="126" name="TextBox 125">
            <a:extLst>
              <a:ext uri="{FF2B5EF4-FFF2-40B4-BE49-F238E27FC236}">
                <a16:creationId xmlns:a16="http://schemas.microsoft.com/office/drawing/2014/main" id="{7A5B013A-1B27-4F59-AF44-B0AE01D767E4}"/>
              </a:ext>
            </a:extLst>
          </p:cNvPr>
          <p:cNvSpPr txBox="1"/>
          <p:nvPr/>
        </p:nvSpPr>
        <p:spPr>
          <a:xfrm>
            <a:off x="11389573" y="7187364"/>
            <a:ext cx="5257458" cy="861774"/>
          </a:xfrm>
          <a:prstGeom prst="rect">
            <a:avLst/>
          </a:prstGeom>
          <a:noFill/>
          <a:ln>
            <a:noFill/>
          </a:ln>
        </p:spPr>
        <p:txBody>
          <a:bodyPr wrap="square" lIns="0" tIns="0" rIns="0" bIns="0" rtlCol="0" anchor="ctr">
            <a:spAutoFit/>
          </a:bodyPr>
          <a:lstStyle/>
          <a:p>
            <a:pPr>
              <a:buClr>
                <a:schemeClr val="accent1"/>
              </a:buClr>
            </a:pPr>
            <a:r>
              <a:rPr lang="en-US" sz="2800" dirty="0">
                <a:solidFill>
                  <a:schemeClr val="tx1">
                    <a:lumMod val="75000"/>
                    <a:lumOff val="25000"/>
                  </a:schemeClr>
                </a:solidFill>
              </a:rPr>
              <a:t>Lorem ipsum dolor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consectetur</a:t>
            </a:r>
            <a:r>
              <a:rPr lang="en-US" sz="2800" dirty="0">
                <a:solidFill>
                  <a:schemeClr val="tx1">
                    <a:lumMod val="75000"/>
                    <a:lumOff val="25000"/>
                  </a:schemeClr>
                </a:solidFill>
              </a:rPr>
              <a:t> </a:t>
            </a:r>
            <a:r>
              <a:rPr lang="en-US" sz="2800" dirty="0" err="1">
                <a:solidFill>
                  <a:schemeClr val="tx1">
                    <a:lumMod val="75000"/>
                    <a:lumOff val="25000"/>
                  </a:schemeClr>
                </a:solidFill>
              </a:rPr>
              <a:t>adipiscing</a:t>
            </a:r>
            <a:r>
              <a:rPr lang="en-US" sz="2800" dirty="0">
                <a:solidFill>
                  <a:schemeClr val="tx1">
                    <a:lumMod val="75000"/>
                    <a:lumOff val="25000"/>
                  </a:schemeClr>
                </a:solidFill>
              </a:rPr>
              <a:t> </a:t>
            </a:r>
            <a:r>
              <a:rPr lang="en-US" sz="2800" dirty="0" err="1">
                <a:solidFill>
                  <a:schemeClr val="tx1">
                    <a:lumMod val="75000"/>
                    <a:lumOff val="25000"/>
                  </a:schemeClr>
                </a:solidFill>
              </a:rPr>
              <a:t>elit</a:t>
            </a:r>
            <a:r>
              <a:rPr lang="en-US" sz="2800" dirty="0">
                <a:solidFill>
                  <a:schemeClr val="tx1">
                    <a:lumMod val="75000"/>
                    <a:lumOff val="25000"/>
                  </a:schemeClr>
                </a:solidFill>
              </a:rPr>
              <a:t>. </a:t>
            </a:r>
          </a:p>
        </p:txBody>
      </p:sp>
      <p:sp>
        <p:nvSpPr>
          <p:cNvPr id="127" name="TextBox 126">
            <a:extLst>
              <a:ext uri="{FF2B5EF4-FFF2-40B4-BE49-F238E27FC236}">
                <a16:creationId xmlns:a16="http://schemas.microsoft.com/office/drawing/2014/main" id="{7913C270-2F71-45C7-8E34-96A6FACA7C0B}"/>
              </a:ext>
            </a:extLst>
          </p:cNvPr>
          <p:cNvSpPr txBox="1"/>
          <p:nvPr/>
        </p:nvSpPr>
        <p:spPr>
          <a:xfrm>
            <a:off x="11389573" y="10158366"/>
            <a:ext cx="5257458" cy="861774"/>
          </a:xfrm>
          <a:prstGeom prst="rect">
            <a:avLst/>
          </a:prstGeom>
          <a:noFill/>
          <a:ln>
            <a:noFill/>
          </a:ln>
        </p:spPr>
        <p:txBody>
          <a:bodyPr wrap="square" lIns="0" tIns="0" rIns="0" bIns="0" rtlCol="0" anchor="ctr">
            <a:spAutoFit/>
          </a:bodyPr>
          <a:lstStyle/>
          <a:p>
            <a:pPr>
              <a:buClr>
                <a:schemeClr val="accent1"/>
              </a:buClr>
            </a:pPr>
            <a:r>
              <a:rPr lang="en-US" sz="2800" dirty="0">
                <a:solidFill>
                  <a:schemeClr val="tx1">
                    <a:lumMod val="75000"/>
                    <a:lumOff val="25000"/>
                  </a:schemeClr>
                </a:solidFill>
              </a:rPr>
              <a:t>Lorem ipsum dolor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consectetur</a:t>
            </a:r>
            <a:r>
              <a:rPr lang="en-US" sz="2800" dirty="0">
                <a:solidFill>
                  <a:schemeClr val="tx1">
                    <a:lumMod val="75000"/>
                    <a:lumOff val="25000"/>
                  </a:schemeClr>
                </a:solidFill>
              </a:rPr>
              <a:t> </a:t>
            </a:r>
            <a:r>
              <a:rPr lang="en-US" sz="2800" dirty="0" err="1">
                <a:solidFill>
                  <a:schemeClr val="tx1">
                    <a:lumMod val="75000"/>
                    <a:lumOff val="25000"/>
                  </a:schemeClr>
                </a:solidFill>
              </a:rPr>
              <a:t>adipiscing</a:t>
            </a:r>
            <a:r>
              <a:rPr lang="en-US" sz="2800" dirty="0">
                <a:solidFill>
                  <a:schemeClr val="tx1">
                    <a:lumMod val="75000"/>
                    <a:lumOff val="25000"/>
                  </a:schemeClr>
                </a:solidFill>
              </a:rPr>
              <a:t> </a:t>
            </a:r>
            <a:r>
              <a:rPr lang="en-US" sz="2800" dirty="0" err="1">
                <a:solidFill>
                  <a:schemeClr val="tx1">
                    <a:lumMod val="75000"/>
                    <a:lumOff val="25000"/>
                  </a:schemeClr>
                </a:solidFill>
              </a:rPr>
              <a:t>elit</a:t>
            </a:r>
            <a:r>
              <a:rPr lang="en-US" sz="2800" dirty="0">
                <a:solidFill>
                  <a:schemeClr val="tx1">
                    <a:lumMod val="75000"/>
                    <a:lumOff val="25000"/>
                  </a:schemeClr>
                </a:solidFill>
              </a:rPr>
              <a:t>. </a:t>
            </a:r>
          </a:p>
        </p:txBody>
      </p:sp>
      <p:sp>
        <p:nvSpPr>
          <p:cNvPr id="128" name="TextBox 127">
            <a:extLst>
              <a:ext uri="{FF2B5EF4-FFF2-40B4-BE49-F238E27FC236}">
                <a16:creationId xmlns:a16="http://schemas.microsoft.com/office/drawing/2014/main" id="{B72B0BDC-DB4F-442C-978A-FB856CBDB699}"/>
              </a:ext>
            </a:extLst>
          </p:cNvPr>
          <p:cNvSpPr txBox="1"/>
          <p:nvPr/>
        </p:nvSpPr>
        <p:spPr>
          <a:xfrm>
            <a:off x="17845829" y="3970148"/>
            <a:ext cx="5257458" cy="1354217"/>
          </a:xfrm>
          <a:prstGeom prst="rect">
            <a:avLst/>
          </a:prstGeom>
          <a:noFill/>
          <a:ln>
            <a:noFill/>
          </a:ln>
        </p:spPr>
        <p:txBody>
          <a:bodyPr wrap="square" lIns="0" tIns="0" rIns="0" bIns="0" rtlCol="0" anchor="ctr">
            <a:spAutoFit/>
          </a:bodyPr>
          <a:lstStyle/>
          <a:p>
            <a:pPr algn="ctr">
              <a:buClr>
                <a:schemeClr val="accent1"/>
              </a:buClr>
            </a:pPr>
            <a:r>
              <a:rPr lang="en-US" sz="8800" dirty="0">
                <a:solidFill>
                  <a:schemeClr val="accent4"/>
                </a:solidFill>
              </a:rPr>
              <a:t>8,650,000</a:t>
            </a:r>
          </a:p>
        </p:txBody>
      </p:sp>
      <p:sp>
        <p:nvSpPr>
          <p:cNvPr id="129" name="TextBox 128">
            <a:extLst>
              <a:ext uri="{FF2B5EF4-FFF2-40B4-BE49-F238E27FC236}">
                <a16:creationId xmlns:a16="http://schemas.microsoft.com/office/drawing/2014/main" id="{81E2E58C-D686-4C83-8C1E-3169EDB23E2B}"/>
              </a:ext>
            </a:extLst>
          </p:cNvPr>
          <p:cNvSpPr txBox="1"/>
          <p:nvPr/>
        </p:nvSpPr>
        <p:spPr>
          <a:xfrm>
            <a:off x="17845829" y="6941142"/>
            <a:ext cx="5257458" cy="1354217"/>
          </a:xfrm>
          <a:prstGeom prst="rect">
            <a:avLst/>
          </a:prstGeom>
          <a:noFill/>
          <a:ln>
            <a:noFill/>
          </a:ln>
        </p:spPr>
        <p:txBody>
          <a:bodyPr wrap="square" lIns="0" tIns="0" rIns="0" bIns="0" rtlCol="0" anchor="ctr">
            <a:spAutoFit/>
          </a:bodyPr>
          <a:lstStyle/>
          <a:p>
            <a:pPr algn="ctr">
              <a:buClr>
                <a:schemeClr val="accent1"/>
              </a:buClr>
            </a:pPr>
            <a:r>
              <a:rPr lang="en-US" sz="8800" dirty="0">
                <a:solidFill>
                  <a:schemeClr val="accent5"/>
                </a:solidFill>
              </a:rPr>
              <a:t>4,300,000</a:t>
            </a:r>
          </a:p>
        </p:txBody>
      </p:sp>
      <p:sp>
        <p:nvSpPr>
          <p:cNvPr id="130" name="TextBox 129">
            <a:extLst>
              <a:ext uri="{FF2B5EF4-FFF2-40B4-BE49-F238E27FC236}">
                <a16:creationId xmlns:a16="http://schemas.microsoft.com/office/drawing/2014/main" id="{FA7DD7F9-6C22-453C-98D1-074E1671FAE3}"/>
              </a:ext>
            </a:extLst>
          </p:cNvPr>
          <p:cNvSpPr txBox="1"/>
          <p:nvPr/>
        </p:nvSpPr>
        <p:spPr>
          <a:xfrm>
            <a:off x="17845829" y="9912145"/>
            <a:ext cx="5257458" cy="1354217"/>
          </a:xfrm>
          <a:prstGeom prst="rect">
            <a:avLst/>
          </a:prstGeom>
          <a:noFill/>
          <a:ln>
            <a:noFill/>
          </a:ln>
        </p:spPr>
        <p:txBody>
          <a:bodyPr wrap="square" lIns="0" tIns="0" rIns="0" bIns="0" rtlCol="0" anchor="ctr">
            <a:spAutoFit/>
          </a:bodyPr>
          <a:lstStyle/>
          <a:p>
            <a:pPr algn="ctr">
              <a:buClr>
                <a:schemeClr val="accent1"/>
              </a:buClr>
            </a:pPr>
            <a:r>
              <a:rPr lang="en-US" sz="8800" dirty="0">
                <a:solidFill>
                  <a:schemeClr val="tx2"/>
                </a:solidFill>
              </a:rPr>
              <a:t>2,770,000</a:t>
            </a:r>
          </a:p>
        </p:txBody>
      </p:sp>
      <p:grpSp>
        <p:nvGrpSpPr>
          <p:cNvPr id="131" name="Group 130">
            <a:extLst>
              <a:ext uri="{FF2B5EF4-FFF2-40B4-BE49-F238E27FC236}">
                <a16:creationId xmlns:a16="http://schemas.microsoft.com/office/drawing/2014/main" id="{05427EE2-7625-40AA-92D5-16FCCB686312}"/>
              </a:ext>
            </a:extLst>
          </p:cNvPr>
          <p:cNvGrpSpPr/>
          <p:nvPr/>
        </p:nvGrpSpPr>
        <p:grpSpPr>
          <a:xfrm>
            <a:off x="9456829" y="4228358"/>
            <a:ext cx="861716" cy="837785"/>
            <a:chOff x="11028363" y="2508250"/>
            <a:chExt cx="285750" cy="277813"/>
          </a:xfrm>
          <a:solidFill>
            <a:schemeClr val="accent4"/>
          </a:solidFill>
          <a:effectLst>
            <a:outerShdw blurRad="50800" dist="38100" dir="5400000" algn="t" rotWithShape="0">
              <a:prstClr val="black">
                <a:alpha val="20000"/>
              </a:prstClr>
            </a:outerShdw>
          </a:effectLst>
        </p:grpSpPr>
        <p:sp>
          <p:nvSpPr>
            <p:cNvPr id="132" name="Freeform 70">
              <a:extLst>
                <a:ext uri="{FF2B5EF4-FFF2-40B4-BE49-F238E27FC236}">
                  <a16:creationId xmlns:a16="http://schemas.microsoft.com/office/drawing/2014/main" id="{BF9E5773-293A-4A97-B37E-F126E3116EE4}"/>
                </a:ext>
              </a:extLst>
            </p:cNvPr>
            <p:cNvSpPr>
              <a:spLocks/>
            </p:cNvSpPr>
            <p:nvPr/>
          </p:nvSpPr>
          <p:spPr bwMode="auto">
            <a:xfrm>
              <a:off x="11060113" y="2508250"/>
              <a:ext cx="225425" cy="157163"/>
            </a:xfrm>
            <a:custGeom>
              <a:avLst/>
              <a:gdLst>
                <a:gd name="T0" fmla="*/ 19 w 711"/>
                <a:gd name="T1" fmla="*/ 494 h 494"/>
                <a:gd name="T2" fmla="*/ 678 w 711"/>
                <a:gd name="T3" fmla="*/ 60 h 494"/>
                <a:gd name="T4" fmla="*/ 667 w 711"/>
                <a:gd name="T5" fmla="*/ 167 h 494"/>
                <a:gd name="T6" fmla="*/ 668 w 711"/>
                <a:gd name="T7" fmla="*/ 173 h 494"/>
                <a:gd name="T8" fmla="*/ 671 w 711"/>
                <a:gd name="T9" fmla="*/ 177 h 494"/>
                <a:gd name="T10" fmla="*/ 677 w 711"/>
                <a:gd name="T11" fmla="*/ 180 h 494"/>
                <a:gd name="T12" fmla="*/ 681 w 711"/>
                <a:gd name="T13" fmla="*/ 181 h 494"/>
                <a:gd name="T14" fmla="*/ 687 w 711"/>
                <a:gd name="T15" fmla="*/ 180 h 494"/>
                <a:gd name="T16" fmla="*/ 695 w 711"/>
                <a:gd name="T17" fmla="*/ 173 h 494"/>
                <a:gd name="T18" fmla="*/ 711 w 711"/>
                <a:gd name="T19" fmla="*/ 33 h 494"/>
                <a:gd name="T20" fmla="*/ 711 w 711"/>
                <a:gd name="T21" fmla="*/ 30 h 494"/>
                <a:gd name="T22" fmla="*/ 711 w 711"/>
                <a:gd name="T23" fmla="*/ 27 h 494"/>
                <a:gd name="T24" fmla="*/ 710 w 711"/>
                <a:gd name="T25" fmla="*/ 24 h 494"/>
                <a:gd name="T26" fmla="*/ 709 w 711"/>
                <a:gd name="T27" fmla="*/ 22 h 494"/>
                <a:gd name="T28" fmla="*/ 709 w 711"/>
                <a:gd name="T29" fmla="*/ 22 h 494"/>
                <a:gd name="T30" fmla="*/ 707 w 711"/>
                <a:gd name="T31" fmla="*/ 20 h 494"/>
                <a:gd name="T32" fmla="*/ 705 w 711"/>
                <a:gd name="T33" fmla="*/ 18 h 494"/>
                <a:gd name="T34" fmla="*/ 701 w 711"/>
                <a:gd name="T35" fmla="*/ 16 h 494"/>
                <a:gd name="T36" fmla="*/ 699 w 711"/>
                <a:gd name="T37" fmla="*/ 15 h 494"/>
                <a:gd name="T38" fmla="*/ 698 w 711"/>
                <a:gd name="T39" fmla="*/ 15 h 494"/>
                <a:gd name="T40" fmla="*/ 560 w 711"/>
                <a:gd name="T41" fmla="*/ 0 h 494"/>
                <a:gd name="T42" fmla="*/ 555 w 711"/>
                <a:gd name="T43" fmla="*/ 3 h 494"/>
                <a:gd name="T44" fmla="*/ 550 w 711"/>
                <a:gd name="T45" fmla="*/ 6 h 494"/>
                <a:gd name="T46" fmla="*/ 547 w 711"/>
                <a:gd name="T47" fmla="*/ 11 h 494"/>
                <a:gd name="T48" fmla="*/ 546 w 711"/>
                <a:gd name="T49" fmla="*/ 16 h 494"/>
                <a:gd name="T50" fmla="*/ 548 w 711"/>
                <a:gd name="T51" fmla="*/ 23 h 494"/>
                <a:gd name="T52" fmla="*/ 551 w 711"/>
                <a:gd name="T53" fmla="*/ 27 h 494"/>
                <a:gd name="T54" fmla="*/ 557 w 711"/>
                <a:gd name="T55" fmla="*/ 30 h 494"/>
                <a:gd name="T56" fmla="*/ 653 w 711"/>
                <a:gd name="T57" fmla="*/ 41 h 494"/>
                <a:gd name="T58" fmla="*/ 4 w 711"/>
                <a:gd name="T59" fmla="*/ 468 h 494"/>
                <a:gd name="T60" fmla="*/ 1 w 711"/>
                <a:gd name="T61" fmla="*/ 474 h 494"/>
                <a:gd name="T62" fmla="*/ 0 w 711"/>
                <a:gd name="T63" fmla="*/ 479 h 494"/>
                <a:gd name="T64" fmla="*/ 1 w 711"/>
                <a:gd name="T65" fmla="*/ 485 h 494"/>
                <a:gd name="T66" fmla="*/ 5 w 711"/>
                <a:gd name="T67" fmla="*/ 490 h 494"/>
                <a:gd name="T68" fmla="*/ 11 w 711"/>
                <a:gd name="T6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1" h="494">
                  <a:moveTo>
                    <a:pt x="15" y="494"/>
                  </a:moveTo>
                  <a:lnTo>
                    <a:pt x="19" y="494"/>
                  </a:lnTo>
                  <a:lnTo>
                    <a:pt x="23" y="492"/>
                  </a:lnTo>
                  <a:lnTo>
                    <a:pt x="678" y="60"/>
                  </a:lnTo>
                  <a:lnTo>
                    <a:pt x="667" y="164"/>
                  </a:lnTo>
                  <a:lnTo>
                    <a:pt x="667" y="167"/>
                  </a:lnTo>
                  <a:lnTo>
                    <a:pt x="667" y="170"/>
                  </a:lnTo>
                  <a:lnTo>
                    <a:pt x="668" y="173"/>
                  </a:lnTo>
                  <a:lnTo>
                    <a:pt x="670" y="175"/>
                  </a:lnTo>
                  <a:lnTo>
                    <a:pt x="671" y="177"/>
                  </a:lnTo>
                  <a:lnTo>
                    <a:pt x="675" y="179"/>
                  </a:lnTo>
                  <a:lnTo>
                    <a:pt x="677" y="180"/>
                  </a:lnTo>
                  <a:lnTo>
                    <a:pt x="680" y="180"/>
                  </a:lnTo>
                  <a:lnTo>
                    <a:pt x="681" y="181"/>
                  </a:lnTo>
                  <a:lnTo>
                    <a:pt x="682" y="181"/>
                  </a:lnTo>
                  <a:lnTo>
                    <a:pt x="687" y="180"/>
                  </a:lnTo>
                  <a:lnTo>
                    <a:pt x="692" y="177"/>
                  </a:lnTo>
                  <a:lnTo>
                    <a:pt x="695" y="173"/>
                  </a:lnTo>
                  <a:lnTo>
                    <a:pt x="696" y="167"/>
                  </a:lnTo>
                  <a:lnTo>
                    <a:pt x="711" y="33"/>
                  </a:lnTo>
                  <a:lnTo>
                    <a:pt x="711" y="31"/>
                  </a:lnTo>
                  <a:lnTo>
                    <a:pt x="711" y="30"/>
                  </a:lnTo>
                  <a:lnTo>
                    <a:pt x="711" y="28"/>
                  </a:lnTo>
                  <a:lnTo>
                    <a:pt x="711" y="27"/>
                  </a:lnTo>
                  <a:lnTo>
                    <a:pt x="711" y="26"/>
                  </a:lnTo>
                  <a:lnTo>
                    <a:pt x="710" y="24"/>
                  </a:lnTo>
                  <a:lnTo>
                    <a:pt x="710" y="23"/>
                  </a:lnTo>
                  <a:lnTo>
                    <a:pt x="709" y="22"/>
                  </a:lnTo>
                  <a:lnTo>
                    <a:pt x="709" y="22"/>
                  </a:lnTo>
                  <a:lnTo>
                    <a:pt x="709" y="22"/>
                  </a:lnTo>
                  <a:lnTo>
                    <a:pt x="708" y="21"/>
                  </a:lnTo>
                  <a:lnTo>
                    <a:pt x="707" y="20"/>
                  </a:lnTo>
                  <a:lnTo>
                    <a:pt x="706" y="19"/>
                  </a:lnTo>
                  <a:lnTo>
                    <a:pt x="705" y="18"/>
                  </a:lnTo>
                  <a:lnTo>
                    <a:pt x="703" y="18"/>
                  </a:lnTo>
                  <a:lnTo>
                    <a:pt x="701" y="16"/>
                  </a:lnTo>
                  <a:lnTo>
                    <a:pt x="700" y="16"/>
                  </a:lnTo>
                  <a:lnTo>
                    <a:pt x="699" y="15"/>
                  </a:lnTo>
                  <a:lnTo>
                    <a:pt x="698" y="15"/>
                  </a:lnTo>
                  <a:lnTo>
                    <a:pt x="698" y="15"/>
                  </a:lnTo>
                  <a:lnTo>
                    <a:pt x="563" y="0"/>
                  </a:lnTo>
                  <a:lnTo>
                    <a:pt x="560" y="0"/>
                  </a:lnTo>
                  <a:lnTo>
                    <a:pt x="557" y="1"/>
                  </a:lnTo>
                  <a:lnTo>
                    <a:pt x="555" y="3"/>
                  </a:lnTo>
                  <a:lnTo>
                    <a:pt x="552" y="4"/>
                  </a:lnTo>
                  <a:lnTo>
                    <a:pt x="550" y="6"/>
                  </a:lnTo>
                  <a:lnTo>
                    <a:pt x="548" y="8"/>
                  </a:lnTo>
                  <a:lnTo>
                    <a:pt x="547" y="11"/>
                  </a:lnTo>
                  <a:lnTo>
                    <a:pt x="546" y="14"/>
                  </a:lnTo>
                  <a:lnTo>
                    <a:pt x="546" y="16"/>
                  </a:lnTo>
                  <a:lnTo>
                    <a:pt x="547" y="20"/>
                  </a:lnTo>
                  <a:lnTo>
                    <a:pt x="548" y="23"/>
                  </a:lnTo>
                  <a:lnTo>
                    <a:pt x="549" y="25"/>
                  </a:lnTo>
                  <a:lnTo>
                    <a:pt x="551" y="27"/>
                  </a:lnTo>
                  <a:lnTo>
                    <a:pt x="553" y="28"/>
                  </a:lnTo>
                  <a:lnTo>
                    <a:pt x="557" y="30"/>
                  </a:lnTo>
                  <a:lnTo>
                    <a:pt x="560" y="30"/>
                  </a:lnTo>
                  <a:lnTo>
                    <a:pt x="653" y="41"/>
                  </a:lnTo>
                  <a:lnTo>
                    <a:pt x="6" y="466"/>
                  </a:lnTo>
                  <a:lnTo>
                    <a:pt x="4" y="468"/>
                  </a:lnTo>
                  <a:lnTo>
                    <a:pt x="2" y="471"/>
                  </a:lnTo>
                  <a:lnTo>
                    <a:pt x="1" y="474"/>
                  </a:lnTo>
                  <a:lnTo>
                    <a:pt x="0" y="476"/>
                  </a:lnTo>
                  <a:lnTo>
                    <a:pt x="0" y="479"/>
                  </a:lnTo>
                  <a:lnTo>
                    <a:pt x="0" y="482"/>
                  </a:lnTo>
                  <a:lnTo>
                    <a:pt x="1" y="485"/>
                  </a:lnTo>
                  <a:lnTo>
                    <a:pt x="2" y="488"/>
                  </a:lnTo>
                  <a:lnTo>
                    <a:pt x="5" y="490"/>
                  </a:lnTo>
                  <a:lnTo>
                    <a:pt x="8" y="492"/>
                  </a:lnTo>
                  <a:lnTo>
                    <a:pt x="11" y="494"/>
                  </a:lnTo>
                  <a:lnTo>
                    <a:pt x="15" y="4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33" name="Freeform 71">
              <a:extLst>
                <a:ext uri="{FF2B5EF4-FFF2-40B4-BE49-F238E27FC236}">
                  <a16:creationId xmlns:a16="http://schemas.microsoft.com/office/drawing/2014/main" id="{EB0E5952-0AB1-4131-AD0C-A2FE13982F00}"/>
                </a:ext>
              </a:extLst>
            </p:cNvPr>
            <p:cNvSpPr>
              <a:spLocks noEditPoints="1"/>
            </p:cNvSpPr>
            <p:nvPr/>
          </p:nvSpPr>
          <p:spPr bwMode="auto">
            <a:xfrm>
              <a:off x="11028363" y="2593975"/>
              <a:ext cx="285750" cy="192088"/>
            </a:xfrm>
            <a:custGeom>
              <a:avLst/>
              <a:gdLst>
                <a:gd name="T0" fmla="*/ 812 w 902"/>
                <a:gd name="T1" fmla="*/ 30 h 601"/>
                <a:gd name="T2" fmla="*/ 511 w 902"/>
                <a:gd name="T3" fmla="*/ 571 h 601"/>
                <a:gd name="T4" fmla="*/ 601 w 902"/>
                <a:gd name="T5" fmla="*/ 571 h 601"/>
                <a:gd name="T6" fmla="*/ 300 w 902"/>
                <a:gd name="T7" fmla="*/ 330 h 601"/>
                <a:gd name="T8" fmla="*/ 300 w 902"/>
                <a:gd name="T9" fmla="*/ 571 h 601"/>
                <a:gd name="T10" fmla="*/ 180 w 902"/>
                <a:gd name="T11" fmla="*/ 481 h 601"/>
                <a:gd name="T12" fmla="*/ 887 w 902"/>
                <a:gd name="T13" fmla="*/ 571 h 601"/>
                <a:gd name="T14" fmla="*/ 841 w 902"/>
                <a:gd name="T15" fmla="*/ 12 h 601"/>
                <a:gd name="T16" fmla="*/ 838 w 902"/>
                <a:gd name="T17" fmla="*/ 5 h 601"/>
                <a:gd name="T18" fmla="*/ 829 w 902"/>
                <a:gd name="T19" fmla="*/ 0 h 601"/>
                <a:gd name="T20" fmla="*/ 704 w 902"/>
                <a:gd name="T21" fmla="*/ 0 h 601"/>
                <a:gd name="T22" fmla="*/ 695 w 902"/>
                <a:gd name="T23" fmla="*/ 5 h 601"/>
                <a:gd name="T24" fmla="*/ 692 w 902"/>
                <a:gd name="T25" fmla="*/ 12 h 601"/>
                <a:gd name="T26" fmla="*/ 631 w 902"/>
                <a:gd name="T27" fmla="*/ 571 h 601"/>
                <a:gd name="T28" fmla="*/ 630 w 902"/>
                <a:gd name="T29" fmla="*/ 160 h 601"/>
                <a:gd name="T30" fmla="*/ 625 w 902"/>
                <a:gd name="T31" fmla="*/ 152 h 601"/>
                <a:gd name="T32" fmla="*/ 616 w 902"/>
                <a:gd name="T33" fmla="*/ 150 h 601"/>
                <a:gd name="T34" fmla="*/ 490 w 902"/>
                <a:gd name="T35" fmla="*/ 151 h 601"/>
                <a:gd name="T36" fmla="*/ 483 w 902"/>
                <a:gd name="T37" fmla="*/ 157 h 601"/>
                <a:gd name="T38" fmla="*/ 481 w 902"/>
                <a:gd name="T39" fmla="*/ 165 h 601"/>
                <a:gd name="T40" fmla="*/ 421 w 902"/>
                <a:gd name="T41" fmla="*/ 315 h 601"/>
                <a:gd name="T42" fmla="*/ 418 w 902"/>
                <a:gd name="T43" fmla="*/ 308 h 601"/>
                <a:gd name="T44" fmla="*/ 411 w 902"/>
                <a:gd name="T45" fmla="*/ 302 h 601"/>
                <a:gd name="T46" fmla="*/ 285 w 902"/>
                <a:gd name="T47" fmla="*/ 300 h 601"/>
                <a:gd name="T48" fmla="*/ 277 w 902"/>
                <a:gd name="T49" fmla="*/ 304 h 601"/>
                <a:gd name="T50" fmla="*/ 271 w 902"/>
                <a:gd name="T51" fmla="*/ 310 h 601"/>
                <a:gd name="T52" fmla="*/ 270 w 902"/>
                <a:gd name="T53" fmla="*/ 571 h 601"/>
                <a:gd name="T54" fmla="*/ 210 w 902"/>
                <a:gd name="T55" fmla="*/ 463 h 601"/>
                <a:gd name="T56" fmla="*/ 206 w 902"/>
                <a:gd name="T57" fmla="*/ 456 h 601"/>
                <a:gd name="T58" fmla="*/ 198 w 902"/>
                <a:gd name="T59" fmla="*/ 451 h 601"/>
                <a:gd name="T60" fmla="*/ 72 w 902"/>
                <a:gd name="T61" fmla="*/ 451 h 601"/>
                <a:gd name="T62" fmla="*/ 64 w 902"/>
                <a:gd name="T63" fmla="*/ 456 h 601"/>
                <a:gd name="T64" fmla="*/ 60 w 902"/>
                <a:gd name="T65" fmla="*/ 463 h 601"/>
                <a:gd name="T66" fmla="*/ 15 w 902"/>
                <a:gd name="T67" fmla="*/ 571 h 601"/>
                <a:gd name="T68" fmla="*/ 6 w 902"/>
                <a:gd name="T69" fmla="*/ 573 h 601"/>
                <a:gd name="T70" fmla="*/ 1 w 902"/>
                <a:gd name="T71" fmla="*/ 581 h 601"/>
                <a:gd name="T72" fmla="*/ 0 w 902"/>
                <a:gd name="T73" fmla="*/ 590 h 601"/>
                <a:gd name="T74" fmla="*/ 4 w 902"/>
                <a:gd name="T75" fmla="*/ 597 h 601"/>
                <a:gd name="T76" fmla="*/ 12 w 902"/>
                <a:gd name="T77" fmla="*/ 601 h 601"/>
                <a:gd name="T78" fmla="*/ 195 w 902"/>
                <a:gd name="T79" fmla="*/ 601 h 601"/>
                <a:gd name="T80" fmla="*/ 496 w 902"/>
                <a:gd name="T81" fmla="*/ 601 h 601"/>
                <a:gd name="T82" fmla="*/ 827 w 902"/>
                <a:gd name="T83" fmla="*/ 601 h 601"/>
                <a:gd name="T84" fmla="*/ 892 w 902"/>
                <a:gd name="T85" fmla="*/ 600 h 601"/>
                <a:gd name="T86" fmla="*/ 899 w 902"/>
                <a:gd name="T87" fmla="*/ 595 h 601"/>
                <a:gd name="T88" fmla="*/ 902 w 902"/>
                <a:gd name="T89" fmla="*/ 586 h 601"/>
                <a:gd name="T90" fmla="*/ 899 w 902"/>
                <a:gd name="T91" fmla="*/ 578 h 601"/>
                <a:gd name="T92" fmla="*/ 892 w 902"/>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2" h="601">
                  <a:moveTo>
                    <a:pt x="721" y="571"/>
                  </a:moveTo>
                  <a:lnTo>
                    <a:pt x="721" y="30"/>
                  </a:lnTo>
                  <a:lnTo>
                    <a:pt x="812" y="30"/>
                  </a:lnTo>
                  <a:lnTo>
                    <a:pt x="812" y="571"/>
                  </a:lnTo>
                  <a:lnTo>
                    <a:pt x="721" y="571"/>
                  </a:lnTo>
                  <a:close/>
                  <a:moveTo>
                    <a:pt x="511" y="571"/>
                  </a:moveTo>
                  <a:lnTo>
                    <a:pt x="511" y="180"/>
                  </a:lnTo>
                  <a:lnTo>
                    <a:pt x="601" y="180"/>
                  </a:lnTo>
                  <a:lnTo>
                    <a:pt x="601" y="571"/>
                  </a:lnTo>
                  <a:lnTo>
                    <a:pt x="511" y="571"/>
                  </a:lnTo>
                  <a:close/>
                  <a:moveTo>
                    <a:pt x="300" y="571"/>
                  </a:moveTo>
                  <a:lnTo>
                    <a:pt x="300" y="330"/>
                  </a:lnTo>
                  <a:lnTo>
                    <a:pt x="391" y="330"/>
                  </a:lnTo>
                  <a:lnTo>
                    <a:pt x="391" y="571"/>
                  </a:lnTo>
                  <a:lnTo>
                    <a:pt x="300" y="571"/>
                  </a:lnTo>
                  <a:close/>
                  <a:moveTo>
                    <a:pt x="90" y="571"/>
                  </a:moveTo>
                  <a:lnTo>
                    <a:pt x="90" y="481"/>
                  </a:lnTo>
                  <a:lnTo>
                    <a:pt x="180" y="481"/>
                  </a:lnTo>
                  <a:lnTo>
                    <a:pt x="180" y="571"/>
                  </a:lnTo>
                  <a:lnTo>
                    <a:pt x="90" y="571"/>
                  </a:lnTo>
                  <a:close/>
                  <a:moveTo>
                    <a:pt x="887" y="571"/>
                  </a:moveTo>
                  <a:lnTo>
                    <a:pt x="842" y="571"/>
                  </a:lnTo>
                  <a:lnTo>
                    <a:pt x="842" y="15"/>
                  </a:lnTo>
                  <a:lnTo>
                    <a:pt x="841" y="12"/>
                  </a:lnTo>
                  <a:lnTo>
                    <a:pt x="841" y="9"/>
                  </a:lnTo>
                  <a:lnTo>
                    <a:pt x="839" y="7"/>
                  </a:lnTo>
                  <a:lnTo>
                    <a:pt x="838" y="5"/>
                  </a:lnTo>
                  <a:lnTo>
                    <a:pt x="835" y="3"/>
                  </a:lnTo>
                  <a:lnTo>
                    <a:pt x="832" y="1"/>
                  </a:lnTo>
                  <a:lnTo>
                    <a:pt x="829" y="0"/>
                  </a:lnTo>
                  <a:lnTo>
                    <a:pt x="827" y="0"/>
                  </a:lnTo>
                  <a:lnTo>
                    <a:pt x="706" y="0"/>
                  </a:lnTo>
                  <a:lnTo>
                    <a:pt x="704" y="0"/>
                  </a:lnTo>
                  <a:lnTo>
                    <a:pt x="701" y="1"/>
                  </a:lnTo>
                  <a:lnTo>
                    <a:pt x="698" y="3"/>
                  </a:lnTo>
                  <a:lnTo>
                    <a:pt x="695" y="5"/>
                  </a:lnTo>
                  <a:lnTo>
                    <a:pt x="694" y="7"/>
                  </a:lnTo>
                  <a:lnTo>
                    <a:pt x="692" y="9"/>
                  </a:lnTo>
                  <a:lnTo>
                    <a:pt x="692" y="12"/>
                  </a:lnTo>
                  <a:lnTo>
                    <a:pt x="691" y="15"/>
                  </a:lnTo>
                  <a:lnTo>
                    <a:pt x="691" y="571"/>
                  </a:lnTo>
                  <a:lnTo>
                    <a:pt x="631" y="571"/>
                  </a:lnTo>
                  <a:lnTo>
                    <a:pt x="631" y="165"/>
                  </a:lnTo>
                  <a:lnTo>
                    <a:pt x="631" y="162"/>
                  </a:lnTo>
                  <a:lnTo>
                    <a:pt x="630" y="160"/>
                  </a:lnTo>
                  <a:lnTo>
                    <a:pt x="629" y="157"/>
                  </a:lnTo>
                  <a:lnTo>
                    <a:pt x="627" y="155"/>
                  </a:lnTo>
                  <a:lnTo>
                    <a:pt x="625" y="152"/>
                  </a:lnTo>
                  <a:lnTo>
                    <a:pt x="622" y="151"/>
                  </a:lnTo>
                  <a:lnTo>
                    <a:pt x="619" y="150"/>
                  </a:lnTo>
                  <a:lnTo>
                    <a:pt x="616" y="150"/>
                  </a:lnTo>
                  <a:lnTo>
                    <a:pt x="496" y="150"/>
                  </a:lnTo>
                  <a:lnTo>
                    <a:pt x="493" y="150"/>
                  </a:lnTo>
                  <a:lnTo>
                    <a:pt x="490" y="151"/>
                  </a:lnTo>
                  <a:lnTo>
                    <a:pt x="487" y="154"/>
                  </a:lnTo>
                  <a:lnTo>
                    <a:pt x="485" y="155"/>
                  </a:lnTo>
                  <a:lnTo>
                    <a:pt x="483" y="157"/>
                  </a:lnTo>
                  <a:lnTo>
                    <a:pt x="482" y="160"/>
                  </a:lnTo>
                  <a:lnTo>
                    <a:pt x="481" y="162"/>
                  </a:lnTo>
                  <a:lnTo>
                    <a:pt x="481" y="165"/>
                  </a:lnTo>
                  <a:lnTo>
                    <a:pt x="481" y="571"/>
                  </a:lnTo>
                  <a:lnTo>
                    <a:pt x="421" y="571"/>
                  </a:lnTo>
                  <a:lnTo>
                    <a:pt x="421" y="315"/>
                  </a:lnTo>
                  <a:lnTo>
                    <a:pt x="420" y="313"/>
                  </a:lnTo>
                  <a:lnTo>
                    <a:pt x="420" y="310"/>
                  </a:lnTo>
                  <a:lnTo>
                    <a:pt x="418" y="308"/>
                  </a:lnTo>
                  <a:lnTo>
                    <a:pt x="417" y="306"/>
                  </a:lnTo>
                  <a:lnTo>
                    <a:pt x="414" y="304"/>
                  </a:lnTo>
                  <a:lnTo>
                    <a:pt x="411" y="302"/>
                  </a:lnTo>
                  <a:lnTo>
                    <a:pt x="408" y="301"/>
                  </a:lnTo>
                  <a:lnTo>
                    <a:pt x="406" y="300"/>
                  </a:lnTo>
                  <a:lnTo>
                    <a:pt x="285" y="300"/>
                  </a:lnTo>
                  <a:lnTo>
                    <a:pt x="283" y="301"/>
                  </a:lnTo>
                  <a:lnTo>
                    <a:pt x="280" y="302"/>
                  </a:lnTo>
                  <a:lnTo>
                    <a:pt x="277" y="304"/>
                  </a:lnTo>
                  <a:lnTo>
                    <a:pt x="274" y="306"/>
                  </a:lnTo>
                  <a:lnTo>
                    <a:pt x="273" y="308"/>
                  </a:lnTo>
                  <a:lnTo>
                    <a:pt x="271" y="310"/>
                  </a:lnTo>
                  <a:lnTo>
                    <a:pt x="271" y="313"/>
                  </a:lnTo>
                  <a:lnTo>
                    <a:pt x="270" y="316"/>
                  </a:lnTo>
                  <a:lnTo>
                    <a:pt x="270" y="571"/>
                  </a:lnTo>
                  <a:lnTo>
                    <a:pt x="210" y="571"/>
                  </a:lnTo>
                  <a:lnTo>
                    <a:pt x="210" y="466"/>
                  </a:lnTo>
                  <a:lnTo>
                    <a:pt x="210" y="463"/>
                  </a:lnTo>
                  <a:lnTo>
                    <a:pt x="209" y="460"/>
                  </a:lnTo>
                  <a:lnTo>
                    <a:pt x="208" y="458"/>
                  </a:lnTo>
                  <a:lnTo>
                    <a:pt x="206" y="456"/>
                  </a:lnTo>
                  <a:lnTo>
                    <a:pt x="204" y="454"/>
                  </a:lnTo>
                  <a:lnTo>
                    <a:pt x="201" y="452"/>
                  </a:lnTo>
                  <a:lnTo>
                    <a:pt x="198" y="451"/>
                  </a:lnTo>
                  <a:lnTo>
                    <a:pt x="195" y="451"/>
                  </a:lnTo>
                  <a:lnTo>
                    <a:pt x="75" y="451"/>
                  </a:lnTo>
                  <a:lnTo>
                    <a:pt x="72" y="451"/>
                  </a:lnTo>
                  <a:lnTo>
                    <a:pt x="69" y="452"/>
                  </a:lnTo>
                  <a:lnTo>
                    <a:pt x="66" y="454"/>
                  </a:lnTo>
                  <a:lnTo>
                    <a:pt x="64" y="456"/>
                  </a:lnTo>
                  <a:lnTo>
                    <a:pt x="62" y="458"/>
                  </a:lnTo>
                  <a:lnTo>
                    <a:pt x="61" y="460"/>
                  </a:lnTo>
                  <a:lnTo>
                    <a:pt x="60" y="463"/>
                  </a:lnTo>
                  <a:lnTo>
                    <a:pt x="60" y="466"/>
                  </a:lnTo>
                  <a:lnTo>
                    <a:pt x="60" y="571"/>
                  </a:lnTo>
                  <a:lnTo>
                    <a:pt x="15" y="571"/>
                  </a:lnTo>
                  <a:lnTo>
                    <a:pt x="12" y="571"/>
                  </a:lnTo>
                  <a:lnTo>
                    <a:pt x="9" y="572"/>
                  </a:lnTo>
                  <a:lnTo>
                    <a:pt x="6" y="573"/>
                  </a:lnTo>
                  <a:lnTo>
                    <a:pt x="4" y="576"/>
                  </a:lnTo>
                  <a:lnTo>
                    <a:pt x="2" y="578"/>
                  </a:lnTo>
                  <a:lnTo>
                    <a:pt x="1" y="581"/>
                  </a:lnTo>
                  <a:lnTo>
                    <a:pt x="0" y="583"/>
                  </a:lnTo>
                  <a:lnTo>
                    <a:pt x="0" y="586"/>
                  </a:lnTo>
                  <a:lnTo>
                    <a:pt x="0" y="590"/>
                  </a:lnTo>
                  <a:lnTo>
                    <a:pt x="1" y="593"/>
                  </a:lnTo>
                  <a:lnTo>
                    <a:pt x="2" y="595"/>
                  </a:lnTo>
                  <a:lnTo>
                    <a:pt x="4" y="597"/>
                  </a:lnTo>
                  <a:lnTo>
                    <a:pt x="6" y="599"/>
                  </a:lnTo>
                  <a:lnTo>
                    <a:pt x="9" y="600"/>
                  </a:lnTo>
                  <a:lnTo>
                    <a:pt x="12" y="601"/>
                  </a:lnTo>
                  <a:lnTo>
                    <a:pt x="15" y="601"/>
                  </a:lnTo>
                  <a:lnTo>
                    <a:pt x="75" y="601"/>
                  </a:lnTo>
                  <a:lnTo>
                    <a:pt x="195" y="601"/>
                  </a:lnTo>
                  <a:lnTo>
                    <a:pt x="285" y="601"/>
                  </a:lnTo>
                  <a:lnTo>
                    <a:pt x="406" y="601"/>
                  </a:lnTo>
                  <a:lnTo>
                    <a:pt x="496" y="601"/>
                  </a:lnTo>
                  <a:lnTo>
                    <a:pt x="616" y="601"/>
                  </a:lnTo>
                  <a:lnTo>
                    <a:pt x="706" y="601"/>
                  </a:lnTo>
                  <a:lnTo>
                    <a:pt x="827" y="601"/>
                  </a:lnTo>
                  <a:lnTo>
                    <a:pt x="887" y="601"/>
                  </a:lnTo>
                  <a:lnTo>
                    <a:pt x="890" y="601"/>
                  </a:lnTo>
                  <a:lnTo>
                    <a:pt x="892" y="600"/>
                  </a:lnTo>
                  <a:lnTo>
                    <a:pt x="896" y="599"/>
                  </a:lnTo>
                  <a:lnTo>
                    <a:pt x="898" y="597"/>
                  </a:lnTo>
                  <a:lnTo>
                    <a:pt x="899" y="595"/>
                  </a:lnTo>
                  <a:lnTo>
                    <a:pt x="901" y="593"/>
                  </a:lnTo>
                  <a:lnTo>
                    <a:pt x="901" y="590"/>
                  </a:lnTo>
                  <a:lnTo>
                    <a:pt x="902" y="586"/>
                  </a:lnTo>
                  <a:lnTo>
                    <a:pt x="902" y="583"/>
                  </a:lnTo>
                  <a:lnTo>
                    <a:pt x="901" y="581"/>
                  </a:lnTo>
                  <a:lnTo>
                    <a:pt x="899" y="578"/>
                  </a:lnTo>
                  <a:lnTo>
                    <a:pt x="898" y="576"/>
                  </a:lnTo>
                  <a:lnTo>
                    <a:pt x="896" y="573"/>
                  </a:lnTo>
                  <a:lnTo>
                    <a:pt x="892" y="572"/>
                  </a:lnTo>
                  <a:lnTo>
                    <a:pt x="890" y="571"/>
                  </a:lnTo>
                  <a:lnTo>
                    <a:pt x="887"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134" name="Group 133">
            <a:extLst>
              <a:ext uri="{FF2B5EF4-FFF2-40B4-BE49-F238E27FC236}">
                <a16:creationId xmlns:a16="http://schemas.microsoft.com/office/drawing/2014/main" id="{9EA408EC-B78D-424F-B737-49B21726F377}"/>
              </a:ext>
            </a:extLst>
          </p:cNvPr>
          <p:cNvGrpSpPr/>
          <p:nvPr/>
        </p:nvGrpSpPr>
        <p:grpSpPr>
          <a:xfrm>
            <a:off x="9456829" y="7199358"/>
            <a:ext cx="861716" cy="837785"/>
            <a:chOff x="11601450" y="2508250"/>
            <a:chExt cx="285750" cy="277813"/>
          </a:xfrm>
          <a:solidFill>
            <a:schemeClr val="accent5"/>
          </a:solidFill>
          <a:effectLst>
            <a:outerShdw blurRad="50800" dist="38100" dir="5400000" algn="t" rotWithShape="0">
              <a:prstClr val="black">
                <a:alpha val="20000"/>
              </a:prstClr>
            </a:outerShdw>
          </a:effectLst>
        </p:grpSpPr>
        <p:sp>
          <p:nvSpPr>
            <p:cNvPr id="135" name="Freeform 73">
              <a:extLst>
                <a:ext uri="{FF2B5EF4-FFF2-40B4-BE49-F238E27FC236}">
                  <a16:creationId xmlns:a16="http://schemas.microsoft.com/office/drawing/2014/main" id="{A8A64C92-1903-423B-A5DC-E9B94B26B7D7}"/>
                </a:ext>
              </a:extLst>
            </p:cNvPr>
            <p:cNvSpPr>
              <a:spLocks noEditPoints="1"/>
            </p:cNvSpPr>
            <p:nvPr/>
          </p:nvSpPr>
          <p:spPr bwMode="auto">
            <a:xfrm>
              <a:off x="11601450" y="2593975"/>
              <a:ext cx="285750" cy="192088"/>
            </a:xfrm>
            <a:custGeom>
              <a:avLst/>
              <a:gdLst>
                <a:gd name="T0" fmla="*/ 812 w 902"/>
                <a:gd name="T1" fmla="*/ 481 h 601"/>
                <a:gd name="T2" fmla="*/ 511 w 902"/>
                <a:gd name="T3" fmla="*/ 571 h 601"/>
                <a:gd name="T4" fmla="*/ 601 w 902"/>
                <a:gd name="T5" fmla="*/ 571 h 601"/>
                <a:gd name="T6" fmla="*/ 301 w 902"/>
                <a:gd name="T7" fmla="*/ 180 h 601"/>
                <a:gd name="T8" fmla="*/ 301 w 902"/>
                <a:gd name="T9" fmla="*/ 571 h 601"/>
                <a:gd name="T10" fmla="*/ 180 w 902"/>
                <a:gd name="T11" fmla="*/ 30 h 601"/>
                <a:gd name="T12" fmla="*/ 887 w 902"/>
                <a:gd name="T13" fmla="*/ 571 h 601"/>
                <a:gd name="T14" fmla="*/ 842 w 902"/>
                <a:gd name="T15" fmla="*/ 463 h 601"/>
                <a:gd name="T16" fmla="*/ 838 w 902"/>
                <a:gd name="T17" fmla="*/ 456 h 601"/>
                <a:gd name="T18" fmla="*/ 830 w 902"/>
                <a:gd name="T19" fmla="*/ 451 h 601"/>
                <a:gd name="T20" fmla="*/ 704 w 902"/>
                <a:gd name="T21" fmla="*/ 451 h 601"/>
                <a:gd name="T22" fmla="*/ 696 w 902"/>
                <a:gd name="T23" fmla="*/ 456 h 601"/>
                <a:gd name="T24" fmla="*/ 692 w 902"/>
                <a:gd name="T25" fmla="*/ 463 h 601"/>
                <a:gd name="T26" fmla="*/ 631 w 902"/>
                <a:gd name="T27" fmla="*/ 571 h 601"/>
                <a:gd name="T28" fmla="*/ 630 w 902"/>
                <a:gd name="T29" fmla="*/ 310 h 601"/>
                <a:gd name="T30" fmla="*/ 625 w 902"/>
                <a:gd name="T31" fmla="*/ 304 h 601"/>
                <a:gd name="T32" fmla="*/ 616 w 902"/>
                <a:gd name="T33" fmla="*/ 300 h 601"/>
                <a:gd name="T34" fmla="*/ 491 w 902"/>
                <a:gd name="T35" fmla="*/ 302 h 601"/>
                <a:gd name="T36" fmla="*/ 483 w 902"/>
                <a:gd name="T37" fmla="*/ 308 h 601"/>
                <a:gd name="T38" fmla="*/ 481 w 902"/>
                <a:gd name="T39" fmla="*/ 316 h 601"/>
                <a:gd name="T40" fmla="*/ 421 w 902"/>
                <a:gd name="T41" fmla="*/ 165 h 601"/>
                <a:gd name="T42" fmla="*/ 418 w 902"/>
                <a:gd name="T43" fmla="*/ 157 h 601"/>
                <a:gd name="T44" fmla="*/ 411 w 902"/>
                <a:gd name="T45" fmla="*/ 151 h 601"/>
                <a:gd name="T46" fmla="*/ 286 w 902"/>
                <a:gd name="T47" fmla="*/ 150 h 601"/>
                <a:gd name="T48" fmla="*/ 277 w 902"/>
                <a:gd name="T49" fmla="*/ 154 h 601"/>
                <a:gd name="T50" fmla="*/ 272 w 902"/>
                <a:gd name="T51" fmla="*/ 160 h 601"/>
                <a:gd name="T52" fmla="*/ 271 w 902"/>
                <a:gd name="T53" fmla="*/ 571 h 601"/>
                <a:gd name="T54" fmla="*/ 210 w 902"/>
                <a:gd name="T55" fmla="*/ 12 h 601"/>
                <a:gd name="T56" fmla="*/ 206 w 902"/>
                <a:gd name="T57" fmla="*/ 5 h 601"/>
                <a:gd name="T58" fmla="*/ 198 w 902"/>
                <a:gd name="T59" fmla="*/ 0 h 601"/>
                <a:gd name="T60" fmla="*/ 72 w 902"/>
                <a:gd name="T61" fmla="*/ 0 h 601"/>
                <a:gd name="T62" fmla="*/ 64 w 902"/>
                <a:gd name="T63" fmla="*/ 5 h 601"/>
                <a:gd name="T64" fmla="*/ 60 w 902"/>
                <a:gd name="T65" fmla="*/ 12 h 601"/>
                <a:gd name="T66" fmla="*/ 15 w 902"/>
                <a:gd name="T67" fmla="*/ 571 h 601"/>
                <a:gd name="T68" fmla="*/ 6 w 902"/>
                <a:gd name="T69" fmla="*/ 573 h 601"/>
                <a:gd name="T70" fmla="*/ 1 w 902"/>
                <a:gd name="T71" fmla="*/ 581 h 601"/>
                <a:gd name="T72" fmla="*/ 0 w 902"/>
                <a:gd name="T73" fmla="*/ 590 h 601"/>
                <a:gd name="T74" fmla="*/ 4 w 902"/>
                <a:gd name="T75" fmla="*/ 597 h 601"/>
                <a:gd name="T76" fmla="*/ 12 w 902"/>
                <a:gd name="T77" fmla="*/ 601 h 601"/>
                <a:gd name="T78" fmla="*/ 195 w 902"/>
                <a:gd name="T79" fmla="*/ 601 h 601"/>
                <a:gd name="T80" fmla="*/ 496 w 902"/>
                <a:gd name="T81" fmla="*/ 601 h 601"/>
                <a:gd name="T82" fmla="*/ 827 w 902"/>
                <a:gd name="T83" fmla="*/ 601 h 601"/>
                <a:gd name="T84" fmla="*/ 892 w 902"/>
                <a:gd name="T85" fmla="*/ 600 h 601"/>
                <a:gd name="T86" fmla="*/ 900 w 902"/>
                <a:gd name="T87" fmla="*/ 595 h 601"/>
                <a:gd name="T88" fmla="*/ 902 w 902"/>
                <a:gd name="T89" fmla="*/ 586 h 601"/>
                <a:gd name="T90" fmla="*/ 900 w 902"/>
                <a:gd name="T91" fmla="*/ 578 h 601"/>
                <a:gd name="T92" fmla="*/ 892 w 902"/>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2" h="601">
                  <a:moveTo>
                    <a:pt x="722" y="571"/>
                  </a:moveTo>
                  <a:lnTo>
                    <a:pt x="722" y="481"/>
                  </a:lnTo>
                  <a:lnTo>
                    <a:pt x="812" y="481"/>
                  </a:lnTo>
                  <a:lnTo>
                    <a:pt x="812" y="571"/>
                  </a:lnTo>
                  <a:lnTo>
                    <a:pt x="722" y="571"/>
                  </a:lnTo>
                  <a:close/>
                  <a:moveTo>
                    <a:pt x="511" y="571"/>
                  </a:moveTo>
                  <a:lnTo>
                    <a:pt x="511" y="330"/>
                  </a:lnTo>
                  <a:lnTo>
                    <a:pt x="601" y="330"/>
                  </a:lnTo>
                  <a:lnTo>
                    <a:pt x="601" y="571"/>
                  </a:lnTo>
                  <a:lnTo>
                    <a:pt x="511" y="571"/>
                  </a:lnTo>
                  <a:close/>
                  <a:moveTo>
                    <a:pt x="301" y="571"/>
                  </a:moveTo>
                  <a:lnTo>
                    <a:pt x="301" y="180"/>
                  </a:lnTo>
                  <a:lnTo>
                    <a:pt x="391" y="180"/>
                  </a:lnTo>
                  <a:lnTo>
                    <a:pt x="391" y="571"/>
                  </a:lnTo>
                  <a:lnTo>
                    <a:pt x="301" y="571"/>
                  </a:lnTo>
                  <a:close/>
                  <a:moveTo>
                    <a:pt x="90" y="571"/>
                  </a:moveTo>
                  <a:lnTo>
                    <a:pt x="90" y="30"/>
                  </a:lnTo>
                  <a:lnTo>
                    <a:pt x="180" y="30"/>
                  </a:lnTo>
                  <a:lnTo>
                    <a:pt x="180" y="571"/>
                  </a:lnTo>
                  <a:lnTo>
                    <a:pt x="90" y="571"/>
                  </a:lnTo>
                  <a:close/>
                  <a:moveTo>
                    <a:pt x="887" y="571"/>
                  </a:moveTo>
                  <a:lnTo>
                    <a:pt x="842" y="571"/>
                  </a:lnTo>
                  <a:lnTo>
                    <a:pt x="842" y="466"/>
                  </a:lnTo>
                  <a:lnTo>
                    <a:pt x="842" y="463"/>
                  </a:lnTo>
                  <a:lnTo>
                    <a:pt x="841" y="460"/>
                  </a:lnTo>
                  <a:lnTo>
                    <a:pt x="839" y="458"/>
                  </a:lnTo>
                  <a:lnTo>
                    <a:pt x="838" y="456"/>
                  </a:lnTo>
                  <a:lnTo>
                    <a:pt x="836" y="454"/>
                  </a:lnTo>
                  <a:lnTo>
                    <a:pt x="832" y="452"/>
                  </a:lnTo>
                  <a:lnTo>
                    <a:pt x="830" y="451"/>
                  </a:lnTo>
                  <a:lnTo>
                    <a:pt x="827" y="451"/>
                  </a:lnTo>
                  <a:lnTo>
                    <a:pt x="707" y="451"/>
                  </a:lnTo>
                  <a:lnTo>
                    <a:pt x="704" y="451"/>
                  </a:lnTo>
                  <a:lnTo>
                    <a:pt x="701" y="452"/>
                  </a:lnTo>
                  <a:lnTo>
                    <a:pt x="698" y="454"/>
                  </a:lnTo>
                  <a:lnTo>
                    <a:pt x="696" y="456"/>
                  </a:lnTo>
                  <a:lnTo>
                    <a:pt x="694" y="458"/>
                  </a:lnTo>
                  <a:lnTo>
                    <a:pt x="693" y="460"/>
                  </a:lnTo>
                  <a:lnTo>
                    <a:pt x="692" y="463"/>
                  </a:lnTo>
                  <a:lnTo>
                    <a:pt x="692" y="466"/>
                  </a:lnTo>
                  <a:lnTo>
                    <a:pt x="692" y="571"/>
                  </a:lnTo>
                  <a:lnTo>
                    <a:pt x="631" y="571"/>
                  </a:lnTo>
                  <a:lnTo>
                    <a:pt x="631" y="315"/>
                  </a:lnTo>
                  <a:lnTo>
                    <a:pt x="631" y="313"/>
                  </a:lnTo>
                  <a:lnTo>
                    <a:pt x="630" y="310"/>
                  </a:lnTo>
                  <a:lnTo>
                    <a:pt x="629" y="308"/>
                  </a:lnTo>
                  <a:lnTo>
                    <a:pt x="627" y="306"/>
                  </a:lnTo>
                  <a:lnTo>
                    <a:pt x="625" y="304"/>
                  </a:lnTo>
                  <a:lnTo>
                    <a:pt x="622" y="302"/>
                  </a:lnTo>
                  <a:lnTo>
                    <a:pt x="619" y="301"/>
                  </a:lnTo>
                  <a:lnTo>
                    <a:pt x="616" y="300"/>
                  </a:lnTo>
                  <a:lnTo>
                    <a:pt x="496" y="300"/>
                  </a:lnTo>
                  <a:lnTo>
                    <a:pt x="493" y="301"/>
                  </a:lnTo>
                  <a:lnTo>
                    <a:pt x="491" y="302"/>
                  </a:lnTo>
                  <a:lnTo>
                    <a:pt x="487" y="304"/>
                  </a:lnTo>
                  <a:lnTo>
                    <a:pt x="485" y="306"/>
                  </a:lnTo>
                  <a:lnTo>
                    <a:pt x="483" y="308"/>
                  </a:lnTo>
                  <a:lnTo>
                    <a:pt x="482" y="310"/>
                  </a:lnTo>
                  <a:lnTo>
                    <a:pt x="481" y="313"/>
                  </a:lnTo>
                  <a:lnTo>
                    <a:pt x="481" y="316"/>
                  </a:lnTo>
                  <a:lnTo>
                    <a:pt x="481" y="571"/>
                  </a:lnTo>
                  <a:lnTo>
                    <a:pt x="421" y="571"/>
                  </a:lnTo>
                  <a:lnTo>
                    <a:pt x="421" y="165"/>
                  </a:lnTo>
                  <a:lnTo>
                    <a:pt x="421" y="162"/>
                  </a:lnTo>
                  <a:lnTo>
                    <a:pt x="420" y="160"/>
                  </a:lnTo>
                  <a:lnTo>
                    <a:pt x="418" y="157"/>
                  </a:lnTo>
                  <a:lnTo>
                    <a:pt x="417" y="155"/>
                  </a:lnTo>
                  <a:lnTo>
                    <a:pt x="415" y="152"/>
                  </a:lnTo>
                  <a:lnTo>
                    <a:pt x="411" y="151"/>
                  </a:lnTo>
                  <a:lnTo>
                    <a:pt x="409" y="150"/>
                  </a:lnTo>
                  <a:lnTo>
                    <a:pt x="406" y="150"/>
                  </a:lnTo>
                  <a:lnTo>
                    <a:pt x="286" y="150"/>
                  </a:lnTo>
                  <a:lnTo>
                    <a:pt x="283" y="150"/>
                  </a:lnTo>
                  <a:lnTo>
                    <a:pt x="280" y="151"/>
                  </a:lnTo>
                  <a:lnTo>
                    <a:pt x="277" y="154"/>
                  </a:lnTo>
                  <a:lnTo>
                    <a:pt x="275" y="155"/>
                  </a:lnTo>
                  <a:lnTo>
                    <a:pt x="273" y="157"/>
                  </a:lnTo>
                  <a:lnTo>
                    <a:pt x="272" y="160"/>
                  </a:lnTo>
                  <a:lnTo>
                    <a:pt x="271" y="162"/>
                  </a:lnTo>
                  <a:lnTo>
                    <a:pt x="271" y="165"/>
                  </a:lnTo>
                  <a:lnTo>
                    <a:pt x="271" y="571"/>
                  </a:lnTo>
                  <a:lnTo>
                    <a:pt x="210" y="571"/>
                  </a:lnTo>
                  <a:lnTo>
                    <a:pt x="210" y="15"/>
                  </a:lnTo>
                  <a:lnTo>
                    <a:pt x="210" y="12"/>
                  </a:lnTo>
                  <a:lnTo>
                    <a:pt x="209" y="9"/>
                  </a:lnTo>
                  <a:lnTo>
                    <a:pt x="208" y="7"/>
                  </a:lnTo>
                  <a:lnTo>
                    <a:pt x="206" y="5"/>
                  </a:lnTo>
                  <a:lnTo>
                    <a:pt x="204" y="3"/>
                  </a:lnTo>
                  <a:lnTo>
                    <a:pt x="201" y="1"/>
                  </a:lnTo>
                  <a:lnTo>
                    <a:pt x="198" y="0"/>
                  </a:lnTo>
                  <a:lnTo>
                    <a:pt x="195" y="0"/>
                  </a:lnTo>
                  <a:lnTo>
                    <a:pt x="75" y="0"/>
                  </a:lnTo>
                  <a:lnTo>
                    <a:pt x="72" y="0"/>
                  </a:lnTo>
                  <a:lnTo>
                    <a:pt x="70" y="1"/>
                  </a:lnTo>
                  <a:lnTo>
                    <a:pt x="66" y="3"/>
                  </a:lnTo>
                  <a:lnTo>
                    <a:pt x="64" y="5"/>
                  </a:lnTo>
                  <a:lnTo>
                    <a:pt x="62" y="7"/>
                  </a:lnTo>
                  <a:lnTo>
                    <a:pt x="61" y="9"/>
                  </a:lnTo>
                  <a:lnTo>
                    <a:pt x="60" y="12"/>
                  </a:lnTo>
                  <a:lnTo>
                    <a:pt x="60" y="15"/>
                  </a:lnTo>
                  <a:lnTo>
                    <a:pt x="60" y="571"/>
                  </a:lnTo>
                  <a:lnTo>
                    <a:pt x="15" y="571"/>
                  </a:lnTo>
                  <a:lnTo>
                    <a:pt x="12" y="571"/>
                  </a:lnTo>
                  <a:lnTo>
                    <a:pt x="9" y="572"/>
                  </a:lnTo>
                  <a:lnTo>
                    <a:pt x="6" y="573"/>
                  </a:lnTo>
                  <a:lnTo>
                    <a:pt x="4" y="576"/>
                  </a:lnTo>
                  <a:lnTo>
                    <a:pt x="2" y="578"/>
                  </a:lnTo>
                  <a:lnTo>
                    <a:pt x="1" y="581"/>
                  </a:lnTo>
                  <a:lnTo>
                    <a:pt x="0" y="583"/>
                  </a:lnTo>
                  <a:lnTo>
                    <a:pt x="0" y="586"/>
                  </a:lnTo>
                  <a:lnTo>
                    <a:pt x="0" y="590"/>
                  </a:lnTo>
                  <a:lnTo>
                    <a:pt x="1" y="593"/>
                  </a:lnTo>
                  <a:lnTo>
                    <a:pt x="2" y="595"/>
                  </a:lnTo>
                  <a:lnTo>
                    <a:pt x="4" y="597"/>
                  </a:lnTo>
                  <a:lnTo>
                    <a:pt x="6" y="599"/>
                  </a:lnTo>
                  <a:lnTo>
                    <a:pt x="9" y="600"/>
                  </a:lnTo>
                  <a:lnTo>
                    <a:pt x="12" y="601"/>
                  </a:lnTo>
                  <a:lnTo>
                    <a:pt x="15" y="601"/>
                  </a:lnTo>
                  <a:lnTo>
                    <a:pt x="75" y="601"/>
                  </a:lnTo>
                  <a:lnTo>
                    <a:pt x="195" y="601"/>
                  </a:lnTo>
                  <a:lnTo>
                    <a:pt x="286" y="601"/>
                  </a:lnTo>
                  <a:lnTo>
                    <a:pt x="406" y="601"/>
                  </a:lnTo>
                  <a:lnTo>
                    <a:pt x="496" y="601"/>
                  </a:lnTo>
                  <a:lnTo>
                    <a:pt x="616" y="601"/>
                  </a:lnTo>
                  <a:lnTo>
                    <a:pt x="707" y="601"/>
                  </a:lnTo>
                  <a:lnTo>
                    <a:pt x="827" y="601"/>
                  </a:lnTo>
                  <a:lnTo>
                    <a:pt x="887" y="601"/>
                  </a:lnTo>
                  <a:lnTo>
                    <a:pt x="890" y="601"/>
                  </a:lnTo>
                  <a:lnTo>
                    <a:pt x="892" y="600"/>
                  </a:lnTo>
                  <a:lnTo>
                    <a:pt x="896" y="599"/>
                  </a:lnTo>
                  <a:lnTo>
                    <a:pt x="898" y="597"/>
                  </a:lnTo>
                  <a:lnTo>
                    <a:pt x="900" y="595"/>
                  </a:lnTo>
                  <a:lnTo>
                    <a:pt x="901" y="593"/>
                  </a:lnTo>
                  <a:lnTo>
                    <a:pt x="902" y="590"/>
                  </a:lnTo>
                  <a:lnTo>
                    <a:pt x="902" y="586"/>
                  </a:lnTo>
                  <a:lnTo>
                    <a:pt x="902" y="583"/>
                  </a:lnTo>
                  <a:lnTo>
                    <a:pt x="901" y="581"/>
                  </a:lnTo>
                  <a:lnTo>
                    <a:pt x="900" y="578"/>
                  </a:lnTo>
                  <a:lnTo>
                    <a:pt x="898" y="576"/>
                  </a:lnTo>
                  <a:lnTo>
                    <a:pt x="896" y="573"/>
                  </a:lnTo>
                  <a:lnTo>
                    <a:pt x="892" y="572"/>
                  </a:lnTo>
                  <a:lnTo>
                    <a:pt x="890" y="571"/>
                  </a:lnTo>
                  <a:lnTo>
                    <a:pt x="887"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36" name="Freeform 74">
              <a:extLst>
                <a:ext uri="{FF2B5EF4-FFF2-40B4-BE49-F238E27FC236}">
                  <a16:creationId xmlns:a16="http://schemas.microsoft.com/office/drawing/2014/main" id="{C2F0FF7E-5E94-445A-911D-B3AD205E100A}"/>
                </a:ext>
              </a:extLst>
            </p:cNvPr>
            <p:cNvSpPr>
              <a:spLocks/>
            </p:cNvSpPr>
            <p:nvPr/>
          </p:nvSpPr>
          <p:spPr bwMode="auto">
            <a:xfrm>
              <a:off x="11630025" y="2508250"/>
              <a:ext cx="228600" cy="166688"/>
            </a:xfrm>
            <a:custGeom>
              <a:avLst/>
              <a:gdLst>
                <a:gd name="T0" fmla="*/ 554 w 722"/>
                <a:gd name="T1" fmla="*/ 496 h 526"/>
                <a:gd name="T2" fmla="*/ 547 w 722"/>
                <a:gd name="T3" fmla="*/ 500 h 526"/>
                <a:gd name="T4" fmla="*/ 544 w 722"/>
                <a:gd name="T5" fmla="*/ 503 h 526"/>
                <a:gd name="T6" fmla="*/ 542 w 722"/>
                <a:gd name="T7" fmla="*/ 508 h 526"/>
                <a:gd name="T8" fmla="*/ 542 w 722"/>
                <a:gd name="T9" fmla="*/ 515 h 526"/>
                <a:gd name="T10" fmla="*/ 547 w 722"/>
                <a:gd name="T11" fmla="*/ 523 h 526"/>
                <a:gd name="T12" fmla="*/ 556 w 722"/>
                <a:gd name="T13" fmla="*/ 526 h 526"/>
                <a:gd name="T14" fmla="*/ 559 w 722"/>
                <a:gd name="T15" fmla="*/ 526 h 526"/>
                <a:gd name="T16" fmla="*/ 710 w 722"/>
                <a:gd name="T17" fmla="*/ 496 h 526"/>
                <a:gd name="T18" fmla="*/ 712 w 722"/>
                <a:gd name="T19" fmla="*/ 495 h 526"/>
                <a:gd name="T20" fmla="*/ 715 w 722"/>
                <a:gd name="T21" fmla="*/ 494 h 526"/>
                <a:gd name="T22" fmla="*/ 717 w 722"/>
                <a:gd name="T23" fmla="*/ 492 h 526"/>
                <a:gd name="T24" fmla="*/ 719 w 722"/>
                <a:gd name="T25" fmla="*/ 491 h 526"/>
                <a:gd name="T26" fmla="*/ 719 w 722"/>
                <a:gd name="T27" fmla="*/ 490 h 526"/>
                <a:gd name="T28" fmla="*/ 720 w 722"/>
                <a:gd name="T29" fmla="*/ 489 h 526"/>
                <a:gd name="T30" fmla="*/ 721 w 722"/>
                <a:gd name="T31" fmla="*/ 487 h 526"/>
                <a:gd name="T32" fmla="*/ 721 w 722"/>
                <a:gd name="T33" fmla="*/ 483 h 526"/>
                <a:gd name="T34" fmla="*/ 722 w 722"/>
                <a:gd name="T35" fmla="*/ 481 h 526"/>
                <a:gd name="T36" fmla="*/ 707 w 722"/>
                <a:gd name="T37" fmla="*/ 329 h 526"/>
                <a:gd name="T38" fmla="*/ 705 w 722"/>
                <a:gd name="T39" fmla="*/ 324 h 526"/>
                <a:gd name="T40" fmla="*/ 702 w 722"/>
                <a:gd name="T41" fmla="*/ 320 h 526"/>
                <a:gd name="T42" fmla="*/ 696 w 722"/>
                <a:gd name="T43" fmla="*/ 316 h 526"/>
                <a:gd name="T44" fmla="*/ 690 w 722"/>
                <a:gd name="T45" fmla="*/ 316 h 526"/>
                <a:gd name="T46" fmla="*/ 685 w 722"/>
                <a:gd name="T47" fmla="*/ 319 h 526"/>
                <a:gd name="T48" fmla="*/ 680 w 722"/>
                <a:gd name="T49" fmla="*/ 322 h 526"/>
                <a:gd name="T50" fmla="*/ 677 w 722"/>
                <a:gd name="T51" fmla="*/ 327 h 526"/>
                <a:gd name="T52" fmla="*/ 677 w 722"/>
                <a:gd name="T53" fmla="*/ 332 h 526"/>
                <a:gd name="T54" fmla="*/ 24 w 722"/>
                <a:gd name="T55" fmla="*/ 3 h 526"/>
                <a:gd name="T56" fmla="*/ 18 w 722"/>
                <a:gd name="T57" fmla="*/ 0 h 526"/>
                <a:gd name="T58" fmla="*/ 12 w 722"/>
                <a:gd name="T59" fmla="*/ 0 h 526"/>
                <a:gd name="T60" fmla="*/ 6 w 722"/>
                <a:gd name="T61" fmla="*/ 3 h 526"/>
                <a:gd name="T62" fmla="*/ 2 w 722"/>
                <a:gd name="T63" fmla="*/ 7 h 526"/>
                <a:gd name="T64" fmla="*/ 0 w 722"/>
                <a:gd name="T65" fmla="*/ 12 h 526"/>
                <a:gd name="T66" fmla="*/ 0 w 722"/>
                <a:gd name="T67" fmla="*/ 19 h 526"/>
                <a:gd name="T68" fmla="*/ 2 w 722"/>
                <a:gd name="T69" fmla="*/ 24 h 526"/>
                <a:gd name="T70" fmla="*/ 6 w 722"/>
                <a:gd name="T71" fmla="*/ 28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2" h="526">
                  <a:moveTo>
                    <a:pt x="668" y="474"/>
                  </a:moveTo>
                  <a:lnTo>
                    <a:pt x="554" y="496"/>
                  </a:lnTo>
                  <a:lnTo>
                    <a:pt x="551" y="497"/>
                  </a:lnTo>
                  <a:lnTo>
                    <a:pt x="547" y="500"/>
                  </a:lnTo>
                  <a:lnTo>
                    <a:pt x="545" y="501"/>
                  </a:lnTo>
                  <a:lnTo>
                    <a:pt x="544" y="503"/>
                  </a:lnTo>
                  <a:lnTo>
                    <a:pt x="542" y="506"/>
                  </a:lnTo>
                  <a:lnTo>
                    <a:pt x="542" y="508"/>
                  </a:lnTo>
                  <a:lnTo>
                    <a:pt x="541" y="511"/>
                  </a:lnTo>
                  <a:lnTo>
                    <a:pt x="542" y="515"/>
                  </a:lnTo>
                  <a:lnTo>
                    <a:pt x="543" y="520"/>
                  </a:lnTo>
                  <a:lnTo>
                    <a:pt x="547" y="523"/>
                  </a:lnTo>
                  <a:lnTo>
                    <a:pt x="552" y="526"/>
                  </a:lnTo>
                  <a:lnTo>
                    <a:pt x="556" y="526"/>
                  </a:lnTo>
                  <a:lnTo>
                    <a:pt x="558" y="526"/>
                  </a:lnTo>
                  <a:lnTo>
                    <a:pt x="559" y="526"/>
                  </a:lnTo>
                  <a:lnTo>
                    <a:pt x="710" y="496"/>
                  </a:lnTo>
                  <a:lnTo>
                    <a:pt x="710" y="496"/>
                  </a:lnTo>
                  <a:lnTo>
                    <a:pt x="710" y="496"/>
                  </a:lnTo>
                  <a:lnTo>
                    <a:pt x="712" y="495"/>
                  </a:lnTo>
                  <a:lnTo>
                    <a:pt x="715" y="494"/>
                  </a:lnTo>
                  <a:lnTo>
                    <a:pt x="715" y="494"/>
                  </a:lnTo>
                  <a:lnTo>
                    <a:pt x="716" y="494"/>
                  </a:lnTo>
                  <a:lnTo>
                    <a:pt x="717" y="492"/>
                  </a:lnTo>
                  <a:lnTo>
                    <a:pt x="719" y="491"/>
                  </a:lnTo>
                  <a:lnTo>
                    <a:pt x="719" y="491"/>
                  </a:lnTo>
                  <a:lnTo>
                    <a:pt x="719" y="490"/>
                  </a:lnTo>
                  <a:lnTo>
                    <a:pt x="719" y="490"/>
                  </a:lnTo>
                  <a:lnTo>
                    <a:pt x="719" y="490"/>
                  </a:lnTo>
                  <a:lnTo>
                    <a:pt x="720" y="489"/>
                  </a:lnTo>
                  <a:lnTo>
                    <a:pt x="720" y="489"/>
                  </a:lnTo>
                  <a:lnTo>
                    <a:pt x="721" y="487"/>
                  </a:lnTo>
                  <a:lnTo>
                    <a:pt x="721" y="485"/>
                  </a:lnTo>
                  <a:lnTo>
                    <a:pt x="721" y="483"/>
                  </a:lnTo>
                  <a:lnTo>
                    <a:pt x="721" y="482"/>
                  </a:lnTo>
                  <a:lnTo>
                    <a:pt x="722" y="481"/>
                  </a:lnTo>
                  <a:lnTo>
                    <a:pt x="722" y="480"/>
                  </a:lnTo>
                  <a:lnTo>
                    <a:pt x="707" y="329"/>
                  </a:lnTo>
                  <a:lnTo>
                    <a:pt x="706" y="327"/>
                  </a:lnTo>
                  <a:lnTo>
                    <a:pt x="705" y="324"/>
                  </a:lnTo>
                  <a:lnTo>
                    <a:pt x="704" y="322"/>
                  </a:lnTo>
                  <a:lnTo>
                    <a:pt x="702" y="320"/>
                  </a:lnTo>
                  <a:lnTo>
                    <a:pt x="698" y="319"/>
                  </a:lnTo>
                  <a:lnTo>
                    <a:pt x="696" y="316"/>
                  </a:lnTo>
                  <a:lnTo>
                    <a:pt x="693" y="316"/>
                  </a:lnTo>
                  <a:lnTo>
                    <a:pt x="690" y="316"/>
                  </a:lnTo>
                  <a:lnTo>
                    <a:pt x="688" y="316"/>
                  </a:lnTo>
                  <a:lnTo>
                    <a:pt x="685" y="319"/>
                  </a:lnTo>
                  <a:lnTo>
                    <a:pt x="682" y="320"/>
                  </a:lnTo>
                  <a:lnTo>
                    <a:pt x="680" y="322"/>
                  </a:lnTo>
                  <a:lnTo>
                    <a:pt x="678" y="324"/>
                  </a:lnTo>
                  <a:lnTo>
                    <a:pt x="677" y="327"/>
                  </a:lnTo>
                  <a:lnTo>
                    <a:pt x="677" y="329"/>
                  </a:lnTo>
                  <a:lnTo>
                    <a:pt x="677" y="332"/>
                  </a:lnTo>
                  <a:lnTo>
                    <a:pt x="689" y="451"/>
                  </a:lnTo>
                  <a:lnTo>
                    <a:pt x="24" y="3"/>
                  </a:lnTo>
                  <a:lnTo>
                    <a:pt x="21" y="1"/>
                  </a:lnTo>
                  <a:lnTo>
                    <a:pt x="18" y="0"/>
                  </a:lnTo>
                  <a:lnTo>
                    <a:pt x="15" y="0"/>
                  </a:lnTo>
                  <a:lnTo>
                    <a:pt x="12" y="0"/>
                  </a:lnTo>
                  <a:lnTo>
                    <a:pt x="10" y="1"/>
                  </a:lnTo>
                  <a:lnTo>
                    <a:pt x="6" y="3"/>
                  </a:lnTo>
                  <a:lnTo>
                    <a:pt x="4" y="5"/>
                  </a:lnTo>
                  <a:lnTo>
                    <a:pt x="2" y="7"/>
                  </a:lnTo>
                  <a:lnTo>
                    <a:pt x="1" y="10"/>
                  </a:lnTo>
                  <a:lnTo>
                    <a:pt x="0" y="12"/>
                  </a:lnTo>
                  <a:lnTo>
                    <a:pt x="0" y="15"/>
                  </a:lnTo>
                  <a:lnTo>
                    <a:pt x="0" y="19"/>
                  </a:lnTo>
                  <a:lnTo>
                    <a:pt x="1" y="21"/>
                  </a:lnTo>
                  <a:lnTo>
                    <a:pt x="2" y="24"/>
                  </a:lnTo>
                  <a:lnTo>
                    <a:pt x="4" y="26"/>
                  </a:lnTo>
                  <a:lnTo>
                    <a:pt x="6" y="28"/>
                  </a:lnTo>
                  <a:lnTo>
                    <a:pt x="668" y="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grpSp>
        <p:nvGrpSpPr>
          <p:cNvPr id="137" name="Group 136">
            <a:extLst>
              <a:ext uri="{FF2B5EF4-FFF2-40B4-BE49-F238E27FC236}">
                <a16:creationId xmlns:a16="http://schemas.microsoft.com/office/drawing/2014/main" id="{4354F6EA-00A2-4B74-8E8A-236426A31DEC}"/>
              </a:ext>
            </a:extLst>
          </p:cNvPr>
          <p:cNvGrpSpPr/>
          <p:nvPr/>
        </p:nvGrpSpPr>
        <p:grpSpPr>
          <a:xfrm>
            <a:off x="9456827" y="10158391"/>
            <a:ext cx="861720" cy="861720"/>
            <a:chOff x="9882188" y="1354138"/>
            <a:chExt cx="285750" cy="285750"/>
          </a:xfrm>
          <a:solidFill>
            <a:schemeClr val="tx2"/>
          </a:solidFill>
          <a:effectLst>
            <a:outerShdw blurRad="50800" dist="38100" dir="5400000" algn="t" rotWithShape="0">
              <a:prstClr val="black">
                <a:alpha val="20000"/>
              </a:prstClr>
            </a:outerShdw>
          </a:effectLst>
        </p:grpSpPr>
        <p:sp>
          <p:nvSpPr>
            <p:cNvPr id="138" name="Freeform 186">
              <a:extLst>
                <a:ext uri="{FF2B5EF4-FFF2-40B4-BE49-F238E27FC236}">
                  <a16:creationId xmlns:a16="http://schemas.microsoft.com/office/drawing/2014/main" id="{2DDF6ED8-7A9F-453D-97CC-2EFC341729F5}"/>
                </a:ext>
              </a:extLst>
            </p:cNvPr>
            <p:cNvSpPr>
              <a:spLocks noEditPoints="1"/>
            </p:cNvSpPr>
            <p:nvPr/>
          </p:nvSpPr>
          <p:spPr bwMode="auto">
            <a:xfrm>
              <a:off x="9891713" y="1482725"/>
              <a:ext cx="133350" cy="157163"/>
            </a:xfrm>
            <a:custGeom>
              <a:avLst/>
              <a:gdLst>
                <a:gd name="T0" fmla="*/ 89 w 421"/>
                <a:gd name="T1" fmla="*/ 454 h 496"/>
                <a:gd name="T2" fmla="*/ 30 w 421"/>
                <a:gd name="T3" fmla="*/ 392 h 496"/>
                <a:gd name="T4" fmla="*/ 145 w 421"/>
                <a:gd name="T5" fmla="*/ 416 h 496"/>
                <a:gd name="T6" fmla="*/ 253 w 421"/>
                <a:gd name="T7" fmla="*/ 418 h 496"/>
                <a:gd name="T8" fmla="*/ 373 w 421"/>
                <a:gd name="T9" fmla="*/ 399 h 496"/>
                <a:gd name="T10" fmla="*/ 355 w 421"/>
                <a:gd name="T11" fmla="*/ 448 h 496"/>
                <a:gd name="T12" fmla="*/ 211 w 421"/>
                <a:gd name="T13" fmla="*/ 466 h 496"/>
                <a:gd name="T14" fmla="*/ 302 w 421"/>
                <a:gd name="T15" fmla="*/ 36 h 496"/>
                <a:gd name="T16" fmla="*/ 389 w 421"/>
                <a:gd name="T17" fmla="*/ 60 h 496"/>
                <a:gd name="T18" fmla="*/ 302 w 421"/>
                <a:gd name="T19" fmla="*/ 83 h 496"/>
                <a:gd name="T20" fmla="*/ 148 w 421"/>
                <a:gd name="T21" fmla="*/ 86 h 496"/>
                <a:gd name="T22" fmla="*/ 43 w 421"/>
                <a:gd name="T23" fmla="*/ 64 h 496"/>
                <a:gd name="T24" fmla="*/ 95 w 421"/>
                <a:gd name="T25" fmla="*/ 39 h 496"/>
                <a:gd name="T26" fmla="*/ 391 w 421"/>
                <a:gd name="T27" fmla="*/ 132 h 496"/>
                <a:gd name="T28" fmla="*/ 306 w 421"/>
                <a:gd name="T29" fmla="*/ 157 h 496"/>
                <a:gd name="T30" fmla="*/ 145 w 421"/>
                <a:gd name="T31" fmla="*/ 161 h 496"/>
                <a:gd name="T32" fmla="*/ 37 w 421"/>
                <a:gd name="T33" fmla="*/ 137 h 496"/>
                <a:gd name="T34" fmla="*/ 94 w 421"/>
                <a:gd name="T35" fmla="*/ 109 h 496"/>
                <a:gd name="T36" fmla="*/ 211 w 421"/>
                <a:gd name="T37" fmla="*/ 120 h 496"/>
                <a:gd name="T38" fmla="*/ 327 w 421"/>
                <a:gd name="T39" fmla="*/ 109 h 496"/>
                <a:gd name="T40" fmla="*/ 391 w 421"/>
                <a:gd name="T41" fmla="*/ 207 h 496"/>
                <a:gd name="T42" fmla="*/ 306 w 421"/>
                <a:gd name="T43" fmla="*/ 233 h 496"/>
                <a:gd name="T44" fmla="*/ 145 w 421"/>
                <a:gd name="T45" fmla="*/ 236 h 496"/>
                <a:gd name="T46" fmla="*/ 37 w 421"/>
                <a:gd name="T47" fmla="*/ 212 h 496"/>
                <a:gd name="T48" fmla="*/ 94 w 421"/>
                <a:gd name="T49" fmla="*/ 184 h 496"/>
                <a:gd name="T50" fmla="*/ 211 w 421"/>
                <a:gd name="T51" fmla="*/ 195 h 496"/>
                <a:gd name="T52" fmla="*/ 327 w 421"/>
                <a:gd name="T53" fmla="*/ 184 h 496"/>
                <a:gd name="T54" fmla="*/ 391 w 421"/>
                <a:gd name="T55" fmla="*/ 282 h 496"/>
                <a:gd name="T56" fmla="*/ 306 w 421"/>
                <a:gd name="T57" fmla="*/ 308 h 496"/>
                <a:gd name="T58" fmla="*/ 145 w 421"/>
                <a:gd name="T59" fmla="*/ 311 h 496"/>
                <a:gd name="T60" fmla="*/ 37 w 421"/>
                <a:gd name="T61" fmla="*/ 288 h 496"/>
                <a:gd name="T62" fmla="*/ 94 w 421"/>
                <a:gd name="T63" fmla="*/ 260 h 496"/>
                <a:gd name="T64" fmla="*/ 211 w 421"/>
                <a:gd name="T65" fmla="*/ 270 h 496"/>
                <a:gd name="T66" fmla="*/ 327 w 421"/>
                <a:gd name="T67" fmla="*/ 260 h 496"/>
                <a:gd name="T68" fmla="*/ 391 w 421"/>
                <a:gd name="T69" fmla="*/ 357 h 496"/>
                <a:gd name="T70" fmla="*/ 306 w 421"/>
                <a:gd name="T71" fmla="*/ 383 h 496"/>
                <a:gd name="T72" fmla="*/ 145 w 421"/>
                <a:gd name="T73" fmla="*/ 386 h 496"/>
                <a:gd name="T74" fmla="*/ 37 w 421"/>
                <a:gd name="T75" fmla="*/ 363 h 496"/>
                <a:gd name="T76" fmla="*/ 94 w 421"/>
                <a:gd name="T77" fmla="*/ 335 h 496"/>
                <a:gd name="T78" fmla="*/ 211 w 421"/>
                <a:gd name="T79" fmla="*/ 344 h 496"/>
                <a:gd name="T80" fmla="*/ 327 w 421"/>
                <a:gd name="T81" fmla="*/ 335 h 496"/>
                <a:gd name="T82" fmla="*/ 211 w 421"/>
                <a:gd name="T83" fmla="*/ 0 h 496"/>
                <a:gd name="T84" fmla="*/ 64 w 421"/>
                <a:gd name="T85" fmla="*/ 16 h 496"/>
                <a:gd name="T86" fmla="*/ 6 w 421"/>
                <a:gd name="T87" fmla="*/ 43 h 496"/>
                <a:gd name="T88" fmla="*/ 0 w 421"/>
                <a:gd name="T89" fmla="*/ 135 h 496"/>
                <a:gd name="T90" fmla="*/ 1 w 421"/>
                <a:gd name="T91" fmla="*/ 440 h 496"/>
                <a:gd name="T92" fmla="*/ 24 w 421"/>
                <a:gd name="T93" fmla="*/ 463 h 496"/>
                <a:gd name="T94" fmla="*/ 114 w 421"/>
                <a:gd name="T95" fmla="*/ 488 h 496"/>
                <a:gd name="T96" fmla="*/ 273 w 421"/>
                <a:gd name="T97" fmla="*/ 492 h 496"/>
                <a:gd name="T98" fmla="*/ 387 w 421"/>
                <a:gd name="T99" fmla="*/ 469 h 496"/>
                <a:gd name="T100" fmla="*/ 420 w 421"/>
                <a:gd name="T101" fmla="*/ 443 h 496"/>
                <a:gd name="T102" fmla="*/ 421 w 421"/>
                <a:gd name="T103" fmla="*/ 210 h 496"/>
                <a:gd name="T104" fmla="*/ 418 w 421"/>
                <a:gd name="T105" fmla="*/ 48 h 496"/>
                <a:gd name="T106" fmla="*/ 373 w 421"/>
                <a:gd name="T107" fmla="*/ 20 h 496"/>
                <a:gd name="T108" fmla="*/ 240 w 421"/>
                <a:gd name="T109"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1" h="496">
                  <a:moveTo>
                    <a:pt x="211" y="466"/>
                  </a:moveTo>
                  <a:lnTo>
                    <a:pt x="177" y="464"/>
                  </a:lnTo>
                  <a:lnTo>
                    <a:pt x="145" y="462"/>
                  </a:lnTo>
                  <a:lnTo>
                    <a:pt x="115" y="458"/>
                  </a:lnTo>
                  <a:lnTo>
                    <a:pt x="89" y="454"/>
                  </a:lnTo>
                  <a:lnTo>
                    <a:pt x="67" y="448"/>
                  </a:lnTo>
                  <a:lnTo>
                    <a:pt x="50" y="443"/>
                  </a:lnTo>
                  <a:lnTo>
                    <a:pt x="37" y="438"/>
                  </a:lnTo>
                  <a:lnTo>
                    <a:pt x="30" y="433"/>
                  </a:lnTo>
                  <a:lnTo>
                    <a:pt x="30" y="392"/>
                  </a:lnTo>
                  <a:lnTo>
                    <a:pt x="49" y="399"/>
                  </a:lnTo>
                  <a:lnTo>
                    <a:pt x="71" y="404"/>
                  </a:lnTo>
                  <a:lnTo>
                    <a:pt x="94" y="410"/>
                  </a:lnTo>
                  <a:lnTo>
                    <a:pt x="119" y="414"/>
                  </a:lnTo>
                  <a:lnTo>
                    <a:pt x="145" y="416"/>
                  </a:lnTo>
                  <a:lnTo>
                    <a:pt x="168" y="418"/>
                  </a:lnTo>
                  <a:lnTo>
                    <a:pt x="191" y="419"/>
                  </a:lnTo>
                  <a:lnTo>
                    <a:pt x="211" y="421"/>
                  </a:lnTo>
                  <a:lnTo>
                    <a:pt x="230" y="419"/>
                  </a:lnTo>
                  <a:lnTo>
                    <a:pt x="253" y="418"/>
                  </a:lnTo>
                  <a:lnTo>
                    <a:pt x="277" y="416"/>
                  </a:lnTo>
                  <a:lnTo>
                    <a:pt x="302" y="414"/>
                  </a:lnTo>
                  <a:lnTo>
                    <a:pt x="327" y="410"/>
                  </a:lnTo>
                  <a:lnTo>
                    <a:pt x="350" y="404"/>
                  </a:lnTo>
                  <a:lnTo>
                    <a:pt x="373" y="399"/>
                  </a:lnTo>
                  <a:lnTo>
                    <a:pt x="391" y="392"/>
                  </a:lnTo>
                  <a:lnTo>
                    <a:pt x="391" y="432"/>
                  </a:lnTo>
                  <a:lnTo>
                    <a:pt x="385" y="438"/>
                  </a:lnTo>
                  <a:lnTo>
                    <a:pt x="372" y="443"/>
                  </a:lnTo>
                  <a:lnTo>
                    <a:pt x="355" y="448"/>
                  </a:lnTo>
                  <a:lnTo>
                    <a:pt x="332" y="454"/>
                  </a:lnTo>
                  <a:lnTo>
                    <a:pt x="306" y="458"/>
                  </a:lnTo>
                  <a:lnTo>
                    <a:pt x="277" y="462"/>
                  </a:lnTo>
                  <a:lnTo>
                    <a:pt x="245" y="464"/>
                  </a:lnTo>
                  <a:lnTo>
                    <a:pt x="211" y="466"/>
                  </a:lnTo>
                  <a:lnTo>
                    <a:pt x="211" y="466"/>
                  </a:lnTo>
                  <a:close/>
                  <a:moveTo>
                    <a:pt x="211" y="30"/>
                  </a:moveTo>
                  <a:lnTo>
                    <a:pt x="243" y="30"/>
                  </a:lnTo>
                  <a:lnTo>
                    <a:pt x="274" y="32"/>
                  </a:lnTo>
                  <a:lnTo>
                    <a:pt x="302" y="36"/>
                  </a:lnTo>
                  <a:lnTo>
                    <a:pt x="327" y="39"/>
                  </a:lnTo>
                  <a:lnTo>
                    <a:pt x="348" y="45"/>
                  </a:lnTo>
                  <a:lnTo>
                    <a:pt x="365" y="50"/>
                  </a:lnTo>
                  <a:lnTo>
                    <a:pt x="379" y="54"/>
                  </a:lnTo>
                  <a:lnTo>
                    <a:pt x="389" y="60"/>
                  </a:lnTo>
                  <a:lnTo>
                    <a:pt x="379" y="64"/>
                  </a:lnTo>
                  <a:lnTo>
                    <a:pt x="365" y="69"/>
                  </a:lnTo>
                  <a:lnTo>
                    <a:pt x="348" y="75"/>
                  </a:lnTo>
                  <a:lnTo>
                    <a:pt x="327" y="79"/>
                  </a:lnTo>
                  <a:lnTo>
                    <a:pt x="302" y="83"/>
                  </a:lnTo>
                  <a:lnTo>
                    <a:pt x="274" y="86"/>
                  </a:lnTo>
                  <a:lnTo>
                    <a:pt x="243" y="88"/>
                  </a:lnTo>
                  <a:lnTo>
                    <a:pt x="211" y="90"/>
                  </a:lnTo>
                  <a:lnTo>
                    <a:pt x="178" y="88"/>
                  </a:lnTo>
                  <a:lnTo>
                    <a:pt x="148" y="86"/>
                  </a:lnTo>
                  <a:lnTo>
                    <a:pt x="120" y="83"/>
                  </a:lnTo>
                  <a:lnTo>
                    <a:pt x="95" y="79"/>
                  </a:lnTo>
                  <a:lnTo>
                    <a:pt x="74" y="75"/>
                  </a:lnTo>
                  <a:lnTo>
                    <a:pt x="56" y="69"/>
                  </a:lnTo>
                  <a:lnTo>
                    <a:pt x="43" y="64"/>
                  </a:lnTo>
                  <a:lnTo>
                    <a:pt x="33" y="60"/>
                  </a:lnTo>
                  <a:lnTo>
                    <a:pt x="43" y="54"/>
                  </a:lnTo>
                  <a:lnTo>
                    <a:pt x="56" y="50"/>
                  </a:lnTo>
                  <a:lnTo>
                    <a:pt x="74" y="45"/>
                  </a:lnTo>
                  <a:lnTo>
                    <a:pt x="95" y="39"/>
                  </a:lnTo>
                  <a:lnTo>
                    <a:pt x="120" y="36"/>
                  </a:lnTo>
                  <a:lnTo>
                    <a:pt x="148" y="32"/>
                  </a:lnTo>
                  <a:lnTo>
                    <a:pt x="178" y="30"/>
                  </a:lnTo>
                  <a:lnTo>
                    <a:pt x="211" y="30"/>
                  </a:lnTo>
                  <a:close/>
                  <a:moveTo>
                    <a:pt x="391" y="132"/>
                  </a:moveTo>
                  <a:lnTo>
                    <a:pt x="385" y="137"/>
                  </a:lnTo>
                  <a:lnTo>
                    <a:pt x="372" y="142"/>
                  </a:lnTo>
                  <a:lnTo>
                    <a:pt x="355" y="147"/>
                  </a:lnTo>
                  <a:lnTo>
                    <a:pt x="332" y="153"/>
                  </a:lnTo>
                  <a:lnTo>
                    <a:pt x="306" y="157"/>
                  </a:lnTo>
                  <a:lnTo>
                    <a:pt x="277" y="161"/>
                  </a:lnTo>
                  <a:lnTo>
                    <a:pt x="245" y="163"/>
                  </a:lnTo>
                  <a:lnTo>
                    <a:pt x="211" y="165"/>
                  </a:lnTo>
                  <a:lnTo>
                    <a:pt x="177" y="163"/>
                  </a:lnTo>
                  <a:lnTo>
                    <a:pt x="145" y="161"/>
                  </a:lnTo>
                  <a:lnTo>
                    <a:pt x="115" y="157"/>
                  </a:lnTo>
                  <a:lnTo>
                    <a:pt x="89" y="153"/>
                  </a:lnTo>
                  <a:lnTo>
                    <a:pt x="67" y="147"/>
                  </a:lnTo>
                  <a:lnTo>
                    <a:pt x="50" y="142"/>
                  </a:lnTo>
                  <a:lnTo>
                    <a:pt x="37" y="137"/>
                  </a:lnTo>
                  <a:lnTo>
                    <a:pt x="30" y="132"/>
                  </a:lnTo>
                  <a:lnTo>
                    <a:pt x="30" y="91"/>
                  </a:lnTo>
                  <a:lnTo>
                    <a:pt x="49" y="98"/>
                  </a:lnTo>
                  <a:lnTo>
                    <a:pt x="71" y="105"/>
                  </a:lnTo>
                  <a:lnTo>
                    <a:pt x="94" y="109"/>
                  </a:lnTo>
                  <a:lnTo>
                    <a:pt x="119" y="113"/>
                  </a:lnTo>
                  <a:lnTo>
                    <a:pt x="145" y="116"/>
                  </a:lnTo>
                  <a:lnTo>
                    <a:pt x="168" y="117"/>
                  </a:lnTo>
                  <a:lnTo>
                    <a:pt x="191" y="120"/>
                  </a:lnTo>
                  <a:lnTo>
                    <a:pt x="211" y="120"/>
                  </a:lnTo>
                  <a:lnTo>
                    <a:pt x="230" y="120"/>
                  </a:lnTo>
                  <a:lnTo>
                    <a:pt x="253" y="117"/>
                  </a:lnTo>
                  <a:lnTo>
                    <a:pt x="277" y="116"/>
                  </a:lnTo>
                  <a:lnTo>
                    <a:pt x="302" y="113"/>
                  </a:lnTo>
                  <a:lnTo>
                    <a:pt x="327" y="109"/>
                  </a:lnTo>
                  <a:lnTo>
                    <a:pt x="350" y="105"/>
                  </a:lnTo>
                  <a:lnTo>
                    <a:pt x="373" y="98"/>
                  </a:lnTo>
                  <a:lnTo>
                    <a:pt x="391" y="91"/>
                  </a:lnTo>
                  <a:lnTo>
                    <a:pt x="391" y="132"/>
                  </a:lnTo>
                  <a:close/>
                  <a:moveTo>
                    <a:pt x="391" y="207"/>
                  </a:moveTo>
                  <a:lnTo>
                    <a:pt x="385" y="212"/>
                  </a:lnTo>
                  <a:lnTo>
                    <a:pt x="372" y="217"/>
                  </a:lnTo>
                  <a:lnTo>
                    <a:pt x="355" y="222"/>
                  </a:lnTo>
                  <a:lnTo>
                    <a:pt x="332" y="228"/>
                  </a:lnTo>
                  <a:lnTo>
                    <a:pt x="306" y="233"/>
                  </a:lnTo>
                  <a:lnTo>
                    <a:pt x="277" y="236"/>
                  </a:lnTo>
                  <a:lnTo>
                    <a:pt x="245" y="238"/>
                  </a:lnTo>
                  <a:lnTo>
                    <a:pt x="211" y="240"/>
                  </a:lnTo>
                  <a:lnTo>
                    <a:pt x="177" y="238"/>
                  </a:lnTo>
                  <a:lnTo>
                    <a:pt x="145" y="236"/>
                  </a:lnTo>
                  <a:lnTo>
                    <a:pt x="115" y="233"/>
                  </a:lnTo>
                  <a:lnTo>
                    <a:pt x="89" y="228"/>
                  </a:lnTo>
                  <a:lnTo>
                    <a:pt x="67" y="222"/>
                  </a:lnTo>
                  <a:lnTo>
                    <a:pt x="50" y="217"/>
                  </a:lnTo>
                  <a:lnTo>
                    <a:pt x="37" y="212"/>
                  </a:lnTo>
                  <a:lnTo>
                    <a:pt x="30" y="207"/>
                  </a:lnTo>
                  <a:lnTo>
                    <a:pt x="30" y="166"/>
                  </a:lnTo>
                  <a:lnTo>
                    <a:pt x="49" y="173"/>
                  </a:lnTo>
                  <a:lnTo>
                    <a:pt x="71" y="180"/>
                  </a:lnTo>
                  <a:lnTo>
                    <a:pt x="94" y="184"/>
                  </a:lnTo>
                  <a:lnTo>
                    <a:pt x="119" y="188"/>
                  </a:lnTo>
                  <a:lnTo>
                    <a:pt x="145" y="191"/>
                  </a:lnTo>
                  <a:lnTo>
                    <a:pt x="168" y="193"/>
                  </a:lnTo>
                  <a:lnTo>
                    <a:pt x="191" y="195"/>
                  </a:lnTo>
                  <a:lnTo>
                    <a:pt x="211" y="195"/>
                  </a:lnTo>
                  <a:lnTo>
                    <a:pt x="230" y="195"/>
                  </a:lnTo>
                  <a:lnTo>
                    <a:pt x="253" y="193"/>
                  </a:lnTo>
                  <a:lnTo>
                    <a:pt x="277" y="191"/>
                  </a:lnTo>
                  <a:lnTo>
                    <a:pt x="302" y="188"/>
                  </a:lnTo>
                  <a:lnTo>
                    <a:pt x="327" y="184"/>
                  </a:lnTo>
                  <a:lnTo>
                    <a:pt x="350" y="180"/>
                  </a:lnTo>
                  <a:lnTo>
                    <a:pt x="373" y="173"/>
                  </a:lnTo>
                  <a:lnTo>
                    <a:pt x="391" y="167"/>
                  </a:lnTo>
                  <a:lnTo>
                    <a:pt x="391" y="207"/>
                  </a:lnTo>
                  <a:close/>
                  <a:moveTo>
                    <a:pt x="391" y="282"/>
                  </a:moveTo>
                  <a:lnTo>
                    <a:pt x="385" y="288"/>
                  </a:lnTo>
                  <a:lnTo>
                    <a:pt x="372" y="293"/>
                  </a:lnTo>
                  <a:lnTo>
                    <a:pt x="355" y="298"/>
                  </a:lnTo>
                  <a:lnTo>
                    <a:pt x="332" y="303"/>
                  </a:lnTo>
                  <a:lnTo>
                    <a:pt x="306" y="308"/>
                  </a:lnTo>
                  <a:lnTo>
                    <a:pt x="277" y="311"/>
                  </a:lnTo>
                  <a:lnTo>
                    <a:pt x="245" y="315"/>
                  </a:lnTo>
                  <a:lnTo>
                    <a:pt x="211" y="315"/>
                  </a:lnTo>
                  <a:lnTo>
                    <a:pt x="177" y="315"/>
                  </a:lnTo>
                  <a:lnTo>
                    <a:pt x="145" y="311"/>
                  </a:lnTo>
                  <a:lnTo>
                    <a:pt x="115" y="308"/>
                  </a:lnTo>
                  <a:lnTo>
                    <a:pt x="89" y="303"/>
                  </a:lnTo>
                  <a:lnTo>
                    <a:pt x="67" y="298"/>
                  </a:lnTo>
                  <a:lnTo>
                    <a:pt x="50" y="293"/>
                  </a:lnTo>
                  <a:lnTo>
                    <a:pt x="37" y="288"/>
                  </a:lnTo>
                  <a:lnTo>
                    <a:pt x="30" y="282"/>
                  </a:lnTo>
                  <a:lnTo>
                    <a:pt x="30" y="242"/>
                  </a:lnTo>
                  <a:lnTo>
                    <a:pt x="49" y="248"/>
                  </a:lnTo>
                  <a:lnTo>
                    <a:pt x="71" y="255"/>
                  </a:lnTo>
                  <a:lnTo>
                    <a:pt x="94" y="260"/>
                  </a:lnTo>
                  <a:lnTo>
                    <a:pt x="119" y="263"/>
                  </a:lnTo>
                  <a:lnTo>
                    <a:pt x="145" y="266"/>
                  </a:lnTo>
                  <a:lnTo>
                    <a:pt x="168" y="268"/>
                  </a:lnTo>
                  <a:lnTo>
                    <a:pt x="191" y="270"/>
                  </a:lnTo>
                  <a:lnTo>
                    <a:pt x="211" y="270"/>
                  </a:lnTo>
                  <a:lnTo>
                    <a:pt x="230" y="270"/>
                  </a:lnTo>
                  <a:lnTo>
                    <a:pt x="253" y="268"/>
                  </a:lnTo>
                  <a:lnTo>
                    <a:pt x="277" y="266"/>
                  </a:lnTo>
                  <a:lnTo>
                    <a:pt x="302" y="263"/>
                  </a:lnTo>
                  <a:lnTo>
                    <a:pt x="327" y="260"/>
                  </a:lnTo>
                  <a:lnTo>
                    <a:pt x="350" y="255"/>
                  </a:lnTo>
                  <a:lnTo>
                    <a:pt x="373" y="248"/>
                  </a:lnTo>
                  <a:lnTo>
                    <a:pt x="391" y="242"/>
                  </a:lnTo>
                  <a:lnTo>
                    <a:pt x="391" y="282"/>
                  </a:lnTo>
                  <a:close/>
                  <a:moveTo>
                    <a:pt x="391" y="357"/>
                  </a:moveTo>
                  <a:lnTo>
                    <a:pt x="385" y="363"/>
                  </a:lnTo>
                  <a:lnTo>
                    <a:pt x="372" y="368"/>
                  </a:lnTo>
                  <a:lnTo>
                    <a:pt x="355" y="373"/>
                  </a:lnTo>
                  <a:lnTo>
                    <a:pt x="332" y="379"/>
                  </a:lnTo>
                  <a:lnTo>
                    <a:pt x="306" y="383"/>
                  </a:lnTo>
                  <a:lnTo>
                    <a:pt x="277" y="386"/>
                  </a:lnTo>
                  <a:lnTo>
                    <a:pt x="245" y="389"/>
                  </a:lnTo>
                  <a:lnTo>
                    <a:pt x="211" y="391"/>
                  </a:lnTo>
                  <a:lnTo>
                    <a:pt x="177" y="389"/>
                  </a:lnTo>
                  <a:lnTo>
                    <a:pt x="145" y="386"/>
                  </a:lnTo>
                  <a:lnTo>
                    <a:pt x="115" y="383"/>
                  </a:lnTo>
                  <a:lnTo>
                    <a:pt x="89" y="379"/>
                  </a:lnTo>
                  <a:lnTo>
                    <a:pt x="67" y="373"/>
                  </a:lnTo>
                  <a:lnTo>
                    <a:pt x="50" y="368"/>
                  </a:lnTo>
                  <a:lnTo>
                    <a:pt x="37" y="363"/>
                  </a:lnTo>
                  <a:lnTo>
                    <a:pt x="30" y="357"/>
                  </a:lnTo>
                  <a:lnTo>
                    <a:pt x="30" y="317"/>
                  </a:lnTo>
                  <a:lnTo>
                    <a:pt x="49" y="324"/>
                  </a:lnTo>
                  <a:lnTo>
                    <a:pt x="71" y="329"/>
                  </a:lnTo>
                  <a:lnTo>
                    <a:pt x="94" y="335"/>
                  </a:lnTo>
                  <a:lnTo>
                    <a:pt x="119" y="338"/>
                  </a:lnTo>
                  <a:lnTo>
                    <a:pt x="145" y="341"/>
                  </a:lnTo>
                  <a:lnTo>
                    <a:pt x="168" y="343"/>
                  </a:lnTo>
                  <a:lnTo>
                    <a:pt x="191" y="344"/>
                  </a:lnTo>
                  <a:lnTo>
                    <a:pt x="211" y="344"/>
                  </a:lnTo>
                  <a:lnTo>
                    <a:pt x="230" y="344"/>
                  </a:lnTo>
                  <a:lnTo>
                    <a:pt x="253" y="343"/>
                  </a:lnTo>
                  <a:lnTo>
                    <a:pt x="277" y="341"/>
                  </a:lnTo>
                  <a:lnTo>
                    <a:pt x="302" y="338"/>
                  </a:lnTo>
                  <a:lnTo>
                    <a:pt x="327" y="335"/>
                  </a:lnTo>
                  <a:lnTo>
                    <a:pt x="350" y="329"/>
                  </a:lnTo>
                  <a:lnTo>
                    <a:pt x="373" y="324"/>
                  </a:lnTo>
                  <a:lnTo>
                    <a:pt x="391" y="317"/>
                  </a:lnTo>
                  <a:lnTo>
                    <a:pt x="391" y="357"/>
                  </a:lnTo>
                  <a:close/>
                  <a:moveTo>
                    <a:pt x="211" y="0"/>
                  </a:moveTo>
                  <a:lnTo>
                    <a:pt x="182" y="0"/>
                  </a:lnTo>
                  <a:lnTo>
                    <a:pt x="149" y="2"/>
                  </a:lnTo>
                  <a:lnTo>
                    <a:pt x="114" y="6"/>
                  </a:lnTo>
                  <a:lnTo>
                    <a:pt x="80" y="12"/>
                  </a:lnTo>
                  <a:lnTo>
                    <a:pt x="64" y="16"/>
                  </a:lnTo>
                  <a:lnTo>
                    <a:pt x="49" y="20"/>
                  </a:lnTo>
                  <a:lnTo>
                    <a:pt x="35" y="25"/>
                  </a:lnTo>
                  <a:lnTo>
                    <a:pt x="24" y="31"/>
                  </a:lnTo>
                  <a:lnTo>
                    <a:pt x="14" y="37"/>
                  </a:lnTo>
                  <a:lnTo>
                    <a:pt x="6" y="43"/>
                  </a:lnTo>
                  <a:lnTo>
                    <a:pt x="4" y="48"/>
                  </a:lnTo>
                  <a:lnTo>
                    <a:pt x="2" y="51"/>
                  </a:lnTo>
                  <a:lnTo>
                    <a:pt x="1" y="55"/>
                  </a:lnTo>
                  <a:lnTo>
                    <a:pt x="0" y="60"/>
                  </a:lnTo>
                  <a:lnTo>
                    <a:pt x="0" y="135"/>
                  </a:lnTo>
                  <a:lnTo>
                    <a:pt x="0" y="210"/>
                  </a:lnTo>
                  <a:lnTo>
                    <a:pt x="0" y="285"/>
                  </a:lnTo>
                  <a:lnTo>
                    <a:pt x="0" y="359"/>
                  </a:lnTo>
                  <a:lnTo>
                    <a:pt x="0" y="436"/>
                  </a:lnTo>
                  <a:lnTo>
                    <a:pt x="1" y="440"/>
                  </a:lnTo>
                  <a:lnTo>
                    <a:pt x="2" y="443"/>
                  </a:lnTo>
                  <a:lnTo>
                    <a:pt x="4" y="447"/>
                  </a:lnTo>
                  <a:lnTo>
                    <a:pt x="6" y="451"/>
                  </a:lnTo>
                  <a:lnTo>
                    <a:pt x="14" y="458"/>
                  </a:lnTo>
                  <a:lnTo>
                    <a:pt x="24" y="463"/>
                  </a:lnTo>
                  <a:lnTo>
                    <a:pt x="35" y="469"/>
                  </a:lnTo>
                  <a:lnTo>
                    <a:pt x="49" y="474"/>
                  </a:lnTo>
                  <a:lnTo>
                    <a:pt x="64" y="478"/>
                  </a:lnTo>
                  <a:lnTo>
                    <a:pt x="80" y="483"/>
                  </a:lnTo>
                  <a:lnTo>
                    <a:pt x="114" y="488"/>
                  </a:lnTo>
                  <a:lnTo>
                    <a:pt x="149" y="492"/>
                  </a:lnTo>
                  <a:lnTo>
                    <a:pt x="182" y="494"/>
                  </a:lnTo>
                  <a:lnTo>
                    <a:pt x="211" y="496"/>
                  </a:lnTo>
                  <a:lnTo>
                    <a:pt x="240" y="494"/>
                  </a:lnTo>
                  <a:lnTo>
                    <a:pt x="273" y="492"/>
                  </a:lnTo>
                  <a:lnTo>
                    <a:pt x="307" y="488"/>
                  </a:lnTo>
                  <a:lnTo>
                    <a:pt x="342" y="483"/>
                  </a:lnTo>
                  <a:lnTo>
                    <a:pt x="358" y="478"/>
                  </a:lnTo>
                  <a:lnTo>
                    <a:pt x="373" y="474"/>
                  </a:lnTo>
                  <a:lnTo>
                    <a:pt x="387" y="469"/>
                  </a:lnTo>
                  <a:lnTo>
                    <a:pt x="398" y="463"/>
                  </a:lnTo>
                  <a:lnTo>
                    <a:pt x="408" y="458"/>
                  </a:lnTo>
                  <a:lnTo>
                    <a:pt x="416" y="451"/>
                  </a:lnTo>
                  <a:lnTo>
                    <a:pt x="418" y="447"/>
                  </a:lnTo>
                  <a:lnTo>
                    <a:pt x="420" y="443"/>
                  </a:lnTo>
                  <a:lnTo>
                    <a:pt x="421" y="440"/>
                  </a:lnTo>
                  <a:lnTo>
                    <a:pt x="421" y="436"/>
                  </a:lnTo>
                  <a:lnTo>
                    <a:pt x="421" y="359"/>
                  </a:lnTo>
                  <a:lnTo>
                    <a:pt x="421" y="285"/>
                  </a:lnTo>
                  <a:lnTo>
                    <a:pt x="421" y="210"/>
                  </a:lnTo>
                  <a:lnTo>
                    <a:pt x="421" y="135"/>
                  </a:lnTo>
                  <a:lnTo>
                    <a:pt x="421" y="60"/>
                  </a:lnTo>
                  <a:lnTo>
                    <a:pt x="421" y="55"/>
                  </a:lnTo>
                  <a:lnTo>
                    <a:pt x="420" y="51"/>
                  </a:lnTo>
                  <a:lnTo>
                    <a:pt x="418" y="48"/>
                  </a:lnTo>
                  <a:lnTo>
                    <a:pt x="416" y="43"/>
                  </a:lnTo>
                  <a:lnTo>
                    <a:pt x="408" y="37"/>
                  </a:lnTo>
                  <a:lnTo>
                    <a:pt x="398" y="31"/>
                  </a:lnTo>
                  <a:lnTo>
                    <a:pt x="387" y="25"/>
                  </a:lnTo>
                  <a:lnTo>
                    <a:pt x="373" y="20"/>
                  </a:lnTo>
                  <a:lnTo>
                    <a:pt x="358" y="16"/>
                  </a:lnTo>
                  <a:lnTo>
                    <a:pt x="342" y="12"/>
                  </a:lnTo>
                  <a:lnTo>
                    <a:pt x="307" y="6"/>
                  </a:lnTo>
                  <a:lnTo>
                    <a:pt x="273" y="2"/>
                  </a:lnTo>
                  <a:lnTo>
                    <a:pt x="240"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39" name="Freeform 187">
              <a:extLst>
                <a:ext uri="{FF2B5EF4-FFF2-40B4-BE49-F238E27FC236}">
                  <a16:creationId xmlns:a16="http://schemas.microsoft.com/office/drawing/2014/main" id="{52AD766F-D0B9-41AD-9398-0331C3856CD7}"/>
                </a:ext>
              </a:extLst>
            </p:cNvPr>
            <p:cNvSpPr>
              <a:spLocks/>
            </p:cNvSpPr>
            <p:nvPr/>
          </p:nvSpPr>
          <p:spPr bwMode="auto">
            <a:xfrm>
              <a:off x="9882188" y="1354138"/>
              <a:ext cx="285750" cy="180975"/>
            </a:xfrm>
            <a:custGeom>
              <a:avLst/>
              <a:gdLst>
                <a:gd name="T0" fmla="*/ 0 w 902"/>
                <a:gd name="T1" fmla="*/ 0 h 571"/>
                <a:gd name="T2" fmla="*/ 0 w 902"/>
                <a:gd name="T3" fmla="*/ 345 h 571"/>
                <a:gd name="T4" fmla="*/ 1 w 902"/>
                <a:gd name="T5" fmla="*/ 348 h 571"/>
                <a:gd name="T6" fmla="*/ 1 w 902"/>
                <a:gd name="T7" fmla="*/ 351 h 571"/>
                <a:gd name="T8" fmla="*/ 3 w 902"/>
                <a:gd name="T9" fmla="*/ 353 h 571"/>
                <a:gd name="T10" fmla="*/ 4 w 902"/>
                <a:gd name="T11" fmla="*/ 355 h 571"/>
                <a:gd name="T12" fmla="*/ 6 w 902"/>
                <a:gd name="T13" fmla="*/ 357 h 571"/>
                <a:gd name="T14" fmla="*/ 10 w 902"/>
                <a:gd name="T15" fmla="*/ 358 h 571"/>
                <a:gd name="T16" fmla="*/ 12 w 902"/>
                <a:gd name="T17" fmla="*/ 360 h 571"/>
                <a:gd name="T18" fmla="*/ 15 w 902"/>
                <a:gd name="T19" fmla="*/ 361 h 571"/>
                <a:gd name="T20" fmla="*/ 18 w 902"/>
                <a:gd name="T21" fmla="*/ 360 h 571"/>
                <a:gd name="T22" fmla="*/ 21 w 902"/>
                <a:gd name="T23" fmla="*/ 358 h 571"/>
                <a:gd name="T24" fmla="*/ 24 w 902"/>
                <a:gd name="T25" fmla="*/ 357 h 571"/>
                <a:gd name="T26" fmla="*/ 26 w 902"/>
                <a:gd name="T27" fmla="*/ 355 h 571"/>
                <a:gd name="T28" fmla="*/ 28 w 902"/>
                <a:gd name="T29" fmla="*/ 353 h 571"/>
                <a:gd name="T30" fmla="*/ 29 w 902"/>
                <a:gd name="T31" fmla="*/ 351 h 571"/>
                <a:gd name="T32" fmla="*/ 30 w 902"/>
                <a:gd name="T33" fmla="*/ 348 h 571"/>
                <a:gd name="T34" fmla="*/ 30 w 902"/>
                <a:gd name="T35" fmla="*/ 345 h 571"/>
                <a:gd name="T36" fmla="*/ 30 w 902"/>
                <a:gd name="T37" fmla="*/ 30 h 571"/>
                <a:gd name="T38" fmla="*/ 872 w 902"/>
                <a:gd name="T39" fmla="*/ 30 h 571"/>
                <a:gd name="T40" fmla="*/ 872 w 902"/>
                <a:gd name="T41" fmla="*/ 541 h 571"/>
                <a:gd name="T42" fmla="*/ 572 w 902"/>
                <a:gd name="T43" fmla="*/ 541 h 571"/>
                <a:gd name="T44" fmla="*/ 569 w 902"/>
                <a:gd name="T45" fmla="*/ 541 h 571"/>
                <a:gd name="T46" fmla="*/ 566 w 902"/>
                <a:gd name="T47" fmla="*/ 542 h 571"/>
                <a:gd name="T48" fmla="*/ 563 w 902"/>
                <a:gd name="T49" fmla="*/ 543 h 571"/>
                <a:gd name="T50" fmla="*/ 561 w 902"/>
                <a:gd name="T51" fmla="*/ 545 h 571"/>
                <a:gd name="T52" fmla="*/ 559 w 902"/>
                <a:gd name="T53" fmla="*/ 547 h 571"/>
                <a:gd name="T54" fmla="*/ 558 w 902"/>
                <a:gd name="T55" fmla="*/ 550 h 571"/>
                <a:gd name="T56" fmla="*/ 557 w 902"/>
                <a:gd name="T57" fmla="*/ 552 h 571"/>
                <a:gd name="T58" fmla="*/ 557 w 902"/>
                <a:gd name="T59" fmla="*/ 556 h 571"/>
                <a:gd name="T60" fmla="*/ 557 w 902"/>
                <a:gd name="T61" fmla="*/ 559 h 571"/>
                <a:gd name="T62" fmla="*/ 558 w 902"/>
                <a:gd name="T63" fmla="*/ 561 h 571"/>
                <a:gd name="T64" fmla="*/ 559 w 902"/>
                <a:gd name="T65" fmla="*/ 564 h 571"/>
                <a:gd name="T66" fmla="*/ 561 w 902"/>
                <a:gd name="T67" fmla="*/ 566 h 571"/>
                <a:gd name="T68" fmla="*/ 563 w 902"/>
                <a:gd name="T69" fmla="*/ 568 h 571"/>
                <a:gd name="T70" fmla="*/ 566 w 902"/>
                <a:gd name="T71" fmla="*/ 569 h 571"/>
                <a:gd name="T72" fmla="*/ 569 w 902"/>
                <a:gd name="T73" fmla="*/ 571 h 571"/>
                <a:gd name="T74" fmla="*/ 572 w 902"/>
                <a:gd name="T75" fmla="*/ 571 h 571"/>
                <a:gd name="T76" fmla="*/ 902 w 902"/>
                <a:gd name="T77" fmla="*/ 571 h 571"/>
                <a:gd name="T78" fmla="*/ 902 w 902"/>
                <a:gd name="T79" fmla="*/ 0 h 571"/>
                <a:gd name="T80" fmla="*/ 0 w 902"/>
                <a:gd name="T81"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2" h="571">
                  <a:moveTo>
                    <a:pt x="0" y="0"/>
                  </a:moveTo>
                  <a:lnTo>
                    <a:pt x="0" y="345"/>
                  </a:lnTo>
                  <a:lnTo>
                    <a:pt x="1" y="348"/>
                  </a:lnTo>
                  <a:lnTo>
                    <a:pt x="1" y="351"/>
                  </a:lnTo>
                  <a:lnTo>
                    <a:pt x="3" y="353"/>
                  </a:lnTo>
                  <a:lnTo>
                    <a:pt x="4" y="355"/>
                  </a:lnTo>
                  <a:lnTo>
                    <a:pt x="6" y="357"/>
                  </a:lnTo>
                  <a:lnTo>
                    <a:pt x="10" y="358"/>
                  </a:lnTo>
                  <a:lnTo>
                    <a:pt x="12" y="360"/>
                  </a:lnTo>
                  <a:lnTo>
                    <a:pt x="15" y="361"/>
                  </a:lnTo>
                  <a:lnTo>
                    <a:pt x="18" y="360"/>
                  </a:lnTo>
                  <a:lnTo>
                    <a:pt x="21" y="358"/>
                  </a:lnTo>
                  <a:lnTo>
                    <a:pt x="24" y="357"/>
                  </a:lnTo>
                  <a:lnTo>
                    <a:pt x="26" y="355"/>
                  </a:lnTo>
                  <a:lnTo>
                    <a:pt x="28" y="353"/>
                  </a:lnTo>
                  <a:lnTo>
                    <a:pt x="29" y="351"/>
                  </a:lnTo>
                  <a:lnTo>
                    <a:pt x="30" y="348"/>
                  </a:lnTo>
                  <a:lnTo>
                    <a:pt x="30" y="345"/>
                  </a:lnTo>
                  <a:lnTo>
                    <a:pt x="30" y="30"/>
                  </a:lnTo>
                  <a:lnTo>
                    <a:pt x="872" y="30"/>
                  </a:lnTo>
                  <a:lnTo>
                    <a:pt x="872" y="541"/>
                  </a:lnTo>
                  <a:lnTo>
                    <a:pt x="572" y="541"/>
                  </a:lnTo>
                  <a:lnTo>
                    <a:pt x="569" y="541"/>
                  </a:lnTo>
                  <a:lnTo>
                    <a:pt x="566" y="542"/>
                  </a:lnTo>
                  <a:lnTo>
                    <a:pt x="563" y="543"/>
                  </a:lnTo>
                  <a:lnTo>
                    <a:pt x="561" y="545"/>
                  </a:lnTo>
                  <a:lnTo>
                    <a:pt x="559" y="547"/>
                  </a:lnTo>
                  <a:lnTo>
                    <a:pt x="558" y="550"/>
                  </a:lnTo>
                  <a:lnTo>
                    <a:pt x="557" y="552"/>
                  </a:lnTo>
                  <a:lnTo>
                    <a:pt x="557" y="556"/>
                  </a:lnTo>
                  <a:lnTo>
                    <a:pt x="557" y="559"/>
                  </a:lnTo>
                  <a:lnTo>
                    <a:pt x="558" y="561"/>
                  </a:lnTo>
                  <a:lnTo>
                    <a:pt x="559" y="564"/>
                  </a:lnTo>
                  <a:lnTo>
                    <a:pt x="561" y="566"/>
                  </a:lnTo>
                  <a:lnTo>
                    <a:pt x="563" y="568"/>
                  </a:lnTo>
                  <a:lnTo>
                    <a:pt x="566" y="569"/>
                  </a:lnTo>
                  <a:lnTo>
                    <a:pt x="569" y="571"/>
                  </a:lnTo>
                  <a:lnTo>
                    <a:pt x="572" y="571"/>
                  </a:lnTo>
                  <a:lnTo>
                    <a:pt x="902" y="571"/>
                  </a:lnTo>
                  <a:lnTo>
                    <a:pt x="90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40" name="Freeform 188">
              <a:extLst>
                <a:ext uri="{FF2B5EF4-FFF2-40B4-BE49-F238E27FC236}">
                  <a16:creationId xmlns:a16="http://schemas.microsoft.com/office/drawing/2014/main" id="{0A67C5AD-6BB6-4F0D-8F82-4E64B4F00C27}"/>
                </a:ext>
              </a:extLst>
            </p:cNvPr>
            <p:cNvSpPr>
              <a:spLocks noEditPoints="1"/>
            </p:cNvSpPr>
            <p:nvPr/>
          </p:nvSpPr>
          <p:spPr bwMode="auto">
            <a:xfrm>
              <a:off x="9986963" y="1406525"/>
              <a:ext cx="76200" cy="76200"/>
            </a:xfrm>
            <a:custGeom>
              <a:avLst/>
              <a:gdLst>
                <a:gd name="T0" fmla="*/ 102 w 241"/>
                <a:gd name="T1" fmla="*/ 208 h 241"/>
                <a:gd name="T2" fmla="*/ 77 w 241"/>
                <a:gd name="T3" fmla="*/ 199 h 241"/>
                <a:gd name="T4" fmla="*/ 57 w 241"/>
                <a:gd name="T5" fmla="*/ 184 h 241"/>
                <a:gd name="T6" fmla="*/ 41 w 241"/>
                <a:gd name="T7" fmla="*/ 162 h 241"/>
                <a:gd name="T8" fmla="*/ 32 w 241"/>
                <a:gd name="T9" fmla="*/ 138 h 241"/>
                <a:gd name="T10" fmla="*/ 31 w 241"/>
                <a:gd name="T11" fmla="*/ 111 h 241"/>
                <a:gd name="T12" fmla="*/ 37 w 241"/>
                <a:gd name="T13" fmla="*/ 85 h 241"/>
                <a:gd name="T14" fmla="*/ 50 w 241"/>
                <a:gd name="T15" fmla="*/ 63 h 241"/>
                <a:gd name="T16" fmla="*/ 70 w 241"/>
                <a:gd name="T17" fmla="*/ 46 h 241"/>
                <a:gd name="T18" fmla="*/ 93 w 241"/>
                <a:gd name="T19" fmla="*/ 34 h 241"/>
                <a:gd name="T20" fmla="*/ 120 w 241"/>
                <a:gd name="T21" fmla="*/ 30 h 241"/>
                <a:gd name="T22" fmla="*/ 147 w 241"/>
                <a:gd name="T23" fmla="*/ 34 h 241"/>
                <a:gd name="T24" fmla="*/ 170 w 241"/>
                <a:gd name="T25" fmla="*/ 46 h 241"/>
                <a:gd name="T26" fmla="*/ 190 w 241"/>
                <a:gd name="T27" fmla="*/ 63 h 241"/>
                <a:gd name="T28" fmla="*/ 204 w 241"/>
                <a:gd name="T29" fmla="*/ 85 h 241"/>
                <a:gd name="T30" fmla="*/ 210 w 241"/>
                <a:gd name="T31" fmla="*/ 111 h 241"/>
                <a:gd name="T32" fmla="*/ 209 w 241"/>
                <a:gd name="T33" fmla="*/ 138 h 241"/>
                <a:gd name="T34" fmla="*/ 199 w 241"/>
                <a:gd name="T35" fmla="*/ 162 h 241"/>
                <a:gd name="T36" fmla="*/ 184 w 241"/>
                <a:gd name="T37" fmla="*/ 184 h 241"/>
                <a:gd name="T38" fmla="*/ 163 w 241"/>
                <a:gd name="T39" fmla="*/ 199 h 241"/>
                <a:gd name="T40" fmla="*/ 138 w 241"/>
                <a:gd name="T41" fmla="*/ 208 h 241"/>
                <a:gd name="T42" fmla="*/ 120 w 241"/>
                <a:gd name="T43" fmla="*/ 210 h 241"/>
                <a:gd name="T44" fmla="*/ 96 w 241"/>
                <a:gd name="T45" fmla="*/ 2 h 241"/>
                <a:gd name="T46" fmla="*/ 63 w 241"/>
                <a:gd name="T47" fmla="*/ 15 h 241"/>
                <a:gd name="T48" fmla="*/ 35 w 241"/>
                <a:gd name="T49" fmla="*/ 35 h 241"/>
                <a:gd name="T50" fmla="*/ 15 w 241"/>
                <a:gd name="T51" fmla="*/ 63 h 241"/>
                <a:gd name="T52" fmla="*/ 2 w 241"/>
                <a:gd name="T53" fmla="*/ 96 h 241"/>
                <a:gd name="T54" fmla="*/ 1 w 241"/>
                <a:gd name="T55" fmla="*/ 132 h 241"/>
                <a:gd name="T56" fmla="*/ 10 w 241"/>
                <a:gd name="T57" fmla="*/ 167 h 241"/>
                <a:gd name="T58" fmla="*/ 28 w 241"/>
                <a:gd name="T59" fmla="*/ 197 h 241"/>
                <a:gd name="T60" fmla="*/ 54 w 241"/>
                <a:gd name="T61" fmla="*/ 219 h 241"/>
                <a:gd name="T62" fmla="*/ 85 w 241"/>
                <a:gd name="T63" fmla="*/ 235 h 241"/>
                <a:gd name="T64" fmla="*/ 120 w 241"/>
                <a:gd name="T65" fmla="*/ 241 h 241"/>
                <a:gd name="T66" fmla="*/ 156 w 241"/>
                <a:gd name="T67" fmla="*/ 235 h 241"/>
                <a:gd name="T68" fmla="*/ 187 w 241"/>
                <a:gd name="T69" fmla="*/ 219 h 241"/>
                <a:gd name="T70" fmla="*/ 213 w 241"/>
                <a:gd name="T71" fmla="*/ 197 h 241"/>
                <a:gd name="T72" fmla="*/ 231 w 241"/>
                <a:gd name="T73" fmla="*/ 167 h 241"/>
                <a:gd name="T74" fmla="*/ 240 w 241"/>
                <a:gd name="T75" fmla="*/ 132 h 241"/>
                <a:gd name="T76" fmla="*/ 238 w 241"/>
                <a:gd name="T77" fmla="*/ 96 h 241"/>
                <a:gd name="T78" fmla="*/ 226 w 241"/>
                <a:gd name="T79" fmla="*/ 63 h 241"/>
                <a:gd name="T80" fmla="*/ 206 w 241"/>
                <a:gd name="T81" fmla="*/ 35 h 241"/>
                <a:gd name="T82" fmla="*/ 178 w 241"/>
                <a:gd name="T83" fmla="*/ 15 h 241"/>
                <a:gd name="T84" fmla="*/ 145 w 241"/>
                <a:gd name="T85" fmla="*/ 2 h 241"/>
                <a:gd name="T86" fmla="*/ 120 w 241"/>
                <a:gd name="T8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1" h="241">
                  <a:moveTo>
                    <a:pt x="120" y="210"/>
                  </a:moveTo>
                  <a:lnTo>
                    <a:pt x="111" y="210"/>
                  </a:lnTo>
                  <a:lnTo>
                    <a:pt x="102" y="208"/>
                  </a:lnTo>
                  <a:lnTo>
                    <a:pt x="93" y="206"/>
                  </a:lnTo>
                  <a:lnTo>
                    <a:pt x="86" y="203"/>
                  </a:lnTo>
                  <a:lnTo>
                    <a:pt x="77" y="199"/>
                  </a:lnTo>
                  <a:lnTo>
                    <a:pt x="70" y="195"/>
                  </a:lnTo>
                  <a:lnTo>
                    <a:pt x="63" y="189"/>
                  </a:lnTo>
                  <a:lnTo>
                    <a:pt x="57" y="184"/>
                  </a:lnTo>
                  <a:lnTo>
                    <a:pt x="50" y="177"/>
                  </a:lnTo>
                  <a:lnTo>
                    <a:pt x="46" y="170"/>
                  </a:lnTo>
                  <a:lnTo>
                    <a:pt x="41" y="162"/>
                  </a:lnTo>
                  <a:lnTo>
                    <a:pt x="37" y="155"/>
                  </a:lnTo>
                  <a:lnTo>
                    <a:pt x="34" y="146"/>
                  </a:lnTo>
                  <a:lnTo>
                    <a:pt x="32" y="138"/>
                  </a:lnTo>
                  <a:lnTo>
                    <a:pt x="31" y="129"/>
                  </a:lnTo>
                  <a:lnTo>
                    <a:pt x="30" y="120"/>
                  </a:lnTo>
                  <a:lnTo>
                    <a:pt x="31" y="111"/>
                  </a:lnTo>
                  <a:lnTo>
                    <a:pt x="32" y="101"/>
                  </a:lnTo>
                  <a:lnTo>
                    <a:pt x="34" y="93"/>
                  </a:lnTo>
                  <a:lnTo>
                    <a:pt x="37" y="85"/>
                  </a:lnTo>
                  <a:lnTo>
                    <a:pt x="41" y="77"/>
                  </a:lnTo>
                  <a:lnTo>
                    <a:pt x="46" y="69"/>
                  </a:lnTo>
                  <a:lnTo>
                    <a:pt x="50" y="63"/>
                  </a:lnTo>
                  <a:lnTo>
                    <a:pt x="57" y="56"/>
                  </a:lnTo>
                  <a:lnTo>
                    <a:pt x="63" y="50"/>
                  </a:lnTo>
                  <a:lnTo>
                    <a:pt x="70" y="46"/>
                  </a:lnTo>
                  <a:lnTo>
                    <a:pt x="77" y="40"/>
                  </a:lnTo>
                  <a:lnTo>
                    <a:pt x="86" y="37"/>
                  </a:lnTo>
                  <a:lnTo>
                    <a:pt x="93" y="34"/>
                  </a:lnTo>
                  <a:lnTo>
                    <a:pt x="102" y="32"/>
                  </a:lnTo>
                  <a:lnTo>
                    <a:pt x="111" y="31"/>
                  </a:lnTo>
                  <a:lnTo>
                    <a:pt x="120" y="30"/>
                  </a:lnTo>
                  <a:lnTo>
                    <a:pt x="130" y="31"/>
                  </a:lnTo>
                  <a:lnTo>
                    <a:pt x="138" y="32"/>
                  </a:lnTo>
                  <a:lnTo>
                    <a:pt x="147" y="34"/>
                  </a:lnTo>
                  <a:lnTo>
                    <a:pt x="155" y="37"/>
                  </a:lnTo>
                  <a:lnTo>
                    <a:pt x="163" y="40"/>
                  </a:lnTo>
                  <a:lnTo>
                    <a:pt x="170" y="46"/>
                  </a:lnTo>
                  <a:lnTo>
                    <a:pt x="178" y="50"/>
                  </a:lnTo>
                  <a:lnTo>
                    <a:pt x="184" y="56"/>
                  </a:lnTo>
                  <a:lnTo>
                    <a:pt x="190" y="63"/>
                  </a:lnTo>
                  <a:lnTo>
                    <a:pt x="195" y="69"/>
                  </a:lnTo>
                  <a:lnTo>
                    <a:pt x="199" y="77"/>
                  </a:lnTo>
                  <a:lnTo>
                    <a:pt x="204" y="85"/>
                  </a:lnTo>
                  <a:lnTo>
                    <a:pt x="207" y="93"/>
                  </a:lnTo>
                  <a:lnTo>
                    <a:pt x="209" y="101"/>
                  </a:lnTo>
                  <a:lnTo>
                    <a:pt x="210" y="111"/>
                  </a:lnTo>
                  <a:lnTo>
                    <a:pt x="211" y="120"/>
                  </a:lnTo>
                  <a:lnTo>
                    <a:pt x="210" y="129"/>
                  </a:lnTo>
                  <a:lnTo>
                    <a:pt x="209" y="138"/>
                  </a:lnTo>
                  <a:lnTo>
                    <a:pt x="207" y="146"/>
                  </a:lnTo>
                  <a:lnTo>
                    <a:pt x="204" y="155"/>
                  </a:lnTo>
                  <a:lnTo>
                    <a:pt x="199" y="162"/>
                  </a:lnTo>
                  <a:lnTo>
                    <a:pt x="195" y="170"/>
                  </a:lnTo>
                  <a:lnTo>
                    <a:pt x="190" y="177"/>
                  </a:lnTo>
                  <a:lnTo>
                    <a:pt x="184" y="184"/>
                  </a:lnTo>
                  <a:lnTo>
                    <a:pt x="178" y="189"/>
                  </a:lnTo>
                  <a:lnTo>
                    <a:pt x="170" y="195"/>
                  </a:lnTo>
                  <a:lnTo>
                    <a:pt x="163" y="199"/>
                  </a:lnTo>
                  <a:lnTo>
                    <a:pt x="155" y="203"/>
                  </a:lnTo>
                  <a:lnTo>
                    <a:pt x="147" y="206"/>
                  </a:lnTo>
                  <a:lnTo>
                    <a:pt x="138" y="208"/>
                  </a:lnTo>
                  <a:lnTo>
                    <a:pt x="130" y="210"/>
                  </a:lnTo>
                  <a:lnTo>
                    <a:pt x="120" y="211"/>
                  </a:lnTo>
                  <a:lnTo>
                    <a:pt x="120" y="210"/>
                  </a:lnTo>
                  <a:close/>
                  <a:moveTo>
                    <a:pt x="120" y="0"/>
                  </a:moveTo>
                  <a:lnTo>
                    <a:pt x="108" y="1"/>
                  </a:lnTo>
                  <a:lnTo>
                    <a:pt x="96" y="2"/>
                  </a:lnTo>
                  <a:lnTo>
                    <a:pt x="85" y="5"/>
                  </a:lnTo>
                  <a:lnTo>
                    <a:pt x="74" y="9"/>
                  </a:lnTo>
                  <a:lnTo>
                    <a:pt x="63" y="15"/>
                  </a:lnTo>
                  <a:lnTo>
                    <a:pt x="54" y="20"/>
                  </a:lnTo>
                  <a:lnTo>
                    <a:pt x="44" y="27"/>
                  </a:lnTo>
                  <a:lnTo>
                    <a:pt x="35" y="35"/>
                  </a:lnTo>
                  <a:lnTo>
                    <a:pt x="28" y="43"/>
                  </a:lnTo>
                  <a:lnTo>
                    <a:pt x="20" y="53"/>
                  </a:lnTo>
                  <a:lnTo>
                    <a:pt x="15" y="63"/>
                  </a:lnTo>
                  <a:lnTo>
                    <a:pt x="10" y="73"/>
                  </a:lnTo>
                  <a:lnTo>
                    <a:pt x="5" y="84"/>
                  </a:lnTo>
                  <a:lnTo>
                    <a:pt x="2" y="96"/>
                  </a:lnTo>
                  <a:lnTo>
                    <a:pt x="1" y="108"/>
                  </a:lnTo>
                  <a:lnTo>
                    <a:pt x="0" y="120"/>
                  </a:lnTo>
                  <a:lnTo>
                    <a:pt x="1" y="132"/>
                  </a:lnTo>
                  <a:lnTo>
                    <a:pt x="2" y="144"/>
                  </a:lnTo>
                  <a:lnTo>
                    <a:pt x="5" y="156"/>
                  </a:lnTo>
                  <a:lnTo>
                    <a:pt x="10" y="167"/>
                  </a:lnTo>
                  <a:lnTo>
                    <a:pt x="15" y="177"/>
                  </a:lnTo>
                  <a:lnTo>
                    <a:pt x="20" y="187"/>
                  </a:lnTo>
                  <a:lnTo>
                    <a:pt x="28" y="197"/>
                  </a:lnTo>
                  <a:lnTo>
                    <a:pt x="35" y="205"/>
                  </a:lnTo>
                  <a:lnTo>
                    <a:pt x="44" y="213"/>
                  </a:lnTo>
                  <a:lnTo>
                    <a:pt x="54" y="219"/>
                  </a:lnTo>
                  <a:lnTo>
                    <a:pt x="63" y="226"/>
                  </a:lnTo>
                  <a:lnTo>
                    <a:pt x="74" y="231"/>
                  </a:lnTo>
                  <a:lnTo>
                    <a:pt x="85" y="235"/>
                  </a:lnTo>
                  <a:lnTo>
                    <a:pt x="96" y="237"/>
                  </a:lnTo>
                  <a:lnTo>
                    <a:pt x="108" y="239"/>
                  </a:lnTo>
                  <a:lnTo>
                    <a:pt x="120" y="241"/>
                  </a:lnTo>
                  <a:lnTo>
                    <a:pt x="133" y="239"/>
                  </a:lnTo>
                  <a:lnTo>
                    <a:pt x="145" y="237"/>
                  </a:lnTo>
                  <a:lnTo>
                    <a:pt x="156" y="235"/>
                  </a:lnTo>
                  <a:lnTo>
                    <a:pt x="167" y="231"/>
                  </a:lnTo>
                  <a:lnTo>
                    <a:pt x="178" y="226"/>
                  </a:lnTo>
                  <a:lnTo>
                    <a:pt x="187" y="219"/>
                  </a:lnTo>
                  <a:lnTo>
                    <a:pt x="197" y="213"/>
                  </a:lnTo>
                  <a:lnTo>
                    <a:pt x="206" y="205"/>
                  </a:lnTo>
                  <a:lnTo>
                    <a:pt x="213" y="197"/>
                  </a:lnTo>
                  <a:lnTo>
                    <a:pt x="220" y="187"/>
                  </a:lnTo>
                  <a:lnTo>
                    <a:pt x="226" y="177"/>
                  </a:lnTo>
                  <a:lnTo>
                    <a:pt x="231" y="167"/>
                  </a:lnTo>
                  <a:lnTo>
                    <a:pt x="236" y="156"/>
                  </a:lnTo>
                  <a:lnTo>
                    <a:pt x="238" y="144"/>
                  </a:lnTo>
                  <a:lnTo>
                    <a:pt x="240" y="132"/>
                  </a:lnTo>
                  <a:lnTo>
                    <a:pt x="241" y="120"/>
                  </a:lnTo>
                  <a:lnTo>
                    <a:pt x="240" y="108"/>
                  </a:lnTo>
                  <a:lnTo>
                    <a:pt x="238" y="96"/>
                  </a:lnTo>
                  <a:lnTo>
                    <a:pt x="236" y="84"/>
                  </a:lnTo>
                  <a:lnTo>
                    <a:pt x="231" y="73"/>
                  </a:lnTo>
                  <a:lnTo>
                    <a:pt x="226" y="63"/>
                  </a:lnTo>
                  <a:lnTo>
                    <a:pt x="220" y="53"/>
                  </a:lnTo>
                  <a:lnTo>
                    <a:pt x="213" y="43"/>
                  </a:lnTo>
                  <a:lnTo>
                    <a:pt x="206" y="35"/>
                  </a:lnTo>
                  <a:lnTo>
                    <a:pt x="197" y="27"/>
                  </a:lnTo>
                  <a:lnTo>
                    <a:pt x="187" y="20"/>
                  </a:lnTo>
                  <a:lnTo>
                    <a:pt x="178" y="15"/>
                  </a:lnTo>
                  <a:lnTo>
                    <a:pt x="167" y="9"/>
                  </a:lnTo>
                  <a:lnTo>
                    <a:pt x="156" y="5"/>
                  </a:lnTo>
                  <a:lnTo>
                    <a:pt x="145" y="2"/>
                  </a:lnTo>
                  <a:lnTo>
                    <a:pt x="133" y="1"/>
                  </a:lnTo>
                  <a:lnTo>
                    <a:pt x="120" y="0"/>
                  </a:lnTo>
                  <a:lnTo>
                    <a:pt x="1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41" name="Freeform 189">
              <a:extLst>
                <a:ext uri="{FF2B5EF4-FFF2-40B4-BE49-F238E27FC236}">
                  <a16:creationId xmlns:a16="http://schemas.microsoft.com/office/drawing/2014/main" id="{A8D22E7A-860B-4EC2-9591-2B94E128F515}"/>
                </a:ext>
              </a:extLst>
            </p:cNvPr>
            <p:cNvSpPr>
              <a:spLocks noEditPoints="1"/>
            </p:cNvSpPr>
            <p:nvPr/>
          </p:nvSpPr>
          <p:spPr bwMode="auto">
            <a:xfrm>
              <a:off x="10091738" y="1458913"/>
              <a:ext cx="28575" cy="28575"/>
            </a:xfrm>
            <a:custGeom>
              <a:avLst/>
              <a:gdLst>
                <a:gd name="T0" fmla="*/ 30 w 90"/>
                <a:gd name="T1" fmla="*/ 42 h 91"/>
                <a:gd name="T2" fmla="*/ 32 w 90"/>
                <a:gd name="T3" fmla="*/ 37 h 91"/>
                <a:gd name="T4" fmla="*/ 36 w 90"/>
                <a:gd name="T5" fmla="*/ 33 h 91"/>
                <a:gd name="T6" fmla="*/ 42 w 90"/>
                <a:gd name="T7" fmla="*/ 31 h 91"/>
                <a:gd name="T8" fmla="*/ 48 w 90"/>
                <a:gd name="T9" fmla="*/ 31 h 91"/>
                <a:gd name="T10" fmla="*/ 54 w 90"/>
                <a:gd name="T11" fmla="*/ 33 h 91"/>
                <a:gd name="T12" fmla="*/ 58 w 90"/>
                <a:gd name="T13" fmla="*/ 37 h 91"/>
                <a:gd name="T14" fmla="*/ 60 w 90"/>
                <a:gd name="T15" fmla="*/ 42 h 91"/>
                <a:gd name="T16" fmla="*/ 60 w 90"/>
                <a:gd name="T17" fmla="*/ 48 h 91"/>
                <a:gd name="T18" fmla="*/ 58 w 90"/>
                <a:gd name="T19" fmla="*/ 53 h 91"/>
                <a:gd name="T20" fmla="*/ 54 w 90"/>
                <a:gd name="T21" fmla="*/ 57 h 91"/>
                <a:gd name="T22" fmla="*/ 48 w 90"/>
                <a:gd name="T23" fmla="*/ 60 h 91"/>
                <a:gd name="T24" fmla="*/ 42 w 90"/>
                <a:gd name="T25" fmla="*/ 60 h 91"/>
                <a:gd name="T26" fmla="*/ 36 w 90"/>
                <a:gd name="T27" fmla="*/ 57 h 91"/>
                <a:gd name="T28" fmla="*/ 32 w 90"/>
                <a:gd name="T29" fmla="*/ 53 h 91"/>
                <a:gd name="T30" fmla="*/ 30 w 90"/>
                <a:gd name="T31" fmla="*/ 48 h 91"/>
                <a:gd name="T32" fmla="*/ 30 w 90"/>
                <a:gd name="T33" fmla="*/ 45 h 91"/>
                <a:gd name="T34" fmla="*/ 89 w 90"/>
                <a:gd name="T35" fmla="*/ 36 h 91"/>
                <a:gd name="T36" fmla="*/ 83 w 90"/>
                <a:gd name="T37" fmla="*/ 20 h 91"/>
                <a:gd name="T38" fmla="*/ 70 w 90"/>
                <a:gd name="T39" fmla="*/ 8 h 91"/>
                <a:gd name="T40" fmla="*/ 54 w 90"/>
                <a:gd name="T41" fmla="*/ 1 h 91"/>
                <a:gd name="T42" fmla="*/ 35 w 90"/>
                <a:gd name="T43" fmla="*/ 1 h 91"/>
                <a:gd name="T44" fmla="*/ 19 w 90"/>
                <a:gd name="T45" fmla="*/ 8 h 91"/>
                <a:gd name="T46" fmla="*/ 8 w 90"/>
                <a:gd name="T47" fmla="*/ 20 h 91"/>
                <a:gd name="T48" fmla="*/ 1 w 90"/>
                <a:gd name="T49" fmla="*/ 36 h 91"/>
                <a:gd name="T50" fmla="*/ 1 w 90"/>
                <a:gd name="T51" fmla="*/ 54 h 91"/>
                <a:gd name="T52" fmla="*/ 8 w 90"/>
                <a:gd name="T53" fmla="*/ 70 h 91"/>
                <a:gd name="T54" fmla="*/ 19 w 90"/>
                <a:gd name="T55" fmla="*/ 82 h 91"/>
                <a:gd name="T56" fmla="*/ 35 w 90"/>
                <a:gd name="T57" fmla="*/ 89 h 91"/>
                <a:gd name="T58" fmla="*/ 54 w 90"/>
                <a:gd name="T59" fmla="*/ 89 h 91"/>
                <a:gd name="T60" fmla="*/ 70 w 90"/>
                <a:gd name="T61" fmla="*/ 82 h 91"/>
                <a:gd name="T62" fmla="*/ 83 w 90"/>
                <a:gd name="T63" fmla="*/ 70 h 91"/>
                <a:gd name="T64" fmla="*/ 89 w 90"/>
                <a:gd name="T65" fmla="*/ 54 h 91"/>
                <a:gd name="T66" fmla="*/ 90 w 90"/>
                <a:gd name="T67"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 h="91">
                  <a:moveTo>
                    <a:pt x="30" y="45"/>
                  </a:moveTo>
                  <a:lnTo>
                    <a:pt x="30" y="42"/>
                  </a:lnTo>
                  <a:lnTo>
                    <a:pt x="31" y="39"/>
                  </a:lnTo>
                  <a:lnTo>
                    <a:pt x="32" y="37"/>
                  </a:lnTo>
                  <a:lnTo>
                    <a:pt x="34" y="35"/>
                  </a:lnTo>
                  <a:lnTo>
                    <a:pt x="36" y="33"/>
                  </a:lnTo>
                  <a:lnTo>
                    <a:pt x="39" y="32"/>
                  </a:lnTo>
                  <a:lnTo>
                    <a:pt x="42" y="31"/>
                  </a:lnTo>
                  <a:lnTo>
                    <a:pt x="45" y="31"/>
                  </a:lnTo>
                  <a:lnTo>
                    <a:pt x="48" y="31"/>
                  </a:lnTo>
                  <a:lnTo>
                    <a:pt x="50" y="32"/>
                  </a:lnTo>
                  <a:lnTo>
                    <a:pt x="54" y="33"/>
                  </a:lnTo>
                  <a:lnTo>
                    <a:pt x="56" y="35"/>
                  </a:lnTo>
                  <a:lnTo>
                    <a:pt x="58" y="37"/>
                  </a:lnTo>
                  <a:lnTo>
                    <a:pt x="59" y="39"/>
                  </a:lnTo>
                  <a:lnTo>
                    <a:pt x="60" y="42"/>
                  </a:lnTo>
                  <a:lnTo>
                    <a:pt x="60" y="46"/>
                  </a:lnTo>
                  <a:lnTo>
                    <a:pt x="60" y="48"/>
                  </a:lnTo>
                  <a:lnTo>
                    <a:pt x="59" y="51"/>
                  </a:lnTo>
                  <a:lnTo>
                    <a:pt x="58" y="53"/>
                  </a:lnTo>
                  <a:lnTo>
                    <a:pt x="56" y="55"/>
                  </a:lnTo>
                  <a:lnTo>
                    <a:pt x="54" y="57"/>
                  </a:lnTo>
                  <a:lnTo>
                    <a:pt x="50" y="58"/>
                  </a:lnTo>
                  <a:lnTo>
                    <a:pt x="48" y="60"/>
                  </a:lnTo>
                  <a:lnTo>
                    <a:pt x="45" y="61"/>
                  </a:lnTo>
                  <a:lnTo>
                    <a:pt x="42" y="60"/>
                  </a:lnTo>
                  <a:lnTo>
                    <a:pt x="39" y="58"/>
                  </a:lnTo>
                  <a:lnTo>
                    <a:pt x="36" y="57"/>
                  </a:lnTo>
                  <a:lnTo>
                    <a:pt x="34" y="55"/>
                  </a:lnTo>
                  <a:lnTo>
                    <a:pt x="32" y="53"/>
                  </a:lnTo>
                  <a:lnTo>
                    <a:pt x="31" y="51"/>
                  </a:lnTo>
                  <a:lnTo>
                    <a:pt x="30" y="48"/>
                  </a:lnTo>
                  <a:lnTo>
                    <a:pt x="30" y="46"/>
                  </a:lnTo>
                  <a:lnTo>
                    <a:pt x="30" y="45"/>
                  </a:lnTo>
                  <a:close/>
                  <a:moveTo>
                    <a:pt x="90" y="45"/>
                  </a:moveTo>
                  <a:lnTo>
                    <a:pt x="89" y="36"/>
                  </a:lnTo>
                  <a:lnTo>
                    <a:pt x="87" y="27"/>
                  </a:lnTo>
                  <a:lnTo>
                    <a:pt x="83" y="20"/>
                  </a:lnTo>
                  <a:lnTo>
                    <a:pt x="77" y="13"/>
                  </a:lnTo>
                  <a:lnTo>
                    <a:pt x="70" y="8"/>
                  </a:lnTo>
                  <a:lnTo>
                    <a:pt x="62" y="4"/>
                  </a:lnTo>
                  <a:lnTo>
                    <a:pt x="54" y="1"/>
                  </a:lnTo>
                  <a:lnTo>
                    <a:pt x="45" y="0"/>
                  </a:lnTo>
                  <a:lnTo>
                    <a:pt x="35" y="1"/>
                  </a:lnTo>
                  <a:lnTo>
                    <a:pt x="28" y="4"/>
                  </a:lnTo>
                  <a:lnTo>
                    <a:pt x="19" y="8"/>
                  </a:lnTo>
                  <a:lnTo>
                    <a:pt x="13" y="13"/>
                  </a:lnTo>
                  <a:lnTo>
                    <a:pt x="8" y="20"/>
                  </a:lnTo>
                  <a:lnTo>
                    <a:pt x="3" y="27"/>
                  </a:lnTo>
                  <a:lnTo>
                    <a:pt x="1" y="36"/>
                  </a:lnTo>
                  <a:lnTo>
                    <a:pt x="0" y="46"/>
                  </a:lnTo>
                  <a:lnTo>
                    <a:pt x="1" y="54"/>
                  </a:lnTo>
                  <a:lnTo>
                    <a:pt x="3" y="63"/>
                  </a:lnTo>
                  <a:lnTo>
                    <a:pt x="8" y="70"/>
                  </a:lnTo>
                  <a:lnTo>
                    <a:pt x="13" y="77"/>
                  </a:lnTo>
                  <a:lnTo>
                    <a:pt x="19" y="82"/>
                  </a:lnTo>
                  <a:lnTo>
                    <a:pt x="28" y="86"/>
                  </a:lnTo>
                  <a:lnTo>
                    <a:pt x="35" y="89"/>
                  </a:lnTo>
                  <a:lnTo>
                    <a:pt x="45" y="91"/>
                  </a:lnTo>
                  <a:lnTo>
                    <a:pt x="54" y="89"/>
                  </a:lnTo>
                  <a:lnTo>
                    <a:pt x="62" y="86"/>
                  </a:lnTo>
                  <a:lnTo>
                    <a:pt x="70" y="82"/>
                  </a:lnTo>
                  <a:lnTo>
                    <a:pt x="77" y="77"/>
                  </a:lnTo>
                  <a:lnTo>
                    <a:pt x="83" y="70"/>
                  </a:lnTo>
                  <a:lnTo>
                    <a:pt x="87" y="63"/>
                  </a:lnTo>
                  <a:lnTo>
                    <a:pt x="89" y="54"/>
                  </a:lnTo>
                  <a:lnTo>
                    <a:pt x="90" y="46"/>
                  </a:lnTo>
                  <a:lnTo>
                    <a:pt x="9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42" name="Freeform 190">
              <a:extLst>
                <a:ext uri="{FF2B5EF4-FFF2-40B4-BE49-F238E27FC236}">
                  <a16:creationId xmlns:a16="http://schemas.microsoft.com/office/drawing/2014/main" id="{1C9D2C63-A1DF-4483-8D1E-4206530ACD15}"/>
                </a:ext>
              </a:extLst>
            </p:cNvPr>
            <p:cNvSpPr>
              <a:spLocks noEditPoints="1"/>
            </p:cNvSpPr>
            <p:nvPr/>
          </p:nvSpPr>
          <p:spPr bwMode="auto">
            <a:xfrm>
              <a:off x="9929813" y="1401763"/>
              <a:ext cx="28575" cy="28575"/>
            </a:xfrm>
            <a:custGeom>
              <a:avLst/>
              <a:gdLst>
                <a:gd name="T0" fmla="*/ 59 w 90"/>
                <a:gd name="T1" fmla="*/ 48 h 90"/>
                <a:gd name="T2" fmla="*/ 57 w 90"/>
                <a:gd name="T3" fmla="*/ 53 h 90"/>
                <a:gd name="T4" fmla="*/ 54 w 90"/>
                <a:gd name="T5" fmla="*/ 57 h 90"/>
                <a:gd name="T6" fmla="*/ 48 w 90"/>
                <a:gd name="T7" fmla="*/ 60 h 90"/>
                <a:gd name="T8" fmla="*/ 42 w 90"/>
                <a:gd name="T9" fmla="*/ 60 h 90"/>
                <a:gd name="T10" fmla="*/ 36 w 90"/>
                <a:gd name="T11" fmla="*/ 57 h 90"/>
                <a:gd name="T12" fmla="*/ 32 w 90"/>
                <a:gd name="T13" fmla="*/ 53 h 90"/>
                <a:gd name="T14" fmla="*/ 30 w 90"/>
                <a:gd name="T15" fmla="*/ 48 h 90"/>
                <a:gd name="T16" fmla="*/ 30 w 90"/>
                <a:gd name="T17" fmla="*/ 41 h 90"/>
                <a:gd name="T18" fmla="*/ 32 w 90"/>
                <a:gd name="T19" fmla="*/ 36 h 90"/>
                <a:gd name="T20" fmla="*/ 36 w 90"/>
                <a:gd name="T21" fmla="*/ 32 h 90"/>
                <a:gd name="T22" fmla="*/ 42 w 90"/>
                <a:gd name="T23" fmla="*/ 30 h 90"/>
                <a:gd name="T24" fmla="*/ 48 w 90"/>
                <a:gd name="T25" fmla="*/ 30 h 90"/>
                <a:gd name="T26" fmla="*/ 54 w 90"/>
                <a:gd name="T27" fmla="*/ 32 h 90"/>
                <a:gd name="T28" fmla="*/ 57 w 90"/>
                <a:gd name="T29" fmla="*/ 36 h 90"/>
                <a:gd name="T30" fmla="*/ 59 w 90"/>
                <a:gd name="T31" fmla="*/ 41 h 90"/>
                <a:gd name="T32" fmla="*/ 60 w 90"/>
                <a:gd name="T33" fmla="*/ 45 h 90"/>
                <a:gd name="T34" fmla="*/ 0 w 90"/>
                <a:gd name="T35" fmla="*/ 54 h 90"/>
                <a:gd name="T36" fmla="*/ 8 w 90"/>
                <a:gd name="T37" fmla="*/ 70 h 90"/>
                <a:gd name="T38" fmla="*/ 19 w 90"/>
                <a:gd name="T39" fmla="*/ 82 h 90"/>
                <a:gd name="T40" fmla="*/ 35 w 90"/>
                <a:gd name="T41" fmla="*/ 88 h 90"/>
                <a:gd name="T42" fmla="*/ 54 w 90"/>
                <a:gd name="T43" fmla="*/ 88 h 90"/>
                <a:gd name="T44" fmla="*/ 70 w 90"/>
                <a:gd name="T45" fmla="*/ 82 h 90"/>
                <a:gd name="T46" fmla="*/ 83 w 90"/>
                <a:gd name="T47" fmla="*/ 70 h 90"/>
                <a:gd name="T48" fmla="*/ 89 w 90"/>
                <a:gd name="T49" fmla="*/ 54 h 90"/>
                <a:gd name="T50" fmla="*/ 89 w 90"/>
                <a:gd name="T51" fmla="*/ 36 h 90"/>
                <a:gd name="T52" fmla="*/ 83 w 90"/>
                <a:gd name="T53" fmla="*/ 20 h 90"/>
                <a:gd name="T54" fmla="*/ 70 w 90"/>
                <a:gd name="T55" fmla="*/ 7 h 90"/>
                <a:gd name="T56" fmla="*/ 54 w 90"/>
                <a:gd name="T57" fmla="*/ 1 h 90"/>
                <a:gd name="T58" fmla="*/ 35 w 90"/>
                <a:gd name="T59" fmla="*/ 1 h 90"/>
                <a:gd name="T60" fmla="*/ 19 w 90"/>
                <a:gd name="T61" fmla="*/ 7 h 90"/>
                <a:gd name="T62" fmla="*/ 8 w 90"/>
                <a:gd name="T63" fmla="*/ 20 h 90"/>
                <a:gd name="T64" fmla="*/ 0 w 90"/>
                <a:gd name="T65" fmla="*/ 3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90">
                  <a:moveTo>
                    <a:pt x="60" y="45"/>
                  </a:moveTo>
                  <a:lnTo>
                    <a:pt x="59" y="48"/>
                  </a:lnTo>
                  <a:lnTo>
                    <a:pt x="59" y="51"/>
                  </a:lnTo>
                  <a:lnTo>
                    <a:pt x="57" y="53"/>
                  </a:lnTo>
                  <a:lnTo>
                    <a:pt x="56" y="55"/>
                  </a:lnTo>
                  <a:lnTo>
                    <a:pt x="54" y="57"/>
                  </a:lnTo>
                  <a:lnTo>
                    <a:pt x="50" y="58"/>
                  </a:lnTo>
                  <a:lnTo>
                    <a:pt x="48" y="60"/>
                  </a:lnTo>
                  <a:lnTo>
                    <a:pt x="45" y="60"/>
                  </a:lnTo>
                  <a:lnTo>
                    <a:pt x="42" y="60"/>
                  </a:lnTo>
                  <a:lnTo>
                    <a:pt x="39" y="58"/>
                  </a:lnTo>
                  <a:lnTo>
                    <a:pt x="36" y="57"/>
                  </a:lnTo>
                  <a:lnTo>
                    <a:pt x="34" y="55"/>
                  </a:lnTo>
                  <a:lnTo>
                    <a:pt x="32" y="53"/>
                  </a:lnTo>
                  <a:lnTo>
                    <a:pt x="31" y="51"/>
                  </a:lnTo>
                  <a:lnTo>
                    <a:pt x="30" y="48"/>
                  </a:lnTo>
                  <a:lnTo>
                    <a:pt x="30" y="45"/>
                  </a:lnTo>
                  <a:lnTo>
                    <a:pt x="30" y="41"/>
                  </a:lnTo>
                  <a:lnTo>
                    <a:pt x="31" y="39"/>
                  </a:lnTo>
                  <a:lnTo>
                    <a:pt x="32" y="36"/>
                  </a:lnTo>
                  <a:lnTo>
                    <a:pt x="34" y="34"/>
                  </a:lnTo>
                  <a:lnTo>
                    <a:pt x="36" y="32"/>
                  </a:lnTo>
                  <a:lnTo>
                    <a:pt x="39" y="31"/>
                  </a:lnTo>
                  <a:lnTo>
                    <a:pt x="42" y="30"/>
                  </a:lnTo>
                  <a:lnTo>
                    <a:pt x="45" y="30"/>
                  </a:lnTo>
                  <a:lnTo>
                    <a:pt x="48" y="30"/>
                  </a:lnTo>
                  <a:lnTo>
                    <a:pt x="50" y="31"/>
                  </a:lnTo>
                  <a:lnTo>
                    <a:pt x="54" y="32"/>
                  </a:lnTo>
                  <a:lnTo>
                    <a:pt x="56" y="34"/>
                  </a:lnTo>
                  <a:lnTo>
                    <a:pt x="57" y="36"/>
                  </a:lnTo>
                  <a:lnTo>
                    <a:pt x="59" y="39"/>
                  </a:lnTo>
                  <a:lnTo>
                    <a:pt x="59" y="41"/>
                  </a:lnTo>
                  <a:lnTo>
                    <a:pt x="60" y="45"/>
                  </a:lnTo>
                  <a:lnTo>
                    <a:pt x="60" y="45"/>
                  </a:lnTo>
                  <a:close/>
                  <a:moveTo>
                    <a:pt x="0" y="45"/>
                  </a:moveTo>
                  <a:lnTo>
                    <a:pt x="0" y="54"/>
                  </a:lnTo>
                  <a:lnTo>
                    <a:pt x="3" y="62"/>
                  </a:lnTo>
                  <a:lnTo>
                    <a:pt x="8" y="70"/>
                  </a:lnTo>
                  <a:lnTo>
                    <a:pt x="13" y="77"/>
                  </a:lnTo>
                  <a:lnTo>
                    <a:pt x="19" y="82"/>
                  </a:lnTo>
                  <a:lnTo>
                    <a:pt x="27" y="86"/>
                  </a:lnTo>
                  <a:lnTo>
                    <a:pt x="35" y="88"/>
                  </a:lnTo>
                  <a:lnTo>
                    <a:pt x="45" y="90"/>
                  </a:lnTo>
                  <a:lnTo>
                    <a:pt x="54" y="88"/>
                  </a:lnTo>
                  <a:lnTo>
                    <a:pt x="62" y="86"/>
                  </a:lnTo>
                  <a:lnTo>
                    <a:pt x="70" y="82"/>
                  </a:lnTo>
                  <a:lnTo>
                    <a:pt x="76" y="77"/>
                  </a:lnTo>
                  <a:lnTo>
                    <a:pt x="83" y="70"/>
                  </a:lnTo>
                  <a:lnTo>
                    <a:pt x="87" y="62"/>
                  </a:lnTo>
                  <a:lnTo>
                    <a:pt x="89" y="54"/>
                  </a:lnTo>
                  <a:lnTo>
                    <a:pt x="90" y="45"/>
                  </a:lnTo>
                  <a:lnTo>
                    <a:pt x="89" y="36"/>
                  </a:lnTo>
                  <a:lnTo>
                    <a:pt x="87" y="27"/>
                  </a:lnTo>
                  <a:lnTo>
                    <a:pt x="83" y="20"/>
                  </a:lnTo>
                  <a:lnTo>
                    <a:pt x="76" y="12"/>
                  </a:lnTo>
                  <a:lnTo>
                    <a:pt x="70" y="7"/>
                  </a:lnTo>
                  <a:lnTo>
                    <a:pt x="62" y="3"/>
                  </a:lnTo>
                  <a:lnTo>
                    <a:pt x="54" y="1"/>
                  </a:lnTo>
                  <a:lnTo>
                    <a:pt x="45" y="0"/>
                  </a:lnTo>
                  <a:lnTo>
                    <a:pt x="35" y="1"/>
                  </a:lnTo>
                  <a:lnTo>
                    <a:pt x="27" y="3"/>
                  </a:lnTo>
                  <a:lnTo>
                    <a:pt x="19" y="7"/>
                  </a:lnTo>
                  <a:lnTo>
                    <a:pt x="13" y="12"/>
                  </a:lnTo>
                  <a:lnTo>
                    <a:pt x="8" y="20"/>
                  </a:lnTo>
                  <a:lnTo>
                    <a:pt x="3" y="27"/>
                  </a:lnTo>
                  <a:lnTo>
                    <a:pt x="0" y="36"/>
                  </a:lnTo>
                  <a:lnTo>
                    <a:pt x="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sp>
          <p:nvSpPr>
            <p:cNvPr id="143" name="Freeform 191">
              <a:extLst>
                <a:ext uri="{FF2B5EF4-FFF2-40B4-BE49-F238E27FC236}">
                  <a16:creationId xmlns:a16="http://schemas.microsoft.com/office/drawing/2014/main" id="{8242DBEC-5B11-4071-A49F-3B79B1E9F688}"/>
                </a:ext>
              </a:extLst>
            </p:cNvPr>
            <p:cNvSpPr>
              <a:spLocks/>
            </p:cNvSpPr>
            <p:nvPr/>
          </p:nvSpPr>
          <p:spPr bwMode="auto">
            <a:xfrm>
              <a:off x="9901238" y="1373188"/>
              <a:ext cx="247650" cy="142875"/>
            </a:xfrm>
            <a:custGeom>
              <a:avLst/>
              <a:gdLst>
                <a:gd name="T0" fmla="*/ 498 w 782"/>
                <a:gd name="T1" fmla="*/ 441 h 451"/>
                <a:gd name="T2" fmla="*/ 503 w 782"/>
                <a:gd name="T3" fmla="*/ 447 h 451"/>
                <a:gd name="T4" fmla="*/ 512 w 782"/>
                <a:gd name="T5" fmla="*/ 451 h 451"/>
                <a:gd name="T6" fmla="*/ 710 w 782"/>
                <a:gd name="T7" fmla="*/ 448 h 451"/>
                <a:gd name="T8" fmla="*/ 735 w 782"/>
                <a:gd name="T9" fmla="*/ 440 h 451"/>
                <a:gd name="T10" fmla="*/ 756 w 782"/>
                <a:gd name="T11" fmla="*/ 424 h 451"/>
                <a:gd name="T12" fmla="*/ 771 w 782"/>
                <a:gd name="T13" fmla="*/ 403 h 451"/>
                <a:gd name="T14" fmla="*/ 781 w 782"/>
                <a:gd name="T15" fmla="*/ 379 h 451"/>
                <a:gd name="T16" fmla="*/ 782 w 782"/>
                <a:gd name="T17" fmla="*/ 90 h 451"/>
                <a:gd name="T18" fmla="*/ 779 w 782"/>
                <a:gd name="T19" fmla="*/ 63 h 451"/>
                <a:gd name="T20" fmla="*/ 767 w 782"/>
                <a:gd name="T21" fmla="*/ 39 h 451"/>
                <a:gd name="T22" fmla="*/ 750 w 782"/>
                <a:gd name="T23" fmla="*/ 20 h 451"/>
                <a:gd name="T24" fmla="*/ 727 w 782"/>
                <a:gd name="T25" fmla="*/ 6 h 451"/>
                <a:gd name="T26" fmla="*/ 702 w 782"/>
                <a:gd name="T27" fmla="*/ 0 h 451"/>
                <a:gd name="T28" fmla="*/ 81 w 782"/>
                <a:gd name="T29" fmla="*/ 0 h 451"/>
                <a:gd name="T30" fmla="*/ 56 w 782"/>
                <a:gd name="T31" fmla="*/ 6 h 451"/>
                <a:gd name="T32" fmla="*/ 33 w 782"/>
                <a:gd name="T33" fmla="*/ 20 h 451"/>
                <a:gd name="T34" fmla="*/ 16 w 782"/>
                <a:gd name="T35" fmla="*/ 39 h 451"/>
                <a:gd name="T36" fmla="*/ 4 w 782"/>
                <a:gd name="T37" fmla="*/ 63 h 451"/>
                <a:gd name="T38" fmla="*/ 0 w 782"/>
                <a:gd name="T39" fmla="*/ 90 h 451"/>
                <a:gd name="T40" fmla="*/ 2 w 782"/>
                <a:gd name="T41" fmla="*/ 291 h 451"/>
                <a:gd name="T42" fmla="*/ 7 w 782"/>
                <a:gd name="T43" fmla="*/ 297 h 451"/>
                <a:gd name="T44" fmla="*/ 15 w 782"/>
                <a:gd name="T45" fmla="*/ 301 h 451"/>
                <a:gd name="T46" fmla="*/ 24 w 782"/>
                <a:gd name="T47" fmla="*/ 297 h 451"/>
                <a:gd name="T48" fmla="*/ 29 w 782"/>
                <a:gd name="T49" fmla="*/ 291 h 451"/>
                <a:gd name="T50" fmla="*/ 30 w 782"/>
                <a:gd name="T51" fmla="*/ 90 h 451"/>
                <a:gd name="T52" fmla="*/ 33 w 782"/>
                <a:gd name="T53" fmla="*/ 71 h 451"/>
                <a:gd name="T54" fmla="*/ 41 w 782"/>
                <a:gd name="T55" fmla="*/ 55 h 451"/>
                <a:gd name="T56" fmla="*/ 52 w 782"/>
                <a:gd name="T57" fmla="*/ 43 h 451"/>
                <a:gd name="T58" fmla="*/ 67 w 782"/>
                <a:gd name="T59" fmla="*/ 34 h 451"/>
                <a:gd name="T60" fmla="*/ 85 w 782"/>
                <a:gd name="T61" fmla="*/ 30 h 451"/>
                <a:gd name="T62" fmla="*/ 698 w 782"/>
                <a:gd name="T63" fmla="*/ 30 h 451"/>
                <a:gd name="T64" fmla="*/ 716 w 782"/>
                <a:gd name="T65" fmla="*/ 34 h 451"/>
                <a:gd name="T66" fmla="*/ 731 w 782"/>
                <a:gd name="T67" fmla="*/ 43 h 451"/>
                <a:gd name="T68" fmla="*/ 742 w 782"/>
                <a:gd name="T69" fmla="*/ 55 h 451"/>
                <a:gd name="T70" fmla="*/ 750 w 782"/>
                <a:gd name="T71" fmla="*/ 71 h 451"/>
                <a:gd name="T72" fmla="*/ 752 w 782"/>
                <a:gd name="T73" fmla="*/ 90 h 451"/>
                <a:gd name="T74" fmla="*/ 751 w 782"/>
                <a:gd name="T75" fmla="*/ 372 h 451"/>
                <a:gd name="T76" fmla="*/ 744 w 782"/>
                <a:gd name="T77" fmla="*/ 389 h 451"/>
                <a:gd name="T78" fmla="*/ 735 w 782"/>
                <a:gd name="T79" fmla="*/ 403 h 451"/>
                <a:gd name="T80" fmla="*/ 721 w 782"/>
                <a:gd name="T81" fmla="*/ 413 h 451"/>
                <a:gd name="T82" fmla="*/ 704 w 782"/>
                <a:gd name="T83" fmla="*/ 419 h 451"/>
                <a:gd name="T84" fmla="*/ 512 w 782"/>
                <a:gd name="T85" fmla="*/ 421 h 451"/>
                <a:gd name="T86" fmla="*/ 503 w 782"/>
                <a:gd name="T87" fmla="*/ 423 h 451"/>
                <a:gd name="T88" fmla="*/ 498 w 782"/>
                <a:gd name="T89" fmla="*/ 429 h 451"/>
                <a:gd name="T90" fmla="*/ 497 w 782"/>
                <a:gd name="T91" fmla="*/ 43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2" h="451">
                  <a:moveTo>
                    <a:pt x="497" y="436"/>
                  </a:moveTo>
                  <a:lnTo>
                    <a:pt x="497" y="439"/>
                  </a:lnTo>
                  <a:lnTo>
                    <a:pt x="498" y="441"/>
                  </a:lnTo>
                  <a:lnTo>
                    <a:pt x="499" y="444"/>
                  </a:lnTo>
                  <a:lnTo>
                    <a:pt x="501" y="446"/>
                  </a:lnTo>
                  <a:lnTo>
                    <a:pt x="503" y="447"/>
                  </a:lnTo>
                  <a:lnTo>
                    <a:pt x="506" y="449"/>
                  </a:lnTo>
                  <a:lnTo>
                    <a:pt x="509" y="451"/>
                  </a:lnTo>
                  <a:lnTo>
                    <a:pt x="512" y="451"/>
                  </a:lnTo>
                  <a:lnTo>
                    <a:pt x="692" y="451"/>
                  </a:lnTo>
                  <a:lnTo>
                    <a:pt x="702" y="449"/>
                  </a:lnTo>
                  <a:lnTo>
                    <a:pt x="710" y="448"/>
                  </a:lnTo>
                  <a:lnTo>
                    <a:pt x="719" y="446"/>
                  </a:lnTo>
                  <a:lnTo>
                    <a:pt x="727" y="443"/>
                  </a:lnTo>
                  <a:lnTo>
                    <a:pt x="735" y="440"/>
                  </a:lnTo>
                  <a:lnTo>
                    <a:pt x="742" y="436"/>
                  </a:lnTo>
                  <a:lnTo>
                    <a:pt x="750" y="430"/>
                  </a:lnTo>
                  <a:lnTo>
                    <a:pt x="756" y="424"/>
                  </a:lnTo>
                  <a:lnTo>
                    <a:pt x="762" y="417"/>
                  </a:lnTo>
                  <a:lnTo>
                    <a:pt x="767" y="411"/>
                  </a:lnTo>
                  <a:lnTo>
                    <a:pt x="771" y="403"/>
                  </a:lnTo>
                  <a:lnTo>
                    <a:pt x="776" y="396"/>
                  </a:lnTo>
                  <a:lnTo>
                    <a:pt x="779" y="387"/>
                  </a:lnTo>
                  <a:lnTo>
                    <a:pt x="781" y="379"/>
                  </a:lnTo>
                  <a:lnTo>
                    <a:pt x="782" y="369"/>
                  </a:lnTo>
                  <a:lnTo>
                    <a:pt x="782" y="361"/>
                  </a:lnTo>
                  <a:lnTo>
                    <a:pt x="782" y="90"/>
                  </a:lnTo>
                  <a:lnTo>
                    <a:pt x="782" y="80"/>
                  </a:lnTo>
                  <a:lnTo>
                    <a:pt x="781" y="71"/>
                  </a:lnTo>
                  <a:lnTo>
                    <a:pt x="779" y="63"/>
                  </a:lnTo>
                  <a:lnTo>
                    <a:pt x="776" y="54"/>
                  </a:lnTo>
                  <a:lnTo>
                    <a:pt x="771" y="47"/>
                  </a:lnTo>
                  <a:lnTo>
                    <a:pt x="767" y="39"/>
                  </a:lnTo>
                  <a:lnTo>
                    <a:pt x="762" y="32"/>
                  </a:lnTo>
                  <a:lnTo>
                    <a:pt x="756" y="25"/>
                  </a:lnTo>
                  <a:lnTo>
                    <a:pt x="750" y="20"/>
                  </a:lnTo>
                  <a:lnTo>
                    <a:pt x="742" y="15"/>
                  </a:lnTo>
                  <a:lnTo>
                    <a:pt x="735" y="10"/>
                  </a:lnTo>
                  <a:lnTo>
                    <a:pt x="727" y="6"/>
                  </a:lnTo>
                  <a:lnTo>
                    <a:pt x="719" y="4"/>
                  </a:lnTo>
                  <a:lnTo>
                    <a:pt x="710" y="1"/>
                  </a:lnTo>
                  <a:lnTo>
                    <a:pt x="702" y="0"/>
                  </a:lnTo>
                  <a:lnTo>
                    <a:pt x="692" y="0"/>
                  </a:lnTo>
                  <a:lnTo>
                    <a:pt x="91" y="0"/>
                  </a:lnTo>
                  <a:lnTo>
                    <a:pt x="81" y="0"/>
                  </a:lnTo>
                  <a:lnTo>
                    <a:pt x="72" y="1"/>
                  </a:lnTo>
                  <a:lnTo>
                    <a:pt x="63" y="4"/>
                  </a:lnTo>
                  <a:lnTo>
                    <a:pt x="56" y="6"/>
                  </a:lnTo>
                  <a:lnTo>
                    <a:pt x="47" y="10"/>
                  </a:lnTo>
                  <a:lnTo>
                    <a:pt x="40" y="15"/>
                  </a:lnTo>
                  <a:lnTo>
                    <a:pt x="33" y="20"/>
                  </a:lnTo>
                  <a:lnTo>
                    <a:pt x="27" y="25"/>
                  </a:lnTo>
                  <a:lnTo>
                    <a:pt x="20" y="32"/>
                  </a:lnTo>
                  <a:lnTo>
                    <a:pt x="16" y="39"/>
                  </a:lnTo>
                  <a:lnTo>
                    <a:pt x="11" y="47"/>
                  </a:lnTo>
                  <a:lnTo>
                    <a:pt x="7" y="54"/>
                  </a:lnTo>
                  <a:lnTo>
                    <a:pt x="4" y="63"/>
                  </a:lnTo>
                  <a:lnTo>
                    <a:pt x="2" y="71"/>
                  </a:lnTo>
                  <a:lnTo>
                    <a:pt x="1" y="80"/>
                  </a:lnTo>
                  <a:lnTo>
                    <a:pt x="0" y="90"/>
                  </a:lnTo>
                  <a:lnTo>
                    <a:pt x="0" y="285"/>
                  </a:lnTo>
                  <a:lnTo>
                    <a:pt x="1" y="288"/>
                  </a:lnTo>
                  <a:lnTo>
                    <a:pt x="2" y="291"/>
                  </a:lnTo>
                  <a:lnTo>
                    <a:pt x="3" y="293"/>
                  </a:lnTo>
                  <a:lnTo>
                    <a:pt x="5" y="295"/>
                  </a:lnTo>
                  <a:lnTo>
                    <a:pt x="7" y="297"/>
                  </a:lnTo>
                  <a:lnTo>
                    <a:pt x="10" y="298"/>
                  </a:lnTo>
                  <a:lnTo>
                    <a:pt x="13" y="300"/>
                  </a:lnTo>
                  <a:lnTo>
                    <a:pt x="15" y="301"/>
                  </a:lnTo>
                  <a:lnTo>
                    <a:pt x="18" y="300"/>
                  </a:lnTo>
                  <a:lnTo>
                    <a:pt x="21" y="298"/>
                  </a:lnTo>
                  <a:lnTo>
                    <a:pt x="24" y="297"/>
                  </a:lnTo>
                  <a:lnTo>
                    <a:pt x="26" y="295"/>
                  </a:lnTo>
                  <a:lnTo>
                    <a:pt x="28" y="293"/>
                  </a:lnTo>
                  <a:lnTo>
                    <a:pt x="29" y="291"/>
                  </a:lnTo>
                  <a:lnTo>
                    <a:pt x="30" y="288"/>
                  </a:lnTo>
                  <a:lnTo>
                    <a:pt x="30" y="285"/>
                  </a:lnTo>
                  <a:lnTo>
                    <a:pt x="30" y="90"/>
                  </a:lnTo>
                  <a:lnTo>
                    <a:pt x="31" y="83"/>
                  </a:lnTo>
                  <a:lnTo>
                    <a:pt x="32" y="78"/>
                  </a:lnTo>
                  <a:lnTo>
                    <a:pt x="33" y="71"/>
                  </a:lnTo>
                  <a:lnTo>
                    <a:pt x="35" y="66"/>
                  </a:lnTo>
                  <a:lnTo>
                    <a:pt x="37" y="61"/>
                  </a:lnTo>
                  <a:lnTo>
                    <a:pt x="41" y="55"/>
                  </a:lnTo>
                  <a:lnTo>
                    <a:pt x="44" y="51"/>
                  </a:lnTo>
                  <a:lnTo>
                    <a:pt x="48" y="47"/>
                  </a:lnTo>
                  <a:lnTo>
                    <a:pt x="52" y="43"/>
                  </a:lnTo>
                  <a:lnTo>
                    <a:pt x="57" y="39"/>
                  </a:lnTo>
                  <a:lnTo>
                    <a:pt x="62" y="37"/>
                  </a:lnTo>
                  <a:lnTo>
                    <a:pt x="67" y="34"/>
                  </a:lnTo>
                  <a:lnTo>
                    <a:pt x="73" y="32"/>
                  </a:lnTo>
                  <a:lnTo>
                    <a:pt x="78" y="31"/>
                  </a:lnTo>
                  <a:lnTo>
                    <a:pt x="85" y="30"/>
                  </a:lnTo>
                  <a:lnTo>
                    <a:pt x="91" y="30"/>
                  </a:lnTo>
                  <a:lnTo>
                    <a:pt x="692" y="30"/>
                  </a:lnTo>
                  <a:lnTo>
                    <a:pt x="698" y="30"/>
                  </a:lnTo>
                  <a:lnTo>
                    <a:pt x="704" y="31"/>
                  </a:lnTo>
                  <a:lnTo>
                    <a:pt x="710" y="32"/>
                  </a:lnTo>
                  <a:lnTo>
                    <a:pt x="716" y="34"/>
                  </a:lnTo>
                  <a:lnTo>
                    <a:pt x="721" y="37"/>
                  </a:lnTo>
                  <a:lnTo>
                    <a:pt x="726" y="39"/>
                  </a:lnTo>
                  <a:lnTo>
                    <a:pt x="731" y="43"/>
                  </a:lnTo>
                  <a:lnTo>
                    <a:pt x="735" y="47"/>
                  </a:lnTo>
                  <a:lnTo>
                    <a:pt x="738" y="51"/>
                  </a:lnTo>
                  <a:lnTo>
                    <a:pt x="742" y="55"/>
                  </a:lnTo>
                  <a:lnTo>
                    <a:pt x="744" y="61"/>
                  </a:lnTo>
                  <a:lnTo>
                    <a:pt x="748" y="66"/>
                  </a:lnTo>
                  <a:lnTo>
                    <a:pt x="750" y="71"/>
                  </a:lnTo>
                  <a:lnTo>
                    <a:pt x="751" y="78"/>
                  </a:lnTo>
                  <a:lnTo>
                    <a:pt x="752" y="83"/>
                  </a:lnTo>
                  <a:lnTo>
                    <a:pt x="752" y="90"/>
                  </a:lnTo>
                  <a:lnTo>
                    <a:pt x="752" y="361"/>
                  </a:lnTo>
                  <a:lnTo>
                    <a:pt x="752" y="366"/>
                  </a:lnTo>
                  <a:lnTo>
                    <a:pt x="751" y="372"/>
                  </a:lnTo>
                  <a:lnTo>
                    <a:pt x="750" y="379"/>
                  </a:lnTo>
                  <a:lnTo>
                    <a:pt x="748" y="384"/>
                  </a:lnTo>
                  <a:lnTo>
                    <a:pt x="744" y="389"/>
                  </a:lnTo>
                  <a:lnTo>
                    <a:pt x="742" y="394"/>
                  </a:lnTo>
                  <a:lnTo>
                    <a:pt x="738" y="399"/>
                  </a:lnTo>
                  <a:lnTo>
                    <a:pt x="735" y="403"/>
                  </a:lnTo>
                  <a:lnTo>
                    <a:pt x="731" y="407"/>
                  </a:lnTo>
                  <a:lnTo>
                    <a:pt x="726" y="410"/>
                  </a:lnTo>
                  <a:lnTo>
                    <a:pt x="721" y="413"/>
                  </a:lnTo>
                  <a:lnTo>
                    <a:pt x="716" y="415"/>
                  </a:lnTo>
                  <a:lnTo>
                    <a:pt x="710" y="417"/>
                  </a:lnTo>
                  <a:lnTo>
                    <a:pt x="704" y="419"/>
                  </a:lnTo>
                  <a:lnTo>
                    <a:pt x="698" y="421"/>
                  </a:lnTo>
                  <a:lnTo>
                    <a:pt x="692" y="421"/>
                  </a:lnTo>
                  <a:lnTo>
                    <a:pt x="512" y="421"/>
                  </a:lnTo>
                  <a:lnTo>
                    <a:pt x="509" y="421"/>
                  </a:lnTo>
                  <a:lnTo>
                    <a:pt x="506" y="422"/>
                  </a:lnTo>
                  <a:lnTo>
                    <a:pt x="503" y="423"/>
                  </a:lnTo>
                  <a:lnTo>
                    <a:pt x="501" y="425"/>
                  </a:lnTo>
                  <a:lnTo>
                    <a:pt x="499" y="427"/>
                  </a:lnTo>
                  <a:lnTo>
                    <a:pt x="498" y="429"/>
                  </a:lnTo>
                  <a:lnTo>
                    <a:pt x="497" y="432"/>
                  </a:lnTo>
                  <a:lnTo>
                    <a:pt x="497" y="436"/>
                  </a:lnTo>
                  <a:lnTo>
                    <a:pt x="497" y="4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68" tIns="91434" rIns="182868" bIns="91434" numCol="1" anchor="t" anchorCtr="0" compatLnSpc="1">
              <a:prstTxWarp prst="textNoShape">
                <a:avLst/>
              </a:prstTxWarp>
            </a:bodyPr>
            <a:lstStyle/>
            <a:p>
              <a:endParaRPr lang="en-US" sz="3600"/>
            </a:p>
          </p:txBody>
        </p:sp>
      </p:grpSp>
      <p:sp>
        <p:nvSpPr>
          <p:cNvPr id="4" name="Title 3">
            <a:extLst>
              <a:ext uri="{FF2B5EF4-FFF2-40B4-BE49-F238E27FC236}">
                <a16:creationId xmlns:a16="http://schemas.microsoft.com/office/drawing/2014/main" id="{587D0B7D-0FC3-F248-A528-530CE1B88C35}"/>
              </a:ext>
            </a:extLst>
          </p:cNvPr>
          <p:cNvSpPr>
            <a:spLocks noGrp="1"/>
          </p:cNvSpPr>
          <p:nvPr>
            <p:ph type="title"/>
          </p:nvPr>
        </p:nvSpPr>
        <p:spPr>
          <a:xfrm>
            <a:off x="8897152" y="397627"/>
            <a:ext cx="14999505" cy="1939924"/>
          </a:xfrm>
        </p:spPr>
        <p:txBody>
          <a:bodyPr/>
          <a:lstStyle/>
          <a:p>
            <a:r>
              <a:rPr lang="en-US" dirty="0"/>
              <a:t>Title</a:t>
            </a:r>
          </a:p>
        </p:txBody>
      </p:sp>
      <p:pic>
        <p:nvPicPr>
          <p:cNvPr id="90" name="Picture 89">
            <a:extLst>
              <a:ext uri="{FF2B5EF4-FFF2-40B4-BE49-F238E27FC236}">
                <a16:creationId xmlns:a16="http://schemas.microsoft.com/office/drawing/2014/main" id="{2BE61A39-13EE-CA47-B3DA-DFF87F1B1BB1}"/>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22860"/>
            <a:ext cx="7855672" cy="12738595"/>
          </a:xfrm>
          <a:prstGeom prst="rect">
            <a:avLst/>
          </a:prstGeom>
        </p:spPr>
      </p:pic>
    </p:spTree>
    <p:extLst>
      <p:ext uri="{BB962C8B-B14F-4D97-AF65-F5344CB8AC3E}">
        <p14:creationId xmlns:p14="http://schemas.microsoft.com/office/powerpoint/2010/main" val="17345440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C779DB43-E07B-4198-AAAA-5CAEB5852735}"/>
              </a:ext>
            </a:extLst>
          </p:cNvPr>
          <p:cNvGrpSpPr/>
          <p:nvPr/>
        </p:nvGrpSpPr>
        <p:grpSpPr>
          <a:xfrm>
            <a:off x="10087975" y="2588644"/>
            <a:ext cx="4200119" cy="9719739"/>
            <a:chOff x="5018088" y="1233488"/>
            <a:chExt cx="2152651" cy="4981576"/>
          </a:xfrm>
        </p:grpSpPr>
        <p:sp>
          <p:nvSpPr>
            <p:cNvPr id="7" name="Freeform 5">
              <a:extLst>
                <a:ext uri="{FF2B5EF4-FFF2-40B4-BE49-F238E27FC236}">
                  <a16:creationId xmlns:a16="http://schemas.microsoft.com/office/drawing/2014/main" id="{830D8B43-9D42-4E3D-BCA6-710E5289DE69}"/>
                </a:ext>
              </a:extLst>
            </p:cNvPr>
            <p:cNvSpPr>
              <a:spLocks/>
            </p:cNvSpPr>
            <p:nvPr/>
          </p:nvSpPr>
          <p:spPr bwMode="auto">
            <a:xfrm>
              <a:off x="5734051" y="1233488"/>
              <a:ext cx="1436688" cy="827088"/>
            </a:xfrm>
            <a:custGeom>
              <a:avLst/>
              <a:gdLst>
                <a:gd name="T0" fmla="*/ 905 w 905"/>
                <a:gd name="T1" fmla="*/ 259 h 521"/>
                <a:gd name="T2" fmla="*/ 456 w 905"/>
                <a:gd name="T3" fmla="*/ 521 h 521"/>
                <a:gd name="T4" fmla="*/ 0 w 905"/>
                <a:gd name="T5" fmla="*/ 259 h 521"/>
                <a:gd name="T6" fmla="*/ 451 w 905"/>
                <a:gd name="T7" fmla="*/ 0 h 521"/>
                <a:gd name="T8" fmla="*/ 905 w 905"/>
                <a:gd name="T9" fmla="*/ 259 h 521"/>
              </a:gdLst>
              <a:ahLst/>
              <a:cxnLst>
                <a:cxn ang="0">
                  <a:pos x="T0" y="T1"/>
                </a:cxn>
                <a:cxn ang="0">
                  <a:pos x="T2" y="T3"/>
                </a:cxn>
                <a:cxn ang="0">
                  <a:pos x="T4" y="T5"/>
                </a:cxn>
                <a:cxn ang="0">
                  <a:pos x="T6" y="T7"/>
                </a:cxn>
                <a:cxn ang="0">
                  <a:pos x="T8" y="T9"/>
                </a:cxn>
              </a:cxnLst>
              <a:rect l="0" t="0" r="r" b="b"/>
              <a:pathLst>
                <a:path w="905" h="521">
                  <a:moveTo>
                    <a:pt x="905" y="259"/>
                  </a:moveTo>
                  <a:lnTo>
                    <a:pt x="456" y="521"/>
                  </a:lnTo>
                  <a:lnTo>
                    <a:pt x="0" y="259"/>
                  </a:lnTo>
                  <a:lnTo>
                    <a:pt x="451" y="0"/>
                  </a:lnTo>
                  <a:lnTo>
                    <a:pt x="905" y="259"/>
                  </a:lnTo>
                  <a:close/>
                </a:path>
              </a:pathLst>
            </a:custGeom>
            <a:solidFill>
              <a:schemeClr val="tx1">
                <a:lumMod val="75000"/>
                <a:lumOff val="25000"/>
              </a:schemeClr>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8" name="Freeform 6">
              <a:extLst>
                <a:ext uri="{FF2B5EF4-FFF2-40B4-BE49-F238E27FC236}">
                  <a16:creationId xmlns:a16="http://schemas.microsoft.com/office/drawing/2014/main" id="{7B0FC54E-8EB6-49D2-A182-6C02826C9103}"/>
                </a:ext>
              </a:extLst>
            </p:cNvPr>
            <p:cNvSpPr>
              <a:spLocks/>
            </p:cNvSpPr>
            <p:nvPr/>
          </p:nvSpPr>
          <p:spPr bwMode="auto">
            <a:xfrm>
              <a:off x="6454776" y="1644651"/>
              <a:ext cx="715963" cy="3644900"/>
            </a:xfrm>
            <a:custGeom>
              <a:avLst/>
              <a:gdLst>
                <a:gd name="T0" fmla="*/ 451 w 451"/>
                <a:gd name="T1" fmla="*/ 0 h 2296"/>
                <a:gd name="T2" fmla="*/ 451 w 451"/>
                <a:gd name="T3" fmla="*/ 2036 h 2296"/>
                <a:gd name="T4" fmla="*/ 0 w 451"/>
                <a:gd name="T5" fmla="*/ 2296 h 2296"/>
                <a:gd name="T6" fmla="*/ 2 w 451"/>
                <a:gd name="T7" fmla="*/ 262 h 2296"/>
                <a:gd name="T8" fmla="*/ 451 w 451"/>
                <a:gd name="T9" fmla="*/ 0 h 2296"/>
              </a:gdLst>
              <a:ahLst/>
              <a:cxnLst>
                <a:cxn ang="0">
                  <a:pos x="T0" y="T1"/>
                </a:cxn>
                <a:cxn ang="0">
                  <a:pos x="T2" y="T3"/>
                </a:cxn>
                <a:cxn ang="0">
                  <a:pos x="T4" y="T5"/>
                </a:cxn>
                <a:cxn ang="0">
                  <a:pos x="T6" y="T7"/>
                </a:cxn>
                <a:cxn ang="0">
                  <a:pos x="T8" y="T9"/>
                </a:cxn>
              </a:cxnLst>
              <a:rect l="0" t="0" r="r" b="b"/>
              <a:pathLst>
                <a:path w="451" h="2296">
                  <a:moveTo>
                    <a:pt x="451" y="0"/>
                  </a:moveTo>
                  <a:lnTo>
                    <a:pt x="451" y="2036"/>
                  </a:lnTo>
                  <a:lnTo>
                    <a:pt x="0" y="2296"/>
                  </a:lnTo>
                  <a:lnTo>
                    <a:pt x="2" y="262"/>
                  </a:lnTo>
                  <a:lnTo>
                    <a:pt x="451" y="0"/>
                  </a:lnTo>
                  <a:close/>
                </a:path>
              </a:pathLst>
            </a:custGeom>
            <a:solidFill>
              <a:schemeClr val="tx1">
                <a:lumMod val="65000"/>
                <a:lumOff val="35000"/>
              </a:schemeClr>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9" name="Freeform 7">
              <a:extLst>
                <a:ext uri="{FF2B5EF4-FFF2-40B4-BE49-F238E27FC236}">
                  <a16:creationId xmlns:a16="http://schemas.microsoft.com/office/drawing/2014/main" id="{CF9E543D-1C20-4177-80BA-12AF400331AA}"/>
                </a:ext>
              </a:extLst>
            </p:cNvPr>
            <p:cNvSpPr>
              <a:spLocks/>
            </p:cNvSpPr>
            <p:nvPr/>
          </p:nvSpPr>
          <p:spPr bwMode="auto">
            <a:xfrm>
              <a:off x="5730876" y="1644651"/>
              <a:ext cx="727075" cy="3644900"/>
            </a:xfrm>
            <a:custGeom>
              <a:avLst/>
              <a:gdLst>
                <a:gd name="T0" fmla="*/ 458 w 458"/>
                <a:gd name="T1" fmla="*/ 262 h 2296"/>
                <a:gd name="T2" fmla="*/ 456 w 458"/>
                <a:gd name="T3" fmla="*/ 2296 h 2296"/>
                <a:gd name="T4" fmla="*/ 0 w 458"/>
                <a:gd name="T5" fmla="*/ 2036 h 2296"/>
                <a:gd name="T6" fmla="*/ 2 w 458"/>
                <a:gd name="T7" fmla="*/ 0 h 2296"/>
                <a:gd name="T8" fmla="*/ 458 w 458"/>
                <a:gd name="T9" fmla="*/ 262 h 2296"/>
              </a:gdLst>
              <a:ahLst/>
              <a:cxnLst>
                <a:cxn ang="0">
                  <a:pos x="T0" y="T1"/>
                </a:cxn>
                <a:cxn ang="0">
                  <a:pos x="T2" y="T3"/>
                </a:cxn>
                <a:cxn ang="0">
                  <a:pos x="T4" y="T5"/>
                </a:cxn>
                <a:cxn ang="0">
                  <a:pos x="T6" y="T7"/>
                </a:cxn>
                <a:cxn ang="0">
                  <a:pos x="T8" y="T9"/>
                </a:cxn>
              </a:cxnLst>
              <a:rect l="0" t="0" r="r" b="b"/>
              <a:pathLst>
                <a:path w="458" h="2296">
                  <a:moveTo>
                    <a:pt x="458" y="262"/>
                  </a:moveTo>
                  <a:lnTo>
                    <a:pt x="456" y="2296"/>
                  </a:lnTo>
                  <a:lnTo>
                    <a:pt x="0" y="2036"/>
                  </a:lnTo>
                  <a:lnTo>
                    <a:pt x="2" y="0"/>
                  </a:lnTo>
                  <a:lnTo>
                    <a:pt x="458" y="262"/>
                  </a:lnTo>
                  <a:close/>
                </a:path>
              </a:pathLst>
            </a:custGeom>
            <a:solidFill>
              <a:schemeClr val="tx1">
                <a:lumMod val="85000"/>
                <a:lumOff val="15000"/>
              </a:schemeClr>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11" name="Freeform 8">
              <a:extLst>
                <a:ext uri="{FF2B5EF4-FFF2-40B4-BE49-F238E27FC236}">
                  <a16:creationId xmlns:a16="http://schemas.microsoft.com/office/drawing/2014/main" id="{117B0A86-9A2F-49D6-9DFC-6BA92C9B5461}"/>
                </a:ext>
              </a:extLst>
            </p:cNvPr>
            <p:cNvSpPr>
              <a:spLocks/>
            </p:cNvSpPr>
            <p:nvPr/>
          </p:nvSpPr>
          <p:spPr bwMode="auto">
            <a:xfrm>
              <a:off x="5018088" y="2389188"/>
              <a:ext cx="1439863" cy="827088"/>
            </a:xfrm>
            <a:custGeom>
              <a:avLst/>
              <a:gdLst>
                <a:gd name="T0" fmla="*/ 907 w 907"/>
                <a:gd name="T1" fmla="*/ 260 h 521"/>
                <a:gd name="T2" fmla="*/ 456 w 907"/>
                <a:gd name="T3" fmla="*/ 521 h 521"/>
                <a:gd name="T4" fmla="*/ 0 w 907"/>
                <a:gd name="T5" fmla="*/ 262 h 521"/>
                <a:gd name="T6" fmla="*/ 451 w 907"/>
                <a:gd name="T7" fmla="*/ 0 h 521"/>
                <a:gd name="T8" fmla="*/ 907 w 907"/>
                <a:gd name="T9" fmla="*/ 260 h 521"/>
              </a:gdLst>
              <a:ahLst/>
              <a:cxnLst>
                <a:cxn ang="0">
                  <a:pos x="T0" y="T1"/>
                </a:cxn>
                <a:cxn ang="0">
                  <a:pos x="T2" y="T3"/>
                </a:cxn>
                <a:cxn ang="0">
                  <a:pos x="T4" y="T5"/>
                </a:cxn>
                <a:cxn ang="0">
                  <a:pos x="T6" y="T7"/>
                </a:cxn>
                <a:cxn ang="0">
                  <a:pos x="T8" y="T9"/>
                </a:cxn>
              </a:cxnLst>
              <a:rect l="0" t="0" r="r" b="b"/>
              <a:pathLst>
                <a:path w="907" h="521">
                  <a:moveTo>
                    <a:pt x="907" y="260"/>
                  </a:moveTo>
                  <a:lnTo>
                    <a:pt x="456" y="521"/>
                  </a:lnTo>
                  <a:lnTo>
                    <a:pt x="0" y="262"/>
                  </a:lnTo>
                  <a:lnTo>
                    <a:pt x="451" y="0"/>
                  </a:lnTo>
                  <a:lnTo>
                    <a:pt x="907" y="260"/>
                  </a:lnTo>
                  <a:close/>
                </a:path>
              </a:pathLst>
            </a:custGeom>
            <a:solidFill>
              <a:schemeClr val="accent3"/>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12" name="Freeform 9">
              <a:extLst>
                <a:ext uri="{FF2B5EF4-FFF2-40B4-BE49-F238E27FC236}">
                  <a16:creationId xmlns:a16="http://schemas.microsoft.com/office/drawing/2014/main" id="{311E4490-20FC-48BE-9A7F-524743EAB539}"/>
                </a:ext>
              </a:extLst>
            </p:cNvPr>
            <p:cNvSpPr>
              <a:spLocks/>
            </p:cNvSpPr>
            <p:nvPr/>
          </p:nvSpPr>
          <p:spPr bwMode="auto">
            <a:xfrm>
              <a:off x="5737226" y="2801938"/>
              <a:ext cx="720725" cy="2657475"/>
            </a:xfrm>
            <a:custGeom>
              <a:avLst/>
              <a:gdLst>
                <a:gd name="T0" fmla="*/ 454 w 454"/>
                <a:gd name="T1" fmla="*/ 0 h 1674"/>
                <a:gd name="T2" fmla="*/ 452 w 454"/>
                <a:gd name="T3" fmla="*/ 1415 h 1674"/>
                <a:gd name="T4" fmla="*/ 0 w 454"/>
                <a:gd name="T5" fmla="*/ 1674 h 1674"/>
                <a:gd name="T6" fmla="*/ 3 w 454"/>
                <a:gd name="T7" fmla="*/ 261 h 1674"/>
                <a:gd name="T8" fmla="*/ 454 w 454"/>
                <a:gd name="T9" fmla="*/ 0 h 1674"/>
              </a:gdLst>
              <a:ahLst/>
              <a:cxnLst>
                <a:cxn ang="0">
                  <a:pos x="T0" y="T1"/>
                </a:cxn>
                <a:cxn ang="0">
                  <a:pos x="T2" y="T3"/>
                </a:cxn>
                <a:cxn ang="0">
                  <a:pos x="T4" y="T5"/>
                </a:cxn>
                <a:cxn ang="0">
                  <a:pos x="T6" y="T7"/>
                </a:cxn>
                <a:cxn ang="0">
                  <a:pos x="T8" y="T9"/>
                </a:cxn>
              </a:cxnLst>
              <a:rect l="0" t="0" r="r" b="b"/>
              <a:pathLst>
                <a:path w="454" h="1674">
                  <a:moveTo>
                    <a:pt x="454" y="0"/>
                  </a:moveTo>
                  <a:lnTo>
                    <a:pt x="452" y="1415"/>
                  </a:lnTo>
                  <a:lnTo>
                    <a:pt x="0" y="1674"/>
                  </a:lnTo>
                  <a:lnTo>
                    <a:pt x="3" y="261"/>
                  </a:lnTo>
                  <a:lnTo>
                    <a:pt x="454" y="0"/>
                  </a:lnTo>
                  <a:close/>
                </a:path>
              </a:pathLst>
            </a:custGeom>
            <a:solidFill>
              <a:schemeClr val="accent3">
                <a:lumMod val="75000"/>
                <a:lumOff val="25000"/>
              </a:schemeClr>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14" name="Freeform 10">
              <a:extLst>
                <a:ext uri="{FF2B5EF4-FFF2-40B4-BE49-F238E27FC236}">
                  <a16:creationId xmlns:a16="http://schemas.microsoft.com/office/drawing/2014/main" id="{06C1514A-6D1E-435D-AE07-E1C415435E20}"/>
                </a:ext>
              </a:extLst>
            </p:cNvPr>
            <p:cNvSpPr>
              <a:spLocks/>
            </p:cNvSpPr>
            <p:nvPr/>
          </p:nvSpPr>
          <p:spPr bwMode="auto">
            <a:xfrm>
              <a:off x="5018088" y="2805113"/>
              <a:ext cx="723900" cy="2654300"/>
            </a:xfrm>
            <a:custGeom>
              <a:avLst/>
              <a:gdLst>
                <a:gd name="T0" fmla="*/ 456 w 456"/>
                <a:gd name="T1" fmla="*/ 259 h 1672"/>
                <a:gd name="T2" fmla="*/ 453 w 456"/>
                <a:gd name="T3" fmla="*/ 1672 h 1672"/>
                <a:gd name="T4" fmla="*/ 0 w 456"/>
                <a:gd name="T5" fmla="*/ 1413 h 1672"/>
                <a:gd name="T6" fmla="*/ 0 w 456"/>
                <a:gd name="T7" fmla="*/ 0 h 1672"/>
                <a:gd name="T8" fmla="*/ 456 w 456"/>
                <a:gd name="T9" fmla="*/ 259 h 1672"/>
              </a:gdLst>
              <a:ahLst/>
              <a:cxnLst>
                <a:cxn ang="0">
                  <a:pos x="T0" y="T1"/>
                </a:cxn>
                <a:cxn ang="0">
                  <a:pos x="T2" y="T3"/>
                </a:cxn>
                <a:cxn ang="0">
                  <a:pos x="T4" y="T5"/>
                </a:cxn>
                <a:cxn ang="0">
                  <a:pos x="T6" y="T7"/>
                </a:cxn>
                <a:cxn ang="0">
                  <a:pos x="T8" y="T9"/>
                </a:cxn>
              </a:cxnLst>
              <a:rect l="0" t="0" r="r" b="b"/>
              <a:pathLst>
                <a:path w="456" h="1672">
                  <a:moveTo>
                    <a:pt x="456" y="259"/>
                  </a:moveTo>
                  <a:lnTo>
                    <a:pt x="453" y="1672"/>
                  </a:lnTo>
                  <a:lnTo>
                    <a:pt x="0" y="1413"/>
                  </a:lnTo>
                  <a:lnTo>
                    <a:pt x="0" y="0"/>
                  </a:lnTo>
                  <a:lnTo>
                    <a:pt x="456" y="259"/>
                  </a:lnTo>
                  <a:close/>
                </a:path>
              </a:pathLst>
            </a:custGeom>
            <a:solidFill>
              <a:schemeClr val="accent3">
                <a:lumMod val="90000"/>
                <a:lumOff val="10000"/>
              </a:schemeClr>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15" name="Freeform 11">
              <a:extLst>
                <a:ext uri="{FF2B5EF4-FFF2-40B4-BE49-F238E27FC236}">
                  <a16:creationId xmlns:a16="http://schemas.microsoft.com/office/drawing/2014/main" id="{74877ECD-2E94-4F5D-881B-7F106984DC0D}"/>
                </a:ext>
              </a:extLst>
            </p:cNvPr>
            <p:cNvSpPr>
              <a:spLocks/>
            </p:cNvSpPr>
            <p:nvPr/>
          </p:nvSpPr>
          <p:spPr bwMode="auto">
            <a:xfrm>
              <a:off x="5734051" y="3543301"/>
              <a:ext cx="1436688" cy="830263"/>
            </a:xfrm>
            <a:custGeom>
              <a:avLst/>
              <a:gdLst>
                <a:gd name="T0" fmla="*/ 905 w 905"/>
                <a:gd name="T1" fmla="*/ 261 h 523"/>
                <a:gd name="T2" fmla="*/ 456 w 905"/>
                <a:gd name="T3" fmla="*/ 523 h 523"/>
                <a:gd name="T4" fmla="*/ 0 w 905"/>
                <a:gd name="T5" fmla="*/ 261 h 523"/>
                <a:gd name="T6" fmla="*/ 451 w 905"/>
                <a:gd name="T7" fmla="*/ 0 h 523"/>
                <a:gd name="T8" fmla="*/ 905 w 905"/>
                <a:gd name="T9" fmla="*/ 261 h 523"/>
              </a:gdLst>
              <a:ahLst/>
              <a:cxnLst>
                <a:cxn ang="0">
                  <a:pos x="T0" y="T1"/>
                </a:cxn>
                <a:cxn ang="0">
                  <a:pos x="T2" y="T3"/>
                </a:cxn>
                <a:cxn ang="0">
                  <a:pos x="T4" y="T5"/>
                </a:cxn>
                <a:cxn ang="0">
                  <a:pos x="T6" y="T7"/>
                </a:cxn>
                <a:cxn ang="0">
                  <a:pos x="T8" y="T9"/>
                </a:cxn>
              </a:cxnLst>
              <a:rect l="0" t="0" r="r" b="b"/>
              <a:pathLst>
                <a:path w="905" h="523">
                  <a:moveTo>
                    <a:pt x="905" y="261"/>
                  </a:moveTo>
                  <a:lnTo>
                    <a:pt x="456" y="523"/>
                  </a:lnTo>
                  <a:lnTo>
                    <a:pt x="0" y="261"/>
                  </a:lnTo>
                  <a:lnTo>
                    <a:pt x="451" y="0"/>
                  </a:lnTo>
                  <a:lnTo>
                    <a:pt x="905" y="261"/>
                  </a:lnTo>
                  <a:close/>
                </a:path>
              </a:pathLst>
            </a:custGeom>
            <a:solidFill>
              <a:schemeClr val="accent2"/>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16" name="Freeform 12">
              <a:extLst>
                <a:ext uri="{FF2B5EF4-FFF2-40B4-BE49-F238E27FC236}">
                  <a16:creationId xmlns:a16="http://schemas.microsoft.com/office/drawing/2014/main" id="{C69DCD65-081B-42D4-869C-E0BE9EB94C3E}"/>
                </a:ext>
              </a:extLst>
            </p:cNvPr>
            <p:cNvSpPr>
              <a:spLocks/>
            </p:cNvSpPr>
            <p:nvPr/>
          </p:nvSpPr>
          <p:spPr bwMode="auto">
            <a:xfrm>
              <a:off x="6454776" y="3957638"/>
              <a:ext cx="715963" cy="1841500"/>
            </a:xfrm>
            <a:custGeom>
              <a:avLst/>
              <a:gdLst>
                <a:gd name="T0" fmla="*/ 451 w 451"/>
                <a:gd name="T1" fmla="*/ 0 h 1160"/>
                <a:gd name="T2" fmla="*/ 451 w 451"/>
                <a:gd name="T3" fmla="*/ 899 h 1160"/>
                <a:gd name="T4" fmla="*/ 0 w 451"/>
                <a:gd name="T5" fmla="*/ 1160 h 1160"/>
                <a:gd name="T6" fmla="*/ 2 w 451"/>
                <a:gd name="T7" fmla="*/ 262 h 1160"/>
                <a:gd name="T8" fmla="*/ 451 w 451"/>
                <a:gd name="T9" fmla="*/ 0 h 1160"/>
              </a:gdLst>
              <a:ahLst/>
              <a:cxnLst>
                <a:cxn ang="0">
                  <a:pos x="T0" y="T1"/>
                </a:cxn>
                <a:cxn ang="0">
                  <a:pos x="T2" y="T3"/>
                </a:cxn>
                <a:cxn ang="0">
                  <a:pos x="T4" y="T5"/>
                </a:cxn>
                <a:cxn ang="0">
                  <a:pos x="T6" y="T7"/>
                </a:cxn>
                <a:cxn ang="0">
                  <a:pos x="T8" y="T9"/>
                </a:cxn>
              </a:cxnLst>
              <a:rect l="0" t="0" r="r" b="b"/>
              <a:pathLst>
                <a:path w="451" h="1160">
                  <a:moveTo>
                    <a:pt x="451" y="0"/>
                  </a:moveTo>
                  <a:lnTo>
                    <a:pt x="451" y="899"/>
                  </a:lnTo>
                  <a:lnTo>
                    <a:pt x="0" y="1160"/>
                  </a:lnTo>
                  <a:lnTo>
                    <a:pt x="2" y="262"/>
                  </a:lnTo>
                  <a:lnTo>
                    <a:pt x="451" y="0"/>
                  </a:lnTo>
                  <a:close/>
                </a:path>
              </a:pathLst>
            </a:custGeom>
            <a:solidFill>
              <a:schemeClr val="accent2">
                <a:lumMod val="60000"/>
                <a:lumOff val="40000"/>
              </a:schemeClr>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17" name="Freeform 13">
              <a:extLst>
                <a:ext uri="{FF2B5EF4-FFF2-40B4-BE49-F238E27FC236}">
                  <a16:creationId xmlns:a16="http://schemas.microsoft.com/office/drawing/2014/main" id="{7F7C8DED-573A-4A93-A776-6C0BD673D9A2}"/>
                </a:ext>
              </a:extLst>
            </p:cNvPr>
            <p:cNvSpPr>
              <a:spLocks/>
            </p:cNvSpPr>
            <p:nvPr/>
          </p:nvSpPr>
          <p:spPr bwMode="auto">
            <a:xfrm>
              <a:off x="5730876" y="3957638"/>
              <a:ext cx="727075" cy="1841500"/>
            </a:xfrm>
            <a:custGeom>
              <a:avLst/>
              <a:gdLst>
                <a:gd name="T0" fmla="*/ 458 w 458"/>
                <a:gd name="T1" fmla="*/ 262 h 1160"/>
                <a:gd name="T2" fmla="*/ 456 w 458"/>
                <a:gd name="T3" fmla="*/ 1160 h 1160"/>
                <a:gd name="T4" fmla="*/ 0 w 458"/>
                <a:gd name="T5" fmla="*/ 899 h 1160"/>
                <a:gd name="T6" fmla="*/ 2 w 458"/>
                <a:gd name="T7" fmla="*/ 0 h 1160"/>
                <a:gd name="T8" fmla="*/ 458 w 458"/>
                <a:gd name="T9" fmla="*/ 262 h 1160"/>
              </a:gdLst>
              <a:ahLst/>
              <a:cxnLst>
                <a:cxn ang="0">
                  <a:pos x="T0" y="T1"/>
                </a:cxn>
                <a:cxn ang="0">
                  <a:pos x="T2" y="T3"/>
                </a:cxn>
                <a:cxn ang="0">
                  <a:pos x="T4" y="T5"/>
                </a:cxn>
                <a:cxn ang="0">
                  <a:pos x="T6" y="T7"/>
                </a:cxn>
                <a:cxn ang="0">
                  <a:pos x="T8" y="T9"/>
                </a:cxn>
              </a:cxnLst>
              <a:rect l="0" t="0" r="r" b="b"/>
              <a:pathLst>
                <a:path w="458" h="1160">
                  <a:moveTo>
                    <a:pt x="458" y="262"/>
                  </a:moveTo>
                  <a:lnTo>
                    <a:pt x="456" y="1160"/>
                  </a:lnTo>
                  <a:lnTo>
                    <a:pt x="0" y="899"/>
                  </a:lnTo>
                  <a:lnTo>
                    <a:pt x="2" y="0"/>
                  </a:lnTo>
                  <a:lnTo>
                    <a:pt x="458" y="262"/>
                  </a:lnTo>
                  <a:close/>
                </a:path>
              </a:pathLst>
            </a:custGeom>
            <a:solidFill>
              <a:schemeClr val="accent2">
                <a:lumMod val="75000"/>
              </a:schemeClr>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18" name="Freeform 14">
              <a:extLst>
                <a:ext uri="{FF2B5EF4-FFF2-40B4-BE49-F238E27FC236}">
                  <a16:creationId xmlns:a16="http://schemas.microsoft.com/office/drawing/2014/main" id="{B68572F6-DAD9-46E9-902D-34D2B2CCE59A}"/>
                </a:ext>
              </a:extLst>
            </p:cNvPr>
            <p:cNvSpPr>
              <a:spLocks/>
            </p:cNvSpPr>
            <p:nvPr/>
          </p:nvSpPr>
          <p:spPr bwMode="auto">
            <a:xfrm>
              <a:off x="5018088" y="4606926"/>
              <a:ext cx="1439863" cy="830263"/>
            </a:xfrm>
            <a:custGeom>
              <a:avLst/>
              <a:gdLst>
                <a:gd name="T0" fmla="*/ 907 w 907"/>
                <a:gd name="T1" fmla="*/ 262 h 523"/>
                <a:gd name="T2" fmla="*/ 456 w 907"/>
                <a:gd name="T3" fmla="*/ 523 h 523"/>
                <a:gd name="T4" fmla="*/ 0 w 907"/>
                <a:gd name="T5" fmla="*/ 262 h 523"/>
                <a:gd name="T6" fmla="*/ 451 w 907"/>
                <a:gd name="T7" fmla="*/ 0 h 523"/>
                <a:gd name="T8" fmla="*/ 907 w 907"/>
                <a:gd name="T9" fmla="*/ 262 h 523"/>
              </a:gdLst>
              <a:ahLst/>
              <a:cxnLst>
                <a:cxn ang="0">
                  <a:pos x="T0" y="T1"/>
                </a:cxn>
                <a:cxn ang="0">
                  <a:pos x="T2" y="T3"/>
                </a:cxn>
                <a:cxn ang="0">
                  <a:pos x="T4" y="T5"/>
                </a:cxn>
                <a:cxn ang="0">
                  <a:pos x="T6" y="T7"/>
                </a:cxn>
                <a:cxn ang="0">
                  <a:pos x="T8" y="T9"/>
                </a:cxn>
              </a:cxnLst>
              <a:rect l="0" t="0" r="r" b="b"/>
              <a:pathLst>
                <a:path w="907" h="523">
                  <a:moveTo>
                    <a:pt x="907" y="262"/>
                  </a:moveTo>
                  <a:lnTo>
                    <a:pt x="456" y="523"/>
                  </a:lnTo>
                  <a:lnTo>
                    <a:pt x="0" y="262"/>
                  </a:lnTo>
                  <a:lnTo>
                    <a:pt x="451" y="0"/>
                  </a:lnTo>
                  <a:lnTo>
                    <a:pt x="907" y="262"/>
                  </a:lnTo>
                  <a:close/>
                </a:path>
              </a:pathLst>
            </a:custGeom>
            <a:solidFill>
              <a:schemeClr val="accent1"/>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20" name="Freeform 15">
              <a:extLst>
                <a:ext uri="{FF2B5EF4-FFF2-40B4-BE49-F238E27FC236}">
                  <a16:creationId xmlns:a16="http://schemas.microsoft.com/office/drawing/2014/main" id="{06272E10-BD6C-4050-85F6-CAF418D61329}"/>
                </a:ext>
              </a:extLst>
            </p:cNvPr>
            <p:cNvSpPr>
              <a:spLocks/>
            </p:cNvSpPr>
            <p:nvPr/>
          </p:nvSpPr>
          <p:spPr bwMode="auto">
            <a:xfrm>
              <a:off x="5737226" y="5022851"/>
              <a:ext cx="720725" cy="1192213"/>
            </a:xfrm>
            <a:custGeom>
              <a:avLst/>
              <a:gdLst>
                <a:gd name="T0" fmla="*/ 454 w 454"/>
                <a:gd name="T1" fmla="*/ 0 h 751"/>
                <a:gd name="T2" fmla="*/ 452 w 454"/>
                <a:gd name="T3" fmla="*/ 489 h 751"/>
                <a:gd name="T4" fmla="*/ 0 w 454"/>
                <a:gd name="T5" fmla="*/ 751 h 751"/>
                <a:gd name="T6" fmla="*/ 3 w 454"/>
                <a:gd name="T7" fmla="*/ 261 h 751"/>
                <a:gd name="T8" fmla="*/ 454 w 454"/>
                <a:gd name="T9" fmla="*/ 0 h 751"/>
              </a:gdLst>
              <a:ahLst/>
              <a:cxnLst>
                <a:cxn ang="0">
                  <a:pos x="T0" y="T1"/>
                </a:cxn>
                <a:cxn ang="0">
                  <a:pos x="T2" y="T3"/>
                </a:cxn>
                <a:cxn ang="0">
                  <a:pos x="T4" y="T5"/>
                </a:cxn>
                <a:cxn ang="0">
                  <a:pos x="T6" y="T7"/>
                </a:cxn>
                <a:cxn ang="0">
                  <a:pos x="T8" y="T9"/>
                </a:cxn>
              </a:cxnLst>
              <a:rect l="0" t="0" r="r" b="b"/>
              <a:pathLst>
                <a:path w="454" h="751">
                  <a:moveTo>
                    <a:pt x="454" y="0"/>
                  </a:moveTo>
                  <a:lnTo>
                    <a:pt x="452" y="489"/>
                  </a:lnTo>
                  <a:lnTo>
                    <a:pt x="0" y="751"/>
                  </a:lnTo>
                  <a:lnTo>
                    <a:pt x="3" y="261"/>
                  </a:lnTo>
                  <a:lnTo>
                    <a:pt x="454" y="0"/>
                  </a:lnTo>
                  <a:close/>
                </a:path>
              </a:pathLst>
            </a:custGeom>
            <a:solidFill>
              <a:schemeClr val="accent1">
                <a:lumMod val="60000"/>
                <a:lumOff val="40000"/>
              </a:schemeClr>
            </a:solidFill>
            <a:ln>
              <a:noFill/>
            </a:ln>
          </p:spPr>
          <p:txBody>
            <a:bodyPr vert="horz" wrap="square" lIns="182868" tIns="91434" rIns="182868" bIns="91434" numCol="1" anchor="t" anchorCtr="0" compatLnSpc="1">
              <a:prstTxWarp prst="textNoShape">
                <a:avLst/>
              </a:prstTxWarp>
            </a:bodyPr>
            <a:lstStyle/>
            <a:p>
              <a:endParaRPr lang="en-US" sz="3600"/>
            </a:p>
          </p:txBody>
        </p:sp>
        <p:sp>
          <p:nvSpPr>
            <p:cNvPr id="22" name="Freeform 16">
              <a:extLst>
                <a:ext uri="{FF2B5EF4-FFF2-40B4-BE49-F238E27FC236}">
                  <a16:creationId xmlns:a16="http://schemas.microsoft.com/office/drawing/2014/main" id="{18425AEA-7B3A-49E8-8564-972B76E0D766}"/>
                </a:ext>
              </a:extLst>
            </p:cNvPr>
            <p:cNvSpPr>
              <a:spLocks/>
            </p:cNvSpPr>
            <p:nvPr/>
          </p:nvSpPr>
          <p:spPr bwMode="auto">
            <a:xfrm>
              <a:off x="5018088" y="5022851"/>
              <a:ext cx="723900" cy="1192213"/>
            </a:xfrm>
            <a:custGeom>
              <a:avLst/>
              <a:gdLst>
                <a:gd name="T0" fmla="*/ 456 w 456"/>
                <a:gd name="T1" fmla="*/ 261 h 751"/>
                <a:gd name="T2" fmla="*/ 453 w 456"/>
                <a:gd name="T3" fmla="*/ 751 h 751"/>
                <a:gd name="T4" fmla="*/ 0 w 456"/>
                <a:gd name="T5" fmla="*/ 489 h 751"/>
                <a:gd name="T6" fmla="*/ 0 w 456"/>
                <a:gd name="T7" fmla="*/ 0 h 751"/>
                <a:gd name="T8" fmla="*/ 456 w 456"/>
                <a:gd name="T9" fmla="*/ 261 h 751"/>
              </a:gdLst>
              <a:ahLst/>
              <a:cxnLst>
                <a:cxn ang="0">
                  <a:pos x="T0" y="T1"/>
                </a:cxn>
                <a:cxn ang="0">
                  <a:pos x="T2" y="T3"/>
                </a:cxn>
                <a:cxn ang="0">
                  <a:pos x="T4" y="T5"/>
                </a:cxn>
                <a:cxn ang="0">
                  <a:pos x="T6" y="T7"/>
                </a:cxn>
                <a:cxn ang="0">
                  <a:pos x="T8" y="T9"/>
                </a:cxn>
              </a:cxnLst>
              <a:rect l="0" t="0" r="r" b="b"/>
              <a:pathLst>
                <a:path w="456" h="751">
                  <a:moveTo>
                    <a:pt x="456" y="261"/>
                  </a:moveTo>
                  <a:lnTo>
                    <a:pt x="453" y="751"/>
                  </a:lnTo>
                  <a:lnTo>
                    <a:pt x="0" y="489"/>
                  </a:lnTo>
                  <a:lnTo>
                    <a:pt x="0" y="0"/>
                  </a:lnTo>
                  <a:lnTo>
                    <a:pt x="456" y="261"/>
                  </a:lnTo>
                  <a:close/>
                </a:path>
              </a:pathLst>
            </a:custGeom>
            <a:solidFill>
              <a:schemeClr val="accent1">
                <a:lumMod val="75000"/>
              </a:schemeClr>
            </a:solidFill>
            <a:ln>
              <a:noFill/>
            </a:ln>
          </p:spPr>
          <p:txBody>
            <a:bodyPr vert="horz" wrap="square" lIns="182868" tIns="91434" rIns="182868" bIns="91434" numCol="1" anchor="t" anchorCtr="0" compatLnSpc="1">
              <a:prstTxWarp prst="textNoShape">
                <a:avLst/>
              </a:prstTxWarp>
            </a:bodyPr>
            <a:lstStyle/>
            <a:p>
              <a:endParaRPr lang="en-US" sz="3600"/>
            </a:p>
          </p:txBody>
        </p:sp>
      </p:grpSp>
      <p:sp>
        <p:nvSpPr>
          <p:cNvPr id="113" name="TextBox 112">
            <a:extLst>
              <a:ext uri="{FF2B5EF4-FFF2-40B4-BE49-F238E27FC236}">
                <a16:creationId xmlns:a16="http://schemas.microsoft.com/office/drawing/2014/main" id="{63D24C6A-9FEB-400D-A533-3E4F58E700D8}"/>
              </a:ext>
            </a:extLst>
          </p:cNvPr>
          <p:cNvSpPr txBox="1"/>
          <p:nvPr/>
        </p:nvSpPr>
        <p:spPr>
          <a:xfrm>
            <a:off x="10631210" y="9439217"/>
            <a:ext cx="1713612" cy="1107996"/>
          </a:xfrm>
          <a:prstGeom prst="rect">
            <a:avLst/>
          </a:prstGeom>
          <a:noFill/>
          <a:ln>
            <a:noFill/>
          </a:ln>
        </p:spPr>
        <p:txBody>
          <a:bodyPr wrap="square" lIns="0" tIns="0" rIns="0" bIns="0" rtlCol="0" anchor="ctr">
            <a:spAutoFit/>
          </a:bodyPr>
          <a:lstStyle/>
          <a:p>
            <a:pPr algn="ctr">
              <a:buClr>
                <a:schemeClr val="accent1"/>
              </a:buClr>
            </a:pPr>
            <a:r>
              <a:rPr lang="en-US" sz="7200" dirty="0">
                <a:solidFill>
                  <a:schemeClr val="bg1"/>
                </a:solidFill>
              </a:rPr>
              <a:t>01</a:t>
            </a:r>
          </a:p>
        </p:txBody>
      </p:sp>
      <p:sp>
        <p:nvSpPr>
          <p:cNvPr id="114" name="TextBox 113">
            <a:extLst>
              <a:ext uri="{FF2B5EF4-FFF2-40B4-BE49-F238E27FC236}">
                <a16:creationId xmlns:a16="http://schemas.microsoft.com/office/drawing/2014/main" id="{D7C7AEE8-DC64-463B-8D3F-F13EFE3692AF}"/>
              </a:ext>
            </a:extLst>
          </p:cNvPr>
          <p:cNvSpPr txBox="1"/>
          <p:nvPr/>
        </p:nvSpPr>
        <p:spPr>
          <a:xfrm>
            <a:off x="12025207" y="7258631"/>
            <a:ext cx="1713612" cy="1107996"/>
          </a:xfrm>
          <a:prstGeom prst="rect">
            <a:avLst/>
          </a:prstGeom>
          <a:noFill/>
          <a:ln>
            <a:noFill/>
          </a:ln>
        </p:spPr>
        <p:txBody>
          <a:bodyPr wrap="square" lIns="0" tIns="0" rIns="0" bIns="0" rtlCol="0" anchor="ctr">
            <a:spAutoFit/>
          </a:bodyPr>
          <a:lstStyle/>
          <a:p>
            <a:pPr algn="ctr">
              <a:buClr>
                <a:schemeClr val="accent1"/>
              </a:buClr>
            </a:pPr>
            <a:r>
              <a:rPr lang="en-US" sz="7200" dirty="0">
                <a:solidFill>
                  <a:schemeClr val="bg1"/>
                </a:solidFill>
              </a:rPr>
              <a:t>02</a:t>
            </a:r>
          </a:p>
        </p:txBody>
      </p:sp>
      <p:sp>
        <p:nvSpPr>
          <p:cNvPr id="115" name="TextBox 114">
            <a:extLst>
              <a:ext uri="{FF2B5EF4-FFF2-40B4-BE49-F238E27FC236}">
                <a16:creationId xmlns:a16="http://schemas.microsoft.com/office/drawing/2014/main" id="{826F412A-B678-4C30-9482-9117BF37FB61}"/>
              </a:ext>
            </a:extLst>
          </p:cNvPr>
          <p:cNvSpPr txBox="1"/>
          <p:nvPr/>
        </p:nvSpPr>
        <p:spPr>
          <a:xfrm>
            <a:off x="10652734" y="5110903"/>
            <a:ext cx="1713612" cy="1107996"/>
          </a:xfrm>
          <a:prstGeom prst="rect">
            <a:avLst/>
          </a:prstGeom>
          <a:noFill/>
          <a:ln>
            <a:noFill/>
          </a:ln>
        </p:spPr>
        <p:txBody>
          <a:bodyPr wrap="square" lIns="0" tIns="0" rIns="0" bIns="0" rtlCol="0" anchor="ctr">
            <a:spAutoFit/>
          </a:bodyPr>
          <a:lstStyle/>
          <a:p>
            <a:pPr algn="ctr">
              <a:buClr>
                <a:schemeClr val="accent1"/>
              </a:buClr>
            </a:pPr>
            <a:r>
              <a:rPr lang="en-US" sz="7200" dirty="0">
                <a:solidFill>
                  <a:schemeClr val="bg1"/>
                </a:solidFill>
              </a:rPr>
              <a:t>03</a:t>
            </a:r>
          </a:p>
        </p:txBody>
      </p:sp>
      <p:sp>
        <p:nvSpPr>
          <p:cNvPr id="116" name="TextBox 115">
            <a:extLst>
              <a:ext uri="{FF2B5EF4-FFF2-40B4-BE49-F238E27FC236}">
                <a16:creationId xmlns:a16="http://schemas.microsoft.com/office/drawing/2014/main" id="{5F7A6BD0-F852-4C81-A17B-4FAFA110D642}"/>
              </a:ext>
            </a:extLst>
          </p:cNvPr>
          <p:cNvSpPr txBox="1"/>
          <p:nvPr/>
        </p:nvSpPr>
        <p:spPr>
          <a:xfrm>
            <a:off x="12053819" y="2836883"/>
            <a:ext cx="1713612" cy="1107996"/>
          </a:xfrm>
          <a:prstGeom prst="rect">
            <a:avLst/>
          </a:prstGeom>
          <a:noFill/>
          <a:ln>
            <a:noFill/>
          </a:ln>
        </p:spPr>
        <p:txBody>
          <a:bodyPr wrap="square" lIns="0" tIns="0" rIns="0" bIns="0" rtlCol="0" anchor="ctr">
            <a:spAutoFit/>
          </a:bodyPr>
          <a:lstStyle/>
          <a:p>
            <a:pPr algn="ctr">
              <a:buClr>
                <a:schemeClr val="accent1"/>
              </a:buClr>
            </a:pPr>
            <a:r>
              <a:rPr lang="en-US" sz="7200" dirty="0">
                <a:solidFill>
                  <a:schemeClr val="bg1"/>
                </a:solidFill>
              </a:rPr>
              <a:t>04</a:t>
            </a:r>
          </a:p>
        </p:txBody>
      </p:sp>
      <p:grpSp>
        <p:nvGrpSpPr>
          <p:cNvPr id="25" name="Group 24">
            <a:extLst>
              <a:ext uri="{FF2B5EF4-FFF2-40B4-BE49-F238E27FC236}">
                <a16:creationId xmlns:a16="http://schemas.microsoft.com/office/drawing/2014/main" id="{72559275-4657-4249-87BC-879F346D6B9D}"/>
              </a:ext>
            </a:extLst>
          </p:cNvPr>
          <p:cNvGrpSpPr/>
          <p:nvPr/>
        </p:nvGrpSpPr>
        <p:grpSpPr>
          <a:xfrm>
            <a:off x="14489531" y="3584661"/>
            <a:ext cx="8630819" cy="1907528"/>
            <a:chOff x="7245236" y="1792224"/>
            <a:chExt cx="4680063" cy="953826"/>
          </a:xfrm>
        </p:grpSpPr>
        <p:sp>
          <p:nvSpPr>
            <p:cNvPr id="24" name="Rectangle 23">
              <a:extLst>
                <a:ext uri="{FF2B5EF4-FFF2-40B4-BE49-F238E27FC236}">
                  <a16:creationId xmlns:a16="http://schemas.microsoft.com/office/drawing/2014/main" id="{6FBB9B41-908C-4F5C-AAE3-2F8EB781C7E9}"/>
                </a:ext>
              </a:extLst>
            </p:cNvPr>
            <p:cNvSpPr/>
            <p:nvPr/>
          </p:nvSpPr>
          <p:spPr>
            <a:xfrm>
              <a:off x="7245236" y="1792224"/>
              <a:ext cx="4680063" cy="953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44" name="Rectangle 143">
              <a:extLst>
                <a:ext uri="{FF2B5EF4-FFF2-40B4-BE49-F238E27FC236}">
                  <a16:creationId xmlns:a16="http://schemas.microsoft.com/office/drawing/2014/main" id="{927816D1-DE52-4A51-A3B5-402342785BFD}"/>
                </a:ext>
              </a:extLst>
            </p:cNvPr>
            <p:cNvSpPr/>
            <p:nvPr/>
          </p:nvSpPr>
          <p:spPr>
            <a:xfrm>
              <a:off x="11826875" y="1792224"/>
              <a:ext cx="98424" cy="95382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grpSp>
      <p:grpSp>
        <p:nvGrpSpPr>
          <p:cNvPr id="26" name="Group 25">
            <a:extLst>
              <a:ext uri="{FF2B5EF4-FFF2-40B4-BE49-F238E27FC236}">
                <a16:creationId xmlns:a16="http://schemas.microsoft.com/office/drawing/2014/main" id="{0F3F44B2-83A7-44E8-9C30-E423A6EA5766}"/>
              </a:ext>
            </a:extLst>
          </p:cNvPr>
          <p:cNvGrpSpPr/>
          <p:nvPr/>
        </p:nvGrpSpPr>
        <p:grpSpPr>
          <a:xfrm>
            <a:off x="14489531" y="7812628"/>
            <a:ext cx="8630819" cy="1907528"/>
            <a:chOff x="7245236" y="3906345"/>
            <a:chExt cx="4680063" cy="953826"/>
          </a:xfrm>
        </p:grpSpPr>
        <p:sp>
          <p:nvSpPr>
            <p:cNvPr id="117" name="Rectangle 116">
              <a:extLst>
                <a:ext uri="{FF2B5EF4-FFF2-40B4-BE49-F238E27FC236}">
                  <a16:creationId xmlns:a16="http://schemas.microsoft.com/office/drawing/2014/main" id="{EA0FDCBE-7127-4447-BDF4-5B962267FE94}"/>
                </a:ext>
              </a:extLst>
            </p:cNvPr>
            <p:cNvSpPr/>
            <p:nvPr/>
          </p:nvSpPr>
          <p:spPr>
            <a:xfrm>
              <a:off x="7245236" y="3906345"/>
              <a:ext cx="4680063" cy="953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45" name="Rectangle 144">
              <a:extLst>
                <a:ext uri="{FF2B5EF4-FFF2-40B4-BE49-F238E27FC236}">
                  <a16:creationId xmlns:a16="http://schemas.microsoft.com/office/drawing/2014/main" id="{374C048E-2AE2-4367-B7B3-A19722FF0713}"/>
                </a:ext>
              </a:extLst>
            </p:cNvPr>
            <p:cNvSpPr/>
            <p:nvPr/>
          </p:nvSpPr>
          <p:spPr>
            <a:xfrm>
              <a:off x="11826875" y="3906345"/>
              <a:ext cx="98424" cy="9538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grpSp>
      <p:grpSp>
        <p:nvGrpSpPr>
          <p:cNvPr id="146" name="Group 145">
            <a:extLst>
              <a:ext uri="{FF2B5EF4-FFF2-40B4-BE49-F238E27FC236}">
                <a16:creationId xmlns:a16="http://schemas.microsoft.com/office/drawing/2014/main" id="{CCA1E415-19EA-4714-A2BF-15DBE0C6F14F}"/>
              </a:ext>
            </a:extLst>
          </p:cNvPr>
          <p:cNvGrpSpPr/>
          <p:nvPr/>
        </p:nvGrpSpPr>
        <p:grpSpPr>
          <a:xfrm flipH="1">
            <a:off x="1267090" y="5730571"/>
            <a:ext cx="8625794" cy="1907528"/>
            <a:chOff x="7245236" y="1792224"/>
            <a:chExt cx="4680063" cy="953826"/>
          </a:xfrm>
        </p:grpSpPr>
        <p:sp>
          <p:nvSpPr>
            <p:cNvPr id="147" name="Rectangle 146">
              <a:extLst>
                <a:ext uri="{FF2B5EF4-FFF2-40B4-BE49-F238E27FC236}">
                  <a16:creationId xmlns:a16="http://schemas.microsoft.com/office/drawing/2014/main" id="{7612C5FE-D449-4EA1-8EE4-792CB44BA8B1}"/>
                </a:ext>
              </a:extLst>
            </p:cNvPr>
            <p:cNvSpPr/>
            <p:nvPr/>
          </p:nvSpPr>
          <p:spPr>
            <a:xfrm>
              <a:off x="7245236" y="1792224"/>
              <a:ext cx="4680063" cy="953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48" name="Rectangle 147">
              <a:extLst>
                <a:ext uri="{FF2B5EF4-FFF2-40B4-BE49-F238E27FC236}">
                  <a16:creationId xmlns:a16="http://schemas.microsoft.com/office/drawing/2014/main" id="{31BAF573-9091-47F9-9B66-88BFFC80C97B}"/>
                </a:ext>
              </a:extLst>
            </p:cNvPr>
            <p:cNvSpPr/>
            <p:nvPr/>
          </p:nvSpPr>
          <p:spPr>
            <a:xfrm>
              <a:off x="11826875" y="1792224"/>
              <a:ext cx="98424" cy="9538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grpSp>
      <p:grpSp>
        <p:nvGrpSpPr>
          <p:cNvPr id="149" name="Group 148">
            <a:extLst>
              <a:ext uri="{FF2B5EF4-FFF2-40B4-BE49-F238E27FC236}">
                <a16:creationId xmlns:a16="http://schemas.microsoft.com/office/drawing/2014/main" id="{AF4B17F6-7864-4F61-AD07-94AB5613BF34}"/>
              </a:ext>
            </a:extLst>
          </p:cNvPr>
          <p:cNvGrpSpPr/>
          <p:nvPr/>
        </p:nvGrpSpPr>
        <p:grpSpPr>
          <a:xfrm flipH="1">
            <a:off x="1267090" y="9958538"/>
            <a:ext cx="8625794" cy="1907528"/>
            <a:chOff x="7245236" y="3906345"/>
            <a:chExt cx="4680063" cy="953826"/>
          </a:xfrm>
        </p:grpSpPr>
        <p:sp>
          <p:nvSpPr>
            <p:cNvPr id="150" name="Rectangle 149">
              <a:extLst>
                <a:ext uri="{FF2B5EF4-FFF2-40B4-BE49-F238E27FC236}">
                  <a16:creationId xmlns:a16="http://schemas.microsoft.com/office/drawing/2014/main" id="{6FFF018C-B10E-4BDA-A47D-D8418DE71CC3}"/>
                </a:ext>
              </a:extLst>
            </p:cNvPr>
            <p:cNvSpPr/>
            <p:nvPr/>
          </p:nvSpPr>
          <p:spPr>
            <a:xfrm>
              <a:off x="7245236" y="3906345"/>
              <a:ext cx="4680063" cy="953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51" name="Rectangle 150">
              <a:extLst>
                <a:ext uri="{FF2B5EF4-FFF2-40B4-BE49-F238E27FC236}">
                  <a16:creationId xmlns:a16="http://schemas.microsoft.com/office/drawing/2014/main" id="{A5316896-BE7E-4A63-8A65-895AB6EBA0C5}"/>
                </a:ext>
              </a:extLst>
            </p:cNvPr>
            <p:cNvSpPr/>
            <p:nvPr/>
          </p:nvSpPr>
          <p:spPr>
            <a:xfrm>
              <a:off x="11826875" y="3906345"/>
              <a:ext cx="98424" cy="9538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grpSp>
      <p:sp>
        <p:nvSpPr>
          <p:cNvPr id="152" name="TextBox 151">
            <a:extLst>
              <a:ext uri="{FF2B5EF4-FFF2-40B4-BE49-F238E27FC236}">
                <a16:creationId xmlns:a16="http://schemas.microsoft.com/office/drawing/2014/main" id="{C1C96D5F-9D54-4F3A-B25B-CD373ECFA4F3}"/>
              </a:ext>
            </a:extLst>
          </p:cNvPr>
          <p:cNvSpPr txBox="1"/>
          <p:nvPr/>
        </p:nvSpPr>
        <p:spPr>
          <a:xfrm>
            <a:off x="1973298" y="6038006"/>
            <a:ext cx="7288689" cy="1292662"/>
          </a:xfrm>
          <a:prstGeom prst="rect">
            <a:avLst/>
          </a:prstGeom>
          <a:noFill/>
          <a:ln>
            <a:noFill/>
          </a:ln>
        </p:spPr>
        <p:txBody>
          <a:bodyPr wrap="square" lIns="0" tIns="0" rIns="0" bIns="0" rtlCol="0" anchor="ctr">
            <a:spAutoFit/>
          </a:bodyPr>
          <a:lstStyle/>
          <a:p>
            <a:pPr>
              <a:buClr>
                <a:schemeClr val="accent1"/>
              </a:buClr>
            </a:pPr>
            <a:r>
              <a:rPr lang="en-US" sz="2800" dirty="0">
                <a:solidFill>
                  <a:schemeClr val="tx1">
                    <a:lumMod val="75000"/>
                    <a:lumOff val="25000"/>
                  </a:schemeClr>
                </a:solidFill>
              </a:rPr>
              <a:t>Lorem ipsum dolor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consectetur</a:t>
            </a:r>
            <a:r>
              <a:rPr lang="en-US" sz="2800" dirty="0">
                <a:solidFill>
                  <a:schemeClr val="tx1">
                    <a:lumMod val="75000"/>
                    <a:lumOff val="25000"/>
                  </a:schemeClr>
                </a:solidFill>
              </a:rPr>
              <a:t> </a:t>
            </a:r>
            <a:r>
              <a:rPr lang="en-US" sz="2800" dirty="0" err="1">
                <a:solidFill>
                  <a:schemeClr val="tx1">
                    <a:lumMod val="75000"/>
                    <a:lumOff val="25000"/>
                  </a:schemeClr>
                </a:solidFill>
              </a:rPr>
              <a:t>adipiscing</a:t>
            </a:r>
            <a:r>
              <a:rPr lang="en-US" sz="2800" dirty="0">
                <a:solidFill>
                  <a:schemeClr val="tx1">
                    <a:lumMod val="75000"/>
                    <a:lumOff val="25000"/>
                  </a:schemeClr>
                </a:solidFill>
              </a:rPr>
              <a:t> </a:t>
            </a:r>
            <a:r>
              <a:rPr lang="en-US" sz="2800" dirty="0" err="1">
                <a:solidFill>
                  <a:schemeClr val="tx1">
                    <a:lumMod val="75000"/>
                    <a:lumOff val="25000"/>
                  </a:schemeClr>
                </a:solidFill>
              </a:rPr>
              <a:t>elit</a:t>
            </a:r>
            <a:r>
              <a:rPr lang="en-US" sz="2800" dirty="0">
                <a:solidFill>
                  <a:schemeClr val="tx1">
                    <a:lumMod val="75000"/>
                    <a:lumOff val="25000"/>
                  </a:schemeClr>
                </a:solidFill>
              </a:rPr>
              <a:t>. </a:t>
            </a:r>
            <a:r>
              <a:rPr lang="en-US" sz="2800" dirty="0" err="1">
                <a:solidFill>
                  <a:schemeClr val="tx1">
                    <a:lumMod val="75000"/>
                    <a:lumOff val="25000"/>
                  </a:schemeClr>
                </a:solidFill>
              </a:rPr>
              <a:t>Aliquam</a:t>
            </a:r>
            <a:r>
              <a:rPr lang="en-US" sz="2800" dirty="0">
                <a:solidFill>
                  <a:schemeClr val="tx1">
                    <a:lumMod val="75000"/>
                    <a:lumOff val="25000"/>
                  </a:schemeClr>
                </a:solidFill>
              </a:rPr>
              <a:t> </a:t>
            </a:r>
            <a:r>
              <a:rPr lang="en-US" sz="2800" dirty="0" err="1">
                <a:solidFill>
                  <a:schemeClr val="tx1">
                    <a:lumMod val="75000"/>
                    <a:lumOff val="25000"/>
                  </a:schemeClr>
                </a:solidFill>
              </a:rPr>
              <a:t>eu</a:t>
            </a:r>
            <a:r>
              <a:rPr lang="en-US" sz="2800" dirty="0">
                <a:solidFill>
                  <a:schemeClr val="tx1">
                    <a:lumMod val="75000"/>
                    <a:lumOff val="25000"/>
                  </a:schemeClr>
                </a:solidFill>
              </a:rPr>
              <a:t> </a:t>
            </a:r>
            <a:r>
              <a:rPr lang="en-US" sz="2800" dirty="0" err="1">
                <a:solidFill>
                  <a:schemeClr val="tx1">
                    <a:lumMod val="75000"/>
                    <a:lumOff val="25000"/>
                  </a:schemeClr>
                </a:solidFill>
              </a:rPr>
              <a:t>lobortis</a:t>
            </a:r>
            <a:r>
              <a:rPr lang="en-US" sz="2800" dirty="0">
                <a:solidFill>
                  <a:schemeClr val="tx1">
                    <a:lumMod val="75000"/>
                    <a:lumOff val="25000"/>
                  </a:schemeClr>
                </a:solidFill>
              </a:rPr>
              <a:t> </a:t>
            </a:r>
            <a:r>
              <a:rPr lang="en-US" sz="2800" dirty="0" err="1">
                <a:solidFill>
                  <a:schemeClr val="tx1">
                    <a:lumMod val="75000"/>
                    <a:lumOff val="25000"/>
                  </a:schemeClr>
                </a:solidFill>
              </a:rPr>
              <a:t>eros</a:t>
            </a:r>
            <a:r>
              <a:rPr lang="en-US" sz="2800" dirty="0">
                <a:solidFill>
                  <a:schemeClr val="tx1">
                    <a:lumMod val="75000"/>
                    <a:lumOff val="25000"/>
                  </a:schemeClr>
                </a:solidFill>
              </a:rPr>
              <a:t>. </a:t>
            </a:r>
            <a:r>
              <a:rPr lang="en-US" sz="2800" dirty="0" err="1">
                <a:solidFill>
                  <a:schemeClr val="tx1">
                    <a:lumMod val="75000"/>
                    <a:lumOff val="25000"/>
                  </a:schemeClr>
                </a:solidFill>
              </a:rPr>
              <a:t>Pellentesque</a:t>
            </a:r>
            <a:r>
              <a:rPr lang="en-US" sz="2800" dirty="0">
                <a:solidFill>
                  <a:schemeClr val="tx1">
                    <a:lumMod val="75000"/>
                    <a:lumOff val="25000"/>
                  </a:schemeClr>
                </a:solidFill>
              </a:rPr>
              <a:t>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finibus</a:t>
            </a:r>
            <a:r>
              <a:rPr lang="en-US" sz="2800" dirty="0">
                <a:solidFill>
                  <a:schemeClr val="tx1">
                    <a:lumMod val="75000"/>
                    <a:lumOff val="25000"/>
                  </a:schemeClr>
                </a:solidFill>
              </a:rPr>
              <a:t> </a:t>
            </a:r>
            <a:r>
              <a:rPr lang="en-US" sz="2800" dirty="0" err="1">
                <a:solidFill>
                  <a:schemeClr val="tx1">
                    <a:lumMod val="75000"/>
                    <a:lumOff val="25000"/>
                  </a:schemeClr>
                </a:solidFill>
              </a:rPr>
              <a:t>sapien</a:t>
            </a:r>
            <a:r>
              <a:rPr lang="en-US" sz="2800" dirty="0">
                <a:solidFill>
                  <a:schemeClr val="tx1">
                    <a:lumMod val="75000"/>
                    <a:lumOff val="25000"/>
                  </a:schemeClr>
                </a:solidFill>
              </a:rPr>
              <a:t>. </a:t>
            </a:r>
          </a:p>
        </p:txBody>
      </p:sp>
      <p:sp>
        <p:nvSpPr>
          <p:cNvPr id="153" name="TextBox 152">
            <a:extLst>
              <a:ext uri="{FF2B5EF4-FFF2-40B4-BE49-F238E27FC236}">
                <a16:creationId xmlns:a16="http://schemas.microsoft.com/office/drawing/2014/main" id="{DAC56C55-804F-42CC-956E-AD3900F3F28E}"/>
              </a:ext>
            </a:extLst>
          </p:cNvPr>
          <p:cNvSpPr txBox="1"/>
          <p:nvPr/>
        </p:nvSpPr>
        <p:spPr>
          <a:xfrm>
            <a:off x="1973298" y="10265973"/>
            <a:ext cx="7288689" cy="1292662"/>
          </a:xfrm>
          <a:prstGeom prst="rect">
            <a:avLst/>
          </a:prstGeom>
          <a:noFill/>
          <a:ln>
            <a:noFill/>
          </a:ln>
        </p:spPr>
        <p:txBody>
          <a:bodyPr wrap="square" lIns="0" tIns="0" rIns="0" bIns="0" rtlCol="0" anchor="ctr">
            <a:spAutoFit/>
          </a:bodyPr>
          <a:lstStyle/>
          <a:p>
            <a:pPr>
              <a:buClr>
                <a:schemeClr val="accent1"/>
              </a:buClr>
            </a:pPr>
            <a:r>
              <a:rPr lang="en-US" sz="2800" dirty="0">
                <a:solidFill>
                  <a:schemeClr val="tx1">
                    <a:lumMod val="75000"/>
                    <a:lumOff val="25000"/>
                  </a:schemeClr>
                </a:solidFill>
              </a:rPr>
              <a:t>Lorem ipsum dolor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consectetur</a:t>
            </a:r>
            <a:r>
              <a:rPr lang="en-US" sz="2800" dirty="0">
                <a:solidFill>
                  <a:schemeClr val="tx1">
                    <a:lumMod val="75000"/>
                    <a:lumOff val="25000"/>
                  </a:schemeClr>
                </a:solidFill>
              </a:rPr>
              <a:t> </a:t>
            </a:r>
            <a:r>
              <a:rPr lang="en-US" sz="2800" dirty="0" err="1">
                <a:solidFill>
                  <a:schemeClr val="tx1">
                    <a:lumMod val="75000"/>
                    <a:lumOff val="25000"/>
                  </a:schemeClr>
                </a:solidFill>
              </a:rPr>
              <a:t>adipiscing</a:t>
            </a:r>
            <a:r>
              <a:rPr lang="en-US" sz="2800" dirty="0">
                <a:solidFill>
                  <a:schemeClr val="tx1">
                    <a:lumMod val="75000"/>
                    <a:lumOff val="25000"/>
                  </a:schemeClr>
                </a:solidFill>
              </a:rPr>
              <a:t> </a:t>
            </a:r>
            <a:r>
              <a:rPr lang="en-US" sz="2800" dirty="0" err="1">
                <a:solidFill>
                  <a:schemeClr val="tx1">
                    <a:lumMod val="75000"/>
                    <a:lumOff val="25000"/>
                  </a:schemeClr>
                </a:solidFill>
              </a:rPr>
              <a:t>elit</a:t>
            </a:r>
            <a:r>
              <a:rPr lang="en-US" sz="2800" dirty="0">
                <a:solidFill>
                  <a:schemeClr val="tx1">
                    <a:lumMod val="75000"/>
                    <a:lumOff val="25000"/>
                  </a:schemeClr>
                </a:solidFill>
              </a:rPr>
              <a:t>. </a:t>
            </a:r>
            <a:r>
              <a:rPr lang="en-US" sz="2800" dirty="0" err="1">
                <a:solidFill>
                  <a:schemeClr val="tx1">
                    <a:lumMod val="75000"/>
                    <a:lumOff val="25000"/>
                  </a:schemeClr>
                </a:solidFill>
              </a:rPr>
              <a:t>Aliquam</a:t>
            </a:r>
            <a:r>
              <a:rPr lang="en-US" sz="2800" dirty="0">
                <a:solidFill>
                  <a:schemeClr val="tx1">
                    <a:lumMod val="75000"/>
                    <a:lumOff val="25000"/>
                  </a:schemeClr>
                </a:solidFill>
              </a:rPr>
              <a:t> </a:t>
            </a:r>
            <a:r>
              <a:rPr lang="en-US" sz="2800" dirty="0" err="1">
                <a:solidFill>
                  <a:schemeClr val="tx1">
                    <a:lumMod val="75000"/>
                    <a:lumOff val="25000"/>
                  </a:schemeClr>
                </a:solidFill>
              </a:rPr>
              <a:t>eu</a:t>
            </a:r>
            <a:r>
              <a:rPr lang="en-US" sz="2800" dirty="0">
                <a:solidFill>
                  <a:schemeClr val="tx1">
                    <a:lumMod val="75000"/>
                    <a:lumOff val="25000"/>
                  </a:schemeClr>
                </a:solidFill>
              </a:rPr>
              <a:t> </a:t>
            </a:r>
            <a:r>
              <a:rPr lang="en-US" sz="2800" dirty="0" err="1">
                <a:solidFill>
                  <a:schemeClr val="tx1">
                    <a:lumMod val="75000"/>
                    <a:lumOff val="25000"/>
                  </a:schemeClr>
                </a:solidFill>
              </a:rPr>
              <a:t>lobortis</a:t>
            </a:r>
            <a:r>
              <a:rPr lang="en-US" sz="2800" dirty="0">
                <a:solidFill>
                  <a:schemeClr val="tx1">
                    <a:lumMod val="75000"/>
                    <a:lumOff val="25000"/>
                  </a:schemeClr>
                </a:solidFill>
              </a:rPr>
              <a:t> </a:t>
            </a:r>
            <a:r>
              <a:rPr lang="en-US" sz="2800" dirty="0" err="1">
                <a:solidFill>
                  <a:schemeClr val="tx1">
                    <a:lumMod val="75000"/>
                    <a:lumOff val="25000"/>
                  </a:schemeClr>
                </a:solidFill>
              </a:rPr>
              <a:t>eros</a:t>
            </a:r>
            <a:r>
              <a:rPr lang="en-US" sz="2800" dirty="0">
                <a:solidFill>
                  <a:schemeClr val="tx1">
                    <a:lumMod val="75000"/>
                    <a:lumOff val="25000"/>
                  </a:schemeClr>
                </a:solidFill>
              </a:rPr>
              <a:t>. </a:t>
            </a:r>
            <a:r>
              <a:rPr lang="en-US" sz="2800" dirty="0" err="1">
                <a:solidFill>
                  <a:schemeClr val="tx1">
                    <a:lumMod val="75000"/>
                    <a:lumOff val="25000"/>
                  </a:schemeClr>
                </a:solidFill>
              </a:rPr>
              <a:t>Pellentesque</a:t>
            </a:r>
            <a:r>
              <a:rPr lang="en-US" sz="2800" dirty="0">
                <a:solidFill>
                  <a:schemeClr val="tx1">
                    <a:lumMod val="75000"/>
                    <a:lumOff val="25000"/>
                  </a:schemeClr>
                </a:solidFill>
              </a:rPr>
              <a:t>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finibus</a:t>
            </a:r>
            <a:r>
              <a:rPr lang="en-US" sz="2800" dirty="0">
                <a:solidFill>
                  <a:schemeClr val="tx1">
                    <a:lumMod val="75000"/>
                    <a:lumOff val="25000"/>
                  </a:schemeClr>
                </a:solidFill>
              </a:rPr>
              <a:t> </a:t>
            </a:r>
            <a:r>
              <a:rPr lang="en-US" sz="2800" dirty="0" err="1">
                <a:solidFill>
                  <a:schemeClr val="tx1">
                    <a:lumMod val="75000"/>
                    <a:lumOff val="25000"/>
                  </a:schemeClr>
                </a:solidFill>
              </a:rPr>
              <a:t>sapien</a:t>
            </a:r>
            <a:r>
              <a:rPr lang="en-US" sz="2800" dirty="0">
                <a:solidFill>
                  <a:schemeClr val="tx1">
                    <a:lumMod val="75000"/>
                    <a:lumOff val="25000"/>
                  </a:schemeClr>
                </a:solidFill>
              </a:rPr>
              <a:t>. </a:t>
            </a:r>
          </a:p>
        </p:txBody>
      </p:sp>
      <p:sp>
        <p:nvSpPr>
          <p:cNvPr id="154" name="TextBox 153">
            <a:extLst>
              <a:ext uri="{FF2B5EF4-FFF2-40B4-BE49-F238E27FC236}">
                <a16:creationId xmlns:a16="http://schemas.microsoft.com/office/drawing/2014/main" id="{FBF632AC-3006-46CA-91A3-86F77C66EB61}"/>
              </a:ext>
            </a:extLst>
          </p:cNvPr>
          <p:cNvSpPr txBox="1"/>
          <p:nvPr/>
        </p:nvSpPr>
        <p:spPr>
          <a:xfrm>
            <a:off x="15120425" y="3892096"/>
            <a:ext cx="7067703" cy="1292662"/>
          </a:xfrm>
          <a:prstGeom prst="rect">
            <a:avLst/>
          </a:prstGeom>
          <a:noFill/>
          <a:ln>
            <a:noFill/>
          </a:ln>
        </p:spPr>
        <p:txBody>
          <a:bodyPr wrap="square" lIns="0" tIns="0" rIns="0" bIns="0" rtlCol="0" anchor="ctr">
            <a:spAutoFit/>
          </a:bodyPr>
          <a:lstStyle/>
          <a:p>
            <a:pPr>
              <a:buClr>
                <a:schemeClr val="accent1"/>
              </a:buClr>
            </a:pPr>
            <a:r>
              <a:rPr lang="en-US" sz="2800" dirty="0">
                <a:solidFill>
                  <a:schemeClr val="tx1">
                    <a:lumMod val="75000"/>
                    <a:lumOff val="25000"/>
                  </a:schemeClr>
                </a:solidFill>
              </a:rPr>
              <a:t>Lorem ipsum dolor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consectetur</a:t>
            </a:r>
            <a:r>
              <a:rPr lang="en-US" sz="2800" dirty="0">
                <a:solidFill>
                  <a:schemeClr val="tx1">
                    <a:lumMod val="75000"/>
                    <a:lumOff val="25000"/>
                  </a:schemeClr>
                </a:solidFill>
              </a:rPr>
              <a:t> </a:t>
            </a:r>
            <a:r>
              <a:rPr lang="en-US" sz="2800" dirty="0" err="1">
                <a:solidFill>
                  <a:schemeClr val="tx1">
                    <a:lumMod val="75000"/>
                    <a:lumOff val="25000"/>
                  </a:schemeClr>
                </a:solidFill>
              </a:rPr>
              <a:t>adipiscing</a:t>
            </a:r>
            <a:r>
              <a:rPr lang="en-US" sz="2800" dirty="0">
                <a:solidFill>
                  <a:schemeClr val="tx1">
                    <a:lumMod val="75000"/>
                    <a:lumOff val="25000"/>
                  </a:schemeClr>
                </a:solidFill>
              </a:rPr>
              <a:t> </a:t>
            </a:r>
            <a:r>
              <a:rPr lang="en-US" sz="2800" dirty="0" err="1">
                <a:solidFill>
                  <a:schemeClr val="tx1">
                    <a:lumMod val="75000"/>
                    <a:lumOff val="25000"/>
                  </a:schemeClr>
                </a:solidFill>
              </a:rPr>
              <a:t>elit</a:t>
            </a:r>
            <a:r>
              <a:rPr lang="en-US" sz="2800" dirty="0">
                <a:solidFill>
                  <a:schemeClr val="tx1">
                    <a:lumMod val="75000"/>
                    <a:lumOff val="25000"/>
                  </a:schemeClr>
                </a:solidFill>
              </a:rPr>
              <a:t>. </a:t>
            </a:r>
            <a:r>
              <a:rPr lang="en-US" sz="2800" dirty="0" err="1">
                <a:solidFill>
                  <a:schemeClr val="tx1">
                    <a:lumMod val="75000"/>
                    <a:lumOff val="25000"/>
                  </a:schemeClr>
                </a:solidFill>
              </a:rPr>
              <a:t>Aliquam</a:t>
            </a:r>
            <a:r>
              <a:rPr lang="en-US" sz="2800" dirty="0">
                <a:solidFill>
                  <a:schemeClr val="tx1">
                    <a:lumMod val="75000"/>
                    <a:lumOff val="25000"/>
                  </a:schemeClr>
                </a:solidFill>
              </a:rPr>
              <a:t> </a:t>
            </a:r>
            <a:r>
              <a:rPr lang="en-US" sz="2800" dirty="0" err="1">
                <a:solidFill>
                  <a:schemeClr val="tx1">
                    <a:lumMod val="75000"/>
                    <a:lumOff val="25000"/>
                  </a:schemeClr>
                </a:solidFill>
              </a:rPr>
              <a:t>eu</a:t>
            </a:r>
            <a:r>
              <a:rPr lang="en-US" sz="2800" dirty="0">
                <a:solidFill>
                  <a:schemeClr val="tx1">
                    <a:lumMod val="75000"/>
                    <a:lumOff val="25000"/>
                  </a:schemeClr>
                </a:solidFill>
              </a:rPr>
              <a:t> </a:t>
            </a:r>
            <a:r>
              <a:rPr lang="en-US" sz="2800" dirty="0" err="1">
                <a:solidFill>
                  <a:schemeClr val="tx1">
                    <a:lumMod val="75000"/>
                    <a:lumOff val="25000"/>
                  </a:schemeClr>
                </a:solidFill>
              </a:rPr>
              <a:t>lobortis</a:t>
            </a:r>
            <a:r>
              <a:rPr lang="en-US" sz="2800" dirty="0">
                <a:solidFill>
                  <a:schemeClr val="tx1">
                    <a:lumMod val="75000"/>
                    <a:lumOff val="25000"/>
                  </a:schemeClr>
                </a:solidFill>
              </a:rPr>
              <a:t> </a:t>
            </a:r>
            <a:r>
              <a:rPr lang="en-US" sz="2800" dirty="0" err="1">
                <a:solidFill>
                  <a:schemeClr val="tx1">
                    <a:lumMod val="75000"/>
                    <a:lumOff val="25000"/>
                  </a:schemeClr>
                </a:solidFill>
              </a:rPr>
              <a:t>eros</a:t>
            </a:r>
            <a:r>
              <a:rPr lang="en-US" sz="2800" dirty="0">
                <a:solidFill>
                  <a:schemeClr val="tx1">
                    <a:lumMod val="75000"/>
                    <a:lumOff val="25000"/>
                  </a:schemeClr>
                </a:solidFill>
              </a:rPr>
              <a:t>. </a:t>
            </a:r>
            <a:r>
              <a:rPr lang="en-US" sz="2800" dirty="0" err="1">
                <a:solidFill>
                  <a:schemeClr val="tx1">
                    <a:lumMod val="75000"/>
                    <a:lumOff val="25000"/>
                  </a:schemeClr>
                </a:solidFill>
              </a:rPr>
              <a:t>Pellentesque</a:t>
            </a:r>
            <a:r>
              <a:rPr lang="en-US" sz="2800" dirty="0">
                <a:solidFill>
                  <a:schemeClr val="tx1">
                    <a:lumMod val="75000"/>
                    <a:lumOff val="25000"/>
                  </a:schemeClr>
                </a:solidFill>
              </a:rPr>
              <a:t>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finibus</a:t>
            </a:r>
            <a:r>
              <a:rPr lang="en-US" sz="2800" dirty="0">
                <a:solidFill>
                  <a:schemeClr val="tx1">
                    <a:lumMod val="75000"/>
                    <a:lumOff val="25000"/>
                  </a:schemeClr>
                </a:solidFill>
              </a:rPr>
              <a:t> </a:t>
            </a:r>
            <a:r>
              <a:rPr lang="en-US" sz="2800" dirty="0" err="1">
                <a:solidFill>
                  <a:schemeClr val="tx1">
                    <a:lumMod val="75000"/>
                    <a:lumOff val="25000"/>
                  </a:schemeClr>
                </a:solidFill>
              </a:rPr>
              <a:t>sapien</a:t>
            </a:r>
            <a:r>
              <a:rPr lang="en-US" sz="2800" dirty="0">
                <a:solidFill>
                  <a:schemeClr val="tx1">
                    <a:lumMod val="75000"/>
                    <a:lumOff val="25000"/>
                  </a:schemeClr>
                </a:solidFill>
              </a:rPr>
              <a:t>. </a:t>
            </a:r>
          </a:p>
        </p:txBody>
      </p:sp>
      <p:sp>
        <p:nvSpPr>
          <p:cNvPr id="155" name="TextBox 154">
            <a:extLst>
              <a:ext uri="{FF2B5EF4-FFF2-40B4-BE49-F238E27FC236}">
                <a16:creationId xmlns:a16="http://schemas.microsoft.com/office/drawing/2014/main" id="{081FF8FF-B5C4-400C-8951-595D70688777}"/>
              </a:ext>
            </a:extLst>
          </p:cNvPr>
          <p:cNvSpPr txBox="1"/>
          <p:nvPr/>
        </p:nvSpPr>
        <p:spPr>
          <a:xfrm>
            <a:off x="15120425" y="8120062"/>
            <a:ext cx="7067703" cy="1292662"/>
          </a:xfrm>
          <a:prstGeom prst="rect">
            <a:avLst/>
          </a:prstGeom>
          <a:noFill/>
          <a:ln>
            <a:noFill/>
          </a:ln>
        </p:spPr>
        <p:txBody>
          <a:bodyPr wrap="square" lIns="0" tIns="0" rIns="0" bIns="0" rtlCol="0" anchor="ctr">
            <a:spAutoFit/>
          </a:bodyPr>
          <a:lstStyle/>
          <a:p>
            <a:pPr>
              <a:buClr>
                <a:schemeClr val="accent1"/>
              </a:buClr>
            </a:pPr>
            <a:r>
              <a:rPr lang="en-US" sz="2800" dirty="0">
                <a:solidFill>
                  <a:schemeClr val="tx1">
                    <a:lumMod val="75000"/>
                    <a:lumOff val="25000"/>
                  </a:schemeClr>
                </a:solidFill>
              </a:rPr>
              <a:t>Lorem ipsum dolor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consectetur</a:t>
            </a:r>
            <a:r>
              <a:rPr lang="en-US" sz="2800" dirty="0">
                <a:solidFill>
                  <a:schemeClr val="tx1">
                    <a:lumMod val="75000"/>
                    <a:lumOff val="25000"/>
                  </a:schemeClr>
                </a:solidFill>
              </a:rPr>
              <a:t> </a:t>
            </a:r>
            <a:r>
              <a:rPr lang="en-US" sz="2800" dirty="0" err="1">
                <a:solidFill>
                  <a:schemeClr val="tx1">
                    <a:lumMod val="75000"/>
                    <a:lumOff val="25000"/>
                  </a:schemeClr>
                </a:solidFill>
              </a:rPr>
              <a:t>adipiscing</a:t>
            </a:r>
            <a:r>
              <a:rPr lang="en-US" sz="2800" dirty="0">
                <a:solidFill>
                  <a:schemeClr val="tx1">
                    <a:lumMod val="75000"/>
                    <a:lumOff val="25000"/>
                  </a:schemeClr>
                </a:solidFill>
              </a:rPr>
              <a:t> </a:t>
            </a:r>
            <a:r>
              <a:rPr lang="en-US" sz="2800" dirty="0" err="1">
                <a:solidFill>
                  <a:schemeClr val="tx1">
                    <a:lumMod val="75000"/>
                    <a:lumOff val="25000"/>
                  </a:schemeClr>
                </a:solidFill>
              </a:rPr>
              <a:t>elit</a:t>
            </a:r>
            <a:r>
              <a:rPr lang="en-US" sz="2800" dirty="0">
                <a:solidFill>
                  <a:schemeClr val="tx1">
                    <a:lumMod val="75000"/>
                    <a:lumOff val="25000"/>
                  </a:schemeClr>
                </a:solidFill>
              </a:rPr>
              <a:t>. </a:t>
            </a:r>
            <a:r>
              <a:rPr lang="en-US" sz="2800" dirty="0" err="1">
                <a:solidFill>
                  <a:schemeClr val="tx1">
                    <a:lumMod val="75000"/>
                    <a:lumOff val="25000"/>
                  </a:schemeClr>
                </a:solidFill>
              </a:rPr>
              <a:t>Aliquam</a:t>
            </a:r>
            <a:r>
              <a:rPr lang="en-US" sz="2800" dirty="0">
                <a:solidFill>
                  <a:schemeClr val="tx1">
                    <a:lumMod val="75000"/>
                    <a:lumOff val="25000"/>
                  </a:schemeClr>
                </a:solidFill>
              </a:rPr>
              <a:t> </a:t>
            </a:r>
            <a:r>
              <a:rPr lang="en-US" sz="2800" dirty="0" err="1">
                <a:solidFill>
                  <a:schemeClr val="tx1">
                    <a:lumMod val="75000"/>
                    <a:lumOff val="25000"/>
                  </a:schemeClr>
                </a:solidFill>
              </a:rPr>
              <a:t>eu</a:t>
            </a:r>
            <a:r>
              <a:rPr lang="en-US" sz="2800" dirty="0">
                <a:solidFill>
                  <a:schemeClr val="tx1">
                    <a:lumMod val="75000"/>
                    <a:lumOff val="25000"/>
                  </a:schemeClr>
                </a:solidFill>
              </a:rPr>
              <a:t> </a:t>
            </a:r>
            <a:r>
              <a:rPr lang="en-US" sz="2800" dirty="0" err="1">
                <a:solidFill>
                  <a:schemeClr val="tx1">
                    <a:lumMod val="75000"/>
                    <a:lumOff val="25000"/>
                  </a:schemeClr>
                </a:solidFill>
              </a:rPr>
              <a:t>lobortis</a:t>
            </a:r>
            <a:r>
              <a:rPr lang="en-US" sz="2800" dirty="0">
                <a:solidFill>
                  <a:schemeClr val="tx1">
                    <a:lumMod val="75000"/>
                    <a:lumOff val="25000"/>
                  </a:schemeClr>
                </a:solidFill>
              </a:rPr>
              <a:t> </a:t>
            </a:r>
            <a:r>
              <a:rPr lang="en-US" sz="2800" dirty="0" err="1">
                <a:solidFill>
                  <a:schemeClr val="tx1">
                    <a:lumMod val="75000"/>
                    <a:lumOff val="25000"/>
                  </a:schemeClr>
                </a:solidFill>
              </a:rPr>
              <a:t>eros</a:t>
            </a:r>
            <a:r>
              <a:rPr lang="en-US" sz="2800" dirty="0">
                <a:solidFill>
                  <a:schemeClr val="tx1">
                    <a:lumMod val="75000"/>
                    <a:lumOff val="25000"/>
                  </a:schemeClr>
                </a:solidFill>
              </a:rPr>
              <a:t>. </a:t>
            </a:r>
            <a:r>
              <a:rPr lang="en-US" sz="2800" dirty="0" err="1">
                <a:solidFill>
                  <a:schemeClr val="tx1">
                    <a:lumMod val="75000"/>
                    <a:lumOff val="25000"/>
                  </a:schemeClr>
                </a:solidFill>
              </a:rPr>
              <a:t>Pellentesque</a:t>
            </a:r>
            <a:r>
              <a:rPr lang="en-US" sz="2800" dirty="0">
                <a:solidFill>
                  <a:schemeClr val="tx1">
                    <a:lumMod val="75000"/>
                    <a:lumOff val="25000"/>
                  </a:schemeClr>
                </a:solidFill>
              </a:rPr>
              <a:t> sit </a:t>
            </a:r>
            <a:r>
              <a:rPr lang="en-US" sz="2800" dirty="0" err="1">
                <a:solidFill>
                  <a:schemeClr val="tx1">
                    <a:lumMod val="75000"/>
                    <a:lumOff val="25000"/>
                  </a:schemeClr>
                </a:solidFill>
              </a:rPr>
              <a:t>amet</a:t>
            </a:r>
            <a:r>
              <a:rPr lang="en-US" sz="2800" dirty="0">
                <a:solidFill>
                  <a:schemeClr val="tx1">
                    <a:lumMod val="75000"/>
                    <a:lumOff val="25000"/>
                  </a:schemeClr>
                </a:solidFill>
              </a:rPr>
              <a:t> </a:t>
            </a:r>
            <a:r>
              <a:rPr lang="en-US" sz="2800" dirty="0" err="1">
                <a:solidFill>
                  <a:schemeClr val="tx1">
                    <a:lumMod val="75000"/>
                    <a:lumOff val="25000"/>
                  </a:schemeClr>
                </a:solidFill>
              </a:rPr>
              <a:t>finibus</a:t>
            </a:r>
            <a:r>
              <a:rPr lang="en-US" sz="2800" dirty="0">
                <a:solidFill>
                  <a:schemeClr val="tx1">
                    <a:lumMod val="75000"/>
                    <a:lumOff val="25000"/>
                  </a:schemeClr>
                </a:solidFill>
              </a:rPr>
              <a:t> </a:t>
            </a:r>
            <a:r>
              <a:rPr lang="en-US" sz="2800" dirty="0" err="1">
                <a:solidFill>
                  <a:schemeClr val="tx1">
                    <a:lumMod val="75000"/>
                    <a:lumOff val="25000"/>
                  </a:schemeClr>
                </a:solidFill>
              </a:rPr>
              <a:t>sapien</a:t>
            </a:r>
            <a:r>
              <a:rPr lang="en-US" sz="2800" dirty="0">
                <a:solidFill>
                  <a:schemeClr val="tx1">
                    <a:lumMod val="75000"/>
                    <a:lumOff val="25000"/>
                  </a:schemeClr>
                </a:solidFill>
              </a:rPr>
              <a:t>. </a:t>
            </a:r>
          </a:p>
        </p:txBody>
      </p:sp>
      <p:sp>
        <p:nvSpPr>
          <p:cNvPr id="4" name="Title 3">
            <a:extLst>
              <a:ext uri="{FF2B5EF4-FFF2-40B4-BE49-F238E27FC236}">
                <a16:creationId xmlns:a16="http://schemas.microsoft.com/office/drawing/2014/main" id="{46B2BE06-57B8-AC43-A3E0-3B67D34EF13E}"/>
              </a:ext>
            </a:extLst>
          </p:cNvPr>
          <p:cNvSpPr>
            <a:spLocks noGrp="1"/>
          </p:cNvSpPr>
          <p:nvPr>
            <p:ph type="title"/>
          </p:nvPr>
        </p:nvSpPr>
        <p:spPr/>
        <p:txBody>
          <a:bodyPr/>
          <a:lstStyle/>
          <a:p>
            <a:r>
              <a:rPr lang="en-US" dirty="0"/>
              <a:t>Title</a:t>
            </a:r>
          </a:p>
        </p:txBody>
      </p:sp>
    </p:spTree>
    <p:extLst>
      <p:ext uri="{BB962C8B-B14F-4D97-AF65-F5344CB8AC3E}">
        <p14:creationId xmlns:p14="http://schemas.microsoft.com/office/powerpoint/2010/main" val="379480324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animal&#10;&#10;Description automatically generated">
            <a:extLst>
              <a:ext uri="{FF2B5EF4-FFF2-40B4-BE49-F238E27FC236}">
                <a16:creationId xmlns:a16="http://schemas.microsoft.com/office/drawing/2014/main" id="{1306B2E6-0288-6646-A8D1-294E7F54747B}"/>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a:fillRect/>
          </a:stretch>
        </p:blipFill>
        <p:spPr/>
      </p:pic>
      <p:sp>
        <p:nvSpPr>
          <p:cNvPr id="93" name="Rectangle: Rounded Corners 92">
            <a:extLst>
              <a:ext uri="{FF2B5EF4-FFF2-40B4-BE49-F238E27FC236}">
                <a16:creationId xmlns:a16="http://schemas.microsoft.com/office/drawing/2014/main" id="{1CF7980E-E9AB-4431-B7C5-FD97A8067FAB}"/>
              </a:ext>
            </a:extLst>
          </p:cNvPr>
          <p:cNvSpPr/>
          <p:nvPr/>
        </p:nvSpPr>
        <p:spPr>
          <a:xfrm>
            <a:off x="6791408" y="6621079"/>
            <a:ext cx="14477057" cy="1803283"/>
          </a:xfrm>
          <a:prstGeom prst="roundRect">
            <a:avLst>
              <a:gd name="adj" fmla="val 5000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53" name="Rectangle: Rounded Corners 52">
            <a:extLst>
              <a:ext uri="{FF2B5EF4-FFF2-40B4-BE49-F238E27FC236}">
                <a16:creationId xmlns:a16="http://schemas.microsoft.com/office/drawing/2014/main" id="{32D74231-F9C5-4C85-B060-7A58D357A5E7}"/>
              </a:ext>
            </a:extLst>
          </p:cNvPr>
          <p:cNvSpPr/>
          <p:nvPr/>
        </p:nvSpPr>
        <p:spPr>
          <a:xfrm>
            <a:off x="6085557" y="3179603"/>
            <a:ext cx="14477057" cy="1803283"/>
          </a:xfrm>
          <a:prstGeom prst="roundRect">
            <a:avLst>
              <a:gd name="adj" fmla="val 50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4" name="Slide Number Placeholder 3">
            <a:extLst>
              <a:ext uri="{FF2B5EF4-FFF2-40B4-BE49-F238E27FC236}">
                <a16:creationId xmlns:a16="http://schemas.microsoft.com/office/drawing/2014/main" id="{1F921426-A6EB-4EDF-86B7-7A7977246D7F}"/>
              </a:ext>
            </a:extLst>
          </p:cNvPr>
          <p:cNvSpPr>
            <a:spLocks noGrp="1"/>
          </p:cNvSpPr>
          <p:nvPr>
            <p:ph type="sldNum" sz="quarter" idx="12"/>
          </p:nvPr>
        </p:nvSpPr>
        <p:spPr/>
        <p:txBody>
          <a:bodyPr/>
          <a:lstStyle/>
          <a:p>
            <a:fld id="{4D972270-7EB8-4EBA-87A9-AC2EA26E5165}" type="slidenum">
              <a:rPr lang="en-US" smtClean="0"/>
              <a:pPr/>
              <a:t>72</a:t>
            </a:fld>
            <a:endParaRPr lang="en-US" dirty="0"/>
          </a:p>
        </p:txBody>
      </p:sp>
      <p:sp>
        <p:nvSpPr>
          <p:cNvPr id="52" name="Oval 51">
            <a:extLst>
              <a:ext uri="{FF2B5EF4-FFF2-40B4-BE49-F238E27FC236}">
                <a16:creationId xmlns:a16="http://schemas.microsoft.com/office/drawing/2014/main" id="{51BE84A6-2755-4BFF-BABE-37F3688F817B}"/>
              </a:ext>
            </a:extLst>
          </p:cNvPr>
          <p:cNvSpPr/>
          <p:nvPr/>
        </p:nvSpPr>
        <p:spPr>
          <a:xfrm>
            <a:off x="4777542" y="2773229"/>
            <a:ext cx="2616030" cy="2616030"/>
          </a:xfrm>
          <a:prstGeom prst="ellipse">
            <a:avLst/>
          </a:prstGeom>
          <a:ln w="38100">
            <a:solidFill>
              <a:schemeClr val="bg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90" name="Oval 89">
            <a:extLst>
              <a:ext uri="{FF2B5EF4-FFF2-40B4-BE49-F238E27FC236}">
                <a16:creationId xmlns:a16="http://schemas.microsoft.com/office/drawing/2014/main" id="{3D8CFFC3-9EB1-4DF4-A9B1-80C583079F05}"/>
              </a:ext>
            </a:extLst>
          </p:cNvPr>
          <p:cNvSpPr/>
          <p:nvPr/>
        </p:nvSpPr>
        <p:spPr>
          <a:xfrm>
            <a:off x="5597685" y="6214705"/>
            <a:ext cx="2616030" cy="2616030"/>
          </a:xfrm>
          <a:prstGeom prst="ellipse">
            <a:avLst/>
          </a:prstGeom>
          <a:solidFill>
            <a:schemeClr val="accent2"/>
          </a:solidFill>
          <a:ln w="38100">
            <a:solidFill>
              <a:schemeClr val="bg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30" name="Rectangle: Rounded Corners 129">
            <a:extLst>
              <a:ext uri="{FF2B5EF4-FFF2-40B4-BE49-F238E27FC236}">
                <a16:creationId xmlns:a16="http://schemas.microsoft.com/office/drawing/2014/main" id="{E02B31C1-9F6C-4FCE-92A7-4E59E018FE37}"/>
              </a:ext>
            </a:extLst>
          </p:cNvPr>
          <p:cNvSpPr/>
          <p:nvPr/>
        </p:nvSpPr>
        <p:spPr>
          <a:xfrm>
            <a:off x="6085557" y="10062554"/>
            <a:ext cx="14477057" cy="1803283"/>
          </a:xfrm>
          <a:prstGeom prst="roundRect">
            <a:avLst>
              <a:gd name="adj" fmla="val 5000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91" name="Oval 90">
            <a:extLst>
              <a:ext uri="{FF2B5EF4-FFF2-40B4-BE49-F238E27FC236}">
                <a16:creationId xmlns:a16="http://schemas.microsoft.com/office/drawing/2014/main" id="{38712744-78CE-4812-B803-A977F1A31081}"/>
              </a:ext>
            </a:extLst>
          </p:cNvPr>
          <p:cNvSpPr/>
          <p:nvPr/>
        </p:nvSpPr>
        <p:spPr>
          <a:xfrm>
            <a:off x="4777542" y="9656181"/>
            <a:ext cx="2616030" cy="2616030"/>
          </a:xfrm>
          <a:prstGeom prst="ellipse">
            <a:avLst/>
          </a:prstGeom>
          <a:solidFill>
            <a:schemeClr val="accent3"/>
          </a:solidFill>
          <a:ln w="38100">
            <a:solidFill>
              <a:schemeClr val="bg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31" name="TextBox 47">
            <a:extLst>
              <a:ext uri="{FF2B5EF4-FFF2-40B4-BE49-F238E27FC236}">
                <a16:creationId xmlns:a16="http://schemas.microsoft.com/office/drawing/2014/main" id="{B2D2C757-2B33-421C-8D03-6B2765C64D9B}"/>
              </a:ext>
            </a:extLst>
          </p:cNvPr>
          <p:cNvSpPr txBox="1"/>
          <p:nvPr/>
        </p:nvSpPr>
        <p:spPr>
          <a:xfrm>
            <a:off x="7850741" y="3527248"/>
            <a:ext cx="9956154" cy="1107996"/>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chemeClr val="bg1"/>
                </a:solidFill>
              </a:rPr>
              <a:t>Lorem ipsum dolor sit </a:t>
            </a:r>
            <a:r>
              <a:rPr lang="en-US" sz="2400" dirty="0" err="1">
                <a:solidFill>
                  <a:schemeClr val="bg1"/>
                </a:solidFill>
              </a:rPr>
              <a:t>amet</a:t>
            </a:r>
            <a:r>
              <a:rPr lang="en-US" sz="2400" dirty="0">
                <a:solidFill>
                  <a:schemeClr val="bg1"/>
                </a:solidFill>
              </a:rPr>
              <a:t>, </a:t>
            </a:r>
            <a:r>
              <a:rPr lang="en-US" sz="2400" dirty="0" err="1">
                <a:solidFill>
                  <a:schemeClr val="bg1"/>
                </a:solidFill>
              </a:rPr>
              <a:t>consectetur</a:t>
            </a:r>
            <a:r>
              <a:rPr lang="en-US" sz="2400" dirty="0">
                <a:solidFill>
                  <a:schemeClr val="bg1"/>
                </a:solidFill>
              </a:rPr>
              <a:t> </a:t>
            </a:r>
            <a:r>
              <a:rPr lang="en-US" sz="2400" dirty="0" err="1">
                <a:solidFill>
                  <a:schemeClr val="bg1"/>
                </a:solidFill>
              </a:rPr>
              <a:t>adipiscing</a:t>
            </a:r>
            <a:r>
              <a:rPr lang="en-US" sz="2400" dirty="0">
                <a:solidFill>
                  <a:schemeClr val="bg1"/>
                </a:solidFill>
              </a:rPr>
              <a:t> </a:t>
            </a:r>
            <a:r>
              <a:rPr lang="en-US" sz="2400" dirty="0" err="1">
                <a:solidFill>
                  <a:schemeClr val="bg1"/>
                </a:solidFill>
              </a:rPr>
              <a:t>elit</a:t>
            </a:r>
            <a:r>
              <a:rPr lang="en-US" sz="2400" dirty="0">
                <a:solidFill>
                  <a:schemeClr val="bg1"/>
                </a:solidFill>
              </a:rPr>
              <a:t>. </a:t>
            </a:r>
            <a:r>
              <a:rPr lang="en-US" sz="2400" dirty="0" err="1">
                <a:solidFill>
                  <a:schemeClr val="bg1"/>
                </a:solidFill>
              </a:rPr>
              <a:t>Pellentesque</a:t>
            </a:r>
            <a:r>
              <a:rPr lang="en-US" sz="2400" dirty="0">
                <a:solidFill>
                  <a:schemeClr val="bg1"/>
                </a:solidFill>
              </a:rPr>
              <a:t> sit </a:t>
            </a:r>
            <a:r>
              <a:rPr lang="en-US" sz="2400" dirty="0" err="1">
                <a:solidFill>
                  <a:schemeClr val="bg1"/>
                </a:solidFill>
              </a:rPr>
              <a:t>amet</a:t>
            </a:r>
            <a:r>
              <a:rPr lang="en-US" sz="2400" dirty="0">
                <a:solidFill>
                  <a:schemeClr val="bg1"/>
                </a:solidFill>
              </a:rPr>
              <a:t> </a:t>
            </a:r>
            <a:r>
              <a:rPr lang="en-US" sz="2400" dirty="0" err="1">
                <a:solidFill>
                  <a:schemeClr val="bg1"/>
                </a:solidFill>
              </a:rPr>
              <a:t>feugiat</a:t>
            </a:r>
            <a:r>
              <a:rPr lang="en-US" sz="2400" dirty="0">
                <a:solidFill>
                  <a:schemeClr val="bg1"/>
                </a:solidFill>
              </a:rPr>
              <a:t> mi. Maecenas </a:t>
            </a:r>
            <a:r>
              <a:rPr lang="en-US" sz="2400" dirty="0" err="1">
                <a:solidFill>
                  <a:schemeClr val="bg1"/>
                </a:solidFill>
              </a:rPr>
              <a:t>volutpat</a:t>
            </a:r>
            <a:r>
              <a:rPr lang="en-US" sz="2400" dirty="0">
                <a:solidFill>
                  <a:schemeClr val="bg1"/>
                </a:solidFill>
              </a:rPr>
              <a:t> </a:t>
            </a:r>
            <a:r>
              <a:rPr lang="en-US" sz="2400" dirty="0" err="1">
                <a:solidFill>
                  <a:schemeClr val="bg1"/>
                </a:solidFill>
              </a:rPr>
              <a:t>hendrerit</a:t>
            </a:r>
            <a:r>
              <a:rPr lang="en-US" sz="2400" dirty="0">
                <a:solidFill>
                  <a:schemeClr val="bg1"/>
                </a:solidFill>
              </a:rPr>
              <a:t> </a:t>
            </a:r>
            <a:r>
              <a:rPr lang="en-US" sz="2400" dirty="0" err="1">
                <a:solidFill>
                  <a:schemeClr val="bg1"/>
                </a:solidFill>
              </a:rPr>
              <a:t>odio</a:t>
            </a:r>
            <a:r>
              <a:rPr lang="en-US" sz="2400" dirty="0">
                <a:solidFill>
                  <a:schemeClr val="bg1"/>
                </a:solidFill>
              </a:rPr>
              <a:t> </a:t>
            </a:r>
            <a:r>
              <a:rPr lang="en-US" sz="2400" dirty="0" err="1">
                <a:solidFill>
                  <a:schemeClr val="bg1"/>
                </a:solidFill>
              </a:rPr>
              <a:t>quis</a:t>
            </a:r>
            <a:r>
              <a:rPr lang="en-US" sz="2400" dirty="0">
                <a:solidFill>
                  <a:schemeClr val="bg1"/>
                </a:solidFill>
              </a:rPr>
              <a:t> </a:t>
            </a:r>
            <a:r>
              <a:rPr lang="en-US" sz="2400" dirty="0" err="1">
                <a:solidFill>
                  <a:schemeClr val="bg1"/>
                </a:solidFill>
              </a:rPr>
              <a:t>mattis</a:t>
            </a:r>
            <a:r>
              <a:rPr lang="en-US" sz="2400" dirty="0">
                <a:solidFill>
                  <a:schemeClr val="bg1"/>
                </a:solidFill>
              </a:rPr>
              <a:t>. </a:t>
            </a:r>
            <a:r>
              <a:rPr lang="en-US" sz="2400" dirty="0" err="1">
                <a:solidFill>
                  <a:schemeClr val="bg1"/>
                </a:solidFill>
              </a:rPr>
              <a:t>Quisque</a:t>
            </a:r>
            <a:r>
              <a:rPr lang="en-US" sz="2400" dirty="0">
                <a:solidFill>
                  <a:schemeClr val="bg1"/>
                </a:solidFill>
              </a:rPr>
              <a:t> </a:t>
            </a:r>
            <a:r>
              <a:rPr lang="en-US" sz="2400" dirty="0" err="1">
                <a:solidFill>
                  <a:schemeClr val="bg1"/>
                </a:solidFill>
              </a:rPr>
              <a:t>eget</a:t>
            </a:r>
            <a:r>
              <a:rPr lang="en-US" sz="2400" dirty="0">
                <a:solidFill>
                  <a:schemeClr val="bg1"/>
                </a:solidFill>
              </a:rPr>
              <a:t> </a:t>
            </a:r>
            <a:r>
              <a:rPr lang="en-US" sz="2400" dirty="0" err="1">
                <a:solidFill>
                  <a:schemeClr val="bg1"/>
                </a:solidFill>
              </a:rPr>
              <a:t>leo</a:t>
            </a:r>
            <a:r>
              <a:rPr lang="en-US" sz="2400" dirty="0">
                <a:solidFill>
                  <a:schemeClr val="bg1"/>
                </a:solidFill>
              </a:rPr>
              <a:t> sit </a:t>
            </a:r>
            <a:r>
              <a:rPr lang="en-US" sz="2400" dirty="0" err="1">
                <a:solidFill>
                  <a:schemeClr val="bg1"/>
                </a:solidFill>
              </a:rPr>
              <a:t>amet</a:t>
            </a:r>
            <a:r>
              <a:rPr lang="en-US" sz="2400" dirty="0">
                <a:solidFill>
                  <a:schemeClr val="bg1"/>
                </a:solidFill>
              </a:rPr>
              <a:t> </a:t>
            </a:r>
            <a:r>
              <a:rPr lang="en-US" sz="2400" dirty="0" err="1">
                <a:solidFill>
                  <a:schemeClr val="bg1"/>
                </a:solidFill>
              </a:rPr>
              <a:t>nulla</a:t>
            </a:r>
            <a:r>
              <a:rPr lang="en-US" sz="2400" dirty="0">
                <a:solidFill>
                  <a:schemeClr val="bg1"/>
                </a:solidFill>
              </a:rPr>
              <a:t> </a:t>
            </a:r>
            <a:r>
              <a:rPr lang="en-US" sz="2400" dirty="0" err="1">
                <a:solidFill>
                  <a:schemeClr val="bg1"/>
                </a:solidFill>
              </a:rPr>
              <a:t>dapibus</a:t>
            </a:r>
            <a:r>
              <a:rPr lang="en-US" sz="2400" dirty="0">
                <a:solidFill>
                  <a:schemeClr val="bg1"/>
                </a:solidFill>
              </a:rPr>
              <a:t> </a:t>
            </a:r>
            <a:r>
              <a:rPr lang="en-US" sz="2400" dirty="0" err="1">
                <a:solidFill>
                  <a:schemeClr val="bg1"/>
                </a:solidFill>
              </a:rPr>
              <a:t>lobortis</a:t>
            </a:r>
            <a:r>
              <a:rPr lang="en-US" sz="2400" dirty="0">
                <a:solidFill>
                  <a:schemeClr val="bg1"/>
                </a:solidFill>
              </a:rPr>
              <a:t> id </a:t>
            </a:r>
            <a:r>
              <a:rPr lang="en-US" sz="2400" dirty="0" err="1">
                <a:solidFill>
                  <a:schemeClr val="bg1"/>
                </a:solidFill>
              </a:rPr>
              <a:t>nec</a:t>
            </a:r>
            <a:r>
              <a:rPr lang="en-US" sz="2400" dirty="0">
                <a:solidFill>
                  <a:schemeClr val="bg1"/>
                </a:solidFill>
              </a:rPr>
              <a:t> </a:t>
            </a:r>
            <a:r>
              <a:rPr lang="en-US" sz="2400" dirty="0" err="1">
                <a:solidFill>
                  <a:schemeClr val="bg1"/>
                </a:solidFill>
              </a:rPr>
              <a:t>felis</a:t>
            </a:r>
            <a:r>
              <a:rPr lang="en-US" sz="2400" dirty="0">
                <a:solidFill>
                  <a:schemeClr val="bg1"/>
                </a:solidFill>
              </a:rPr>
              <a:t>. </a:t>
            </a:r>
          </a:p>
        </p:txBody>
      </p:sp>
      <p:sp>
        <p:nvSpPr>
          <p:cNvPr id="132" name="TextBox 47">
            <a:extLst>
              <a:ext uri="{FF2B5EF4-FFF2-40B4-BE49-F238E27FC236}">
                <a16:creationId xmlns:a16="http://schemas.microsoft.com/office/drawing/2014/main" id="{3DF6E5C9-AEC2-4571-9468-5448165E7DEF}"/>
              </a:ext>
            </a:extLst>
          </p:cNvPr>
          <p:cNvSpPr txBox="1"/>
          <p:nvPr/>
        </p:nvSpPr>
        <p:spPr>
          <a:xfrm>
            <a:off x="7850741" y="10422729"/>
            <a:ext cx="9956154" cy="1107996"/>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chemeClr val="bg1"/>
                </a:solidFill>
              </a:rPr>
              <a:t>Lorem ipsum dolor sit </a:t>
            </a:r>
            <a:r>
              <a:rPr lang="en-US" sz="2400" dirty="0" err="1">
                <a:solidFill>
                  <a:schemeClr val="bg1"/>
                </a:solidFill>
              </a:rPr>
              <a:t>amet</a:t>
            </a:r>
            <a:r>
              <a:rPr lang="en-US" sz="2400" dirty="0">
                <a:solidFill>
                  <a:schemeClr val="bg1"/>
                </a:solidFill>
              </a:rPr>
              <a:t>, </a:t>
            </a:r>
            <a:r>
              <a:rPr lang="en-US" sz="2400" dirty="0" err="1">
                <a:solidFill>
                  <a:schemeClr val="bg1"/>
                </a:solidFill>
              </a:rPr>
              <a:t>consectetur</a:t>
            </a:r>
            <a:r>
              <a:rPr lang="en-US" sz="2400" dirty="0">
                <a:solidFill>
                  <a:schemeClr val="bg1"/>
                </a:solidFill>
              </a:rPr>
              <a:t> </a:t>
            </a:r>
            <a:r>
              <a:rPr lang="en-US" sz="2400" dirty="0" err="1">
                <a:solidFill>
                  <a:schemeClr val="bg1"/>
                </a:solidFill>
              </a:rPr>
              <a:t>adipiscing</a:t>
            </a:r>
            <a:r>
              <a:rPr lang="en-US" sz="2400" dirty="0">
                <a:solidFill>
                  <a:schemeClr val="bg1"/>
                </a:solidFill>
              </a:rPr>
              <a:t> </a:t>
            </a:r>
            <a:r>
              <a:rPr lang="en-US" sz="2400" dirty="0" err="1">
                <a:solidFill>
                  <a:schemeClr val="bg1"/>
                </a:solidFill>
              </a:rPr>
              <a:t>elit</a:t>
            </a:r>
            <a:r>
              <a:rPr lang="en-US" sz="2400" dirty="0">
                <a:solidFill>
                  <a:schemeClr val="bg1"/>
                </a:solidFill>
              </a:rPr>
              <a:t>. </a:t>
            </a:r>
            <a:r>
              <a:rPr lang="en-US" sz="2400" dirty="0" err="1">
                <a:solidFill>
                  <a:schemeClr val="bg1"/>
                </a:solidFill>
              </a:rPr>
              <a:t>Pellentesque</a:t>
            </a:r>
            <a:r>
              <a:rPr lang="en-US" sz="2400" dirty="0">
                <a:solidFill>
                  <a:schemeClr val="bg1"/>
                </a:solidFill>
              </a:rPr>
              <a:t> sit </a:t>
            </a:r>
            <a:r>
              <a:rPr lang="en-US" sz="2400" dirty="0" err="1">
                <a:solidFill>
                  <a:schemeClr val="bg1"/>
                </a:solidFill>
              </a:rPr>
              <a:t>amet</a:t>
            </a:r>
            <a:r>
              <a:rPr lang="en-US" sz="2400" dirty="0">
                <a:solidFill>
                  <a:schemeClr val="bg1"/>
                </a:solidFill>
              </a:rPr>
              <a:t> </a:t>
            </a:r>
            <a:r>
              <a:rPr lang="en-US" sz="2400" dirty="0" err="1">
                <a:solidFill>
                  <a:schemeClr val="bg1"/>
                </a:solidFill>
              </a:rPr>
              <a:t>feugiat</a:t>
            </a:r>
            <a:r>
              <a:rPr lang="en-US" sz="2400" dirty="0">
                <a:solidFill>
                  <a:schemeClr val="bg1"/>
                </a:solidFill>
              </a:rPr>
              <a:t> mi. Maecenas </a:t>
            </a:r>
            <a:r>
              <a:rPr lang="en-US" sz="2400" dirty="0" err="1">
                <a:solidFill>
                  <a:schemeClr val="bg1"/>
                </a:solidFill>
              </a:rPr>
              <a:t>volutpat</a:t>
            </a:r>
            <a:r>
              <a:rPr lang="en-US" sz="2400" dirty="0">
                <a:solidFill>
                  <a:schemeClr val="bg1"/>
                </a:solidFill>
              </a:rPr>
              <a:t> </a:t>
            </a:r>
            <a:r>
              <a:rPr lang="en-US" sz="2400" dirty="0" err="1">
                <a:solidFill>
                  <a:schemeClr val="bg1"/>
                </a:solidFill>
              </a:rPr>
              <a:t>hendrerit</a:t>
            </a:r>
            <a:r>
              <a:rPr lang="en-US" sz="2400" dirty="0">
                <a:solidFill>
                  <a:schemeClr val="bg1"/>
                </a:solidFill>
              </a:rPr>
              <a:t> </a:t>
            </a:r>
            <a:r>
              <a:rPr lang="en-US" sz="2400" dirty="0" err="1">
                <a:solidFill>
                  <a:schemeClr val="bg1"/>
                </a:solidFill>
              </a:rPr>
              <a:t>odio</a:t>
            </a:r>
            <a:r>
              <a:rPr lang="en-US" sz="2400" dirty="0">
                <a:solidFill>
                  <a:schemeClr val="bg1"/>
                </a:solidFill>
              </a:rPr>
              <a:t> </a:t>
            </a:r>
            <a:r>
              <a:rPr lang="en-US" sz="2400" dirty="0" err="1">
                <a:solidFill>
                  <a:schemeClr val="bg1"/>
                </a:solidFill>
              </a:rPr>
              <a:t>quis</a:t>
            </a:r>
            <a:r>
              <a:rPr lang="en-US" sz="2400" dirty="0">
                <a:solidFill>
                  <a:schemeClr val="bg1"/>
                </a:solidFill>
              </a:rPr>
              <a:t> </a:t>
            </a:r>
            <a:r>
              <a:rPr lang="en-US" sz="2400" dirty="0" err="1">
                <a:solidFill>
                  <a:schemeClr val="bg1"/>
                </a:solidFill>
              </a:rPr>
              <a:t>mattis</a:t>
            </a:r>
            <a:r>
              <a:rPr lang="en-US" sz="2400" dirty="0">
                <a:solidFill>
                  <a:schemeClr val="bg1"/>
                </a:solidFill>
              </a:rPr>
              <a:t>. </a:t>
            </a:r>
            <a:r>
              <a:rPr lang="en-US" sz="2400" dirty="0" err="1">
                <a:solidFill>
                  <a:schemeClr val="bg1"/>
                </a:solidFill>
              </a:rPr>
              <a:t>Quisque</a:t>
            </a:r>
            <a:r>
              <a:rPr lang="en-US" sz="2400" dirty="0">
                <a:solidFill>
                  <a:schemeClr val="bg1"/>
                </a:solidFill>
              </a:rPr>
              <a:t> </a:t>
            </a:r>
            <a:r>
              <a:rPr lang="en-US" sz="2400" dirty="0" err="1">
                <a:solidFill>
                  <a:schemeClr val="bg1"/>
                </a:solidFill>
              </a:rPr>
              <a:t>eget</a:t>
            </a:r>
            <a:r>
              <a:rPr lang="en-US" sz="2400" dirty="0">
                <a:solidFill>
                  <a:schemeClr val="bg1"/>
                </a:solidFill>
              </a:rPr>
              <a:t> </a:t>
            </a:r>
            <a:r>
              <a:rPr lang="en-US" sz="2400" dirty="0" err="1">
                <a:solidFill>
                  <a:schemeClr val="bg1"/>
                </a:solidFill>
              </a:rPr>
              <a:t>leo</a:t>
            </a:r>
            <a:r>
              <a:rPr lang="en-US" sz="2400" dirty="0">
                <a:solidFill>
                  <a:schemeClr val="bg1"/>
                </a:solidFill>
              </a:rPr>
              <a:t> sit </a:t>
            </a:r>
            <a:r>
              <a:rPr lang="en-US" sz="2400" dirty="0" err="1">
                <a:solidFill>
                  <a:schemeClr val="bg1"/>
                </a:solidFill>
              </a:rPr>
              <a:t>amet</a:t>
            </a:r>
            <a:r>
              <a:rPr lang="en-US" sz="2400" dirty="0">
                <a:solidFill>
                  <a:schemeClr val="bg1"/>
                </a:solidFill>
              </a:rPr>
              <a:t> </a:t>
            </a:r>
            <a:r>
              <a:rPr lang="en-US" sz="2400" dirty="0" err="1">
                <a:solidFill>
                  <a:schemeClr val="bg1"/>
                </a:solidFill>
              </a:rPr>
              <a:t>nulla</a:t>
            </a:r>
            <a:r>
              <a:rPr lang="en-US" sz="2400" dirty="0">
                <a:solidFill>
                  <a:schemeClr val="bg1"/>
                </a:solidFill>
              </a:rPr>
              <a:t> </a:t>
            </a:r>
            <a:r>
              <a:rPr lang="en-US" sz="2400" dirty="0" err="1">
                <a:solidFill>
                  <a:schemeClr val="bg1"/>
                </a:solidFill>
              </a:rPr>
              <a:t>dapibus</a:t>
            </a:r>
            <a:r>
              <a:rPr lang="en-US" sz="2400" dirty="0">
                <a:solidFill>
                  <a:schemeClr val="bg1"/>
                </a:solidFill>
              </a:rPr>
              <a:t> </a:t>
            </a:r>
            <a:r>
              <a:rPr lang="en-US" sz="2400" dirty="0" err="1">
                <a:solidFill>
                  <a:schemeClr val="bg1"/>
                </a:solidFill>
              </a:rPr>
              <a:t>lobortis</a:t>
            </a:r>
            <a:r>
              <a:rPr lang="en-US" sz="2400" dirty="0">
                <a:solidFill>
                  <a:schemeClr val="bg1"/>
                </a:solidFill>
              </a:rPr>
              <a:t> id </a:t>
            </a:r>
            <a:r>
              <a:rPr lang="en-US" sz="2400" dirty="0" err="1">
                <a:solidFill>
                  <a:schemeClr val="bg1"/>
                </a:solidFill>
              </a:rPr>
              <a:t>nec</a:t>
            </a:r>
            <a:r>
              <a:rPr lang="en-US" sz="2400" dirty="0">
                <a:solidFill>
                  <a:schemeClr val="bg1"/>
                </a:solidFill>
              </a:rPr>
              <a:t> </a:t>
            </a:r>
            <a:r>
              <a:rPr lang="en-US" sz="2400" dirty="0" err="1">
                <a:solidFill>
                  <a:schemeClr val="bg1"/>
                </a:solidFill>
              </a:rPr>
              <a:t>felis</a:t>
            </a:r>
            <a:r>
              <a:rPr lang="en-US" sz="2400" dirty="0">
                <a:solidFill>
                  <a:schemeClr val="bg1"/>
                </a:solidFill>
              </a:rPr>
              <a:t>. </a:t>
            </a:r>
          </a:p>
        </p:txBody>
      </p:sp>
      <p:sp>
        <p:nvSpPr>
          <p:cNvPr id="133" name="TextBox 47">
            <a:extLst>
              <a:ext uri="{FF2B5EF4-FFF2-40B4-BE49-F238E27FC236}">
                <a16:creationId xmlns:a16="http://schemas.microsoft.com/office/drawing/2014/main" id="{3A8C15A7-C3D8-4731-9868-3BCA4112663E}"/>
              </a:ext>
            </a:extLst>
          </p:cNvPr>
          <p:cNvSpPr txBox="1"/>
          <p:nvPr/>
        </p:nvSpPr>
        <p:spPr>
          <a:xfrm>
            <a:off x="8663860" y="6968723"/>
            <a:ext cx="9956154" cy="1107996"/>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chemeClr val="bg1"/>
                </a:solidFill>
              </a:rPr>
              <a:t>Lorem ipsum dolor sit </a:t>
            </a:r>
            <a:r>
              <a:rPr lang="en-US" sz="2400" dirty="0" err="1">
                <a:solidFill>
                  <a:schemeClr val="bg1"/>
                </a:solidFill>
              </a:rPr>
              <a:t>amet</a:t>
            </a:r>
            <a:r>
              <a:rPr lang="en-US" sz="2400" dirty="0">
                <a:solidFill>
                  <a:schemeClr val="bg1"/>
                </a:solidFill>
              </a:rPr>
              <a:t>, </a:t>
            </a:r>
            <a:r>
              <a:rPr lang="en-US" sz="2400" dirty="0" err="1">
                <a:solidFill>
                  <a:schemeClr val="bg1"/>
                </a:solidFill>
              </a:rPr>
              <a:t>consectetur</a:t>
            </a:r>
            <a:r>
              <a:rPr lang="en-US" sz="2400" dirty="0">
                <a:solidFill>
                  <a:schemeClr val="bg1"/>
                </a:solidFill>
              </a:rPr>
              <a:t> </a:t>
            </a:r>
            <a:r>
              <a:rPr lang="en-US" sz="2400" dirty="0" err="1">
                <a:solidFill>
                  <a:schemeClr val="bg1"/>
                </a:solidFill>
              </a:rPr>
              <a:t>adipiscing</a:t>
            </a:r>
            <a:r>
              <a:rPr lang="en-US" sz="2400" dirty="0">
                <a:solidFill>
                  <a:schemeClr val="bg1"/>
                </a:solidFill>
              </a:rPr>
              <a:t> </a:t>
            </a:r>
            <a:r>
              <a:rPr lang="en-US" sz="2400" dirty="0" err="1">
                <a:solidFill>
                  <a:schemeClr val="bg1"/>
                </a:solidFill>
              </a:rPr>
              <a:t>elit</a:t>
            </a:r>
            <a:r>
              <a:rPr lang="en-US" sz="2400" dirty="0">
                <a:solidFill>
                  <a:schemeClr val="bg1"/>
                </a:solidFill>
              </a:rPr>
              <a:t>. </a:t>
            </a:r>
            <a:r>
              <a:rPr lang="en-US" sz="2400" dirty="0" err="1">
                <a:solidFill>
                  <a:schemeClr val="bg1"/>
                </a:solidFill>
              </a:rPr>
              <a:t>Pellentesque</a:t>
            </a:r>
            <a:r>
              <a:rPr lang="en-US" sz="2400" dirty="0">
                <a:solidFill>
                  <a:schemeClr val="bg1"/>
                </a:solidFill>
              </a:rPr>
              <a:t> sit </a:t>
            </a:r>
            <a:r>
              <a:rPr lang="en-US" sz="2400" dirty="0" err="1">
                <a:solidFill>
                  <a:schemeClr val="bg1"/>
                </a:solidFill>
              </a:rPr>
              <a:t>amet</a:t>
            </a:r>
            <a:r>
              <a:rPr lang="en-US" sz="2400" dirty="0">
                <a:solidFill>
                  <a:schemeClr val="bg1"/>
                </a:solidFill>
              </a:rPr>
              <a:t> </a:t>
            </a:r>
            <a:r>
              <a:rPr lang="en-US" sz="2400" dirty="0" err="1">
                <a:solidFill>
                  <a:schemeClr val="bg1"/>
                </a:solidFill>
              </a:rPr>
              <a:t>feugiat</a:t>
            </a:r>
            <a:r>
              <a:rPr lang="en-US" sz="2400" dirty="0">
                <a:solidFill>
                  <a:schemeClr val="bg1"/>
                </a:solidFill>
              </a:rPr>
              <a:t> mi. Maecenas </a:t>
            </a:r>
            <a:r>
              <a:rPr lang="en-US" sz="2400" dirty="0" err="1">
                <a:solidFill>
                  <a:schemeClr val="bg1"/>
                </a:solidFill>
              </a:rPr>
              <a:t>volutpat</a:t>
            </a:r>
            <a:r>
              <a:rPr lang="en-US" sz="2400" dirty="0">
                <a:solidFill>
                  <a:schemeClr val="bg1"/>
                </a:solidFill>
              </a:rPr>
              <a:t> </a:t>
            </a:r>
            <a:r>
              <a:rPr lang="en-US" sz="2400" dirty="0" err="1">
                <a:solidFill>
                  <a:schemeClr val="bg1"/>
                </a:solidFill>
              </a:rPr>
              <a:t>hendrerit</a:t>
            </a:r>
            <a:r>
              <a:rPr lang="en-US" sz="2400" dirty="0">
                <a:solidFill>
                  <a:schemeClr val="bg1"/>
                </a:solidFill>
              </a:rPr>
              <a:t> </a:t>
            </a:r>
            <a:r>
              <a:rPr lang="en-US" sz="2400" dirty="0" err="1">
                <a:solidFill>
                  <a:schemeClr val="bg1"/>
                </a:solidFill>
              </a:rPr>
              <a:t>odio</a:t>
            </a:r>
            <a:r>
              <a:rPr lang="en-US" sz="2400" dirty="0">
                <a:solidFill>
                  <a:schemeClr val="bg1"/>
                </a:solidFill>
              </a:rPr>
              <a:t> </a:t>
            </a:r>
            <a:r>
              <a:rPr lang="en-US" sz="2400" dirty="0" err="1">
                <a:solidFill>
                  <a:schemeClr val="bg1"/>
                </a:solidFill>
              </a:rPr>
              <a:t>quis</a:t>
            </a:r>
            <a:r>
              <a:rPr lang="en-US" sz="2400" dirty="0">
                <a:solidFill>
                  <a:schemeClr val="bg1"/>
                </a:solidFill>
              </a:rPr>
              <a:t> </a:t>
            </a:r>
            <a:r>
              <a:rPr lang="en-US" sz="2400" dirty="0" err="1">
                <a:solidFill>
                  <a:schemeClr val="bg1"/>
                </a:solidFill>
              </a:rPr>
              <a:t>mattis</a:t>
            </a:r>
            <a:r>
              <a:rPr lang="en-US" sz="2400" dirty="0">
                <a:solidFill>
                  <a:schemeClr val="bg1"/>
                </a:solidFill>
              </a:rPr>
              <a:t>. </a:t>
            </a:r>
            <a:r>
              <a:rPr lang="en-US" sz="2400" dirty="0" err="1">
                <a:solidFill>
                  <a:schemeClr val="bg1"/>
                </a:solidFill>
              </a:rPr>
              <a:t>Quisque</a:t>
            </a:r>
            <a:r>
              <a:rPr lang="en-US" sz="2400" dirty="0">
                <a:solidFill>
                  <a:schemeClr val="bg1"/>
                </a:solidFill>
              </a:rPr>
              <a:t> </a:t>
            </a:r>
            <a:r>
              <a:rPr lang="en-US" sz="2400" dirty="0" err="1">
                <a:solidFill>
                  <a:schemeClr val="bg1"/>
                </a:solidFill>
              </a:rPr>
              <a:t>eget</a:t>
            </a:r>
            <a:r>
              <a:rPr lang="en-US" sz="2400" dirty="0">
                <a:solidFill>
                  <a:schemeClr val="bg1"/>
                </a:solidFill>
              </a:rPr>
              <a:t> </a:t>
            </a:r>
            <a:r>
              <a:rPr lang="en-US" sz="2400" dirty="0" err="1">
                <a:solidFill>
                  <a:schemeClr val="bg1"/>
                </a:solidFill>
              </a:rPr>
              <a:t>leo</a:t>
            </a:r>
            <a:r>
              <a:rPr lang="en-US" sz="2400" dirty="0">
                <a:solidFill>
                  <a:schemeClr val="bg1"/>
                </a:solidFill>
              </a:rPr>
              <a:t> sit </a:t>
            </a:r>
            <a:r>
              <a:rPr lang="en-US" sz="2400" dirty="0" err="1">
                <a:solidFill>
                  <a:schemeClr val="bg1"/>
                </a:solidFill>
              </a:rPr>
              <a:t>amet</a:t>
            </a:r>
            <a:r>
              <a:rPr lang="en-US" sz="2400" dirty="0">
                <a:solidFill>
                  <a:schemeClr val="bg1"/>
                </a:solidFill>
              </a:rPr>
              <a:t> </a:t>
            </a:r>
            <a:r>
              <a:rPr lang="en-US" sz="2400" dirty="0" err="1">
                <a:solidFill>
                  <a:schemeClr val="bg1"/>
                </a:solidFill>
              </a:rPr>
              <a:t>nulla</a:t>
            </a:r>
            <a:r>
              <a:rPr lang="en-US" sz="2400" dirty="0">
                <a:solidFill>
                  <a:schemeClr val="bg1"/>
                </a:solidFill>
              </a:rPr>
              <a:t> </a:t>
            </a:r>
            <a:r>
              <a:rPr lang="en-US" sz="2400" dirty="0" err="1">
                <a:solidFill>
                  <a:schemeClr val="bg1"/>
                </a:solidFill>
              </a:rPr>
              <a:t>dapibus</a:t>
            </a:r>
            <a:r>
              <a:rPr lang="en-US" sz="2400" dirty="0">
                <a:solidFill>
                  <a:schemeClr val="bg1"/>
                </a:solidFill>
              </a:rPr>
              <a:t> </a:t>
            </a:r>
            <a:r>
              <a:rPr lang="en-US" sz="2400" dirty="0" err="1">
                <a:solidFill>
                  <a:schemeClr val="bg1"/>
                </a:solidFill>
              </a:rPr>
              <a:t>lobortis</a:t>
            </a:r>
            <a:r>
              <a:rPr lang="en-US" sz="2400" dirty="0">
                <a:solidFill>
                  <a:schemeClr val="bg1"/>
                </a:solidFill>
              </a:rPr>
              <a:t> id </a:t>
            </a:r>
            <a:r>
              <a:rPr lang="en-US" sz="2400" dirty="0" err="1">
                <a:solidFill>
                  <a:schemeClr val="bg1"/>
                </a:solidFill>
              </a:rPr>
              <a:t>nec</a:t>
            </a:r>
            <a:r>
              <a:rPr lang="en-US" sz="2400" dirty="0">
                <a:solidFill>
                  <a:schemeClr val="bg1"/>
                </a:solidFill>
              </a:rPr>
              <a:t> </a:t>
            </a:r>
            <a:r>
              <a:rPr lang="en-US" sz="2400" dirty="0" err="1">
                <a:solidFill>
                  <a:schemeClr val="bg1"/>
                </a:solidFill>
              </a:rPr>
              <a:t>felis</a:t>
            </a:r>
            <a:r>
              <a:rPr lang="en-US" sz="2400" dirty="0">
                <a:solidFill>
                  <a:schemeClr val="bg1"/>
                </a:solidFill>
              </a:rPr>
              <a:t>. </a:t>
            </a:r>
          </a:p>
        </p:txBody>
      </p:sp>
      <p:sp>
        <p:nvSpPr>
          <p:cNvPr id="138" name="TextBox 137">
            <a:extLst>
              <a:ext uri="{FF2B5EF4-FFF2-40B4-BE49-F238E27FC236}">
                <a16:creationId xmlns:a16="http://schemas.microsoft.com/office/drawing/2014/main" id="{92FCA4ED-9F92-4F9C-8A7A-406BF0E0FD97}"/>
              </a:ext>
            </a:extLst>
          </p:cNvPr>
          <p:cNvSpPr txBox="1"/>
          <p:nvPr/>
        </p:nvSpPr>
        <p:spPr>
          <a:xfrm>
            <a:off x="4777542" y="4329334"/>
            <a:ext cx="2616030" cy="369332"/>
          </a:xfrm>
          <a:prstGeom prst="rect">
            <a:avLst/>
          </a:prstGeom>
          <a:noFill/>
          <a:ln w="6350">
            <a:noFill/>
            <a:prstDash val="dash"/>
          </a:ln>
        </p:spPr>
        <p:txBody>
          <a:bodyPr wrap="square" lIns="0" tIns="0" rIns="0" bIns="0" rtlCol="0">
            <a:spAutoFit/>
          </a:bodyPr>
          <a:lstStyle/>
          <a:p>
            <a:pPr algn="ctr"/>
            <a:r>
              <a:rPr lang="en-US" sz="2400" dirty="0">
                <a:solidFill>
                  <a:schemeClr val="bg1"/>
                </a:solidFill>
              </a:rPr>
              <a:t>Lorem ipsum</a:t>
            </a:r>
          </a:p>
        </p:txBody>
      </p:sp>
      <p:sp>
        <p:nvSpPr>
          <p:cNvPr id="139" name="TextBox 138">
            <a:extLst>
              <a:ext uri="{FF2B5EF4-FFF2-40B4-BE49-F238E27FC236}">
                <a16:creationId xmlns:a16="http://schemas.microsoft.com/office/drawing/2014/main" id="{2F7A6342-0396-4E6A-8E1C-114725B0E482}"/>
              </a:ext>
            </a:extLst>
          </p:cNvPr>
          <p:cNvSpPr txBox="1"/>
          <p:nvPr/>
        </p:nvSpPr>
        <p:spPr>
          <a:xfrm>
            <a:off x="5597685" y="7673864"/>
            <a:ext cx="2616030" cy="369332"/>
          </a:xfrm>
          <a:prstGeom prst="rect">
            <a:avLst/>
          </a:prstGeom>
          <a:noFill/>
          <a:ln w="6350">
            <a:noFill/>
            <a:prstDash val="dash"/>
          </a:ln>
        </p:spPr>
        <p:txBody>
          <a:bodyPr wrap="square" lIns="0" tIns="0" rIns="0" bIns="0" rtlCol="0">
            <a:spAutoFit/>
          </a:bodyPr>
          <a:lstStyle/>
          <a:p>
            <a:pPr algn="ctr"/>
            <a:r>
              <a:rPr lang="en-US" sz="2400" dirty="0">
                <a:solidFill>
                  <a:schemeClr val="bg1"/>
                </a:solidFill>
              </a:rPr>
              <a:t>Lorem ipsum</a:t>
            </a:r>
          </a:p>
        </p:txBody>
      </p:sp>
      <p:sp>
        <p:nvSpPr>
          <p:cNvPr id="140" name="TextBox 139">
            <a:extLst>
              <a:ext uri="{FF2B5EF4-FFF2-40B4-BE49-F238E27FC236}">
                <a16:creationId xmlns:a16="http://schemas.microsoft.com/office/drawing/2014/main" id="{7A278EDD-3AF5-4FD9-B420-634B1FDC0845}"/>
              </a:ext>
            </a:extLst>
          </p:cNvPr>
          <p:cNvSpPr txBox="1"/>
          <p:nvPr/>
        </p:nvSpPr>
        <p:spPr>
          <a:xfrm>
            <a:off x="4777542" y="11135919"/>
            <a:ext cx="2616030" cy="369332"/>
          </a:xfrm>
          <a:prstGeom prst="rect">
            <a:avLst/>
          </a:prstGeom>
          <a:noFill/>
          <a:ln w="6350">
            <a:noFill/>
            <a:prstDash val="dash"/>
          </a:ln>
        </p:spPr>
        <p:txBody>
          <a:bodyPr wrap="square" lIns="0" tIns="0" rIns="0" bIns="0" rtlCol="0">
            <a:spAutoFit/>
          </a:bodyPr>
          <a:lstStyle/>
          <a:p>
            <a:pPr algn="ctr"/>
            <a:r>
              <a:rPr lang="en-US" sz="2400" dirty="0">
                <a:solidFill>
                  <a:schemeClr val="bg1"/>
                </a:solidFill>
              </a:rPr>
              <a:t>Lorem ipsum</a:t>
            </a:r>
          </a:p>
        </p:txBody>
      </p:sp>
      <p:sp>
        <p:nvSpPr>
          <p:cNvPr id="151" name="TextBox 150">
            <a:extLst>
              <a:ext uri="{FF2B5EF4-FFF2-40B4-BE49-F238E27FC236}">
                <a16:creationId xmlns:a16="http://schemas.microsoft.com/office/drawing/2014/main" id="{93484778-48BB-46D2-8734-565FAB85F0A5}"/>
              </a:ext>
            </a:extLst>
          </p:cNvPr>
          <p:cNvSpPr txBox="1"/>
          <p:nvPr/>
        </p:nvSpPr>
        <p:spPr>
          <a:xfrm>
            <a:off x="18327516" y="3588810"/>
            <a:ext cx="1789322" cy="984885"/>
          </a:xfrm>
          <a:prstGeom prst="rect">
            <a:avLst/>
          </a:prstGeom>
          <a:noFill/>
          <a:ln w="6350">
            <a:noFill/>
            <a:prstDash val="dash"/>
          </a:ln>
        </p:spPr>
        <p:txBody>
          <a:bodyPr wrap="square" lIns="0" tIns="0" rIns="0" bIns="0" rtlCol="0" anchor="ctr">
            <a:spAutoFit/>
          </a:bodyPr>
          <a:lstStyle/>
          <a:p>
            <a:pPr algn="ctr"/>
            <a:r>
              <a:rPr lang="en-US" sz="6400" b="1" dirty="0">
                <a:solidFill>
                  <a:schemeClr val="bg1"/>
                </a:solidFill>
                <a:latin typeface="+mj-lt"/>
              </a:rPr>
              <a:t>38%</a:t>
            </a:r>
          </a:p>
        </p:txBody>
      </p:sp>
      <p:sp>
        <p:nvSpPr>
          <p:cNvPr id="152" name="TextBox 151">
            <a:extLst>
              <a:ext uri="{FF2B5EF4-FFF2-40B4-BE49-F238E27FC236}">
                <a16:creationId xmlns:a16="http://schemas.microsoft.com/office/drawing/2014/main" id="{9B457217-4A46-4E92-84CC-575FB0A0787C}"/>
              </a:ext>
            </a:extLst>
          </p:cNvPr>
          <p:cNvSpPr txBox="1"/>
          <p:nvPr/>
        </p:nvSpPr>
        <p:spPr>
          <a:xfrm>
            <a:off x="19073626" y="7039841"/>
            <a:ext cx="1789322" cy="984885"/>
          </a:xfrm>
          <a:prstGeom prst="rect">
            <a:avLst/>
          </a:prstGeom>
          <a:noFill/>
          <a:ln w="6350">
            <a:noFill/>
            <a:prstDash val="dash"/>
          </a:ln>
        </p:spPr>
        <p:txBody>
          <a:bodyPr wrap="square" lIns="0" tIns="0" rIns="0" bIns="0" rtlCol="0" anchor="ctr">
            <a:spAutoFit/>
          </a:bodyPr>
          <a:lstStyle/>
          <a:p>
            <a:pPr algn="ctr"/>
            <a:r>
              <a:rPr lang="en-US" sz="6400" b="1" dirty="0">
                <a:solidFill>
                  <a:schemeClr val="bg1"/>
                </a:solidFill>
                <a:latin typeface="+mj-lt"/>
              </a:rPr>
              <a:t>71%</a:t>
            </a:r>
          </a:p>
        </p:txBody>
      </p:sp>
      <p:sp>
        <p:nvSpPr>
          <p:cNvPr id="153" name="TextBox 152">
            <a:extLst>
              <a:ext uri="{FF2B5EF4-FFF2-40B4-BE49-F238E27FC236}">
                <a16:creationId xmlns:a16="http://schemas.microsoft.com/office/drawing/2014/main" id="{8350144C-1DFF-4A4F-8FA3-844D155A5BF7}"/>
              </a:ext>
            </a:extLst>
          </p:cNvPr>
          <p:cNvSpPr txBox="1"/>
          <p:nvPr/>
        </p:nvSpPr>
        <p:spPr>
          <a:xfrm>
            <a:off x="18327516" y="10468898"/>
            <a:ext cx="1789322" cy="984885"/>
          </a:xfrm>
          <a:prstGeom prst="rect">
            <a:avLst/>
          </a:prstGeom>
          <a:noFill/>
          <a:ln w="6350">
            <a:noFill/>
            <a:prstDash val="dash"/>
          </a:ln>
        </p:spPr>
        <p:txBody>
          <a:bodyPr wrap="square" lIns="0" tIns="0" rIns="0" bIns="0" rtlCol="0" anchor="ctr">
            <a:spAutoFit/>
          </a:bodyPr>
          <a:lstStyle/>
          <a:p>
            <a:pPr algn="ctr"/>
            <a:r>
              <a:rPr lang="en-US" sz="6400" b="1" dirty="0">
                <a:solidFill>
                  <a:schemeClr val="bg1"/>
                </a:solidFill>
                <a:latin typeface="+mj-lt"/>
              </a:rPr>
              <a:t>44%</a:t>
            </a:r>
          </a:p>
        </p:txBody>
      </p:sp>
      <p:sp>
        <p:nvSpPr>
          <p:cNvPr id="40" name="Freeform: Shape 10">
            <a:extLst>
              <a:ext uri="{FF2B5EF4-FFF2-40B4-BE49-F238E27FC236}">
                <a16:creationId xmlns:a16="http://schemas.microsoft.com/office/drawing/2014/main" id="{D2F6199D-0294-FC41-A763-1C650274B401}"/>
              </a:ext>
            </a:extLst>
          </p:cNvPr>
          <p:cNvSpPr/>
          <p:nvPr/>
        </p:nvSpPr>
        <p:spPr>
          <a:xfrm>
            <a:off x="5645833" y="3232855"/>
            <a:ext cx="874692" cy="884123"/>
          </a:xfrm>
          <a:custGeom>
            <a:avLst/>
            <a:gdLst/>
            <a:ahLst/>
            <a:cxnLst>
              <a:cxn ang="3cd4">
                <a:pos x="hc" y="t"/>
              </a:cxn>
              <a:cxn ang="cd2">
                <a:pos x="l" y="vc"/>
              </a:cxn>
              <a:cxn ang="cd4">
                <a:pos x="hc" y="b"/>
              </a:cxn>
              <a:cxn ang="0">
                <a:pos x="r" y="vc"/>
              </a:cxn>
            </a:cxnLst>
            <a:rect l="l" t="t" r="r" b="b"/>
            <a:pathLst>
              <a:path w="4453" h="4501">
                <a:moveTo>
                  <a:pt x="1527" y="4501"/>
                </a:moveTo>
                <a:cubicBezTo>
                  <a:pt x="2274" y="4501"/>
                  <a:pt x="2894" y="3976"/>
                  <a:pt x="3022" y="3276"/>
                </a:cubicBezTo>
                <a:cubicBezTo>
                  <a:pt x="3706" y="3261"/>
                  <a:pt x="4453" y="3101"/>
                  <a:pt x="4453" y="2783"/>
                </a:cubicBezTo>
                <a:lnTo>
                  <a:pt x="4453" y="2768"/>
                </a:lnTo>
                <a:lnTo>
                  <a:pt x="4453" y="477"/>
                </a:lnTo>
                <a:cubicBezTo>
                  <a:pt x="4453" y="-159"/>
                  <a:pt x="1368" y="-159"/>
                  <a:pt x="1368" y="477"/>
                </a:cubicBezTo>
                <a:lnTo>
                  <a:pt x="1368" y="1479"/>
                </a:lnTo>
                <a:cubicBezTo>
                  <a:pt x="604" y="1559"/>
                  <a:pt x="0" y="2195"/>
                  <a:pt x="0" y="2990"/>
                </a:cubicBezTo>
                <a:cubicBezTo>
                  <a:pt x="0" y="3833"/>
                  <a:pt x="684" y="4501"/>
                  <a:pt x="1527" y="4501"/>
                </a:cubicBezTo>
                <a:close/>
                <a:moveTo>
                  <a:pt x="3038" y="3118"/>
                </a:moveTo>
                <a:cubicBezTo>
                  <a:pt x="3054" y="3070"/>
                  <a:pt x="3054" y="3022"/>
                  <a:pt x="3054" y="2990"/>
                </a:cubicBezTo>
                <a:cubicBezTo>
                  <a:pt x="3054" y="2815"/>
                  <a:pt x="3022" y="2640"/>
                  <a:pt x="2958" y="2497"/>
                </a:cubicBezTo>
                <a:cubicBezTo>
                  <a:pt x="3499" y="2481"/>
                  <a:pt x="4024" y="2402"/>
                  <a:pt x="4294" y="2243"/>
                </a:cubicBezTo>
                <a:lnTo>
                  <a:pt x="4294" y="2052"/>
                </a:lnTo>
                <a:cubicBezTo>
                  <a:pt x="4167" y="2179"/>
                  <a:pt x="3706" y="2338"/>
                  <a:pt x="2911" y="2338"/>
                </a:cubicBezTo>
                <a:lnTo>
                  <a:pt x="2894" y="2338"/>
                </a:lnTo>
                <a:cubicBezTo>
                  <a:pt x="2783" y="2083"/>
                  <a:pt x="2593" y="1861"/>
                  <a:pt x="2354" y="1718"/>
                </a:cubicBezTo>
                <a:cubicBezTo>
                  <a:pt x="2529" y="1734"/>
                  <a:pt x="2720" y="1734"/>
                  <a:pt x="2911" y="1734"/>
                </a:cubicBezTo>
                <a:cubicBezTo>
                  <a:pt x="3451" y="1734"/>
                  <a:pt x="4008" y="1654"/>
                  <a:pt x="4294" y="1495"/>
                </a:cubicBezTo>
                <a:lnTo>
                  <a:pt x="4294" y="1304"/>
                </a:lnTo>
                <a:cubicBezTo>
                  <a:pt x="4167" y="1416"/>
                  <a:pt x="3706" y="1575"/>
                  <a:pt x="2911" y="1575"/>
                </a:cubicBezTo>
                <a:cubicBezTo>
                  <a:pt x="2115" y="1575"/>
                  <a:pt x="1654" y="1416"/>
                  <a:pt x="1527" y="1304"/>
                </a:cubicBezTo>
                <a:lnTo>
                  <a:pt x="1527" y="700"/>
                </a:lnTo>
                <a:cubicBezTo>
                  <a:pt x="1797" y="875"/>
                  <a:pt x="2354" y="970"/>
                  <a:pt x="2911" y="970"/>
                </a:cubicBezTo>
                <a:cubicBezTo>
                  <a:pt x="3467" y="970"/>
                  <a:pt x="4024" y="875"/>
                  <a:pt x="4294" y="700"/>
                </a:cubicBezTo>
                <a:lnTo>
                  <a:pt x="4294" y="2768"/>
                </a:lnTo>
                <a:lnTo>
                  <a:pt x="4294" y="2783"/>
                </a:lnTo>
                <a:cubicBezTo>
                  <a:pt x="4294" y="2895"/>
                  <a:pt x="3865" y="3086"/>
                  <a:pt x="3038" y="3118"/>
                </a:cubicBezTo>
                <a:close/>
                <a:moveTo>
                  <a:pt x="2911" y="143"/>
                </a:moveTo>
                <a:cubicBezTo>
                  <a:pt x="3817" y="143"/>
                  <a:pt x="4294" y="366"/>
                  <a:pt x="4294" y="477"/>
                </a:cubicBezTo>
                <a:cubicBezTo>
                  <a:pt x="4294" y="589"/>
                  <a:pt x="3817" y="811"/>
                  <a:pt x="2911" y="811"/>
                </a:cubicBezTo>
                <a:cubicBezTo>
                  <a:pt x="2004" y="811"/>
                  <a:pt x="1527" y="589"/>
                  <a:pt x="1527" y="477"/>
                </a:cubicBezTo>
                <a:cubicBezTo>
                  <a:pt x="1527" y="366"/>
                  <a:pt x="2004" y="143"/>
                  <a:pt x="2911" y="143"/>
                </a:cubicBezTo>
                <a:close/>
                <a:moveTo>
                  <a:pt x="1527" y="1622"/>
                </a:moveTo>
                <a:cubicBezTo>
                  <a:pt x="2274" y="1622"/>
                  <a:pt x="2894" y="2243"/>
                  <a:pt x="2894" y="2990"/>
                </a:cubicBezTo>
                <a:cubicBezTo>
                  <a:pt x="2894" y="3738"/>
                  <a:pt x="2274" y="4342"/>
                  <a:pt x="1527" y="4342"/>
                </a:cubicBezTo>
                <a:cubicBezTo>
                  <a:pt x="779" y="4342"/>
                  <a:pt x="159" y="3738"/>
                  <a:pt x="159" y="2990"/>
                </a:cubicBezTo>
                <a:cubicBezTo>
                  <a:pt x="159" y="2243"/>
                  <a:pt x="779" y="1622"/>
                  <a:pt x="1527" y="1622"/>
                </a:cubicBezTo>
                <a:close/>
                <a:moveTo>
                  <a:pt x="1034" y="3499"/>
                </a:moveTo>
                <a:cubicBezTo>
                  <a:pt x="1161" y="3595"/>
                  <a:pt x="1320" y="3658"/>
                  <a:pt x="1463" y="3674"/>
                </a:cubicBezTo>
                <a:lnTo>
                  <a:pt x="1463" y="3928"/>
                </a:lnTo>
                <a:cubicBezTo>
                  <a:pt x="1463" y="3961"/>
                  <a:pt x="1495" y="4008"/>
                  <a:pt x="1543" y="4008"/>
                </a:cubicBezTo>
                <a:cubicBezTo>
                  <a:pt x="1590" y="4008"/>
                  <a:pt x="1622" y="3961"/>
                  <a:pt x="1622" y="3928"/>
                </a:cubicBezTo>
                <a:lnTo>
                  <a:pt x="1622" y="3690"/>
                </a:lnTo>
                <a:cubicBezTo>
                  <a:pt x="1797" y="3674"/>
                  <a:pt x="1972" y="3579"/>
                  <a:pt x="2020" y="3388"/>
                </a:cubicBezTo>
                <a:cubicBezTo>
                  <a:pt x="2020" y="3372"/>
                  <a:pt x="2020" y="3356"/>
                  <a:pt x="2036" y="3356"/>
                </a:cubicBezTo>
                <a:cubicBezTo>
                  <a:pt x="2052" y="3229"/>
                  <a:pt x="2004" y="3118"/>
                  <a:pt x="1924" y="3054"/>
                </a:cubicBezTo>
                <a:cubicBezTo>
                  <a:pt x="1876" y="3006"/>
                  <a:pt x="1829" y="2974"/>
                  <a:pt x="1766" y="2958"/>
                </a:cubicBezTo>
                <a:cubicBezTo>
                  <a:pt x="1702" y="2927"/>
                  <a:pt x="1638" y="2911"/>
                  <a:pt x="1575" y="2895"/>
                </a:cubicBezTo>
                <a:cubicBezTo>
                  <a:pt x="1511" y="2863"/>
                  <a:pt x="1447" y="2847"/>
                  <a:pt x="1384" y="2831"/>
                </a:cubicBezTo>
                <a:cubicBezTo>
                  <a:pt x="1320" y="2800"/>
                  <a:pt x="1272" y="2768"/>
                  <a:pt x="1257" y="2736"/>
                </a:cubicBezTo>
                <a:cubicBezTo>
                  <a:pt x="1240" y="2672"/>
                  <a:pt x="1240" y="2592"/>
                  <a:pt x="1288" y="2545"/>
                </a:cubicBezTo>
                <a:cubicBezTo>
                  <a:pt x="1368" y="2449"/>
                  <a:pt x="1527" y="2449"/>
                  <a:pt x="1622" y="2465"/>
                </a:cubicBezTo>
                <a:cubicBezTo>
                  <a:pt x="1781" y="2481"/>
                  <a:pt x="1791" y="2529"/>
                  <a:pt x="1876" y="2561"/>
                </a:cubicBezTo>
                <a:cubicBezTo>
                  <a:pt x="1924" y="2592"/>
                  <a:pt x="1972" y="2577"/>
                  <a:pt x="1988" y="2545"/>
                </a:cubicBezTo>
                <a:cubicBezTo>
                  <a:pt x="2020" y="2513"/>
                  <a:pt x="2020" y="2465"/>
                  <a:pt x="1972" y="2434"/>
                </a:cubicBezTo>
                <a:cubicBezTo>
                  <a:pt x="1861" y="2391"/>
                  <a:pt x="1829" y="2338"/>
                  <a:pt x="1638" y="2306"/>
                </a:cubicBezTo>
                <a:lnTo>
                  <a:pt x="1622" y="2306"/>
                </a:lnTo>
                <a:lnTo>
                  <a:pt x="1622" y="2068"/>
                </a:lnTo>
                <a:cubicBezTo>
                  <a:pt x="1622" y="2020"/>
                  <a:pt x="1590" y="1988"/>
                  <a:pt x="1543" y="1988"/>
                </a:cubicBezTo>
                <a:cubicBezTo>
                  <a:pt x="1495" y="1988"/>
                  <a:pt x="1463" y="2020"/>
                  <a:pt x="1463" y="2068"/>
                </a:cubicBezTo>
                <a:lnTo>
                  <a:pt x="1463" y="2306"/>
                </a:lnTo>
                <a:cubicBezTo>
                  <a:pt x="1352" y="2322"/>
                  <a:pt x="1257" y="2354"/>
                  <a:pt x="1177" y="2434"/>
                </a:cubicBezTo>
                <a:cubicBezTo>
                  <a:pt x="1081" y="2545"/>
                  <a:pt x="1066" y="2672"/>
                  <a:pt x="1113" y="2800"/>
                </a:cubicBezTo>
                <a:cubicBezTo>
                  <a:pt x="1145" y="2863"/>
                  <a:pt x="1225" y="2927"/>
                  <a:pt x="1320" y="2974"/>
                </a:cubicBezTo>
                <a:cubicBezTo>
                  <a:pt x="1384" y="3006"/>
                  <a:pt x="1447" y="3022"/>
                  <a:pt x="1527" y="3038"/>
                </a:cubicBezTo>
                <a:cubicBezTo>
                  <a:pt x="1590" y="3054"/>
                  <a:pt x="1654" y="3086"/>
                  <a:pt x="1702" y="3101"/>
                </a:cubicBezTo>
                <a:cubicBezTo>
                  <a:pt x="1749" y="3118"/>
                  <a:pt x="1797" y="3133"/>
                  <a:pt x="1829" y="3165"/>
                </a:cubicBezTo>
                <a:cubicBezTo>
                  <a:pt x="1861" y="3197"/>
                  <a:pt x="1876" y="3261"/>
                  <a:pt x="1876" y="3324"/>
                </a:cubicBezTo>
                <a:cubicBezTo>
                  <a:pt x="1876" y="3340"/>
                  <a:pt x="1876" y="3340"/>
                  <a:pt x="1861" y="3356"/>
                </a:cubicBezTo>
                <a:cubicBezTo>
                  <a:pt x="1829" y="3467"/>
                  <a:pt x="1702" y="3531"/>
                  <a:pt x="1590" y="3531"/>
                </a:cubicBezTo>
                <a:cubicBezTo>
                  <a:pt x="1431" y="3547"/>
                  <a:pt x="1272" y="3483"/>
                  <a:pt x="1145" y="3372"/>
                </a:cubicBezTo>
                <a:cubicBezTo>
                  <a:pt x="1097" y="3340"/>
                  <a:pt x="1049" y="3356"/>
                  <a:pt x="1034" y="3388"/>
                </a:cubicBezTo>
                <a:cubicBezTo>
                  <a:pt x="1002" y="3419"/>
                  <a:pt x="1002" y="3467"/>
                  <a:pt x="1034" y="3499"/>
                </a:cubicBezTo>
                <a:close/>
              </a:path>
            </a:pathLst>
          </a:custGeom>
          <a:solidFill>
            <a:schemeClr val="bg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1" name="Freeform: Shape 8">
            <a:extLst>
              <a:ext uri="{FF2B5EF4-FFF2-40B4-BE49-F238E27FC236}">
                <a16:creationId xmlns:a16="http://schemas.microsoft.com/office/drawing/2014/main" id="{686C1BA3-9D6B-394D-8783-CBD07D3876EA}"/>
              </a:ext>
            </a:extLst>
          </p:cNvPr>
          <p:cNvSpPr/>
          <p:nvPr/>
        </p:nvSpPr>
        <p:spPr>
          <a:xfrm>
            <a:off x="6454749" y="6754889"/>
            <a:ext cx="939262" cy="690788"/>
          </a:xfrm>
          <a:custGeom>
            <a:avLst/>
            <a:gdLst/>
            <a:ahLst/>
            <a:cxnLst>
              <a:cxn ang="3cd4">
                <a:pos x="hc" y="t"/>
              </a:cxn>
              <a:cxn ang="cd2">
                <a:pos x="l" y="vc"/>
              </a:cxn>
              <a:cxn ang="cd4">
                <a:pos x="hc" y="b"/>
              </a:cxn>
              <a:cxn ang="0">
                <a:pos x="r" y="vc"/>
              </a:cxn>
            </a:cxnLst>
            <a:rect l="l" t="t" r="r" b="b"/>
            <a:pathLst>
              <a:path w="4866" h="3579">
                <a:moveTo>
                  <a:pt x="286" y="3086"/>
                </a:moveTo>
                <a:cubicBezTo>
                  <a:pt x="699" y="3086"/>
                  <a:pt x="699" y="3086"/>
                  <a:pt x="699" y="3086"/>
                </a:cubicBezTo>
                <a:cubicBezTo>
                  <a:pt x="731" y="3372"/>
                  <a:pt x="970" y="3579"/>
                  <a:pt x="1256" y="3579"/>
                </a:cubicBezTo>
                <a:cubicBezTo>
                  <a:pt x="1542" y="3579"/>
                  <a:pt x="1781" y="3372"/>
                  <a:pt x="1828" y="3086"/>
                </a:cubicBezTo>
                <a:cubicBezTo>
                  <a:pt x="2751" y="3086"/>
                  <a:pt x="2751" y="3086"/>
                  <a:pt x="2751" y="3086"/>
                </a:cubicBezTo>
                <a:cubicBezTo>
                  <a:pt x="2815" y="3086"/>
                  <a:pt x="2894" y="3054"/>
                  <a:pt x="2926" y="3006"/>
                </a:cubicBezTo>
                <a:cubicBezTo>
                  <a:pt x="2990" y="3054"/>
                  <a:pt x="3053" y="3086"/>
                  <a:pt x="3117" y="3086"/>
                </a:cubicBezTo>
                <a:cubicBezTo>
                  <a:pt x="3244" y="3086"/>
                  <a:pt x="3244" y="3086"/>
                  <a:pt x="3244" y="3086"/>
                </a:cubicBezTo>
                <a:cubicBezTo>
                  <a:pt x="3276" y="3372"/>
                  <a:pt x="3515" y="3579"/>
                  <a:pt x="3801" y="3579"/>
                </a:cubicBezTo>
                <a:cubicBezTo>
                  <a:pt x="4087" y="3579"/>
                  <a:pt x="4326" y="3372"/>
                  <a:pt x="4373" y="3086"/>
                </a:cubicBezTo>
                <a:cubicBezTo>
                  <a:pt x="4596" y="3086"/>
                  <a:pt x="4596" y="3086"/>
                  <a:pt x="4596" y="3086"/>
                </a:cubicBezTo>
                <a:cubicBezTo>
                  <a:pt x="4739" y="3086"/>
                  <a:pt x="4866" y="2958"/>
                  <a:pt x="4866" y="2815"/>
                </a:cubicBezTo>
                <a:cubicBezTo>
                  <a:pt x="4866" y="1877"/>
                  <a:pt x="4866" y="1877"/>
                  <a:pt x="4866" y="1877"/>
                </a:cubicBezTo>
                <a:cubicBezTo>
                  <a:pt x="4866" y="1686"/>
                  <a:pt x="4723" y="1479"/>
                  <a:pt x="4708" y="1464"/>
                </a:cubicBezTo>
                <a:cubicBezTo>
                  <a:pt x="4453" y="1114"/>
                  <a:pt x="4453" y="1114"/>
                  <a:pt x="4453" y="1114"/>
                </a:cubicBezTo>
                <a:cubicBezTo>
                  <a:pt x="4437" y="1098"/>
                  <a:pt x="4437" y="1098"/>
                  <a:pt x="4437" y="1098"/>
                </a:cubicBezTo>
                <a:cubicBezTo>
                  <a:pt x="4309" y="923"/>
                  <a:pt x="4309" y="923"/>
                  <a:pt x="4309" y="923"/>
                </a:cubicBezTo>
                <a:cubicBezTo>
                  <a:pt x="4214" y="812"/>
                  <a:pt x="4071" y="684"/>
                  <a:pt x="3912" y="684"/>
                </a:cubicBezTo>
                <a:cubicBezTo>
                  <a:pt x="3117" y="684"/>
                  <a:pt x="3117" y="684"/>
                  <a:pt x="3117" y="684"/>
                </a:cubicBezTo>
                <a:cubicBezTo>
                  <a:pt x="3085" y="684"/>
                  <a:pt x="3037" y="684"/>
                  <a:pt x="3006" y="716"/>
                </a:cubicBezTo>
                <a:cubicBezTo>
                  <a:pt x="3006" y="255"/>
                  <a:pt x="3006" y="255"/>
                  <a:pt x="3006" y="255"/>
                </a:cubicBezTo>
                <a:cubicBezTo>
                  <a:pt x="3006" y="112"/>
                  <a:pt x="2894" y="0"/>
                  <a:pt x="2751" y="0"/>
                </a:cubicBezTo>
                <a:cubicBezTo>
                  <a:pt x="270" y="0"/>
                  <a:pt x="270" y="0"/>
                  <a:pt x="270" y="0"/>
                </a:cubicBezTo>
                <a:cubicBezTo>
                  <a:pt x="127" y="0"/>
                  <a:pt x="0" y="112"/>
                  <a:pt x="0" y="255"/>
                </a:cubicBezTo>
                <a:cubicBezTo>
                  <a:pt x="0" y="2815"/>
                  <a:pt x="0" y="2815"/>
                  <a:pt x="0" y="2815"/>
                </a:cubicBezTo>
                <a:cubicBezTo>
                  <a:pt x="0" y="2958"/>
                  <a:pt x="143" y="3086"/>
                  <a:pt x="286" y="3086"/>
                </a:cubicBezTo>
                <a:close/>
                <a:moveTo>
                  <a:pt x="1256" y="3420"/>
                </a:moveTo>
                <a:cubicBezTo>
                  <a:pt x="1033" y="3420"/>
                  <a:pt x="858" y="3245"/>
                  <a:pt x="858" y="3006"/>
                </a:cubicBezTo>
                <a:cubicBezTo>
                  <a:pt x="858" y="2784"/>
                  <a:pt x="1033" y="2609"/>
                  <a:pt x="1256" y="2609"/>
                </a:cubicBezTo>
                <a:cubicBezTo>
                  <a:pt x="1494" y="2609"/>
                  <a:pt x="1670" y="2784"/>
                  <a:pt x="1670" y="3006"/>
                </a:cubicBezTo>
                <a:cubicBezTo>
                  <a:pt x="1670" y="3245"/>
                  <a:pt x="1494" y="3420"/>
                  <a:pt x="1256" y="3420"/>
                </a:cubicBezTo>
                <a:close/>
                <a:moveTo>
                  <a:pt x="3801" y="3420"/>
                </a:moveTo>
                <a:cubicBezTo>
                  <a:pt x="3578" y="3420"/>
                  <a:pt x="3403" y="3245"/>
                  <a:pt x="3403" y="3006"/>
                </a:cubicBezTo>
                <a:cubicBezTo>
                  <a:pt x="3403" y="2784"/>
                  <a:pt x="3578" y="2609"/>
                  <a:pt x="3801" y="2609"/>
                </a:cubicBezTo>
                <a:cubicBezTo>
                  <a:pt x="4039" y="2609"/>
                  <a:pt x="4214" y="2784"/>
                  <a:pt x="4214" y="3006"/>
                </a:cubicBezTo>
                <a:cubicBezTo>
                  <a:pt x="4214" y="3245"/>
                  <a:pt x="4039" y="3420"/>
                  <a:pt x="3801" y="3420"/>
                </a:cubicBezTo>
                <a:close/>
                <a:moveTo>
                  <a:pt x="4342" y="1225"/>
                </a:moveTo>
                <a:cubicBezTo>
                  <a:pt x="4580" y="1559"/>
                  <a:pt x="4580" y="1559"/>
                  <a:pt x="4580" y="1559"/>
                </a:cubicBezTo>
                <a:cubicBezTo>
                  <a:pt x="4612" y="1607"/>
                  <a:pt x="4691" y="1734"/>
                  <a:pt x="4708" y="1861"/>
                </a:cubicBezTo>
                <a:cubicBezTo>
                  <a:pt x="3705" y="1861"/>
                  <a:pt x="3705" y="1861"/>
                  <a:pt x="3705" y="1861"/>
                </a:cubicBezTo>
                <a:cubicBezTo>
                  <a:pt x="3658" y="1861"/>
                  <a:pt x="3594" y="1798"/>
                  <a:pt x="3594" y="1734"/>
                </a:cubicBezTo>
                <a:cubicBezTo>
                  <a:pt x="3594" y="1352"/>
                  <a:pt x="3594" y="1352"/>
                  <a:pt x="3594" y="1352"/>
                </a:cubicBezTo>
                <a:cubicBezTo>
                  <a:pt x="3594" y="1289"/>
                  <a:pt x="3658" y="1225"/>
                  <a:pt x="3705" y="1225"/>
                </a:cubicBezTo>
                <a:close/>
                <a:moveTo>
                  <a:pt x="3117" y="843"/>
                </a:moveTo>
                <a:cubicBezTo>
                  <a:pt x="3912" y="843"/>
                  <a:pt x="3912" y="843"/>
                  <a:pt x="3912" y="843"/>
                </a:cubicBezTo>
                <a:cubicBezTo>
                  <a:pt x="4023" y="843"/>
                  <a:pt x="4135" y="955"/>
                  <a:pt x="4182" y="1018"/>
                </a:cubicBezTo>
                <a:cubicBezTo>
                  <a:pt x="4214" y="1066"/>
                  <a:pt x="4214" y="1066"/>
                  <a:pt x="4214" y="1066"/>
                </a:cubicBezTo>
                <a:cubicBezTo>
                  <a:pt x="3705" y="1066"/>
                  <a:pt x="3705" y="1066"/>
                  <a:pt x="3705" y="1066"/>
                </a:cubicBezTo>
                <a:cubicBezTo>
                  <a:pt x="3562" y="1066"/>
                  <a:pt x="3435" y="1193"/>
                  <a:pt x="3435" y="1352"/>
                </a:cubicBezTo>
                <a:cubicBezTo>
                  <a:pt x="3435" y="1734"/>
                  <a:pt x="3435" y="1734"/>
                  <a:pt x="3435" y="1734"/>
                </a:cubicBezTo>
                <a:cubicBezTo>
                  <a:pt x="3435" y="1877"/>
                  <a:pt x="3562" y="2020"/>
                  <a:pt x="3705" y="2020"/>
                </a:cubicBezTo>
                <a:cubicBezTo>
                  <a:pt x="4708" y="2020"/>
                  <a:pt x="4708" y="2020"/>
                  <a:pt x="4708" y="2020"/>
                </a:cubicBezTo>
                <a:cubicBezTo>
                  <a:pt x="4708" y="2815"/>
                  <a:pt x="4708" y="2815"/>
                  <a:pt x="4708" y="2815"/>
                </a:cubicBezTo>
                <a:cubicBezTo>
                  <a:pt x="4708" y="2863"/>
                  <a:pt x="4644" y="2927"/>
                  <a:pt x="4596" y="2927"/>
                </a:cubicBezTo>
                <a:cubicBezTo>
                  <a:pt x="4373" y="2927"/>
                  <a:pt x="4373" y="2927"/>
                  <a:pt x="4373" y="2927"/>
                </a:cubicBezTo>
                <a:cubicBezTo>
                  <a:pt x="4326" y="2657"/>
                  <a:pt x="4087" y="2450"/>
                  <a:pt x="3801" y="2450"/>
                </a:cubicBezTo>
                <a:cubicBezTo>
                  <a:pt x="3515" y="2450"/>
                  <a:pt x="3276" y="2657"/>
                  <a:pt x="3244" y="2927"/>
                </a:cubicBezTo>
                <a:cubicBezTo>
                  <a:pt x="3117" y="2927"/>
                  <a:pt x="3117" y="2927"/>
                  <a:pt x="3117" y="2927"/>
                </a:cubicBezTo>
                <a:cubicBezTo>
                  <a:pt x="3069" y="2927"/>
                  <a:pt x="3006" y="2863"/>
                  <a:pt x="3006" y="2815"/>
                </a:cubicBezTo>
                <a:cubicBezTo>
                  <a:pt x="3006" y="955"/>
                  <a:pt x="3006" y="955"/>
                  <a:pt x="3006" y="955"/>
                </a:cubicBezTo>
                <a:cubicBezTo>
                  <a:pt x="3006" y="907"/>
                  <a:pt x="3069" y="843"/>
                  <a:pt x="3117" y="843"/>
                </a:cubicBezTo>
                <a:close/>
                <a:moveTo>
                  <a:pt x="158" y="255"/>
                </a:moveTo>
                <a:cubicBezTo>
                  <a:pt x="158" y="191"/>
                  <a:pt x="206" y="159"/>
                  <a:pt x="270" y="159"/>
                </a:cubicBezTo>
                <a:cubicBezTo>
                  <a:pt x="2751" y="159"/>
                  <a:pt x="2751" y="159"/>
                  <a:pt x="2751" y="159"/>
                </a:cubicBezTo>
                <a:cubicBezTo>
                  <a:pt x="2799" y="159"/>
                  <a:pt x="2846" y="207"/>
                  <a:pt x="2846" y="255"/>
                </a:cubicBezTo>
                <a:cubicBezTo>
                  <a:pt x="2846" y="955"/>
                  <a:pt x="2846" y="955"/>
                  <a:pt x="2846" y="955"/>
                </a:cubicBezTo>
                <a:cubicBezTo>
                  <a:pt x="2846" y="2815"/>
                  <a:pt x="2846" y="2815"/>
                  <a:pt x="2846" y="2815"/>
                </a:cubicBezTo>
                <a:cubicBezTo>
                  <a:pt x="2846" y="2831"/>
                  <a:pt x="2846" y="2831"/>
                  <a:pt x="2846" y="2831"/>
                </a:cubicBezTo>
                <a:cubicBezTo>
                  <a:pt x="2846" y="2879"/>
                  <a:pt x="2799" y="2927"/>
                  <a:pt x="2751" y="2927"/>
                </a:cubicBezTo>
                <a:cubicBezTo>
                  <a:pt x="1828" y="2927"/>
                  <a:pt x="1828" y="2927"/>
                  <a:pt x="1828" y="2927"/>
                </a:cubicBezTo>
                <a:cubicBezTo>
                  <a:pt x="1781" y="2657"/>
                  <a:pt x="1542" y="2450"/>
                  <a:pt x="1256" y="2450"/>
                </a:cubicBezTo>
                <a:cubicBezTo>
                  <a:pt x="970" y="2450"/>
                  <a:pt x="731" y="2657"/>
                  <a:pt x="699" y="2927"/>
                </a:cubicBezTo>
                <a:cubicBezTo>
                  <a:pt x="286" y="2927"/>
                  <a:pt x="286" y="2927"/>
                  <a:pt x="286" y="2927"/>
                </a:cubicBezTo>
                <a:cubicBezTo>
                  <a:pt x="222" y="2927"/>
                  <a:pt x="158" y="2879"/>
                  <a:pt x="158" y="2815"/>
                </a:cubicBezTo>
                <a:close/>
              </a:path>
            </a:pathLst>
          </a:custGeom>
          <a:solidFill>
            <a:schemeClr val="bg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2" name="Freeform: Shape 16">
            <a:extLst>
              <a:ext uri="{FF2B5EF4-FFF2-40B4-BE49-F238E27FC236}">
                <a16:creationId xmlns:a16="http://schemas.microsoft.com/office/drawing/2014/main" id="{92B15D07-FA53-3A46-830A-C997543711F4}"/>
              </a:ext>
            </a:extLst>
          </p:cNvPr>
          <p:cNvSpPr/>
          <p:nvPr/>
        </p:nvSpPr>
        <p:spPr>
          <a:xfrm>
            <a:off x="5641085" y="10148651"/>
            <a:ext cx="819106" cy="819106"/>
          </a:xfrm>
          <a:custGeom>
            <a:avLst/>
            <a:gdLst/>
            <a:ahLst/>
            <a:cxnLst>
              <a:cxn ang="3cd4">
                <a:pos x="hc" y="t"/>
              </a:cxn>
              <a:cxn ang="cd2">
                <a:pos x="l" y="vc"/>
              </a:cxn>
              <a:cxn ang="cd4">
                <a:pos x="hc" y="b"/>
              </a:cxn>
              <a:cxn ang="0">
                <a:pos x="r" y="vc"/>
              </a:cxn>
            </a:cxnLst>
            <a:rect l="l" t="t" r="r" b="b"/>
            <a:pathLst>
              <a:path w="4051" h="4051">
                <a:moveTo>
                  <a:pt x="111" y="3924"/>
                </a:moveTo>
                <a:cubicBezTo>
                  <a:pt x="206" y="4019"/>
                  <a:pt x="318" y="4051"/>
                  <a:pt x="461" y="4051"/>
                </a:cubicBezTo>
                <a:cubicBezTo>
                  <a:pt x="652" y="4051"/>
                  <a:pt x="906" y="3988"/>
                  <a:pt x="1193" y="3845"/>
                </a:cubicBezTo>
                <a:cubicBezTo>
                  <a:pt x="1447" y="3701"/>
                  <a:pt x="1733" y="3527"/>
                  <a:pt x="2020" y="3304"/>
                </a:cubicBezTo>
                <a:cubicBezTo>
                  <a:pt x="2306" y="3527"/>
                  <a:pt x="2592" y="3701"/>
                  <a:pt x="2862" y="3845"/>
                </a:cubicBezTo>
                <a:cubicBezTo>
                  <a:pt x="3133" y="3988"/>
                  <a:pt x="3387" y="4051"/>
                  <a:pt x="3578" y="4051"/>
                </a:cubicBezTo>
                <a:cubicBezTo>
                  <a:pt x="3722" y="4051"/>
                  <a:pt x="3849" y="4019"/>
                  <a:pt x="3928" y="3924"/>
                </a:cubicBezTo>
                <a:cubicBezTo>
                  <a:pt x="4119" y="3733"/>
                  <a:pt x="4087" y="3367"/>
                  <a:pt x="3833" y="2858"/>
                </a:cubicBezTo>
                <a:cubicBezTo>
                  <a:pt x="3705" y="2604"/>
                  <a:pt x="3514" y="2318"/>
                  <a:pt x="3292" y="2031"/>
                </a:cubicBezTo>
                <a:cubicBezTo>
                  <a:pt x="3514" y="1745"/>
                  <a:pt x="3705" y="1459"/>
                  <a:pt x="3833" y="1189"/>
                </a:cubicBezTo>
                <a:cubicBezTo>
                  <a:pt x="4087" y="695"/>
                  <a:pt x="4119" y="314"/>
                  <a:pt x="3928" y="123"/>
                </a:cubicBezTo>
                <a:cubicBezTo>
                  <a:pt x="3737" y="-68"/>
                  <a:pt x="3356" y="-36"/>
                  <a:pt x="2862" y="218"/>
                </a:cubicBezTo>
                <a:cubicBezTo>
                  <a:pt x="2592" y="346"/>
                  <a:pt x="2306" y="537"/>
                  <a:pt x="2020" y="759"/>
                </a:cubicBezTo>
                <a:cubicBezTo>
                  <a:pt x="1733" y="537"/>
                  <a:pt x="1447" y="346"/>
                  <a:pt x="1193" y="218"/>
                </a:cubicBezTo>
                <a:cubicBezTo>
                  <a:pt x="684" y="-36"/>
                  <a:pt x="302" y="-68"/>
                  <a:pt x="111" y="123"/>
                </a:cubicBezTo>
                <a:cubicBezTo>
                  <a:pt x="-64" y="314"/>
                  <a:pt x="-32" y="695"/>
                  <a:pt x="206" y="1189"/>
                </a:cubicBezTo>
                <a:cubicBezTo>
                  <a:pt x="333" y="1459"/>
                  <a:pt x="524" y="1745"/>
                  <a:pt x="747" y="2031"/>
                </a:cubicBezTo>
                <a:cubicBezTo>
                  <a:pt x="524" y="2318"/>
                  <a:pt x="333" y="2604"/>
                  <a:pt x="206" y="2858"/>
                </a:cubicBezTo>
                <a:cubicBezTo>
                  <a:pt x="-32" y="3367"/>
                  <a:pt x="-64" y="3733"/>
                  <a:pt x="111" y="3924"/>
                </a:cubicBezTo>
                <a:close/>
                <a:moveTo>
                  <a:pt x="3690" y="2938"/>
                </a:moveTo>
                <a:cubicBezTo>
                  <a:pt x="3912" y="3352"/>
                  <a:pt x="3944" y="3685"/>
                  <a:pt x="3817" y="3813"/>
                </a:cubicBezTo>
                <a:cubicBezTo>
                  <a:pt x="3674" y="3956"/>
                  <a:pt x="3356" y="3908"/>
                  <a:pt x="2926" y="3701"/>
                </a:cubicBezTo>
                <a:cubicBezTo>
                  <a:pt x="2687" y="3574"/>
                  <a:pt x="2417" y="3399"/>
                  <a:pt x="2147" y="3192"/>
                </a:cubicBezTo>
                <a:cubicBezTo>
                  <a:pt x="2338" y="3049"/>
                  <a:pt x="2513" y="2874"/>
                  <a:pt x="2687" y="2700"/>
                </a:cubicBezTo>
                <a:cubicBezTo>
                  <a:pt x="2878" y="2525"/>
                  <a:pt x="3038" y="2334"/>
                  <a:pt x="3196" y="2159"/>
                </a:cubicBezTo>
                <a:cubicBezTo>
                  <a:pt x="3404" y="2429"/>
                  <a:pt x="3562" y="2683"/>
                  <a:pt x="3690" y="2938"/>
                </a:cubicBezTo>
                <a:close/>
                <a:moveTo>
                  <a:pt x="2020" y="3097"/>
                </a:moveTo>
                <a:cubicBezTo>
                  <a:pt x="1829" y="2938"/>
                  <a:pt x="1638" y="2763"/>
                  <a:pt x="1463" y="2588"/>
                </a:cubicBezTo>
                <a:cubicBezTo>
                  <a:pt x="1272" y="2397"/>
                  <a:pt x="1113" y="2222"/>
                  <a:pt x="954" y="2031"/>
                </a:cubicBezTo>
                <a:cubicBezTo>
                  <a:pt x="1113" y="1840"/>
                  <a:pt x="1272" y="1650"/>
                  <a:pt x="1463" y="1475"/>
                </a:cubicBezTo>
                <a:cubicBezTo>
                  <a:pt x="1638" y="1284"/>
                  <a:pt x="1829" y="1109"/>
                  <a:pt x="2020" y="966"/>
                </a:cubicBezTo>
                <a:cubicBezTo>
                  <a:pt x="2211" y="1109"/>
                  <a:pt x="2401" y="1284"/>
                  <a:pt x="2576" y="1475"/>
                </a:cubicBezTo>
                <a:cubicBezTo>
                  <a:pt x="2767" y="1650"/>
                  <a:pt x="2942" y="1840"/>
                  <a:pt x="3085" y="2031"/>
                </a:cubicBezTo>
                <a:cubicBezTo>
                  <a:pt x="2942" y="2222"/>
                  <a:pt x="2767" y="2397"/>
                  <a:pt x="2576" y="2588"/>
                </a:cubicBezTo>
                <a:cubicBezTo>
                  <a:pt x="2401" y="2763"/>
                  <a:pt x="2211" y="2938"/>
                  <a:pt x="2020" y="3097"/>
                </a:cubicBezTo>
                <a:close/>
                <a:moveTo>
                  <a:pt x="2926" y="361"/>
                </a:moveTo>
                <a:cubicBezTo>
                  <a:pt x="3196" y="234"/>
                  <a:pt x="3419" y="155"/>
                  <a:pt x="3578" y="155"/>
                </a:cubicBezTo>
                <a:cubicBezTo>
                  <a:pt x="3674" y="155"/>
                  <a:pt x="3753" y="186"/>
                  <a:pt x="3817" y="234"/>
                </a:cubicBezTo>
                <a:cubicBezTo>
                  <a:pt x="3944" y="377"/>
                  <a:pt x="3912" y="695"/>
                  <a:pt x="3690" y="1125"/>
                </a:cubicBezTo>
                <a:cubicBezTo>
                  <a:pt x="3562" y="1364"/>
                  <a:pt x="3404" y="1634"/>
                  <a:pt x="3196" y="1904"/>
                </a:cubicBezTo>
                <a:cubicBezTo>
                  <a:pt x="3038" y="1713"/>
                  <a:pt x="2878" y="1538"/>
                  <a:pt x="2687" y="1364"/>
                </a:cubicBezTo>
                <a:cubicBezTo>
                  <a:pt x="2513" y="1173"/>
                  <a:pt x="2338" y="1013"/>
                  <a:pt x="2147" y="855"/>
                </a:cubicBezTo>
                <a:cubicBezTo>
                  <a:pt x="2417" y="647"/>
                  <a:pt x="2687" y="489"/>
                  <a:pt x="2926" y="361"/>
                </a:cubicBezTo>
                <a:close/>
                <a:moveTo>
                  <a:pt x="350" y="1125"/>
                </a:moveTo>
                <a:cubicBezTo>
                  <a:pt x="143" y="695"/>
                  <a:pt x="95" y="377"/>
                  <a:pt x="238" y="234"/>
                </a:cubicBezTo>
                <a:cubicBezTo>
                  <a:pt x="286" y="186"/>
                  <a:pt x="366" y="155"/>
                  <a:pt x="461" y="155"/>
                </a:cubicBezTo>
                <a:cubicBezTo>
                  <a:pt x="636" y="155"/>
                  <a:pt x="859" y="234"/>
                  <a:pt x="1113" y="361"/>
                </a:cubicBezTo>
                <a:cubicBezTo>
                  <a:pt x="1368" y="489"/>
                  <a:pt x="1622" y="647"/>
                  <a:pt x="1892" y="855"/>
                </a:cubicBezTo>
                <a:cubicBezTo>
                  <a:pt x="1717" y="1013"/>
                  <a:pt x="1526" y="1173"/>
                  <a:pt x="1351" y="1364"/>
                </a:cubicBezTo>
                <a:cubicBezTo>
                  <a:pt x="1177" y="1538"/>
                  <a:pt x="1002" y="1713"/>
                  <a:pt x="859" y="1904"/>
                </a:cubicBezTo>
                <a:cubicBezTo>
                  <a:pt x="652" y="1634"/>
                  <a:pt x="477" y="1364"/>
                  <a:pt x="350" y="1125"/>
                </a:cubicBezTo>
                <a:close/>
                <a:moveTo>
                  <a:pt x="859" y="2159"/>
                </a:moveTo>
                <a:cubicBezTo>
                  <a:pt x="1002" y="2334"/>
                  <a:pt x="1177" y="2525"/>
                  <a:pt x="1351" y="2700"/>
                </a:cubicBezTo>
                <a:cubicBezTo>
                  <a:pt x="1526" y="2874"/>
                  <a:pt x="1717" y="3049"/>
                  <a:pt x="1892" y="3192"/>
                </a:cubicBezTo>
                <a:cubicBezTo>
                  <a:pt x="1622" y="3399"/>
                  <a:pt x="1368" y="3574"/>
                  <a:pt x="1113" y="3701"/>
                </a:cubicBezTo>
                <a:cubicBezTo>
                  <a:pt x="684" y="3908"/>
                  <a:pt x="366" y="3956"/>
                  <a:pt x="238" y="3813"/>
                </a:cubicBezTo>
                <a:cubicBezTo>
                  <a:pt x="95" y="3685"/>
                  <a:pt x="143" y="3352"/>
                  <a:pt x="350" y="2938"/>
                </a:cubicBezTo>
                <a:cubicBezTo>
                  <a:pt x="477" y="2683"/>
                  <a:pt x="652" y="2429"/>
                  <a:pt x="859" y="2159"/>
                </a:cubicBezTo>
                <a:close/>
                <a:moveTo>
                  <a:pt x="2020" y="1729"/>
                </a:moveTo>
                <a:cubicBezTo>
                  <a:pt x="1860" y="1729"/>
                  <a:pt x="1717" y="1856"/>
                  <a:pt x="1717" y="2031"/>
                </a:cubicBezTo>
                <a:cubicBezTo>
                  <a:pt x="1717" y="2191"/>
                  <a:pt x="1860" y="2318"/>
                  <a:pt x="2020" y="2318"/>
                </a:cubicBezTo>
                <a:cubicBezTo>
                  <a:pt x="2178" y="2318"/>
                  <a:pt x="2322" y="2191"/>
                  <a:pt x="2322" y="2031"/>
                </a:cubicBezTo>
                <a:cubicBezTo>
                  <a:pt x="2322" y="1856"/>
                  <a:pt x="2178" y="1729"/>
                  <a:pt x="2020" y="1729"/>
                </a:cubicBezTo>
                <a:close/>
                <a:moveTo>
                  <a:pt x="2020" y="2159"/>
                </a:moveTo>
                <a:cubicBezTo>
                  <a:pt x="1940" y="2159"/>
                  <a:pt x="1877" y="2111"/>
                  <a:pt x="1877" y="2031"/>
                </a:cubicBezTo>
                <a:cubicBezTo>
                  <a:pt x="1877" y="1952"/>
                  <a:pt x="1940" y="1888"/>
                  <a:pt x="2020" y="1888"/>
                </a:cubicBezTo>
                <a:cubicBezTo>
                  <a:pt x="2099" y="1888"/>
                  <a:pt x="2163" y="1952"/>
                  <a:pt x="2163" y="2031"/>
                </a:cubicBezTo>
                <a:cubicBezTo>
                  <a:pt x="2163" y="2111"/>
                  <a:pt x="2099" y="2159"/>
                  <a:pt x="2020" y="2159"/>
                </a:cubicBezTo>
                <a:close/>
              </a:path>
            </a:pathLst>
          </a:custGeom>
          <a:solidFill>
            <a:schemeClr val="bg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6" name="Title 1">
            <a:extLst>
              <a:ext uri="{FF2B5EF4-FFF2-40B4-BE49-F238E27FC236}">
                <a16:creationId xmlns:a16="http://schemas.microsoft.com/office/drawing/2014/main" id="{6D8E20E8-C7BC-9641-AA96-44A6A52580D6}"/>
              </a:ext>
            </a:extLst>
          </p:cNvPr>
          <p:cNvSpPr txBox="1">
            <a:spLocks/>
          </p:cNvSpPr>
          <p:nvPr/>
        </p:nvSpPr>
        <p:spPr>
          <a:xfrm>
            <a:off x="5597685" y="424114"/>
            <a:ext cx="21863051" cy="1939924"/>
          </a:xfrm>
          <a:prstGeom prst="rect">
            <a:avLst/>
          </a:prstGeom>
        </p:spPr>
        <p:txBody>
          <a:bodyPr anchor="ctr" anchorCtr="0"/>
          <a:lstStyle>
            <a:lvl1pPr algn="l" defTabSz="1828709" rtl="0" eaLnBrk="1" latinLnBrk="0" hangingPunct="1">
              <a:lnSpc>
                <a:spcPct val="90000"/>
              </a:lnSpc>
              <a:spcBef>
                <a:spcPct val="0"/>
              </a:spcBef>
              <a:buNone/>
              <a:defRPr sz="7000" kern="1200">
                <a:solidFill>
                  <a:schemeClr val="accent2"/>
                </a:solidFill>
                <a:latin typeface="+mj-lt"/>
                <a:ea typeface="+mj-ea"/>
                <a:cs typeface="+mj-cs"/>
              </a:defRPr>
            </a:lvl1pPr>
          </a:lstStyle>
          <a:p>
            <a:r>
              <a:rPr lang="en-CA" dirty="0"/>
              <a:t>Circle diagram</a:t>
            </a:r>
            <a:endParaRPr lang="en-US" dirty="0"/>
          </a:p>
        </p:txBody>
      </p:sp>
    </p:spTree>
    <p:extLst>
      <p:ext uri="{BB962C8B-B14F-4D97-AF65-F5344CB8AC3E}">
        <p14:creationId xmlns:p14="http://schemas.microsoft.com/office/powerpoint/2010/main" val="5651397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5" descr="A person wearing glasses and looking at the camera&#10;&#10;Description automatically generated">
            <a:extLst>
              <a:ext uri="{FF2B5EF4-FFF2-40B4-BE49-F238E27FC236}">
                <a16:creationId xmlns:a16="http://schemas.microsoft.com/office/drawing/2014/main" id="{0327CBE3-1346-BC4F-BFE7-8B425575DD4E}"/>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0" y="-46038"/>
            <a:ext cx="24382413" cy="13716001"/>
          </a:xfrm>
          <a:prstGeom prst="rect">
            <a:avLst/>
          </a:prstGeom>
        </p:spPr>
      </p:pic>
      <p:sp>
        <p:nvSpPr>
          <p:cNvPr id="3" name="Rectangle 2">
            <a:extLst>
              <a:ext uri="{FF2B5EF4-FFF2-40B4-BE49-F238E27FC236}">
                <a16:creationId xmlns:a16="http://schemas.microsoft.com/office/drawing/2014/main" id="{A050CAD0-51D3-614F-AB59-F1713E0DA52E}"/>
              </a:ext>
            </a:extLst>
          </p:cNvPr>
          <p:cNvSpPr/>
          <p:nvPr/>
        </p:nvSpPr>
        <p:spPr>
          <a:xfrm>
            <a:off x="1902641" y="9653153"/>
            <a:ext cx="9633279" cy="867930"/>
          </a:xfrm>
          <a:prstGeom prst="rect">
            <a:avLst/>
          </a:prstGeom>
        </p:spPr>
        <p:txBody>
          <a:bodyPr wrap="square">
            <a:spAutoFit/>
          </a:bodyPr>
          <a:lstStyle/>
          <a:p>
            <a:pPr algn="r">
              <a:lnSpc>
                <a:spcPct val="90000"/>
              </a:lnSpc>
            </a:pPr>
            <a:r>
              <a:rPr lang="en-US" sz="2800" dirty="0" err="1">
                <a:solidFill>
                  <a:schemeClr val="bg1">
                    <a:lumMod val="65000"/>
                  </a:schemeClr>
                </a:solidFill>
                <a:ea typeface="Roboto" panose="02000000000000000000" pitchFamily="2" charset="0"/>
                <a:cs typeface="Open Sans Light" panose="020B0306030504020204" pitchFamily="34" charset="0"/>
              </a:rPr>
              <a:t>Loremipsum</a:t>
            </a:r>
            <a:r>
              <a:rPr lang="en-US" sz="2800" dirty="0">
                <a:solidFill>
                  <a:schemeClr val="bg1">
                    <a:lumMod val="65000"/>
                  </a:schemeClr>
                </a:solidFill>
                <a:ea typeface="Roboto" panose="02000000000000000000" pitchFamily="2" charset="0"/>
                <a:cs typeface="Open Sans Light" panose="020B0306030504020204" pitchFamily="34" charset="0"/>
              </a:rPr>
              <a:t> </a:t>
            </a:r>
            <a:r>
              <a:rPr lang="en-US" sz="2800" dirty="0" err="1">
                <a:solidFill>
                  <a:schemeClr val="bg1">
                    <a:lumMod val="65000"/>
                  </a:schemeClr>
                </a:solidFill>
                <a:ea typeface="Roboto" panose="02000000000000000000" pitchFamily="2" charset="0"/>
                <a:cs typeface="Open Sans Light" panose="020B0306030504020204" pitchFamily="34" charset="0"/>
              </a:rPr>
              <a:t>Loremipsum</a:t>
            </a:r>
            <a:r>
              <a:rPr lang="en-US" sz="2800" dirty="0">
                <a:solidFill>
                  <a:schemeClr val="bg1">
                    <a:lumMod val="65000"/>
                  </a:schemeClr>
                </a:solidFill>
                <a:ea typeface="Roboto" panose="02000000000000000000" pitchFamily="2" charset="0"/>
                <a:cs typeface="Open Sans Light" panose="020B0306030504020204" pitchFamily="34" charset="0"/>
              </a:rPr>
              <a:t> </a:t>
            </a:r>
            <a:r>
              <a:rPr lang="en-US" sz="2800" dirty="0" err="1">
                <a:solidFill>
                  <a:schemeClr val="bg1">
                    <a:lumMod val="65000"/>
                  </a:schemeClr>
                </a:solidFill>
                <a:ea typeface="Roboto" panose="02000000000000000000" pitchFamily="2" charset="0"/>
                <a:cs typeface="Open Sans Light" panose="020B0306030504020204" pitchFamily="34" charset="0"/>
              </a:rPr>
              <a:t>Loremipsum</a:t>
            </a:r>
            <a:endParaRPr lang="en-US" sz="2800" dirty="0">
              <a:solidFill>
                <a:schemeClr val="bg1">
                  <a:lumMod val="65000"/>
                </a:schemeClr>
              </a:solidFill>
              <a:ea typeface="Roboto" panose="02000000000000000000" pitchFamily="2" charset="0"/>
              <a:cs typeface="Open Sans Light" panose="020B0306030504020204" pitchFamily="34" charset="0"/>
            </a:endParaRPr>
          </a:p>
          <a:p>
            <a:pPr algn="r">
              <a:lnSpc>
                <a:spcPct val="90000"/>
              </a:lnSpc>
            </a:pPr>
            <a:r>
              <a:rPr lang="en-US" sz="2800" dirty="0" err="1">
                <a:solidFill>
                  <a:schemeClr val="bg1">
                    <a:lumMod val="65000"/>
                  </a:schemeClr>
                </a:solidFill>
                <a:ea typeface="Roboto" panose="02000000000000000000" pitchFamily="2" charset="0"/>
                <a:cs typeface="Open Sans Light" panose="020B0306030504020204" pitchFamily="34" charset="0"/>
              </a:rPr>
              <a:t>Loremipsum</a:t>
            </a:r>
            <a:r>
              <a:rPr lang="en-US" sz="2800" dirty="0">
                <a:solidFill>
                  <a:schemeClr val="bg1">
                    <a:lumMod val="65000"/>
                  </a:schemeClr>
                </a:solidFill>
                <a:ea typeface="Roboto" panose="02000000000000000000" pitchFamily="2" charset="0"/>
                <a:cs typeface="Open Sans Light" panose="020B0306030504020204" pitchFamily="34" charset="0"/>
              </a:rPr>
              <a:t> </a:t>
            </a:r>
            <a:r>
              <a:rPr lang="en-US" sz="2800" dirty="0" err="1">
                <a:solidFill>
                  <a:schemeClr val="bg1">
                    <a:lumMod val="65000"/>
                  </a:schemeClr>
                </a:solidFill>
                <a:ea typeface="Roboto" panose="02000000000000000000" pitchFamily="2" charset="0"/>
                <a:cs typeface="Open Sans Light" panose="020B0306030504020204" pitchFamily="34" charset="0"/>
              </a:rPr>
              <a:t>Loremipsum</a:t>
            </a:r>
            <a:r>
              <a:rPr lang="en-US" sz="2800" dirty="0">
                <a:solidFill>
                  <a:schemeClr val="bg1">
                    <a:lumMod val="65000"/>
                  </a:schemeClr>
                </a:solidFill>
                <a:ea typeface="Roboto" panose="02000000000000000000" pitchFamily="2" charset="0"/>
                <a:cs typeface="Open Sans Light" panose="020B0306030504020204" pitchFamily="34" charset="0"/>
              </a:rPr>
              <a:t> </a:t>
            </a:r>
            <a:r>
              <a:rPr lang="en-US" sz="2800" dirty="0" err="1">
                <a:solidFill>
                  <a:schemeClr val="bg1">
                    <a:lumMod val="65000"/>
                  </a:schemeClr>
                </a:solidFill>
                <a:ea typeface="Roboto" panose="02000000000000000000" pitchFamily="2" charset="0"/>
                <a:cs typeface="Open Sans Light" panose="020B0306030504020204" pitchFamily="34" charset="0"/>
              </a:rPr>
              <a:t>Loremipsum</a:t>
            </a:r>
            <a:endParaRPr lang="id-ID" sz="2800" dirty="0">
              <a:solidFill>
                <a:schemeClr val="bg1">
                  <a:lumMod val="65000"/>
                </a:schemeClr>
              </a:solidFill>
              <a:ea typeface="Roboto" panose="02000000000000000000" pitchFamily="2" charset="0"/>
              <a:cs typeface="Open Sans Light" panose="020B0306030504020204" pitchFamily="34" charset="0"/>
            </a:endParaRPr>
          </a:p>
        </p:txBody>
      </p:sp>
      <p:sp>
        <p:nvSpPr>
          <p:cNvPr id="4" name="TextBox 3">
            <a:extLst>
              <a:ext uri="{FF2B5EF4-FFF2-40B4-BE49-F238E27FC236}">
                <a16:creationId xmlns:a16="http://schemas.microsoft.com/office/drawing/2014/main" id="{425BBFB2-9E99-4D4B-B4D3-4094C7B7D5C2}"/>
              </a:ext>
            </a:extLst>
          </p:cNvPr>
          <p:cNvSpPr txBox="1"/>
          <p:nvPr/>
        </p:nvSpPr>
        <p:spPr>
          <a:xfrm>
            <a:off x="2789317" y="7126043"/>
            <a:ext cx="8840259" cy="2800638"/>
          </a:xfrm>
          <a:prstGeom prst="rect">
            <a:avLst/>
          </a:prstGeom>
          <a:noFill/>
        </p:spPr>
        <p:txBody>
          <a:bodyPr wrap="square" rtlCol="0">
            <a:spAutoFit/>
          </a:bodyPr>
          <a:lstStyle/>
          <a:p>
            <a:pPr algn="r"/>
            <a:r>
              <a:rPr lang="en-US" sz="17599" dirty="0">
                <a:solidFill>
                  <a:schemeClr val="bg1"/>
                </a:solidFill>
                <a:latin typeface="Arial Black" panose="020B0A04020102020204" pitchFamily="34" charset="0"/>
              </a:rPr>
              <a:t>TITLE</a:t>
            </a:r>
          </a:p>
        </p:txBody>
      </p:sp>
    </p:spTree>
    <p:extLst>
      <p:ext uri="{BB962C8B-B14F-4D97-AF65-F5344CB8AC3E}">
        <p14:creationId xmlns:p14="http://schemas.microsoft.com/office/powerpoint/2010/main" val="243066936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 y="6553220"/>
            <a:ext cx="24382413" cy="3428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6" name="Rectangle 5"/>
          <p:cNvSpPr/>
          <p:nvPr/>
        </p:nvSpPr>
        <p:spPr>
          <a:xfrm>
            <a:off x="-1" y="6896098"/>
            <a:ext cx="24382413" cy="68194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8" name="TextBox 7"/>
          <p:cNvSpPr txBox="1"/>
          <p:nvPr/>
        </p:nvSpPr>
        <p:spPr>
          <a:xfrm>
            <a:off x="12813467" y="7750534"/>
            <a:ext cx="5930514" cy="1097209"/>
          </a:xfrm>
          <a:prstGeom prst="rect">
            <a:avLst/>
          </a:prstGeom>
          <a:noFill/>
        </p:spPr>
        <p:txBody>
          <a:bodyPr wrap="square" rtlCol="0">
            <a:noAutofit/>
          </a:bodyPr>
          <a:lstStyle/>
          <a:p>
            <a:r>
              <a:rPr lang="id-ID" sz="8000" dirty="0" err="1">
                <a:solidFill>
                  <a:schemeClr val="bg1"/>
                </a:solidFill>
                <a:latin typeface="+mj-lt"/>
              </a:rPr>
              <a:t>Title</a:t>
            </a:r>
            <a:endParaRPr lang="en-US" sz="8000" dirty="0">
              <a:solidFill>
                <a:schemeClr val="bg1"/>
              </a:solidFill>
              <a:latin typeface="+mj-lt"/>
            </a:endParaRPr>
          </a:p>
        </p:txBody>
      </p:sp>
      <p:cxnSp>
        <p:nvCxnSpPr>
          <p:cNvPr id="9" name="Straight Connector 8"/>
          <p:cNvCxnSpPr>
            <a:cxnSpLocks/>
          </p:cNvCxnSpPr>
          <p:nvPr/>
        </p:nvCxnSpPr>
        <p:spPr>
          <a:xfrm>
            <a:off x="12911544" y="9134188"/>
            <a:ext cx="5757487"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2813466" y="9257290"/>
            <a:ext cx="6165449" cy="1200329"/>
          </a:xfrm>
          <a:prstGeom prst="rect">
            <a:avLst/>
          </a:prstGeom>
          <a:noFill/>
        </p:spPr>
        <p:txBody>
          <a:bodyPr wrap="square" rtlCol="0">
            <a:spAutoFit/>
          </a:bodyPr>
          <a:lstStyle/>
          <a:p>
            <a:r>
              <a:rPr lang="en-GB" sz="2400" dirty="0" err="1">
                <a:solidFill>
                  <a:srgbClr val="FBF8EF"/>
                </a:solidFill>
                <a:latin typeface="+mj-lt"/>
                <a:ea typeface="Open Sans Light" panose="020B0306030504020204" pitchFamily="34" charset="0"/>
                <a:cs typeface="Open Sans Light" panose="020B0306030504020204" pitchFamily="34" charset="0"/>
              </a:rPr>
              <a:t>Nobit</a:t>
            </a:r>
            <a:r>
              <a:rPr lang="en-GB" sz="2400" dirty="0">
                <a:solidFill>
                  <a:srgbClr val="FBF8EF"/>
                </a:solidFill>
                <a:latin typeface="+mj-lt"/>
                <a:ea typeface="Open Sans Light" panose="020B0306030504020204" pitchFamily="34" charset="0"/>
                <a:cs typeface="Open Sans Light" panose="020B0306030504020204" pitchFamily="34" charset="0"/>
              </a:rPr>
              <a:t> et </a:t>
            </a:r>
            <a:r>
              <a:rPr lang="en-GB" sz="2400" dirty="0" err="1">
                <a:solidFill>
                  <a:srgbClr val="FBF8EF"/>
                </a:solidFill>
                <a:latin typeface="+mj-lt"/>
                <a:ea typeface="Open Sans Light" panose="020B0306030504020204" pitchFamily="34" charset="0"/>
                <a:cs typeface="Open Sans Light" panose="020B0306030504020204" pitchFamily="34" charset="0"/>
              </a:rPr>
              <a:t>reiunt</a:t>
            </a:r>
            <a:r>
              <a:rPr lang="en-GB" sz="2400" dirty="0">
                <a:solidFill>
                  <a:srgbClr val="FBF8EF"/>
                </a:solidFill>
                <a:latin typeface="+mj-lt"/>
                <a:ea typeface="Open Sans Light" panose="020B0306030504020204" pitchFamily="34" charset="0"/>
                <a:cs typeface="Open Sans Light" panose="020B0306030504020204" pitchFamily="34" charset="0"/>
              </a:rPr>
              <a:t>, </a:t>
            </a:r>
            <a:r>
              <a:rPr lang="en-GB" sz="2400" dirty="0" err="1">
                <a:solidFill>
                  <a:srgbClr val="FBF8EF"/>
                </a:solidFill>
                <a:latin typeface="+mj-lt"/>
                <a:ea typeface="Open Sans Light" panose="020B0306030504020204" pitchFamily="34" charset="0"/>
                <a:cs typeface="Open Sans Light" panose="020B0306030504020204" pitchFamily="34" charset="0"/>
              </a:rPr>
              <a:t>volo</a:t>
            </a:r>
            <a:r>
              <a:rPr lang="en-GB" sz="2400" dirty="0">
                <a:solidFill>
                  <a:srgbClr val="FBF8EF"/>
                </a:solidFill>
                <a:latin typeface="+mj-lt"/>
                <a:ea typeface="Open Sans Light" panose="020B0306030504020204" pitchFamily="34" charset="0"/>
                <a:cs typeface="Open Sans Light" panose="020B0306030504020204" pitchFamily="34" charset="0"/>
              </a:rPr>
              <a:t> </a:t>
            </a:r>
            <a:r>
              <a:rPr lang="en-GB" sz="2400" dirty="0" err="1">
                <a:solidFill>
                  <a:srgbClr val="FBF8EF"/>
                </a:solidFill>
                <a:latin typeface="+mj-lt"/>
                <a:ea typeface="Open Sans Light" panose="020B0306030504020204" pitchFamily="34" charset="0"/>
                <a:cs typeface="Open Sans Light" panose="020B0306030504020204" pitchFamily="34" charset="0"/>
              </a:rPr>
              <a:t>consequae</a:t>
            </a:r>
            <a:r>
              <a:rPr lang="en-GB" sz="2400" dirty="0">
                <a:solidFill>
                  <a:srgbClr val="FBF8EF"/>
                </a:solidFill>
                <a:latin typeface="+mj-lt"/>
                <a:ea typeface="Open Sans Light" panose="020B0306030504020204" pitchFamily="34" charset="0"/>
                <a:cs typeface="Open Sans Light" panose="020B0306030504020204" pitchFamily="34" charset="0"/>
              </a:rPr>
              <a:t> </a:t>
            </a:r>
            <a:r>
              <a:rPr lang="en-GB" sz="2400" dirty="0" err="1">
                <a:solidFill>
                  <a:srgbClr val="FBF8EF"/>
                </a:solidFill>
                <a:latin typeface="+mj-lt"/>
                <a:ea typeface="Open Sans Light" panose="020B0306030504020204" pitchFamily="34" charset="0"/>
                <a:cs typeface="Open Sans Light" panose="020B0306030504020204" pitchFamily="34" charset="0"/>
              </a:rPr>
              <a:t>eossequia</a:t>
            </a:r>
            <a:r>
              <a:rPr lang="en-GB" sz="2400" dirty="0">
                <a:solidFill>
                  <a:srgbClr val="FBF8EF"/>
                </a:solidFill>
                <a:latin typeface="+mj-lt"/>
                <a:ea typeface="Open Sans Light" panose="020B0306030504020204" pitchFamily="34" charset="0"/>
                <a:cs typeface="Open Sans Light" panose="020B0306030504020204" pitchFamily="34" charset="0"/>
              </a:rPr>
              <a:t> </a:t>
            </a:r>
            <a:r>
              <a:rPr lang="en-GB" sz="2400" dirty="0" err="1">
                <a:solidFill>
                  <a:srgbClr val="FBF8EF"/>
                </a:solidFill>
                <a:latin typeface="+mj-lt"/>
                <a:ea typeface="Open Sans Light" panose="020B0306030504020204" pitchFamily="34" charset="0"/>
                <a:cs typeface="Open Sans Light" panose="020B0306030504020204" pitchFamily="34" charset="0"/>
              </a:rPr>
              <a:t>ipsusap</a:t>
            </a:r>
            <a:r>
              <a:rPr lang="en-GB" sz="2400" dirty="0">
                <a:solidFill>
                  <a:srgbClr val="FBF8EF"/>
                </a:solidFill>
                <a:latin typeface="+mj-lt"/>
                <a:ea typeface="Open Sans Light" panose="020B0306030504020204" pitchFamily="34" charset="0"/>
                <a:cs typeface="Open Sans Light" panose="020B0306030504020204" pitchFamily="34" charset="0"/>
              </a:rPr>
              <a:t> </a:t>
            </a:r>
            <a:r>
              <a:rPr lang="en-GB" sz="2400" dirty="0" err="1">
                <a:solidFill>
                  <a:srgbClr val="FBF8EF"/>
                </a:solidFill>
                <a:latin typeface="+mj-lt"/>
                <a:ea typeface="Open Sans Light" panose="020B0306030504020204" pitchFamily="34" charset="0"/>
                <a:cs typeface="Open Sans Light" panose="020B0306030504020204" pitchFamily="34" charset="0"/>
              </a:rPr>
              <a:t>editatu</a:t>
            </a:r>
            <a:r>
              <a:rPr lang="en-GB" sz="2400" dirty="0">
                <a:solidFill>
                  <a:srgbClr val="FBF8EF"/>
                </a:solidFill>
                <a:latin typeface="+mj-lt"/>
                <a:ea typeface="Open Sans Light" panose="020B0306030504020204" pitchFamily="34" charset="0"/>
                <a:cs typeface="Open Sans Light" panose="020B0306030504020204" pitchFamily="34" charset="0"/>
              </a:rPr>
              <a:t> </a:t>
            </a:r>
            <a:r>
              <a:rPr lang="en-GB" sz="2400" dirty="0" err="1">
                <a:solidFill>
                  <a:srgbClr val="FBF8EF"/>
                </a:solidFill>
                <a:latin typeface="+mj-lt"/>
                <a:ea typeface="Open Sans Light" panose="020B0306030504020204" pitchFamily="34" charset="0"/>
                <a:cs typeface="Open Sans Light" panose="020B0306030504020204" pitchFamily="34" charset="0"/>
              </a:rPr>
              <a:t>saeofficaeapidevoluptam</a:t>
            </a:r>
            <a:r>
              <a:rPr lang="en-GB" sz="2400" dirty="0">
                <a:solidFill>
                  <a:srgbClr val="FBF8EF"/>
                </a:solidFill>
                <a:latin typeface="+mj-lt"/>
                <a:ea typeface="Open Sans Light" panose="020B0306030504020204" pitchFamily="34" charset="0"/>
                <a:cs typeface="Open Sans Light" panose="020B0306030504020204" pitchFamily="34" charset="0"/>
              </a:rPr>
              <a:t> </a:t>
            </a:r>
            <a:r>
              <a:rPr lang="en-GB" sz="2400" dirty="0" err="1">
                <a:solidFill>
                  <a:srgbClr val="FBF8EF"/>
                </a:solidFill>
                <a:latin typeface="+mj-lt"/>
                <a:ea typeface="Open Sans Light" panose="020B0306030504020204" pitchFamily="34" charset="0"/>
                <a:cs typeface="Open Sans Light" panose="020B0306030504020204" pitchFamily="34" charset="0"/>
              </a:rPr>
              <a:t>reheniatin</a:t>
            </a:r>
            <a:r>
              <a:rPr lang="en-GB" sz="2400" dirty="0">
                <a:solidFill>
                  <a:srgbClr val="FBF8EF"/>
                </a:solidFill>
                <a:latin typeface="+mj-lt"/>
                <a:ea typeface="Open Sans Light" panose="020B0306030504020204" pitchFamily="34" charset="0"/>
                <a:cs typeface="Open Sans Light" panose="020B0306030504020204" pitchFamily="34" charset="0"/>
              </a:rPr>
              <a:t> </a:t>
            </a:r>
            <a:r>
              <a:rPr lang="en-GB" sz="2400" dirty="0" err="1">
                <a:solidFill>
                  <a:srgbClr val="FBF8EF"/>
                </a:solidFill>
                <a:latin typeface="+mj-lt"/>
                <a:ea typeface="Open Sans Light" panose="020B0306030504020204" pitchFamily="34" charset="0"/>
                <a:cs typeface="Open Sans Light" panose="020B0306030504020204" pitchFamily="34" charset="0"/>
              </a:rPr>
              <a:t>reribus</a:t>
            </a:r>
            <a:r>
              <a:rPr lang="en-GB" sz="2400" dirty="0">
                <a:solidFill>
                  <a:srgbClr val="FBF8EF"/>
                </a:solidFill>
                <a:latin typeface="+mj-lt"/>
                <a:ea typeface="Open Sans Light" panose="020B0306030504020204" pitchFamily="34" charset="0"/>
                <a:cs typeface="Open Sans Light" panose="020B0306030504020204" pitchFamily="34" charset="0"/>
              </a:rPr>
              <a:t> </a:t>
            </a:r>
            <a:r>
              <a:rPr lang="en-GB" sz="2400" dirty="0" err="1">
                <a:solidFill>
                  <a:srgbClr val="FBF8EF"/>
                </a:solidFill>
                <a:latin typeface="+mj-lt"/>
                <a:ea typeface="Open Sans Light" panose="020B0306030504020204" pitchFamily="34" charset="0"/>
                <a:cs typeface="Open Sans Light" panose="020B0306030504020204" pitchFamily="34" charset="0"/>
              </a:rPr>
              <a:t>elab</a:t>
            </a:r>
            <a:r>
              <a:rPr lang="en-GB" sz="2400" dirty="0">
                <a:solidFill>
                  <a:srgbClr val="FBF8EF"/>
                </a:solidFill>
                <a:latin typeface="+mj-lt"/>
                <a:ea typeface="Open Sans Light" panose="020B0306030504020204" pitchFamily="34" charset="0"/>
                <a:cs typeface="Open Sans Light" panose="020B0306030504020204" pitchFamily="34" charset="0"/>
              </a:rPr>
              <a:t> </a:t>
            </a:r>
            <a:r>
              <a:rPr lang="en-GB" sz="2400" dirty="0" err="1">
                <a:solidFill>
                  <a:srgbClr val="FBF8EF"/>
                </a:solidFill>
                <a:latin typeface="+mj-lt"/>
                <a:ea typeface="Open Sans Light" panose="020B0306030504020204" pitchFamily="34" charset="0"/>
                <a:cs typeface="Open Sans Light" panose="020B0306030504020204" pitchFamily="34" charset="0"/>
              </a:rPr>
              <a:t>ilcus</a:t>
            </a:r>
            <a:r>
              <a:rPr lang="en-GB" sz="2400" dirty="0">
                <a:solidFill>
                  <a:srgbClr val="FBF8EF"/>
                </a:solidFill>
                <a:latin typeface="+mj-lt"/>
                <a:ea typeface="Open Sans Light" panose="020B0306030504020204" pitchFamily="34" charset="0"/>
                <a:cs typeface="Open Sans Light" panose="020B0306030504020204" pitchFamily="34" charset="0"/>
              </a:rPr>
              <a:t> </a:t>
            </a:r>
            <a:r>
              <a:rPr lang="en-GB" sz="2400" dirty="0" err="1">
                <a:solidFill>
                  <a:srgbClr val="FBF8EF"/>
                </a:solidFill>
                <a:latin typeface="+mj-lt"/>
                <a:ea typeface="Open Sans Light" panose="020B0306030504020204" pitchFamily="34" charset="0"/>
                <a:cs typeface="Open Sans Light" panose="020B0306030504020204" pitchFamily="34" charset="0"/>
              </a:rPr>
              <a:t>apita</a:t>
            </a:r>
            <a:endParaRPr lang="en-GB" sz="2400" dirty="0">
              <a:solidFill>
                <a:srgbClr val="FBF8EF"/>
              </a:solidFill>
              <a:latin typeface="+mj-lt"/>
              <a:ea typeface="Open Sans Light" panose="020B0306030504020204" pitchFamily="34" charset="0"/>
              <a:cs typeface="Open Sans Light" panose="020B0306030504020204" pitchFamily="34" charset="0"/>
            </a:endParaRPr>
          </a:p>
        </p:txBody>
      </p:sp>
      <p:pic>
        <p:nvPicPr>
          <p:cNvPr id="17" name="Picture Placeholder 16" descr="A person smiling at the camera&#10;&#10;Description automatically generated">
            <a:extLst>
              <a:ext uri="{FF2B5EF4-FFF2-40B4-BE49-F238E27FC236}">
                <a16:creationId xmlns:a16="http://schemas.microsoft.com/office/drawing/2014/main" id="{EC304476-3F8B-6946-B165-ED32166BF8D6}"/>
              </a:ext>
            </a:extLst>
          </p:cNvPr>
          <p:cNvPicPr>
            <a:picLocks noGrp="1" noChangeAspect="1"/>
          </p:cNvPicPr>
          <p:nvPr>
            <p:ph type="pic" sz="quarter" idx="10"/>
          </p:nvPr>
        </p:nvPicPr>
        <p:blipFill>
          <a:blip r:embed="rId2"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2183213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721485-CB62-114B-BBAC-FA4041C2B1E5}"/>
              </a:ext>
            </a:extLst>
          </p:cNvPr>
          <p:cNvSpPr/>
          <p:nvPr/>
        </p:nvSpPr>
        <p:spPr>
          <a:xfrm>
            <a:off x="-1" y="5257800"/>
            <a:ext cx="24382413" cy="38290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2E763C9-B9AA-F94E-AA64-6CF82CFDA946}"/>
              </a:ext>
            </a:extLst>
          </p:cNvPr>
          <p:cNvSpPr>
            <a:spLocks noGrp="1"/>
          </p:cNvSpPr>
          <p:nvPr>
            <p:ph type="title"/>
          </p:nvPr>
        </p:nvSpPr>
        <p:spPr/>
        <p:txBody>
          <a:bodyPr/>
          <a:lstStyle/>
          <a:p>
            <a:r>
              <a:rPr lang="en-US" dirty="0"/>
              <a:t>Intro slide</a:t>
            </a:r>
          </a:p>
        </p:txBody>
      </p:sp>
      <p:sp>
        <p:nvSpPr>
          <p:cNvPr id="3" name="Content Placeholder 2">
            <a:extLst>
              <a:ext uri="{FF2B5EF4-FFF2-40B4-BE49-F238E27FC236}">
                <a16:creationId xmlns:a16="http://schemas.microsoft.com/office/drawing/2014/main" id="{C5B78392-E7A6-664E-8601-5E0522836ED8}"/>
              </a:ext>
            </a:extLst>
          </p:cNvPr>
          <p:cNvSpPr>
            <a:spLocks noGrp="1"/>
          </p:cNvSpPr>
          <p:nvPr>
            <p:ph idx="4294967295"/>
          </p:nvPr>
        </p:nvSpPr>
        <p:spPr>
          <a:xfrm>
            <a:off x="12188825" y="5847555"/>
            <a:ext cx="7192874" cy="2528887"/>
          </a:xfrm>
        </p:spPr>
        <p:txBody>
          <a:bodyPr anchor="t" anchorCtr="0">
            <a:noAutofit/>
          </a:bodyPr>
          <a:lstStyle/>
          <a:p>
            <a:pPr marL="0" indent="0">
              <a:spcBef>
                <a:spcPts val="0"/>
              </a:spcBef>
              <a:buNone/>
            </a:pPr>
            <a:r>
              <a:rPr lang="en-US" sz="4800" b="1" dirty="0">
                <a:solidFill>
                  <a:schemeClr val="bg1"/>
                </a:solidFill>
              </a:rPr>
              <a:t>Name</a:t>
            </a:r>
          </a:p>
          <a:p>
            <a:pPr marL="0" indent="0">
              <a:spcBef>
                <a:spcPts val="0"/>
              </a:spcBef>
              <a:buNone/>
            </a:pPr>
            <a:r>
              <a:rPr lang="en-US" sz="4800" dirty="0">
                <a:solidFill>
                  <a:schemeClr val="bg1"/>
                </a:solidFill>
              </a:rPr>
              <a:t>Title</a:t>
            </a:r>
          </a:p>
          <a:p>
            <a:pPr marL="0" indent="0">
              <a:spcBef>
                <a:spcPts val="0"/>
              </a:spcBef>
              <a:buNone/>
            </a:pPr>
            <a:r>
              <a:rPr lang="en-US" sz="4800" dirty="0">
                <a:solidFill>
                  <a:schemeClr val="bg1"/>
                </a:solidFill>
              </a:rPr>
              <a:t>Company</a:t>
            </a:r>
          </a:p>
          <a:p>
            <a:pPr marL="0" indent="0">
              <a:buNone/>
            </a:pPr>
            <a:endParaRPr lang="en-US" sz="4800" dirty="0">
              <a:solidFill>
                <a:schemeClr val="bg1"/>
              </a:solidFill>
            </a:endParaRPr>
          </a:p>
          <a:p>
            <a:pPr marL="0" indent="0">
              <a:buNone/>
            </a:pPr>
            <a:endParaRPr lang="en-US" sz="4800" dirty="0">
              <a:solidFill>
                <a:schemeClr val="bg1"/>
              </a:solidFill>
            </a:endParaRPr>
          </a:p>
          <a:p>
            <a:pPr marL="0" indent="0">
              <a:buNone/>
            </a:pPr>
            <a:endParaRPr lang="en-US" sz="4800" dirty="0">
              <a:solidFill>
                <a:schemeClr val="bg1"/>
              </a:solidFill>
            </a:endParaRPr>
          </a:p>
          <a:p>
            <a:pPr marL="0" indent="0">
              <a:buNone/>
            </a:pPr>
            <a:endParaRPr lang="en-US" sz="4800" dirty="0">
              <a:solidFill>
                <a:schemeClr val="bg1"/>
              </a:solidFill>
            </a:endParaRPr>
          </a:p>
          <a:p>
            <a:pPr marL="0" indent="0">
              <a:buNone/>
            </a:pPr>
            <a:endParaRPr lang="en-US" sz="4800" dirty="0">
              <a:solidFill>
                <a:schemeClr val="bg1"/>
              </a:solidFill>
            </a:endParaRPr>
          </a:p>
        </p:txBody>
      </p:sp>
      <p:pic>
        <p:nvPicPr>
          <p:cNvPr id="6" name="Picture Placeholder 13">
            <a:extLst>
              <a:ext uri="{FF2B5EF4-FFF2-40B4-BE49-F238E27FC236}">
                <a16:creationId xmlns:a16="http://schemas.microsoft.com/office/drawing/2014/main" id="{2C7FE77C-16B8-4F4E-8682-DFCCF903CC9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805890" y="4254018"/>
            <a:ext cx="8577044" cy="5715959"/>
          </a:xfrm>
          <a:prstGeom prst="ellipse">
            <a:avLst/>
          </a:prstGeom>
          <a:ln w="177800">
            <a:solidFill>
              <a:schemeClr val="bg1"/>
            </a:solidFill>
          </a:ln>
        </p:spPr>
      </p:pic>
    </p:spTree>
    <p:extLst>
      <p:ext uri="{BB962C8B-B14F-4D97-AF65-F5344CB8AC3E}">
        <p14:creationId xmlns:p14="http://schemas.microsoft.com/office/powerpoint/2010/main" val="386053870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EA655ED-800E-4640-BEA2-ED8E8B58E44A}"/>
              </a:ext>
            </a:extLst>
          </p:cNvPr>
          <p:cNvSpPr/>
          <p:nvPr/>
        </p:nvSpPr>
        <p:spPr>
          <a:xfrm>
            <a:off x="0" y="5394960"/>
            <a:ext cx="24382413" cy="1717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640B2DE2-18E3-4FEC-8C3B-6DA7DF9FF5D5}"/>
              </a:ext>
            </a:extLst>
          </p:cNvPr>
          <p:cNvSpPr txBox="1"/>
          <p:nvPr/>
        </p:nvSpPr>
        <p:spPr>
          <a:xfrm>
            <a:off x="1257300" y="2880240"/>
            <a:ext cx="21537798" cy="447174"/>
          </a:xfrm>
          <a:prstGeom prst="rect">
            <a:avLst/>
          </a:prstGeom>
          <a:noFill/>
        </p:spPr>
        <p:txBody>
          <a:bodyPr wrap="square" lIns="0" tIns="0" rIns="0" bIns="0" rtlCol="0" anchor="t">
            <a:spAutoFit/>
          </a:bodyPr>
          <a:lstStyle/>
          <a:p>
            <a:pPr>
              <a:lnSpc>
                <a:spcPts val="3800"/>
              </a:lnSpc>
            </a:pPr>
            <a:r>
              <a:rPr lang="en-US" sz="2800" dirty="0">
                <a:cs typeface="Segoe UI" panose="020B0502040204020203" pitchFamily="34" charset="0"/>
              </a:rPr>
              <a:t>Lorem ipsum dolor sit </a:t>
            </a:r>
            <a:r>
              <a:rPr lang="en-US" sz="2800" dirty="0" err="1">
                <a:cs typeface="Segoe UI" panose="020B0502040204020203" pitchFamily="34" charset="0"/>
              </a:rPr>
              <a:t>amet</a:t>
            </a:r>
            <a:r>
              <a:rPr lang="en-US" sz="2800" dirty="0">
                <a:cs typeface="Segoe UI" panose="020B0502040204020203" pitchFamily="34" charset="0"/>
              </a:rPr>
              <a:t>, </a:t>
            </a:r>
            <a:r>
              <a:rPr lang="en-US" sz="2800" dirty="0" err="1">
                <a:cs typeface="Segoe UI" panose="020B0502040204020203" pitchFamily="34" charset="0"/>
              </a:rPr>
              <a:t>consectetur</a:t>
            </a:r>
            <a:r>
              <a:rPr lang="en-US" sz="2800" dirty="0">
                <a:cs typeface="Segoe UI" panose="020B0502040204020203" pitchFamily="34" charset="0"/>
              </a:rPr>
              <a:t> </a:t>
            </a:r>
            <a:r>
              <a:rPr lang="en-US" sz="2800" dirty="0" err="1">
                <a:cs typeface="Segoe UI" panose="020B0502040204020203" pitchFamily="34" charset="0"/>
              </a:rPr>
              <a:t>adipiscing</a:t>
            </a:r>
            <a:r>
              <a:rPr lang="en-US" sz="2800" dirty="0">
                <a:cs typeface="Segoe UI" panose="020B0502040204020203" pitchFamily="34" charset="0"/>
              </a:rPr>
              <a:t> </a:t>
            </a:r>
            <a:r>
              <a:rPr lang="en-US" sz="2800" dirty="0" err="1">
                <a:cs typeface="Segoe UI" panose="020B0502040204020203" pitchFamily="34" charset="0"/>
              </a:rPr>
              <a:t>elit</a:t>
            </a:r>
            <a:r>
              <a:rPr lang="en-US" sz="2800" dirty="0">
                <a:cs typeface="Segoe UI" panose="020B0502040204020203" pitchFamily="34" charset="0"/>
              </a:rPr>
              <a:t>. </a:t>
            </a:r>
            <a:endParaRPr lang="en-US" sz="2800" dirty="0">
              <a:ea typeface="Ebrima" panose="02000000000000000000" pitchFamily="2" charset="0"/>
              <a:cs typeface="Segoe UI" panose="020B0502040204020203" pitchFamily="34" charset="0"/>
            </a:endParaRPr>
          </a:p>
        </p:txBody>
      </p:sp>
      <p:sp>
        <p:nvSpPr>
          <p:cNvPr id="2" name="Title 1">
            <a:extLst>
              <a:ext uri="{FF2B5EF4-FFF2-40B4-BE49-F238E27FC236}">
                <a16:creationId xmlns:a16="http://schemas.microsoft.com/office/drawing/2014/main" id="{945CA41E-29CB-374D-9F4A-8132310B5EA7}"/>
              </a:ext>
            </a:extLst>
          </p:cNvPr>
          <p:cNvSpPr>
            <a:spLocks noGrp="1"/>
          </p:cNvSpPr>
          <p:nvPr>
            <p:ph type="title"/>
          </p:nvPr>
        </p:nvSpPr>
        <p:spPr/>
        <p:txBody>
          <a:bodyPr/>
          <a:lstStyle/>
          <a:p>
            <a:r>
              <a:rPr lang="en-US" dirty="0"/>
              <a:t>Team</a:t>
            </a:r>
          </a:p>
        </p:txBody>
      </p:sp>
      <p:sp>
        <p:nvSpPr>
          <p:cNvPr id="62" name="Rectangle 61">
            <a:extLst>
              <a:ext uri="{FF2B5EF4-FFF2-40B4-BE49-F238E27FC236}">
                <a16:creationId xmlns:a16="http://schemas.microsoft.com/office/drawing/2014/main" id="{203D2516-C67F-490F-AB5A-1D5872D69D84}"/>
              </a:ext>
            </a:extLst>
          </p:cNvPr>
          <p:cNvSpPr/>
          <p:nvPr/>
        </p:nvSpPr>
        <p:spPr>
          <a:xfrm>
            <a:off x="2657755" y="8807957"/>
            <a:ext cx="4894625" cy="487313"/>
          </a:xfrm>
          <a:prstGeom prst="rect">
            <a:avLst/>
          </a:prstGeom>
        </p:spPr>
        <p:txBody>
          <a:bodyPr wrap="square" lIns="0" tIns="0" rIns="0" bIns="0" anchor="t">
            <a:spAutoFit/>
          </a:bodyPr>
          <a:lstStyle/>
          <a:p>
            <a:pPr algn="ctr">
              <a:lnSpc>
                <a:spcPts val="3800"/>
              </a:lnSpc>
            </a:pPr>
            <a:r>
              <a:rPr lang="en-US" sz="3200" b="1" dirty="0">
                <a:latin typeface="+mj-lt"/>
                <a:cs typeface="Segoe UI" panose="020B0502040204020203" pitchFamily="34" charset="0"/>
              </a:rPr>
              <a:t>Insert name</a:t>
            </a:r>
          </a:p>
        </p:txBody>
      </p:sp>
      <p:sp>
        <p:nvSpPr>
          <p:cNvPr id="63" name="Rectangle 62">
            <a:extLst>
              <a:ext uri="{FF2B5EF4-FFF2-40B4-BE49-F238E27FC236}">
                <a16:creationId xmlns:a16="http://schemas.microsoft.com/office/drawing/2014/main" id="{BE8E3723-CA2F-4083-8ADD-2C702ED87A93}"/>
              </a:ext>
            </a:extLst>
          </p:cNvPr>
          <p:cNvSpPr/>
          <p:nvPr/>
        </p:nvSpPr>
        <p:spPr>
          <a:xfrm>
            <a:off x="16830036" y="8807957"/>
            <a:ext cx="4894625" cy="487313"/>
          </a:xfrm>
          <a:prstGeom prst="rect">
            <a:avLst/>
          </a:prstGeom>
        </p:spPr>
        <p:txBody>
          <a:bodyPr wrap="square" lIns="0" tIns="0" rIns="0" bIns="0" anchor="t">
            <a:spAutoFit/>
          </a:bodyPr>
          <a:lstStyle/>
          <a:p>
            <a:pPr algn="ctr">
              <a:lnSpc>
                <a:spcPts val="3800"/>
              </a:lnSpc>
            </a:pPr>
            <a:r>
              <a:rPr lang="en-US" sz="3200" b="1" dirty="0">
                <a:latin typeface="+mj-lt"/>
                <a:cs typeface="Segoe UI" panose="020B0502040204020203" pitchFamily="34" charset="0"/>
              </a:rPr>
              <a:t>Insert name</a:t>
            </a:r>
          </a:p>
        </p:txBody>
      </p:sp>
      <p:sp>
        <p:nvSpPr>
          <p:cNvPr id="64" name="Rectangle 63">
            <a:extLst>
              <a:ext uri="{FF2B5EF4-FFF2-40B4-BE49-F238E27FC236}">
                <a16:creationId xmlns:a16="http://schemas.microsoft.com/office/drawing/2014/main" id="{74C37F1B-48AC-4972-9945-38A9A669930C}"/>
              </a:ext>
            </a:extLst>
          </p:cNvPr>
          <p:cNvSpPr/>
          <p:nvPr/>
        </p:nvSpPr>
        <p:spPr>
          <a:xfrm>
            <a:off x="9743894" y="8807957"/>
            <a:ext cx="4894625" cy="487313"/>
          </a:xfrm>
          <a:prstGeom prst="rect">
            <a:avLst/>
          </a:prstGeom>
        </p:spPr>
        <p:txBody>
          <a:bodyPr wrap="square" lIns="0" tIns="0" rIns="0" bIns="0" anchor="t">
            <a:spAutoFit/>
          </a:bodyPr>
          <a:lstStyle/>
          <a:p>
            <a:pPr algn="ctr">
              <a:lnSpc>
                <a:spcPts val="3800"/>
              </a:lnSpc>
            </a:pPr>
            <a:r>
              <a:rPr lang="en-US" sz="3200" b="1" dirty="0">
                <a:latin typeface="+mj-lt"/>
                <a:cs typeface="Segoe UI" panose="020B0502040204020203" pitchFamily="34" charset="0"/>
              </a:rPr>
              <a:t>Insert name</a:t>
            </a:r>
          </a:p>
        </p:txBody>
      </p:sp>
      <p:sp>
        <p:nvSpPr>
          <p:cNvPr id="65" name="Rectangle 64">
            <a:extLst>
              <a:ext uri="{FF2B5EF4-FFF2-40B4-BE49-F238E27FC236}">
                <a16:creationId xmlns:a16="http://schemas.microsoft.com/office/drawing/2014/main" id="{FD039450-A1D5-4A31-8D2B-0AA42AE596F6}"/>
              </a:ext>
            </a:extLst>
          </p:cNvPr>
          <p:cNvSpPr/>
          <p:nvPr/>
        </p:nvSpPr>
        <p:spPr>
          <a:xfrm>
            <a:off x="2657755" y="9429297"/>
            <a:ext cx="4894625" cy="447238"/>
          </a:xfrm>
          <a:prstGeom prst="rect">
            <a:avLst/>
          </a:prstGeom>
        </p:spPr>
        <p:txBody>
          <a:bodyPr wrap="square" lIns="0" tIns="0" rIns="0" bIns="0" anchor="t">
            <a:spAutoFit/>
          </a:bodyPr>
          <a:lstStyle/>
          <a:p>
            <a:pPr algn="ctr">
              <a:lnSpc>
                <a:spcPts val="3800"/>
              </a:lnSpc>
            </a:pPr>
            <a:r>
              <a:rPr lang="en-US" sz="2800" i="1" dirty="0">
                <a:cs typeface="Segoe UI" panose="020B0502040204020203" pitchFamily="34" charset="0"/>
              </a:rPr>
              <a:t>Secretary</a:t>
            </a:r>
          </a:p>
        </p:txBody>
      </p:sp>
      <p:sp>
        <p:nvSpPr>
          <p:cNvPr id="66" name="Rectangle 65">
            <a:extLst>
              <a:ext uri="{FF2B5EF4-FFF2-40B4-BE49-F238E27FC236}">
                <a16:creationId xmlns:a16="http://schemas.microsoft.com/office/drawing/2014/main" id="{B10E369A-5234-43AA-B495-F9C217D97237}"/>
              </a:ext>
            </a:extLst>
          </p:cNvPr>
          <p:cNvSpPr/>
          <p:nvPr/>
        </p:nvSpPr>
        <p:spPr>
          <a:xfrm>
            <a:off x="9743894" y="9429297"/>
            <a:ext cx="4894625" cy="447238"/>
          </a:xfrm>
          <a:prstGeom prst="rect">
            <a:avLst/>
          </a:prstGeom>
        </p:spPr>
        <p:txBody>
          <a:bodyPr wrap="square" lIns="0" tIns="0" rIns="0" bIns="0" anchor="t">
            <a:spAutoFit/>
          </a:bodyPr>
          <a:lstStyle/>
          <a:p>
            <a:pPr algn="ctr">
              <a:lnSpc>
                <a:spcPts val="3800"/>
              </a:lnSpc>
            </a:pPr>
            <a:r>
              <a:rPr lang="en-US" sz="2800" i="1" dirty="0">
                <a:cs typeface="Segoe UI" panose="020B0502040204020203" pitchFamily="34" charset="0"/>
              </a:rPr>
              <a:t>Head Manager</a:t>
            </a:r>
          </a:p>
        </p:txBody>
      </p:sp>
      <p:sp>
        <p:nvSpPr>
          <p:cNvPr id="67" name="Rectangle 66">
            <a:extLst>
              <a:ext uri="{FF2B5EF4-FFF2-40B4-BE49-F238E27FC236}">
                <a16:creationId xmlns:a16="http://schemas.microsoft.com/office/drawing/2014/main" id="{E52633C4-D5F0-44FC-B07B-344761833404}"/>
              </a:ext>
            </a:extLst>
          </p:cNvPr>
          <p:cNvSpPr/>
          <p:nvPr/>
        </p:nvSpPr>
        <p:spPr>
          <a:xfrm>
            <a:off x="16830032" y="9429297"/>
            <a:ext cx="4894625" cy="447238"/>
          </a:xfrm>
          <a:prstGeom prst="rect">
            <a:avLst/>
          </a:prstGeom>
        </p:spPr>
        <p:txBody>
          <a:bodyPr wrap="square" lIns="0" tIns="0" rIns="0" bIns="0" anchor="t">
            <a:spAutoFit/>
          </a:bodyPr>
          <a:lstStyle/>
          <a:p>
            <a:pPr algn="ctr">
              <a:lnSpc>
                <a:spcPts val="3800"/>
              </a:lnSpc>
            </a:pPr>
            <a:r>
              <a:rPr lang="en-US" sz="2800" i="1" dirty="0">
                <a:cs typeface="Segoe UI" panose="020B0502040204020203" pitchFamily="34" charset="0"/>
              </a:rPr>
              <a:t>Public Relation</a:t>
            </a:r>
          </a:p>
        </p:txBody>
      </p:sp>
      <p:sp>
        <p:nvSpPr>
          <p:cNvPr id="68" name="Rectangle 67">
            <a:extLst>
              <a:ext uri="{FF2B5EF4-FFF2-40B4-BE49-F238E27FC236}">
                <a16:creationId xmlns:a16="http://schemas.microsoft.com/office/drawing/2014/main" id="{6BB396A8-7E28-4FB1-AD1F-628D75BF2B6B}"/>
              </a:ext>
            </a:extLst>
          </p:cNvPr>
          <p:cNvSpPr/>
          <p:nvPr/>
        </p:nvSpPr>
        <p:spPr>
          <a:xfrm>
            <a:off x="2657755" y="10023582"/>
            <a:ext cx="4894625" cy="934487"/>
          </a:xfrm>
          <a:prstGeom prst="rect">
            <a:avLst/>
          </a:prstGeom>
        </p:spPr>
        <p:txBody>
          <a:bodyPr wrap="square" lIns="0" tIns="0" rIns="0" bIns="0" anchor="t">
            <a:spAutoFit/>
          </a:bodyPr>
          <a:lstStyle/>
          <a:p>
            <a:pPr algn="ctr">
              <a:lnSpc>
                <a:spcPts val="3800"/>
              </a:lnSpc>
            </a:pPr>
            <a:r>
              <a:rPr lang="en-US" sz="2800" dirty="0">
                <a:cs typeface="Segoe UI" panose="020B0502040204020203" pitchFamily="34" charset="0"/>
              </a:rPr>
              <a:t>Lorem ipsum dolor sit </a:t>
            </a:r>
            <a:r>
              <a:rPr lang="en-US" sz="2800" dirty="0" err="1">
                <a:cs typeface="Segoe UI" panose="020B0502040204020203" pitchFamily="34" charset="0"/>
              </a:rPr>
              <a:t>amet</a:t>
            </a:r>
            <a:r>
              <a:rPr lang="en-US" sz="2800" dirty="0">
                <a:cs typeface="Segoe UI" panose="020B0502040204020203" pitchFamily="34" charset="0"/>
              </a:rPr>
              <a:t>, </a:t>
            </a:r>
            <a:r>
              <a:rPr lang="en-US" sz="2800" dirty="0" err="1">
                <a:cs typeface="Segoe UI" panose="020B0502040204020203" pitchFamily="34" charset="0"/>
              </a:rPr>
              <a:t>consectetur</a:t>
            </a:r>
            <a:r>
              <a:rPr lang="en-US" sz="2800" dirty="0">
                <a:cs typeface="Segoe UI" panose="020B0502040204020203" pitchFamily="34" charset="0"/>
              </a:rPr>
              <a:t> </a:t>
            </a:r>
            <a:r>
              <a:rPr lang="en-US" sz="2800" dirty="0" err="1">
                <a:cs typeface="Segoe UI" panose="020B0502040204020203" pitchFamily="34" charset="0"/>
              </a:rPr>
              <a:t>adipiscing</a:t>
            </a:r>
            <a:r>
              <a:rPr lang="en-US" sz="2800" dirty="0">
                <a:cs typeface="Segoe UI" panose="020B0502040204020203" pitchFamily="34" charset="0"/>
              </a:rPr>
              <a:t> </a:t>
            </a:r>
            <a:r>
              <a:rPr lang="en-US" sz="2800" dirty="0" err="1">
                <a:cs typeface="Segoe UI" panose="020B0502040204020203" pitchFamily="34" charset="0"/>
              </a:rPr>
              <a:t>elit</a:t>
            </a:r>
            <a:r>
              <a:rPr lang="en-US" sz="2800" dirty="0">
                <a:cs typeface="Segoe UI" panose="020B0502040204020203" pitchFamily="34" charset="0"/>
              </a:rPr>
              <a:t>.</a:t>
            </a:r>
          </a:p>
        </p:txBody>
      </p:sp>
      <p:sp>
        <p:nvSpPr>
          <p:cNvPr id="69" name="Rectangle 68">
            <a:extLst>
              <a:ext uri="{FF2B5EF4-FFF2-40B4-BE49-F238E27FC236}">
                <a16:creationId xmlns:a16="http://schemas.microsoft.com/office/drawing/2014/main" id="{65553426-519B-4151-BAB2-BB3BCB8E882E}"/>
              </a:ext>
            </a:extLst>
          </p:cNvPr>
          <p:cNvSpPr/>
          <p:nvPr/>
        </p:nvSpPr>
        <p:spPr>
          <a:xfrm>
            <a:off x="9743894" y="10023582"/>
            <a:ext cx="4894625" cy="934487"/>
          </a:xfrm>
          <a:prstGeom prst="rect">
            <a:avLst/>
          </a:prstGeom>
        </p:spPr>
        <p:txBody>
          <a:bodyPr wrap="square" lIns="0" tIns="0" rIns="0" bIns="0" anchor="t">
            <a:spAutoFit/>
          </a:bodyPr>
          <a:lstStyle/>
          <a:p>
            <a:pPr algn="ctr">
              <a:lnSpc>
                <a:spcPts val="3800"/>
              </a:lnSpc>
            </a:pPr>
            <a:r>
              <a:rPr lang="en-US" sz="2800" dirty="0">
                <a:cs typeface="Segoe UI" panose="020B0502040204020203" pitchFamily="34" charset="0"/>
              </a:rPr>
              <a:t>Lorem ipsum dolor sit </a:t>
            </a:r>
            <a:r>
              <a:rPr lang="en-US" sz="2800" dirty="0" err="1">
                <a:cs typeface="Segoe UI" panose="020B0502040204020203" pitchFamily="34" charset="0"/>
              </a:rPr>
              <a:t>amet</a:t>
            </a:r>
            <a:r>
              <a:rPr lang="en-US" sz="2800" dirty="0">
                <a:cs typeface="Segoe UI" panose="020B0502040204020203" pitchFamily="34" charset="0"/>
              </a:rPr>
              <a:t>, </a:t>
            </a:r>
            <a:r>
              <a:rPr lang="en-US" sz="2800" dirty="0" err="1">
                <a:cs typeface="Segoe UI" panose="020B0502040204020203" pitchFamily="34" charset="0"/>
              </a:rPr>
              <a:t>consectetur</a:t>
            </a:r>
            <a:r>
              <a:rPr lang="en-US" sz="2800" dirty="0">
                <a:cs typeface="Segoe UI" panose="020B0502040204020203" pitchFamily="34" charset="0"/>
              </a:rPr>
              <a:t> </a:t>
            </a:r>
            <a:r>
              <a:rPr lang="en-US" sz="2800" dirty="0" err="1">
                <a:cs typeface="Segoe UI" panose="020B0502040204020203" pitchFamily="34" charset="0"/>
              </a:rPr>
              <a:t>adipiscing</a:t>
            </a:r>
            <a:r>
              <a:rPr lang="en-US" sz="2800" dirty="0">
                <a:cs typeface="Segoe UI" panose="020B0502040204020203" pitchFamily="34" charset="0"/>
              </a:rPr>
              <a:t> </a:t>
            </a:r>
            <a:r>
              <a:rPr lang="en-US" sz="2800" dirty="0" err="1">
                <a:cs typeface="Segoe UI" panose="020B0502040204020203" pitchFamily="34" charset="0"/>
              </a:rPr>
              <a:t>elit</a:t>
            </a:r>
            <a:r>
              <a:rPr lang="en-US" sz="2800" dirty="0">
                <a:cs typeface="Segoe UI" panose="020B0502040204020203" pitchFamily="34" charset="0"/>
              </a:rPr>
              <a:t>.</a:t>
            </a:r>
          </a:p>
        </p:txBody>
      </p:sp>
      <p:sp>
        <p:nvSpPr>
          <p:cNvPr id="70" name="Rectangle 69">
            <a:extLst>
              <a:ext uri="{FF2B5EF4-FFF2-40B4-BE49-F238E27FC236}">
                <a16:creationId xmlns:a16="http://schemas.microsoft.com/office/drawing/2014/main" id="{DD2783DE-E49F-4457-A84B-006A5C84BF41}"/>
              </a:ext>
            </a:extLst>
          </p:cNvPr>
          <p:cNvSpPr/>
          <p:nvPr/>
        </p:nvSpPr>
        <p:spPr>
          <a:xfrm>
            <a:off x="16830032" y="10023582"/>
            <a:ext cx="4894625" cy="934487"/>
          </a:xfrm>
          <a:prstGeom prst="rect">
            <a:avLst/>
          </a:prstGeom>
        </p:spPr>
        <p:txBody>
          <a:bodyPr wrap="square" lIns="0" tIns="0" rIns="0" bIns="0" anchor="t">
            <a:spAutoFit/>
          </a:bodyPr>
          <a:lstStyle/>
          <a:p>
            <a:pPr algn="ctr">
              <a:lnSpc>
                <a:spcPts val="3800"/>
              </a:lnSpc>
            </a:pPr>
            <a:r>
              <a:rPr lang="en-US" sz="2800" dirty="0">
                <a:cs typeface="Segoe UI" panose="020B0502040204020203" pitchFamily="34" charset="0"/>
              </a:rPr>
              <a:t>Lorem ipsum dolor sit </a:t>
            </a:r>
            <a:r>
              <a:rPr lang="en-US" sz="2800" dirty="0" err="1">
                <a:cs typeface="Segoe UI" panose="020B0502040204020203" pitchFamily="34" charset="0"/>
              </a:rPr>
              <a:t>amet</a:t>
            </a:r>
            <a:r>
              <a:rPr lang="en-US" sz="2800" dirty="0">
                <a:cs typeface="Segoe UI" panose="020B0502040204020203" pitchFamily="34" charset="0"/>
              </a:rPr>
              <a:t>, </a:t>
            </a:r>
            <a:r>
              <a:rPr lang="en-US" sz="2800" dirty="0" err="1">
                <a:cs typeface="Segoe UI" panose="020B0502040204020203" pitchFamily="34" charset="0"/>
              </a:rPr>
              <a:t>consectetur</a:t>
            </a:r>
            <a:r>
              <a:rPr lang="en-US" sz="2800" dirty="0">
                <a:cs typeface="Segoe UI" panose="020B0502040204020203" pitchFamily="34" charset="0"/>
              </a:rPr>
              <a:t> </a:t>
            </a:r>
            <a:r>
              <a:rPr lang="en-US" sz="2800" dirty="0" err="1">
                <a:cs typeface="Segoe UI" panose="020B0502040204020203" pitchFamily="34" charset="0"/>
              </a:rPr>
              <a:t>adipiscing</a:t>
            </a:r>
            <a:r>
              <a:rPr lang="en-US" sz="2800" dirty="0">
                <a:cs typeface="Segoe UI" panose="020B0502040204020203" pitchFamily="34" charset="0"/>
              </a:rPr>
              <a:t> </a:t>
            </a:r>
            <a:r>
              <a:rPr lang="en-US" sz="2800" dirty="0" err="1">
                <a:cs typeface="Segoe UI" panose="020B0502040204020203" pitchFamily="34" charset="0"/>
              </a:rPr>
              <a:t>elit</a:t>
            </a:r>
            <a:r>
              <a:rPr lang="en-US" sz="2800" dirty="0">
                <a:cs typeface="Segoe UI" panose="020B0502040204020203" pitchFamily="34" charset="0"/>
              </a:rPr>
              <a:t>.</a:t>
            </a:r>
          </a:p>
        </p:txBody>
      </p:sp>
      <p:pic>
        <p:nvPicPr>
          <p:cNvPr id="57" name="Picture Placeholder 11">
            <a:extLst>
              <a:ext uri="{FF2B5EF4-FFF2-40B4-BE49-F238E27FC236}">
                <a16:creationId xmlns:a16="http://schemas.microsoft.com/office/drawing/2014/main" id="{5FB70331-6B3A-114F-8EC4-55AFE30146B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9107781" y="4074426"/>
            <a:ext cx="6105706" cy="4055282"/>
          </a:xfrm>
          <a:prstGeom prst="ellipse">
            <a:avLst/>
          </a:prstGeom>
        </p:spPr>
      </p:pic>
      <p:pic>
        <p:nvPicPr>
          <p:cNvPr id="58" name="Picture Placeholder 15">
            <a:extLst>
              <a:ext uri="{FF2B5EF4-FFF2-40B4-BE49-F238E27FC236}">
                <a16:creationId xmlns:a16="http://schemas.microsoft.com/office/drawing/2014/main" id="{598CB46E-8FE3-D546-8ABC-B30650204C3B}"/>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2657755" y="4585199"/>
            <a:ext cx="4770575" cy="3180383"/>
          </a:xfrm>
          <a:prstGeom prst="ellipse">
            <a:avLst/>
          </a:prstGeom>
        </p:spPr>
      </p:pic>
      <p:pic>
        <p:nvPicPr>
          <p:cNvPr id="59" name="Picture Placeholder 13">
            <a:extLst>
              <a:ext uri="{FF2B5EF4-FFF2-40B4-BE49-F238E27FC236}">
                <a16:creationId xmlns:a16="http://schemas.microsoft.com/office/drawing/2014/main" id="{773DF5B4-BD16-8346-B6B5-572F68C4F0F4}"/>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6892939" y="4585199"/>
            <a:ext cx="4768809" cy="3180383"/>
          </a:xfrm>
          <a:prstGeom prst="ellipse">
            <a:avLst/>
          </a:prstGeom>
        </p:spPr>
      </p:pic>
    </p:spTree>
    <p:extLst>
      <p:ext uri="{BB962C8B-B14F-4D97-AF65-F5344CB8AC3E}">
        <p14:creationId xmlns:p14="http://schemas.microsoft.com/office/powerpoint/2010/main" val="416514986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Rounded Corners 104">
            <a:extLst>
              <a:ext uri="{FF2B5EF4-FFF2-40B4-BE49-F238E27FC236}">
                <a16:creationId xmlns:a16="http://schemas.microsoft.com/office/drawing/2014/main" id="{80704783-8D34-4B76-992C-C1D597A0BEBC}"/>
              </a:ext>
            </a:extLst>
          </p:cNvPr>
          <p:cNvSpPr/>
          <p:nvPr/>
        </p:nvSpPr>
        <p:spPr>
          <a:xfrm>
            <a:off x="14434803" y="2860675"/>
            <a:ext cx="4247445" cy="9045009"/>
          </a:xfrm>
          <a:prstGeom prst="roundRect">
            <a:avLst>
              <a:gd name="adj" fmla="val 0"/>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06" name="Rectangle: Rounded Corners 105">
            <a:extLst>
              <a:ext uri="{FF2B5EF4-FFF2-40B4-BE49-F238E27FC236}">
                <a16:creationId xmlns:a16="http://schemas.microsoft.com/office/drawing/2014/main" id="{D43C0384-4898-46D7-99CA-E8B5DF7D3EE9}"/>
              </a:ext>
            </a:extLst>
          </p:cNvPr>
          <p:cNvSpPr/>
          <p:nvPr/>
        </p:nvSpPr>
        <p:spPr>
          <a:xfrm>
            <a:off x="5658543" y="2860675"/>
            <a:ext cx="4247445" cy="9045009"/>
          </a:xfrm>
          <a:prstGeom prst="roundRect">
            <a:avLst>
              <a:gd name="adj" fmla="val 0"/>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04" name="Rectangle: Rounded Corners 103">
            <a:extLst>
              <a:ext uri="{FF2B5EF4-FFF2-40B4-BE49-F238E27FC236}">
                <a16:creationId xmlns:a16="http://schemas.microsoft.com/office/drawing/2014/main" id="{830976E2-CD3D-4EE3-AAC1-D9E2B9A434B9}"/>
              </a:ext>
            </a:extLst>
          </p:cNvPr>
          <p:cNvSpPr/>
          <p:nvPr/>
        </p:nvSpPr>
        <p:spPr>
          <a:xfrm>
            <a:off x="18836226" y="2860675"/>
            <a:ext cx="4247445" cy="9045009"/>
          </a:xfrm>
          <a:prstGeom prst="roundRect">
            <a:avLst>
              <a:gd name="adj" fmla="val 0"/>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03" name="Rectangle: Rounded Corners 102">
            <a:extLst>
              <a:ext uri="{FF2B5EF4-FFF2-40B4-BE49-F238E27FC236}">
                <a16:creationId xmlns:a16="http://schemas.microsoft.com/office/drawing/2014/main" id="{06677D79-ECB4-464D-A2A2-5A845483F93D}"/>
              </a:ext>
            </a:extLst>
          </p:cNvPr>
          <p:cNvSpPr/>
          <p:nvPr/>
        </p:nvSpPr>
        <p:spPr>
          <a:xfrm>
            <a:off x="10046764" y="2860675"/>
            <a:ext cx="4247445" cy="9045009"/>
          </a:xfrm>
          <a:prstGeom prst="roundRect">
            <a:avLst>
              <a:gd name="adj" fmla="val 0"/>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3" name="Title 2">
            <a:extLst>
              <a:ext uri="{FF2B5EF4-FFF2-40B4-BE49-F238E27FC236}">
                <a16:creationId xmlns:a16="http://schemas.microsoft.com/office/drawing/2014/main" id="{83C2014F-063D-8448-A0A2-B3505CBF0BB4}"/>
              </a:ext>
            </a:extLst>
          </p:cNvPr>
          <p:cNvSpPr>
            <a:spLocks noGrp="1"/>
          </p:cNvSpPr>
          <p:nvPr>
            <p:ph type="title"/>
          </p:nvPr>
        </p:nvSpPr>
        <p:spPr/>
        <p:txBody>
          <a:bodyPr/>
          <a:lstStyle/>
          <a:p>
            <a:r>
              <a:rPr lang="en-US" dirty="0"/>
              <a:t>Team</a:t>
            </a:r>
          </a:p>
        </p:txBody>
      </p:sp>
      <p:pic>
        <p:nvPicPr>
          <p:cNvPr id="16" name="Picture Placeholder 15">
            <a:extLst>
              <a:ext uri="{FF2B5EF4-FFF2-40B4-BE49-F238E27FC236}">
                <a16:creationId xmlns:a16="http://schemas.microsoft.com/office/drawing/2014/main" id="{F6B4117C-74E2-44D6-ADE7-CA5EF3F5D747}"/>
              </a:ext>
            </a:extLst>
          </p:cNvPr>
          <p:cNvPicPr>
            <a:picLocks noGrp="1" noChangeAspect="1"/>
          </p:cNvPicPr>
          <p:nvPr>
            <p:ph type="pic" sz="quarter" idx="4294967295"/>
          </p:nvPr>
        </p:nvPicPr>
        <p:blipFill>
          <a:blip r:embed="rId2" cstate="email">
            <a:extLst>
              <a:ext uri="{28A0092B-C50C-407E-A947-70E740481C1C}">
                <a14:useLocalDpi xmlns:a14="http://schemas.microsoft.com/office/drawing/2010/main"/>
              </a:ext>
            </a:extLst>
          </a:blip>
          <a:srcRect/>
          <a:stretch/>
        </p:blipFill>
        <p:spPr>
          <a:xfrm>
            <a:off x="1859403" y="4936417"/>
            <a:ext cx="3024188" cy="2016871"/>
          </a:xfrm>
          <a:effectLst>
            <a:outerShdw blurRad="228600" dist="241300" dir="2700000" algn="tl" rotWithShape="0">
              <a:prstClr val="black">
                <a:alpha val="40000"/>
              </a:prstClr>
            </a:outerShdw>
          </a:effectLst>
        </p:spPr>
      </p:pic>
      <p:pic>
        <p:nvPicPr>
          <p:cNvPr id="18" name="Picture Placeholder 17">
            <a:extLst>
              <a:ext uri="{FF2B5EF4-FFF2-40B4-BE49-F238E27FC236}">
                <a16:creationId xmlns:a16="http://schemas.microsoft.com/office/drawing/2014/main" id="{7D55D587-8063-430F-BF36-D03E9443159A}"/>
              </a:ext>
            </a:extLst>
          </p:cNvPr>
          <p:cNvPicPr>
            <a:picLocks noGrp="1" noChangeAspect="1"/>
          </p:cNvPicPr>
          <p:nvPr>
            <p:ph type="pic" sz="quarter" idx="4294967295"/>
          </p:nvPr>
        </p:nvPicPr>
        <p:blipFill>
          <a:blip r:embed="rId3" cstate="email">
            <a:extLst>
              <a:ext uri="{28A0092B-C50C-407E-A947-70E740481C1C}">
                <a14:useLocalDpi xmlns:a14="http://schemas.microsoft.com/office/drawing/2010/main"/>
              </a:ext>
            </a:extLst>
          </a:blip>
          <a:srcRect/>
          <a:stretch/>
        </p:blipFill>
        <p:spPr>
          <a:xfrm>
            <a:off x="10701463" y="4936417"/>
            <a:ext cx="3024188" cy="2008602"/>
          </a:xfrm>
          <a:effectLst>
            <a:outerShdw blurRad="228600" dist="241300" dir="2700000" algn="tl" rotWithShape="0">
              <a:prstClr val="black">
                <a:alpha val="40000"/>
              </a:prstClr>
            </a:outerShdw>
          </a:effectLst>
        </p:spPr>
      </p:pic>
      <p:pic>
        <p:nvPicPr>
          <p:cNvPr id="20" name="Picture Placeholder 19">
            <a:extLst>
              <a:ext uri="{FF2B5EF4-FFF2-40B4-BE49-F238E27FC236}">
                <a16:creationId xmlns:a16="http://schemas.microsoft.com/office/drawing/2014/main" id="{ABEED17E-00DE-4A40-8D62-D208FD78FF3C}"/>
              </a:ext>
            </a:extLst>
          </p:cNvPr>
          <p:cNvPicPr>
            <a:picLocks noGrp="1" noChangeAspect="1"/>
          </p:cNvPicPr>
          <p:nvPr>
            <p:ph type="pic" sz="quarter" idx="4294967295"/>
          </p:nvPr>
        </p:nvPicPr>
        <p:blipFill>
          <a:blip r:embed="rId4" cstate="email">
            <a:extLst>
              <a:ext uri="{28A0092B-C50C-407E-A947-70E740481C1C}">
                <a14:useLocalDpi xmlns:a14="http://schemas.microsoft.com/office/drawing/2010/main"/>
              </a:ext>
            </a:extLst>
          </a:blip>
          <a:srcRect/>
          <a:stretch/>
        </p:blipFill>
        <p:spPr>
          <a:xfrm>
            <a:off x="19404785" y="4936417"/>
            <a:ext cx="3024188" cy="2016619"/>
          </a:xfrm>
          <a:effectLst>
            <a:outerShdw blurRad="228600" dist="241300" dir="2700000" algn="tl" rotWithShape="0">
              <a:prstClr val="black">
                <a:alpha val="40000"/>
              </a:prstClr>
            </a:outerShdw>
          </a:effectLst>
        </p:spPr>
      </p:pic>
      <p:pic>
        <p:nvPicPr>
          <p:cNvPr id="22" name="Picture Placeholder 21">
            <a:extLst>
              <a:ext uri="{FF2B5EF4-FFF2-40B4-BE49-F238E27FC236}">
                <a16:creationId xmlns:a16="http://schemas.microsoft.com/office/drawing/2014/main" id="{876DA596-E240-4374-A834-34D45F30829F}"/>
              </a:ext>
            </a:extLst>
          </p:cNvPr>
          <p:cNvPicPr>
            <a:picLocks noGrp="1" noChangeAspect="1"/>
          </p:cNvPicPr>
          <p:nvPr>
            <p:ph type="pic" sz="quarter" idx="4294967295"/>
          </p:nvPr>
        </p:nvPicPr>
        <p:blipFill>
          <a:blip r:embed="rId5" cstate="email">
            <a:extLst>
              <a:ext uri="{28A0092B-C50C-407E-A947-70E740481C1C}">
                <a14:useLocalDpi xmlns:a14="http://schemas.microsoft.com/office/drawing/2010/main"/>
              </a:ext>
            </a:extLst>
          </a:blip>
          <a:srcRect/>
          <a:stretch/>
        </p:blipFill>
        <p:spPr>
          <a:xfrm>
            <a:off x="6270169" y="4936417"/>
            <a:ext cx="3024188" cy="2016125"/>
          </a:xfrm>
          <a:effectLst>
            <a:outerShdw blurRad="228600" dist="241300" dir="2700000" algn="tl" rotWithShape="0">
              <a:prstClr val="black">
                <a:alpha val="40000"/>
              </a:prstClr>
            </a:outerShdw>
          </a:effectLst>
        </p:spPr>
      </p:pic>
      <p:pic>
        <p:nvPicPr>
          <p:cNvPr id="24" name="Picture Placeholder 23">
            <a:extLst>
              <a:ext uri="{FF2B5EF4-FFF2-40B4-BE49-F238E27FC236}">
                <a16:creationId xmlns:a16="http://schemas.microsoft.com/office/drawing/2014/main" id="{6FCBA30C-7981-4F74-B304-AFC7672CED9D}"/>
              </a:ext>
            </a:extLst>
          </p:cNvPr>
          <p:cNvPicPr>
            <a:picLocks noGrp="1" noChangeAspect="1"/>
          </p:cNvPicPr>
          <p:nvPr>
            <p:ph type="pic" sz="quarter" idx="4294967295"/>
          </p:nvPr>
        </p:nvPicPr>
        <p:blipFill>
          <a:blip r:embed="rId6" cstate="email">
            <a:extLst>
              <a:ext uri="{28A0092B-C50C-407E-A947-70E740481C1C}">
                <a14:useLocalDpi xmlns:a14="http://schemas.microsoft.com/office/drawing/2010/main"/>
              </a:ext>
            </a:extLst>
          </a:blip>
          <a:srcRect/>
          <a:stretch/>
        </p:blipFill>
        <p:spPr>
          <a:xfrm>
            <a:off x="15063702" y="4936417"/>
            <a:ext cx="3024188" cy="2015395"/>
          </a:xfrm>
          <a:effectLst>
            <a:outerShdw blurRad="228600" dist="241300" dir="2700000" algn="tl" rotWithShape="0">
              <a:prstClr val="black">
                <a:alpha val="40000"/>
              </a:prstClr>
            </a:outerShdw>
          </a:effectLst>
        </p:spPr>
      </p:pic>
      <p:sp>
        <p:nvSpPr>
          <p:cNvPr id="2" name="Rectangle: Rounded Corners 1">
            <a:extLst>
              <a:ext uri="{FF2B5EF4-FFF2-40B4-BE49-F238E27FC236}">
                <a16:creationId xmlns:a16="http://schemas.microsoft.com/office/drawing/2014/main" id="{F3D82DEB-598F-4D32-852C-C24C5B2356BC}"/>
              </a:ext>
            </a:extLst>
          </p:cNvPr>
          <p:cNvSpPr/>
          <p:nvPr/>
        </p:nvSpPr>
        <p:spPr>
          <a:xfrm>
            <a:off x="1257300" y="2860675"/>
            <a:ext cx="4247445" cy="9045009"/>
          </a:xfrm>
          <a:prstGeom prst="roundRect">
            <a:avLst>
              <a:gd name="adj" fmla="val 0"/>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75" name="Rectangle 74">
            <a:extLst>
              <a:ext uri="{FF2B5EF4-FFF2-40B4-BE49-F238E27FC236}">
                <a16:creationId xmlns:a16="http://schemas.microsoft.com/office/drawing/2014/main" id="{42C952D6-5EB7-4E2F-BFAC-C6766D1D45C2}"/>
              </a:ext>
            </a:extLst>
          </p:cNvPr>
          <p:cNvSpPr/>
          <p:nvPr/>
        </p:nvSpPr>
        <p:spPr>
          <a:xfrm>
            <a:off x="1911998" y="3360422"/>
            <a:ext cx="2938045" cy="487313"/>
          </a:xfrm>
          <a:prstGeom prst="rect">
            <a:avLst/>
          </a:prstGeom>
        </p:spPr>
        <p:txBody>
          <a:bodyPr wrap="square" lIns="0" tIns="0" rIns="0" bIns="0" anchor="t">
            <a:spAutoFit/>
          </a:bodyPr>
          <a:lstStyle/>
          <a:p>
            <a:pPr algn="ctr">
              <a:lnSpc>
                <a:spcPts val="3800"/>
              </a:lnSpc>
            </a:pPr>
            <a:r>
              <a:rPr lang="en-US" sz="3200" b="1" dirty="0">
                <a:latin typeface="+mj-lt"/>
                <a:cs typeface="Segoe UI" panose="020B0502040204020203" pitchFamily="34" charset="0"/>
              </a:rPr>
              <a:t>Insert name</a:t>
            </a:r>
          </a:p>
        </p:txBody>
      </p:sp>
      <p:sp>
        <p:nvSpPr>
          <p:cNvPr id="76" name="Rectangle 75">
            <a:extLst>
              <a:ext uri="{FF2B5EF4-FFF2-40B4-BE49-F238E27FC236}">
                <a16:creationId xmlns:a16="http://schemas.microsoft.com/office/drawing/2014/main" id="{CA7F604E-4DF5-4BC8-8DE4-511E821559B9}"/>
              </a:ext>
            </a:extLst>
          </p:cNvPr>
          <p:cNvSpPr/>
          <p:nvPr/>
        </p:nvSpPr>
        <p:spPr>
          <a:xfrm>
            <a:off x="6313241" y="3360422"/>
            <a:ext cx="2938045" cy="487313"/>
          </a:xfrm>
          <a:prstGeom prst="rect">
            <a:avLst/>
          </a:prstGeom>
        </p:spPr>
        <p:txBody>
          <a:bodyPr wrap="square" lIns="0" tIns="0" rIns="0" bIns="0" anchor="t">
            <a:spAutoFit/>
          </a:bodyPr>
          <a:lstStyle/>
          <a:p>
            <a:pPr algn="ctr">
              <a:lnSpc>
                <a:spcPts val="3800"/>
              </a:lnSpc>
            </a:pPr>
            <a:r>
              <a:rPr lang="en-US" sz="3200" b="1" dirty="0">
                <a:latin typeface="+mj-lt"/>
                <a:cs typeface="Segoe UI" panose="020B0502040204020203" pitchFamily="34" charset="0"/>
              </a:rPr>
              <a:t>Insert name</a:t>
            </a:r>
          </a:p>
        </p:txBody>
      </p:sp>
      <p:sp>
        <p:nvSpPr>
          <p:cNvPr id="77" name="Rectangle 76">
            <a:extLst>
              <a:ext uri="{FF2B5EF4-FFF2-40B4-BE49-F238E27FC236}">
                <a16:creationId xmlns:a16="http://schemas.microsoft.com/office/drawing/2014/main" id="{A449AD70-3F78-4FB8-8738-E46955E10BB2}"/>
              </a:ext>
            </a:extLst>
          </p:cNvPr>
          <p:cNvSpPr/>
          <p:nvPr/>
        </p:nvSpPr>
        <p:spPr>
          <a:xfrm>
            <a:off x="10701463" y="3360422"/>
            <a:ext cx="2938045" cy="487313"/>
          </a:xfrm>
          <a:prstGeom prst="rect">
            <a:avLst/>
          </a:prstGeom>
        </p:spPr>
        <p:txBody>
          <a:bodyPr wrap="square" lIns="0" tIns="0" rIns="0" bIns="0" anchor="t">
            <a:spAutoFit/>
          </a:bodyPr>
          <a:lstStyle/>
          <a:p>
            <a:pPr algn="ctr">
              <a:lnSpc>
                <a:spcPts val="3800"/>
              </a:lnSpc>
            </a:pPr>
            <a:r>
              <a:rPr lang="en-US" sz="3200" b="1" dirty="0">
                <a:latin typeface="+mj-lt"/>
                <a:cs typeface="Segoe UI" panose="020B0502040204020203" pitchFamily="34" charset="0"/>
              </a:rPr>
              <a:t>Insert name</a:t>
            </a:r>
          </a:p>
        </p:txBody>
      </p:sp>
      <p:sp>
        <p:nvSpPr>
          <p:cNvPr id="78" name="Rectangle 77">
            <a:extLst>
              <a:ext uri="{FF2B5EF4-FFF2-40B4-BE49-F238E27FC236}">
                <a16:creationId xmlns:a16="http://schemas.microsoft.com/office/drawing/2014/main" id="{71E2B545-C4D4-42B0-91E5-14925BC7B006}"/>
              </a:ext>
            </a:extLst>
          </p:cNvPr>
          <p:cNvSpPr/>
          <p:nvPr/>
        </p:nvSpPr>
        <p:spPr>
          <a:xfrm>
            <a:off x="15089501" y="3360422"/>
            <a:ext cx="2938045" cy="487313"/>
          </a:xfrm>
          <a:prstGeom prst="rect">
            <a:avLst/>
          </a:prstGeom>
        </p:spPr>
        <p:txBody>
          <a:bodyPr wrap="square" lIns="0" tIns="0" rIns="0" bIns="0" anchor="t">
            <a:spAutoFit/>
          </a:bodyPr>
          <a:lstStyle/>
          <a:p>
            <a:pPr algn="ctr">
              <a:lnSpc>
                <a:spcPts val="3800"/>
              </a:lnSpc>
            </a:pPr>
            <a:r>
              <a:rPr lang="en-US" sz="3200" b="1" dirty="0">
                <a:latin typeface="+mj-lt"/>
                <a:cs typeface="Segoe UI" panose="020B0502040204020203" pitchFamily="34" charset="0"/>
              </a:rPr>
              <a:t>Insert name</a:t>
            </a:r>
          </a:p>
        </p:txBody>
      </p:sp>
      <p:sp>
        <p:nvSpPr>
          <p:cNvPr id="79" name="Rectangle 78">
            <a:extLst>
              <a:ext uri="{FF2B5EF4-FFF2-40B4-BE49-F238E27FC236}">
                <a16:creationId xmlns:a16="http://schemas.microsoft.com/office/drawing/2014/main" id="{AB614164-FC69-4841-B415-76B5D629D767}"/>
              </a:ext>
            </a:extLst>
          </p:cNvPr>
          <p:cNvSpPr/>
          <p:nvPr/>
        </p:nvSpPr>
        <p:spPr>
          <a:xfrm>
            <a:off x="19490928" y="3360422"/>
            <a:ext cx="2938045" cy="487313"/>
          </a:xfrm>
          <a:prstGeom prst="rect">
            <a:avLst/>
          </a:prstGeom>
        </p:spPr>
        <p:txBody>
          <a:bodyPr wrap="square" lIns="0" tIns="0" rIns="0" bIns="0" anchor="t">
            <a:spAutoFit/>
          </a:bodyPr>
          <a:lstStyle/>
          <a:p>
            <a:pPr algn="ctr">
              <a:lnSpc>
                <a:spcPts val="3800"/>
              </a:lnSpc>
            </a:pPr>
            <a:r>
              <a:rPr lang="en-US" sz="3200" b="1" dirty="0">
                <a:latin typeface="+mj-lt"/>
                <a:cs typeface="Segoe UI" panose="020B0502040204020203" pitchFamily="34" charset="0"/>
              </a:rPr>
              <a:t>Insert name</a:t>
            </a:r>
          </a:p>
        </p:txBody>
      </p:sp>
      <p:sp>
        <p:nvSpPr>
          <p:cNvPr id="80" name="Rectangle 79">
            <a:extLst>
              <a:ext uri="{FF2B5EF4-FFF2-40B4-BE49-F238E27FC236}">
                <a16:creationId xmlns:a16="http://schemas.microsoft.com/office/drawing/2014/main" id="{91C6E8E2-ECC3-4680-8A51-B6744794FD56}"/>
              </a:ext>
            </a:extLst>
          </p:cNvPr>
          <p:cNvSpPr/>
          <p:nvPr/>
        </p:nvSpPr>
        <p:spPr>
          <a:xfrm>
            <a:off x="1771402" y="8163612"/>
            <a:ext cx="3219238" cy="2872068"/>
          </a:xfrm>
          <a:prstGeom prst="rect">
            <a:avLst/>
          </a:prstGeom>
        </p:spPr>
        <p:txBody>
          <a:bodyPr wrap="square" lIns="0" tIns="0" rIns="0" bIns="0" anchor="t">
            <a:spAutoFit/>
          </a:bodyPr>
          <a:lstStyle/>
          <a:p>
            <a:pPr>
              <a:lnSpc>
                <a:spcPts val="3800"/>
              </a:lnSpc>
            </a:pPr>
            <a:r>
              <a:rPr lang="en-US" sz="2400" dirty="0">
                <a:cs typeface="Segoe UI" panose="020B0502040204020203" pitchFamily="34" charset="0"/>
              </a:rPr>
              <a:t>Lorem ipsum dolor sit </a:t>
            </a:r>
            <a:r>
              <a:rPr lang="en-US" sz="2400" dirty="0" err="1">
                <a:cs typeface="Segoe UI" panose="020B0502040204020203" pitchFamily="34" charset="0"/>
              </a:rPr>
              <a:t>amet</a:t>
            </a:r>
            <a:r>
              <a:rPr lang="en-US" sz="2400" dirty="0">
                <a:cs typeface="Segoe UI" panose="020B0502040204020203" pitchFamily="34" charset="0"/>
              </a:rPr>
              <a:t>, </a:t>
            </a:r>
            <a:r>
              <a:rPr lang="en-US" sz="2400" dirty="0" err="1">
                <a:cs typeface="Segoe UI" panose="020B0502040204020203" pitchFamily="34" charset="0"/>
              </a:rPr>
              <a:t>consectetur</a:t>
            </a:r>
            <a:r>
              <a:rPr lang="en-US" sz="2400" dirty="0">
                <a:cs typeface="Segoe UI" panose="020B0502040204020203" pitchFamily="34" charset="0"/>
              </a:rPr>
              <a:t> </a:t>
            </a:r>
            <a:r>
              <a:rPr lang="en-US" sz="2400" dirty="0" err="1">
                <a:cs typeface="Segoe UI" panose="020B0502040204020203" pitchFamily="34" charset="0"/>
              </a:rPr>
              <a:t>adipiscing</a:t>
            </a:r>
            <a:r>
              <a:rPr lang="en-US" sz="2400" dirty="0">
                <a:cs typeface="Segoe UI" panose="020B0502040204020203" pitchFamily="34" charset="0"/>
              </a:rPr>
              <a:t> </a:t>
            </a:r>
            <a:r>
              <a:rPr lang="en-US" sz="2400" dirty="0" err="1">
                <a:cs typeface="Segoe UI" panose="020B0502040204020203" pitchFamily="34" charset="0"/>
              </a:rPr>
              <a:t>elit</a:t>
            </a:r>
            <a:r>
              <a:rPr lang="en-US" sz="2400" dirty="0">
                <a:cs typeface="Segoe UI" panose="020B0502040204020203" pitchFamily="34" charset="0"/>
              </a:rPr>
              <a:t>, sed do </a:t>
            </a:r>
            <a:r>
              <a:rPr lang="en-US" sz="2400" dirty="0" err="1">
                <a:cs typeface="Segoe UI" panose="020B0502040204020203" pitchFamily="34" charset="0"/>
              </a:rPr>
              <a:t>eiusmod</a:t>
            </a:r>
            <a:r>
              <a:rPr lang="en-US" sz="2400" dirty="0">
                <a:cs typeface="Segoe UI" panose="020B0502040204020203" pitchFamily="34" charset="0"/>
              </a:rPr>
              <a:t> </a:t>
            </a:r>
            <a:r>
              <a:rPr lang="en-US" sz="2400" dirty="0" err="1">
                <a:cs typeface="Segoe UI" panose="020B0502040204020203" pitchFamily="34" charset="0"/>
              </a:rPr>
              <a:t>tempor</a:t>
            </a:r>
            <a:r>
              <a:rPr lang="en-US" sz="2400" dirty="0">
                <a:cs typeface="Segoe UI" panose="020B0502040204020203" pitchFamily="34" charset="0"/>
              </a:rPr>
              <a:t> </a:t>
            </a:r>
            <a:r>
              <a:rPr lang="en-US" sz="2400" dirty="0" err="1">
                <a:cs typeface="Segoe UI" panose="020B0502040204020203" pitchFamily="34" charset="0"/>
              </a:rPr>
              <a:t>incididunt</a:t>
            </a:r>
            <a:r>
              <a:rPr lang="en-US" sz="2400" dirty="0">
                <a:cs typeface="Segoe UI" panose="020B0502040204020203" pitchFamily="34" charset="0"/>
              </a:rPr>
              <a:t> </a:t>
            </a:r>
            <a:r>
              <a:rPr lang="en-US" sz="2400" dirty="0" err="1">
                <a:cs typeface="Segoe UI" panose="020B0502040204020203" pitchFamily="34" charset="0"/>
              </a:rPr>
              <a:t>ut</a:t>
            </a:r>
            <a:r>
              <a:rPr lang="en-US" sz="2400" dirty="0">
                <a:cs typeface="Segoe UI" panose="020B0502040204020203" pitchFamily="34" charset="0"/>
              </a:rPr>
              <a:t> </a:t>
            </a:r>
            <a:r>
              <a:rPr lang="en-US" sz="2400" dirty="0" err="1">
                <a:cs typeface="Segoe UI" panose="020B0502040204020203" pitchFamily="34" charset="0"/>
              </a:rPr>
              <a:t>labore</a:t>
            </a:r>
            <a:r>
              <a:rPr lang="en-US" sz="2400" dirty="0">
                <a:cs typeface="Segoe UI" panose="020B0502040204020203" pitchFamily="34" charset="0"/>
              </a:rPr>
              <a:t> et dolore magna </a:t>
            </a:r>
            <a:r>
              <a:rPr lang="en-US" sz="2400" dirty="0" err="1">
                <a:cs typeface="Segoe UI" panose="020B0502040204020203" pitchFamily="34" charset="0"/>
              </a:rPr>
              <a:t>aliqua</a:t>
            </a:r>
            <a:r>
              <a:rPr lang="en-US" sz="2400" dirty="0">
                <a:cs typeface="Segoe UI" panose="020B0502040204020203" pitchFamily="34" charset="0"/>
              </a:rPr>
              <a:t>. </a:t>
            </a:r>
          </a:p>
        </p:txBody>
      </p:sp>
      <p:sp>
        <p:nvSpPr>
          <p:cNvPr id="81" name="Rectangle 80">
            <a:extLst>
              <a:ext uri="{FF2B5EF4-FFF2-40B4-BE49-F238E27FC236}">
                <a16:creationId xmlns:a16="http://schemas.microsoft.com/office/drawing/2014/main" id="{1DC13DF6-DC85-4C59-8177-2A00E171833F}"/>
              </a:ext>
            </a:extLst>
          </p:cNvPr>
          <p:cNvSpPr/>
          <p:nvPr/>
        </p:nvSpPr>
        <p:spPr>
          <a:xfrm>
            <a:off x="6172645" y="8163612"/>
            <a:ext cx="3219238" cy="2872068"/>
          </a:xfrm>
          <a:prstGeom prst="rect">
            <a:avLst/>
          </a:prstGeom>
        </p:spPr>
        <p:txBody>
          <a:bodyPr wrap="square" lIns="0" tIns="0" rIns="0" bIns="0" anchor="t">
            <a:spAutoFit/>
          </a:bodyPr>
          <a:lstStyle/>
          <a:p>
            <a:pPr>
              <a:lnSpc>
                <a:spcPts val="3800"/>
              </a:lnSpc>
            </a:pPr>
            <a:r>
              <a:rPr lang="en-US" sz="2400" dirty="0">
                <a:cs typeface="Segoe UI" panose="020B0502040204020203" pitchFamily="34" charset="0"/>
              </a:rPr>
              <a:t>Lorem ipsum dolor sit </a:t>
            </a:r>
            <a:r>
              <a:rPr lang="en-US" sz="2400" dirty="0" err="1">
                <a:cs typeface="Segoe UI" panose="020B0502040204020203" pitchFamily="34" charset="0"/>
              </a:rPr>
              <a:t>amet</a:t>
            </a:r>
            <a:r>
              <a:rPr lang="en-US" sz="2400" dirty="0">
                <a:cs typeface="Segoe UI" panose="020B0502040204020203" pitchFamily="34" charset="0"/>
              </a:rPr>
              <a:t>, </a:t>
            </a:r>
            <a:r>
              <a:rPr lang="en-US" sz="2400" dirty="0" err="1">
                <a:cs typeface="Segoe UI" panose="020B0502040204020203" pitchFamily="34" charset="0"/>
              </a:rPr>
              <a:t>consectetur</a:t>
            </a:r>
            <a:r>
              <a:rPr lang="en-US" sz="2400" dirty="0">
                <a:cs typeface="Segoe UI" panose="020B0502040204020203" pitchFamily="34" charset="0"/>
              </a:rPr>
              <a:t> </a:t>
            </a:r>
            <a:r>
              <a:rPr lang="en-US" sz="2400" dirty="0" err="1">
                <a:cs typeface="Segoe UI" panose="020B0502040204020203" pitchFamily="34" charset="0"/>
              </a:rPr>
              <a:t>adipiscing</a:t>
            </a:r>
            <a:r>
              <a:rPr lang="en-US" sz="2400" dirty="0">
                <a:cs typeface="Segoe UI" panose="020B0502040204020203" pitchFamily="34" charset="0"/>
              </a:rPr>
              <a:t> </a:t>
            </a:r>
            <a:r>
              <a:rPr lang="en-US" sz="2400" dirty="0" err="1">
                <a:cs typeface="Segoe UI" panose="020B0502040204020203" pitchFamily="34" charset="0"/>
              </a:rPr>
              <a:t>elit</a:t>
            </a:r>
            <a:r>
              <a:rPr lang="en-US" sz="2400" dirty="0">
                <a:cs typeface="Segoe UI" panose="020B0502040204020203" pitchFamily="34" charset="0"/>
              </a:rPr>
              <a:t>, sed do </a:t>
            </a:r>
            <a:r>
              <a:rPr lang="en-US" sz="2400" dirty="0" err="1">
                <a:cs typeface="Segoe UI" panose="020B0502040204020203" pitchFamily="34" charset="0"/>
              </a:rPr>
              <a:t>eiusmod</a:t>
            </a:r>
            <a:r>
              <a:rPr lang="en-US" sz="2400" dirty="0">
                <a:cs typeface="Segoe UI" panose="020B0502040204020203" pitchFamily="34" charset="0"/>
              </a:rPr>
              <a:t> </a:t>
            </a:r>
            <a:r>
              <a:rPr lang="en-US" sz="2400" dirty="0" err="1">
                <a:cs typeface="Segoe UI" panose="020B0502040204020203" pitchFamily="34" charset="0"/>
              </a:rPr>
              <a:t>tempor</a:t>
            </a:r>
            <a:r>
              <a:rPr lang="en-US" sz="2400" dirty="0">
                <a:cs typeface="Segoe UI" panose="020B0502040204020203" pitchFamily="34" charset="0"/>
              </a:rPr>
              <a:t> </a:t>
            </a:r>
            <a:r>
              <a:rPr lang="en-US" sz="2400" dirty="0" err="1">
                <a:cs typeface="Segoe UI" panose="020B0502040204020203" pitchFamily="34" charset="0"/>
              </a:rPr>
              <a:t>incididunt</a:t>
            </a:r>
            <a:r>
              <a:rPr lang="en-US" sz="2400" dirty="0">
                <a:cs typeface="Segoe UI" panose="020B0502040204020203" pitchFamily="34" charset="0"/>
              </a:rPr>
              <a:t> </a:t>
            </a:r>
            <a:r>
              <a:rPr lang="en-US" sz="2400" dirty="0" err="1">
                <a:cs typeface="Segoe UI" panose="020B0502040204020203" pitchFamily="34" charset="0"/>
              </a:rPr>
              <a:t>ut</a:t>
            </a:r>
            <a:r>
              <a:rPr lang="en-US" sz="2400" dirty="0">
                <a:cs typeface="Segoe UI" panose="020B0502040204020203" pitchFamily="34" charset="0"/>
              </a:rPr>
              <a:t> </a:t>
            </a:r>
            <a:r>
              <a:rPr lang="en-US" sz="2400" dirty="0" err="1">
                <a:cs typeface="Segoe UI" panose="020B0502040204020203" pitchFamily="34" charset="0"/>
              </a:rPr>
              <a:t>labore</a:t>
            </a:r>
            <a:r>
              <a:rPr lang="en-US" sz="2400" dirty="0">
                <a:cs typeface="Segoe UI" panose="020B0502040204020203" pitchFamily="34" charset="0"/>
              </a:rPr>
              <a:t> et dolore magna </a:t>
            </a:r>
            <a:r>
              <a:rPr lang="en-US" sz="2400" dirty="0" err="1">
                <a:cs typeface="Segoe UI" panose="020B0502040204020203" pitchFamily="34" charset="0"/>
              </a:rPr>
              <a:t>aliqua</a:t>
            </a:r>
            <a:r>
              <a:rPr lang="en-US" sz="2400" dirty="0">
                <a:cs typeface="Segoe UI" panose="020B0502040204020203" pitchFamily="34" charset="0"/>
              </a:rPr>
              <a:t>. </a:t>
            </a:r>
          </a:p>
        </p:txBody>
      </p:sp>
      <p:sp>
        <p:nvSpPr>
          <p:cNvPr id="82" name="Rectangle 81">
            <a:extLst>
              <a:ext uri="{FF2B5EF4-FFF2-40B4-BE49-F238E27FC236}">
                <a16:creationId xmlns:a16="http://schemas.microsoft.com/office/drawing/2014/main" id="{2F5701F6-E079-4932-ABC5-509FA470F051}"/>
              </a:ext>
            </a:extLst>
          </p:cNvPr>
          <p:cNvSpPr/>
          <p:nvPr/>
        </p:nvSpPr>
        <p:spPr>
          <a:xfrm>
            <a:off x="10560866" y="8163612"/>
            <a:ext cx="3219238" cy="2872068"/>
          </a:xfrm>
          <a:prstGeom prst="rect">
            <a:avLst/>
          </a:prstGeom>
        </p:spPr>
        <p:txBody>
          <a:bodyPr wrap="square" lIns="0" tIns="0" rIns="0" bIns="0" anchor="t">
            <a:spAutoFit/>
          </a:bodyPr>
          <a:lstStyle/>
          <a:p>
            <a:pPr>
              <a:lnSpc>
                <a:spcPts val="3800"/>
              </a:lnSpc>
            </a:pPr>
            <a:r>
              <a:rPr lang="en-US" sz="2400" dirty="0">
                <a:cs typeface="Segoe UI" panose="020B0502040204020203" pitchFamily="34" charset="0"/>
              </a:rPr>
              <a:t>Lorem ipsum dolor sit </a:t>
            </a:r>
            <a:r>
              <a:rPr lang="en-US" sz="2400" dirty="0" err="1">
                <a:cs typeface="Segoe UI" panose="020B0502040204020203" pitchFamily="34" charset="0"/>
              </a:rPr>
              <a:t>amet</a:t>
            </a:r>
            <a:r>
              <a:rPr lang="en-US" sz="2400" dirty="0">
                <a:cs typeface="Segoe UI" panose="020B0502040204020203" pitchFamily="34" charset="0"/>
              </a:rPr>
              <a:t>, </a:t>
            </a:r>
            <a:r>
              <a:rPr lang="en-US" sz="2400" dirty="0" err="1">
                <a:cs typeface="Segoe UI" panose="020B0502040204020203" pitchFamily="34" charset="0"/>
              </a:rPr>
              <a:t>consectetur</a:t>
            </a:r>
            <a:r>
              <a:rPr lang="en-US" sz="2400" dirty="0">
                <a:cs typeface="Segoe UI" panose="020B0502040204020203" pitchFamily="34" charset="0"/>
              </a:rPr>
              <a:t> </a:t>
            </a:r>
            <a:r>
              <a:rPr lang="en-US" sz="2400" dirty="0" err="1">
                <a:cs typeface="Segoe UI" panose="020B0502040204020203" pitchFamily="34" charset="0"/>
              </a:rPr>
              <a:t>adipiscing</a:t>
            </a:r>
            <a:r>
              <a:rPr lang="en-US" sz="2400" dirty="0">
                <a:cs typeface="Segoe UI" panose="020B0502040204020203" pitchFamily="34" charset="0"/>
              </a:rPr>
              <a:t> </a:t>
            </a:r>
            <a:r>
              <a:rPr lang="en-US" sz="2400" dirty="0" err="1">
                <a:cs typeface="Segoe UI" panose="020B0502040204020203" pitchFamily="34" charset="0"/>
              </a:rPr>
              <a:t>elit</a:t>
            </a:r>
            <a:r>
              <a:rPr lang="en-US" sz="2400" dirty="0">
                <a:cs typeface="Segoe UI" panose="020B0502040204020203" pitchFamily="34" charset="0"/>
              </a:rPr>
              <a:t>, sed do </a:t>
            </a:r>
            <a:r>
              <a:rPr lang="en-US" sz="2400" dirty="0" err="1">
                <a:cs typeface="Segoe UI" panose="020B0502040204020203" pitchFamily="34" charset="0"/>
              </a:rPr>
              <a:t>eiusmod</a:t>
            </a:r>
            <a:r>
              <a:rPr lang="en-US" sz="2400" dirty="0">
                <a:cs typeface="Segoe UI" panose="020B0502040204020203" pitchFamily="34" charset="0"/>
              </a:rPr>
              <a:t> </a:t>
            </a:r>
            <a:r>
              <a:rPr lang="en-US" sz="2400" dirty="0" err="1">
                <a:cs typeface="Segoe UI" panose="020B0502040204020203" pitchFamily="34" charset="0"/>
              </a:rPr>
              <a:t>tempor</a:t>
            </a:r>
            <a:r>
              <a:rPr lang="en-US" sz="2400" dirty="0">
                <a:cs typeface="Segoe UI" panose="020B0502040204020203" pitchFamily="34" charset="0"/>
              </a:rPr>
              <a:t> </a:t>
            </a:r>
            <a:r>
              <a:rPr lang="en-US" sz="2400" dirty="0" err="1">
                <a:cs typeface="Segoe UI" panose="020B0502040204020203" pitchFamily="34" charset="0"/>
              </a:rPr>
              <a:t>incididunt</a:t>
            </a:r>
            <a:r>
              <a:rPr lang="en-US" sz="2400" dirty="0">
                <a:cs typeface="Segoe UI" panose="020B0502040204020203" pitchFamily="34" charset="0"/>
              </a:rPr>
              <a:t> </a:t>
            </a:r>
            <a:r>
              <a:rPr lang="en-US" sz="2400" dirty="0" err="1">
                <a:cs typeface="Segoe UI" panose="020B0502040204020203" pitchFamily="34" charset="0"/>
              </a:rPr>
              <a:t>ut</a:t>
            </a:r>
            <a:r>
              <a:rPr lang="en-US" sz="2400" dirty="0">
                <a:cs typeface="Segoe UI" panose="020B0502040204020203" pitchFamily="34" charset="0"/>
              </a:rPr>
              <a:t> </a:t>
            </a:r>
            <a:r>
              <a:rPr lang="en-US" sz="2400" dirty="0" err="1">
                <a:cs typeface="Segoe UI" panose="020B0502040204020203" pitchFamily="34" charset="0"/>
              </a:rPr>
              <a:t>labore</a:t>
            </a:r>
            <a:r>
              <a:rPr lang="en-US" sz="2400" dirty="0">
                <a:cs typeface="Segoe UI" panose="020B0502040204020203" pitchFamily="34" charset="0"/>
              </a:rPr>
              <a:t> et dolore magna </a:t>
            </a:r>
            <a:r>
              <a:rPr lang="en-US" sz="2400" dirty="0" err="1">
                <a:cs typeface="Segoe UI" panose="020B0502040204020203" pitchFamily="34" charset="0"/>
              </a:rPr>
              <a:t>aliqua</a:t>
            </a:r>
            <a:r>
              <a:rPr lang="en-US" sz="2400" dirty="0">
                <a:cs typeface="Segoe UI" panose="020B0502040204020203" pitchFamily="34" charset="0"/>
              </a:rPr>
              <a:t>. </a:t>
            </a:r>
          </a:p>
        </p:txBody>
      </p:sp>
      <p:sp>
        <p:nvSpPr>
          <p:cNvPr id="83" name="Rectangle 82">
            <a:extLst>
              <a:ext uri="{FF2B5EF4-FFF2-40B4-BE49-F238E27FC236}">
                <a16:creationId xmlns:a16="http://schemas.microsoft.com/office/drawing/2014/main" id="{ACD88106-F872-4C8B-A010-E7D5E15C8E18}"/>
              </a:ext>
            </a:extLst>
          </p:cNvPr>
          <p:cNvSpPr/>
          <p:nvPr/>
        </p:nvSpPr>
        <p:spPr>
          <a:xfrm>
            <a:off x="14948902" y="8163612"/>
            <a:ext cx="3219238" cy="2872068"/>
          </a:xfrm>
          <a:prstGeom prst="rect">
            <a:avLst/>
          </a:prstGeom>
        </p:spPr>
        <p:txBody>
          <a:bodyPr wrap="square" lIns="0" tIns="0" rIns="0" bIns="0" anchor="t">
            <a:spAutoFit/>
          </a:bodyPr>
          <a:lstStyle/>
          <a:p>
            <a:pPr>
              <a:lnSpc>
                <a:spcPts val="3800"/>
              </a:lnSpc>
            </a:pPr>
            <a:r>
              <a:rPr lang="en-US" sz="2400" dirty="0">
                <a:cs typeface="Segoe UI" panose="020B0502040204020203" pitchFamily="34" charset="0"/>
              </a:rPr>
              <a:t>Lorem ipsum dolor sit </a:t>
            </a:r>
            <a:r>
              <a:rPr lang="en-US" sz="2400" dirty="0" err="1">
                <a:cs typeface="Segoe UI" panose="020B0502040204020203" pitchFamily="34" charset="0"/>
              </a:rPr>
              <a:t>amet</a:t>
            </a:r>
            <a:r>
              <a:rPr lang="en-US" sz="2400" dirty="0">
                <a:cs typeface="Segoe UI" panose="020B0502040204020203" pitchFamily="34" charset="0"/>
              </a:rPr>
              <a:t>, </a:t>
            </a:r>
            <a:r>
              <a:rPr lang="en-US" sz="2400" dirty="0" err="1">
                <a:cs typeface="Segoe UI" panose="020B0502040204020203" pitchFamily="34" charset="0"/>
              </a:rPr>
              <a:t>consectetur</a:t>
            </a:r>
            <a:r>
              <a:rPr lang="en-US" sz="2400" dirty="0">
                <a:cs typeface="Segoe UI" panose="020B0502040204020203" pitchFamily="34" charset="0"/>
              </a:rPr>
              <a:t> </a:t>
            </a:r>
            <a:r>
              <a:rPr lang="en-US" sz="2400" dirty="0" err="1">
                <a:cs typeface="Segoe UI" panose="020B0502040204020203" pitchFamily="34" charset="0"/>
              </a:rPr>
              <a:t>adipiscing</a:t>
            </a:r>
            <a:r>
              <a:rPr lang="en-US" sz="2400" dirty="0">
                <a:cs typeface="Segoe UI" panose="020B0502040204020203" pitchFamily="34" charset="0"/>
              </a:rPr>
              <a:t> </a:t>
            </a:r>
            <a:r>
              <a:rPr lang="en-US" sz="2400" dirty="0" err="1">
                <a:cs typeface="Segoe UI" panose="020B0502040204020203" pitchFamily="34" charset="0"/>
              </a:rPr>
              <a:t>elit</a:t>
            </a:r>
            <a:r>
              <a:rPr lang="en-US" sz="2400" dirty="0">
                <a:cs typeface="Segoe UI" panose="020B0502040204020203" pitchFamily="34" charset="0"/>
              </a:rPr>
              <a:t>, sed do </a:t>
            </a:r>
            <a:r>
              <a:rPr lang="en-US" sz="2400" dirty="0" err="1">
                <a:cs typeface="Segoe UI" panose="020B0502040204020203" pitchFamily="34" charset="0"/>
              </a:rPr>
              <a:t>eiusmod</a:t>
            </a:r>
            <a:r>
              <a:rPr lang="en-US" sz="2400" dirty="0">
                <a:cs typeface="Segoe UI" panose="020B0502040204020203" pitchFamily="34" charset="0"/>
              </a:rPr>
              <a:t> </a:t>
            </a:r>
            <a:r>
              <a:rPr lang="en-US" sz="2400" dirty="0" err="1">
                <a:cs typeface="Segoe UI" panose="020B0502040204020203" pitchFamily="34" charset="0"/>
              </a:rPr>
              <a:t>tempor</a:t>
            </a:r>
            <a:r>
              <a:rPr lang="en-US" sz="2400" dirty="0">
                <a:cs typeface="Segoe UI" panose="020B0502040204020203" pitchFamily="34" charset="0"/>
              </a:rPr>
              <a:t> </a:t>
            </a:r>
            <a:r>
              <a:rPr lang="en-US" sz="2400" dirty="0" err="1">
                <a:cs typeface="Segoe UI" panose="020B0502040204020203" pitchFamily="34" charset="0"/>
              </a:rPr>
              <a:t>incididunt</a:t>
            </a:r>
            <a:r>
              <a:rPr lang="en-US" sz="2400" dirty="0">
                <a:cs typeface="Segoe UI" panose="020B0502040204020203" pitchFamily="34" charset="0"/>
              </a:rPr>
              <a:t> </a:t>
            </a:r>
            <a:r>
              <a:rPr lang="en-US" sz="2400" dirty="0" err="1">
                <a:cs typeface="Segoe UI" panose="020B0502040204020203" pitchFamily="34" charset="0"/>
              </a:rPr>
              <a:t>ut</a:t>
            </a:r>
            <a:r>
              <a:rPr lang="en-US" sz="2400" dirty="0">
                <a:cs typeface="Segoe UI" panose="020B0502040204020203" pitchFamily="34" charset="0"/>
              </a:rPr>
              <a:t> </a:t>
            </a:r>
            <a:r>
              <a:rPr lang="en-US" sz="2400" dirty="0" err="1">
                <a:cs typeface="Segoe UI" panose="020B0502040204020203" pitchFamily="34" charset="0"/>
              </a:rPr>
              <a:t>labore</a:t>
            </a:r>
            <a:r>
              <a:rPr lang="en-US" sz="2400" dirty="0">
                <a:cs typeface="Segoe UI" panose="020B0502040204020203" pitchFamily="34" charset="0"/>
              </a:rPr>
              <a:t> et dolore magna </a:t>
            </a:r>
            <a:r>
              <a:rPr lang="en-US" sz="2400" dirty="0" err="1">
                <a:cs typeface="Segoe UI" panose="020B0502040204020203" pitchFamily="34" charset="0"/>
              </a:rPr>
              <a:t>aliqua</a:t>
            </a:r>
            <a:r>
              <a:rPr lang="en-US" sz="2400" dirty="0">
                <a:cs typeface="Segoe UI" panose="020B0502040204020203" pitchFamily="34" charset="0"/>
              </a:rPr>
              <a:t>. </a:t>
            </a:r>
          </a:p>
        </p:txBody>
      </p:sp>
      <p:sp>
        <p:nvSpPr>
          <p:cNvPr id="84" name="Rectangle 83">
            <a:extLst>
              <a:ext uri="{FF2B5EF4-FFF2-40B4-BE49-F238E27FC236}">
                <a16:creationId xmlns:a16="http://schemas.microsoft.com/office/drawing/2014/main" id="{3CB397EC-8EB2-4C31-A555-C753ED648042}"/>
              </a:ext>
            </a:extLst>
          </p:cNvPr>
          <p:cNvSpPr/>
          <p:nvPr/>
        </p:nvSpPr>
        <p:spPr>
          <a:xfrm>
            <a:off x="19350331" y="8163612"/>
            <a:ext cx="3219238" cy="2872068"/>
          </a:xfrm>
          <a:prstGeom prst="rect">
            <a:avLst/>
          </a:prstGeom>
        </p:spPr>
        <p:txBody>
          <a:bodyPr wrap="square" lIns="0" tIns="0" rIns="0" bIns="0" anchor="t">
            <a:spAutoFit/>
          </a:bodyPr>
          <a:lstStyle/>
          <a:p>
            <a:pPr>
              <a:lnSpc>
                <a:spcPts val="3800"/>
              </a:lnSpc>
            </a:pPr>
            <a:r>
              <a:rPr lang="en-US" sz="2400" dirty="0">
                <a:cs typeface="Segoe UI" panose="020B0502040204020203" pitchFamily="34" charset="0"/>
              </a:rPr>
              <a:t>Lorem ipsum dolor sit </a:t>
            </a:r>
            <a:r>
              <a:rPr lang="en-US" sz="2400" dirty="0" err="1">
                <a:cs typeface="Segoe UI" panose="020B0502040204020203" pitchFamily="34" charset="0"/>
              </a:rPr>
              <a:t>amet</a:t>
            </a:r>
            <a:r>
              <a:rPr lang="en-US" sz="2400" dirty="0">
                <a:cs typeface="Segoe UI" panose="020B0502040204020203" pitchFamily="34" charset="0"/>
              </a:rPr>
              <a:t>, </a:t>
            </a:r>
            <a:r>
              <a:rPr lang="en-US" sz="2400" dirty="0" err="1">
                <a:cs typeface="Segoe UI" panose="020B0502040204020203" pitchFamily="34" charset="0"/>
              </a:rPr>
              <a:t>consectetur</a:t>
            </a:r>
            <a:r>
              <a:rPr lang="en-US" sz="2400" dirty="0">
                <a:cs typeface="Segoe UI" panose="020B0502040204020203" pitchFamily="34" charset="0"/>
              </a:rPr>
              <a:t> </a:t>
            </a:r>
            <a:r>
              <a:rPr lang="en-US" sz="2400" dirty="0" err="1">
                <a:cs typeface="Segoe UI" panose="020B0502040204020203" pitchFamily="34" charset="0"/>
              </a:rPr>
              <a:t>adipiscing</a:t>
            </a:r>
            <a:r>
              <a:rPr lang="en-US" sz="2400" dirty="0">
                <a:cs typeface="Segoe UI" panose="020B0502040204020203" pitchFamily="34" charset="0"/>
              </a:rPr>
              <a:t> </a:t>
            </a:r>
            <a:r>
              <a:rPr lang="en-US" sz="2400" dirty="0" err="1">
                <a:cs typeface="Segoe UI" panose="020B0502040204020203" pitchFamily="34" charset="0"/>
              </a:rPr>
              <a:t>elit</a:t>
            </a:r>
            <a:r>
              <a:rPr lang="en-US" sz="2400" dirty="0">
                <a:cs typeface="Segoe UI" panose="020B0502040204020203" pitchFamily="34" charset="0"/>
              </a:rPr>
              <a:t>, sed do </a:t>
            </a:r>
            <a:r>
              <a:rPr lang="en-US" sz="2400" dirty="0" err="1">
                <a:cs typeface="Segoe UI" panose="020B0502040204020203" pitchFamily="34" charset="0"/>
              </a:rPr>
              <a:t>eiusmod</a:t>
            </a:r>
            <a:r>
              <a:rPr lang="en-US" sz="2400" dirty="0">
                <a:cs typeface="Segoe UI" panose="020B0502040204020203" pitchFamily="34" charset="0"/>
              </a:rPr>
              <a:t> </a:t>
            </a:r>
            <a:r>
              <a:rPr lang="en-US" sz="2400" dirty="0" err="1">
                <a:cs typeface="Segoe UI" panose="020B0502040204020203" pitchFamily="34" charset="0"/>
              </a:rPr>
              <a:t>tempor</a:t>
            </a:r>
            <a:r>
              <a:rPr lang="en-US" sz="2400" dirty="0">
                <a:cs typeface="Segoe UI" panose="020B0502040204020203" pitchFamily="34" charset="0"/>
              </a:rPr>
              <a:t> </a:t>
            </a:r>
            <a:r>
              <a:rPr lang="en-US" sz="2400" dirty="0" err="1">
                <a:cs typeface="Segoe UI" panose="020B0502040204020203" pitchFamily="34" charset="0"/>
              </a:rPr>
              <a:t>incididunt</a:t>
            </a:r>
            <a:r>
              <a:rPr lang="en-US" sz="2400" dirty="0">
                <a:cs typeface="Segoe UI" panose="020B0502040204020203" pitchFamily="34" charset="0"/>
              </a:rPr>
              <a:t> </a:t>
            </a:r>
            <a:r>
              <a:rPr lang="en-US" sz="2400" dirty="0" err="1">
                <a:cs typeface="Segoe UI" panose="020B0502040204020203" pitchFamily="34" charset="0"/>
              </a:rPr>
              <a:t>ut</a:t>
            </a:r>
            <a:r>
              <a:rPr lang="en-US" sz="2400" dirty="0">
                <a:cs typeface="Segoe UI" panose="020B0502040204020203" pitchFamily="34" charset="0"/>
              </a:rPr>
              <a:t> </a:t>
            </a:r>
            <a:r>
              <a:rPr lang="en-US" sz="2400" dirty="0" err="1">
                <a:cs typeface="Segoe UI" panose="020B0502040204020203" pitchFamily="34" charset="0"/>
              </a:rPr>
              <a:t>labore</a:t>
            </a:r>
            <a:r>
              <a:rPr lang="en-US" sz="2400" dirty="0">
                <a:cs typeface="Segoe UI" panose="020B0502040204020203" pitchFamily="34" charset="0"/>
              </a:rPr>
              <a:t> et dolore magna </a:t>
            </a:r>
            <a:r>
              <a:rPr lang="en-US" sz="2400" dirty="0" err="1">
                <a:cs typeface="Segoe UI" panose="020B0502040204020203" pitchFamily="34" charset="0"/>
              </a:rPr>
              <a:t>aliqua</a:t>
            </a:r>
            <a:r>
              <a:rPr lang="en-US" sz="2400" dirty="0">
                <a:cs typeface="Segoe UI" panose="020B0502040204020203" pitchFamily="34" charset="0"/>
              </a:rPr>
              <a:t>. </a:t>
            </a:r>
          </a:p>
        </p:txBody>
      </p:sp>
    </p:spTree>
    <p:extLst>
      <p:ext uri="{BB962C8B-B14F-4D97-AF65-F5344CB8AC3E}">
        <p14:creationId xmlns:p14="http://schemas.microsoft.com/office/powerpoint/2010/main" val="4466967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F41B36-A60A-1742-AE90-E5A748D4690C}"/>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51180650-78C1-A043-B152-3E5E9DC6E5FA}"/>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914771B8-EB3B-5B49-B79E-54ECB2F03BE5}"/>
              </a:ext>
            </a:extLst>
          </p:cNvPr>
          <p:cNvSpPr>
            <a:spLocks noGrp="1"/>
          </p:cNvSpPr>
          <p:nvPr>
            <p:ph type="body" sz="quarter" idx="23"/>
          </p:nvPr>
        </p:nvSpPr>
        <p:spPr/>
        <p:txBody>
          <a:bodyPr/>
          <a:lstStyle/>
          <a:p>
            <a:endParaRPr lang="en-US"/>
          </a:p>
        </p:txBody>
      </p:sp>
      <p:sp>
        <p:nvSpPr>
          <p:cNvPr id="5" name="Text Placeholder 4">
            <a:extLst>
              <a:ext uri="{FF2B5EF4-FFF2-40B4-BE49-F238E27FC236}">
                <a16:creationId xmlns:a16="http://schemas.microsoft.com/office/drawing/2014/main" id="{F9602CE1-C099-BD4B-9F06-9852A740B4A9}"/>
              </a:ext>
            </a:extLst>
          </p:cNvPr>
          <p:cNvSpPr>
            <a:spLocks noGrp="1"/>
          </p:cNvSpPr>
          <p:nvPr>
            <p:ph type="body" sz="quarter" idx="29"/>
          </p:nvPr>
        </p:nvSpPr>
        <p:spPr/>
        <p:txBody>
          <a:bodyPr/>
          <a:lstStyle/>
          <a:p>
            <a:endParaRPr lang="en-US"/>
          </a:p>
        </p:txBody>
      </p:sp>
      <p:sp>
        <p:nvSpPr>
          <p:cNvPr id="6" name="Text Placeholder 5">
            <a:extLst>
              <a:ext uri="{FF2B5EF4-FFF2-40B4-BE49-F238E27FC236}">
                <a16:creationId xmlns:a16="http://schemas.microsoft.com/office/drawing/2014/main" id="{BE09D743-001C-B746-A0E7-81AF8FD1AD73}"/>
              </a:ext>
            </a:extLst>
          </p:cNvPr>
          <p:cNvSpPr>
            <a:spLocks noGrp="1"/>
          </p:cNvSpPr>
          <p:nvPr>
            <p:ph type="body" sz="quarter" idx="35"/>
          </p:nvPr>
        </p:nvSpPr>
        <p:spPr/>
        <p:txBody>
          <a:bodyPr/>
          <a:lstStyle/>
          <a:p>
            <a:endParaRPr lang="en-US"/>
          </a:p>
        </p:txBody>
      </p:sp>
      <p:sp>
        <p:nvSpPr>
          <p:cNvPr id="7" name="Text Placeholder 6">
            <a:extLst>
              <a:ext uri="{FF2B5EF4-FFF2-40B4-BE49-F238E27FC236}">
                <a16:creationId xmlns:a16="http://schemas.microsoft.com/office/drawing/2014/main" id="{FDFE1F72-4784-7C4C-82C5-8A62FEA776C0}"/>
              </a:ext>
            </a:extLst>
          </p:cNvPr>
          <p:cNvSpPr>
            <a:spLocks noGrp="1"/>
          </p:cNvSpPr>
          <p:nvPr>
            <p:ph type="body" sz="quarter" idx="41"/>
          </p:nvPr>
        </p:nvSpPr>
        <p:spPr/>
        <p:txBody>
          <a:bodyPr/>
          <a:lstStyle/>
          <a:p>
            <a:endParaRPr lang="en-US"/>
          </a:p>
        </p:txBody>
      </p:sp>
      <p:sp>
        <p:nvSpPr>
          <p:cNvPr id="8" name="Text Placeholder 7">
            <a:extLst>
              <a:ext uri="{FF2B5EF4-FFF2-40B4-BE49-F238E27FC236}">
                <a16:creationId xmlns:a16="http://schemas.microsoft.com/office/drawing/2014/main" id="{7853A797-8B36-454D-888A-356125FF15B3}"/>
              </a:ext>
            </a:extLst>
          </p:cNvPr>
          <p:cNvSpPr>
            <a:spLocks noGrp="1"/>
          </p:cNvSpPr>
          <p:nvPr>
            <p:ph type="body" sz="quarter" idx="10"/>
          </p:nvPr>
        </p:nvSpPr>
        <p:spPr/>
        <p:txBody>
          <a:bodyPr/>
          <a:lstStyle/>
          <a:p>
            <a:endParaRPr lang="en-US"/>
          </a:p>
        </p:txBody>
      </p:sp>
      <p:sp>
        <p:nvSpPr>
          <p:cNvPr id="9" name="Text Placeholder 8">
            <a:extLst>
              <a:ext uri="{FF2B5EF4-FFF2-40B4-BE49-F238E27FC236}">
                <a16:creationId xmlns:a16="http://schemas.microsoft.com/office/drawing/2014/main" id="{65CFEA3C-7A72-BA42-BA70-2D845B7C810F}"/>
              </a:ext>
            </a:extLst>
          </p:cNvPr>
          <p:cNvSpPr>
            <a:spLocks noGrp="1"/>
          </p:cNvSpPr>
          <p:nvPr>
            <p:ph type="body" sz="quarter" idx="16"/>
          </p:nvPr>
        </p:nvSpPr>
        <p:spPr/>
        <p:txBody>
          <a:bodyPr/>
          <a:lstStyle/>
          <a:p>
            <a:endParaRPr lang="en-US"/>
          </a:p>
        </p:txBody>
      </p:sp>
      <p:sp>
        <p:nvSpPr>
          <p:cNvPr id="10" name="Text Placeholder 9">
            <a:extLst>
              <a:ext uri="{FF2B5EF4-FFF2-40B4-BE49-F238E27FC236}">
                <a16:creationId xmlns:a16="http://schemas.microsoft.com/office/drawing/2014/main" id="{44651773-725D-BC42-A17F-69F5475EF224}"/>
              </a:ext>
            </a:extLst>
          </p:cNvPr>
          <p:cNvSpPr>
            <a:spLocks noGrp="1"/>
          </p:cNvSpPr>
          <p:nvPr>
            <p:ph type="body" sz="quarter" idx="22"/>
          </p:nvPr>
        </p:nvSpPr>
        <p:spPr/>
        <p:txBody>
          <a:bodyPr/>
          <a:lstStyle/>
          <a:p>
            <a:endParaRPr lang="en-US"/>
          </a:p>
        </p:txBody>
      </p:sp>
      <p:sp>
        <p:nvSpPr>
          <p:cNvPr id="11" name="Text Placeholder 10">
            <a:extLst>
              <a:ext uri="{FF2B5EF4-FFF2-40B4-BE49-F238E27FC236}">
                <a16:creationId xmlns:a16="http://schemas.microsoft.com/office/drawing/2014/main" id="{6FDCC40A-D20F-7C46-95E7-1476C5501560}"/>
              </a:ext>
            </a:extLst>
          </p:cNvPr>
          <p:cNvSpPr>
            <a:spLocks noGrp="1"/>
          </p:cNvSpPr>
          <p:nvPr>
            <p:ph type="body" sz="quarter" idx="28"/>
          </p:nvPr>
        </p:nvSpPr>
        <p:spPr/>
        <p:txBody>
          <a:bodyPr/>
          <a:lstStyle/>
          <a:p>
            <a:endParaRPr lang="en-US"/>
          </a:p>
        </p:txBody>
      </p:sp>
      <p:sp>
        <p:nvSpPr>
          <p:cNvPr id="12" name="Text Placeholder 11">
            <a:extLst>
              <a:ext uri="{FF2B5EF4-FFF2-40B4-BE49-F238E27FC236}">
                <a16:creationId xmlns:a16="http://schemas.microsoft.com/office/drawing/2014/main" id="{733EB9D2-C3CE-EC4B-968D-1C93784572BA}"/>
              </a:ext>
            </a:extLst>
          </p:cNvPr>
          <p:cNvSpPr>
            <a:spLocks noGrp="1"/>
          </p:cNvSpPr>
          <p:nvPr>
            <p:ph type="body" sz="quarter" idx="34"/>
          </p:nvPr>
        </p:nvSpPr>
        <p:spPr/>
        <p:txBody>
          <a:bodyPr/>
          <a:lstStyle/>
          <a:p>
            <a:endParaRPr lang="en-US"/>
          </a:p>
        </p:txBody>
      </p:sp>
      <p:sp>
        <p:nvSpPr>
          <p:cNvPr id="13" name="Text Placeholder 12">
            <a:extLst>
              <a:ext uri="{FF2B5EF4-FFF2-40B4-BE49-F238E27FC236}">
                <a16:creationId xmlns:a16="http://schemas.microsoft.com/office/drawing/2014/main" id="{5A019CF5-A6C9-4C4B-B813-A28ABF291A81}"/>
              </a:ext>
            </a:extLst>
          </p:cNvPr>
          <p:cNvSpPr>
            <a:spLocks noGrp="1"/>
          </p:cNvSpPr>
          <p:nvPr>
            <p:ph type="body" sz="quarter" idx="40"/>
          </p:nvPr>
        </p:nvSpPr>
        <p:spPr/>
        <p:txBody>
          <a:bodyPr/>
          <a:lstStyle/>
          <a:p>
            <a:endParaRPr lang="en-US"/>
          </a:p>
        </p:txBody>
      </p:sp>
      <p:sp>
        <p:nvSpPr>
          <p:cNvPr id="14" name="Text Placeholder 13">
            <a:extLst>
              <a:ext uri="{FF2B5EF4-FFF2-40B4-BE49-F238E27FC236}">
                <a16:creationId xmlns:a16="http://schemas.microsoft.com/office/drawing/2014/main" id="{64342C4E-926D-2A4D-B141-524A1167CDBA}"/>
              </a:ext>
            </a:extLst>
          </p:cNvPr>
          <p:cNvSpPr>
            <a:spLocks noGrp="1"/>
          </p:cNvSpPr>
          <p:nvPr>
            <p:ph type="body" sz="quarter" idx="12"/>
          </p:nvPr>
        </p:nvSpPr>
        <p:spPr/>
        <p:txBody>
          <a:bodyPr/>
          <a:lstStyle/>
          <a:p>
            <a:endParaRPr lang="en-US"/>
          </a:p>
        </p:txBody>
      </p:sp>
      <p:sp>
        <p:nvSpPr>
          <p:cNvPr id="15" name="Text Placeholder 14">
            <a:extLst>
              <a:ext uri="{FF2B5EF4-FFF2-40B4-BE49-F238E27FC236}">
                <a16:creationId xmlns:a16="http://schemas.microsoft.com/office/drawing/2014/main" id="{681C6E17-6B9D-F744-BDD2-37511ADFFE92}"/>
              </a:ext>
            </a:extLst>
          </p:cNvPr>
          <p:cNvSpPr>
            <a:spLocks noGrp="1"/>
          </p:cNvSpPr>
          <p:nvPr>
            <p:ph type="body" sz="quarter" idx="18"/>
          </p:nvPr>
        </p:nvSpPr>
        <p:spPr/>
        <p:txBody>
          <a:bodyPr/>
          <a:lstStyle/>
          <a:p>
            <a:endParaRPr lang="en-US"/>
          </a:p>
        </p:txBody>
      </p:sp>
      <p:sp>
        <p:nvSpPr>
          <p:cNvPr id="16" name="Text Placeholder 15">
            <a:extLst>
              <a:ext uri="{FF2B5EF4-FFF2-40B4-BE49-F238E27FC236}">
                <a16:creationId xmlns:a16="http://schemas.microsoft.com/office/drawing/2014/main" id="{CC25F2A1-4503-CF4D-92BC-F5837EBA92BA}"/>
              </a:ext>
            </a:extLst>
          </p:cNvPr>
          <p:cNvSpPr>
            <a:spLocks noGrp="1"/>
          </p:cNvSpPr>
          <p:nvPr>
            <p:ph type="body" sz="quarter" idx="24"/>
          </p:nvPr>
        </p:nvSpPr>
        <p:spPr/>
        <p:txBody>
          <a:bodyPr/>
          <a:lstStyle/>
          <a:p>
            <a:endParaRPr lang="en-US"/>
          </a:p>
        </p:txBody>
      </p:sp>
      <p:sp>
        <p:nvSpPr>
          <p:cNvPr id="17" name="Text Placeholder 16">
            <a:extLst>
              <a:ext uri="{FF2B5EF4-FFF2-40B4-BE49-F238E27FC236}">
                <a16:creationId xmlns:a16="http://schemas.microsoft.com/office/drawing/2014/main" id="{34466128-F1EA-8E4F-9561-EE560A5DCA95}"/>
              </a:ext>
            </a:extLst>
          </p:cNvPr>
          <p:cNvSpPr>
            <a:spLocks noGrp="1"/>
          </p:cNvSpPr>
          <p:nvPr>
            <p:ph type="body" sz="quarter" idx="30"/>
          </p:nvPr>
        </p:nvSpPr>
        <p:spPr/>
        <p:txBody>
          <a:bodyPr/>
          <a:lstStyle/>
          <a:p>
            <a:endParaRPr lang="en-US"/>
          </a:p>
        </p:txBody>
      </p:sp>
      <p:sp>
        <p:nvSpPr>
          <p:cNvPr id="18" name="Text Placeholder 17">
            <a:extLst>
              <a:ext uri="{FF2B5EF4-FFF2-40B4-BE49-F238E27FC236}">
                <a16:creationId xmlns:a16="http://schemas.microsoft.com/office/drawing/2014/main" id="{7BBC02E7-C364-5843-A887-054292976441}"/>
              </a:ext>
            </a:extLst>
          </p:cNvPr>
          <p:cNvSpPr>
            <a:spLocks noGrp="1"/>
          </p:cNvSpPr>
          <p:nvPr>
            <p:ph type="body" sz="quarter" idx="36"/>
          </p:nvPr>
        </p:nvSpPr>
        <p:spPr/>
        <p:txBody>
          <a:bodyPr/>
          <a:lstStyle/>
          <a:p>
            <a:endParaRPr lang="en-US"/>
          </a:p>
        </p:txBody>
      </p:sp>
      <p:sp>
        <p:nvSpPr>
          <p:cNvPr id="19" name="Text Placeholder 18">
            <a:extLst>
              <a:ext uri="{FF2B5EF4-FFF2-40B4-BE49-F238E27FC236}">
                <a16:creationId xmlns:a16="http://schemas.microsoft.com/office/drawing/2014/main" id="{884A9AD3-999A-514A-8E1A-47B338DD7EAF}"/>
              </a:ext>
            </a:extLst>
          </p:cNvPr>
          <p:cNvSpPr>
            <a:spLocks noGrp="1"/>
          </p:cNvSpPr>
          <p:nvPr>
            <p:ph type="body" sz="quarter" idx="42"/>
          </p:nvPr>
        </p:nvSpPr>
        <p:spPr/>
        <p:txBody>
          <a:bodyPr/>
          <a:lstStyle/>
          <a:p>
            <a:endParaRPr lang="en-US"/>
          </a:p>
        </p:txBody>
      </p:sp>
      <p:sp>
        <p:nvSpPr>
          <p:cNvPr id="20" name="Text Placeholder 19">
            <a:extLst>
              <a:ext uri="{FF2B5EF4-FFF2-40B4-BE49-F238E27FC236}">
                <a16:creationId xmlns:a16="http://schemas.microsoft.com/office/drawing/2014/main" id="{38A034BE-BF4A-6243-892A-0C570FCB3469}"/>
              </a:ext>
            </a:extLst>
          </p:cNvPr>
          <p:cNvSpPr>
            <a:spLocks noGrp="1"/>
          </p:cNvSpPr>
          <p:nvPr>
            <p:ph type="body" sz="quarter" idx="13"/>
          </p:nvPr>
        </p:nvSpPr>
        <p:spPr/>
        <p:txBody>
          <a:bodyPr/>
          <a:lstStyle/>
          <a:p>
            <a:endParaRPr lang="en-US"/>
          </a:p>
        </p:txBody>
      </p:sp>
      <p:sp>
        <p:nvSpPr>
          <p:cNvPr id="21" name="Text Placeholder 20">
            <a:extLst>
              <a:ext uri="{FF2B5EF4-FFF2-40B4-BE49-F238E27FC236}">
                <a16:creationId xmlns:a16="http://schemas.microsoft.com/office/drawing/2014/main" id="{3676E225-A668-DF4F-B94D-A9A65E1C1FF4}"/>
              </a:ext>
            </a:extLst>
          </p:cNvPr>
          <p:cNvSpPr>
            <a:spLocks noGrp="1"/>
          </p:cNvSpPr>
          <p:nvPr>
            <p:ph type="body" sz="quarter" idx="19"/>
          </p:nvPr>
        </p:nvSpPr>
        <p:spPr/>
        <p:txBody>
          <a:bodyPr/>
          <a:lstStyle/>
          <a:p>
            <a:endParaRPr lang="en-US"/>
          </a:p>
        </p:txBody>
      </p:sp>
      <p:sp>
        <p:nvSpPr>
          <p:cNvPr id="22" name="Text Placeholder 21">
            <a:extLst>
              <a:ext uri="{FF2B5EF4-FFF2-40B4-BE49-F238E27FC236}">
                <a16:creationId xmlns:a16="http://schemas.microsoft.com/office/drawing/2014/main" id="{B5BB0285-8ED4-9542-AEBC-B7C30970D116}"/>
              </a:ext>
            </a:extLst>
          </p:cNvPr>
          <p:cNvSpPr>
            <a:spLocks noGrp="1"/>
          </p:cNvSpPr>
          <p:nvPr>
            <p:ph type="body" sz="quarter" idx="25"/>
          </p:nvPr>
        </p:nvSpPr>
        <p:spPr/>
        <p:txBody>
          <a:bodyPr/>
          <a:lstStyle/>
          <a:p>
            <a:endParaRPr lang="en-US"/>
          </a:p>
        </p:txBody>
      </p:sp>
      <p:sp>
        <p:nvSpPr>
          <p:cNvPr id="23" name="Text Placeholder 22">
            <a:extLst>
              <a:ext uri="{FF2B5EF4-FFF2-40B4-BE49-F238E27FC236}">
                <a16:creationId xmlns:a16="http://schemas.microsoft.com/office/drawing/2014/main" id="{3BF848E1-3A8A-5244-A710-DE6C5632EE40}"/>
              </a:ext>
            </a:extLst>
          </p:cNvPr>
          <p:cNvSpPr>
            <a:spLocks noGrp="1"/>
          </p:cNvSpPr>
          <p:nvPr>
            <p:ph type="body" sz="quarter" idx="31"/>
          </p:nvPr>
        </p:nvSpPr>
        <p:spPr/>
        <p:txBody>
          <a:bodyPr/>
          <a:lstStyle/>
          <a:p>
            <a:endParaRPr lang="en-US"/>
          </a:p>
        </p:txBody>
      </p:sp>
      <p:sp>
        <p:nvSpPr>
          <p:cNvPr id="24" name="Text Placeholder 23">
            <a:extLst>
              <a:ext uri="{FF2B5EF4-FFF2-40B4-BE49-F238E27FC236}">
                <a16:creationId xmlns:a16="http://schemas.microsoft.com/office/drawing/2014/main" id="{8A3DDC5B-6A2D-4442-A6F2-6E889029755B}"/>
              </a:ext>
            </a:extLst>
          </p:cNvPr>
          <p:cNvSpPr>
            <a:spLocks noGrp="1"/>
          </p:cNvSpPr>
          <p:nvPr>
            <p:ph type="body" sz="quarter" idx="37"/>
          </p:nvPr>
        </p:nvSpPr>
        <p:spPr/>
        <p:txBody>
          <a:bodyPr/>
          <a:lstStyle/>
          <a:p>
            <a:endParaRPr lang="en-US"/>
          </a:p>
        </p:txBody>
      </p:sp>
      <p:sp>
        <p:nvSpPr>
          <p:cNvPr id="25" name="Text Placeholder 24">
            <a:extLst>
              <a:ext uri="{FF2B5EF4-FFF2-40B4-BE49-F238E27FC236}">
                <a16:creationId xmlns:a16="http://schemas.microsoft.com/office/drawing/2014/main" id="{DE64CCE8-F7BD-504A-AB6F-6C0D21DEC9AF}"/>
              </a:ext>
            </a:extLst>
          </p:cNvPr>
          <p:cNvSpPr>
            <a:spLocks noGrp="1"/>
          </p:cNvSpPr>
          <p:nvPr>
            <p:ph type="body" sz="quarter" idx="43"/>
          </p:nvPr>
        </p:nvSpPr>
        <p:spPr/>
        <p:txBody>
          <a:bodyPr/>
          <a:lstStyle/>
          <a:p>
            <a:endParaRPr lang="en-US"/>
          </a:p>
        </p:txBody>
      </p:sp>
      <p:sp>
        <p:nvSpPr>
          <p:cNvPr id="26" name="Text Placeholder 25">
            <a:extLst>
              <a:ext uri="{FF2B5EF4-FFF2-40B4-BE49-F238E27FC236}">
                <a16:creationId xmlns:a16="http://schemas.microsoft.com/office/drawing/2014/main" id="{39B2B2BA-57E5-B440-92D5-10502268839A}"/>
              </a:ext>
            </a:extLst>
          </p:cNvPr>
          <p:cNvSpPr>
            <a:spLocks noGrp="1"/>
          </p:cNvSpPr>
          <p:nvPr>
            <p:ph type="body" sz="quarter" idx="14"/>
          </p:nvPr>
        </p:nvSpPr>
        <p:spPr/>
        <p:txBody>
          <a:bodyPr/>
          <a:lstStyle/>
          <a:p>
            <a:endParaRPr lang="en-US"/>
          </a:p>
        </p:txBody>
      </p:sp>
      <p:sp>
        <p:nvSpPr>
          <p:cNvPr id="27" name="Text Placeholder 26">
            <a:extLst>
              <a:ext uri="{FF2B5EF4-FFF2-40B4-BE49-F238E27FC236}">
                <a16:creationId xmlns:a16="http://schemas.microsoft.com/office/drawing/2014/main" id="{C68663A4-B22C-B043-9E14-47278D94C96E}"/>
              </a:ext>
            </a:extLst>
          </p:cNvPr>
          <p:cNvSpPr>
            <a:spLocks noGrp="1"/>
          </p:cNvSpPr>
          <p:nvPr>
            <p:ph type="body" sz="quarter" idx="20"/>
          </p:nvPr>
        </p:nvSpPr>
        <p:spPr/>
        <p:txBody>
          <a:bodyPr/>
          <a:lstStyle/>
          <a:p>
            <a:endParaRPr lang="en-US"/>
          </a:p>
        </p:txBody>
      </p:sp>
      <p:sp>
        <p:nvSpPr>
          <p:cNvPr id="28" name="Text Placeholder 27">
            <a:extLst>
              <a:ext uri="{FF2B5EF4-FFF2-40B4-BE49-F238E27FC236}">
                <a16:creationId xmlns:a16="http://schemas.microsoft.com/office/drawing/2014/main" id="{40B102DC-D59B-1145-A52B-C27C6DAE2520}"/>
              </a:ext>
            </a:extLst>
          </p:cNvPr>
          <p:cNvSpPr>
            <a:spLocks noGrp="1"/>
          </p:cNvSpPr>
          <p:nvPr>
            <p:ph type="body" sz="quarter" idx="26"/>
          </p:nvPr>
        </p:nvSpPr>
        <p:spPr/>
        <p:txBody>
          <a:bodyPr/>
          <a:lstStyle/>
          <a:p>
            <a:endParaRPr lang="en-US"/>
          </a:p>
        </p:txBody>
      </p:sp>
      <p:sp>
        <p:nvSpPr>
          <p:cNvPr id="29" name="Text Placeholder 28">
            <a:extLst>
              <a:ext uri="{FF2B5EF4-FFF2-40B4-BE49-F238E27FC236}">
                <a16:creationId xmlns:a16="http://schemas.microsoft.com/office/drawing/2014/main" id="{6D4C9EAF-A330-2147-A3C1-50CCACBB335C}"/>
              </a:ext>
            </a:extLst>
          </p:cNvPr>
          <p:cNvSpPr>
            <a:spLocks noGrp="1"/>
          </p:cNvSpPr>
          <p:nvPr>
            <p:ph type="body" sz="quarter" idx="32"/>
          </p:nvPr>
        </p:nvSpPr>
        <p:spPr/>
        <p:txBody>
          <a:bodyPr/>
          <a:lstStyle/>
          <a:p>
            <a:endParaRPr lang="en-US"/>
          </a:p>
        </p:txBody>
      </p:sp>
      <p:sp>
        <p:nvSpPr>
          <p:cNvPr id="30" name="Text Placeholder 29">
            <a:extLst>
              <a:ext uri="{FF2B5EF4-FFF2-40B4-BE49-F238E27FC236}">
                <a16:creationId xmlns:a16="http://schemas.microsoft.com/office/drawing/2014/main" id="{A9851D6C-374E-7E4E-AB01-4A8A7CF7C9A2}"/>
              </a:ext>
            </a:extLst>
          </p:cNvPr>
          <p:cNvSpPr>
            <a:spLocks noGrp="1"/>
          </p:cNvSpPr>
          <p:nvPr>
            <p:ph type="body" sz="quarter" idx="38"/>
          </p:nvPr>
        </p:nvSpPr>
        <p:spPr/>
        <p:txBody>
          <a:bodyPr/>
          <a:lstStyle/>
          <a:p>
            <a:endParaRPr lang="en-US"/>
          </a:p>
        </p:txBody>
      </p:sp>
      <p:sp>
        <p:nvSpPr>
          <p:cNvPr id="31" name="Text Placeholder 30">
            <a:extLst>
              <a:ext uri="{FF2B5EF4-FFF2-40B4-BE49-F238E27FC236}">
                <a16:creationId xmlns:a16="http://schemas.microsoft.com/office/drawing/2014/main" id="{08EBF72F-4477-A744-8C29-725E20F2D079}"/>
              </a:ext>
            </a:extLst>
          </p:cNvPr>
          <p:cNvSpPr>
            <a:spLocks noGrp="1"/>
          </p:cNvSpPr>
          <p:nvPr>
            <p:ph type="body" sz="quarter" idx="44"/>
          </p:nvPr>
        </p:nvSpPr>
        <p:spPr/>
        <p:txBody>
          <a:bodyPr/>
          <a:lstStyle/>
          <a:p>
            <a:endParaRPr lang="en-US"/>
          </a:p>
        </p:txBody>
      </p:sp>
      <p:sp>
        <p:nvSpPr>
          <p:cNvPr id="32" name="Text Placeholder 31">
            <a:extLst>
              <a:ext uri="{FF2B5EF4-FFF2-40B4-BE49-F238E27FC236}">
                <a16:creationId xmlns:a16="http://schemas.microsoft.com/office/drawing/2014/main" id="{E1959F2E-6D72-EA45-B0E2-278347FAB155}"/>
              </a:ext>
            </a:extLst>
          </p:cNvPr>
          <p:cNvSpPr>
            <a:spLocks noGrp="1"/>
          </p:cNvSpPr>
          <p:nvPr>
            <p:ph type="body" sz="quarter" idx="15"/>
          </p:nvPr>
        </p:nvSpPr>
        <p:spPr/>
        <p:txBody>
          <a:bodyPr/>
          <a:lstStyle/>
          <a:p>
            <a:endParaRPr lang="en-US"/>
          </a:p>
        </p:txBody>
      </p:sp>
      <p:sp>
        <p:nvSpPr>
          <p:cNvPr id="33" name="Text Placeholder 32">
            <a:extLst>
              <a:ext uri="{FF2B5EF4-FFF2-40B4-BE49-F238E27FC236}">
                <a16:creationId xmlns:a16="http://schemas.microsoft.com/office/drawing/2014/main" id="{20D68A9C-F7AD-744C-B230-1555907831E6}"/>
              </a:ext>
            </a:extLst>
          </p:cNvPr>
          <p:cNvSpPr>
            <a:spLocks noGrp="1"/>
          </p:cNvSpPr>
          <p:nvPr>
            <p:ph type="body" sz="quarter" idx="21"/>
          </p:nvPr>
        </p:nvSpPr>
        <p:spPr/>
        <p:txBody>
          <a:bodyPr/>
          <a:lstStyle/>
          <a:p>
            <a:endParaRPr lang="en-US"/>
          </a:p>
        </p:txBody>
      </p:sp>
      <p:sp>
        <p:nvSpPr>
          <p:cNvPr id="34" name="Text Placeholder 33">
            <a:extLst>
              <a:ext uri="{FF2B5EF4-FFF2-40B4-BE49-F238E27FC236}">
                <a16:creationId xmlns:a16="http://schemas.microsoft.com/office/drawing/2014/main" id="{5E9E40A4-36E2-1D48-B50D-D9BB52B42A8B}"/>
              </a:ext>
            </a:extLst>
          </p:cNvPr>
          <p:cNvSpPr>
            <a:spLocks noGrp="1"/>
          </p:cNvSpPr>
          <p:nvPr>
            <p:ph type="body" sz="quarter" idx="27"/>
          </p:nvPr>
        </p:nvSpPr>
        <p:spPr/>
        <p:txBody>
          <a:bodyPr/>
          <a:lstStyle/>
          <a:p>
            <a:endParaRPr lang="en-US"/>
          </a:p>
        </p:txBody>
      </p:sp>
      <p:sp>
        <p:nvSpPr>
          <p:cNvPr id="35" name="Text Placeholder 34">
            <a:extLst>
              <a:ext uri="{FF2B5EF4-FFF2-40B4-BE49-F238E27FC236}">
                <a16:creationId xmlns:a16="http://schemas.microsoft.com/office/drawing/2014/main" id="{739DFCC7-3BEA-0744-9DFA-1838BC08B510}"/>
              </a:ext>
            </a:extLst>
          </p:cNvPr>
          <p:cNvSpPr>
            <a:spLocks noGrp="1"/>
          </p:cNvSpPr>
          <p:nvPr>
            <p:ph type="body" sz="quarter" idx="33"/>
          </p:nvPr>
        </p:nvSpPr>
        <p:spPr/>
        <p:txBody>
          <a:bodyPr/>
          <a:lstStyle/>
          <a:p>
            <a:endParaRPr lang="en-US"/>
          </a:p>
        </p:txBody>
      </p:sp>
      <p:sp>
        <p:nvSpPr>
          <p:cNvPr id="36" name="Text Placeholder 35">
            <a:extLst>
              <a:ext uri="{FF2B5EF4-FFF2-40B4-BE49-F238E27FC236}">
                <a16:creationId xmlns:a16="http://schemas.microsoft.com/office/drawing/2014/main" id="{4EBDCFAC-C043-364E-8EA0-C00318AFEF95}"/>
              </a:ext>
            </a:extLst>
          </p:cNvPr>
          <p:cNvSpPr>
            <a:spLocks noGrp="1"/>
          </p:cNvSpPr>
          <p:nvPr>
            <p:ph type="body" sz="quarter" idx="39"/>
          </p:nvPr>
        </p:nvSpPr>
        <p:spPr/>
        <p:txBody>
          <a:bodyPr/>
          <a:lstStyle/>
          <a:p>
            <a:endParaRPr lang="en-US"/>
          </a:p>
        </p:txBody>
      </p:sp>
      <p:sp>
        <p:nvSpPr>
          <p:cNvPr id="37" name="Text Placeholder 36">
            <a:extLst>
              <a:ext uri="{FF2B5EF4-FFF2-40B4-BE49-F238E27FC236}">
                <a16:creationId xmlns:a16="http://schemas.microsoft.com/office/drawing/2014/main" id="{1FCE7899-23FE-2845-99DB-C35374080744}"/>
              </a:ext>
            </a:extLst>
          </p:cNvPr>
          <p:cNvSpPr>
            <a:spLocks noGrp="1"/>
          </p:cNvSpPr>
          <p:nvPr>
            <p:ph type="body" sz="quarter" idx="45"/>
          </p:nvPr>
        </p:nvSpPr>
        <p:spPr/>
        <p:txBody>
          <a:bodyPr/>
          <a:lstStyle/>
          <a:p>
            <a:endParaRPr lang="en-US"/>
          </a:p>
        </p:txBody>
      </p:sp>
    </p:spTree>
    <p:extLst>
      <p:ext uri="{BB962C8B-B14F-4D97-AF65-F5344CB8AC3E}">
        <p14:creationId xmlns:p14="http://schemas.microsoft.com/office/powerpoint/2010/main" val="360514113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B2AFE2B-762B-7944-9731-0228DFF6871E}"/>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8C31455C-1FC9-0049-8F01-85C00F2BA52F}"/>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78BC13AD-F196-C743-B519-FED01643823D}"/>
              </a:ext>
            </a:extLst>
          </p:cNvPr>
          <p:cNvSpPr>
            <a:spLocks noGrp="1"/>
          </p:cNvSpPr>
          <p:nvPr>
            <p:ph type="body" sz="quarter" idx="23"/>
          </p:nvPr>
        </p:nvSpPr>
        <p:spPr/>
        <p:txBody>
          <a:bodyPr/>
          <a:lstStyle/>
          <a:p>
            <a:endParaRPr lang="en-US"/>
          </a:p>
        </p:txBody>
      </p:sp>
      <p:sp>
        <p:nvSpPr>
          <p:cNvPr id="5" name="Text Placeholder 4">
            <a:extLst>
              <a:ext uri="{FF2B5EF4-FFF2-40B4-BE49-F238E27FC236}">
                <a16:creationId xmlns:a16="http://schemas.microsoft.com/office/drawing/2014/main" id="{77FC4640-ADEF-8444-9662-D5E5B3BE9B10}"/>
              </a:ext>
            </a:extLst>
          </p:cNvPr>
          <p:cNvSpPr>
            <a:spLocks noGrp="1"/>
          </p:cNvSpPr>
          <p:nvPr>
            <p:ph type="body" sz="quarter" idx="29"/>
          </p:nvPr>
        </p:nvSpPr>
        <p:spPr/>
        <p:txBody>
          <a:bodyPr/>
          <a:lstStyle/>
          <a:p>
            <a:endParaRPr lang="en-US"/>
          </a:p>
        </p:txBody>
      </p:sp>
      <p:sp>
        <p:nvSpPr>
          <p:cNvPr id="6" name="Text Placeholder 5">
            <a:extLst>
              <a:ext uri="{FF2B5EF4-FFF2-40B4-BE49-F238E27FC236}">
                <a16:creationId xmlns:a16="http://schemas.microsoft.com/office/drawing/2014/main" id="{576547DB-F368-AE4C-8F06-9A584A77F3AC}"/>
              </a:ext>
            </a:extLst>
          </p:cNvPr>
          <p:cNvSpPr>
            <a:spLocks noGrp="1"/>
          </p:cNvSpPr>
          <p:nvPr>
            <p:ph type="body" sz="quarter" idx="35"/>
          </p:nvPr>
        </p:nvSpPr>
        <p:spPr/>
        <p:txBody>
          <a:bodyPr/>
          <a:lstStyle/>
          <a:p>
            <a:endParaRPr lang="en-US"/>
          </a:p>
        </p:txBody>
      </p:sp>
      <p:sp>
        <p:nvSpPr>
          <p:cNvPr id="7" name="Text Placeholder 6">
            <a:extLst>
              <a:ext uri="{FF2B5EF4-FFF2-40B4-BE49-F238E27FC236}">
                <a16:creationId xmlns:a16="http://schemas.microsoft.com/office/drawing/2014/main" id="{658BD1D4-0C33-8F4F-B518-D21C154B3D7C}"/>
              </a:ext>
            </a:extLst>
          </p:cNvPr>
          <p:cNvSpPr>
            <a:spLocks noGrp="1"/>
          </p:cNvSpPr>
          <p:nvPr>
            <p:ph type="body" sz="quarter" idx="41"/>
          </p:nvPr>
        </p:nvSpPr>
        <p:spPr/>
        <p:txBody>
          <a:bodyPr/>
          <a:lstStyle/>
          <a:p>
            <a:endParaRPr lang="en-US"/>
          </a:p>
        </p:txBody>
      </p:sp>
      <p:sp>
        <p:nvSpPr>
          <p:cNvPr id="8" name="Text Placeholder 7">
            <a:extLst>
              <a:ext uri="{FF2B5EF4-FFF2-40B4-BE49-F238E27FC236}">
                <a16:creationId xmlns:a16="http://schemas.microsoft.com/office/drawing/2014/main" id="{2F2C541E-DAE1-404B-8F3D-207809CEA893}"/>
              </a:ext>
            </a:extLst>
          </p:cNvPr>
          <p:cNvSpPr>
            <a:spLocks noGrp="1"/>
          </p:cNvSpPr>
          <p:nvPr>
            <p:ph type="body" sz="quarter" idx="10"/>
          </p:nvPr>
        </p:nvSpPr>
        <p:spPr/>
        <p:txBody>
          <a:bodyPr/>
          <a:lstStyle/>
          <a:p>
            <a:endParaRPr lang="en-US"/>
          </a:p>
        </p:txBody>
      </p:sp>
      <p:sp>
        <p:nvSpPr>
          <p:cNvPr id="9" name="Text Placeholder 8">
            <a:extLst>
              <a:ext uri="{FF2B5EF4-FFF2-40B4-BE49-F238E27FC236}">
                <a16:creationId xmlns:a16="http://schemas.microsoft.com/office/drawing/2014/main" id="{695D91BB-59E4-4344-9F2F-8AA5EFA3277B}"/>
              </a:ext>
            </a:extLst>
          </p:cNvPr>
          <p:cNvSpPr>
            <a:spLocks noGrp="1"/>
          </p:cNvSpPr>
          <p:nvPr>
            <p:ph type="body" sz="quarter" idx="16"/>
          </p:nvPr>
        </p:nvSpPr>
        <p:spPr/>
        <p:txBody>
          <a:bodyPr/>
          <a:lstStyle/>
          <a:p>
            <a:endParaRPr lang="en-US"/>
          </a:p>
        </p:txBody>
      </p:sp>
      <p:sp>
        <p:nvSpPr>
          <p:cNvPr id="10" name="Text Placeholder 9">
            <a:extLst>
              <a:ext uri="{FF2B5EF4-FFF2-40B4-BE49-F238E27FC236}">
                <a16:creationId xmlns:a16="http://schemas.microsoft.com/office/drawing/2014/main" id="{BBA95D7D-14DC-0D4F-8CB4-A484F00F9440}"/>
              </a:ext>
            </a:extLst>
          </p:cNvPr>
          <p:cNvSpPr>
            <a:spLocks noGrp="1"/>
          </p:cNvSpPr>
          <p:nvPr>
            <p:ph type="body" sz="quarter" idx="22"/>
          </p:nvPr>
        </p:nvSpPr>
        <p:spPr/>
        <p:txBody>
          <a:bodyPr/>
          <a:lstStyle/>
          <a:p>
            <a:endParaRPr lang="en-US"/>
          </a:p>
        </p:txBody>
      </p:sp>
      <p:sp>
        <p:nvSpPr>
          <p:cNvPr id="11" name="Text Placeholder 10">
            <a:extLst>
              <a:ext uri="{FF2B5EF4-FFF2-40B4-BE49-F238E27FC236}">
                <a16:creationId xmlns:a16="http://schemas.microsoft.com/office/drawing/2014/main" id="{423AA91D-A13F-F54D-A3C7-55D7DCFCE23A}"/>
              </a:ext>
            </a:extLst>
          </p:cNvPr>
          <p:cNvSpPr>
            <a:spLocks noGrp="1"/>
          </p:cNvSpPr>
          <p:nvPr>
            <p:ph type="body" sz="quarter" idx="28"/>
          </p:nvPr>
        </p:nvSpPr>
        <p:spPr/>
        <p:txBody>
          <a:bodyPr/>
          <a:lstStyle/>
          <a:p>
            <a:endParaRPr lang="en-US"/>
          </a:p>
        </p:txBody>
      </p:sp>
      <p:sp>
        <p:nvSpPr>
          <p:cNvPr id="12" name="Text Placeholder 11">
            <a:extLst>
              <a:ext uri="{FF2B5EF4-FFF2-40B4-BE49-F238E27FC236}">
                <a16:creationId xmlns:a16="http://schemas.microsoft.com/office/drawing/2014/main" id="{AA0582B6-8024-B043-B2FF-E8A0D7178C3A}"/>
              </a:ext>
            </a:extLst>
          </p:cNvPr>
          <p:cNvSpPr>
            <a:spLocks noGrp="1"/>
          </p:cNvSpPr>
          <p:nvPr>
            <p:ph type="body" sz="quarter" idx="34"/>
          </p:nvPr>
        </p:nvSpPr>
        <p:spPr/>
        <p:txBody>
          <a:bodyPr/>
          <a:lstStyle/>
          <a:p>
            <a:endParaRPr lang="en-US"/>
          </a:p>
        </p:txBody>
      </p:sp>
      <p:sp>
        <p:nvSpPr>
          <p:cNvPr id="13" name="Text Placeholder 12">
            <a:extLst>
              <a:ext uri="{FF2B5EF4-FFF2-40B4-BE49-F238E27FC236}">
                <a16:creationId xmlns:a16="http://schemas.microsoft.com/office/drawing/2014/main" id="{92B31A03-5F38-0E4A-8395-1EE830EFEAC5}"/>
              </a:ext>
            </a:extLst>
          </p:cNvPr>
          <p:cNvSpPr>
            <a:spLocks noGrp="1"/>
          </p:cNvSpPr>
          <p:nvPr>
            <p:ph type="body" sz="quarter" idx="40"/>
          </p:nvPr>
        </p:nvSpPr>
        <p:spPr/>
        <p:txBody>
          <a:bodyPr/>
          <a:lstStyle/>
          <a:p>
            <a:endParaRPr lang="en-US"/>
          </a:p>
        </p:txBody>
      </p:sp>
      <p:sp>
        <p:nvSpPr>
          <p:cNvPr id="14" name="Text Placeholder 13">
            <a:extLst>
              <a:ext uri="{FF2B5EF4-FFF2-40B4-BE49-F238E27FC236}">
                <a16:creationId xmlns:a16="http://schemas.microsoft.com/office/drawing/2014/main" id="{A7EBE818-BE8D-ED43-93D2-56B8C4D37D4E}"/>
              </a:ext>
            </a:extLst>
          </p:cNvPr>
          <p:cNvSpPr>
            <a:spLocks noGrp="1"/>
          </p:cNvSpPr>
          <p:nvPr>
            <p:ph type="body" sz="quarter" idx="12"/>
          </p:nvPr>
        </p:nvSpPr>
        <p:spPr/>
        <p:txBody>
          <a:bodyPr/>
          <a:lstStyle/>
          <a:p>
            <a:endParaRPr lang="en-US"/>
          </a:p>
        </p:txBody>
      </p:sp>
      <p:sp>
        <p:nvSpPr>
          <p:cNvPr id="15" name="Text Placeholder 14">
            <a:extLst>
              <a:ext uri="{FF2B5EF4-FFF2-40B4-BE49-F238E27FC236}">
                <a16:creationId xmlns:a16="http://schemas.microsoft.com/office/drawing/2014/main" id="{DC05B160-DF40-0D4E-9294-E1D64B1D05CA}"/>
              </a:ext>
            </a:extLst>
          </p:cNvPr>
          <p:cNvSpPr>
            <a:spLocks noGrp="1"/>
          </p:cNvSpPr>
          <p:nvPr>
            <p:ph type="body" sz="quarter" idx="18"/>
          </p:nvPr>
        </p:nvSpPr>
        <p:spPr/>
        <p:txBody>
          <a:bodyPr/>
          <a:lstStyle/>
          <a:p>
            <a:endParaRPr lang="en-US"/>
          </a:p>
        </p:txBody>
      </p:sp>
      <p:sp>
        <p:nvSpPr>
          <p:cNvPr id="16" name="Text Placeholder 15">
            <a:extLst>
              <a:ext uri="{FF2B5EF4-FFF2-40B4-BE49-F238E27FC236}">
                <a16:creationId xmlns:a16="http://schemas.microsoft.com/office/drawing/2014/main" id="{1B2E99D8-3ADD-CE47-AFED-DD6417130162}"/>
              </a:ext>
            </a:extLst>
          </p:cNvPr>
          <p:cNvSpPr>
            <a:spLocks noGrp="1"/>
          </p:cNvSpPr>
          <p:nvPr>
            <p:ph type="body" sz="quarter" idx="24"/>
          </p:nvPr>
        </p:nvSpPr>
        <p:spPr/>
        <p:txBody>
          <a:bodyPr/>
          <a:lstStyle/>
          <a:p>
            <a:endParaRPr lang="en-US"/>
          </a:p>
        </p:txBody>
      </p:sp>
      <p:sp>
        <p:nvSpPr>
          <p:cNvPr id="17" name="Text Placeholder 16">
            <a:extLst>
              <a:ext uri="{FF2B5EF4-FFF2-40B4-BE49-F238E27FC236}">
                <a16:creationId xmlns:a16="http://schemas.microsoft.com/office/drawing/2014/main" id="{49445506-8C28-4D4C-903D-A0FCF4E61EB9}"/>
              </a:ext>
            </a:extLst>
          </p:cNvPr>
          <p:cNvSpPr>
            <a:spLocks noGrp="1"/>
          </p:cNvSpPr>
          <p:nvPr>
            <p:ph type="body" sz="quarter" idx="30"/>
          </p:nvPr>
        </p:nvSpPr>
        <p:spPr/>
        <p:txBody>
          <a:bodyPr/>
          <a:lstStyle/>
          <a:p>
            <a:endParaRPr lang="en-US"/>
          </a:p>
        </p:txBody>
      </p:sp>
      <p:sp>
        <p:nvSpPr>
          <p:cNvPr id="18" name="Text Placeholder 17">
            <a:extLst>
              <a:ext uri="{FF2B5EF4-FFF2-40B4-BE49-F238E27FC236}">
                <a16:creationId xmlns:a16="http://schemas.microsoft.com/office/drawing/2014/main" id="{753ED3DC-ECBD-5740-A631-7A17C70C161D}"/>
              </a:ext>
            </a:extLst>
          </p:cNvPr>
          <p:cNvSpPr>
            <a:spLocks noGrp="1"/>
          </p:cNvSpPr>
          <p:nvPr>
            <p:ph type="body" sz="quarter" idx="36"/>
          </p:nvPr>
        </p:nvSpPr>
        <p:spPr/>
        <p:txBody>
          <a:bodyPr/>
          <a:lstStyle/>
          <a:p>
            <a:endParaRPr lang="en-US"/>
          </a:p>
        </p:txBody>
      </p:sp>
      <p:sp>
        <p:nvSpPr>
          <p:cNvPr id="19" name="Text Placeholder 18">
            <a:extLst>
              <a:ext uri="{FF2B5EF4-FFF2-40B4-BE49-F238E27FC236}">
                <a16:creationId xmlns:a16="http://schemas.microsoft.com/office/drawing/2014/main" id="{93CAD78A-8E0A-3840-AC97-C438EFC2CF35}"/>
              </a:ext>
            </a:extLst>
          </p:cNvPr>
          <p:cNvSpPr>
            <a:spLocks noGrp="1"/>
          </p:cNvSpPr>
          <p:nvPr>
            <p:ph type="body" sz="quarter" idx="42"/>
          </p:nvPr>
        </p:nvSpPr>
        <p:spPr/>
        <p:txBody>
          <a:bodyPr/>
          <a:lstStyle/>
          <a:p>
            <a:endParaRPr lang="en-US"/>
          </a:p>
        </p:txBody>
      </p:sp>
      <p:sp>
        <p:nvSpPr>
          <p:cNvPr id="20" name="Text Placeholder 19">
            <a:extLst>
              <a:ext uri="{FF2B5EF4-FFF2-40B4-BE49-F238E27FC236}">
                <a16:creationId xmlns:a16="http://schemas.microsoft.com/office/drawing/2014/main" id="{26006DDB-CB9E-FF48-A8D2-F3CEBDC13757}"/>
              </a:ext>
            </a:extLst>
          </p:cNvPr>
          <p:cNvSpPr>
            <a:spLocks noGrp="1"/>
          </p:cNvSpPr>
          <p:nvPr>
            <p:ph type="body" sz="quarter" idx="13"/>
          </p:nvPr>
        </p:nvSpPr>
        <p:spPr/>
        <p:txBody>
          <a:bodyPr/>
          <a:lstStyle/>
          <a:p>
            <a:endParaRPr lang="en-US"/>
          </a:p>
        </p:txBody>
      </p:sp>
      <p:sp>
        <p:nvSpPr>
          <p:cNvPr id="21" name="Text Placeholder 20">
            <a:extLst>
              <a:ext uri="{FF2B5EF4-FFF2-40B4-BE49-F238E27FC236}">
                <a16:creationId xmlns:a16="http://schemas.microsoft.com/office/drawing/2014/main" id="{E46220B4-9FFF-C541-BD98-2AD7F4C19F4C}"/>
              </a:ext>
            </a:extLst>
          </p:cNvPr>
          <p:cNvSpPr>
            <a:spLocks noGrp="1"/>
          </p:cNvSpPr>
          <p:nvPr>
            <p:ph type="body" sz="quarter" idx="19"/>
          </p:nvPr>
        </p:nvSpPr>
        <p:spPr/>
        <p:txBody>
          <a:bodyPr/>
          <a:lstStyle/>
          <a:p>
            <a:endParaRPr lang="en-US"/>
          </a:p>
        </p:txBody>
      </p:sp>
      <p:sp>
        <p:nvSpPr>
          <p:cNvPr id="22" name="Text Placeholder 21">
            <a:extLst>
              <a:ext uri="{FF2B5EF4-FFF2-40B4-BE49-F238E27FC236}">
                <a16:creationId xmlns:a16="http://schemas.microsoft.com/office/drawing/2014/main" id="{039FC2B1-062E-1B41-99CF-3B66013080C8}"/>
              </a:ext>
            </a:extLst>
          </p:cNvPr>
          <p:cNvSpPr>
            <a:spLocks noGrp="1"/>
          </p:cNvSpPr>
          <p:nvPr>
            <p:ph type="body" sz="quarter" idx="25"/>
          </p:nvPr>
        </p:nvSpPr>
        <p:spPr/>
        <p:txBody>
          <a:bodyPr/>
          <a:lstStyle/>
          <a:p>
            <a:endParaRPr lang="en-US"/>
          </a:p>
        </p:txBody>
      </p:sp>
      <p:sp>
        <p:nvSpPr>
          <p:cNvPr id="23" name="Text Placeholder 22">
            <a:extLst>
              <a:ext uri="{FF2B5EF4-FFF2-40B4-BE49-F238E27FC236}">
                <a16:creationId xmlns:a16="http://schemas.microsoft.com/office/drawing/2014/main" id="{01C80530-33EC-7D44-AB47-04B79B952712}"/>
              </a:ext>
            </a:extLst>
          </p:cNvPr>
          <p:cNvSpPr>
            <a:spLocks noGrp="1"/>
          </p:cNvSpPr>
          <p:nvPr>
            <p:ph type="body" sz="quarter" idx="31"/>
          </p:nvPr>
        </p:nvSpPr>
        <p:spPr/>
        <p:txBody>
          <a:bodyPr/>
          <a:lstStyle/>
          <a:p>
            <a:endParaRPr lang="en-US"/>
          </a:p>
        </p:txBody>
      </p:sp>
      <p:sp>
        <p:nvSpPr>
          <p:cNvPr id="24" name="Text Placeholder 23">
            <a:extLst>
              <a:ext uri="{FF2B5EF4-FFF2-40B4-BE49-F238E27FC236}">
                <a16:creationId xmlns:a16="http://schemas.microsoft.com/office/drawing/2014/main" id="{9D21C3A6-E7AC-D945-B563-D06071A1425C}"/>
              </a:ext>
            </a:extLst>
          </p:cNvPr>
          <p:cNvSpPr>
            <a:spLocks noGrp="1"/>
          </p:cNvSpPr>
          <p:nvPr>
            <p:ph type="body" sz="quarter" idx="37"/>
          </p:nvPr>
        </p:nvSpPr>
        <p:spPr/>
        <p:txBody>
          <a:bodyPr/>
          <a:lstStyle/>
          <a:p>
            <a:endParaRPr lang="en-US"/>
          </a:p>
        </p:txBody>
      </p:sp>
      <p:sp>
        <p:nvSpPr>
          <p:cNvPr id="25" name="Text Placeholder 24">
            <a:extLst>
              <a:ext uri="{FF2B5EF4-FFF2-40B4-BE49-F238E27FC236}">
                <a16:creationId xmlns:a16="http://schemas.microsoft.com/office/drawing/2014/main" id="{C5224798-795F-C84A-8D5B-E2487AAF7847}"/>
              </a:ext>
            </a:extLst>
          </p:cNvPr>
          <p:cNvSpPr>
            <a:spLocks noGrp="1"/>
          </p:cNvSpPr>
          <p:nvPr>
            <p:ph type="body" sz="quarter" idx="43"/>
          </p:nvPr>
        </p:nvSpPr>
        <p:spPr/>
        <p:txBody>
          <a:bodyPr/>
          <a:lstStyle/>
          <a:p>
            <a:endParaRPr lang="en-US"/>
          </a:p>
        </p:txBody>
      </p:sp>
      <p:sp>
        <p:nvSpPr>
          <p:cNvPr id="26" name="Text Placeholder 25">
            <a:extLst>
              <a:ext uri="{FF2B5EF4-FFF2-40B4-BE49-F238E27FC236}">
                <a16:creationId xmlns:a16="http://schemas.microsoft.com/office/drawing/2014/main" id="{E5961A66-8ADF-DC42-8AA9-7E77D5AEBCFE}"/>
              </a:ext>
            </a:extLst>
          </p:cNvPr>
          <p:cNvSpPr>
            <a:spLocks noGrp="1"/>
          </p:cNvSpPr>
          <p:nvPr>
            <p:ph type="body" sz="quarter" idx="14"/>
          </p:nvPr>
        </p:nvSpPr>
        <p:spPr/>
        <p:txBody>
          <a:bodyPr/>
          <a:lstStyle/>
          <a:p>
            <a:endParaRPr lang="en-US"/>
          </a:p>
        </p:txBody>
      </p:sp>
      <p:sp>
        <p:nvSpPr>
          <p:cNvPr id="27" name="Text Placeholder 26">
            <a:extLst>
              <a:ext uri="{FF2B5EF4-FFF2-40B4-BE49-F238E27FC236}">
                <a16:creationId xmlns:a16="http://schemas.microsoft.com/office/drawing/2014/main" id="{19B1C581-296F-784D-A439-25DABE2D8BBE}"/>
              </a:ext>
            </a:extLst>
          </p:cNvPr>
          <p:cNvSpPr>
            <a:spLocks noGrp="1"/>
          </p:cNvSpPr>
          <p:nvPr>
            <p:ph type="body" sz="quarter" idx="20"/>
          </p:nvPr>
        </p:nvSpPr>
        <p:spPr/>
        <p:txBody>
          <a:bodyPr/>
          <a:lstStyle/>
          <a:p>
            <a:endParaRPr lang="en-US"/>
          </a:p>
        </p:txBody>
      </p:sp>
      <p:sp>
        <p:nvSpPr>
          <p:cNvPr id="28" name="Text Placeholder 27">
            <a:extLst>
              <a:ext uri="{FF2B5EF4-FFF2-40B4-BE49-F238E27FC236}">
                <a16:creationId xmlns:a16="http://schemas.microsoft.com/office/drawing/2014/main" id="{20A442C2-67D9-D74A-97D9-AF8FD1A43763}"/>
              </a:ext>
            </a:extLst>
          </p:cNvPr>
          <p:cNvSpPr>
            <a:spLocks noGrp="1"/>
          </p:cNvSpPr>
          <p:nvPr>
            <p:ph type="body" sz="quarter" idx="26"/>
          </p:nvPr>
        </p:nvSpPr>
        <p:spPr/>
        <p:txBody>
          <a:bodyPr/>
          <a:lstStyle/>
          <a:p>
            <a:endParaRPr lang="en-US"/>
          </a:p>
        </p:txBody>
      </p:sp>
      <p:sp>
        <p:nvSpPr>
          <p:cNvPr id="29" name="Text Placeholder 28">
            <a:extLst>
              <a:ext uri="{FF2B5EF4-FFF2-40B4-BE49-F238E27FC236}">
                <a16:creationId xmlns:a16="http://schemas.microsoft.com/office/drawing/2014/main" id="{3F61B5DB-B29A-A84A-8FAE-ACB1C51D3372}"/>
              </a:ext>
            </a:extLst>
          </p:cNvPr>
          <p:cNvSpPr>
            <a:spLocks noGrp="1"/>
          </p:cNvSpPr>
          <p:nvPr>
            <p:ph type="body" sz="quarter" idx="32"/>
          </p:nvPr>
        </p:nvSpPr>
        <p:spPr/>
        <p:txBody>
          <a:bodyPr/>
          <a:lstStyle/>
          <a:p>
            <a:endParaRPr lang="en-US"/>
          </a:p>
        </p:txBody>
      </p:sp>
      <p:sp>
        <p:nvSpPr>
          <p:cNvPr id="30" name="Text Placeholder 29">
            <a:extLst>
              <a:ext uri="{FF2B5EF4-FFF2-40B4-BE49-F238E27FC236}">
                <a16:creationId xmlns:a16="http://schemas.microsoft.com/office/drawing/2014/main" id="{BD9032F8-CB8A-ED4B-AD2A-B0A298DC3167}"/>
              </a:ext>
            </a:extLst>
          </p:cNvPr>
          <p:cNvSpPr>
            <a:spLocks noGrp="1"/>
          </p:cNvSpPr>
          <p:nvPr>
            <p:ph type="body" sz="quarter" idx="38"/>
          </p:nvPr>
        </p:nvSpPr>
        <p:spPr/>
        <p:txBody>
          <a:bodyPr/>
          <a:lstStyle/>
          <a:p>
            <a:endParaRPr lang="en-US"/>
          </a:p>
        </p:txBody>
      </p:sp>
      <p:sp>
        <p:nvSpPr>
          <p:cNvPr id="31" name="Text Placeholder 30">
            <a:extLst>
              <a:ext uri="{FF2B5EF4-FFF2-40B4-BE49-F238E27FC236}">
                <a16:creationId xmlns:a16="http://schemas.microsoft.com/office/drawing/2014/main" id="{A7398E89-06FF-6448-8094-01FDAEB122AB}"/>
              </a:ext>
            </a:extLst>
          </p:cNvPr>
          <p:cNvSpPr>
            <a:spLocks noGrp="1"/>
          </p:cNvSpPr>
          <p:nvPr>
            <p:ph type="body" sz="quarter" idx="44"/>
          </p:nvPr>
        </p:nvSpPr>
        <p:spPr/>
        <p:txBody>
          <a:bodyPr/>
          <a:lstStyle/>
          <a:p>
            <a:endParaRPr lang="en-US"/>
          </a:p>
        </p:txBody>
      </p:sp>
      <p:sp>
        <p:nvSpPr>
          <p:cNvPr id="32" name="Text Placeholder 31">
            <a:extLst>
              <a:ext uri="{FF2B5EF4-FFF2-40B4-BE49-F238E27FC236}">
                <a16:creationId xmlns:a16="http://schemas.microsoft.com/office/drawing/2014/main" id="{A13789FF-850F-B743-B09F-D48EC8B01F4C}"/>
              </a:ext>
            </a:extLst>
          </p:cNvPr>
          <p:cNvSpPr>
            <a:spLocks noGrp="1"/>
          </p:cNvSpPr>
          <p:nvPr>
            <p:ph type="body" sz="quarter" idx="15"/>
          </p:nvPr>
        </p:nvSpPr>
        <p:spPr/>
        <p:txBody>
          <a:bodyPr/>
          <a:lstStyle/>
          <a:p>
            <a:endParaRPr lang="en-US"/>
          </a:p>
        </p:txBody>
      </p:sp>
      <p:sp>
        <p:nvSpPr>
          <p:cNvPr id="33" name="Text Placeholder 32">
            <a:extLst>
              <a:ext uri="{FF2B5EF4-FFF2-40B4-BE49-F238E27FC236}">
                <a16:creationId xmlns:a16="http://schemas.microsoft.com/office/drawing/2014/main" id="{EDA7461E-9BA8-694F-A186-6D301A424094}"/>
              </a:ext>
            </a:extLst>
          </p:cNvPr>
          <p:cNvSpPr>
            <a:spLocks noGrp="1"/>
          </p:cNvSpPr>
          <p:nvPr>
            <p:ph type="body" sz="quarter" idx="21"/>
          </p:nvPr>
        </p:nvSpPr>
        <p:spPr/>
        <p:txBody>
          <a:bodyPr/>
          <a:lstStyle/>
          <a:p>
            <a:endParaRPr lang="en-US"/>
          </a:p>
        </p:txBody>
      </p:sp>
      <p:sp>
        <p:nvSpPr>
          <p:cNvPr id="34" name="Text Placeholder 33">
            <a:extLst>
              <a:ext uri="{FF2B5EF4-FFF2-40B4-BE49-F238E27FC236}">
                <a16:creationId xmlns:a16="http://schemas.microsoft.com/office/drawing/2014/main" id="{83EEB135-C41A-AC4E-8C6D-438351F94289}"/>
              </a:ext>
            </a:extLst>
          </p:cNvPr>
          <p:cNvSpPr>
            <a:spLocks noGrp="1"/>
          </p:cNvSpPr>
          <p:nvPr>
            <p:ph type="body" sz="quarter" idx="27"/>
          </p:nvPr>
        </p:nvSpPr>
        <p:spPr/>
        <p:txBody>
          <a:bodyPr/>
          <a:lstStyle/>
          <a:p>
            <a:endParaRPr lang="en-US"/>
          </a:p>
        </p:txBody>
      </p:sp>
      <p:sp>
        <p:nvSpPr>
          <p:cNvPr id="35" name="Text Placeholder 34">
            <a:extLst>
              <a:ext uri="{FF2B5EF4-FFF2-40B4-BE49-F238E27FC236}">
                <a16:creationId xmlns:a16="http://schemas.microsoft.com/office/drawing/2014/main" id="{F6FAA5D3-2FE6-7348-ACA8-867CDACE3EBA}"/>
              </a:ext>
            </a:extLst>
          </p:cNvPr>
          <p:cNvSpPr>
            <a:spLocks noGrp="1"/>
          </p:cNvSpPr>
          <p:nvPr>
            <p:ph type="body" sz="quarter" idx="33"/>
          </p:nvPr>
        </p:nvSpPr>
        <p:spPr/>
        <p:txBody>
          <a:bodyPr/>
          <a:lstStyle/>
          <a:p>
            <a:endParaRPr lang="en-US"/>
          </a:p>
        </p:txBody>
      </p:sp>
      <p:sp>
        <p:nvSpPr>
          <p:cNvPr id="36" name="Text Placeholder 35">
            <a:extLst>
              <a:ext uri="{FF2B5EF4-FFF2-40B4-BE49-F238E27FC236}">
                <a16:creationId xmlns:a16="http://schemas.microsoft.com/office/drawing/2014/main" id="{E1F46B28-BEA2-0045-A39C-15995E2749A6}"/>
              </a:ext>
            </a:extLst>
          </p:cNvPr>
          <p:cNvSpPr>
            <a:spLocks noGrp="1"/>
          </p:cNvSpPr>
          <p:nvPr>
            <p:ph type="body" sz="quarter" idx="39"/>
          </p:nvPr>
        </p:nvSpPr>
        <p:spPr/>
        <p:txBody>
          <a:bodyPr/>
          <a:lstStyle/>
          <a:p>
            <a:endParaRPr lang="en-US"/>
          </a:p>
        </p:txBody>
      </p:sp>
      <p:sp>
        <p:nvSpPr>
          <p:cNvPr id="37" name="Text Placeholder 36">
            <a:extLst>
              <a:ext uri="{FF2B5EF4-FFF2-40B4-BE49-F238E27FC236}">
                <a16:creationId xmlns:a16="http://schemas.microsoft.com/office/drawing/2014/main" id="{D609C0FF-A644-524B-A659-9D71317E2FA8}"/>
              </a:ext>
            </a:extLst>
          </p:cNvPr>
          <p:cNvSpPr>
            <a:spLocks noGrp="1"/>
          </p:cNvSpPr>
          <p:nvPr>
            <p:ph type="body" sz="quarter" idx="45"/>
          </p:nvPr>
        </p:nvSpPr>
        <p:spPr/>
        <p:txBody>
          <a:bodyPr/>
          <a:lstStyle/>
          <a:p>
            <a:endParaRPr lang="en-US"/>
          </a:p>
        </p:txBody>
      </p:sp>
    </p:spTree>
    <p:extLst>
      <p:ext uri="{BB962C8B-B14F-4D97-AF65-F5344CB8AC3E}">
        <p14:creationId xmlns:p14="http://schemas.microsoft.com/office/powerpoint/2010/main" val="5510773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3608944" y="4882401"/>
            <a:ext cx="10020692" cy="9325630"/>
          </a:xfrm>
          <a:prstGeom prst="rect">
            <a:avLst/>
          </a:prstGeom>
          <a:noFill/>
        </p:spPr>
        <p:txBody>
          <a:bodyPr wrap="none" rtlCol="0">
            <a:spAutoFit/>
          </a:bodyPr>
          <a:lstStyle/>
          <a:p>
            <a:r>
              <a:rPr lang="en-US" sz="60000" b="1" dirty="0">
                <a:solidFill>
                  <a:schemeClr val="accent6"/>
                </a:solidFill>
              </a:rPr>
              <a:t>Aa</a:t>
            </a:r>
          </a:p>
        </p:txBody>
      </p:sp>
      <p:sp>
        <p:nvSpPr>
          <p:cNvPr id="2" name="Title 1"/>
          <p:cNvSpPr>
            <a:spLocks noGrp="1"/>
          </p:cNvSpPr>
          <p:nvPr>
            <p:ph type="title"/>
          </p:nvPr>
        </p:nvSpPr>
        <p:spPr/>
        <p:txBody>
          <a:bodyPr/>
          <a:lstStyle/>
          <a:p>
            <a:r>
              <a:rPr lang="en-US" dirty="0"/>
              <a:t>Typography</a:t>
            </a:r>
          </a:p>
        </p:txBody>
      </p:sp>
      <p:sp>
        <p:nvSpPr>
          <p:cNvPr id="3" name="Content Placeholder 2"/>
          <p:cNvSpPr>
            <a:spLocks noGrp="1"/>
          </p:cNvSpPr>
          <p:nvPr>
            <p:ph idx="10"/>
          </p:nvPr>
        </p:nvSpPr>
        <p:spPr/>
        <p:txBody>
          <a:bodyPr/>
          <a:lstStyle/>
          <a:p>
            <a:r>
              <a:rPr lang="en-US" b="1" dirty="0"/>
              <a:t>Arial</a:t>
            </a:r>
            <a:r>
              <a:rPr lang="en-US" dirty="0"/>
              <a:t> is the approved font for presentations</a:t>
            </a:r>
          </a:p>
          <a:p>
            <a:r>
              <a:rPr lang="en-US" dirty="0"/>
              <a:t>Do not change or use alternate or past fonts such as Calibri or </a:t>
            </a:r>
            <a:r>
              <a:rPr lang="en-US" dirty="0" err="1"/>
              <a:t>Lato</a:t>
            </a:r>
            <a:endParaRPr lang="en-US" dirty="0"/>
          </a:p>
          <a:p>
            <a:endParaRPr lang="en-US" dirty="0"/>
          </a:p>
          <a:p>
            <a:pPr marL="0" indent="0">
              <a:buNone/>
            </a:pPr>
            <a:r>
              <a:rPr lang="en-US" sz="9600" dirty="0"/>
              <a:t>Max font-size: 96pt</a:t>
            </a:r>
          </a:p>
          <a:p>
            <a:r>
              <a:rPr lang="en-US" dirty="0"/>
              <a:t>Use sparingly, for big callouts</a:t>
            </a:r>
          </a:p>
          <a:p>
            <a:pPr lvl="1"/>
            <a:endParaRPr lang="en-US" dirty="0"/>
          </a:p>
          <a:p>
            <a:pPr marL="0" indent="0">
              <a:buNone/>
            </a:pPr>
            <a:r>
              <a:rPr lang="en-US" sz="2800" dirty="0"/>
              <a:t>Min font-size: 28pt</a:t>
            </a:r>
          </a:p>
          <a:p>
            <a:r>
              <a:rPr lang="en-US" dirty="0"/>
              <a:t>Use for captions and sources</a:t>
            </a:r>
          </a:p>
        </p:txBody>
      </p:sp>
    </p:spTree>
    <p:extLst>
      <p:ext uri="{BB962C8B-B14F-4D97-AF65-F5344CB8AC3E}">
        <p14:creationId xmlns:p14="http://schemas.microsoft.com/office/powerpoint/2010/main" val="68144814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9DE128-3E31-004C-96C1-A0E21EC7D016}"/>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946C0C26-8FA0-E745-BCE0-90E525C5D3C6}"/>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9ED7C627-91F8-E647-BF5A-F3CF887565DC}"/>
              </a:ext>
            </a:extLst>
          </p:cNvPr>
          <p:cNvSpPr>
            <a:spLocks noGrp="1"/>
          </p:cNvSpPr>
          <p:nvPr>
            <p:ph type="body" sz="quarter" idx="23"/>
          </p:nvPr>
        </p:nvSpPr>
        <p:spPr/>
        <p:txBody>
          <a:bodyPr/>
          <a:lstStyle/>
          <a:p>
            <a:endParaRPr lang="en-US"/>
          </a:p>
        </p:txBody>
      </p:sp>
      <p:sp>
        <p:nvSpPr>
          <p:cNvPr id="5" name="Text Placeholder 4">
            <a:extLst>
              <a:ext uri="{FF2B5EF4-FFF2-40B4-BE49-F238E27FC236}">
                <a16:creationId xmlns:a16="http://schemas.microsoft.com/office/drawing/2014/main" id="{50AA2094-49AB-3D40-8EEA-901966385CD7}"/>
              </a:ext>
            </a:extLst>
          </p:cNvPr>
          <p:cNvSpPr>
            <a:spLocks noGrp="1"/>
          </p:cNvSpPr>
          <p:nvPr>
            <p:ph type="body" sz="quarter" idx="29"/>
          </p:nvPr>
        </p:nvSpPr>
        <p:spPr/>
        <p:txBody>
          <a:bodyPr/>
          <a:lstStyle/>
          <a:p>
            <a:endParaRPr lang="en-US"/>
          </a:p>
        </p:txBody>
      </p:sp>
      <p:sp>
        <p:nvSpPr>
          <p:cNvPr id="6" name="Text Placeholder 5">
            <a:extLst>
              <a:ext uri="{FF2B5EF4-FFF2-40B4-BE49-F238E27FC236}">
                <a16:creationId xmlns:a16="http://schemas.microsoft.com/office/drawing/2014/main" id="{0BFF4A66-EB30-5346-8D23-2DD41B767F5C}"/>
              </a:ext>
            </a:extLst>
          </p:cNvPr>
          <p:cNvSpPr>
            <a:spLocks noGrp="1"/>
          </p:cNvSpPr>
          <p:nvPr>
            <p:ph type="body" sz="quarter" idx="35"/>
          </p:nvPr>
        </p:nvSpPr>
        <p:spPr/>
        <p:txBody>
          <a:bodyPr/>
          <a:lstStyle/>
          <a:p>
            <a:endParaRPr lang="en-US"/>
          </a:p>
        </p:txBody>
      </p:sp>
      <p:sp>
        <p:nvSpPr>
          <p:cNvPr id="7" name="Text Placeholder 6">
            <a:extLst>
              <a:ext uri="{FF2B5EF4-FFF2-40B4-BE49-F238E27FC236}">
                <a16:creationId xmlns:a16="http://schemas.microsoft.com/office/drawing/2014/main" id="{2E1D2504-73BE-7043-BC22-A9D9AF2B86F7}"/>
              </a:ext>
            </a:extLst>
          </p:cNvPr>
          <p:cNvSpPr>
            <a:spLocks noGrp="1"/>
          </p:cNvSpPr>
          <p:nvPr>
            <p:ph type="body" sz="quarter" idx="41"/>
          </p:nvPr>
        </p:nvSpPr>
        <p:spPr/>
        <p:txBody>
          <a:bodyPr/>
          <a:lstStyle/>
          <a:p>
            <a:endParaRPr lang="en-US"/>
          </a:p>
        </p:txBody>
      </p:sp>
      <p:sp>
        <p:nvSpPr>
          <p:cNvPr id="8" name="Text Placeholder 7">
            <a:extLst>
              <a:ext uri="{FF2B5EF4-FFF2-40B4-BE49-F238E27FC236}">
                <a16:creationId xmlns:a16="http://schemas.microsoft.com/office/drawing/2014/main" id="{EC9E7254-74D9-7442-9751-38BB3FF89D18}"/>
              </a:ext>
            </a:extLst>
          </p:cNvPr>
          <p:cNvSpPr>
            <a:spLocks noGrp="1"/>
          </p:cNvSpPr>
          <p:nvPr>
            <p:ph type="body" sz="quarter" idx="10"/>
          </p:nvPr>
        </p:nvSpPr>
        <p:spPr/>
        <p:txBody>
          <a:bodyPr/>
          <a:lstStyle/>
          <a:p>
            <a:endParaRPr lang="en-US"/>
          </a:p>
        </p:txBody>
      </p:sp>
      <p:sp>
        <p:nvSpPr>
          <p:cNvPr id="9" name="Text Placeholder 8">
            <a:extLst>
              <a:ext uri="{FF2B5EF4-FFF2-40B4-BE49-F238E27FC236}">
                <a16:creationId xmlns:a16="http://schemas.microsoft.com/office/drawing/2014/main" id="{64E6D504-245F-234C-AA99-27965A058D4C}"/>
              </a:ext>
            </a:extLst>
          </p:cNvPr>
          <p:cNvSpPr>
            <a:spLocks noGrp="1"/>
          </p:cNvSpPr>
          <p:nvPr>
            <p:ph type="body" sz="quarter" idx="16"/>
          </p:nvPr>
        </p:nvSpPr>
        <p:spPr/>
        <p:txBody>
          <a:bodyPr/>
          <a:lstStyle/>
          <a:p>
            <a:endParaRPr lang="en-US"/>
          </a:p>
        </p:txBody>
      </p:sp>
      <p:sp>
        <p:nvSpPr>
          <p:cNvPr id="10" name="Text Placeholder 9">
            <a:extLst>
              <a:ext uri="{FF2B5EF4-FFF2-40B4-BE49-F238E27FC236}">
                <a16:creationId xmlns:a16="http://schemas.microsoft.com/office/drawing/2014/main" id="{60056B8C-BCA1-6243-BA07-83736EDE6831}"/>
              </a:ext>
            </a:extLst>
          </p:cNvPr>
          <p:cNvSpPr>
            <a:spLocks noGrp="1"/>
          </p:cNvSpPr>
          <p:nvPr>
            <p:ph type="body" sz="quarter" idx="22"/>
          </p:nvPr>
        </p:nvSpPr>
        <p:spPr/>
        <p:txBody>
          <a:bodyPr/>
          <a:lstStyle/>
          <a:p>
            <a:endParaRPr lang="en-US"/>
          </a:p>
        </p:txBody>
      </p:sp>
      <p:sp>
        <p:nvSpPr>
          <p:cNvPr id="11" name="Text Placeholder 10">
            <a:extLst>
              <a:ext uri="{FF2B5EF4-FFF2-40B4-BE49-F238E27FC236}">
                <a16:creationId xmlns:a16="http://schemas.microsoft.com/office/drawing/2014/main" id="{9F0C8CDC-04C5-FD47-B2A8-7AD0C35A3721}"/>
              </a:ext>
            </a:extLst>
          </p:cNvPr>
          <p:cNvSpPr>
            <a:spLocks noGrp="1"/>
          </p:cNvSpPr>
          <p:nvPr>
            <p:ph type="body" sz="quarter" idx="28"/>
          </p:nvPr>
        </p:nvSpPr>
        <p:spPr/>
        <p:txBody>
          <a:bodyPr/>
          <a:lstStyle/>
          <a:p>
            <a:endParaRPr lang="en-US"/>
          </a:p>
        </p:txBody>
      </p:sp>
      <p:sp>
        <p:nvSpPr>
          <p:cNvPr id="12" name="Text Placeholder 11">
            <a:extLst>
              <a:ext uri="{FF2B5EF4-FFF2-40B4-BE49-F238E27FC236}">
                <a16:creationId xmlns:a16="http://schemas.microsoft.com/office/drawing/2014/main" id="{46BACC3D-1FAE-1545-A20F-DDF9431CB965}"/>
              </a:ext>
            </a:extLst>
          </p:cNvPr>
          <p:cNvSpPr>
            <a:spLocks noGrp="1"/>
          </p:cNvSpPr>
          <p:nvPr>
            <p:ph type="body" sz="quarter" idx="34"/>
          </p:nvPr>
        </p:nvSpPr>
        <p:spPr/>
        <p:txBody>
          <a:bodyPr/>
          <a:lstStyle/>
          <a:p>
            <a:endParaRPr lang="en-US"/>
          </a:p>
        </p:txBody>
      </p:sp>
      <p:sp>
        <p:nvSpPr>
          <p:cNvPr id="13" name="Text Placeholder 12">
            <a:extLst>
              <a:ext uri="{FF2B5EF4-FFF2-40B4-BE49-F238E27FC236}">
                <a16:creationId xmlns:a16="http://schemas.microsoft.com/office/drawing/2014/main" id="{F55B4208-8D79-9F47-BFC2-71FD891E2807}"/>
              </a:ext>
            </a:extLst>
          </p:cNvPr>
          <p:cNvSpPr>
            <a:spLocks noGrp="1"/>
          </p:cNvSpPr>
          <p:nvPr>
            <p:ph type="body" sz="quarter" idx="40"/>
          </p:nvPr>
        </p:nvSpPr>
        <p:spPr/>
        <p:txBody>
          <a:bodyPr/>
          <a:lstStyle/>
          <a:p>
            <a:endParaRPr lang="en-US"/>
          </a:p>
        </p:txBody>
      </p:sp>
      <p:sp>
        <p:nvSpPr>
          <p:cNvPr id="14" name="Text Placeholder 13">
            <a:extLst>
              <a:ext uri="{FF2B5EF4-FFF2-40B4-BE49-F238E27FC236}">
                <a16:creationId xmlns:a16="http://schemas.microsoft.com/office/drawing/2014/main" id="{3C564EA1-84BD-754F-A00A-DEB74D9422F8}"/>
              </a:ext>
            </a:extLst>
          </p:cNvPr>
          <p:cNvSpPr>
            <a:spLocks noGrp="1"/>
          </p:cNvSpPr>
          <p:nvPr>
            <p:ph type="body" sz="quarter" idx="12"/>
          </p:nvPr>
        </p:nvSpPr>
        <p:spPr/>
        <p:txBody>
          <a:bodyPr/>
          <a:lstStyle/>
          <a:p>
            <a:endParaRPr lang="en-US"/>
          </a:p>
        </p:txBody>
      </p:sp>
      <p:sp>
        <p:nvSpPr>
          <p:cNvPr id="15" name="Text Placeholder 14">
            <a:extLst>
              <a:ext uri="{FF2B5EF4-FFF2-40B4-BE49-F238E27FC236}">
                <a16:creationId xmlns:a16="http://schemas.microsoft.com/office/drawing/2014/main" id="{8D3F148D-6328-0949-B777-6F59AB152054}"/>
              </a:ext>
            </a:extLst>
          </p:cNvPr>
          <p:cNvSpPr>
            <a:spLocks noGrp="1"/>
          </p:cNvSpPr>
          <p:nvPr>
            <p:ph type="body" sz="quarter" idx="18"/>
          </p:nvPr>
        </p:nvSpPr>
        <p:spPr/>
        <p:txBody>
          <a:bodyPr/>
          <a:lstStyle/>
          <a:p>
            <a:endParaRPr lang="en-US"/>
          </a:p>
        </p:txBody>
      </p:sp>
      <p:sp>
        <p:nvSpPr>
          <p:cNvPr id="16" name="Text Placeholder 15">
            <a:extLst>
              <a:ext uri="{FF2B5EF4-FFF2-40B4-BE49-F238E27FC236}">
                <a16:creationId xmlns:a16="http://schemas.microsoft.com/office/drawing/2014/main" id="{E0798DC9-D231-1A4C-806B-B38192C2961A}"/>
              </a:ext>
            </a:extLst>
          </p:cNvPr>
          <p:cNvSpPr>
            <a:spLocks noGrp="1"/>
          </p:cNvSpPr>
          <p:nvPr>
            <p:ph type="body" sz="quarter" idx="24"/>
          </p:nvPr>
        </p:nvSpPr>
        <p:spPr/>
        <p:txBody>
          <a:bodyPr/>
          <a:lstStyle/>
          <a:p>
            <a:endParaRPr lang="en-US"/>
          </a:p>
        </p:txBody>
      </p:sp>
      <p:sp>
        <p:nvSpPr>
          <p:cNvPr id="17" name="Text Placeholder 16">
            <a:extLst>
              <a:ext uri="{FF2B5EF4-FFF2-40B4-BE49-F238E27FC236}">
                <a16:creationId xmlns:a16="http://schemas.microsoft.com/office/drawing/2014/main" id="{D37AC09B-D218-8F40-BA3F-71C2ECB6708C}"/>
              </a:ext>
            </a:extLst>
          </p:cNvPr>
          <p:cNvSpPr>
            <a:spLocks noGrp="1"/>
          </p:cNvSpPr>
          <p:nvPr>
            <p:ph type="body" sz="quarter" idx="30"/>
          </p:nvPr>
        </p:nvSpPr>
        <p:spPr/>
        <p:txBody>
          <a:bodyPr/>
          <a:lstStyle/>
          <a:p>
            <a:endParaRPr lang="en-US"/>
          </a:p>
        </p:txBody>
      </p:sp>
      <p:sp>
        <p:nvSpPr>
          <p:cNvPr id="18" name="Text Placeholder 17">
            <a:extLst>
              <a:ext uri="{FF2B5EF4-FFF2-40B4-BE49-F238E27FC236}">
                <a16:creationId xmlns:a16="http://schemas.microsoft.com/office/drawing/2014/main" id="{1C32886E-8A04-1449-8E43-B759997CF94A}"/>
              </a:ext>
            </a:extLst>
          </p:cNvPr>
          <p:cNvSpPr>
            <a:spLocks noGrp="1"/>
          </p:cNvSpPr>
          <p:nvPr>
            <p:ph type="body" sz="quarter" idx="36"/>
          </p:nvPr>
        </p:nvSpPr>
        <p:spPr/>
        <p:txBody>
          <a:bodyPr/>
          <a:lstStyle/>
          <a:p>
            <a:endParaRPr lang="en-US"/>
          </a:p>
        </p:txBody>
      </p:sp>
      <p:sp>
        <p:nvSpPr>
          <p:cNvPr id="19" name="Text Placeholder 18">
            <a:extLst>
              <a:ext uri="{FF2B5EF4-FFF2-40B4-BE49-F238E27FC236}">
                <a16:creationId xmlns:a16="http://schemas.microsoft.com/office/drawing/2014/main" id="{8BBEBA4E-ACCC-A840-943B-FA7B3D133BDA}"/>
              </a:ext>
            </a:extLst>
          </p:cNvPr>
          <p:cNvSpPr>
            <a:spLocks noGrp="1"/>
          </p:cNvSpPr>
          <p:nvPr>
            <p:ph type="body" sz="quarter" idx="42"/>
          </p:nvPr>
        </p:nvSpPr>
        <p:spPr/>
        <p:txBody>
          <a:bodyPr/>
          <a:lstStyle/>
          <a:p>
            <a:endParaRPr lang="en-US"/>
          </a:p>
        </p:txBody>
      </p:sp>
      <p:sp>
        <p:nvSpPr>
          <p:cNvPr id="20" name="Text Placeholder 19">
            <a:extLst>
              <a:ext uri="{FF2B5EF4-FFF2-40B4-BE49-F238E27FC236}">
                <a16:creationId xmlns:a16="http://schemas.microsoft.com/office/drawing/2014/main" id="{49163D78-E161-7E4A-A92E-7818585E5D08}"/>
              </a:ext>
            </a:extLst>
          </p:cNvPr>
          <p:cNvSpPr>
            <a:spLocks noGrp="1"/>
          </p:cNvSpPr>
          <p:nvPr>
            <p:ph type="body" sz="quarter" idx="13"/>
          </p:nvPr>
        </p:nvSpPr>
        <p:spPr/>
        <p:txBody>
          <a:bodyPr/>
          <a:lstStyle/>
          <a:p>
            <a:endParaRPr lang="en-US"/>
          </a:p>
        </p:txBody>
      </p:sp>
      <p:sp>
        <p:nvSpPr>
          <p:cNvPr id="21" name="Text Placeholder 20">
            <a:extLst>
              <a:ext uri="{FF2B5EF4-FFF2-40B4-BE49-F238E27FC236}">
                <a16:creationId xmlns:a16="http://schemas.microsoft.com/office/drawing/2014/main" id="{2A2C28A7-093C-FE44-AE83-B4B2ECD53BE9}"/>
              </a:ext>
            </a:extLst>
          </p:cNvPr>
          <p:cNvSpPr>
            <a:spLocks noGrp="1"/>
          </p:cNvSpPr>
          <p:nvPr>
            <p:ph type="body" sz="quarter" idx="19"/>
          </p:nvPr>
        </p:nvSpPr>
        <p:spPr/>
        <p:txBody>
          <a:bodyPr/>
          <a:lstStyle/>
          <a:p>
            <a:endParaRPr lang="en-US"/>
          </a:p>
        </p:txBody>
      </p:sp>
      <p:sp>
        <p:nvSpPr>
          <p:cNvPr id="22" name="Text Placeholder 21">
            <a:extLst>
              <a:ext uri="{FF2B5EF4-FFF2-40B4-BE49-F238E27FC236}">
                <a16:creationId xmlns:a16="http://schemas.microsoft.com/office/drawing/2014/main" id="{52A1AEEA-A480-034F-8BFD-A5BA849E6F3D}"/>
              </a:ext>
            </a:extLst>
          </p:cNvPr>
          <p:cNvSpPr>
            <a:spLocks noGrp="1"/>
          </p:cNvSpPr>
          <p:nvPr>
            <p:ph type="body" sz="quarter" idx="25"/>
          </p:nvPr>
        </p:nvSpPr>
        <p:spPr/>
        <p:txBody>
          <a:bodyPr/>
          <a:lstStyle/>
          <a:p>
            <a:endParaRPr lang="en-US"/>
          </a:p>
        </p:txBody>
      </p:sp>
      <p:sp>
        <p:nvSpPr>
          <p:cNvPr id="23" name="Text Placeholder 22">
            <a:extLst>
              <a:ext uri="{FF2B5EF4-FFF2-40B4-BE49-F238E27FC236}">
                <a16:creationId xmlns:a16="http://schemas.microsoft.com/office/drawing/2014/main" id="{10981A2E-DCA6-6542-A7CE-8F9DE833CA53}"/>
              </a:ext>
            </a:extLst>
          </p:cNvPr>
          <p:cNvSpPr>
            <a:spLocks noGrp="1"/>
          </p:cNvSpPr>
          <p:nvPr>
            <p:ph type="body" sz="quarter" idx="31"/>
          </p:nvPr>
        </p:nvSpPr>
        <p:spPr/>
        <p:txBody>
          <a:bodyPr/>
          <a:lstStyle/>
          <a:p>
            <a:endParaRPr lang="en-US"/>
          </a:p>
        </p:txBody>
      </p:sp>
      <p:sp>
        <p:nvSpPr>
          <p:cNvPr id="24" name="Text Placeholder 23">
            <a:extLst>
              <a:ext uri="{FF2B5EF4-FFF2-40B4-BE49-F238E27FC236}">
                <a16:creationId xmlns:a16="http://schemas.microsoft.com/office/drawing/2014/main" id="{3252CF48-17E2-2145-B5B1-34A1BC4F09D9}"/>
              </a:ext>
            </a:extLst>
          </p:cNvPr>
          <p:cNvSpPr>
            <a:spLocks noGrp="1"/>
          </p:cNvSpPr>
          <p:nvPr>
            <p:ph type="body" sz="quarter" idx="37"/>
          </p:nvPr>
        </p:nvSpPr>
        <p:spPr/>
        <p:txBody>
          <a:bodyPr/>
          <a:lstStyle/>
          <a:p>
            <a:endParaRPr lang="en-US"/>
          </a:p>
        </p:txBody>
      </p:sp>
      <p:sp>
        <p:nvSpPr>
          <p:cNvPr id="25" name="Text Placeholder 24">
            <a:extLst>
              <a:ext uri="{FF2B5EF4-FFF2-40B4-BE49-F238E27FC236}">
                <a16:creationId xmlns:a16="http://schemas.microsoft.com/office/drawing/2014/main" id="{2BA71AD5-FF76-1442-AC98-58B6109B2815}"/>
              </a:ext>
            </a:extLst>
          </p:cNvPr>
          <p:cNvSpPr>
            <a:spLocks noGrp="1"/>
          </p:cNvSpPr>
          <p:nvPr>
            <p:ph type="body" sz="quarter" idx="43"/>
          </p:nvPr>
        </p:nvSpPr>
        <p:spPr/>
        <p:txBody>
          <a:bodyPr/>
          <a:lstStyle/>
          <a:p>
            <a:endParaRPr lang="en-US"/>
          </a:p>
        </p:txBody>
      </p:sp>
      <p:sp>
        <p:nvSpPr>
          <p:cNvPr id="26" name="Text Placeholder 25">
            <a:extLst>
              <a:ext uri="{FF2B5EF4-FFF2-40B4-BE49-F238E27FC236}">
                <a16:creationId xmlns:a16="http://schemas.microsoft.com/office/drawing/2014/main" id="{38BDE835-1A03-1649-A8C4-26966C53CC00}"/>
              </a:ext>
            </a:extLst>
          </p:cNvPr>
          <p:cNvSpPr>
            <a:spLocks noGrp="1"/>
          </p:cNvSpPr>
          <p:nvPr>
            <p:ph type="body" sz="quarter" idx="14"/>
          </p:nvPr>
        </p:nvSpPr>
        <p:spPr/>
        <p:txBody>
          <a:bodyPr/>
          <a:lstStyle/>
          <a:p>
            <a:endParaRPr lang="en-US"/>
          </a:p>
        </p:txBody>
      </p:sp>
      <p:sp>
        <p:nvSpPr>
          <p:cNvPr id="27" name="Text Placeholder 26">
            <a:extLst>
              <a:ext uri="{FF2B5EF4-FFF2-40B4-BE49-F238E27FC236}">
                <a16:creationId xmlns:a16="http://schemas.microsoft.com/office/drawing/2014/main" id="{D658BAF0-9371-0E40-87BC-68CDC6BAD837}"/>
              </a:ext>
            </a:extLst>
          </p:cNvPr>
          <p:cNvSpPr>
            <a:spLocks noGrp="1"/>
          </p:cNvSpPr>
          <p:nvPr>
            <p:ph type="body" sz="quarter" idx="20"/>
          </p:nvPr>
        </p:nvSpPr>
        <p:spPr/>
        <p:txBody>
          <a:bodyPr/>
          <a:lstStyle/>
          <a:p>
            <a:endParaRPr lang="en-US"/>
          </a:p>
        </p:txBody>
      </p:sp>
      <p:sp>
        <p:nvSpPr>
          <p:cNvPr id="28" name="Text Placeholder 27">
            <a:extLst>
              <a:ext uri="{FF2B5EF4-FFF2-40B4-BE49-F238E27FC236}">
                <a16:creationId xmlns:a16="http://schemas.microsoft.com/office/drawing/2014/main" id="{4C92268C-9100-354E-A14F-9E012E0100D3}"/>
              </a:ext>
            </a:extLst>
          </p:cNvPr>
          <p:cNvSpPr>
            <a:spLocks noGrp="1"/>
          </p:cNvSpPr>
          <p:nvPr>
            <p:ph type="body" sz="quarter" idx="26"/>
          </p:nvPr>
        </p:nvSpPr>
        <p:spPr/>
        <p:txBody>
          <a:bodyPr/>
          <a:lstStyle/>
          <a:p>
            <a:endParaRPr lang="en-US"/>
          </a:p>
        </p:txBody>
      </p:sp>
      <p:sp>
        <p:nvSpPr>
          <p:cNvPr id="29" name="Text Placeholder 28">
            <a:extLst>
              <a:ext uri="{FF2B5EF4-FFF2-40B4-BE49-F238E27FC236}">
                <a16:creationId xmlns:a16="http://schemas.microsoft.com/office/drawing/2014/main" id="{E23BA909-A030-C741-834C-B0B2834C4181}"/>
              </a:ext>
            </a:extLst>
          </p:cNvPr>
          <p:cNvSpPr>
            <a:spLocks noGrp="1"/>
          </p:cNvSpPr>
          <p:nvPr>
            <p:ph type="body" sz="quarter" idx="32"/>
          </p:nvPr>
        </p:nvSpPr>
        <p:spPr/>
        <p:txBody>
          <a:bodyPr/>
          <a:lstStyle/>
          <a:p>
            <a:endParaRPr lang="en-US"/>
          </a:p>
        </p:txBody>
      </p:sp>
      <p:sp>
        <p:nvSpPr>
          <p:cNvPr id="30" name="Text Placeholder 29">
            <a:extLst>
              <a:ext uri="{FF2B5EF4-FFF2-40B4-BE49-F238E27FC236}">
                <a16:creationId xmlns:a16="http://schemas.microsoft.com/office/drawing/2014/main" id="{CB57ED9A-73A3-444B-AD95-30A31A2F97B7}"/>
              </a:ext>
            </a:extLst>
          </p:cNvPr>
          <p:cNvSpPr>
            <a:spLocks noGrp="1"/>
          </p:cNvSpPr>
          <p:nvPr>
            <p:ph type="body" sz="quarter" idx="38"/>
          </p:nvPr>
        </p:nvSpPr>
        <p:spPr/>
        <p:txBody>
          <a:bodyPr/>
          <a:lstStyle/>
          <a:p>
            <a:endParaRPr lang="en-US"/>
          </a:p>
        </p:txBody>
      </p:sp>
      <p:sp>
        <p:nvSpPr>
          <p:cNvPr id="31" name="Text Placeholder 30">
            <a:extLst>
              <a:ext uri="{FF2B5EF4-FFF2-40B4-BE49-F238E27FC236}">
                <a16:creationId xmlns:a16="http://schemas.microsoft.com/office/drawing/2014/main" id="{70D606D9-AC02-1C4F-A447-109FD807A168}"/>
              </a:ext>
            </a:extLst>
          </p:cNvPr>
          <p:cNvSpPr>
            <a:spLocks noGrp="1"/>
          </p:cNvSpPr>
          <p:nvPr>
            <p:ph type="body" sz="quarter" idx="44"/>
          </p:nvPr>
        </p:nvSpPr>
        <p:spPr/>
        <p:txBody>
          <a:bodyPr/>
          <a:lstStyle/>
          <a:p>
            <a:endParaRPr lang="en-US"/>
          </a:p>
        </p:txBody>
      </p:sp>
      <p:sp>
        <p:nvSpPr>
          <p:cNvPr id="32" name="Text Placeholder 31">
            <a:extLst>
              <a:ext uri="{FF2B5EF4-FFF2-40B4-BE49-F238E27FC236}">
                <a16:creationId xmlns:a16="http://schemas.microsoft.com/office/drawing/2014/main" id="{B334C7CF-C2B0-7B4C-9583-522FC987EEDF}"/>
              </a:ext>
            </a:extLst>
          </p:cNvPr>
          <p:cNvSpPr>
            <a:spLocks noGrp="1"/>
          </p:cNvSpPr>
          <p:nvPr>
            <p:ph type="body" sz="quarter" idx="15"/>
          </p:nvPr>
        </p:nvSpPr>
        <p:spPr/>
        <p:txBody>
          <a:bodyPr/>
          <a:lstStyle/>
          <a:p>
            <a:endParaRPr lang="en-US"/>
          </a:p>
        </p:txBody>
      </p:sp>
      <p:sp>
        <p:nvSpPr>
          <p:cNvPr id="33" name="Text Placeholder 32">
            <a:extLst>
              <a:ext uri="{FF2B5EF4-FFF2-40B4-BE49-F238E27FC236}">
                <a16:creationId xmlns:a16="http://schemas.microsoft.com/office/drawing/2014/main" id="{F8D1532D-E1A3-524D-A13D-088D6A4B6FBE}"/>
              </a:ext>
            </a:extLst>
          </p:cNvPr>
          <p:cNvSpPr>
            <a:spLocks noGrp="1"/>
          </p:cNvSpPr>
          <p:nvPr>
            <p:ph type="body" sz="quarter" idx="21"/>
          </p:nvPr>
        </p:nvSpPr>
        <p:spPr/>
        <p:txBody>
          <a:bodyPr/>
          <a:lstStyle/>
          <a:p>
            <a:endParaRPr lang="en-US"/>
          </a:p>
        </p:txBody>
      </p:sp>
      <p:sp>
        <p:nvSpPr>
          <p:cNvPr id="34" name="Text Placeholder 33">
            <a:extLst>
              <a:ext uri="{FF2B5EF4-FFF2-40B4-BE49-F238E27FC236}">
                <a16:creationId xmlns:a16="http://schemas.microsoft.com/office/drawing/2014/main" id="{D57E114D-75E0-CE49-876F-56391610A407}"/>
              </a:ext>
            </a:extLst>
          </p:cNvPr>
          <p:cNvSpPr>
            <a:spLocks noGrp="1"/>
          </p:cNvSpPr>
          <p:nvPr>
            <p:ph type="body" sz="quarter" idx="27"/>
          </p:nvPr>
        </p:nvSpPr>
        <p:spPr/>
        <p:txBody>
          <a:bodyPr/>
          <a:lstStyle/>
          <a:p>
            <a:endParaRPr lang="en-US"/>
          </a:p>
        </p:txBody>
      </p:sp>
      <p:sp>
        <p:nvSpPr>
          <p:cNvPr id="35" name="Text Placeholder 34">
            <a:extLst>
              <a:ext uri="{FF2B5EF4-FFF2-40B4-BE49-F238E27FC236}">
                <a16:creationId xmlns:a16="http://schemas.microsoft.com/office/drawing/2014/main" id="{8FCF08D3-2929-7244-A0F6-F7417FB2BF57}"/>
              </a:ext>
            </a:extLst>
          </p:cNvPr>
          <p:cNvSpPr>
            <a:spLocks noGrp="1"/>
          </p:cNvSpPr>
          <p:nvPr>
            <p:ph type="body" sz="quarter" idx="33"/>
          </p:nvPr>
        </p:nvSpPr>
        <p:spPr/>
        <p:txBody>
          <a:bodyPr/>
          <a:lstStyle/>
          <a:p>
            <a:endParaRPr lang="en-US"/>
          </a:p>
        </p:txBody>
      </p:sp>
      <p:sp>
        <p:nvSpPr>
          <p:cNvPr id="36" name="Text Placeholder 35">
            <a:extLst>
              <a:ext uri="{FF2B5EF4-FFF2-40B4-BE49-F238E27FC236}">
                <a16:creationId xmlns:a16="http://schemas.microsoft.com/office/drawing/2014/main" id="{8D5B2E9F-B547-3041-9152-A38F25BA84DB}"/>
              </a:ext>
            </a:extLst>
          </p:cNvPr>
          <p:cNvSpPr>
            <a:spLocks noGrp="1"/>
          </p:cNvSpPr>
          <p:nvPr>
            <p:ph type="body" sz="quarter" idx="39"/>
          </p:nvPr>
        </p:nvSpPr>
        <p:spPr/>
        <p:txBody>
          <a:bodyPr/>
          <a:lstStyle/>
          <a:p>
            <a:endParaRPr lang="en-US"/>
          </a:p>
        </p:txBody>
      </p:sp>
      <p:sp>
        <p:nvSpPr>
          <p:cNvPr id="37" name="Text Placeholder 36">
            <a:extLst>
              <a:ext uri="{FF2B5EF4-FFF2-40B4-BE49-F238E27FC236}">
                <a16:creationId xmlns:a16="http://schemas.microsoft.com/office/drawing/2014/main" id="{170F5DB5-7CFE-2A47-B0EA-EBAFEBA9D175}"/>
              </a:ext>
            </a:extLst>
          </p:cNvPr>
          <p:cNvSpPr>
            <a:spLocks noGrp="1"/>
          </p:cNvSpPr>
          <p:nvPr>
            <p:ph type="body" sz="quarter" idx="45"/>
          </p:nvPr>
        </p:nvSpPr>
        <p:spPr/>
        <p:txBody>
          <a:bodyPr/>
          <a:lstStyle/>
          <a:p>
            <a:endParaRPr lang="en-US"/>
          </a:p>
        </p:txBody>
      </p:sp>
    </p:spTree>
    <p:extLst>
      <p:ext uri="{BB962C8B-B14F-4D97-AF65-F5344CB8AC3E}">
        <p14:creationId xmlns:p14="http://schemas.microsoft.com/office/powerpoint/2010/main" val="22761992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12F3A6-F77B-9A4E-A4AE-15043166C794}"/>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AE33299C-CECC-6949-8EB9-B31FB1317FD2}"/>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3FDF2CAC-B9D6-CE4E-BD69-D0B08FBDDFAE}"/>
              </a:ext>
            </a:extLst>
          </p:cNvPr>
          <p:cNvSpPr>
            <a:spLocks noGrp="1"/>
          </p:cNvSpPr>
          <p:nvPr>
            <p:ph type="body" sz="quarter" idx="23"/>
          </p:nvPr>
        </p:nvSpPr>
        <p:spPr/>
        <p:txBody>
          <a:bodyPr/>
          <a:lstStyle/>
          <a:p>
            <a:endParaRPr lang="en-US"/>
          </a:p>
        </p:txBody>
      </p:sp>
      <p:sp>
        <p:nvSpPr>
          <p:cNvPr id="5" name="Text Placeholder 4">
            <a:extLst>
              <a:ext uri="{FF2B5EF4-FFF2-40B4-BE49-F238E27FC236}">
                <a16:creationId xmlns:a16="http://schemas.microsoft.com/office/drawing/2014/main" id="{66B22A1C-FAA1-E546-83DE-5EBA5C0D4C0B}"/>
              </a:ext>
            </a:extLst>
          </p:cNvPr>
          <p:cNvSpPr>
            <a:spLocks noGrp="1"/>
          </p:cNvSpPr>
          <p:nvPr>
            <p:ph type="body" sz="quarter" idx="29"/>
          </p:nvPr>
        </p:nvSpPr>
        <p:spPr/>
        <p:txBody>
          <a:bodyPr/>
          <a:lstStyle/>
          <a:p>
            <a:endParaRPr lang="en-US"/>
          </a:p>
        </p:txBody>
      </p:sp>
      <p:sp>
        <p:nvSpPr>
          <p:cNvPr id="6" name="Text Placeholder 5">
            <a:extLst>
              <a:ext uri="{FF2B5EF4-FFF2-40B4-BE49-F238E27FC236}">
                <a16:creationId xmlns:a16="http://schemas.microsoft.com/office/drawing/2014/main" id="{F06E5FDB-7735-4D45-9358-34DE64183A99}"/>
              </a:ext>
            </a:extLst>
          </p:cNvPr>
          <p:cNvSpPr>
            <a:spLocks noGrp="1"/>
          </p:cNvSpPr>
          <p:nvPr>
            <p:ph type="body" sz="quarter" idx="35"/>
          </p:nvPr>
        </p:nvSpPr>
        <p:spPr/>
        <p:txBody>
          <a:bodyPr/>
          <a:lstStyle/>
          <a:p>
            <a:endParaRPr lang="en-US"/>
          </a:p>
        </p:txBody>
      </p:sp>
      <p:sp>
        <p:nvSpPr>
          <p:cNvPr id="7" name="Text Placeholder 6">
            <a:extLst>
              <a:ext uri="{FF2B5EF4-FFF2-40B4-BE49-F238E27FC236}">
                <a16:creationId xmlns:a16="http://schemas.microsoft.com/office/drawing/2014/main" id="{31A90A26-F262-A84B-8038-F2B709DD6BBA}"/>
              </a:ext>
            </a:extLst>
          </p:cNvPr>
          <p:cNvSpPr>
            <a:spLocks noGrp="1"/>
          </p:cNvSpPr>
          <p:nvPr>
            <p:ph type="body" sz="quarter" idx="41"/>
          </p:nvPr>
        </p:nvSpPr>
        <p:spPr/>
        <p:txBody>
          <a:bodyPr/>
          <a:lstStyle/>
          <a:p>
            <a:endParaRPr lang="en-US"/>
          </a:p>
        </p:txBody>
      </p:sp>
      <p:sp>
        <p:nvSpPr>
          <p:cNvPr id="8" name="Text Placeholder 7">
            <a:extLst>
              <a:ext uri="{FF2B5EF4-FFF2-40B4-BE49-F238E27FC236}">
                <a16:creationId xmlns:a16="http://schemas.microsoft.com/office/drawing/2014/main" id="{57185FDC-8952-6C49-90B0-B8988B0BBE58}"/>
              </a:ext>
            </a:extLst>
          </p:cNvPr>
          <p:cNvSpPr>
            <a:spLocks noGrp="1"/>
          </p:cNvSpPr>
          <p:nvPr>
            <p:ph type="body" sz="quarter" idx="10"/>
          </p:nvPr>
        </p:nvSpPr>
        <p:spPr/>
        <p:txBody>
          <a:bodyPr/>
          <a:lstStyle/>
          <a:p>
            <a:endParaRPr lang="en-US"/>
          </a:p>
        </p:txBody>
      </p:sp>
      <p:sp>
        <p:nvSpPr>
          <p:cNvPr id="9" name="Text Placeholder 8">
            <a:extLst>
              <a:ext uri="{FF2B5EF4-FFF2-40B4-BE49-F238E27FC236}">
                <a16:creationId xmlns:a16="http://schemas.microsoft.com/office/drawing/2014/main" id="{1C5C5B65-74BB-4145-B6DF-3A394900C9E4}"/>
              </a:ext>
            </a:extLst>
          </p:cNvPr>
          <p:cNvSpPr>
            <a:spLocks noGrp="1"/>
          </p:cNvSpPr>
          <p:nvPr>
            <p:ph type="body" sz="quarter" idx="16"/>
          </p:nvPr>
        </p:nvSpPr>
        <p:spPr/>
        <p:txBody>
          <a:bodyPr/>
          <a:lstStyle/>
          <a:p>
            <a:endParaRPr lang="en-US"/>
          </a:p>
        </p:txBody>
      </p:sp>
      <p:sp>
        <p:nvSpPr>
          <p:cNvPr id="10" name="Text Placeholder 9">
            <a:extLst>
              <a:ext uri="{FF2B5EF4-FFF2-40B4-BE49-F238E27FC236}">
                <a16:creationId xmlns:a16="http://schemas.microsoft.com/office/drawing/2014/main" id="{2F95063F-4A53-C047-99B7-925B3BCFD982}"/>
              </a:ext>
            </a:extLst>
          </p:cNvPr>
          <p:cNvSpPr>
            <a:spLocks noGrp="1"/>
          </p:cNvSpPr>
          <p:nvPr>
            <p:ph type="body" sz="quarter" idx="22"/>
          </p:nvPr>
        </p:nvSpPr>
        <p:spPr/>
        <p:txBody>
          <a:bodyPr/>
          <a:lstStyle/>
          <a:p>
            <a:endParaRPr lang="en-US"/>
          </a:p>
        </p:txBody>
      </p:sp>
      <p:sp>
        <p:nvSpPr>
          <p:cNvPr id="11" name="Text Placeholder 10">
            <a:extLst>
              <a:ext uri="{FF2B5EF4-FFF2-40B4-BE49-F238E27FC236}">
                <a16:creationId xmlns:a16="http://schemas.microsoft.com/office/drawing/2014/main" id="{64B74FF6-9B22-AF47-89F3-7B16A18CFCAD}"/>
              </a:ext>
            </a:extLst>
          </p:cNvPr>
          <p:cNvSpPr>
            <a:spLocks noGrp="1"/>
          </p:cNvSpPr>
          <p:nvPr>
            <p:ph type="body" sz="quarter" idx="28"/>
          </p:nvPr>
        </p:nvSpPr>
        <p:spPr/>
        <p:txBody>
          <a:bodyPr/>
          <a:lstStyle/>
          <a:p>
            <a:endParaRPr lang="en-US"/>
          </a:p>
        </p:txBody>
      </p:sp>
      <p:sp>
        <p:nvSpPr>
          <p:cNvPr id="12" name="Text Placeholder 11">
            <a:extLst>
              <a:ext uri="{FF2B5EF4-FFF2-40B4-BE49-F238E27FC236}">
                <a16:creationId xmlns:a16="http://schemas.microsoft.com/office/drawing/2014/main" id="{1EE34680-04C9-624A-A9FA-BBB1C4ED982D}"/>
              </a:ext>
            </a:extLst>
          </p:cNvPr>
          <p:cNvSpPr>
            <a:spLocks noGrp="1"/>
          </p:cNvSpPr>
          <p:nvPr>
            <p:ph type="body" sz="quarter" idx="34"/>
          </p:nvPr>
        </p:nvSpPr>
        <p:spPr/>
        <p:txBody>
          <a:bodyPr/>
          <a:lstStyle/>
          <a:p>
            <a:endParaRPr lang="en-US"/>
          </a:p>
        </p:txBody>
      </p:sp>
      <p:sp>
        <p:nvSpPr>
          <p:cNvPr id="13" name="Text Placeholder 12">
            <a:extLst>
              <a:ext uri="{FF2B5EF4-FFF2-40B4-BE49-F238E27FC236}">
                <a16:creationId xmlns:a16="http://schemas.microsoft.com/office/drawing/2014/main" id="{C4667765-E99D-B945-BAA0-7A70E41C677B}"/>
              </a:ext>
            </a:extLst>
          </p:cNvPr>
          <p:cNvSpPr>
            <a:spLocks noGrp="1"/>
          </p:cNvSpPr>
          <p:nvPr>
            <p:ph type="body" sz="quarter" idx="40"/>
          </p:nvPr>
        </p:nvSpPr>
        <p:spPr/>
        <p:txBody>
          <a:bodyPr/>
          <a:lstStyle/>
          <a:p>
            <a:endParaRPr lang="en-US"/>
          </a:p>
        </p:txBody>
      </p:sp>
      <p:sp>
        <p:nvSpPr>
          <p:cNvPr id="14" name="Text Placeholder 13">
            <a:extLst>
              <a:ext uri="{FF2B5EF4-FFF2-40B4-BE49-F238E27FC236}">
                <a16:creationId xmlns:a16="http://schemas.microsoft.com/office/drawing/2014/main" id="{302A5DEC-A7E3-9845-8B6C-C238FB8ACD77}"/>
              </a:ext>
            </a:extLst>
          </p:cNvPr>
          <p:cNvSpPr>
            <a:spLocks noGrp="1"/>
          </p:cNvSpPr>
          <p:nvPr>
            <p:ph type="body" sz="quarter" idx="12"/>
          </p:nvPr>
        </p:nvSpPr>
        <p:spPr/>
        <p:txBody>
          <a:bodyPr/>
          <a:lstStyle/>
          <a:p>
            <a:endParaRPr lang="en-US"/>
          </a:p>
        </p:txBody>
      </p:sp>
      <p:sp>
        <p:nvSpPr>
          <p:cNvPr id="15" name="Text Placeholder 14">
            <a:extLst>
              <a:ext uri="{FF2B5EF4-FFF2-40B4-BE49-F238E27FC236}">
                <a16:creationId xmlns:a16="http://schemas.microsoft.com/office/drawing/2014/main" id="{102A2E32-FEF8-CD49-AEEA-87C9EE7475F6}"/>
              </a:ext>
            </a:extLst>
          </p:cNvPr>
          <p:cNvSpPr>
            <a:spLocks noGrp="1"/>
          </p:cNvSpPr>
          <p:nvPr>
            <p:ph type="body" sz="quarter" idx="18"/>
          </p:nvPr>
        </p:nvSpPr>
        <p:spPr/>
        <p:txBody>
          <a:bodyPr/>
          <a:lstStyle/>
          <a:p>
            <a:endParaRPr lang="en-US"/>
          </a:p>
        </p:txBody>
      </p:sp>
      <p:sp>
        <p:nvSpPr>
          <p:cNvPr id="16" name="Text Placeholder 15">
            <a:extLst>
              <a:ext uri="{FF2B5EF4-FFF2-40B4-BE49-F238E27FC236}">
                <a16:creationId xmlns:a16="http://schemas.microsoft.com/office/drawing/2014/main" id="{7A436228-09A9-E847-ADE8-78BED8B01505}"/>
              </a:ext>
            </a:extLst>
          </p:cNvPr>
          <p:cNvSpPr>
            <a:spLocks noGrp="1"/>
          </p:cNvSpPr>
          <p:nvPr>
            <p:ph type="body" sz="quarter" idx="24"/>
          </p:nvPr>
        </p:nvSpPr>
        <p:spPr/>
        <p:txBody>
          <a:bodyPr/>
          <a:lstStyle/>
          <a:p>
            <a:endParaRPr lang="en-US"/>
          </a:p>
        </p:txBody>
      </p:sp>
      <p:sp>
        <p:nvSpPr>
          <p:cNvPr id="17" name="Text Placeholder 16">
            <a:extLst>
              <a:ext uri="{FF2B5EF4-FFF2-40B4-BE49-F238E27FC236}">
                <a16:creationId xmlns:a16="http://schemas.microsoft.com/office/drawing/2014/main" id="{08AB1E88-9711-B748-AE6F-F8EADA664B41}"/>
              </a:ext>
            </a:extLst>
          </p:cNvPr>
          <p:cNvSpPr>
            <a:spLocks noGrp="1"/>
          </p:cNvSpPr>
          <p:nvPr>
            <p:ph type="body" sz="quarter" idx="30"/>
          </p:nvPr>
        </p:nvSpPr>
        <p:spPr/>
        <p:txBody>
          <a:bodyPr/>
          <a:lstStyle/>
          <a:p>
            <a:endParaRPr lang="en-US"/>
          </a:p>
        </p:txBody>
      </p:sp>
      <p:sp>
        <p:nvSpPr>
          <p:cNvPr id="18" name="Text Placeholder 17">
            <a:extLst>
              <a:ext uri="{FF2B5EF4-FFF2-40B4-BE49-F238E27FC236}">
                <a16:creationId xmlns:a16="http://schemas.microsoft.com/office/drawing/2014/main" id="{474DE692-3D46-F04F-939A-3927C5052ECB}"/>
              </a:ext>
            </a:extLst>
          </p:cNvPr>
          <p:cNvSpPr>
            <a:spLocks noGrp="1"/>
          </p:cNvSpPr>
          <p:nvPr>
            <p:ph type="body" sz="quarter" idx="36"/>
          </p:nvPr>
        </p:nvSpPr>
        <p:spPr/>
        <p:txBody>
          <a:bodyPr/>
          <a:lstStyle/>
          <a:p>
            <a:endParaRPr lang="en-US"/>
          </a:p>
        </p:txBody>
      </p:sp>
      <p:sp>
        <p:nvSpPr>
          <p:cNvPr id="19" name="Text Placeholder 18">
            <a:extLst>
              <a:ext uri="{FF2B5EF4-FFF2-40B4-BE49-F238E27FC236}">
                <a16:creationId xmlns:a16="http://schemas.microsoft.com/office/drawing/2014/main" id="{5F667C5B-C64F-8C41-8A5D-8118FC1738FD}"/>
              </a:ext>
            </a:extLst>
          </p:cNvPr>
          <p:cNvSpPr>
            <a:spLocks noGrp="1"/>
          </p:cNvSpPr>
          <p:nvPr>
            <p:ph type="body" sz="quarter" idx="42"/>
          </p:nvPr>
        </p:nvSpPr>
        <p:spPr/>
        <p:txBody>
          <a:bodyPr/>
          <a:lstStyle/>
          <a:p>
            <a:endParaRPr lang="en-US"/>
          </a:p>
        </p:txBody>
      </p:sp>
      <p:sp>
        <p:nvSpPr>
          <p:cNvPr id="20" name="Text Placeholder 19">
            <a:extLst>
              <a:ext uri="{FF2B5EF4-FFF2-40B4-BE49-F238E27FC236}">
                <a16:creationId xmlns:a16="http://schemas.microsoft.com/office/drawing/2014/main" id="{4D2BB0FC-664D-5948-ADD1-1CC0040C96DE}"/>
              </a:ext>
            </a:extLst>
          </p:cNvPr>
          <p:cNvSpPr>
            <a:spLocks noGrp="1"/>
          </p:cNvSpPr>
          <p:nvPr>
            <p:ph type="body" sz="quarter" idx="13"/>
          </p:nvPr>
        </p:nvSpPr>
        <p:spPr/>
        <p:txBody>
          <a:bodyPr/>
          <a:lstStyle/>
          <a:p>
            <a:endParaRPr lang="en-US"/>
          </a:p>
        </p:txBody>
      </p:sp>
      <p:sp>
        <p:nvSpPr>
          <p:cNvPr id="21" name="Text Placeholder 20">
            <a:extLst>
              <a:ext uri="{FF2B5EF4-FFF2-40B4-BE49-F238E27FC236}">
                <a16:creationId xmlns:a16="http://schemas.microsoft.com/office/drawing/2014/main" id="{E66780CF-B9FB-D544-8A37-30F7D2869555}"/>
              </a:ext>
            </a:extLst>
          </p:cNvPr>
          <p:cNvSpPr>
            <a:spLocks noGrp="1"/>
          </p:cNvSpPr>
          <p:nvPr>
            <p:ph type="body" sz="quarter" idx="19"/>
          </p:nvPr>
        </p:nvSpPr>
        <p:spPr/>
        <p:txBody>
          <a:bodyPr/>
          <a:lstStyle/>
          <a:p>
            <a:endParaRPr lang="en-US"/>
          </a:p>
        </p:txBody>
      </p:sp>
      <p:sp>
        <p:nvSpPr>
          <p:cNvPr id="22" name="Text Placeholder 21">
            <a:extLst>
              <a:ext uri="{FF2B5EF4-FFF2-40B4-BE49-F238E27FC236}">
                <a16:creationId xmlns:a16="http://schemas.microsoft.com/office/drawing/2014/main" id="{00470C6A-C9C2-9A48-AFC5-76AFB6071EAE}"/>
              </a:ext>
            </a:extLst>
          </p:cNvPr>
          <p:cNvSpPr>
            <a:spLocks noGrp="1"/>
          </p:cNvSpPr>
          <p:nvPr>
            <p:ph type="body" sz="quarter" idx="25"/>
          </p:nvPr>
        </p:nvSpPr>
        <p:spPr/>
        <p:txBody>
          <a:bodyPr/>
          <a:lstStyle/>
          <a:p>
            <a:endParaRPr lang="en-US"/>
          </a:p>
        </p:txBody>
      </p:sp>
      <p:sp>
        <p:nvSpPr>
          <p:cNvPr id="23" name="Text Placeholder 22">
            <a:extLst>
              <a:ext uri="{FF2B5EF4-FFF2-40B4-BE49-F238E27FC236}">
                <a16:creationId xmlns:a16="http://schemas.microsoft.com/office/drawing/2014/main" id="{4400F112-F80B-D44E-85DB-34E54D03DF3A}"/>
              </a:ext>
            </a:extLst>
          </p:cNvPr>
          <p:cNvSpPr>
            <a:spLocks noGrp="1"/>
          </p:cNvSpPr>
          <p:nvPr>
            <p:ph type="body" sz="quarter" idx="31"/>
          </p:nvPr>
        </p:nvSpPr>
        <p:spPr/>
        <p:txBody>
          <a:bodyPr/>
          <a:lstStyle/>
          <a:p>
            <a:endParaRPr lang="en-US"/>
          </a:p>
        </p:txBody>
      </p:sp>
      <p:sp>
        <p:nvSpPr>
          <p:cNvPr id="24" name="Text Placeholder 23">
            <a:extLst>
              <a:ext uri="{FF2B5EF4-FFF2-40B4-BE49-F238E27FC236}">
                <a16:creationId xmlns:a16="http://schemas.microsoft.com/office/drawing/2014/main" id="{0CC0C748-1C30-E443-AC4A-BAB0E8F4F290}"/>
              </a:ext>
            </a:extLst>
          </p:cNvPr>
          <p:cNvSpPr>
            <a:spLocks noGrp="1"/>
          </p:cNvSpPr>
          <p:nvPr>
            <p:ph type="body" sz="quarter" idx="37"/>
          </p:nvPr>
        </p:nvSpPr>
        <p:spPr/>
        <p:txBody>
          <a:bodyPr/>
          <a:lstStyle/>
          <a:p>
            <a:endParaRPr lang="en-US"/>
          </a:p>
        </p:txBody>
      </p:sp>
      <p:sp>
        <p:nvSpPr>
          <p:cNvPr id="25" name="Text Placeholder 24">
            <a:extLst>
              <a:ext uri="{FF2B5EF4-FFF2-40B4-BE49-F238E27FC236}">
                <a16:creationId xmlns:a16="http://schemas.microsoft.com/office/drawing/2014/main" id="{211ED991-1512-F041-AAD2-B2868CA59012}"/>
              </a:ext>
            </a:extLst>
          </p:cNvPr>
          <p:cNvSpPr>
            <a:spLocks noGrp="1"/>
          </p:cNvSpPr>
          <p:nvPr>
            <p:ph type="body" sz="quarter" idx="43"/>
          </p:nvPr>
        </p:nvSpPr>
        <p:spPr/>
        <p:txBody>
          <a:bodyPr/>
          <a:lstStyle/>
          <a:p>
            <a:endParaRPr lang="en-US"/>
          </a:p>
        </p:txBody>
      </p:sp>
      <p:sp>
        <p:nvSpPr>
          <p:cNvPr id="26" name="Text Placeholder 25">
            <a:extLst>
              <a:ext uri="{FF2B5EF4-FFF2-40B4-BE49-F238E27FC236}">
                <a16:creationId xmlns:a16="http://schemas.microsoft.com/office/drawing/2014/main" id="{67590464-A163-6B4F-A600-5B2CBC9CA9CB}"/>
              </a:ext>
            </a:extLst>
          </p:cNvPr>
          <p:cNvSpPr>
            <a:spLocks noGrp="1"/>
          </p:cNvSpPr>
          <p:nvPr>
            <p:ph type="body" sz="quarter" idx="14"/>
          </p:nvPr>
        </p:nvSpPr>
        <p:spPr/>
        <p:txBody>
          <a:bodyPr/>
          <a:lstStyle/>
          <a:p>
            <a:endParaRPr lang="en-US"/>
          </a:p>
        </p:txBody>
      </p:sp>
      <p:sp>
        <p:nvSpPr>
          <p:cNvPr id="27" name="Text Placeholder 26">
            <a:extLst>
              <a:ext uri="{FF2B5EF4-FFF2-40B4-BE49-F238E27FC236}">
                <a16:creationId xmlns:a16="http://schemas.microsoft.com/office/drawing/2014/main" id="{5B3B7331-FA95-8F47-997D-077499ED146E}"/>
              </a:ext>
            </a:extLst>
          </p:cNvPr>
          <p:cNvSpPr>
            <a:spLocks noGrp="1"/>
          </p:cNvSpPr>
          <p:nvPr>
            <p:ph type="body" sz="quarter" idx="20"/>
          </p:nvPr>
        </p:nvSpPr>
        <p:spPr/>
        <p:txBody>
          <a:bodyPr/>
          <a:lstStyle/>
          <a:p>
            <a:endParaRPr lang="en-US"/>
          </a:p>
        </p:txBody>
      </p:sp>
      <p:sp>
        <p:nvSpPr>
          <p:cNvPr id="28" name="Text Placeholder 27">
            <a:extLst>
              <a:ext uri="{FF2B5EF4-FFF2-40B4-BE49-F238E27FC236}">
                <a16:creationId xmlns:a16="http://schemas.microsoft.com/office/drawing/2014/main" id="{39543049-E020-2245-A742-F8B7C1C009EB}"/>
              </a:ext>
            </a:extLst>
          </p:cNvPr>
          <p:cNvSpPr>
            <a:spLocks noGrp="1"/>
          </p:cNvSpPr>
          <p:nvPr>
            <p:ph type="body" sz="quarter" idx="26"/>
          </p:nvPr>
        </p:nvSpPr>
        <p:spPr/>
        <p:txBody>
          <a:bodyPr/>
          <a:lstStyle/>
          <a:p>
            <a:endParaRPr lang="en-US"/>
          </a:p>
        </p:txBody>
      </p:sp>
      <p:sp>
        <p:nvSpPr>
          <p:cNvPr id="29" name="Text Placeholder 28">
            <a:extLst>
              <a:ext uri="{FF2B5EF4-FFF2-40B4-BE49-F238E27FC236}">
                <a16:creationId xmlns:a16="http://schemas.microsoft.com/office/drawing/2014/main" id="{D35042F1-763D-704D-81E9-64BCCF857B41}"/>
              </a:ext>
            </a:extLst>
          </p:cNvPr>
          <p:cNvSpPr>
            <a:spLocks noGrp="1"/>
          </p:cNvSpPr>
          <p:nvPr>
            <p:ph type="body" sz="quarter" idx="32"/>
          </p:nvPr>
        </p:nvSpPr>
        <p:spPr/>
        <p:txBody>
          <a:bodyPr/>
          <a:lstStyle/>
          <a:p>
            <a:endParaRPr lang="en-US"/>
          </a:p>
        </p:txBody>
      </p:sp>
      <p:sp>
        <p:nvSpPr>
          <p:cNvPr id="30" name="Text Placeholder 29">
            <a:extLst>
              <a:ext uri="{FF2B5EF4-FFF2-40B4-BE49-F238E27FC236}">
                <a16:creationId xmlns:a16="http://schemas.microsoft.com/office/drawing/2014/main" id="{818F3750-0215-E449-AA88-D9185081F108}"/>
              </a:ext>
            </a:extLst>
          </p:cNvPr>
          <p:cNvSpPr>
            <a:spLocks noGrp="1"/>
          </p:cNvSpPr>
          <p:nvPr>
            <p:ph type="body" sz="quarter" idx="38"/>
          </p:nvPr>
        </p:nvSpPr>
        <p:spPr/>
        <p:txBody>
          <a:bodyPr/>
          <a:lstStyle/>
          <a:p>
            <a:endParaRPr lang="en-US"/>
          </a:p>
        </p:txBody>
      </p:sp>
      <p:sp>
        <p:nvSpPr>
          <p:cNvPr id="31" name="Text Placeholder 30">
            <a:extLst>
              <a:ext uri="{FF2B5EF4-FFF2-40B4-BE49-F238E27FC236}">
                <a16:creationId xmlns:a16="http://schemas.microsoft.com/office/drawing/2014/main" id="{569E41A2-7B1A-9B47-B362-2281AAA296C8}"/>
              </a:ext>
            </a:extLst>
          </p:cNvPr>
          <p:cNvSpPr>
            <a:spLocks noGrp="1"/>
          </p:cNvSpPr>
          <p:nvPr>
            <p:ph type="body" sz="quarter" idx="44"/>
          </p:nvPr>
        </p:nvSpPr>
        <p:spPr/>
        <p:txBody>
          <a:bodyPr/>
          <a:lstStyle/>
          <a:p>
            <a:endParaRPr lang="en-US"/>
          </a:p>
        </p:txBody>
      </p:sp>
      <p:sp>
        <p:nvSpPr>
          <p:cNvPr id="32" name="Text Placeholder 31">
            <a:extLst>
              <a:ext uri="{FF2B5EF4-FFF2-40B4-BE49-F238E27FC236}">
                <a16:creationId xmlns:a16="http://schemas.microsoft.com/office/drawing/2014/main" id="{1AB95358-17DB-754C-A356-F98123ECCEFE}"/>
              </a:ext>
            </a:extLst>
          </p:cNvPr>
          <p:cNvSpPr>
            <a:spLocks noGrp="1"/>
          </p:cNvSpPr>
          <p:nvPr>
            <p:ph type="body" sz="quarter" idx="15"/>
          </p:nvPr>
        </p:nvSpPr>
        <p:spPr/>
        <p:txBody>
          <a:bodyPr/>
          <a:lstStyle/>
          <a:p>
            <a:endParaRPr lang="en-US"/>
          </a:p>
        </p:txBody>
      </p:sp>
      <p:sp>
        <p:nvSpPr>
          <p:cNvPr id="33" name="Text Placeholder 32">
            <a:extLst>
              <a:ext uri="{FF2B5EF4-FFF2-40B4-BE49-F238E27FC236}">
                <a16:creationId xmlns:a16="http://schemas.microsoft.com/office/drawing/2014/main" id="{E7255E46-84D9-3B41-A6B2-94AE05C4C84F}"/>
              </a:ext>
            </a:extLst>
          </p:cNvPr>
          <p:cNvSpPr>
            <a:spLocks noGrp="1"/>
          </p:cNvSpPr>
          <p:nvPr>
            <p:ph type="body" sz="quarter" idx="21"/>
          </p:nvPr>
        </p:nvSpPr>
        <p:spPr/>
        <p:txBody>
          <a:bodyPr/>
          <a:lstStyle/>
          <a:p>
            <a:endParaRPr lang="en-US"/>
          </a:p>
        </p:txBody>
      </p:sp>
      <p:sp>
        <p:nvSpPr>
          <p:cNvPr id="34" name="Text Placeholder 33">
            <a:extLst>
              <a:ext uri="{FF2B5EF4-FFF2-40B4-BE49-F238E27FC236}">
                <a16:creationId xmlns:a16="http://schemas.microsoft.com/office/drawing/2014/main" id="{35EB9DBD-89F7-AC4A-AAB5-DED90092961C}"/>
              </a:ext>
            </a:extLst>
          </p:cNvPr>
          <p:cNvSpPr>
            <a:spLocks noGrp="1"/>
          </p:cNvSpPr>
          <p:nvPr>
            <p:ph type="body" sz="quarter" idx="27"/>
          </p:nvPr>
        </p:nvSpPr>
        <p:spPr/>
        <p:txBody>
          <a:bodyPr/>
          <a:lstStyle/>
          <a:p>
            <a:endParaRPr lang="en-US"/>
          </a:p>
        </p:txBody>
      </p:sp>
      <p:sp>
        <p:nvSpPr>
          <p:cNvPr id="35" name="Text Placeholder 34">
            <a:extLst>
              <a:ext uri="{FF2B5EF4-FFF2-40B4-BE49-F238E27FC236}">
                <a16:creationId xmlns:a16="http://schemas.microsoft.com/office/drawing/2014/main" id="{CE741D34-E12B-1847-AEC6-D83FE07A6FAB}"/>
              </a:ext>
            </a:extLst>
          </p:cNvPr>
          <p:cNvSpPr>
            <a:spLocks noGrp="1"/>
          </p:cNvSpPr>
          <p:nvPr>
            <p:ph type="body" sz="quarter" idx="33"/>
          </p:nvPr>
        </p:nvSpPr>
        <p:spPr/>
        <p:txBody>
          <a:bodyPr/>
          <a:lstStyle/>
          <a:p>
            <a:endParaRPr lang="en-US"/>
          </a:p>
        </p:txBody>
      </p:sp>
      <p:sp>
        <p:nvSpPr>
          <p:cNvPr id="36" name="Text Placeholder 35">
            <a:extLst>
              <a:ext uri="{FF2B5EF4-FFF2-40B4-BE49-F238E27FC236}">
                <a16:creationId xmlns:a16="http://schemas.microsoft.com/office/drawing/2014/main" id="{F8561A0F-7ABF-8D49-B5B6-028AFB078243}"/>
              </a:ext>
            </a:extLst>
          </p:cNvPr>
          <p:cNvSpPr>
            <a:spLocks noGrp="1"/>
          </p:cNvSpPr>
          <p:nvPr>
            <p:ph type="body" sz="quarter" idx="39"/>
          </p:nvPr>
        </p:nvSpPr>
        <p:spPr/>
        <p:txBody>
          <a:bodyPr/>
          <a:lstStyle/>
          <a:p>
            <a:endParaRPr lang="en-US"/>
          </a:p>
        </p:txBody>
      </p:sp>
      <p:sp>
        <p:nvSpPr>
          <p:cNvPr id="37" name="Text Placeholder 36">
            <a:extLst>
              <a:ext uri="{FF2B5EF4-FFF2-40B4-BE49-F238E27FC236}">
                <a16:creationId xmlns:a16="http://schemas.microsoft.com/office/drawing/2014/main" id="{E1B1C5AD-3ED4-D64A-851D-30016D6399EB}"/>
              </a:ext>
            </a:extLst>
          </p:cNvPr>
          <p:cNvSpPr>
            <a:spLocks noGrp="1"/>
          </p:cNvSpPr>
          <p:nvPr>
            <p:ph type="body" sz="quarter" idx="45"/>
          </p:nvPr>
        </p:nvSpPr>
        <p:spPr/>
        <p:txBody>
          <a:bodyPr/>
          <a:lstStyle/>
          <a:p>
            <a:endParaRPr lang="en-US"/>
          </a:p>
        </p:txBody>
      </p:sp>
    </p:spTree>
    <p:extLst>
      <p:ext uri="{BB962C8B-B14F-4D97-AF65-F5344CB8AC3E}">
        <p14:creationId xmlns:p14="http://schemas.microsoft.com/office/powerpoint/2010/main" val="319523537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CEABA4-483A-1D4D-A068-37B793F8140A}"/>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EED68621-A0F2-004E-9C51-CF83E409FE2B}"/>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F8C3A3A7-9EA7-0441-A878-75617E6F64D4}"/>
              </a:ext>
            </a:extLst>
          </p:cNvPr>
          <p:cNvSpPr>
            <a:spLocks noGrp="1"/>
          </p:cNvSpPr>
          <p:nvPr>
            <p:ph type="body" sz="quarter" idx="23"/>
          </p:nvPr>
        </p:nvSpPr>
        <p:spPr/>
        <p:txBody>
          <a:bodyPr/>
          <a:lstStyle/>
          <a:p>
            <a:endParaRPr lang="en-US"/>
          </a:p>
        </p:txBody>
      </p:sp>
      <p:sp>
        <p:nvSpPr>
          <p:cNvPr id="5" name="Text Placeholder 4">
            <a:extLst>
              <a:ext uri="{FF2B5EF4-FFF2-40B4-BE49-F238E27FC236}">
                <a16:creationId xmlns:a16="http://schemas.microsoft.com/office/drawing/2014/main" id="{BB1D76D7-92D2-F248-B53A-3D5925DF9E88}"/>
              </a:ext>
            </a:extLst>
          </p:cNvPr>
          <p:cNvSpPr>
            <a:spLocks noGrp="1"/>
          </p:cNvSpPr>
          <p:nvPr>
            <p:ph type="body" sz="quarter" idx="29"/>
          </p:nvPr>
        </p:nvSpPr>
        <p:spPr/>
        <p:txBody>
          <a:bodyPr/>
          <a:lstStyle/>
          <a:p>
            <a:endParaRPr lang="en-US"/>
          </a:p>
        </p:txBody>
      </p:sp>
      <p:sp>
        <p:nvSpPr>
          <p:cNvPr id="6" name="Text Placeholder 5">
            <a:extLst>
              <a:ext uri="{FF2B5EF4-FFF2-40B4-BE49-F238E27FC236}">
                <a16:creationId xmlns:a16="http://schemas.microsoft.com/office/drawing/2014/main" id="{C3F6D9F2-5DF4-5749-A743-38A06E1F2B51}"/>
              </a:ext>
            </a:extLst>
          </p:cNvPr>
          <p:cNvSpPr>
            <a:spLocks noGrp="1"/>
          </p:cNvSpPr>
          <p:nvPr>
            <p:ph type="body" sz="quarter" idx="35"/>
          </p:nvPr>
        </p:nvSpPr>
        <p:spPr/>
        <p:txBody>
          <a:bodyPr/>
          <a:lstStyle/>
          <a:p>
            <a:endParaRPr lang="en-US"/>
          </a:p>
        </p:txBody>
      </p:sp>
      <p:sp>
        <p:nvSpPr>
          <p:cNvPr id="7" name="Text Placeholder 6">
            <a:extLst>
              <a:ext uri="{FF2B5EF4-FFF2-40B4-BE49-F238E27FC236}">
                <a16:creationId xmlns:a16="http://schemas.microsoft.com/office/drawing/2014/main" id="{5CB561C0-970D-7F41-9D76-7B8F31421F49}"/>
              </a:ext>
            </a:extLst>
          </p:cNvPr>
          <p:cNvSpPr>
            <a:spLocks noGrp="1"/>
          </p:cNvSpPr>
          <p:nvPr>
            <p:ph type="body" sz="quarter" idx="41"/>
          </p:nvPr>
        </p:nvSpPr>
        <p:spPr/>
        <p:txBody>
          <a:bodyPr/>
          <a:lstStyle/>
          <a:p>
            <a:endParaRPr lang="en-US"/>
          </a:p>
        </p:txBody>
      </p:sp>
      <p:sp>
        <p:nvSpPr>
          <p:cNvPr id="8" name="Text Placeholder 7">
            <a:extLst>
              <a:ext uri="{FF2B5EF4-FFF2-40B4-BE49-F238E27FC236}">
                <a16:creationId xmlns:a16="http://schemas.microsoft.com/office/drawing/2014/main" id="{D4C2D2AF-B24B-3343-AC5B-F772631FA0EB}"/>
              </a:ext>
            </a:extLst>
          </p:cNvPr>
          <p:cNvSpPr>
            <a:spLocks noGrp="1"/>
          </p:cNvSpPr>
          <p:nvPr>
            <p:ph type="body" sz="quarter" idx="10"/>
          </p:nvPr>
        </p:nvSpPr>
        <p:spPr/>
        <p:txBody>
          <a:bodyPr/>
          <a:lstStyle/>
          <a:p>
            <a:endParaRPr lang="en-US"/>
          </a:p>
        </p:txBody>
      </p:sp>
      <p:sp>
        <p:nvSpPr>
          <p:cNvPr id="9" name="Text Placeholder 8">
            <a:extLst>
              <a:ext uri="{FF2B5EF4-FFF2-40B4-BE49-F238E27FC236}">
                <a16:creationId xmlns:a16="http://schemas.microsoft.com/office/drawing/2014/main" id="{0DEEEA9D-372A-6644-AF45-B6D5DB767DFC}"/>
              </a:ext>
            </a:extLst>
          </p:cNvPr>
          <p:cNvSpPr>
            <a:spLocks noGrp="1"/>
          </p:cNvSpPr>
          <p:nvPr>
            <p:ph type="body" sz="quarter" idx="16"/>
          </p:nvPr>
        </p:nvSpPr>
        <p:spPr/>
        <p:txBody>
          <a:bodyPr/>
          <a:lstStyle/>
          <a:p>
            <a:endParaRPr lang="en-US"/>
          </a:p>
        </p:txBody>
      </p:sp>
      <p:sp>
        <p:nvSpPr>
          <p:cNvPr id="10" name="Text Placeholder 9">
            <a:extLst>
              <a:ext uri="{FF2B5EF4-FFF2-40B4-BE49-F238E27FC236}">
                <a16:creationId xmlns:a16="http://schemas.microsoft.com/office/drawing/2014/main" id="{5666AABC-F522-8049-AE2F-F81905B2B2E9}"/>
              </a:ext>
            </a:extLst>
          </p:cNvPr>
          <p:cNvSpPr>
            <a:spLocks noGrp="1"/>
          </p:cNvSpPr>
          <p:nvPr>
            <p:ph type="body" sz="quarter" idx="22"/>
          </p:nvPr>
        </p:nvSpPr>
        <p:spPr/>
        <p:txBody>
          <a:bodyPr/>
          <a:lstStyle/>
          <a:p>
            <a:endParaRPr lang="en-US"/>
          </a:p>
        </p:txBody>
      </p:sp>
      <p:sp>
        <p:nvSpPr>
          <p:cNvPr id="11" name="Text Placeholder 10">
            <a:extLst>
              <a:ext uri="{FF2B5EF4-FFF2-40B4-BE49-F238E27FC236}">
                <a16:creationId xmlns:a16="http://schemas.microsoft.com/office/drawing/2014/main" id="{0B24CF17-F4E8-AF45-92BA-BDD020EC3172}"/>
              </a:ext>
            </a:extLst>
          </p:cNvPr>
          <p:cNvSpPr>
            <a:spLocks noGrp="1"/>
          </p:cNvSpPr>
          <p:nvPr>
            <p:ph type="body" sz="quarter" idx="28"/>
          </p:nvPr>
        </p:nvSpPr>
        <p:spPr/>
        <p:txBody>
          <a:bodyPr/>
          <a:lstStyle/>
          <a:p>
            <a:endParaRPr lang="en-US"/>
          </a:p>
        </p:txBody>
      </p:sp>
      <p:sp>
        <p:nvSpPr>
          <p:cNvPr id="12" name="Text Placeholder 11">
            <a:extLst>
              <a:ext uri="{FF2B5EF4-FFF2-40B4-BE49-F238E27FC236}">
                <a16:creationId xmlns:a16="http://schemas.microsoft.com/office/drawing/2014/main" id="{36364FA3-7511-E740-82C8-11D4C53DB8DE}"/>
              </a:ext>
            </a:extLst>
          </p:cNvPr>
          <p:cNvSpPr>
            <a:spLocks noGrp="1"/>
          </p:cNvSpPr>
          <p:nvPr>
            <p:ph type="body" sz="quarter" idx="34"/>
          </p:nvPr>
        </p:nvSpPr>
        <p:spPr/>
        <p:txBody>
          <a:bodyPr/>
          <a:lstStyle/>
          <a:p>
            <a:endParaRPr lang="en-US"/>
          </a:p>
        </p:txBody>
      </p:sp>
      <p:sp>
        <p:nvSpPr>
          <p:cNvPr id="13" name="Text Placeholder 12">
            <a:extLst>
              <a:ext uri="{FF2B5EF4-FFF2-40B4-BE49-F238E27FC236}">
                <a16:creationId xmlns:a16="http://schemas.microsoft.com/office/drawing/2014/main" id="{3A10F15A-DCC3-7F48-92B8-A6EBAC84F690}"/>
              </a:ext>
            </a:extLst>
          </p:cNvPr>
          <p:cNvSpPr>
            <a:spLocks noGrp="1"/>
          </p:cNvSpPr>
          <p:nvPr>
            <p:ph type="body" sz="quarter" idx="40"/>
          </p:nvPr>
        </p:nvSpPr>
        <p:spPr/>
        <p:txBody>
          <a:bodyPr/>
          <a:lstStyle/>
          <a:p>
            <a:endParaRPr lang="en-US"/>
          </a:p>
        </p:txBody>
      </p:sp>
      <p:sp>
        <p:nvSpPr>
          <p:cNvPr id="14" name="Text Placeholder 13">
            <a:extLst>
              <a:ext uri="{FF2B5EF4-FFF2-40B4-BE49-F238E27FC236}">
                <a16:creationId xmlns:a16="http://schemas.microsoft.com/office/drawing/2014/main" id="{6BFBC909-1C60-C948-8CD2-D8AFBC9BEE68}"/>
              </a:ext>
            </a:extLst>
          </p:cNvPr>
          <p:cNvSpPr>
            <a:spLocks noGrp="1"/>
          </p:cNvSpPr>
          <p:nvPr>
            <p:ph type="body" sz="quarter" idx="12"/>
          </p:nvPr>
        </p:nvSpPr>
        <p:spPr/>
        <p:txBody>
          <a:bodyPr/>
          <a:lstStyle/>
          <a:p>
            <a:endParaRPr lang="en-US"/>
          </a:p>
        </p:txBody>
      </p:sp>
      <p:sp>
        <p:nvSpPr>
          <p:cNvPr id="15" name="Text Placeholder 14">
            <a:extLst>
              <a:ext uri="{FF2B5EF4-FFF2-40B4-BE49-F238E27FC236}">
                <a16:creationId xmlns:a16="http://schemas.microsoft.com/office/drawing/2014/main" id="{384AB8D9-2760-C340-AB51-EA3C1F9BA7A5}"/>
              </a:ext>
            </a:extLst>
          </p:cNvPr>
          <p:cNvSpPr>
            <a:spLocks noGrp="1"/>
          </p:cNvSpPr>
          <p:nvPr>
            <p:ph type="body" sz="quarter" idx="18"/>
          </p:nvPr>
        </p:nvSpPr>
        <p:spPr/>
        <p:txBody>
          <a:bodyPr/>
          <a:lstStyle/>
          <a:p>
            <a:endParaRPr lang="en-US"/>
          </a:p>
        </p:txBody>
      </p:sp>
      <p:sp>
        <p:nvSpPr>
          <p:cNvPr id="16" name="Text Placeholder 15">
            <a:extLst>
              <a:ext uri="{FF2B5EF4-FFF2-40B4-BE49-F238E27FC236}">
                <a16:creationId xmlns:a16="http://schemas.microsoft.com/office/drawing/2014/main" id="{8B86FAD9-A058-CB41-A7BB-69757779CB4D}"/>
              </a:ext>
            </a:extLst>
          </p:cNvPr>
          <p:cNvSpPr>
            <a:spLocks noGrp="1"/>
          </p:cNvSpPr>
          <p:nvPr>
            <p:ph type="body" sz="quarter" idx="24"/>
          </p:nvPr>
        </p:nvSpPr>
        <p:spPr/>
        <p:txBody>
          <a:bodyPr/>
          <a:lstStyle/>
          <a:p>
            <a:endParaRPr lang="en-US"/>
          </a:p>
        </p:txBody>
      </p:sp>
      <p:sp>
        <p:nvSpPr>
          <p:cNvPr id="17" name="Text Placeholder 16">
            <a:extLst>
              <a:ext uri="{FF2B5EF4-FFF2-40B4-BE49-F238E27FC236}">
                <a16:creationId xmlns:a16="http://schemas.microsoft.com/office/drawing/2014/main" id="{BD43A8CC-9F4F-2D47-AF4F-4B8BC5CBABA5}"/>
              </a:ext>
            </a:extLst>
          </p:cNvPr>
          <p:cNvSpPr>
            <a:spLocks noGrp="1"/>
          </p:cNvSpPr>
          <p:nvPr>
            <p:ph type="body" sz="quarter" idx="30"/>
          </p:nvPr>
        </p:nvSpPr>
        <p:spPr/>
        <p:txBody>
          <a:bodyPr/>
          <a:lstStyle/>
          <a:p>
            <a:endParaRPr lang="en-US"/>
          </a:p>
        </p:txBody>
      </p:sp>
      <p:sp>
        <p:nvSpPr>
          <p:cNvPr id="18" name="Text Placeholder 17">
            <a:extLst>
              <a:ext uri="{FF2B5EF4-FFF2-40B4-BE49-F238E27FC236}">
                <a16:creationId xmlns:a16="http://schemas.microsoft.com/office/drawing/2014/main" id="{0A3C6E3C-A33B-B84A-A21E-F1CA11B7724A}"/>
              </a:ext>
            </a:extLst>
          </p:cNvPr>
          <p:cNvSpPr>
            <a:spLocks noGrp="1"/>
          </p:cNvSpPr>
          <p:nvPr>
            <p:ph type="body" sz="quarter" idx="36"/>
          </p:nvPr>
        </p:nvSpPr>
        <p:spPr/>
        <p:txBody>
          <a:bodyPr/>
          <a:lstStyle/>
          <a:p>
            <a:endParaRPr lang="en-US"/>
          </a:p>
        </p:txBody>
      </p:sp>
      <p:sp>
        <p:nvSpPr>
          <p:cNvPr id="19" name="Text Placeholder 18">
            <a:extLst>
              <a:ext uri="{FF2B5EF4-FFF2-40B4-BE49-F238E27FC236}">
                <a16:creationId xmlns:a16="http://schemas.microsoft.com/office/drawing/2014/main" id="{0D38ECFC-FA1A-7241-A46B-6D56100DF1FB}"/>
              </a:ext>
            </a:extLst>
          </p:cNvPr>
          <p:cNvSpPr>
            <a:spLocks noGrp="1"/>
          </p:cNvSpPr>
          <p:nvPr>
            <p:ph type="body" sz="quarter" idx="42"/>
          </p:nvPr>
        </p:nvSpPr>
        <p:spPr/>
        <p:txBody>
          <a:bodyPr/>
          <a:lstStyle/>
          <a:p>
            <a:endParaRPr lang="en-US"/>
          </a:p>
        </p:txBody>
      </p:sp>
      <p:sp>
        <p:nvSpPr>
          <p:cNvPr id="20" name="Text Placeholder 19">
            <a:extLst>
              <a:ext uri="{FF2B5EF4-FFF2-40B4-BE49-F238E27FC236}">
                <a16:creationId xmlns:a16="http://schemas.microsoft.com/office/drawing/2014/main" id="{BC5C59AE-B310-7140-A510-5DA8D6E52D94}"/>
              </a:ext>
            </a:extLst>
          </p:cNvPr>
          <p:cNvSpPr>
            <a:spLocks noGrp="1"/>
          </p:cNvSpPr>
          <p:nvPr>
            <p:ph type="body" sz="quarter" idx="13"/>
          </p:nvPr>
        </p:nvSpPr>
        <p:spPr/>
        <p:txBody>
          <a:bodyPr/>
          <a:lstStyle/>
          <a:p>
            <a:endParaRPr lang="en-US"/>
          </a:p>
        </p:txBody>
      </p:sp>
      <p:sp>
        <p:nvSpPr>
          <p:cNvPr id="21" name="Text Placeholder 20">
            <a:extLst>
              <a:ext uri="{FF2B5EF4-FFF2-40B4-BE49-F238E27FC236}">
                <a16:creationId xmlns:a16="http://schemas.microsoft.com/office/drawing/2014/main" id="{E9F6F4F9-15C5-1A4A-8D65-A01B5B5AC5B5}"/>
              </a:ext>
            </a:extLst>
          </p:cNvPr>
          <p:cNvSpPr>
            <a:spLocks noGrp="1"/>
          </p:cNvSpPr>
          <p:nvPr>
            <p:ph type="body" sz="quarter" idx="19"/>
          </p:nvPr>
        </p:nvSpPr>
        <p:spPr/>
        <p:txBody>
          <a:bodyPr/>
          <a:lstStyle/>
          <a:p>
            <a:endParaRPr lang="en-US"/>
          </a:p>
        </p:txBody>
      </p:sp>
      <p:sp>
        <p:nvSpPr>
          <p:cNvPr id="22" name="Text Placeholder 21">
            <a:extLst>
              <a:ext uri="{FF2B5EF4-FFF2-40B4-BE49-F238E27FC236}">
                <a16:creationId xmlns:a16="http://schemas.microsoft.com/office/drawing/2014/main" id="{E237C0AE-3D2F-4142-ADF4-A8345F75891F}"/>
              </a:ext>
            </a:extLst>
          </p:cNvPr>
          <p:cNvSpPr>
            <a:spLocks noGrp="1"/>
          </p:cNvSpPr>
          <p:nvPr>
            <p:ph type="body" sz="quarter" idx="25"/>
          </p:nvPr>
        </p:nvSpPr>
        <p:spPr/>
        <p:txBody>
          <a:bodyPr/>
          <a:lstStyle/>
          <a:p>
            <a:endParaRPr lang="en-US"/>
          </a:p>
        </p:txBody>
      </p:sp>
      <p:sp>
        <p:nvSpPr>
          <p:cNvPr id="23" name="Text Placeholder 22">
            <a:extLst>
              <a:ext uri="{FF2B5EF4-FFF2-40B4-BE49-F238E27FC236}">
                <a16:creationId xmlns:a16="http://schemas.microsoft.com/office/drawing/2014/main" id="{B7520FAF-930A-2248-A64A-F050C9BD0309}"/>
              </a:ext>
            </a:extLst>
          </p:cNvPr>
          <p:cNvSpPr>
            <a:spLocks noGrp="1"/>
          </p:cNvSpPr>
          <p:nvPr>
            <p:ph type="body" sz="quarter" idx="31"/>
          </p:nvPr>
        </p:nvSpPr>
        <p:spPr/>
        <p:txBody>
          <a:bodyPr/>
          <a:lstStyle/>
          <a:p>
            <a:endParaRPr lang="en-US"/>
          </a:p>
        </p:txBody>
      </p:sp>
      <p:sp>
        <p:nvSpPr>
          <p:cNvPr id="24" name="Text Placeholder 23">
            <a:extLst>
              <a:ext uri="{FF2B5EF4-FFF2-40B4-BE49-F238E27FC236}">
                <a16:creationId xmlns:a16="http://schemas.microsoft.com/office/drawing/2014/main" id="{8FC38448-903A-CC4A-8882-76645C466380}"/>
              </a:ext>
            </a:extLst>
          </p:cNvPr>
          <p:cNvSpPr>
            <a:spLocks noGrp="1"/>
          </p:cNvSpPr>
          <p:nvPr>
            <p:ph type="body" sz="quarter" idx="37"/>
          </p:nvPr>
        </p:nvSpPr>
        <p:spPr/>
        <p:txBody>
          <a:bodyPr/>
          <a:lstStyle/>
          <a:p>
            <a:endParaRPr lang="en-US"/>
          </a:p>
        </p:txBody>
      </p:sp>
      <p:sp>
        <p:nvSpPr>
          <p:cNvPr id="25" name="Text Placeholder 24">
            <a:extLst>
              <a:ext uri="{FF2B5EF4-FFF2-40B4-BE49-F238E27FC236}">
                <a16:creationId xmlns:a16="http://schemas.microsoft.com/office/drawing/2014/main" id="{B06DEA73-CEF9-7E48-9B40-C75B878CC198}"/>
              </a:ext>
            </a:extLst>
          </p:cNvPr>
          <p:cNvSpPr>
            <a:spLocks noGrp="1"/>
          </p:cNvSpPr>
          <p:nvPr>
            <p:ph type="body" sz="quarter" idx="43"/>
          </p:nvPr>
        </p:nvSpPr>
        <p:spPr/>
        <p:txBody>
          <a:bodyPr/>
          <a:lstStyle/>
          <a:p>
            <a:endParaRPr lang="en-US"/>
          </a:p>
        </p:txBody>
      </p:sp>
      <p:sp>
        <p:nvSpPr>
          <p:cNvPr id="26" name="Text Placeholder 25">
            <a:extLst>
              <a:ext uri="{FF2B5EF4-FFF2-40B4-BE49-F238E27FC236}">
                <a16:creationId xmlns:a16="http://schemas.microsoft.com/office/drawing/2014/main" id="{10374D22-294E-D549-891A-8C43F3A7AB9B}"/>
              </a:ext>
            </a:extLst>
          </p:cNvPr>
          <p:cNvSpPr>
            <a:spLocks noGrp="1"/>
          </p:cNvSpPr>
          <p:nvPr>
            <p:ph type="body" sz="quarter" idx="14"/>
          </p:nvPr>
        </p:nvSpPr>
        <p:spPr/>
        <p:txBody>
          <a:bodyPr/>
          <a:lstStyle/>
          <a:p>
            <a:endParaRPr lang="en-US"/>
          </a:p>
        </p:txBody>
      </p:sp>
      <p:sp>
        <p:nvSpPr>
          <p:cNvPr id="27" name="Text Placeholder 26">
            <a:extLst>
              <a:ext uri="{FF2B5EF4-FFF2-40B4-BE49-F238E27FC236}">
                <a16:creationId xmlns:a16="http://schemas.microsoft.com/office/drawing/2014/main" id="{507CCCC1-D479-7C4D-BA22-BF8A7589A473}"/>
              </a:ext>
            </a:extLst>
          </p:cNvPr>
          <p:cNvSpPr>
            <a:spLocks noGrp="1"/>
          </p:cNvSpPr>
          <p:nvPr>
            <p:ph type="body" sz="quarter" idx="20"/>
          </p:nvPr>
        </p:nvSpPr>
        <p:spPr/>
        <p:txBody>
          <a:bodyPr/>
          <a:lstStyle/>
          <a:p>
            <a:endParaRPr lang="en-US"/>
          </a:p>
        </p:txBody>
      </p:sp>
      <p:sp>
        <p:nvSpPr>
          <p:cNvPr id="28" name="Text Placeholder 27">
            <a:extLst>
              <a:ext uri="{FF2B5EF4-FFF2-40B4-BE49-F238E27FC236}">
                <a16:creationId xmlns:a16="http://schemas.microsoft.com/office/drawing/2014/main" id="{C9617375-D42E-E44D-B5BF-95839316B43A}"/>
              </a:ext>
            </a:extLst>
          </p:cNvPr>
          <p:cNvSpPr>
            <a:spLocks noGrp="1"/>
          </p:cNvSpPr>
          <p:nvPr>
            <p:ph type="body" sz="quarter" idx="26"/>
          </p:nvPr>
        </p:nvSpPr>
        <p:spPr/>
        <p:txBody>
          <a:bodyPr/>
          <a:lstStyle/>
          <a:p>
            <a:endParaRPr lang="en-US"/>
          </a:p>
        </p:txBody>
      </p:sp>
      <p:sp>
        <p:nvSpPr>
          <p:cNvPr id="29" name="Text Placeholder 28">
            <a:extLst>
              <a:ext uri="{FF2B5EF4-FFF2-40B4-BE49-F238E27FC236}">
                <a16:creationId xmlns:a16="http://schemas.microsoft.com/office/drawing/2014/main" id="{8A34F526-FCB6-AF43-AB78-736C41C48DF2}"/>
              </a:ext>
            </a:extLst>
          </p:cNvPr>
          <p:cNvSpPr>
            <a:spLocks noGrp="1"/>
          </p:cNvSpPr>
          <p:nvPr>
            <p:ph type="body" sz="quarter" idx="32"/>
          </p:nvPr>
        </p:nvSpPr>
        <p:spPr/>
        <p:txBody>
          <a:bodyPr/>
          <a:lstStyle/>
          <a:p>
            <a:endParaRPr lang="en-US"/>
          </a:p>
        </p:txBody>
      </p:sp>
      <p:sp>
        <p:nvSpPr>
          <p:cNvPr id="30" name="Text Placeholder 29">
            <a:extLst>
              <a:ext uri="{FF2B5EF4-FFF2-40B4-BE49-F238E27FC236}">
                <a16:creationId xmlns:a16="http://schemas.microsoft.com/office/drawing/2014/main" id="{0F20A6F4-9DFF-A74B-8EBB-4EC514EC3B1E}"/>
              </a:ext>
            </a:extLst>
          </p:cNvPr>
          <p:cNvSpPr>
            <a:spLocks noGrp="1"/>
          </p:cNvSpPr>
          <p:nvPr>
            <p:ph type="body" sz="quarter" idx="38"/>
          </p:nvPr>
        </p:nvSpPr>
        <p:spPr/>
        <p:txBody>
          <a:bodyPr/>
          <a:lstStyle/>
          <a:p>
            <a:endParaRPr lang="en-US"/>
          </a:p>
        </p:txBody>
      </p:sp>
      <p:sp>
        <p:nvSpPr>
          <p:cNvPr id="31" name="Text Placeholder 30">
            <a:extLst>
              <a:ext uri="{FF2B5EF4-FFF2-40B4-BE49-F238E27FC236}">
                <a16:creationId xmlns:a16="http://schemas.microsoft.com/office/drawing/2014/main" id="{5ACCEFD5-6430-A64E-BF56-90D6BEF5C9A2}"/>
              </a:ext>
            </a:extLst>
          </p:cNvPr>
          <p:cNvSpPr>
            <a:spLocks noGrp="1"/>
          </p:cNvSpPr>
          <p:nvPr>
            <p:ph type="body" sz="quarter" idx="44"/>
          </p:nvPr>
        </p:nvSpPr>
        <p:spPr/>
        <p:txBody>
          <a:bodyPr/>
          <a:lstStyle/>
          <a:p>
            <a:endParaRPr lang="en-US"/>
          </a:p>
        </p:txBody>
      </p:sp>
      <p:sp>
        <p:nvSpPr>
          <p:cNvPr id="32" name="Text Placeholder 31">
            <a:extLst>
              <a:ext uri="{FF2B5EF4-FFF2-40B4-BE49-F238E27FC236}">
                <a16:creationId xmlns:a16="http://schemas.microsoft.com/office/drawing/2014/main" id="{545E0A82-A3CE-9141-90C7-F5F40A5C83CB}"/>
              </a:ext>
            </a:extLst>
          </p:cNvPr>
          <p:cNvSpPr>
            <a:spLocks noGrp="1"/>
          </p:cNvSpPr>
          <p:nvPr>
            <p:ph type="body" sz="quarter" idx="15"/>
          </p:nvPr>
        </p:nvSpPr>
        <p:spPr/>
        <p:txBody>
          <a:bodyPr/>
          <a:lstStyle/>
          <a:p>
            <a:endParaRPr lang="en-US"/>
          </a:p>
        </p:txBody>
      </p:sp>
      <p:sp>
        <p:nvSpPr>
          <p:cNvPr id="33" name="Text Placeholder 32">
            <a:extLst>
              <a:ext uri="{FF2B5EF4-FFF2-40B4-BE49-F238E27FC236}">
                <a16:creationId xmlns:a16="http://schemas.microsoft.com/office/drawing/2014/main" id="{EE6DE242-4FF2-D940-B33A-921DF0C51548}"/>
              </a:ext>
            </a:extLst>
          </p:cNvPr>
          <p:cNvSpPr>
            <a:spLocks noGrp="1"/>
          </p:cNvSpPr>
          <p:nvPr>
            <p:ph type="body" sz="quarter" idx="21"/>
          </p:nvPr>
        </p:nvSpPr>
        <p:spPr/>
        <p:txBody>
          <a:bodyPr/>
          <a:lstStyle/>
          <a:p>
            <a:endParaRPr lang="en-US"/>
          </a:p>
        </p:txBody>
      </p:sp>
      <p:sp>
        <p:nvSpPr>
          <p:cNvPr id="34" name="Text Placeholder 33">
            <a:extLst>
              <a:ext uri="{FF2B5EF4-FFF2-40B4-BE49-F238E27FC236}">
                <a16:creationId xmlns:a16="http://schemas.microsoft.com/office/drawing/2014/main" id="{AC7FB70A-C92C-844A-8DEF-0EAF2FE1BE80}"/>
              </a:ext>
            </a:extLst>
          </p:cNvPr>
          <p:cNvSpPr>
            <a:spLocks noGrp="1"/>
          </p:cNvSpPr>
          <p:nvPr>
            <p:ph type="body" sz="quarter" idx="27"/>
          </p:nvPr>
        </p:nvSpPr>
        <p:spPr/>
        <p:txBody>
          <a:bodyPr/>
          <a:lstStyle/>
          <a:p>
            <a:endParaRPr lang="en-US"/>
          </a:p>
        </p:txBody>
      </p:sp>
      <p:sp>
        <p:nvSpPr>
          <p:cNvPr id="35" name="Text Placeholder 34">
            <a:extLst>
              <a:ext uri="{FF2B5EF4-FFF2-40B4-BE49-F238E27FC236}">
                <a16:creationId xmlns:a16="http://schemas.microsoft.com/office/drawing/2014/main" id="{766063AA-7C18-E14A-BAF5-AF78C65F03C7}"/>
              </a:ext>
            </a:extLst>
          </p:cNvPr>
          <p:cNvSpPr>
            <a:spLocks noGrp="1"/>
          </p:cNvSpPr>
          <p:nvPr>
            <p:ph type="body" sz="quarter" idx="33"/>
          </p:nvPr>
        </p:nvSpPr>
        <p:spPr/>
        <p:txBody>
          <a:bodyPr/>
          <a:lstStyle/>
          <a:p>
            <a:endParaRPr lang="en-US"/>
          </a:p>
        </p:txBody>
      </p:sp>
      <p:sp>
        <p:nvSpPr>
          <p:cNvPr id="36" name="Text Placeholder 35">
            <a:extLst>
              <a:ext uri="{FF2B5EF4-FFF2-40B4-BE49-F238E27FC236}">
                <a16:creationId xmlns:a16="http://schemas.microsoft.com/office/drawing/2014/main" id="{31E01947-00F5-7C45-BEEE-6B8B5CE1E61D}"/>
              </a:ext>
            </a:extLst>
          </p:cNvPr>
          <p:cNvSpPr>
            <a:spLocks noGrp="1"/>
          </p:cNvSpPr>
          <p:nvPr>
            <p:ph type="body" sz="quarter" idx="39"/>
          </p:nvPr>
        </p:nvSpPr>
        <p:spPr/>
        <p:txBody>
          <a:bodyPr/>
          <a:lstStyle/>
          <a:p>
            <a:endParaRPr lang="en-US"/>
          </a:p>
        </p:txBody>
      </p:sp>
      <p:sp>
        <p:nvSpPr>
          <p:cNvPr id="37" name="Text Placeholder 36">
            <a:extLst>
              <a:ext uri="{FF2B5EF4-FFF2-40B4-BE49-F238E27FC236}">
                <a16:creationId xmlns:a16="http://schemas.microsoft.com/office/drawing/2014/main" id="{D66858E2-4D6E-7041-A5BF-955E39AFD9D5}"/>
              </a:ext>
            </a:extLst>
          </p:cNvPr>
          <p:cNvSpPr>
            <a:spLocks noGrp="1"/>
          </p:cNvSpPr>
          <p:nvPr>
            <p:ph type="body" sz="quarter" idx="45"/>
          </p:nvPr>
        </p:nvSpPr>
        <p:spPr/>
        <p:txBody>
          <a:bodyPr/>
          <a:lstStyle/>
          <a:p>
            <a:endParaRPr lang="en-US"/>
          </a:p>
        </p:txBody>
      </p:sp>
    </p:spTree>
    <p:extLst>
      <p:ext uri="{BB962C8B-B14F-4D97-AF65-F5344CB8AC3E}">
        <p14:creationId xmlns:p14="http://schemas.microsoft.com/office/powerpoint/2010/main" val="25020282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CB8FE05-1984-0045-A4CB-4F5431F1D859}"/>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1825897D-7247-CF45-8090-0EFF00A86043}"/>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0AB55B69-8D4E-5244-8933-347D330F5AEE}"/>
              </a:ext>
            </a:extLst>
          </p:cNvPr>
          <p:cNvSpPr>
            <a:spLocks noGrp="1"/>
          </p:cNvSpPr>
          <p:nvPr>
            <p:ph type="body" sz="quarter" idx="23"/>
          </p:nvPr>
        </p:nvSpPr>
        <p:spPr/>
        <p:txBody>
          <a:bodyPr/>
          <a:lstStyle/>
          <a:p>
            <a:endParaRPr lang="en-US"/>
          </a:p>
        </p:txBody>
      </p:sp>
      <p:sp>
        <p:nvSpPr>
          <p:cNvPr id="5" name="Text Placeholder 4">
            <a:extLst>
              <a:ext uri="{FF2B5EF4-FFF2-40B4-BE49-F238E27FC236}">
                <a16:creationId xmlns:a16="http://schemas.microsoft.com/office/drawing/2014/main" id="{08832140-E029-F049-BAD9-DDE7F6D23600}"/>
              </a:ext>
            </a:extLst>
          </p:cNvPr>
          <p:cNvSpPr>
            <a:spLocks noGrp="1"/>
          </p:cNvSpPr>
          <p:nvPr>
            <p:ph type="body" sz="quarter" idx="29"/>
          </p:nvPr>
        </p:nvSpPr>
        <p:spPr/>
        <p:txBody>
          <a:bodyPr/>
          <a:lstStyle/>
          <a:p>
            <a:endParaRPr lang="en-US"/>
          </a:p>
        </p:txBody>
      </p:sp>
      <p:sp>
        <p:nvSpPr>
          <p:cNvPr id="6" name="Text Placeholder 5">
            <a:extLst>
              <a:ext uri="{FF2B5EF4-FFF2-40B4-BE49-F238E27FC236}">
                <a16:creationId xmlns:a16="http://schemas.microsoft.com/office/drawing/2014/main" id="{E5A1057C-C06C-6E43-B756-AE2D43347616}"/>
              </a:ext>
            </a:extLst>
          </p:cNvPr>
          <p:cNvSpPr>
            <a:spLocks noGrp="1"/>
          </p:cNvSpPr>
          <p:nvPr>
            <p:ph type="body" sz="quarter" idx="35"/>
          </p:nvPr>
        </p:nvSpPr>
        <p:spPr/>
        <p:txBody>
          <a:bodyPr/>
          <a:lstStyle/>
          <a:p>
            <a:endParaRPr lang="en-US"/>
          </a:p>
        </p:txBody>
      </p:sp>
      <p:sp>
        <p:nvSpPr>
          <p:cNvPr id="7" name="Text Placeholder 6">
            <a:extLst>
              <a:ext uri="{FF2B5EF4-FFF2-40B4-BE49-F238E27FC236}">
                <a16:creationId xmlns:a16="http://schemas.microsoft.com/office/drawing/2014/main" id="{BF8FBD81-BBD1-2F4D-A44C-602D4D9DB138}"/>
              </a:ext>
            </a:extLst>
          </p:cNvPr>
          <p:cNvSpPr>
            <a:spLocks noGrp="1"/>
          </p:cNvSpPr>
          <p:nvPr>
            <p:ph type="body" sz="quarter" idx="41"/>
          </p:nvPr>
        </p:nvSpPr>
        <p:spPr/>
        <p:txBody>
          <a:bodyPr/>
          <a:lstStyle/>
          <a:p>
            <a:endParaRPr lang="en-US"/>
          </a:p>
        </p:txBody>
      </p:sp>
      <p:sp>
        <p:nvSpPr>
          <p:cNvPr id="8" name="Text Placeholder 7">
            <a:extLst>
              <a:ext uri="{FF2B5EF4-FFF2-40B4-BE49-F238E27FC236}">
                <a16:creationId xmlns:a16="http://schemas.microsoft.com/office/drawing/2014/main" id="{F4FEB5B1-0019-5244-8202-E5C55D6D9923}"/>
              </a:ext>
            </a:extLst>
          </p:cNvPr>
          <p:cNvSpPr>
            <a:spLocks noGrp="1"/>
          </p:cNvSpPr>
          <p:nvPr>
            <p:ph type="body" sz="quarter" idx="10"/>
          </p:nvPr>
        </p:nvSpPr>
        <p:spPr/>
        <p:txBody>
          <a:bodyPr/>
          <a:lstStyle/>
          <a:p>
            <a:endParaRPr lang="en-US"/>
          </a:p>
        </p:txBody>
      </p:sp>
      <p:sp>
        <p:nvSpPr>
          <p:cNvPr id="9" name="Text Placeholder 8">
            <a:extLst>
              <a:ext uri="{FF2B5EF4-FFF2-40B4-BE49-F238E27FC236}">
                <a16:creationId xmlns:a16="http://schemas.microsoft.com/office/drawing/2014/main" id="{6FBDBE88-4935-0B4E-BB57-7B82B2CC5417}"/>
              </a:ext>
            </a:extLst>
          </p:cNvPr>
          <p:cNvSpPr>
            <a:spLocks noGrp="1"/>
          </p:cNvSpPr>
          <p:nvPr>
            <p:ph type="body" sz="quarter" idx="16"/>
          </p:nvPr>
        </p:nvSpPr>
        <p:spPr/>
        <p:txBody>
          <a:bodyPr/>
          <a:lstStyle/>
          <a:p>
            <a:endParaRPr lang="en-US"/>
          </a:p>
        </p:txBody>
      </p:sp>
      <p:sp>
        <p:nvSpPr>
          <p:cNvPr id="10" name="Text Placeholder 9">
            <a:extLst>
              <a:ext uri="{FF2B5EF4-FFF2-40B4-BE49-F238E27FC236}">
                <a16:creationId xmlns:a16="http://schemas.microsoft.com/office/drawing/2014/main" id="{05FE416F-EAFF-AE43-981B-411BF81B993F}"/>
              </a:ext>
            </a:extLst>
          </p:cNvPr>
          <p:cNvSpPr>
            <a:spLocks noGrp="1"/>
          </p:cNvSpPr>
          <p:nvPr>
            <p:ph type="body" sz="quarter" idx="22"/>
          </p:nvPr>
        </p:nvSpPr>
        <p:spPr/>
        <p:txBody>
          <a:bodyPr/>
          <a:lstStyle/>
          <a:p>
            <a:endParaRPr lang="en-US"/>
          </a:p>
        </p:txBody>
      </p:sp>
      <p:sp>
        <p:nvSpPr>
          <p:cNvPr id="11" name="Text Placeholder 10">
            <a:extLst>
              <a:ext uri="{FF2B5EF4-FFF2-40B4-BE49-F238E27FC236}">
                <a16:creationId xmlns:a16="http://schemas.microsoft.com/office/drawing/2014/main" id="{89CAFF18-854C-4D4E-A3A1-D0FC995269E7}"/>
              </a:ext>
            </a:extLst>
          </p:cNvPr>
          <p:cNvSpPr>
            <a:spLocks noGrp="1"/>
          </p:cNvSpPr>
          <p:nvPr>
            <p:ph type="body" sz="quarter" idx="28"/>
          </p:nvPr>
        </p:nvSpPr>
        <p:spPr/>
        <p:txBody>
          <a:bodyPr/>
          <a:lstStyle/>
          <a:p>
            <a:endParaRPr lang="en-US"/>
          </a:p>
        </p:txBody>
      </p:sp>
      <p:sp>
        <p:nvSpPr>
          <p:cNvPr id="12" name="Text Placeholder 11">
            <a:extLst>
              <a:ext uri="{FF2B5EF4-FFF2-40B4-BE49-F238E27FC236}">
                <a16:creationId xmlns:a16="http://schemas.microsoft.com/office/drawing/2014/main" id="{8A70085F-A219-2744-94A6-64C11C9C1C3F}"/>
              </a:ext>
            </a:extLst>
          </p:cNvPr>
          <p:cNvSpPr>
            <a:spLocks noGrp="1"/>
          </p:cNvSpPr>
          <p:nvPr>
            <p:ph type="body" sz="quarter" idx="34"/>
          </p:nvPr>
        </p:nvSpPr>
        <p:spPr/>
        <p:txBody>
          <a:bodyPr/>
          <a:lstStyle/>
          <a:p>
            <a:endParaRPr lang="en-US"/>
          </a:p>
        </p:txBody>
      </p:sp>
      <p:sp>
        <p:nvSpPr>
          <p:cNvPr id="13" name="Text Placeholder 12">
            <a:extLst>
              <a:ext uri="{FF2B5EF4-FFF2-40B4-BE49-F238E27FC236}">
                <a16:creationId xmlns:a16="http://schemas.microsoft.com/office/drawing/2014/main" id="{21166762-E442-4345-AEF5-7514DAB3DE65}"/>
              </a:ext>
            </a:extLst>
          </p:cNvPr>
          <p:cNvSpPr>
            <a:spLocks noGrp="1"/>
          </p:cNvSpPr>
          <p:nvPr>
            <p:ph type="body" sz="quarter" idx="40"/>
          </p:nvPr>
        </p:nvSpPr>
        <p:spPr/>
        <p:txBody>
          <a:bodyPr/>
          <a:lstStyle/>
          <a:p>
            <a:endParaRPr lang="en-US"/>
          </a:p>
        </p:txBody>
      </p:sp>
      <p:sp>
        <p:nvSpPr>
          <p:cNvPr id="14" name="Text Placeholder 13">
            <a:extLst>
              <a:ext uri="{FF2B5EF4-FFF2-40B4-BE49-F238E27FC236}">
                <a16:creationId xmlns:a16="http://schemas.microsoft.com/office/drawing/2014/main" id="{7B3A42FF-1C7B-A341-A350-62E7B1920EF0}"/>
              </a:ext>
            </a:extLst>
          </p:cNvPr>
          <p:cNvSpPr>
            <a:spLocks noGrp="1"/>
          </p:cNvSpPr>
          <p:nvPr>
            <p:ph type="body" sz="quarter" idx="12"/>
          </p:nvPr>
        </p:nvSpPr>
        <p:spPr/>
        <p:txBody>
          <a:bodyPr/>
          <a:lstStyle/>
          <a:p>
            <a:endParaRPr lang="en-US"/>
          </a:p>
        </p:txBody>
      </p:sp>
      <p:sp>
        <p:nvSpPr>
          <p:cNvPr id="15" name="Text Placeholder 14">
            <a:extLst>
              <a:ext uri="{FF2B5EF4-FFF2-40B4-BE49-F238E27FC236}">
                <a16:creationId xmlns:a16="http://schemas.microsoft.com/office/drawing/2014/main" id="{990A29DA-AF15-4847-9F69-4305DCCB2B56}"/>
              </a:ext>
            </a:extLst>
          </p:cNvPr>
          <p:cNvSpPr>
            <a:spLocks noGrp="1"/>
          </p:cNvSpPr>
          <p:nvPr>
            <p:ph type="body" sz="quarter" idx="18"/>
          </p:nvPr>
        </p:nvSpPr>
        <p:spPr/>
        <p:txBody>
          <a:bodyPr/>
          <a:lstStyle/>
          <a:p>
            <a:endParaRPr lang="en-US"/>
          </a:p>
        </p:txBody>
      </p:sp>
      <p:sp>
        <p:nvSpPr>
          <p:cNvPr id="16" name="Text Placeholder 15">
            <a:extLst>
              <a:ext uri="{FF2B5EF4-FFF2-40B4-BE49-F238E27FC236}">
                <a16:creationId xmlns:a16="http://schemas.microsoft.com/office/drawing/2014/main" id="{9A287567-3B90-1047-9540-3D9F3C8BC448}"/>
              </a:ext>
            </a:extLst>
          </p:cNvPr>
          <p:cNvSpPr>
            <a:spLocks noGrp="1"/>
          </p:cNvSpPr>
          <p:nvPr>
            <p:ph type="body" sz="quarter" idx="24"/>
          </p:nvPr>
        </p:nvSpPr>
        <p:spPr/>
        <p:txBody>
          <a:bodyPr/>
          <a:lstStyle/>
          <a:p>
            <a:endParaRPr lang="en-US"/>
          </a:p>
        </p:txBody>
      </p:sp>
      <p:sp>
        <p:nvSpPr>
          <p:cNvPr id="17" name="Text Placeholder 16">
            <a:extLst>
              <a:ext uri="{FF2B5EF4-FFF2-40B4-BE49-F238E27FC236}">
                <a16:creationId xmlns:a16="http://schemas.microsoft.com/office/drawing/2014/main" id="{436D360B-3E7C-FB44-9FC9-A3AB0CDBD8B9}"/>
              </a:ext>
            </a:extLst>
          </p:cNvPr>
          <p:cNvSpPr>
            <a:spLocks noGrp="1"/>
          </p:cNvSpPr>
          <p:nvPr>
            <p:ph type="body" sz="quarter" idx="30"/>
          </p:nvPr>
        </p:nvSpPr>
        <p:spPr/>
        <p:txBody>
          <a:bodyPr/>
          <a:lstStyle/>
          <a:p>
            <a:endParaRPr lang="en-US"/>
          </a:p>
        </p:txBody>
      </p:sp>
      <p:sp>
        <p:nvSpPr>
          <p:cNvPr id="18" name="Text Placeholder 17">
            <a:extLst>
              <a:ext uri="{FF2B5EF4-FFF2-40B4-BE49-F238E27FC236}">
                <a16:creationId xmlns:a16="http://schemas.microsoft.com/office/drawing/2014/main" id="{541CD114-9813-A045-B02A-603D364B0B38}"/>
              </a:ext>
            </a:extLst>
          </p:cNvPr>
          <p:cNvSpPr>
            <a:spLocks noGrp="1"/>
          </p:cNvSpPr>
          <p:nvPr>
            <p:ph type="body" sz="quarter" idx="36"/>
          </p:nvPr>
        </p:nvSpPr>
        <p:spPr/>
        <p:txBody>
          <a:bodyPr/>
          <a:lstStyle/>
          <a:p>
            <a:endParaRPr lang="en-US"/>
          </a:p>
        </p:txBody>
      </p:sp>
      <p:sp>
        <p:nvSpPr>
          <p:cNvPr id="19" name="Text Placeholder 18">
            <a:extLst>
              <a:ext uri="{FF2B5EF4-FFF2-40B4-BE49-F238E27FC236}">
                <a16:creationId xmlns:a16="http://schemas.microsoft.com/office/drawing/2014/main" id="{19ECD4BF-3C3D-864A-AFA2-CDCE77BFF785}"/>
              </a:ext>
            </a:extLst>
          </p:cNvPr>
          <p:cNvSpPr>
            <a:spLocks noGrp="1"/>
          </p:cNvSpPr>
          <p:nvPr>
            <p:ph type="body" sz="quarter" idx="42"/>
          </p:nvPr>
        </p:nvSpPr>
        <p:spPr/>
        <p:txBody>
          <a:bodyPr/>
          <a:lstStyle/>
          <a:p>
            <a:endParaRPr lang="en-US"/>
          </a:p>
        </p:txBody>
      </p:sp>
      <p:sp>
        <p:nvSpPr>
          <p:cNvPr id="20" name="Text Placeholder 19">
            <a:extLst>
              <a:ext uri="{FF2B5EF4-FFF2-40B4-BE49-F238E27FC236}">
                <a16:creationId xmlns:a16="http://schemas.microsoft.com/office/drawing/2014/main" id="{B363599F-14A9-1943-B91D-7A652F7805EA}"/>
              </a:ext>
            </a:extLst>
          </p:cNvPr>
          <p:cNvSpPr>
            <a:spLocks noGrp="1"/>
          </p:cNvSpPr>
          <p:nvPr>
            <p:ph type="body" sz="quarter" idx="13"/>
          </p:nvPr>
        </p:nvSpPr>
        <p:spPr/>
        <p:txBody>
          <a:bodyPr/>
          <a:lstStyle/>
          <a:p>
            <a:endParaRPr lang="en-US"/>
          </a:p>
        </p:txBody>
      </p:sp>
      <p:sp>
        <p:nvSpPr>
          <p:cNvPr id="21" name="Text Placeholder 20">
            <a:extLst>
              <a:ext uri="{FF2B5EF4-FFF2-40B4-BE49-F238E27FC236}">
                <a16:creationId xmlns:a16="http://schemas.microsoft.com/office/drawing/2014/main" id="{7D434A65-737A-EC42-8B62-7EBAB897B8C0}"/>
              </a:ext>
            </a:extLst>
          </p:cNvPr>
          <p:cNvSpPr>
            <a:spLocks noGrp="1"/>
          </p:cNvSpPr>
          <p:nvPr>
            <p:ph type="body" sz="quarter" idx="19"/>
          </p:nvPr>
        </p:nvSpPr>
        <p:spPr/>
        <p:txBody>
          <a:bodyPr/>
          <a:lstStyle/>
          <a:p>
            <a:endParaRPr lang="en-US"/>
          </a:p>
        </p:txBody>
      </p:sp>
      <p:sp>
        <p:nvSpPr>
          <p:cNvPr id="22" name="Text Placeholder 21">
            <a:extLst>
              <a:ext uri="{FF2B5EF4-FFF2-40B4-BE49-F238E27FC236}">
                <a16:creationId xmlns:a16="http://schemas.microsoft.com/office/drawing/2014/main" id="{9AA488EE-54FB-204C-9BD9-764B545D6F49}"/>
              </a:ext>
            </a:extLst>
          </p:cNvPr>
          <p:cNvSpPr>
            <a:spLocks noGrp="1"/>
          </p:cNvSpPr>
          <p:nvPr>
            <p:ph type="body" sz="quarter" idx="25"/>
          </p:nvPr>
        </p:nvSpPr>
        <p:spPr/>
        <p:txBody>
          <a:bodyPr/>
          <a:lstStyle/>
          <a:p>
            <a:endParaRPr lang="en-US"/>
          </a:p>
        </p:txBody>
      </p:sp>
      <p:sp>
        <p:nvSpPr>
          <p:cNvPr id="23" name="Text Placeholder 22">
            <a:extLst>
              <a:ext uri="{FF2B5EF4-FFF2-40B4-BE49-F238E27FC236}">
                <a16:creationId xmlns:a16="http://schemas.microsoft.com/office/drawing/2014/main" id="{EA981607-8F03-9D45-A4BB-00CE825C5919}"/>
              </a:ext>
            </a:extLst>
          </p:cNvPr>
          <p:cNvSpPr>
            <a:spLocks noGrp="1"/>
          </p:cNvSpPr>
          <p:nvPr>
            <p:ph type="body" sz="quarter" idx="31"/>
          </p:nvPr>
        </p:nvSpPr>
        <p:spPr/>
        <p:txBody>
          <a:bodyPr/>
          <a:lstStyle/>
          <a:p>
            <a:endParaRPr lang="en-US"/>
          </a:p>
        </p:txBody>
      </p:sp>
      <p:sp>
        <p:nvSpPr>
          <p:cNvPr id="24" name="Text Placeholder 23">
            <a:extLst>
              <a:ext uri="{FF2B5EF4-FFF2-40B4-BE49-F238E27FC236}">
                <a16:creationId xmlns:a16="http://schemas.microsoft.com/office/drawing/2014/main" id="{5F63E135-AA27-CA4E-BE21-ABC277515C1D}"/>
              </a:ext>
            </a:extLst>
          </p:cNvPr>
          <p:cNvSpPr>
            <a:spLocks noGrp="1"/>
          </p:cNvSpPr>
          <p:nvPr>
            <p:ph type="body" sz="quarter" idx="37"/>
          </p:nvPr>
        </p:nvSpPr>
        <p:spPr/>
        <p:txBody>
          <a:bodyPr/>
          <a:lstStyle/>
          <a:p>
            <a:endParaRPr lang="en-US"/>
          </a:p>
        </p:txBody>
      </p:sp>
      <p:sp>
        <p:nvSpPr>
          <p:cNvPr id="25" name="Text Placeholder 24">
            <a:extLst>
              <a:ext uri="{FF2B5EF4-FFF2-40B4-BE49-F238E27FC236}">
                <a16:creationId xmlns:a16="http://schemas.microsoft.com/office/drawing/2014/main" id="{14255229-B1C4-9B47-8EF9-4E1A8E1EEF62}"/>
              </a:ext>
            </a:extLst>
          </p:cNvPr>
          <p:cNvSpPr>
            <a:spLocks noGrp="1"/>
          </p:cNvSpPr>
          <p:nvPr>
            <p:ph type="body" sz="quarter" idx="43"/>
          </p:nvPr>
        </p:nvSpPr>
        <p:spPr/>
        <p:txBody>
          <a:bodyPr/>
          <a:lstStyle/>
          <a:p>
            <a:endParaRPr lang="en-US"/>
          </a:p>
        </p:txBody>
      </p:sp>
      <p:sp>
        <p:nvSpPr>
          <p:cNvPr id="26" name="Text Placeholder 25">
            <a:extLst>
              <a:ext uri="{FF2B5EF4-FFF2-40B4-BE49-F238E27FC236}">
                <a16:creationId xmlns:a16="http://schemas.microsoft.com/office/drawing/2014/main" id="{52BA052C-54B2-164C-9EE1-7588860810FC}"/>
              </a:ext>
            </a:extLst>
          </p:cNvPr>
          <p:cNvSpPr>
            <a:spLocks noGrp="1"/>
          </p:cNvSpPr>
          <p:nvPr>
            <p:ph type="body" sz="quarter" idx="14"/>
          </p:nvPr>
        </p:nvSpPr>
        <p:spPr/>
        <p:txBody>
          <a:bodyPr/>
          <a:lstStyle/>
          <a:p>
            <a:endParaRPr lang="en-US"/>
          </a:p>
        </p:txBody>
      </p:sp>
      <p:sp>
        <p:nvSpPr>
          <p:cNvPr id="27" name="Text Placeholder 26">
            <a:extLst>
              <a:ext uri="{FF2B5EF4-FFF2-40B4-BE49-F238E27FC236}">
                <a16:creationId xmlns:a16="http://schemas.microsoft.com/office/drawing/2014/main" id="{121A724D-729E-AF4F-AE1B-D4B91F6AD0C9}"/>
              </a:ext>
            </a:extLst>
          </p:cNvPr>
          <p:cNvSpPr>
            <a:spLocks noGrp="1"/>
          </p:cNvSpPr>
          <p:nvPr>
            <p:ph type="body" sz="quarter" idx="20"/>
          </p:nvPr>
        </p:nvSpPr>
        <p:spPr/>
        <p:txBody>
          <a:bodyPr/>
          <a:lstStyle/>
          <a:p>
            <a:endParaRPr lang="en-US"/>
          </a:p>
        </p:txBody>
      </p:sp>
      <p:sp>
        <p:nvSpPr>
          <p:cNvPr id="28" name="Text Placeholder 27">
            <a:extLst>
              <a:ext uri="{FF2B5EF4-FFF2-40B4-BE49-F238E27FC236}">
                <a16:creationId xmlns:a16="http://schemas.microsoft.com/office/drawing/2014/main" id="{CD8C41D8-8E78-5745-8DD3-EBF41CDAC8A0}"/>
              </a:ext>
            </a:extLst>
          </p:cNvPr>
          <p:cNvSpPr>
            <a:spLocks noGrp="1"/>
          </p:cNvSpPr>
          <p:nvPr>
            <p:ph type="body" sz="quarter" idx="26"/>
          </p:nvPr>
        </p:nvSpPr>
        <p:spPr/>
        <p:txBody>
          <a:bodyPr/>
          <a:lstStyle/>
          <a:p>
            <a:endParaRPr lang="en-US"/>
          </a:p>
        </p:txBody>
      </p:sp>
      <p:sp>
        <p:nvSpPr>
          <p:cNvPr id="29" name="Text Placeholder 28">
            <a:extLst>
              <a:ext uri="{FF2B5EF4-FFF2-40B4-BE49-F238E27FC236}">
                <a16:creationId xmlns:a16="http://schemas.microsoft.com/office/drawing/2014/main" id="{D01448F5-9C06-E147-9DC2-FAF5D2A6D447}"/>
              </a:ext>
            </a:extLst>
          </p:cNvPr>
          <p:cNvSpPr>
            <a:spLocks noGrp="1"/>
          </p:cNvSpPr>
          <p:nvPr>
            <p:ph type="body" sz="quarter" idx="32"/>
          </p:nvPr>
        </p:nvSpPr>
        <p:spPr/>
        <p:txBody>
          <a:bodyPr/>
          <a:lstStyle/>
          <a:p>
            <a:endParaRPr lang="en-US"/>
          </a:p>
        </p:txBody>
      </p:sp>
      <p:sp>
        <p:nvSpPr>
          <p:cNvPr id="30" name="Text Placeholder 29">
            <a:extLst>
              <a:ext uri="{FF2B5EF4-FFF2-40B4-BE49-F238E27FC236}">
                <a16:creationId xmlns:a16="http://schemas.microsoft.com/office/drawing/2014/main" id="{117272EC-10BB-6649-9CC9-B9D87C23A366}"/>
              </a:ext>
            </a:extLst>
          </p:cNvPr>
          <p:cNvSpPr>
            <a:spLocks noGrp="1"/>
          </p:cNvSpPr>
          <p:nvPr>
            <p:ph type="body" sz="quarter" idx="38"/>
          </p:nvPr>
        </p:nvSpPr>
        <p:spPr/>
        <p:txBody>
          <a:bodyPr/>
          <a:lstStyle/>
          <a:p>
            <a:endParaRPr lang="en-US"/>
          </a:p>
        </p:txBody>
      </p:sp>
      <p:sp>
        <p:nvSpPr>
          <p:cNvPr id="31" name="Text Placeholder 30">
            <a:extLst>
              <a:ext uri="{FF2B5EF4-FFF2-40B4-BE49-F238E27FC236}">
                <a16:creationId xmlns:a16="http://schemas.microsoft.com/office/drawing/2014/main" id="{49942B4D-22EE-634F-997F-52BC238AAE02}"/>
              </a:ext>
            </a:extLst>
          </p:cNvPr>
          <p:cNvSpPr>
            <a:spLocks noGrp="1"/>
          </p:cNvSpPr>
          <p:nvPr>
            <p:ph type="body" sz="quarter" idx="44"/>
          </p:nvPr>
        </p:nvSpPr>
        <p:spPr/>
        <p:txBody>
          <a:bodyPr/>
          <a:lstStyle/>
          <a:p>
            <a:endParaRPr lang="en-US"/>
          </a:p>
        </p:txBody>
      </p:sp>
      <p:sp>
        <p:nvSpPr>
          <p:cNvPr id="32" name="Text Placeholder 31">
            <a:extLst>
              <a:ext uri="{FF2B5EF4-FFF2-40B4-BE49-F238E27FC236}">
                <a16:creationId xmlns:a16="http://schemas.microsoft.com/office/drawing/2014/main" id="{83ACD04A-B2B3-534C-AC66-E8B2F1E9CCE1}"/>
              </a:ext>
            </a:extLst>
          </p:cNvPr>
          <p:cNvSpPr>
            <a:spLocks noGrp="1"/>
          </p:cNvSpPr>
          <p:nvPr>
            <p:ph type="body" sz="quarter" idx="15"/>
          </p:nvPr>
        </p:nvSpPr>
        <p:spPr/>
        <p:txBody>
          <a:bodyPr/>
          <a:lstStyle/>
          <a:p>
            <a:endParaRPr lang="en-US"/>
          </a:p>
        </p:txBody>
      </p:sp>
      <p:sp>
        <p:nvSpPr>
          <p:cNvPr id="33" name="Text Placeholder 32">
            <a:extLst>
              <a:ext uri="{FF2B5EF4-FFF2-40B4-BE49-F238E27FC236}">
                <a16:creationId xmlns:a16="http://schemas.microsoft.com/office/drawing/2014/main" id="{5C91D2EE-A7F3-7D40-8E0E-5432B8712FA6}"/>
              </a:ext>
            </a:extLst>
          </p:cNvPr>
          <p:cNvSpPr>
            <a:spLocks noGrp="1"/>
          </p:cNvSpPr>
          <p:nvPr>
            <p:ph type="body" sz="quarter" idx="21"/>
          </p:nvPr>
        </p:nvSpPr>
        <p:spPr/>
        <p:txBody>
          <a:bodyPr/>
          <a:lstStyle/>
          <a:p>
            <a:endParaRPr lang="en-US"/>
          </a:p>
        </p:txBody>
      </p:sp>
      <p:sp>
        <p:nvSpPr>
          <p:cNvPr id="34" name="Text Placeholder 33">
            <a:extLst>
              <a:ext uri="{FF2B5EF4-FFF2-40B4-BE49-F238E27FC236}">
                <a16:creationId xmlns:a16="http://schemas.microsoft.com/office/drawing/2014/main" id="{6F843B60-CF6A-7942-9EBF-38C85EEBBBED}"/>
              </a:ext>
            </a:extLst>
          </p:cNvPr>
          <p:cNvSpPr>
            <a:spLocks noGrp="1"/>
          </p:cNvSpPr>
          <p:nvPr>
            <p:ph type="body" sz="quarter" idx="27"/>
          </p:nvPr>
        </p:nvSpPr>
        <p:spPr/>
        <p:txBody>
          <a:bodyPr/>
          <a:lstStyle/>
          <a:p>
            <a:endParaRPr lang="en-US"/>
          </a:p>
        </p:txBody>
      </p:sp>
      <p:sp>
        <p:nvSpPr>
          <p:cNvPr id="35" name="Text Placeholder 34">
            <a:extLst>
              <a:ext uri="{FF2B5EF4-FFF2-40B4-BE49-F238E27FC236}">
                <a16:creationId xmlns:a16="http://schemas.microsoft.com/office/drawing/2014/main" id="{156D110C-307E-314F-A372-6602901D7929}"/>
              </a:ext>
            </a:extLst>
          </p:cNvPr>
          <p:cNvSpPr>
            <a:spLocks noGrp="1"/>
          </p:cNvSpPr>
          <p:nvPr>
            <p:ph type="body" sz="quarter" idx="33"/>
          </p:nvPr>
        </p:nvSpPr>
        <p:spPr/>
        <p:txBody>
          <a:bodyPr/>
          <a:lstStyle/>
          <a:p>
            <a:endParaRPr lang="en-US"/>
          </a:p>
        </p:txBody>
      </p:sp>
      <p:sp>
        <p:nvSpPr>
          <p:cNvPr id="36" name="Text Placeholder 35">
            <a:extLst>
              <a:ext uri="{FF2B5EF4-FFF2-40B4-BE49-F238E27FC236}">
                <a16:creationId xmlns:a16="http://schemas.microsoft.com/office/drawing/2014/main" id="{759CD1B4-F1D3-C043-ADA5-FE8913CF14DB}"/>
              </a:ext>
            </a:extLst>
          </p:cNvPr>
          <p:cNvSpPr>
            <a:spLocks noGrp="1"/>
          </p:cNvSpPr>
          <p:nvPr>
            <p:ph type="body" sz="quarter" idx="39"/>
          </p:nvPr>
        </p:nvSpPr>
        <p:spPr/>
        <p:txBody>
          <a:bodyPr/>
          <a:lstStyle/>
          <a:p>
            <a:endParaRPr lang="en-US"/>
          </a:p>
        </p:txBody>
      </p:sp>
      <p:sp>
        <p:nvSpPr>
          <p:cNvPr id="37" name="Text Placeholder 36">
            <a:extLst>
              <a:ext uri="{FF2B5EF4-FFF2-40B4-BE49-F238E27FC236}">
                <a16:creationId xmlns:a16="http://schemas.microsoft.com/office/drawing/2014/main" id="{9BB9543C-FF22-8D43-AC71-C6E413635032}"/>
              </a:ext>
            </a:extLst>
          </p:cNvPr>
          <p:cNvSpPr>
            <a:spLocks noGrp="1"/>
          </p:cNvSpPr>
          <p:nvPr>
            <p:ph type="body" sz="quarter" idx="45"/>
          </p:nvPr>
        </p:nvSpPr>
        <p:spPr/>
        <p:txBody>
          <a:bodyPr/>
          <a:lstStyle/>
          <a:p>
            <a:endParaRPr lang="en-US"/>
          </a:p>
        </p:txBody>
      </p:sp>
    </p:spTree>
    <p:extLst>
      <p:ext uri="{BB962C8B-B14F-4D97-AF65-F5344CB8AC3E}">
        <p14:creationId xmlns:p14="http://schemas.microsoft.com/office/powerpoint/2010/main" val="358190065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82EFB0E-FF25-9141-9804-104B9CC86C36}"/>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6A0BB2E6-75BA-2E43-B2CD-0BB6BC4EA4C0}"/>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10C480D2-F43B-294C-9417-21BE1B70B42B}"/>
              </a:ext>
            </a:extLst>
          </p:cNvPr>
          <p:cNvSpPr>
            <a:spLocks noGrp="1"/>
          </p:cNvSpPr>
          <p:nvPr>
            <p:ph type="body" sz="quarter" idx="23"/>
          </p:nvPr>
        </p:nvSpPr>
        <p:spPr/>
        <p:txBody>
          <a:bodyPr/>
          <a:lstStyle/>
          <a:p>
            <a:endParaRPr lang="en-US"/>
          </a:p>
        </p:txBody>
      </p:sp>
      <p:sp>
        <p:nvSpPr>
          <p:cNvPr id="5" name="Text Placeholder 4">
            <a:extLst>
              <a:ext uri="{FF2B5EF4-FFF2-40B4-BE49-F238E27FC236}">
                <a16:creationId xmlns:a16="http://schemas.microsoft.com/office/drawing/2014/main" id="{D52A5DC4-237A-3C44-BC2E-91C69D08C68D}"/>
              </a:ext>
            </a:extLst>
          </p:cNvPr>
          <p:cNvSpPr>
            <a:spLocks noGrp="1"/>
          </p:cNvSpPr>
          <p:nvPr>
            <p:ph type="body" sz="quarter" idx="29"/>
          </p:nvPr>
        </p:nvSpPr>
        <p:spPr/>
        <p:txBody>
          <a:bodyPr/>
          <a:lstStyle/>
          <a:p>
            <a:endParaRPr lang="en-US"/>
          </a:p>
        </p:txBody>
      </p:sp>
      <p:sp>
        <p:nvSpPr>
          <p:cNvPr id="6" name="Text Placeholder 5">
            <a:extLst>
              <a:ext uri="{FF2B5EF4-FFF2-40B4-BE49-F238E27FC236}">
                <a16:creationId xmlns:a16="http://schemas.microsoft.com/office/drawing/2014/main" id="{A9273CDB-2EB9-5546-9787-7EA2F4EA5066}"/>
              </a:ext>
            </a:extLst>
          </p:cNvPr>
          <p:cNvSpPr>
            <a:spLocks noGrp="1"/>
          </p:cNvSpPr>
          <p:nvPr>
            <p:ph type="body" sz="quarter" idx="35"/>
          </p:nvPr>
        </p:nvSpPr>
        <p:spPr/>
        <p:txBody>
          <a:bodyPr/>
          <a:lstStyle/>
          <a:p>
            <a:endParaRPr lang="en-US"/>
          </a:p>
        </p:txBody>
      </p:sp>
      <p:sp>
        <p:nvSpPr>
          <p:cNvPr id="7" name="Text Placeholder 6">
            <a:extLst>
              <a:ext uri="{FF2B5EF4-FFF2-40B4-BE49-F238E27FC236}">
                <a16:creationId xmlns:a16="http://schemas.microsoft.com/office/drawing/2014/main" id="{BE86BEAD-F0C8-DA49-9D2F-B0C272F511F6}"/>
              </a:ext>
            </a:extLst>
          </p:cNvPr>
          <p:cNvSpPr>
            <a:spLocks noGrp="1"/>
          </p:cNvSpPr>
          <p:nvPr>
            <p:ph type="body" sz="quarter" idx="41"/>
          </p:nvPr>
        </p:nvSpPr>
        <p:spPr/>
        <p:txBody>
          <a:bodyPr/>
          <a:lstStyle/>
          <a:p>
            <a:endParaRPr lang="en-US"/>
          </a:p>
        </p:txBody>
      </p:sp>
      <p:sp>
        <p:nvSpPr>
          <p:cNvPr id="8" name="Text Placeholder 7">
            <a:extLst>
              <a:ext uri="{FF2B5EF4-FFF2-40B4-BE49-F238E27FC236}">
                <a16:creationId xmlns:a16="http://schemas.microsoft.com/office/drawing/2014/main" id="{75A8EC43-574B-1D42-9C01-9C9FBB9F6B3B}"/>
              </a:ext>
            </a:extLst>
          </p:cNvPr>
          <p:cNvSpPr>
            <a:spLocks noGrp="1"/>
          </p:cNvSpPr>
          <p:nvPr>
            <p:ph type="body" sz="quarter" idx="10"/>
          </p:nvPr>
        </p:nvSpPr>
        <p:spPr/>
        <p:txBody>
          <a:bodyPr/>
          <a:lstStyle/>
          <a:p>
            <a:endParaRPr lang="en-US"/>
          </a:p>
        </p:txBody>
      </p:sp>
      <p:sp>
        <p:nvSpPr>
          <p:cNvPr id="9" name="Text Placeholder 8">
            <a:extLst>
              <a:ext uri="{FF2B5EF4-FFF2-40B4-BE49-F238E27FC236}">
                <a16:creationId xmlns:a16="http://schemas.microsoft.com/office/drawing/2014/main" id="{559B833A-1F12-0743-915D-A9A8BE6EC8AD}"/>
              </a:ext>
            </a:extLst>
          </p:cNvPr>
          <p:cNvSpPr>
            <a:spLocks noGrp="1"/>
          </p:cNvSpPr>
          <p:nvPr>
            <p:ph type="body" sz="quarter" idx="16"/>
          </p:nvPr>
        </p:nvSpPr>
        <p:spPr/>
        <p:txBody>
          <a:bodyPr/>
          <a:lstStyle/>
          <a:p>
            <a:endParaRPr lang="en-US"/>
          </a:p>
        </p:txBody>
      </p:sp>
      <p:sp>
        <p:nvSpPr>
          <p:cNvPr id="10" name="Text Placeholder 9">
            <a:extLst>
              <a:ext uri="{FF2B5EF4-FFF2-40B4-BE49-F238E27FC236}">
                <a16:creationId xmlns:a16="http://schemas.microsoft.com/office/drawing/2014/main" id="{687BBB2F-D843-F240-B3C6-A0557C7ADE8C}"/>
              </a:ext>
            </a:extLst>
          </p:cNvPr>
          <p:cNvSpPr>
            <a:spLocks noGrp="1"/>
          </p:cNvSpPr>
          <p:nvPr>
            <p:ph type="body" sz="quarter" idx="22"/>
          </p:nvPr>
        </p:nvSpPr>
        <p:spPr/>
        <p:txBody>
          <a:bodyPr/>
          <a:lstStyle/>
          <a:p>
            <a:endParaRPr lang="en-US"/>
          </a:p>
        </p:txBody>
      </p:sp>
      <p:sp>
        <p:nvSpPr>
          <p:cNvPr id="11" name="Text Placeholder 10">
            <a:extLst>
              <a:ext uri="{FF2B5EF4-FFF2-40B4-BE49-F238E27FC236}">
                <a16:creationId xmlns:a16="http://schemas.microsoft.com/office/drawing/2014/main" id="{BE2BAAA5-B6B6-2C4E-BB0B-CACE93DA26A3}"/>
              </a:ext>
            </a:extLst>
          </p:cNvPr>
          <p:cNvSpPr>
            <a:spLocks noGrp="1"/>
          </p:cNvSpPr>
          <p:nvPr>
            <p:ph type="body" sz="quarter" idx="28"/>
          </p:nvPr>
        </p:nvSpPr>
        <p:spPr/>
        <p:txBody>
          <a:bodyPr/>
          <a:lstStyle/>
          <a:p>
            <a:endParaRPr lang="en-US"/>
          </a:p>
        </p:txBody>
      </p:sp>
      <p:sp>
        <p:nvSpPr>
          <p:cNvPr id="12" name="Text Placeholder 11">
            <a:extLst>
              <a:ext uri="{FF2B5EF4-FFF2-40B4-BE49-F238E27FC236}">
                <a16:creationId xmlns:a16="http://schemas.microsoft.com/office/drawing/2014/main" id="{30FDA172-732A-2E40-A938-2F50DACAB2C7}"/>
              </a:ext>
            </a:extLst>
          </p:cNvPr>
          <p:cNvSpPr>
            <a:spLocks noGrp="1"/>
          </p:cNvSpPr>
          <p:nvPr>
            <p:ph type="body" sz="quarter" idx="34"/>
          </p:nvPr>
        </p:nvSpPr>
        <p:spPr/>
        <p:txBody>
          <a:bodyPr/>
          <a:lstStyle/>
          <a:p>
            <a:endParaRPr lang="en-US"/>
          </a:p>
        </p:txBody>
      </p:sp>
      <p:sp>
        <p:nvSpPr>
          <p:cNvPr id="13" name="Text Placeholder 12">
            <a:extLst>
              <a:ext uri="{FF2B5EF4-FFF2-40B4-BE49-F238E27FC236}">
                <a16:creationId xmlns:a16="http://schemas.microsoft.com/office/drawing/2014/main" id="{575BE5F6-1212-B448-A5EA-A07A6A435F7D}"/>
              </a:ext>
            </a:extLst>
          </p:cNvPr>
          <p:cNvSpPr>
            <a:spLocks noGrp="1"/>
          </p:cNvSpPr>
          <p:nvPr>
            <p:ph type="body" sz="quarter" idx="40"/>
          </p:nvPr>
        </p:nvSpPr>
        <p:spPr/>
        <p:txBody>
          <a:bodyPr/>
          <a:lstStyle/>
          <a:p>
            <a:endParaRPr lang="en-US"/>
          </a:p>
        </p:txBody>
      </p:sp>
      <p:sp>
        <p:nvSpPr>
          <p:cNvPr id="14" name="Text Placeholder 13">
            <a:extLst>
              <a:ext uri="{FF2B5EF4-FFF2-40B4-BE49-F238E27FC236}">
                <a16:creationId xmlns:a16="http://schemas.microsoft.com/office/drawing/2014/main" id="{90840746-B054-114A-B1E7-819C90340A83}"/>
              </a:ext>
            </a:extLst>
          </p:cNvPr>
          <p:cNvSpPr>
            <a:spLocks noGrp="1"/>
          </p:cNvSpPr>
          <p:nvPr>
            <p:ph type="body" sz="quarter" idx="12"/>
          </p:nvPr>
        </p:nvSpPr>
        <p:spPr/>
        <p:txBody>
          <a:bodyPr/>
          <a:lstStyle/>
          <a:p>
            <a:endParaRPr lang="en-US"/>
          </a:p>
        </p:txBody>
      </p:sp>
      <p:sp>
        <p:nvSpPr>
          <p:cNvPr id="15" name="Text Placeholder 14">
            <a:extLst>
              <a:ext uri="{FF2B5EF4-FFF2-40B4-BE49-F238E27FC236}">
                <a16:creationId xmlns:a16="http://schemas.microsoft.com/office/drawing/2014/main" id="{E94E16AB-3A18-624B-8352-0AD952AACA32}"/>
              </a:ext>
            </a:extLst>
          </p:cNvPr>
          <p:cNvSpPr>
            <a:spLocks noGrp="1"/>
          </p:cNvSpPr>
          <p:nvPr>
            <p:ph type="body" sz="quarter" idx="18"/>
          </p:nvPr>
        </p:nvSpPr>
        <p:spPr/>
        <p:txBody>
          <a:bodyPr/>
          <a:lstStyle/>
          <a:p>
            <a:endParaRPr lang="en-US"/>
          </a:p>
        </p:txBody>
      </p:sp>
      <p:sp>
        <p:nvSpPr>
          <p:cNvPr id="16" name="Text Placeholder 15">
            <a:extLst>
              <a:ext uri="{FF2B5EF4-FFF2-40B4-BE49-F238E27FC236}">
                <a16:creationId xmlns:a16="http://schemas.microsoft.com/office/drawing/2014/main" id="{E625116C-FE29-1B43-BA8E-136383C141CC}"/>
              </a:ext>
            </a:extLst>
          </p:cNvPr>
          <p:cNvSpPr>
            <a:spLocks noGrp="1"/>
          </p:cNvSpPr>
          <p:nvPr>
            <p:ph type="body" sz="quarter" idx="24"/>
          </p:nvPr>
        </p:nvSpPr>
        <p:spPr/>
        <p:txBody>
          <a:bodyPr/>
          <a:lstStyle/>
          <a:p>
            <a:endParaRPr lang="en-US"/>
          </a:p>
        </p:txBody>
      </p:sp>
      <p:sp>
        <p:nvSpPr>
          <p:cNvPr id="17" name="Text Placeholder 16">
            <a:extLst>
              <a:ext uri="{FF2B5EF4-FFF2-40B4-BE49-F238E27FC236}">
                <a16:creationId xmlns:a16="http://schemas.microsoft.com/office/drawing/2014/main" id="{2EDDB6DC-73A9-B347-8D36-0D3A7122C87F}"/>
              </a:ext>
            </a:extLst>
          </p:cNvPr>
          <p:cNvSpPr>
            <a:spLocks noGrp="1"/>
          </p:cNvSpPr>
          <p:nvPr>
            <p:ph type="body" sz="quarter" idx="30"/>
          </p:nvPr>
        </p:nvSpPr>
        <p:spPr/>
        <p:txBody>
          <a:bodyPr/>
          <a:lstStyle/>
          <a:p>
            <a:endParaRPr lang="en-US"/>
          </a:p>
        </p:txBody>
      </p:sp>
      <p:sp>
        <p:nvSpPr>
          <p:cNvPr id="18" name="Text Placeholder 17">
            <a:extLst>
              <a:ext uri="{FF2B5EF4-FFF2-40B4-BE49-F238E27FC236}">
                <a16:creationId xmlns:a16="http://schemas.microsoft.com/office/drawing/2014/main" id="{F7EA678F-B342-7445-83A2-1A4DBFDE94FB}"/>
              </a:ext>
            </a:extLst>
          </p:cNvPr>
          <p:cNvSpPr>
            <a:spLocks noGrp="1"/>
          </p:cNvSpPr>
          <p:nvPr>
            <p:ph type="body" sz="quarter" idx="36"/>
          </p:nvPr>
        </p:nvSpPr>
        <p:spPr/>
        <p:txBody>
          <a:bodyPr/>
          <a:lstStyle/>
          <a:p>
            <a:endParaRPr lang="en-US"/>
          </a:p>
        </p:txBody>
      </p:sp>
      <p:sp>
        <p:nvSpPr>
          <p:cNvPr id="19" name="Text Placeholder 18">
            <a:extLst>
              <a:ext uri="{FF2B5EF4-FFF2-40B4-BE49-F238E27FC236}">
                <a16:creationId xmlns:a16="http://schemas.microsoft.com/office/drawing/2014/main" id="{49D71E8E-2B56-F741-A05C-B7E45A6D01E4}"/>
              </a:ext>
            </a:extLst>
          </p:cNvPr>
          <p:cNvSpPr>
            <a:spLocks noGrp="1"/>
          </p:cNvSpPr>
          <p:nvPr>
            <p:ph type="body" sz="quarter" idx="42"/>
          </p:nvPr>
        </p:nvSpPr>
        <p:spPr/>
        <p:txBody>
          <a:bodyPr/>
          <a:lstStyle/>
          <a:p>
            <a:endParaRPr lang="en-US"/>
          </a:p>
        </p:txBody>
      </p:sp>
      <p:sp>
        <p:nvSpPr>
          <p:cNvPr id="20" name="Text Placeholder 19">
            <a:extLst>
              <a:ext uri="{FF2B5EF4-FFF2-40B4-BE49-F238E27FC236}">
                <a16:creationId xmlns:a16="http://schemas.microsoft.com/office/drawing/2014/main" id="{C38DD833-7DCB-FE43-A2C1-2AD9CFF3CD3E}"/>
              </a:ext>
            </a:extLst>
          </p:cNvPr>
          <p:cNvSpPr>
            <a:spLocks noGrp="1"/>
          </p:cNvSpPr>
          <p:nvPr>
            <p:ph type="body" sz="quarter" idx="13"/>
          </p:nvPr>
        </p:nvSpPr>
        <p:spPr/>
        <p:txBody>
          <a:bodyPr/>
          <a:lstStyle/>
          <a:p>
            <a:endParaRPr lang="en-US"/>
          </a:p>
        </p:txBody>
      </p:sp>
      <p:sp>
        <p:nvSpPr>
          <p:cNvPr id="21" name="Text Placeholder 20">
            <a:extLst>
              <a:ext uri="{FF2B5EF4-FFF2-40B4-BE49-F238E27FC236}">
                <a16:creationId xmlns:a16="http://schemas.microsoft.com/office/drawing/2014/main" id="{5685F75B-7F42-F84A-88E2-FEC104AF00C7}"/>
              </a:ext>
            </a:extLst>
          </p:cNvPr>
          <p:cNvSpPr>
            <a:spLocks noGrp="1"/>
          </p:cNvSpPr>
          <p:nvPr>
            <p:ph type="body" sz="quarter" idx="19"/>
          </p:nvPr>
        </p:nvSpPr>
        <p:spPr/>
        <p:txBody>
          <a:bodyPr/>
          <a:lstStyle/>
          <a:p>
            <a:endParaRPr lang="en-US"/>
          </a:p>
        </p:txBody>
      </p:sp>
      <p:sp>
        <p:nvSpPr>
          <p:cNvPr id="22" name="Text Placeholder 21">
            <a:extLst>
              <a:ext uri="{FF2B5EF4-FFF2-40B4-BE49-F238E27FC236}">
                <a16:creationId xmlns:a16="http://schemas.microsoft.com/office/drawing/2014/main" id="{29DBF45B-D3C9-6B46-ABF7-52C83364D0CF}"/>
              </a:ext>
            </a:extLst>
          </p:cNvPr>
          <p:cNvSpPr>
            <a:spLocks noGrp="1"/>
          </p:cNvSpPr>
          <p:nvPr>
            <p:ph type="body" sz="quarter" idx="25"/>
          </p:nvPr>
        </p:nvSpPr>
        <p:spPr/>
        <p:txBody>
          <a:bodyPr/>
          <a:lstStyle/>
          <a:p>
            <a:endParaRPr lang="en-US"/>
          </a:p>
        </p:txBody>
      </p:sp>
      <p:sp>
        <p:nvSpPr>
          <p:cNvPr id="23" name="Text Placeholder 22">
            <a:extLst>
              <a:ext uri="{FF2B5EF4-FFF2-40B4-BE49-F238E27FC236}">
                <a16:creationId xmlns:a16="http://schemas.microsoft.com/office/drawing/2014/main" id="{9E9522C0-0DEB-1242-8662-446F848CF918}"/>
              </a:ext>
            </a:extLst>
          </p:cNvPr>
          <p:cNvSpPr>
            <a:spLocks noGrp="1"/>
          </p:cNvSpPr>
          <p:nvPr>
            <p:ph type="body" sz="quarter" idx="31"/>
          </p:nvPr>
        </p:nvSpPr>
        <p:spPr/>
        <p:txBody>
          <a:bodyPr/>
          <a:lstStyle/>
          <a:p>
            <a:endParaRPr lang="en-US"/>
          </a:p>
        </p:txBody>
      </p:sp>
      <p:sp>
        <p:nvSpPr>
          <p:cNvPr id="24" name="Text Placeholder 23">
            <a:extLst>
              <a:ext uri="{FF2B5EF4-FFF2-40B4-BE49-F238E27FC236}">
                <a16:creationId xmlns:a16="http://schemas.microsoft.com/office/drawing/2014/main" id="{32C6AB1F-7556-504D-99DB-DD64BA399E07}"/>
              </a:ext>
            </a:extLst>
          </p:cNvPr>
          <p:cNvSpPr>
            <a:spLocks noGrp="1"/>
          </p:cNvSpPr>
          <p:nvPr>
            <p:ph type="body" sz="quarter" idx="37"/>
          </p:nvPr>
        </p:nvSpPr>
        <p:spPr/>
        <p:txBody>
          <a:bodyPr/>
          <a:lstStyle/>
          <a:p>
            <a:endParaRPr lang="en-US"/>
          </a:p>
        </p:txBody>
      </p:sp>
      <p:sp>
        <p:nvSpPr>
          <p:cNvPr id="25" name="Text Placeholder 24">
            <a:extLst>
              <a:ext uri="{FF2B5EF4-FFF2-40B4-BE49-F238E27FC236}">
                <a16:creationId xmlns:a16="http://schemas.microsoft.com/office/drawing/2014/main" id="{2356E8A2-E414-A54E-9D20-0B69F415A616}"/>
              </a:ext>
            </a:extLst>
          </p:cNvPr>
          <p:cNvSpPr>
            <a:spLocks noGrp="1"/>
          </p:cNvSpPr>
          <p:nvPr>
            <p:ph type="body" sz="quarter" idx="43"/>
          </p:nvPr>
        </p:nvSpPr>
        <p:spPr/>
        <p:txBody>
          <a:bodyPr/>
          <a:lstStyle/>
          <a:p>
            <a:endParaRPr lang="en-US"/>
          </a:p>
        </p:txBody>
      </p:sp>
      <p:sp>
        <p:nvSpPr>
          <p:cNvPr id="26" name="Text Placeholder 25">
            <a:extLst>
              <a:ext uri="{FF2B5EF4-FFF2-40B4-BE49-F238E27FC236}">
                <a16:creationId xmlns:a16="http://schemas.microsoft.com/office/drawing/2014/main" id="{BC089B08-3340-9B4B-8279-BB0C112F2200}"/>
              </a:ext>
            </a:extLst>
          </p:cNvPr>
          <p:cNvSpPr>
            <a:spLocks noGrp="1"/>
          </p:cNvSpPr>
          <p:nvPr>
            <p:ph type="body" sz="quarter" idx="14"/>
          </p:nvPr>
        </p:nvSpPr>
        <p:spPr/>
        <p:txBody>
          <a:bodyPr/>
          <a:lstStyle/>
          <a:p>
            <a:endParaRPr lang="en-US"/>
          </a:p>
        </p:txBody>
      </p:sp>
      <p:sp>
        <p:nvSpPr>
          <p:cNvPr id="27" name="Text Placeholder 26">
            <a:extLst>
              <a:ext uri="{FF2B5EF4-FFF2-40B4-BE49-F238E27FC236}">
                <a16:creationId xmlns:a16="http://schemas.microsoft.com/office/drawing/2014/main" id="{020590AF-99B8-AD4C-A75C-098A96C1E39F}"/>
              </a:ext>
            </a:extLst>
          </p:cNvPr>
          <p:cNvSpPr>
            <a:spLocks noGrp="1"/>
          </p:cNvSpPr>
          <p:nvPr>
            <p:ph type="body" sz="quarter" idx="20"/>
          </p:nvPr>
        </p:nvSpPr>
        <p:spPr/>
        <p:txBody>
          <a:bodyPr/>
          <a:lstStyle/>
          <a:p>
            <a:endParaRPr lang="en-US"/>
          </a:p>
        </p:txBody>
      </p:sp>
      <p:sp>
        <p:nvSpPr>
          <p:cNvPr id="28" name="Text Placeholder 27">
            <a:extLst>
              <a:ext uri="{FF2B5EF4-FFF2-40B4-BE49-F238E27FC236}">
                <a16:creationId xmlns:a16="http://schemas.microsoft.com/office/drawing/2014/main" id="{5A2D376D-AAA8-A44A-BCE4-009B4EFBF442}"/>
              </a:ext>
            </a:extLst>
          </p:cNvPr>
          <p:cNvSpPr>
            <a:spLocks noGrp="1"/>
          </p:cNvSpPr>
          <p:nvPr>
            <p:ph type="body" sz="quarter" idx="26"/>
          </p:nvPr>
        </p:nvSpPr>
        <p:spPr/>
        <p:txBody>
          <a:bodyPr/>
          <a:lstStyle/>
          <a:p>
            <a:endParaRPr lang="en-US"/>
          </a:p>
        </p:txBody>
      </p:sp>
      <p:sp>
        <p:nvSpPr>
          <p:cNvPr id="29" name="Text Placeholder 28">
            <a:extLst>
              <a:ext uri="{FF2B5EF4-FFF2-40B4-BE49-F238E27FC236}">
                <a16:creationId xmlns:a16="http://schemas.microsoft.com/office/drawing/2014/main" id="{FBA7A6E5-1F47-CD43-B6F0-EF38FAA1DA00}"/>
              </a:ext>
            </a:extLst>
          </p:cNvPr>
          <p:cNvSpPr>
            <a:spLocks noGrp="1"/>
          </p:cNvSpPr>
          <p:nvPr>
            <p:ph type="body" sz="quarter" idx="32"/>
          </p:nvPr>
        </p:nvSpPr>
        <p:spPr/>
        <p:txBody>
          <a:bodyPr/>
          <a:lstStyle/>
          <a:p>
            <a:endParaRPr lang="en-US"/>
          </a:p>
        </p:txBody>
      </p:sp>
      <p:sp>
        <p:nvSpPr>
          <p:cNvPr id="30" name="Text Placeholder 29">
            <a:extLst>
              <a:ext uri="{FF2B5EF4-FFF2-40B4-BE49-F238E27FC236}">
                <a16:creationId xmlns:a16="http://schemas.microsoft.com/office/drawing/2014/main" id="{F81C5676-9A52-624F-B0B5-8BEA1F85E34D}"/>
              </a:ext>
            </a:extLst>
          </p:cNvPr>
          <p:cNvSpPr>
            <a:spLocks noGrp="1"/>
          </p:cNvSpPr>
          <p:nvPr>
            <p:ph type="body" sz="quarter" idx="38"/>
          </p:nvPr>
        </p:nvSpPr>
        <p:spPr/>
        <p:txBody>
          <a:bodyPr/>
          <a:lstStyle/>
          <a:p>
            <a:endParaRPr lang="en-US"/>
          </a:p>
        </p:txBody>
      </p:sp>
      <p:sp>
        <p:nvSpPr>
          <p:cNvPr id="31" name="Text Placeholder 30">
            <a:extLst>
              <a:ext uri="{FF2B5EF4-FFF2-40B4-BE49-F238E27FC236}">
                <a16:creationId xmlns:a16="http://schemas.microsoft.com/office/drawing/2014/main" id="{655B7123-1912-FE49-984F-B91826126265}"/>
              </a:ext>
            </a:extLst>
          </p:cNvPr>
          <p:cNvSpPr>
            <a:spLocks noGrp="1"/>
          </p:cNvSpPr>
          <p:nvPr>
            <p:ph type="body" sz="quarter" idx="44"/>
          </p:nvPr>
        </p:nvSpPr>
        <p:spPr/>
        <p:txBody>
          <a:bodyPr/>
          <a:lstStyle/>
          <a:p>
            <a:endParaRPr lang="en-US"/>
          </a:p>
        </p:txBody>
      </p:sp>
      <p:sp>
        <p:nvSpPr>
          <p:cNvPr id="32" name="Text Placeholder 31">
            <a:extLst>
              <a:ext uri="{FF2B5EF4-FFF2-40B4-BE49-F238E27FC236}">
                <a16:creationId xmlns:a16="http://schemas.microsoft.com/office/drawing/2014/main" id="{8BBFB7E4-7DB5-AF41-9FEF-DB6260070A38}"/>
              </a:ext>
            </a:extLst>
          </p:cNvPr>
          <p:cNvSpPr>
            <a:spLocks noGrp="1"/>
          </p:cNvSpPr>
          <p:nvPr>
            <p:ph type="body" sz="quarter" idx="15"/>
          </p:nvPr>
        </p:nvSpPr>
        <p:spPr/>
        <p:txBody>
          <a:bodyPr/>
          <a:lstStyle/>
          <a:p>
            <a:endParaRPr lang="en-US"/>
          </a:p>
        </p:txBody>
      </p:sp>
      <p:sp>
        <p:nvSpPr>
          <p:cNvPr id="33" name="Text Placeholder 32">
            <a:extLst>
              <a:ext uri="{FF2B5EF4-FFF2-40B4-BE49-F238E27FC236}">
                <a16:creationId xmlns:a16="http://schemas.microsoft.com/office/drawing/2014/main" id="{DA41E6B3-C460-1940-AABF-C4BEB80C70ED}"/>
              </a:ext>
            </a:extLst>
          </p:cNvPr>
          <p:cNvSpPr>
            <a:spLocks noGrp="1"/>
          </p:cNvSpPr>
          <p:nvPr>
            <p:ph type="body" sz="quarter" idx="21"/>
          </p:nvPr>
        </p:nvSpPr>
        <p:spPr/>
        <p:txBody>
          <a:bodyPr/>
          <a:lstStyle/>
          <a:p>
            <a:endParaRPr lang="en-US"/>
          </a:p>
        </p:txBody>
      </p:sp>
      <p:sp>
        <p:nvSpPr>
          <p:cNvPr id="34" name="Text Placeholder 33">
            <a:extLst>
              <a:ext uri="{FF2B5EF4-FFF2-40B4-BE49-F238E27FC236}">
                <a16:creationId xmlns:a16="http://schemas.microsoft.com/office/drawing/2014/main" id="{94404EBB-D893-6946-A490-71B633C4EDC4}"/>
              </a:ext>
            </a:extLst>
          </p:cNvPr>
          <p:cNvSpPr>
            <a:spLocks noGrp="1"/>
          </p:cNvSpPr>
          <p:nvPr>
            <p:ph type="body" sz="quarter" idx="27"/>
          </p:nvPr>
        </p:nvSpPr>
        <p:spPr/>
        <p:txBody>
          <a:bodyPr/>
          <a:lstStyle/>
          <a:p>
            <a:endParaRPr lang="en-US"/>
          </a:p>
        </p:txBody>
      </p:sp>
      <p:sp>
        <p:nvSpPr>
          <p:cNvPr id="35" name="Text Placeholder 34">
            <a:extLst>
              <a:ext uri="{FF2B5EF4-FFF2-40B4-BE49-F238E27FC236}">
                <a16:creationId xmlns:a16="http://schemas.microsoft.com/office/drawing/2014/main" id="{A6DBF831-6E98-B24F-99E1-9B80852C6C98}"/>
              </a:ext>
            </a:extLst>
          </p:cNvPr>
          <p:cNvSpPr>
            <a:spLocks noGrp="1"/>
          </p:cNvSpPr>
          <p:nvPr>
            <p:ph type="body" sz="quarter" idx="33"/>
          </p:nvPr>
        </p:nvSpPr>
        <p:spPr/>
        <p:txBody>
          <a:bodyPr/>
          <a:lstStyle/>
          <a:p>
            <a:endParaRPr lang="en-US"/>
          </a:p>
        </p:txBody>
      </p:sp>
      <p:sp>
        <p:nvSpPr>
          <p:cNvPr id="36" name="Text Placeholder 35">
            <a:extLst>
              <a:ext uri="{FF2B5EF4-FFF2-40B4-BE49-F238E27FC236}">
                <a16:creationId xmlns:a16="http://schemas.microsoft.com/office/drawing/2014/main" id="{5AE5BA30-66DA-8244-803E-C0DB05ACDFCE}"/>
              </a:ext>
            </a:extLst>
          </p:cNvPr>
          <p:cNvSpPr>
            <a:spLocks noGrp="1"/>
          </p:cNvSpPr>
          <p:nvPr>
            <p:ph type="body" sz="quarter" idx="39"/>
          </p:nvPr>
        </p:nvSpPr>
        <p:spPr/>
        <p:txBody>
          <a:bodyPr/>
          <a:lstStyle/>
          <a:p>
            <a:endParaRPr lang="en-US"/>
          </a:p>
        </p:txBody>
      </p:sp>
      <p:sp>
        <p:nvSpPr>
          <p:cNvPr id="37" name="Text Placeholder 36">
            <a:extLst>
              <a:ext uri="{FF2B5EF4-FFF2-40B4-BE49-F238E27FC236}">
                <a16:creationId xmlns:a16="http://schemas.microsoft.com/office/drawing/2014/main" id="{F8EB38D8-AEE1-B74A-9CDC-23A4C1FD1C4D}"/>
              </a:ext>
            </a:extLst>
          </p:cNvPr>
          <p:cNvSpPr>
            <a:spLocks noGrp="1"/>
          </p:cNvSpPr>
          <p:nvPr>
            <p:ph type="body" sz="quarter" idx="45"/>
          </p:nvPr>
        </p:nvSpPr>
        <p:spPr/>
        <p:txBody>
          <a:bodyPr/>
          <a:lstStyle/>
          <a:p>
            <a:endParaRPr lang="en-US"/>
          </a:p>
        </p:txBody>
      </p:sp>
    </p:spTree>
    <p:extLst>
      <p:ext uri="{BB962C8B-B14F-4D97-AF65-F5344CB8AC3E}">
        <p14:creationId xmlns:p14="http://schemas.microsoft.com/office/powerpoint/2010/main" val="138642914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DAA319-D3EA-7F46-A75A-20BB24D9F6DF}"/>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941871FB-415D-1942-AF28-A3C05A0A4ABA}"/>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56AB0E7C-A55C-114E-9BE6-3417E0D8E10D}"/>
              </a:ext>
            </a:extLst>
          </p:cNvPr>
          <p:cNvSpPr>
            <a:spLocks noGrp="1"/>
          </p:cNvSpPr>
          <p:nvPr>
            <p:ph type="body" sz="quarter" idx="23"/>
          </p:nvPr>
        </p:nvSpPr>
        <p:spPr/>
        <p:txBody>
          <a:bodyPr/>
          <a:lstStyle/>
          <a:p>
            <a:endParaRPr lang="en-US"/>
          </a:p>
        </p:txBody>
      </p:sp>
      <p:sp>
        <p:nvSpPr>
          <p:cNvPr id="5" name="Text Placeholder 4">
            <a:extLst>
              <a:ext uri="{FF2B5EF4-FFF2-40B4-BE49-F238E27FC236}">
                <a16:creationId xmlns:a16="http://schemas.microsoft.com/office/drawing/2014/main" id="{28C2A7BA-EDE9-AF43-BA6A-5C839A2B48DB}"/>
              </a:ext>
            </a:extLst>
          </p:cNvPr>
          <p:cNvSpPr>
            <a:spLocks noGrp="1"/>
          </p:cNvSpPr>
          <p:nvPr>
            <p:ph type="body" sz="quarter" idx="29"/>
          </p:nvPr>
        </p:nvSpPr>
        <p:spPr/>
        <p:txBody>
          <a:bodyPr/>
          <a:lstStyle/>
          <a:p>
            <a:endParaRPr lang="en-US"/>
          </a:p>
        </p:txBody>
      </p:sp>
      <p:sp>
        <p:nvSpPr>
          <p:cNvPr id="6" name="Text Placeholder 5">
            <a:extLst>
              <a:ext uri="{FF2B5EF4-FFF2-40B4-BE49-F238E27FC236}">
                <a16:creationId xmlns:a16="http://schemas.microsoft.com/office/drawing/2014/main" id="{B820C134-018C-3A40-B2B6-BD43BDB11BE2}"/>
              </a:ext>
            </a:extLst>
          </p:cNvPr>
          <p:cNvSpPr>
            <a:spLocks noGrp="1"/>
          </p:cNvSpPr>
          <p:nvPr>
            <p:ph type="body" sz="quarter" idx="35"/>
          </p:nvPr>
        </p:nvSpPr>
        <p:spPr/>
        <p:txBody>
          <a:bodyPr/>
          <a:lstStyle/>
          <a:p>
            <a:endParaRPr lang="en-US"/>
          </a:p>
        </p:txBody>
      </p:sp>
      <p:sp>
        <p:nvSpPr>
          <p:cNvPr id="7" name="Text Placeholder 6">
            <a:extLst>
              <a:ext uri="{FF2B5EF4-FFF2-40B4-BE49-F238E27FC236}">
                <a16:creationId xmlns:a16="http://schemas.microsoft.com/office/drawing/2014/main" id="{8DD89488-56F9-3646-AFEF-2A2650D3F55F}"/>
              </a:ext>
            </a:extLst>
          </p:cNvPr>
          <p:cNvSpPr>
            <a:spLocks noGrp="1"/>
          </p:cNvSpPr>
          <p:nvPr>
            <p:ph type="body" sz="quarter" idx="41"/>
          </p:nvPr>
        </p:nvSpPr>
        <p:spPr/>
        <p:txBody>
          <a:bodyPr/>
          <a:lstStyle/>
          <a:p>
            <a:endParaRPr lang="en-US"/>
          </a:p>
        </p:txBody>
      </p:sp>
      <p:sp>
        <p:nvSpPr>
          <p:cNvPr id="8" name="Text Placeholder 7">
            <a:extLst>
              <a:ext uri="{FF2B5EF4-FFF2-40B4-BE49-F238E27FC236}">
                <a16:creationId xmlns:a16="http://schemas.microsoft.com/office/drawing/2014/main" id="{A980410E-A167-9C43-889C-AF15FF4C6C92}"/>
              </a:ext>
            </a:extLst>
          </p:cNvPr>
          <p:cNvSpPr>
            <a:spLocks noGrp="1"/>
          </p:cNvSpPr>
          <p:nvPr>
            <p:ph type="body" sz="quarter" idx="10"/>
          </p:nvPr>
        </p:nvSpPr>
        <p:spPr/>
        <p:txBody>
          <a:bodyPr/>
          <a:lstStyle/>
          <a:p>
            <a:endParaRPr lang="en-US"/>
          </a:p>
        </p:txBody>
      </p:sp>
      <p:sp>
        <p:nvSpPr>
          <p:cNvPr id="9" name="Text Placeholder 8">
            <a:extLst>
              <a:ext uri="{FF2B5EF4-FFF2-40B4-BE49-F238E27FC236}">
                <a16:creationId xmlns:a16="http://schemas.microsoft.com/office/drawing/2014/main" id="{1326B1DC-5D09-1547-812A-2E08FA281C7C}"/>
              </a:ext>
            </a:extLst>
          </p:cNvPr>
          <p:cNvSpPr>
            <a:spLocks noGrp="1"/>
          </p:cNvSpPr>
          <p:nvPr>
            <p:ph type="body" sz="quarter" idx="16"/>
          </p:nvPr>
        </p:nvSpPr>
        <p:spPr/>
        <p:txBody>
          <a:bodyPr/>
          <a:lstStyle/>
          <a:p>
            <a:endParaRPr lang="en-US"/>
          </a:p>
        </p:txBody>
      </p:sp>
      <p:sp>
        <p:nvSpPr>
          <p:cNvPr id="10" name="Text Placeholder 9">
            <a:extLst>
              <a:ext uri="{FF2B5EF4-FFF2-40B4-BE49-F238E27FC236}">
                <a16:creationId xmlns:a16="http://schemas.microsoft.com/office/drawing/2014/main" id="{81845CA7-87C3-D445-98CD-42D95DE753D3}"/>
              </a:ext>
            </a:extLst>
          </p:cNvPr>
          <p:cNvSpPr>
            <a:spLocks noGrp="1"/>
          </p:cNvSpPr>
          <p:nvPr>
            <p:ph type="body" sz="quarter" idx="22"/>
          </p:nvPr>
        </p:nvSpPr>
        <p:spPr/>
        <p:txBody>
          <a:bodyPr/>
          <a:lstStyle/>
          <a:p>
            <a:endParaRPr lang="en-US"/>
          </a:p>
        </p:txBody>
      </p:sp>
      <p:sp>
        <p:nvSpPr>
          <p:cNvPr id="11" name="Text Placeholder 10">
            <a:extLst>
              <a:ext uri="{FF2B5EF4-FFF2-40B4-BE49-F238E27FC236}">
                <a16:creationId xmlns:a16="http://schemas.microsoft.com/office/drawing/2014/main" id="{8D8DE074-3B9D-C443-8132-6CAA87057B66}"/>
              </a:ext>
            </a:extLst>
          </p:cNvPr>
          <p:cNvSpPr>
            <a:spLocks noGrp="1"/>
          </p:cNvSpPr>
          <p:nvPr>
            <p:ph type="body" sz="quarter" idx="28"/>
          </p:nvPr>
        </p:nvSpPr>
        <p:spPr/>
        <p:txBody>
          <a:bodyPr/>
          <a:lstStyle/>
          <a:p>
            <a:endParaRPr lang="en-US"/>
          </a:p>
        </p:txBody>
      </p:sp>
      <p:sp>
        <p:nvSpPr>
          <p:cNvPr id="12" name="Text Placeholder 11">
            <a:extLst>
              <a:ext uri="{FF2B5EF4-FFF2-40B4-BE49-F238E27FC236}">
                <a16:creationId xmlns:a16="http://schemas.microsoft.com/office/drawing/2014/main" id="{DE7ABBA4-E049-D140-836F-4DDC5CB87B21}"/>
              </a:ext>
            </a:extLst>
          </p:cNvPr>
          <p:cNvSpPr>
            <a:spLocks noGrp="1"/>
          </p:cNvSpPr>
          <p:nvPr>
            <p:ph type="body" sz="quarter" idx="34"/>
          </p:nvPr>
        </p:nvSpPr>
        <p:spPr/>
        <p:txBody>
          <a:bodyPr/>
          <a:lstStyle/>
          <a:p>
            <a:endParaRPr lang="en-US"/>
          </a:p>
        </p:txBody>
      </p:sp>
      <p:sp>
        <p:nvSpPr>
          <p:cNvPr id="13" name="Text Placeholder 12">
            <a:extLst>
              <a:ext uri="{FF2B5EF4-FFF2-40B4-BE49-F238E27FC236}">
                <a16:creationId xmlns:a16="http://schemas.microsoft.com/office/drawing/2014/main" id="{A6E85220-1246-8F40-9A83-A68AEE13842D}"/>
              </a:ext>
            </a:extLst>
          </p:cNvPr>
          <p:cNvSpPr>
            <a:spLocks noGrp="1"/>
          </p:cNvSpPr>
          <p:nvPr>
            <p:ph type="body" sz="quarter" idx="40"/>
          </p:nvPr>
        </p:nvSpPr>
        <p:spPr/>
        <p:txBody>
          <a:bodyPr/>
          <a:lstStyle/>
          <a:p>
            <a:endParaRPr lang="en-US"/>
          </a:p>
        </p:txBody>
      </p:sp>
      <p:sp>
        <p:nvSpPr>
          <p:cNvPr id="14" name="Text Placeholder 13">
            <a:extLst>
              <a:ext uri="{FF2B5EF4-FFF2-40B4-BE49-F238E27FC236}">
                <a16:creationId xmlns:a16="http://schemas.microsoft.com/office/drawing/2014/main" id="{15FE09B4-B776-7C4B-AB80-2BDDA9A5D8B5}"/>
              </a:ext>
            </a:extLst>
          </p:cNvPr>
          <p:cNvSpPr>
            <a:spLocks noGrp="1"/>
          </p:cNvSpPr>
          <p:nvPr>
            <p:ph type="body" sz="quarter" idx="12"/>
          </p:nvPr>
        </p:nvSpPr>
        <p:spPr/>
        <p:txBody>
          <a:bodyPr/>
          <a:lstStyle/>
          <a:p>
            <a:endParaRPr lang="en-US"/>
          </a:p>
        </p:txBody>
      </p:sp>
      <p:sp>
        <p:nvSpPr>
          <p:cNvPr id="15" name="Text Placeholder 14">
            <a:extLst>
              <a:ext uri="{FF2B5EF4-FFF2-40B4-BE49-F238E27FC236}">
                <a16:creationId xmlns:a16="http://schemas.microsoft.com/office/drawing/2014/main" id="{BEDDE04E-AEF4-5344-B1B6-841B1D5339F6}"/>
              </a:ext>
            </a:extLst>
          </p:cNvPr>
          <p:cNvSpPr>
            <a:spLocks noGrp="1"/>
          </p:cNvSpPr>
          <p:nvPr>
            <p:ph type="body" sz="quarter" idx="18"/>
          </p:nvPr>
        </p:nvSpPr>
        <p:spPr/>
        <p:txBody>
          <a:bodyPr/>
          <a:lstStyle/>
          <a:p>
            <a:endParaRPr lang="en-US"/>
          </a:p>
        </p:txBody>
      </p:sp>
      <p:sp>
        <p:nvSpPr>
          <p:cNvPr id="16" name="Text Placeholder 15">
            <a:extLst>
              <a:ext uri="{FF2B5EF4-FFF2-40B4-BE49-F238E27FC236}">
                <a16:creationId xmlns:a16="http://schemas.microsoft.com/office/drawing/2014/main" id="{D53E0366-ABC4-DB45-82B7-78CB7C9DEB68}"/>
              </a:ext>
            </a:extLst>
          </p:cNvPr>
          <p:cNvSpPr>
            <a:spLocks noGrp="1"/>
          </p:cNvSpPr>
          <p:nvPr>
            <p:ph type="body" sz="quarter" idx="24"/>
          </p:nvPr>
        </p:nvSpPr>
        <p:spPr/>
        <p:txBody>
          <a:bodyPr/>
          <a:lstStyle/>
          <a:p>
            <a:endParaRPr lang="en-US"/>
          </a:p>
        </p:txBody>
      </p:sp>
      <p:sp>
        <p:nvSpPr>
          <p:cNvPr id="17" name="Text Placeholder 16">
            <a:extLst>
              <a:ext uri="{FF2B5EF4-FFF2-40B4-BE49-F238E27FC236}">
                <a16:creationId xmlns:a16="http://schemas.microsoft.com/office/drawing/2014/main" id="{0FB57B77-FA0D-254D-8437-E890BEC66F65}"/>
              </a:ext>
            </a:extLst>
          </p:cNvPr>
          <p:cNvSpPr>
            <a:spLocks noGrp="1"/>
          </p:cNvSpPr>
          <p:nvPr>
            <p:ph type="body" sz="quarter" idx="30"/>
          </p:nvPr>
        </p:nvSpPr>
        <p:spPr/>
        <p:txBody>
          <a:bodyPr/>
          <a:lstStyle/>
          <a:p>
            <a:endParaRPr lang="en-US"/>
          </a:p>
        </p:txBody>
      </p:sp>
      <p:sp>
        <p:nvSpPr>
          <p:cNvPr id="18" name="Text Placeholder 17">
            <a:extLst>
              <a:ext uri="{FF2B5EF4-FFF2-40B4-BE49-F238E27FC236}">
                <a16:creationId xmlns:a16="http://schemas.microsoft.com/office/drawing/2014/main" id="{9A1996B0-34BD-FD40-8905-A3186EC58299}"/>
              </a:ext>
            </a:extLst>
          </p:cNvPr>
          <p:cNvSpPr>
            <a:spLocks noGrp="1"/>
          </p:cNvSpPr>
          <p:nvPr>
            <p:ph type="body" sz="quarter" idx="36"/>
          </p:nvPr>
        </p:nvSpPr>
        <p:spPr/>
        <p:txBody>
          <a:bodyPr/>
          <a:lstStyle/>
          <a:p>
            <a:endParaRPr lang="en-US"/>
          </a:p>
        </p:txBody>
      </p:sp>
      <p:sp>
        <p:nvSpPr>
          <p:cNvPr id="19" name="Text Placeholder 18">
            <a:extLst>
              <a:ext uri="{FF2B5EF4-FFF2-40B4-BE49-F238E27FC236}">
                <a16:creationId xmlns:a16="http://schemas.microsoft.com/office/drawing/2014/main" id="{99858D31-24E6-7040-8748-5CB9125FD14C}"/>
              </a:ext>
            </a:extLst>
          </p:cNvPr>
          <p:cNvSpPr>
            <a:spLocks noGrp="1"/>
          </p:cNvSpPr>
          <p:nvPr>
            <p:ph type="body" sz="quarter" idx="42"/>
          </p:nvPr>
        </p:nvSpPr>
        <p:spPr/>
        <p:txBody>
          <a:bodyPr/>
          <a:lstStyle/>
          <a:p>
            <a:endParaRPr lang="en-US"/>
          </a:p>
        </p:txBody>
      </p:sp>
      <p:sp>
        <p:nvSpPr>
          <p:cNvPr id="20" name="Text Placeholder 19">
            <a:extLst>
              <a:ext uri="{FF2B5EF4-FFF2-40B4-BE49-F238E27FC236}">
                <a16:creationId xmlns:a16="http://schemas.microsoft.com/office/drawing/2014/main" id="{17E0D861-DA47-A54F-B27A-6F607AC3E299}"/>
              </a:ext>
            </a:extLst>
          </p:cNvPr>
          <p:cNvSpPr>
            <a:spLocks noGrp="1"/>
          </p:cNvSpPr>
          <p:nvPr>
            <p:ph type="body" sz="quarter" idx="13"/>
          </p:nvPr>
        </p:nvSpPr>
        <p:spPr/>
        <p:txBody>
          <a:bodyPr/>
          <a:lstStyle/>
          <a:p>
            <a:endParaRPr lang="en-US"/>
          </a:p>
        </p:txBody>
      </p:sp>
      <p:sp>
        <p:nvSpPr>
          <p:cNvPr id="21" name="Text Placeholder 20">
            <a:extLst>
              <a:ext uri="{FF2B5EF4-FFF2-40B4-BE49-F238E27FC236}">
                <a16:creationId xmlns:a16="http://schemas.microsoft.com/office/drawing/2014/main" id="{284AB1D1-CB18-2F47-8854-BC470BE90C52}"/>
              </a:ext>
            </a:extLst>
          </p:cNvPr>
          <p:cNvSpPr>
            <a:spLocks noGrp="1"/>
          </p:cNvSpPr>
          <p:nvPr>
            <p:ph type="body" sz="quarter" idx="19"/>
          </p:nvPr>
        </p:nvSpPr>
        <p:spPr/>
        <p:txBody>
          <a:bodyPr/>
          <a:lstStyle/>
          <a:p>
            <a:endParaRPr lang="en-US"/>
          </a:p>
        </p:txBody>
      </p:sp>
      <p:sp>
        <p:nvSpPr>
          <p:cNvPr id="22" name="Text Placeholder 21">
            <a:extLst>
              <a:ext uri="{FF2B5EF4-FFF2-40B4-BE49-F238E27FC236}">
                <a16:creationId xmlns:a16="http://schemas.microsoft.com/office/drawing/2014/main" id="{4879EDE7-9040-DA40-B414-FA7B5A10AA3C}"/>
              </a:ext>
            </a:extLst>
          </p:cNvPr>
          <p:cNvSpPr>
            <a:spLocks noGrp="1"/>
          </p:cNvSpPr>
          <p:nvPr>
            <p:ph type="body" sz="quarter" idx="25"/>
          </p:nvPr>
        </p:nvSpPr>
        <p:spPr/>
        <p:txBody>
          <a:bodyPr/>
          <a:lstStyle/>
          <a:p>
            <a:endParaRPr lang="en-US"/>
          </a:p>
        </p:txBody>
      </p:sp>
      <p:sp>
        <p:nvSpPr>
          <p:cNvPr id="23" name="Text Placeholder 22">
            <a:extLst>
              <a:ext uri="{FF2B5EF4-FFF2-40B4-BE49-F238E27FC236}">
                <a16:creationId xmlns:a16="http://schemas.microsoft.com/office/drawing/2014/main" id="{E443C42C-8EA1-6844-ADFA-8461302D8B3A}"/>
              </a:ext>
            </a:extLst>
          </p:cNvPr>
          <p:cNvSpPr>
            <a:spLocks noGrp="1"/>
          </p:cNvSpPr>
          <p:nvPr>
            <p:ph type="body" sz="quarter" idx="31"/>
          </p:nvPr>
        </p:nvSpPr>
        <p:spPr/>
        <p:txBody>
          <a:bodyPr/>
          <a:lstStyle/>
          <a:p>
            <a:endParaRPr lang="en-US"/>
          </a:p>
        </p:txBody>
      </p:sp>
      <p:sp>
        <p:nvSpPr>
          <p:cNvPr id="24" name="Text Placeholder 23">
            <a:extLst>
              <a:ext uri="{FF2B5EF4-FFF2-40B4-BE49-F238E27FC236}">
                <a16:creationId xmlns:a16="http://schemas.microsoft.com/office/drawing/2014/main" id="{D71E8391-9880-2245-9B2B-E88415B3ADDE}"/>
              </a:ext>
            </a:extLst>
          </p:cNvPr>
          <p:cNvSpPr>
            <a:spLocks noGrp="1"/>
          </p:cNvSpPr>
          <p:nvPr>
            <p:ph type="body" sz="quarter" idx="37"/>
          </p:nvPr>
        </p:nvSpPr>
        <p:spPr/>
        <p:txBody>
          <a:bodyPr/>
          <a:lstStyle/>
          <a:p>
            <a:endParaRPr lang="en-US"/>
          </a:p>
        </p:txBody>
      </p:sp>
      <p:sp>
        <p:nvSpPr>
          <p:cNvPr id="25" name="Text Placeholder 24">
            <a:extLst>
              <a:ext uri="{FF2B5EF4-FFF2-40B4-BE49-F238E27FC236}">
                <a16:creationId xmlns:a16="http://schemas.microsoft.com/office/drawing/2014/main" id="{B9D214DB-12CD-B741-8C5D-072E8A9974F1}"/>
              </a:ext>
            </a:extLst>
          </p:cNvPr>
          <p:cNvSpPr>
            <a:spLocks noGrp="1"/>
          </p:cNvSpPr>
          <p:nvPr>
            <p:ph type="body" sz="quarter" idx="43"/>
          </p:nvPr>
        </p:nvSpPr>
        <p:spPr/>
        <p:txBody>
          <a:bodyPr/>
          <a:lstStyle/>
          <a:p>
            <a:endParaRPr lang="en-US"/>
          </a:p>
        </p:txBody>
      </p:sp>
      <p:sp>
        <p:nvSpPr>
          <p:cNvPr id="26" name="Text Placeholder 25">
            <a:extLst>
              <a:ext uri="{FF2B5EF4-FFF2-40B4-BE49-F238E27FC236}">
                <a16:creationId xmlns:a16="http://schemas.microsoft.com/office/drawing/2014/main" id="{98473FC7-58D3-2246-A178-984BB5C437C3}"/>
              </a:ext>
            </a:extLst>
          </p:cNvPr>
          <p:cNvSpPr>
            <a:spLocks noGrp="1"/>
          </p:cNvSpPr>
          <p:nvPr>
            <p:ph type="body" sz="quarter" idx="14"/>
          </p:nvPr>
        </p:nvSpPr>
        <p:spPr/>
        <p:txBody>
          <a:bodyPr/>
          <a:lstStyle/>
          <a:p>
            <a:endParaRPr lang="en-US"/>
          </a:p>
        </p:txBody>
      </p:sp>
      <p:sp>
        <p:nvSpPr>
          <p:cNvPr id="27" name="Text Placeholder 26">
            <a:extLst>
              <a:ext uri="{FF2B5EF4-FFF2-40B4-BE49-F238E27FC236}">
                <a16:creationId xmlns:a16="http://schemas.microsoft.com/office/drawing/2014/main" id="{449A651B-DC51-CC45-88C9-EB44223E2DDC}"/>
              </a:ext>
            </a:extLst>
          </p:cNvPr>
          <p:cNvSpPr>
            <a:spLocks noGrp="1"/>
          </p:cNvSpPr>
          <p:nvPr>
            <p:ph type="body" sz="quarter" idx="20"/>
          </p:nvPr>
        </p:nvSpPr>
        <p:spPr/>
        <p:txBody>
          <a:bodyPr/>
          <a:lstStyle/>
          <a:p>
            <a:endParaRPr lang="en-US"/>
          </a:p>
        </p:txBody>
      </p:sp>
      <p:sp>
        <p:nvSpPr>
          <p:cNvPr id="28" name="Text Placeholder 27">
            <a:extLst>
              <a:ext uri="{FF2B5EF4-FFF2-40B4-BE49-F238E27FC236}">
                <a16:creationId xmlns:a16="http://schemas.microsoft.com/office/drawing/2014/main" id="{93A7C856-6079-794D-ACD5-73A7EA88F30D}"/>
              </a:ext>
            </a:extLst>
          </p:cNvPr>
          <p:cNvSpPr>
            <a:spLocks noGrp="1"/>
          </p:cNvSpPr>
          <p:nvPr>
            <p:ph type="body" sz="quarter" idx="26"/>
          </p:nvPr>
        </p:nvSpPr>
        <p:spPr/>
        <p:txBody>
          <a:bodyPr/>
          <a:lstStyle/>
          <a:p>
            <a:endParaRPr lang="en-US"/>
          </a:p>
        </p:txBody>
      </p:sp>
      <p:sp>
        <p:nvSpPr>
          <p:cNvPr id="29" name="Text Placeholder 28">
            <a:extLst>
              <a:ext uri="{FF2B5EF4-FFF2-40B4-BE49-F238E27FC236}">
                <a16:creationId xmlns:a16="http://schemas.microsoft.com/office/drawing/2014/main" id="{99519593-7E32-4F4B-97A9-D7181C69FA85}"/>
              </a:ext>
            </a:extLst>
          </p:cNvPr>
          <p:cNvSpPr>
            <a:spLocks noGrp="1"/>
          </p:cNvSpPr>
          <p:nvPr>
            <p:ph type="body" sz="quarter" idx="32"/>
          </p:nvPr>
        </p:nvSpPr>
        <p:spPr/>
        <p:txBody>
          <a:bodyPr/>
          <a:lstStyle/>
          <a:p>
            <a:endParaRPr lang="en-US"/>
          </a:p>
        </p:txBody>
      </p:sp>
      <p:sp>
        <p:nvSpPr>
          <p:cNvPr id="30" name="Text Placeholder 29">
            <a:extLst>
              <a:ext uri="{FF2B5EF4-FFF2-40B4-BE49-F238E27FC236}">
                <a16:creationId xmlns:a16="http://schemas.microsoft.com/office/drawing/2014/main" id="{EB322AB0-C7F7-1F4C-811F-41BA20611DE4}"/>
              </a:ext>
            </a:extLst>
          </p:cNvPr>
          <p:cNvSpPr>
            <a:spLocks noGrp="1"/>
          </p:cNvSpPr>
          <p:nvPr>
            <p:ph type="body" sz="quarter" idx="38"/>
          </p:nvPr>
        </p:nvSpPr>
        <p:spPr/>
        <p:txBody>
          <a:bodyPr/>
          <a:lstStyle/>
          <a:p>
            <a:endParaRPr lang="en-US"/>
          </a:p>
        </p:txBody>
      </p:sp>
      <p:sp>
        <p:nvSpPr>
          <p:cNvPr id="31" name="Text Placeholder 30">
            <a:extLst>
              <a:ext uri="{FF2B5EF4-FFF2-40B4-BE49-F238E27FC236}">
                <a16:creationId xmlns:a16="http://schemas.microsoft.com/office/drawing/2014/main" id="{2BC30A8A-1872-F54D-A20E-DB147936D9FA}"/>
              </a:ext>
            </a:extLst>
          </p:cNvPr>
          <p:cNvSpPr>
            <a:spLocks noGrp="1"/>
          </p:cNvSpPr>
          <p:nvPr>
            <p:ph type="body" sz="quarter" idx="44"/>
          </p:nvPr>
        </p:nvSpPr>
        <p:spPr/>
        <p:txBody>
          <a:bodyPr/>
          <a:lstStyle/>
          <a:p>
            <a:endParaRPr lang="en-US"/>
          </a:p>
        </p:txBody>
      </p:sp>
      <p:sp>
        <p:nvSpPr>
          <p:cNvPr id="32" name="Text Placeholder 31">
            <a:extLst>
              <a:ext uri="{FF2B5EF4-FFF2-40B4-BE49-F238E27FC236}">
                <a16:creationId xmlns:a16="http://schemas.microsoft.com/office/drawing/2014/main" id="{6ABD07E9-1C24-324B-A589-56A252371678}"/>
              </a:ext>
            </a:extLst>
          </p:cNvPr>
          <p:cNvSpPr>
            <a:spLocks noGrp="1"/>
          </p:cNvSpPr>
          <p:nvPr>
            <p:ph type="body" sz="quarter" idx="15"/>
          </p:nvPr>
        </p:nvSpPr>
        <p:spPr/>
        <p:txBody>
          <a:bodyPr/>
          <a:lstStyle/>
          <a:p>
            <a:endParaRPr lang="en-US"/>
          </a:p>
        </p:txBody>
      </p:sp>
      <p:sp>
        <p:nvSpPr>
          <p:cNvPr id="33" name="Text Placeholder 32">
            <a:extLst>
              <a:ext uri="{FF2B5EF4-FFF2-40B4-BE49-F238E27FC236}">
                <a16:creationId xmlns:a16="http://schemas.microsoft.com/office/drawing/2014/main" id="{DEE692FE-A5E6-8444-A265-04BE08FE0EB7}"/>
              </a:ext>
            </a:extLst>
          </p:cNvPr>
          <p:cNvSpPr>
            <a:spLocks noGrp="1"/>
          </p:cNvSpPr>
          <p:nvPr>
            <p:ph type="body" sz="quarter" idx="21"/>
          </p:nvPr>
        </p:nvSpPr>
        <p:spPr/>
        <p:txBody>
          <a:bodyPr/>
          <a:lstStyle/>
          <a:p>
            <a:endParaRPr lang="en-US"/>
          </a:p>
        </p:txBody>
      </p:sp>
      <p:sp>
        <p:nvSpPr>
          <p:cNvPr id="34" name="Text Placeholder 33">
            <a:extLst>
              <a:ext uri="{FF2B5EF4-FFF2-40B4-BE49-F238E27FC236}">
                <a16:creationId xmlns:a16="http://schemas.microsoft.com/office/drawing/2014/main" id="{0C61858E-51FE-9743-BA70-CABA80243237}"/>
              </a:ext>
            </a:extLst>
          </p:cNvPr>
          <p:cNvSpPr>
            <a:spLocks noGrp="1"/>
          </p:cNvSpPr>
          <p:nvPr>
            <p:ph type="body" sz="quarter" idx="27"/>
          </p:nvPr>
        </p:nvSpPr>
        <p:spPr/>
        <p:txBody>
          <a:bodyPr/>
          <a:lstStyle/>
          <a:p>
            <a:endParaRPr lang="en-US"/>
          </a:p>
        </p:txBody>
      </p:sp>
      <p:sp>
        <p:nvSpPr>
          <p:cNvPr id="35" name="Text Placeholder 34">
            <a:extLst>
              <a:ext uri="{FF2B5EF4-FFF2-40B4-BE49-F238E27FC236}">
                <a16:creationId xmlns:a16="http://schemas.microsoft.com/office/drawing/2014/main" id="{EA8DED5D-9168-924F-B0A1-3E2BACFB6CAF}"/>
              </a:ext>
            </a:extLst>
          </p:cNvPr>
          <p:cNvSpPr>
            <a:spLocks noGrp="1"/>
          </p:cNvSpPr>
          <p:nvPr>
            <p:ph type="body" sz="quarter" idx="33"/>
          </p:nvPr>
        </p:nvSpPr>
        <p:spPr/>
        <p:txBody>
          <a:bodyPr/>
          <a:lstStyle/>
          <a:p>
            <a:endParaRPr lang="en-US"/>
          </a:p>
        </p:txBody>
      </p:sp>
      <p:sp>
        <p:nvSpPr>
          <p:cNvPr id="36" name="Text Placeholder 35">
            <a:extLst>
              <a:ext uri="{FF2B5EF4-FFF2-40B4-BE49-F238E27FC236}">
                <a16:creationId xmlns:a16="http://schemas.microsoft.com/office/drawing/2014/main" id="{B04D1A05-66A3-D542-B23D-06DFF4B5F96A}"/>
              </a:ext>
            </a:extLst>
          </p:cNvPr>
          <p:cNvSpPr>
            <a:spLocks noGrp="1"/>
          </p:cNvSpPr>
          <p:nvPr>
            <p:ph type="body" sz="quarter" idx="39"/>
          </p:nvPr>
        </p:nvSpPr>
        <p:spPr/>
        <p:txBody>
          <a:bodyPr/>
          <a:lstStyle/>
          <a:p>
            <a:endParaRPr lang="en-US"/>
          </a:p>
        </p:txBody>
      </p:sp>
      <p:sp>
        <p:nvSpPr>
          <p:cNvPr id="37" name="Text Placeholder 36">
            <a:extLst>
              <a:ext uri="{FF2B5EF4-FFF2-40B4-BE49-F238E27FC236}">
                <a16:creationId xmlns:a16="http://schemas.microsoft.com/office/drawing/2014/main" id="{B674B21B-39C8-7E4D-B5B5-4E2B09D8CA6B}"/>
              </a:ext>
            </a:extLst>
          </p:cNvPr>
          <p:cNvSpPr>
            <a:spLocks noGrp="1"/>
          </p:cNvSpPr>
          <p:nvPr>
            <p:ph type="body" sz="quarter" idx="45"/>
          </p:nvPr>
        </p:nvSpPr>
        <p:spPr/>
        <p:txBody>
          <a:bodyPr/>
          <a:lstStyle/>
          <a:p>
            <a:endParaRPr lang="en-US"/>
          </a:p>
        </p:txBody>
      </p:sp>
    </p:spTree>
    <p:extLst>
      <p:ext uri="{BB962C8B-B14F-4D97-AF65-F5344CB8AC3E}">
        <p14:creationId xmlns:p14="http://schemas.microsoft.com/office/powerpoint/2010/main" val="380948652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A186C7-7350-AC40-AD49-9ECE7CD58090}"/>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78E491DA-30A9-3F40-A52D-8FFC7287E2C9}"/>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316FEBE6-1107-C842-8E52-3A1E2D79EFD9}"/>
              </a:ext>
            </a:extLst>
          </p:cNvPr>
          <p:cNvSpPr>
            <a:spLocks noGrp="1"/>
          </p:cNvSpPr>
          <p:nvPr>
            <p:ph type="body" sz="quarter" idx="23"/>
          </p:nvPr>
        </p:nvSpPr>
        <p:spPr/>
        <p:txBody>
          <a:bodyPr/>
          <a:lstStyle/>
          <a:p>
            <a:endParaRPr lang="en-US"/>
          </a:p>
        </p:txBody>
      </p:sp>
      <p:sp>
        <p:nvSpPr>
          <p:cNvPr id="5" name="Text Placeholder 4">
            <a:extLst>
              <a:ext uri="{FF2B5EF4-FFF2-40B4-BE49-F238E27FC236}">
                <a16:creationId xmlns:a16="http://schemas.microsoft.com/office/drawing/2014/main" id="{95E2F5AB-91FE-F247-B56C-0C555783E6C9}"/>
              </a:ext>
            </a:extLst>
          </p:cNvPr>
          <p:cNvSpPr>
            <a:spLocks noGrp="1"/>
          </p:cNvSpPr>
          <p:nvPr>
            <p:ph type="body" sz="quarter" idx="29"/>
          </p:nvPr>
        </p:nvSpPr>
        <p:spPr/>
        <p:txBody>
          <a:bodyPr/>
          <a:lstStyle/>
          <a:p>
            <a:endParaRPr lang="en-US"/>
          </a:p>
        </p:txBody>
      </p:sp>
      <p:sp>
        <p:nvSpPr>
          <p:cNvPr id="6" name="Text Placeholder 5">
            <a:extLst>
              <a:ext uri="{FF2B5EF4-FFF2-40B4-BE49-F238E27FC236}">
                <a16:creationId xmlns:a16="http://schemas.microsoft.com/office/drawing/2014/main" id="{9D56760D-9D65-A34F-A5E3-9DB59B6AF7A3}"/>
              </a:ext>
            </a:extLst>
          </p:cNvPr>
          <p:cNvSpPr>
            <a:spLocks noGrp="1"/>
          </p:cNvSpPr>
          <p:nvPr>
            <p:ph type="body" sz="quarter" idx="35"/>
          </p:nvPr>
        </p:nvSpPr>
        <p:spPr/>
        <p:txBody>
          <a:bodyPr/>
          <a:lstStyle/>
          <a:p>
            <a:endParaRPr lang="en-US"/>
          </a:p>
        </p:txBody>
      </p:sp>
      <p:sp>
        <p:nvSpPr>
          <p:cNvPr id="7" name="Text Placeholder 6">
            <a:extLst>
              <a:ext uri="{FF2B5EF4-FFF2-40B4-BE49-F238E27FC236}">
                <a16:creationId xmlns:a16="http://schemas.microsoft.com/office/drawing/2014/main" id="{97BDD68B-F774-A04B-881F-CD628D9F5627}"/>
              </a:ext>
            </a:extLst>
          </p:cNvPr>
          <p:cNvSpPr>
            <a:spLocks noGrp="1"/>
          </p:cNvSpPr>
          <p:nvPr>
            <p:ph type="body" sz="quarter" idx="41"/>
          </p:nvPr>
        </p:nvSpPr>
        <p:spPr/>
        <p:txBody>
          <a:bodyPr/>
          <a:lstStyle/>
          <a:p>
            <a:endParaRPr lang="en-US"/>
          </a:p>
        </p:txBody>
      </p:sp>
      <p:sp>
        <p:nvSpPr>
          <p:cNvPr id="8" name="Text Placeholder 7">
            <a:extLst>
              <a:ext uri="{FF2B5EF4-FFF2-40B4-BE49-F238E27FC236}">
                <a16:creationId xmlns:a16="http://schemas.microsoft.com/office/drawing/2014/main" id="{452D0A33-D229-5E43-BC9D-8F4A364A3A1B}"/>
              </a:ext>
            </a:extLst>
          </p:cNvPr>
          <p:cNvSpPr>
            <a:spLocks noGrp="1"/>
          </p:cNvSpPr>
          <p:nvPr>
            <p:ph type="body" sz="quarter" idx="10"/>
          </p:nvPr>
        </p:nvSpPr>
        <p:spPr/>
        <p:txBody>
          <a:bodyPr/>
          <a:lstStyle/>
          <a:p>
            <a:endParaRPr lang="en-US"/>
          </a:p>
        </p:txBody>
      </p:sp>
      <p:sp>
        <p:nvSpPr>
          <p:cNvPr id="9" name="Text Placeholder 8">
            <a:extLst>
              <a:ext uri="{FF2B5EF4-FFF2-40B4-BE49-F238E27FC236}">
                <a16:creationId xmlns:a16="http://schemas.microsoft.com/office/drawing/2014/main" id="{E243EC97-7D62-F44C-9DF8-04DFF667C089}"/>
              </a:ext>
            </a:extLst>
          </p:cNvPr>
          <p:cNvSpPr>
            <a:spLocks noGrp="1"/>
          </p:cNvSpPr>
          <p:nvPr>
            <p:ph type="body" sz="quarter" idx="16"/>
          </p:nvPr>
        </p:nvSpPr>
        <p:spPr/>
        <p:txBody>
          <a:bodyPr/>
          <a:lstStyle/>
          <a:p>
            <a:endParaRPr lang="en-US"/>
          </a:p>
        </p:txBody>
      </p:sp>
      <p:sp>
        <p:nvSpPr>
          <p:cNvPr id="10" name="Text Placeholder 9">
            <a:extLst>
              <a:ext uri="{FF2B5EF4-FFF2-40B4-BE49-F238E27FC236}">
                <a16:creationId xmlns:a16="http://schemas.microsoft.com/office/drawing/2014/main" id="{F451F375-99FD-E445-9B40-DF592E9E07B4}"/>
              </a:ext>
            </a:extLst>
          </p:cNvPr>
          <p:cNvSpPr>
            <a:spLocks noGrp="1"/>
          </p:cNvSpPr>
          <p:nvPr>
            <p:ph type="body" sz="quarter" idx="22"/>
          </p:nvPr>
        </p:nvSpPr>
        <p:spPr/>
        <p:txBody>
          <a:bodyPr/>
          <a:lstStyle/>
          <a:p>
            <a:endParaRPr lang="en-US"/>
          </a:p>
        </p:txBody>
      </p:sp>
      <p:sp>
        <p:nvSpPr>
          <p:cNvPr id="11" name="Text Placeholder 10">
            <a:extLst>
              <a:ext uri="{FF2B5EF4-FFF2-40B4-BE49-F238E27FC236}">
                <a16:creationId xmlns:a16="http://schemas.microsoft.com/office/drawing/2014/main" id="{9A1F9248-4F63-AC43-8301-82033E6315AE}"/>
              </a:ext>
            </a:extLst>
          </p:cNvPr>
          <p:cNvSpPr>
            <a:spLocks noGrp="1"/>
          </p:cNvSpPr>
          <p:nvPr>
            <p:ph type="body" sz="quarter" idx="28"/>
          </p:nvPr>
        </p:nvSpPr>
        <p:spPr/>
        <p:txBody>
          <a:bodyPr/>
          <a:lstStyle/>
          <a:p>
            <a:endParaRPr lang="en-US"/>
          </a:p>
        </p:txBody>
      </p:sp>
      <p:sp>
        <p:nvSpPr>
          <p:cNvPr id="12" name="Text Placeholder 11">
            <a:extLst>
              <a:ext uri="{FF2B5EF4-FFF2-40B4-BE49-F238E27FC236}">
                <a16:creationId xmlns:a16="http://schemas.microsoft.com/office/drawing/2014/main" id="{1588816C-BEA5-7B44-AC15-986A556EEBAE}"/>
              </a:ext>
            </a:extLst>
          </p:cNvPr>
          <p:cNvSpPr>
            <a:spLocks noGrp="1"/>
          </p:cNvSpPr>
          <p:nvPr>
            <p:ph type="body" sz="quarter" idx="34"/>
          </p:nvPr>
        </p:nvSpPr>
        <p:spPr/>
        <p:txBody>
          <a:bodyPr/>
          <a:lstStyle/>
          <a:p>
            <a:endParaRPr lang="en-US"/>
          </a:p>
        </p:txBody>
      </p:sp>
      <p:sp>
        <p:nvSpPr>
          <p:cNvPr id="13" name="Text Placeholder 12">
            <a:extLst>
              <a:ext uri="{FF2B5EF4-FFF2-40B4-BE49-F238E27FC236}">
                <a16:creationId xmlns:a16="http://schemas.microsoft.com/office/drawing/2014/main" id="{ACEF7992-F897-8F44-93F1-ED26135E6BA1}"/>
              </a:ext>
            </a:extLst>
          </p:cNvPr>
          <p:cNvSpPr>
            <a:spLocks noGrp="1"/>
          </p:cNvSpPr>
          <p:nvPr>
            <p:ph type="body" sz="quarter" idx="40"/>
          </p:nvPr>
        </p:nvSpPr>
        <p:spPr/>
        <p:txBody>
          <a:bodyPr/>
          <a:lstStyle/>
          <a:p>
            <a:endParaRPr lang="en-US"/>
          </a:p>
        </p:txBody>
      </p:sp>
      <p:sp>
        <p:nvSpPr>
          <p:cNvPr id="14" name="Text Placeholder 13">
            <a:extLst>
              <a:ext uri="{FF2B5EF4-FFF2-40B4-BE49-F238E27FC236}">
                <a16:creationId xmlns:a16="http://schemas.microsoft.com/office/drawing/2014/main" id="{DED4E421-9F85-9A45-8A12-F65AABAAA61F}"/>
              </a:ext>
            </a:extLst>
          </p:cNvPr>
          <p:cNvSpPr>
            <a:spLocks noGrp="1"/>
          </p:cNvSpPr>
          <p:nvPr>
            <p:ph type="body" sz="quarter" idx="12"/>
          </p:nvPr>
        </p:nvSpPr>
        <p:spPr/>
        <p:txBody>
          <a:bodyPr/>
          <a:lstStyle/>
          <a:p>
            <a:endParaRPr lang="en-US"/>
          </a:p>
        </p:txBody>
      </p:sp>
      <p:sp>
        <p:nvSpPr>
          <p:cNvPr id="15" name="Text Placeholder 14">
            <a:extLst>
              <a:ext uri="{FF2B5EF4-FFF2-40B4-BE49-F238E27FC236}">
                <a16:creationId xmlns:a16="http://schemas.microsoft.com/office/drawing/2014/main" id="{759BF766-8E4C-3740-B65A-BA661C820466}"/>
              </a:ext>
            </a:extLst>
          </p:cNvPr>
          <p:cNvSpPr>
            <a:spLocks noGrp="1"/>
          </p:cNvSpPr>
          <p:nvPr>
            <p:ph type="body" sz="quarter" idx="18"/>
          </p:nvPr>
        </p:nvSpPr>
        <p:spPr/>
        <p:txBody>
          <a:bodyPr/>
          <a:lstStyle/>
          <a:p>
            <a:endParaRPr lang="en-US"/>
          </a:p>
        </p:txBody>
      </p:sp>
      <p:sp>
        <p:nvSpPr>
          <p:cNvPr id="16" name="Text Placeholder 15">
            <a:extLst>
              <a:ext uri="{FF2B5EF4-FFF2-40B4-BE49-F238E27FC236}">
                <a16:creationId xmlns:a16="http://schemas.microsoft.com/office/drawing/2014/main" id="{BA13D2C9-1582-6A4C-9ED4-8CA25E828479}"/>
              </a:ext>
            </a:extLst>
          </p:cNvPr>
          <p:cNvSpPr>
            <a:spLocks noGrp="1"/>
          </p:cNvSpPr>
          <p:nvPr>
            <p:ph type="body" sz="quarter" idx="24"/>
          </p:nvPr>
        </p:nvSpPr>
        <p:spPr/>
        <p:txBody>
          <a:bodyPr/>
          <a:lstStyle/>
          <a:p>
            <a:endParaRPr lang="en-US"/>
          </a:p>
        </p:txBody>
      </p:sp>
      <p:sp>
        <p:nvSpPr>
          <p:cNvPr id="17" name="Text Placeholder 16">
            <a:extLst>
              <a:ext uri="{FF2B5EF4-FFF2-40B4-BE49-F238E27FC236}">
                <a16:creationId xmlns:a16="http://schemas.microsoft.com/office/drawing/2014/main" id="{BEB96D1E-CE53-BB40-85D6-4128F2D154C2}"/>
              </a:ext>
            </a:extLst>
          </p:cNvPr>
          <p:cNvSpPr>
            <a:spLocks noGrp="1"/>
          </p:cNvSpPr>
          <p:nvPr>
            <p:ph type="body" sz="quarter" idx="30"/>
          </p:nvPr>
        </p:nvSpPr>
        <p:spPr/>
        <p:txBody>
          <a:bodyPr/>
          <a:lstStyle/>
          <a:p>
            <a:endParaRPr lang="en-US"/>
          </a:p>
        </p:txBody>
      </p:sp>
      <p:sp>
        <p:nvSpPr>
          <p:cNvPr id="18" name="Text Placeholder 17">
            <a:extLst>
              <a:ext uri="{FF2B5EF4-FFF2-40B4-BE49-F238E27FC236}">
                <a16:creationId xmlns:a16="http://schemas.microsoft.com/office/drawing/2014/main" id="{251ED278-AA0B-B443-89D4-8207A44BD34B}"/>
              </a:ext>
            </a:extLst>
          </p:cNvPr>
          <p:cNvSpPr>
            <a:spLocks noGrp="1"/>
          </p:cNvSpPr>
          <p:nvPr>
            <p:ph type="body" sz="quarter" idx="36"/>
          </p:nvPr>
        </p:nvSpPr>
        <p:spPr/>
        <p:txBody>
          <a:bodyPr/>
          <a:lstStyle/>
          <a:p>
            <a:endParaRPr lang="en-US"/>
          </a:p>
        </p:txBody>
      </p:sp>
      <p:sp>
        <p:nvSpPr>
          <p:cNvPr id="19" name="Text Placeholder 18">
            <a:extLst>
              <a:ext uri="{FF2B5EF4-FFF2-40B4-BE49-F238E27FC236}">
                <a16:creationId xmlns:a16="http://schemas.microsoft.com/office/drawing/2014/main" id="{687933AF-04CB-0E40-B1BE-963E8A48E4B6}"/>
              </a:ext>
            </a:extLst>
          </p:cNvPr>
          <p:cNvSpPr>
            <a:spLocks noGrp="1"/>
          </p:cNvSpPr>
          <p:nvPr>
            <p:ph type="body" sz="quarter" idx="42"/>
          </p:nvPr>
        </p:nvSpPr>
        <p:spPr/>
        <p:txBody>
          <a:bodyPr/>
          <a:lstStyle/>
          <a:p>
            <a:endParaRPr lang="en-US"/>
          </a:p>
        </p:txBody>
      </p:sp>
      <p:sp>
        <p:nvSpPr>
          <p:cNvPr id="20" name="Text Placeholder 19">
            <a:extLst>
              <a:ext uri="{FF2B5EF4-FFF2-40B4-BE49-F238E27FC236}">
                <a16:creationId xmlns:a16="http://schemas.microsoft.com/office/drawing/2014/main" id="{E0FA0575-7C11-8E46-8C11-E58D8F9D46E4}"/>
              </a:ext>
            </a:extLst>
          </p:cNvPr>
          <p:cNvSpPr>
            <a:spLocks noGrp="1"/>
          </p:cNvSpPr>
          <p:nvPr>
            <p:ph type="body" sz="quarter" idx="13"/>
          </p:nvPr>
        </p:nvSpPr>
        <p:spPr/>
        <p:txBody>
          <a:bodyPr/>
          <a:lstStyle/>
          <a:p>
            <a:endParaRPr lang="en-US"/>
          </a:p>
        </p:txBody>
      </p:sp>
      <p:sp>
        <p:nvSpPr>
          <p:cNvPr id="21" name="Text Placeholder 20">
            <a:extLst>
              <a:ext uri="{FF2B5EF4-FFF2-40B4-BE49-F238E27FC236}">
                <a16:creationId xmlns:a16="http://schemas.microsoft.com/office/drawing/2014/main" id="{9F64C70C-AECC-8441-9D4C-72CA6BD099AF}"/>
              </a:ext>
            </a:extLst>
          </p:cNvPr>
          <p:cNvSpPr>
            <a:spLocks noGrp="1"/>
          </p:cNvSpPr>
          <p:nvPr>
            <p:ph type="body" sz="quarter" idx="19"/>
          </p:nvPr>
        </p:nvSpPr>
        <p:spPr/>
        <p:txBody>
          <a:bodyPr/>
          <a:lstStyle/>
          <a:p>
            <a:endParaRPr lang="en-US"/>
          </a:p>
        </p:txBody>
      </p:sp>
      <p:sp>
        <p:nvSpPr>
          <p:cNvPr id="22" name="Text Placeholder 21">
            <a:extLst>
              <a:ext uri="{FF2B5EF4-FFF2-40B4-BE49-F238E27FC236}">
                <a16:creationId xmlns:a16="http://schemas.microsoft.com/office/drawing/2014/main" id="{8E9501BE-52AF-C648-8ABE-4069E7F3A37A}"/>
              </a:ext>
            </a:extLst>
          </p:cNvPr>
          <p:cNvSpPr>
            <a:spLocks noGrp="1"/>
          </p:cNvSpPr>
          <p:nvPr>
            <p:ph type="body" sz="quarter" idx="25"/>
          </p:nvPr>
        </p:nvSpPr>
        <p:spPr/>
        <p:txBody>
          <a:bodyPr/>
          <a:lstStyle/>
          <a:p>
            <a:endParaRPr lang="en-US"/>
          </a:p>
        </p:txBody>
      </p:sp>
      <p:sp>
        <p:nvSpPr>
          <p:cNvPr id="23" name="Text Placeholder 22">
            <a:extLst>
              <a:ext uri="{FF2B5EF4-FFF2-40B4-BE49-F238E27FC236}">
                <a16:creationId xmlns:a16="http://schemas.microsoft.com/office/drawing/2014/main" id="{965038A7-1ABB-2346-B77E-C51B65B0136D}"/>
              </a:ext>
            </a:extLst>
          </p:cNvPr>
          <p:cNvSpPr>
            <a:spLocks noGrp="1"/>
          </p:cNvSpPr>
          <p:nvPr>
            <p:ph type="body" sz="quarter" idx="31"/>
          </p:nvPr>
        </p:nvSpPr>
        <p:spPr/>
        <p:txBody>
          <a:bodyPr/>
          <a:lstStyle/>
          <a:p>
            <a:endParaRPr lang="en-US"/>
          </a:p>
        </p:txBody>
      </p:sp>
      <p:sp>
        <p:nvSpPr>
          <p:cNvPr id="24" name="Text Placeholder 23">
            <a:extLst>
              <a:ext uri="{FF2B5EF4-FFF2-40B4-BE49-F238E27FC236}">
                <a16:creationId xmlns:a16="http://schemas.microsoft.com/office/drawing/2014/main" id="{F92D2BF4-2398-CD49-B803-39CD9E387C79}"/>
              </a:ext>
            </a:extLst>
          </p:cNvPr>
          <p:cNvSpPr>
            <a:spLocks noGrp="1"/>
          </p:cNvSpPr>
          <p:nvPr>
            <p:ph type="body" sz="quarter" idx="37"/>
          </p:nvPr>
        </p:nvSpPr>
        <p:spPr/>
        <p:txBody>
          <a:bodyPr/>
          <a:lstStyle/>
          <a:p>
            <a:endParaRPr lang="en-US"/>
          </a:p>
        </p:txBody>
      </p:sp>
      <p:sp>
        <p:nvSpPr>
          <p:cNvPr id="25" name="Text Placeholder 24">
            <a:extLst>
              <a:ext uri="{FF2B5EF4-FFF2-40B4-BE49-F238E27FC236}">
                <a16:creationId xmlns:a16="http://schemas.microsoft.com/office/drawing/2014/main" id="{F6BAC1B4-3BD2-3844-80CF-DBAEF8955E57}"/>
              </a:ext>
            </a:extLst>
          </p:cNvPr>
          <p:cNvSpPr>
            <a:spLocks noGrp="1"/>
          </p:cNvSpPr>
          <p:nvPr>
            <p:ph type="body" sz="quarter" idx="43"/>
          </p:nvPr>
        </p:nvSpPr>
        <p:spPr/>
        <p:txBody>
          <a:bodyPr/>
          <a:lstStyle/>
          <a:p>
            <a:endParaRPr lang="en-US"/>
          </a:p>
        </p:txBody>
      </p:sp>
      <p:sp>
        <p:nvSpPr>
          <p:cNvPr id="26" name="Text Placeholder 25">
            <a:extLst>
              <a:ext uri="{FF2B5EF4-FFF2-40B4-BE49-F238E27FC236}">
                <a16:creationId xmlns:a16="http://schemas.microsoft.com/office/drawing/2014/main" id="{D0FA236C-5B30-2B4B-A0D5-EAD2E8F77EA7}"/>
              </a:ext>
            </a:extLst>
          </p:cNvPr>
          <p:cNvSpPr>
            <a:spLocks noGrp="1"/>
          </p:cNvSpPr>
          <p:nvPr>
            <p:ph type="body" sz="quarter" idx="14"/>
          </p:nvPr>
        </p:nvSpPr>
        <p:spPr/>
        <p:txBody>
          <a:bodyPr/>
          <a:lstStyle/>
          <a:p>
            <a:endParaRPr lang="en-US"/>
          </a:p>
        </p:txBody>
      </p:sp>
      <p:sp>
        <p:nvSpPr>
          <p:cNvPr id="27" name="Text Placeholder 26">
            <a:extLst>
              <a:ext uri="{FF2B5EF4-FFF2-40B4-BE49-F238E27FC236}">
                <a16:creationId xmlns:a16="http://schemas.microsoft.com/office/drawing/2014/main" id="{BE3BE5B1-4FCF-AB41-A9EB-70EB9A9BB79A}"/>
              </a:ext>
            </a:extLst>
          </p:cNvPr>
          <p:cNvSpPr>
            <a:spLocks noGrp="1"/>
          </p:cNvSpPr>
          <p:nvPr>
            <p:ph type="body" sz="quarter" idx="20"/>
          </p:nvPr>
        </p:nvSpPr>
        <p:spPr/>
        <p:txBody>
          <a:bodyPr/>
          <a:lstStyle/>
          <a:p>
            <a:endParaRPr lang="en-US"/>
          </a:p>
        </p:txBody>
      </p:sp>
      <p:sp>
        <p:nvSpPr>
          <p:cNvPr id="28" name="Text Placeholder 27">
            <a:extLst>
              <a:ext uri="{FF2B5EF4-FFF2-40B4-BE49-F238E27FC236}">
                <a16:creationId xmlns:a16="http://schemas.microsoft.com/office/drawing/2014/main" id="{394DFCA8-0089-2843-9F3C-D2D77AE11597}"/>
              </a:ext>
            </a:extLst>
          </p:cNvPr>
          <p:cNvSpPr>
            <a:spLocks noGrp="1"/>
          </p:cNvSpPr>
          <p:nvPr>
            <p:ph type="body" sz="quarter" idx="26"/>
          </p:nvPr>
        </p:nvSpPr>
        <p:spPr/>
        <p:txBody>
          <a:bodyPr/>
          <a:lstStyle/>
          <a:p>
            <a:endParaRPr lang="en-US"/>
          </a:p>
        </p:txBody>
      </p:sp>
      <p:sp>
        <p:nvSpPr>
          <p:cNvPr id="29" name="Text Placeholder 28">
            <a:extLst>
              <a:ext uri="{FF2B5EF4-FFF2-40B4-BE49-F238E27FC236}">
                <a16:creationId xmlns:a16="http://schemas.microsoft.com/office/drawing/2014/main" id="{A8885F06-280B-0B4D-A495-63296B36199C}"/>
              </a:ext>
            </a:extLst>
          </p:cNvPr>
          <p:cNvSpPr>
            <a:spLocks noGrp="1"/>
          </p:cNvSpPr>
          <p:nvPr>
            <p:ph type="body" sz="quarter" idx="32"/>
          </p:nvPr>
        </p:nvSpPr>
        <p:spPr/>
        <p:txBody>
          <a:bodyPr/>
          <a:lstStyle/>
          <a:p>
            <a:endParaRPr lang="en-US"/>
          </a:p>
        </p:txBody>
      </p:sp>
      <p:sp>
        <p:nvSpPr>
          <p:cNvPr id="30" name="Text Placeholder 29">
            <a:extLst>
              <a:ext uri="{FF2B5EF4-FFF2-40B4-BE49-F238E27FC236}">
                <a16:creationId xmlns:a16="http://schemas.microsoft.com/office/drawing/2014/main" id="{03B7EF09-E4EC-AD49-A908-5FA2098F7D6D}"/>
              </a:ext>
            </a:extLst>
          </p:cNvPr>
          <p:cNvSpPr>
            <a:spLocks noGrp="1"/>
          </p:cNvSpPr>
          <p:nvPr>
            <p:ph type="body" sz="quarter" idx="38"/>
          </p:nvPr>
        </p:nvSpPr>
        <p:spPr/>
        <p:txBody>
          <a:bodyPr/>
          <a:lstStyle/>
          <a:p>
            <a:endParaRPr lang="en-US"/>
          </a:p>
        </p:txBody>
      </p:sp>
      <p:sp>
        <p:nvSpPr>
          <p:cNvPr id="31" name="Text Placeholder 30">
            <a:extLst>
              <a:ext uri="{FF2B5EF4-FFF2-40B4-BE49-F238E27FC236}">
                <a16:creationId xmlns:a16="http://schemas.microsoft.com/office/drawing/2014/main" id="{24F370B7-0502-7B4F-B59B-BF677E40F6EB}"/>
              </a:ext>
            </a:extLst>
          </p:cNvPr>
          <p:cNvSpPr>
            <a:spLocks noGrp="1"/>
          </p:cNvSpPr>
          <p:nvPr>
            <p:ph type="body" sz="quarter" idx="44"/>
          </p:nvPr>
        </p:nvSpPr>
        <p:spPr/>
        <p:txBody>
          <a:bodyPr/>
          <a:lstStyle/>
          <a:p>
            <a:endParaRPr lang="en-US"/>
          </a:p>
        </p:txBody>
      </p:sp>
      <p:sp>
        <p:nvSpPr>
          <p:cNvPr id="32" name="Text Placeholder 31">
            <a:extLst>
              <a:ext uri="{FF2B5EF4-FFF2-40B4-BE49-F238E27FC236}">
                <a16:creationId xmlns:a16="http://schemas.microsoft.com/office/drawing/2014/main" id="{31A5EC87-30D4-E640-A39F-592D3B06202F}"/>
              </a:ext>
            </a:extLst>
          </p:cNvPr>
          <p:cNvSpPr>
            <a:spLocks noGrp="1"/>
          </p:cNvSpPr>
          <p:nvPr>
            <p:ph type="body" sz="quarter" idx="15"/>
          </p:nvPr>
        </p:nvSpPr>
        <p:spPr/>
        <p:txBody>
          <a:bodyPr/>
          <a:lstStyle/>
          <a:p>
            <a:endParaRPr lang="en-US"/>
          </a:p>
        </p:txBody>
      </p:sp>
      <p:sp>
        <p:nvSpPr>
          <p:cNvPr id="33" name="Text Placeholder 32">
            <a:extLst>
              <a:ext uri="{FF2B5EF4-FFF2-40B4-BE49-F238E27FC236}">
                <a16:creationId xmlns:a16="http://schemas.microsoft.com/office/drawing/2014/main" id="{4321B5DA-E88E-284C-AEA9-A278C63AC228}"/>
              </a:ext>
            </a:extLst>
          </p:cNvPr>
          <p:cNvSpPr>
            <a:spLocks noGrp="1"/>
          </p:cNvSpPr>
          <p:nvPr>
            <p:ph type="body" sz="quarter" idx="21"/>
          </p:nvPr>
        </p:nvSpPr>
        <p:spPr/>
        <p:txBody>
          <a:bodyPr/>
          <a:lstStyle/>
          <a:p>
            <a:endParaRPr lang="en-US"/>
          </a:p>
        </p:txBody>
      </p:sp>
      <p:sp>
        <p:nvSpPr>
          <p:cNvPr id="34" name="Text Placeholder 33">
            <a:extLst>
              <a:ext uri="{FF2B5EF4-FFF2-40B4-BE49-F238E27FC236}">
                <a16:creationId xmlns:a16="http://schemas.microsoft.com/office/drawing/2014/main" id="{B2BEA86A-DFC5-D348-81FD-91E90208E972}"/>
              </a:ext>
            </a:extLst>
          </p:cNvPr>
          <p:cNvSpPr>
            <a:spLocks noGrp="1"/>
          </p:cNvSpPr>
          <p:nvPr>
            <p:ph type="body" sz="quarter" idx="27"/>
          </p:nvPr>
        </p:nvSpPr>
        <p:spPr/>
        <p:txBody>
          <a:bodyPr/>
          <a:lstStyle/>
          <a:p>
            <a:endParaRPr lang="en-US"/>
          </a:p>
        </p:txBody>
      </p:sp>
      <p:sp>
        <p:nvSpPr>
          <p:cNvPr id="35" name="Text Placeholder 34">
            <a:extLst>
              <a:ext uri="{FF2B5EF4-FFF2-40B4-BE49-F238E27FC236}">
                <a16:creationId xmlns:a16="http://schemas.microsoft.com/office/drawing/2014/main" id="{0602051B-AA4F-F44C-A1BC-FB3F03C5C7D3}"/>
              </a:ext>
            </a:extLst>
          </p:cNvPr>
          <p:cNvSpPr>
            <a:spLocks noGrp="1"/>
          </p:cNvSpPr>
          <p:nvPr>
            <p:ph type="body" sz="quarter" idx="33"/>
          </p:nvPr>
        </p:nvSpPr>
        <p:spPr/>
        <p:txBody>
          <a:bodyPr/>
          <a:lstStyle/>
          <a:p>
            <a:endParaRPr lang="en-US"/>
          </a:p>
        </p:txBody>
      </p:sp>
      <p:sp>
        <p:nvSpPr>
          <p:cNvPr id="36" name="Text Placeholder 35">
            <a:extLst>
              <a:ext uri="{FF2B5EF4-FFF2-40B4-BE49-F238E27FC236}">
                <a16:creationId xmlns:a16="http://schemas.microsoft.com/office/drawing/2014/main" id="{37D77DAD-9AC6-AA43-87C5-D91D60638BB9}"/>
              </a:ext>
            </a:extLst>
          </p:cNvPr>
          <p:cNvSpPr>
            <a:spLocks noGrp="1"/>
          </p:cNvSpPr>
          <p:nvPr>
            <p:ph type="body" sz="quarter" idx="39"/>
          </p:nvPr>
        </p:nvSpPr>
        <p:spPr/>
        <p:txBody>
          <a:bodyPr/>
          <a:lstStyle/>
          <a:p>
            <a:endParaRPr lang="en-US"/>
          </a:p>
        </p:txBody>
      </p:sp>
      <p:sp>
        <p:nvSpPr>
          <p:cNvPr id="37" name="Text Placeholder 36">
            <a:extLst>
              <a:ext uri="{FF2B5EF4-FFF2-40B4-BE49-F238E27FC236}">
                <a16:creationId xmlns:a16="http://schemas.microsoft.com/office/drawing/2014/main" id="{0FC8AE26-5691-FD4B-A8AE-361A414E8ED0}"/>
              </a:ext>
            </a:extLst>
          </p:cNvPr>
          <p:cNvSpPr>
            <a:spLocks noGrp="1"/>
          </p:cNvSpPr>
          <p:nvPr>
            <p:ph type="body" sz="quarter" idx="45"/>
          </p:nvPr>
        </p:nvSpPr>
        <p:spPr/>
        <p:txBody>
          <a:bodyPr/>
          <a:lstStyle/>
          <a:p>
            <a:endParaRPr lang="en-US"/>
          </a:p>
        </p:txBody>
      </p:sp>
    </p:spTree>
    <p:extLst>
      <p:ext uri="{BB962C8B-B14F-4D97-AF65-F5344CB8AC3E}">
        <p14:creationId xmlns:p14="http://schemas.microsoft.com/office/powerpoint/2010/main" val="392460597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BEEC1F-3742-9448-A753-98F502889449}"/>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667F685D-403E-7E4A-846D-BA8AD2048B82}"/>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E29040D3-9E7D-E548-9060-1E6C3AF0B997}"/>
              </a:ext>
            </a:extLst>
          </p:cNvPr>
          <p:cNvSpPr>
            <a:spLocks noGrp="1"/>
          </p:cNvSpPr>
          <p:nvPr>
            <p:ph type="body" sz="quarter" idx="23"/>
          </p:nvPr>
        </p:nvSpPr>
        <p:spPr/>
        <p:txBody>
          <a:bodyPr/>
          <a:lstStyle/>
          <a:p>
            <a:endParaRPr lang="en-US"/>
          </a:p>
        </p:txBody>
      </p:sp>
      <p:sp>
        <p:nvSpPr>
          <p:cNvPr id="5" name="Text Placeholder 4">
            <a:extLst>
              <a:ext uri="{FF2B5EF4-FFF2-40B4-BE49-F238E27FC236}">
                <a16:creationId xmlns:a16="http://schemas.microsoft.com/office/drawing/2014/main" id="{C17B3BD6-EF57-7F42-986D-698B444E75E1}"/>
              </a:ext>
            </a:extLst>
          </p:cNvPr>
          <p:cNvSpPr>
            <a:spLocks noGrp="1"/>
          </p:cNvSpPr>
          <p:nvPr>
            <p:ph type="body" sz="quarter" idx="29"/>
          </p:nvPr>
        </p:nvSpPr>
        <p:spPr/>
        <p:txBody>
          <a:bodyPr/>
          <a:lstStyle/>
          <a:p>
            <a:endParaRPr lang="en-US"/>
          </a:p>
        </p:txBody>
      </p:sp>
      <p:sp>
        <p:nvSpPr>
          <p:cNvPr id="6" name="Text Placeholder 5">
            <a:extLst>
              <a:ext uri="{FF2B5EF4-FFF2-40B4-BE49-F238E27FC236}">
                <a16:creationId xmlns:a16="http://schemas.microsoft.com/office/drawing/2014/main" id="{72369117-4CF1-AC4A-ABF0-6E7FE99A7CA4}"/>
              </a:ext>
            </a:extLst>
          </p:cNvPr>
          <p:cNvSpPr>
            <a:spLocks noGrp="1"/>
          </p:cNvSpPr>
          <p:nvPr>
            <p:ph type="body" sz="quarter" idx="35"/>
          </p:nvPr>
        </p:nvSpPr>
        <p:spPr/>
        <p:txBody>
          <a:bodyPr/>
          <a:lstStyle/>
          <a:p>
            <a:endParaRPr lang="en-US"/>
          </a:p>
        </p:txBody>
      </p:sp>
      <p:sp>
        <p:nvSpPr>
          <p:cNvPr id="7" name="Text Placeholder 6">
            <a:extLst>
              <a:ext uri="{FF2B5EF4-FFF2-40B4-BE49-F238E27FC236}">
                <a16:creationId xmlns:a16="http://schemas.microsoft.com/office/drawing/2014/main" id="{928A89B4-B4D7-7B40-8984-AB0D11DAA166}"/>
              </a:ext>
            </a:extLst>
          </p:cNvPr>
          <p:cNvSpPr>
            <a:spLocks noGrp="1"/>
          </p:cNvSpPr>
          <p:nvPr>
            <p:ph type="body" sz="quarter" idx="41"/>
          </p:nvPr>
        </p:nvSpPr>
        <p:spPr/>
        <p:txBody>
          <a:bodyPr/>
          <a:lstStyle/>
          <a:p>
            <a:endParaRPr lang="en-US"/>
          </a:p>
        </p:txBody>
      </p:sp>
      <p:sp>
        <p:nvSpPr>
          <p:cNvPr id="8" name="Text Placeholder 7">
            <a:extLst>
              <a:ext uri="{FF2B5EF4-FFF2-40B4-BE49-F238E27FC236}">
                <a16:creationId xmlns:a16="http://schemas.microsoft.com/office/drawing/2014/main" id="{70260894-9543-EB40-B874-2C9D0AA4AFB4}"/>
              </a:ext>
            </a:extLst>
          </p:cNvPr>
          <p:cNvSpPr>
            <a:spLocks noGrp="1"/>
          </p:cNvSpPr>
          <p:nvPr>
            <p:ph type="body" sz="quarter" idx="10"/>
          </p:nvPr>
        </p:nvSpPr>
        <p:spPr/>
        <p:txBody>
          <a:bodyPr/>
          <a:lstStyle/>
          <a:p>
            <a:endParaRPr lang="en-US"/>
          </a:p>
        </p:txBody>
      </p:sp>
      <p:sp>
        <p:nvSpPr>
          <p:cNvPr id="9" name="Text Placeholder 8">
            <a:extLst>
              <a:ext uri="{FF2B5EF4-FFF2-40B4-BE49-F238E27FC236}">
                <a16:creationId xmlns:a16="http://schemas.microsoft.com/office/drawing/2014/main" id="{75FFD992-C887-E349-AD36-E2347360B298}"/>
              </a:ext>
            </a:extLst>
          </p:cNvPr>
          <p:cNvSpPr>
            <a:spLocks noGrp="1"/>
          </p:cNvSpPr>
          <p:nvPr>
            <p:ph type="body" sz="quarter" idx="16"/>
          </p:nvPr>
        </p:nvSpPr>
        <p:spPr/>
        <p:txBody>
          <a:bodyPr/>
          <a:lstStyle/>
          <a:p>
            <a:endParaRPr lang="en-US"/>
          </a:p>
        </p:txBody>
      </p:sp>
      <p:sp>
        <p:nvSpPr>
          <p:cNvPr id="10" name="Text Placeholder 9">
            <a:extLst>
              <a:ext uri="{FF2B5EF4-FFF2-40B4-BE49-F238E27FC236}">
                <a16:creationId xmlns:a16="http://schemas.microsoft.com/office/drawing/2014/main" id="{8009130A-6AD0-3D49-BAC1-636F15352978}"/>
              </a:ext>
            </a:extLst>
          </p:cNvPr>
          <p:cNvSpPr>
            <a:spLocks noGrp="1"/>
          </p:cNvSpPr>
          <p:nvPr>
            <p:ph type="body" sz="quarter" idx="22"/>
          </p:nvPr>
        </p:nvSpPr>
        <p:spPr/>
        <p:txBody>
          <a:bodyPr/>
          <a:lstStyle/>
          <a:p>
            <a:endParaRPr lang="en-US"/>
          </a:p>
        </p:txBody>
      </p:sp>
      <p:sp>
        <p:nvSpPr>
          <p:cNvPr id="11" name="Text Placeholder 10">
            <a:extLst>
              <a:ext uri="{FF2B5EF4-FFF2-40B4-BE49-F238E27FC236}">
                <a16:creationId xmlns:a16="http://schemas.microsoft.com/office/drawing/2014/main" id="{B73888DF-01A3-E741-BF59-4644402A3F19}"/>
              </a:ext>
            </a:extLst>
          </p:cNvPr>
          <p:cNvSpPr>
            <a:spLocks noGrp="1"/>
          </p:cNvSpPr>
          <p:nvPr>
            <p:ph type="body" sz="quarter" idx="28"/>
          </p:nvPr>
        </p:nvSpPr>
        <p:spPr/>
        <p:txBody>
          <a:bodyPr/>
          <a:lstStyle/>
          <a:p>
            <a:endParaRPr lang="en-US"/>
          </a:p>
        </p:txBody>
      </p:sp>
      <p:sp>
        <p:nvSpPr>
          <p:cNvPr id="12" name="Text Placeholder 11">
            <a:extLst>
              <a:ext uri="{FF2B5EF4-FFF2-40B4-BE49-F238E27FC236}">
                <a16:creationId xmlns:a16="http://schemas.microsoft.com/office/drawing/2014/main" id="{78CCF768-75F2-3045-92E5-43067C6DC06B}"/>
              </a:ext>
            </a:extLst>
          </p:cNvPr>
          <p:cNvSpPr>
            <a:spLocks noGrp="1"/>
          </p:cNvSpPr>
          <p:nvPr>
            <p:ph type="body" sz="quarter" idx="34"/>
          </p:nvPr>
        </p:nvSpPr>
        <p:spPr/>
        <p:txBody>
          <a:bodyPr/>
          <a:lstStyle/>
          <a:p>
            <a:endParaRPr lang="en-US"/>
          </a:p>
        </p:txBody>
      </p:sp>
      <p:sp>
        <p:nvSpPr>
          <p:cNvPr id="13" name="Text Placeholder 12">
            <a:extLst>
              <a:ext uri="{FF2B5EF4-FFF2-40B4-BE49-F238E27FC236}">
                <a16:creationId xmlns:a16="http://schemas.microsoft.com/office/drawing/2014/main" id="{7C93980D-C7F9-5D46-B249-05B6DEA74174}"/>
              </a:ext>
            </a:extLst>
          </p:cNvPr>
          <p:cNvSpPr>
            <a:spLocks noGrp="1"/>
          </p:cNvSpPr>
          <p:nvPr>
            <p:ph type="body" sz="quarter" idx="40"/>
          </p:nvPr>
        </p:nvSpPr>
        <p:spPr/>
        <p:txBody>
          <a:bodyPr/>
          <a:lstStyle/>
          <a:p>
            <a:endParaRPr lang="en-US"/>
          </a:p>
        </p:txBody>
      </p:sp>
      <p:sp>
        <p:nvSpPr>
          <p:cNvPr id="14" name="Text Placeholder 13">
            <a:extLst>
              <a:ext uri="{FF2B5EF4-FFF2-40B4-BE49-F238E27FC236}">
                <a16:creationId xmlns:a16="http://schemas.microsoft.com/office/drawing/2014/main" id="{529D3FC6-7A7C-3E44-8063-F54B47BB343E}"/>
              </a:ext>
            </a:extLst>
          </p:cNvPr>
          <p:cNvSpPr>
            <a:spLocks noGrp="1"/>
          </p:cNvSpPr>
          <p:nvPr>
            <p:ph type="body" sz="quarter" idx="12"/>
          </p:nvPr>
        </p:nvSpPr>
        <p:spPr/>
        <p:txBody>
          <a:bodyPr/>
          <a:lstStyle/>
          <a:p>
            <a:endParaRPr lang="en-US"/>
          </a:p>
        </p:txBody>
      </p:sp>
      <p:sp>
        <p:nvSpPr>
          <p:cNvPr id="15" name="Text Placeholder 14">
            <a:extLst>
              <a:ext uri="{FF2B5EF4-FFF2-40B4-BE49-F238E27FC236}">
                <a16:creationId xmlns:a16="http://schemas.microsoft.com/office/drawing/2014/main" id="{0DE20D1D-3E44-DD40-A4CF-54B1055E408D}"/>
              </a:ext>
            </a:extLst>
          </p:cNvPr>
          <p:cNvSpPr>
            <a:spLocks noGrp="1"/>
          </p:cNvSpPr>
          <p:nvPr>
            <p:ph type="body" sz="quarter" idx="18"/>
          </p:nvPr>
        </p:nvSpPr>
        <p:spPr/>
        <p:txBody>
          <a:bodyPr/>
          <a:lstStyle/>
          <a:p>
            <a:endParaRPr lang="en-US"/>
          </a:p>
        </p:txBody>
      </p:sp>
      <p:sp>
        <p:nvSpPr>
          <p:cNvPr id="16" name="Text Placeholder 15">
            <a:extLst>
              <a:ext uri="{FF2B5EF4-FFF2-40B4-BE49-F238E27FC236}">
                <a16:creationId xmlns:a16="http://schemas.microsoft.com/office/drawing/2014/main" id="{1054CE28-E2F8-7D40-9853-21C8EACCB41C}"/>
              </a:ext>
            </a:extLst>
          </p:cNvPr>
          <p:cNvSpPr>
            <a:spLocks noGrp="1"/>
          </p:cNvSpPr>
          <p:nvPr>
            <p:ph type="body" sz="quarter" idx="24"/>
          </p:nvPr>
        </p:nvSpPr>
        <p:spPr/>
        <p:txBody>
          <a:bodyPr/>
          <a:lstStyle/>
          <a:p>
            <a:endParaRPr lang="en-US"/>
          </a:p>
        </p:txBody>
      </p:sp>
      <p:sp>
        <p:nvSpPr>
          <p:cNvPr id="17" name="Text Placeholder 16">
            <a:extLst>
              <a:ext uri="{FF2B5EF4-FFF2-40B4-BE49-F238E27FC236}">
                <a16:creationId xmlns:a16="http://schemas.microsoft.com/office/drawing/2014/main" id="{FF6A034B-0BAC-4342-9061-3C3F7DC95A6A}"/>
              </a:ext>
            </a:extLst>
          </p:cNvPr>
          <p:cNvSpPr>
            <a:spLocks noGrp="1"/>
          </p:cNvSpPr>
          <p:nvPr>
            <p:ph type="body" sz="quarter" idx="30"/>
          </p:nvPr>
        </p:nvSpPr>
        <p:spPr/>
        <p:txBody>
          <a:bodyPr/>
          <a:lstStyle/>
          <a:p>
            <a:endParaRPr lang="en-US"/>
          </a:p>
        </p:txBody>
      </p:sp>
      <p:sp>
        <p:nvSpPr>
          <p:cNvPr id="18" name="Text Placeholder 17">
            <a:extLst>
              <a:ext uri="{FF2B5EF4-FFF2-40B4-BE49-F238E27FC236}">
                <a16:creationId xmlns:a16="http://schemas.microsoft.com/office/drawing/2014/main" id="{3102C88E-0825-4041-808C-D62E79C4AE9D}"/>
              </a:ext>
            </a:extLst>
          </p:cNvPr>
          <p:cNvSpPr>
            <a:spLocks noGrp="1"/>
          </p:cNvSpPr>
          <p:nvPr>
            <p:ph type="body" sz="quarter" idx="36"/>
          </p:nvPr>
        </p:nvSpPr>
        <p:spPr/>
        <p:txBody>
          <a:bodyPr/>
          <a:lstStyle/>
          <a:p>
            <a:endParaRPr lang="en-US"/>
          </a:p>
        </p:txBody>
      </p:sp>
      <p:sp>
        <p:nvSpPr>
          <p:cNvPr id="19" name="Text Placeholder 18">
            <a:extLst>
              <a:ext uri="{FF2B5EF4-FFF2-40B4-BE49-F238E27FC236}">
                <a16:creationId xmlns:a16="http://schemas.microsoft.com/office/drawing/2014/main" id="{FFB0CC3D-F47A-B549-9E23-A86327591A57}"/>
              </a:ext>
            </a:extLst>
          </p:cNvPr>
          <p:cNvSpPr>
            <a:spLocks noGrp="1"/>
          </p:cNvSpPr>
          <p:nvPr>
            <p:ph type="body" sz="quarter" idx="42"/>
          </p:nvPr>
        </p:nvSpPr>
        <p:spPr/>
        <p:txBody>
          <a:bodyPr/>
          <a:lstStyle/>
          <a:p>
            <a:endParaRPr lang="en-US"/>
          </a:p>
        </p:txBody>
      </p:sp>
      <p:sp>
        <p:nvSpPr>
          <p:cNvPr id="20" name="Text Placeholder 19">
            <a:extLst>
              <a:ext uri="{FF2B5EF4-FFF2-40B4-BE49-F238E27FC236}">
                <a16:creationId xmlns:a16="http://schemas.microsoft.com/office/drawing/2014/main" id="{32047A80-DC68-9545-AF26-1519892165D2}"/>
              </a:ext>
            </a:extLst>
          </p:cNvPr>
          <p:cNvSpPr>
            <a:spLocks noGrp="1"/>
          </p:cNvSpPr>
          <p:nvPr>
            <p:ph type="body" sz="quarter" idx="13"/>
          </p:nvPr>
        </p:nvSpPr>
        <p:spPr/>
        <p:txBody>
          <a:bodyPr/>
          <a:lstStyle/>
          <a:p>
            <a:endParaRPr lang="en-US"/>
          </a:p>
        </p:txBody>
      </p:sp>
      <p:sp>
        <p:nvSpPr>
          <p:cNvPr id="21" name="Text Placeholder 20">
            <a:extLst>
              <a:ext uri="{FF2B5EF4-FFF2-40B4-BE49-F238E27FC236}">
                <a16:creationId xmlns:a16="http://schemas.microsoft.com/office/drawing/2014/main" id="{A7A29482-756F-5B4B-97D8-AF9D49121F25}"/>
              </a:ext>
            </a:extLst>
          </p:cNvPr>
          <p:cNvSpPr>
            <a:spLocks noGrp="1"/>
          </p:cNvSpPr>
          <p:nvPr>
            <p:ph type="body" sz="quarter" idx="19"/>
          </p:nvPr>
        </p:nvSpPr>
        <p:spPr/>
        <p:txBody>
          <a:bodyPr/>
          <a:lstStyle/>
          <a:p>
            <a:endParaRPr lang="en-US"/>
          </a:p>
        </p:txBody>
      </p:sp>
      <p:sp>
        <p:nvSpPr>
          <p:cNvPr id="22" name="Text Placeholder 21">
            <a:extLst>
              <a:ext uri="{FF2B5EF4-FFF2-40B4-BE49-F238E27FC236}">
                <a16:creationId xmlns:a16="http://schemas.microsoft.com/office/drawing/2014/main" id="{AA93F8BB-3362-2B4F-B8F9-B20695B9D90C}"/>
              </a:ext>
            </a:extLst>
          </p:cNvPr>
          <p:cNvSpPr>
            <a:spLocks noGrp="1"/>
          </p:cNvSpPr>
          <p:nvPr>
            <p:ph type="body" sz="quarter" idx="25"/>
          </p:nvPr>
        </p:nvSpPr>
        <p:spPr/>
        <p:txBody>
          <a:bodyPr/>
          <a:lstStyle/>
          <a:p>
            <a:endParaRPr lang="en-US"/>
          </a:p>
        </p:txBody>
      </p:sp>
      <p:sp>
        <p:nvSpPr>
          <p:cNvPr id="23" name="Text Placeholder 22">
            <a:extLst>
              <a:ext uri="{FF2B5EF4-FFF2-40B4-BE49-F238E27FC236}">
                <a16:creationId xmlns:a16="http://schemas.microsoft.com/office/drawing/2014/main" id="{34C5A756-DF80-3D44-A746-FD63AD7BB5B4}"/>
              </a:ext>
            </a:extLst>
          </p:cNvPr>
          <p:cNvSpPr>
            <a:spLocks noGrp="1"/>
          </p:cNvSpPr>
          <p:nvPr>
            <p:ph type="body" sz="quarter" idx="31"/>
          </p:nvPr>
        </p:nvSpPr>
        <p:spPr/>
        <p:txBody>
          <a:bodyPr/>
          <a:lstStyle/>
          <a:p>
            <a:endParaRPr lang="en-US"/>
          </a:p>
        </p:txBody>
      </p:sp>
      <p:sp>
        <p:nvSpPr>
          <p:cNvPr id="24" name="Text Placeholder 23">
            <a:extLst>
              <a:ext uri="{FF2B5EF4-FFF2-40B4-BE49-F238E27FC236}">
                <a16:creationId xmlns:a16="http://schemas.microsoft.com/office/drawing/2014/main" id="{A4D351ED-94CA-9646-A963-E42399943282}"/>
              </a:ext>
            </a:extLst>
          </p:cNvPr>
          <p:cNvSpPr>
            <a:spLocks noGrp="1"/>
          </p:cNvSpPr>
          <p:nvPr>
            <p:ph type="body" sz="quarter" idx="37"/>
          </p:nvPr>
        </p:nvSpPr>
        <p:spPr/>
        <p:txBody>
          <a:bodyPr/>
          <a:lstStyle/>
          <a:p>
            <a:endParaRPr lang="en-US"/>
          </a:p>
        </p:txBody>
      </p:sp>
      <p:sp>
        <p:nvSpPr>
          <p:cNvPr id="25" name="Text Placeholder 24">
            <a:extLst>
              <a:ext uri="{FF2B5EF4-FFF2-40B4-BE49-F238E27FC236}">
                <a16:creationId xmlns:a16="http://schemas.microsoft.com/office/drawing/2014/main" id="{7A5005F8-B347-FA4B-A346-78E620A2DA22}"/>
              </a:ext>
            </a:extLst>
          </p:cNvPr>
          <p:cNvSpPr>
            <a:spLocks noGrp="1"/>
          </p:cNvSpPr>
          <p:nvPr>
            <p:ph type="body" sz="quarter" idx="43"/>
          </p:nvPr>
        </p:nvSpPr>
        <p:spPr/>
        <p:txBody>
          <a:bodyPr/>
          <a:lstStyle/>
          <a:p>
            <a:endParaRPr lang="en-US"/>
          </a:p>
        </p:txBody>
      </p:sp>
      <p:sp>
        <p:nvSpPr>
          <p:cNvPr id="26" name="Text Placeholder 25">
            <a:extLst>
              <a:ext uri="{FF2B5EF4-FFF2-40B4-BE49-F238E27FC236}">
                <a16:creationId xmlns:a16="http://schemas.microsoft.com/office/drawing/2014/main" id="{BE46F7D9-1DDB-1948-B07B-59EFAFFAE990}"/>
              </a:ext>
            </a:extLst>
          </p:cNvPr>
          <p:cNvSpPr>
            <a:spLocks noGrp="1"/>
          </p:cNvSpPr>
          <p:nvPr>
            <p:ph type="body" sz="quarter" idx="14"/>
          </p:nvPr>
        </p:nvSpPr>
        <p:spPr/>
        <p:txBody>
          <a:bodyPr/>
          <a:lstStyle/>
          <a:p>
            <a:endParaRPr lang="en-US"/>
          </a:p>
        </p:txBody>
      </p:sp>
      <p:sp>
        <p:nvSpPr>
          <p:cNvPr id="27" name="Text Placeholder 26">
            <a:extLst>
              <a:ext uri="{FF2B5EF4-FFF2-40B4-BE49-F238E27FC236}">
                <a16:creationId xmlns:a16="http://schemas.microsoft.com/office/drawing/2014/main" id="{A8E552AC-6E8C-F243-9FCD-491E3A42F38A}"/>
              </a:ext>
            </a:extLst>
          </p:cNvPr>
          <p:cNvSpPr>
            <a:spLocks noGrp="1"/>
          </p:cNvSpPr>
          <p:nvPr>
            <p:ph type="body" sz="quarter" idx="20"/>
          </p:nvPr>
        </p:nvSpPr>
        <p:spPr/>
        <p:txBody>
          <a:bodyPr/>
          <a:lstStyle/>
          <a:p>
            <a:endParaRPr lang="en-US"/>
          </a:p>
        </p:txBody>
      </p:sp>
      <p:sp>
        <p:nvSpPr>
          <p:cNvPr id="28" name="Text Placeholder 27">
            <a:extLst>
              <a:ext uri="{FF2B5EF4-FFF2-40B4-BE49-F238E27FC236}">
                <a16:creationId xmlns:a16="http://schemas.microsoft.com/office/drawing/2014/main" id="{0EB35272-D835-FD42-ADD7-458B8F51EC80}"/>
              </a:ext>
            </a:extLst>
          </p:cNvPr>
          <p:cNvSpPr>
            <a:spLocks noGrp="1"/>
          </p:cNvSpPr>
          <p:nvPr>
            <p:ph type="body" sz="quarter" idx="26"/>
          </p:nvPr>
        </p:nvSpPr>
        <p:spPr/>
        <p:txBody>
          <a:bodyPr/>
          <a:lstStyle/>
          <a:p>
            <a:endParaRPr lang="en-US"/>
          </a:p>
        </p:txBody>
      </p:sp>
      <p:sp>
        <p:nvSpPr>
          <p:cNvPr id="29" name="Text Placeholder 28">
            <a:extLst>
              <a:ext uri="{FF2B5EF4-FFF2-40B4-BE49-F238E27FC236}">
                <a16:creationId xmlns:a16="http://schemas.microsoft.com/office/drawing/2014/main" id="{E6895BEA-9F94-DC4D-9483-2FD1C6CA9BBA}"/>
              </a:ext>
            </a:extLst>
          </p:cNvPr>
          <p:cNvSpPr>
            <a:spLocks noGrp="1"/>
          </p:cNvSpPr>
          <p:nvPr>
            <p:ph type="body" sz="quarter" idx="32"/>
          </p:nvPr>
        </p:nvSpPr>
        <p:spPr/>
        <p:txBody>
          <a:bodyPr/>
          <a:lstStyle/>
          <a:p>
            <a:endParaRPr lang="en-US"/>
          </a:p>
        </p:txBody>
      </p:sp>
      <p:sp>
        <p:nvSpPr>
          <p:cNvPr id="30" name="Text Placeholder 29">
            <a:extLst>
              <a:ext uri="{FF2B5EF4-FFF2-40B4-BE49-F238E27FC236}">
                <a16:creationId xmlns:a16="http://schemas.microsoft.com/office/drawing/2014/main" id="{13BEC3B6-0218-634A-890B-55974C559241}"/>
              </a:ext>
            </a:extLst>
          </p:cNvPr>
          <p:cNvSpPr>
            <a:spLocks noGrp="1"/>
          </p:cNvSpPr>
          <p:nvPr>
            <p:ph type="body" sz="quarter" idx="38"/>
          </p:nvPr>
        </p:nvSpPr>
        <p:spPr/>
        <p:txBody>
          <a:bodyPr/>
          <a:lstStyle/>
          <a:p>
            <a:endParaRPr lang="en-US"/>
          </a:p>
        </p:txBody>
      </p:sp>
      <p:sp>
        <p:nvSpPr>
          <p:cNvPr id="31" name="Text Placeholder 30">
            <a:extLst>
              <a:ext uri="{FF2B5EF4-FFF2-40B4-BE49-F238E27FC236}">
                <a16:creationId xmlns:a16="http://schemas.microsoft.com/office/drawing/2014/main" id="{3905A64E-E03B-9647-B35F-D4E6A17954CE}"/>
              </a:ext>
            </a:extLst>
          </p:cNvPr>
          <p:cNvSpPr>
            <a:spLocks noGrp="1"/>
          </p:cNvSpPr>
          <p:nvPr>
            <p:ph type="body" sz="quarter" idx="44"/>
          </p:nvPr>
        </p:nvSpPr>
        <p:spPr/>
        <p:txBody>
          <a:bodyPr/>
          <a:lstStyle/>
          <a:p>
            <a:endParaRPr lang="en-US"/>
          </a:p>
        </p:txBody>
      </p:sp>
      <p:sp>
        <p:nvSpPr>
          <p:cNvPr id="32" name="Text Placeholder 31">
            <a:extLst>
              <a:ext uri="{FF2B5EF4-FFF2-40B4-BE49-F238E27FC236}">
                <a16:creationId xmlns:a16="http://schemas.microsoft.com/office/drawing/2014/main" id="{54B4BB26-7B25-A043-BA2D-7A537694FF59}"/>
              </a:ext>
            </a:extLst>
          </p:cNvPr>
          <p:cNvSpPr>
            <a:spLocks noGrp="1"/>
          </p:cNvSpPr>
          <p:nvPr>
            <p:ph type="body" sz="quarter" idx="15"/>
          </p:nvPr>
        </p:nvSpPr>
        <p:spPr/>
        <p:txBody>
          <a:bodyPr/>
          <a:lstStyle/>
          <a:p>
            <a:endParaRPr lang="en-US"/>
          </a:p>
        </p:txBody>
      </p:sp>
      <p:sp>
        <p:nvSpPr>
          <p:cNvPr id="33" name="Text Placeholder 32">
            <a:extLst>
              <a:ext uri="{FF2B5EF4-FFF2-40B4-BE49-F238E27FC236}">
                <a16:creationId xmlns:a16="http://schemas.microsoft.com/office/drawing/2014/main" id="{C5D0E067-4D09-D743-85CF-28E47568A11C}"/>
              </a:ext>
            </a:extLst>
          </p:cNvPr>
          <p:cNvSpPr>
            <a:spLocks noGrp="1"/>
          </p:cNvSpPr>
          <p:nvPr>
            <p:ph type="body" sz="quarter" idx="21"/>
          </p:nvPr>
        </p:nvSpPr>
        <p:spPr/>
        <p:txBody>
          <a:bodyPr/>
          <a:lstStyle/>
          <a:p>
            <a:endParaRPr lang="en-US"/>
          </a:p>
        </p:txBody>
      </p:sp>
      <p:sp>
        <p:nvSpPr>
          <p:cNvPr id="34" name="Text Placeholder 33">
            <a:extLst>
              <a:ext uri="{FF2B5EF4-FFF2-40B4-BE49-F238E27FC236}">
                <a16:creationId xmlns:a16="http://schemas.microsoft.com/office/drawing/2014/main" id="{A3373F55-9968-F741-AAB3-8916B3085179}"/>
              </a:ext>
            </a:extLst>
          </p:cNvPr>
          <p:cNvSpPr>
            <a:spLocks noGrp="1"/>
          </p:cNvSpPr>
          <p:nvPr>
            <p:ph type="body" sz="quarter" idx="27"/>
          </p:nvPr>
        </p:nvSpPr>
        <p:spPr/>
        <p:txBody>
          <a:bodyPr/>
          <a:lstStyle/>
          <a:p>
            <a:endParaRPr lang="en-US"/>
          </a:p>
        </p:txBody>
      </p:sp>
      <p:sp>
        <p:nvSpPr>
          <p:cNvPr id="35" name="Text Placeholder 34">
            <a:extLst>
              <a:ext uri="{FF2B5EF4-FFF2-40B4-BE49-F238E27FC236}">
                <a16:creationId xmlns:a16="http://schemas.microsoft.com/office/drawing/2014/main" id="{FB486EB9-DD5A-B24B-862E-13772D1D2ADA}"/>
              </a:ext>
            </a:extLst>
          </p:cNvPr>
          <p:cNvSpPr>
            <a:spLocks noGrp="1"/>
          </p:cNvSpPr>
          <p:nvPr>
            <p:ph type="body" sz="quarter" idx="33"/>
          </p:nvPr>
        </p:nvSpPr>
        <p:spPr/>
        <p:txBody>
          <a:bodyPr/>
          <a:lstStyle/>
          <a:p>
            <a:endParaRPr lang="en-US"/>
          </a:p>
        </p:txBody>
      </p:sp>
      <p:sp>
        <p:nvSpPr>
          <p:cNvPr id="36" name="Text Placeholder 35">
            <a:extLst>
              <a:ext uri="{FF2B5EF4-FFF2-40B4-BE49-F238E27FC236}">
                <a16:creationId xmlns:a16="http://schemas.microsoft.com/office/drawing/2014/main" id="{AA9985BA-8B17-0C49-A9B3-8FF4959D9D9E}"/>
              </a:ext>
            </a:extLst>
          </p:cNvPr>
          <p:cNvSpPr>
            <a:spLocks noGrp="1"/>
          </p:cNvSpPr>
          <p:nvPr>
            <p:ph type="body" sz="quarter" idx="39"/>
          </p:nvPr>
        </p:nvSpPr>
        <p:spPr/>
        <p:txBody>
          <a:bodyPr/>
          <a:lstStyle/>
          <a:p>
            <a:endParaRPr lang="en-US"/>
          </a:p>
        </p:txBody>
      </p:sp>
      <p:sp>
        <p:nvSpPr>
          <p:cNvPr id="37" name="Text Placeholder 36">
            <a:extLst>
              <a:ext uri="{FF2B5EF4-FFF2-40B4-BE49-F238E27FC236}">
                <a16:creationId xmlns:a16="http://schemas.microsoft.com/office/drawing/2014/main" id="{12BC5470-2534-B841-B9D2-EEC1354947AE}"/>
              </a:ext>
            </a:extLst>
          </p:cNvPr>
          <p:cNvSpPr>
            <a:spLocks noGrp="1"/>
          </p:cNvSpPr>
          <p:nvPr>
            <p:ph type="body" sz="quarter" idx="45"/>
          </p:nvPr>
        </p:nvSpPr>
        <p:spPr/>
        <p:txBody>
          <a:bodyPr/>
          <a:lstStyle/>
          <a:p>
            <a:endParaRPr lang="en-US"/>
          </a:p>
        </p:txBody>
      </p:sp>
    </p:spTree>
    <p:extLst>
      <p:ext uri="{BB962C8B-B14F-4D97-AF65-F5344CB8AC3E}">
        <p14:creationId xmlns:p14="http://schemas.microsoft.com/office/powerpoint/2010/main" val="101485104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9C98F9-AD87-B34C-80B3-4B3BA001E8A4}"/>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8F70A12E-29DF-3B4F-A333-D03E76F9B5C3}"/>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36638980-BD60-9E46-8471-3FF8F8E35A26}"/>
              </a:ext>
            </a:extLst>
          </p:cNvPr>
          <p:cNvSpPr>
            <a:spLocks noGrp="1"/>
          </p:cNvSpPr>
          <p:nvPr>
            <p:ph type="body" sz="quarter" idx="23"/>
          </p:nvPr>
        </p:nvSpPr>
        <p:spPr/>
        <p:txBody>
          <a:bodyPr/>
          <a:lstStyle/>
          <a:p>
            <a:endParaRPr lang="en-US"/>
          </a:p>
        </p:txBody>
      </p:sp>
      <p:sp>
        <p:nvSpPr>
          <p:cNvPr id="5" name="Text Placeholder 4">
            <a:extLst>
              <a:ext uri="{FF2B5EF4-FFF2-40B4-BE49-F238E27FC236}">
                <a16:creationId xmlns:a16="http://schemas.microsoft.com/office/drawing/2014/main" id="{C54A9465-99CC-464B-8DB4-183970CB4913}"/>
              </a:ext>
            </a:extLst>
          </p:cNvPr>
          <p:cNvSpPr>
            <a:spLocks noGrp="1"/>
          </p:cNvSpPr>
          <p:nvPr>
            <p:ph type="body" sz="quarter" idx="29"/>
          </p:nvPr>
        </p:nvSpPr>
        <p:spPr/>
        <p:txBody>
          <a:bodyPr/>
          <a:lstStyle/>
          <a:p>
            <a:endParaRPr lang="en-US"/>
          </a:p>
        </p:txBody>
      </p:sp>
      <p:sp>
        <p:nvSpPr>
          <p:cNvPr id="6" name="Text Placeholder 5">
            <a:extLst>
              <a:ext uri="{FF2B5EF4-FFF2-40B4-BE49-F238E27FC236}">
                <a16:creationId xmlns:a16="http://schemas.microsoft.com/office/drawing/2014/main" id="{9F92088A-39AD-164E-B28A-7876A6C87FB2}"/>
              </a:ext>
            </a:extLst>
          </p:cNvPr>
          <p:cNvSpPr>
            <a:spLocks noGrp="1"/>
          </p:cNvSpPr>
          <p:nvPr>
            <p:ph type="body" sz="quarter" idx="35"/>
          </p:nvPr>
        </p:nvSpPr>
        <p:spPr/>
        <p:txBody>
          <a:bodyPr/>
          <a:lstStyle/>
          <a:p>
            <a:endParaRPr lang="en-US"/>
          </a:p>
        </p:txBody>
      </p:sp>
      <p:sp>
        <p:nvSpPr>
          <p:cNvPr id="7" name="Text Placeholder 6">
            <a:extLst>
              <a:ext uri="{FF2B5EF4-FFF2-40B4-BE49-F238E27FC236}">
                <a16:creationId xmlns:a16="http://schemas.microsoft.com/office/drawing/2014/main" id="{D60233F2-AC73-604D-B0B1-761839C5256D}"/>
              </a:ext>
            </a:extLst>
          </p:cNvPr>
          <p:cNvSpPr>
            <a:spLocks noGrp="1"/>
          </p:cNvSpPr>
          <p:nvPr>
            <p:ph type="body" sz="quarter" idx="41"/>
          </p:nvPr>
        </p:nvSpPr>
        <p:spPr/>
        <p:txBody>
          <a:bodyPr/>
          <a:lstStyle/>
          <a:p>
            <a:endParaRPr lang="en-US"/>
          </a:p>
        </p:txBody>
      </p:sp>
      <p:sp>
        <p:nvSpPr>
          <p:cNvPr id="8" name="Text Placeholder 7">
            <a:extLst>
              <a:ext uri="{FF2B5EF4-FFF2-40B4-BE49-F238E27FC236}">
                <a16:creationId xmlns:a16="http://schemas.microsoft.com/office/drawing/2014/main" id="{FBA5FCC0-3A58-1242-85AF-57FBA5D948D7}"/>
              </a:ext>
            </a:extLst>
          </p:cNvPr>
          <p:cNvSpPr>
            <a:spLocks noGrp="1"/>
          </p:cNvSpPr>
          <p:nvPr>
            <p:ph type="body" sz="quarter" idx="10"/>
          </p:nvPr>
        </p:nvSpPr>
        <p:spPr/>
        <p:txBody>
          <a:bodyPr/>
          <a:lstStyle/>
          <a:p>
            <a:endParaRPr lang="en-US"/>
          </a:p>
        </p:txBody>
      </p:sp>
      <p:sp>
        <p:nvSpPr>
          <p:cNvPr id="9" name="Text Placeholder 8">
            <a:extLst>
              <a:ext uri="{FF2B5EF4-FFF2-40B4-BE49-F238E27FC236}">
                <a16:creationId xmlns:a16="http://schemas.microsoft.com/office/drawing/2014/main" id="{7E328AE3-5036-1845-A6F9-8FA74AC99034}"/>
              </a:ext>
            </a:extLst>
          </p:cNvPr>
          <p:cNvSpPr>
            <a:spLocks noGrp="1"/>
          </p:cNvSpPr>
          <p:nvPr>
            <p:ph type="body" sz="quarter" idx="16"/>
          </p:nvPr>
        </p:nvSpPr>
        <p:spPr/>
        <p:txBody>
          <a:bodyPr/>
          <a:lstStyle/>
          <a:p>
            <a:endParaRPr lang="en-US"/>
          </a:p>
        </p:txBody>
      </p:sp>
      <p:sp>
        <p:nvSpPr>
          <p:cNvPr id="10" name="Text Placeholder 9">
            <a:extLst>
              <a:ext uri="{FF2B5EF4-FFF2-40B4-BE49-F238E27FC236}">
                <a16:creationId xmlns:a16="http://schemas.microsoft.com/office/drawing/2014/main" id="{CCB7507A-B67E-3341-B4BD-8CC83BCA59BB}"/>
              </a:ext>
            </a:extLst>
          </p:cNvPr>
          <p:cNvSpPr>
            <a:spLocks noGrp="1"/>
          </p:cNvSpPr>
          <p:nvPr>
            <p:ph type="body" sz="quarter" idx="22"/>
          </p:nvPr>
        </p:nvSpPr>
        <p:spPr/>
        <p:txBody>
          <a:bodyPr/>
          <a:lstStyle/>
          <a:p>
            <a:endParaRPr lang="en-US"/>
          </a:p>
        </p:txBody>
      </p:sp>
      <p:sp>
        <p:nvSpPr>
          <p:cNvPr id="11" name="Text Placeholder 10">
            <a:extLst>
              <a:ext uri="{FF2B5EF4-FFF2-40B4-BE49-F238E27FC236}">
                <a16:creationId xmlns:a16="http://schemas.microsoft.com/office/drawing/2014/main" id="{2AFA4B5E-E54C-274C-872D-931BA96F7E53}"/>
              </a:ext>
            </a:extLst>
          </p:cNvPr>
          <p:cNvSpPr>
            <a:spLocks noGrp="1"/>
          </p:cNvSpPr>
          <p:nvPr>
            <p:ph type="body" sz="quarter" idx="28"/>
          </p:nvPr>
        </p:nvSpPr>
        <p:spPr/>
        <p:txBody>
          <a:bodyPr/>
          <a:lstStyle/>
          <a:p>
            <a:endParaRPr lang="en-US"/>
          </a:p>
        </p:txBody>
      </p:sp>
      <p:sp>
        <p:nvSpPr>
          <p:cNvPr id="12" name="Text Placeholder 11">
            <a:extLst>
              <a:ext uri="{FF2B5EF4-FFF2-40B4-BE49-F238E27FC236}">
                <a16:creationId xmlns:a16="http://schemas.microsoft.com/office/drawing/2014/main" id="{12E37E9E-C6AB-F345-BB83-5EB95CDF0779}"/>
              </a:ext>
            </a:extLst>
          </p:cNvPr>
          <p:cNvSpPr>
            <a:spLocks noGrp="1"/>
          </p:cNvSpPr>
          <p:nvPr>
            <p:ph type="body" sz="quarter" idx="34"/>
          </p:nvPr>
        </p:nvSpPr>
        <p:spPr/>
        <p:txBody>
          <a:bodyPr/>
          <a:lstStyle/>
          <a:p>
            <a:endParaRPr lang="en-US"/>
          </a:p>
        </p:txBody>
      </p:sp>
      <p:sp>
        <p:nvSpPr>
          <p:cNvPr id="13" name="Text Placeholder 12">
            <a:extLst>
              <a:ext uri="{FF2B5EF4-FFF2-40B4-BE49-F238E27FC236}">
                <a16:creationId xmlns:a16="http://schemas.microsoft.com/office/drawing/2014/main" id="{629F916D-3A8E-1C48-8D4F-2F88CE5F7342}"/>
              </a:ext>
            </a:extLst>
          </p:cNvPr>
          <p:cNvSpPr>
            <a:spLocks noGrp="1"/>
          </p:cNvSpPr>
          <p:nvPr>
            <p:ph type="body" sz="quarter" idx="40"/>
          </p:nvPr>
        </p:nvSpPr>
        <p:spPr/>
        <p:txBody>
          <a:bodyPr/>
          <a:lstStyle/>
          <a:p>
            <a:endParaRPr lang="en-US"/>
          </a:p>
        </p:txBody>
      </p:sp>
      <p:sp>
        <p:nvSpPr>
          <p:cNvPr id="14" name="Text Placeholder 13">
            <a:extLst>
              <a:ext uri="{FF2B5EF4-FFF2-40B4-BE49-F238E27FC236}">
                <a16:creationId xmlns:a16="http://schemas.microsoft.com/office/drawing/2014/main" id="{BA121AAF-D45F-1F4A-8057-B7B7D9BEB945}"/>
              </a:ext>
            </a:extLst>
          </p:cNvPr>
          <p:cNvSpPr>
            <a:spLocks noGrp="1"/>
          </p:cNvSpPr>
          <p:nvPr>
            <p:ph type="body" sz="quarter" idx="12"/>
          </p:nvPr>
        </p:nvSpPr>
        <p:spPr/>
        <p:txBody>
          <a:bodyPr/>
          <a:lstStyle/>
          <a:p>
            <a:endParaRPr lang="en-US"/>
          </a:p>
        </p:txBody>
      </p:sp>
      <p:sp>
        <p:nvSpPr>
          <p:cNvPr id="15" name="Text Placeholder 14">
            <a:extLst>
              <a:ext uri="{FF2B5EF4-FFF2-40B4-BE49-F238E27FC236}">
                <a16:creationId xmlns:a16="http://schemas.microsoft.com/office/drawing/2014/main" id="{A0DA5D82-0059-864D-B934-A448FCD8CFC8}"/>
              </a:ext>
            </a:extLst>
          </p:cNvPr>
          <p:cNvSpPr>
            <a:spLocks noGrp="1"/>
          </p:cNvSpPr>
          <p:nvPr>
            <p:ph type="body" sz="quarter" idx="18"/>
          </p:nvPr>
        </p:nvSpPr>
        <p:spPr/>
        <p:txBody>
          <a:bodyPr/>
          <a:lstStyle/>
          <a:p>
            <a:endParaRPr lang="en-US"/>
          </a:p>
        </p:txBody>
      </p:sp>
      <p:sp>
        <p:nvSpPr>
          <p:cNvPr id="16" name="Text Placeholder 15">
            <a:extLst>
              <a:ext uri="{FF2B5EF4-FFF2-40B4-BE49-F238E27FC236}">
                <a16:creationId xmlns:a16="http://schemas.microsoft.com/office/drawing/2014/main" id="{36D096D8-BDE1-C045-AE43-127C16A5D14A}"/>
              </a:ext>
            </a:extLst>
          </p:cNvPr>
          <p:cNvSpPr>
            <a:spLocks noGrp="1"/>
          </p:cNvSpPr>
          <p:nvPr>
            <p:ph type="body" sz="quarter" idx="24"/>
          </p:nvPr>
        </p:nvSpPr>
        <p:spPr/>
        <p:txBody>
          <a:bodyPr/>
          <a:lstStyle/>
          <a:p>
            <a:endParaRPr lang="en-US"/>
          </a:p>
        </p:txBody>
      </p:sp>
      <p:sp>
        <p:nvSpPr>
          <p:cNvPr id="17" name="Text Placeholder 16">
            <a:extLst>
              <a:ext uri="{FF2B5EF4-FFF2-40B4-BE49-F238E27FC236}">
                <a16:creationId xmlns:a16="http://schemas.microsoft.com/office/drawing/2014/main" id="{A8603753-B0A9-7245-922F-DE0773623920}"/>
              </a:ext>
            </a:extLst>
          </p:cNvPr>
          <p:cNvSpPr>
            <a:spLocks noGrp="1"/>
          </p:cNvSpPr>
          <p:nvPr>
            <p:ph type="body" sz="quarter" idx="30"/>
          </p:nvPr>
        </p:nvSpPr>
        <p:spPr/>
        <p:txBody>
          <a:bodyPr/>
          <a:lstStyle/>
          <a:p>
            <a:endParaRPr lang="en-US"/>
          </a:p>
        </p:txBody>
      </p:sp>
      <p:sp>
        <p:nvSpPr>
          <p:cNvPr id="18" name="Text Placeholder 17">
            <a:extLst>
              <a:ext uri="{FF2B5EF4-FFF2-40B4-BE49-F238E27FC236}">
                <a16:creationId xmlns:a16="http://schemas.microsoft.com/office/drawing/2014/main" id="{F0FE0F99-9764-AE45-B915-89D3AA3573D0}"/>
              </a:ext>
            </a:extLst>
          </p:cNvPr>
          <p:cNvSpPr>
            <a:spLocks noGrp="1"/>
          </p:cNvSpPr>
          <p:nvPr>
            <p:ph type="body" sz="quarter" idx="36"/>
          </p:nvPr>
        </p:nvSpPr>
        <p:spPr/>
        <p:txBody>
          <a:bodyPr/>
          <a:lstStyle/>
          <a:p>
            <a:endParaRPr lang="en-US"/>
          </a:p>
        </p:txBody>
      </p:sp>
      <p:sp>
        <p:nvSpPr>
          <p:cNvPr id="19" name="Text Placeholder 18">
            <a:extLst>
              <a:ext uri="{FF2B5EF4-FFF2-40B4-BE49-F238E27FC236}">
                <a16:creationId xmlns:a16="http://schemas.microsoft.com/office/drawing/2014/main" id="{391606D8-A0C3-AF40-8C32-E3A00B1C3FB7}"/>
              </a:ext>
            </a:extLst>
          </p:cNvPr>
          <p:cNvSpPr>
            <a:spLocks noGrp="1"/>
          </p:cNvSpPr>
          <p:nvPr>
            <p:ph type="body" sz="quarter" idx="42"/>
          </p:nvPr>
        </p:nvSpPr>
        <p:spPr/>
        <p:txBody>
          <a:bodyPr/>
          <a:lstStyle/>
          <a:p>
            <a:endParaRPr lang="en-US"/>
          </a:p>
        </p:txBody>
      </p:sp>
      <p:sp>
        <p:nvSpPr>
          <p:cNvPr id="20" name="Text Placeholder 19">
            <a:extLst>
              <a:ext uri="{FF2B5EF4-FFF2-40B4-BE49-F238E27FC236}">
                <a16:creationId xmlns:a16="http://schemas.microsoft.com/office/drawing/2014/main" id="{A2C61249-8F8D-7141-82D7-13697A024CB5}"/>
              </a:ext>
            </a:extLst>
          </p:cNvPr>
          <p:cNvSpPr>
            <a:spLocks noGrp="1"/>
          </p:cNvSpPr>
          <p:nvPr>
            <p:ph type="body" sz="quarter" idx="13"/>
          </p:nvPr>
        </p:nvSpPr>
        <p:spPr/>
        <p:txBody>
          <a:bodyPr/>
          <a:lstStyle/>
          <a:p>
            <a:endParaRPr lang="en-US"/>
          </a:p>
        </p:txBody>
      </p:sp>
      <p:sp>
        <p:nvSpPr>
          <p:cNvPr id="21" name="Text Placeholder 20">
            <a:extLst>
              <a:ext uri="{FF2B5EF4-FFF2-40B4-BE49-F238E27FC236}">
                <a16:creationId xmlns:a16="http://schemas.microsoft.com/office/drawing/2014/main" id="{64280685-518E-184B-B3E6-E97138940C5B}"/>
              </a:ext>
            </a:extLst>
          </p:cNvPr>
          <p:cNvSpPr>
            <a:spLocks noGrp="1"/>
          </p:cNvSpPr>
          <p:nvPr>
            <p:ph type="body" sz="quarter" idx="19"/>
          </p:nvPr>
        </p:nvSpPr>
        <p:spPr/>
        <p:txBody>
          <a:bodyPr/>
          <a:lstStyle/>
          <a:p>
            <a:endParaRPr lang="en-US"/>
          </a:p>
        </p:txBody>
      </p:sp>
      <p:sp>
        <p:nvSpPr>
          <p:cNvPr id="22" name="Text Placeholder 21">
            <a:extLst>
              <a:ext uri="{FF2B5EF4-FFF2-40B4-BE49-F238E27FC236}">
                <a16:creationId xmlns:a16="http://schemas.microsoft.com/office/drawing/2014/main" id="{CC41173A-29D2-6A42-A8C5-8CD154F4F8FA}"/>
              </a:ext>
            </a:extLst>
          </p:cNvPr>
          <p:cNvSpPr>
            <a:spLocks noGrp="1"/>
          </p:cNvSpPr>
          <p:nvPr>
            <p:ph type="body" sz="quarter" idx="25"/>
          </p:nvPr>
        </p:nvSpPr>
        <p:spPr/>
        <p:txBody>
          <a:bodyPr/>
          <a:lstStyle/>
          <a:p>
            <a:endParaRPr lang="en-US"/>
          </a:p>
        </p:txBody>
      </p:sp>
      <p:sp>
        <p:nvSpPr>
          <p:cNvPr id="23" name="Text Placeholder 22">
            <a:extLst>
              <a:ext uri="{FF2B5EF4-FFF2-40B4-BE49-F238E27FC236}">
                <a16:creationId xmlns:a16="http://schemas.microsoft.com/office/drawing/2014/main" id="{FF86E354-2C92-4F4A-9DC0-6BE79077A718}"/>
              </a:ext>
            </a:extLst>
          </p:cNvPr>
          <p:cNvSpPr>
            <a:spLocks noGrp="1"/>
          </p:cNvSpPr>
          <p:nvPr>
            <p:ph type="body" sz="quarter" idx="31"/>
          </p:nvPr>
        </p:nvSpPr>
        <p:spPr/>
        <p:txBody>
          <a:bodyPr/>
          <a:lstStyle/>
          <a:p>
            <a:endParaRPr lang="en-US"/>
          </a:p>
        </p:txBody>
      </p:sp>
      <p:sp>
        <p:nvSpPr>
          <p:cNvPr id="24" name="Text Placeholder 23">
            <a:extLst>
              <a:ext uri="{FF2B5EF4-FFF2-40B4-BE49-F238E27FC236}">
                <a16:creationId xmlns:a16="http://schemas.microsoft.com/office/drawing/2014/main" id="{CCE1D385-50E3-F44A-AF13-E3E63875B306}"/>
              </a:ext>
            </a:extLst>
          </p:cNvPr>
          <p:cNvSpPr>
            <a:spLocks noGrp="1"/>
          </p:cNvSpPr>
          <p:nvPr>
            <p:ph type="body" sz="quarter" idx="37"/>
          </p:nvPr>
        </p:nvSpPr>
        <p:spPr/>
        <p:txBody>
          <a:bodyPr/>
          <a:lstStyle/>
          <a:p>
            <a:endParaRPr lang="en-US"/>
          </a:p>
        </p:txBody>
      </p:sp>
      <p:sp>
        <p:nvSpPr>
          <p:cNvPr id="25" name="Text Placeholder 24">
            <a:extLst>
              <a:ext uri="{FF2B5EF4-FFF2-40B4-BE49-F238E27FC236}">
                <a16:creationId xmlns:a16="http://schemas.microsoft.com/office/drawing/2014/main" id="{FBCA453D-76B2-2F40-8E72-D755BECB9878}"/>
              </a:ext>
            </a:extLst>
          </p:cNvPr>
          <p:cNvSpPr>
            <a:spLocks noGrp="1"/>
          </p:cNvSpPr>
          <p:nvPr>
            <p:ph type="body" sz="quarter" idx="43"/>
          </p:nvPr>
        </p:nvSpPr>
        <p:spPr/>
        <p:txBody>
          <a:bodyPr/>
          <a:lstStyle/>
          <a:p>
            <a:endParaRPr lang="en-US"/>
          </a:p>
        </p:txBody>
      </p:sp>
      <p:sp>
        <p:nvSpPr>
          <p:cNvPr id="26" name="Text Placeholder 25">
            <a:extLst>
              <a:ext uri="{FF2B5EF4-FFF2-40B4-BE49-F238E27FC236}">
                <a16:creationId xmlns:a16="http://schemas.microsoft.com/office/drawing/2014/main" id="{EF1D40F9-0A4C-604C-ADDD-75BF0EEE5282}"/>
              </a:ext>
            </a:extLst>
          </p:cNvPr>
          <p:cNvSpPr>
            <a:spLocks noGrp="1"/>
          </p:cNvSpPr>
          <p:nvPr>
            <p:ph type="body" sz="quarter" idx="14"/>
          </p:nvPr>
        </p:nvSpPr>
        <p:spPr/>
        <p:txBody>
          <a:bodyPr/>
          <a:lstStyle/>
          <a:p>
            <a:endParaRPr lang="en-US"/>
          </a:p>
        </p:txBody>
      </p:sp>
      <p:sp>
        <p:nvSpPr>
          <p:cNvPr id="27" name="Text Placeholder 26">
            <a:extLst>
              <a:ext uri="{FF2B5EF4-FFF2-40B4-BE49-F238E27FC236}">
                <a16:creationId xmlns:a16="http://schemas.microsoft.com/office/drawing/2014/main" id="{45C14A21-0F83-E440-9DA4-9EA167A61D94}"/>
              </a:ext>
            </a:extLst>
          </p:cNvPr>
          <p:cNvSpPr>
            <a:spLocks noGrp="1"/>
          </p:cNvSpPr>
          <p:nvPr>
            <p:ph type="body" sz="quarter" idx="20"/>
          </p:nvPr>
        </p:nvSpPr>
        <p:spPr/>
        <p:txBody>
          <a:bodyPr/>
          <a:lstStyle/>
          <a:p>
            <a:endParaRPr lang="en-US"/>
          </a:p>
        </p:txBody>
      </p:sp>
      <p:sp>
        <p:nvSpPr>
          <p:cNvPr id="28" name="Text Placeholder 27">
            <a:extLst>
              <a:ext uri="{FF2B5EF4-FFF2-40B4-BE49-F238E27FC236}">
                <a16:creationId xmlns:a16="http://schemas.microsoft.com/office/drawing/2014/main" id="{98E3486E-2B32-BA44-9705-D32BD9EDFC68}"/>
              </a:ext>
            </a:extLst>
          </p:cNvPr>
          <p:cNvSpPr>
            <a:spLocks noGrp="1"/>
          </p:cNvSpPr>
          <p:nvPr>
            <p:ph type="body" sz="quarter" idx="26"/>
          </p:nvPr>
        </p:nvSpPr>
        <p:spPr/>
        <p:txBody>
          <a:bodyPr/>
          <a:lstStyle/>
          <a:p>
            <a:endParaRPr lang="en-US"/>
          </a:p>
        </p:txBody>
      </p:sp>
      <p:sp>
        <p:nvSpPr>
          <p:cNvPr id="29" name="Text Placeholder 28">
            <a:extLst>
              <a:ext uri="{FF2B5EF4-FFF2-40B4-BE49-F238E27FC236}">
                <a16:creationId xmlns:a16="http://schemas.microsoft.com/office/drawing/2014/main" id="{F9AE6FC0-FCB5-D346-8A8B-6F723F35B3B3}"/>
              </a:ext>
            </a:extLst>
          </p:cNvPr>
          <p:cNvSpPr>
            <a:spLocks noGrp="1"/>
          </p:cNvSpPr>
          <p:nvPr>
            <p:ph type="body" sz="quarter" idx="32"/>
          </p:nvPr>
        </p:nvSpPr>
        <p:spPr/>
        <p:txBody>
          <a:bodyPr/>
          <a:lstStyle/>
          <a:p>
            <a:endParaRPr lang="en-US"/>
          </a:p>
        </p:txBody>
      </p:sp>
      <p:sp>
        <p:nvSpPr>
          <p:cNvPr id="30" name="Text Placeholder 29">
            <a:extLst>
              <a:ext uri="{FF2B5EF4-FFF2-40B4-BE49-F238E27FC236}">
                <a16:creationId xmlns:a16="http://schemas.microsoft.com/office/drawing/2014/main" id="{2657CE74-C3D5-D84A-B2C1-9FD5D34122CC}"/>
              </a:ext>
            </a:extLst>
          </p:cNvPr>
          <p:cNvSpPr>
            <a:spLocks noGrp="1"/>
          </p:cNvSpPr>
          <p:nvPr>
            <p:ph type="body" sz="quarter" idx="38"/>
          </p:nvPr>
        </p:nvSpPr>
        <p:spPr/>
        <p:txBody>
          <a:bodyPr/>
          <a:lstStyle/>
          <a:p>
            <a:endParaRPr lang="en-US"/>
          </a:p>
        </p:txBody>
      </p:sp>
      <p:sp>
        <p:nvSpPr>
          <p:cNvPr id="31" name="Text Placeholder 30">
            <a:extLst>
              <a:ext uri="{FF2B5EF4-FFF2-40B4-BE49-F238E27FC236}">
                <a16:creationId xmlns:a16="http://schemas.microsoft.com/office/drawing/2014/main" id="{A0C18F7B-DAAD-CA4D-B098-B4B6451AB330}"/>
              </a:ext>
            </a:extLst>
          </p:cNvPr>
          <p:cNvSpPr>
            <a:spLocks noGrp="1"/>
          </p:cNvSpPr>
          <p:nvPr>
            <p:ph type="body" sz="quarter" idx="44"/>
          </p:nvPr>
        </p:nvSpPr>
        <p:spPr/>
        <p:txBody>
          <a:bodyPr/>
          <a:lstStyle/>
          <a:p>
            <a:endParaRPr lang="en-US"/>
          </a:p>
        </p:txBody>
      </p:sp>
      <p:sp>
        <p:nvSpPr>
          <p:cNvPr id="32" name="Text Placeholder 31">
            <a:extLst>
              <a:ext uri="{FF2B5EF4-FFF2-40B4-BE49-F238E27FC236}">
                <a16:creationId xmlns:a16="http://schemas.microsoft.com/office/drawing/2014/main" id="{D1BF85ED-6F37-A345-B7ED-42C12AAFA4CD}"/>
              </a:ext>
            </a:extLst>
          </p:cNvPr>
          <p:cNvSpPr>
            <a:spLocks noGrp="1"/>
          </p:cNvSpPr>
          <p:nvPr>
            <p:ph type="body" sz="quarter" idx="15"/>
          </p:nvPr>
        </p:nvSpPr>
        <p:spPr/>
        <p:txBody>
          <a:bodyPr/>
          <a:lstStyle/>
          <a:p>
            <a:endParaRPr lang="en-US"/>
          </a:p>
        </p:txBody>
      </p:sp>
      <p:sp>
        <p:nvSpPr>
          <p:cNvPr id="33" name="Text Placeholder 32">
            <a:extLst>
              <a:ext uri="{FF2B5EF4-FFF2-40B4-BE49-F238E27FC236}">
                <a16:creationId xmlns:a16="http://schemas.microsoft.com/office/drawing/2014/main" id="{299AB09B-6AEB-5646-86EF-24D7B649084B}"/>
              </a:ext>
            </a:extLst>
          </p:cNvPr>
          <p:cNvSpPr>
            <a:spLocks noGrp="1"/>
          </p:cNvSpPr>
          <p:nvPr>
            <p:ph type="body" sz="quarter" idx="21"/>
          </p:nvPr>
        </p:nvSpPr>
        <p:spPr/>
        <p:txBody>
          <a:bodyPr/>
          <a:lstStyle/>
          <a:p>
            <a:endParaRPr lang="en-US"/>
          </a:p>
        </p:txBody>
      </p:sp>
      <p:sp>
        <p:nvSpPr>
          <p:cNvPr id="34" name="Text Placeholder 33">
            <a:extLst>
              <a:ext uri="{FF2B5EF4-FFF2-40B4-BE49-F238E27FC236}">
                <a16:creationId xmlns:a16="http://schemas.microsoft.com/office/drawing/2014/main" id="{60DD3787-5601-9E4D-BDFD-47071B86667F}"/>
              </a:ext>
            </a:extLst>
          </p:cNvPr>
          <p:cNvSpPr>
            <a:spLocks noGrp="1"/>
          </p:cNvSpPr>
          <p:nvPr>
            <p:ph type="body" sz="quarter" idx="27"/>
          </p:nvPr>
        </p:nvSpPr>
        <p:spPr/>
        <p:txBody>
          <a:bodyPr/>
          <a:lstStyle/>
          <a:p>
            <a:endParaRPr lang="en-US"/>
          </a:p>
        </p:txBody>
      </p:sp>
      <p:sp>
        <p:nvSpPr>
          <p:cNvPr id="35" name="Text Placeholder 34">
            <a:extLst>
              <a:ext uri="{FF2B5EF4-FFF2-40B4-BE49-F238E27FC236}">
                <a16:creationId xmlns:a16="http://schemas.microsoft.com/office/drawing/2014/main" id="{E40AA3E9-A748-1446-BA18-0B1953A564D2}"/>
              </a:ext>
            </a:extLst>
          </p:cNvPr>
          <p:cNvSpPr>
            <a:spLocks noGrp="1"/>
          </p:cNvSpPr>
          <p:nvPr>
            <p:ph type="body" sz="quarter" idx="33"/>
          </p:nvPr>
        </p:nvSpPr>
        <p:spPr/>
        <p:txBody>
          <a:bodyPr/>
          <a:lstStyle/>
          <a:p>
            <a:endParaRPr lang="en-US"/>
          </a:p>
        </p:txBody>
      </p:sp>
      <p:sp>
        <p:nvSpPr>
          <p:cNvPr id="36" name="Text Placeholder 35">
            <a:extLst>
              <a:ext uri="{FF2B5EF4-FFF2-40B4-BE49-F238E27FC236}">
                <a16:creationId xmlns:a16="http://schemas.microsoft.com/office/drawing/2014/main" id="{B09C8796-90D2-9D4E-A0F0-169675FB3BD9}"/>
              </a:ext>
            </a:extLst>
          </p:cNvPr>
          <p:cNvSpPr>
            <a:spLocks noGrp="1"/>
          </p:cNvSpPr>
          <p:nvPr>
            <p:ph type="body" sz="quarter" idx="39"/>
          </p:nvPr>
        </p:nvSpPr>
        <p:spPr/>
        <p:txBody>
          <a:bodyPr/>
          <a:lstStyle/>
          <a:p>
            <a:endParaRPr lang="en-US"/>
          </a:p>
        </p:txBody>
      </p:sp>
      <p:sp>
        <p:nvSpPr>
          <p:cNvPr id="37" name="Text Placeholder 36">
            <a:extLst>
              <a:ext uri="{FF2B5EF4-FFF2-40B4-BE49-F238E27FC236}">
                <a16:creationId xmlns:a16="http://schemas.microsoft.com/office/drawing/2014/main" id="{2BDB2EF6-FB90-B74A-A508-926929E64227}"/>
              </a:ext>
            </a:extLst>
          </p:cNvPr>
          <p:cNvSpPr>
            <a:spLocks noGrp="1"/>
          </p:cNvSpPr>
          <p:nvPr>
            <p:ph type="body" sz="quarter" idx="45"/>
          </p:nvPr>
        </p:nvSpPr>
        <p:spPr/>
        <p:txBody>
          <a:bodyPr/>
          <a:lstStyle/>
          <a:p>
            <a:endParaRPr lang="en-US"/>
          </a:p>
        </p:txBody>
      </p:sp>
    </p:spTree>
    <p:extLst>
      <p:ext uri="{BB962C8B-B14F-4D97-AF65-F5344CB8AC3E}">
        <p14:creationId xmlns:p14="http://schemas.microsoft.com/office/powerpoint/2010/main" val="277779543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0B2F46-B1ED-FC43-8679-706AD7D39699}"/>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1C7E39DF-B10A-B948-8779-3DFBE988F60F}"/>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EA07C7D6-2F21-424B-BA4E-AC0C42846E4F}"/>
              </a:ext>
            </a:extLst>
          </p:cNvPr>
          <p:cNvSpPr>
            <a:spLocks noGrp="1"/>
          </p:cNvSpPr>
          <p:nvPr>
            <p:ph type="body" sz="quarter" idx="23"/>
          </p:nvPr>
        </p:nvSpPr>
        <p:spPr/>
        <p:txBody>
          <a:bodyPr/>
          <a:lstStyle/>
          <a:p>
            <a:endParaRPr lang="en-US"/>
          </a:p>
        </p:txBody>
      </p:sp>
      <p:sp>
        <p:nvSpPr>
          <p:cNvPr id="5" name="Text Placeholder 4">
            <a:extLst>
              <a:ext uri="{FF2B5EF4-FFF2-40B4-BE49-F238E27FC236}">
                <a16:creationId xmlns:a16="http://schemas.microsoft.com/office/drawing/2014/main" id="{C966CE06-649C-CD45-9A3D-ACDADA5390D9}"/>
              </a:ext>
            </a:extLst>
          </p:cNvPr>
          <p:cNvSpPr>
            <a:spLocks noGrp="1"/>
          </p:cNvSpPr>
          <p:nvPr>
            <p:ph type="body" sz="quarter" idx="29"/>
          </p:nvPr>
        </p:nvSpPr>
        <p:spPr/>
        <p:txBody>
          <a:bodyPr/>
          <a:lstStyle/>
          <a:p>
            <a:endParaRPr lang="en-US"/>
          </a:p>
        </p:txBody>
      </p:sp>
      <p:sp>
        <p:nvSpPr>
          <p:cNvPr id="6" name="Text Placeholder 5">
            <a:extLst>
              <a:ext uri="{FF2B5EF4-FFF2-40B4-BE49-F238E27FC236}">
                <a16:creationId xmlns:a16="http://schemas.microsoft.com/office/drawing/2014/main" id="{C0733763-F0FE-0D47-8FFF-115621CB26CB}"/>
              </a:ext>
            </a:extLst>
          </p:cNvPr>
          <p:cNvSpPr>
            <a:spLocks noGrp="1"/>
          </p:cNvSpPr>
          <p:nvPr>
            <p:ph type="body" sz="quarter" idx="35"/>
          </p:nvPr>
        </p:nvSpPr>
        <p:spPr/>
        <p:txBody>
          <a:bodyPr/>
          <a:lstStyle/>
          <a:p>
            <a:endParaRPr lang="en-US"/>
          </a:p>
        </p:txBody>
      </p:sp>
      <p:sp>
        <p:nvSpPr>
          <p:cNvPr id="7" name="Text Placeholder 6">
            <a:extLst>
              <a:ext uri="{FF2B5EF4-FFF2-40B4-BE49-F238E27FC236}">
                <a16:creationId xmlns:a16="http://schemas.microsoft.com/office/drawing/2014/main" id="{908FAC90-9813-774D-8EA3-C96798ABEEAF}"/>
              </a:ext>
            </a:extLst>
          </p:cNvPr>
          <p:cNvSpPr>
            <a:spLocks noGrp="1"/>
          </p:cNvSpPr>
          <p:nvPr>
            <p:ph type="body" sz="quarter" idx="41"/>
          </p:nvPr>
        </p:nvSpPr>
        <p:spPr/>
        <p:txBody>
          <a:bodyPr/>
          <a:lstStyle/>
          <a:p>
            <a:endParaRPr lang="en-US"/>
          </a:p>
        </p:txBody>
      </p:sp>
      <p:sp>
        <p:nvSpPr>
          <p:cNvPr id="8" name="Text Placeholder 7">
            <a:extLst>
              <a:ext uri="{FF2B5EF4-FFF2-40B4-BE49-F238E27FC236}">
                <a16:creationId xmlns:a16="http://schemas.microsoft.com/office/drawing/2014/main" id="{6696503C-8A96-E14A-95AA-5D8845C431AC}"/>
              </a:ext>
            </a:extLst>
          </p:cNvPr>
          <p:cNvSpPr>
            <a:spLocks noGrp="1"/>
          </p:cNvSpPr>
          <p:nvPr>
            <p:ph type="body" sz="quarter" idx="10"/>
          </p:nvPr>
        </p:nvSpPr>
        <p:spPr/>
        <p:txBody>
          <a:bodyPr/>
          <a:lstStyle/>
          <a:p>
            <a:endParaRPr lang="en-US"/>
          </a:p>
        </p:txBody>
      </p:sp>
      <p:sp>
        <p:nvSpPr>
          <p:cNvPr id="9" name="Text Placeholder 8">
            <a:extLst>
              <a:ext uri="{FF2B5EF4-FFF2-40B4-BE49-F238E27FC236}">
                <a16:creationId xmlns:a16="http://schemas.microsoft.com/office/drawing/2014/main" id="{4BDF096B-E9AE-E945-A6D1-E3C713DC5093}"/>
              </a:ext>
            </a:extLst>
          </p:cNvPr>
          <p:cNvSpPr>
            <a:spLocks noGrp="1"/>
          </p:cNvSpPr>
          <p:nvPr>
            <p:ph type="body" sz="quarter" idx="16"/>
          </p:nvPr>
        </p:nvSpPr>
        <p:spPr/>
        <p:txBody>
          <a:bodyPr/>
          <a:lstStyle/>
          <a:p>
            <a:endParaRPr lang="en-US"/>
          </a:p>
        </p:txBody>
      </p:sp>
      <p:sp>
        <p:nvSpPr>
          <p:cNvPr id="10" name="Text Placeholder 9">
            <a:extLst>
              <a:ext uri="{FF2B5EF4-FFF2-40B4-BE49-F238E27FC236}">
                <a16:creationId xmlns:a16="http://schemas.microsoft.com/office/drawing/2014/main" id="{1EE1514C-0897-6848-83AF-E08C0C380BF6}"/>
              </a:ext>
            </a:extLst>
          </p:cNvPr>
          <p:cNvSpPr>
            <a:spLocks noGrp="1"/>
          </p:cNvSpPr>
          <p:nvPr>
            <p:ph type="body" sz="quarter" idx="22"/>
          </p:nvPr>
        </p:nvSpPr>
        <p:spPr/>
        <p:txBody>
          <a:bodyPr/>
          <a:lstStyle/>
          <a:p>
            <a:endParaRPr lang="en-US"/>
          </a:p>
        </p:txBody>
      </p:sp>
      <p:sp>
        <p:nvSpPr>
          <p:cNvPr id="11" name="Text Placeholder 10">
            <a:extLst>
              <a:ext uri="{FF2B5EF4-FFF2-40B4-BE49-F238E27FC236}">
                <a16:creationId xmlns:a16="http://schemas.microsoft.com/office/drawing/2014/main" id="{DA6EE570-8CC4-1143-9FEB-A36E4FD45394}"/>
              </a:ext>
            </a:extLst>
          </p:cNvPr>
          <p:cNvSpPr>
            <a:spLocks noGrp="1"/>
          </p:cNvSpPr>
          <p:nvPr>
            <p:ph type="body" sz="quarter" idx="28"/>
          </p:nvPr>
        </p:nvSpPr>
        <p:spPr/>
        <p:txBody>
          <a:bodyPr/>
          <a:lstStyle/>
          <a:p>
            <a:endParaRPr lang="en-US"/>
          </a:p>
        </p:txBody>
      </p:sp>
      <p:sp>
        <p:nvSpPr>
          <p:cNvPr id="12" name="Text Placeholder 11">
            <a:extLst>
              <a:ext uri="{FF2B5EF4-FFF2-40B4-BE49-F238E27FC236}">
                <a16:creationId xmlns:a16="http://schemas.microsoft.com/office/drawing/2014/main" id="{18B864D1-2F8C-974E-91AF-629BD79B54FA}"/>
              </a:ext>
            </a:extLst>
          </p:cNvPr>
          <p:cNvSpPr>
            <a:spLocks noGrp="1"/>
          </p:cNvSpPr>
          <p:nvPr>
            <p:ph type="body" sz="quarter" idx="34"/>
          </p:nvPr>
        </p:nvSpPr>
        <p:spPr/>
        <p:txBody>
          <a:bodyPr/>
          <a:lstStyle/>
          <a:p>
            <a:endParaRPr lang="en-US"/>
          </a:p>
        </p:txBody>
      </p:sp>
      <p:sp>
        <p:nvSpPr>
          <p:cNvPr id="13" name="Text Placeholder 12">
            <a:extLst>
              <a:ext uri="{FF2B5EF4-FFF2-40B4-BE49-F238E27FC236}">
                <a16:creationId xmlns:a16="http://schemas.microsoft.com/office/drawing/2014/main" id="{3B9E05CB-B0FD-B546-B9BB-D295D8C2E77E}"/>
              </a:ext>
            </a:extLst>
          </p:cNvPr>
          <p:cNvSpPr>
            <a:spLocks noGrp="1"/>
          </p:cNvSpPr>
          <p:nvPr>
            <p:ph type="body" sz="quarter" idx="40"/>
          </p:nvPr>
        </p:nvSpPr>
        <p:spPr/>
        <p:txBody>
          <a:bodyPr/>
          <a:lstStyle/>
          <a:p>
            <a:endParaRPr lang="en-US"/>
          </a:p>
        </p:txBody>
      </p:sp>
      <p:sp>
        <p:nvSpPr>
          <p:cNvPr id="14" name="Text Placeholder 13">
            <a:extLst>
              <a:ext uri="{FF2B5EF4-FFF2-40B4-BE49-F238E27FC236}">
                <a16:creationId xmlns:a16="http://schemas.microsoft.com/office/drawing/2014/main" id="{EA7BE85F-E94E-1A42-8E52-67090DF9436C}"/>
              </a:ext>
            </a:extLst>
          </p:cNvPr>
          <p:cNvSpPr>
            <a:spLocks noGrp="1"/>
          </p:cNvSpPr>
          <p:nvPr>
            <p:ph type="body" sz="quarter" idx="12"/>
          </p:nvPr>
        </p:nvSpPr>
        <p:spPr/>
        <p:txBody>
          <a:bodyPr/>
          <a:lstStyle/>
          <a:p>
            <a:endParaRPr lang="en-US"/>
          </a:p>
        </p:txBody>
      </p:sp>
      <p:sp>
        <p:nvSpPr>
          <p:cNvPr id="15" name="Text Placeholder 14">
            <a:extLst>
              <a:ext uri="{FF2B5EF4-FFF2-40B4-BE49-F238E27FC236}">
                <a16:creationId xmlns:a16="http://schemas.microsoft.com/office/drawing/2014/main" id="{8621B6C5-F1AC-6042-B525-3DD23C07EF08}"/>
              </a:ext>
            </a:extLst>
          </p:cNvPr>
          <p:cNvSpPr>
            <a:spLocks noGrp="1"/>
          </p:cNvSpPr>
          <p:nvPr>
            <p:ph type="body" sz="quarter" idx="18"/>
          </p:nvPr>
        </p:nvSpPr>
        <p:spPr/>
        <p:txBody>
          <a:bodyPr/>
          <a:lstStyle/>
          <a:p>
            <a:endParaRPr lang="en-US"/>
          </a:p>
        </p:txBody>
      </p:sp>
      <p:sp>
        <p:nvSpPr>
          <p:cNvPr id="16" name="Text Placeholder 15">
            <a:extLst>
              <a:ext uri="{FF2B5EF4-FFF2-40B4-BE49-F238E27FC236}">
                <a16:creationId xmlns:a16="http://schemas.microsoft.com/office/drawing/2014/main" id="{2A967F31-1057-EC46-B382-4421D647AE4D}"/>
              </a:ext>
            </a:extLst>
          </p:cNvPr>
          <p:cNvSpPr>
            <a:spLocks noGrp="1"/>
          </p:cNvSpPr>
          <p:nvPr>
            <p:ph type="body" sz="quarter" idx="24"/>
          </p:nvPr>
        </p:nvSpPr>
        <p:spPr/>
        <p:txBody>
          <a:bodyPr/>
          <a:lstStyle/>
          <a:p>
            <a:endParaRPr lang="en-US"/>
          </a:p>
        </p:txBody>
      </p:sp>
      <p:sp>
        <p:nvSpPr>
          <p:cNvPr id="17" name="Text Placeholder 16">
            <a:extLst>
              <a:ext uri="{FF2B5EF4-FFF2-40B4-BE49-F238E27FC236}">
                <a16:creationId xmlns:a16="http://schemas.microsoft.com/office/drawing/2014/main" id="{85202ECA-2680-394E-A083-97C6B0C20F90}"/>
              </a:ext>
            </a:extLst>
          </p:cNvPr>
          <p:cNvSpPr>
            <a:spLocks noGrp="1"/>
          </p:cNvSpPr>
          <p:nvPr>
            <p:ph type="body" sz="quarter" idx="30"/>
          </p:nvPr>
        </p:nvSpPr>
        <p:spPr/>
        <p:txBody>
          <a:bodyPr/>
          <a:lstStyle/>
          <a:p>
            <a:endParaRPr lang="en-US"/>
          </a:p>
        </p:txBody>
      </p:sp>
      <p:sp>
        <p:nvSpPr>
          <p:cNvPr id="18" name="Text Placeholder 17">
            <a:extLst>
              <a:ext uri="{FF2B5EF4-FFF2-40B4-BE49-F238E27FC236}">
                <a16:creationId xmlns:a16="http://schemas.microsoft.com/office/drawing/2014/main" id="{67E2E3E1-ABCD-2847-B20C-96E16E25E837}"/>
              </a:ext>
            </a:extLst>
          </p:cNvPr>
          <p:cNvSpPr>
            <a:spLocks noGrp="1"/>
          </p:cNvSpPr>
          <p:nvPr>
            <p:ph type="body" sz="quarter" idx="36"/>
          </p:nvPr>
        </p:nvSpPr>
        <p:spPr/>
        <p:txBody>
          <a:bodyPr/>
          <a:lstStyle/>
          <a:p>
            <a:endParaRPr lang="en-US"/>
          </a:p>
        </p:txBody>
      </p:sp>
      <p:sp>
        <p:nvSpPr>
          <p:cNvPr id="19" name="Text Placeholder 18">
            <a:extLst>
              <a:ext uri="{FF2B5EF4-FFF2-40B4-BE49-F238E27FC236}">
                <a16:creationId xmlns:a16="http://schemas.microsoft.com/office/drawing/2014/main" id="{E65E0C58-1562-F541-A211-C06546067E0C}"/>
              </a:ext>
            </a:extLst>
          </p:cNvPr>
          <p:cNvSpPr>
            <a:spLocks noGrp="1"/>
          </p:cNvSpPr>
          <p:nvPr>
            <p:ph type="body" sz="quarter" idx="42"/>
          </p:nvPr>
        </p:nvSpPr>
        <p:spPr/>
        <p:txBody>
          <a:bodyPr/>
          <a:lstStyle/>
          <a:p>
            <a:endParaRPr lang="en-US"/>
          </a:p>
        </p:txBody>
      </p:sp>
      <p:sp>
        <p:nvSpPr>
          <p:cNvPr id="20" name="Text Placeholder 19">
            <a:extLst>
              <a:ext uri="{FF2B5EF4-FFF2-40B4-BE49-F238E27FC236}">
                <a16:creationId xmlns:a16="http://schemas.microsoft.com/office/drawing/2014/main" id="{55119CD3-DE8C-324F-AD06-C9C2CA56C194}"/>
              </a:ext>
            </a:extLst>
          </p:cNvPr>
          <p:cNvSpPr>
            <a:spLocks noGrp="1"/>
          </p:cNvSpPr>
          <p:nvPr>
            <p:ph type="body" sz="quarter" idx="13"/>
          </p:nvPr>
        </p:nvSpPr>
        <p:spPr/>
        <p:txBody>
          <a:bodyPr/>
          <a:lstStyle/>
          <a:p>
            <a:endParaRPr lang="en-US"/>
          </a:p>
        </p:txBody>
      </p:sp>
      <p:sp>
        <p:nvSpPr>
          <p:cNvPr id="21" name="Text Placeholder 20">
            <a:extLst>
              <a:ext uri="{FF2B5EF4-FFF2-40B4-BE49-F238E27FC236}">
                <a16:creationId xmlns:a16="http://schemas.microsoft.com/office/drawing/2014/main" id="{9D907E88-838A-C24F-8369-4BC1031C4EBE}"/>
              </a:ext>
            </a:extLst>
          </p:cNvPr>
          <p:cNvSpPr>
            <a:spLocks noGrp="1"/>
          </p:cNvSpPr>
          <p:nvPr>
            <p:ph type="body" sz="quarter" idx="19"/>
          </p:nvPr>
        </p:nvSpPr>
        <p:spPr/>
        <p:txBody>
          <a:bodyPr/>
          <a:lstStyle/>
          <a:p>
            <a:endParaRPr lang="en-US"/>
          </a:p>
        </p:txBody>
      </p:sp>
      <p:sp>
        <p:nvSpPr>
          <p:cNvPr id="22" name="Text Placeholder 21">
            <a:extLst>
              <a:ext uri="{FF2B5EF4-FFF2-40B4-BE49-F238E27FC236}">
                <a16:creationId xmlns:a16="http://schemas.microsoft.com/office/drawing/2014/main" id="{DEEC3DAC-2C2C-2940-8835-5ECB5DD1F46F}"/>
              </a:ext>
            </a:extLst>
          </p:cNvPr>
          <p:cNvSpPr>
            <a:spLocks noGrp="1"/>
          </p:cNvSpPr>
          <p:nvPr>
            <p:ph type="body" sz="quarter" idx="25"/>
          </p:nvPr>
        </p:nvSpPr>
        <p:spPr/>
        <p:txBody>
          <a:bodyPr/>
          <a:lstStyle/>
          <a:p>
            <a:endParaRPr lang="en-US"/>
          </a:p>
        </p:txBody>
      </p:sp>
      <p:sp>
        <p:nvSpPr>
          <p:cNvPr id="23" name="Text Placeholder 22">
            <a:extLst>
              <a:ext uri="{FF2B5EF4-FFF2-40B4-BE49-F238E27FC236}">
                <a16:creationId xmlns:a16="http://schemas.microsoft.com/office/drawing/2014/main" id="{49495C1A-0F38-F344-9BBA-3F617C926943}"/>
              </a:ext>
            </a:extLst>
          </p:cNvPr>
          <p:cNvSpPr>
            <a:spLocks noGrp="1"/>
          </p:cNvSpPr>
          <p:nvPr>
            <p:ph type="body" sz="quarter" idx="31"/>
          </p:nvPr>
        </p:nvSpPr>
        <p:spPr/>
        <p:txBody>
          <a:bodyPr/>
          <a:lstStyle/>
          <a:p>
            <a:endParaRPr lang="en-US"/>
          </a:p>
        </p:txBody>
      </p:sp>
      <p:sp>
        <p:nvSpPr>
          <p:cNvPr id="24" name="Text Placeholder 23">
            <a:extLst>
              <a:ext uri="{FF2B5EF4-FFF2-40B4-BE49-F238E27FC236}">
                <a16:creationId xmlns:a16="http://schemas.microsoft.com/office/drawing/2014/main" id="{755953F4-4F21-4249-8A8E-7BA028CF20E4}"/>
              </a:ext>
            </a:extLst>
          </p:cNvPr>
          <p:cNvSpPr>
            <a:spLocks noGrp="1"/>
          </p:cNvSpPr>
          <p:nvPr>
            <p:ph type="body" sz="quarter" idx="37"/>
          </p:nvPr>
        </p:nvSpPr>
        <p:spPr/>
        <p:txBody>
          <a:bodyPr/>
          <a:lstStyle/>
          <a:p>
            <a:endParaRPr lang="en-US"/>
          </a:p>
        </p:txBody>
      </p:sp>
      <p:sp>
        <p:nvSpPr>
          <p:cNvPr id="25" name="Text Placeholder 24">
            <a:extLst>
              <a:ext uri="{FF2B5EF4-FFF2-40B4-BE49-F238E27FC236}">
                <a16:creationId xmlns:a16="http://schemas.microsoft.com/office/drawing/2014/main" id="{523EA3EA-C381-EA43-BEE6-A40AC6F68F37}"/>
              </a:ext>
            </a:extLst>
          </p:cNvPr>
          <p:cNvSpPr>
            <a:spLocks noGrp="1"/>
          </p:cNvSpPr>
          <p:nvPr>
            <p:ph type="body" sz="quarter" idx="43"/>
          </p:nvPr>
        </p:nvSpPr>
        <p:spPr/>
        <p:txBody>
          <a:bodyPr/>
          <a:lstStyle/>
          <a:p>
            <a:endParaRPr lang="en-US"/>
          </a:p>
        </p:txBody>
      </p:sp>
      <p:sp>
        <p:nvSpPr>
          <p:cNvPr id="26" name="Text Placeholder 25">
            <a:extLst>
              <a:ext uri="{FF2B5EF4-FFF2-40B4-BE49-F238E27FC236}">
                <a16:creationId xmlns:a16="http://schemas.microsoft.com/office/drawing/2014/main" id="{691454F9-0ABC-4444-97C9-293D7D14B5B9}"/>
              </a:ext>
            </a:extLst>
          </p:cNvPr>
          <p:cNvSpPr>
            <a:spLocks noGrp="1"/>
          </p:cNvSpPr>
          <p:nvPr>
            <p:ph type="body" sz="quarter" idx="14"/>
          </p:nvPr>
        </p:nvSpPr>
        <p:spPr/>
        <p:txBody>
          <a:bodyPr/>
          <a:lstStyle/>
          <a:p>
            <a:endParaRPr lang="en-US"/>
          </a:p>
        </p:txBody>
      </p:sp>
      <p:sp>
        <p:nvSpPr>
          <p:cNvPr id="27" name="Text Placeholder 26">
            <a:extLst>
              <a:ext uri="{FF2B5EF4-FFF2-40B4-BE49-F238E27FC236}">
                <a16:creationId xmlns:a16="http://schemas.microsoft.com/office/drawing/2014/main" id="{96E1EA2B-DBC0-6949-894D-14A59AF63347}"/>
              </a:ext>
            </a:extLst>
          </p:cNvPr>
          <p:cNvSpPr>
            <a:spLocks noGrp="1"/>
          </p:cNvSpPr>
          <p:nvPr>
            <p:ph type="body" sz="quarter" idx="20"/>
          </p:nvPr>
        </p:nvSpPr>
        <p:spPr/>
        <p:txBody>
          <a:bodyPr/>
          <a:lstStyle/>
          <a:p>
            <a:endParaRPr lang="en-US"/>
          </a:p>
        </p:txBody>
      </p:sp>
      <p:sp>
        <p:nvSpPr>
          <p:cNvPr id="28" name="Text Placeholder 27">
            <a:extLst>
              <a:ext uri="{FF2B5EF4-FFF2-40B4-BE49-F238E27FC236}">
                <a16:creationId xmlns:a16="http://schemas.microsoft.com/office/drawing/2014/main" id="{DBFF4D6A-1383-6F4B-8014-0479B45843C0}"/>
              </a:ext>
            </a:extLst>
          </p:cNvPr>
          <p:cNvSpPr>
            <a:spLocks noGrp="1"/>
          </p:cNvSpPr>
          <p:nvPr>
            <p:ph type="body" sz="quarter" idx="26"/>
          </p:nvPr>
        </p:nvSpPr>
        <p:spPr/>
        <p:txBody>
          <a:bodyPr/>
          <a:lstStyle/>
          <a:p>
            <a:endParaRPr lang="en-US"/>
          </a:p>
        </p:txBody>
      </p:sp>
      <p:sp>
        <p:nvSpPr>
          <p:cNvPr id="29" name="Text Placeholder 28">
            <a:extLst>
              <a:ext uri="{FF2B5EF4-FFF2-40B4-BE49-F238E27FC236}">
                <a16:creationId xmlns:a16="http://schemas.microsoft.com/office/drawing/2014/main" id="{405A71D3-F6CB-6948-946F-7A97E2CD45D1}"/>
              </a:ext>
            </a:extLst>
          </p:cNvPr>
          <p:cNvSpPr>
            <a:spLocks noGrp="1"/>
          </p:cNvSpPr>
          <p:nvPr>
            <p:ph type="body" sz="quarter" idx="32"/>
          </p:nvPr>
        </p:nvSpPr>
        <p:spPr/>
        <p:txBody>
          <a:bodyPr/>
          <a:lstStyle/>
          <a:p>
            <a:endParaRPr lang="en-US"/>
          </a:p>
        </p:txBody>
      </p:sp>
      <p:sp>
        <p:nvSpPr>
          <p:cNvPr id="30" name="Text Placeholder 29">
            <a:extLst>
              <a:ext uri="{FF2B5EF4-FFF2-40B4-BE49-F238E27FC236}">
                <a16:creationId xmlns:a16="http://schemas.microsoft.com/office/drawing/2014/main" id="{B0A558B9-8CDE-784D-AE74-0198C7306FCB}"/>
              </a:ext>
            </a:extLst>
          </p:cNvPr>
          <p:cNvSpPr>
            <a:spLocks noGrp="1"/>
          </p:cNvSpPr>
          <p:nvPr>
            <p:ph type="body" sz="quarter" idx="38"/>
          </p:nvPr>
        </p:nvSpPr>
        <p:spPr/>
        <p:txBody>
          <a:bodyPr/>
          <a:lstStyle/>
          <a:p>
            <a:endParaRPr lang="en-US"/>
          </a:p>
        </p:txBody>
      </p:sp>
      <p:sp>
        <p:nvSpPr>
          <p:cNvPr id="31" name="Text Placeholder 30">
            <a:extLst>
              <a:ext uri="{FF2B5EF4-FFF2-40B4-BE49-F238E27FC236}">
                <a16:creationId xmlns:a16="http://schemas.microsoft.com/office/drawing/2014/main" id="{8F51E8FE-D225-A444-AEC8-D9AB92B4547B}"/>
              </a:ext>
            </a:extLst>
          </p:cNvPr>
          <p:cNvSpPr>
            <a:spLocks noGrp="1"/>
          </p:cNvSpPr>
          <p:nvPr>
            <p:ph type="body" sz="quarter" idx="44"/>
          </p:nvPr>
        </p:nvSpPr>
        <p:spPr/>
        <p:txBody>
          <a:bodyPr/>
          <a:lstStyle/>
          <a:p>
            <a:endParaRPr lang="en-US"/>
          </a:p>
        </p:txBody>
      </p:sp>
      <p:sp>
        <p:nvSpPr>
          <p:cNvPr id="32" name="Text Placeholder 31">
            <a:extLst>
              <a:ext uri="{FF2B5EF4-FFF2-40B4-BE49-F238E27FC236}">
                <a16:creationId xmlns:a16="http://schemas.microsoft.com/office/drawing/2014/main" id="{7F070303-2A9F-A249-9143-86D9BE778361}"/>
              </a:ext>
            </a:extLst>
          </p:cNvPr>
          <p:cNvSpPr>
            <a:spLocks noGrp="1"/>
          </p:cNvSpPr>
          <p:nvPr>
            <p:ph type="body" sz="quarter" idx="15"/>
          </p:nvPr>
        </p:nvSpPr>
        <p:spPr/>
        <p:txBody>
          <a:bodyPr/>
          <a:lstStyle/>
          <a:p>
            <a:endParaRPr lang="en-US"/>
          </a:p>
        </p:txBody>
      </p:sp>
      <p:sp>
        <p:nvSpPr>
          <p:cNvPr id="33" name="Text Placeholder 32">
            <a:extLst>
              <a:ext uri="{FF2B5EF4-FFF2-40B4-BE49-F238E27FC236}">
                <a16:creationId xmlns:a16="http://schemas.microsoft.com/office/drawing/2014/main" id="{443B9A9D-57D3-274F-A535-43B4248B3E04}"/>
              </a:ext>
            </a:extLst>
          </p:cNvPr>
          <p:cNvSpPr>
            <a:spLocks noGrp="1"/>
          </p:cNvSpPr>
          <p:nvPr>
            <p:ph type="body" sz="quarter" idx="21"/>
          </p:nvPr>
        </p:nvSpPr>
        <p:spPr/>
        <p:txBody>
          <a:bodyPr/>
          <a:lstStyle/>
          <a:p>
            <a:endParaRPr lang="en-US"/>
          </a:p>
        </p:txBody>
      </p:sp>
      <p:sp>
        <p:nvSpPr>
          <p:cNvPr id="34" name="Text Placeholder 33">
            <a:extLst>
              <a:ext uri="{FF2B5EF4-FFF2-40B4-BE49-F238E27FC236}">
                <a16:creationId xmlns:a16="http://schemas.microsoft.com/office/drawing/2014/main" id="{1C00ED6A-B332-D248-B503-6A96A43B0DC2}"/>
              </a:ext>
            </a:extLst>
          </p:cNvPr>
          <p:cNvSpPr>
            <a:spLocks noGrp="1"/>
          </p:cNvSpPr>
          <p:nvPr>
            <p:ph type="body" sz="quarter" idx="27"/>
          </p:nvPr>
        </p:nvSpPr>
        <p:spPr/>
        <p:txBody>
          <a:bodyPr/>
          <a:lstStyle/>
          <a:p>
            <a:endParaRPr lang="en-US"/>
          </a:p>
        </p:txBody>
      </p:sp>
      <p:sp>
        <p:nvSpPr>
          <p:cNvPr id="35" name="Text Placeholder 34">
            <a:extLst>
              <a:ext uri="{FF2B5EF4-FFF2-40B4-BE49-F238E27FC236}">
                <a16:creationId xmlns:a16="http://schemas.microsoft.com/office/drawing/2014/main" id="{F04039BC-82BC-FC44-9720-B0620CEAC50B}"/>
              </a:ext>
            </a:extLst>
          </p:cNvPr>
          <p:cNvSpPr>
            <a:spLocks noGrp="1"/>
          </p:cNvSpPr>
          <p:nvPr>
            <p:ph type="body" sz="quarter" idx="33"/>
          </p:nvPr>
        </p:nvSpPr>
        <p:spPr/>
        <p:txBody>
          <a:bodyPr/>
          <a:lstStyle/>
          <a:p>
            <a:endParaRPr lang="en-US"/>
          </a:p>
        </p:txBody>
      </p:sp>
      <p:sp>
        <p:nvSpPr>
          <p:cNvPr id="36" name="Text Placeholder 35">
            <a:extLst>
              <a:ext uri="{FF2B5EF4-FFF2-40B4-BE49-F238E27FC236}">
                <a16:creationId xmlns:a16="http://schemas.microsoft.com/office/drawing/2014/main" id="{25AF9FDC-B58F-8F43-AF23-7D89BB17BFFF}"/>
              </a:ext>
            </a:extLst>
          </p:cNvPr>
          <p:cNvSpPr>
            <a:spLocks noGrp="1"/>
          </p:cNvSpPr>
          <p:nvPr>
            <p:ph type="body" sz="quarter" idx="39"/>
          </p:nvPr>
        </p:nvSpPr>
        <p:spPr/>
        <p:txBody>
          <a:bodyPr/>
          <a:lstStyle/>
          <a:p>
            <a:endParaRPr lang="en-US"/>
          </a:p>
        </p:txBody>
      </p:sp>
      <p:sp>
        <p:nvSpPr>
          <p:cNvPr id="37" name="Text Placeholder 36">
            <a:extLst>
              <a:ext uri="{FF2B5EF4-FFF2-40B4-BE49-F238E27FC236}">
                <a16:creationId xmlns:a16="http://schemas.microsoft.com/office/drawing/2014/main" id="{BA0203E2-6A28-6749-AA66-4E6474928FB4}"/>
              </a:ext>
            </a:extLst>
          </p:cNvPr>
          <p:cNvSpPr>
            <a:spLocks noGrp="1"/>
          </p:cNvSpPr>
          <p:nvPr>
            <p:ph type="body" sz="quarter" idx="45"/>
          </p:nvPr>
        </p:nvSpPr>
        <p:spPr/>
        <p:txBody>
          <a:bodyPr/>
          <a:lstStyle/>
          <a:p>
            <a:endParaRPr lang="en-US"/>
          </a:p>
        </p:txBody>
      </p:sp>
    </p:spTree>
    <p:extLst>
      <p:ext uri="{BB962C8B-B14F-4D97-AF65-F5344CB8AC3E}">
        <p14:creationId xmlns:p14="http://schemas.microsoft.com/office/powerpoint/2010/main" val="19814655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222BA68D-F294-7B49-9CF7-A1A1EA13145B}"/>
              </a:ext>
            </a:extLst>
          </p:cNvPr>
          <p:cNvSpPr>
            <a:spLocks noGrp="1"/>
          </p:cNvSpPr>
          <p:nvPr>
            <p:ph type="title"/>
          </p:nvPr>
        </p:nvSpPr>
        <p:spPr/>
        <p:txBody>
          <a:bodyPr/>
          <a:lstStyle/>
          <a:p>
            <a:r>
              <a:rPr lang="en-US" dirty="0"/>
              <a:t>Writing</a:t>
            </a:r>
          </a:p>
        </p:txBody>
      </p:sp>
      <p:sp>
        <p:nvSpPr>
          <p:cNvPr id="10" name="Content Placeholder 9">
            <a:extLst>
              <a:ext uri="{FF2B5EF4-FFF2-40B4-BE49-F238E27FC236}">
                <a16:creationId xmlns:a16="http://schemas.microsoft.com/office/drawing/2014/main" id="{35370843-7A51-E741-B83C-261AD13C7B91}"/>
              </a:ext>
            </a:extLst>
          </p:cNvPr>
          <p:cNvSpPr>
            <a:spLocks noGrp="1"/>
          </p:cNvSpPr>
          <p:nvPr>
            <p:ph idx="10"/>
          </p:nvPr>
        </p:nvSpPr>
        <p:spPr/>
        <p:txBody>
          <a:bodyPr/>
          <a:lstStyle/>
          <a:p>
            <a:r>
              <a:rPr lang="en-US" dirty="0"/>
              <a:t>Use sentence case for headlines and titles</a:t>
            </a:r>
          </a:p>
          <a:p>
            <a:pPr lvl="1"/>
            <a:r>
              <a:rPr lang="en-US" dirty="0"/>
              <a:t>Sentence case begins with a capital letter; no other letter should be capitalized except for proper names of people, places, programs, products, services or events</a:t>
            </a:r>
          </a:p>
          <a:p>
            <a:r>
              <a:rPr lang="en-US" dirty="0"/>
              <a:t>Use proper trademarks and registration symbols where appropriate</a:t>
            </a:r>
          </a:p>
          <a:p>
            <a:r>
              <a:rPr lang="en-US" dirty="0"/>
              <a:t>Avoid the possessive form of OpenText (e.g., OpenText’s software)</a:t>
            </a:r>
          </a:p>
          <a:p>
            <a:r>
              <a:rPr lang="en-US" dirty="0"/>
              <a:t>Avoid pluralizing product names</a:t>
            </a:r>
          </a:p>
          <a:p>
            <a:endParaRPr lang="en-US" dirty="0"/>
          </a:p>
        </p:txBody>
      </p:sp>
    </p:spTree>
    <p:extLst>
      <p:ext uri="{BB962C8B-B14F-4D97-AF65-F5344CB8AC3E}">
        <p14:creationId xmlns:p14="http://schemas.microsoft.com/office/powerpoint/2010/main" val="280240855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edia Placeholder 1">
            <a:extLst>
              <a:ext uri="{FF2B5EF4-FFF2-40B4-BE49-F238E27FC236}">
                <a16:creationId xmlns:a16="http://schemas.microsoft.com/office/drawing/2014/main" id="{A011E161-0BB6-EE47-B508-74CA9B83492D}"/>
              </a:ext>
            </a:extLst>
          </p:cNvPr>
          <p:cNvSpPr>
            <a:spLocks noGrp="1"/>
          </p:cNvSpPr>
          <p:nvPr>
            <p:ph type="media" sz="quarter" idx="10"/>
          </p:nvPr>
        </p:nvSpPr>
        <p:spPr/>
      </p:sp>
      <p:sp>
        <p:nvSpPr>
          <p:cNvPr id="3" name="TextBox 2">
            <a:extLst>
              <a:ext uri="{FF2B5EF4-FFF2-40B4-BE49-F238E27FC236}">
                <a16:creationId xmlns:a16="http://schemas.microsoft.com/office/drawing/2014/main" id="{2A60F9B2-E2B8-F141-A776-E8DF79D95512}"/>
              </a:ext>
            </a:extLst>
          </p:cNvPr>
          <p:cNvSpPr txBox="1"/>
          <p:nvPr/>
        </p:nvSpPr>
        <p:spPr>
          <a:xfrm>
            <a:off x="-11041863" y="-1494384"/>
            <a:ext cx="10560486" cy="29231913"/>
          </a:xfrm>
          <a:prstGeom prst="rect">
            <a:avLst/>
          </a:prstGeom>
          <a:noFill/>
        </p:spPr>
        <p:txBody>
          <a:bodyPr wrap="square" rtlCol="0">
            <a:spAutoFit/>
          </a:bodyPr>
          <a:lstStyle/>
          <a:p>
            <a:r>
              <a:rPr lang="en-US" sz="2667" b="1" dirty="0"/>
              <a:t>Play a video automatically or when clicked</a:t>
            </a:r>
          </a:p>
          <a:p>
            <a:r>
              <a:rPr lang="en-US" sz="2133" dirty="0"/>
              <a:t> TIP   Set this option before adding any animations or triggers to your video. By changing this option, you will remove any animations that are associated with your video.</a:t>
            </a:r>
          </a:p>
          <a:p>
            <a:endParaRPr lang="en-US" sz="2667" dirty="0"/>
          </a:p>
          <a:p>
            <a:r>
              <a:rPr lang="en-US" sz="2667" dirty="0"/>
              <a:t>In Normal view, click the video frame on the slide.</a:t>
            </a:r>
          </a:p>
          <a:p>
            <a:r>
              <a:rPr lang="en-US" sz="2667" dirty="0"/>
              <a:t>Video Options</a:t>
            </a:r>
          </a:p>
          <a:p>
            <a:endParaRPr lang="en-US" sz="2667" dirty="0"/>
          </a:p>
          <a:p>
            <a:endParaRPr lang="en-US" sz="2667" dirty="0"/>
          </a:p>
          <a:p>
            <a:endParaRPr lang="en-US" sz="2667" dirty="0"/>
          </a:p>
          <a:p>
            <a:endParaRPr lang="en-US" sz="2667" dirty="0"/>
          </a:p>
          <a:p>
            <a:r>
              <a:rPr lang="en-US" sz="2133" dirty="0"/>
              <a:t>Specify how you want your video to start during your presentation</a:t>
            </a:r>
          </a:p>
          <a:p>
            <a:endParaRPr lang="en-US" sz="2133" dirty="0"/>
          </a:p>
          <a:p>
            <a:r>
              <a:rPr lang="en-US" sz="2667" dirty="0"/>
              <a:t>Under Video Tools, on the Playback tab, in the Video Options group, in the Start list, do one of the following:</a:t>
            </a:r>
          </a:p>
          <a:p>
            <a:endParaRPr lang="en-US" sz="2667" dirty="0"/>
          </a:p>
          <a:p>
            <a:r>
              <a:rPr lang="en-US" sz="2667" dirty="0"/>
              <a:t>• To play your video when the slide (containing the video) appears in Slide Show view, click Automatically.</a:t>
            </a:r>
          </a:p>
          <a:p>
            <a:endParaRPr lang="en-US" sz="2667" dirty="0"/>
          </a:p>
          <a:p>
            <a:r>
              <a:rPr lang="en-US" sz="2667" dirty="0"/>
              <a:t>• To control when you want to start the video by clicking the mouse, click On Click. Then in Slide Show view, simply click the video frame when you are ready to play the video.</a:t>
            </a:r>
          </a:p>
          <a:p>
            <a:endParaRPr lang="en-US" sz="2667" dirty="0"/>
          </a:p>
          <a:p>
            <a:r>
              <a:rPr lang="en-US" sz="2133" dirty="0"/>
              <a:t> TIP   You can pause a video while it is playing by clicking it. To continue playing the video, click it again.</a:t>
            </a:r>
          </a:p>
          <a:p>
            <a:endParaRPr lang="en-US" sz="2667" dirty="0"/>
          </a:p>
          <a:p>
            <a:r>
              <a:rPr lang="en-US" sz="2667" b="1" dirty="0"/>
              <a:t>Play a video full screen</a:t>
            </a:r>
          </a:p>
          <a:p>
            <a:r>
              <a:rPr lang="en-US" sz="2667" dirty="0"/>
              <a:t>You can play a video so that it fills the entire slide (screen) when you deliver your presentation. Depending on the resolution of your original video file, it might appear distorted when you enlarge it. Always preview your video before you include it in your presentation so that if the video appears distorted or blurry, you can undo the full screen option.</a:t>
            </a:r>
          </a:p>
          <a:p>
            <a:endParaRPr lang="en-US" sz="2667" dirty="0"/>
          </a:p>
          <a:p>
            <a:r>
              <a:rPr lang="en-US" sz="2133" dirty="0"/>
              <a:t>NOTE   If you set the video to be displayed full screen and it is also set to start automatically, you can drag the video frame off the slide into the gray area so that it will not be visible on the slide or flash briefly before the video goes to full screen.</a:t>
            </a:r>
          </a:p>
          <a:p>
            <a:endParaRPr lang="en-US" sz="2667" dirty="0"/>
          </a:p>
          <a:p>
            <a:r>
              <a:rPr lang="en-US" sz="2667" dirty="0"/>
              <a:t>In Normal view, click the video frame on the slide that you want to play full screen.</a:t>
            </a:r>
          </a:p>
          <a:p>
            <a:r>
              <a:rPr lang="en-US" sz="2667" dirty="0"/>
              <a:t>Under Video Tools, on the Playback tab, in the Video Options group, select the Play Full Screen check box.</a:t>
            </a:r>
          </a:p>
          <a:p>
            <a:endParaRPr lang="en-US" sz="2667" dirty="0"/>
          </a:p>
          <a:p>
            <a:r>
              <a:rPr lang="en-US" sz="2667" b="1" dirty="0"/>
              <a:t>Hide a video when not playing</a:t>
            </a:r>
          </a:p>
          <a:p>
            <a:r>
              <a:rPr lang="en-US" sz="2667" dirty="0"/>
              <a:t>While delivering your presentation, you can hide your video until you are ready to play it. However, you should create an automatic or triggered animation to initiate playback or you will never see the video play during the slideshow. For more information about creating an automatic or triggered animation, see Animate text or objects.</a:t>
            </a:r>
          </a:p>
          <a:p>
            <a:endParaRPr lang="en-US" sz="2667" dirty="0"/>
          </a:p>
          <a:p>
            <a:r>
              <a:rPr lang="en-US" sz="2667" dirty="0"/>
              <a:t>Under Video Tools, on the Playback tab, in the Video Options group, select the Hide While Not Playing check box.</a:t>
            </a:r>
          </a:p>
          <a:p>
            <a:endParaRPr lang="en-US" sz="2667" dirty="0"/>
          </a:p>
          <a:p>
            <a:r>
              <a:rPr lang="en-US" sz="2667" b="1" dirty="0"/>
              <a:t>Loop a video</a:t>
            </a:r>
          </a:p>
          <a:p>
            <a:r>
              <a:rPr lang="en-US" sz="2667" dirty="0"/>
              <a:t>To play your video repeatedly and continuously during your presentation, you can use the loop feature.</a:t>
            </a:r>
          </a:p>
          <a:p>
            <a:endParaRPr lang="en-US" sz="2667" dirty="0"/>
          </a:p>
          <a:p>
            <a:r>
              <a:rPr lang="en-US" sz="2667" dirty="0"/>
              <a:t>Under Video Tools, on the Playback tab, in the Video Options group, select the Loop until Stopped check box.</a:t>
            </a:r>
          </a:p>
          <a:p>
            <a:endParaRPr lang="en-US" sz="2667" dirty="0"/>
          </a:p>
          <a:p>
            <a:r>
              <a:rPr lang="en-US" sz="2667" b="1" dirty="0"/>
              <a:t>Rewind a video after playing</a:t>
            </a:r>
          </a:p>
          <a:p>
            <a:r>
              <a:rPr lang="en-US" sz="2667" dirty="0"/>
              <a:t>To rewind your video after playing during your presentation, do the following:</a:t>
            </a:r>
          </a:p>
          <a:p>
            <a:endParaRPr lang="en-US" sz="2667" dirty="0"/>
          </a:p>
          <a:p>
            <a:r>
              <a:rPr lang="en-US" sz="2667" dirty="0"/>
              <a:t>Under Video Tools, on the Playback tab, in the Video Options group, select the Rewind after Playing check box.</a:t>
            </a:r>
          </a:p>
          <a:p>
            <a:endParaRPr lang="en-US" sz="2667" dirty="0"/>
          </a:p>
          <a:p>
            <a:r>
              <a:rPr lang="en-US" sz="2667" b="1" dirty="0"/>
              <a:t>Show the media controls</a:t>
            </a:r>
          </a:p>
          <a:p>
            <a:r>
              <a:rPr lang="en-US" sz="2667" dirty="0"/>
              <a:t>To show the media controls during your presentation, do the following:</a:t>
            </a:r>
          </a:p>
          <a:p>
            <a:endParaRPr lang="en-US" sz="2667" dirty="0"/>
          </a:p>
          <a:p>
            <a:r>
              <a:rPr lang="en-US" sz="2667" dirty="0"/>
              <a:t>On the Slide Show tab, in the Set up group, select the Show Media Controls check box.</a:t>
            </a:r>
          </a:p>
        </p:txBody>
      </p:sp>
      <p:pic>
        <p:nvPicPr>
          <p:cNvPr id="4" name="Picture 3">
            <a:extLst>
              <a:ext uri="{FF2B5EF4-FFF2-40B4-BE49-F238E27FC236}">
                <a16:creationId xmlns:a16="http://schemas.microsoft.com/office/drawing/2014/main" id="{EB79BA7E-00A0-934B-8417-57B5C8DD5BF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49854" y="665717"/>
            <a:ext cx="7656515" cy="987410"/>
          </a:xfrm>
          <a:prstGeom prst="rect">
            <a:avLst/>
          </a:prstGeom>
        </p:spPr>
      </p:pic>
    </p:spTree>
    <p:extLst>
      <p:ext uri="{BB962C8B-B14F-4D97-AF65-F5344CB8AC3E}">
        <p14:creationId xmlns:p14="http://schemas.microsoft.com/office/powerpoint/2010/main" val="861653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Industries</a:t>
            </a:r>
          </a:p>
        </p:txBody>
      </p:sp>
      <p:sp>
        <p:nvSpPr>
          <p:cNvPr id="3" name="TextBox 2">
            <a:extLst>
              <a:ext uri="{FF2B5EF4-FFF2-40B4-BE49-F238E27FC236}">
                <a16:creationId xmlns:a16="http://schemas.microsoft.com/office/drawing/2014/main" id="{DA1C17AC-2B90-A14A-AA89-9127053811B8}"/>
              </a:ext>
            </a:extLst>
          </p:cNvPr>
          <p:cNvSpPr txBox="1"/>
          <p:nvPr/>
        </p:nvSpPr>
        <p:spPr>
          <a:xfrm>
            <a:off x="2096171" y="5164929"/>
            <a:ext cx="1066318" cy="407507"/>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egal</a:t>
            </a:r>
          </a:p>
        </p:txBody>
      </p:sp>
      <p:sp>
        <p:nvSpPr>
          <p:cNvPr id="4" name="TextBox 3">
            <a:extLst>
              <a:ext uri="{FF2B5EF4-FFF2-40B4-BE49-F238E27FC236}">
                <a16:creationId xmlns:a16="http://schemas.microsoft.com/office/drawing/2014/main" id="{D76CEA6C-DE99-954E-B528-33E18E87CA42}"/>
              </a:ext>
            </a:extLst>
          </p:cNvPr>
          <p:cNvSpPr txBox="1"/>
          <p:nvPr/>
        </p:nvSpPr>
        <p:spPr>
          <a:xfrm>
            <a:off x="6050611" y="5164929"/>
            <a:ext cx="1465464" cy="407507"/>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inance</a:t>
            </a:r>
          </a:p>
        </p:txBody>
      </p:sp>
      <p:sp>
        <p:nvSpPr>
          <p:cNvPr id="5" name="TextBox 4">
            <a:extLst>
              <a:ext uri="{FF2B5EF4-FFF2-40B4-BE49-F238E27FC236}">
                <a16:creationId xmlns:a16="http://schemas.microsoft.com/office/drawing/2014/main" id="{F583F1C9-49A4-A54A-9407-36D11FBF33C2}"/>
              </a:ext>
            </a:extLst>
          </p:cNvPr>
          <p:cNvSpPr txBox="1"/>
          <p:nvPr/>
        </p:nvSpPr>
        <p:spPr>
          <a:xfrm>
            <a:off x="9784682" y="5164929"/>
            <a:ext cx="21643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Government</a:t>
            </a:r>
            <a:endParaRPr lang="en-US" sz="2800" dirty="0"/>
          </a:p>
        </p:txBody>
      </p:sp>
      <p:sp>
        <p:nvSpPr>
          <p:cNvPr id="6" name="TextBox 5">
            <a:extLst>
              <a:ext uri="{FF2B5EF4-FFF2-40B4-BE49-F238E27FC236}">
                <a16:creationId xmlns:a16="http://schemas.microsoft.com/office/drawing/2014/main" id="{73365FD8-1A60-E440-B004-A6CD5F668F01}"/>
              </a:ext>
            </a:extLst>
          </p:cNvPr>
          <p:cNvSpPr txBox="1"/>
          <p:nvPr/>
        </p:nvSpPr>
        <p:spPr>
          <a:xfrm>
            <a:off x="13890487" y="5164929"/>
            <a:ext cx="17844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ducation</a:t>
            </a:r>
          </a:p>
        </p:txBody>
      </p:sp>
      <p:sp>
        <p:nvSpPr>
          <p:cNvPr id="7" name="TextBox 6">
            <a:extLst>
              <a:ext uri="{FF2B5EF4-FFF2-40B4-BE49-F238E27FC236}">
                <a16:creationId xmlns:a16="http://schemas.microsoft.com/office/drawing/2014/main" id="{C364E785-D5FA-3B44-8A5B-2DEB7F573CD7}"/>
              </a:ext>
            </a:extLst>
          </p:cNvPr>
          <p:cNvSpPr txBox="1"/>
          <p:nvPr/>
        </p:nvSpPr>
        <p:spPr>
          <a:xfrm>
            <a:off x="20809186" y="5164929"/>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istribution</a:t>
            </a:r>
          </a:p>
        </p:txBody>
      </p:sp>
      <p:sp>
        <p:nvSpPr>
          <p:cNvPr id="8" name="TextBox 7">
            <a:extLst>
              <a:ext uri="{FF2B5EF4-FFF2-40B4-BE49-F238E27FC236}">
                <a16:creationId xmlns:a16="http://schemas.microsoft.com/office/drawing/2014/main" id="{6AFE07B3-323D-D54E-89AB-29D1065FD1E7}"/>
              </a:ext>
            </a:extLst>
          </p:cNvPr>
          <p:cNvSpPr txBox="1"/>
          <p:nvPr/>
        </p:nvSpPr>
        <p:spPr>
          <a:xfrm>
            <a:off x="1396461" y="8292956"/>
            <a:ext cx="2465738"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anufacturing</a:t>
            </a:r>
          </a:p>
        </p:txBody>
      </p:sp>
      <p:sp>
        <p:nvSpPr>
          <p:cNvPr id="9" name="TextBox 8">
            <a:extLst>
              <a:ext uri="{FF2B5EF4-FFF2-40B4-BE49-F238E27FC236}">
                <a16:creationId xmlns:a16="http://schemas.microsoft.com/office/drawing/2014/main" id="{ED12C6BE-DA3B-8C46-ABA6-136467AE2EFE}"/>
              </a:ext>
            </a:extLst>
          </p:cNvPr>
          <p:cNvSpPr txBox="1"/>
          <p:nvPr/>
        </p:nvSpPr>
        <p:spPr>
          <a:xfrm>
            <a:off x="5566758" y="8292956"/>
            <a:ext cx="243317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Telecomm</a:t>
            </a:r>
            <a:endParaRPr lang="en-US" sz="2800" dirty="0"/>
          </a:p>
        </p:txBody>
      </p:sp>
      <p:sp>
        <p:nvSpPr>
          <p:cNvPr id="10" name="TextBox 9">
            <a:extLst>
              <a:ext uri="{FF2B5EF4-FFF2-40B4-BE49-F238E27FC236}">
                <a16:creationId xmlns:a16="http://schemas.microsoft.com/office/drawing/2014/main" id="{7C5C5402-9F5F-9E45-B457-3FAEE9DDE84A}"/>
              </a:ext>
            </a:extLst>
          </p:cNvPr>
          <p:cNvSpPr txBox="1"/>
          <p:nvPr/>
        </p:nvSpPr>
        <p:spPr>
          <a:xfrm>
            <a:off x="9811176" y="8292956"/>
            <a:ext cx="211138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Lifescience</a:t>
            </a:r>
            <a:endParaRPr lang="en-US" sz="2800" dirty="0"/>
          </a:p>
        </p:txBody>
      </p:sp>
      <p:sp>
        <p:nvSpPr>
          <p:cNvPr id="11" name="TextBox 10">
            <a:extLst>
              <a:ext uri="{FF2B5EF4-FFF2-40B4-BE49-F238E27FC236}">
                <a16:creationId xmlns:a16="http://schemas.microsoft.com/office/drawing/2014/main" id="{AD1D5A88-D5E1-8845-A510-F5CEC4990D5C}"/>
              </a:ext>
            </a:extLst>
          </p:cNvPr>
          <p:cNvSpPr txBox="1"/>
          <p:nvPr/>
        </p:nvSpPr>
        <p:spPr>
          <a:xfrm>
            <a:off x="14110900" y="8292956"/>
            <a:ext cx="134363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Utilities</a:t>
            </a:r>
          </a:p>
        </p:txBody>
      </p:sp>
      <p:sp>
        <p:nvSpPr>
          <p:cNvPr id="12" name="TextBox 11">
            <a:extLst>
              <a:ext uri="{FF2B5EF4-FFF2-40B4-BE49-F238E27FC236}">
                <a16:creationId xmlns:a16="http://schemas.microsoft.com/office/drawing/2014/main" id="{6EFBE9E3-0C71-7040-9FF7-F58D4B5E6C47}"/>
              </a:ext>
            </a:extLst>
          </p:cNvPr>
          <p:cNvSpPr txBox="1"/>
          <p:nvPr/>
        </p:nvSpPr>
        <p:spPr>
          <a:xfrm>
            <a:off x="21472605" y="8292956"/>
            <a:ext cx="116570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edia</a:t>
            </a:r>
          </a:p>
        </p:txBody>
      </p:sp>
      <p:sp>
        <p:nvSpPr>
          <p:cNvPr id="13" name="TextBox 12">
            <a:extLst>
              <a:ext uri="{FF2B5EF4-FFF2-40B4-BE49-F238E27FC236}">
                <a16:creationId xmlns:a16="http://schemas.microsoft.com/office/drawing/2014/main" id="{5545DC59-6554-1D4C-B5A6-6D465C5A06D2}"/>
              </a:ext>
            </a:extLst>
          </p:cNvPr>
          <p:cNvSpPr txBox="1"/>
          <p:nvPr/>
        </p:nvSpPr>
        <p:spPr>
          <a:xfrm>
            <a:off x="1746717" y="11657695"/>
            <a:ext cx="176522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surance</a:t>
            </a:r>
          </a:p>
        </p:txBody>
      </p:sp>
      <p:sp>
        <p:nvSpPr>
          <p:cNvPr id="14" name="TextBox 13">
            <a:extLst>
              <a:ext uri="{FF2B5EF4-FFF2-40B4-BE49-F238E27FC236}">
                <a16:creationId xmlns:a16="http://schemas.microsoft.com/office/drawing/2014/main" id="{AB49DE3C-BCE6-5847-B855-BA4BED5EAC55}"/>
              </a:ext>
            </a:extLst>
          </p:cNvPr>
          <p:cNvSpPr txBox="1"/>
          <p:nvPr/>
        </p:nvSpPr>
        <p:spPr>
          <a:xfrm>
            <a:off x="6121143" y="11657695"/>
            <a:ext cx="132440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ergy</a:t>
            </a:r>
          </a:p>
        </p:txBody>
      </p:sp>
      <p:sp>
        <p:nvSpPr>
          <p:cNvPr id="15" name="TextBox 14">
            <a:extLst>
              <a:ext uri="{FF2B5EF4-FFF2-40B4-BE49-F238E27FC236}">
                <a16:creationId xmlns:a16="http://schemas.microsoft.com/office/drawing/2014/main" id="{E959B387-610D-C840-8157-CD2A8B231459}"/>
              </a:ext>
            </a:extLst>
          </p:cNvPr>
          <p:cNvSpPr txBox="1"/>
          <p:nvPr/>
        </p:nvSpPr>
        <p:spPr>
          <a:xfrm>
            <a:off x="9680042" y="11657695"/>
            <a:ext cx="230223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ublic Sector</a:t>
            </a:r>
          </a:p>
        </p:txBody>
      </p:sp>
      <p:sp>
        <p:nvSpPr>
          <p:cNvPr id="16" name="TextBox 15">
            <a:extLst>
              <a:ext uri="{FF2B5EF4-FFF2-40B4-BE49-F238E27FC236}">
                <a16:creationId xmlns:a16="http://schemas.microsoft.com/office/drawing/2014/main" id="{2F7EA502-E932-1D43-8D49-6623631E8CA8}"/>
              </a:ext>
            </a:extLst>
          </p:cNvPr>
          <p:cNvSpPr txBox="1"/>
          <p:nvPr/>
        </p:nvSpPr>
        <p:spPr>
          <a:xfrm>
            <a:off x="13729385" y="11657695"/>
            <a:ext cx="210666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ngineering</a:t>
            </a:r>
          </a:p>
        </p:txBody>
      </p:sp>
      <p:sp>
        <p:nvSpPr>
          <p:cNvPr id="17" name="TextBox 16">
            <a:extLst>
              <a:ext uri="{FF2B5EF4-FFF2-40B4-BE49-F238E27FC236}">
                <a16:creationId xmlns:a16="http://schemas.microsoft.com/office/drawing/2014/main" id="{42154A85-B92F-524C-B6D0-2A5ED5207BB7}"/>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ean Energy</a:t>
            </a:r>
          </a:p>
        </p:txBody>
      </p:sp>
      <p:sp>
        <p:nvSpPr>
          <p:cNvPr id="18" name="Freeform: Shape 3">
            <a:extLst>
              <a:ext uri="{FF2B5EF4-FFF2-40B4-BE49-F238E27FC236}">
                <a16:creationId xmlns:a16="http://schemas.microsoft.com/office/drawing/2014/main" id="{5A659597-7278-A54E-8DD6-4A5E90C92CE5}"/>
              </a:ext>
            </a:extLst>
          </p:cNvPr>
          <p:cNvSpPr/>
          <p:nvPr/>
        </p:nvSpPr>
        <p:spPr>
          <a:xfrm>
            <a:off x="1806550" y="3099389"/>
            <a:ext cx="1645560" cy="1690919"/>
          </a:xfrm>
          <a:custGeom>
            <a:avLst/>
            <a:gdLst/>
            <a:ahLst/>
            <a:cxnLst>
              <a:cxn ang="3cd4">
                <a:pos x="hc" y="t"/>
              </a:cxn>
              <a:cxn ang="cd2">
                <a:pos x="l" y="vc"/>
              </a:cxn>
              <a:cxn ang="cd4">
                <a:pos x="hc" y="b"/>
              </a:cxn>
              <a:cxn ang="0">
                <a:pos x="r" y="vc"/>
              </a:cxn>
            </a:cxnLst>
            <a:rect l="l" t="t" r="r" b="b"/>
            <a:pathLst>
              <a:path w="4572" h="4698">
                <a:moveTo>
                  <a:pt x="246" y="3759"/>
                </a:moveTo>
                <a:cubicBezTo>
                  <a:pt x="261" y="3791"/>
                  <a:pt x="278" y="3807"/>
                  <a:pt x="309" y="3807"/>
                </a:cubicBezTo>
                <a:cubicBezTo>
                  <a:pt x="325" y="3807"/>
                  <a:pt x="341" y="3791"/>
                  <a:pt x="357" y="3791"/>
                </a:cubicBezTo>
                <a:lnTo>
                  <a:pt x="2536" y="2360"/>
                </a:lnTo>
                <a:lnTo>
                  <a:pt x="2870" y="2853"/>
                </a:lnTo>
                <a:lnTo>
                  <a:pt x="2775" y="2916"/>
                </a:lnTo>
                <a:cubicBezTo>
                  <a:pt x="2759" y="2932"/>
                  <a:pt x="2743" y="2948"/>
                  <a:pt x="2743" y="2964"/>
                </a:cubicBezTo>
                <a:cubicBezTo>
                  <a:pt x="2727" y="2996"/>
                  <a:pt x="2743" y="3012"/>
                  <a:pt x="2743" y="3028"/>
                </a:cubicBezTo>
                <a:lnTo>
                  <a:pt x="2965" y="3346"/>
                </a:lnTo>
                <a:cubicBezTo>
                  <a:pt x="2981" y="3377"/>
                  <a:pt x="2997" y="3393"/>
                  <a:pt x="3029" y="3393"/>
                </a:cubicBezTo>
                <a:cubicBezTo>
                  <a:pt x="3045" y="3393"/>
                  <a:pt x="3061" y="3377"/>
                  <a:pt x="3077" y="3377"/>
                </a:cubicBezTo>
                <a:lnTo>
                  <a:pt x="4540" y="2407"/>
                </a:lnTo>
                <a:cubicBezTo>
                  <a:pt x="4556" y="2407"/>
                  <a:pt x="4572" y="2375"/>
                  <a:pt x="4572" y="2360"/>
                </a:cubicBezTo>
                <a:lnTo>
                  <a:pt x="4572" y="2296"/>
                </a:lnTo>
                <a:lnTo>
                  <a:pt x="4349" y="1978"/>
                </a:lnTo>
                <a:cubicBezTo>
                  <a:pt x="4333" y="1946"/>
                  <a:pt x="4286" y="1930"/>
                  <a:pt x="4238" y="1962"/>
                </a:cubicBezTo>
                <a:lnTo>
                  <a:pt x="4142" y="2026"/>
                </a:lnTo>
                <a:lnTo>
                  <a:pt x="3172" y="530"/>
                </a:lnTo>
                <a:lnTo>
                  <a:pt x="3268" y="467"/>
                </a:lnTo>
                <a:cubicBezTo>
                  <a:pt x="3284" y="451"/>
                  <a:pt x="3299" y="435"/>
                  <a:pt x="3299" y="419"/>
                </a:cubicBezTo>
                <a:cubicBezTo>
                  <a:pt x="3299" y="403"/>
                  <a:pt x="3299" y="372"/>
                  <a:pt x="3284" y="356"/>
                </a:cubicBezTo>
                <a:lnTo>
                  <a:pt x="3077" y="38"/>
                </a:lnTo>
                <a:cubicBezTo>
                  <a:pt x="3061" y="6"/>
                  <a:pt x="2997" y="-10"/>
                  <a:pt x="2965" y="6"/>
                </a:cubicBezTo>
                <a:lnTo>
                  <a:pt x="1502" y="976"/>
                </a:lnTo>
                <a:cubicBezTo>
                  <a:pt x="1470" y="992"/>
                  <a:pt x="1470" y="1008"/>
                  <a:pt x="1454" y="1024"/>
                </a:cubicBezTo>
                <a:cubicBezTo>
                  <a:pt x="1454" y="1056"/>
                  <a:pt x="1454" y="1071"/>
                  <a:pt x="1470" y="1087"/>
                </a:cubicBezTo>
                <a:lnTo>
                  <a:pt x="1677" y="1405"/>
                </a:lnTo>
                <a:cubicBezTo>
                  <a:pt x="1693" y="1437"/>
                  <a:pt x="1725" y="1453"/>
                  <a:pt x="1757" y="1453"/>
                </a:cubicBezTo>
                <a:cubicBezTo>
                  <a:pt x="1772" y="1453"/>
                  <a:pt x="1778" y="1443"/>
                  <a:pt x="1788" y="1437"/>
                </a:cubicBezTo>
                <a:lnTo>
                  <a:pt x="1884" y="1374"/>
                </a:lnTo>
                <a:lnTo>
                  <a:pt x="2218" y="1866"/>
                </a:lnTo>
                <a:lnTo>
                  <a:pt x="39" y="3314"/>
                </a:lnTo>
                <a:cubicBezTo>
                  <a:pt x="23" y="3314"/>
                  <a:pt x="7" y="3330"/>
                  <a:pt x="7" y="3362"/>
                </a:cubicBezTo>
                <a:cubicBezTo>
                  <a:pt x="-9" y="3377"/>
                  <a:pt x="7" y="3393"/>
                  <a:pt x="7" y="3410"/>
                </a:cubicBezTo>
                <a:close/>
                <a:moveTo>
                  <a:pt x="4269" y="2137"/>
                </a:moveTo>
                <a:lnTo>
                  <a:pt x="4381" y="2328"/>
                </a:lnTo>
                <a:lnTo>
                  <a:pt x="3045" y="3202"/>
                </a:lnTo>
                <a:lnTo>
                  <a:pt x="2918" y="3012"/>
                </a:lnTo>
                <a:lnTo>
                  <a:pt x="3013" y="2948"/>
                </a:lnTo>
                <a:lnTo>
                  <a:pt x="4174" y="2201"/>
                </a:lnTo>
                <a:close/>
                <a:moveTo>
                  <a:pt x="1772" y="1262"/>
                </a:moveTo>
                <a:lnTo>
                  <a:pt x="1645" y="1071"/>
                </a:lnTo>
                <a:lnTo>
                  <a:pt x="2981" y="196"/>
                </a:lnTo>
                <a:lnTo>
                  <a:pt x="3109" y="372"/>
                </a:lnTo>
                <a:lnTo>
                  <a:pt x="3013" y="435"/>
                </a:lnTo>
                <a:lnTo>
                  <a:pt x="1868" y="1199"/>
                </a:lnTo>
                <a:close/>
                <a:moveTo>
                  <a:pt x="2027" y="1278"/>
                </a:moveTo>
                <a:lnTo>
                  <a:pt x="3045" y="610"/>
                </a:lnTo>
                <a:lnTo>
                  <a:pt x="4015" y="2105"/>
                </a:lnTo>
                <a:lnTo>
                  <a:pt x="2997" y="2773"/>
                </a:lnTo>
                <a:lnTo>
                  <a:pt x="2424" y="1914"/>
                </a:lnTo>
                <a:lnTo>
                  <a:pt x="2393" y="1851"/>
                </a:lnTo>
                <a:close/>
                <a:moveTo>
                  <a:pt x="2314" y="2010"/>
                </a:moveTo>
                <a:lnTo>
                  <a:pt x="2441" y="2217"/>
                </a:lnTo>
                <a:lnTo>
                  <a:pt x="325" y="3616"/>
                </a:lnTo>
                <a:lnTo>
                  <a:pt x="182" y="3393"/>
                </a:lnTo>
                <a:close/>
                <a:moveTo>
                  <a:pt x="4238" y="4141"/>
                </a:moveTo>
                <a:lnTo>
                  <a:pt x="2266" y="4157"/>
                </a:lnTo>
                <a:cubicBezTo>
                  <a:pt x="2250" y="4157"/>
                  <a:pt x="2234" y="4157"/>
                  <a:pt x="2218" y="4173"/>
                </a:cubicBezTo>
                <a:cubicBezTo>
                  <a:pt x="2202" y="4189"/>
                  <a:pt x="2186" y="4220"/>
                  <a:pt x="2186" y="4237"/>
                </a:cubicBezTo>
                <a:lnTo>
                  <a:pt x="2186" y="4618"/>
                </a:lnTo>
                <a:cubicBezTo>
                  <a:pt x="2186" y="4666"/>
                  <a:pt x="2234" y="4698"/>
                  <a:pt x="2266" y="4698"/>
                </a:cubicBezTo>
                <a:lnTo>
                  <a:pt x="4238" y="4698"/>
                </a:lnTo>
                <a:cubicBezTo>
                  <a:pt x="4254" y="4698"/>
                  <a:pt x="4269" y="4682"/>
                  <a:pt x="4286" y="4666"/>
                </a:cubicBezTo>
                <a:cubicBezTo>
                  <a:pt x="4302" y="4650"/>
                  <a:pt x="4317" y="4634"/>
                  <a:pt x="4317" y="4618"/>
                </a:cubicBezTo>
                <a:lnTo>
                  <a:pt x="4317" y="4220"/>
                </a:lnTo>
                <a:cubicBezTo>
                  <a:pt x="4317" y="4189"/>
                  <a:pt x="4269" y="4141"/>
                  <a:pt x="4238" y="4141"/>
                </a:cubicBezTo>
                <a:close/>
                <a:moveTo>
                  <a:pt x="2345" y="4538"/>
                </a:moveTo>
                <a:lnTo>
                  <a:pt x="2345" y="4316"/>
                </a:lnTo>
                <a:lnTo>
                  <a:pt x="4158" y="4300"/>
                </a:lnTo>
                <a:lnTo>
                  <a:pt x="4158" y="4538"/>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9" name="Freeform: Shape 10">
            <a:extLst>
              <a:ext uri="{FF2B5EF4-FFF2-40B4-BE49-F238E27FC236}">
                <a16:creationId xmlns:a16="http://schemas.microsoft.com/office/drawing/2014/main" id="{EA7E2FC0-3E92-0445-9732-EF65E86A1BFD}"/>
              </a:ext>
            </a:extLst>
          </p:cNvPr>
          <p:cNvSpPr/>
          <p:nvPr/>
        </p:nvSpPr>
        <p:spPr>
          <a:xfrm>
            <a:off x="5981983" y="3134848"/>
            <a:ext cx="1602720" cy="1620000"/>
          </a:xfrm>
          <a:custGeom>
            <a:avLst/>
            <a:gdLst/>
            <a:ahLst/>
            <a:cxnLst>
              <a:cxn ang="3cd4">
                <a:pos x="hc" y="t"/>
              </a:cxn>
              <a:cxn ang="cd2">
                <a:pos x="l" y="vc"/>
              </a:cxn>
              <a:cxn ang="cd4">
                <a:pos x="hc" y="b"/>
              </a:cxn>
              <a:cxn ang="0">
                <a:pos x="r" y="vc"/>
              </a:cxn>
            </a:cxnLst>
            <a:rect l="l" t="t" r="r" b="b"/>
            <a:pathLst>
              <a:path w="4453" h="4501">
                <a:moveTo>
                  <a:pt x="1527" y="4501"/>
                </a:moveTo>
                <a:cubicBezTo>
                  <a:pt x="2274" y="4501"/>
                  <a:pt x="2894" y="3976"/>
                  <a:pt x="3022" y="3276"/>
                </a:cubicBezTo>
                <a:cubicBezTo>
                  <a:pt x="3706" y="3261"/>
                  <a:pt x="4453" y="3101"/>
                  <a:pt x="4453" y="2783"/>
                </a:cubicBezTo>
                <a:lnTo>
                  <a:pt x="4453" y="2768"/>
                </a:lnTo>
                <a:lnTo>
                  <a:pt x="4453" y="477"/>
                </a:lnTo>
                <a:cubicBezTo>
                  <a:pt x="4453" y="-159"/>
                  <a:pt x="1368" y="-159"/>
                  <a:pt x="1368" y="477"/>
                </a:cubicBezTo>
                <a:lnTo>
                  <a:pt x="1368" y="1479"/>
                </a:lnTo>
                <a:cubicBezTo>
                  <a:pt x="604" y="1559"/>
                  <a:pt x="0" y="2195"/>
                  <a:pt x="0" y="2990"/>
                </a:cubicBezTo>
                <a:cubicBezTo>
                  <a:pt x="0" y="3833"/>
                  <a:pt x="684" y="4501"/>
                  <a:pt x="1527" y="4501"/>
                </a:cubicBezTo>
                <a:close/>
                <a:moveTo>
                  <a:pt x="3038" y="3118"/>
                </a:moveTo>
                <a:cubicBezTo>
                  <a:pt x="3054" y="3070"/>
                  <a:pt x="3054" y="3022"/>
                  <a:pt x="3054" y="2990"/>
                </a:cubicBezTo>
                <a:cubicBezTo>
                  <a:pt x="3054" y="2815"/>
                  <a:pt x="3022" y="2640"/>
                  <a:pt x="2958" y="2497"/>
                </a:cubicBezTo>
                <a:cubicBezTo>
                  <a:pt x="3499" y="2481"/>
                  <a:pt x="4024" y="2402"/>
                  <a:pt x="4294" y="2243"/>
                </a:cubicBezTo>
                <a:lnTo>
                  <a:pt x="4294" y="2052"/>
                </a:lnTo>
                <a:cubicBezTo>
                  <a:pt x="4167" y="2179"/>
                  <a:pt x="3706" y="2338"/>
                  <a:pt x="2911" y="2338"/>
                </a:cubicBezTo>
                <a:lnTo>
                  <a:pt x="2894" y="2338"/>
                </a:lnTo>
                <a:cubicBezTo>
                  <a:pt x="2783" y="2083"/>
                  <a:pt x="2593" y="1861"/>
                  <a:pt x="2354" y="1718"/>
                </a:cubicBezTo>
                <a:cubicBezTo>
                  <a:pt x="2529" y="1734"/>
                  <a:pt x="2720" y="1734"/>
                  <a:pt x="2911" y="1734"/>
                </a:cubicBezTo>
                <a:cubicBezTo>
                  <a:pt x="3451" y="1734"/>
                  <a:pt x="4008" y="1654"/>
                  <a:pt x="4294" y="1495"/>
                </a:cubicBezTo>
                <a:lnTo>
                  <a:pt x="4294" y="1304"/>
                </a:lnTo>
                <a:cubicBezTo>
                  <a:pt x="4167" y="1416"/>
                  <a:pt x="3706" y="1575"/>
                  <a:pt x="2911" y="1575"/>
                </a:cubicBezTo>
                <a:cubicBezTo>
                  <a:pt x="2115" y="1575"/>
                  <a:pt x="1654" y="1416"/>
                  <a:pt x="1527" y="1304"/>
                </a:cubicBezTo>
                <a:lnTo>
                  <a:pt x="1527" y="700"/>
                </a:lnTo>
                <a:cubicBezTo>
                  <a:pt x="1797" y="875"/>
                  <a:pt x="2354" y="970"/>
                  <a:pt x="2911" y="970"/>
                </a:cubicBezTo>
                <a:cubicBezTo>
                  <a:pt x="3467" y="970"/>
                  <a:pt x="4024" y="875"/>
                  <a:pt x="4294" y="700"/>
                </a:cubicBezTo>
                <a:lnTo>
                  <a:pt x="4294" y="2768"/>
                </a:lnTo>
                <a:lnTo>
                  <a:pt x="4294" y="2783"/>
                </a:lnTo>
                <a:cubicBezTo>
                  <a:pt x="4294" y="2895"/>
                  <a:pt x="3865" y="3086"/>
                  <a:pt x="3038" y="3118"/>
                </a:cubicBezTo>
                <a:close/>
                <a:moveTo>
                  <a:pt x="2911" y="143"/>
                </a:moveTo>
                <a:cubicBezTo>
                  <a:pt x="3817" y="143"/>
                  <a:pt x="4294" y="366"/>
                  <a:pt x="4294" y="477"/>
                </a:cubicBezTo>
                <a:cubicBezTo>
                  <a:pt x="4294" y="589"/>
                  <a:pt x="3817" y="811"/>
                  <a:pt x="2911" y="811"/>
                </a:cubicBezTo>
                <a:cubicBezTo>
                  <a:pt x="2004" y="811"/>
                  <a:pt x="1527" y="589"/>
                  <a:pt x="1527" y="477"/>
                </a:cubicBezTo>
                <a:cubicBezTo>
                  <a:pt x="1527" y="366"/>
                  <a:pt x="2004" y="143"/>
                  <a:pt x="2911" y="143"/>
                </a:cubicBezTo>
                <a:close/>
                <a:moveTo>
                  <a:pt x="1527" y="1622"/>
                </a:moveTo>
                <a:cubicBezTo>
                  <a:pt x="2274" y="1622"/>
                  <a:pt x="2894" y="2243"/>
                  <a:pt x="2894" y="2990"/>
                </a:cubicBezTo>
                <a:cubicBezTo>
                  <a:pt x="2894" y="3738"/>
                  <a:pt x="2274" y="4342"/>
                  <a:pt x="1527" y="4342"/>
                </a:cubicBezTo>
                <a:cubicBezTo>
                  <a:pt x="779" y="4342"/>
                  <a:pt x="159" y="3738"/>
                  <a:pt x="159" y="2990"/>
                </a:cubicBezTo>
                <a:cubicBezTo>
                  <a:pt x="159" y="2243"/>
                  <a:pt x="779" y="1622"/>
                  <a:pt x="1527" y="1622"/>
                </a:cubicBezTo>
                <a:close/>
                <a:moveTo>
                  <a:pt x="1034" y="3499"/>
                </a:moveTo>
                <a:cubicBezTo>
                  <a:pt x="1161" y="3595"/>
                  <a:pt x="1320" y="3658"/>
                  <a:pt x="1463" y="3674"/>
                </a:cubicBezTo>
                <a:lnTo>
                  <a:pt x="1463" y="3928"/>
                </a:lnTo>
                <a:cubicBezTo>
                  <a:pt x="1463" y="3961"/>
                  <a:pt x="1495" y="4008"/>
                  <a:pt x="1543" y="4008"/>
                </a:cubicBezTo>
                <a:cubicBezTo>
                  <a:pt x="1590" y="4008"/>
                  <a:pt x="1622" y="3961"/>
                  <a:pt x="1622" y="3928"/>
                </a:cubicBezTo>
                <a:lnTo>
                  <a:pt x="1622" y="3690"/>
                </a:lnTo>
                <a:cubicBezTo>
                  <a:pt x="1797" y="3674"/>
                  <a:pt x="1972" y="3579"/>
                  <a:pt x="2020" y="3388"/>
                </a:cubicBezTo>
                <a:cubicBezTo>
                  <a:pt x="2020" y="3372"/>
                  <a:pt x="2020" y="3356"/>
                  <a:pt x="2036" y="3356"/>
                </a:cubicBezTo>
                <a:cubicBezTo>
                  <a:pt x="2052" y="3229"/>
                  <a:pt x="2004" y="3118"/>
                  <a:pt x="1924" y="3054"/>
                </a:cubicBezTo>
                <a:cubicBezTo>
                  <a:pt x="1876" y="3006"/>
                  <a:pt x="1829" y="2974"/>
                  <a:pt x="1766" y="2958"/>
                </a:cubicBezTo>
                <a:cubicBezTo>
                  <a:pt x="1702" y="2927"/>
                  <a:pt x="1638" y="2911"/>
                  <a:pt x="1575" y="2895"/>
                </a:cubicBezTo>
                <a:cubicBezTo>
                  <a:pt x="1511" y="2863"/>
                  <a:pt x="1447" y="2847"/>
                  <a:pt x="1384" y="2831"/>
                </a:cubicBezTo>
                <a:cubicBezTo>
                  <a:pt x="1320" y="2800"/>
                  <a:pt x="1272" y="2768"/>
                  <a:pt x="1257" y="2736"/>
                </a:cubicBezTo>
                <a:cubicBezTo>
                  <a:pt x="1240" y="2672"/>
                  <a:pt x="1240" y="2592"/>
                  <a:pt x="1288" y="2545"/>
                </a:cubicBezTo>
                <a:cubicBezTo>
                  <a:pt x="1368" y="2449"/>
                  <a:pt x="1527" y="2449"/>
                  <a:pt x="1622" y="2465"/>
                </a:cubicBezTo>
                <a:cubicBezTo>
                  <a:pt x="1781" y="2481"/>
                  <a:pt x="1791" y="2529"/>
                  <a:pt x="1876" y="2561"/>
                </a:cubicBezTo>
                <a:cubicBezTo>
                  <a:pt x="1924" y="2592"/>
                  <a:pt x="1972" y="2577"/>
                  <a:pt x="1988" y="2545"/>
                </a:cubicBezTo>
                <a:cubicBezTo>
                  <a:pt x="2020" y="2513"/>
                  <a:pt x="2020" y="2465"/>
                  <a:pt x="1972" y="2434"/>
                </a:cubicBezTo>
                <a:cubicBezTo>
                  <a:pt x="1861" y="2391"/>
                  <a:pt x="1829" y="2338"/>
                  <a:pt x="1638" y="2306"/>
                </a:cubicBezTo>
                <a:lnTo>
                  <a:pt x="1622" y="2306"/>
                </a:lnTo>
                <a:lnTo>
                  <a:pt x="1622" y="2068"/>
                </a:lnTo>
                <a:cubicBezTo>
                  <a:pt x="1622" y="2020"/>
                  <a:pt x="1590" y="1988"/>
                  <a:pt x="1543" y="1988"/>
                </a:cubicBezTo>
                <a:cubicBezTo>
                  <a:pt x="1495" y="1988"/>
                  <a:pt x="1463" y="2020"/>
                  <a:pt x="1463" y="2068"/>
                </a:cubicBezTo>
                <a:lnTo>
                  <a:pt x="1463" y="2306"/>
                </a:lnTo>
                <a:cubicBezTo>
                  <a:pt x="1352" y="2322"/>
                  <a:pt x="1257" y="2354"/>
                  <a:pt x="1177" y="2434"/>
                </a:cubicBezTo>
                <a:cubicBezTo>
                  <a:pt x="1081" y="2545"/>
                  <a:pt x="1066" y="2672"/>
                  <a:pt x="1113" y="2800"/>
                </a:cubicBezTo>
                <a:cubicBezTo>
                  <a:pt x="1145" y="2863"/>
                  <a:pt x="1225" y="2927"/>
                  <a:pt x="1320" y="2974"/>
                </a:cubicBezTo>
                <a:cubicBezTo>
                  <a:pt x="1384" y="3006"/>
                  <a:pt x="1447" y="3022"/>
                  <a:pt x="1527" y="3038"/>
                </a:cubicBezTo>
                <a:cubicBezTo>
                  <a:pt x="1590" y="3054"/>
                  <a:pt x="1654" y="3086"/>
                  <a:pt x="1702" y="3101"/>
                </a:cubicBezTo>
                <a:cubicBezTo>
                  <a:pt x="1749" y="3118"/>
                  <a:pt x="1797" y="3133"/>
                  <a:pt x="1829" y="3165"/>
                </a:cubicBezTo>
                <a:cubicBezTo>
                  <a:pt x="1861" y="3197"/>
                  <a:pt x="1876" y="3261"/>
                  <a:pt x="1876" y="3324"/>
                </a:cubicBezTo>
                <a:cubicBezTo>
                  <a:pt x="1876" y="3340"/>
                  <a:pt x="1876" y="3340"/>
                  <a:pt x="1861" y="3356"/>
                </a:cubicBezTo>
                <a:cubicBezTo>
                  <a:pt x="1829" y="3467"/>
                  <a:pt x="1702" y="3531"/>
                  <a:pt x="1590" y="3531"/>
                </a:cubicBezTo>
                <a:cubicBezTo>
                  <a:pt x="1431" y="3547"/>
                  <a:pt x="1272" y="3483"/>
                  <a:pt x="1145" y="3372"/>
                </a:cubicBezTo>
                <a:cubicBezTo>
                  <a:pt x="1097" y="3340"/>
                  <a:pt x="1049" y="3356"/>
                  <a:pt x="1034" y="3388"/>
                </a:cubicBezTo>
                <a:cubicBezTo>
                  <a:pt x="1002" y="3419"/>
                  <a:pt x="1002" y="3467"/>
                  <a:pt x="1034" y="349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0" name="Freeform: Shape 2">
            <a:extLst>
              <a:ext uri="{FF2B5EF4-FFF2-40B4-BE49-F238E27FC236}">
                <a16:creationId xmlns:a16="http://schemas.microsoft.com/office/drawing/2014/main" id="{DFD4B573-A8C0-F54F-BA81-91601D3F1771}"/>
              </a:ext>
            </a:extLst>
          </p:cNvPr>
          <p:cNvSpPr/>
          <p:nvPr/>
        </p:nvSpPr>
        <p:spPr>
          <a:xfrm>
            <a:off x="10085310" y="3195689"/>
            <a:ext cx="1563119" cy="1498319"/>
          </a:xfrm>
          <a:custGeom>
            <a:avLst/>
            <a:gdLst/>
            <a:ahLst/>
            <a:cxnLst>
              <a:cxn ang="3cd4">
                <a:pos x="hc" y="t"/>
              </a:cxn>
              <a:cxn ang="cd2">
                <a:pos x="l" y="vc"/>
              </a:cxn>
              <a:cxn ang="cd4">
                <a:pos x="hc" y="b"/>
              </a:cxn>
              <a:cxn ang="0">
                <a:pos x="r" y="vc"/>
              </a:cxn>
            </a:cxnLst>
            <a:rect l="l" t="t" r="r" b="b"/>
            <a:pathLst>
              <a:path w="4343" h="4163">
                <a:moveTo>
                  <a:pt x="80" y="4163"/>
                </a:moveTo>
                <a:cubicBezTo>
                  <a:pt x="4263" y="4163"/>
                  <a:pt x="4263" y="4163"/>
                  <a:pt x="4263" y="4163"/>
                </a:cubicBezTo>
                <a:cubicBezTo>
                  <a:pt x="4311" y="4163"/>
                  <a:pt x="4343" y="4131"/>
                  <a:pt x="4343" y="4084"/>
                </a:cubicBezTo>
                <a:cubicBezTo>
                  <a:pt x="4343" y="3845"/>
                  <a:pt x="4343" y="3845"/>
                  <a:pt x="4343" y="3845"/>
                </a:cubicBezTo>
                <a:cubicBezTo>
                  <a:pt x="4343" y="3798"/>
                  <a:pt x="4311" y="3765"/>
                  <a:pt x="4263" y="3765"/>
                </a:cubicBezTo>
                <a:cubicBezTo>
                  <a:pt x="4152" y="3765"/>
                  <a:pt x="4152" y="3765"/>
                  <a:pt x="4152" y="3765"/>
                </a:cubicBezTo>
                <a:cubicBezTo>
                  <a:pt x="4152" y="3591"/>
                  <a:pt x="4152" y="3591"/>
                  <a:pt x="4152" y="3591"/>
                </a:cubicBezTo>
                <a:cubicBezTo>
                  <a:pt x="4152" y="3559"/>
                  <a:pt x="4104" y="3511"/>
                  <a:pt x="4072" y="3511"/>
                </a:cubicBezTo>
                <a:cubicBezTo>
                  <a:pt x="3898" y="3511"/>
                  <a:pt x="3898" y="3511"/>
                  <a:pt x="3898" y="3511"/>
                </a:cubicBezTo>
                <a:cubicBezTo>
                  <a:pt x="3898" y="1762"/>
                  <a:pt x="3898" y="1762"/>
                  <a:pt x="3898" y="1762"/>
                </a:cubicBezTo>
                <a:cubicBezTo>
                  <a:pt x="3961" y="1762"/>
                  <a:pt x="3961" y="1762"/>
                  <a:pt x="3961" y="1762"/>
                </a:cubicBezTo>
                <a:cubicBezTo>
                  <a:pt x="4009" y="1762"/>
                  <a:pt x="4041" y="1730"/>
                  <a:pt x="4041" y="1682"/>
                </a:cubicBezTo>
                <a:cubicBezTo>
                  <a:pt x="4041" y="1364"/>
                  <a:pt x="4041" y="1364"/>
                  <a:pt x="4041" y="1364"/>
                </a:cubicBezTo>
                <a:cubicBezTo>
                  <a:pt x="4263" y="1364"/>
                  <a:pt x="4263" y="1364"/>
                  <a:pt x="4263" y="1364"/>
                </a:cubicBezTo>
                <a:cubicBezTo>
                  <a:pt x="4311" y="1364"/>
                  <a:pt x="4343" y="1332"/>
                  <a:pt x="4343" y="1284"/>
                </a:cubicBezTo>
                <a:cubicBezTo>
                  <a:pt x="4343" y="887"/>
                  <a:pt x="4343" y="887"/>
                  <a:pt x="4343" y="887"/>
                </a:cubicBezTo>
                <a:cubicBezTo>
                  <a:pt x="4343" y="855"/>
                  <a:pt x="4327" y="823"/>
                  <a:pt x="4295" y="823"/>
                </a:cubicBezTo>
                <a:cubicBezTo>
                  <a:pt x="2275" y="12"/>
                  <a:pt x="2275" y="12"/>
                  <a:pt x="2275" y="12"/>
                </a:cubicBezTo>
                <a:cubicBezTo>
                  <a:pt x="2259" y="-4"/>
                  <a:pt x="2227" y="-4"/>
                  <a:pt x="2211" y="12"/>
                </a:cubicBezTo>
                <a:cubicBezTo>
                  <a:pt x="80" y="823"/>
                  <a:pt x="80" y="823"/>
                  <a:pt x="80" y="823"/>
                </a:cubicBezTo>
                <a:cubicBezTo>
                  <a:pt x="48" y="823"/>
                  <a:pt x="17" y="855"/>
                  <a:pt x="17" y="887"/>
                </a:cubicBezTo>
                <a:cubicBezTo>
                  <a:pt x="17" y="1284"/>
                  <a:pt x="17" y="1284"/>
                  <a:pt x="17" y="1284"/>
                </a:cubicBezTo>
                <a:cubicBezTo>
                  <a:pt x="17" y="1332"/>
                  <a:pt x="64" y="1364"/>
                  <a:pt x="96" y="1364"/>
                </a:cubicBezTo>
                <a:cubicBezTo>
                  <a:pt x="319" y="1364"/>
                  <a:pt x="319" y="1364"/>
                  <a:pt x="319" y="1364"/>
                </a:cubicBezTo>
                <a:cubicBezTo>
                  <a:pt x="319" y="1682"/>
                  <a:pt x="319" y="1682"/>
                  <a:pt x="319" y="1682"/>
                </a:cubicBezTo>
                <a:cubicBezTo>
                  <a:pt x="319" y="1730"/>
                  <a:pt x="351" y="1762"/>
                  <a:pt x="398" y="1762"/>
                </a:cubicBezTo>
                <a:cubicBezTo>
                  <a:pt x="462" y="1762"/>
                  <a:pt x="462" y="1762"/>
                  <a:pt x="462" y="1762"/>
                </a:cubicBezTo>
                <a:cubicBezTo>
                  <a:pt x="462" y="3511"/>
                  <a:pt x="462" y="3511"/>
                  <a:pt x="462" y="3511"/>
                </a:cubicBezTo>
                <a:cubicBezTo>
                  <a:pt x="287" y="3511"/>
                  <a:pt x="287" y="3511"/>
                  <a:pt x="287" y="3511"/>
                </a:cubicBezTo>
                <a:cubicBezTo>
                  <a:pt x="239" y="3511"/>
                  <a:pt x="208" y="3559"/>
                  <a:pt x="208" y="3591"/>
                </a:cubicBezTo>
                <a:cubicBezTo>
                  <a:pt x="208" y="3765"/>
                  <a:pt x="208" y="3765"/>
                  <a:pt x="208" y="3765"/>
                </a:cubicBezTo>
                <a:cubicBezTo>
                  <a:pt x="80" y="3765"/>
                  <a:pt x="80" y="3765"/>
                  <a:pt x="80" y="3765"/>
                </a:cubicBezTo>
                <a:cubicBezTo>
                  <a:pt x="33" y="3765"/>
                  <a:pt x="0" y="3798"/>
                  <a:pt x="0" y="3845"/>
                </a:cubicBezTo>
                <a:cubicBezTo>
                  <a:pt x="0" y="4084"/>
                  <a:pt x="0" y="4084"/>
                  <a:pt x="0" y="4084"/>
                </a:cubicBezTo>
                <a:cubicBezTo>
                  <a:pt x="0" y="4131"/>
                  <a:pt x="33" y="4163"/>
                  <a:pt x="80" y="4163"/>
                </a:cubicBezTo>
                <a:close/>
                <a:moveTo>
                  <a:pt x="3372" y="3511"/>
                </a:moveTo>
                <a:cubicBezTo>
                  <a:pt x="3372" y="1682"/>
                  <a:pt x="3372" y="1682"/>
                  <a:pt x="3372" y="1682"/>
                </a:cubicBezTo>
                <a:cubicBezTo>
                  <a:pt x="3372" y="1634"/>
                  <a:pt x="3341" y="1602"/>
                  <a:pt x="3293" y="1602"/>
                </a:cubicBezTo>
                <a:cubicBezTo>
                  <a:pt x="3229" y="1602"/>
                  <a:pt x="3229" y="1602"/>
                  <a:pt x="3229" y="1602"/>
                </a:cubicBezTo>
                <a:cubicBezTo>
                  <a:pt x="3229" y="1364"/>
                  <a:pt x="3229" y="1364"/>
                  <a:pt x="3229" y="1364"/>
                </a:cubicBezTo>
                <a:cubicBezTo>
                  <a:pt x="3881" y="1364"/>
                  <a:pt x="3881" y="1364"/>
                  <a:pt x="3881" y="1364"/>
                </a:cubicBezTo>
                <a:cubicBezTo>
                  <a:pt x="3881" y="1602"/>
                  <a:pt x="3881" y="1602"/>
                  <a:pt x="3881" y="1602"/>
                </a:cubicBezTo>
                <a:cubicBezTo>
                  <a:pt x="3818" y="1602"/>
                  <a:pt x="3818" y="1602"/>
                  <a:pt x="3818" y="1602"/>
                </a:cubicBezTo>
                <a:cubicBezTo>
                  <a:pt x="3786" y="1602"/>
                  <a:pt x="3738" y="1634"/>
                  <a:pt x="3738" y="1682"/>
                </a:cubicBezTo>
                <a:cubicBezTo>
                  <a:pt x="3738" y="3511"/>
                  <a:pt x="3738" y="3511"/>
                  <a:pt x="3738" y="3511"/>
                </a:cubicBezTo>
                <a:close/>
                <a:moveTo>
                  <a:pt x="3150" y="1762"/>
                </a:moveTo>
                <a:cubicBezTo>
                  <a:pt x="3214" y="1762"/>
                  <a:pt x="3214" y="1762"/>
                  <a:pt x="3214" y="1762"/>
                </a:cubicBezTo>
                <a:cubicBezTo>
                  <a:pt x="3214" y="3511"/>
                  <a:pt x="3214" y="3511"/>
                  <a:pt x="3214" y="3511"/>
                </a:cubicBezTo>
                <a:cubicBezTo>
                  <a:pt x="2530" y="3511"/>
                  <a:pt x="2530" y="3511"/>
                  <a:pt x="2530" y="3511"/>
                </a:cubicBezTo>
                <a:cubicBezTo>
                  <a:pt x="2530" y="1762"/>
                  <a:pt x="2530" y="1762"/>
                  <a:pt x="2530" y="1762"/>
                </a:cubicBezTo>
                <a:cubicBezTo>
                  <a:pt x="2593" y="1762"/>
                  <a:pt x="2593" y="1762"/>
                  <a:pt x="2593" y="1762"/>
                </a:cubicBezTo>
                <a:cubicBezTo>
                  <a:pt x="2625" y="1762"/>
                  <a:pt x="2673" y="1730"/>
                  <a:pt x="2673" y="1682"/>
                </a:cubicBezTo>
                <a:cubicBezTo>
                  <a:pt x="2673" y="1364"/>
                  <a:pt x="2673" y="1364"/>
                  <a:pt x="2673" y="1364"/>
                </a:cubicBezTo>
                <a:cubicBezTo>
                  <a:pt x="3071" y="1364"/>
                  <a:pt x="3071" y="1364"/>
                  <a:pt x="3071" y="1364"/>
                </a:cubicBezTo>
                <a:cubicBezTo>
                  <a:pt x="3071" y="1682"/>
                  <a:pt x="3071" y="1682"/>
                  <a:pt x="3071" y="1682"/>
                </a:cubicBezTo>
                <a:cubicBezTo>
                  <a:pt x="3071" y="1730"/>
                  <a:pt x="3102" y="1762"/>
                  <a:pt x="3150" y="1762"/>
                </a:cubicBezTo>
                <a:close/>
                <a:moveTo>
                  <a:pt x="1989" y="3511"/>
                </a:moveTo>
                <a:cubicBezTo>
                  <a:pt x="1989" y="1682"/>
                  <a:pt x="1989" y="1682"/>
                  <a:pt x="1989" y="1682"/>
                </a:cubicBezTo>
                <a:cubicBezTo>
                  <a:pt x="1989" y="1634"/>
                  <a:pt x="1957" y="1602"/>
                  <a:pt x="1909" y="1602"/>
                </a:cubicBezTo>
                <a:cubicBezTo>
                  <a:pt x="1862" y="1602"/>
                  <a:pt x="1862" y="1602"/>
                  <a:pt x="1862" y="1602"/>
                </a:cubicBezTo>
                <a:cubicBezTo>
                  <a:pt x="1862" y="1364"/>
                  <a:pt x="1862" y="1364"/>
                  <a:pt x="1862" y="1364"/>
                </a:cubicBezTo>
                <a:cubicBezTo>
                  <a:pt x="2514" y="1364"/>
                  <a:pt x="2514" y="1364"/>
                  <a:pt x="2514" y="1364"/>
                </a:cubicBezTo>
                <a:cubicBezTo>
                  <a:pt x="2514" y="1602"/>
                  <a:pt x="2514" y="1602"/>
                  <a:pt x="2514" y="1602"/>
                </a:cubicBezTo>
                <a:cubicBezTo>
                  <a:pt x="2450" y="1602"/>
                  <a:pt x="2450" y="1602"/>
                  <a:pt x="2450" y="1602"/>
                </a:cubicBezTo>
                <a:cubicBezTo>
                  <a:pt x="2402" y="1602"/>
                  <a:pt x="2371" y="1634"/>
                  <a:pt x="2371" y="1682"/>
                </a:cubicBezTo>
                <a:cubicBezTo>
                  <a:pt x="2371" y="3511"/>
                  <a:pt x="2371" y="3511"/>
                  <a:pt x="2371" y="3511"/>
                </a:cubicBezTo>
                <a:close/>
                <a:moveTo>
                  <a:pt x="176" y="950"/>
                </a:moveTo>
                <a:cubicBezTo>
                  <a:pt x="2243" y="171"/>
                  <a:pt x="2243" y="171"/>
                  <a:pt x="2243" y="171"/>
                </a:cubicBezTo>
                <a:cubicBezTo>
                  <a:pt x="4184" y="950"/>
                  <a:pt x="4184" y="950"/>
                  <a:pt x="4184" y="950"/>
                </a:cubicBezTo>
                <a:cubicBezTo>
                  <a:pt x="4184" y="1205"/>
                  <a:pt x="4184" y="1205"/>
                  <a:pt x="4184" y="1205"/>
                </a:cubicBezTo>
                <a:cubicBezTo>
                  <a:pt x="176" y="1205"/>
                  <a:pt x="176" y="1205"/>
                  <a:pt x="176" y="1205"/>
                </a:cubicBezTo>
                <a:close/>
                <a:moveTo>
                  <a:pt x="1702" y="1364"/>
                </a:moveTo>
                <a:cubicBezTo>
                  <a:pt x="1702" y="1682"/>
                  <a:pt x="1702" y="1682"/>
                  <a:pt x="1702" y="1682"/>
                </a:cubicBezTo>
                <a:cubicBezTo>
                  <a:pt x="1702" y="1730"/>
                  <a:pt x="1735" y="1762"/>
                  <a:pt x="1782" y="1762"/>
                </a:cubicBezTo>
                <a:cubicBezTo>
                  <a:pt x="1830" y="1762"/>
                  <a:pt x="1830" y="1762"/>
                  <a:pt x="1830" y="1762"/>
                </a:cubicBezTo>
                <a:cubicBezTo>
                  <a:pt x="1830" y="3511"/>
                  <a:pt x="1830" y="3511"/>
                  <a:pt x="1830" y="3511"/>
                </a:cubicBezTo>
                <a:cubicBezTo>
                  <a:pt x="1162" y="3511"/>
                  <a:pt x="1162" y="3511"/>
                  <a:pt x="1162" y="3511"/>
                </a:cubicBezTo>
                <a:cubicBezTo>
                  <a:pt x="1162" y="1762"/>
                  <a:pt x="1162" y="1762"/>
                  <a:pt x="1162" y="1762"/>
                </a:cubicBezTo>
                <a:cubicBezTo>
                  <a:pt x="1209" y="1762"/>
                  <a:pt x="1209" y="1762"/>
                  <a:pt x="1209" y="1762"/>
                </a:cubicBezTo>
                <a:cubicBezTo>
                  <a:pt x="1257" y="1762"/>
                  <a:pt x="1289" y="1730"/>
                  <a:pt x="1289" y="1682"/>
                </a:cubicBezTo>
                <a:cubicBezTo>
                  <a:pt x="1289" y="1364"/>
                  <a:pt x="1289" y="1364"/>
                  <a:pt x="1289" y="1364"/>
                </a:cubicBezTo>
                <a:close/>
                <a:moveTo>
                  <a:pt x="542" y="1602"/>
                </a:moveTo>
                <a:cubicBezTo>
                  <a:pt x="478" y="1602"/>
                  <a:pt x="478" y="1602"/>
                  <a:pt x="478" y="1602"/>
                </a:cubicBezTo>
                <a:cubicBezTo>
                  <a:pt x="478" y="1364"/>
                  <a:pt x="478" y="1364"/>
                  <a:pt x="478" y="1364"/>
                </a:cubicBezTo>
                <a:cubicBezTo>
                  <a:pt x="1130" y="1364"/>
                  <a:pt x="1130" y="1364"/>
                  <a:pt x="1130" y="1364"/>
                </a:cubicBezTo>
                <a:cubicBezTo>
                  <a:pt x="1130" y="1602"/>
                  <a:pt x="1130" y="1602"/>
                  <a:pt x="1130" y="1602"/>
                </a:cubicBezTo>
                <a:cubicBezTo>
                  <a:pt x="1082" y="1602"/>
                  <a:pt x="1082" y="1602"/>
                  <a:pt x="1082" y="1602"/>
                </a:cubicBezTo>
                <a:cubicBezTo>
                  <a:pt x="1035" y="1602"/>
                  <a:pt x="1003" y="1634"/>
                  <a:pt x="1003" y="1682"/>
                </a:cubicBezTo>
                <a:cubicBezTo>
                  <a:pt x="1003" y="3511"/>
                  <a:pt x="1003" y="3511"/>
                  <a:pt x="1003" y="3511"/>
                </a:cubicBezTo>
                <a:cubicBezTo>
                  <a:pt x="621" y="3511"/>
                  <a:pt x="621" y="3511"/>
                  <a:pt x="621" y="3511"/>
                </a:cubicBezTo>
                <a:cubicBezTo>
                  <a:pt x="621" y="1682"/>
                  <a:pt x="621" y="1682"/>
                  <a:pt x="621" y="1682"/>
                </a:cubicBezTo>
                <a:cubicBezTo>
                  <a:pt x="621" y="1634"/>
                  <a:pt x="589" y="1602"/>
                  <a:pt x="542" y="1602"/>
                </a:cubicBezTo>
                <a:close/>
                <a:moveTo>
                  <a:pt x="160" y="3925"/>
                </a:moveTo>
                <a:cubicBezTo>
                  <a:pt x="287" y="3925"/>
                  <a:pt x="287" y="3925"/>
                  <a:pt x="287" y="3925"/>
                </a:cubicBezTo>
                <a:cubicBezTo>
                  <a:pt x="335" y="3925"/>
                  <a:pt x="366" y="3893"/>
                  <a:pt x="366" y="3845"/>
                </a:cubicBezTo>
                <a:cubicBezTo>
                  <a:pt x="366" y="3670"/>
                  <a:pt x="366" y="3670"/>
                  <a:pt x="366" y="3670"/>
                </a:cubicBezTo>
                <a:cubicBezTo>
                  <a:pt x="526" y="3670"/>
                  <a:pt x="526" y="3670"/>
                  <a:pt x="526" y="3670"/>
                </a:cubicBezTo>
                <a:cubicBezTo>
                  <a:pt x="542" y="3670"/>
                  <a:pt x="542" y="3686"/>
                  <a:pt x="542" y="3686"/>
                </a:cubicBezTo>
                <a:cubicBezTo>
                  <a:pt x="1082" y="3686"/>
                  <a:pt x="1082" y="3686"/>
                  <a:pt x="1082" y="3686"/>
                </a:cubicBezTo>
                <a:lnTo>
                  <a:pt x="1082" y="3670"/>
                </a:lnTo>
                <a:cubicBezTo>
                  <a:pt x="1909" y="3670"/>
                  <a:pt x="1909" y="3670"/>
                  <a:pt x="1909" y="3670"/>
                </a:cubicBezTo>
                <a:lnTo>
                  <a:pt x="1909" y="3686"/>
                </a:lnTo>
                <a:cubicBezTo>
                  <a:pt x="2450" y="3686"/>
                  <a:pt x="2450" y="3686"/>
                  <a:pt x="2450" y="3686"/>
                </a:cubicBezTo>
                <a:lnTo>
                  <a:pt x="2450" y="3670"/>
                </a:lnTo>
                <a:cubicBezTo>
                  <a:pt x="3277" y="3670"/>
                  <a:pt x="3277" y="3670"/>
                  <a:pt x="3277" y="3670"/>
                </a:cubicBezTo>
                <a:lnTo>
                  <a:pt x="3293" y="3686"/>
                </a:lnTo>
                <a:cubicBezTo>
                  <a:pt x="3818" y="3686"/>
                  <a:pt x="3818" y="3686"/>
                  <a:pt x="3818" y="3686"/>
                </a:cubicBezTo>
                <a:cubicBezTo>
                  <a:pt x="3834" y="3686"/>
                  <a:pt x="3834" y="3670"/>
                  <a:pt x="3834" y="3670"/>
                </a:cubicBezTo>
                <a:cubicBezTo>
                  <a:pt x="3993" y="3670"/>
                  <a:pt x="3993" y="3670"/>
                  <a:pt x="3993" y="3670"/>
                </a:cubicBezTo>
                <a:cubicBezTo>
                  <a:pt x="3993" y="3845"/>
                  <a:pt x="3993" y="3845"/>
                  <a:pt x="3993" y="3845"/>
                </a:cubicBezTo>
                <a:cubicBezTo>
                  <a:pt x="3993" y="3893"/>
                  <a:pt x="4025" y="3925"/>
                  <a:pt x="4072" y="3925"/>
                </a:cubicBezTo>
                <a:cubicBezTo>
                  <a:pt x="4184" y="3925"/>
                  <a:pt x="4184" y="3925"/>
                  <a:pt x="4184" y="3925"/>
                </a:cubicBezTo>
                <a:cubicBezTo>
                  <a:pt x="4184" y="4004"/>
                  <a:pt x="4184" y="4004"/>
                  <a:pt x="4184" y="4004"/>
                </a:cubicBezTo>
                <a:cubicBezTo>
                  <a:pt x="160" y="4004"/>
                  <a:pt x="160" y="4004"/>
                  <a:pt x="160" y="400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1" name="Freeform: Shape 25">
            <a:extLst>
              <a:ext uri="{FF2B5EF4-FFF2-40B4-BE49-F238E27FC236}">
                <a16:creationId xmlns:a16="http://schemas.microsoft.com/office/drawing/2014/main" id="{162088B4-A653-1349-A204-A09FAF4B6274}"/>
              </a:ext>
            </a:extLst>
          </p:cNvPr>
          <p:cNvSpPr/>
          <p:nvPr/>
        </p:nvSpPr>
        <p:spPr>
          <a:xfrm>
            <a:off x="13812338" y="3381089"/>
            <a:ext cx="1940760" cy="1127519"/>
          </a:xfrm>
          <a:custGeom>
            <a:avLst/>
            <a:gdLst/>
            <a:ahLst/>
            <a:cxnLst>
              <a:cxn ang="3cd4">
                <a:pos x="hc" y="t"/>
              </a:cxn>
              <a:cxn ang="cd2">
                <a:pos x="l" y="vc"/>
              </a:cxn>
              <a:cxn ang="cd4">
                <a:pos x="hc" y="b"/>
              </a:cxn>
              <a:cxn ang="0">
                <a:pos x="r" y="vc"/>
              </a:cxn>
            </a:cxnLst>
            <a:rect l="l" t="t" r="r" b="b"/>
            <a:pathLst>
              <a:path w="5392" h="3133">
                <a:moveTo>
                  <a:pt x="48" y="1098"/>
                </a:moveTo>
                <a:cubicBezTo>
                  <a:pt x="1145" y="1511"/>
                  <a:pt x="1145" y="1511"/>
                  <a:pt x="1145" y="1511"/>
                </a:cubicBezTo>
                <a:cubicBezTo>
                  <a:pt x="1145" y="2720"/>
                  <a:pt x="1145" y="2720"/>
                  <a:pt x="1145" y="2720"/>
                </a:cubicBezTo>
                <a:cubicBezTo>
                  <a:pt x="1145" y="3054"/>
                  <a:pt x="2116" y="3133"/>
                  <a:pt x="2688" y="3133"/>
                </a:cubicBezTo>
                <a:cubicBezTo>
                  <a:pt x="3261" y="3133"/>
                  <a:pt x="4231" y="3054"/>
                  <a:pt x="4231" y="2720"/>
                </a:cubicBezTo>
                <a:cubicBezTo>
                  <a:pt x="4231" y="2720"/>
                  <a:pt x="4231" y="2704"/>
                  <a:pt x="4231" y="2688"/>
                </a:cubicBezTo>
                <a:cubicBezTo>
                  <a:pt x="4231" y="2704"/>
                  <a:pt x="4231" y="2720"/>
                  <a:pt x="4231" y="2720"/>
                </a:cubicBezTo>
                <a:cubicBezTo>
                  <a:pt x="4231" y="1511"/>
                  <a:pt x="4231" y="1511"/>
                  <a:pt x="4231" y="1511"/>
                </a:cubicBezTo>
                <a:cubicBezTo>
                  <a:pt x="4629" y="1368"/>
                  <a:pt x="4629" y="1368"/>
                  <a:pt x="4629" y="1368"/>
                </a:cubicBezTo>
                <a:cubicBezTo>
                  <a:pt x="4629" y="1877"/>
                  <a:pt x="4629" y="1877"/>
                  <a:pt x="4629" y="1877"/>
                </a:cubicBezTo>
                <a:cubicBezTo>
                  <a:pt x="4533" y="1908"/>
                  <a:pt x="4454" y="2004"/>
                  <a:pt x="4454" y="2131"/>
                </a:cubicBezTo>
                <a:cubicBezTo>
                  <a:pt x="4454" y="2195"/>
                  <a:pt x="4517" y="2370"/>
                  <a:pt x="4613" y="2640"/>
                </a:cubicBezTo>
                <a:cubicBezTo>
                  <a:pt x="4629" y="2656"/>
                  <a:pt x="4629" y="2672"/>
                  <a:pt x="4645" y="2688"/>
                </a:cubicBezTo>
                <a:cubicBezTo>
                  <a:pt x="4660" y="2704"/>
                  <a:pt x="4692" y="2720"/>
                  <a:pt x="4724" y="2720"/>
                </a:cubicBezTo>
                <a:cubicBezTo>
                  <a:pt x="4740" y="2720"/>
                  <a:pt x="4772" y="2704"/>
                  <a:pt x="4788" y="2688"/>
                </a:cubicBezTo>
                <a:cubicBezTo>
                  <a:pt x="4804" y="2672"/>
                  <a:pt x="4804" y="2656"/>
                  <a:pt x="4820" y="2640"/>
                </a:cubicBezTo>
                <a:cubicBezTo>
                  <a:pt x="4915" y="2370"/>
                  <a:pt x="4978" y="2195"/>
                  <a:pt x="4978" y="2131"/>
                </a:cubicBezTo>
                <a:cubicBezTo>
                  <a:pt x="4978" y="2004"/>
                  <a:pt x="4899" y="1908"/>
                  <a:pt x="4788" y="1877"/>
                </a:cubicBezTo>
                <a:cubicBezTo>
                  <a:pt x="4788" y="1304"/>
                  <a:pt x="4788" y="1304"/>
                  <a:pt x="4788" y="1304"/>
                </a:cubicBezTo>
                <a:cubicBezTo>
                  <a:pt x="5329" y="1098"/>
                  <a:pt x="5329" y="1098"/>
                  <a:pt x="5329" y="1098"/>
                </a:cubicBezTo>
                <a:cubicBezTo>
                  <a:pt x="5360" y="1098"/>
                  <a:pt x="5392" y="1066"/>
                  <a:pt x="5392" y="1034"/>
                </a:cubicBezTo>
                <a:cubicBezTo>
                  <a:pt x="5392" y="1002"/>
                  <a:pt x="5360" y="970"/>
                  <a:pt x="5329" y="954"/>
                </a:cubicBezTo>
                <a:cubicBezTo>
                  <a:pt x="4740" y="732"/>
                  <a:pt x="4740" y="732"/>
                  <a:pt x="4740" y="732"/>
                </a:cubicBezTo>
                <a:cubicBezTo>
                  <a:pt x="4645" y="604"/>
                  <a:pt x="4469" y="589"/>
                  <a:pt x="4374" y="589"/>
                </a:cubicBezTo>
                <a:cubicBezTo>
                  <a:pt x="4359" y="589"/>
                  <a:pt x="4342" y="589"/>
                  <a:pt x="4326" y="589"/>
                </a:cubicBezTo>
                <a:cubicBezTo>
                  <a:pt x="2720" y="0"/>
                  <a:pt x="2720" y="0"/>
                  <a:pt x="2720" y="0"/>
                </a:cubicBezTo>
                <a:cubicBezTo>
                  <a:pt x="2704" y="0"/>
                  <a:pt x="2688" y="0"/>
                  <a:pt x="2657" y="0"/>
                </a:cubicBezTo>
                <a:cubicBezTo>
                  <a:pt x="48" y="954"/>
                  <a:pt x="48" y="954"/>
                  <a:pt x="48" y="954"/>
                </a:cubicBezTo>
                <a:cubicBezTo>
                  <a:pt x="16" y="970"/>
                  <a:pt x="0" y="1002"/>
                  <a:pt x="0" y="1034"/>
                </a:cubicBezTo>
                <a:cubicBezTo>
                  <a:pt x="0" y="1066"/>
                  <a:pt x="16" y="1098"/>
                  <a:pt x="48" y="1098"/>
                </a:cubicBezTo>
                <a:close/>
                <a:moveTo>
                  <a:pt x="4708" y="2449"/>
                </a:moveTo>
                <a:cubicBezTo>
                  <a:pt x="4645" y="2259"/>
                  <a:pt x="4613" y="2147"/>
                  <a:pt x="4613" y="2131"/>
                </a:cubicBezTo>
                <a:cubicBezTo>
                  <a:pt x="4613" y="2068"/>
                  <a:pt x="4660" y="2020"/>
                  <a:pt x="4708" y="2020"/>
                </a:cubicBezTo>
                <a:cubicBezTo>
                  <a:pt x="4772" y="2020"/>
                  <a:pt x="4820" y="2068"/>
                  <a:pt x="4820" y="2131"/>
                </a:cubicBezTo>
                <a:cubicBezTo>
                  <a:pt x="4820" y="2147"/>
                  <a:pt x="4788" y="2259"/>
                  <a:pt x="4708" y="2449"/>
                </a:cubicBezTo>
                <a:close/>
                <a:moveTo>
                  <a:pt x="1305" y="1352"/>
                </a:moveTo>
                <a:cubicBezTo>
                  <a:pt x="1321" y="1272"/>
                  <a:pt x="1830" y="1098"/>
                  <a:pt x="2688" y="1098"/>
                </a:cubicBezTo>
                <a:cubicBezTo>
                  <a:pt x="3563" y="1098"/>
                  <a:pt x="4056" y="1272"/>
                  <a:pt x="4072" y="1352"/>
                </a:cubicBezTo>
                <a:cubicBezTo>
                  <a:pt x="4072" y="2529"/>
                  <a:pt x="4072" y="2529"/>
                  <a:pt x="4072" y="2529"/>
                </a:cubicBezTo>
                <a:cubicBezTo>
                  <a:pt x="3786" y="2370"/>
                  <a:pt x="3118" y="2322"/>
                  <a:pt x="2688" y="2322"/>
                </a:cubicBezTo>
                <a:cubicBezTo>
                  <a:pt x="2259" y="2322"/>
                  <a:pt x="1607" y="2370"/>
                  <a:pt x="1305" y="2529"/>
                </a:cubicBezTo>
                <a:cubicBezTo>
                  <a:pt x="1305" y="1463"/>
                  <a:pt x="1305" y="1463"/>
                  <a:pt x="1305" y="1463"/>
                </a:cubicBezTo>
                <a:close/>
                <a:moveTo>
                  <a:pt x="2688" y="2974"/>
                </a:moveTo>
                <a:cubicBezTo>
                  <a:pt x="1830" y="2974"/>
                  <a:pt x="1321" y="2815"/>
                  <a:pt x="1305" y="2720"/>
                </a:cubicBezTo>
                <a:cubicBezTo>
                  <a:pt x="1321" y="2640"/>
                  <a:pt x="1830" y="2481"/>
                  <a:pt x="2688" y="2481"/>
                </a:cubicBezTo>
                <a:cubicBezTo>
                  <a:pt x="3547" y="2481"/>
                  <a:pt x="4056" y="2640"/>
                  <a:pt x="4072" y="2720"/>
                </a:cubicBezTo>
                <a:cubicBezTo>
                  <a:pt x="4056" y="2815"/>
                  <a:pt x="3547" y="2974"/>
                  <a:pt x="2688" y="2974"/>
                </a:cubicBezTo>
                <a:close/>
                <a:moveTo>
                  <a:pt x="4231" y="2688"/>
                </a:moveTo>
                <a:close/>
                <a:moveTo>
                  <a:pt x="5074" y="1034"/>
                </a:moveTo>
                <a:cubicBezTo>
                  <a:pt x="4788" y="1129"/>
                  <a:pt x="4788" y="1129"/>
                  <a:pt x="4788" y="1129"/>
                </a:cubicBezTo>
                <a:cubicBezTo>
                  <a:pt x="4788" y="954"/>
                  <a:pt x="4788" y="954"/>
                  <a:pt x="4788" y="954"/>
                </a:cubicBezTo>
                <a:cubicBezTo>
                  <a:pt x="4788" y="954"/>
                  <a:pt x="4788" y="938"/>
                  <a:pt x="4788" y="923"/>
                </a:cubicBezTo>
                <a:close/>
                <a:moveTo>
                  <a:pt x="2688" y="159"/>
                </a:moveTo>
                <a:cubicBezTo>
                  <a:pt x="4279" y="732"/>
                  <a:pt x="4279" y="732"/>
                  <a:pt x="4279" y="732"/>
                </a:cubicBezTo>
                <a:cubicBezTo>
                  <a:pt x="4629" y="859"/>
                  <a:pt x="4629" y="859"/>
                  <a:pt x="4629" y="859"/>
                </a:cubicBezTo>
                <a:cubicBezTo>
                  <a:pt x="4629" y="891"/>
                  <a:pt x="4629" y="923"/>
                  <a:pt x="4629" y="954"/>
                </a:cubicBezTo>
                <a:cubicBezTo>
                  <a:pt x="4629" y="1193"/>
                  <a:pt x="4629" y="1193"/>
                  <a:pt x="4629" y="1193"/>
                </a:cubicBezTo>
                <a:cubicBezTo>
                  <a:pt x="4231" y="1352"/>
                  <a:pt x="4231" y="1352"/>
                  <a:pt x="4231" y="1352"/>
                </a:cubicBezTo>
                <a:cubicBezTo>
                  <a:pt x="4231" y="1034"/>
                  <a:pt x="3261" y="938"/>
                  <a:pt x="2688" y="938"/>
                </a:cubicBezTo>
                <a:cubicBezTo>
                  <a:pt x="2116" y="938"/>
                  <a:pt x="1161" y="1034"/>
                  <a:pt x="1145" y="1352"/>
                </a:cubicBezTo>
                <a:cubicBezTo>
                  <a:pt x="303" y="1034"/>
                  <a:pt x="303" y="1034"/>
                  <a:pt x="303" y="103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2" name="Freeform: Shape 26">
            <a:extLst>
              <a:ext uri="{FF2B5EF4-FFF2-40B4-BE49-F238E27FC236}">
                <a16:creationId xmlns:a16="http://schemas.microsoft.com/office/drawing/2014/main" id="{88D66C63-1FEE-A04C-B0C0-4BCEC8DD60B2}"/>
              </a:ext>
            </a:extLst>
          </p:cNvPr>
          <p:cNvSpPr/>
          <p:nvPr/>
        </p:nvSpPr>
        <p:spPr>
          <a:xfrm>
            <a:off x="10866869" y="394484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rgbClr val="01010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3" name="Freeform: Shape 8">
            <a:extLst>
              <a:ext uri="{FF2B5EF4-FFF2-40B4-BE49-F238E27FC236}">
                <a16:creationId xmlns:a16="http://schemas.microsoft.com/office/drawing/2014/main" id="{460E0C17-2C8F-FA41-8D54-5D1E26522C2A}"/>
              </a:ext>
            </a:extLst>
          </p:cNvPr>
          <p:cNvSpPr/>
          <p:nvPr/>
        </p:nvSpPr>
        <p:spPr>
          <a:xfrm>
            <a:off x="21179757" y="3300808"/>
            <a:ext cx="1751399" cy="1288080"/>
          </a:xfrm>
          <a:custGeom>
            <a:avLst/>
            <a:gdLst/>
            <a:ahLst/>
            <a:cxnLst>
              <a:cxn ang="3cd4">
                <a:pos x="hc" y="t"/>
              </a:cxn>
              <a:cxn ang="cd2">
                <a:pos x="l" y="vc"/>
              </a:cxn>
              <a:cxn ang="cd4">
                <a:pos x="hc" y="b"/>
              </a:cxn>
              <a:cxn ang="0">
                <a:pos x="r" y="vc"/>
              </a:cxn>
            </a:cxnLst>
            <a:rect l="l" t="t" r="r" b="b"/>
            <a:pathLst>
              <a:path w="4866" h="3579">
                <a:moveTo>
                  <a:pt x="286" y="3086"/>
                </a:moveTo>
                <a:cubicBezTo>
                  <a:pt x="699" y="3086"/>
                  <a:pt x="699" y="3086"/>
                  <a:pt x="699" y="3086"/>
                </a:cubicBezTo>
                <a:cubicBezTo>
                  <a:pt x="731" y="3372"/>
                  <a:pt x="970" y="3579"/>
                  <a:pt x="1256" y="3579"/>
                </a:cubicBezTo>
                <a:cubicBezTo>
                  <a:pt x="1542" y="3579"/>
                  <a:pt x="1781" y="3372"/>
                  <a:pt x="1828" y="3086"/>
                </a:cubicBezTo>
                <a:cubicBezTo>
                  <a:pt x="2751" y="3086"/>
                  <a:pt x="2751" y="3086"/>
                  <a:pt x="2751" y="3086"/>
                </a:cubicBezTo>
                <a:cubicBezTo>
                  <a:pt x="2815" y="3086"/>
                  <a:pt x="2894" y="3054"/>
                  <a:pt x="2926" y="3006"/>
                </a:cubicBezTo>
                <a:cubicBezTo>
                  <a:pt x="2990" y="3054"/>
                  <a:pt x="3053" y="3086"/>
                  <a:pt x="3117" y="3086"/>
                </a:cubicBezTo>
                <a:cubicBezTo>
                  <a:pt x="3244" y="3086"/>
                  <a:pt x="3244" y="3086"/>
                  <a:pt x="3244" y="3086"/>
                </a:cubicBezTo>
                <a:cubicBezTo>
                  <a:pt x="3276" y="3372"/>
                  <a:pt x="3515" y="3579"/>
                  <a:pt x="3801" y="3579"/>
                </a:cubicBezTo>
                <a:cubicBezTo>
                  <a:pt x="4087" y="3579"/>
                  <a:pt x="4326" y="3372"/>
                  <a:pt x="4373" y="3086"/>
                </a:cubicBezTo>
                <a:cubicBezTo>
                  <a:pt x="4596" y="3086"/>
                  <a:pt x="4596" y="3086"/>
                  <a:pt x="4596" y="3086"/>
                </a:cubicBezTo>
                <a:cubicBezTo>
                  <a:pt x="4739" y="3086"/>
                  <a:pt x="4866" y="2958"/>
                  <a:pt x="4866" y="2815"/>
                </a:cubicBezTo>
                <a:cubicBezTo>
                  <a:pt x="4866" y="1877"/>
                  <a:pt x="4866" y="1877"/>
                  <a:pt x="4866" y="1877"/>
                </a:cubicBezTo>
                <a:cubicBezTo>
                  <a:pt x="4866" y="1686"/>
                  <a:pt x="4723" y="1479"/>
                  <a:pt x="4708" y="1464"/>
                </a:cubicBezTo>
                <a:cubicBezTo>
                  <a:pt x="4453" y="1114"/>
                  <a:pt x="4453" y="1114"/>
                  <a:pt x="4453" y="1114"/>
                </a:cubicBezTo>
                <a:cubicBezTo>
                  <a:pt x="4437" y="1098"/>
                  <a:pt x="4437" y="1098"/>
                  <a:pt x="4437" y="1098"/>
                </a:cubicBezTo>
                <a:cubicBezTo>
                  <a:pt x="4309" y="923"/>
                  <a:pt x="4309" y="923"/>
                  <a:pt x="4309" y="923"/>
                </a:cubicBezTo>
                <a:cubicBezTo>
                  <a:pt x="4214" y="812"/>
                  <a:pt x="4071" y="684"/>
                  <a:pt x="3912" y="684"/>
                </a:cubicBezTo>
                <a:cubicBezTo>
                  <a:pt x="3117" y="684"/>
                  <a:pt x="3117" y="684"/>
                  <a:pt x="3117" y="684"/>
                </a:cubicBezTo>
                <a:cubicBezTo>
                  <a:pt x="3085" y="684"/>
                  <a:pt x="3037" y="684"/>
                  <a:pt x="3006" y="716"/>
                </a:cubicBezTo>
                <a:cubicBezTo>
                  <a:pt x="3006" y="255"/>
                  <a:pt x="3006" y="255"/>
                  <a:pt x="3006" y="255"/>
                </a:cubicBezTo>
                <a:cubicBezTo>
                  <a:pt x="3006" y="112"/>
                  <a:pt x="2894" y="0"/>
                  <a:pt x="2751" y="0"/>
                </a:cubicBezTo>
                <a:cubicBezTo>
                  <a:pt x="270" y="0"/>
                  <a:pt x="270" y="0"/>
                  <a:pt x="270" y="0"/>
                </a:cubicBezTo>
                <a:cubicBezTo>
                  <a:pt x="127" y="0"/>
                  <a:pt x="0" y="112"/>
                  <a:pt x="0" y="255"/>
                </a:cubicBezTo>
                <a:cubicBezTo>
                  <a:pt x="0" y="2815"/>
                  <a:pt x="0" y="2815"/>
                  <a:pt x="0" y="2815"/>
                </a:cubicBezTo>
                <a:cubicBezTo>
                  <a:pt x="0" y="2958"/>
                  <a:pt x="143" y="3086"/>
                  <a:pt x="286" y="3086"/>
                </a:cubicBezTo>
                <a:close/>
                <a:moveTo>
                  <a:pt x="1256" y="3420"/>
                </a:moveTo>
                <a:cubicBezTo>
                  <a:pt x="1033" y="3420"/>
                  <a:pt x="858" y="3245"/>
                  <a:pt x="858" y="3006"/>
                </a:cubicBezTo>
                <a:cubicBezTo>
                  <a:pt x="858" y="2784"/>
                  <a:pt x="1033" y="2609"/>
                  <a:pt x="1256" y="2609"/>
                </a:cubicBezTo>
                <a:cubicBezTo>
                  <a:pt x="1494" y="2609"/>
                  <a:pt x="1670" y="2784"/>
                  <a:pt x="1670" y="3006"/>
                </a:cubicBezTo>
                <a:cubicBezTo>
                  <a:pt x="1670" y="3245"/>
                  <a:pt x="1494" y="3420"/>
                  <a:pt x="1256" y="3420"/>
                </a:cubicBezTo>
                <a:close/>
                <a:moveTo>
                  <a:pt x="3801" y="3420"/>
                </a:moveTo>
                <a:cubicBezTo>
                  <a:pt x="3578" y="3420"/>
                  <a:pt x="3403" y="3245"/>
                  <a:pt x="3403" y="3006"/>
                </a:cubicBezTo>
                <a:cubicBezTo>
                  <a:pt x="3403" y="2784"/>
                  <a:pt x="3578" y="2609"/>
                  <a:pt x="3801" y="2609"/>
                </a:cubicBezTo>
                <a:cubicBezTo>
                  <a:pt x="4039" y="2609"/>
                  <a:pt x="4214" y="2784"/>
                  <a:pt x="4214" y="3006"/>
                </a:cubicBezTo>
                <a:cubicBezTo>
                  <a:pt x="4214" y="3245"/>
                  <a:pt x="4039" y="3420"/>
                  <a:pt x="3801" y="3420"/>
                </a:cubicBezTo>
                <a:close/>
                <a:moveTo>
                  <a:pt x="4342" y="1225"/>
                </a:moveTo>
                <a:cubicBezTo>
                  <a:pt x="4580" y="1559"/>
                  <a:pt x="4580" y="1559"/>
                  <a:pt x="4580" y="1559"/>
                </a:cubicBezTo>
                <a:cubicBezTo>
                  <a:pt x="4612" y="1607"/>
                  <a:pt x="4691" y="1734"/>
                  <a:pt x="4708" y="1861"/>
                </a:cubicBezTo>
                <a:cubicBezTo>
                  <a:pt x="3705" y="1861"/>
                  <a:pt x="3705" y="1861"/>
                  <a:pt x="3705" y="1861"/>
                </a:cubicBezTo>
                <a:cubicBezTo>
                  <a:pt x="3658" y="1861"/>
                  <a:pt x="3594" y="1798"/>
                  <a:pt x="3594" y="1734"/>
                </a:cubicBezTo>
                <a:cubicBezTo>
                  <a:pt x="3594" y="1352"/>
                  <a:pt x="3594" y="1352"/>
                  <a:pt x="3594" y="1352"/>
                </a:cubicBezTo>
                <a:cubicBezTo>
                  <a:pt x="3594" y="1289"/>
                  <a:pt x="3658" y="1225"/>
                  <a:pt x="3705" y="1225"/>
                </a:cubicBezTo>
                <a:close/>
                <a:moveTo>
                  <a:pt x="3117" y="843"/>
                </a:moveTo>
                <a:cubicBezTo>
                  <a:pt x="3912" y="843"/>
                  <a:pt x="3912" y="843"/>
                  <a:pt x="3912" y="843"/>
                </a:cubicBezTo>
                <a:cubicBezTo>
                  <a:pt x="4023" y="843"/>
                  <a:pt x="4135" y="955"/>
                  <a:pt x="4182" y="1018"/>
                </a:cubicBezTo>
                <a:cubicBezTo>
                  <a:pt x="4214" y="1066"/>
                  <a:pt x="4214" y="1066"/>
                  <a:pt x="4214" y="1066"/>
                </a:cubicBezTo>
                <a:cubicBezTo>
                  <a:pt x="3705" y="1066"/>
                  <a:pt x="3705" y="1066"/>
                  <a:pt x="3705" y="1066"/>
                </a:cubicBezTo>
                <a:cubicBezTo>
                  <a:pt x="3562" y="1066"/>
                  <a:pt x="3435" y="1193"/>
                  <a:pt x="3435" y="1352"/>
                </a:cubicBezTo>
                <a:cubicBezTo>
                  <a:pt x="3435" y="1734"/>
                  <a:pt x="3435" y="1734"/>
                  <a:pt x="3435" y="1734"/>
                </a:cubicBezTo>
                <a:cubicBezTo>
                  <a:pt x="3435" y="1877"/>
                  <a:pt x="3562" y="2020"/>
                  <a:pt x="3705" y="2020"/>
                </a:cubicBezTo>
                <a:cubicBezTo>
                  <a:pt x="4708" y="2020"/>
                  <a:pt x="4708" y="2020"/>
                  <a:pt x="4708" y="2020"/>
                </a:cubicBezTo>
                <a:cubicBezTo>
                  <a:pt x="4708" y="2815"/>
                  <a:pt x="4708" y="2815"/>
                  <a:pt x="4708" y="2815"/>
                </a:cubicBezTo>
                <a:cubicBezTo>
                  <a:pt x="4708" y="2863"/>
                  <a:pt x="4644" y="2927"/>
                  <a:pt x="4596" y="2927"/>
                </a:cubicBezTo>
                <a:cubicBezTo>
                  <a:pt x="4373" y="2927"/>
                  <a:pt x="4373" y="2927"/>
                  <a:pt x="4373" y="2927"/>
                </a:cubicBezTo>
                <a:cubicBezTo>
                  <a:pt x="4326" y="2657"/>
                  <a:pt x="4087" y="2450"/>
                  <a:pt x="3801" y="2450"/>
                </a:cubicBezTo>
                <a:cubicBezTo>
                  <a:pt x="3515" y="2450"/>
                  <a:pt x="3276" y="2657"/>
                  <a:pt x="3244" y="2927"/>
                </a:cubicBezTo>
                <a:cubicBezTo>
                  <a:pt x="3117" y="2927"/>
                  <a:pt x="3117" y="2927"/>
                  <a:pt x="3117" y="2927"/>
                </a:cubicBezTo>
                <a:cubicBezTo>
                  <a:pt x="3069" y="2927"/>
                  <a:pt x="3006" y="2863"/>
                  <a:pt x="3006" y="2815"/>
                </a:cubicBezTo>
                <a:cubicBezTo>
                  <a:pt x="3006" y="955"/>
                  <a:pt x="3006" y="955"/>
                  <a:pt x="3006" y="955"/>
                </a:cubicBezTo>
                <a:cubicBezTo>
                  <a:pt x="3006" y="907"/>
                  <a:pt x="3069" y="843"/>
                  <a:pt x="3117" y="843"/>
                </a:cubicBezTo>
                <a:close/>
                <a:moveTo>
                  <a:pt x="158" y="255"/>
                </a:moveTo>
                <a:cubicBezTo>
                  <a:pt x="158" y="191"/>
                  <a:pt x="206" y="159"/>
                  <a:pt x="270" y="159"/>
                </a:cubicBezTo>
                <a:cubicBezTo>
                  <a:pt x="2751" y="159"/>
                  <a:pt x="2751" y="159"/>
                  <a:pt x="2751" y="159"/>
                </a:cubicBezTo>
                <a:cubicBezTo>
                  <a:pt x="2799" y="159"/>
                  <a:pt x="2846" y="207"/>
                  <a:pt x="2846" y="255"/>
                </a:cubicBezTo>
                <a:cubicBezTo>
                  <a:pt x="2846" y="955"/>
                  <a:pt x="2846" y="955"/>
                  <a:pt x="2846" y="955"/>
                </a:cubicBezTo>
                <a:cubicBezTo>
                  <a:pt x="2846" y="2815"/>
                  <a:pt x="2846" y="2815"/>
                  <a:pt x="2846" y="2815"/>
                </a:cubicBezTo>
                <a:cubicBezTo>
                  <a:pt x="2846" y="2831"/>
                  <a:pt x="2846" y="2831"/>
                  <a:pt x="2846" y="2831"/>
                </a:cubicBezTo>
                <a:cubicBezTo>
                  <a:pt x="2846" y="2879"/>
                  <a:pt x="2799" y="2927"/>
                  <a:pt x="2751" y="2927"/>
                </a:cubicBezTo>
                <a:cubicBezTo>
                  <a:pt x="1828" y="2927"/>
                  <a:pt x="1828" y="2927"/>
                  <a:pt x="1828" y="2927"/>
                </a:cubicBezTo>
                <a:cubicBezTo>
                  <a:pt x="1781" y="2657"/>
                  <a:pt x="1542" y="2450"/>
                  <a:pt x="1256" y="2450"/>
                </a:cubicBezTo>
                <a:cubicBezTo>
                  <a:pt x="970" y="2450"/>
                  <a:pt x="731" y="2657"/>
                  <a:pt x="699" y="2927"/>
                </a:cubicBezTo>
                <a:cubicBezTo>
                  <a:pt x="286" y="2927"/>
                  <a:pt x="286" y="2927"/>
                  <a:pt x="286" y="2927"/>
                </a:cubicBezTo>
                <a:cubicBezTo>
                  <a:pt x="222" y="2927"/>
                  <a:pt x="158" y="2879"/>
                  <a:pt x="158" y="281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4" name="Freeform: Shape 9">
            <a:extLst>
              <a:ext uri="{FF2B5EF4-FFF2-40B4-BE49-F238E27FC236}">
                <a16:creationId xmlns:a16="http://schemas.microsoft.com/office/drawing/2014/main" id="{247B5CA4-32D4-9C4B-A1E2-DCB4B33978B7}"/>
              </a:ext>
            </a:extLst>
          </p:cNvPr>
          <p:cNvSpPr/>
          <p:nvPr/>
        </p:nvSpPr>
        <p:spPr>
          <a:xfrm>
            <a:off x="1896550" y="6430503"/>
            <a:ext cx="1465560" cy="1470960"/>
          </a:xfrm>
          <a:custGeom>
            <a:avLst/>
            <a:gdLst/>
            <a:ahLst/>
            <a:cxnLst>
              <a:cxn ang="3cd4">
                <a:pos x="hc" y="t"/>
              </a:cxn>
              <a:cxn ang="cd2">
                <a:pos x="l" y="vc"/>
              </a:cxn>
              <a:cxn ang="cd4">
                <a:pos x="hc" y="b"/>
              </a:cxn>
              <a:cxn ang="0">
                <a:pos x="r" y="vc"/>
              </a:cxn>
            </a:cxnLst>
            <a:rect l="l" t="t" r="r" b="b"/>
            <a:pathLst>
              <a:path w="4072" h="4087">
                <a:moveTo>
                  <a:pt x="318" y="4087"/>
                </a:moveTo>
                <a:lnTo>
                  <a:pt x="3817" y="4087"/>
                </a:lnTo>
                <a:cubicBezTo>
                  <a:pt x="3897" y="4087"/>
                  <a:pt x="3960" y="4056"/>
                  <a:pt x="4008" y="4008"/>
                </a:cubicBezTo>
                <a:cubicBezTo>
                  <a:pt x="4056" y="3944"/>
                  <a:pt x="4072" y="3881"/>
                  <a:pt x="4072" y="3817"/>
                </a:cubicBezTo>
                <a:lnTo>
                  <a:pt x="3850" y="222"/>
                </a:lnTo>
                <a:cubicBezTo>
                  <a:pt x="3850" y="95"/>
                  <a:pt x="3738" y="0"/>
                  <a:pt x="3627" y="0"/>
                </a:cubicBezTo>
                <a:lnTo>
                  <a:pt x="3197" y="0"/>
                </a:lnTo>
                <a:cubicBezTo>
                  <a:pt x="3070" y="0"/>
                  <a:pt x="2975" y="95"/>
                  <a:pt x="2959" y="207"/>
                </a:cubicBezTo>
                <a:lnTo>
                  <a:pt x="2815" y="1797"/>
                </a:lnTo>
                <a:lnTo>
                  <a:pt x="2784" y="1797"/>
                </a:lnTo>
                <a:lnTo>
                  <a:pt x="2688" y="1797"/>
                </a:lnTo>
                <a:lnTo>
                  <a:pt x="2688" y="1304"/>
                </a:lnTo>
                <a:cubicBezTo>
                  <a:pt x="2688" y="1272"/>
                  <a:pt x="2688" y="1257"/>
                  <a:pt x="2657" y="1240"/>
                </a:cubicBezTo>
                <a:cubicBezTo>
                  <a:pt x="2641" y="1224"/>
                  <a:pt x="2609" y="1224"/>
                  <a:pt x="2577" y="1224"/>
                </a:cubicBezTo>
                <a:lnTo>
                  <a:pt x="1384" y="1781"/>
                </a:lnTo>
                <a:lnTo>
                  <a:pt x="1384" y="1384"/>
                </a:lnTo>
                <a:cubicBezTo>
                  <a:pt x="1384" y="1352"/>
                  <a:pt x="1368" y="1336"/>
                  <a:pt x="1352" y="1320"/>
                </a:cubicBezTo>
                <a:cubicBezTo>
                  <a:pt x="1321" y="1304"/>
                  <a:pt x="1288" y="1304"/>
                  <a:pt x="1273" y="1320"/>
                </a:cubicBezTo>
                <a:lnTo>
                  <a:pt x="48" y="1972"/>
                </a:lnTo>
                <a:cubicBezTo>
                  <a:pt x="16" y="1988"/>
                  <a:pt x="0" y="2004"/>
                  <a:pt x="0" y="2036"/>
                </a:cubicBezTo>
                <a:lnTo>
                  <a:pt x="0" y="3754"/>
                </a:lnTo>
                <a:cubicBezTo>
                  <a:pt x="0" y="3929"/>
                  <a:pt x="143" y="4087"/>
                  <a:pt x="318" y="4087"/>
                </a:cubicBezTo>
                <a:close/>
                <a:moveTo>
                  <a:pt x="160" y="2084"/>
                </a:moveTo>
                <a:lnTo>
                  <a:pt x="1225" y="1511"/>
                </a:lnTo>
                <a:lnTo>
                  <a:pt x="1225" y="1876"/>
                </a:lnTo>
                <a:cubicBezTo>
                  <a:pt x="1225" y="1924"/>
                  <a:pt x="1257" y="1956"/>
                  <a:pt x="1305" y="1956"/>
                </a:cubicBezTo>
                <a:lnTo>
                  <a:pt x="1384" y="1956"/>
                </a:lnTo>
                <a:cubicBezTo>
                  <a:pt x="1400" y="1956"/>
                  <a:pt x="1416" y="1956"/>
                  <a:pt x="1416" y="1940"/>
                </a:cubicBezTo>
                <a:lnTo>
                  <a:pt x="2529" y="1431"/>
                </a:lnTo>
                <a:lnTo>
                  <a:pt x="2529" y="1876"/>
                </a:lnTo>
                <a:cubicBezTo>
                  <a:pt x="2529" y="1924"/>
                  <a:pt x="2577" y="1956"/>
                  <a:pt x="2609" y="1956"/>
                </a:cubicBezTo>
                <a:lnTo>
                  <a:pt x="2704" y="1956"/>
                </a:lnTo>
                <a:lnTo>
                  <a:pt x="2704" y="3022"/>
                </a:lnTo>
                <a:cubicBezTo>
                  <a:pt x="2704" y="3069"/>
                  <a:pt x="2736" y="3102"/>
                  <a:pt x="2768" y="3102"/>
                </a:cubicBezTo>
                <a:cubicBezTo>
                  <a:pt x="2815" y="3102"/>
                  <a:pt x="2847" y="3069"/>
                  <a:pt x="2863" y="3022"/>
                </a:cubicBezTo>
                <a:lnTo>
                  <a:pt x="3118" y="222"/>
                </a:lnTo>
                <a:cubicBezTo>
                  <a:pt x="3118" y="191"/>
                  <a:pt x="3150" y="159"/>
                  <a:pt x="3197" y="159"/>
                </a:cubicBezTo>
                <a:lnTo>
                  <a:pt x="3627" y="159"/>
                </a:lnTo>
                <a:cubicBezTo>
                  <a:pt x="3659" y="159"/>
                  <a:pt x="3690" y="191"/>
                  <a:pt x="3690" y="222"/>
                </a:cubicBezTo>
                <a:lnTo>
                  <a:pt x="3913" y="3817"/>
                </a:lnTo>
                <a:cubicBezTo>
                  <a:pt x="3913" y="3849"/>
                  <a:pt x="3913" y="3865"/>
                  <a:pt x="3881" y="3897"/>
                </a:cubicBezTo>
                <a:cubicBezTo>
                  <a:pt x="3865" y="3912"/>
                  <a:pt x="3850" y="3929"/>
                  <a:pt x="3817" y="3929"/>
                </a:cubicBezTo>
                <a:lnTo>
                  <a:pt x="318" y="3929"/>
                </a:lnTo>
                <a:cubicBezTo>
                  <a:pt x="239" y="3929"/>
                  <a:pt x="160" y="3849"/>
                  <a:pt x="160" y="3754"/>
                </a:cubicBezTo>
                <a:close/>
                <a:moveTo>
                  <a:pt x="812" y="3403"/>
                </a:moveTo>
                <a:cubicBezTo>
                  <a:pt x="859" y="3403"/>
                  <a:pt x="891" y="3372"/>
                  <a:pt x="891" y="3340"/>
                </a:cubicBezTo>
                <a:lnTo>
                  <a:pt x="891" y="3102"/>
                </a:lnTo>
                <a:cubicBezTo>
                  <a:pt x="891" y="3054"/>
                  <a:pt x="859" y="3022"/>
                  <a:pt x="812" y="3022"/>
                </a:cubicBezTo>
                <a:cubicBezTo>
                  <a:pt x="779" y="3022"/>
                  <a:pt x="732" y="3054"/>
                  <a:pt x="732" y="3102"/>
                </a:cubicBezTo>
                <a:lnTo>
                  <a:pt x="732" y="3340"/>
                </a:lnTo>
                <a:cubicBezTo>
                  <a:pt x="732" y="3372"/>
                  <a:pt x="779" y="3403"/>
                  <a:pt x="812" y="3403"/>
                </a:cubicBezTo>
                <a:close/>
                <a:moveTo>
                  <a:pt x="1431" y="3403"/>
                </a:moveTo>
                <a:cubicBezTo>
                  <a:pt x="1479" y="3403"/>
                  <a:pt x="1511" y="3372"/>
                  <a:pt x="1511" y="3340"/>
                </a:cubicBezTo>
                <a:lnTo>
                  <a:pt x="1511" y="3102"/>
                </a:lnTo>
                <a:cubicBezTo>
                  <a:pt x="1511" y="3054"/>
                  <a:pt x="1479" y="3022"/>
                  <a:pt x="1431" y="3022"/>
                </a:cubicBezTo>
                <a:cubicBezTo>
                  <a:pt x="1384" y="3022"/>
                  <a:pt x="1352" y="3054"/>
                  <a:pt x="1352" y="3102"/>
                </a:cubicBezTo>
                <a:lnTo>
                  <a:pt x="1352" y="3340"/>
                </a:lnTo>
                <a:cubicBezTo>
                  <a:pt x="1352" y="3372"/>
                  <a:pt x="1384" y="3403"/>
                  <a:pt x="1431" y="3403"/>
                </a:cubicBezTo>
                <a:close/>
                <a:moveTo>
                  <a:pt x="2052" y="3403"/>
                </a:moveTo>
                <a:cubicBezTo>
                  <a:pt x="2100" y="3403"/>
                  <a:pt x="2132" y="3372"/>
                  <a:pt x="2132" y="3340"/>
                </a:cubicBezTo>
                <a:lnTo>
                  <a:pt x="2132" y="3102"/>
                </a:lnTo>
                <a:cubicBezTo>
                  <a:pt x="2132" y="3054"/>
                  <a:pt x="2100" y="3022"/>
                  <a:pt x="2052" y="3022"/>
                </a:cubicBezTo>
                <a:cubicBezTo>
                  <a:pt x="2005" y="3022"/>
                  <a:pt x="1972" y="3054"/>
                  <a:pt x="1972" y="3102"/>
                </a:cubicBezTo>
                <a:lnTo>
                  <a:pt x="1972" y="3340"/>
                </a:lnTo>
                <a:cubicBezTo>
                  <a:pt x="1972" y="3372"/>
                  <a:pt x="2005" y="3403"/>
                  <a:pt x="2052" y="3403"/>
                </a:cubicBezTo>
                <a:close/>
                <a:moveTo>
                  <a:pt x="812" y="2672"/>
                </a:moveTo>
                <a:cubicBezTo>
                  <a:pt x="859" y="2672"/>
                  <a:pt x="891" y="2640"/>
                  <a:pt x="891" y="2593"/>
                </a:cubicBezTo>
                <a:lnTo>
                  <a:pt x="891" y="2370"/>
                </a:lnTo>
                <a:cubicBezTo>
                  <a:pt x="891" y="2322"/>
                  <a:pt x="859" y="2290"/>
                  <a:pt x="812" y="2290"/>
                </a:cubicBezTo>
                <a:cubicBezTo>
                  <a:pt x="779" y="2290"/>
                  <a:pt x="732" y="2322"/>
                  <a:pt x="732" y="2370"/>
                </a:cubicBezTo>
                <a:lnTo>
                  <a:pt x="732" y="2593"/>
                </a:lnTo>
                <a:cubicBezTo>
                  <a:pt x="732" y="2640"/>
                  <a:pt x="779" y="2672"/>
                  <a:pt x="812" y="2672"/>
                </a:cubicBezTo>
                <a:close/>
                <a:moveTo>
                  <a:pt x="1431" y="2672"/>
                </a:moveTo>
                <a:cubicBezTo>
                  <a:pt x="1479" y="2672"/>
                  <a:pt x="1511" y="2640"/>
                  <a:pt x="1511" y="2593"/>
                </a:cubicBezTo>
                <a:lnTo>
                  <a:pt x="1511" y="2370"/>
                </a:lnTo>
                <a:cubicBezTo>
                  <a:pt x="1511" y="2322"/>
                  <a:pt x="1479" y="2290"/>
                  <a:pt x="1431" y="2290"/>
                </a:cubicBezTo>
                <a:cubicBezTo>
                  <a:pt x="1384" y="2290"/>
                  <a:pt x="1352" y="2322"/>
                  <a:pt x="1352" y="2370"/>
                </a:cubicBezTo>
                <a:lnTo>
                  <a:pt x="1352" y="2593"/>
                </a:lnTo>
                <a:cubicBezTo>
                  <a:pt x="1352" y="2640"/>
                  <a:pt x="1384" y="2672"/>
                  <a:pt x="1431" y="2672"/>
                </a:cubicBezTo>
                <a:close/>
                <a:moveTo>
                  <a:pt x="2052" y="2672"/>
                </a:moveTo>
                <a:cubicBezTo>
                  <a:pt x="2100" y="2672"/>
                  <a:pt x="2132" y="2640"/>
                  <a:pt x="2132" y="2593"/>
                </a:cubicBezTo>
                <a:lnTo>
                  <a:pt x="2132" y="2370"/>
                </a:lnTo>
                <a:cubicBezTo>
                  <a:pt x="2132" y="2322"/>
                  <a:pt x="2100" y="2290"/>
                  <a:pt x="2052" y="2290"/>
                </a:cubicBezTo>
                <a:cubicBezTo>
                  <a:pt x="2005" y="2290"/>
                  <a:pt x="1972" y="2322"/>
                  <a:pt x="1972" y="2370"/>
                </a:cubicBezTo>
                <a:lnTo>
                  <a:pt x="1972" y="2593"/>
                </a:lnTo>
                <a:cubicBezTo>
                  <a:pt x="1972" y="2640"/>
                  <a:pt x="2005" y="2672"/>
                  <a:pt x="2052" y="26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5" name="Freeform: Shape 5">
            <a:extLst>
              <a:ext uri="{FF2B5EF4-FFF2-40B4-BE49-F238E27FC236}">
                <a16:creationId xmlns:a16="http://schemas.microsoft.com/office/drawing/2014/main" id="{5F90CAF2-6767-CC49-BF93-B411BFAB3E88}"/>
              </a:ext>
            </a:extLst>
          </p:cNvPr>
          <p:cNvSpPr/>
          <p:nvPr/>
        </p:nvSpPr>
        <p:spPr>
          <a:xfrm>
            <a:off x="6062084" y="6361743"/>
            <a:ext cx="1442519" cy="1608480"/>
          </a:xfrm>
          <a:custGeom>
            <a:avLst/>
            <a:gdLst/>
            <a:ahLst/>
            <a:cxnLst>
              <a:cxn ang="3cd4">
                <a:pos x="hc" y="t"/>
              </a:cxn>
              <a:cxn ang="cd2">
                <a:pos x="l" y="vc"/>
              </a:cxn>
              <a:cxn ang="cd4">
                <a:pos x="hc" y="b"/>
              </a:cxn>
              <a:cxn ang="0">
                <a:pos x="r" y="vc"/>
              </a:cxn>
            </a:cxnLst>
            <a:rect l="l" t="t" r="r" b="b"/>
            <a:pathLst>
              <a:path w="4008" h="4469">
                <a:moveTo>
                  <a:pt x="2354" y="795"/>
                </a:moveTo>
                <a:cubicBezTo>
                  <a:pt x="2831" y="795"/>
                  <a:pt x="3213" y="1177"/>
                  <a:pt x="3213" y="1654"/>
                </a:cubicBezTo>
                <a:cubicBezTo>
                  <a:pt x="3213" y="1702"/>
                  <a:pt x="3261" y="1734"/>
                  <a:pt x="3292" y="1734"/>
                </a:cubicBezTo>
                <a:cubicBezTo>
                  <a:pt x="3340" y="1734"/>
                  <a:pt x="3372" y="1702"/>
                  <a:pt x="3372" y="1654"/>
                </a:cubicBezTo>
                <a:cubicBezTo>
                  <a:pt x="3372" y="1082"/>
                  <a:pt x="2927" y="636"/>
                  <a:pt x="2354" y="636"/>
                </a:cubicBezTo>
                <a:cubicBezTo>
                  <a:pt x="2322" y="636"/>
                  <a:pt x="2275" y="668"/>
                  <a:pt x="2275" y="716"/>
                </a:cubicBezTo>
                <a:cubicBezTo>
                  <a:pt x="2275" y="748"/>
                  <a:pt x="2322" y="795"/>
                  <a:pt x="2354" y="795"/>
                </a:cubicBezTo>
                <a:close/>
                <a:moveTo>
                  <a:pt x="2354" y="159"/>
                </a:moveTo>
                <a:cubicBezTo>
                  <a:pt x="3181" y="159"/>
                  <a:pt x="3849" y="827"/>
                  <a:pt x="3849" y="1654"/>
                </a:cubicBezTo>
                <a:cubicBezTo>
                  <a:pt x="3849" y="1702"/>
                  <a:pt x="3881" y="1734"/>
                  <a:pt x="3929" y="1734"/>
                </a:cubicBezTo>
                <a:cubicBezTo>
                  <a:pt x="3977" y="1734"/>
                  <a:pt x="4008" y="1702"/>
                  <a:pt x="4008" y="1654"/>
                </a:cubicBezTo>
                <a:cubicBezTo>
                  <a:pt x="4008" y="748"/>
                  <a:pt x="3261" y="0"/>
                  <a:pt x="2354" y="0"/>
                </a:cubicBezTo>
                <a:cubicBezTo>
                  <a:pt x="2322" y="0"/>
                  <a:pt x="2275" y="32"/>
                  <a:pt x="2275" y="79"/>
                </a:cubicBezTo>
                <a:cubicBezTo>
                  <a:pt x="2275" y="127"/>
                  <a:pt x="2322" y="159"/>
                  <a:pt x="2354" y="159"/>
                </a:cubicBezTo>
                <a:close/>
                <a:moveTo>
                  <a:pt x="0" y="4390"/>
                </a:moveTo>
                <a:cubicBezTo>
                  <a:pt x="0" y="4421"/>
                  <a:pt x="32" y="4469"/>
                  <a:pt x="80" y="4469"/>
                </a:cubicBezTo>
                <a:lnTo>
                  <a:pt x="2227" y="4469"/>
                </a:lnTo>
                <a:cubicBezTo>
                  <a:pt x="2275" y="4469"/>
                  <a:pt x="2307" y="4421"/>
                  <a:pt x="2307" y="4390"/>
                </a:cubicBezTo>
                <a:cubicBezTo>
                  <a:pt x="2307" y="4247"/>
                  <a:pt x="2275" y="4072"/>
                  <a:pt x="2211" y="3897"/>
                </a:cubicBezTo>
                <a:cubicBezTo>
                  <a:pt x="2561" y="3833"/>
                  <a:pt x="2863" y="3658"/>
                  <a:pt x="3022" y="3499"/>
                </a:cubicBezTo>
                <a:cubicBezTo>
                  <a:pt x="3038" y="3499"/>
                  <a:pt x="3033" y="3489"/>
                  <a:pt x="3038" y="3483"/>
                </a:cubicBezTo>
                <a:cubicBezTo>
                  <a:pt x="3340" y="3181"/>
                  <a:pt x="3197" y="2513"/>
                  <a:pt x="2688" y="1861"/>
                </a:cubicBezTo>
                <a:cubicBezTo>
                  <a:pt x="2736" y="1797"/>
                  <a:pt x="2752" y="1718"/>
                  <a:pt x="2752" y="1654"/>
                </a:cubicBezTo>
                <a:cubicBezTo>
                  <a:pt x="2752" y="1431"/>
                  <a:pt x="2577" y="1257"/>
                  <a:pt x="2354" y="1257"/>
                </a:cubicBezTo>
                <a:cubicBezTo>
                  <a:pt x="2290" y="1257"/>
                  <a:pt x="2227" y="1272"/>
                  <a:pt x="2163" y="1304"/>
                </a:cubicBezTo>
                <a:cubicBezTo>
                  <a:pt x="1495" y="731"/>
                  <a:pt x="796" y="557"/>
                  <a:pt x="477" y="875"/>
                </a:cubicBezTo>
                <a:cubicBezTo>
                  <a:pt x="462" y="875"/>
                  <a:pt x="467" y="886"/>
                  <a:pt x="462" y="891"/>
                </a:cubicBezTo>
                <a:lnTo>
                  <a:pt x="445" y="891"/>
                </a:lnTo>
                <a:cubicBezTo>
                  <a:pt x="32" y="1320"/>
                  <a:pt x="-318" y="2322"/>
                  <a:pt x="477" y="3245"/>
                </a:cubicBezTo>
                <a:cubicBezTo>
                  <a:pt x="207" y="3563"/>
                  <a:pt x="0" y="4040"/>
                  <a:pt x="0" y="4390"/>
                </a:cubicBezTo>
                <a:close/>
                <a:moveTo>
                  <a:pt x="2593" y="1654"/>
                </a:moveTo>
                <a:cubicBezTo>
                  <a:pt x="2593" y="1781"/>
                  <a:pt x="2481" y="1877"/>
                  <a:pt x="2354" y="1877"/>
                </a:cubicBezTo>
                <a:cubicBezTo>
                  <a:pt x="2322" y="1877"/>
                  <a:pt x="2290" y="1877"/>
                  <a:pt x="2259" y="1861"/>
                </a:cubicBezTo>
                <a:cubicBezTo>
                  <a:pt x="2243" y="1845"/>
                  <a:pt x="2243" y="1845"/>
                  <a:pt x="2227" y="1845"/>
                </a:cubicBezTo>
                <a:cubicBezTo>
                  <a:pt x="2163" y="1797"/>
                  <a:pt x="2132" y="1734"/>
                  <a:pt x="2132" y="1654"/>
                </a:cubicBezTo>
                <a:cubicBezTo>
                  <a:pt x="2132" y="1527"/>
                  <a:pt x="2227" y="1415"/>
                  <a:pt x="2354" y="1415"/>
                </a:cubicBezTo>
                <a:cubicBezTo>
                  <a:pt x="2481" y="1415"/>
                  <a:pt x="2593" y="1527"/>
                  <a:pt x="2593" y="1654"/>
                </a:cubicBezTo>
                <a:close/>
                <a:moveTo>
                  <a:pt x="2052" y="1415"/>
                </a:moveTo>
                <a:cubicBezTo>
                  <a:pt x="1989" y="1479"/>
                  <a:pt x="1972" y="1559"/>
                  <a:pt x="1972" y="1654"/>
                </a:cubicBezTo>
                <a:lnTo>
                  <a:pt x="1400" y="1797"/>
                </a:lnTo>
                <a:cubicBezTo>
                  <a:pt x="1352" y="1813"/>
                  <a:pt x="1336" y="1845"/>
                  <a:pt x="1336" y="1893"/>
                </a:cubicBezTo>
                <a:cubicBezTo>
                  <a:pt x="1352" y="1924"/>
                  <a:pt x="1384" y="1957"/>
                  <a:pt x="1416" y="1957"/>
                </a:cubicBezTo>
                <a:lnTo>
                  <a:pt x="1432" y="1957"/>
                </a:lnTo>
                <a:lnTo>
                  <a:pt x="2004" y="1813"/>
                </a:lnTo>
                <a:cubicBezTo>
                  <a:pt x="2020" y="1861"/>
                  <a:pt x="2068" y="1909"/>
                  <a:pt x="2116" y="1957"/>
                </a:cubicBezTo>
                <a:lnTo>
                  <a:pt x="1972" y="2481"/>
                </a:lnTo>
                <a:cubicBezTo>
                  <a:pt x="1956" y="2529"/>
                  <a:pt x="1989" y="2561"/>
                  <a:pt x="2020" y="2576"/>
                </a:cubicBezTo>
                <a:lnTo>
                  <a:pt x="2052" y="2576"/>
                </a:lnTo>
                <a:cubicBezTo>
                  <a:pt x="2084" y="2576"/>
                  <a:pt x="2116" y="2561"/>
                  <a:pt x="2116" y="2529"/>
                </a:cubicBezTo>
                <a:lnTo>
                  <a:pt x="2259" y="2036"/>
                </a:lnTo>
                <a:lnTo>
                  <a:pt x="2354" y="2036"/>
                </a:lnTo>
                <a:cubicBezTo>
                  <a:pt x="2450" y="2036"/>
                  <a:pt x="2513" y="2020"/>
                  <a:pt x="2577" y="1972"/>
                </a:cubicBezTo>
                <a:cubicBezTo>
                  <a:pt x="3022" y="2545"/>
                  <a:pt x="3165" y="3133"/>
                  <a:pt x="2927" y="3372"/>
                </a:cubicBezTo>
                <a:cubicBezTo>
                  <a:pt x="2847" y="3436"/>
                  <a:pt x="2752" y="3483"/>
                  <a:pt x="2608" y="3483"/>
                </a:cubicBezTo>
                <a:cubicBezTo>
                  <a:pt x="2227" y="3483"/>
                  <a:pt x="1670" y="3181"/>
                  <a:pt x="1225" y="2720"/>
                </a:cubicBezTo>
                <a:cubicBezTo>
                  <a:pt x="589" y="2084"/>
                  <a:pt x="287" y="1288"/>
                  <a:pt x="589" y="986"/>
                </a:cubicBezTo>
                <a:cubicBezTo>
                  <a:pt x="827" y="731"/>
                  <a:pt x="1463" y="922"/>
                  <a:pt x="2052" y="1415"/>
                </a:cubicBezTo>
                <a:close/>
                <a:moveTo>
                  <a:pt x="318" y="1384"/>
                </a:moveTo>
                <a:cubicBezTo>
                  <a:pt x="334" y="1797"/>
                  <a:pt x="620" y="2338"/>
                  <a:pt x="1114" y="2831"/>
                </a:cubicBezTo>
                <a:cubicBezTo>
                  <a:pt x="1575" y="3293"/>
                  <a:pt x="2099" y="3594"/>
                  <a:pt x="2513" y="3642"/>
                </a:cubicBezTo>
                <a:cubicBezTo>
                  <a:pt x="2338" y="3706"/>
                  <a:pt x="2116" y="3769"/>
                  <a:pt x="1877" y="3769"/>
                </a:cubicBezTo>
                <a:cubicBezTo>
                  <a:pt x="1432" y="3769"/>
                  <a:pt x="1034" y="3594"/>
                  <a:pt x="700" y="3245"/>
                </a:cubicBezTo>
                <a:cubicBezTo>
                  <a:pt x="0" y="2545"/>
                  <a:pt x="96" y="1829"/>
                  <a:pt x="318" y="1384"/>
                </a:cubicBezTo>
                <a:close/>
                <a:moveTo>
                  <a:pt x="589" y="3356"/>
                </a:moveTo>
                <a:cubicBezTo>
                  <a:pt x="954" y="3722"/>
                  <a:pt x="1400" y="3929"/>
                  <a:pt x="1877" y="3929"/>
                </a:cubicBezTo>
                <a:cubicBezTo>
                  <a:pt x="1925" y="3929"/>
                  <a:pt x="1989" y="3929"/>
                  <a:pt x="2052" y="3912"/>
                </a:cubicBezTo>
                <a:lnTo>
                  <a:pt x="2052" y="3929"/>
                </a:lnTo>
                <a:cubicBezTo>
                  <a:pt x="2099" y="4072"/>
                  <a:pt x="2132" y="4199"/>
                  <a:pt x="2147" y="4310"/>
                </a:cubicBezTo>
                <a:lnTo>
                  <a:pt x="159" y="4310"/>
                </a:lnTo>
                <a:cubicBezTo>
                  <a:pt x="191" y="4040"/>
                  <a:pt x="334" y="3658"/>
                  <a:pt x="589" y="335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6" name="Freeform: Shape 4">
            <a:extLst>
              <a:ext uri="{FF2B5EF4-FFF2-40B4-BE49-F238E27FC236}">
                <a16:creationId xmlns:a16="http://schemas.microsoft.com/office/drawing/2014/main" id="{EF948BEE-2219-F14A-AB88-98F748BA86C8}"/>
              </a:ext>
            </a:extLst>
          </p:cNvPr>
          <p:cNvSpPr/>
          <p:nvPr/>
        </p:nvSpPr>
        <p:spPr>
          <a:xfrm>
            <a:off x="10068389" y="6350223"/>
            <a:ext cx="1596960" cy="1631520"/>
          </a:xfrm>
          <a:custGeom>
            <a:avLst/>
            <a:gdLst/>
            <a:ahLst/>
            <a:cxnLst>
              <a:cxn ang="3cd4">
                <a:pos x="hc" y="t"/>
              </a:cxn>
              <a:cxn ang="cd2">
                <a:pos x="l" y="vc"/>
              </a:cxn>
              <a:cxn ang="cd4">
                <a:pos x="hc" y="b"/>
              </a:cxn>
              <a:cxn ang="0">
                <a:pos x="r" y="vc"/>
              </a:cxn>
            </a:cxnLst>
            <a:rect l="l" t="t" r="r" b="b"/>
            <a:pathLst>
              <a:path w="4437" h="4533">
                <a:moveTo>
                  <a:pt x="4055" y="2784"/>
                </a:moveTo>
                <a:cubicBezTo>
                  <a:pt x="4055" y="2640"/>
                  <a:pt x="3944" y="2529"/>
                  <a:pt x="3801" y="2529"/>
                </a:cubicBezTo>
                <a:cubicBezTo>
                  <a:pt x="3658" y="2529"/>
                  <a:pt x="3546" y="2640"/>
                  <a:pt x="3546" y="2784"/>
                </a:cubicBezTo>
                <a:cubicBezTo>
                  <a:pt x="3546" y="2911"/>
                  <a:pt x="3658" y="3022"/>
                  <a:pt x="3801" y="3022"/>
                </a:cubicBezTo>
                <a:cubicBezTo>
                  <a:pt x="3944" y="3022"/>
                  <a:pt x="4055" y="2911"/>
                  <a:pt x="4055" y="2784"/>
                </a:cubicBezTo>
                <a:close/>
                <a:moveTo>
                  <a:pt x="3706" y="2784"/>
                </a:moveTo>
                <a:cubicBezTo>
                  <a:pt x="3706" y="2736"/>
                  <a:pt x="3753" y="2688"/>
                  <a:pt x="3801" y="2688"/>
                </a:cubicBezTo>
                <a:cubicBezTo>
                  <a:pt x="3849" y="2688"/>
                  <a:pt x="3896" y="2736"/>
                  <a:pt x="3896" y="2784"/>
                </a:cubicBezTo>
                <a:cubicBezTo>
                  <a:pt x="3896" y="2831"/>
                  <a:pt x="3849" y="2863"/>
                  <a:pt x="3801" y="2863"/>
                </a:cubicBezTo>
                <a:cubicBezTo>
                  <a:pt x="3753" y="2863"/>
                  <a:pt x="3706" y="2831"/>
                  <a:pt x="3706" y="2784"/>
                </a:cubicBezTo>
                <a:close/>
                <a:moveTo>
                  <a:pt x="922" y="2624"/>
                </a:moveTo>
                <a:lnTo>
                  <a:pt x="922" y="2656"/>
                </a:lnTo>
                <a:cubicBezTo>
                  <a:pt x="922" y="2831"/>
                  <a:pt x="1034" y="3149"/>
                  <a:pt x="1209" y="3213"/>
                </a:cubicBezTo>
                <a:cubicBezTo>
                  <a:pt x="1209" y="3626"/>
                  <a:pt x="1272" y="4533"/>
                  <a:pt x="2592" y="4533"/>
                </a:cubicBezTo>
                <a:cubicBezTo>
                  <a:pt x="3706" y="4533"/>
                  <a:pt x="3849" y="3690"/>
                  <a:pt x="3881" y="3420"/>
                </a:cubicBezTo>
                <a:cubicBezTo>
                  <a:pt x="4199" y="3372"/>
                  <a:pt x="4437" y="3102"/>
                  <a:pt x="4437" y="2784"/>
                </a:cubicBezTo>
                <a:cubicBezTo>
                  <a:pt x="4437" y="2433"/>
                  <a:pt x="4151" y="2147"/>
                  <a:pt x="3801" y="2147"/>
                </a:cubicBezTo>
                <a:cubicBezTo>
                  <a:pt x="3451" y="2147"/>
                  <a:pt x="3165" y="2433"/>
                  <a:pt x="3165" y="2784"/>
                </a:cubicBezTo>
                <a:cubicBezTo>
                  <a:pt x="3165" y="3102"/>
                  <a:pt x="3403" y="3372"/>
                  <a:pt x="3721" y="3420"/>
                </a:cubicBezTo>
                <a:cubicBezTo>
                  <a:pt x="3706" y="3690"/>
                  <a:pt x="3563" y="4374"/>
                  <a:pt x="2592" y="4374"/>
                </a:cubicBezTo>
                <a:cubicBezTo>
                  <a:pt x="1542" y="4374"/>
                  <a:pt x="1383" y="3801"/>
                  <a:pt x="1367" y="3213"/>
                </a:cubicBezTo>
                <a:cubicBezTo>
                  <a:pt x="1542" y="3133"/>
                  <a:pt x="1638" y="2831"/>
                  <a:pt x="1638" y="2656"/>
                </a:cubicBezTo>
                <a:lnTo>
                  <a:pt x="1638" y="2624"/>
                </a:lnTo>
                <a:cubicBezTo>
                  <a:pt x="2306" y="2227"/>
                  <a:pt x="2576" y="509"/>
                  <a:pt x="2576" y="398"/>
                </a:cubicBezTo>
                <a:cubicBezTo>
                  <a:pt x="2576" y="207"/>
                  <a:pt x="2306" y="127"/>
                  <a:pt x="2179" y="112"/>
                </a:cubicBezTo>
                <a:cubicBezTo>
                  <a:pt x="2163" y="48"/>
                  <a:pt x="2099" y="0"/>
                  <a:pt x="2036" y="0"/>
                </a:cubicBezTo>
                <a:cubicBezTo>
                  <a:pt x="1940" y="0"/>
                  <a:pt x="1861" y="79"/>
                  <a:pt x="1861" y="175"/>
                </a:cubicBezTo>
                <a:cubicBezTo>
                  <a:pt x="1861" y="270"/>
                  <a:pt x="1940" y="350"/>
                  <a:pt x="2036" y="350"/>
                </a:cubicBezTo>
                <a:cubicBezTo>
                  <a:pt x="2099" y="350"/>
                  <a:pt x="2147" y="318"/>
                  <a:pt x="2179" y="270"/>
                </a:cubicBezTo>
                <a:cubicBezTo>
                  <a:pt x="2290" y="286"/>
                  <a:pt x="2417" y="350"/>
                  <a:pt x="2417" y="398"/>
                </a:cubicBezTo>
                <a:cubicBezTo>
                  <a:pt x="2417" y="573"/>
                  <a:pt x="2131" y="2115"/>
                  <a:pt x="1574" y="2465"/>
                </a:cubicBezTo>
                <a:cubicBezTo>
                  <a:pt x="1510" y="2418"/>
                  <a:pt x="1431" y="2418"/>
                  <a:pt x="1352" y="2418"/>
                </a:cubicBezTo>
                <a:lnTo>
                  <a:pt x="1288" y="2433"/>
                </a:lnTo>
                <a:lnTo>
                  <a:pt x="1224" y="2418"/>
                </a:lnTo>
                <a:cubicBezTo>
                  <a:pt x="1145" y="2418"/>
                  <a:pt x="1049" y="2418"/>
                  <a:pt x="1001" y="2465"/>
                </a:cubicBezTo>
                <a:cubicBezTo>
                  <a:pt x="445" y="2115"/>
                  <a:pt x="159" y="573"/>
                  <a:pt x="159" y="398"/>
                </a:cubicBezTo>
                <a:cubicBezTo>
                  <a:pt x="159" y="350"/>
                  <a:pt x="286" y="286"/>
                  <a:pt x="397" y="270"/>
                </a:cubicBezTo>
                <a:cubicBezTo>
                  <a:pt x="429" y="318"/>
                  <a:pt x="477" y="350"/>
                  <a:pt x="540" y="350"/>
                </a:cubicBezTo>
                <a:cubicBezTo>
                  <a:pt x="636" y="350"/>
                  <a:pt x="715" y="270"/>
                  <a:pt x="715" y="175"/>
                </a:cubicBezTo>
                <a:cubicBezTo>
                  <a:pt x="715" y="79"/>
                  <a:pt x="636" y="0"/>
                  <a:pt x="540" y="0"/>
                </a:cubicBezTo>
                <a:cubicBezTo>
                  <a:pt x="477" y="0"/>
                  <a:pt x="413" y="48"/>
                  <a:pt x="397" y="112"/>
                </a:cubicBezTo>
                <a:cubicBezTo>
                  <a:pt x="270" y="127"/>
                  <a:pt x="0" y="207"/>
                  <a:pt x="0" y="398"/>
                </a:cubicBezTo>
                <a:cubicBezTo>
                  <a:pt x="0" y="509"/>
                  <a:pt x="270" y="2227"/>
                  <a:pt x="922" y="2624"/>
                </a:cubicBezTo>
                <a:close/>
                <a:moveTo>
                  <a:pt x="3324" y="2784"/>
                </a:moveTo>
                <a:cubicBezTo>
                  <a:pt x="3324" y="2513"/>
                  <a:pt x="3530" y="2306"/>
                  <a:pt x="3801" y="2306"/>
                </a:cubicBezTo>
                <a:cubicBezTo>
                  <a:pt x="4071" y="2306"/>
                  <a:pt x="4278" y="2513"/>
                  <a:pt x="4278" y="2784"/>
                </a:cubicBezTo>
                <a:cubicBezTo>
                  <a:pt x="4278" y="3054"/>
                  <a:pt x="4071" y="3260"/>
                  <a:pt x="3801" y="3260"/>
                </a:cubicBezTo>
                <a:cubicBezTo>
                  <a:pt x="3530" y="3260"/>
                  <a:pt x="3324" y="3054"/>
                  <a:pt x="3324" y="2784"/>
                </a:cubicBezTo>
                <a:close/>
                <a:moveTo>
                  <a:pt x="1097" y="2593"/>
                </a:moveTo>
                <a:cubicBezTo>
                  <a:pt x="1113" y="2576"/>
                  <a:pt x="1145" y="2576"/>
                  <a:pt x="1177" y="2576"/>
                </a:cubicBezTo>
                <a:lnTo>
                  <a:pt x="1224" y="2576"/>
                </a:lnTo>
                <a:lnTo>
                  <a:pt x="1352" y="2576"/>
                </a:lnTo>
                <a:cubicBezTo>
                  <a:pt x="1399" y="2576"/>
                  <a:pt x="1463" y="2576"/>
                  <a:pt x="1479" y="2593"/>
                </a:cubicBezTo>
                <a:lnTo>
                  <a:pt x="1479" y="2656"/>
                </a:lnTo>
                <a:cubicBezTo>
                  <a:pt x="1479" y="2815"/>
                  <a:pt x="1367" y="3070"/>
                  <a:pt x="1288" y="3070"/>
                </a:cubicBezTo>
                <a:cubicBezTo>
                  <a:pt x="1209" y="3070"/>
                  <a:pt x="1081" y="2815"/>
                  <a:pt x="1081" y="2656"/>
                </a:cubicBezTo>
                <a:cubicBezTo>
                  <a:pt x="1081" y="2608"/>
                  <a:pt x="1092" y="2614"/>
                  <a:pt x="1097" y="259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7" name="Freeform: Shape 9">
            <a:extLst>
              <a:ext uri="{FF2B5EF4-FFF2-40B4-BE49-F238E27FC236}">
                <a16:creationId xmlns:a16="http://schemas.microsoft.com/office/drawing/2014/main" id="{6DD313EB-E6F3-F847-8804-0AC26DB155E6}"/>
              </a:ext>
            </a:extLst>
          </p:cNvPr>
          <p:cNvSpPr/>
          <p:nvPr/>
        </p:nvSpPr>
        <p:spPr>
          <a:xfrm>
            <a:off x="13921958" y="6413224"/>
            <a:ext cx="1721520" cy="1505519"/>
          </a:xfrm>
          <a:custGeom>
            <a:avLst/>
            <a:gdLst/>
            <a:ahLst/>
            <a:cxnLst>
              <a:cxn ang="3cd4">
                <a:pos x="hc" y="t"/>
              </a:cxn>
              <a:cxn ang="cd2">
                <a:pos x="l" y="vc"/>
              </a:cxn>
              <a:cxn ang="cd4">
                <a:pos x="hc" y="b"/>
              </a:cxn>
              <a:cxn ang="0">
                <a:pos x="r" y="vc"/>
              </a:cxn>
            </a:cxnLst>
            <a:rect l="l" t="t" r="r" b="b"/>
            <a:pathLst>
              <a:path w="4783" h="4183">
                <a:moveTo>
                  <a:pt x="0" y="4120"/>
                </a:moveTo>
                <a:cubicBezTo>
                  <a:pt x="0" y="4135"/>
                  <a:pt x="0" y="4135"/>
                  <a:pt x="0" y="4135"/>
                </a:cubicBezTo>
                <a:cubicBezTo>
                  <a:pt x="0" y="4151"/>
                  <a:pt x="16" y="4151"/>
                  <a:pt x="16" y="4151"/>
                </a:cubicBezTo>
                <a:cubicBezTo>
                  <a:pt x="16" y="4167"/>
                  <a:pt x="16" y="4167"/>
                  <a:pt x="31" y="4167"/>
                </a:cubicBezTo>
                <a:lnTo>
                  <a:pt x="31" y="4183"/>
                </a:lnTo>
                <a:lnTo>
                  <a:pt x="47" y="4183"/>
                </a:lnTo>
                <a:cubicBezTo>
                  <a:pt x="64" y="4183"/>
                  <a:pt x="64" y="4183"/>
                  <a:pt x="64" y="4183"/>
                </a:cubicBezTo>
                <a:lnTo>
                  <a:pt x="79" y="4183"/>
                </a:lnTo>
                <a:cubicBezTo>
                  <a:pt x="1527" y="4183"/>
                  <a:pt x="1527" y="4183"/>
                  <a:pt x="1527" y="4183"/>
                </a:cubicBezTo>
                <a:cubicBezTo>
                  <a:pt x="1558" y="4183"/>
                  <a:pt x="1574" y="4183"/>
                  <a:pt x="1590" y="4151"/>
                </a:cubicBezTo>
                <a:cubicBezTo>
                  <a:pt x="1606" y="4135"/>
                  <a:pt x="1622" y="4120"/>
                  <a:pt x="1606" y="4088"/>
                </a:cubicBezTo>
                <a:cubicBezTo>
                  <a:pt x="1018" y="1972"/>
                  <a:pt x="1018" y="1972"/>
                  <a:pt x="1018" y="1972"/>
                </a:cubicBezTo>
                <a:cubicBezTo>
                  <a:pt x="1527" y="1972"/>
                  <a:pt x="1527" y="1972"/>
                  <a:pt x="1527" y="1972"/>
                </a:cubicBezTo>
                <a:cubicBezTo>
                  <a:pt x="2036" y="1972"/>
                  <a:pt x="2576" y="1829"/>
                  <a:pt x="3054" y="1638"/>
                </a:cubicBezTo>
                <a:cubicBezTo>
                  <a:pt x="2370" y="4088"/>
                  <a:pt x="2370" y="4088"/>
                  <a:pt x="2370" y="4088"/>
                </a:cubicBezTo>
                <a:lnTo>
                  <a:pt x="2370" y="4104"/>
                </a:lnTo>
                <a:cubicBezTo>
                  <a:pt x="2370" y="4120"/>
                  <a:pt x="2370" y="4120"/>
                  <a:pt x="2370" y="4120"/>
                </a:cubicBezTo>
                <a:cubicBezTo>
                  <a:pt x="2370" y="4135"/>
                  <a:pt x="2370" y="4135"/>
                  <a:pt x="2370" y="4135"/>
                </a:cubicBezTo>
                <a:cubicBezTo>
                  <a:pt x="2370" y="4151"/>
                  <a:pt x="2385" y="4151"/>
                  <a:pt x="2385" y="4151"/>
                </a:cubicBezTo>
                <a:cubicBezTo>
                  <a:pt x="2385" y="4167"/>
                  <a:pt x="2385" y="4167"/>
                  <a:pt x="2401" y="4167"/>
                </a:cubicBezTo>
                <a:lnTo>
                  <a:pt x="2401" y="4183"/>
                </a:lnTo>
                <a:lnTo>
                  <a:pt x="2417" y="4183"/>
                </a:lnTo>
                <a:cubicBezTo>
                  <a:pt x="2433" y="4183"/>
                  <a:pt x="2433" y="4183"/>
                  <a:pt x="2433" y="4183"/>
                </a:cubicBezTo>
                <a:lnTo>
                  <a:pt x="2449" y="4183"/>
                </a:lnTo>
                <a:cubicBezTo>
                  <a:pt x="4708" y="4183"/>
                  <a:pt x="4708" y="4183"/>
                  <a:pt x="4708" y="4183"/>
                </a:cubicBezTo>
                <a:cubicBezTo>
                  <a:pt x="4724" y="4183"/>
                  <a:pt x="4755" y="4183"/>
                  <a:pt x="4771" y="4151"/>
                </a:cubicBezTo>
                <a:cubicBezTo>
                  <a:pt x="4787" y="4135"/>
                  <a:pt x="4787" y="4120"/>
                  <a:pt x="4771" y="4088"/>
                </a:cubicBezTo>
                <a:cubicBezTo>
                  <a:pt x="3976" y="1209"/>
                  <a:pt x="3976" y="1209"/>
                  <a:pt x="3976" y="1209"/>
                </a:cubicBezTo>
                <a:cubicBezTo>
                  <a:pt x="4421" y="970"/>
                  <a:pt x="4724" y="748"/>
                  <a:pt x="4739" y="732"/>
                </a:cubicBezTo>
                <a:cubicBezTo>
                  <a:pt x="4771" y="716"/>
                  <a:pt x="4787" y="684"/>
                  <a:pt x="4771" y="652"/>
                </a:cubicBezTo>
                <a:cubicBezTo>
                  <a:pt x="4771" y="605"/>
                  <a:pt x="4739" y="588"/>
                  <a:pt x="4708" y="588"/>
                </a:cubicBezTo>
                <a:cubicBezTo>
                  <a:pt x="3801" y="588"/>
                  <a:pt x="3801" y="588"/>
                  <a:pt x="3801" y="588"/>
                </a:cubicBezTo>
                <a:cubicBezTo>
                  <a:pt x="3642" y="48"/>
                  <a:pt x="3642" y="48"/>
                  <a:pt x="3642" y="48"/>
                </a:cubicBezTo>
                <a:cubicBezTo>
                  <a:pt x="3626" y="-16"/>
                  <a:pt x="3515" y="-16"/>
                  <a:pt x="3499" y="48"/>
                </a:cubicBezTo>
                <a:cubicBezTo>
                  <a:pt x="3340" y="588"/>
                  <a:pt x="3340" y="588"/>
                  <a:pt x="3340" y="588"/>
                </a:cubicBezTo>
                <a:cubicBezTo>
                  <a:pt x="2449" y="588"/>
                  <a:pt x="2449" y="588"/>
                  <a:pt x="2449" y="588"/>
                </a:cubicBezTo>
                <a:cubicBezTo>
                  <a:pt x="2417" y="588"/>
                  <a:pt x="2385" y="605"/>
                  <a:pt x="2370" y="636"/>
                </a:cubicBezTo>
                <a:cubicBezTo>
                  <a:pt x="2147" y="1209"/>
                  <a:pt x="1479" y="1495"/>
                  <a:pt x="922" y="1654"/>
                </a:cubicBezTo>
                <a:cubicBezTo>
                  <a:pt x="874" y="1479"/>
                  <a:pt x="874" y="1479"/>
                  <a:pt x="874" y="1479"/>
                </a:cubicBezTo>
                <a:cubicBezTo>
                  <a:pt x="859" y="1416"/>
                  <a:pt x="747" y="1416"/>
                  <a:pt x="731" y="1479"/>
                </a:cubicBezTo>
                <a:cubicBezTo>
                  <a:pt x="668" y="1718"/>
                  <a:pt x="668" y="1718"/>
                  <a:pt x="668" y="1718"/>
                </a:cubicBezTo>
                <a:cubicBezTo>
                  <a:pt x="318" y="1797"/>
                  <a:pt x="79" y="1814"/>
                  <a:pt x="64" y="1814"/>
                </a:cubicBezTo>
                <a:cubicBezTo>
                  <a:pt x="31" y="1814"/>
                  <a:pt x="0" y="1845"/>
                  <a:pt x="0" y="1893"/>
                </a:cubicBezTo>
                <a:cubicBezTo>
                  <a:pt x="0" y="1924"/>
                  <a:pt x="31" y="1972"/>
                  <a:pt x="79" y="1972"/>
                </a:cubicBezTo>
                <a:cubicBezTo>
                  <a:pt x="588" y="1972"/>
                  <a:pt x="588" y="1972"/>
                  <a:pt x="588" y="1972"/>
                </a:cubicBezTo>
                <a:cubicBezTo>
                  <a:pt x="0" y="4088"/>
                  <a:pt x="0" y="4088"/>
                  <a:pt x="0" y="4088"/>
                </a:cubicBezTo>
                <a:lnTo>
                  <a:pt x="0" y="4104"/>
                </a:lnTo>
                <a:cubicBezTo>
                  <a:pt x="0" y="4120"/>
                  <a:pt x="0" y="4120"/>
                  <a:pt x="0" y="4120"/>
                </a:cubicBezTo>
                <a:close/>
                <a:moveTo>
                  <a:pt x="4342" y="3133"/>
                </a:moveTo>
                <a:cubicBezTo>
                  <a:pt x="3006" y="3133"/>
                  <a:pt x="3006" y="3133"/>
                  <a:pt x="3006" y="3133"/>
                </a:cubicBezTo>
                <a:cubicBezTo>
                  <a:pt x="4151" y="2418"/>
                  <a:pt x="4151" y="2418"/>
                  <a:pt x="4151" y="2418"/>
                </a:cubicBezTo>
                <a:close/>
                <a:moveTo>
                  <a:pt x="2751" y="3293"/>
                </a:moveTo>
                <a:cubicBezTo>
                  <a:pt x="4040" y="3293"/>
                  <a:pt x="4040" y="3293"/>
                  <a:pt x="4040" y="3293"/>
                </a:cubicBezTo>
                <a:cubicBezTo>
                  <a:pt x="2561" y="3960"/>
                  <a:pt x="2561" y="3960"/>
                  <a:pt x="2561" y="3960"/>
                </a:cubicBezTo>
                <a:close/>
                <a:moveTo>
                  <a:pt x="2815" y="3070"/>
                </a:moveTo>
                <a:cubicBezTo>
                  <a:pt x="3006" y="2402"/>
                  <a:pt x="3006" y="2402"/>
                  <a:pt x="3006" y="2402"/>
                </a:cubicBezTo>
                <a:cubicBezTo>
                  <a:pt x="3864" y="2402"/>
                  <a:pt x="3864" y="2402"/>
                  <a:pt x="3864" y="2402"/>
                </a:cubicBezTo>
                <a:close/>
                <a:moveTo>
                  <a:pt x="2815" y="4024"/>
                </a:moveTo>
                <a:cubicBezTo>
                  <a:pt x="4390" y="3308"/>
                  <a:pt x="4390" y="3308"/>
                  <a:pt x="4390" y="3308"/>
                </a:cubicBezTo>
                <a:cubicBezTo>
                  <a:pt x="4596" y="4024"/>
                  <a:pt x="4596" y="4024"/>
                  <a:pt x="4596" y="4024"/>
                </a:cubicBezTo>
                <a:close/>
                <a:moveTo>
                  <a:pt x="4103" y="2243"/>
                </a:moveTo>
                <a:cubicBezTo>
                  <a:pt x="3054" y="2243"/>
                  <a:pt x="3054" y="2243"/>
                  <a:pt x="3054" y="2243"/>
                </a:cubicBezTo>
                <a:cubicBezTo>
                  <a:pt x="3245" y="1559"/>
                  <a:pt x="3245" y="1559"/>
                  <a:pt x="3245" y="1559"/>
                </a:cubicBezTo>
                <a:cubicBezTo>
                  <a:pt x="3451" y="1479"/>
                  <a:pt x="3642" y="1384"/>
                  <a:pt x="3833" y="1288"/>
                </a:cubicBezTo>
                <a:close/>
                <a:moveTo>
                  <a:pt x="3292" y="1368"/>
                </a:moveTo>
                <a:cubicBezTo>
                  <a:pt x="3467" y="748"/>
                  <a:pt x="3467" y="748"/>
                  <a:pt x="3467" y="748"/>
                </a:cubicBezTo>
                <a:cubicBezTo>
                  <a:pt x="3674" y="748"/>
                  <a:pt x="3674" y="748"/>
                  <a:pt x="3674" y="748"/>
                </a:cubicBezTo>
                <a:cubicBezTo>
                  <a:pt x="3785" y="1129"/>
                  <a:pt x="3785" y="1129"/>
                  <a:pt x="3785" y="1129"/>
                </a:cubicBezTo>
                <a:cubicBezTo>
                  <a:pt x="3626" y="1209"/>
                  <a:pt x="3467" y="1288"/>
                  <a:pt x="3292" y="1368"/>
                </a:cubicBezTo>
                <a:close/>
                <a:moveTo>
                  <a:pt x="4437" y="748"/>
                </a:moveTo>
                <a:cubicBezTo>
                  <a:pt x="4310" y="827"/>
                  <a:pt x="4135" y="939"/>
                  <a:pt x="3928" y="1050"/>
                </a:cubicBezTo>
                <a:cubicBezTo>
                  <a:pt x="3849" y="748"/>
                  <a:pt x="3849" y="748"/>
                  <a:pt x="3849" y="748"/>
                </a:cubicBezTo>
                <a:close/>
                <a:moveTo>
                  <a:pt x="3578" y="366"/>
                </a:moveTo>
                <a:cubicBezTo>
                  <a:pt x="3642" y="588"/>
                  <a:pt x="3642" y="588"/>
                  <a:pt x="3642" y="588"/>
                </a:cubicBezTo>
                <a:cubicBezTo>
                  <a:pt x="3515" y="588"/>
                  <a:pt x="3515" y="588"/>
                  <a:pt x="3515" y="588"/>
                </a:cubicBezTo>
                <a:close/>
                <a:moveTo>
                  <a:pt x="2497" y="748"/>
                </a:moveTo>
                <a:cubicBezTo>
                  <a:pt x="3308" y="748"/>
                  <a:pt x="3308" y="748"/>
                  <a:pt x="3308" y="748"/>
                </a:cubicBezTo>
                <a:cubicBezTo>
                  <a:pt x="3101" y="1448"/>
                  <a:pt x="3101" y="1448"/>
                  <a:pt x="3101" y="1448"/>
                </a:cubicBezTo>
                <a:cubicBezTo>
                  <a:pt x="2608" y="1654"/>
                  <a:pt x="2052" y="1814"/>
                  <a:pt x="1527" y="1814"/>
                </a:cubicBezTo>
                <a:cubicBezTo>
                  <a:pt x="986" y="1814"/>
                  <a:pt x="986" y="1814"/>
                  <a:pt x="986" y="1814"/>
                </a:cubicBezTo>
                <a:cubicBezTo>
                  <a:pt x="1558" y="1654"/>
                  <a:pt x="2227" y="1336"/>
                  <a:pt x="2497" y="748"/>
                </a:cubicBezTo>
                <a:close/>
                <a:moveTo>
                  <a:pt x="461" y="3038"/>
                </a:moveTo>
                <a:cubicBezTo>
                  <a:pt x="891" y="3038"/>
                  <a:pt x="891" y="3038"/>
                  <a:pt x="891" y="3038"/>
                </a:cubicBezTo>
                <a:cubicBezTo>
                  <a:pt x="365" y="3372"/>
                  <a:pt x="365" y="3372"/>
                  <a:pt x="365" y="3372"/>
                </a:cubicBezTo>
                <a:close/>
                <a:moveTo>
                  <a:pt x="1272" y="3451"/>
                </a:moveTo>
                <a:cubicBezTo>
                  <a:pt x="540" y="3451"/>
                  <a:pt x="540" y="3451"/>
                  <a:pt x="540" y="3451"/>
                </a:cubicBezTo>
                <a:cubicBezTo>
                  <a:pt x="1161" y="3054"/>
                  <a:pt x="1161" y="3054"/>
                  <a:pt x="1161" y="3054"/>
                </a:cubicBezTo>
                <a:close/>
                <a:moveTo>
                  <a:pt x="302" y="3611"/>
                </a:moveTo>
                <a:cubicBezTo>
                  <a:pt x="970" y="3611"/>
                  <a:pt x="970" y="3611"/>
                  <a:pt x="970" y="3611"/>
                </a:cubicBezTo>
                <a:cubicBezTo>
                  <a:pt x="191" y="3960"/>
                  <a:pt x="191" y="3960"/>
                  <a:pt x="191" y="3960"/>
                </a:cubicBezTo>
                <a:close/>
                <a:moveTo>
                  <a:pt x="445" y="4024"/>
                </a:moveTo>
                <a:cubicBezTo>
                  <a:pt x="1320" y="3626"/>
                  <a:pt x="1320" y="3626"/>
                  <a:pt x="1320" y="3626"/>
                </a:cubicBezTo>
                <a:cubicBezTo>
                  <a:pt x="1431" y="4024"/>
                  <a:pt x="1431" y="4024"/>
                  <a:pt x="1431" y="4024"/>
                </a:cubicBezTo>
                <a:close/>
                <a:moveTo>
                  <a:pt x="859" y="1972"/>
                </a:moveTo>
                <a:cubicBezTo>
                  <a:pt x="1113" y="2879"/>
                  <a:pt x="1113" y="2879"/>
                  <a:pt x="1113" y="2879"/>
                </a:cubicBezTo>
                <a:cubicBezTo>
                  <a:pt x="509" y="2879"/>
                  <a:pt x="509" y="2879"/>
                  <a:pt x="509" y="2879"/>
                </a:cubicBezTo>
                <a:cubicBezTo>
                  <a:pt x="763" y="1972"/>
                  <a:pt x="763" y="1972"/>
                  <a:pt x="763" y="19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8" name="Freeform: Shape 10">
            <a:extLst>
              <a:ext uri="{FF2B5EF4-FFF2-40B4-BE49-F238E27FC236}">
                <a16:creationId xmlns:a16="http://schemas.microsoft.com/office/drawing/2014/main" id="{670E0781-FE39-234F-AC45-33525B129AE3}"/>
              </a:ext>
            </a:extLst>
          </p:cNvPr>
          <p:cNvSpPr/>
          <p:nvPr/>
        </p:nvSpPr>
        <p:spPr>
          <a:xfrm>
            <a:off x="21199556" y="6510423"/>
            <a:ext cx="1711800" cy="1311120"/>
          </a:xfrm>
          <a:custGeom>
            <a:avLst/>
            <a:gdLst/>
            <a:ahLst/>
            <a:cxnLst>
              <a:cxn ang="3cd4">
                <a:pos x="hc" y="t"/>
              </a:cxn>
              <a:cxn ang="cd2">
                <a:pos x="l" y="vc"/>
              </a:cxn>
              <a:cxn ang="cd4">
                <a:pos x="hc" y="b"/>
              </a:cxn>
              <a:cxn ang="0">
                <a:pos x="r" y="vc"/>
              </a:cxn>
            </a:cxnLst>
            <a:rect l="l" t="t" r="r" b="b"/>
            <a:pathLst>
              <a:path w="4756" h="3643">
                <a:moveTo>
                  <a:pt x="1877" y="2689"/>
                </a:moveTo>
                <a:cubicBezTo>
                  <a:pt x="1813" y="2847"/>
                  <a:pt x="1527" y="3181"/>
                  <a:pt x="875" y="3181"/>
                </a:cubicBezTo>
                <a:cubicBezTo>
                  <a:pt x="827" y="3181"/>
                  <a:pt x="795" y="3213"/>
                  <a:pt x="795" y="3261"/>
                </a:cubicBezTo>
                <a:lnTo>
                  <a:pt x="795" y="3563"/>
                </a:lnTo>
                <a:cubicBezTo>
                  <a:pt x="795" y="3611"/>
                  <a:pt x="827" y="3643"/>
                  <a:pt x="875" y="3643"/>
                </a:cubicBezTo>
                <a:lnTo>
                  <a:pt x="3881" y="3643"/>
                </a:lnTo>
                <a:cubicBezTo>
                  <a:pt x="3928" y="3643"/>
                  <a:pt x="3961" y="3611"/>
                  <a:pt x="3961" y="3563"/>
                </a:cubicBezTo>
                <a:lnTo>
                  <a:pt x="3961" y="3261"/>
                </a:lnTo>
                <a:cubicBezTo>
                  <a:pt x="3961" y="3213"/>
                  <a:pt x="3928" y="3181"/>
                  <a:pt x="3881" y="3181"/>
                </a:cubicBezTo>
                <a:cubicBezTo>
                  <a:pt x="3245" y="3181"/>
                  <a:pt x="2974" y="2863"/>
                  <a:pt x="2911" y="2689"/>
                </a:cubicBezTo>
                <a:lnTo>
                  <a:pt x="4581" y="2689"/>
                </a:lnTo>
                <a:cubicBezTo>
                  <a:pt x="4676" y="2689"/>
                  <a:pt x="4756" y="2609"/>
                  <a:pt x="4756" y="2514"/>
                </a:cubicBezTo>
                <a:lnTo>
                  <a:pt x="4756" y="175"/>
                </a:lnTo>
                <a:cubicBezTo>
                  <a:pt x="4756" y="80"/>
                  <a:pt x="4676" y="0"/>
                  <a:pt x="4581" y="0"/>
                </a:cubicBezTo>
                <a:lnTo>
                  <a:pt x="175" y="0"/>
                </a:lnTo>
                <a:cubicBezTo>
                  <a:pt x="80" y="0"/>
                  <a:pt x="0" y="80"/>
                  <a:pt x="0" y="175"/>
                </a:cubicBezTo>
                <a:lnTo>
                  <a:pt x="0" y="2514"/>
                </a:lnTo>
                <a:cubicBezTo>
                  <a:pt x="0" y="2609"/>
                  <a:pt x="80" y="2689"/>
                  <a:pt x="175" y="2689"/>
                </a:cubicBezTo>
                <a:close/>
                <a:moveTo>
                  <a:pt x="3818" y="3325"/>
                </a:moveTo>
                <a:lnTo>
                  <a:pt x="3818" y="3484"/>
                </a:lnTo>
                <a:lnTo>
                  <a:pt x="955" y="3484"/>
                </a:lnTo>
                <a:lnTo>
                  <a:pt x="955" y="3325"/>
                </a:lnTo>
                <a:cubicBezTo>
                  <a:pt x="1654" y="3309"/>
                  <a:pt x="1988" y="2911"/>
                  <a:pt x="2052" y="2689"/>
                </a:cubicBezTo>
                <a:lnTo>
                  <a:pt x="2752" y="2689"/>
                </a:lnTo>
                <a:cubicBezTo>
                  <a:pt x="2800" y="2911"/>
                  <a:pt x="3070" y="3309"/>
                  <a:pt x="3818" y="3325"/>
                </a:cubicBezTo>
                <a:close/>
                <a:moveTo>
                  <a:pt x="159" y="2514"/>
                </a:moveTo>
                <a:lnTo>
                  <a:pt x="159" y="175"/>
                </a:lnTo>
                <a:cubicBezTo>
                  <a:pt x="159" y="160"/>
                  <a:pt x="159" y="160"/>
                  <a:pt x="175" y="160"/>
                </a:cubicBezTo>
                <a:lnTo>
                  <a:pt x="4581" y="160"/>
                </a:lnTo>
                <a:cubicBezTo>
                  <a:pt x="4597" y="160"/>
                  <a:pt x="4597" y="160"/>
                  <a:pt x="4597" y="175"/>
                </a:cubicBezTo>
                <a:lnTo>
                  <a:pt x="4597" y="2514"/>
                </a:lnTo>
                <a:cubicBezTo>
                  <a:pt x="4597" y="2529"/>
                  <a:pt x="4597" y="2529"/>
                  <a:pt x="4581" y="2529"/>
                </a:cubicBezTo>
                <a:lnTo>
                  <a:pt x="175" y="2529"/>
                </a:lnTo>
                <a:cubicBezTo>
                  <a:pt x="159" y="2529"/>
                  <a:pt x="159" y="2529"/>
                  <a:pt x="159" y="2514"/>
                </a:cubicBezTo>
                <a:close/>
                <a:moveTo>
                  <a:pt x="1940" y="2036"/>
                </a:moveTo>
                <a:cubicBezTo>
                  <a:pt x="1956" y="2052"/>
                  <a:pt x="1973" y="2052"/>
                  <a:pt x="1988" y="2052"/>
                </a:cubicBezTo>
                <a:cubicBezTo>
                  <a:pt x="2004" y="2052"/>
                  <a:pt x="2004" y="2052"/>
                  <a:pt x="2020" y="2036"/>
                </a:cubicBezTo>
                <a:lnTo>
                  <a:pt x="3213" y="1353"/>
                </a:lnTo>
                <a:cubicBezTo>
                  <a:pt x="3245" y="1336"/>
                  <a:pt x="3261" y="1305"/>
                  <a:pt x="3261" y="1289"/>
                </a:cubicBezTo>
                <a:cubicBezTo>
                  <a:pt x="3261" y="1257"/>
                  <a:pt x="3245" y="1225"/>
                  <a:pt x="3213" y="1209"/>
                </a:cubicBezTo>
                <a:lnTo>
                  <a:pt x="2020" y="526"/>
                </a:lnTo>
                <a:cubicBezTo>
                  <a:pt x="2004" y="509"/>
                  <a:pt x="1973" y="509"/>
                  <a:pt x="1940" y="526"/>
                </a:cubicBezTo>
                <a:cubicBezTo>
                  <a:pt x="1925" y="541"/>
                  <a:pt x="1909" y="573"/>
                  <a:pt x="1909" y="589"/>
                </a:cubicBezTo>
                <a:lnTo>
                  <a:pt x="1909" y="1973"/>
                </a:lnTo>
                <a:cubicBezTo>
                  <a:pt x="1909" y="2005"/>
                  <a:pt x="1925" y="2020"/>
                  <a:pt x="1940" y="2036"/>
                </a:cubicBezTo>
                <a:close/>
                <a:moveTo>
                  <a:pt x="2068" y="732"/>
                </a:moveTo>
                <a:lnTo>
                  <a:pt x="3022" y="1289"/>
                </a:lnTo>
                <a:lnTo>
                  <a:pt x="2068" y="1830"/>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29" name="Freeform: Shape 11">
            <a:extLst>
              <a:ext uri="{FF2B5EF4-FFF2-40B4-BE49-F238E27FC236}">
                <a16:creationId xmlns:a16="http://schemas.microsoft.com/office/drawing/2014/main" id="{F1EA66DA-597D-884B-A98A-D9F2D6C6ECB5}"/>
              </a:ext>
            </a:extLst>
          </p:cNvPr>
          <p:cNvSpPr/>
          <p:nvPr/>
        </p:nvSpPr>
        <p:spPr>
          <a:xfrm>
            <a:off x="1756510" y="9637504"/>
            <a:ext cx="1745640" cy="1659960"/>
          </a:xfrm>
          <a:custGeom>
            <a:avLst/>
            <a:gdLst/>
            <a:ahLst/>
            <a:cxnLst>
              <a:cxn ang="3cd4">
                <a:pos x="hc" y="t"/>
              </a:cxn>
              <a:cxn ang="cd2">
                <a:pos x="l" y="vc"/>
              </a:cxn>
              <a:cxn ang="cd4">
                <a:pos x="hc" y="b"/>
              </a:cxn>
              <a:cxn ang="0">
                <a:pos x="r" y="vc"/>
              </a:cxn>
            </a:cxnLst>
            <a:rect l="l" t="t" r="r" b="b"/>
            <a:pathLst>
              <a:path w="4850" h="4612">
                <a:moveTo>
                  <a:pt x="1495" y="4612"/>
                </a:moveTo>
                <a:cubicBezTo>
                  <a:pt x="1543" y="4612"/>
                  <a:pt x="1575" y="4565"/>
                  <a:pt x="1575" y="4533"/>
                </a:cubicBezTo>
                <a:lnTo>
                  <a:pt x="1575" y="4294"/>
                </a:lnTo>
                <a:cubicBezTo>
                  <a:pt x="1733" y="4279"/>
                  <a:pt x="1924" y="4183"/>
                  <a:pt x="1972" y="3993"/>
                </a:cubicBezTo>
                <a:lnTo>
                  <a:pt x="1972" y="3945"/>
                </a:lnTo>
                <a:cubicBezTo>
                  <a:pt x="2004" y="3833"/>
                  <a:pt x="1956" y="3722"/>
                  <a:pt x="1877" y="3658"/>
                </a:cubicBezTo>
                <a:cubicBezTo>
                  <a:pt x="1829" y="3611"/>
                  <a:pt x="1781" y="3579"/>
                  <a:pt x="1718" y="3563"/>
                </a:cubicBezTo>
                <a:cubicBezTo>
                  <a:pt x="1654" y="3531"/>
                  <a:pt x="1590" y="3515"/>
                  <a:pt x="1511" y="3499"/>
                </a:cubicBezTo>
                <a:cubicBezTo>
                  <a:pt x="1447" y="3467"/>
                  <a:pt x="1384" y="3451"/>
                  <a:pt x="1336" y="3436"/>
                </a:cubicBezTo>
                <a:cubicBezTo>
                  <a:pt x="1272" y="3404"/>
                  <a:pt x="1224" y="3372"/>
                  <a:pt x="1209" y="3340"/>
                </a:cubicBezTo>
                <a:cubicBezTo>
                  <a:pt x="1177" y="3276"/>
                  <a:pt x="1193" y="3197"/>
                  <a:pt x="1241" y="3149"/>
                </a:cubicBezTo>
                <a:cubicBezTo>
                  <a:pt x="1320" y="3054"/>
                  <a:pt x="1479" y="3054"/>
                  <a:pt x="1575" y="3070"/>
                </a:cubicBezTo>
                <a:cubicBezTo>
                  <a:pt x="1718" y="3086"/>
                  <a:pt x="1744" y="3133"/>
                  <a:pt x="1829" y="3165"/>
                </a:cubicBezTo>
                <a:cubicBezTo>
                  <a:pt x="1877" y="3197"/>
                  <a:pt x="1924" y="3181"/>
                  <a:pt x="1941" y="3149"/>
                </a:cubicBezTo>
                <a:cubicBezTo>
                  <a:pt x="1972" y="3118"/>
                  <a:pt x="1956" y="3070"/>
                  <a:pt x="1924" y="3038"/>
                </a:cubicBezTo>
                <a:cubicBezTo>
                  <a:pt x="1812" y="2996"/>
                  <a:pt x="1781" y="2927"/>
                  <a:pt x="1590" y="2911"/>
                </a:cubicBezTo>
                <a:lnTo>
                  <a:pt x="1575" y="2911"/>
                </a:lnTo>
                <a:lnTo>
                  <a:pt x="1575" y="2672"/>
                </a:lnTo>
                <a:cubicBezTo>
                  <a:pt x="1575" y="2624"/>
                  <a:pt x="1543" y="2593"/>
                  <a:pt x="1495" y="2593"/>
                </a:cubicBezTo>
                <a:cubicBezTo>
                  <a:pt x="1447" y="2593"/>
                  <a:pt x="1415" y="2624"/>
                  <a:pt x="1415" y="2672"/>
                </a:cubicBezTo>
                <a:lnTo>
                  <a:pt x="1415" y="2911"/>
                </a:lnTo>
                <a:cubicBezTo>
                  <a:pt x="1288" y="2927"/>
                  <a:pt x="1193" y="2975"/>
                  <a:pt x="1113" y="3038"/>
                </a:cubicBezTo>
                <a:cubicBezTo>
                  <a:pt x="1034" y="3149"/>
                  <a:pt x="1018" y="3276"/>
                  <a:pt x="1066" y="3404"/>
                </a:cubicBezTo>
                <a:cubicBezTo>
                  <a:pt x="1097" y="3467"/>
                  <a:pt x="1161" y="3531"/>
                  <a:pt x="1272" y="3579"/>
                </a:cubicBezTo>
                <a:cubicBezTo>
                  <a:pt x="1336" y="3595"/>
                  <a:pt x="1400" y="3627"/>
                  <a:pt x="1479" y="3642"/>
                </a:cubicBezTo>
                <a:cubicBezTo>
                  <a:pt x="1543" y="3658"/>
                  <a:pt x="1590" y="3674"/>
                  <a:pt x="1654" y="3706"/>
                </a:cubicBezTo>
                <a:cubicBezTo>
                  <a:pt x="1702" y="3722"/>
                  <a:pt x="1750" y="3738"/>
                  <a:pt x="1781" y="3770"/>
                </a:cubicBezTo>
                <a:cubicBezTo>
                  <a:pt x="1813" y="3802"/>
                  <a:pt x="1829" y="3865"/>
                  <a:pt x="1829" y="3928"/>
                </a:cubicBezTo>
                <a:lnTo>
                  <a:pt x="1813" y="3945"/>
                </a:lnTo>
                <a:cubicBezTo>
                  <a:pt x="1781" y="4072"/>
                  <a:pt x="1654" y="4136"/>
                  <a:pt x="1543" y="4136"/>
                </a:cubicBezTo>
                <a:cubicBezTo>
                  <a:pt x="1384" y="4136"/>
                  <a:pt x="1224" y="4088"/>
                  <a:pt x="1081" y="3976"/>
                </a:cubicBezTo>
                <a:cubicBezTo>
                  <a:pt x="1050" y="3945"/>
                  <a:pt x="1002" y="3945"/>
                  <a:pt x="970" y="3993"/>
                </a:cubicBezTo>
                <a:cubicBezTo>
                  <a:pt x="954" y="4024"/>
                  <a:pt x="954" y="4072"/>
                  <a:pt x="986" y="4103"/>
                </a:cubicBezTo>
                <a:cubicBezTo>
                  <a:pt x="1113" y="4199"/>
                  <a:pt x="1257" y="4263"/>
                  <a:pt x="1415" y="4279"/>
                </a:cubicBezTo>
                <a:lnTo>
                  <a:pt x="1415" y="4533"/>
                </a:lnTo>
                <a:cubicBezTo>
                  <a:pt x="1415" y="4565"/>
                  <a:pt x="1447" y="4612"/>
                  <a:pt x="1495" y="4612"/>
                </a:cubicBezTo>
                <a:close/>
                <a:moveTo>
                  <a:pt x="365" y="2258"/>
                </a:moveTo>
                <a:cubicBezTo>
                  <a:pt x="540" y="2179"/>
                  <a:pt x="731" y="2227"/>
                  <a:pt x="874" y="2370"/>
                </a:cubicBezTo>
                <a:cubicBezTo>
                  <a:pt x="922" y="2434"/>
                  <a:pt x="1001" y="2466"/>
                  <a:pt x="1096" y="2466"/>
                </a:cubicBezTo>
                <a:cubicBezTo>
                  <a:pt x="1192" y="2466"/>
                  <a:pt x="1271" y="2434"/>
                  <a:pt x="1319" y="2370"/>
                </a:cubicBezTo>
                <a:cubicBezTo>
                  <a:pt x="1399" y="2291"/>
                  <a:pt x="1494" y="2243"/>
                  <a:pt x="1637" y="2227"/>
                </a:cubicBezTo>
                <a:cubicBezTo>
                  <a:pt x="1796" y="2211"/>
                  <a:pt x="1923" y="2275"/>
                  <a:pt x="2035" y="2354"/>
                </a:cubicBezTo>
                <a:cubicBezTo>
                  <a:pt x="2067" y="2370"/>
                  <a:pt x="2098" y="2386"/>
                  <a:pt x="2114" y="2418"/>
                </a:cubicBezTo>
                <a:cubicBezTo>
                  <a:pt x="2178" y="2466"/>
                  <a:pt x="2258" y="2513"/>
                  <a:pt x="2337" y="2529"/>
                </a:cubicBezTo>
                <a:lnTo>
                  <a:pt x="2337" y="2688"/>
                </a:lnTo>
                <a:lnTo>
                  <a:pt x="2337" y="3913"/>
                </a:lnTo>
                <a:cubicBezTo>
                  <a:pt x="2337" y="4120"/>
                  <a:pt x="2401" y="4279"/>
                  <a:pt x="2512" y="4374"/>
                </a:cubicBezTo>
                <a:cubicBezTo>
                  <a:pt x="2607" y="4454"/>
                  <a:pt x="2719" y="4485"/>
                  <a:pt x="2814" y="4485"/>
                </a:cubicBezTo>
                <a:cubicBezTo>
                  <a:pt x="2925" y="4485"/>
                  <a:pt x="3037" y="4454"/>
                  <a:pt x="3116" y="4406"/>
                </a:cubicBezTo>
                <a:cubicBezTo>
                  <a:pt x="3228" y="4326"/>
                  <a:pt x="3307" y="4199"/>
                  <a:pt x="3339" y="4056"/>
                </a:cubicBezTo>
                <a:lnTo>
                  <a:pt x="3339" y="3960"/>
                </a:lnTo>
                <a:cubicBezTo>
                  <a:pt x="3339" y="3913"/>
                  <a:pt x="3307" y="3881"/>
                  <a:pt x="3259" y="3881"/>
                </a:cubicBezTo>
                <a:cubicBezTo>
                  <a:pt x="3212" y="3881"/>
                  <a:pt x="3180" y="3913"/>
                  <a:pt x="3180" y="3960"/>
                </a:cubicBezTo>
                <a:lnTo>
                  <a:pt x="3180" y="4024"/>
                </a:lnTo>
                <a:cubicBezTo>
                  <a:pt x="3164" y="4136"/>
                  <a:pt x="3100" y="4215"/>
                  <a:pt x="3021" y="4263"/>
                </a:cubicBezTo>
                <a:cubicBezTo>
                  <a:pt x="2910" y="4342"/>
                  <a:pt x="2735" y="4358"/>
                  <a:pt x="2623" y="4263"/>
                </a:cubicBezTo>
                <a:cubicBezTo>
                  <a:pt x="2512" y="4167"/>
                  <a:pt x="2496" y="4008"/>
                  <a:pt x="2496" y="3913"/>
                </a:cubicBezTo>
                <a:lnTo>
                  <a:pt x="2496" y="2688"/>
                </a:lnTo>
                <a:lnTo>
                  <a:pt x="2496" y="2545"/>
                </a:lnTo>
                <a:cubicBezTo>
                  <a:pt x="2576" y="2513"/>
                  <a:pt x="2639" y="2466"/>
                  <a:pt x="2703" y="2434"/>
                </a:cubicBezTo>
                <a:cubicBezTo>
                  <a:pt x="2719" y="2402"/>
                  <a:pt x="2750" y="2386"/>
                  <a:pt x="2767" y="2370"/>
                </a:cubicBezTo>
                <a:cubicBezTo>
                  <a:pt x="2894" y="2306"/>
                  <a:pt x="3037" y="2227"/>
                  <a:pt x="3164" y="2227"/>
                </a:cubicBezTo>
                <a:cubicBezTo>
                  <a:pt x="3307" y="2227"/>
                  <a:pt x="3450" y="2275"/>
                  <a:pt x="3530" y="2370"/>
                </a:cubicBezTo>
                <a:cubicBezTo>
                  <a:pt x="3577" y="2434"/>
                  <a:pt x="3673" y="2466"/>
                  <a:pt x="3752" y="2466"/>
                </a:cubicBezTo>
                <a:cubicBezTo>
                  <a:pt x="3848" y="2466"/>
                  <a:pt x="3928" y="2434"/>
                  <a:pt x="3991" y="2370"/>
                </a:cubicBezTo>
                <a:cubicBezTo>
                  <a:pt x="4118" y="2227"/>
                  <a:pt x="4309" y="2179"/>
                  <a:pt x="4484" y="2258"/>
                </a:cubicBezTo>
                <a:cubicBezTo>
                  <a:pt x="4580" y="2291"/>
                  <a:pt x="4691" y="2275"/>
                  <a:pt x="4770" y="2195"/>
                </a:cubicBezTo>
                <a:cubicBezTo>
                  <a:pt x="4850" y="2115"/>
                  <a:pt x="4866" y="2020"/>
                  <a:pt x="4834" y="1909"/>
                </a:cubicBezTo>
                <a:cubicBezTo>
                  <a:pt x="4500" y="1002"/>
                  <a:pt x="3689" y="382"/>
                  <a:pt x="2735" y="255"/>
                </a:cubicBezTo>
                <a:lnTo>
                  <a:pt x="2512" y="255"/>
                </a:lnTo>
                <a:lnTo>
                  <a:pt x="2496" y="255"/>
                </a:lnTo>
                <a:lnTo>
                  <a:pt x="2496" y="80"/>
                </a:lnTo>
                <a:cubicBezTo>
                  <a:pt x="2496" y="32"/>
                  <a:pt x="2464" y="0"/>
                  <a:pt x="2416" y="0"/>
                </a:cubicBezTo>
                <a:cubicBezTo>
                  <a:pt x="2385" y="0"/>
                  <a:pt x="2337" y="32"/>
                  <a:pt x="2337" y="80"/>
                </a:cubicBezTo>
                <a:lnTo>
                  <a:pt x="2337" y="239"/>
                </a:lnTo>
                <a:lnTo>
                  <a:pt x="2321" y="239"/>
                </a:lnTo>
                <a:cubicBezTo>
                  <a:pt x="2241" y="255"/>
                  <a:pt x="2162" y="255"/>
                  <a:pt x="2098" y="255"/>
                </a:cubicBezTo>
                <a:cubicBezTo>
                  <a:pt x="1144" y="382"/>
                  <a:pt x="349" y="1018"/>
                  <a:pt x="15" y="1925"/>
                </a:cubicBezTo>
                <a:cubicBezTo>
                  <a:pt x="-17" y="2020"/>
                  <a:pt x="-1" y="2131"/>
                  <a:pt x="78" y="2195"/>
                </a:cubicBezTo>
                <a:cubicBezTo>
                  <a:pt x="142" y="2275"/>
                  <a:pt x="269" y="2291"/>
                  <a:pt x="365" y="2258"/>
                </a:cubicBezTo>
                <a:close/>
                <a:moveTo>
                  <a:pt x="158" y="1972"/>
                </a:moveTo>
                <a:cubicBezTo>
                  <a:pt x="476" y="1130"/>
                  <a:pt x="1223" y="525"/>
                  <a:pt x="2130" y="414"/>
                </a:cubicBezTo>
                <a:cubicBezTo>
                  <a:pt x="2178" y="414"/>
                  <a:pt x="2258" y="414"/>
                  <a:pt x="2321" y="398"/>
                </a:cubicBezTo>
                <a:lnTo>
                  <a:pt x="2512" y="398"/>
                </a:lnTo>
                <a:cubicBezTo>
                  <a:pt x="2623" y="414"/>
                  <a:pt x="2703" y="414"/>
                  <a:pt x="2719" y="414"/>
                </a:cubicBezTo>
                <a:cubicBezTo>
                  <a:pt x="3609" y="525"/>
                  <a:pt x="4373" y="1113"/>
                  <a:pt x="4691" y="1972"/>
                </a:cubicBezTo>
                <a:cubicBezTo>
                  <a:pt x="4707" y="2020"/>
                  <a:pt x="4675" y="2068"/>
                  <a:pt x="4659" y="2084"/>
                </a:cubicBezTo>
                <a:cubicBezTo>
                  <a:pt x="4643" y="2100"/>
                  <a:pt x="4595" y="2131"/>
                  <a:pt x="4548" y="2100"/>
                </a:cubicBezTo>
                <a:cubicBezTo>
                  <a:pt x="4309" y="2020"/>
                  <a:pt x="4039" y="2084"/>
                  <a:pt x="3864" y="2258"/>
                </a:cubicBezTo>
                <a:cubicBezTo>
                  <a:pt x="3848" y="2291"/>
                  <a:pt x="3800" y="2306"/>
                  <a:pt x="3752" y="2306"/>
                </a:cubicBezTo>
                <a:cubicBezTo>
                  <a:pt x="3705" y="2306"/>
                  <a:pt x="3673" y="2291"/>
                  <a:pt x="3641" y="2258"/>
                </a:cubicBezTo>
                <a:cubicBezTo>
                  <a:pt x="3530" y="2148"/>
                  <a:pt x="3339" y="2068"/>
                  <a:pt x="3164" y="2068"/>
                </a:cubicBezTo>
                <a:cubicBezTo>
                  <a:pt x="2989" y="2068"/>
                  <a:pt x="2830" y="2148"/>
                  <a:pt x="2687" y="2243"/>
                </a:cubicBezTo>
                <a:cubicBezTo>
                  <a:pt x="2655" y="2258"/>
                  <a:pt x="2639" y="2275"/>
                  <a:pt x="2607" y="2306"/>
                </a:cubicBezTo>
                <a:cubicBezTo>
                  <a:pt x="2544" y="2354"/>
                  <a:pt x="2480" y="2402"/>
                  <a:pt x="2416" y="2386"/>
                </a:cubicBezTo>
                <a:cubicBezTo>
                  <a:pt x="2337" y="2386"/>
                  <a:pt x="2289" y="2338"/>
                  <a:pt x="2210" y="2291"/>
                </a:cubicBezTo>
                <a:cubicBezTo>
                  <a:pt x="2178" y="2258"/>
                  <a:pt x="2146" y="2227"/>
                  <a:pt x="2114" y="2211"/>
                </a:cubicBezTo>
                <a:cubicBezTo>
                  <a:pt x="2003" y="2148"/>
                  <a:pt x="1860" y="2068"/>
                  <a:pt x="1685" y="2068"/>
                </a:cubicBezTo>
                <a:lnTo>
                  <a:pt x="1621" y="2068"/>
                </a:lnTo>
                <a:cubicBezTo>
                  <a:pt x="1446" y="2100"/>
                  <a:pt x="1303" y="2148"/>
                  <a:pt x="1208" y="2258"/>
                </a:cubicBezTo>
                <a:cubicBezTo>
                  <a:pt x="1176" y="2291"/>
                  <a:pt x="1144" y="2306"/>
                  <a:pt x="1096" y="2306"/>
                </a:cubicBezTo>
                <a:cubicBezTo>
                  <a:pt x="1049" y="2306"/>
                  <a:pt x="1001" y="2291"/>
                  <a:pt x="985" y="2258"/>
                </a:cubicBezTo>
                <a:cubicBezTo>
                  <a:pt x="810" y="2068"/>
                  <a:pt x="540" y="2020"/>
                  <a:pt x="301" y="2100"/>
                </a:cubicBezTo>
                <a:cubicBezTo>
                  <a:pt x="253" y="2131"/>
                  <a:pt x="206" y="2100"/>
                  <a:pt x="190" y="2084"/>
                </a:cubicBezTo>
                <a:cubicBezTo>
                  <a:pt x="174" y="2068"/>
                  <a:pt x="142" y="2036"/>
                  <a:pt x="158" y="19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0" name="Freeform: Shape 16">
            <a:extLst>
              <a:ext uri="{FF2B5EF4-FFF2-40B4-BE49-F238E27FC236}">
                <a16:creationId xmlns:a16="http://schemas.microsoft.com/office/drawing/2014/main" id="{8FDD4D4C-D3EE-6C4D-ACB5-AA9F4B0E7E64}"/>
              </a:ext>
            </a:extLst>
          </p:cNvPr>
          <p:cNvSpPr/>
          <p:nvPr/>
        </p:nvSpPr>
        <p:spPr>
          <a:xfrm>
            <a:off x="6054343" y="9738484"/>
            <a:ext cx="1458000" cy="1458000"/>
          </a:xfrm>
          <a:custGeom>
            <a:avLst/>
            <a:gdLst/>
            <a:ahLst/>
            <a:cxnLst>
              <a:cxn ang="3cd4">
                <a:pos x="hc" y="t"/>
              </a:cxn>
              <a:cxn ang="cd2">
                <a:pos x="l" y="vc"/>
              </a:cxn>
              <a:cxn ang="cd4">
                <a:pos x="hc" y="b"/>
              </a:cxn>
              <a:cxn ang="0">
                <a:pos x="r" y="vc"/>
              </a:cxn>
            </a:cxnLst>
            <a:rect l="l" t="t" r="r" b="b"/>
            <a:pathLst>
              <a:path w="4051" h="4051">
                <a:moveTo>
                  <a:pt x="111" y="3924"/>
                </a:moveTo>
                <a:cubicBezTo>
                  <a:pt x="206" y="4019"/>
                  <a:pt x="318" y="4051"/>
                  <a:pt x="461" y="4051"/>
                </a:cubicBezTo>
                <a:cubicBezTo>
                  <a:pt x="652" y="4051"/>
                  <a:pt x="906" y="3988"/>
                  <a:pt x="1193" y="3845"/>
                </a:cubicBezTo>
                <a:cubicBezTo>
                  <a:pt x="1447" y="3701"/>
                  <a:pt x="1733" y="3527"/>
                  <a:pt x="2020" y="3304"/>
                </a:cubicBezTo>
                <a:cubicBezTo>
                  <a:pt x="2306" y="3527"/>
                  <a:pt x="2592" y="3701"/>
                  <a:pt x="2862" y="3845"/>
                </a:cubicBezTo>
                <a:cubicBezTo>
                  <a:pt x="3133" y="3988"/>
                  <a:pt x="3387" y="4051"/>
                  <a:pt x="3578" y="4051"/>
                </a:cubicBezTo>
                <a:cubicBezTo>
                  <a:pt x="3722" y="4051"/>
                  <a:pt x="3849" y="4019"/>
                  <a:pt x="3928" y="3924"/>
                </a:cubicBezTo>
                <a:cubicBezTo>
                  <a:pt x="4119" y="3733"/>
                  <a:pt x="4087" y="3367"/>
                  <a:pt x="3833" y="2858"/>
                </a:cubicBezTo>
                <a:cubicBezTo>
                  <a:pt x="3705" y="2604"/>
                  <a:pt x="3514" y="2318"/>
                  <a:pt x="3292" y="2031"/>
                </a:cubicBezTo>
                <a:cubicBezTo>
                  <a:pt x="3514" y="1745"/>
                  <a:pt x="3705" y="1459"/>
                  <a:pt x="3833" y="1189"/>
                </a:cubicBezTo>
                <a:cubicBezTo>
                  <a:pt x="4087" y="695"/>
                  <a:pt x="4119" y="314"/>
                  <a:pt x="3928" y="123"/>
                </a:cubicBezTo>
                <a:cubicBezTo>
                  <a:pt x="3737" y="-68"/>
                  <a:pt x="3356" y="-36"/>
                  <a:pt x="2862" y="218"/>
                </a:cubicBezTo>
                <a:cubicBezTo>
                  <a:pt x="2592" y="346"/>
                  <a:pt x="2306" y="537"/>
                  <a:pt x="2020" y="759"/>
                </a:cubicBezTo>
                <a:cubicBezTo>
                  <a:pt x="1733" y="537"/>
                  <a:pt x="1447" y="346"/>
                  <a:pt x="1193" y="218"/>
                </a:cubicBezTo>
                <a:cubicBezTo>
                  <a:pt x="684" y="-36"/>
                  <a:pt x="302" y="-68"/>
                  <a:pt x="111" y="123"/>
                </a:cubicBezTo>
                <a:cubicBezTo>
                  <a:pt x="-64" y="314"/>
                  <a:pt x="-32" y="695"/>
                  <a:pt x="206" y="1189"/>
                </a:cubicBezTo>
                <a:cubicBezTo>
                  <a:pt x="333" y="1459"/>
                  <a:pt x="524" y="1745"/>
                  <a:pt x="747" y="2031"/>
                </a:cubicBezTo>
                <a:cubicBezTo>
                  <a:pt x="524" y="2318"/>
                  <a:pt x="333" y="2604"/>
                  <a:pt x="206" y="2858"/>
                </a:cubicBezTo>
                <a:cubicBezTo>
                  <a:pt x="-32" y="3367"/>
                  <a:pt x="-64" y="3733"/>
                  <a:pt x="111" y="3924"/>
                </a:cubicBezTo>
                <a:close/>
                <a:moveTo>
                  <a:pt x="3690" y="2938"/>
                </a:moveTo>
                <a:cubicBezTo>
                  <a:pt x="3912" y="3352"/>
                  <a:pt x="3944" y="3685"/>
                  <a:pt x="3817" y="3813"/>
                </a:cubicBezTo>
                <a:cubicBezTo>
                  <a:pt x="3674" y="3956"/>
                  <a:pt x="3356" y="3908"/>
                  <a:pt x="2926" y="3701"/>
                </a:cubicBezTo>
                <a:cubicBezTo>
                  <a:pt x="2687" y="3574"/>
                  <a:pt x="2417" y="3399"/>
                  <a:pt x="2147" y="3192"/>
                </a:cubicBezTo>
                <a:cubicBezTo>
                  <a:pt x="2338" y="3049"/>
                  <a:pt x="2513" y="2874"/>
                  <a:pt x="2687" y="2700"/>
                </a:cubicBezTo>
                <a:cubicBezTo>
                  <a:pt x="2878" y="2525"/>
                  <a:pt x="3038" y="2334"/>
                  <a:pt x="3196" y="2159"/>
                </a:cubicBezTo>
                <a:cubicBezTo>
                  <a:pt x="3404" y="2429"/>
                  <a:pt x="3562" y="2683"/>
                  <a:pt x="3690" y="2938"/>
                </a:cubicBezTo>
                <a:close/>
                <a:moveTo>
                  <a:pt x="2020" y="3097"/>
                </a:moveTo>
                <a:cubicBezTo>
                  <a:pt x="1829" y="2938"/>
                  <a:pt x="1638" y="2763"/>
                  <a:pt x="1463" y="2588"/>
                </a:cubicBezTo>
                <a:cubicBezTo>
                  <a:pt x="1272" y="2397"/>
                  <a:pt x="1113" y="2222"/>
                  <a:pt x="954" y="2031"/>
                </a:cubicBezTo>
                <a:cubicBezTo>
                  <a:pt x="1113" y="1840"/>
                  <a:pt x="1272" y="1650"/>
                  <a:pt x="1463" y="1475"/>
                </a:cubicBezTo>
                <a:cubicBezTo>
                  <a:pt x="1638" y="1284"/>
                  <a:pt x="1829" y="1109"/>
                  <a:pt x="2020" y="966"/>
                </a:cubicBezTo>
                <a:cubicBezTo>
                  <a:pt x="2211" y="1109"/>
                  <a:pt x="2401" y="1284"/>
                  <a:pt x="2576" y="1475"/>
                </a:cubicBezTo>
                <a:cubicBezTo>
                  <a:pt x="2767" y="1650"/>
                  <a:pt x="2942" y="1840"/>
                  <a:pt x="3085" y="2031"/>
                </a:cubicBezTo>
                <a:cubicBezTo>
                  <a:pt x="2942" y="2222"/>
                  <a:pt x="2767" y="2397"/>
                  <a:pt x="2576" y="2588"/>
                </a:cubicBezTo>
                <a:cubicBezTo>
                  <a:pt x="2401" y="2763"/>
                  <a:pt x="2211" y="2938"/>
                  <a:pt x="2020" y="3097"/>
                </a:cubicBezTo>
                <a:close/>
                <a:moveTo>
                  <a:pt x="2926" y="361"/>
                </a:moveTo>
                <a:cubicBezTo>
                  <a:pt x="3196" y="234"/>
                  <a:pt x="3419" y="155"/>
                  <a:pt x="3578" y="155"/>
                </a:cubicBezTo>
                <a:cubicBezTo>
                  <a:pt x="3674" y="155"/>
                  <a:pt x="3753" y="186"/>
                  <a:pt x="3817" y="234"/>
                </a:cubicBezTo>
                <a:cubicBezTo>
                  <a:pt x="3944" y="377"/>
                  <a:pt x="3912" y="695"/>
                  <a:pt x="3690" y="1125"/>
                </a:cubicBezTo>
                <a:cubicBezTo>
                  <a:pt x="3562" y="1364"/>
                  <a:pt x="3404" y="1634"/>
                  <a:pt x="3196" y="1904"/>
                </a:cubicBezTo>
                <a:cubicBezTo>
                  <a:pt x="3038" y="1713"/>
                  <a:pt x="2878" y="1538"/>
                  <a:pt x="2687" y="1364"/>
                </a:cubicBezTo>
                <a:cubicBezTo>
                  <a:pt x="2513" y="1173"/>
                  <a:pt x="2338" y="1013"/>
                  <a:pt x="2147" y="855"/>
                </a:cubicBezTo>
                <a:cubicBezTo>
                  <a:pt x="2417" y="647"/>
                  <a:pt x="2687" y="489"/>
                  <a:pt x="2926" y="361"/>
                </a:cubicBezTo>
                <a:close/>
                <a:moveTo>
                  <a:pt x="350" y="1125"/>
                </a:moveTo>
                <a:cubicBezTo>
                  <a:pt x="143" y="695"/>
                  <a:pt x="95" y="377"/>
                  <a:pt x="238" y="234"/>
                </a:cubicBezTo>
                <a:cubicBezTo>
                  <a:pt x="286" y="186"/>
                  <a:pt x="366" y="155"/>
                  <a:pt x="461" y="155"/>
                </a:cubicBezTo>
                <a:cubicBezTo>
                  <a:pt x="636" y="155"/>
                  <a:pt x="859" y="234"/>
                  <a:pt x="1113" y="361"/>
                </a:cubicBezTo>
                <a:cubicBezTo>
                  <a:pt x="1368" y="489"/>
                  <a:pt x="1622" y="647"/>
                  <a:pt x="1892" y="855"/>
                </a:cubicBezTo>
                <a:cubicBezTo>
                  <a:pt x="1717" y="1013"/>
                  <a:pt x="1526" y="1173"/>
                  <a:pt x="1351" y="1364"/>
                </a:cubicBezTo>
                <a:cubicBezTo>
                  <a:pt x="1177" y="1538"/>
                  <a:pt x="1002" y="1713"/>
                  <a:pt x="859" y="1904"/>
                </a:cubicBezTo>
                <a:cubicBezTo>
                  <a:pt x="652" y="1634"/>
                  <a:pt x="477" y="1364"/>
                  <a:pt x="350" y="1125"/>
                </a:cubicBezTo>
                <a:close/>
                <a:moveTo>
                  <a:pt x="859" y="2159"/>
                </a:moveTo>
                <a:cubicBezTo>
                  <a:pt x="1002" y="2334"/>
                  <a:pt x="1177" y="2525"/>
                  <a:pt x="1351" y="2700"/>
                </a:cubicBezTo>
                <a:cubicBezTo>
                  <a:pt x="1526" y="2874"/>
                  <a:pt x="1717" y="3049"/>
                  <a:pt x="1892" y="3192"/>
                </a:cubicBezTo>
                <a:cubicBezTo>
                  <a:pt x="1622" y="3399"/>
                  <a:pt x="1368" y="3574"/>
                  <a:pt x="1113" y="3701"/>
                </a:cubicBezTo>
                <a:cubicBezTo>
                  <a:pt x="684" y="3908"/>
                  <a:pt x="366" y="3956"/>
                  <a:pt x="238" y="3813"/>
                </a:cubicBezTo>
                <a:cubicBezTo>
                  <a:pt x="95" y="3685"/>
                  <a:pt x="143" y="3352"/>
                  <a:pt x="350" y="2938"/>
                </a:cubicBezTo>
                <a:cubicBezTo>
                  <a:pt x="477" y="2683"/>
                  <a:pt x="652" y="2429"/>
                  <a:pt x="859" y="2159"/>
                </a:cubicBezTo>
                <a:close/>
                <a:moveTo>
                  <a:pt x="2020" y="1729"/>
                </a:moveTo>
                <a:cubicBezTo>
                  <a:pt x="1860" y="1729"/>
                  <a:pt x="1717" y="1856"/>
                  <a:pt x="1717" y="2031"/>
                </a:cubicBezTo>
                <a:cubicBezTo>
                  <a:pt x="1717" y="2191"/>
                  <a:pt x="1860" y="2318"/>
                  <a:pt x="2020" y="2318"/>
                </a:cubicBezTo>
                <a:cubicBezTo>
                  <a:pt x="2178" y="2318"/>
                  <a:pt x="2322" y="2191"/>
                  <a:pt x="2322" y="2031"/>
                </a:cubicBezTo>
                <a:cubicBezTo>
                  <a:pt x="2322" y="1856"/>
                  <a:pt x="2178" y="1729"/>
                  <a:pt x="2020" y="1729"/>
                </a:cubicBezTo>
                <a:close/>
                <a:moveTo>
                  <a:pt x="2020" y="2159"/>
                </a:moveTo>
                <a:cubicBezTo>
                  <a:pt x="1940" y="2159"/>
                  <a:pt x="1877" y="2111"/>
                  <a:pt x="1877" y="2031"/>
                </a:cubicBezTo>
                <a:cubicBezTo>
                  <a:pt x="1877" y="1952"/>
                  <a:pt x="1940" y="1888"/>
                  <a:pt x="2020" y="1888"/>
                </a:cubicBezTo>
                <a:cubicBezTo>
                  <a:pt x="2099" y="1888"/>
                  <a:pt x="2163" y="1952"/>
                  <a:pt x="2163" y="2031"/>
                </a:cubicBezTo>
                <a:cubicBezTo>
                  <a:pt x="2163" y="2111"/>
                  <a:pt x="2099" y="2159"/>
                  <a:pt x="2020" y="21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1" name="Freeform: Shape 12">
            <a:extLst>
              <a:ext uri="{FF2B5EF4-FFF2-40B4-BE49-F238E27FC236}">
                <a16:creationId xmlns:a16="http://schemas.microsoft.com/office/drawing/2014/main" id="{B49E1B12-0B62-3C43-A699-1A5E6C7FCD2A}"/>
              </a:ext>
            </a:extLst>
          </p:cNvPr>
          <p:cNvSpPr/>
          <p:nvPr/>
        </p:nvSpPr>
        <p:spPr>
          <a:xfrm>
            <a:off x="9896489" y="9777725"/>
            <a:ext cx="1940760" cy="1379519"/>
          </a:xfrm>
          <a:custGeom>
            <a:avLst/>
            <a:gdLst/>
            <a:ahLst/>
            <a:cxnLst>
              <a:cxn ang="3cd4">
                <a:pos x="hc" y="t"/>
              </a:cxn>
              <a:cxn ang="cd2">
                <a:pos x="l" y="vc"/>
              </a:cxn>
              <a:cxn ang="cd4">
                <a:pos x="hc" y="b"/>
              </a:cxn>
              <a:cxn ang="0">
                <a:pos x="r" y="vc"/>
              </a:cxn>
            </a:cxnLst>
            <a:rect l="l" t="t" r="r" b="b"/>
            <a:pathLst>
              <a:path w="5392" h="3833">
                <a:moveTo>
                  <a:pt x="5312" y="1972"/>
                </a:moveTo>
                <a:lnTo>
                  <a:pt x="4008" y="1972"/>
                </a:lnTo>
                <a:lnTo>
                  <a:pt x="4008" y="1352"/>
                </a:lnTo>
                <a:cubicBezTo>
                  <a:pt x="4008" y="1320"/>
                  <a:pt x="3976" y="1288"/>
                  <a:pt x="3944" y="1288"/>
                </a:cubicBezTo>
                <a:lnTo>
                  <a:pt x="2815" y="843"/>
                </a:lnTo>
                <a:lnTo>
                  <a:pt x="2815" y="700"/>
                </a:lnTo>
                <a:lnTo>
                  <a:pt x="3451" y="700"/>
                </a:lnTo>
                <a:cubicBezTo>
                  <a:pt x="3499" y="700"/>
                  <a:pt x="3531" y="668"/>
                  <a:pt x="3531" y="620"/>
                </a:cubicBezTo>
                <a:lnTo>
                  <a:pt x="3531" y="270"/>
                </a:lnTo>
                <a:cubicBezTo>
                  <a:pt x="3531" y="222"/>
                  <a:pt x="3499" y="191"/>
                  <a:pt x="3451" y="191"/>
                </a:cubicBezTo>
                <a:lnTo>
                  <a:pt x="2815" y="191"/>
                </a:lnTo>
                <a:lnTo>
                  <a:pt x="2815" y="79"/>
                </a:lnTo>
                <a:cubicBezTo>
                  <a:pt x="2815" y="48"/>
                  <a:pt x="2783" y="0"/>
                  <a:pt x="2735" y="0"/>
                </a:cubicBezTo>
                <a:cubicBezTo>
                  <a:pt x="2688" y="0"/>
                  <a:pt x="2656" y="48"/>
                  <a:pt x="2656" y="79"/>
                </a:cubicBezTo>
                <a:lnTo>
                  <a:pt x="2656" y="270"/>
                </a:lnTo>
                <a:lnTo>
                  <a:pt x="2656" y="620"/>
                </a:lnTo>
                <a:lnTo>
                  <a:pt x="2656" y="843"/>
                </a:lnTo>
                <a:lnTo>
                  <a:pt x="1511" y="1288"/>
                </a:lnTo>
                <a:cubicBezTo>
                  <a:pt x="1479" y="1288"/>
                  <a:pt x="1463" y="1320"/>
                  <a:pt x="1463" y="1352"/>
                </a:cubicBezTo>
                <a:lnTo>
                  <a:pt x="1463" y="1972"/>
                </a:lnTo>
                <a:lnTo>
                  <a:pt x="79" y="1972"/>
                </a:lnTo>
                <a:cubicBezTo>
                  <a:pt x="48" y="1972"/>
                  <a:pt x="0" y="2004"/>
                  <a:pt x="0" y="2052"/>
                </a:cubicBezTo>
                <a:cubicBezTo>
                  <a:pt x="0" y="2084"/>
                  <a:pt x="48" y="2131"/>
                  <a:pt x="79" y="2131"/>
                </a:cubicBezTo>
                <a:lnTo>
                  <a:pt x="270" y="2131"/>
                </a:lnTo>
                <a:lnTo>
                  <a:pt x="270" y="3642"/>
                </a:lnTo>
                <a:cubicBezTo>
                  <a:pt x="270" y="3674"/>
                  <a:pt x="302" y="3721"/>
                  <a:pt x="350" y="3721"/>
                </a:cubicBezTo>
                <a:cubicBezTo>
                  <a:pt x="397" y="3721"/>
                  <a:pt x="429" y="3674"/>
                  <a:pt x="429" y="3642"/>
                </a:cubicBezTo>
                <a:lnTo>
                  <a:pt x="429" y="2131"/>
                </a:lnTo>
                <a:lnTo>
                  <a:pt x="1463" y="2131"/>
                </a:lnTo>
                <a:lnTo>
                  <a:pt x="1463" y="2418"/>
                </a:lnTo>
                <a:lnTo>
                  <a:pt x="811" y="2418"/>
                </a:lnTo>
                <a:cubicBezTo>
                  <a:pt x="779" y="2418"/>
                  <a:pt x="732" y="2449"/>
                  <a:pt x="732" y="2497"/>
                </a:cubicBezTo>
                <a:cubicBezTo>
                  <a:pt x="732" y="2529"/>
                  <a:pt x="779" y="2576"/>
                  <a:pt x="811" y="2576"/>
                </a:cubicBezTo>
                <a:lnTo>
                  <a:pt x="1463" y="2576"/>
                </a:lnTo>
                <a:lnTo>
                  <a:pt x="1463" y="2879"/>
                </a:lnTo>
                <a:lnTo>
                  <a:pt x="811" y="2879"/>
                </a:lnTo>
                <a:cubicBezTo>
                  <a:pt x="779" y="2879"/>
                  <a:pt x="732" y="2911"/>
                  <a:pt x="732" y="2958"/>
                </a:cubicBezTo>
                <a:cubicBezTo>
                  <a:pt x="732" y="3006"/>
                  <a:pt x="779" y="3037"/>
                  <a:pt x="811" y="3037"/>
                </a:cubicBezTo>
                <a:lnTo>
                  <a:pt x="1463" y="3037"/>
                </a:lnTo>
                <a:lnTo>
                  <a:pt x="1463" y="3642"/>
                </a:lnTo>
                <a:cubicBezTo>
                  <a:pt x="1463" y="3674"/>
                  <a:pt x="1495" y="3721"/>
                  <a:pt x="1542" y="3721"/>
                </a:cubicBezTo>
                <a:cubicBezTo>
                  <a:pt x="1590" y="3721"/>
                  <a:pt x="1622" y="3674"/>
                  <a:pt x="1622" y="3642"/>
                </a:cubicBezTo>
                <a:lnTo>
                  <a:pt x="1622" y="1415"/>
                </a:lnTo>
                <a:lnTo>
                  <a:pt x="2704" y="1002"/>
                </a:lnTo>
                <a:lnTo>
                  <a:pt x="2735" y="1002"/>
                </a:lnTo>
                <a:lnTo>
                  <a:pt x="2767" y="1002"/>
                </a:lnTo>
                <a:lnTo>
                  <a:pt x="3849" y="1415"/>
                </a:lnTo>
                <a:lnTo>
                  <a:pt x="3849" y="3642"/>
                </a:lnTo>
                <a:cubicBezTo>
                  <a:pt x="3849" y="3674"/>
                  <a:pt x="3881" y="3721"/>
                  <a:pt x="3928" y="3721"/>
                </a:cubicBezTo>
                <a:cubicBezTo>
                  <a:pt x="3960" y="3721"/>
                  <a:pt x="4008" y="3674"/>
                  <a:pt x="4008" y="3642"/>
                </a:cubicBezTo>
                <a:lnTo>
                  <a:pt x="4008" y="3037"/>
                </a:lnTo>
                <a:lnTo>
                  <a:pt x="4644" y="3037"/>
                </a:lnTo>
                <a:cubicBezTo>
                  <a:pt x="4692" y="3037"/>
                  <a:pt x="4723" y="3006"/>
                  <a:pt x="4723" y="2958"/>
                </a:cubicBezTo>
                <a:cubicBezTo>
                  <a:pt x="4723" y="2911"/>
                  <a:pt x="4692" y="2879"/>
                  <a:pt x="4644" y="2879"/>
                </a:cubicBezTo>
                <a:lnTo>
                  <a:pt x="4008" y="2879"/>
                </a:lnTo>
                <a:lnTo>
                  <a:pt x="4008" y="2576"/>
                </a:lnTo>
                <a:lnTo>
                  <a:pt x="4644" y="2576"/>
                </a:lnTo>
                <a:cubicBezTo>
                  <a:pt x="4692" y="2576"/>
                  <a:pt x="4723" y="2529"/>
                  <a:pt x="4723" y="2497"/>
                </a:cubicBezTo>
                <a:cubicBezTo>
                  <a:pt x="4723" y="2449"/>
                  <a:pt x="4692" y="2418"/>
                  <a:pt x="4644" y="2418"/>
                </a:cubicBezTo>
                <a:lnTo>
                  <a:pt x="4008" y="2418"/>
                </a:lnTo>
                <a:lnTo>
                  <a:pt x="4008" y="2131"/>
                </a:lnTo>
                <a:lnTo>
                  <a:pt x="4978" y="2131"/>
                </a:lnTo>
                <a:lnTo>
                  <a:pt x="4978" y="3642"/>
                </a:lnTo>
                <a:cubicBezTo>
                  <a:pt x="4978" y="3674"/>
                  <a:pt x="5026" y="3721"/>
                  <a:pt x="5058" y="3721"/>
                </a:cubicBezTo>
                <a:cubicBezTo>
                  <a:pt x="5105" y="3721"/>
                  <a:pt x="5137" y="3674"/>
                  <a:pt x="5137" y="3642"/>
                </a:cubicBezTo>
                <a:lnTo>
                  <a:pt x="5137" y="2131"/>
                </a:lnTo>
                <a:lnTo>
                  <a:pt x="5312" y="2131"/>
                </a:lnTo>
                <a:cubicBezTo>
                  <a:pt x="5360" y="2131"/>
                  <a:pt x="5392" y="2084"/>
                  <a:pt x="5392" y="2052"/>
                </a:cubicBezTo>
                <a:cubicBezTo>
                  <a:pt x="5392" y="2004"/>
                  <a:pt x="5360" y="1972"/>
                  <a:pt x="5312" y="1972"/>
                </a:cubicBezTo>
                <a:close/>
                <a:moveTo>
                  <a:pt x="3372" y="350"/>
                </a:moveTo>
                <a:lnTo>
                  <a:pt x="3372" y="540"/>
                </a:lnTo>
                <a:lnTo>
                  <a:pt x="2815" y="540"/>
                </a:lnTo>
                <a:lnTo>
                  <a:pt x="2815" y="350"/>
                </a:lnTo>
                <a:close/>
                <a:moveTo>
                  <a:pt x="2942" y="3833"/>
                </a:moveTo>
                <a:cubicBezTo>
                  <a:pt x="2990" y="3833"/>
                  <a:pt x="3022" y="3801"/>
                  <a:pt x="3022" y="3754"/>
                </a:cubicBezTo>
                <a:lnTo>
                  <a:pt x="3022" y="3372"/>
                </a:lnTo>
                <a:cubicBezTo>
                  <a:pt x="3022" y="3213"/>
                  <a:pt x="2831" y="3102"/>
                  <a:pt x="2704" y="3102"/>
                </a:cubicBezTo>
                <a:cubicBezTo>
                  <a:pt x="2577" y="3102"/>
                  <a:pt x="2386" y="3213"/>
                  <a:pt x="2386" y="3372"/>
                </a:cubicBezTo>
                <a:lnTo>
                  <a:pt x="2386" y="3754"/>
                </a:lnTo>
                <a:cubicBezTo>
                  <a:pt x="2386" y="3801"/>
                  <a:pt x="2417" y="3833"/>
                  <a:pt x="2465" y="3833"/>
                </a:cubicBezTo>
                <a:cubicBezTo>
                  <a:pt x="2513" y="3833"/>
                  <a:pt x="2545" y="3801"/>
                  <a:pt x="2545" y="3754"/>
                </a:cubicBezTo>
                <a:lnTo>
                  <a:pt x="2545" y="3372"/>
                </a:lnTo>
                <a:cubicBezTo>
                  <a:pt x="2545" y="3324"/>
                  <a:pt x="2640" y="3260"/>
                  <a:pt x="2704" y="3260"/>
                </a:cubicBezTo>
                <a:cubicBezTo>
                  <a:pt x="2767" y="3260"/>
                  <a:pt x="2863" y="3324"/>
                  <a:pt x="2863" y="3372"/>
                </a:cubicBezTo>
                <a:lnTo>
                  <a:pt x="2863" y="3754"/>
                </a:lnTo>
                <a:cubicBezTo>
                  <a:pt x="2863" y="3801"/>
                  <a:pt x="2895" y="3833"/>
                  <a:pt x="2942" y="3833"/>
                </a:cubicBezTo>
                <a:close/>
                <a:moveTo>
                  <a:pt x="1829" y="2115"/>
                </a:moveTo>
                <a:lnTo>
                  <a:pt x="3562" y="2115"/>
                </a:lnTo>
                <a:cubicBezTo>
                  <a:pt x="3610" y="2115"/>
                  <a:pt x="3642" y="2084"/>
                  <a:pt x="3642" y="2036"/>
                </a:cubicBezTo>
                <a:cubicBezTo>
                  <a:pt x="3642" y="2004"/>
                  <a:pt x="3610" y="1956"/>
                  <a:pt x="3562" y="1956"/>
                </a:cubicBezTo>
                <a:lnTo>
                  <a:pt x="1829" y="1956"/>
                </a:lnTo>
                <a:cubicBezTo>
                  <a:pt x="1781" y="1956"/>
                  <a:pt x="1750" y="2004"/>
                  <a:pt x="1750" y="2036"/>
                </a:cubicBezTo>
                <a:cubicBezTo>
                  <a:pt x="1750" y="2084"/>
                  <a:pt x="1781" y="2115"/>
                  <a:pt x="1829" y="2115"/>
                </a:cubicBezTo>
                <a:close/>
                <a:moveTo>
                  <a:pt x="1829" y="2576"/>
                </a:moveTo>
                <a:lnTo>
                  <a:pt x="3562" y="2576"/>
                </a:lnTo>
                <a:cubicBezTo>
                  <a:pt x="3610" y="2576"/>
                  <a:pt x="3642" y="2545"/>
                  <a:pt x="3642" y="2497"/>
                </a:cubicBezTo>
                <a:cubicBezTo>
                  <a:pt x="3642" y="2449"/>
                  <a:pt x="3610" y="2418"/>
                  <a:pt x="3562" y="2418"/>
                </a:cubicBezTo>
                <a:lnTo>
                  <a:pt x="1829" y="2418"/>
                </a:lnTo>
                <a:cubicBezTo>
                  <a:pt x="1781" y="2418"/>
                  <a:pt x="1750" y="2449"/>
                  <a:pt x="1750" y="2497"/>
                </a:cubicBezTo>
                <a:cubicBezTo>
                  <a:pt x="1750" y="2545"/>
                  <a:pt x="1781" y="2576"/>
                  <a:pt x="1829" y="257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2" name="Freeform: Shape 14">
            <a:extLst>
              <a:ext uri="{FF2B5EF4-FFF2-40B4-BE49-F238E27FC236}">
                <a16:creationId xmlns:a16="http://schemas.microsoft.com/office/drawing/2014/main" id="{24123673-6C1D-7F46-A3B2-D0BFCC7BF141}"/>
              </a:ext>
            </a:extLst>
          </p:cNvPr>
          <p:cNvSpPr/>
          <p:nvPr/>
        </p:nvSpPr>
        <p:spPr>
          <a:xfrm>
            <a:off x="13826738" y="9866465"/>
            <a:ext cx="1911960" cy="1202039"/>
          </a:xfrm>
          <a:custGeom>
            <a:avLst/>
            <a:gdLst/>
            <a:ahLst/>
            <a:cxnLst>
              <a:cxn ang="3cd4">
                <a:pos x="hc" y="t"/>
              </a:cxn>
              <a:cxn ang="cd2">
                <a:pos x="l" y="vc"/>
              </a:cxn>
              <a:cxn ang="cd4">
                <a:pos x="hc" y="b"/>
              </a:cxn>
              <a:cxn ang="0">
                <a:pos x="r" y="vc"/>
              </a:cxn>
            </a:cxnLst>
            <a:rect l="l" t="t" r="r" b="b"/>
            <a:pathLst>
              <a:path w="5312" h="3340">
                <a:moveTo>
                  <a:pt x="5312" y="2418"/>
                </a:moveTo>
                <a:lnTo>
                  <a:pt x="5312" y="286"/>
                </a:lnTo>
                <a:cubicBezTo>
                  <a:pt x="5312" y="128"/>
                  <a:pt x="5185" y="0"/>
                  <a:pt x="5042" y="0"/>
                </a:cubicBezTo>
                <a:lnTo>
                  <a:pt x="1750" y="0"/>
                </a:lnTo>
                <a:cubicBezTo>
                  <a:pt x="1591" y="0"/>
                  <a:pt x="1463" y="128"/>
                  <a:pt x="1463" y="286"/>
                </a:cubicBezTo>
                <a:lnTo>
                  <a:pt x="1463" y="2418"/>
                </a:lnTo>
                <a:cubicBezTo>
                  <a:pt x="1463" y="2577"/>
                  <a:pt x="1591" y="2704"/>
                  <a:pt x="1750" y="2704"/>
                </a:cubicBezTo>
                <a:lnTo>
                  <a:pt x="2911" y="2704"/>
                </a:lnTo>
                <a:lnTo>
                  <a:pt x="2800" y="3245"/>
                </a:lnTo>
                <a:cubicBezTo>
                  <a:pt x="2800" y="3261"/>
                  <a:pt x="2800" y="3292"/>
                  <a:pt x="2815" y="3309"/>
                </a:cubicBezTo>
                <a:cubicBezTo>
                  <a:pt x="2831" y="3324"/>
                  <a:pt x="2847" y="3340"/>
                  <a:pt x="2879" y="3340"/>
                </a:cubicBezTo>
                <a:lnTo>
                  <a:pt x="3817" y="3340"/>
                </a:lnTo>
                <a:cubicBezTo>
                  <a:pt x="3849" y="3340"/>
                  <a:pt x="3865" y="3324"/>
                  <a:pt x="3881" y="3309"/>
                </a:cubicBezTo>
                <a:cubicBezTo>
                  <a:pt x="3897" y="3292"/>
                  <a:pt x="3913" y="3261"/>
                  <a:pt x="3897" y="3245"/>
                </a:cubicBezTo>
                <a:lnTo>
                  <a:pt x="3786" y="2704"/>
                </a:lnTo>
                <a:lnTo>
                  <a:pt x="5042" y="2704"/>
                </a:lnTo>
                <a:cubicBezTo>
                  <a:pt x="5185" y="2704"/>
                  <a:pt x="5312" y="2577"/>
                  <a:pt x="5312" y="2418"/>
                </a:cubicBezTo>
                <a:close/>
                <a:moveTo>
                  <a:pt x="1750" y="159"/>
                </a:moveTo>
                <a:lnTo>
                  <a:pt x="5042" y="159"/>
                </a:lnTo>
                <a:cubicBezTo>
                  <a:pt x="5106" y="159"/>
                  <a:pt x="5154" y="207"/>
                  <a:pt x="5154" y="286"/>
                </a:cubicBezTo>
                <a:lnTo>
                  <a:pt x="5154" y="2036"/>
                </a:lnTo>
                <a:lnTo>
                  <a:pt x="1622" y="2036"/>
                </a:lnTo>
                <a:lnTo>
                  <a:pt x="1622" y="286"/>
                </a:lnTo>
                <a:cubicBezTo>
                  <a:pt x="1622" y="207"/>
                  <a:pt x="1686" y="159"/>
                  <a:pt x="1750" y="159"/>
                </a:cubicBezTo>
                <a:close/>
                <a:moveTo>
                  <a:pt x="1622" y="2418"/>
                </a:moveTo>
                <a:lnTo>
                  <a:pt x="1622" y="2195"/>
                </a:lnTo>
                <a:lnTo>
                  <a:pt x="5154" y="2195"/>
                </a:lnTo>
                <a:lnTo>
                  <a:pt x="5154" y="2418"/>
                </a:lnTo>
                <a:cubicBezTo>
                  <a:pt x="5154" y="2482"/>
                  <a:pt x="5106" y="2545"/>
                  <a:pt x="5042" y="2545"/>
                </a:cubicBezTo>
                <a:lnTo>
                  <a:pt x="3690" y="2545"/>
                </a:lnTo>
                <a:lnTo>
                  <a:pt x="3006" y="2545"/>
                </a:lnTo>
                <a:lnTo>
                  <a:pt x="1750" y="2545"/>
                </a:lnTo>
                <a:cubicBezTo>
                  <a:pt x="1686" y="2545"/>
                  <a:pt x="1622" y="2482"/>
                  <a:pt x="1622" y="2418"/>
                </a:cubicBezTo>
                <a:close/>
                <a:moveTo>
                  <a:pt x="3722" y="3181"/>
                </a:moveTo>
                <a:lnTo>
                  <a:pt x="2974" y="3181"/>
                </a:lnTo>
                <a:lnTo>
                  <a:pt x="3070" y="2704"/>
                </a:lnTo>
                <a:lnTo>
                  <a:pt x="3627" y="2704"/>
                </a:lnTo>
                <a:close/>
                <a:moveTo>
                  <a:pt x="80" y="1639"/>
                </a:moveTo>
                <a:cubicBezTo>
                  <a:pt x="64" y="1686"/>
                  <a:pt x="64" y="1718"/>
                  <a:pt x="80" y="1750"/>
                </a:cubicBezTo>
                <a:lnTo>
                  <a:pt x="191" y="1957"/>
                </a:lnTo>
                <a:cubicBezTo>
                  <a:pt x="207" y="1988"/>
                  <a:pt x="239" y="2021"/>
                  <a:pt x="286" y="2036"/>
                </a:cubicBezTo>
                <a:cubicBezTo>
                  <a:pt x="334" y="2052"/>
                  <a:pt x="366" y="2036"/>
                  <a:pt x="398" y="2021"/>
                </a:cubicBezTo>
                <a:lnTo>
                  <a:pt x="541" y="1957"/>
                </a:lnTo>
                <a:cubicBezTo>
                  <a:pt x="605" y="2021"/>
                  <a:pt x="668" y="2068"/>
                  <a:pt x="732" y="2116"/>
                </a:cubicBezTo>
                <a:lnTo>
                  <a:pt x="700" y="2259"/>
                </a:lnTo>
                <a:cubicBezTo>
                  <a:pt x="668" y="2339"/>
                  <a:pt x="716" y="2434"/>
                  <a:pt x="795" y="2450"/>
                </a:cubicBezTo>
                <a:lnTo>
                  <a:pt x="1018" y="2513"/>
                </a:lnTo>
                <a:cubicBezTo>
                  <a:pt x="1034" y="2513"/>
                  <a:pt x="1050" y="2529"/>
                  <a:pt x="1066" y="2529"/>
                </a:cubicBezTo>
                <a:cubicBezTo>
                  <a:pt x="1129" y="2529"/>
                  <a:pt x="1193" y="2482"/>
                  <a:pt x="1209" y="2418"/>
                </a:cubicBezTo>
                <a:lnTo>
                  <a:pt x="1256" y="2275"/>
                </a:lnTo>
                <a:cubicBezTo>
                  <a:pt x="1304" y="2275"/>
                  <a:pt x="1368" y="2243"/>
                  <a:pt x="1352" y="2195"/>
                </a:cubicBezTo>
                <a:cubicBezTo>
                  <a:pt x="1352" y="2148"/>
                  <a:pt x="1320" y="2116"/>
                  <a:pt x="1289" y="2116"/>
                </a:cubicBezTo>
                <a:cubicBezTo>
                  <a:pt x="1256" y="2116"/>
                  <a:pt x="1225" y="2116"/>
                  <a:pt x="1209" y="2100"/>
                </a:cubicBezTo>
                <a:cubicBezTo>
                  <a:pt x="1161" y="2100"/>
                  <a:pt x="1129" y="2131"/>
                  <a:pt x="1129" y="2164"/>
                </a:cubicBezTo>
                <a:lnTo>
                  <a:pt x="1066" y="2370"/>
                </a:lnTo>
                <a:lnTo>
                  <a:pt x="843" y="2307"/>
                </a:lnTo>
                <a:lnTo>
                  <a:pt x="907" y="2100"/>
                </a:lnTo>
                <a:cubicBezTo>
                  <a:pt x="923" y="2068"/>
                  <a:pt x="907" y="2021"/>
                  <a:pt x="875" y="2004"/>
                </a:cubicBezTo>
                <a:cubicBezTo>
                  <a:pt x="780" y="1957"/>
                  <a:pt x="684" y="1877"/>
                  <a:pt x="620" y="1798"/>
                </a:cubicBezTo>
                <a:cubicBezTo>
                  <a:pt x="589" y="1766"/>
                  <a:pt x="557" y="1766"/>
                  <a:pt x="509" y="1782"/>
                </a:cubicBezTo>
                <a:lnTo>
                  <a:pt x="334" y="1877"/>
                </a:lnTo>
                <a:lnTo>
                  <a:pt x="223" y="1686"/>
                </a:lnTo>
                <a:lnTo>
                  <a:pt x="414" y="1591"/>
                </a:lnTo>
                <a:cubicBezTo>
                  <a:pt x="446" y="1559"/>
                  <a:pt x="461" y="1527"/>
                  <a:pt x="446" y="1495"/>
                </a:cubicBezTo>
                <a:cubicBezTo>
                  <a:pt x="414" y="1384"/>
                  <a:pt x="398" y="1273"/>
                  <a:pt x="414" y="1161"/>
                </a:cubicBezTo>
                <a:cubicBezTo>
                  <a:pt x="414" y="1130"/>
                  <a:pt x="398" y="1098"/>
                  <a:pt x="366" y="1082"/>
                </a:cubicBezTo>
                <a:lnTo>
                  <a:pt x="159" y="1018"/>
                </a:lnTo>
                <a:lnTo>
                  <a:pt x="223" y="812"/>
                </a:lnTo>
                <a:lnTo>
                  <a:pt x="429" y="875"/>
                </a:lnTo>
                <a:cubicBezTo>
                  <a:pt x="461" y="875"/>
                  <a:pt x="493" y="859"/>
                  <a:pt x="509" y="828"/>
                </a:cubicBezTo>
                <a:cubicBezTo>
                  <a:pt x="573" y="732"/>
                  <a:pt x="637" y="652"/>
                  <a:pt x="716" y="573"/>
                </a:cubicBezTo>
                <a:cubicBezTo>
                  <a:pt x="748" y="557"/>
                  <a:pt x="764" y="509"/>
                  <a:pt x="748" y="477"/>
                </a:cubicBezTo>
                <a:lnTo>
                  <a:pt x="637" y="286"/>
                </a:lnTo>
                <a:lnTo>
                  <a:pt x="827" y="191"/>
                </a:lnTo>
                <a:lnTo>
                  <a:pt x="938" y="366"/>
                </a:lnTo>
                <a:cubicBezTo>
                  <a:pt x="955" y="398"/>
                  <a:pt x="986" y="414"/>
                  <a:pt x="1034" y="414"/>
                </a:cubicBezTo>
                <a:cubicBezTo>
                  <a:pt x="1113" y="382"/>
                  <a:pt x="1193" y="366"/>
                  <a:pt x="1273" y="366"/>
                </a:cubicBezTo>
                <a:cubicBezTo>
                  <a:pt x="1320" y="366"/>
                  <a:pt x="1352" y="334"/>
                  <a:pt x="1352" y="286"/>
                </a:cubicBezTo>
                <a:cubicBezTo>
                  <a:pt x="1352" y="255"/>
                  <a:pt x="1320" y="207"/>
                  <a:pt x="1273" y="207"/>
                </a:cubicBezTo>
                <a:cubicBezTo>
                  <a:pt x="1209" y="207"/>
                  <a:pt x="1129" y="223"/>
                  <a:pt x="1050" y="239"/>
                </a:cubicBezTo>
                <a:lnTo>
                  <a:pt x="970" y="112"/>
                </a:lnTo>
                <a:cubicBezTo>
                  <a:pt x="938" y="32"/>
                  <a:pt x="843" y="0"/>
                  <a:pt x="764" y="48"/>
                </a:cubicBezTo>
                <a:lnTo>
                  <a:pt x="557" y="159"/>
                </a:lnTo>
                <a:cubicBezTo>
                  <a:pt x="493" y="191"/>
                  <a:pt x="461" y="286"/>
                  <a:pt x="493" y="366"/>
                </a:cubicBezTo>
                <a:lnTo>
                  <a:pt x="573" y="494"/>
                </a:lnTo>
                <a:cubicBezTo>
                  <a:pt x="509" y="557"/>
                  <a:pt x="446" y="621"/>
                  <a:pt x="414" y="700"/>
                </a:cubicBezTo>
                <a:lnTo>
                  <a:pt x="271" y="652"/>
                </a:lnTo>
                <a:cubicBezTo>
                  <a:pt x="175" y="637"/>
                  <a:pt x="96" y="684"/>
                  <a:pt x="64" y="764"/>
                </a:cubicBezTo>
                <a:lnTo>
                  <a:pt x="0" y="986"/>
                </a:lnTo>
                <a:cubicBezTo>
                  <a:pt x="0" y="1018"/>
                  <a:pt x="0" y="1066"/>
                  <a:pt x="16" y="1098"/>
                </a:cubicBezTo>
                <a:cubicBezTo>
                  <a:pt x="32" y="1130"/>
                  <a:pt x="64" y="1161"/>
                  <a:pt x="111" y="1177"/>
                </a:cubicBezTo>
                <a:lnTo>
                  <a:pt x="255" y="1209"/>
                </a:lnTo>
                <a:cubicBezTo>
                  <a:pt x="255" y="1304"/>
                  <a:pt x="255" y="1384"/>
                  <a:pt x="286" y="1479"/>
                </a:cubicBezTo>
                <a:lnTo>
                  <a:pt x="143" y="1543"/>
                </a:lnTo>
                <a:cubicBezTo>
                  <a:pt x="111" y="1559"/>
                  <a:pt x="80" y="1607"/>
                  <a:pt x="80" y="1639"/>
                </a:cubicBezTo>
                <a:close/>
                <a:moveTo>
                  <a:pt x="1273" y="843"/>
                </a:moveTo>
                <a:lnTo>
                  <a:pt x="1289" y="843"/>
                </a:lnTo>
                <a:cubicBezTo>
                  <a:pt x="1320" y="843"/>
                  <a:pt x="1368" y="812"/>
                  <a:pt x="1368" y="764"/>
                </a:cubicBezTo>
                <a:cubicBezTo>
                  <a:pt x="1368" y="716"/>
                  <a:pt x="1320" y="684"/>
                  <a:pt x="1273" y="684"/>
                </a:cubicBezTo>
                <a:cubicBezTo>
                  <a:pt x="1034" y="684"/>
                  <a:pt x="811" y="843"/>
                  <a:pt x="748" y="1082"/>
                </a:cubicBezTo>
                <a:cubicBezTo>
                  <a:pt x="700" y="1225"/>
                  <a:pt x="716" y="1368"/>
                  <a:pt x="795" y="1512"/>
                </a:cubicBezTo>
                <a:cubicBezTo>
                  <a:pt x="859" y="1639"/>
                  <a:pt x="986" y="1734"/>
                  <a:pt x="1113" y="1782"/>
                </a:cubicBezTo>
                <a:cubicBezTo>
                  <a:pt x="1177" y="1798"/>
                  <a:pt x="1225" y="1798"/>
                  <a:pt x="1289" y="1798"/>
                </a:cubicBezTo>
                <a:cubicBezTo>
                  <a:pt x="1320" y="1798"/>
                  <a:pt x="1352" y="1766"/>
                  <a:pt x="1352" y="1718"/>
                </a:cubicBezTo>
                <a:cubicBezTo>
                  <a:pt x="1352" y="1670"/>
                  <a:pt x="1320" y="1639"/>
                  <a:pt x="1289" y="1639"/>
                </a:cubicBezTo>
                <a:cubicBezTo>
                  <a:pt x="1241" y="1639"/>
                  <a:pt x="1209" y="1639"/>
                  <a:pt x="1161" y="1622"/>
                </a:cubicBezTo>
                <a:cubicBezTo>
                  <a:pt x="1066" y="1591"/>
                  <a:pt x="986" y="1527"/>
                  <a:pt x="923" y="1432"/>
                </a:cubicBezTo>
                <a:cubicBezTo>
                  <a:pt x="875" y="1336"/>
                  <a:pt x="875" y="1225"/>
                  <a:pt x="891" y="1130"/>
                </a:cubicBezTo>
                <a:cubicBezTo>
                  <a:pt x="955" y="955"/>
                  <a:pt x="1098" y="843"/>
                  <a:pt x="1273" y="84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3" name="Freeform: Shape 15">
            <a:extLst>
              <a:ext uri="{FF2B5EF4-FFF2-40B4-BE49-F238E27FC236}">
                <a16:creationId xmlns:a16="http://schemas.microsoft.com/office/drawing/2014/main" id="{B9CDE566-DFD1-1047-A552-25B5B822504F}"/>
              </a:ext>
            </a:extLst>
          </p:cNvPr>
          <p:cNvSpPr/>
          <p:nvPr/>
        </p:nvSpPr>
        <p:spPr>
          <a:xfrm>
            <a:off x="21361856" y="9468484"/>
            <a:ext cx="1874880" cy="1998000"/>
          </a:xfrm>
          <a:custGeom>
            <a:avLst/>
            <a:gdLst/>
            <a:ahLst/>
            <a:cxnLst>
              <a:cxn ang="3cd4">
                <a:pos x="hc" y="t"/>
              </a:cxn>
              <a:cxn ang="cd2">
                <a:pos x="l" y="vc"/>
              </a:cxn>
              <a:cxn ang="cd4">
                <a:pos x="hc" y="b"/>
              </a:cxn>
              <a:cxn ang="0">
                <a:pos x="r" y="vc"/>
              </a:cxn>
            </a:cxnLst>
            <a:rect l="l" t="t" r="r" b="b"/>
            <a:pathLst>
              <a:path w="5209" h="5551">
                <a:moveTo>
                  <a:pt x="4094" y="2259"/>
                </a:moveTo>
                <a:lnTo>
                  <a:pt x="4078" y="2259"/>
                </a:lnTo>
                <a:lnTo>
                  <a:pt x="4078" y="2195"/>
                </a:lnTo>
                <a:cubicBezTo>
                  <a:pt x="4062" y="2116"/>
                  <a:pt x="4030" y="2036"/>
                  <a:pt x="3982" y="1989"/>
                </a:cubicBezTo>
                <a:cubicBezTo>
                  <a:pt x="4030" y="1877"/>
                  <a:pt x="4125" y="1623"/>
                  <a:pt x="4062" y="1273"/>
                </a:cubicBezTo>
                <a:cubicBezTo>
                  <a:pt x="3950" y="668"/>
                  <a:pt x="3649" y="621"/>
                  <a:pt x="3537" y="621"/>
                </a:cubicBezTo>
                <a:cubicBezTo>
                  <a:pt x="3458" y="636"/>
                  <a:pt x="3410" y="668"/>
                  <a:pt x="3378" y="716"/>
                </a:cubicBezTo>
                <a:cubicBezTo>
                  <a:pt x="3315" y="796"/>
                  <a:pt x="3330" y="939"/>
                  <a:pt x="3458" y="1257"/>
                </a:cubicBezTo>
                <a:cubicBezTo>
                  <a:pt x="3521" y="1448"/>
                  <a:pt x="3553" y="1639"/>
                  <a:pt x="3569" y="1798"/>
                </a:cubicBezTo>
                <a:cubicBezTo>
                  <a:pt x="3585" y="1829"/>
                  <a:pt x="3585" y="1861"/>
                  <a:pt x="3585" y="1893"/>
                </a:cubicBezTo>
                <a:cubicBezTo>
                  <a:pt x="3521" y="1909"/>
                  <a:pt x="3473" y="1941"/>
                  <a:pt x="3426" y="2005"/>
                </a:cubicBezTo>
                <a:cubicBezTo>
                  <a:pt x="3410" y="2020"/>
                  <a:pt x="3394" y="2052"/>
                  <a:pt x="3378" y="2084"/>
                </a:cubicBezTo>
                <a:cubicBezTo>
                  <a:pt x="3235" y="2100"/>
                  <a:pt x="2964" y="2148"/>
                  <a:pt x="2710" y="2370"/>
                </a:cubicBezTo>
                <a:cubicBezTo>
                  <a:pt x="2471" y="2577"/>
                  <a:pt x="2360" y="2752"/>
                  <a:pt x="2360" y="2895"/>
                </a:cubicBezTo>
                <a:cubicBezTo>
                  <a:pt x="2360" y="2975"/>
                  <a:pt x="2392" y="3038"/>
                  <a:pt x="2440" y="3086"/>
                </a:cubicBezTo>
                <a:cubicBezTo>
                  <a:pt x="2471" y="3118"/>
                  <a:pt x="2519" y="3150"/>
                  <a:pt x="2599" y="3150"/>
                </a:cubicBezTo>
                <a:cubicBezTo>
                  <a:pt x="2694" y="3150"/>
                  <a:pt x="2821" y="3070"/>
                  <a:pt x="3028" y="2863"/>
                </a:cubicBezTo>
                <a:cubicBezTo>
                  <a:pt x="3155" y="2720"/>
                  <a:pt x="3315" y="2609"/>
                  <a:pt x="3442" y="2529"/>
                </a:cubicBezTo>
                <a:lnTo>
                  <a:pt x="3473" y="2498"/>
                </a:lnTo>
                <a:cubicBezTo>
                  <a:pt x="3537" y="2561"/>
                  <a:pt x="3616" y="2593"/>
                  <a:pt x="3712" y="2593"/>
                </a:cubicBezTo>
                <a:lnTo>
                  <a:pt x="3760" y="2593"/>
                </a:lnTo>
                <a:lnTo>
                  <a:pt x="3792" y="2593"/>
                </a:lnTo>
                <a:cubicBezTo>
                  <a:pt x="3950" y="2752"/>
                  <a:pt x="4157" y="2895"/>
                  <a:pt x="4380" y="2959"/>
                </a:cubicBezTo>
                <a:cubicBezTo>
                  <a:pt x="4507" y="2990"/>
                  <a:pt x="4619" y="3007"/>
                  <a:pt x="4714" y="3007"/>
                </a:cubicBezTo>
                <a:cubicBezTo>
                  <a:pt x="4921" y="3007"/>
                  <a:pt x="5064" y="2927"/>
                  <a:pt x="5160" y="2752"/>
                </a:cubicBezTo>
                <a:cubicBezTo>
                  <a:pt x="5175" y="2720"/>
                  <a:pt x="5239" y="2625"/>
                  <a:pt x="5191" y="2529"/>
                </a:cubicBezTo>
                <a:cubicBezTo>
                  <a:pt x="5143" y="2434"/>
                  <a:pt x="4985" y="2386"/>
                  <a:pt x="4682" y="2370"/>
                </a:cubicBezTo>
                <a:cubicBezTo>
                  <a:pt x="4460" y="2354"/>
                  <a:pt x="4253" y="2307"/>
                  <a:pt x="4094" y="2259"/>
                </a:cubicBezTo>
                <a:close/>
                <a:moveTo>
                  <a:pt x="3505" y="796"/>
                </a:moveTo>
                <a:cubicBezTo>
                  <a:pt x="3521" y="791"/>
                  <a:pt x="3521" y="780"/>
                  <a:pt x="3553" y="780"/>
                </a:cubicBezTo>
                <a:cubicBezTo>
                  <a:pt x="3696" y="780"/>
                  <a:pt x="3839" y="971"/>
                  <a:pt x="3903" y="1305"/>
                </a:cubicBezTo>
                <a:cubicBezTo>
                  <a:pt x="3950" y="1543"/>
                  <a:pt x="3919" y="1750"/>
                  <a:pt x="3855" y="1893"/>
                </a:cubicBezTo>
                <a:cubicBezTo>
                  <a:pt x="3824" y="1877"/>
                  <a:pt x="3776" y="1861"/>
                  <a:pt x="3744" y="1861"/>
                </a:cubicBezTo>
                <a:cubicBezTo>
                  <a:pt x="3744" y="1845"/>
                  <a:pt x="3744" y="1814"/>
                  <a:pt x="3728" y="1782"/>
                </a:cubicBezTo>
                <a:cubicBezTo>
                  <a:pt x="3712" y="1607"/>
                  <a:pt x="3680" y="1400"/>
                  <a:pt x="3601" y="1209"/>
                </a:cubicBezTo>
                <a:cubicBezTo>
                  <a:pt x="3489" y="907"/>
                  <a:pt x="3489" y="812"/>
                  <a:pt x="3505" y="796"/>
                </a:cubicBezTo>
                <a:close/>
                <a:moveTo>
                  <a:pt x="2901" y="2752"/>
                </a:moveTo>
                <a:cubicBezTo>
                  <a:pt x="2710" y="2959"/>
                  <a:pt x="2631" y="2990"/>
                  <a:pt x="2599" y="2990"/>
                </a:cubicBezTo>
                <a:cubicBezTo>
                  <a:pt x="2583" y="2990"/>
                  <a:pt x="2567" y="2990"/>
                  <a:pt x="2551" y="2975"/>
                </a:cubicBezTo>
                <a:cubicBezTo>
                  <a:pt x="2519" y="2959"/>
                  <a:pt x="2519" y="2927"/>
                  <a:pt x="2519" y="2895"/>
                </a:cubicBezTo>
                <a:cubicBezTo>
                  <a:pt x="2519" y="2847"/>
                  <a:pt x="2567" y="2720"/>
                  <a:pt x="2806" y="2498"/>
                </a:cubicBezTo>
                <a:cubicBezTo>
                  <a:pt x="2997" y="2338"/>
                  <a:pt x="3187" y="2275"/>
                  <a:pt x="3346" y="2243"/>
                </a:cubicBezTo>
                <a:lnTo>
                  <a:pt x="3346" y="2275"/>
                </a:lnTo>
                <a:cubicBezTo>
                  <a:pt x="3346" y="2307"/>
                  <a:pt x="3362" y="2338"/>
                  <a:pt x="3378" y="2370"/>
                </a:cubicBezTo>
                <a:lnTo>
                  <a:pt x="3346" y="2386"/>
                </a:lnTo>
                <a:cubicBezTo>
                  <a:pt x="3219" y="2481"/>
                  <a:pt x="3060" y="2593"/>
                  <a:pt x="2901" y="2752"/>
                </a:cubicBezTo>
                <a:close/>
                <a:moveTo>
                  <a:pt x="3744" y="2434"/>
                </a:moveTo>
                <a:cubicBezTo>
                  <a:pt x="3616" y="2450"/>
                  <a:pt x="3521" y="2370"/>
                  <a:pt x="3505" y="2259"/>
                </a:cubicBezTo>
                <a:lnTo>
                  <a:pt x="3505" y="2195"/>
                </a:lnTo>
                <a:cubicBezTo>
                  <a:pt x="3505" y="2180"/>
                  <a:pt x="3521" y="2180"/>
                  <a:pt x="3521" y="2163"/>
                </a:cubicBezTo>
                <a:cubicBezTo>
                  <a:pt x="3521" y="2148"/>
                  <a:pt x="3537" y="2116"/>
                  <a:pt x="3553" y="2100"/>
                </a:cubicBezTo>
                <a:cubicBezTo>
                  <a:pt x="3585" y="2052"/>
                  <a:pt x="3633" y="2036"/>
                  <a:pt x="3696" y="2020"/>
                </a:cubicBezTo>
                <a:lnTo>
                  <a:pt x="3712" y="2020"/>
                </a:lnTo>
                <a:cubicBezTo>
                  <a:pt x="3760" y="2020"/>
                  <a:pt x="3807" y="2036"/>
                  <a:pt x="3839" y="2068"/>
                </a:cubicBezTo>
                <a:cubicBezTo>
                  <a:pt x="3887" y="2100"/>
                  <a:pt x="3919" y="2148"/>
                  <a:pt x="3919" y="2211"/>
                </a:cubicBezTo>
                <a:cubicBezTo>
                  <a:pt x="3935" y="2323"/>
                  <a:pt x="3855" y="2418"/>
                  <a:pt x="3744" y="2434"/>
                </a:cubicBezTo>
                <a:close/>
                <a:moveTo>
                  <a:pt x="5048" y="2609"/>
                </a:moveTo>
                <a:cubicBezTo>
                  <a:pt x="5043" y="2630"/>
                  <a:pt x="5048" y="2625"/>
                  <a:pt x="5032" y="2672"/>
                </a:cubicBezTo>
                <a:cubicBezTo>
                  <a:pt x="4952" y="2799"/>
                  <a:pt x="4842" y="2911"/>
                  <a:pt x="4428" y="2799"/>
                </a:cubicBezTo>
                <a:cubicBezTo>
                  <a:pt x="4189" y="2736"/>
                  <a:pt x="4030" y="2593"/>
                  <a:pt x="3950" y="2513"/>
                </a:cubicBezTo>
                <a:cubicBezTo>
                  <a:pt x="3982" y="2481"/>
                  <a:pt x="4014" y="2450"/>
                  <a:pt x="4030" y="2402"/>
                </a:cubicBezTo>
                <a:lnTo>
                  <a:pt x="4046" y="2402"/>
                </a:lnTo>
                <a:cubicBezTo>
                  <a:pt x="4205" y="2450"/>
                  <a:pt x="4443" y="2513"/>
                  <a:pt x="4682" y="2529"/>
                </a:cubicBezTo>
                <a:cubicBezTo>
                  <a:pt x="5000" y="2545"/>
                  <a:pt x="5048" y="2593"/>
                  <a:pt x="5048" y="2609"/>
                </a:cubicBezTo>
                <a:close/>
                <a:moveTo>
                  <a:pt x="4125" y="5551"/>
                </a:moveTo>
                <a:cubicBezTo>
                  <a:pt x="4142" y="5551"/>
                  <a:pt x="4157" y="5551"/>
                  <a:pt x="4173" y="5535"/>
                </a:cubicBezTo>
                <a:cubicBezTo>
                  <a:pt x="4189" y="5519"/>
                  <a:pt x="4205" y="5488"/>
                  <a:pt x="4205" y="5472"/>
                </a:cubicBezTo>
                <a:lnTo>
                  <a:pt x="3807" y="2689"/>
                </a:lnTo>
                <a:cubicBezTo>
                  <a:pt x="3792" y="2641"/>
                  <a:pt x="3760" y="2609"/>
                  <a:pt x="3728" y="2609"/>
                </a:cubicBezTo>
                <a:lnTo>
                  <a:pt x="3696" y="2609"/>
                </a:lnTo>
                <a:cubicBezTo>
                  <a:pt x="3664" y="2609"/>
                  <a:pt x="3633" y="2641"/>
                  <a:pt x="3616" y="2689"/>
                </a:cubicBezTo>
                <a:lnTo>
                  <a:pt x="3219" y="5472"/>
                </a:lnTo>
                <a:cubicBezTo>
                  <a:pt x="3219" y="5488"/>
                  <a:pt x="3235" y="5519"/>
                  <a:pt x="3251" y="5535"/>
                </a:cubicBezTo>
                <a:cubicBezTo>
                  <a:pt x="3251" y="5551"/>
                  <a:pt x="3283" y="5551"/>
                  <a:pt x="3298" y="5551"/>
                </a:cubicBezTo>
                <a:close/>
                <a:moveTo>
                  <a:pt x="3712" y="3181"/>
                </a:moveTo>
                <a:lnTo>
                  <a:pt x="4030" y="5392"/>
                </a:lnTo>
                <a:lnTo>
                  <a:pt x="3394" y="5392"/>
                </a:lnTo>
                <a:close/>
                <a:moveTo>
                  <a:pt x="197" y="1336"/>
                </a:moveTo>
                <a:lnTo>
                  <a:pt x="643" y="1336"/>
                </a:lnTo>
                <a:cubicBezTo>
                  <a:pt x="658" y="1480"/>
                  <a:pt x="722" y="1607"/>
                  <a:pt x="801" y="1718"/>
                </a:cubicBezTo>
                <a:lnTo>
                  <a:pt x="483" y="2020"/>
                </a:lnTo>
                <a:cubicBezTo>
                  <a:pt x="452" y="2052"/>
                  <a:pt x="452" y="2100"/>
                  <a:pt x="483" y="2132"/>
                </a:cubicBezTo>
                <a:cubicBezTo>
                  <a:pt x="499" y="2148"/>
                  <a:pt x="515" y="2163"/>
                  <a:pt x="547" y="2163"/>
                </a:cubicBezTo>
                <a:cubicBezTo>
                  <a:pt x="563" y="2163"/>
                  <a:pt x="579" y="2148"/>
                  <a:pt x="595" y="2132"/>
                </a:cubicBezTo>
                <a:lnTo>
                  <a:pt x="913" y="1829"/>
                </a:lnTo>
                <a:cubicBezTo>
                  <a:pt x="1024" y="1909"/>
                  <a:pt x="1152" y="1972"/>
                  <a:pt x="1295" y="1972"/>
                </a:cubicBezTo>
                <a:lnTo>
                  <a:pt x="1295" y="2418"/>
                </a:lnTo>
                <a:cubicBezTo>
                  <a:pt x="1295" y="2466"/>
                  <a:pt x="1326" y="2498"/>
                  <a:pt x="1374" y="2498"/>
                </a:cubicBezTo>
                <a:cubicBezTo>
                  <a:pt x="1406" y="2498"/>
                  <a:pt x="1453" y="2466"/>
                  <a:pt x="1453" y="2418"/>
                </a:cubicBezTo>
                <a:lnTo>
                  <a:pt x="1453" y="1972"/>
                </a:lnTo>
                <a:cubicBezTo>
                  <a:pt x="1596" y="1972"/>
                  <a:pt x="1724" y="1909"/>
                  <a:pt x="1819" y="1829"/>
                </a:cubicBezTo>
                <a:lnTo>
                  <a:pt x="2137" y="2132"/>
                </a:lnTo>
                <a:cubicBezTo>
                  <a:pt x="2153" y="2148"/>
                  <a:pt x="2169" y="2163"/>
                  <a:pt x="2201" y="2163"/>
                </a:cubicBezTo>
                <a:cubicBezTo>
                  <a:pt x="2217" y="2163"/>
                  <a:pt x="2233" y="2148"/>
                  <a:pt x="2249" y="2132"/>
                </a:cubicBezTo>
                <a:cubicBezTo>
                  <a:pt x="2280" y="2100"/>
                  <a:pt x="2280" y="2052"/>
                  <a:pt x="2249" y="2020"/>
                </a:cubicBezTo>
                <a:lnTo>
                  <a:pt x="1947" y="1718"/>
                </a:lnTo>
                <a:cubicBezTo>
                  <a:pt x="2026" y="1607"/>
                  <a:pt x="2074" y="1480"/>
                  <a:pt x="2090" y="1336"/>
                </a:cubicBezTo>
                <a:lnTo>
                  <a:pt x="2535" y="1336"/>
                </a:lnTo>
                <a:cubicBezTo>
                  <a:pt x="2583" y="1336"/>
                  <a:pt x="2615" y="1305"/>
                  <a:pt x="2615" y="1257"/>
                </a:cubicBezTo>
                <a:cubicBezTo>
                  <a:pt x="2615" y="1209"/>
                  <a:pt x="2583" y="1177"/>
                  <a:pt x="2535" y="1177"/>
                </a:cubicBezTo>
                <a:lnTo>
                  <a:pt x="2090" y="1177"/>
                </a:lnTo>
                <a:cubicBezTo>
                  <a:pt x="2074" y="1034"/>
                  <a:pt x="2026" y="907"/>
                  <a:pt x="1947" y="796"/>
                </a:cubicBezTo>
                <a:lnTo>
                  <a:pt x="2249" y="478"/>
                </a:lnTo>
                <a:cubicBezTo>
                  <a:pt x="2280" y="446"/>
                  <a:pt x="2280" y="398"/>
                  <a:pt x="2249" y="366"/>
                </a:cubicBezTo>
                <a:cubicBezTo>
                  <a:pt x="2217" y="335"/>
                  <a:pt x="2169" y="335"/>
                  <a:pt x="2137" y="366"/>
                </a:cubicBezTo>
                <a:lnTo>
                  <a:pt x="1819" y="684"/>
                </a:lnTo>
                <a:cubicBezTo>
                  <a:pt x="1724" y="605"/>
                  <a:pt x="1596" y="541"/>
                  <a:pt x="1453" y="525"/>
                </a:cubicBezTo>
                <a:lnTo>
                  <a:pt x="1453" y="80"/>
                </a:lnTo>
                <a:cubicBezTo>
                  <a:pt x="1453" y="48"/>
                  <a:pt x="1406" y="0"/>
                  <a:pt x="1374" y="0"/>
                </a:cubicBezTo>
                <a:cubicBezTo>
                  <a:pt x="1326" y="0"/>
                  <a:pt x="1295" y="48"/>
                  <a:pt x="1295" y="80"/>
                </a:cubicBezTo>
                <a:lnTo>
                  <a:pt x="1295" y="525"/>
                </a:lnTo>
                <a:cubicBezTo>
                  <a:pt x="1152" y="541"/>
                  <a:pt x="1024" y="605"/>
                  <a:pt x="913" y="684"/>
                </a:cubicBezTo>
                <a:lnTo>
                  <a:pt x="595" y="366"/>
                </a:lnTo>
                <a:cubicBezTo>
                  <a:pt x="563" y="335"/>
                  <a:pt x="515" y="335"/>
                  <a:pt x="483" y="366"/>
                </a:cubicBezTo>
                <a:cubicBezTo>
                  <a:pt x="452" y="398"/>
                  <a:pt x="452" y="446"/>
                  <a:pt x="483" y="478"/>
                </a:cubicBezTo>
                <a:lnTo>
                  <a:pt x="801" y="796"/>
                </a:lnTo>
                <a:cubicBezTo>
                  <a:pt x="722" y="907"/>
                  <a:pt x="658" y="1034"/>
                  <a:pt x="643" y="1177"/>
                </a:cubicBezTo>
                <a:lnTo>
                  <a:pt x="197" y="1177"/>
                </a:lnTo>
                <a:cubicBezTo>
                  <a:pt x="149" y="1177"/>
                  <a:pt x="117" y="1209"/>
                  <a:pt x="117" y="1257"/>
                </a:cubicBezTo>
                <a:cubicBezTo>
                  <a:pt x="117" y="1305"/>
                  <a:pt x="149" y="1336"/>
                  <a:pt x="197" y="1336"/>
                </a:cubicBezTo>
                <a:close/>
                <a:moveTo>
                  <a:pt x="1374" y="684"/>
                </a:moveTo>
                <a:cubicBezTo>
                  <a:pt x="1692" y="684"/>
                  <a:pt x="1947" y="939"/>
                  <a:pt x="1947" y="1257"/>
                </a:cubicBezTo>
                <a:cubicBezTo>
                  <a:pt x="1947" y="1575"/>
                  <a:pt x="1692" y="1829"/>
                  <a:pt x="1374" y="1829"/>
                </a:cubicBezTo>
                <a:cubicBezTo>
                  <a:pt x="1056" y="1829"/>
                  <a:pt x="801" y="1575"/>
                  <a:pt x="801" y="1257"/>
                </a:cubicBezTo>
                <a:cubicBezTo>
                  <a:pt x="801" y="939"/>
                  <a:pt x="1056" y="684"/>
                  <a:pt x="1374" y="684"/>
                </a:cubicBezTo>
                <a:close/>
                <a:moveTo>
                  <a:pt x="38" y="4152"/>
                </a:moveTo>
                <a:cubicBezTo>
                  <a:pt x="70" y="4168"/>
                  <a:pt x="117" y="4168"/>
                  <a:pt x="149" y="4120"/>
                </a:cubicBezTo>
                <a:cubicBezTo>
                  <a:pt x="340" y="3817"/>
                  <a:pt x="833" y="3977"/>
                  <a:pt x="1342" y="4152"/>
                </a:cubicBezTo>
                <a:cubicBezTo>
                  <a:pt x="1644" y="4263"/>
                  <a:pt x="1962" y="4358"/>
                  <a:pt x="2233" y="4358"/>
                </a:cubicBezTo>
                <a:cubicBezTo>
                  <a:pt x="2440" y="4358"/>
                  <a:pt x="2615" y="4295"/>
                  <a:pt x="2726" y="4120"/>
                </a:cubicBezTo>
                <a:cubicBezTo>
                  <a:pt x="2742" y="4088"/>
                  <a:pt x="2742" y="4025"/>
                  <a:pt x="2694" y="4008"/>
                </a:cubicBezTo>
                <a:cubicBezTo>
                  <a:pt x="2662" y="3977"/>
                  <a:pt x="2615" y="3992"/>
                  <a:pt x="2599" y="4025"/>
                </a:cubicBezTo>
                <a:cubicBezTo>
                  <a:pt x="2392" y="4343"/>
                  <a:pt x="1915" y="4183"/>
                  <a:pt x="1390" y="4008"/>
                </a:cubicBezTo>
                <a:cubicBezTo>
                  <a:pt x="849" y="3817"/>
                  <a:pt x="277" y="3627"/>
                  <a:pt x="6" y="4040"/>
                </a:cubicBezTo>
                <a:cubicBezTo>
                  <a:pt x="-10" y="4072"/>
                  <a:pt x="6" y="4120"/>
                  <a:pt x="38" y="4152"/>
                </a:cubicBezTo>
                <a:close/>
                <a:moveTo>
                  <a:pt x="38" y="4565"/>
                </a:moveTo>
                <a:cubicBezTo>
                  <a:pt x="70" y="4581"/>
                  <a:pt x="117" y="4581"/>
                  <a:pt x="149" y="4534"/>
                </a:cubicBezTo>
                <a:cubicBezTo>
                  <a:pt x="340" y="4231"/>
                  <a:pt x="833" y="4390"/>
                  <a:pt x="1342" y="4565"/>
                </a:cubicBezTo>
                <a:cubicBezTo>
                  <a:pt x="1644" y="4677"/>
                  <a:pt x="1962" y="4772"/>
                  <a:pt x="2233" y="4772"/>
                </a:cubicBezTo>
                <a:cubicBezTo>
                  <a:pt x="2440" y="4772"/>
                  <a:pt x="2615" y="4708"/>
                  <a:pt x="2726" y="4534"/>
                </a:cubicBezTo>
                <a:cubicBezTo>
                  <a:pt x="2742" y="4486"/>
                  <a:pt x="2742" y="4438"/>
                  <a:pt x="2694" y="4422"/>
                </a:cubicBezTo>
                <a:cubicBezTo>
                  <a:pt x="2662" y="4390"/>
                  <a:pt x="2615" y="4406"/>
                  <a:pt x="2599" y="4438"/>
                </a:cubicBezTo>
                <a:cubicBezTo>
                  <a:pt x="2392" y="4756"/>
                  <a:pt x="1915" y="4581"/>
                  <a:pt x="1390" y="4422"/>
                </a:cubicBezTo>
                <a:cubicBezTo>
                  <a:pt x="849" y="4231"/>
                  <a:pt x="277" y="4040"/>
                  <a:pt x="6" y="4454"/>
                </a:cubicBezTo>
                <a:cubicBezTo>
                  <a:pt x="-10" y="4486"/>
                  <a:pt x="6" y="4534"/>
                  <a:pt x="38" y="456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4" name="Freeform: Shape 16">
            <a:extLst>
              <a:ext uri="{FF2B5EF4-FFF2-40B4-BE49-F238E27FC236}">
                <a16:creationId xmlns:a16="http://schemas.microsoft.com/office/drawing/2014/main" id="{685F59F0-DEA4-DE43-9735-F869EF3257AE}"/>
              </a:ext>
            </a:extLst>
          </p:cNvPr>
          <p:cNvSpPr/>
          <p:nvPr/>
        </p:nvSpPr>
        <p:spPr>
          <a:xfrm>
            <a:off x="17437173" y="3134129"/>
            <a:ext cx="1762199" cy="1621439"/>
          </a:xfrm>
          <a:custGeom>
            <a:avLst/>
            <a:gdLst/>
            <a:ahLst/>
            <a:cxnLst>
              <a:cxn ang="3cd4">
                <a:pos x="hc" y="t"/>
              </a:cxn>
              <a:cxn ang="cd2">
                <a:pos x="l" y="vc"/>
              </a:cxn>
              <a:cxn ang="cd4">
                <a:pos x="hc" y="b"/>
              </a:cxn>
              <a:cxn ang="0">
                <a:pos x="r" y="vc"/>
              </a:cxn>
            </a:cxnLst>
            <a:rect l="l" t="t" r="r" b="b"/>
            <a:pathLst>
              <a:path w="4896" h="4505">
                <a:moveTo>
                  <a:pt x="48" y="2549"/>
                </a:moveTo>
                <a:cubicBezTo>
                  <a:pt x="48" y="2580"/>
                  <a:pt x="79" y="2612"/>
                  <a:pt x="111" y="2612"/>
                </a:cubicBezTo>
                <a:cubicBezTo>
                  <a:pt x="143" y="2612"/>
                  <a:pt x="175" y="2596"/>
                  <a:pt x="191" y="2565"/>
                </a:cubicBezTo>
                <a:cubicBezTo>
                  <a:pt x="381" y="2199"/>
                  <a:pt x="699" y="1849"/>
                  <a:pt x="970" y="1562"/>
                </a:cubicBezTo>
                <a:cubicBezTo>
                  <a:pt x="1272" y="1865"/>
                  <a:pt x="1272" y="1865"/>
                  <a:pt x="1272" y="1865"/>
                </a:cubicBezTo>
                <a:cubicBezTo>
                  <a:pt x="1304" y="1881"/>
                  <a:pt x="1336" y="1896"/>
                  <a:pt x="1367" y="1865"/>
                </a:cubicBezTo>
                <a:cubicBezTo>
                  <a:pt x="1399" y="1849"/>
                  <a:pt x="1399" y="1849"/>
                  <a:pt x="1399" y="1849"/>
                </a:cubicBezTo>
                <a:cubicBezTo>
                  <a:pt x="2051" y="2517"/>
                  <a:pt x="2051" y="2517"/>
                  <a:pt x="2051" y="2517"/>
                </a:cubicBezTo>
                <a:cubicBezTo>
                  <a:pt x="1049" y="3503"/>
                  <a:pt x="1049" y="3503"/>
                  <a:pt x="1049" y="3503"/>
                </a:cubicBezTo>
                <a:cubicBezTo>
                  <a:pt x="811" y="3264"/>
                  <a:pt x="811" y="3264"/>
                  <a:pt x="811" y="3264"/>
                </a:cubicBezTo>
                <a:cubicBezTo>
                  <a:pt x="795" y="3264"/>
                  <a:pt x="795" y="3249"/>
                  <a:pt x="795" y="3249"/>
                </a:cubicBezTo>
                <a:cubicBezTo>
                  <a:pt x="779" y="3232"/>
                  <a:pt x="763" y="3232"/>
                  <a:pt x="731" y="3232"/>
                </a:cubicBezTo>
                <a:cubicBezTo>
                  <a:pt x="684" y="3232"/>
                  <a:pt x="620" y="3264"/>
                  <a:pt x="540" y="3344"/>
                </a:cubicBezTo>
                <a:cubicBezTo>
                  <a:pt x="413" y="3471"/>
                  <a:pt x="413" y="3550"/>
                  <a:pt x="445" y="3598"/>
                </a:cubicBezTo>
                <a:lnTo>
                  <a:pt x="461" y="3614"/>
                </a:lnTo>
                <a:cubicBezTo>
                  <a:pt x="1304" y="4457"/>
                  <a:pt x="1304" y="4457"/>
                  <a:pt x="1304" y="4457"/>
                </a:cubicBezTo>
                <a:lnTo>
                  <a:pt x="1320" y="4457"/>
                </a:lnTo>
                <a:cubicBezTo>
                  <a:pt x="1320" y="4473"/>
                  <a:pt x="1336" y="4489"/>
                  <a:pt x="1367" y="4489"/>
                </a:cubicBezTo>
                <a:cubicBezTo>
                  <a:pt x="1431" y="4489"/>
                  <a:pt x="1494" y="4441"/>
                  <a:pt x="1574" y="4377"/>
                </a:cubicBezTo>
                <a:cubicBezTo>
                  <a:pt x="1702" y="4234"/>
                  <a:pt x="1685" y="4155"/>
                  <a:pt x="1654" y="4123"/>
                </a:cubicBezTo>
                <a:cubicBezTo>
                  <a:pt x="1654" y="4107"/>
                  <a:pt x="1654" y="4107"/>
                  <a:pt x="1654" y="4107"/>
                </a:cubicBezTo>
                <a:cubicBezTo>
                  <a:pt x="1399" y="3853"/>
                  <a:pt x="1399" y="3853"/>
                  <a:pt x="1399" y="3853"/>
                </a:cubicBezTo>
                <a:cubicBezTo>
                  <a:pt x="2369" y="2819"/>
                  <a:pt x="2369" y="2819"/>
                  <a:pt x="2369" y="2819"/>
                </a:cubicBezTo>
                <a:cubicBezTo>
                  <a:pt x="4024" y="4473"/>
                  <a:pt x="4024" y="4473"/>
                  <a:pt x="4024" y="4473"/>
                </a:cubicBezTo>
                <a:cubicBezTo>
                  <a:pt x="4039" y="4489"/>
                  <a:pt x="4056" y="4505"/>
                  <a:pt x="4087" y="4505"/>
                </a:cubicBezTo>
                <a:cubicBezTo>
                  <a:pt x="4151" y="4505"/>
                  <a:pt x="4214" y="4441"/>
                  <a:pt x="4278" y="4377"/>
                </a:cubicBezTo>
                <a:cubicBezTo>
                  <a:pt x="4342" y="4314"/>
                  <a:pt x="4437" y="4202"/>
                  <a:pt x="4357" y="4123"/>
                </a:cubicBezTo>
                <a:cubicBezTo>
                  <a:pt x="2703" y="2469"/>
                  <a:pt x="2703" y="2469"/>
                  <a:pt x="2703" y="2469"/>
                </a:cubicBezTo>
                <a:cubicBezTo>
                  <a:pt x="3356" y="1753"/>
                  <a:pt x="3356" y="1753"/>
                  <a:pt x="3356" y="1753"/>
                </a:cubicBezTo>
                <a:cubicBezTo>
                  <a:pt x="3785" y="2183"/>
                  <a:pt x="3785" y="2183"/>
                  <a:pt x="3785" y="2183"/>
                </a:cubicBezTo>
                <a:cubicBezTo>
                  <a:pt x="3817" y="2214"/>
                  <a:pt x="3865" y="2214"/>
                  <a:pt x="3896" y="2183"/>
                </a:cubicBezTo>
                <a:cubicBezTo>
                  <a:pt x="4453" y="1626"/>
                  <a:pt x="4453" y="1626"/>
                  <a:pt x="4453" y="1626"/>
                </a:cubicBezTo>
                <a:cubicBezTo>
                  <a:pt x="4469" y="1610"/>
                  <a:pt x="4469" y="1610"/>
                  <a:pt x="4469" y="1610"/>
                </a:cubicBezTo>
                <a:cubicBezTo>
                  <a:pt x="4580" y="1499"/>
                  <a:pt x="4692" y="1387"/>
                  <a:pt x="4739" y="1324"/>
                </a:cubicBezTo>
                <a:cubicBezTo>
                  <a:pt x="4946" y="1022"/>
                  <a:pt x="4962" y="465"/>
                  <a:pt x="4708" y="211"/>
                </a:cubicBezTo>
                <a:cubicBezTo>
                  <a:pt x="4580" y="83"/>
                  <a:pt x="4389" y="20"/>
                  <a:pt x="4167" y="20"/>
                </a:cubicBezTo>
                <a:cubicBezTo>
                  <a:pt x="3944" y="20"/>
                  <a:pt x="3737" y="68"/>
                  <a:pt x="3594" y="179"/>
                </a:cubicBezTo>
                <a:cubicBezTo>
                  <a:pt x="3515" y="211"/>
                  <a:pt x="3419" y="322"/>
                  <a:pt x="3308" y="433"/>
                </a:cubicBezTo>
                <a:cubicBezTo>
                  <a:pt x="2735" y="1006"/>
                  <a:pt x="2735" y="1006"/>
                  <a:pt x="2735" y="1006"/>
                </a:cubicBezTo>
                <a:cubicBezTo>
                  <a:pt x="2703" y="1038"/>
                  <a:pt x="2703" y="1086"/>
                  <a:pt x="2735" y="1117"/>
                </a:cubicBezTo>
                <a:cubicBezTo>
                  <a:pt x="3085" y="1483"/>
                  <a:pt x="3085" y="1483"/>
                  <a:pt x="3085" y="1483"/>
                </a:cubicBezTo>
                <a:cubicBezTo>
                  <a:pt x="2401" y="2167"/>
                  <a:pt x="2401" y="2167"/>
                  <a:pt x="2401" y="2167"/>
                </a:cubicBezTo>
                <a:cubicBezTo>
                  <a:pt x="1749" y="1499"/>
                  <a:pt x="1749" y="1499"/>
                  <a:pt x="1749" y="1499"/>
                </a:cubicBezTo>
                <a:cubicBezTo>
                  <a:pt x="1765" y="1483"/>
                  <a:pt x="1765" y="1483"/>
                  <a:pt x="1765" y="1483"/>
                </a:cubicBezTo>
                <a:cubicBezTo>
                  <a:pt x="1781" y="1451"/>
                  <a:pt x="1781" y="1404"/>
                  <a:pt x="1749" y="1372"/>
                </a:cubicBezTo>
                <a:cubicBezTo>
                  <a:pt x="1463" y="1086"/>
                  <a:pt x="1463" y="1086"/>
                  <a:pt x="1463" y="1086"/>
                </a:cubicBezTo>
                <a:cubicBezTo>
                  <a:pt x="1892" y="672"/>
                  <a:pt x="2242" y="386"/>
                  <a:pt x="2624" y="147"/>
                </a:cubicBezTo>
                <a:cubicBezTo>
                  <a:pt x="2656" y="131"/>
                  <a:pt x="2672" y="83"/>
                  <a:pt x="2656" y="51"/>
                </a:cubicBezTo>
                <a:cubicBezTo>
                  <a:pt x="2640" y="20"/>
                  <a:pt x="2608" y="-12"/>
                  <a:pt x="2576" y="4"/>
                </a:cubicBezTo>
                <a:cubicBezTo>
                  <a:pt x="2163" y="51"/>
                  <a:pt x="1511" y="465"/>
                  <a:pt x="1145" y="767"/>
                </a:cubicBezTo>
                <a:cubicBezTo>
                  <a:pt x="1097" y="735"/>
                  <a:pt x="1097" y="735"/>
                  <a:pt x="1097" y="735"/>
                </a:cubicBezTo>
                <a:cubicBezTo>
                  <a:pt x="1081" y="704"/>
                  <a:pt x="1033" y="704"/>
                  <a:pt x="1002" y="735"/>
                </a:cubicBezTo>
                <a:cubicBezTo>
                  <a:pt x="986" y="735"/>
                  <a:pt x="986" y="735"/>
                  <a:pt x="986" y="735"/>
                </a:cubicBezTo>
                <a:cubicBezTo>
                  <a:pt x="970" y="720"/>
                  <a:pt x="970" y="720"/>
                  <a:pt x="970" y="720"/>
                </a:cubicBezTo>
                <a:cubicBezTo>
                  <a:pt x="890" y="656"/>
                  <a:pt x="811" y="751"/>
                  <a:pt x="715" y="831"/>
                </a:cubicBezTo>
                <a:cubicBezTo>
                  <a:pt x="636" y="910"/>
                  <a:pt x="540" y="1006"/>
                  <a:pt x="620" y="1069"/>
                </a:cubicBezTo>
                <a:cubicBezTo>
                  <a:pt x="636" y="1086"/>
                  <a:pt x="636" y="1086"/>
                  <a:pt x="636" y="1086"/>
                </a:cubicBezTo>
                <a:cubicBezTo>
                  <a:pt x="620" y="1101"/>
                  <a:pt x="620" y="1101"/>
                  <a:pt x="620" y="1101"/>
                </a:cubicBezTo>
                <a:cubicBezTo>
                  <a:pt x="588" y="1133"/>
                  <a:pt x="588" y="1181"/>
                  <a:pt x="620" y="1213"/>
                </a:cubicBezTo>
                <a:cubicBezTo>
                  <a:pt x="652" y="1244"/>
                  <a:pt x="652" y="1244"/>
                  <a:pt x="652" y="1244"/>
                </a:cubicBezTo>
                <a:cubicBezTo>
                  <a:pt x="366" y="1626"/>
                  <a:pt x="95" y="2056"/>
                  <a:pt x="0" y="2326"/>
                </a:cubicBezTo>
                <a:cubicBezTo>
                  <a:pt x="0" y="2342"/>
                  <a:pt x="0" y="2358"/>
                  <a:pt x="0" y="2374"/>
                </a:cubicBezTo>
                <a:close/>
                <a:moveTo>
                  <a:pt x="4214" y="4202"/>
                </a:moveTo>
                <a:cubicBezTo>
                  <a:pt x="4199" y="4250"/>
                  <a:pt x="4135" y="4298"/>
                  <a:pt x="4087" y="4330"/>
                </a:cubicBezTo>
                <a:cubicBezTo>
                  <a:pt x="2481" y="2708"/>
                  <a:pt x="2481" y="2708"/>
                  <a:pt x="2481" y="2708"/>
                </a:cubicBezTo>
                <a:cubicBezTo>
                  <a:pt x="2592" y="2580"/>
                  <a:pt x="2592" y="2580"/>
                  <a:pt x="2592" y="2580"/>
                </a:cubicBezTo>
                <a:close/>
                <a:moveTo>
                  <a:pt x="3260" y="1419"/>
                </a:moveTo>
                <a:cubicBezTo>
                  <a:pt x="2894" y="1069"/>
                  <a:pt x="2894" y="1069"/>
                  <a:pt x="2894" y="1069"/>
                </a:cubicBezTo>
                <a:cubicBezTo>
                  <a:pt x="3387" y="577"/>
                  <a:pt x="3387" y="577"/>
                  <a:pt x="3387" y="577"/>
                </a:cubicBezTo>
                <a:cubicBezTo>
                  <a:pt x="3419" y="545"/>
                  <a:pt x="3419" y="545"/>
                  <a:pt x="3419" y="545"/>
                </a:cubicBezTo>
                <a:cubicBezTo>
                  <a:pt x="3515" y="449"/>
                  <a:pt x="3626" y="338"/>
                  <a:pt x="3674" y="306"/>
                </a:cubicBezTo>
                <a:cubicBezTo>
                  <a:pt x="3801" y="226"/>
                  <a:pt x="3976" y="179"/>
                  <a:pt x="4167" y="179"/>
                </a:cubicBezTo>
                <a:cubicBezTo>
                  <a:pt x="4342" y="179"/>
                  <a:pt x="4501" y="226"/>
                  <a:pt x="4596" y="322"/>
                </a:cubicBezTo>
                <a:cubicBezTo>
                  <a:pt x="4803" y="529"/>
                  <a:pt x="4771" y="990"/>
                  <a:pt x="4596" y="1244"/>
                </a:cubicBezTo>
                <a:cubicBezTo>
                  <a:pt x="4565" y="1292"/>
                  <a:pt x="4421" y="1435"/>
                  <a:pt x="4357" y="1499"/>
                </a:cubicBezTo>
                <a:cubicBezTo>
                  <a:pt x="3848" y="2008"/>
                  <a:pt x="3848" y="2008"/>
                  <a:pt x="3848" y="2008"/>
                </a:cubicBezTo>
                <a:cubicBezTo>
                  <a:pt x="3419" y="1578"/>
                  <a:pt x="3419" y="1578"/>
                  <a:pt x="3419" y="1578"/>
                </a:cubicBezTo>
                <a:cubicBezTo>
                  <a:pt x="3403" y="1562"/>
                  <a:pt x="3387" y="1562"/>
                  <a:pt x="3356" y="1562"/>
                </a:cubicBezTo>
                <a:cubicBezTo>
                  <a:pt x="3339" y="1562"/>
                  <a:pt x="3324" y="1578"/>
                  <a:pt x="3308" y="1594"/>
                </a:cubicBezTo>
                <a:cubicBezTo>
                  <a:pt x="1224" y="3805"/>
                  <a:pt x="1224" y="3805"/>
                  <a:pt x="1224" y="3805"/>
                </a:cubicBezTo>
                <a:cubicBezTo>
                  <a:pt x="1208" y="3837"/>
                  <a:pt x="1208" y="3885"/>
                  <a:pt x="1240" y="3916"/>
                </a:cubicBezTo>
                <a:cubicBezTo>
                  <a:pt x="1511" y="4187"/>
                  <a:pt x="1511" y="4187"/>
                  <a:pt x="1511" y="4187"/>
                </a:cubicBezTo>
                <a:cubicBezTo>
                  <a:pt x="1511" y="4202"/>
                  <a:pt x="1479" y="4234"/>
                  <a:pt x="1463" y="4267"/>
                </a:cubicBezTo>
                <a:cubicBezTo>
                  <a:pt x="1431" y="4298"/>
                  <a:pt x="1399" y="4314"/>
                  <a:pt x="1384" y="4314"/>
                </a:cubicBezTo>
                <a:cubicBezTo>
                  <a:pt x="588" y="3519"/>
                  <a:pt x="588" y="3519"/>
                  <a:pt x="588" y="3519"/>
                </a:cubicBezTo>
                <a:cubicBezTo>
                  <a:pt x="604" y="3503"/>
                  <a:pt x="620" y="3487"/>
                  <a:pt x="652" y="3455"/>
                </a:cubicBezTo>
                <a:cubicBezTo>
                  <a:pt x="684" y="3423"/>
                  <a:pt x="699" y="3407"/>
                  <a:pt x="715" y="3407"/>
                </a:cubicBezTo>
                <a:cubicBezTo>
                  <a:pt x="1002" y="3678"/>
                  <a:pt x="1002" y="3678"/>
                  <a:pt x="1002" y="3678"/>
                </a:cubicBezTo>
                <a:cubicBezTo>
                  <a:pt x="1033" y="3710"/>
                  <a:pt x="1081" y="3710"/>
                  <a:pt x="1113" y="3678"/>
                </a:cubicBezTo>
                <a:cubicBezTo>
                  <a:pt x="3260" y="1531"/>
                  <a:pt x="3260" y="1531"/>
                  <a:pt x="3260" y="1531"/>
                </a:cubicBezTo>
                <a:cubicBezTo>
                  <a:pt x="3292" y="1499"/>
                  <a:pt x="3292" y="1451"/>
                  <a:pt x="3260" y="1419"/>
                </a:cubicBezTo>
                <a:close/>
                <a:moveTo>
                  <a:pt x="827" y="1292"/>
                </a:moveTo>
                <a:cubicBezTo>
                  <a:pt x="843" y="1260"/>
                  <a:pt x="843" y="1213"/>
                  <a:pt x="811" y="1181"/>
                </a:cubicBezTo>
                <a:cubicBezTo>
                  <a:pt x="795" y="1149"/>
                  <a:pt x="795" y="1149"/>
                  <a:pt x="795" y="1149"/>
                </a:cubicBezTo>
                <a:cubicBezTo>
                  <a:pt x="795" y="1133"/>
                  <a:pt x="795" y="1133"/>
                  <a:pt x="795" y="1133"/>
                </a:cubicBezTo>
                <a:cubicBezTo>
                  <a:pt x="827" y="1101"/>
                  <a:pt x="827" y="1053"/>
                  <a:pt x="795" y="1038"/>
                </a:cubicBezTo>
                <a:cubicBezTo>
                  <a:pt x="779" y="1006"/>
                  <a:pt x="779" y="1006"/>
                  <a:pt x="779" y="1006"/>
                </a:cubicBezTo>
                <a:cubicBezTo>
                  <a:pt x="811" y="974"/>
                  <a:pt x="858" y="910"/>
                  <a:pt x="890" y="878"/>
                </a:cubicBezTo>
                <a:cubicBezTo>
                  <a:pt x="922" y="910"/>
                  <a:pt x="922" y="910"/>
                  <a:pt x="922" y="910"/>
                </a:cubicBezTo>
                <a:cubicBezTo>
                  <a:pt x="954" y="942"/>
                  <a:pt x="1002" y="942"/>
                  <a:pt x="1033" y="910"/>
                </a:cubicBezTo>
                <a:cubicBezTo>
                  <a:pt x="1049" y="895"/>
                  <a:pt x="1049" y="895"/>
                  <a:pt x="1049" y="895"/>
                </a:cubicBezTo>
                <a:cubicBezTo>
                  <a:pt x="1081" y="926"/>
                  <a:pt x="1081" y="926"/>
                  <a:pt x="1081" y="926"/>
                </a:cubicBezTo>
                <a:cubicBezTo>
                  <a:pt x="1113" y="958"/>
                  <a:pt x="1161" y="958"/>
                  <a:pt x="1193" y="942"/>
                </a:cubicBezTo>
                <a:cubicBezTo>
                  <a:pt x="1415" y="735"/>
                  <a:pt x="1733" y="529"/>
                  <a:pt x="2036" y="369"/>
                </a:cubicBezTo>
                <a:cubicBezTo>
                  <a:pt x="1797" y="545"/>
                  <a:pt x="1558" y="767"/>
                  <a:pt x="1288" y="1038"/>
                </a:cubicBezTo>
                <a:cubicBezTo>
                  <a:pt x="1272" y="1038"/>
                  <a:pt x="1272" y="1069"/>
                  <a:pt x="1272" y="1086"/>
                </a:cubicBezTo>
                <a:cubicBezTo>
                  <a:pt x="1272" y="1101"/>
                  <a:pt x="1272" y="1133"/>
                  <a:pt x="1288" y="1149"/>
                </a:cubicBezTo>
                <a:cubicBezTo>
                  <a:pt x="1590" y="1435"/>
                  <a:pt x="1590" y="1435"/>
                  <a:pt x="1590" y="1435"/>
                </a:cubicBezTo>
                <a:cubicBezTo>
                  <a:pt x="1574" y="1467"/>
                  <a:pt x="1574" y="1467"/>
                  <a:pt x="1574" y="1467"/>
                </a:cubicBezTo>
                <a:cubicBezTo>
                  <a:pt x="1558" y="1499"/>
                  <a:pt x="1558" y="1547"/>
                  <a:pt x="1574" y="1562"/>
                </a:cubicBezTo>
                <a:cubicBezTo>
                  <a:pt x="2290" y="2278"/>
                  <a:pt x="2290" y="2278"/>
                  <a:pt x="2290" y="2278"/>
                </a:cubicBezTo>
                <a:cubicBezTo>
                  <a:pt x="2163" y="2405"/>
                  <a:pt x="2163" y="2405"/>
                  <a:pt x="2163" y="2405"/>
                </a:cubicBezTo>
                <a:cubicBezTo>
                  <a:pt x="1463" y="1690"/>
                  <a:pt x="1463" y="1690"/>
                  <a:pt x="1463" y="1690"/>
                </a:cubicBezTo>
                <a:cubicBezTo>
                  <a:pt x="1431" y="1658"/>
                  <a:pt x="1384" y="1658"/>
                  <a:pt x="1351" y="1690"/>
                </a:cubicBezTo>
                <a:cubicBezTo>
                  <a:pt x="1336" y="1705"/>
                  <a:pt x="1336" y="1705"/>
                  <a:pt x="1336" y="1705"/>
                </a:cubicBezTo>
                <a:cubicBezTo>
                  <a:pt x="1033" y="1404"/>
                  <a:pt x="1033" y="1404"/>
                  <a:pt x="1033" y="1404"/>
                </a:cubicBezTo>
                <a:cubicBezTo>
                  <a:pt x="1002" y="1372"/>
                  <a:pt x="954" y="1372"/>
                  <a:pt x="922" y="1404"/>
                </a:cubicBezTo>
                <a:cubicBezTo>
                  <a:pt x="699" y="1610"/>
                  <a:pt x="445" y="1896"/>
                  <a:pt x="238" y="2183"/>
                </a:cubicBezTo>
                <a:cubicBezTo>
                  <a:pt x="366" y="1928"/>
                  <a:pt x="588" y="1594"/>
                  <a:pt x="827" y="129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5" name="Freeform: Shape 17">
            <a:extLst>
              <a:ext uri="{FF2B5EF4-FFF2-40B4-BE49-F238E27FC236}">
                <a16:creationId xmlns:a16="http://schemas.microsoft.com/office/drawing/2014/main" id="{E5368647-691A-A140-B59E-349581DA19A2}"/>
              </a:ext>
            </a:extLst>
          </p:cNvPr>
          <p:cNvSpPr/>
          <p:nvPr/>
        </p:nvSpPr>
        <p:spPr>
          <a:xfrm>
            <a:off x="17660012" y="9657484"/>
            <a:ext cx="1316520" cy="1620000"/>
          </a:xfrm>
          <a:custGeom>
            <a:avLst/>
            <a:gdLst/>
            <a:ahLst/>
            <a:cxnLst>
              <a:cxn ang="3cd4">
                <a:pos x="hc" y="t"/>
              </a:cxn>
              <a:cxn ang="cd2">
                <a:pos x="l" y="vc"/>
              </a:cxn>
              <a:cxn ang="cd4">
                <a:pos x="hc" y="b"/>
              </a:cxn>
              <a:cxn ang="0">
                <a:pos x="r" y="vc"/>
              </a:cxn>
            </a:cxnLst>
            <a:rect l="l" t="t" r="r" b="b"/>
            <a:pathLst>
              <a:path w="3658" h="4501">
                <a:moveTo>
                  <a:pt x="2482" y="0"/>
                </a:moveTo>
                <a:lnTo>
                  <a:pt x="382" y="0"/>
                </a:lnTo>
                <a:cubicBezTo>
                  <a:pt x="334" y="0"/>
                  <a:pt x="303" y="31"/>
                  <a:pt x="303" y="79"/>
                </a:cubicBezTo>
                <a:lnTo>
                  <a:pt x="303" y="763"/>
                </a:lnTo>
                <a:cubicBezTo>
                  <a:pt x="143" y="811"/>
                  <a:pt x="0" y="970"/>
                  <a:pt x="0" y="1145"/>
                </a:cubicBezTo>
                <a:lnTo>
                  <a:pt x="0" y="4103"/>
                </a:lnTo>
                <a:cubicBezTo>
                  <a:pt x="0" y="4294"/>
                  <a:pt x="207" y="4501"/>
                  <a:pt x="414" y="4501"/>
                </a:cubicBezTo>
                <a:lnTo>
                  <a:pt x="2243" y="4501"/>
                </a:lnTo>
                <a:lnTo>
                  <a:pt x="2466" y="4501"/>
                </a:lnTo>
                <a:lnTo>
                  <a:pt x="2482" y="4501"/>
                </a:lnTo>
                <a:lnTo>
                  <a:pt x="3309" y="4501"/>
                </a:lnTo>
                <a:cubicBezTo>
                  <a:pt x="3500" y="4501"/>
                  <a:pt x="3658" y="4342"/>
                  <a:pt x="3658" y="4135"/>
                </a:cubicBezTo>
                <a:cubicBezTo>
                  <a:pt x="3658" y="4039"/>
                  <a:pt x="3627" y="3944"/>
                  <a:pt x="3563" y="3880"/>
                </a:cubicBezTo>
                <a:cubicBezTo>
                  <a:pt x="3500" y="3801"/>
                  <a:pt x="3404" y="3769"/>
                  <a:pt x="3309" y="3769"/>
                </a:cubicBezTo>
                <a:lnTo>
                  <a:pt x="2848" y="3769"/>
                </a:lnTo>
                <a:lnTo>
                  <a:pt x="2848" y="1145"/>
                </a:lnTo>
                <a:cubicBezTo>
                  <a:pt x="2848" y="985"/>
                  <a:pt x="2720" y="827"/>
                  <a:pt x="2561" y="779"/>
                </a:cubicBezTo>
                <a:lnTo>
                  <a:pt x="2561" y="79"/>
                </a:lnTo>
                <a:cubicBezTo>
                  <a:pt x="2561" y="31"/>
                  <a:pt x="2513" y="0"/>
                  <a:pt x="2482" y="0"/>
                </a:cubicBezTo>
                <a:close/>
                <a:moveTo>
                  <a:pt x="462" y="158"/>
                </a:moveTo>
                <a:lnTo>
                  <a:pt x="2402" y="158"/>
                </a:lnTo>
                <a:lnTo>
                  <a:pt x="2402" y="747"/>
                </a:lnTo>
                <a:lnTo>
                  <a:pt x="462" y="747"/>
                </a:lnTo>
                <a:close/>
                <a:moveTo>
                  <a:pt x="2688" y="3133"/>
                </a:moveTo>
                <a:lnTo>
                  <a:pt x="159" y="3133"/>
                </a:lnTo>
                <a:lnTo>
                  <a:pt x="159" y="1813"/>
                </a:lnTo>
                <a:lnTo>
                  <a:pt x="2688" y="1813"/>
                </a:lnTo>
                <a:close/>
                <a:moveTo>
                  <a:pt x="2243" y="4342"/>
                </a:moveTo>
                <a:cubicBezTo>
                  <a:pt x="2131" y="4342"/>
                  <a:pt x="2052" y="4246"/>
                  <a:pt x="2052" y="4135"/>
                </a:cubicBezTo>
                <a:cubicBezTo>
                  <a:pt x="2052" y="4023"/>
                  <a:pt x="2131" y="3928"/>
                  <a:pt x="2243" y="3928"/>
                </a:cubicBezTo>
                <a:lnTo>
                  <a:pt x="2720" y="3928"/>
                </a:lnTo>
                <a:lnTo>
                  <a:pt x="2720" y="3944"/>
                </a:lnTo>
                <a:cubicBezTo>
                  <a:pt x="2768" y="4071"/>
                  <a:pt x="2768" y="4214"/>
                  <a:pt x="2720" y="4342"/>
                </a:cubicBezTo>
                <a:close/>
                <a:moveTo>
                  <a:pt x="3309" y="3928"/>
                </a:moveTo>
                <a:cubicBezTo>
                  <a:pt x="3356" y="3928"/>
                  <a:pt x="3404" y="3944"/>
                  <a:pt x="3436" y="3976"/>
                </a:cubicBezTo>
                <a:cubicBezTo>
                  <a:pt x="3484" y="4023"/>
                  <a:pt x="3500" y="4071"/>
                  <a:pt x="3500" y="4135"/>
                </a:cubicBezTo>
                <a:cubicBezTo>
                  <a:pt x="3500" y="4246"/>
                  <a:pt x="3420" y="4342"/>
                  <a:pt x="3309" y="4342"/>
                </a:cubicBezTo>
                <a:lnTo>
                  <a:pt x="2879" y="4342"/>
                </a:lnTo>
                <a:cubicBezTo>
                  <a:pt x="2927" y="4214"/>
                  <a:pt x="2927" y="4056"/>
                  <a:pt x="2879" y="3928"/>
                </a:cubicBezTo>
                <a:close/>
                <a:moveTo>
                  <a:pt x="2243" y="3769"/>
                </a:moveTo>
                <a:cubicBezTo>
                  <a:pt x="2052" y="3769"/>
                  <a:pt x="1893" y="3928"/>
                  <a:pt x="1893" y="4135"/>
                </a:cubicBezTo>
                <a:cubicBezTo>
                  <a:pt x="1893" y="4214"/>
                  <a:pt x="1909" y="4294"/>
                  <a:pt x="1957" y="4342"/>
                </a:cubicBezTo>
                <a:lnTo>
                  <a:pt x="414" y="4342"/>
                </a:lnTo>
                <a:cubicBezTo>
                  <a:pt x="303" y="4342"/>
                  <a:pt x="159" y="4214"/>
                  <a:pt x="159" y="4103"/>
                </a:cubicBezTo>
                <a:lnTo>
                  <a:pt x="159" y="3292"/>
                </a:lnTo>
                <a:lnTo>
                  <a:pt x="2688" y="3292"/>
                </a:lnTo>
                <a:lnTo>
                  <a:pt x="2688" y="3769"/>
                </a:lnTo>
                <a:close/>
                <a:moveTo>
                  <a:pt x="2688" y="1145"/>
                </a:moveTo>
                <a:lnTo>
                  <a:pt x="2688" y="1654"/>
                </a:lnTo>
                <a:lnTo>
                  <a:pt x="159" y="1654"/>
                </a:lnTo>
                <a:lnTo>
                  <a:pt x="159" y="1145"/>
                </a:lnTo>
                <a:cubicBezTo>
                  <a:pt x="159" y="1033"/>
                  <a:pt x="271" y="906"/>
                  <a:pt x="382" y="906"/>
                </a:cubicBezTo>
                <a:lnTo>
                  <a:pt x="2434" y="906"/>
                </a:lnTo>
                <a:cubicBezTo>
                  <a:pt x="2561" y="906"/>
                  <a:pt x="2688" y="1049"/>
                  <a:pt x="2688" y="1145"/>
                </a:cubicBezTo>
                <a:close/>
                <a:moveTo>
                  <a:pt x="939" y="2560"/>
                </a:moveTo>
                <a:lnTo>
                  <a:pt x="1352" y="2560"/>
                </a:lnTo>
                <a:lnTo>
                  <a:pt x="1352" y="2958"/>
                </a:lnTo>
                <a:cubicBezTo>
                  <a:pt x="1352" y="3006"/>
                  <a:pt x="1384" y="3038"/>
                  <a:pt x="1432" y="3038"/>
                </a:cubicBezTo>
                <a:cubicBezTo>
                  <a:pt x="1464" y="3038"/>
                  <a:pt x="1512" y="3006"/>
                  <a:pt x="1512" y="2958"/>
                </a:cubicBezTo>
                <a:lnTo>
                  <a:pt x="1512" y="2560"/>
                </a:lnTo>
                <a:lnTo>
                  <a:pt x="1909" y="2560"/>
                </a:lnTo>
                <a:cubicBezTo>
                  <a:pt x="1957" y="2560"/>
                  <a:pt x="1988" y="2529"/>
                  <a:pt x="1988" y="2481"/>
                </a:cubicBezTo>
                <a:cubicBezTo>
                  <a:pt x="1988" y="2433"/>
                  <a:pt x="1957" y="2401"/>
                  <a:pt x="1909" y="2401"/>
                </a:cubicBezTo>
                <a:lnTo>
                  <a:pt x="1512" y="2401"/>
                </a:lnTo>
                <a:lnTo>
                  <a:pt x="1512" y="1988"/>
                </a:lnTo>
                <a:cubicBezTo>
                  <a:pt x="1512" y="1956"/>
                  <a:pt x="1464" y="1908"/>
                  <a:pt x="1432" y="1908"/>
                </a:cubicBezTo>
                <a:cubicBezTo>
                  <a:pt x="1384" y="1908"/>
                  <a:pt x="1352" y="1956"/>
                  <a:pt x="1352" y="1988"/>
                </a:cubicBezTo>
                <a:lnTo>
                  <a:pt x="1352" y="2401"/>
                </a:lnTo>
                <a:lnTo>
                  <a:pt x="939" y="2401"/>
                </a:lnTo>
                <a:cubicBezTo>
                  <a:pt x="891" y="2401"/>
                  <a:pt x="859" y="2433"/>
                  <a:pt x="859" y="2481"/>
                </a:cubicBezTo>
                <a:cubicBezTo>
                  <a:pt x="859" y="2529"/>
                  <a:pt x="891" y="2560"/>
                  <a:pt x="939" y="256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6" name="Freeform: Shape 20">
            <a:extLst>
              <a:ext uri="{FF2B5EF4-FFF2-40B4-BE49-F238E27FC236}">
                <a16:creationId xmlns:a16="http://schemas.microsoft.com/office/drawing/2014/main" id="{DA8DF74D-32C7-5049-BF67-9667CF514115}"/>
              </a:ext>
            </a:extLst>
          </p:cNvPr>
          <p:cNvSpPr/>
          <p:nvPr/>
        </p:nvSpPr>
        <p:spPr>
          <a:xfrm>
            <a:off x="17468132" y="6414843"/>
            <a:ext cx="1700280" cy="1502280"/>
          </a:xfrm>
          <a:custGeom>
            <a:avLst/>
            <a:gdLst/>
            <a:ahLst/>
            <a:cxnLst>
              <a:cxn ang="3cd4">
                <a:pos x="hc" y="t"/>
              </a:cxn>
              <a:cxn ang="cd2">
                <a:pos x="l" y="vc"/>
              </a:cxn>
              <a:cxn ang="cd4">
                <a:pos x="hc" y="b"/>
              </a:cxn>
              <a:cxn ang="0">
                <a:pos x="r" y="vc"/>
              </a:cxn>
            </a:cxnLst>
            <a:rect l="l" t="t" r="r" b="b"/>
            <a:pathLst>
              <a:path w="4724" h="4174">
                <a:moveTo>
                  <a:pt x="80" y="4174"/>
                </a:moveTo>
                <a:cubicBezTo>
                  <a:pt x="4644" y="4174"/>
                  <a:pt x="4644" y="4174"/>
                  <a:pt x="4644" y="4174"/>
                </a:cubicBezTo>
                <a:cubicBezTo>
                  <a:pt x="4676" y="4174"/>
                  <a:pt x="4724" y="4142"/>
                  <a:pt x="4724" y="4095"/>
                </a:cubicBezTo>
                <a:cubicBezTo>
                  <a:pt x="4724" y="3649"/>
                  <a:pt x="4724" y="3649"/>
                  <a:pt x="4724" y="3649"/>
                </a:cubicBezTo>
                <a:cubicBezTo>
                  <a:pt x="4724" y="3601"/>
                  <a:pt x="4676" y="3569"/>
                  <a:pt x="4644" y="3569"/>
                </a:cubicBezTo>
                <a:cubicBezTo>
                  <a:pt x="4406" y="3569"/>
                  <a:pt x="4406" y="3569"/>
                  <a:pt x="4406" y="3569"/>
                </a:cubicBezTo>
                <a:cubicBezTo>
                  <a:pt x="4406" y="3553"/>
                  <a:pt x="4406" y="3553"/>
                  <a:pt x="4406" y="3553"/>
                </a:cubicBezTo>
                <a:cubicBezTo>
                  <a:pt x="4422" y="3553"/>
                  <a:pt x="4422" y="3553"/>
                  <a:pt x="4422" y="3553"/>
                </a:cubicBezTo>
                <a:cubicBezTo>
                  <a:pt x="4469" y="3553"/>
                  <a:pt x="4501" y="3521"/>
                  <a:pt x="4501" y="3474"/>
                </a:cubicBezTo>
                <a:cubicBezTo>
                  <a:pt x="4501" y="3204"/>
                  <a:pt x="4501" y="3204"/>
                  <a:pt x="4501" y="3204"/>
                </a:cubicBezTo>
                <a:cubicBezTo>
                  <a:pt x="4501" y="3156"/>
                  <a:pt x="4469" y="3124"/>
                  <a:pt x="4422" y="3124"/>
                </a:cubicBezTo>
                <a:cubicBezTo>
                  <a:pt x="3785" y="3124"/>
                  <a:pt x="3785" y="3124"/>
                  <a:pt x="3785" y="3124"/>
                </a:cubicBezTo>
                <a:cubicBezTo>
                  <a:pt x="3737" y="3124"/>
                  <a:pt x="3706" y="3156"/>
                  <a:pt x="3706" y="3204"/>
                </a:cubicBezTo>
                <a:cubicBezTo>
                  <a:pt x="3706" y="3474"/>
                  <a:pt x="3706" y="3474"/>
                  <a:pt x="3706" y="3474"/>
                </a:cubicBezTo>
                <a:cubicBezTo>
                  <a:pt x="3706" y="3521"/>
                  <a:pt x="3737" y="3553"/>
                  <a:pt x="3785" y="3553"/>
                </a:cubicBezTo>
                <a:cubicBezTo>
                  <a:pt x="3801" y="3553"/>
                  <a:pt x="3801" y="3553"/>
                  <a:pt x="3801" y="3553"/>
                </a:cubicBezTo>
                <a:cubicBezTo>
                  <a:pt x="3801" y="3569"/>
                  <a:pt x="3801" y="3569"/>
                  <a:pt x="3801" y="3569"/>
                </a:cubicBezTo>
                <a:cubicBezTo>
                  <a:pt x="3356" y="3569"/>
                  <a:pt x="3356" y="3569"/>
                  <a:pt x="3356" y="3569"/>
                </a:cubicBezTo>
                <a:cubicBezTo>
                  <a:pt x="2895" y="2122"/>
                  <a:pt x="2895" y="2122"/>
                  <a:pt x="2895" y="2122"/>
                </a:cubicBezTo>
                <a:cubicBezTo>
                  <a:pt x="2783" y="1804"/>
                  <a:pt x="2783" y="1804"/>
                  <a:pt x="2783" y="1804"/>
                </a:cubicBezTo>
                <a:cubicBezTo>
                  <a:pt x="3579" y="1422"/>
                  <a:pt x="3579" y="1422"/>
                  <a:pt x="3579" y="1422"/>
                </a:cubicBezTo>
                <a:cubicBezTo>
                  <a:pt x="3690" y="1741"/>
                  <a:pt x="3801" y="2059"/>
                  <a:pt x="3865" y="2186"/>
                </a:cubicBezTo>
                <a:cubicBezTo>
                  <a:pt x="3928" y="2345"/>
                  <a:pt x="4056" y="2440"/>
                  <a:pt x="4167" y="2424"/>
                </a:cubicBezTo>
                <a:cubicBezTo>
                  <a:pt x="4231" y="2408"/>
                  <a:pt x="4358" y="2360"/>
                  <a:pt x="4389" y="2074"/>
                </a:cubicBezTo>
                <a:cubicBezTo>
                  <a:pt x="4389" y="2027"/>
                  <a:pt x="4389" y="2027"/>
                  <a:pt x="4389" y="2027"/>
                </a:cubicBezTo>
                <a:cubicBezTo>
                  <a:pt x="4422" y="1661"/>
                  <a:pt x="4485" y="834"/>
                  <a:pt x="4215" y="197"/>
                </a:cubicBezTo>
                <a:cubicBezTo>
                  <a:pt x="4183" y="86"/>
                  <a:pt x="4040" y="-89"/>
                  <a:pt x="3626" y="54"/>
                </a:cubicBezTo>
                <a:cubicBezTo>
                  <a:pt x="3467" y="102"/>
                  <a:pt x="3356" y="182"/>
                  <a:pt x="3308" y="293"/>
                </a:cubicBezTo>
                <a:cubicBezTo>
                  <a:pt x="3261" y="388"/>
                  <a:pt x="3261" y="484"/>
                  <a:pt x="3292" y="595"/>
                </a:cubicBezTo>
                <a:cubicBezTo>
                  <a:pt x="3324" y="643"/>
                  <a:pt x="3340" y="723"/>
                  <a:pt x="3372" y="802"/>
                </a:cubicBezTo>
                <a:cubicBezTo>
                  <a:pt x="684" y="2074"/>
                  <a:pt x="684" y="2074"/>
                  <a:pt x="684" y="2074"/>
                </a:cubicBezTo>
                <a:cubicBezTo>
                  <a:pt x="620" y="2074"/>
                  <a:pt x="556" y="2090"/>
                  <a:pt x="493" y="2106"/>
                </a:cubicBezTo>
                <a:cubicBezTo>
                  <a:pt x="477" y="2122"/>
                  <a:pt x="477" y="2122"/>
                  <a:pt x="461" y="2122"/>
                </a:cubicBezTo>
                <a:cubicBezTo>
                  <a:pt x="461" y="2122"/>
                  <a:pt x="461" y="2138"/>
                  <a:pt x="445" y="2138"/>
                </a:cubicBezTo>
                <a:lnTo>
                  <a:pt x="429" y="2138"/>
                </a:lnTo>
                <a:cubicBezTo>
                  <a:pt x="429" y="2154"/>
                  <a:pt x="413" y="2154"/>
                  <a:pt x="413" y="2154"/>
                </a:cubicBezTo>
                <a:cubicBezTo>
                  <a:pt x="413" y="2154"/>
                  <a:pt x="413" y="2170"/>
                  <a:pt x="398" y="2170"/>
                </a:cubicBezTo>
                <a:lnTo>
                  <a:pt x="381" y="2186"/>
                </a:lnTo>
                <a:lnTo>
                  <a:pt x="366" y="2202"/>
                </a:lnTo>
                <a:cubicBezTo>
                  <a:pt x="286" y="2265"/>
                  <a:pt x="238" y="2377"/>
                  <a:pt x="238" y="2472"/>
                </a:cubicBezTo>
                <a:lnTo>
                  <a:pt x="238" y="2488"/>
                </a:lnTo>
                <a:cubicBezTo>
                  <a:pt x="238" y="3569"/>
                  <a:pt x="238" y="3569"/>
                  <a:pt x="238" y="3569"/>
                </a:cubicBezTo>
                <a:cubicBezTo>
                  <a:pt x="80" y="3569"/>
                  <a:pt x="80" y="3569"/>
                  <a:pt x="80" y="3569"/>
                </a:cubicBezTo>
                <a:cubicBezTo>
                  <a:pt x="32" y="3569"/>
                  <a:pt x="0" y="3601"/>
                  <a:pt x="0" y="3649"/>
                </a:cubicBezTo>
                <a:cubicBezTo>
                  <a:pt x="0" y="4095"/>
                  <a:pt x="0" y="4095"/>
                  <a:pt x="0" y="4095"/>
                </a:cubicBezTo>
                <a:cubicBezTo>
                  <a:pt x="0" y="4142"/>
                  <a:pt x="32" y="4174"/>
                  <a:pt x="80" y="4174"/>
                </a:cubicBezTo>
                <a:close/>
                <a:moveTo>
                  <a:pt x="3865" y="3283"/>
                </a:moveTo>
                <a:cubicBezTo>
                  <a:pt x="4342" y="3283"/>
                  <a:pt x="4342" y="3283"/>
                  <a:pt x="4342" y="3283"/>
                </a:cubicBezTo>
                <a:cubicBezTo>
                  <a:pt x="4342" y="3395"/>
                  <a:pt x="4342" y="3395"/>
                  <a:pt x="4342" y="3395"/>
                </a:cubicBezTo>
                <a:cubicBezTo>
                  <a:pt x="4326" y="3395"/>
                  <a:pt x="4326" y="3395"/>
                  <a:pt x="4326" y="3395"/>
                </a:cubicBezTo>
                <a:cubicBezTo>
                  <a:pt x="4279" y="3395"/>
                  <a:pt x="4246" y="3442"/>
                  <a:pt x="4246" y="3474"/>
                </a:cubicBezTo>
                <a:cubicBezTo>
                  <a:pt x="4246" y="3569"/>
                  <a:pt x="4246" y="3569"/>
                  <a:pt x="4246" y="3569"/>
                </a:cubicBezTo>
                <a:cubicBezTo>
                  <a:pt x="3960" y="3569"/>
                  <a:pt x="3960" y="3569"/>
                  <a:pt x="3960" y="3569"/>
                </a:cubicBezTo>
                <a:cubicBezTo>
                  <a:pt x="3960" y="3474"/>
                  <a:pt x="3960" y="3474"/>
                  <a:pt x="3960" y="3474"/>
                </a:cubicBezTo>
                <a:cubicBezTo>
                  <a:pt x="3960" y="3442"/>
                  <a:pt x="3928" y="3395"/>
                  <a:pt x="3880" y="3395"/>
                </a:cubicBezTo>
                <a:cubicBezTo>
                  <a:pt x="3865" y="3395"/>
                  <a:pt x="3865" y="3395"/>
                  <a:pt x="3865" y="3395"/>
                </a:cubicBezTo>
                <a:close/>
                <a:moveTo>
                  <a:pt x="1050" y="3569"/>
                </a:moveTo>
                <a:cubicBezTo>
                  <a:pt x="1050" y="2615"/>
                  <a:pt x="1050" y="2615"/>
                  <a:pt x="1050" y="2615"/>
                </a:cubicBezTo>
                <a:cubicBezTo>
                  <a:pt x="1734" y="2297"/>
                  <a:pt x="1734" y="2297"/>
                  <a:pt x="1734" y="2297"/>
                </a:cubicBezTo>
                <a:cubicBezTo>
                  <a:pt x="1352" y="3569"/>
                  <a:pt x="1352" y="3569"/>
                  <a:pt x="1352" y="3569"/>
                </a:cubicBezTo>
                <a:cubicBezTo>
                  <a:pt x="1241" y="3569"/>
                  <a:pt x="1241" y="3569"/>
                  <a:pt x="1241" y="3569"/>
                </a:cubicBezTo>
                <a:close/>
                <a:moveTo>
                  <a:pt x="445" y="2360"/>
                </a:moveTo>
                <a:cubicBezTo>
                  <a:pt x="493" y="2281"/>
                  <a:pt x="589" y="2233"/>
                  <a:pt x="684" y="2233"/>
                </a:cubicBezTo>
                <a:cubicBezTo>
                  <a:pt x="795" y="2250"/>
                  <a:pt x="890" y="2360"/>
                  <a:pt x="890" y="2488"/>
                </a:cubicBezTo>
                <a:cubicBezTo>
                  <a:pt x="890" y="2615"/>
                  <a:pt x="779" y="2726"/>
                  <a:pt x="652" y="2726"/>
                </a:cubicBezTo>
                <a:cubicBezTo>
                  <a:pt x="509" y="2726"/>
                  <a:pt x="398" y="2615"/>
                  <a:pt x="398" y="2488"/>
                </a:cubicBezTo>
                <a:cubicBezTo>
                  <a:pt x="398" y="2440"/>
                  <a:pt x="413" y="2393"/>
                  <a:pt x="445" y="2360"/>
                </a:cubicBezTo>
                <a:close/>
                <a:moveTo>
                  <a:pt x="2640" y="1868"/>
                </a:moveTo>
                <a:cubicBezTo>
                  <a:pt x="2704" y="2074"/>
                  <a:pt x="2704" y="2074"/>
                  <a:pt x="2704" y="2074"/>
                </a:cubicBezTo>
                <a:cubicBezTo>
                  <a:pt x="2211" y="2074"/>
                  <a:pt x="2211" y="2074"/>
                  <a:pt x="2211" y="2074"/>
                </a:cubicBezTo>
                <a:close/>
                <a:moveTo>
                  <a:pt x="2942" y="2822"/>
                </a:moveTo>
                <a:cubicBezTo>
                  <a:pt x="1940" y="2822"/>
                  <a:pt x="1940" y="2822"/>
                  <a:pt x="1940" y="2822"/>
                </a:cubicBezTo>
                <a:cubicBezTo>
                  <a:pt x="2767" y="2281"/>
                  <a:pt x="2767" y="2281"/>
                  <a:pt x="2767" y="2281"/>
                </a:cubicBezTo>
                <a:close/>
                <a:moveTo>
                  <a:pt x="1925" y="2233"/>
                </a:moveTo>
                <a:cubicBezTo>
                  <a:pt x="2544" y="2233"/>
                  <a:pt x="2544" y="2233"/>
                  <a:pt x="2544" y="2233"/>
                </a:cubicBezTo>
                <a:cubicBezTo>
                  <a:pt x="1765" y="2742"/>
                  <a:pt x="1765" y="2742"/>
                  <a:pt x="1765" y="2742"/>
                </a:cubicBezTo>
                <a:close/>
                <a:moveTo>
                  <a:pt x="1702" y="2981"/>
                </a:moveTo>
                <a:cubicBezTo>
                  <a:pt x="2704" y="2981"/>
                  <a:pt x="2704" y="2981"/>
                  <a:pt x="2704" y="2981"/>
                </a:cubicBezTo>
                <a:cubicBezTo>
                  <a:pt x="1543" y="3521"/>
                  <a:pt x="1543" y="3521"/>
                  <a:pt x="1543" y="3521"/>
                </a:cubicBezTo>
                <a:close/>
                <a:moveTo>
                  <a:pt x="3006" y="3013"/>
                </a:moveTo>
                <a:cubicBezTo>
                  <a:pt x="3197" y="3569"/>
                  <a:pt x="3197" y="3569"/>
                  <a:pt x="3197" y="3569"/>
                </a:cubicBezTo>
                <a:cubicBezTo>
                  <a:pt x="1797" y="3569"/>
                  <a:pt x="1797" y="3569"/>
                  <a:pt x="1797" y="3569"/>
                </a:cubicBezTo>
                <a:close/>
                <a:moveTo>
                  <a:pt x="3451" y="373"/>
                </a:moveTo>
                <a:cubicBezTo>
                  <a:pt x="3483" y="293"/>
                  <a:pt x="3562" y="245"/>
                  <a:pt x="3674" y="197"/>
                </a:cubicBezTo>
                <a:cubicBezTo>
                  <a:pt x="3897" y="134"/>
                  <a:pt x="4040" y="150"/>
                  <a:pt x="4071" y="245"/>
                </a:cubicBezTo>
                <a:cubicBezTo>
                  <a:pt x="4326" y="850"/>
                  <a:pt x="4262" y="1661"/>
                  <a:pt x="4231" y="2011"/>
                </a:cubicBezTo>
                <a:cubicBezTo>
                  <a:pt x="4231" y="2074"/>
                  <a:pt x="4231" y="2074"/>
                  <a:pt x="4231" y="2074"/>
                </a:cubicBezTo>
                <a:cubicBezTo>
                  <a:pt x="4215" y="2186"/>
                  <a:pt x="4167" y="2250"/>
                  <a:pt x="4135" y="2265"/>
                </a:cubicBezTo>
                <a:cubicBezTo>
                  <a:pt x="4103" y="2265"/>
                  <a:pt x="4056" y="2217"/>
                  <a:pt x="4008" y="2122"/>
                </a:cubicBezTo>
                <a:cubicBezTo>
                  <a:pt x="3944" y="1979"/>
                  <a:pt x="3817" y="1597"/>
                  <a:pt x="3706" y="1295"/>
                </a:cubicBezTo>
                <a:cubicBezTo>
                  <a:pt x="3547" y="818"/>
                  <a:pt x="3547" y="818"/>
                  <a:pt x="3547" y="818"/>
                </a:cubicBezTo>
                <a:cubicBezTo>
                  <a:pt x="3515" y="706"/>
                  <a:pt x="3483" y="611"/>
                  <a:pt x="3451" y="532"/>
                </a:cubicBezTo>
                <a:cubicBezTo>
                  <a:pt x="3419" y="468"/>
                  <a:pt x="3419" y="420"/>
                  <a:pt x="3451" y="373"/>
                </a:cubicBezTo>
                <a:close/>
                <a:moveTo>
                  <a:pt x="3419" y="961"/>
                </a:moveTo>
                <a:cubicBezTo>
                  <a:pt x="3531" y="1279"/>
                  <a:pt x="3531" y="1279"/>
                  <a:pt x="3531" y="1279"/>
                </a:cubicBezTo>
                <a:cubicBezTo>
                  <a:pt x="2640" y="1693"/>
                  <a:pt x="2640" y="1693"/>
                  <a:pt x="2640" y="1693"/>
                </a:cubicBezTo>
                <a:cubicBezTo>
                  <a:pt x="1717" y="2138"/>
                  <a:pt x="1717" y="2138"/>
                  <a:pt x="1717" y="2138"/>
                </a:cubicBezTo>
                <a:cubicBezTo>
                  <a:pt x="1050" y="2440"/>
                  <a:pt x="1050" y="2440"/>
                  <a:pt x="1050" y="2440"/>
                </a:cubicBezTo>
                <a:cubicBezTo>
                  <a:pt x="1034" y="2329"/>
                  <a:pt x="986" y="2217"/>
                  <a:pt x="890" y="2154"/>
                </a:cubicBezTo>
                <a:close/>
                <a:moveTo>
                  <a:pt x="159" y="3729"/>
                </a:moveTo>
                <a:cubicBezTo>
                  <a:pt x="318" y="3729"/>
                  <a:pt x="318" y="3729"/>
                  <a:pt x="318" y="3729"/>
                </a:cubicBezTo>
                <a:cubicBezTo>
                  <a:pt x="366" y="3729"/>
                  <a:pt x="398" y="3697"/>
                  <a:pt x="398" y="3649"/>
                </a:cubicBezTo>
                <a:cubicBezTo>
                  <a:pt x="398" y="2806"/>
                  <a:pt x="398" y="2806"/>
                  <a:pt x="398" y="2806"/>
                </a:cubicBezTo>
                <a:cubicBezTo>
                  <a:pt x="461" y="2854"/>
                  <a:pt x="556" y="2886"/>
                  <a:pt x="652" y="2886"/>
                </a:cubicBezTo>
                <a:cubicBezTo>
                  <a:pt x="732" y="2886"/>
                  <a:pt x="811" y="2854"/>
                  <a:pt x="890" y="2806"/>
                </a:cubicBezTo>
                <a:cubicBezTo>
                  <a:pt x="890" y="3649"/>
                  <a:pt x="890" y="3649"/>
                  <a:pt x="890" y="3649"/>
                </a:cubicBezTo>
                <a:cubicBezTo>
                  <a:pt x="890" y="3697"/>
                  <a:pt x="922" y="3729"/>
                  <a:pt x="970" y="3729"/>
                </a:cubicBezTo>
                <a:cubicBezTo>
                  <a:pt x="1241" y="3729"/>
                  <a:pt x="1241" y="3729"/>
                  <a:pt x="1241" y="3729"/>
                </a:cubicBezTo>
                <a:cubicBezTo>
                  <a:pt x="1416" y="3729"/>
                  <a:pt x="1416" y="3729"/>
                  <a:pt x="1416" y="3729"/>
                </a:cubicBezTo>
                <a:cubicBezTo>
                  <a:pt x="3292" y="3729"/>
                  <a:pt x="3292" y="3729"/>
                  <a:pt x="3292" y="3729"/>
                </a:cubicBezTo>
                <a:cubicBezTo>
                  <a:pt x="3880" y="3729"/>
                  <a:pt x="3880" y="3729"/>
                  <a:pt x="3880" y="3729"/>
                </a:cubicBezTo>
                <a:cubicBezTo>
                  <a:pt x="4326" y="3729"/>
                  <a:pt x="4326" y="3729"/>
                  <a:pt x="4326" y="3729"/>
                </a:cubicBezTo>
                <a:cubicBezTo>
                  <a:pt x="4389" y="3729"/>
                  <a:pt x="4389" y="3729"/>
                  <a:pt x="4389" y="3729"/>
                </a:cubicBezTo>
                <a:cubicBezTo>
                  <a:pt x="4565" y="3729"/>
                  <a:pt x="4565" y="3729"/>
                  <a:pt x="4565" y="3729"/>
                </a:cubicBezTo>
                <a:cubicBezTo>
                  <a:pt x="4565" y="4015"/>
                  <a:pt x="4565" y="4015"/>
                  <a:pt x="4565" y="4015"/>
                </a:cubicBezTo>
                <a:cubicBezTo>
                  <a:pt x="159" y="4015"/>
                  <a:pt x="159" y="4015"/>
                  <a:pt x="159" y="401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37" name="TextBox 36">
            <a:extLst>
              <a:ext uri="{FF2B5EF4-FFF2-40B4-BE49-F238E27FC236}">
                <a16:creationId xmlns:a16="http://schemas.microsoft.com/office/drawing/2014/main" id="{BCC3ECE6-0699-ED42-889B-C238777FA506}"/>
              </a:ext>
            </a:extLst>
          </p:cNvPr>
          <p:cNvSpPr txBox="1"/>
          <p:nvPr/>
        </p:nvSpPr>
        <p:spPr>
          <a:xfrm>
            <a:off x="17426041" y="5164929"/>
            <a:ext cx="17844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Mining</a:t>
            </a:r>
          </a:p>
        </p:txBody>
      </p:sp>
      <p:sp>
        <p:nvSpPr>
          <p:cNvPr id="38" name="TextBox 37">
            <a:extLst>
              <a:ext uri="{FF2B5EF4-FFF2-40B4-BE49-F238E27FC236}">
                <a16:creationId xmlns:a16="http://schemas.microsoft.com/office/drawing/2014/main" id="{18083CDA-230C-7748-9C45-FC4871F180F7}"/>
              </a:ext>
            </a:extLst>
          </p:cNvPr>
          <p:cNvSpPr txBox="1"/>
          <p:nvPr/>
        </p:nvSpPr>
        <p:spPr>
          <a:xfrm>
            <a:off x="17646454" y="8292956"/>
            <a:ext cx="134363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Oil</a:t>
            </a:r>
          </a:p>
        </p:txBody>
      </p:sp>
      <p:sp>
        <p:nvSpPr>
          <p:cNvPr id="39" name="TextBox 38">
            <a:extLst>
              <a:ext uri="{FF2B5EF4-FFF2-40B4-BE49-F238E27FC236}">
                <a16:creationId xmlns:a16="http://schemas.microsoft.com/office/drawing/2014/main" id="{7DF2A5FA-B7E4-E64A-A449-11E168BBB84E}"/>
              </a:ext>
            </a:extLst>
          </p:cNvPr>
          <p:cNvSpPr txBox="1"/>
          <p:nvPr/>
        </p:nvSpPr>
        <p:spPr>
          <a:xfrm>
            <a:off x="17264939" y="11657695"/>
            <a:ext cx="210666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harma</a:t>
            </a:r>
          </a:p>
        </p:txBody>
      </p:sp>
    </p:spTree>
    <p:extLst>
      <p:ext uri="{BB962C8B-B14F-4D97-AF65-F5344CB8AC3E}">
        <p14:creationId xmlns:p14="http://schemas.microsoft.com/office/powerpoint/2010/main" val="368365886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Documents / Windows - 1</a:t>
            </a:r>
          </a:p>
        </p:txBody>
      </p:sp>
      <p:sp>
        <p:nvSpPr>
          <p:cNvPr id="40" name="TextBox 39">
            <a:extLst>
              <a:ext uri="{FF2B5EF4-FFF2-40B4-BE49-F238E27FC236}">
                <a16:creationId xmlns:a16="http://schemas.microsoft.com/office/drawing/2014/main" id="{E84CE81B-E1E9-474B-98FF-875D9A5D1E05}"/>
              </a:ext>
            </a:extLst>
          </p:cNvPr>
          <p:cNvSpPr txBox="1"/>
          <p:nvPr/>
        </p:nvSpPr>
        <p:spPr>
          <a:xfrm>
            <a:off x="1396461" y="5164929"/>
            <a:ext cx="2465738" cy="89383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a:t>Accounting Documents</a:t>
            </a:r>
            <a:endParaRPr lang="en-US" sz="2800" dirty="0"/>
          </a:p>
        </p:txBody>
      </p:sp>
      <p:sp>
        <p:nvSpPr>
          <p:cNvPr id="41" name="TextBox 40">
            <a:extLst>
              <a:ext uri="{FF2B5EF4-FFF2-40B4-BE49-F238E27FC236}">
                <a16:creationId xmlns:a16="http://schemas.microsoft.com/office/drawing/2014/main" id="{C7E158A7-0996-B140-954F-AF421A4B95BD}"/>
              </a:ext>
            </a:extLst>
          </p:cNvPr>
          <p:cNvSpPr txBox="1"/>
          <p:nvPr/>
        </p:nvSpPr>
        <p:spPr>
          <a:xfrm>
            <a:off x="5566758" y="5164929"/>
            <a:ext cx="2433170"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Accounts Payable</a:t>
            </a:r>
            <a:endParaRPr lang="en-US" sz="2800" dirty="0"/>
          </a:p>
        </p:txBody>
      </p:sp>
      <p:sp>
        <p:nvSpPr>
          <p:cNvPr id="42" name="TextBox 41">
            <a:extLst>
              <a:ext uri="{FF2B5EF4-FFF2-40B4-BE49-F238E27FC236}">
                <a16:creationId xmlns:a16="http://schemas.microsoft.com/office/drawing/2014/main" id="{1A5B5AB2-A285-BB47-BF59-E431A9334B1E}"/>
              </a:ext>
            </a:extLst>
          </p:cNvPr>
          <p:cNvSpPr txBox="1"/>
          <p:nvPr/>
        </p:nvSpPr>
        <p:spPr>
          <a:xfrm>
            <a:off x="9784682" y="5164929"/>
            <a:ext cx="2164374"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ccounts Receivable</a:t>
            </a:r>
          </a:p>
        </p:txBody>
      </p:sp>
      <p:sp>
        <p:nvSpPr>
          <p:cNvPr id="43" name="TextBox 42">
            <a:extLst>
              <a:ext uri="{FF2B5EF4-FFF2-40B4-BE49-F238E27FC236}">
                <a16:creationId xmlns:a16="http://schemas.microsoft.com/office/drawing/2014/main" id="{EBC4CAD5-9F18-0A47-818E-1C5DB77BAAA8}"/>
              </a:ext>
            </a:extLst>
          </p:cNvPr>
          <p:cNvSpPr txBox="1"/>
          <p:nvPr/>
        </p:nvSpPr>
        <p:spPr>
          <a:xfrm>
            <a:off x="5493773" y="8292956"/>
            <a:ext cx="2492540"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ument Accounting</a:t>
            </a:r>
          </a:p>
        </p:txBody>
      </p:sp>
      <p:sp>
        <p:nvSpPr>
          <p:cNvPr id="44" name="TextBox 43">
            <a:extLst>
              <a:ext uri="{FF2B5EF4-FFF2-40B4-BE49-F238E27FC236}">
                <a16:creationId xmlns:a16="http://schemas.microsoft.com/office/drawing/2014/main" id="{E04D2775-0737-A24C-825C-740B75FE1FCD}"/>
              </a:ext>
            </a:extLst>
          </p:cNvPr>
          <p:cNvSpPr txBox="1"/>
          <p:nvPr/>
        </p:nvSpPr>
        <p:spPr>
          <a:xfrm>
            <a:off x="717140" y="8292956"/>
            <a:ext cx="3824380"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Document Application Survey HR</a:t>
            </a:r>
            <a:endParaRPr lang="en-US" sz="2800" dirty="0"/>
          </a:p>
        </p:txBody>
      </p:sp>
      <p:sp>
        <p:nvSpPr>
          <p:cNvPr id="45" name="TextBox 44">
            <a:extLst>
              <a:ext uri="{FF2B5EF4-FFF2-40B4-BE49-F238E27FC236}">
                <a16:creationId xmlns:a16="http://schemas.microsoft.com/office/drawing/2014/main" id="{2F2E7F9C-F8FF-6A44-91C5-F87627F3D88C}"/>
              </a:ext>
            </a:extLst>
          </p:cNvPr>
          <p:cNvSpPr txBox="1"/>
          <p:nvPr/>
        </p:nvSpPr>
        <p:spPr>
          <a:xfrm>
            <a:off x="9811176" y="8292956"/>
            <a:ext cx="2111386"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ument Approved</a:t>
            </a:r>
          </a:p>
        </p:txBody>
      </p:sp>
      <p:sp>
        <p:nvSpPr>
          <p:cNvPr id="46" name="TextBox 45">
            <a:extLst>
              <a:ext uri="{FF2B5EF4-FFF2-40B4-BE49-F238E27FC236}">
                <a16:creationId xmlns:a16="http://schemas.microsoft.com/office/drawing/2014/main" id="{AAA1DA8A-E8BB-FD44-9C2C-A97A33321558}"/>
              </a:ext>
            </a:extLst>
          </p:cNvPr>
          <p:cNvSpPr txBox="1"/>
          <p:nvPr/>
        </p:nvSpPr>
        <p:spPr>
          <a:xfrm>
            <a:off x="1052420" y="11657695"/>
            <a:ext cx="3153820"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Document Edits Revisions</a:t>
            </a:r>
            <a:endParaRPr lang="en-US" sz="2800" dirty="0"/>
          </a:p>
        </p:txBody>
      </p:sp>
      <p:sp>
        <p:nvSpPr>
          <p:cNvPr id="47" name="TextBox 46">
            <a:extLst>
              <a:ext uri="{FF2B5EF4-FFF2-40B4-BE49-F238E27FC236}">
                <a16:creationId xmlns:a16="http://schemas.microsoft.com/office/drawing/2014/main" id="{932199A3-EAB2-8A45-B027-6DB415001BBC}"/>
              </a:ext>
            </a:extLst>
          </p:cNvPr>
          <p:cNvSpPr txBox="1"/>
          <p:nvPr/>
        </p:nvSpPr>
        <p:spPr>
          <a:xfrm>
            <a:off x="5566758" y="11657695"/>
            <a:ext cx="2433170"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Document Form</a:t>
            </a:r>
            <a:endParaRPr lang="en-US" sz="2800" dirty="0"/>
          </a:p>
        </p:txBody>
      </p:sp>
      <p:sp>
        <p:nvSpPr>
          <p:cNvPr id="48" name="TextBox 47">
            <a:extLst>
              <a:ext uri="{FF2B5EF4-FFF2-40B4-BE49-F238E27FC236}">
                <a16:creationId xmlns:a16="http://schemas.microsoft.com/office/drawing/2014/main" id="{1FEDD738-4148-5A41-9F62-CB23BB641521}"/>
              </a:ext>
            </a:extLst>
          </p:cNvPr>
          <p:cNvSpPr txBox="1"/>
          <p:nvPr/>
        </p:nvSpPr>
        <p:spPr>
          <a:xfrm>
            <a:off x="9821783" y="11657695"/>
            <a:ext cx="2106666"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ument Multiple</a:t>
            </a:r>
          </a:p>
        </p:txBody>
      </p:sp>
      <p:sp>
        <p:nvSpPr>
          <p:cNvPr id="49" name="Freeform: Shape 26">
            <a:extLst>
              <a:ext uri="{FF2B5EF4-FFF2-40B4-BE49-F238E27FC236}">
                <a16:creationId xmlns:a16="http://schemas.microsoft.com/office/drawing/2014/main" id="{EDD8F6D4-4451-224F-AA6F-B73D0AFCAD07}"/>
              </a:ext>
            </a:extLst>
          </p:cNvPr>
          <p:cNvSpPr/>
          <p:nvPr/>
        </p:nvSpPr>
        <p:spPr>
          <a:xfrm>
            <a:off x="10866869" y="3952111"/>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rgbClr val="01010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0" name="Freeform: Shape 28">
            <a:extLst>
              <a:ext uri="{FF2B5EF4-FFF2-40B4-BE49-F238E27FC236}">
                <a16:creationId xmlns:a16="http://schemas.microsoft.com/office/drawing/2014/main" id="{1C22B719-4C6D-C840-820E-D850A2208CD2}"/>
              </a:ext>
            </a:extLst>
          </p:cNvPr>
          <p:cNvSpPr/>
          <p:nvPr/>
        </p:nvSpPr>
        <p:spPr>
          <a:xfrm>
            <a:off x="1672990" y="3034471"/>
            <a:ext cx="1912680" cy="1835280"/>
          </a:xfrm>
          <a:custGeom>
            <a:avLst/>
            <a:gdLst/>
            <a:ahLst/>
            <a:cxnLst>
              <a:cxn ang="3cd4">
                <a:pos x="hc" y="t"/>
              </a:cxn>
              <a:cxn ang="cd2">
                <a:pos x="l" y="vc"/>
              </a:cxn>
              <a:cxn ang="cd4">
                <a:pos x="hc" y="b"/>
              </a:cxn>
              <a:cxn ang="0">
                <a:pos x="r" y="vc"/>
              </a:cxn>
            </a:cxnLst>
            <a:rect l="l" t="t" r="r" b="b"/>
            <a:pathLst>
              <a:path w="5314" h="5099">
                <a:moveTo>
                  <a:pt x="2880" y="4224"/>
                </a:moveTo>
                <a:cubicBezTo>
                  <a:pt x="2912" y="4224"/>
                  <a:pt x="2960" y="4177"/>
                  <a:pt x="2960" y="4145"/>
                </a:cubicBezTo>
                <a:lnTo>
                  <a:pt x="2960" y="1775"/>
                </a:lnTo>
                <a:cubicBezTo>
                  <a:pt x="2960" y="1727"/>
                  <a:pt x="2912" y="1695"/>
                  <a:pt x="2880" y="1695"/>
                </a:cubicBezTo>
                <a:cubicBezTo>
                  <a:pt x="2832" y="1695"/>
                  <a:pt x="2801" y="1727"/>
                  <a:pt x="2801" y="1775"/>
                </a:cubicBezTo>
                <a:lnTo>
                  <a:pt x="2801" y="4145"/>
                </a:lnTo>
                <a:cubicBezTo>
                  <a:pt x="2801" y="4177"/>
                  <a:pt x="2832" y="4224"/>
                  <a:pt x="2880" y="4224"/>
                </a:cubicBezTo>
                <a:close/>
                <a:moveTo>
                  <a:pt x="2626" y="4335"/>
                </a:moveTo>
                <a:cubicBezTo>
                  <a:pt x="2626" y="4383"/>
                  <a:pt x="2674" y="4415"/>
                  <a:pt x="2705" y="4415"/>
                </a:cubicBezTo>
                <a:lnTo>
                  <a:pt x="4662" y="4415"/>
                </a:lnTo>
                <a:cubicBezTo>
                  <a:pt x="4709" y="4415"/>
                  <a:pt x="4741" y="4383"/>
                  <a:pt x="4741" y="4335"/>
                </a:cubicBezTo>
                <a:cubicBezTo>
                  <a:pt x="4741" y="4288"/>
                  <a:pt x="4709" y="4256"/>
                  <a:pt x="4662" y="4256"/>
                </a:cubicBezTo>
                <a:lnTo>
                  <a:pt x="2705" y="4256"/>
                </a:lnTo>
                <a:cubicBezTo>
                  <a:pt x="2674" y="4256"/>
                  <a:pt x="2626" y="4288"/>
                  <a:pt x="2626" y="4335"/>
                </a:cubicBezTo>
                <a:close/>
                <a:moveTo>
                  <a:pt x="3198" y="4224"/>
                </a:moveTo>
                <a:cubicBezTo>
                  <a:pt x="3246" y="4224"/>
                  <a:pt x="3278" y="4177"/>
                  <a:pt x="3278" y="4145"/>
                </a:cubicBezTo>
                <a:lnTo>
                  <a:pt x="3278" y="2204"/>
                </a:lnTo>
                <a:cubicBezTo>
                  <a:pt x="3278" y="2157"/>
                  <a:pt x="3246" y="2125"/>
                  <a:pt x="3198" y="2125"/>
                </a:cubicBezTo>
                <a:cubicBezTo>
                  <a:pt x="3166" y="2125"/>
                  <a:pt x="3119" y="2157"/>
                  <a:pt x="3119" y="2204"/>
                </a:cubicBezTo>
                <a:lnTo>
                  <a:pt x="3119" y="4145"/>
                </a:lnTo>
                <a:cubicBezTo>
                  <a:pt x="3119" y="4177"/>
                  <a:pt x="3166" y="4224"/>
                  <a:pt x="3198" y="4224"/>
                </a:cubicBezTo>
                <a:close/>
                <a:moveTo>
                  <a:pt x="3596" y="4224"/>
                </a:moveTo>
                <a:cubicBezTo>
                  <a:pt x="3644" y="4224"/>
                  <a:pt x="3675" y="4177"/>
                  <a:pt x="3675" y="4145"/>
                </a:cubicBezTo>
                <a:lnTo>
                  <a:pt x="3675" y="3047"/>
                </a:lnTo>
                <a:cubicBezTo>
                  <a:pt x="3675" y="2999"/>
                  <a:pt x="3644" y="2968"/>
                  <a:pt x="3596" y="2968"/>
                </a:cubicBezTo>
                <a:cubicBezTo>
                  <a:pt x="3548" y="2968"/>
                  <a:pt x="3516" y="2999"/>
                  <a:pt x="3516" y="3047"/>
                </a:cubicBezTo>
                <a:lnTo>
                  <a:pt x="3516" y="4145"/>
                </a:lnTo>
                <a:cubicBezTo>
                  <a:pt x="3516" y="4177"/>
                  <a:pt x="3548" y="4224"/>
                  <a:pt x="3596" y="4224"/>
                </a:cubicBezTo>
                <a:close/>
                <a:moveTo>
                  <a:pt x="3978" y="4224"/>
                </a:moveTo>
                <a:cubicBezTo>
                  <a:pt x="4025" y="4224"/>
                  <a:pt x="4057" y="4177"/>
                  <a:pt x="4057" y="4145"/>
                </a:cubicBezTo>
                <a:lnTo>
                  <a:pt x="4057" y="2793"/>
                </a:lnTo>
                <a:cubicBezTo>
                  <a:pt x="4057" y="2745"/>
                  <a:pt x="4025" y="2713"/>
                  <a:pt x="3978" y="2713"/>
                </a:cubicBezTo>
                <a:cubicBezTo>
                  <a:pt x="3946" y="2713"/>
                  <a:pt x="3898" y="2745"/>
                  <a:pt x="3898" y="2793"/>
                </a:cubicBezTo>
                <a:lnTo>
                  <a:pt x="3898" y="4145"/>
                </a:lnTo>
                <a:cubicBezTo>
                  <a:pt x="3898" y="4177"/>
                  <a:pt x="3946" y="4224"/>
                  <a:pt x="3978" y="4224"/>
                </a:cubicBezTo>
                <a:close/>
                <a:moveTo>
                  <a:pt x="4375" y="4224"/>
                </a:moveTo>
                <a:cubicBezTo>
                  <a:pt x="4423" y="4224"/>
                  <a:pt x="4455" y="4177"/>
                  <a:pt x="4455" y="4145"/>
                </a:cubicBezTo>
                <a:lnTo>
                  <a:pt x="4455" y="3111"/>
                </a:lnTo>
                <a:cubicBezTo>
                  <a:pt x="4455" y="3063"/>
                  <a:pt x="4423" y="3031"/>
                  <a:pt x="4375" y="3031"/>
                </a:cubicBezTo>
                <a:cubicBezTo>
                  <a:pt x="4328" y="3031"/>
                  <a:pt x="4296" y="3063"/>
                  <a:pt x="4296" y="3111"/>
                </a:cubicBezTo>
                <a:lnTo>
                  <a:pt x="4296" y="4145"/>
                </a:lnTo>
                <a:cubicBezTo>
                  <a:pt x="4296" y="4177"/>
                  <a:pt x="4328" y="4224"/>
                  <a:pt x="4375" y="4224"/>
                </a:cubicBezTo>
                <a:close/>
                <a:moveTo>
                  <a:pt x="558" y="3524"/>
                </a:moveTo>
                <a:cubicBezTo>
                  <a:pt x="574" y="3540"/>
                  <a:pt x="590" y="3556"/>
                  <a:pt x="606" y="3556"/>
                </a:cubicBezTo>
                <a:lnTo>
                  <a:pt x="621" y="3556"/>
                </a:lnTo>
                <a:cubicBezTo>
                  <a:pt x="638" y="3556"/>
                  <a:pt x="653" y="3540"/>
                  <a:pt x="669" y="3524"/>
                </a:cubicBezTo>
                <a:lnTo>
                  <a:pt x="1735" y="2236"/>
                </a:lnTo>
                <a:cubicBezTo>
                  <a:pt x="1751" y="2220"/>
                  <a:pt x="1767" y="2188"/>
                  <a:pt x="1767" y="2172"/>
                </a:cubicBezTo>
                <a:cubicBezTo>
                  <a:pt x="1751" y="2141"/>
                  <a:pt x="1735" y="2125"/>
                  <a:pt x="1719" y="2109"/>
                </a:cubicBezTo>
                <a:lnTo>
                  <a:pt x="272" y="1282"/>
                </a:lnTo>
                <a:cubicBezTo>
                  <a:pt x="240" y="1266"/>
                  <a:pt x="224" y="1266"/>
                  <a:pt x="208" y="1282"/>
                </a:cubicBezTo>
                <a:cubicBezTo>
                  <a:pt x="176" y="1282"/>
                  <a:pt x="160" y="1297"/>
                  <a:pt x="160" y="1330"/>
                </a:cubicBezTo>
                <a:cubicBezTo>
                  <a:pt x="-15" y="1727"/>
                  <a:pt x="-46" y="2172"/>
                  <a:pt x="65" y="2586"/>
                </a:cubicBezTo>
                <a:cubicBezTo>
                  <a:pt x="145" y="2936"/>
                  <a:pt x="320" y="3254"/>
                  <a:pt x="558" y="3524"/>
                </a:cubicBezTo>
                <a:close/>
                <a:moveTo>
                  <a:pt x="272" y="1473"/>
                </a:moveTo>
                <a:lnTo>
                  <a:pt x="1560" y="2204"/>
                </a:lnTo>
                <a:lnTo>
                  <a:pt x="606" y="3350"/>
                </a:lnTo>
                <a:cubicBezTo>
                  <a:pt x="415" y="3111"/>
                  <a:pt x="288" y="2841"/>
                  <a:pt x="208" y="2554"/>
                </a:cubicBezTo>
                <a:cubicBezTo>
                  <a:pt x="129" y="2188"/>
                  <a:pt x="145" y="1823"/>
                  <a:pt x="272" y="1473"/>
                </a:cubicBezTo>
                <a:close/>
                <a:moveTo>
                  <a:pt x="463" y="948"/>
                </a:moveTo>
                <a:lnTo>
                  <a:pt x="1990" y="1806"/>
                </a:lnTo>
                <a:lnTo>
                  <a:pt x="1990" y="2554"/>
                </a:lnTo>
                <a:lnTo>
                  <a:pt x="972" y="3779"/>
                </a:lnTo>
                <a:cubicBezTo>
                  <a:pt x="956" y="3795"/>
                  <a:pt x="956" y="3811"/>
                  <a:pt x="956" y="3842"/>
                </a:cubicBezTo>
                <a:cubicBezTo>
                  <a:pt x="956" y="3859"/>
                  <a:pt x="972" y="3874"/>
                  <a:pt x="987" y="3890"/>
                </a:cubicBezTo>
                <a:cubicBezTo>
                  <a:pt x="1290" y="4081"/>
                  <a:pt x="1639" y="4177"/>
                  <a:pt x="1990" y="4208"/>
                </a:cubicBezTo>
                <a:lnTo>
                  <a:pt x="1990" y="5019"/>
                </a:lnTo>
                <a:cubicBezTo>
                  <a:pt x="1990" y="5067"/>
                  <a:pt x="2021" y="5099"/>
                  <a:pt x="2069" y="5099"/>
                </a:cubicBezTo>
                <a:lnTo>
                  <a:pt x="5234" y="5099"/>
                </a:lnTo>
                <a:cubicBezTo>
                  <a:pt x="5282" y="5099"/>
                  <a:pt x="5314" y="5067"/>
                  <a:pt x="5314" y="5019"/>
                </a:cubicBezTo>
                <a:lnTo>
                  <a:pt x="5314" y="2125"/>
                </a:lnTo>
                <a:cubicBezTo>
                  <a:pt x="5314" y="2093"/>
                  <a:pt x="5314" y="2077"/>
                  <a:pt x="5298" y="2061"/>
                </a:cubicBezTo>
                <a:lnTo>
                  <a:pt x="4137" y="916"/>
                </a:lnTo>
                <a:cubicBezTo>
                  <a:pt x="4121" y="900"/>
                  <a:pt x="4105" y="900"/>
                  <a:pt x="4073" y="900"/>
                </a:cubicBezTo>
                <a:lnTo>
                  <a:pt x="3230" y="900"/>
                </a:lnTo>
                <a:lnTo>
                  <a:pt x="3516" y="661"/>
                </a:lnTo>
                <a:cubicBezTo>
                  <a:pt x="3532" y="645"/>
                  <a:pt x="3532" y="630"/>
                  <a:pt x="3532" y="598"/>
                </a:cubicBezTo>
                <a:cubicBezTo>
                  <a:pt x="3548" y="582"/>
                  <a:pt x="3532" y="566"/>
                  <a:pt x="3516" y="550"/>
                </a:cubicBezTo>
                <a:cubicBezTo>
                  <a:pt x="2992" y="73"/>
                  <a:pt x="2292" y="-102"/>
                  <a:pt x="1608" y="57"/>
                </a:cubicBezTo>
                <a:cubicBezTo>
                  <a:pt x="1147" y="169"/>
                  <a:pt x="733" y="439"/>
                  <a:pt x="431" y="821"/>
                </a:cubicBezTo>
                <a:cubicBezTo>
                  <a:pt x="415" y="836"/>
                  <a:pt x="415" y="868"/>
                  <a:pt x="415" y="884"/>
                </a:cubicBezTo>
                <a:cubicBezTo>
                  <a:pt x="431" y="916"/>
                  <a:pt x="447" y="932"/>
                  <a:pt x="463" y="948"/>
                </a:cubicBezTo>
                <a:close/>
                <a:moveTo>
                  <a:pt x="1162" y="3795"/>
                </a:moveTo>
                <a:lnTo>
                  <a:pt x="1990" y="2793"/>
                </a:lnTo>
                <a:lnTo>
                  <a:pt x="1990" y="4049"/>
                </a:lnTo>
                <a:cubicBezTo>
                  <a:pt x="1703" y="4017"/>
                  <a:pt x="1417" y="3938"/>
                  <a:pt x="1162" y="3795"/>
                </a:cubicBezTo>
                <a:close/>
                <a:moveTo>
                  <a:pt x="4200" y="1218"/>
                </a:moveTo>
                <a:lnTo>
                  <a:pt x="5027" y="2029"/>
                </a:lnTo>
                <a:lnTo>
                  <a:pt x="4200" y="2029"/>
                </a:lnTo>
                <a:close/>
                <a:moveTo>
                  <a:pt x="4041" y="1059"/>
                </a:moveTo>
                <a:lnTo>
                  <a:pt x="4041" y="2109"/>
                </a:lnTo>
                <a:cubicBezTo>
                  <a:pt x="4041" y="2141"/>
                  <a:pt x="4089" y="2188"/>
                  <a:pt x="4121" y="2188"/>
                </a:cubicBezTo>
                <a:lnTo>
                  <a:pt x="5155" y="2188"/>
                </a:lnTo>
                <a:lnTo>
                  <a:pt x="5155" y="4940"/>
                </a:lnTo>
                <a:lnTo>
                  <a:pt x="2148" y="4940"/>
                </a:lnTo>
                <a:lnTo>
                  <a:pt x="2148" y="4129"/>
                </a:lnTo>
                <a:lnTo>
                  <a:pt x="2148" y="2586"/>
                </a:lnTo>
                <a:lnTo>
                  <a:pt x="2148" y="1759"/>
                </a:lnTo>
                <a:lnTo>
                  <a:pt x="2148" y="1059"/>
                </a:lnTo>
                <a:lnTo>
                  <a:pt x="3023" y="1059"/>
                </a:lnTo>
                <a:close/>
                <a:moveTo>
                  <a:pt x="1656" y="216"/>
                </a:moveTo>
                <a:cubicBezTo>
                  <a:pt x="2244" y="73"/>
                  <a:pt x="2864" y="216"/>
                  <a:pt x="3341" y="598"/>
                </a:cubicBezTo>
                <a:lnTo>
                  <a:pt x="2992" y="900"/>
                </a:lnTo>
                <a:lnTo>
                  <a:pt x="2069" y="900"/>
                </a:lnTo>
                <a:cubicBezTo>
                  <a:pt x="2021" y="900"/>
                  <a:pt x="1990" y="932"/>
                  <a:pt x="1990" y="979"/>
                </a:cubicBezTo>
                <a:lnTo>
                  <a:pt x="1990" y="1632"/>
                </a:lnTo>
                <a:lnTo>
                  <a:pt x="621" y="852"/>
                </a:lnTo>
                <a:cubicBezTo>
                  <a:pt x="892" y="534"/>
                  <a:pt x="1242" y="312"/>
                  <a:pt x="1656" y="21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1" name="Freeform: Shape 19">
            <a:extLst>
              <a:ext uri="{FF2B5EF4-FFF2-40B4-BE49-F238E27FC236}">
                <a16:creationId xmlns:a16="http://schemas.microsoft.com/office/drawing/2014/main" id="{3714D4FC-C89E-B047-8CA9-4F5FB00FF2DE}"/>
              </a:ext>
            </a:extLst>
          </p:cNvPr>
          <p:cNvSpPr/>
          <p:nvPr/>
        </p:nvSpPr>
        <p:spPr>
          <a:xfrm>
            <a:off x="6054343" y="3193592"/>
            <a:ext cx="1459439" cy="1517039"/>
          </a:xfrm>
          <a:custGeom>
            <a:avLst/>
            <a:gdLst/>
            <a:ahLst/>
            <a:cxnLst>
              <a:cxn ang="3cd4">
                <a:pos x="hc" y="t"/>
              </a:cxn>
              <a:cxn ang="cd2">
                <a:pos x="l" y="vc"/>
              </a:cxn>
              <a:cxn ang="cd4">
                <a:pos x="hc" y="b"/>
              </a:cxn>
              <a:cxn ang="0">
                <a:pos x="r" y="vc"/>
              </a:cxn>
            </a:cxnLst>
            <a:rect l="l" t="t" r="r" b="b"/>
            <a:pathLst>
              <a:path w="4055" h="4215">
                <a:moveTo>
                  <a:pt x="0" y="4135"/>
                </a:moveTo>
                <a:cubicBezTo>
                  <a:pt x="0" y="4183"/>
                  <a:pt x="32" y="4215"/>
                  <a:pt x="79" y="4215"/>
                </a:cubicBezTo>
                <a:lnTo>
                  <a:pt x="1924" y="4215"/>
                </a:lnTo>
                <a:cubicBezTo>
                  <a:pt x="1956" y="4215"/>
                  <a:pt x="2004" y="4183"/>
                  <a:pt x="2004" y="4135"/>
                </a:cubicBezTo>
                <a:cubicBezTo>
                  <a:pt x="2004" y="4088"/>
                  <a:pt x="1956" y="4056"/>
                  <a:pt x="1924" y="4056"/>
                </a:cubicBezTo>
                <a:lnTo>
                  <a:pt x="159" y="4056"/>
                </a:lnTo>
                <a:lnTo>
                  <a:pt x="159" y="159"/>
                </a:lnTo>
                <a:lnTo>
                  <a:pt x="2051" y="159"/>
                </a:lnTo>
                <a:lnTo>
                  <a:pt x="2051" y="1209"/>
                </a:lnTo>
                <a:cubicBezTo>
                  <a:pt x="2051" y="1257"/>
                  <a:pt x="2099" y="1289"/>
                  <a:pt x="2131" y="1289"/>
                </a:cubicBezTo>
                <a:lnTo>
                  <a:pt x="3165" y="1289"/>
                </a:lnTo>
                <a:lnTo>
                  <a:pt x="3165" y="2672"/>
                </a:lnTo>
                <a:cubicBezTo>
                  <a:pt x="3165" y="2704"/>
                  <a:pt x="3196" y="2752"/>
                  <a:pt x="3244" y="2752"/>
                </a:cubicBezTo>
                <a:cubicBezTo>
                  <a:pt x="3292" y="2752"/>
                  <a:pt x="3324" y="2704"/>
                  <a:pt x="3324" y="2672"/>
                </a:cubicBezTo>
                <a:lnTo>
                  <a:pt x="3324" y="1225"/>
                </a:lnTo>
                <a:cubicBezTo>
                  <a:pt x="3324" y="1209"/>
                  <a:pt x="3308" y="1193"/>
                  <a:pt x="3308" y="1177"/>
                </a:cubicBezTo>
                <a:lnTo>
                  <a:pt x="2147" y="32"/>
                </a:lnTo>
                <a:cubicBezTo>
                  <a:pt x="2131" y="16"/>
                  <a:pt x="2115" y="0"/>
                  <a:pt x="2083" y="0"/>
                </a:cubicBezTo>
                <a:lnTo>
                  <a:pt x="79" y="0"/>
                </a:lnTo>
                <a:cubicBezTo>
                  <a:pt x="32" y="0"/>
                  <a:pt x="0" y="32"/>
                  <a:pt x="0" y="80"/>
                </a:cubicBezTo>
                <a:close/>
                <a:moveTo>
                  <a:pt x="2211" y="318"/>
                </a:moveTo>
                <a:lnTo>
                  <a:pt x="3038" y="1129"/>
                </a:lnTo>
                <a:lnTo>
                  <a:pt x="2211" y="1129"/>
                </a:lnTo>
                <a:close/>
                <a:moveTo>
                  <a:pt x="731" y="971"/>
                </a:moveTo>
                <a:lnTo>
                  <a:pt x="1622" y="971"/>
                </a:lnTo>
                <a:cubicBezTo>
                  <a:pt x="1669" y="971"/>
                  <a:pt x="1702" y="923"/>
                  <a:pt x="1702" y="891"/>
                </a:cubicBezTo>
                <a:cubicBezTo>
                  <a:pt x="1702" y="843"/>
                  <a:pt x="1669" y="811"/>
                  <a:pt x="1622" y="811"/>
                </a:cubicBezTo>
                <a:lnTo>
                  <a:pt x="731" y="811"/>
                </a:lnTo>
                <a:cubicBezTo>
                  <a:pt x="684" y="811"/>
                  <a:pt x="652" y="843"/>
                  <a:pt x="652" y="891"/>
                </a:cubicBezTo>
                <a:cubicBezTo>
                  <a:pt x="652" y="939"/>
                  <a:pt x="684" y="971"/>
                  <a:pt x="731" y="971"/>
                </a:cubicBezTo>
                <a:close/>
                <a:moveTo>
                  <a:pt x="731" y="1480"/>
                </a:moveTo>
                <a:lnTo>
                  <a:pt x="1622" y="1480"/>
                </a:lnTo>
                <a:cubicBezTo>
                  <a:pt x="1669" y="1480"/>
                  <a:pt x="1702" y="1447"/>
                  <a:pt x="1702" y="1400"/>
                </a:cubicBezTo>
                <a:cubicBezTo>
                  <a:pt x="1702" y="1352"/>
                  <a:pt x="1669" y="1320"/>
                  <a:pt x="1622" y="1320"/>
                </a:cubicBezTo>
                <a:lnTo>
                  <a:pt x="731" y="1320"/>
                </a:lnTo>
                <a:cubicBezTo>
                  <a:pt x="684" y="1320"/>
                  <a:pt x="652" y="1352"/>
                  <a:pt x="652" y="1400"/>
                </a:cubicBezTo>
                <a:cubicBezTo>
                  <a:pt x="652" y="1447"/>
                  <a:pt x="684" y="1480"/>
                  <a:pt x="731" y="1480"/>
                </a:cubicBezTo>
                <a:close/>
                <a:moveTo>
                  <a:pt x="715" y="1989"/>
                </a:moveTo>
                <a:lnTo>
                  <a:pt x="2672" y="1989"/>
                </a:lnTo>
                <a:cubicBezTo>
                  <a:pt x="2719" y="1989"/>
                  <a:pt x="2751" y="1956"/>
                  <a:pt x="2751" y="1909"/>
                </a:cubicBezTo>
                <a:cubicBezTo>
                  <a:pt x="2751" y="1877"/>
                  <a:pt x="2719" y="1829"/>
                  <a:pt x="2672" y="1829"/>
                </a:cubicBezTo>
                <a:lnTo>
                  <a:pt x="715" y="1829"/>
                </a:lnTo>
                <a:cubicBezTo>
                  <a:pt x="668" y="1829"/>
                  <a:pt x="636" y="1861"/>
                  <a:pt x="636" y="1909"/>
                </a:cubicBezTo>
                <a:cubicBezTo>
                  <a:pt x="636" y="1956"/>
                  <a:pt x="668" y="1989"/>
                  <a:pt x="715" y="1989"/>
                </a:cubicBezTo>
                <a:close/>
                <a:moveTo>
                  <a:pt x="2672" y="2497"/>
                </a:moveTo>
                <a:cubicBezTo>
                  <a:pt x="2719" y="2497"/>
                  <a:pt x="2751" y="2465"/>
                  <a:pt x="2751" y="2418"/>
                </a:cubicBezTo>
                <a:cubicBezTo>
                  <a:pt x="2751" y="2386"/>
                  <a:pt x="2719" y="2338"/>
                  <a:pt x="2672" y="2338"/>
                </a:cubicBezTo>
                <a:lnTo>
                  <a:pt x="715" y="2338"/>
                </a:lnTo>
                <a:cubicBezTo>
                  <a:pt x="668" y="2338"/>
                  <a:pt x="636" y="2370"/>
                  <a:pt x="636" y="2418"/>
                </a:cubicBezTo>
                <a:cubicBezTo>
                  <a:pt x="636" y="2465"/>
                  <a:pt x="668" y="2497"/>
                  <a:pt x="715" y="2497"/>
                </a:cubicBezTo>
                <a:close/>
                <a:moveTo>
                  <a:pt x="1924" y="2863"/>
                </a:moveTo>
                <a:lnTo>
                  <a:pt x="715" y="2847"/>
                </a:lnTo>
                <a:cubicBezTo>
                  <a:pt x="668" y="2847"/>
                  <a:pt x="636" y="2895"/>
                  <a:pt x="636" y="2927"/>
                </a:cubicBezTo>
                <a:cubicBezTo>
                  <a:pt x="636" y="2974"/>
                  <a:pt x="668" y="3006"/>
                  <a:pt x="715" y="3006"/>
                </a:cubicBezTo>
                <a:lnTo>
                  <a:pt x="1924" y="3022"/>
                </a:lnTo>
                <a:cubicBezTo>
                  <a:pt x="1956" y="3022"/>
                  <a:pt x="2004" y="2974"/>
                  <a:pt x="2004" y="2943"/>
                </a:cubicBezTo>
                <a:cubicBezTo>
                  <a:pt x="2004" y="2895"/>
                  <a:pt x="1956" y="2863"/>
                  <a:pt x="1924" y="2863"/>
                </a:cubicBezTo>
                <a:close/>
                <a:moveTo>
                  <a:pt x="715" y="3372"/>
                </a:moveTo>
                <a:cubicBezTo>
                  <a:pt x="668" y="3372"/>
                  <a:pt x="636" y="3404"/>
                  <a:pt x="636" y="3452"/>
                </a:cubicBezTo>
                <a:cubicBezTo>
                  <a:pt x="636" y="3483"/>
                  <a:pt x="668" y="3531"/>
                  <a:pt x="715" y="3531"/>
                </a:cubicBezTo>
                <a:lnTo>
                  <a:pt x="1924" y="3531"/>
                </a:lnTo>
                <a:cubicBezTo>
                  <a:pt x="1956" y="3531"/>
                  <a:pt x="2004" y="3499"/>
                  <a:pt x="2004" y="3452"/>
                </a:cubicBezTo>
                <a:cubicBezTo>
                  <a:pt x="2004" y="3404"/>
                  <a:pt x="1956" y="3372"/>
                  <a:pt x="1924" y="3372"/>
                </a:cubicBezTo>
                <a:close/>
                <a:moveTo>
                  <a:pt x="2799" y="3833"/>
                </a:moveTo>
                <a:cubicBezTo>
                  <a:pt x="2815" y="3849"/>
                  <a:pt x="2831" y="3865"/>
                  <a:pt x="2862" y="3865"/>
                </a:cubicBezTo>
                <a:cubicBezTo>
                  <a:pt x="2878" y="3865"/>
                  <a:pt x="2895" y="3849"/>
                  <a:pt x="2910" y="3833"/>
                </a:cubicBezTo>
                <a:lnTo>
                  <a:pt x="3260" y="3499"/>
                </a:lnTo>
                <a:cubicBezTo>
                  <a:pt x="3276" y="3483"/>
                  <a:pt x="3292" y="3452"/>
                  <a:pt x="3292" y="3435"/>
                </a:cubicBezTo>
                <a:cubicBezTo>
                  <a:pt x="3292" y="3420"/>
                  <a:pt x="3276" y="3388"/>
                  <a:pt x="3260" y="3372"/>
                </a:cubicBezTo>
                <a:lnTo>
                  <a:pt x="2910" y="3038"/>
                </a:lnTo>
                <a:cubicBezTo>
                  <a:pt x="2878" y="3006"/>
                  <a:pt x="2831" y="3006"/>
                  <a:pt x="2799" y="3038"/>
                </a:cubicBezTo>
                <a:cubicBezTo>
                  <a:pt x="2767" y="3070"/>
                  <a:pt x="2767" y="3117"/>
                  <a:pt x="2799" y="3149"/>
                </a:cubicBezTo>
                <a:lnTo>
                  <a:pt x="3022" y="3356"/>
                </a:lnTo>
                <a:cubicBezTo>
                  <a:pt x="2624" y="3356"/>
                  <a:pt x="2290" y="3674"/>
                  <a:pt x="2290" y="4056"/>
                </a:cubicBezTo>
                <a:cubicBezTo>
                  <a:pt x="2290" y="4088"/>
                  <a:pt x="2322" y="4135"/>
                  <a:pt x="2369" y="4135"/>
                </a:cubicBezTo>
                <a:cubicBezTo>
                  <a:pt x="2417" y="4135"/>
                  <a:pt x="2449" y="4088"/>
                  <a:pt x="2449" y="4056"/>
                </a:cubicBezTo>
                <a:cubicBezTo>
                  <a:pt x="2449" y="3770"/>
                  <a:pt x="2719" y="3515"/>
                  <a:pt x="3022" y="3515"/>
                </a:cubicBezTo>
                <a:lnTo>
                  <a:pt x="2799" y="3722"/>
                </a:lnTo>
                <a:cubicBezTo>
                  <a:pt x="2767" y="3754"/>
                  <a:pt x="2767" y="3801"/>
                  <a:pt x="2799" y="3833"/>
                </a:cubicBezTo>
                <a:close/>
                <a:moveTo>
                  <a:pt x="4040" y="3786"/>
                </a:moveTo>
                <a:cubicBezTo>
                  <a:pt x="4045" y="3775"/>
                  <a:pt x="4055" y="3770"/>
                  <a:pt x="4055" y="3754"/>
                </a:cubicBezTo>
                <a:cubicBezTo>
                  <a:pt x="4055" y="3690"/>
                  <a:pt x="4040" y="3611"/>
                  <a:pt x="3992" y="3563"/>
                </a:cubicBezTo>
                <a:lnTo>
                  <a:pt x="3896" y="3515"/>
                </a:lnTo>
                <a:cubicBezTo>
                  <a:pt x="3849" y="3499"/>
                  <a:pt x="3817" y="3483"/>
                  <a:pt x="3785" y="3483"/>
                </a:cubicBezTo>
                <a:cubicBezTo>
                  <a:pt x="3753" y="3468"/>
                  <a:pt x="3722" y="3452"/>
                  <a:pt x="3690" y="3452"/>
                </a:cubicBezTo>
                <a:cubicBezTo>
                  <a:pt x="3674" y="3435"/>
                  <a:pt x="3658" y="3420"/>
                  <a:pt x="3642" y="3420"/>
                </a:cubicBezTo>
                <a:cubicBezTo>
                  <a:pt x="3642" y="3404"/>
                  <a:pt x="3642" y="3372"/>
                  <a:pt x="3658" y="3356"/>
                </a:cubicBezTo>
                <a:cubicBezTo>
                  <a:pt x="3690" y="3325"/>
                  <a:pt x="3769" y="3325"/>
                  <a:pt x="3785" y="3340"/>
                </a:cubicBezTo>
                <a:cubicBezTo>
                  <a:pt x="3865" y="3340"/>
                  <a:pt x="3870" y="3361"/>
                  <a:pt x="3912" y="3372"/>
                </a:cubicBezTo>
                <a:cubicBezTo>
                  <a:pt x="3944" y="3404"/>
                  <a:pt x="3992" y="3388"/>
                  <a:pt x="4023" y="3356"/>
                </a:cubicBezTo>
                <a:cubicBezTo>
                  <a:pt x="4055" y="3325"/>
                  <a:pt x="4040" y="3277"/>
                  <a:pt x="4008" y="3245"/>
                </a:cubicBezTo>
                <a:cubicBezTo>
                  <a:pt x="3992" y="3245"/>
                  <a:pt x="3928" y="3197"/>
                  <a:pt x="3833" y="3181"/>
                </a:cubicBezTo>
                <a:lnTo>
                  <a:pt x="3833" y="3086"/>
                </a:lnTo>
                <a:cubicBezTo>
                  <a:pt x="3833" y="3038"/>
                  <a:pt x="3801" y="3006"/>
                  <a:pt x="3753" y="3006"/>
                </a:cubicBezTo>
                <a:cubicBezTo>
                  <a:pt x="3722" y="3006"/>
                  <a:pt x="3674" y="3038"/>
                  <a:pt x="3674" y="3086"/>
                </a:cubicBezTo>
                <a:lnTo>
                  <a:pt x="3674" y="3181"/>
                </a:lnTo>
                <a:cubicBezTo>
                  <a:pt x="3626" y="3197"/>
                  <a:pt x="3578" y="3213"/>
                  <a:pt x="3531" y="3261"/>
                </a:cubicBezTo>
                <a:cubicBezTo>
                  <a:pt x="3483" y="3325"/>
                  <a:pt x="3467" y="3404"/>
                  <a:pt x="3499" y="3483"/>
                </a:cubicBezTo>
                <a:cubicBezTo>
                  <a:pt x="3531" y="3531"/>
                  <a:pt x="3562" y="3563"/>
                  <a:pt x="3626" y="3595"/>
                </a:cubicBezTo>
                <a:cubicBezTo>
                  <a:pt x="3658" y="3611"/>
                  <a:pt x="3705" y="3626"/>
                  <a:pt x="3737" y="3626"/>
                </a:cubicBezTo>
                <a:cubicBezTo>
                  <a:pt x="3769" y="3643"/>
                  <a:pt x="3801" y="3643"/>
                  <a:pt x="3833" y="3658"/>
                </a:cubicBezTo>
                <a:cubicBezTo>
                  <a:pt x="3849" y="3674"/>
                  <a:pt x="3865" y="3674"/>
                  <a:pt x="3880" y="3690"/>
                </a:cubicBezTo>
                <a:cubicBezTo>
                  <a:pt x="3896" y="3690"/>
                  <a:pt x="3896" y="3722"/>
                  <a:pt x="3896" y="3738"/>
                </a:cubicBezTo>
                <a:cubicBezTo>
                  <a:pt x="3880" y="3786"/>
                  <a:pt x="3833" y="3801"/>
                  <a:pt x="3785" y="3801"/>
                </a:cubicBezTo>
                <a:cubicBezTo>
                  <a:pt x="3722" y="3817"/>
                  <a:pt x="3642" y="3786"/>
                  <a:pt x="3578" y="3738"/>
                </a:cubicBezTo>
                <a:cubicBezTo>
                  <a:pt x="3547" y="3706"/>
                  <a:pt x="3483" y="3706"/>
                  <a:pt x="3467" y="3754"/>
                </a:cubicBezTo>
                <a:cubicBezTo>
                  <a:pt x="3435" y="3786"/>
                  <a:pt x="3435" y="3833"/>
                  <a:pt x="3467" y="3865"/>
                </a:cubicBezTo>
                <a:cubicBezTo>
                  <a:pt x="3531" y="3913"/>
                  <a:pt x="3610" y="3944"/>
                  <a:pt x="3674" y="3961"/>
                </a:cubicBezTo>
                <a:lnTo>
                  <a:pt x="3674" y="4056"/>
                </a:lnTo>
                <a:cubicBezTo>
                  <a:pt x="3674" y="4088"/>
                  <a:pt x="3722" y="4135"/>
                  <a:pt x="3753" y="4135"/>
                </a:cubicBezTo>
                <a:cubicBezTo>
                  <a:pt x="3801" y="4135"/>
                  <a:pt x="3833" y="4088"/>
                  <a:pt x="3833" y="4056"/>
                </a:cubicBezTo>
                <a:lnTo>
                  <a:pt x="3833" y="3961"/>
                </a:lnTo>
                <a:cubicBezTo>
                  <a:pt x="3928" y="3944"/>
                  <a:pt x="4023" y="3881"/>
                  <a:pt x="4040" y="378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2" name="Freeform: Shape 20">
            <a:extLst>
              <a:ext uri="{FF2B5EF4-FFF2-40B4-BE49-F238E27FC236}">
                <a16:creationId xmlns:a16="http://schemas.microsoft.com/office/drawing/2014/main" id="{A3887491-83E5-034D-8B8E-5B5B083E30E6}"/>
              </a:ext>
            </a:extLst>
          </p:cNvPr>
          <p:cNvSpPr/>
          <p:nvPr/>
        </p:nvSpPr>
        <p:spPr>
          <a:xfrm>
            <a:off x="10136969" y="3196472"/>
            <a:ext cx="1459800" cy="1511279"/>
          </a:xfrm>
          <a:custGeom>
            <a:avLst/>
            <a:gdLst/>
            <a:ahLst/>
            <a:cxnLst>
              <a:cxn ang="3cd4">
                <a:pos x="hc" y="t"/>
              </a:cxn>
              <a:cxn ang="cd2">
                <a:pos x="l" y="vc"/>
              </a:cxn>
              <a:cxn ang="cd4">
                <a:pos x="hc" y="b"/>
              </a:cxn>
              <a:cxn ang="0">
                <a:pos x="r" y="vc"/>
              </a:cxn>
            </a:cxnLst>
            <a:rect l="l" t="t" r="r" b="b"/>
            <a:pathLst>
              <a:path w="4056" h="4199">
                <a:moveTo>
                  <a:pt x="0" y="79"/>
                </a:moveTo>
                <a:lnTo>
                  <a:pt x="0" y="4119"/>
                </a:lnTo>
                <a:cubicBezTo>
                  <a:pt x="0" y="4167"/>
                  <a:pt x="32" y="4199"/>
                  <a:pt x="80" y="4199"/>
                </a:cubicBezTo>
                <a:lnTo>
                  <a:pt x="1925" y="4199"/>
                </a:lnTo>
                <a:cubicBezTo>
                  <a:pt x="1956" y="4199"/>
                  <a:pt x="2004" y="4167"/>
                  <a:pt x="2004" y="4119"/>
                </a:cubicBezTo>
                <a:cubicBezTo>
                  <a:pt x="2004" y="4087"/>
                  <a:pt x="1956" y="4039"/>
                  <a:pt x="1925" y="4039"/>
                </a:cubicBezTo>
                <a:lnTo>
                  <a:pt x="159" y="4039"/>
                </a:lnTo>
                <a:lnTo>
                  <a:pt x="159" y="158"/>
                </a:lnTo>
                <a:lnTo>
                  <a:pt x="2052" y="158"/>
                </a:lnTo>
                <a:lnTo>
                  <a:pt x="2052" y="1208"/>
                </a:lnTo>
                <a:cubicBezTo>
                  <a:pt x="2052" y="1240"/>
                  <a:pt x="2099" y="1288"/>
                  <a:pt x="2131" y="1288"/>
                </a:cubicBezTo>
                <a:lnTo>
                  <a:pt x="3165" y="1288"/>
                </a:lnTo>
                <a:lnTo>
                  <a:pt x="3165" y="2656"/>
                </a:lnTo>
                <a:cubicBezTo>
                  <a:pt x="3165" y="2703"/>
                  <a:pt x="3197" y="2735"/>
                  <a:pt x="3244" y="2735"/>
                </a:cubicBezTo>
                <a:cubicBezTo>
                  <a:pt x="3292" y="2735"/>
                  <a:pt x="3324" y="2703"/>
                  <a:pt x="3324" y="2656"/>
                </a:cubicBezTo>
                <a:lnTo>
                  <a:pt x="3324" y="1208"/>
                </a:lnTo>
                <a:cubicBezTo>
                  <a:pt x="3324" y="1193"/>
                  <a:pt x="3324" y="1176"/>
                  <a:pt x="3308" y="1161"/>
                </a:cubicBezTo>
                <a:lnTo>
                  <a:pt x="2147" y="15"/>
                </a:lnTo>
                <a:cubicBezTo>
                  <a:pt x="2131" y="0"/>
                  <a:pt x="2116" y="0"/>
                  <a:pt x="2084" y="0"/>
                </a:cubicBezTo>
                <a:lnTo>
                  <a:pt x="80" y="0"/>
                </a:lnTo>
                <a:cubicBezTo>
                  <a:pt x="32" y="0"/>
                  <a:pt x="0" y="31"/>
                  <a:pt x="0" y="79"/>
                </a:cubicBezTo>
                <a:close/>
                <a:moveTo>
                  <a:pt x="2211" y="302"/>
                </a:moveTo>
                <a:lnTo>
                  <a:pt x="3038" y="1129"/>
                </a:lnTo>
                <a:lnTo>
                  <a:pt x="2211" y="1129"/>
                </a:lnTo>
                <a:close/>
                <a:moveTo>
                  <a:pt x="732" y="954"/>
                </a:moveTo>
                <a:lnTo>
                  <a:pt x="1622" y="954"/>
                </a:lnTo>
                <a:cubicBezTo>
                  <a:pt x="1670" y="954"/>
                  <a:pt x="1702" y="922"/>
                  <a:pt x="1702" y="875"/>
                </a:cubicBezTo>
                <a:cubicBezTo>
                  <a:pt x="1702" y="827"/>
                  <a:pt x="1670" y="795"/>
                  <a:pt x="1622" y="795"/>
                </a:cubicBezTo>
                <a:lnTo>
                  <a:pt x="732" y="795"/>
                </a:lnTo>
                <a:cubicBezTo>
                  <a:pt x="684" y="795"/>
                  <a:pt x="652" y="827"/>
                  <a:pt x="652" y="875"/>
                </a:cubicBezTo>
                <a:cubicBezTo>
                  <a:pt x="652" y="922"/>
                  <a:pt x="684" y="954"/>
                  <a:pt x="732" y="954"/>
                </a:cubicBezTo>
                <a:close/>
                <a:moveTo>
                  <a:pt x="732" y="1463"/>
                </a:moveTo>
                <a:lnTo>
                  <a:pt x="1622" y="1463"/>
                </a:lnTo>
                <a:cubicBezTo>
                  <a:pt x="1670" y="1463"/>
                  <a:pt x="1702" y="1431"/>
                  <a:pt x="1702" y="1384"/>
                </a:cubicBezTo>
                <a:cubicBezTo>
                  <a:pt x="1702" y="1336"/>
                  <a:pt x="1670" y="1304"/>
                  <a:pt x="1622" y="1304"/>
                </a:cubicBezTo>
                <a:lnTo>
                  <a:pt x="732" y="1304"/>
                </a:lnTo>
                <a:cubicBezTo>
                  <a:pt x="684" y="1304"/>
                  <a:pt x="652" y="1351"/>
                  <a:pt x="652" y="1384"/>
                </a:cubicBezTo>
                <a:cubicBezTo>
                  <a:pt x="652" y="1431"/>
                  <a:pt x="684" y="1463"/>
                  <a:pt x="732" y="1463"/>
                </a:cubicBezTo>
                <a:close/>
                <a:moveTo>
                  <a:pt x="716" y="1972"/>
                </a:moveTo>
                <a:lnTo>
                  <a:pt x="2672" y="1988"/>
                </a:lnTo>
                <a:cubicBezTo>
                  <a:pt x="2720" y="1988"/>
                  <a:pt x="2752" y="1940"/>
                  <a:pt x="2752" y="1908"/>
                </a:cubicBezTo>
                <a:cubicBezTo>
                  <a:pt x="2752" y="1860"/>
                  <a:pt x="2720" y="1829"/>
                  <a:pt x="2672" y="1829"/>
                </a:cubicBezTo>
                <a:lnTo>
                  <a:pt x="716" y="1813"/>
                </a:lnTo>
                <a:cubicBezTo>
                  <a:pt x="668" y="1813"/>
                  <a:pt x="636" y="1860"/>
                  <a:pt x="636" y="1893"/>
                </a:cubicBezTo>
                <a:cubicBezTo>
                  <a:pt x="636" y="1940"/>
                  <a:pt x="668" y="1972"/>
                  <a:pt x="716" y="1972"/>
                </a:cubicBezTo>
                <a:close/>
                <a:moveTo>
                  <a:pt x="716" y="2497"/>
                </a:moveTo>
                <a:lnTo>
                  <a:pt x="2672" y="2497"/>
                </a:lnTo>
                <a:cubicBezTo>
                  <a:pt x="2720" y="2497"/>
                  <a:pt x="2752" y="2465"/>
                  <a:pt x="2752" y="2417"/>
                </a:cubicBezTo>
                <a:cubicBezTo>
                  <a:pt x="2752" y="2369"/>
                  <a:pt x="2720" y="2338"/>
                  <a:pt x="2672" y="2338"/>
                </a:cubicBezTo>
                <a:lnTo>
                  <a:pt x="716" y="2338"/>
                </a:lnTo>
                <a:cubicBezTo>
                  <a:pt x="668" y="2338"/>
                  <a:pt x="636" y="2369"/>
                  <a:pt x="636" y="2417"/>
                </a:cubicBezTo>
                <a:cubicBezTo>
                  <a:pt x="636" y="2449"/>
                  <a:pt x="668" y="2497"/>
                  <a:pt x="716" y="2497"/>
                </a:cubicBezTo>
                <a:close/>
                <a:moveTo>
                  <a:pt x="716" y="3006"/>
                </a:moveTo>
                <a:lnTo>
                  <a:pt x="1925" y="3006"/>
                </a:lnTo>
                <a:cubicBezTo>
                  <a:pt x="1956" y="3006"/>
                  <a:pt x="2004" y="2974"/>
                  <a:pt x="2004" y="2926"/>
                </a:cubicBezTo>
                <a:cubicBezTo>
                  <a:pt x="2004" y="2878"/>
                  <a:pt x="1956" y="2847"/>
                  <a:pt x="1925" y="2847"/>
                </a:cubicBezTo>
                <a:lnTo>
                  <a:pt x="716" y="2847"/>
                </a:lnTo>
                <a:cubicBezTo>
                  <a:pt x="668" y="2847"/>
                  <a:pt x="636" y="2878"/>
                  <a:pt x="636" y="2926"/>
                </a:cubicBezTo>
                <a:cubicBezTo>
                  <a:pt x="636" y="2958"/>
                  <a:pt x="668" y="3006"/>
                  <a:pt x="716" y="3006"/>
                </a:cubicBezTo>
                <a:close/>
                <a:moveTo>
                  <a:pt x="716" y="3515"/>
                </a:moveTo>
                <a:lnTo>
                  <a:pt x="1925" y="3515"/>
                </a:lnTo>
                <a:cubicBezTo>
                  <a:pt x="1956" y="3515"/>
                  <a:pt x="2004" y="3483"/>
                  <a:pt x="2004" y="3435"/>
                </a:cubicBezTo>
                <a:cubicBezTo>
                  <a:pt x="2004" y="3387"/>
                  <a:pt x="1956" y="3356"/>
                  <a:pt x="1925" y="3356"/>
                </a:cubicBezTo>
                <a:lnTo>
                  <a:pt x="716" y="3356"/>
                </a:lnTo>
                <a:cubicBezTo>
                  <a:pt x="668" y="3356"/>
                  <a:pt x="636" y="3387"/>
                  <a:pt x="636" y="3435"/>
                </a:cubicBezTo>
                <a:cubicBezTo>
                  <a:pt x="636" y="3483"/>
                  <a:pt x="668" y="3515"/>
                  <a:pt x="716" y="3515"/>
                </a:cubicBezTo>
                <a:close/>
                <a:moveTo>
                  <a:pt x="2783" y="3021"/>
                </a:moveTo>
                <a:cubicBezTo>
                  <a:pt x="2752" y="2990"/>
                  <a:pt x="2704" y="2990"/>
                  <a:pt x="2672" y="3021"/>
                </a:cubicBezTo>
                <a:lnTo>
                  <a:pt x="2306" y="3372"/>
                </a:lnTo>
                <a:cubicBezTo>
                  <a:pt x="2290" y="3387"/>
                  <a:pt x="2290" y="3403"/>
                  <a:pt x="2290" y="3419"/>
                </a:cubicBezTo>
                <a:cubicBezTo>
                  <a:pt x="2290" y="3451"/>
                  <a:pt x="2290" y="3467"/>
                  <a:pt x="2306" y="3483"/>
                </a:cubicBezTo>
                <a:lnTo>
                  <a:pt x="2672" y="3833"/>
                </a:lnTo>
                <a:cubicBezTo>
                  <a:pt x="2688" y="3848"/>
                  <a:pt x="2704" y="3848"/>
                  <a:pt x="2720" y="3848"/>
                </a:cubicBezTo>
                <a:cubicBezTo>
                  <a:pt x="2735" y="3848"/>
                  <a:pt x="2768" y="3848"/>
                  <a:pt x="2783" y="3833"/>
                </a:cubicBezTo>
                <a:cubicBezTo>
                  <a:pt x="2815" y="3801"/>
                  <a:pt x="2815" y="3753"/>
                  <a:pt x="2783" y="3721"/>
                </a:cubicBezTo>
                <a:lnTo>
                  <a:pt x="2561" y="3499"/>
                </a:lnTo>
                <a:cubicBezTo>
                  <a:pt x="2863" y="3499"/>
                  <a:pt x="3133" y="3753"/>
                  <a:pt x="3133" y="4039"/>
                </a:cubicBezTo>
                <a:cubicBezTo>
                  <a:pt x="3133" y="4087"/>
                  <a:pt x="3165" y="4119"/>
                  <a:pt x="3213" y="4119"/>
                </a:cubicBezTo>
                <a:cubicBezTo>
                  <a:pt x="3261" y="4119"/>
                  <a:pt x="3292" y="4087"/>
                  <a:pt x="3292" y="4039"/>
                </a:cubicBezTo>
                <a:cubicBezTo>
                  <a:pt x="3292" y="3658"/>
                  <a:pt x="2958" y="3339"/>
                  <a:pt x="2561" y="3339"/>
                </a:cubicBezTo>
                <a:lnTo>
                  <a:pt x="2783" y="3133"/>
                </a:lnTo>
                <a:cubicBezTo>
                  <a:pt x="2815" y="3101"/>
                  <a:pt x="2815" y="3053"/>
                  <a:pt x="2783" y="3021"/>
                </a:cubicBezTo>
                <a:close/>
                <a:moveTo>
                  <a:pt x="3785" y="3801"/>
                </a:moveTo>
                <a:cubicBezTo>
                  <a:pt x="3706" y="3801"/>
                  <a:pt x="3642" y="3769"/>
                  <a:pt x="3579" y="3721"/>
                </a:cubicBezTo>
                <a:cubicBezTo>
                  <a:pt x="3547" y="3690"/>
                  <a:pt x="3483" y="3705"/>
                  <a:pt x="3467" y="3737"/>
                </a:cubicBezTo>
                <a:cubicBezTo>
                  <a:pt x="3435" y="3769"/>
                  <a:pt x="3435" y="3817"/>
                  <a:pt x="3467" y="3848"/>
                </a:cubicBezTo>
                <a:cubicBezTo>
                  <a:pt x="3531" y="3896"/>
                  <a:pt x="3610" y="3928"/>
                  <a:pt x="3674" y="3944"/>
                </a:cubicBezTo>
                <a:lnTo>
                  <a:pt x="3674" y="4039"/>
                </a:lnTo>
                <a:cubicBezTo>
                  <a:pt x="3674" y="4087"/>
                  <a:pt x="3722" y="4119"/>
                  <a:pt x="3753" y="4119"/>
                </a:cubicBezTo>
                <a:cubicBezTo>
                  <a:pt x="3801" y="4119"/>
                  <a:pt x="3833" y="4087"/>
                  <a:pt x="3833" y="4039"/>
                </a:cubicBezTo>
                <a:lnTo>
                  <a:pt x="3833" y="3944"/>
                </a:lnTo>
                <a:cubicBezTo>
                  <a:pt x="3928" y="3928"/>
                  <a:pt x="4024" y="3880"/>
                  <a:pt x="4040" y="3769"/>
                </a:cubicBezTo>
                <a:lnTo>
                  <a:pt x="4056" y="3753"/>
                </a:lnTo>
                <a:cubicBezTo>
                  <a:pt x="4056" y="3674"/>
                  <a:pt x="4040" y="3594"/>
                  <a:pt x="3992" y="3562"/>
                </a:cubicBezTo>
                <a:cubicBezTo>
                  <a:pt x="3961" y="3530"/>
                  <a:pt x="3928" y="3515"/>
                  <a:pt x="3897" y="3499"/>
                </a:cubicBezTo>
                <a:cubicBezTo>
                  <a:pt x="3865" y="3483"/>
                  <a:pt x="3817" y="3483"/>
                  <a:pt x="3785" y="3467"/>
                </a:cubicBezTo>
                <a:cubicBezTo>
                  <a:pt x="3753" y="3451"/>
                  <a:pt x="3722" y="3451"/>
                  <a:pt x="3690" y="3435"/>
                </a:cubicBezTo>
                <a:cubicBezTo>
                  <a:pt x="3674" y="3419"/>
                  <a:pt x="3658" y="3419"/>
                  <a:pt x="3642" y="3403"/>
                </a:cubicBezTo>
                <a:cubicBezTo>
                  <a:pt x="3642" y="3387"/>
                  <a:pt x="3642" y="3372"/>
                  <a:pt x="3658" y="3356"/>
                </a:cubicBezTo>
                <a:cubicBezTo>
                  <a:pt x="3690" y="3308"/>
                  <a:pt x="3770" y="3324"/>
                  <a:pt x="3801" y="3324"/>
                </a:cubicBezTo>
                <a:cubicBezTo>
                  <a:pt x="3865" y="3324"/>
                  <a:pt x="3913" y="3356"/>
                  <a:pt x="3913" y="3372"/>
                </a:cubicBezTo>
                <a:cubicBezTo>
                  <a:pt x="3944" y="3387"/>
                  <a:pt x="3992" y="3387"/>
                  <a:pt x="4024" y="3356"/>
                </a:cubicBezTo>
                <a:cubicBezTo>
                  <a:pt x="4056" y="3308"/>
                  <a:pt x="4040" y="3260"/>
                  <a:pt x="4008" y="3244"/>
                </a:cubicBezTo>
                <a:cubicBezTo>
                  <a:pt x="4008" y="3229"/>
                  <a:pt x="3928" y="3181"/>
                  <a:pt x="3833" y="3165"/>
                </a:cubicBezTo>
                <a:lnTo>
                  <a:pt x="3833" y="3085"/>
                </a:lnTo>
                <a:cubicBezTo>
                  <a:pt x="3833" y="3038"/>
                  <a:pt x="3801" y="3006"/>
                  <a:pt x="3753" y="3006"/>
                </a:cubicBezTo>
                <a:cubicBezTo>
                  <a:pt x="3722" y="3006"/>
                  <a:pt x="3674" y="3038"/>
                  <a:pt x="3674" y="3085"/>
                </a:cubicBezTo>
                <a:lnTo>
                  <a:pt x="3674" y="3165"/>
                </a:lnTo>
                <a:cubicBezTo>
                  <a:pt x="3626" y="3181"/>
                  <a:pt x="3579" y="3212"/>
                  <a:pt x="3531" y="3244"/>
                </a:cubicBezTo>
                <a:cubicBezTo>
                  <a:pt x="3483" y="3308"/>
                  <a:pt x="3467" y="3403"/>
                  <a:pt x="3499" y="3467"/>
                </a:cubicBezTo>
                <a:cubicBezTo>
                  <a:pt x="3531" y="3515"/>
                  <a:pt x="3563" y="3562"/>
                  <a:pt x="3626" y="3578"/>
                </a:cubicBezTo>
                <a:cubicBezTo>
                  <a:pt x="3658" y="3594"/>
                  <a:pt x="3706" y="3610"/>
                  <a:pt x="3738" y="3626"/>
                </a:cubicBezTo>
                <a:cubicBezTo>
                  <a:pt x="3770" y="3626"/>
                  <a:pt x="3801" y="3642"/>
                  <a:pt x="3833" y="3642"/>
                </a:cubicBezTo>
                <a:cubicBezTo>
                  <a:pt x="3849" y="3658"/>
                  <a:pt x="3865" y="3674"/>
                  <a:pt x="3881" y="3674"/>
                </a:cubicBezTo>
                <a:cubicBezTo>
                  <a:pt x="3897" y="3690"/>
                  <a:pt x="3897" y="3705"/>
                  <a:pt x="3897" y="3737"/>
                </a:cubicBezTo>
                <a:cubicBezTo>
                  <a:pt x="3881" y="3769"/>
                  <a:pt x="3833" y="3801"/>
                  <a:pt x="3785" y="380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3" name="Freeform: Shape 23">
            <a:extLst>
              <a:ext uri="{FF2B5EF4-FFF2-40B4-BE49-F238E27FC236}">
                <a16:creationId xmlns:a16="http://schemas.microsoft.com/office/drawing/2014/main" id="{86E5D6D4-97CA-694D-991E-7BC0BDFD4441}"/>
              </a:ext>
            </a:extLst>
          </p:cNvPr>
          <p:cNvSpPr/>
          <p:nvPr/>
        </p:nvSpPr>
        <p:spPr>
          <a:xfrm>
            <a:off x="6141903" y="6553421"/>
            <a:ext cx="1196280" cy="1517039"/>
          </a:xfrm>
          <a:custGeom>
            <a:avLst/>
            <a:gdLst/>
            <a:ahLst/>
            <a:cxnLst>
              <a:cxn ang="3cd4">
                <a:pos x="hc" y="t"/>
              </a:cxn>
              <a:cxn ang="cd2">
                <a:pos x="l" y="vc"/>
              </a:cxn>
              <a:cxn ang="cd4">
                <a:pos x="hc" y="b"/>
              </a:cxn>
              <a:cxn ang="0">
                <a:pos x="r" y="vc"/>
              </a:cxn>
            </a:cxnLst>
            <a:rect l="l" t="t" r="r" b="b"/>
            <a:pathLst>
              <a:path w="3324" h="4215">
                <a:moveTo>
                  <a:pt x="79" y="4215"/>
                </a:moveTo>
                <a:lnTo>
                  <a:pt x="3244" y="4215"/>
                </a:lnTo>
                <a:cubicBezTo>
                  <a:pt x="3292" y="4215"/>
                  <a:pt x="3324" y="4183"/>
                  <a:pt x="3324" y="4135"/>
                </a:cubicBezTo>
                <a:lnTo>
                  <a:pt x="3324" y="1225"/>
                </a:lnTo>
                <a:cubicBezTo>
                  <a:pt x="3324" y="1209"/>
                  <a:pt x="3324" y="1193"/>
                  <a:pt x="3308" y="1177"/>
                </a:cubicBezTo>
                <a:lnTo>
                  <a:pt x="2147" y="32"/>
                </a:lnTo>
                <a:cubicBezTo>
                  <a:pt x="2131" y="16"/>
                  <a:pt x="2115" y="0"/>
                  <a:pt x="2099" y="0"/>
                </a:cubicBezTo>
                <a:lnTo>
                  <a:pt x="79" y="0"/>
                </a:lnTo>
                <a:cubicBezTo>
                  <a:pt x="31" y="0"/>
                  <a:pt x="0" y="48"/>
                  <a:pt x="0" y="80"/>
                </a:cubicBezTo>
                <a:lnTo>
                  <a:pt x="0" y="4135"/>
                </a:lnTo>
                <a:cubicBezTo>
                  <a:pt x="0" y="4183"/>
                  <a:pt x="31" y="4215"/>
                  <a:pt x="79" y="4215"/>
                </a:cubicBezTo>
                <a:close/>
                <a:moveTo>
                  <a:pt x="2211" y="318"/>
                </a:moveTo>
                <a:lnTo>
                  <a:pt x="3038" y="1129"/>
                </a:lnTo>
                <a:lnTo>
                  <a:pt x="2211" y="1129"/>
                </a:lnTo>
                <a:close/>
                <a:moveTo>
                  <a:pt x="159" y="159"/>
                </a:moveTo>
                <a:lnTo>
                  <a:pt x="2051" y="159"/>
                </a:lnTo>
                <a:lnTo>
                  <a:pt x="2051" y="1209"/>
                </a:lnTo>
                <a:cubicBezTo>
                  <a:pt x="2051" y="1257"/>
                  <a:pt x="2099" y="1289"/>
                  <a:pt x="2131" y="1289"/>
                </a:cubicBezTo>
                <a:lnTo>
                  <a:pt x="3165" y="1289"/>
                </a:lnTo>
                <a:lnTo>
                  <a:pt x="3165" y="4056"/>
                </a:lnTo>
                <a:lnTo>
                  <a:pt x="159" y="4056"/>
                </a:lnTo>
                <a:close/>
                <a:moveTo>
                  <a:pt x="890" y="3325"/>
                </a:moveTo>
                <a:cubicBezTo>
                  <a:pt x="922" y="3325"/>
                  <a:pt x="970" y="3292"/>
                  <a:pt x="970" y="3245"/>
                </a:cubicBezTo>
                <a:lnTo>
                  <a:pt x="970" y="891"/>
                </a:lnTo>
                <a:cubicBezTo>
                  <a:pt x="970" y="843"/>
                  <a:pt x="922" y="811"/>
                  <a:pt x="890" y="811"/>
                </a:cubicBezTo>
                <a:cubicBezTo>
                  <a:pt x="843" y="811"/>
                  <a:pt x="811" y="843"/>
                  <a:pt x="811" y="891"/>
                </a:cubicBezTo>
                <a:lnTo>
                  <a:pt x="811" y="3245"/>
                </a:lnTo>
                <a:cubicBezTo>
                  <a:pt x="811" y="3292"/>
                  <a:pt x="843" y="3325"/>
                  <a:pt x="890" y="3325"/>
                </a:cubicBezTo>
                <a:close/>
                <a:moveTo>
                  <a:pt x="2672" y="3372"/>
                </a:moveTo>
                <a:lnTo>
                  <a:pt x="715" y="3372"/>
                </a:lnTo>
                <a:cubicBezTo>
                  <a:pt x="684" y="3372"/>
                  <a:pt x="636" y="3404"/>
                  <a:pt x="636" y="3452"/>
                </a:cubicBezTo>
                <a:cubicBezTo>
                  <a:pt x="636" y="3483"/>
                  <a:pt x="684" y="3531"/>
                  <a:pt x="715" y="3531"/>
                </a:cubicBezTo>
                <a:lnTo>
                  <a:pt x="2672" y="3531"/>
                </a:lnTo>
                <a:cubicBezTo>
                  <a:pt x="2720" y="3531"/>
                  <a:pt x="2751" y="3483"/>
                  <a:pt x="2751" y="3452"/>
                </a:cubicBezTo>
                <a:cubicBezTo>
                  <a:pt x="2751" y="3404"/>
                  <a:pt x="2720" y="3372"/>
                  <a:pt x="2672" y="3372"/>
                </a:cubicBezTo>
                <a:close/>
                <a:moveTo>
                  <a:pt x="1209" y="3325"/>
                </a:moveTo>
                <a:cubicBezTo>
                  <a:pt x="1256" y="3325"/>
                  <a:pt x="1288" y="3292"/>
                  <a:pt x="1288" y="3245"/>
                </a:cubicBezTo>
                <a:lnTo>
                  <a:pt x="1288" y="1304"/>
                </a:lnTo>
                <a:cubicBezTo>
                  <a:pt x="1288" y="1272"/>
                  <a:pt x="1256" y="1225"/>
                  <a:pt x="1209" y="1225"/>
                </a:cubicBezTo>
                <a:cubicBezTo>
                  <a:pt x="1176" y="1225"/>
                  <a:pt x="1129" y="1272"/>
                  <a:pt x="1129" y="1304"/>
                </a:cubicBezTo>
                <a:lnTo>
                  <a:pt x="1129" y="3245"/>
                </a:lnTo>
                <a:cubicBezTo>
                  <a:pt x="1129" y="3292"/>
                  <a:pt x="1176" y="3325"/>
                  <a:pt x="1209" y="3325"/>
                </a:cubicBezTo>
                <a:close/>
                <a:moveTo>
                  <a:pt x="1606" y="3325"/>
                </a:moveTo>
                <a:cubicBezTo>
                  <a:pt x="1654" y="3325"/>
                  <a:pt x="1685" y="3292"/>
                  <a:pt x="1685" y="3245"/>
                </a:cubicBezTo>
                <a:lnTo>
                  <a:pt x="1685" y="2147"/>
                </a:lnTo>
                <a:cubicBezTo>
                  <a:pt x="1685" y="2116"/>
                  <a:pt x="1654" y="2068"/>
                  <a:pt x="1606" y="2068"/>
                </a:cubicBezTo>
                <a:cubicBezTo>
                  <a:pt x="1558" y="2068"/>
                  <a:pt x="1527" y="2116"/>
                  <a:pt x="1527" y="2147"/>
                </a:cubicBezTo>
                <a:lnTo>
                  <a:pt x="1527" y="3245"/>
                </a:lnTo>
                <a:cubicBezTo>
                  <a:pt x="1527" y="3292"/>
                  <a:pt x="1558" y="3325"/>
                  <a:pt x="1606" y="3325"/>
                </a:cubicBezTo>
                <a:close/>
                <a:moveTo>
                  <a:pt x="1988" y="3325"/>
                </a:moveTo>
                <a:cubicBezTo>
                  <a:pt x="2036" y="3325"/>
                  <a:pt x="2067" y="3292"/>
                  <a:pt x="2067" y="3245"/>
                </a:cubicBezTo>
                <a:lnTo>
                  <a:pt x="2067" y="1893"/>
                </a:lnTo>
                <a:cubicBezTo>
                  <a:pt x="2067" y="1861"/>
                  <a:pt x="2036" y="1813"/>
                  <a:pt x="1988" y="1813"/>
                </a:cubicBezTo>
                <a:cubicBezTo>
                  <a:pt x="1956" y="1813"/>
                  <a:pt x="1908" y="1861"/>
                  <a:pt x="1908" y="1893"/>
                </a:cubicBezTo>
                <a:lnTo>
                  <a:pt x="1908" y="3245"/>
                </a:lnTo>
                <a:cubicBezTo>
                  <a:pt x="1908" y="3292"/>
                  <a:pt x="1956" y="3325"/>
                  <a:pt x="1988" y="3325"/>
                </a:cubicBezTo>
                <a:close/>
                <a:moveTo>
                  <a:pt x="2385" y="3325"/>
                </a:moveTo>
                <a:cubicBezTo>
                  <a:pt x="2433" y="3325"/>
                  <a:pt x="2465" y="3292"/>
                  <a:pt x="2465" y="3245"/>
                </a:cubicBezTo>
                <a:lnTo>
                  <a:pt x="2465" y="2227"/>
                </a:lnTo>
                <a:cubicBezTo>
                  <a:pt x="2465" y="2179"/>
                  <a:pt x="2433" y="2147"/>
                  <a:pt x="2385" y="2147"/>
                </a:cubicBezTo>
                <a:cubicBezTo>
                  <a:pt x="2338" y="2147"/>
                  <a:pt x="2306" y="2179"/>
                  <a:pt x="2306" y="2227"/>
                </a:cubicBezTo>
                <a:lnTo>
                  <a:pt x="2306" y="3245"/>
                </a:lnTo>
                <a:cubicBezTo>
                  <a:pt x="2306" y="3292"/>
                  <a:pt x="2338" y="3325"/>
                  <a:pt x="2385" y="332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4" name="Freeform: Shape 24">
            <a:extLst>
              <a:ext uri="{FF2B5EF4-FFF2-40B4-BE49-F238E27FC236}">
                <a16:creationId xmlns:a16="http://schemas.microsoft.com/office/drawing/2014/main" id="{67B388B7-1DC7-CA40-8BC0-497FEBDCB679}"/>
              </a:ext>
            </a:extLst>
          </p:cNvPr>
          <p:cNvSpPr/>
          <p:nvPr/>
        </p:nvSpPr>
        <p:spPr>
          <a:xfrm>
            <a:off x="1971430" y="6556301"/>
            <a:ext cx="1315800" cy="1511279"/>
          </a:xfrm>
          <a:custGeom>
            <a:avLst/>
            <a:gdLst/>
            <a:ahLst/>
            <a:cxnLst>
              <a:cxn ang="3cd4">
                <a:pos x="hc" y="t"/>
              </a:cxn>
              <a:cxn ang="cd2">
                <a:pos x="l" y="vc"/>
              </a:cxn>
              <a:cxn ang="cd4">
                <a:pos x="hc" y="b"/>
              </a:cxn>
              <a:cxn ang="0">
                <a:pos x="r" y="vc"/>
              </a:cxn>
            </a:cxnLst>
            <a:rect l="l" t="t" r="r" b="b"/>
            <a:pathLst>
              <a:path w="3656" h="4199">
                <a:moveTo>
                  <a:pt x="2116" y="3865"/>
                </a:moveTo>
                <a:cubicBezTo>
                  <a:pt x="2132" y="3865"/>
                  <a:pt x="2148" y="3865"/>
                  <a:pt x="2148" y="3849"/>
                </a:cubicBezTo>
                <a:lnTo>
                  <a:pt x="2768" y="3610"/>
                </a:lnTo>
                <a:cubicBezTo>
                  <a:pt x="2773" y="3605"/>
                  <a:pt x="2784" y="3610"/>
                  <a:pt x="2784" y="3595"/>
                </a:cubicBezTo>
                <a:lnTo>
                  <a:pt x="3468" y="2927"/>
                </a:lnTo>
                <a:lnTo>
                  <a:pt x="3579" y="2815"/>
                </a:lnTo>
                <a:cubicBezTo>
                  <a:pt x="3707" y="2672"/>
                  <a:pt x="3659" y="2434"/>
                  <a:pt x="3563" y="2338"/>
                </a:cubicBezTo>
                <a:cubicBezTo>
                  <a:pt x="3468" y="2243"/>
                  <a:pt x="3229" y="2195"/>
                  <a:pt x="3086" y="2322"/>
                </a:cubicBezTo>
                <a:lnTo>
                  <a:pt x="2911" y="2513"/>
                </a:lnTo>
                <a:lnTo>
                  <a:pt x="2307" y="3118"/>
                </a:lnTo>
                <a:lnTo>
                  <a:pt x="2291" y="3133"/>
                </a:lnTo>
                <a:lnTo>
                  <a:pt x="2052" y="3754"/>
                </a:lnTo>
                <a:cubicBezTo>
                  <a:pt x="2036" y="3785"/>
                  <a:pt x="2052" y="3817"/>
                  <a:pt x="2068" y="3833"/>
                </a:cubicBezTo>
                <a:cubicBezTo>
                  <a:pt x="2084" y="3849"/>
                  <a:pt x="2100" y="3865"/>
                  <a:pt x="2116" y="3865"/>
                </a:cubicBezTo>
                <a:close/>
                <a:moveTo>
                  <a:pt x="3452" y="2449"/>
                </a:moveTo>
                <a:cubicBezTo>
                  <a:pt x="3499" y="2497"/>
                  <a:pt x="3516" y="2640"/>
                  <a:pt x="3468" y="2704"/>
                </a:cubicBezTo>
                <a:lnTo>
                  <a:pt x="3404" y="2752"/>
                </a:lnTo>
                <a:lnTo>
                  <a:pt x="3150" y="2497"/>
                </a:lnTo>
                <a:lnTo>
                  <a:pt x="3213" y="2434"/>
                </a:lnTo>
                <a:cubicBezTo>
                  <a:pt x="3261" y="2386"/>
                  <a:pt x="3404" y="2402"/>
                  <a:pt x="3452" y="2449"/>
                </a:cubicBezTo>
                <a:close/>
                <a:moveTo>
                  <a:pt x="2434" y="3213"/>
                </a:moveTo>
                <a:lnTo>
                  <a:pt x="3038" y="2609"/>
                </a:lnTo>
                <a:lnTo>
                  <a:pt x="3293" y="2879"/>
                </a:lnTo>
                <a:lnTo>
                  <a:pt x="2689" y="3467"/>
                </a:lnTo>
                <a:lnTo>
                  <a:pt x="2259" y="3642"/>
                </a:lnTo>
                <a:close/>
                <a:moveTo>
                  <a:pt x="2148" y="16"/>
                </a:moveTo>
                <a:cubicBezTo>
                  <a:pt x="2132" y="0"/>
                  <a:pt x="2116" y="0"/>
                  <a:pt x="2100" y="0"/>
                </a:cubicBezTo>
                <a:lnTo>
                  <a:pt x="80" y="0"/>
                </a:lnTo>
                <a:cubicBezTo>
                  <a:pt x="48" y="0"/>
                  <a:pt x="0" y="32"/>
                  <a:pt x="0" y="80"/>
                </a:cubicBezTo>
                <a:lnTo>
                  <a:pt x="0" y="4119"/>
                </a:lnTo>
                <a:cubicBezTo>
                  <a:pt x="0" y="4167"/>
                  <a:pt x="48" y="4199"/>
                  <a:pt x="80" y="4199"/>
                </a:cubicBezTo>
                <a:lnTo>
                  <a:pt x="1925" y="4199"/>
                </a:lnTo>
                <a:cubicBezTo>
                  <a:pt x="1972" y="4199"/>
                  <a:pt x="2005" y="4167"/>
                  <a:pt x="2005" y="4119"/>
                </a:cubicBezTo>
                <a:cubicBezTo>
                  <a:pt x="2005" y="4088"/>
                  <a:pt x="1972" y="4040"/>
                  <a:pt x="1925" y="4040"/>
                </a:cubicBezTo>
                <a:lnTo>
                  <a:pt x="160" y="4040"/>
                </a:lnTo>
                <a:lnTo>
                  <a:pt x="160" y="159"/>
                </a:lnTo>
                <a:lnTo>
                  <a:pt x="2068" y="159"/>
                </a:lnTo>
                <a:lnTo>
                  <a:pt x="2068" y="1209"/>
                </a:lnTo>
                <a:cubicBezTo>
                  <a:pt x="2068" y="1241"/>
                  <a:pt x="2100" y="1288"/>
                  <a:pt x="2148" y="1288"/>
                </a:cubicBezTo>
                <a:lnTo>
                  <a:pt x="3181" y="1288"/>
                </a:lnTo>
                <a:lnTo>
                  <a:pt x="3181" y="1956"/>
                </a:lnTo>
                <a:cubicBezTo>
                  <a:pt x="3181" y="2004"/>
                  <a:pt x="3213" y="2036"/>
                  <a:pt x="3261" y="2036"/>
                </a:cubicBezTo>
                <a:cubicBezTo>
                  <a:pt x="3293" y="2036"/>
                  <a:pt x="3341" y="2004"/>
                  <a:pt x="3341" y="1956"/>
                </a:cubicBezTo>
                <a:lnTo>
                  <a:pt x="3341" y="1225"/>
                </a:lnTo>
                <a:cubicBezTo>
                  <a:pt x="3341" y="1193"/>
                  <a:pt x="3325" y="1177"/>
                  <a:pt x="3308" y="1161"/>
                </a:cubicBezTo>
                <a:close/>
                <a:moveTo>
                  <a:pt x="2227" y="318"/>
                </a:moveTo>
                <a:lnTo>
                  <a:pt x="3054" y="1129"/>
                </a:lnTo>
                <a:lnTo>
                  <a:pt x="2227" y="1129"/>
                </a:lnTo>
                <a:close/>
                <a:moveTo>
                  <a:pt x="748" y="955"/>
                </a:moveTo>
                <a:lnTo>
                  <a:pt x="1639" y="955"/>
                </a:lnTo>
                <a:cubicBezTo>
                  <a:pt x="1686" y="955"/>
                  <a:pt x="1718" y="923"/>
                  <a:pt x="1718" y="875"/>
                </a:cubicBezTo>
                <a:cubicBezTo>
                  <a:pt x="1718" y="827"/>
                  <a:pt x="1686" y="795"/>
                  <a:pt x="1639" y="795"/>
                </a:cubicBezTo>
                <a:lnTo>
                  <a:pt x="748" y="795"/>
                </a:lnTo>
                <a:cubicBezTo>
                  <a:pt x="700" y="795"/>
                  <a:pt x="669" y="843"/>
                  <a:pt x="669" y="875"/>
                </a:cubicBezTo>
                <a:cubicBezTo>
                  <a:pt x="669" y="923"/>
                  <a:pt x="700" y="955"/>
                  <a:pt x="748" y="955"/>
                </a:cubicBezTo>
                <a:close/>
                <a:moveTo>
                  <a:pt x="748" y="1464"/>
                </a:moveTo>
                <a:lnTo>
                  <a:pt x="1639" y="1464"/>
                </a:lnTo>
                <a:cubicBezTo>
                  <a:pt x="1686" y="1464"/>
                  <a:pt x="1718" y="1431"/>
                  <a:pt x="1718" y="1384"/>
                </a:cubicBezTo>
                <a:cubicBezTo>
                  <a:pt x="1718" y="1352"/>
                  <a:pt x="1686" y="1304"/>
                  <a:pt x="1639" y="1304"/>
                </a:cubicBezTo>
                <a:lnTo>
                  <a:pt x="748" y="1304"/>
                </a:lnTo>
                <a:cubicBezTo>
                  <a:pt x="700" y="1304"/>
                  <a:pt x="669" y="1352"/>
                  <a:pt x="669" y="1384"/>
                </a:cubicBezTo>
                <a:cubicBezTo>
                  <a:pt x="669" y="1431"/>
                  <a:pt x="700" y="1464"/>
                  <a:pt x="748" y="1464"/>
                </a:cubicBezTo>
                <a:close/>
                <a:moveTo>
                  <a:pt x="732" y="1973"/>
                </a:moveTo>
                <a:lnTo>
                  <a:pt x="2689" y="1988"/>
                </a:lnTo>
                <a:cubicBezTo>
                  <a:pt x="2720" y="1988"/>
                  <a:pt x="2768" y="1940"/>
                  <a:pt x="2768" y="1909"/>
                </a:cubicBezTo>
                <a:cubicBezTo>
                  <a:pt x="2768" y="1861"/>
                  <a:pt x="2720" y="1829"/>
                  <a:pt x="2689" y="1829"/>
                </a:cubicBezTo>
                <a:lnTo>
                  <a:pt x="732" y="1813"/>
                </a:lnTo>
                <a:cubicBezTo>
                  <a:pt x="684" y="1813"/>
                  <a:pt x="653" y="1861"/>
                  <a:pt x="653" y="1893"/>
                </a:cubicBezTo>
                <a:cubicBezTo>
                  <a:pt x="653" y="1940"/>
                  <a:pt x="684" y="1973"/>
                  <a:pt x="732" y="1973"/>
                </a:cubicBezTo>
                <a:close/>
                <a:moveTo>
                  <a:pt x="2689" y="2497"/>
                </a:moveTo>
                <a:cubicBezTo>
                  <a:pt x="2720" y="2497"/>
                  <a:pt x="2768" y="2465"/>
                  <a:pt x="2768" y="2418"/>
                </a:cubicBezTo>
                <a:cubicBezTo>
                  <a:pt x="2768" y="2370"/>
                  <a:pt x="2720" y="2338"/>
                  <a:pt x="2689" y="2338"/>
                </a:cubicBezTo>
                <a:lnTo>
                  <a:pt x="732" y="2338"/>
                </a:lnTo>
                <a:cubicBezTo>
                  <a:pt x="684" y="2338"/>
                  <a:pt x="653" y="2370"/>
                  <a:pt x="653" y="2418"/>
                </a:cubicBezTo>
                <a:cubicBezTo>
                  <a:pt x="653" y="2449"/>
                  <a:pt x="684" y="2497"/>
                  <a:pt x="732" y="2497"/>
                </a:cubicBezTo>
                <a:close/>
                <a:moveTo>
                  <a:pt x="1925" y="2847"/>
                </a:moveTo>
                <a:lnTo>
                  <a:pt x="732" y="2847"/>
                </a:lnTo>
                <a:cubicBezTo>
                  <a:pt x="684" y="2847"/>
                  <a:pt x="653" y="2879"/>
                  <a:pt x="653" y="2927"/>
                </a:cubicBezTo>
                <a:cubicBezTo>
                  <a:pt x="653" y="2974"/>
                  <a:pt x="684" y="3006"/>
                  <a:pt x="732" y="3006"/>
                </a:cubicBezTo>
                <a:lnTo>
                  <a:pt x="1925" y="3006"/>
                </a:lnTo>
                <a:cubicBezTo>
                  <a:pt x="1972" y="3006"/>
                  <a:pt x="2005" y="2974"/>
                  <a:pt x="2005" y="2927"/>
                </a:cubicBezTo>
                <a:cubicBezTo>
                  <a:pt x="2005" y="2879"/>
                  <a:pt x="1972" y="2847"/>
                  <a:pt x="1925" y="2847"/>
                </a:cubicBezTo>
                <a:close/>
                <a:moveTo>
                  <a:pt x="732" y="3356"/>
                </a:moveTo>
                <a:cubicBezTo>
                  <a:pt x="684" y="3356"/>
                  <a:pt x="653" y="3388"/>
                  <a:pt x="653" y="3436"/>
                </a:cubicBezTo>
                <a:cubicBezTo>
                  <a:pt x="653" y="3483"/>
                  <a:pt x="684" y="3515"/>
                  <a:pt x="732" y="3515"/>
                </a:cubicBezTo>
                <a:lnTo>
                  <a:pt x="1925" y="3515"/>
                </a:lnTo>
                <a:cubicBezTo>
                  <a:pt x="1972" y="3515"/>
                  <a:pt x="2005" y="3483"/>
                  <a:pt x="2005" y="3436"/>
                </a:cubicBezTo>
                <a:cubicBezTo>
                  <a:pt x="2005" y="3388"/>
                  <a:pt x="1972" y="3356"/>
                  <a:pt x="1925" y="335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5" name="Freeform: Shape 26">
            <a:extLst>
              <a:ext uri="{FF2B5EF4-FFF2-40B4-BE49-F238E27FC236}">
                <a16:creationId xmlns:a16="http://schemas.microsoft.com/office/drawing/2014/main" id="{D62202CB-D802-144F-B53C-E75B52321DF7}"/>
              </a:ext>
            </a:extLst>
          </p:cNvPr>
          <p:cNvSpPr/>
          <p:nvPr/>
        </p:nvSpPr>
        <p:spPr>
          <a:xfrm>
            <a:off x="10215809" y="6556301"/>
            <a:ext cx="1302120" cy="1511279"/>
          </a:xfrm>
          <a:custGeom>
            <a:avLst/>
            <a:gdLst/>
            <a:ahLst/>
            <a:cxnLst>
              <a:cxn ang="3cd4">
                <a:pos x="hc" y="t"/>
              </a:cxn>
              <a:cxn ang="cd2">
                <a:pos x="l" y="vc"/>
              </a:cxn>
              <a:cxn ang="cd4">
                <a:pos x="hc" y="b"/>
              </a:cxn>
              <a:cxn ang="0">
                <a:pos x="r" y="vc"/>
              </a:cxn>
            </a:cxnLst>
            <a:rect l="l" t="t" r="r" b="b"/>
            <a:pathLst>
              <a:path w="3618" h="4199">
                <a:moveTo>
                  <a:pt x="3594" y="3038"/>
                </a:moveTo>
                <a:cubicBezTo>
                  <a:pt x="3562" y="3006"/>
                  <a:pt x="3515" y="3006"/>
                  <a:pt x="3482" y="3038"/>
                </a:cubicBezTo>
                <a:lnTo>
                  <a:pt x="3292" y="3229"/>
                </a:lnTo>
                <a:cubicBezTo>
                  <a:pt x="3196" y="3101"/>
                  <a:pt x="3037" y="3021"/>
                  <a:pt x="2846" y="3021"/>
                </a:cubicBezTo>
                <a:cubicBezTo>
                  <a:pt x="2544" y="3021"/>
                  <a:pt x="2290" y="3260"/>
                  <a:pt x="2290" y="3578"/>
                </a:cubicBezTo>
                <a:cubicBezTo>
                  <a:pt x="2290" y="3880"/>
                  <a:pt x="2544" y="4135"/>
                  <a:pt x="2846" y="4135"/>
                </a:cubicBezTo>
                <a:cubicBezTo>
                  <a:pt x="3164" y="4135"/>
                  <a:pt x="3419" y="3880"/>
                  <a:pt x="3419" y="3578"/>
                </a:cubicBezTo>
                <a:cubicBezTo>
                  <a:pt x="3419" y="3499"/>
                  <a:pt x="3403" y="3435"/>
                  <a:pt x="3372" y="3372"/>
                </a:cubicBezTo>
                <a:lnTo>
                  <a:pt x="3594" y="3149"/>
                </a:lnTo>
                <a:cubicBezTo>
                  <a:pt x="3626" y="3117"/>
                  <a:pt x="3626" y="3069"/>
                  <a:pt x="3594" y="3038"/>
                </a:cubicBezTo>
                <a:close/>
                <a:moveTo>
                  <a:pt x="3260" y="3578"/>
                </a:moveTo>
                <a:cubicBezTo>
                  <a:pt x="3260" y="3801"/>
                  <a:pt x="3069" y="3976"/>
                  <a:pt x="2846" y="3976"/>
                </a:cubicBezTo>
                <a:cubicBezTo>
                  <a:pt x="2640" y="3976"/>
                  <a:pt x="2449" y="3801"/>
                  <a:pt x="2449" y="3578"/>
                </a:cubicBezTo>
                <a:cubicBezTo>
                  <a:pt x="2449" y="3356"/>
                  <a:pt x="2640" y="3181"/>
                  <a:pt x="2846" y="3181"/>
                </a:cubicBezTo>
                <a:cubicBezTo>
                  <a:pt x="2990" y="3181"/>
                  <a:pt x="3101" y="3244"/>
                  <a:pt x="3181" y="3339"/>
                </a:cubicBezTo>
                <a:lnTo>
                  <a:pt x="2894" y="3610"/>
                </a:lnTo>
                <a:lnTo>
                  <a:pt x="2799" y="3515"/>
                </a:lnTo>
                <a:cubicBezTo>
                  <a:pt x="2767" y="3483"/>
                  <a:pt x="2719" y="3483"/>
                  <a:pt x="2687" y="3515"/>
                </a:cubicBezTo>
                <a:cubicBezTo>
                  <a:pt x="2655" y="3547"/>
                  <a:pt x="2655" y="3610"/>
                  <a:pt x="2687" y="3626"/>
                </a:cubicBezTo>
                <a:lnTo>
                  <a:pt x="2846" y="3785"/>
                </a:lnTo>
                <a:cubicBezTo>
                  <a:pt x="2863" y="3801"/>
                  <a:pt x="2878" y="3801"/>
                  <a:pt x="2910" y="3801"/>
                </a:cubicBezTo>
                <a:cubicBezTo>
                  <a:pt x="2926" y="3801"/>
                  <a:pt x="2942" y="3801"/>
                  <a:pt x="2958" y="3785"/>
                </a:cubicBezTo>
                <a:lnTo>
                  <a:pt x="3244" y="3499"/>
                </a:lnTo>
                <a:cubicBezTo>
                  <a:pt x="3244" y="3515"/>
                  <a:pt x="3260" y="3547"/>
                  <a:pt x="3260" y="3578"/>
                </a:cubicBezTo>
                <a:close/>
                <a:moveTo>
                  <a:pt x="2146" y="15"/>
                </a:moveTo>
                <a:cubicBezTo>
                  <a:pt x="2131" y="0"/>
                  <a:pt x="2115" y="0"/>
                  <a:pt x="2099" y="0"/>
                </a:cubicBezTo>
                <a:lnTo>
                  <a:pt x="79" y="0"/>
                </a:lnTo>
                <a:cubicBezTo>
                  <a:pt x="31" y="0"/>
                  <a:pt x="0" y="31"/>
                  <a:pt x="0" y="79"/>
                </a:cubicBezTo>
                <a:lnTo>
                  <a:pt x="0" y="4119"/>
                </a:lnTo>
                <a:cubicBezTo>
                  <a:pt x="0" y="4167"/>
                  <a:pt x="31" y="4199"/>
                  <a:pt x="79" y="4199"/>
                </a:cubicBezTo>
                <a:lnTo>
                  <a:pt x="1924" y="4199"/>
                </a:lnTo>
                <a:cubicBezTo>
                  <a:pt x="1972" y="4199"/>
                  <a:pt x="2003" y="4167"/>
                  <a:pt x="2003" y="4119"/>
                </a:cubicBezTo>
                <a:cubicBezTo>
                  <a:pt x="2003" y="4087"/>
                  <a:pt x="1972" y="4039"/>
                  <a:pt x="1924" y="4039"/>
                </a:cubicBezTo>
                <a:lnTo>
                  <a:pt x="158" y="4039"/>
                </a:lnTo>
                <a:lnTo>
                  <a:pt x="158" y="158"/>
                </a:lnTo>
                <a:lnTo>
                  <a:pt x="2067" y="158"/>
                </a:lnTo>
                <a:lnTo>
                  <a:pt x="2067" y="1208"/>
                </a:lnTo>
                <a:cubicBezTo>
                  <a:pt x="2067" y="1240"/>
                  <a:pt x="2099" y="1288"/>
                  <a:pt x="2146" y="1288"/>
                </a:cubicBezTo>
                <a:lnTo>
                  <a:pt x="3164" y="1288"/>
                </a:lnTo>
                <a:lnTo>
                  <a:pt x="3164" y="2656"/>
                </a:lnTo>
                <a:cubicBezTo>
                  <a:pt x="3164" y="2703"/>
                  <a:pt x="3212" y="2735"/>
                  <a:pt x="3244" y="2735"/>
                </a:cubicBezTo>
                <a:cubicBezTo>
                  <a:pt x="3292" y="2735"/>
                  <a:pt x="3324" y="2703"/>
                  <a:pt x="3324" y="2656"/>
                </a:cubicBezTo>
                <a:lnTo>
                  <a:pt x="3324" y="1208"/>
                </a:lnTo>
                <a:cubicBezTo>
                  <a:pt x="3324" y="1193"/>
                  <a:pt x="3324" y="1176"/>
                  <a:pt x="3308" y="1161"/>
                </a:cubicBezTo>
                <a:close/>
                <a:moveTo>
                  <a:pt x="2226" y="302"/>
                </a:moveTo>
                <a:lnTo>
                  <a:pt x="3037" y="1129"/>
                </a:lnTo>
                <a:lnTo>
                  <a:pt x="2226" y="1129"/>
                </a:lnTo>
                <a:close/>
                <a:moveTo>
                  <a:pt x="731" y="954"/>
                </a:moveTo>
                <a:lnTo>
                  <a:pt x="1637" y="954"/>
                </a:lnTo>
                <a:cubicBezTo>
                  <a:pt x="1670" y="954"/>
                  <a:pt x="1701" y="922"/>
                  <a:pt x="1701" y="875"/>
                </a:cubicBezTo>
                <a:cubicBezTo>
                  <a:pt x="1701" y="827"/>
                  <a:pt x="1670" y="795"/>
                  <a:pt x="1622" y="795"/>
                </a:cubicBezTo>
                <a:lnTo>
                  <a:pt x="731" y="795"/>
                </a:lnTo>
                <a:cubicBezTo>
                  <a:pt x="699" y="795"/>
                  <a:pt x="652" y="827"/>
                  <a:pt x="652" y="875"/>
                </a:cubicBezTo>
                <a:cubicBezTo>
                  <a:pt x="652" y="922"/>
                  <a:pt x="699" y="954"/>
                  <a:pt x="731" y="954"/>
                </a:cubicBezTo>
                <a:close/>
                <a:moveTo>
                  <a:pt x="731" y="1463"/>
                </a:moveTo>
                <a:lnTo>
                  <a:pt x="1637" y="1463"/>
                </a:lnTo>
                <a:cubicBezTo>
                  <a:pt x="1670" y="1463"/>
                  <a:pt x="1701" y="1431"/>
                  <a:pt x="1701" y="1384"/>
                </a:cubicBezTo>
                <a:cubicBezTo>
                  <a:pt x="1701" y="1336"/>
                  <a:pt x="1670" y="1304"/>
                  <a:pt x="1622" y="1304"/>
                </a:cubicBezTo>
                <a:lnTo>
                  <a:pt x="731" y="1304"/>
                </a:lnTo>
                <a:cubicBezTo>
                  <a:pt x="699" y="1304"/>
                  <a:pt x="652" y="1351"/>
                  <a:pt x="652" y="1384"/>
                </a:cubicBezTo>
                <a:cubicBezTo>
                  <a:pt x="652" y="1431"/>
                  <a:pt x="699" y="1463"/>
                  <a:pt x="731" y="1463"/>
                </a:cubicBezTo>
                <a:close/>
                <a:moveTo>
                  <a:pt x="715" y="1972"/>
                </a:moveTo>
                <a:lnTo>
                  <a:pt x="2672" y="1988"/>
                </a:lnTo>
                <a:cubicBezTo>
                  <a:pt x="2719" y="1988"/>
                  <a:pt x="2751" y="1940"/>
                  <a:pt x="2751" y="1908"/>
                </a:cubicBezTo>
                <a:cubicBezTo>
                  <a:pt x="2751" y="1860"/>
                  <a:pt x="2719" y="1829"/>
                  <a:pt x="2672" y="1829"/>
                </a:cubicBezTo>
                <a:lnTo>
                  <a:pt x="715" y="1813"/>
                </a:lnTo>
                <a:cubicBezTo>
                  <a:pt x="683" y="1813"/>
                  <a:pt x="636" y="1860"/>
                  <a:pt x="636" y="1893"/>
                </a:cubicBezTo>
                <a:cubicBezTo>
                  <a:pt x="636" y="1940"/>
                  <a:pt x="683" y="1972"/>
                  <a:pt x="715" y="1972"/>
                </a:cubicBezTo>
                <a:close/>
                <a:moveTo>
                  <a:pt x="2672" y="2497"/>
                </a:moveTo>
                <a:cubicBezTo>
                  <a:pt x="2719" y="2497"/>
                  <a:pt x="2751" y="2465"/>
                  <a:pt x="2751" y="2417"/>
                </a:cubicBezTo>
                <a:cubicBezTo>
                  <a:pt x="2751" y="2369"/>
                  <a:pt x="2719" y="2338"/>
                  <a:pt x="2672" y="2338"/>
                </a:cubicBezTo>
                <a:lnTo>
                  <a:pt x="715" y="2338"/>
                </a:lnTo>
                <a:cubicBezTo>
                  <a:pt x="683" y="2338"/>
                  <a:pt x="636" y="2369"/>
                  <a:pt x="636" y="2417"/>
                </a:cubicBezTo>
                <a:cubicBezTo>
                  <a:pt x="636" y="2449"/>
                  <a:pt x="683" y="2497"/>
                  <a:pt x="715" y="2497"/>
                </a:cubicBezTo>
                <a:close/>
                <a:moveTo>
                  <a:pt x="1924" y="2847"/>
                </a:moveTo>
                <a:lnTo>
                  <a:pt x="715" y="2847"/>
                </a:lnTo>
                <a:cubicBezTo>
                  <a:pt x="683" y="2847"/>
                  <a:pt x="636" y="2878"/>
                  <a:pt x="636" y="2926"/>
                </a:cubicBezTo>
                <a:cubicBezTo>
                  <a:pt x="636" y="2958"/>
                  <a:pt x="683" y="3006"/>
                  <a:pt x="715" y="3006"/>
                </a:cubicBezTo>
                <a:lnTo>
                  <a:pt x="1924" y="3006"/>
                </a:lnTo>
                <a:cubicBezTo>
                  <a:pt x="1972" y="3006"/>
                  <a:pt x="2003" y="2974"/>
                  <a:pt x="2003" y="2926"/>
                </a:cubicBezTo>
                <a:cubicBezTo>
                  <a:pt x="2003" y="2878"/>
                  <a:pt x="1972" y="2847"/>
                  <a:pt x="1924" y="2847"/>
                </a:cubicBezTo>
                <a:close/>
                <a:moveTo>
                  <a:pt x="715" y="3356"/>
                </a:moveTo>
                <a:cubicBezTo>
                  <a:pt x="683" y="3356"/>
                  <a:pt x="636" y="3387"/>
                  <a:pt x="636" y="3435"/>
                </a:cubicBezTo>
                <a:cubicBezTo>
                  <a:pt x="636" y="3483"/>
                  <a:pt x="683" y="3515"/>
                  <a:pt x="715" y="3515"/>
                </a:cubicBezTo>
                <a:lnTo>
                  <a:pt x="1924" y="3515"/>
                </a:lnTo>
                <a:cubicBezTo>
                  <a:pt x="1972" y="3515"/>
                  <a:pt x="2003" y="3483"/>
                  <a:pt x="2003" y="3435"/>
                </a:cubicBezTo>
                <a:cubicBezTo>
                  <a:pt x="2003" y="3387"/>
                  <a:pt x="1972" y="3356"/>
                  <a:pt x="1924" y="335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6" name="Freeform: Shape 15">
            <a:extLst>
              <a:ext uri="{FF2B5EF4-FFF2-40B4-BE49-F238E27FC236}">
                <a16:creationId xmlns:a16="http://schemas.microsoft.com/office/drawing/2014/main" id="{2FCDDE43-4386-4846-9001-CA4257BF7C23}"/>
              </a:ext>
            </a:extLst>
          </p:cNvPr>
          <p:cNvSpPr/>
          <p:nvPr/>
        </p:nvSpPr>
        <p:spPr>
          <a:xfrm>
            <a:off x="2028311" y="9716513"/>
            <a:ext cx="1202039" cy="1517039"/>
          </a:xfrm>
          <a:custGeom>
            <a:avLst/>
            <a:gdLst/>
            <a:ahLst/>
            <a:cxnLst>
              <a:cxn ang="3cd4">
                <a:pos x="hc" y="t"/>
              </a:cxn>
              <a:cxn ang="cd2">
                <a:pos x="l" y="vc"/>
              </a:cxn>
              <a:cxn ang="cd4">
                <a:pos x="hc" y="b"/>
              </a:cxn>
              <a:cxn ang="0">
                <a:pos x="r" y="vc"/>
              </a:cxn>
            </a:cxnLst>
            <a:rect l="l" t="t" r="r" b="b"/>
            <a:pathLst>
              <a:path w="3340" h="4215">
                <a:moveTo>
                  <a:pt x="2099" y="0"/>
                </a:moveTo>
                <a:lnTo>
                  <a:pt x="79" y="0"/>
                </a:lnTo>
                <a:cubicBezTo>
                  <a:pt x="47" y="0"/>
                  <a:pt x="0" y="32"/>
                  <a:pt x="0" y="80"/>
                </a:cubicBezTo>
                <a:lnTo>
                  <a:pt x="0" y="4136"/>
                </a:lnTo>
                <a:cubicBezTo>
                  <a:pt x="0" y="4184"/>
                  <a:pt x="47" y="4215"/>
                  <a:pt x="79" y="4215"/>
                </a:cubicBezTo>
                <a:lnTo>
                  <a:pt x="3260" y="4215"/>
                </a:lnTo>
                <a:cubicBezTo>
                  <a:pt x="3292" y="4215"/>
                  <a:pt x="3340" y="4184"/>
                  <a:pt x="3340" y="4136"/>
                </a:cubicBezTo>
                <a:lnTo>
                  <a:pt x="3340" y="1225"/>
                </a:lnTo>
                <a:cubicBezTo>
                  <a:pt x="3340" y="1209"/>
                  <a:pt x="3324" y="1177"/>
                  <a:pt x="3308" y="1161"/>
                </a:cubicBezTo>
                <a:lnTo>
                  <a:pt x="2147" y="32"/>
                </a:lnTo>
                <a:cubicBezTo>
                  <a:pt x="2147" y="16"/>
                  <a:pt x="2115" y="0"/>
                  <a:pt x="2099" y="0"/>
                </a:cubicBezTo>
                <a:close/>
                <a:moveTo>
                  <a:pt x="2227" y="319"/>
                </a:moveTo>
                <a:lnTo>
                  <a:pt x="3054" y="1130"/>
                </a:lnTo>
                <a:lnTo>
                  <a:pt x="2227" y="1130"/>
                </a:lnTo>
                <a:close/>
                <a:moveTo>
                  <a:pt x="159" y="4056"/>
                </a:moveTo>
                <a:lnTo>
                  <a:pt x="159" y="159"/>
                </a:lnTo>
                <a:lnTo>
                  <a:pt x="2067" y="159"/>
                </a:lnTo>
                <a:lnTo>
                  <a:pt x="2067" y="1209"/>
                </a:lnTo>
                <a:cubicBezTo>
                  <a:pt x="2067" y="1257"/>
                  <a:pt x="2099" y="1289"/>
                  <a:pt x="2147" y="1289"/>
                </a:cubicBezTo>
                <a:lnTo>
                  <a:pt x="3181" y="1289"/>
                </a:lnTo>
                <a:lnTo>
                  <a:pt x="3181" y="4056"/>
                </a:lnTo>
                <a:close/>
                <a:moveTo>
                  <a:pt x="731" y="1829"/>
                </a:moveTo>
                <a:cubicBezTo>
                  <a:pt x="684" y="1829"/>
                  <a:pt x="652" y="1861"/>
                  <a:pt x="652" y="1909"/>
                </a:cubicBezTo>
                <a:cubicBezTo>
                  <a:pt x="652" y="1957"/>
                  <a:pt x="684" y="1988"/>
                  <a:pt x="731" y="1988"/>
                </a:cubicBezTo>
                <a:lnTo>
                  <a:pt x="2688" y="1988"/>
                </a:lnTo>
                <a:cubicBezTo>
                  <a:pt x="2719" y="1988"/>
                  <a:pt x="2767" y="1957"/>
                  <a:pt x="2767" y="1909"/>
                </a:cubicBezTo>
                <a:cubicBezTo>
                  <a:pt x="2767" y="1861"/>
                  <a:pt x="2719" y="1829"/>
                  <a:pt x="2688" y="1829"/>
                </a:cubicBezTo>
                <a:close/>
                <a:moveTo>
                  <a:pt x="3037" y="2148"/>
                </a:moveTo>
                <a:lnTo>
                  <a:pt x="2847" y="2339"/>
                </a:lnTo>
                <a:cubicBezTo>
                  <a:pt x="2736" y="2211"/>
                  <a:pt x="2576" y="2131"/>
                  <a:pt x="2401" y="2131"/>
                </a:cubicBezTo>
                <a:cubicBezTo>
                  <a:pt x="2227" y="2131"/>
                  <a:pt x="2067" y="2211"/>
                  <a:pt x="1956" y="2339"/>
                </a:cubicBezTo>
                <a:lnTo>
                  <a:pt x="731" y="2339"/>
                </a:lnTo>
                <a:cubicBezTo>
                  <a:pt x="668" y="2339"/>
                  <a:pt x="652" y="2370"/>
                  <a:pt x="652" y="2418"/>
                </a:cubicBezTo>
                <a:cubicBezTo>
                  <a:pt x="652" y="2466"/>
                  <a:pt x="684" y="2497"/>
                  <a:pt x="731" y="2497"/>
                </a:cubicBezTo>
                <a:lnTo>
                  <a:pt x="1877" y="2497"/>
                </a:lnTo>
                <a:cubicBezTo>
                  <a:pt x="1861" y="2561"/>
                  <a:pt x="1845" y="2625"/>
                  <a:pt x="1845" y="2688"/>
                </a:cubicBezTo>
                <a:cubicBezTo>
                  <a:pt x="1845" y="2752"/>
                  <a:pt x="1845" y="2800"/>
                  <a:pt x="1877" y="2848"/>
                </a:cubicBezTo>
                <a:lnTo>
                  <a:pt x="1383" y="2848"/>
                </a:lnTo>
                <a:cubicBezTo>
                  <a:pt x="1272" y="2720"/>
                  <a:pt x="1113" y="2625"/>
                  <a:pt x="938" y="2625"/>
                </a:cubicBezTo>
                <a:cubicBezTo>
                  <a:pt x="620" y="2625"/>
                  <a:pt x="365" y="2879"/>
                  <a:pt x="365" y="3181"/>
                </a:cubicBezTo>
                <a:cubicBezTo>
                  <a:pt x="365" y="3500"/>
                  <a:pt x="620" y="3754"/>
                  <a:pt x="938" y="3754"/>
                </a:cubicBezTo>
                <a:cubicBezTo>
                  <a:pt x="1113" y="3754"/>
                  <a:pt x="1272" y="3658"/>
                  <a:pt x="1383" y="3515"/>
                </a:cubicBezTo>
                <a:lnTo>
                  <a:pt x="2688" y="3531"/>
                </a:lnTo>
                <a:cubicBezTo>
                  <a:pt x="2719" y="3531"/>
                  <a:pt x="2767" y="3484"/>
                  <a:pt x="2767" y="3452"/>
                </a:cubicBezTo>
                <a:cubicBezTo>
                  <a:pt x="2767" y="3404"/>
                  <a:pt x="2719" y="3372"/>
                  <a:pt x="2688" y="3372"/>
                </a:cubicBezTo>
                <a:lnTo>
                  <a:pt x="1463" y="3357"/>
                </a:lnTo>
                <a:cubicBezTo>
                  <a:pt x="1479" y="3309"/>
                  <a:pt x="1495" y="3245"/>
                  <a:pt x="1495" y="3181"/>
                </a:cubicBezTo>
                <a:cubicBezTo>
                  <a:pt x="1495" y="3134"/>
                  <a:pt x="1479" y="3070"/>
                  <a:pt x="1463" y="3006"/>
                </a:cubicBezTo>
                <a:lnTo>
                  <a:pt x="1956" y="3006"/>
                </a:lnTo>
                <a:cubicBezTo>
                  <a:pt x="2052" y="3149"/>
                  <a:pt x="2210" y="3245"/>
                  <a:pt x="2401" y="3245"/>
                </a:cubicBezTo>
                <a:cubicBezTo>
                  <a:pt x="2719" y="3245"/>
                  <a:pt x="2958" y="2991"/>
                  <a:pt x="2958" y="2688"/>
                </a:cubicBezTo>
                <a:cubicBezTo>
                  <a:pt x="2958" y="2609"/>
                  <a:pt x="2942" y="2545"/>
                  <a:pt x="2926" y="2482"/>
                </a:cubicBezTo>
                <a:lnTo>
                  <a:pt x="3149" y="2259"/>
                </a:lnTo>
                <a:cubicBezTo>
                  <a:pt x="3181" y="2227"/>
                  <a:pt x="3181" y="2179"/>
                  <a:pt x="3149" y="2148"/>
                </a:cubicBezTo>
                <a:cubicBezTo>
                  <a:pt x="3117" y="2116"/>
                  <a:pt x="3070" y="2116"/>
                  <a:pt x="3037" y="2148"/>
                </a:cubicBezTo>
                <a:close/>
                <a:moveTo>
                  <a:pt x="938" y="3595"/>
                </a:moveTo>
                <a:cubicBezTo>
                  <a:pt x="716" y="3595"/>
                  <a:pt x="525" y="3404"/>
                  <a:pt x="525" y="3181"/>
                </a:cubicBezTo>
                <a:cubicBezTo>
                  <a:pt x="525" y="2975"/>
                  <a:pt x="716" y="2784"/>
                  <a:pt x="938" y="2784"/>
                </a:cubicBezTo>
                <a:cubicBezTo>
                  <a:pt x="1145" y="2784"/>
                  <a:pt x="1336" y="2975"/>
                  <a:pt x="1336" y="3181"/>
                </a:cubicBezTo>
                <a:cubicBezTo>
                  <a:pt x="1336" y="3404"/>
                  <a:pt x="1145" y="3595"/>
                  <a:pt x="938" y="3595"/>
                </a:cubicBezTo>
                <a:close/>
                <a:moveTo>
                  <a:pt x="2799" y="2688"/>
                </a:moveTo>
                <a:cubicBezTo>
                  <a:pt x="2799" y="2911"/>
                  <a:pt x="2624" y="3086"/>
                  <a:pt x="2401" y="3086"/>
                </a:cubicBezTo>
                <a:cubicBezTo>
                  <a:pt x="2179" y="3086"/>
                  <a:pt x="2004" y="2911"/>
                  <a:pt x="2004" y="2688"/>
                </a:cubicBezTo>
                <a:cubicBezTo>
                  <a:pt x="2004" y="2609"/>
                  <a:pt x="2020" y="2529"/>
                  <a:pt x="2067" y="2466"/>
                </a:cubicBezTo>
                <a:cubicBezTo>
                  <a:pt x="2147" y="2354"/>
                  <a:pt x="2258" y="2291"/>
                  <a:pt x="2401" y="2291"/>
                </a:cubicBezTo>
                <a:cubicBezTo>
                  <a:pt x="2545" y="2291"/>
                  <a:pt x="2656" y="2354"/>
                  <a:pt x="2736" y="2450"/>
                </a:cubicBezTo>
                <a:lnTo>
                  <a:pt x="2449" y="2720"/>
                </a:lnTo>
                <a:lnTo>
                  <a:pt x="2354" y="2625"/>
                </a:lnTo>
                <a:cubicBezTo>
                  <a:pt x="2322" y="2593"/>
                  <a:pt x="2258" y="2593"/>
                  <a:pt x="2242" y="2625"/>
                </a:cubicBezTo>
                <a:cubicBezTo>
                  <a:pt x="2210" y="2657"/>
                  <a:pt x="2210" y="2720"/>
                  <a:pt x="2242" y="2736"/>
                </a:cubicBezTo>
                <a:lnTo>
                  <a:pt x="2401" y="2895"/>
                </a:lnTo>
                <a:cubicBezTo>
                  <a:pt x="2418" y="2911"/>
                  <a:pt x="2433" y="2911"/>
                  <a:pt x="2449" y="2911"/>
                </a:cubicBezTo>
                <a:cubicBezTo>
                  <a:pt x="2481" y="2911"/>
                  <a:pt x="2497" y="2911"/>
                  <a:pt x="2513" y="2895"/>
                </a:cubicBezTo>
                <a:lnTo>
                  <a:pt x="2799" y="2609"/>
                </a:lnTo>
                <a:close/>
                <a:moveTo>
                  <a:pt x="1177" y="2943"/>
                </a:moveTo>
                <a:cubicBezTo>
                  <a:pt x="1145" y="2911"/>
                  <a:pt x="1097" y="2911"/>
                  <a:pt x="1065" y="2943"/>
                </a:cubicBezTo>
                <a:lnTo>
                  <a:pt x="938" y="3070"/>
                </a:lnTo>
                <a:lnTo>
                  <a:pt x="795" y="2943"/>
                </a:lnTo>
                <a:cubicBezTo>
                  <a:pt x="763" y="2911"/>
                  <a:pt x="716" y="2911"/>
                  <a:pt x="684" y="2943"/>
                </a:cubicBezTo>
                <a:cubicBezTo>
                  <a:pt x="652" y="2975"/>
                  <a:pt x="652" y="3022"/>
                  <a:pt x="684" y="3054"/>
                </a:cubicBezTo>
                <a:lnTo>
                  <a:pt x="827" y="3181"/>
                </a:lnTo>
                <a:lnTo>
                  <a:pt x="684" y="3324"/>
                </a:lnTo>
                <a:cubicBezTo>
                  <a:pt x="652" y="3357"/>
                  <a:pt x="652" y="3404"/>
                  <a:pt x="684" y="3436"/>
                </a:cubicBezTo>
                <a:cubicBezTo>
                  <a:pt x="700" y="3452"/>
                  <a:pt x="716" y="3467"/>
                  <a:pt x="731" y="3467"/>
                </a:cubicBezTo>
                <a:cubicBezTo>
                  <a:pt x="763" y="3467"/>
                  <a:pt x="779" y="3452"/>
                  <a:pt x="795" y="3436"/>
                </a:cubicBezTo>
                <a:lnTo>
                  <a:pt x="938" y="3293"/>
                </a:lnTo>
                <a:lnTo>
                  <a:pt x="1065" y="3436"/>
                </a:lnTo>
                <a:cubicBezTo>
                  <a:pt x="1082" y="3452"/>
                  <a:pt x="1097" y="3467"/>
                  <a:pt x="1129" y="3467"/>
                </a:cubicBezTo>
                <a:cubicBezTo>
                  <a:pt x="1145" y="3467"/>
                  <a:pt x="1161" y="3452"/>
                  <a:pt x="1177" y="3436"/>
                </a:cubicBezTo>
                <a:cubicBezTo>
                  <a:pt x="1209" y="3404"/>
                  <a:pt x="1209" y="3357"/>
                  <a:pt x="1177" y="3324"/>
                </a:cubicBezTo>
                <a:lnTo>
                  <a:pt x="1049" y="3181"/>
                </a:lnTo>
                <a:lnTo>
                  <a:pt x="1177" y="3054"/>
                </a:lnTo>
                <a:cubicBezTo>
                  <a:pt x="1209" y="3022"/>
                  <a:pt x="1209" y="2975"/>
                  <a:pt x="1177" y="2943"/>
                </a:cubicBezTo>
                <a:close/>
                <a:moveTo>
                  <a:pt x="938" y="1718"/>
                </a:moveTo>
                <a:cubicBezTo>
                  <a:pt x="1113" y="1718"/>
                  <a:pt x="1288" y="1622"/>
                  <a:pt x="1383" y="1479"/>
                </a:cubicBezTo>
                <a:lnTo>
                  <a:pt x="1638" y="1479"/>
                </a:lnTo>
                <a:cubicBezTo>
                  <a:pt x="1686" y="1479"/>
                  <a:pt x="1718" y="1432"/>
                  <a:pt x="1718" y="1400"/>
                </a:cubicBezTo>
                <a:cubicBezTo>
                  <a:pt x="1718" y="1352"/>
                  <a:pt x="1686" y="1320"/>
                  <a:pt x="1638" y="1320"/>
                </a:cubicBezTo>
                <a:lnTo>
                  <a:pt x="1463" y="1320"/>
                </a:lnTo>
                <a:cubicBezTo>
                  <a:pt x="1479" y="1257"/>
                  <a:pt x="1495" y="1209"/>
                  <a:pt x="1495" y="1146"/>
                </a:cubicBezTo>
                <a:cubicBezTo>
                  <a:pt x="1495" y="1082"/>
                  <a:pt x="1479" y="1018"/>
                  <a:pt x="1463" y="971"/>
                </a:cubicBezTo>
                <a:lnTo>
                  <a:pt x="1638" y="971"/>
                </a:lnTo>
                <a:cubicBezTo>
                  <a:pt x="1686" y="971"/>
                  <a:pt x="1718" y="923"/>
                  <a:pt x="1718" y="891"/>
                </a:cubicBezTo>
                <a:cubicBezTo>
                  <a:pt x="1718" y="843"/>
                  <a:pt x="1686" y="811"/>
                  <a:pt x="1638" y="811"/>
                </a:cubicBezTo>
                <a:lnTo>
                  <a:pt x="1368" y="811"/>
                </a:lnTo>
                <a:cubicBezTo>
                  <a:pt x="1272" y="668"/>
                  <a:pt x="1113" y="589"/>
                  <a:pt x="938" y="589"/>
                </a:cubicBezTo>
                <a:cubicBezTo>
                  <a:pt x="620" y="589"/>
                  <a:pt x="365" y="843"/>
                  <a:pt x="365" y="1146"/>
                </a:cubicBezTo>
                <a:cubicBezTo>
                  <a:pt x="365" y="1464"/>
                  <a:pt x="620" y="1718"/>
                  <a:pt x="938" y="1718"/>
                </a:cubicBezTo>
                <a:close/>
                <a:moveTo>
                  <a:pt x="938" y="748"/>
                </a:moveTo>
                <a:cubicBezTo>
                  <a:pt x="1065" y="748"/>
                  <a:pt x="1192" y="811"/>
                  <a:pt x="1256" y="923"/>
                </a:cubicBezTo>
                <a:cubicBezTo>
                  <a:pt x="1261" y="928"/>
                  <a:pt x="1272" y="923"/>
                  <a:pt x="1272" y="939"/>
                </a:cubicBezTo>
                <a:cubicBezTo>
                  <a:pt x="1304" y="1003"/>
                  <a:pt x="1336" y="1066"/>
                  <a:pt x="1336" y="1146"/>
                </a:cubicBezTo>
                <a:cubicBezTo>
                  <a:pt x="1336" y="1368"/>
                  <a:pt x="1145" y="1559"/>
                  <a:pt x="938" y="1559"/>
                </a:cubicBezTo>
                <a:cubicBezTo>
                  <a:pt x="716" y="1559"/>
                  <a:pt x="525" y="1368"/>
                  <a:pt x="525" y="1146"/>
                </a:cubicBezTo>
                <a:cubicBezTo>
                  <a:pt x="525" y="923"/>
                  <a:pt x="716" y="748"/>
                  <a:pt x="938" y="748"/>
                </a:cubicBezTo>
                <a:close/>
                <a:moveTo>
                  <a:pt x="684" y="1400"/>
                </a:moveTo>
                <a:cubicBezTo>
                  <a:pt x="700" y="1416"/>
                  <a:pt x="716" y="1416"/>
                  <a:pt x="731" y="1416"/>
                </a:cubicBezTo>
                <a:cubicBezTo>
                  <a:pt x="763" y="1416"/>
                  <a:pt x="779" y="1416"/>
                  <a:pt x="795" y="1400"/>
                </a:cubicBezTo>
                <a:lnTo>
                  <a:pt x="938" y="1257"/>
                </a:lnTo>
                <a:lnTo>
                  <a:pt x="1065" y="1400"/>
                </a:lnTo>
                <a:cubicBezTo>
                  <a:pt x="1082" y="1416"/>
                  <a:pt x="1097" y="1416"/>
                  <a:pt x="1129" y="1416"/>
                </a:cubicBezTo>
                <a:cubicBezTo>
                  <a:pt x="1145" y="1416"/>
                  <a:pt x="1161" y="1416"/>
                  <a:pt x="1177" y="1400"/>
                </a:cubicBezTo>
                <a:cubicBezTo>
                  <a:pt x="1209" y="1368"/>
                  <a:pt x="1209" y="1320"/>
                  <a:pt x="1177" y="1289"/>
                </a:cubicBezTo>
                <a:lnTo>
                  <a:pt x="1049" y="1146"/>
                </a:lnTo>
                <a:lnTo>
                  <a:pt x="1177" y="1018"/>
                </a:lnTo>
                <a:cubicBezTo>
                  <a:pt x="1209" y="986"/>
                  <a:pt x="1209" y="939"/>
                  <a:pt x="1177" y="907"/>
                </a:cubicBezTo>
                <a:cubicBezTo>
                  <a:pt x="1145" y="875"/>
                  <a:pt x="1097" y="875"/>
                  <a:pt x="1065" y="907"/>
                </a:cubicBezTo>
                <a:lnTo>
                  <a:pt x="938" y="1034"/>
                </a:lnTo>
                <a:lnTo>
                  <a:pt x="795" y="907"/>
                </a:lnTo>
                <a:cubicBezTo>
                  <a:pt x="763" y="875"/>
                  <a:pt x="716" y="875"/>
                  <a:pt x="684" y="907"/>
                </a:cubicBezTo>
                <a:cubicBezTo>
                  <a:pt x="652" y="939"/>
                  <a:pt x="652" y="986"/>
                  <a:pt x="684" y="1018"/>
                </a:cubicBezTo>
                <a:lnTo>
                  <a:pt x="827" y="1146"/>
                </a:lnTo>
                <a:lnTo>
                  <a:pt x="684" y="1289"/>
                </a:lnTo>
                <a:cubicBezTo>
                  <a:pt x="652" y="1320"/>
                  <a:pt x="652" y="1368"/>
                  <a:pt x="684" y="140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7" name="Freeform: Shape 16">
            <a:extLst>
              <a:ext uri="{FF2B5EF4-FFF2-40B4-BE49-F238E27FC236}">
                <a16:creationId xmlns:a16="http://schemas.microsoft.com/office/drawing/2014/main" id="{AC2562C1-9567-1647-A7FD-FCCF9A30C15C}"/>
              </a:ext>
            </a:extLst>
          </p:cNvPr>
          <p:cNvSpPr/>
          <p:nvPr/>
        </p:nvSpPr>
        <p:spPr>
          <a:xfrm>
            <a:off x="6185202" y="9716513"/>
            <a:ext cx="1196280" cy="1517039"/>
          </a:xfrm>
          <a:custGeom>
            <a:avLst/>
            <a:gdLst/>
            <a:ahLst/>
            <a:cxnLst>
              <a:cxn ang="3cd4">
                <a:pos x="hc" y="t"/>
              </a:cxn>
              <a:cxn ang="cd2">
                <a:pos x="l" y="vc"/>
              </a:cxn>
              <a:cxn ang="cd4">
                <a:pos x="hc" y="b"/>
              </a:cxn>
              <a:cxn ang="0">
                <a:pos x="r" y="vc"/>
              </a:cxn>
            </a:cxnLst>
            <a:rect l="l" t="t" r="r" b="b"/>
            <a:pathLst>
              <a:path w="3324" h="4215">
                <a:moveTo>
                  <a:pt x="2147" y="32"/>
                </a:moveTo>
                <a:cubicBezTo>
                  <a:pt x="2131" y="16"/>
                  <a:pt x="2115" y="0"/>
                  <a:pt x="2100" y="0"/>
                </a:cubicBezTo>
                <a:lnTo>
                  <a:pt x="80" y="0"/>
                </a:lnTo>
                <a:cubicBezTo>
                  <a:pt x="32" y="0"/>
                  <a:pt x="0" y="32"/>
                  <a:pt x="0" y="80"/>
                </a:cubicBezTo>
                <a:lnTo>
                  <a:pt x="0" y="4136"/>
                </a:lnTo>
                <a:cubicBezTo>
                  <a:pt x="0" y="4184"/>
                  <a:pt x="32" y="4215"/>
                  <a:pt x="80" y="4215"/>
                </a:cubicBezTo>
                <a:lnTo>
                  <a:pt x="3245" y="4215"/>
                </a:lnTo>
                <a:cubicBezTo>
                  <a:pt x="3292" y="4215"/>
                  <a:pt x="3324" y="4184"/>
                  <a:pt x="3324" y="4136"/>
                </a:cubicBezTo>
                <a:lnTo>
                  <a:pt x="3324" y="1225"/>
                </a:lnTo>
                <a:cubicBezTo>
                  <a:pt x="3324" y="1209"/>
                  <a:pt x="3324" y="1177"/>
                  <a:pt x="3308" y="1161"/>
                </a:cubicBezTo>
                <a:close/>
                <a:moveTo>
                  <a:pt x="2227" y="319"/>
                </a:moveTo>
                <a:lnTo>
                  <a:pt x="3038" y="1130"/>
                </a:lnTo>
                <a:lnTo>
                  <a:pt x="2227" y="1130"/>
                </a:lnTo>
                <a:close/>
                <a:moveTo>
                  <a:pt x="159" y="4056"/>
                </a:moveTo>
                <a:lnTo>
                  <a:pt x="159" y="159"/>
                </a:lnTo>
                <a:lnTo>
                  <a:pt x="2052" y="159"/>
                </a:lnTo>
                <a:lnTo>
                  <a:pt x="2068" y="159"/>
                </a:lnTo>
                <a:lnTo>
                  <a:pt x="2068" y="1209"/>
                </a:lnTo>
                <a:cubicBezTo>
                  <a:pt x="2068" y="1257"/>
                  <a:pt x="2100" y="1289"/>
                  <a:pt x="2147" y="1289"/>
                </a:cubicBezTo>
                <a:lnTo>
                  <a:pt x="3165" y="1289"/>
                </a:lnTo>
                <a:lnTo>
                  <a:pt x="3165" y="4056"/>
                </a:lnTo>
                <a:close/>
                <a:moveTo>
                  <a:pt x="747" y="1320"/>
                </a:moveTo>
                <a:lnTo>
                  <a:pt x="1622" y="1320"/>
                </a:lnTo>
                <a:cubicBezTo>
                  <a:pt x="1670" y="1320"/>
                  <a:pt x="1702" y="1289"/>
                  <a:pt x="1702" y="1241"/>
                </a:cubicBezTo>
                <a:lnTo>
                  <a:pt x="1702" y="891"/>
                </a:lnTo>
                <a:cubicBezTo>
                  <a:pt x="1702" y="843"/>
                  <a:pt x="1670" y="811"/>
                  <a:pt x="1622" y="811"/>
                </a:cubicBezTo>
                <a:lnTo>
                  <a:pt x="747" y="811"/>
                </a:lnTo>
                <a:cubicBezTo>
                  <a:pt x="700" y="811"/>
                  <a:pt x="668" y="843"/>
                  <a:pt x="668" y="891"/>
                </a:cubicBezTo>
                <a:lnTo>
                  <a:pt x="668" y="1241"/>
                </a:lnTo>
                <a:cubicBezTo>
                  <a:pt x="668" y="1289"/>
                  <a:pt x="700" y="1320"/>
                  <a:pt x="747" y="1320"/>
                </a:cubicBezTo>
                <a:close/>
                <a:moveTo>
                  <a:pt x="827" y="971"/>
                </a:moveTo>
                <a:lnTo>
                  <a:pt x="1543" y="971"/>
                </a:lnTo>
                <a:lnTo>
                  <a:pt x="1543" y="1161"/>
                </a:lnTo>
                <a:lnTo>
                  <a:pt x="827" y="1161"/>
                </a:lnTo>
                <a:close/>
                <a:moveTo>
                  <a:pt x="2672" y="3006"/>
                </a:moveTo>
                <a:lnTo>
                  <a:pt x="732" y="3006"/>
                </a:lnTo>
                <a:cubicBezTo>
                  <a:pt x="684" y="3006"/>
                  <a:pt x="652" y="3054"/>
                  <a:pt x="652" y="3086"/>
                </a:cubicBezTo>
                <a:lnTo>
                  <a:pt x="652" y="3404"/>
                </a:lnTo>
                <a:cubicBezTo>
                  <a:pt x="647" y="3415"/>
                  <a:pt x="636" y="3420"/>
                  <a:pt x="636" y="3436"/>
                </a:cubicBezTo>
                <a:cubicBezTo>
                  <a:pt x="636" y="3484"/>
                  <a:pt x="668" y="3515"/>
                  <a:pt x="716" y="3515"/>
                </a:cubicBezTo>
                <a:cubicBezTo>
                  <a:pt x="716" y="3531"/>
                  <a:pt x="727" y="3526"/>
                  <a:pt x="732" y="3531"/>
                </a:cubicBezTo>
                <a:lnTo>
                  <a:pt x="2449" y="3531"/>
                </a:lnTo>
                <a:lnTo>
                  <a:pt x="2672" y="3531"/>
                </a:lnTo>
                <a:cubicBezTo>
                  <a:pt x="2720" y="3531"/>
                  <a:pt x="2752" y="3484"/>
                  <a:pt x="2752" y="3452"/>
                </a:cubicBezTo>
                <a:lnTo>
                  <a:pt x="2752" y="3086"/>
                </a:lnTo>
                <a:cubicBezTo>
                  <a:pt x="2752" y="3054"/>
                  <a:pt x="2720" y="3006"/>
                  <a:pt x="2672" y="3006"/>
                </a:cubicBezTo>
                <a:close/>
                <a:moveTo>
                  <a:pt x="2592" y="3166"/>
                </a:moveTo>
                <a:lnTo>
                  <a:pt x="2592" y="3372"/>
                </a:lnTo>
                <a:lnTo>
                  <a:pt x="2449" y="3372"/>
                </a:lnTo>
                <a:lnTo>
                  <a:pt x="811" y="3357"/>
                </a:lnTo>
                <a:lnTo>
                  <a:pt x="811" y="3166"/>
                </a:lnTo>
                <a:close/>
                <a:moveTo>
                  <a:pt x="2672" y="2275"/>
                </a:moveTo>
                <a:lnTo>
                  <a:pt x="732" y="2275"/>
                </a:lnTo>
                <a:cubicBezTo>
                  <a:pt x="684" y="2275"/>
                  <a:pt x="652" y="2307"/>
                  <a:pt x="652" y="2354"/>
                </a:cubicBezTo>
                <a:lnTo>
                  <a:pt x="652" y="2704"/>
                </a:lnTo>
                <a:cubicBezTo>
                  <a:pt x="652" y="2752"/>
                  <a:pt x="684" y="2784"/>
                  <a:pt x="732" y="2784"/>
                </a:cubicBezTo>
                <a:lnTo>
                  <a:pt x="2672" y="2784"/>
                </a:lnTo>
                <a:cubicBezTo>
                  <a:pt x="2720" y="2784"/>
                  <a:pt x="2752" y="2752"/>
                  <a:pt x="2752" y="2704"/>
                </a:cubicBezTo>
                <a:lnTo>
                  <a:pt x="2752" y="2354"/>
                </a:lnTo>
                <a:cubicBezTo>
                  <a:pt x="2752" y="2307"/>
                  <a:pt x="2720" y="2275"/>
                  <a:pt x="2672" y="2275"/>
                </a:cubicBezTo>
                <a:close/>
                <a:moveTo>
                  <a:pt x="2592" y="2625"/>
                </a:moveTo>
                <a:lnTo>
                  <a:pt x="811" y="2625"/>
                </a:lnTo>
                <a:lnTo>
                  <a:pt x="811" y="2434"/>
                </a:lnTo>
                <a:lnTo>
                  <a:pt x="2592" y="2434"/>
                </a:lnTo>
                <a:close/>
                <a:moveTo>
                  <a:pt x="2672" y="1543"/>
                </a:moveTo>
                <a:lnTo>
                  <a:pt x="732" y="1543"/>
                </a:lnTo>
                <a:cubicBezTo>
                  <a:pt x="684" y="1543"/>
                  <a:pt x="652" y="1575"/>
                  <a:pt x="652" y="1622"/>
                </a:cubicBezTo>
                <a:lnTo>
                  <a:pt x="652" y="1973"/>
                </a:lnTo>
                <a:cubicBezTo>
                  <a:pt x="652" y="2020"/>
                  <a:pt x="684" y="2052"/>
                  <a:pt x="732" y="2052"/>
                </a:cubicBezTo>
                <a:lnTo>
                  <a:pt x="2672" y="2052"/>
                </a:lnTo>
                <a:cubicBezTo>
                  <a:pt x="2720" y="2052"/>
                  <a:pt x="2752" y="2020"/>
                  <a:pt x="2752" y="1973"/>
                </a:cubicBezTo>
                <a:lnTo>
                  <a:pt x="2752" y="1622"/>
                </a:lnTo>
                <a:cubicBezTo>
                  <a:pt x="2752" y="1575"/>
                  <a:pt x="2720" y="1543"/>
                  <a:pt x="2672" y="1543"/>
                </a:cubicBezTo>
                <a:close/>
                <a:moveTo>
                  <a:pt x="2592" y="1893"/>
                </a:moveTo>
                <a:lnTo>
                  <a:pt x="811" y="1893"/>
                </a:lnTo>
                <a:lnTo>
                  <a:pt x="811" y="1702"/>
                </a:lnTo>
                <a:lnTo>
                  <a:pt x="2592" y="1702"/>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8" name="Freeform: Shape 18">
            <a:extLst>
              <a:ext uri="{FF2B5EF4-FFF2-40B4-BE49-F238E27FC236}">
                <a16:creationId xmlns:a16="http://schemas.microsoft.com/office/drawing/2014/main" id="{DD8E1613-1809-5847-B8D2-9DFE7A9BBAC0}"/>
              </a:ext>
            </a:extLst>
          </p:cNvPr>
          <p:cNvSpPr/>
          <p:nvPr/>
        </p:nvSpPr>
        <p:spPr>
          <a:xfrm>
            <a:off x="10096616" y="9504652"/>
            <a:ext cx="1556999" cy="1940760"/>
          </a:xfrm>
          <a:custGeom>
            <a:avLst/>
            <a:gdLst/>
            <a:ahLst/>
            <a:cxnLst>
              <a:cxn ang="3cd4">
                <a:pos x="hc" y="t"/>
              </a:cxn>
              <a:cxn ang="cd2">
                <a:pos x="l" y="vc"/>
              </a:cxn>
              <a:cxn ang="cd4">
                <a:pos x="hc" y="b"/>
              </a:cxn>
              <a:cxn ang="0">
                <a:pos x="r" y="vc"/>
              </a:cxn>
            </a:cxnLst>
            <a:rect l="l" t="t" r="r" b="b"/>
            <a:pathLst>
              <a:path w="4326" h="5392">
                <a:moveTo>
                  <a:pt x="0" y="1256"/>
                </a:moveTo>
                <a:lnTo>
                  <a:pt x="0" y="5312"/>
                </a:lnTo>
                <a:cubicBezTo>
                  <a:pt x="0" y="5360"/>
                  <a:pt x="32" y="5392"/>
                  <a:pt x="79" y="5392"/>
                </a:cubicBezTo>
                <a:lnTo>
                  <a:pt x="3244" y="5392"/>
                </a:lnTo>
                <a:cubicBezTo>
                  <a:pt x="3292" y="5392"/>
                  <a:pt x="3324" y="5360"/>
                  <a:pt x="3324" y="5312"/>
                </a:cubicBezTo>
                <a:lnTo>
                  <a:pt x="3324" y="4803"/>
                </a:lnTo>
                <a:lnTo>
                  <a:pt x="3753" y="4803"/>
                </a:lnTo>
                <a:cubicBezTo>
                  <a:pt x="3785" y="4803"/>
                  <a:pt x="3833" y="4771"/>
                  <a:pt x="3833" y="4724"/>
                </a:cubicBezTo>
                <a:lnTo>
                  <a:pt x="3833" y="4215"/>
                </a:lnTo>
                <a:lnTo>
                  <a:pt x="4246" y="4215"/>
                </a:lnTo>
                <a:cubicBezTo>
                  <a:pt x="4294" y="4215"/>
                  <a:pt x="4326" y="4183"/>
                  <a:pt x="4326" y="4135"/>
                </a:cubicBezTo>
                <a:lnTo>
                  <a:pt x="4326" y="1224"/>
                </a:lnTo>
                <a:cubicBezTo>
                  <a:pt x="4326" y="1209"/>
                  <a:pt x="4310" y="1193"/>
                  <a:pt x="4310" y="1177"/>
                </a:cubicBezTo>
                <a:lnTo>
                  <a:pt x="3149" y="32"/>
                </a:lnTo>
                <a:cubicBezTo>
                  <a:pt x="3133" y="16"/>
                  <a:pt x="3117" y="0"/>
                  <a:pt x="3085" y="0"/>
                </a:cubicBezTo>
                <a:lnTo>
                  <a:pt x="1081" y="0"/>
                </a:lnTo>
                <a:cubicBezTo>
                  <a:pt x="1033" y="0"/>
                  <a:pt x="1002" y="48"/>
                  <a:pt x="1002" y="79"/>
                </a:cubicBezTo>
                <a:lnTo>
                  <a:pt x="1002" y="588"/>
                </a:lnTo>
                <a:lnTo>
                  <a:pt x="572" y="588"/>
                </a:lnTo>
                <a:cubicBezTo>
                  <a:pt x="541" y="588"/>
                  <a:pt x="493" y="636"/>
                  <a:pt x="493" y="668"/>
                </a:cubicBezTo>
                <a:lnTo>
                  <a:pt x="493" y="1177"/>
                </a:lnTo>
                <a:lnTo>
                  <a:pt x="79" y="1177"/>
                </a:lnTo>
                <a:cubicBezTo>
                  <a:pt x="32" y="1177"/>
                  <a:pt x="0" y="1224"/>
                  <a:pt x="0" y="1256"/>
                </a:cubicBezTo>
                <a:close/>
                <a:moveTo>
                  <a:pt x="2226" y="1495"/>
                </a:moveTo>
                <a:lnTo>
                  <a:pt x="2576" y="1861"/>
                </a:lnTo>
                <a:lnTo>
                  <a:pt x="2592" y="1861"/>
                </a:lnTo>
                <a:lnTo>
                  <a:pt x="3038" y="2306"/>
                </a:lnTo>
                <a:lnTo>
                  <a:pt x="2226" y="2306"/>
                </a:lnTo>
                <a:close/>
                <a:moveTo>
                  <a:pt x="2719" y="906"/>
                </a:moveTo>
                <a:lnTo>
                  <a:pt x="3085" y="1272"/>
                </a:lnTo>
                <a:lnTo>
                  <a:pt x="3546" y="1718"/>
                </a:lnTo>
                <a:lnTo>
                  <a:pt x="2719" y="1718"/>
                </a:lnTo>
                <a:close/>
                <a:moveTo>
                  <a:pt x="3213" y="318"/>
                </a:moveTo>
                <a:lnTo>
                  <a:pt x="4040" y="1129"/>
                </a:lnTo>
                <a:lnTo>
                  <a:pt x="3213" y="1129"/>
                </a:lnTo>
                <a:close/>
                <a:moveTo>
                  <a:pt x="3324" y="4644"/>
                </a:moveTo>
                <a:lnTo>
                  <a:pt x="3324" y="2402"/>
                </a:lnTo>
                <a:cubicBezTo>
                  <a:pt x="3324" y="2386"/>
                  <a:pt x="3324" y="2370"/>
                  <a:pt x="3308" y="2354"/>
                </a:cubicBezTo>
                <a:lnTo>
                  <a:pt x="2831" y="1877"/>
                </a:lnTo>
                <a:lnTo>
                  <a:pt x="3674" y="1877"/>
                </a:lnTo>
                <a:lnTo>
                  <a:pt x="3674" y="4644"/>
                </a:lnTo>
                <a:close/>
                <a:moveTo>
                  <a:pt x="3833" y="4056"/>
                </a:moveTo>
                <a:lnTo>
                  <a:pt x="3833" y="1813"/>
                </a:lnTo>
                <a:cubicBezTo>
                  <a:pt x="3833" y="1797"/>
                  <a:pt x="3817" y="1781"/>
                  <a:pt x="3801" y="1765"/>
                </a:cubicBezTo>
                <a:lnTo>
                  <a:pt x="3324" y="1288"/>
                </a:lnTo>
                <a:lnTo>
                  <a:pt x="4167" y="1288"/>
                </a:lnTo>
                <a:lnTo>
                  <a:pt x="4167" y="4056"/>
                </a:lnTo>
                <a:close/>
                <a:moveTo>
                  <a:pt x="1160" y="159"/>
                </a:moveTo>
                <a:lnTo>
                  <a:pt x="3053" y="159"/>
                </a:lnTo>
                <a:lnTo>
                  <a:pt x="3053" y="1018"/>
                </a:lnTo>
                <a:lnTo>
                  <a:pt x="2640" y="620"/>
                </a:lnTo>
                <a:cubicBezTo>
                  <a:pt x="2640" y="605"/>
                  <a:pt x="2608" y="588"/>
                  <a:pt x="2592" y="588"/>
                </a:cubicBezTo>
                <a:lnTo>
                  <a:pt x="1160" y="588"/>
                </a:lnTo>
                <a:close/>
                <a:moveTo>
                  <a:pt x="652" y="748"/>
                </a:moveTo>
                <a:lnTo>
                  <a:pt x="2560" y="748"/>
                </a:lnTo>
                <a:lnTo>
                  <a:pt x="2560" y="1606"/>
                </a:lnTo>
                <a:lnTo>
                  <a:pt x="2147" y="1209"/>
                </a:lnTo>
                <a:cubicBezTo>
                  <a:pt x="2131" y="1193"/>
                  <a:pt x="2115" y="1177"/>
                  <a:pt x="2099" y="1177"/>
                </a:cubicBezTo>
                <a:lnTo>
                  <a:pt x="652" y="1177"/>
                </a:lnTo>
                <a:close/>
                <a:moveTo>
                  <a:pt x="159" y="1336"/>
                </a:moveTo>
                <a:lnTo>
                  <a:pt x="2067" y="1336"/>
                </a:lnTo>
                <a:lnTo>
                  <a:pt x="2067" y="2386"/>
                </a:lnTo>
                <a:cubicBezTo>
                  <a:pt x="2067" y="2433"/>
                  <a:pt x="2099" y="2465"/>
                  <a:pt x="2147" y="2465"/>
                </a:cubicBezTo>
                <a:lnTo>
                  <a:pt x="3165" y="2465"/>
                </a:lnTo>
                <a:lnTo>
                  <a:pt x="3165" y="5232"/>
                </a:lnTo>
                <a:lnTo>
                  <a:pt x="159" y="5232"/>
                </a:lnTo>
                <a:close/>
                <a:moveTo>
                  <a:pt x="731" y="2147"/>
                </a:moveTo>
                <a:lnTo>
                  <a:pt x="1638" y="2147"/>
                </a:lnTo>
                <a:cubicBezTo>
                  <a:pt x="1669" y="2147"/>
                  <a:pt x="1717" y="2115"/>
                  <a:pt x="1717" y="2068"/>
                </a:cubicBezTo>
                <a:cubicBezTo>
                  <a:pt x="1702" y="2020"/>
                  <a:pt x="1669" y="1988"/>
                  <a:pt x="1638" y="1988"/>
                </a:cubicBezTo>
                <a:lnTo>
                  <a:pt x="731" y="1988"/>
                </a:lnTo>
                <a:cubicBezTo>
                  <a:pt x="699" y="1988"/>
                  <a:pt x="652" y="2020"/>
                  <a:pt x="652" y="2068"/>
                </a:cubicBezTo>
                <a:cubicBezTo>
                  <a:pt x="652" y="2115"/>
                  <a:pt x="699" y="2147"/>
                  <a:pt x="731" y="2147"/>
                </a:cubicBezTo>
                <a:close/>
                <a:moveTo>
                  <a:pt x="731" y="2656"/>
                </a:moveTo>
                <a:lnTo>
                  <a:pt x="1638" y="2656"/>
                </a:lnTo>
                <a:cubicBezTo>
                  <a:pt x="1669" y="2656"/>
                  <a:pt x="1717" y="2624"/>
                  <a:pt x="1717" y="2577"/>
                </a:cubicBezTo>
                <a:cubicBezTo>
                  <a:pt x="1702" y="2529"/>
                  <a:pt x="1669" y="2497"/>
                  <a:pt x="1638" y="2497"/>
                </a:cubicBezTo>
                <a:lnTo>
                  <a:pt x="731" y="2497"/>
                </a:lnTo>
                <a:cubicBezTo>
                  <a:pt x="699" y="2497"/>
                  <a:pt x="652" y="2529"/>
                  <a:pt x="652" y="2577"/>
                </a:cubicBezTo>
                <a:cubicBezTo>
                  <a:pt x="652" y="2624"/>
                  <a:pt x="699" y="2656"/>
                  <a:pt x="731" y="2656"/>
                </a:cubicBezTo>
                <a:close/>
                <a:moveTo>
                  <a:pt x="2672" y="3006"/>
                </a:moveTo>
                <a:lnTo>
                  <a:pt x="715" y="3006"/>
                </a:lnTo>
                <a:cubicBezTo>
                  <a:pt x="684" y="3006"/>
                  <a:pt x="636" y="3038"/>
                  <a:pt x="636" y="3086"/>
                </a:cubicBezTo>
                <a:cubicBezTo>
                  <a:pt x="636" y="3133"/>
                  <a:pt x="684" y="3165"/>
                  <a:pt x="715" y="3165"/>
                </a:cubicBezTo>
                <a:lnTo>
                  <a:pt x="2672" y="3165"/>
                </a:lnTo>
                <a:cubicBezTo>
                  <a:pt x="2719" y="3165"/>
                  <a:pt x="2751" y="3133"/>
                  <a:pt x="2751" y="3086"/>
                </a:cubicBezTo>
                <a:cubicBezTo>
                  <a:pt x="2751" y="3054"/>
                  <a:pt x="2719" y="3006"/>
                  <a:pt x="2672" y="3006"/>
                </a:cubicBezTo>
                <a:close/>
                <a:moveTo>
                  <a:pt x="2672" y="3531"/>
                </a:moveTo>
                <a:lnTo>
                  <a:pt x="715" y="3515"/>
                </a:lnTo>
                <a:cubicBezTo>
                  <a:pt x="684" y="3515"/>
                  <a:pt x="636" y="3563"/>
                  <a:pt x="636" y="3595"/>
                </a:cubicBezTo>
                <a:cubicBezTo>
                  <a:pt x="636" y="3642"/>
                  <a:pt x="684" y="3674"/>
                  <a:pt x="715" y="3674"/>
                </a:cubicBezTo>
                <a:lnTo>
                  <a:pt x="2672" y="3690"/>
                </a:lnTo>
                <a:cubicBezTo>
                  <a:pt x="2719" y="3690"/>
                  <a:pt x="2751" y="3642"/>
                  <a:pt x="2751" y="3610"/>
                </a:cubicBezTo>
                <a:cubicBezTo>
                  <a:pt x="2751" y="3563"/>
                  <a:pt x="2719" y="3531"/>
                  <a:pt x="2672" y="3531"/>
                </a:cubicBezTo>
                <a:close/>
                <a:moveTo>
                  <a:pt x="2672" y="4040"/>
                </a:moveTo>
                <a:lnTo>
                  <a:pt x="715" y="4040"/>
                </a:lnTo>
                <a:cubicBezTo>
                  <a:pt x="684" y="4040"/>
                  <a:pt x="636" y="4072"/>
                  <a:pt x="636" y="4119"/>
                </a:cubicBezTo>
                <a:cubicBezTo>
                  <a:pt x="636" y="4151"/>
                  <a:pt x="684" y="4199"/>
                  <a:pt x="715" y="4199"/>
                </a:cubicBezTo>
                <a:lnTo>
                  <a:pt x="2672" y="4199"/>
                </a:lnTo>
                <a:cubicBezTo>
                  <a:pt x="2719" y="4199"/>
                  <a:pt x="2751" y="4167"/>
                  <a:pt x="2751" y="4119"/>
                </a:cubicBezTo>
                <a:cubicBezTo>
                  <a:pt x="2751" y="4072"/>
                  <a:pt x="2719" y="4040"/>
                  <a:pt x="2672" y="4040"/>
                </a:cubicBezTo>
                <a:close/>
                <a:moveTo>
                  <a:pt x="2672" y="4549"/>
                </a:moveTo>
                <a:lnTo>
                  <a:pt x="715" y="4549"/>
                </a:lnTo>
                <a:cubicBezTo>
                  <a:pt x="684" y="4549"/>
                  <a:pt x="636" y="4580"/>
                  <a:pt x="636" y="4628"/>
                </a:cubicBezTo>
                <a:cubicBezTo>
                  <a:pt x="636" y="4676"/>
                  <a:pt x="684" y="4708"/>
                  <a:pt x="715" y="4708"/>
                </a:cubicBezTo>
                <a:lnTo>
                  <a:pt x="2672" y="4708"/>
                </a:lnTo>
                <a:cubicBezTo>
                  <a:pt x="2719" y="4708"/>
                  <a:pt x="2751" y="4676"/>
                  <a:pt x="2751" y="4628"/>
                </a:cubicBezTo>
                <a:cubicBezTo>
                  <a:pt x="2751" y="4580"/>
                  <a:pt x="2719" y="4549"/>
                  <a:pt x="2672" y="454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9" name="TextBox 58">
            <a:extLst>
              <a:ext uri="{FF2B5EF4-FFF2-40B4-BE49-F238E27FC236}">
                <a16:creationId xmlns:a16="http://schemas.microsoft.com/office/drawing/2014/main" id="{D4C30EAB-3671-BF4A-AF71-8B09D0F3E041}"/>
              </a:ext>
            </a:extLst>
          </p:cNvPr>
          <p:cNvSpPr txBox="1"/>
          <p:nvPr/>
        </p:nvSpPr>
        <p:spPr>
          <a:xfrm>
            <a:off x="12933039" y="11700314"/>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voice Approved</a:t>
            </a:r>
          </a:p>
        </p:txBody>
      </p:sp>
      <p:sp>
        <p:nvSpPr>
          <p:cNvPr id="60" name="TextBox 59">
            <a:extLst>
              <a:ext uri="{FF2B5EF4-FFF2-40B4-BE49-F238E27FC236}">
                <a16:creationId xmlns:a16="http://schemas.microsoft.com/office/drawing/2014/main" id="{95E23E0A-5FD4-364B-8840-E0EFE20C0A72}"/>
              </a:ext>
            </a:extLst>
          </p:cNvPr>
          <p:cNvSpPr txBox="1"/>
          <p:nvPr/>
        </p:nvSpPr>
        <p:spPr>
          <a:xfrm>
            <a:off x="17303898" y="11700314"/>
            <a:ext cx="211138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voice</a:t>
            </a:r>
          </a:p>
        </p:txBody>
      </p:sp>
      <p:sp>
        <p:nvSpPr>
          <p:cNvPr id="61" name="Freeform: Shape 6">
            <a:extLst>
              <a:ext uri="{FF2B5EF4-FFF2-40B4-BE49-F238E27FC236}">
                <a16:creationId xmlns:a16="http://schemas.microsoft.com/office/drawing/2014/main" id="{109E1383-50DE-0B40-ABEA-CBF3A76FA143}"/>
              </a:ext>
            </a:extLst>
          </p:cNvPr>
          <p:cNvSpPr/>
          <p:nvPr/>
        </p:nvSpPr>
        <p:spPr>
          <a:xfrm>
            <a:off x="14030156" y="9716692"/>
            <a:ext cx="1307880" cy="1516680"/>
          </a:xfrm>
          <a:custGeom>
            <a:avLst/>
            <a:gdLst/>
            <a:ahLst/>
            <a:cxnLst>
              <a:cxn ang="3cd4">
                <a:pos x="hc" y="t"/>
              </a:cxn>
              <a:cxn ang="cd2">
                <a:pos x="l" y="vc"/>
              </a:cxn>
              <a:cxn ang="cd4">
                <a:pos x="hc" y="b"/>
              </a:cxn>
              <a:cxn ang="0">
                <a:pos x="r" y="vc"/>
              </a:cxn>
            </a:cxnLst>
            <a:rect l="l" t="t" r="r" b="b"/>
            <a:pathLst>
              <a:path w="3634" h="4214">
                <a:moveTo>
                  <a:pt x="3611" y="3037"/>
                </a:moveTo>
                <a:cubicBezTo>
                  <a:pt x="3579" y="3005"/>
                  <a:pt x="3531" y="3005"/>
                  <a:pt x="3499" y="3037"/>
                </a:cubicBezTo>
                <a:lnTo>
                  <a:pt x="3308" y="3228"/>
                </a:lnTo>
                <a:cubicBezTo>
                  <a:pt x="3197" y="3101"/>
                  <a:pt x="3038" y="3021"/>
                  <a:pt x="2863" y="3021"/>
                </a:cubicBezTo>
                <a:cubicBezTo>
                  <a:pt x="2545" y="3021"/>
                  <a:pt x="2306" y="3276"/>
                  <a:pt x="2306" y="3578"/>
                </a:cubicBezTo>
                <a:cubicBezTo>
                  <a:pt x="2306" y="3880"/>
                  <a:pt x="2545" y="4135"/>
                  <a:pt x="2863" y="4135"/>
                </a:cubicBezTo>
                <a:cubicBezTo>
                  <a:pt x="3165" y="4135"/>
                  <a:pt x="3420" y="3880"/>
                  <a:pt x="3420" y="3578"/>
                </a:cubicBezTo>
                <a:cubicBezTo>
                  <a:pt x="3420" y="3514"/>
                  <a:pt x="3404" y="3435"/>
                  <a:pt x="3388" y="3371"/>
                </a:cubicBezTo>
                <a:lnTo>
                  <a:pt x="3611" y="3148"/>
                </a:lnTo>
                <a:cubicBezTo>
                  <a:pt x="3642" y="3117"/>
                  <a:pt x="3642" y="3069"/>
                  <a:pt x="3611" y="3037"/>
                </a:cubicBezTo>
                <a:close/>
                <a:moveTo>
                  <a:pt x="3261" y="3578"/>
                </a:moveTo>
                <a:cubicBezTo>
                  <a:pt x="3261" y="3801"/>
                  <a:pt x="3086" y="3975"/>
                  <a:pt x="2863" y="3975"/>
                </a:cubicBezTo>
                <a:cubicBezTo>
                  <a:pt x="2641" y="3975"/>
                  <a:pt x="2466" y="3801"/>
                  <a:pt x="2466" y="3578"/>
                </a:cubicBezTo>
                <a:cubicBezTo>
                  <a:pt x="2466" y="3356"/>
                  <a:pt x="2641" y="3181"/>
                  <a:pt x="2863" y="3181"/>
                </a:cubicBezTo>
                <a:cubicBezTo>
                  <a:pt x="2990" y="3181"/>
                  <a:pt x="3118" y="3244"/>
                  <a:pt x="3181" y="3339"/>
                </a:cubicBezTo>
                <a:lnTo>
                  <a:pt x="2911" y="3610"/>
                </a:lnTo>
                <a:lnTo>
                  <a:pt x="2799" y="3514"/>
                </a:lnTo>
                <a:cubicBezTo>
                  <a:pt x="2768" y="3483"/>
                  <a:pt x="2720" y="3499"/>
                  <a:pt x="2688" y="3530"/>
                </a:cubicBezTo>
                <a:cubicBezTo>
                  <a:pt x="2656" y="3562"/>
                  <a:pt x="2672" y="3610"/>
                  <a:pt x="2704" y="3642"/>
                </a:cubicBezTo>
                <a:lnTo>
                  <a:pt x="2863" y="3785"/>
                </a:lnTo>
                <a:cubicBezTo>
                  <a:pt x="2879" y="3801"/>
                  <a:pt x="2895" y="3801"/>
                  <a:pt x="2911" y="3801"/>
                </a:cubicBezTo>
                <a:cubicBezTo>
                  <a:pt x="2927" y="3801"/>
                  <a:pt x="2959" y="3801"/>
                  <a:pt x="2959" y="3785"/>
                </a:cubicBezTo>
                <a:lnTo>
                  <a:pt x="3261" y="3499"/>
                </a:lnTo>
                <a:close/>
                <a:moveTo>
                  <a:pt x="3261" y="2735"/>
                </a:moveTo>
                <a:cubicBezTo>
                  <a:pt x="3308" y="2735"/>
                  <a:pt x="3340" y="2703"/>
                  <a:pt x="3340" y="2656"/>
                </a:cubicBezTo>
                <a:lnTo>
                  <a:pt x="3340" y="1224"/>
                </a:lnTo>
                <a:cubicBezTo>
                  <a:pt x="3340" y="1193"/>
                  <a:pt x="3324" y="1176"/>
                  <a:pt x="3308" y="1160"/>
                </a:cubicBezTo>
                <a:lnTo>
                  <a:pt x="2163" y="15"/>
                </a:lnTo>
                <a:cubicBezTo>
                  <a:pt x="2147" y="0"/>
                  <a:pt x="2115" y="0"/>
                  <a:pt x="2100" y="0"/>
                </a:cubicBezTo>
                <a:lnTo>
                  <a:pt x="80" y="0"/>
                </a:lnTo>
                <a:cubicBezTo>
                  <a:pt x="48" y="0"/>
                  <a:pt x="0" y="31"/>
                  <a:pt x="0" y="79"/>
                </a:cubicBezTo>
                <a:lnTo>
                  <a:pt x="0" y="4135"/>
                </a:lnTo>
                <a:cubicBezTo>
                  <a:pt x="0" y="4166"/>
                  <a:pt x="48" y="4214"/>
                  <a:pt x="80" y="4214"/>
                </a:cubicBezTo>
                <a:lnTo>
                  <a:pt x="1925" y="4214"/>
                </a:lnTo>
                <a:cubicBezTo>
                  <a:pt x="1972" y="4214"/>
                  <a:pt x="2004" y="4166"/>
                  <a:pt x="2004" y="4135"/>
                </a:cubicBezTo>
                <a:cubicBezTo>
                  <a:pt x="2004" y="4087"/>
                  <a:pt x="1972" y="4055"/>
                  <a:pt x="1925" y="4055"/>
                </a:cubicBezTo>
                <a:lnTo>
                  <a:pt x="159" y="4055"/>
                </a:lnTo>
                <a:lnTo>
                  <a:pt x="159" y="158"/>
                </a:lnTo>
                <a:lnTo>
                  <a:pt x="2068" y="158"/>
                </a:lnTo>
                <a:lnTo>
                  <a:pt x="2068" y="1208"/>
                </a:lnTo>
                <a:cubicBezTo>
                  <a:pt x="2068" y="1256"/>
                  <a:pt x="2100" y="1288"/>
                  <a:pt x="2147" y="1288"/>
                </a:cubicBezTo>
                <a:lnTo>
                  <a:pt x="3181" y="1288"/>
                </a:lnTo>
                <a:lnTo>
                  <a:pt x="3181" y="2656"/>
                </a:lnTo>
                <a:cubicBezTo>
                  <a:pt x="3181" y="2703"/>
                  <a:pt x="3213" y="2735"/>
                  <a:pt x="3261" y="2735"/>
                </a:cubicBezTo>
                <a:close/>
                <a:moveTo>
                  <a:pt x="2227" y="318"/>
                </a:moveTo>
                <a:lnTo>
                  <a:pt x="3054" y="1129"/>
                </a:lnTo>
                <a:lnTo>
                  <a:pt x="2227" y="1129"/>
                </a:lnTo>
                <a:close/>
                <a:moveTo>
                  <a:pt x="748" y="954"/>
                </a:moveTo>
                <a:lnTo>
                  <a:pt x="1638" y="954"/>
                </a:lnTo>
                <a:cubicBezTo>
                  <a:pt x="1686" y="954"/>
                  <a:pt x="1718" y="922"/>
                  <a:pt x="1718" y="874"/>
                </a:cubicBezTo>
                <a:cubicBezTo>
                  <a:pt x="1718" y="842"/>
                  <a:pt x="1686" y="795"/>
                  <a:pt x="1638" y="795"/>
                </a:cubicBezTo>
                <a:lnTo>
                  <a:pt x="748" y="795"/>
                </a:lnTo>
                <a:cubicBezTo>
                  <a:pt x="700" y="795"/>
                  <a:pt x="668" y="842"/>
                  <a:pt x="668" y="874"/>
                </a:cubicBezTo>
                <a:cubicBezTo>
                  <a:pt x="668" y="922"/>
                  <a:pt x="700" y="954"/>
                  <a:pt x="748" y="954"/>
                </a:cubicBezTo>
                <a:close/>
                <a:moveTo>
                  <a:pt x="748" y="1479"/>
                </a:moveTo>
                <a:lnTo>
                  <a:pt x="1638" y="1479"/>
                </a:lnTo>
                <a:cubicBezTo>
                  <a:pt x="1686" y="1479"/>
                  <a:pt x="1718" y="1431"/>
                  <a:pt x="1718" y="1399"/>
                </a:cubicBezTo>
                <a:cubicBezTo>
                  <a:pt x="1718" y="1351"/>
                  <a:pt x="1686" y="1320"/>
                  <a:pt x="1638" y="1320"/>
                </a:cubicBezTo>
                <a:lnTo>
                  <a:pt x="748" y="1320"/>
                </a:lnTo>
                <a:cubicBezTo>
                  <a:pt x="700" y="1320"/>
                  <a:pt x="668" y="1351"/>
                  <a:pt x="668" y="1399"/>
                </a:cubicBezTo>
                <a:cubicBezTo>
                  <a:pt x="668" y="1431"/>
                  <a:pt x="700" y="1479"/>
                  <a:pt x="748" y="1479"/>
                </a:cubicBezTo>
                <a:close/>
                <a:moveTo>
                  <a:pt x="732" y="1988"/>
                </a:moveTo>
                <a:lnTo>
                  <a:pt x="2688" y="1988"/>
                </a:lnTo>
                <a:cubicBezTo>
                  <a:pt x="2736" y="1988"/>
                  <a:pt x="2768" y="1956"/>
                  <a:pt x="2768" y="1908"/>
                </a:cubicBezTo>
                <a:cubicBezTo>
                  <a:pt x="2768" y="1860"/>
                  <a:pt x="2736" y="1829"/>
                  <a:pt x="2688" y="1829"/>
                </a:cubicBezTo>
                <a:lnTo>
                  <a:pt x="732" y="1829"/>
                </a:lnTo>
                <a:cubicBezTo>
                  <a:pt x="684" y="1829"/>
                  <a:pt x="652" y="1860"/>
                  <a:pt x="652" y="1908"/>
                </a:cubicBezTo>
                <a:cubicBezTo>
                  <a:pt x="652" y="1940"/>
                  <a:pt x="684" y="1988"/>
                  <a:pt x="732" y="1988"/>
                </a:cubicBezTo>
                <a:close/>
                <a:moveTo>
                  <a:pt x="2688" y="2496"/>
                </a:moveTo>
                <a:cubicBezTo>
                  <a:pt x="2736" y="2496"/>
                  <a:pt x="2768" y="2465"/>
                  <a:pt x="2768" y="2417"/>
                </a:cubicBezTo>
                <a:cubicBezTo>
                  <a:pt x="2768" y="2369"/>
                  <a:pt x="2736" y="2338"/>
                  <a:pt x="2688" y="2338"/>
                </a:cubicBezTo>
                <a:lnTo>
                  <a:pt x="732" y="2338"/>
                </a:lnTo>
                <a:cubicBezTo>
                  <a:pt x="684" y="2338"/>
                  <a:pt x="652" y="2369"/>
                  <a:pt x="652" y="2417"/>
                </a:cubicBezTo>
                <a:cubicBezTo>
                  <a:pt x="652" y="2465"/>
                  <a:pt x="684" y="2496"/>
                  <a:pt x="732" y="2496"/>
                </a:cubicBezTo>
                <a:close/>
                <a:moveTo>
                  <a:pt x="985" y="3419"/>
                </a:moveTo>
                <a:cubicBezTo>
                  <a:pt x="906" y="3419"/>
                  <a:pt x="842" y="3387"/>
                  <a:pt x="778" y="3339"/>
                </a:cubicBezTo>
                <a:cubicBezTo>
                  <a:pt x="747" y="3324"/>
                  <a:pt x="699" y="3324"/>
                  <a:pt x="667" y="3356"/>
                </a:cubicBezTo>
                <a:cubicBezTo>
                  <a:pt x="635" y="3387"/>
                  <a:pt x="651" y="3435"/>
                  <a:pt x="683" y="3467"/>
                </a:cubicBezTo>
                <a:cubicBezTo>
                  <a:pt x="747" y="3514"/>
                  <a:pt x="810" y="3546"/>
                  <a:pt x="890" y="3562"/>
                </a:cubicBezTo>
                <a:lnTo>
                  <a:pt x="890" y="3657"/>
                </a:lnTo>
                <a:cubicBezTo>
                  <a:pt x="890" y="3705"/>
                  <a:pt x="922" y="3737"/>
                  <a:pt x="969" y="3737"/>
                </a:cubicBezTo>
                <a:cubicBezTo>
                  <a:pt x="1001" y="3737"/>
                  <a:pt x="1049" y="3705"/>
                  <a:pt x="1049" y="3657"/>
                </a:cubicBezTo>
                <a:lnTo>
                  <a:pt x="1049" y="3578"/>
                </a:lnTo>
                <a:cubicBezTo>
                  <a:pt x="1129" y="3562"/>
                  <a:pt x="1224" y="3499"/>
                  <a:pt x="1256" y="3387"/>
                </a:cubicBezTo>
                <a:lnTo>
                  <a:pt x="1256" y="3371"/>
                </a:lnTo>
                <a:cubicBezTo>
                  <a:pt x="1272" y="3292"/>
                  <a:pt x="1239" y="3228"/>
                  <a:pt x="1192" y="3181"/>
                </a:cubicBezTo>
                <a:cubicBezTo>
                  <a:pt x="1160" y="3148"/>
                  <a:pt x="1129" y="3133"/>
                  <a:pt x="1096" y="3133"/>
                </a:cubicBezTo>
                <a:cubicBezTo>
                  <a:pt x="1065" y="3117"/>
                  <a:pt x="1017" y="3101"/>
                  <a:pt x="985" y="3085"/>
                </a:cubicBezTo>
                <a:cubicBezTo>
                  <a:pt x="953" y="3085"/>
                  <a:pt x="922" y="3069"/>
                  <a:pt x="890" y="3053"/>
                </a:cubicBezTo>
                <a:cubicBezTo>
                  <a:pt x="874" y="3053"/>
                  <a:pt x="858" y="3037"/>
                  <a:pt x="858" y="3021"/>
                </a:cubicBezTo>
                <a:cubicBezTo>
                  <a:pt x="842" y="3005"/>
                  <a:pt x="842" y="2990"/>
                  <a:pt x="858" y="2974"/>
                </a:cubicBezTo>
                <a:cubicBezTo>
                  <a:pt x="890" y="2942"/>
                  <a:pt x="969" y="2942"/>
                  <a:pt x="1001" y="2942"/>
                </a:cubicBezTo>
                <a:cubicBezTo>
                  <a:pt x="1065" y="2958"/>
                  <a:pt x="1076" y="2974"/>
                  <a:pt x="1113" y="2990"/>
                </a:cubicBezTo>
                <a:cubicBezTo>
                  <a:pt x="1160" y="3005"/>
                  <a:pt x="1208" y="3005"/>
                  <a:pt x="1224" y="2974"/>
                </a:cubicBezTo>
                <a:cubicBezTo>
                  <a:pt x="1256" y="2942"/>
                  <a:pt x="1256" y="2878"/>
                  <a:pt x="1208" y="2862"/>
                </a:cubicBezTo>
                <a:cubicBezTo>
                  <a:pt x="1208" y="2847"/>
                  <a:pt x="1144" y="2815"/>
                  <a:pt x="1049" y="2783"/>
                </a:cubicBezTo>
                <a:lnTo>
                  <a:pt x="1049" y="2703"/>
                </a:lnTo>
                <a:cubicBezTo>
                  <a:pt x="1049" y="2656"/>
                  <a:pt x="1001" y="2624"/>
                  <a:pt x="969" y="2624"/>
                </a:cubicBezTo>
                <a:cubicBezTo>
                  <a:pt x="922" y="2624"/>
                  <a:pt x="890" y="2656"/>
                  <a:pt x="890" y="2703"/>
                </a:cubicBezTo>
                <a:lnTo>
                  <a:pt x="890" y="2783"/>
                </a:lnTo>
                <a:cubicBezTo>
                  <a:pt x="826" y="2799"/>
                  <a:pt x="778" y="2830"/>
                  <a:pt x="747" y="2862"/>
                </a:cubicBezTo>
                <a:cubicBezTo>
                  <a:pt x="683" y="2926"/>
                  <a:pt x="683" y="3021"/>
                  <a:pt x="715" y="3085"/>
                </a:cubicBezTo>
                <a:cubicBezTo>
                  <a:pt x="731" y="3133"/>
                  <a:pt x="778" y="3181"/>
                  <a:pt x="826" y="3196"/>
                </a:cubicBezTo>
                <a:cubicBezTo>
                  <a:pt x="874" y="3212"/>
                  <a:pt x="906" y="3228"/>
                  <a:pt x="938" y="3244"/>
                </a:cubicBezTo>
                <a:cubicBezTo>
                  <a:pt x="969" y="3244"/>
                  <a:pt x="1001" y="3260"/>
                  <a:pt x="1033" y="3276"/>
                </a:cubicBezTo>
                <a:cubicBezTo>
                  <a:pt x="1049" y="3276"/>
                  <a:pt x="1065" y="3287"/>
                  <a:pt x="1081" y="3292"/>
                </a:cubicBezTo>
                <a:cubicBezTo>
                  <a:pt x="1096" y="3308"/>
                  <a:pt x="1096" y="3324"/>
                  <a:pt x="1096" y="3356"/>
                </a:cubicBezTo>
                <a:cubicBezTo>
                  <a:pt x="1081" y="3403"/>
                  <a:pt x="1033" y="3419"/>
                  <a:pt x="985" y="341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7">
            <a:extLst>
              <a:ext uri="{FF2B5EF4-FFF2-40B4-BE49-F238E27FC236}">
                <a16:creationId xmlns:a16="http://schemas.microsoft.com/office/drawing/2014/main" id="{1855703B-9FB9-B941-B873-B8C66279F24B}"/>
              </a:ext>
            </a:extLst>
          </p:cNvPr>
          <p:cNvSpPr/>
          <p:nvPr/>
        </p:nvSpPr>
        <p:spPr>
          <a:xfrm>
            <a:off x="17761451" y="9716692"/>
            <a:ext cx="1196280" cy="1516680"/>
          </a:xfrm>
          <a:custGeom>
            <a:avLst/>
            <a:gdLst/>
            <a:ahLst/>
            <a:cxnLst>
              <a:cxn ang="3cd4">
                <a:pos x="hc" y="t"/>
              </a:cxn>
              <a:cxn ang="cd2">
                <a:pos x="l" y="vc"/>
              </a:cxn>
              <a:cxn ang="cd4">
                <a:pos x="hc" y="b"/>
              </a:cxn>
              <a:cxn ang="0">
                <a:pos x="r" y="vc"/>
              </a:cxn>
            </a:cxnLst>
            <a:rect l="l" t="t" r="r" b="b"/>
            <a:pathLst>
              <a:path w="3324" h="4214">
                <a:moveTo>
                  <a:pt x="2147" y="15"/>
                </a:moveTo>
                <a:cubicBezTo>
                  <a:pt x="2131" y="0"/>
                  <a:pt x="2115" y="0"/>
                  <a:pt x="2083" y="0"/>
                </a:cubicBezTo>
                <a:lnTo>
                  <a:pt x="79" y="0"/>
                </a:lnTo>
                <a:cubicBezTo>
                  <a:pt x="31" y="0"/>
                  <a:pt x="0" y="31"/>
                  <a:pt x="0" y="79"/>
                </a:cubicBezTo>
                <a:lnTo>
                  <a:pt x="0" y="4135"/>
                </a:lnTo>
                <a:cubicBezTo>
                  <a:pt x="0" y="4166"/>
                  <a:pt x="31" y="4214"/>
                  <a:pt x="79" y="4214"/>
                </a:cubicBezTo>
                <a:lnTo>
                  <a:pt x="3245" y="4214"/>
                </a:lnTo>
                <a:cubicBezTo>
                  <a:pt x="3292" y="4214"/>
                  <a:pt x="3324" y="4166"/>
                  <a:pt x="3324" y="4135"/>
                </a:cubicBezTo>
                <a:lnTo>
                  <a:pt x="3324" y="1224"/>
                </a:lnTo>
                <a:cubicBezTo>
                  <a:pt x="3324" y="1193"/>
                  <a:pt x="3308" y="1176"/>
                  <a:pt x="3292" y="1160"/>
                </a:cubicBezTo>
                <a:close/>
                <a:moveTo>
                  <a:pt x="2210" y="318"/>
                </a:moveTo>
                <a:lnTo>
                  <a:pt x="3037" y="1129"/>
                </a:lnTo>
                <a:lnTo>
                  <a:pt x="2210" y="1129"/>
                </a:lnTo>
                <a:close/>
                <a:moveTo>
                  <a:pt x="159" y="4055"/>
                </a:moveTo>
                <a:lnTo>
                  <a:pt x="159" y="158"/>
                </a:lnTo>
                <a:lnTo>
                  <a:pt x="2052" y="158"/>
                </a:lnTo>
                <a:lnTo>
                  <a:pt x="2052" y="1208"/>
                </a:lnTo>
                <a:cubicBezTo>
                  <a:pt x="2052" y="1256"/>
                  <a:pt x="2083" y="1288"/>
                  <a:pt x="2131" y="1288"/>
                </a:cubicBezTo>
                <a:lnTo>
                  <a:pt x="3165" y="1288"/>
                </a:lnTo>
                <a:lnTo>
                  <a:pt x="3165" y="4055"/>
                </a:lnTo>
                <a:close/>
                <a:moveTo>
                  <a:pt x="731" y="954"/>
                </a:moveTo>
                <a:lnTo>
                  <a:pt x="1622" y="954"/>
                </a:lnTo>
                <a:cubicBezTo>
                  <a:pt x="1670" y="954"/>
                  <a:pt x="1701" y="922"/>
                  <a:pt x="1701" y="874"/>
                </a:cubicBezTo>
                <a:cubicBezTo>
                  <a:pt x="1701" y="842"/>
                  <a:pt x="1670" y="795"/>
                  <a:pt x="1622" y="795"/>
                </a:cubicBezTo>
                <a:lnTo>
                  <a:pt x="731" y="795"/>
                </a:lnTo>
                <a:cubicBezTo>
                  <a:pt x="683" y="795"/>
                  <a:pt x="652" y="842"/>
                  <a:pt x="652" y="874"/>
                </a:cubicBezTo>
                <a:cubicBezTo>
                  <a:pt x="652" y="922"/>
                  <a:pt x="683" y="954"/>
                  <a:pt x="731" y="954"/>
                </a:cubicBezTo>
                <a:close/>
                <a:moveTo>
                  <a:pt x="731" y="1479"/>
                </a:moveTo>
                <a:lnTo>
                  <a:pt x="1622" y="1479"/>
                </a:lnTo>
                <a:cubicBezTo>
                  <a:pt x="1670" y="1479"/>
                  <a:pt x="1701" y="1431"/>
                  <a:pt x="1701" y="1399"/>
                </a:cubicBezTo>
                <a:cubicBezTo>
                  <a:pt x="1701" y="1351"/>
                  <a:pt x="1670" y="1320"/>
                  <a:pt x="1622" y="1320"/>
                </a:cubicBezTo>
                <a:lnTo>
                  <a:pt x="731" y="1320"/>
                </a:lnTo>
                <a:cubicBezTo>
                  <a:pt x="683" y="1320"/>
                  <a:pt x="652" y="1351"/>
                  <a:pt x="652" y="1399"/>
                </a:cubicBezTo>
                <a:cubicBezTo>
                  <a:pt x="652" y="1431"/>
                  <a:pt x="683" y="1479"/>
                  <a:pt x="731" y="1479"/>
                </a:cubicBezTo>
                <a:close/>
                <a:moveTo>
                  <a:pt x="2672" y="1829"/>
                </a:moveTo>
                <a:lnTo>
                  <a:pt x="716" y="1829"/>
                </a:lnTo>
                <a:cubicBezTo>
                  <a:pt x="668" y="1829"/>
                  <a:pt x="636" y="1860"/>
                  <a:pt x="636" y="1908"/>
                </a:cubicBezTo>
                <a:cubicBezTo>
                  <a:pt x="636" y="1940"/>
                  <a:pt x="668" y="1988"/>
                  <a:pt x="716" y="1988"/>
                </a:cubicBezTo>
                <a:lnTo>
                  <a:pt x="2672" y="1988"/>
                </a:lnTo>
                <a:cubicBezTo>
                  <a:pt x="2719" y="1988"/>
                  <a:pt x="2751" y="1956"/>
                  <a:pt x="2751" y="1908"/>
                </a:cubicBezTo>
                <a:cubicBezTo>
                  <a:pt x="2751" y="1860"/>
                  <a:pt x="2719" y="1829"/>
                  <a:pt x="2672" y="1829"/>
                </a:cubicBezTo>
                <a:close/>
                <a:moveTo>
                  <a:pt x="2672" y="2338"/>
                </a:moveTo>
                <a:lnTo>
                  <a:pt x="716" y="2338"/>
                </a:lnTo>
                <a:cubicBezTo>
                  <a:pt x="668" y="2338"/>
                  <a:pt x="636" y="2369"/>
                  <a:pt x="636" y="2417"/>
                </a:cubicBezTo>
                <a:cubicBezTo>
                  <a:pt x="636" y="2465"/>
                  <a:pt x="668" y="2496"/>
                  <a:pt x="716" y="2496"/>
                </a:cubicBezTo>
                <a:lnTo>
                  <a:pt x="2672" y="2496"/>
                </a:lnTo>
                <a:cubicBezTo>
                  <a:pt x="2719" y="2496"/>
                  <a:pt x="2751" y="2465"/>
                  <a:pt x="2751" y="2417"/>
                </a:cubicBezTo>
                <a:cubicBezTo>
                  <a:pt x="2751" y="2369"/>
                  <a:pt x="2719" y="2338"/>
                  <a:pt x="2672" y="2338"/>
                </a:cubicBezTo>
                <a:close/>
                <a:moveTo>
                  <a:pt x="1176" y="3181"/>
                </a:moveTo>
                <a:cubicBezTo>
                  <a:pt x="1144" y="3148"/>
                  <a:pt x="1112" y="3133"/>
                  <a:pt x="1080" y="3133"/>
                </a:cubicBezTo>
                <a:cubicBezTo>
                  <a:pt x="1048" y="3117"/>
                  <a:pt x="1017" y="3101"/>
                  <a:pt x="969" y="3085"/>
                </a:cubicBezTo>
                <a:cubicBezTo>
                  <a:pt x="937" y="3085"/>
                  <a:pt x="905" y="3069"/>
                  <a:pt x="873" y="3053"/>
                </a:cubicBezTo>
                <a:cubicBezTo>
                  <a:pt x="858" y="3053"/>
                  <a:pt x="842" y="3037"/>
                  <a:pt x="842" y="3021"/>
                </a:cubicBezTo>
                <a:cubicBezTo>
                  <a:pt x="826" y="3005"/>
                  <a:pt x="842" y="2990"/>
                  <a:pt x="842" y="2974"/>
                </a:cubicBezTo>
                <a:cubicBezTo>
                  <a:pt x="873" y="2942"/>
                  <a:pt x="953" y="2942"/>
                  <a:pt x="985" y="2942"/>
                </a:cubicBezTo>
                <a:cubicBezTo>
                  <a:pt x="1048" y="2958"/>
                  <a:pt x="1096" y="2990"/>
                  <a:pt x="1112" y="2990"/>
                </a:cubicBezTo>
                <a:cubicBezTo>
                  <a:pt x="1144" y="3005"/>
                  <a:pt x="1191" y="3005"/>
                  <a:pt x="1208" y="2974"/>
                </a:cubicBezTo>
                <a:cubicBezTo>
                  <a:pt x="1239" y="2942"/>
                  <a:pt x="1239" y="2878"/>
                  <a:pt x="1191" y="2862"/>
                </a:cubicBezTo>
                <a:cubicBezTo>
                  <a:pt x="1191" y="2847"/>
                  <a:pt x="1128" y="2815"/>
                  <a:pt x="1033" y="2783"/>
                </a:cubicBezTo>
                <a:lnTo>
                  <a:pt x="1033" y="2703"/>
                </a:lnTo>
                <a:cubicBezTo>
                  <a:pt x="1033" y="2656"/>
                  <a:pt x="1001" y="2624"/>
                  <a:pt x="953" y="2624"/>
                </a:cubicBezTo>
                <a:cubicBezTo>
                  <a:pt x="905" y="2624"/>
                  <a:pt x="873" y="2656"/>
                  <a:pt x="873" y="2703"/>
                </a:cubicBezTo>
                <a:lnTo>
                  <a:pt x="873" y="2783"/>
                </a:lnTo>
                <a:cubicBezTo>
                  <a:pt x="810" y="2799"/>
                  <a:pt x="762" y="2830"/>
                  <a:pt x="730" y="2862"/>
                </a:cubicBezTo>
                <a:cubicBezTo>
                  <a:pt x="667" y="2926"/>
                  <a:pt x="667" y="3021"/>
                  <a:pt x="699" y="3085"/>
                </a:cubicBezTo>
                <a:cubicBezTo>
                  <a:pt x="715" y="3133"/>
                  <a:pt x="762" y="3181"/>
                  <a:pt x="826" y="3196"/>
                </a:cubicBezTo>
                <a:cubicBezTo>
                  <a:pt x="858" y="3212"/>
                  <a:pt x="890" y="3228"/>
                  <a:pt x="921" y="3244"/>
                </a:cubicBezTo>
                <a:cubicBezTo>
                  <a:pt x="953" y="3244"/>
                  <a:pt x="985" y="3260"/>
                  <a:pt x="1017" y="3276"/>
                </a:cubicBezTo>
                <a:cubicBezTo>
                  <a:pt x="1048" y="3276"/>
                  <a:pt x="1049" y="3287"/>
                  <a:pt x="1064" y="3292"/>
                </a:cubicBezTo>
                <a:cubicBezTo>
                  <a:pt x="1080" y="3308"/>
                  <a:pt x="1080" y="3324"/>
                  <a:pt x="1080" y="3356"/>
                </a:cubicBezTo>
                <a:cubicBezTo>
                  <a:pt x="1064" y="3403"/>
                  <a:pt x="1017" y="3419"/>
                  <a:pt x="969" y="3419"/>
                </a:cubicBezTo>
                <a:cubicBezTo>
                  <a:pt x="905" y="3419"/>
                  <a:pt x="826" y="3387"/>
                  <a:pt x="762" y="3339"/>
                </a:cubicBezTo>
                <a:cubicBezTo>
                  <a:pt x="730" y="3324"/>
                  <a:pt x="682" y="3324"/>
                  <a:pt x="651" y="3356"/>
                </a:cubicBezTo>
                <a:cubicBezTo>
                  <a:pt x="619" y="3387"/>
                  <a:pt x="635" y="3435"/>
                  <a:pt x="667" y="3467"/>
                </a:cubicBezTo>
                <a:cubicBezTo>
                  <a:pt x="730" y="3514"/>
                  <a:pt x="794" y="3546"/>
                  <a:pt x="873" y="3562"/>
                </a:cubicBezTo>
                <a:lnTo>
                  <a:pt x="873" y="3657"/>
                </a:lnTo>
                <a:cubicBezTo>
                  <a:pt x="873" y="3705"/>
                  <a:pt x="905" y="3737"/>
                  <a:pt x="953" y="3737"/>
                </a:cubicBezTo>
                <a:cubicBezTo>
                  <a:pt x="1001" y="3737"/>
                  <a:pt x="1033" y="3705"/>
                  <a:pt x="1033" y="3657"/>
                </a:cubicBezTo>
                <a:lnTo>
                  <a:pt x="1033" y="3578"/>
                </a:lnTo>
                <a:cubicBezTo>
                  <a:pt x="1112" y="3562"/>
                  <a:pt x="1208" y="3499"/>
                  <a:pt x="1239" y="3387"/>
                </a:cubicBezTo>
                <a:lnTo>
                  <a:pt x="1239" y="3371"/>
                </a:lnTo>
                <a:cubicBezTo>
                  <a:pt x="1255" y="3292"/>
                  <a:pt x="1223" y="3228"/>
                  <a:pt x="1176" y="318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3" name="TextBox 62">
            <a:extLst>
              <a:ext uri="{FF2B5EF4-FFF2-40B4-BE49-F238E27FC236}">
                <a16:creationId xmlns:a16="http://schemas.microsoft.com/office/drawing/2014/main" id="{AB52B2C7-6794-754A-9524-9DB40E34CCC1}"/>
              </a:ext>
            </a:extLst>
          </p:cNvPr>
          <p:cNvSpPr txBox="1"/>
          <p:nvPr/>
        </p:nvSpPr>
        <p:spPr>
          <a:xfrm>
            <a:off x="13207359" y="8292956"/>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andscape</a:t>
            </a:r>
          </a:p>
        </p:txBody>
      </p:sp>
      <p:sp>
        <p:nvSpPr>
          <p:cNvPr id="64" name="Freeform: Shape 1">
            <a:extLst>
              <a:ext uri="{FF2B5EF4-FFF2-40B4-BE49-F238E27FC236}">
                <a16:creationId xmlns:a16="http://schemas.microsoft.com/office/drawing/2014/main" id="{60A41347-7FA7-4D40-B258-D82668C39E3F}"/>
              </a:ext>
            </a:extLst>
          </p:cNvPr>
          <p:cNvSpPr/>
          <p:nvPr/>
        </p:nvSpPr>
        <p:spPr>
          <a:xfrm>
            <a:off x="13991456" y="6802541"/>
            <a:ext cx="1385280" cy="1018799"/>
          </a:xfrm>
          <a:custGeom>
            <a:avLst/>
            <a:gdLst/>
            <a:ahLst/>
            <a:cxnLst>
              <a:cxn ang="3cd4">
                <a:pos x="hc" y="t"/>
              </a:cxn>
              <a:cxn ang="cd2">
                <a:pos x="l" y="vc"/>
              </a:cxn>
              <a:cxn ang="cd4">
                <a:pos x="hc" y="b"/>
              </a:cxn>
              <a:cxn ang="0">
                <a:pos x="r" y="vc"/>
              </a:cxn>
            </a:cxnLst>
            <a:rect l="l" t="t" r="r" b="b"/>
            <a:pathLst>
              <a:path w="3849" h="2831">
                <a:moveTo>
                  <a:pt x="80" y="2831"/>
                </a:moveTo>
                <a:lnTo>
                  <a:pt x="3770" y="2831"/>
                </a:lnTo>
                <a:cubicBezTo>
                  <a:pt x="3802" y="2831"/>
                  <a:pt x="3849" y="2800"/>
                  <a:pt x="3849" y="2752"/>
                </a:cubicBezTo>
                <a:lnTo>
                  <a:pt x="3849" y="971"/>
                </a:lnTo>
                <a:cubicBezTo>
                  <a:pt x="3849" y="955"/>
                  <a:pt x="3833" y="923"/>
                  <a:pt x="3818" y="907"/>
                </a:cubicBezTo>
                <a:lnTo>
                  <a:pt x="2975" y="32"/>
                </a:lnTo>
                <a:cubicBezTo>
                  <a:pt x="2975" y="16"/>
                  <a:pt x="2943" y="0"/>
                  <a:pt x="2927" y="0"/>
                </a:cubicBezTo>
                <a:lnTo>
                  <a:pt x="80" y="0"/>
                </a:lnTo>
                <a:cubicBezTo>
                  <a:pt x="32" y="0"/>
                  <a:pt x="0" y="32"/>
                  <a:pt x="0" y="80"/>
                </a:cubicBezTo>
                <a:lnTo>
                  <a:pt x="0" y="2752"/>
                </a:lnTo>
                <a:cubicBezTo>
                  <a:pt x="0" y="2800"/>
                  <a:pt x="32" y="2831"/>
                  <a:pt x="80" y="2831"/>
                </a:cubicBezTo>
                <a:close/>
                <a:moveTo>
                  <a:pt x="3579" y="891"/>
                </a:moveTo>
                <a:lnTo>
                  <a:pt x="2959" y="891"/>
                </a:lnTo>
                <a:lnTo>
                  <a:pt x="2959" y="223"/>
                </a:lnTo>
                <a:close/>
                <a:moveTo>
                  <a:pt x="159" y="159"/>
                </a:moveTo>
                <a:lnTo>
                  <a:pt x="2800" y="159"/>
                </a:lnTo>
                <a:lnTo>
                  <a:pt x="2800" y="971"/>
                </a:lnTo>
                <a:cubicBezTo>
                  <a:pt x="2800" y="1018"/>
                  <a:pt x="2831" y="1050"/>
                  <a:pt x="2879" y="1050"/>
                </a:cubicBezTo>
                <a:lnTo>
                  <a:pt x="3690" y="1050"/>
                </a:lnTo>
                <a:lnTo>
                  <a:pt x="3690" y="2672"/>
                </a:lnTo>
                <a:lnTo>
                  <a:pt x="159" y="2672"/>
                </a:lnTo>
                <a:close/>
                <a:moveTo>
                  <a:pt x="652" y="668"/>
                </a:moveTo>
                <a:lnTo>
                  <a:pt x="2434" y="668"/>
                </a:lnTo>
                <a:cubicBezTo>
                  <a:pt x="2482" y="668"/>
                  <a:pt x="2513" y="637"/>
                  <a:pt x="2513" y="589"/>
                </a:cubicBezTo>
                <a:cubicBezTo>
                  <a:pt x="2513" y="541"/>
                  <a:pt x="2482" y="509"/>
                  <a:pt x="2434" y="509"/>
                </a:cubicBezTo>
                <a:lnTo>
                  <a:pt x="652" y="509"/>
                </a:lnTo>
                <a:cubicBezTo>
                  <a:pt x="605" y="509"/>
                  <a:pt x="573" y="541"/>
                  <a:pt x="573" y="589"/>
                </a:cubicBezTo>
                <a:cubicBezTo>
                  <a:pt x="573" y="637"/>
                  <a:pt x="605" y="668"/>
                  <a:pt x="652" y="668"/>
                </a:cubicBezTo>
                <a:close/>
                <a:moveTo>
                  <a:pt x="652" y="1177"/>
                </a:moveTo>
                <a:lnTo>
                  <a:pt x="2434" y="1177"/>
                </a:lnTo>
                <a:cubicBezTo>
                  <a:pt x="2482" y="1177"/>
                  <a:pt x="2513" y="1146"/>
                  <a:pt x="2513" y="1098"/>
                </a:cubicBezTo>
                <a:cubicBezTo>
                  <a:pt x="2513" y="1050"/>
                  <a:pt x="2482" y="1018"/>
                  <a:pt x="2434" y="1018"/>
                </a:cubicBezTo>
                <a:lnTo>
                  <a:pt x="652" y="1018"/>
                </a:lnTo>
                <a:cubicBezTo>
                  <a:pt x="605" y="1018"/>
                  <a:pt x="573" y="1050"/>
                  <a:pt x="573" y="1098"/>
                </a:cubicBezTo>
                <a:cubicBezTo>
                  <a:pt x="573" y="1146"/>
                  <a:pt x="605" y="1177"/>
                  <a:pt x="652" y="1177"/>
                </a:cubicBezTo>
                <a:close/>
                <a:moveTo>
                  <a:pt x="3197" y="1527"/>
                </a:moveTo>
                <a:lnTo>
                  <a:pt x="652" y="1527"/>
                </a:lnTo>
                <a:cubicBezTo>
                  <a:pt x="605" y="1527"/>
                  <a:pt x="573" y="1559"/>
                  <a:pt x="573" y="1607"/>
                </a:cubicBezTo>
                <a:cubicBezTo>
                  <a:pt x="573" y="1655"/>
                  <a:pt x="605" y="1686"/>
                  <a:pt x="652" y="1686"/>
                </a:cubicBezTo>
                <a:lnTo>
                  <a:pt x="3197" y="1686"/>
                </a:lnTo>
                <a:cubicBezTo>
                  <a:pt x="3245" y="1686"/>
                  <a:pt x="3277" y="1655"/>
                  <a:pt x="3277" y="1607"/>
                </a:cubicBezTo>
                <a:cubicBezTo>
                  <a:pt x="3277" y="1559"/>
                  <a:pt x="3245" y="1527"/>
                  <a:pt x="3197" y="1527"/>
                </a:cubicBezTo>
                <a:close/>
                <a:moveTo>
                  <a:pt x="3197" y="2036"/>
                </a:moveTo>
                <a:lnTo>
                  <a:pt x="652" y="2036"/>
                </a:lnTo>
                <a:cubicBezTo>
                  <a:pt x="605" y="2036"/>
                  <a:pt x="573" y="2068"/>
                  <a:pt x="573" y="2116"/>
                </a:cubicBezTo>
                <a:cubicBezTo>
                  <a:pt x="573" y="2164"/>
                  <a:pt x="605" y="2195"/>
                  <a:pt x="652" y="2195"/>
                </a:cubicBezTo>
                <a:lnTo>
                  <a:pt x="3197" y="2195"/>
                </a:lnTo>
                <a:cubicBezTo>
                  <a:pt x="3245" y="2195"/>
                  <a:pt x="3277" y="2164"/>
                  <a:pt x="3277" y="2116"/>
                </a:cubicBezTo>
                <a:cubicBezTo>
                  <a:pt x="3277" y="2068"/>
                  <a:pt x="3245" y="2036"/>
                  <a:pt x="3197" y="203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5" name="TextBox 64">
            <a:extLst>
              <a:ext uri="{FF2B5EF4-FFF2-40B4-BE49-F238E27FC236}">
                <a16:creationId xmlns:a16="http://schemas.microsoft.com/office/drawing/2014/main" id="{AC764A46-CE37-424D-9A58-BFC01B7DAB96}"/>
              </a:ext>
            </a:extLst>
          </p:cNvPr>
          <p:cNvSpPr txBox="1"/>
          <p:nvPr/>
        </p:nvSpPr>
        <p:spPr>
          <a:xfrm>
            <a:off x="16942534" y="8292956"/>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Document</a:t>
            </a:r>
            <a:endParaRPr lang="en-US" sz="2800" dirty="0"/>
          </a:p>
        </p:txBody>
      </p:sp>
      <p:sp>
        <p:nvSpPr>
          <p:cNvPr id="66" name="TextBox 65">
            <a:extLst>
              <a:ext uri="{FF2B5EF4-FFF2-40B4-BE49-F238E27FC236}">
                <a16:creationId xmlns:a16="http://schemas.microsoft.com/office/drawing/2014/main" id="{953A0494-F03C-5C4B-8E74-3FA552F51458}"/>
              </a:ext>
            </a:extLst>
          </p:cNvPr>
          <p:cNvSpPr txBox="1"/>
          <p:nvPr/>
        </p:nvSpPr>
        <p:spPr>
          <a:xfrm>
            <a:off x="12933039" y="5260750"/>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voice Approved</a:t>
            </a:r>
          </a:p>
        </p:txBody>
      </p:sp>
      <p:sp>
        <p:nvSpPr>
          <p:cNvPr id="67" name="TextBox 66">
            <a:extLst>
              <a:ext uri="{FF2B5EF4-FFF2-40B4-BE49-F238E27FC236}">
                <a16:creationId xmlns:a16="http://schemas.microsoft.com/office/drawing/2014/main" id="{6F94775A-EB0D-AE48-82BC-C70310702F00}"/>
              </a:ext>
            </a:extLst>
          </p:cNvPr>
          <p:cNvSpPr txBox="1"/>
          <p:nvPr/>
        </p:nvSpPr>
        <p:spPr>
          <a:xfrm>
            <a:off x="17253693" y="5260750"/>
            <a:ext cx="211138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Invoice</a:t>
            </a:r>
          </a:p>
        </p:txBody>
      </p:sp>
      <p:sp>
        <p:nvSpPr>
          <p:cNvPr id="68" name="Freeform: Shape 4">
            <a:extLst>
              <a:ext uri="{FF2B5EF4-FFF2-40B4-BE49-F238E27FC236}">
                <a16:creationId xmlns:a16="http://schemas.microsoft.com/office/drawing/2014/main" id="{33FEFCA7-0B29-1D46-A974-596335D06FB0}"/>
              </a:ext>
            </a:extLst>
          </p:cNvPr>
          <p:cNvSpPr/>
          <p:nvPr/>
        </p:nvSpPr>
        <p:spPr>
          <a:xfrm>
            <a:off x="17710886" y="6553600"/>
            <a:ext cx="1196640" cy="1516680"/>
          </a:xfrm>
          <a:custGeom>
            <a:avLst/>
            <a:gdLst/>
            <a:ahLst/>
            <a:cxnLst>
              <a:cxn ang="3cd4">
                <a:pos x="hc" y="t"/>
              </a:cxn>
              <a:cxn ang="cd2">
                <a:pos x="l" y="vc"/>
              </a:cxn>
              <a:cxn ang="cd4">
                <a:pos x="hc" y="b"/>
              </a:cxn>
              <a:cxn ang="0">
                <a:pos x="r" y="vc"/>
              </a:cxn>
            </a:cxnLst>
            <a:rect l="l" t="t" r="r" b="b"/>
            <a:pathLst>
              <a:path w="3325" h="4214">
                <a:moveTo>
                  <a:pt x="0" y="79"/>
                </a:moveTo>
                <a:lnTo>
                  <a:pt x="0" y="4135"/>
                </a:lnTo>
                <a:cubicBezTo>
                  <a:pt x="0" y="4167"/>
                  <a:pt x="32" y="4214"/>
                  <a:pt x="80" y="4214"/>
                </a:cubicBezTo>
                <a:lnTo>
                  <a:pt x="3245" y="4214"/>
                </a:lnTo>
                <a:cubicBezTo>
                  <a:pt x="3293" y="4214"/>
                  <a:pt x="3325" y="4167"/>
                  <a:pt x="3325" y="4135"/>
                </a:cubicBezTo>
                <a:lnTo>
                  <a:pt x="3325" y="1224"/>
                </a:lnTo>
                <a:cubicBezTo>
                  <a:pt x="3325" y="1193"/>
                  <a:pt x="3325" y="1176"/>
                  <a:pt x="3308" y="1161"/>
                </a:cubicBezTo>
                <a:lnTo>
                  <a:pt x="2148" y="16"/>
                </a:lnTo>
                <a:cubicBezTo>
                  <a:pt x="2132" y="0"/>
                  <a:pt x="2116" y="0"/>
                  <a:pt x="2084" y="0"/>
                </a:cubicBezTo>
                <a:lnTo>
                  <a:pt x="80" y="0"/>
                </a:lnTo>
                <a:cubicBezTo>
                  <a:pt x="32" y="0"/>
                  <a:pt x="0" y="31"/>
                  <a:pt x="0" y="79"/>
                </a:cubicBezTo>
                <a:close/>
                <a:moveTo>
                  <a:pt x="2211" y="318"/>
                </a:moveTo>
                <a:lnTo>
                  <a:pt x="3038" y="1129"/>
                </a:lnTo>
                <a:lnTo>
                  <a:pt x="2211" y="1129"/>
                </a:lnTo>
                <a:close/>
                <a:moveTo>
                  <a:pt x="160" y="159"/>
                </a:moveTo>
                <a:lnTo>
                  <a:pt x="2052" y="159"/>
                </a:lnTo>
                <a:lnTo>
                  <a:pt x="2052" y="1209"/>
                </a:lnTo>
                <a:cubicBezTo>
                  <a:pt x="2052" y="1256"/>
                  <a:pt x="2100" y="1288"/>
                  <a:pt x="2132" y="1288"/>
                </a:cubicBezTo>
                <a:lnTo>
                  <a:pt x="3165" y="1288"/>
                </a:lnTo>
                <a:lnTo>
                  <a:pt x="3165" y="4056"/>
                </a:lnTo>
                <a:lnTo>
                  <a:pt x="160" y="4056"/>
                </a:lnTo>
                <a:close/>
                <a:moveTo>
                  <a:pt x="732" y="954"/>
                </a:moveTo>
                <a:lnTo>
                  <a:pt x="1623" y="954"/>
                </a:lnTo>
                <a:cubicBezTo>
                  <a:pt x="1671" y="954"/>
                  <a:pt x="1702" y="922"/>
                  <a:pt x="1702" y="875"/>
                </a:cubicBezTo>
                <a:cubicBezTo>
                  <a:pt x="1702" y="843"/>
                  <a:pt x="1671" y="795"/>
                  <a:pt x="1623" y="795"/>
                </a:cubicBezTo>
                <a:lnTo>
                  <a:pt x="732" y="795"/>
                </a:lnTo>
                <a:cubicBezTo>
                  <a:pt x="684" y="795"/>
                  <a:pt x="653" y="843"/>
                  <a:pt x="653" y="875"/>
                </a:cubicBezTo>
                <a:cubicBezTo>
                  <a:pt x="653" y="922"/>
                  <a:pt x="684" y="954"/>
                  <a:pt x="732" y="954"/>
                </a:cubicBezTo>
                <a:close/>
                <a:moveTo>
                  <a:pt x="732" y="1479"/>
                </a:moveTo>
                <a:lnTo>
                  <a:pt x="1623" y="1479"/>
                </a:lnTo>
                <a:cubicBezTo>
                  <a:pt x="1671" y="1463"/>
                  <a:pt x="1702" y="1431"/>
                  <a:pt x="1702" y="1399"/>
                </a:cubicBezTo>
                <a:cubicBezTo>
                  <a:pt x="1702" y="1352"/>
                  <a:pt x="1671" y="1320"/>
                  <a:pt x="1623" y="1320"/>
                </a:cubicBezTo>
                <a:lnTo>
                  <a:pt x="732" y="1320"/>
                </a:lnTo>
                <a:cubicBezTo>
                  <a:pt x="684" y="1320"/>
                  <a:pt x="653" y="1352"/>
                  <a:pt x="653" y="1399"/>
                </a:cubicBezTo>
                <a:cubicBezTo>
                  <a:pt x="653" y="1431"/>
                  <a:pt x="684" y="1479"/>
                  <a:pt x="732" y="1479"/>
                </a:cubicBezTo>
                <a:close/>
                <a:moveTo>
                  <a:pt x="2672" y="1829"/>
                </a:moveTo>
                <a:lnTo>
                  <a:pt x="716" y="1829"/>
                </a:lnTo>
                <a:cubicBezTo>
                  <a:pt x="668" y="1829"/>
                  <a:pt x="636" y="1861"/>
                  <a:pt x="636" y="1908"/>
                </a:cubicBezTo>
                <a:cubicBezTo>
                  <a:pt x="636" y="1940"/>
                  <a:pt x="668" y="1988"/>
                  <a:pt x="716" y="1988"/>
                </a:cubicBezTo>
                <a:lnTo>
                  <a:pt x="2672" y="1988"/>
                </a:lnTo>
                <a:cubicBezTo>
                  <a:pt x="2720" y="1988"/>
                  <a:pt x="2752" y="1956"/>
                  <a:pt x="2752" y="1908"/>
                </a:cubicBezTo>
                <a:cubicBezTo>
                  <a:pt x="2752" y="1861"/>
                  <a:pt x="2720" y="1829"/>
                  <a:pt x="2672" y="1829"/>
                </a:cubicBezTo>
                <a:close/>
                <a:moveTo>
                  <a:pt x="2672" y="2338"/>
                </a:moveTo>
                <a:lnTo>
                  <a:pt x="716" y="2338"/>
                </a:lnTo>
                <a:cubicBezTo>
                  <a:pt x="668" y="2338"/>
                  <a:pt x="636" y="2369"/>
                  <a:pt x="636" y="2417"/>
                </a:cubicBezTo>
                <a:cubicBezTo>
                  <a:pt x="636" y="2465"/>
                  <a:pt x="668" y="2497"/>
                  <a:pt x="716" y="2497"/>
                </a:cubicBezTo>
                <a:lnTo>
                  <a:pt x="2672" y="2497"/>
                </a:lnTo>
                <a:cubicBezTo>
                  <a:pt x="2720" y="2497"/>
                  <a:pt x="2752" y="2465"/>
                  <a:pt x="2752" y="2417"/>
                </a:cubicBezTo>
                <a:cubicBezTo>
                  <a:pt x="2752" y="2369"/>
                  <a:pt x="2720" y="2338"/>
                  <a:pt x="2672" y="2338"/>
                </a:cubicBezTo>
                <a:close/>
                <a:moveTo>
                  <a:pt x="2672" y="2847"/>
                </a:moveTo>
                <a:lnTo>
                  <a:pt x="716" y="2847"/>
                </a:lnTo>
                <a:cubicBezTo>
                  <a:pt x="668" y="2847"/>
                  <a:pt x="636" y="2878"/>
                  <a:pt x="636" y="2926"/>
                </a:cubicBezTo>
                <a:cubicBezTo>
                  <a:pt x="636" y="2974"/>
                  <a:pt x="668" y="3006"/>
                  <a:pt x="716" y="3006"/>
                </a:cubicBezTo>
                <a:lnTo>
                  <a:pt x="2672" y="3006"/>
                </a:lnTo>
                <a:cubicBezTo>
                  <a:pt x="2720" y="3006"/>
                  <a:pt x="2752" y="2974"/>
                  <a:pt x="2752" y="2926"/>
                </a:cubicBezTo>
                <a:cubicBezTo>
                  <a:pt x="2752" y="2878"/>
                  <a:pt x="2720" y="2847"/>
                  <a:pt x="2672" y="2847"/>
                </a:cubicBezTo>
                <a:close/>
                <a:moveTo>
                  <a:pt x="2672" y="3356"/>
                </a:moveTo>
                <a:lnTo>
                  <a:pt x="716" y="3356"/>
                </a:lnTo>
                <a:cubicBezTo>
                  <a:pt x="668" y="3356"/>
                  <a:pt x="636" y="3387"/>
                  <a:pt x="636" y="3435"/>
                </a:cubicBezTo>
                <a:cubicBezTo>
                  <a:pt x="636" y="3483"/>
                  <a:pt x="668" y="3515"/>
                  <a:pt x="716" y="3515"/>
                </a:cubicBezTo>
                <a:lnTo>
                  <a:pt x="2672" y="3515"/>
                </a:lnTo>
                <a:cubicBezTo>
                  <a:pt x="2720" y="3515"/>
                  <a:pt x="2752" y="3483"/>
                  <a:pt x="2752" y="3435"/>
                </a:cubicBezTo>
                <a:cubicBezTo>
                  <a:pt x="2752" y="3403"/>
                  <a:pt x="2720" y="3356"/>
                  <a:pt x="2672" y="335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9" name="Freeform: Shape 6">
            <a:extLst>
              <a:ext uri="{FF2B5EF4-FFF2-40B4-BE49-F238E27FC236}">
                <a16:creationId xmlns:a16="http://schemas.microsoft.com/office/drawing/2014/main" id="{D658AAC0-E543-6640-A04C-EBC0C33B3AF1}"/>
              </a:ext>
            </a:extLst>
          </p:cNvPr>
          <p:cNvSpPr/>
          <p:nvPr/>
        </p:nvSpPr>
        <p:spPr>
          <a:xfrm>
            <a:off x="14030156" y="3193771"/>
            <a:ext cx="1307880" cy="1516680"/>
          </a:xfrm>
          <a:custGeom>
            <a:avLst/>
            <a:gdLst/>
            <a:ahLst/>
            <a:cxnLst>
              <a:cxn ang="3cd4">
                <a:pos x="hc" y="t"/>
              </a:cxn>
              <a:cxn ang="cd2">
                <a:pos x="l" y="vc"/>
              </a:cxn>
              <a:cxn ang="cd4">
                <a:pos x="hc" y="b"/>
              </a:cxn>
              <a:cxn ang="0">
                <a:pos x="r" y="vc"/>
              </a:cxn>
            </a:cxnLst>
            <a:rect l="l" t="t" r="r" b="b"/>
            <a:pathLst>
              <a:path w="3634" h="4214">
                <a:moveTo>
                  <a:pt x="3611" y="3037"/>
                </a:moveTo>
                <a:cubicBezTo>
                  <a:pt x="3579" y="3005"/>
                  <a:pt x="3531" y="3005"/>
                  <a:pt x="3499" y="3037"/>
                </a:cubicBezTo>
                <a:lnTo>
                  <a:pt x="3308" y="3228"/>
                </a:lnTo>
                <a:cubicBezTo>
                  <a:pt x="3197" y="3101"/>
                  <a:pt x="3038" y="3021"/>
                  <a:pt x="2863" y="3021"/>
                </a:cubicBezTo>
                <a:cubicBezTo>
                  <a:pt x="2545" y="3021"/>
                  <a:pt x="2306" y="3276"/>
                  <a:pt x="2306" y="3578"/>
                </a:cubicBezTo>
                <a:cubicBezTo>
                  <a:pt x="2306" y="3880"/>
                  <a:pt x="2545" y="4135"/>
                  <a:pt x="2863" y="4135"/>
                </a:cubicBezTo>
                <a:cubicBezTo>
                  <a:pt x="3165" y="4135"/>
                  <a:pt x="3420" y="3880"/>
                  <a:pt x="3420" y="3578"/>
                </a:cubicBezTo>
                <a:cubicBezTo>
                  <a:pt x="3420" y="3514"/>
                  <a:pt x="3404" y="3435"/>
                  <a:pt x="3388" y="3371"/>
                </a:cubicBezTo>
                <a:lnTo>
                  <a:pt x="3611" y="3148"/>
                </a:lnTo>
                <a:cubicBezTo>
                  <a:pt x="3642" y="3117"/>
                  <a:pt x="3642" y="3069"/>
                  <a:pt x="3611" y="3037"/>
                </a:cubicBezTo>
                <a:close/>
                <a:moveTo>
                  <a:pt x="3261" y="3578"/>
                </a:moveTo>
                <a:cubicBezTo>
                  <a:pt x="3261" y="3801"/>
                  <a:pt x="3086" y="3975"/>
                  <a:pt x="2863" y="3975"/>
                </a:cubicBezTo>
                <a:cubicBezTo>
                  <a:pt x="2641" y="3975"/>
                  <a:pt x="2466" y="3801"/>
                  <a:pt x="2466" y="3578"/>
                </a:cubicBezTo>
                <a:cubicBezTo>
                  <a:pt x="2466" y="3356"/>
                  <a:pt x="2641" y="3181"/>
                  <a:pt x="2863" y="3181"/>
                </a:cubicBezTo>
                <a:cubicBezTo>
                  <a:pt x="2990" y="3181"/>
                  <a:pt x="3118" y="3244"/>
                  <a:pt x="3181" y="3339"/>
                </a:cubicBezTo>
                <a:lnTo>
                  <a:pt x="2911" y="3610"/>
                </a:lnTo>
                <a:lnTo>
                  <a:pt x="2799" y="3514"/>
                </a:lnTo>
                <a:cubicBezTo>
                  <a:pt x="2768" y="3483"/>
                  <a:pt x="2720" y="3499"/>
                  <a:pt x="2688" y="3530"/>
                </a:cubicBezTo>
                <a:cubicBezTo>
                  <a:pt x="2656" y="3562"/>
                  <a:pt x="2672" y="3610"/>
                  <a:pt x="2704" y="3642"/>
                </a:cubicBezTo>
                <a:lnTo>
                  <a:pt x="2863" y="3785"/>
                </a:lnTo>
                <a:cubicBezTo>
                  <a:pt x="2879" y="3801"/>
                  <a:pt x="2895" y="3801"/>
                  <a:pt x="2911" y="3801"/>
                </a:cubicBezTo>
                <a:cubicBezTo>
                  <a:pt x="2927" y="3801"/>
                  <a:pt x="2959" y="3801"/>
                  <a:pt x="2959" y="3785"/>
                </a:cubicBezTo>
                <a:lnTo>
                  <a:pt x="3261" y="3499"/>
                </a:lnTo>
                <a:close/>
                <a:moveTo>
                  <a:pt x="3261" y="2735"/>
                </a:moveTo>
                <a:cubicBezTo>
                  <a:pt x="3308" y="2735"/>
                  <a:pt x="3340" y="2703"/>
                  <a:pt x="3340" y="2656"/>
                </a:cubicBezTo>
                <a:lnTo>
                  <a:pt x="3340" y="1224"/>
                </a:lnTo>
                <a:cubicBezTo>
                  <a:pt x="3340" y="1193"/>
                  <a:pt x="3324" y="1176"/>
                  <a:pt x="3308" y="1160"/>
                </a:cubicBezTo>
                <a:lnTo>
                  <a:pt x="2163" y="15"/>
                </a:lnTo>
                <a:cubicBezTo>
                  <a:pt x="2147" y="0"/>
                  <a:pt x="2115" y="0"/>
                  <a:pt x="2100" y="0"/>
                </a:cubicBezTo>
                <a:lnTo>
                  <a:pt x="80" y="0"/>
                </a:lnTo>
                <a:cubicBezTo>
                  <a:pt x="48" y="0"/>
                  <a:pt x="0" y="31"/>
                  <a:pt x="0" y="79"/>
                </a:cubicBezTo>
                <a:lnTo>
                  <a:pt x="0" y="4135"/>
                </a:lnTo>
                <a:cubicBezTo>
                  <a:pt x="0" y="4166"/>
                  <a:pt x="48" y="4214"/>
                  <a:pt x="80" y="4214"/>
                </a:cubicBezTo>
                <a:lnTo>
                  <a:pt x="1925" y="4214"/>
                </a:lnTo>
                <a:cubicBezTo>
                  <a:pt x="1972" y="4214"/>
                  <a:pt x="2004" y="4166"/>
                  <a:pt x="2004" y="4135"/>
                </a:cubicBezTo>
                <a:cubicBezTo>
                  <a:pt x="2004" y="4087"/>
                  <a:pt x="1972" y="4055"/>
                  <a:pt x="1925" y="4055"/>
                </a:cubicBezTo>
                <a:lnTo>
                  <a:pt x="159" y="4055"/>
                </a:lnTo>
                <a:lnTo>
                  <a:pt x="159" y="158"/>
                </a:lnTo>
                <a:lnTo>
                  <a:pt x="2068" y="158"/>
                </a:lnTo>
                <a:lnTo>
                  <a:pt x="2068" y="1208"/>
                </a:lnTo>
                <a:cubicBezTo>
                  <a:pt x="2068" y="1256"/>
                  <a:pt x="2100" y="1288"/>
                  <a:pt x="2147" y="1288"/>
                </a:cubicBezTo>
                <a:lnTo>
                  <a:pt x="3181" y="1288"/>
                </a:lnTo>
                <a:lnTo>
                  <a:pt x="3181" y="2656"/>
                </a:lnTo>
                <a:cubicBezTo>
                  <a:pt x="3181" y="2703"/>
                  <a:pt x="3213" y="2735"/>
                  <a:pt x="3261" y="2735"/>
                </a:cubicBezTo>
                <a:close/>
                <a:moveTo>
                  <a:pt x="2227" y="318"/>
                </a:moveTo>
                <a:lnTo>
                  <a:pt x="3054" y="1129"/>
                </a:lnTo>
                <a:lnTo>
                  <a:pt x="2227" y="1129"/>
                </a:lnTo>
                <a:close/>
                <a:moveTo>
                  <a:pt x="748" y="954"/>
                </a:moveTo>
                <a:lnTo>
                  <a:pt x="1638" y="954"/>
                </a:lnTo>
                <a:cubicBezTo>
                  <a:pt x="1686" y="954"/>
                  <a:pt x="1718" y="922"/>
                  <a:pt x="1718" y="874"/>
                </a:cubicBezTo>
                <a:cubicBezTo>
                  <a:pt x="1718" y="842"/>
                  <a:pt x="1686" y="795"/>
                  <a:pt x="1638" y="795"/>
                </a:cubicBezTo>
                <a:lnTo>
                  <a:pt x="748" y="795"/>
                </a:lnTo>
                <a:cubicBezTo>
                  <a:pt x="700" y="795"/>
                  <a:pt x="668" y="842"/>
                  <a:pt x="668" y="874"/>
                </a:cubicBezTo>
                <a:cubicBezTo>
                  <a:pt x="668" y="922"/>
                  <a:pt x="700" y="954"/>
                  <a:pt x="748" y="954"/>
                </a:cubicBezTo>
                <a:close/>
                <a:moveTo>
                  <a:pt x="748" y="1479"/>
                </a:moveTo>
                <a:lnTo>
                  <a:pt x="1638" y="1479"/>
                </a:lnTo>
                <a:cubicBezTo>
                  <a:pt x="1686" y="1479"/>
                  <a:pt x="1718" y="1431"/>
                  <a:pt x="1718" y="1399"/>
                </a:cubicBezTo>
                <a:cubicBezTo>
                  <a:pt x="1718" y="1351"/>
                  <a:pt x="1686" y="1320"/>
                  <a:pt x="1638" y="1320"/>
                </a:cubicBezTo>
                <a:lnTo>
                  <a:pt x="748" y="1320"/>
                </a:lnTo>
                <a:cubicBezTo>
                  <a:pt x="700" y="1320"/>
                  <a:pt x="668" y="1351"/>
                  <a:pt x="668" y="1399"/>
                </a:cubicBezTo>
                <a:cubicBezTo>
                  <a:pt x="668" y="1431"/>
                  <a:pt x="700" y="1479"/>
                  <a:pt x="748" y="1479"/>
                </a:cubicBezTo>
                <a:close/>
                <a:moveTo>
                  <a:pt x="732" y="1988"/>
                </a:moveTo>
                <a:lnTo>
                  <a:pt x="2688" y="1988"/>
                </a:lnTo>
                <a:cubicBezTo>
                  <a:pt x="2736" y="1988"/>
                  <a:pt x="2768" y="1956"/>
                  <a:pt x="2768" y="1908"/>
                </a:cubicBezTo>
                <a:cubicBezTo>
                  <a:pt x="2768" y="1860"/>
                  <a:pt x="2736" y="1829"/>
                  <a:pt x="2688" y="1829"/>
                </a:cubicBezTo>
                <a:lnTo>
                  <a:pt x="732" y="1829"/>
                </a:lnTo>
                <a:cubicBezTo>
                  <a:pt x="684" y="1829"/>
                  <a:pt x="652" y="1860"/>
                  <a:pt x="652" y="1908"/>
                </a:cubicBezTo>
                <a:cubicBezTo>
                  <a:pt x="652" y="1940"/>
                  <a:pt x="684" y="1988"/>
                  <a:pt x="732" y="1988"/>
                </a:cubicBezTo>
                <a:close/>
                <a:moveTo>
                  <a:pt x="2688" y="2496"/>
                </a:moveTo>
                <a:cubicBezTo>
                  <a:pt x="2736" y="2496"/>
                  <a:pt x="2768" y="2465"/>
                  <a:pt x="2768" y="2417"/>
                </a:cubicBezTo>
                <a:cubicBezTo>
                  <a:pt x="2768" y="2369"/>
                  <a:pt x="2736" y="2338"/>
                  <a:pt x="2688" y="2338"/>
                </a:cubicBezTo>
                <a:lnTo>
                  <a:pt x="732" y="2338"/>
                </a:lnTo>
                <a:cubicBezTo>
                  <a:pt x="684" y="2338"/>
                  <a:pt x="652" y="2369"/>
                  <a:pt x="652" y="2417"/>
                </a:cubicBezTo>
                <a:cubicBezTo>
                  <a:pt x="652" y="2465"/>
                  <a:pt x="684" y="2496"/>
                  <a:pt x="732" y="2496"/>
                </a:cubicBezTo>
                <a:close/>
                <a:moveTo>
                  <a:pt x="985" y="3419"/>
                </a:moveTo>
                <a:cubicBezTo>
                  <a:pt x="906" y="3419"/>
                  <a:pt x="842" y="3387"/>
                  <a:pt x="778" y="3339"/>
                </a:cubicBezTo>
                <a:cubicBezTo>
                  <a:pt x="747" y="3324"/>
                  <a:pt x="699" y="3324"/>
                  <a:pt x="667" y="3356"/>
                </a:cubicBezTo>
                <a:cubicBezTo>
                  <a:pt x="635" y="3387"/>
                  <a:pt x="651" y="3435"/>
                  <a:pt x="683" y="3467"/>
                </a:cubicBezTo>
                <a:cubicBezTo>
                  <a:pt x="747" y="3514"/>
                  <a:pt x="810" y="3546"/>
                  <a:pt x="890" y="3562"/>
                </a:cubicBezTo>
                <a:lnTo>
                  <a:pt x="890" y="3657"/>
                </a:lnTo>
                <a:cubicBezTo>
                  <a:pt x="890" y="3705"/>
                  <a:pt x="922" y="3737"/>
                  <a:pt x="969" y="3737"/>
                </a:cubicBezTo>
                <a:cubicBezTo>
                  <a:pt x="1001" y="3737"/>
                  <a:pt x="1049" y="3705"/>
                  <a:pt x="1049" y="3657"/>
                </a:cubicBezTo>
                <a:lnTo>
                  <a:pt x="1049" y="3578"/>
                </a:lnTo>
                <a:cubicBezTo>
                  <a:pt x="1129" y="3562"/>
                  <a:pt x="1224" y="3499"/>
                  <a:pt x="1256" y="3387"/>
                </a:cubicBezTo>
                <a:lnTo>
                  <a:pt x="1256" y="3371"/>
                </a:lnTo>
                <a:cubicBezTo>
                  <a:pt x="1272" y="3292"/>
                  <a:pt x="1239" y="3228"/>
                  <a:pt x="1192" y="3181"/>
                </a:cubicBezTo>
                <a:cubicBezTo>
                  <a:pt x="1160" y="3148"/>
                  <a:pt x="1129" y="3133"/>
                  <a:pt x="1096" y="3133"/>
                </a:cubicBezTo>
                <a:cubicBezTo>
                  <a:pt x="1065" y="3117"/>
                  <a:pt x="1017" y="3101"/>
                  <a:pt x="985" y="3085"/>
                </a:cubicBezTo>
                <a:cubicBezTo>
                  <a:pt x="953" y="3085"/>
                  <a:pt x="922" y="3069"/>
                  <a:pt x="890" y="3053"/>
                </a:cubicBezTo>
                <a:cubicBezTo>
                  <a:pt x="874" y="3053"/>
                  <a:pt x="858" y="3037"/>
                  <a:pt x="858" y="3021"/>
                </a:cubicBezTo>
                <a:cubicBezTo>
                  <a:pt x="842" y="3005"/>
                  <a:pt x="842" y="2990"/>
                  <a:pt x="858" y="2974"/>
                </a:cubicBezTo>
                <a:cubicBezTo>
                  <a:pt x="890" y="2942"/>
                  <a:pt x="969" y="2942"/>
                  <a:pt x="1001" y="2942"/>
                </a:cubicBezTo>
                <a:cubicBezTo>
                  <a:pt x="1065" y="2958"/>
                  <a:pt x="1076" y="2974"/>
                  <a:pt x="1113" y="2990"/>
                </a:cubicBezTo>
                <a:cubicBezTo>
                  <a:pt x="1160" y="3005"/>
                  <a:pt x="1208" y="3005"/>
                  <a:pt x="1224" y="2974"/>
                </a:cubicBezTo>
                <a:cubicBezTo>
                  <a:pt x="1256" y="2942"/>
                  <a:pt x="1256" y="2878"/>
                  <a:pt x="1208" y="2862"/>
                </a:cubicBezTo>
                <a:cubicBezTo>
                  <a:pt x="1208" y="2847"/>
                  <a:pt x="1144" y="2815"/>
                  <a:pt x="1049" y="2783"/>
                </a:cubicBezTo>
                <a:lnTo>
                  <a:pt x="1049" y="2703"/>
                </a:lnTo>
                <a:cubicBezTo>
                  <a:pt x="1049" y="2656"/>
                  <a:pt x="1001" y="2624"/>
                  <a:pt x="969" y="2624"/>
                </a:cubicBezTo>
                <a:cubicBezTo>
                  <a:pt x="922" y="2624"/>
                  <a:pt x="890" y="2656"/>
                  <a:pt x="890" y="2703"/>
                </a:cubicBezTo>
                <a:lnTo>
                  <a:pt x="890" y="2783"/>
                </a:lnTo>
                <a:cubicBezTo>
                  <a:pt x="826" y="2799"/>
                  <a:pt x="778" y="2830"/>
                  <a:pt x="747" y="2862"/>
                </a:cubicBezTo>
                <a:cubicBezTo>
                  <a:pt x="683" y="2926"/>
                  <a:pt x="683" y="3021"/>
                  <a:pt x="715" y="3085"/>
                </a:cubicBezTo>
                <a:cubicBezTo>
                  <a:pt x="731" y="3133"/>
                  <a:pt x="778" y="3181"/>
                  <a:pt x="826" y="3196"/>
                </a:cubicBezTo>
                <a:cubicBezTo>
                  <a:pt x="874" y="3212"/>
                  <a:pt x="906" y="3228"/>
                  <a:pt x="938" y="3244"/>
                </a:cubicBezTo>
                <a:cubicBezTo>
                  <a:pt x="969" y="3244"/>
                  <a:pt x="1001" y="3260"/>
                  <a:pt x="1033" y="3276"/>
                </a:cubicBezTo>
                <a:cubicBezTo>
                  <a:pt x="1049" y="3276"/>
                  <a:pt x="1065" y="3287"/>
                  <a:pt x="1081" y="3292"/>
                </a:cubicBezTo>
                <a:cubicBezTo>
                  <a:pt x="1096" y="3308"/>
                  <a:pt x="1096" y="3324"/>
                  <a:pt x="1096" y="3356"/>
                </a:cubicBezTo>
                <a:cubicBezTo>
                  <a:pt x="1081" y="3403"/>
                  <a:pt x="1033" y="3419"/>
                  <a:pt x="985" y="341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0" name="Freeform: Shape 7">
            <a:extLst>
              <a:ext uri="{FF2B5EF4-FFF2-40B4-BE49-F238E27FC236}">
                <a16:creationId xmlns:a16="http://schemas.microsoft.com/office/drawing/2014/main" id="{081846AD-3FCC-2945-BD18-87661B3E8C53}"/>
              </a:ext>
            </a:extLst>
          </p:cNvPr>
          <p:cNvSpPr/>
          <p:nvPr/>
        </p:nvSpPr>
        <p:spPr>
          <a:xfrm>
            <a:off x="17711246" y="3193771"/>
            <a:ext cx="1196280" cy="1516680"/>
          </a:xfrm>
          <a:custGeom>
            <a:avLst/>
            <a:gdLst/>
            <a:ahLst/>
            <a:cxnLst>
              <a:cxn ang="3cd4">
                <a:pos x="hc" y="t"/>
              </a:cxn>
              <a:cxn ang="cd2">
                <a:pos x="l" y="vc"/>
              </a:cxn>
              <a:cxn ang="cd4">
                <a:pos x="hc" y="b"/>
              </a:cxn>
              <a:cxn ang="0">
                <a:pos x="r" y="vc"/>
              </a:cxn>
            </a:cxnLst>
            <a:rect l="l" t="t" r="r" b="b"/>
            <a:pathLst>
              <a:path w="3324" h="4214">
                <a:moveTo>
                  <a:pt x="2147" y="15"/>
                </a:moveTo>
                <a:cubicBezTo>
                  <a:pt x="2131" y="0"/>
                  <a:pt x="2115" y="0"/>
                  <a:pt x="2083" y="0"/>
                </a:cubicBezTo>
                <a:lnTo>
                  <a:pt x="79" y="0"/>
                </a:lnTo>
                <a:cubicBezTo>
                  <a:pt x="31" y="0"/>
                  <a:pt x="0" y="31"/>
                  <a:pt x="0" y="79"/>
                </a:cubicBezTo>
                <a:lnTo>
                  <a:pt x="0" y="4135"/>
                </a:lnTo>
                <a:cubicBezTo>
                  <a:pt x="0" y="4166"/>
                  <a:pt x="31" y="4214"/>
                  <a:pt x="79" y="4214"/>
                </a:cubicBezTo>
                <a:lnTo>
                  <a:pt x="3245" y="4214"/>
                </a:lnTo>
                <a:cubicBezTo>
                  <a:pt x="3292" y="4214"/>
                  <a:pt x="3324" y="4166"/>
                  <a:pt x="3324" y="4135"/>
                </a:cubicBezTo>
                <a:lnTo>
                  <a:pt x="3324" y="1224"/>
                </a:lnTo>
                <a:cubicBezTo>
                  <a:pt x="3324" y="1193"/>
                  <a:pt x="3308" y="1176"/>
                  <a:pt x="3292" y="1160"/>
                </a:cubicBezTo>
                <a:close/>
                <a:moveTo>
                  <a:pt x="2210" y="318"/>
                </a:moveTo>
                <a:lnTo>
                  <a:pt x="3037" y="1129"/>
                </a:lnTo>
                <a:lnTo>
                  <a:pt x="2210" y="1129"/>
                </a:lnTo>
                <a:close/>
                <a:moveTo>
                  <a:pt x="159" y="4055"/>
                </a:moveTo>
                <a:lnTo>
                  <a:pt x="159" y="158"/>
                </a:lnTo>
                <a:lnTo>
                  <a:pt x="2052" y="158"/>
                </a:lnTo>
                <a:lnTo>
                  <a:pt x="2052" y="1208"/>
                </a:lnTo>
                <a:cubicBezTo>
                  <a:pt x="2052" y="1256"/>
                  <a:pt x="2083" y="1288"/>
                  <a:pt x="2131" y="1288"/>
                </a:cubicBezTo>
                <a:lnTo>
                  <a:pt x="3165" y="1288"/>
                </a:lnTo>
                <a:lnTo>
                  <a:pt x="3165" y="4055"/>
                </a:lnTo>
                <a:close/>
                <a:moveTo>
                  <a:pt x="731" y="954"/>
                </a:moveTo>
                <a:lnTo>
                  <a:pt x="1622" y="954"/>
                </a:lnTo>
                <a:cubicBezTo>
                  <a:pt x="1670" y="954"/>
                  <a:pt x="1701" y="922"/>
                  <a:pt x="1701" y="874"/>
                </a:cubicBezTo>
                <a:cubicBezTo>
                  <a:pt x="1701" y="842"/>
                  <a:pt x="1670" y="795"/>
                  <a:pt x="1622" y="795"/>
                </a:cubicBezTo>
                <a:lnTo>
                  <a:pt x="731" y="795"/>
                </a:lnTo>
                <a:cubicBezTo>
                  <a:pt x="683" y="795"/>
                  <a:pt x="652" y="842"/>
                  <a:pt x="652" y="874"/>
                </a:cubicBezTo>
                <a:cubicBezTo>
                  <a:pt x="652" y="922"/>
                  <a:pt x="683" y="954"/>
                  <a:pt x="731" y="954"/>
                </a:cubicBezTo>
                <a:close/>
                <a:moveTo>
                  <a:pt x="731" y="1479"/>
                </a:moveTo>
                <a:lnTo>
                  <a:pt x="1622" y="1479"/>
                </a:lnTo>
                <a:cubicBezTo>
                  <a:pt x="1670" y="1479"/>
                  <a:pt x="1701" y="1431"/>
                  <a:pt x="1701" y="1399"/>
                </a:cubicBezTo>
                <a:cubicBezTo>
                  <a:pt x="1701" y="1351"/>
                  <a:pt x="1670" y="1320"/>
                  <a:pt x="1622" y="1320"/>
                </a:cubicBezTo>
                <a:lnTo>
                  <a:pt x="731" y="1320"/>
                </a:lnTo>
                <a:cubicBezTo>
                  <a:pt x="683" y="1320"/>
                  <a:pt x="652" y="1351"/>
                  <a:pt x="652" y="1399"/>
                </a:cubicBezTo>
                <a:cubicBezTo>
                  <a:pt x="652" y="1431"/>
                  <a:pt x="683" y="1479"/>
                  <a:pt x="731" y="1479"/>
                </a:cubicBezTo>
                <a:close/>
                <a:moveTo>
                  <a:pt x="2672" y="1829"/>
                </a:moveTo>
                <a:lnTo>
                  <a:pt x="716" y="1829"/>
                </a:lnTo>
                <a:cubicBezTo>
                  <a:pt x="668" y="1829"/>
                  <a:pt x="636" y="1860"/>
                  <a:pt x="636" y="1908"/>
                </a:cubicBezTo>
                <a:cubicBezTo>
                  <a:pt x="636" y="1940"/>
                  <a:pt x="668" y="1988"/>
                  <a:pt x="716" y="1988"/>
                </a:cubicBezTo>
                <a:lnTo>
                  <a:pt x="2672" y="1988"/>
                </a:lnTo>
                <a:cubicBezTo>
                  <a:pt x="2719" y="1988"/>
                  <a:pt x="2751" y="1956"/>
                  <a:pt x="2751" y="1908"/>
                </a:cubicBezTo>
                <a:cubicBezTo>
                  <a:pt x="2751" y="1860"/>
                  <a:pt x="2719" y="1829"/>
                  <a:pt x="2672" y="1829"/>
                </a:cubicBezTo>
                <a:close/>
                <a:moveTo>
                  <a:pt x="2672" y="2338"/>
                </a:moveTo>
                <a:lnTo>
                  <a:pt x="716" y="2338"/>
                </a:lnTo>
                <a:cubicBezTo>
                  <a:pt x="668" y="2338"/>
                  <a:pt x="636" y="2369"/>
                  <a:pt x="636" y="2417"/>
                </a:cubicBezTo>
                <a:cubicBezTo>
                  <a:pt x="636" y="2465"/>
                  <a:pt x="668" y="2496"/>
                  <a:pt x="716" y="2496"/>
                </a:cubicBezTo>
                <a:lnTo>
                  <a:pt x="2672" y="2496"/>
                </a:lnTo>
                <a:cubicBezTo>
                  <a:pt x="2719" y="2496"/>
                  <a:pt x="2751" y="2465"/>
                  <a:pt x="2751" y="2417"/>
                </a:cubicBezTo>
                <a:cubicBezTo>
                  <a:pt x="2751" y="2369"/>
                  <a:pt x="2719" y="2338"/>
                  <a:pt x="2672" y="2338"/>
                </a:cubicBezTo>
                <a:close/>
                <a:moveTo>
                  <a:pt x="1176" y="3181"/>
                </a:moveTo>
                <a:cubicBezTo>
                  <a:pt x="1144" y="3148"/>
                  <a:pt x="1112" y="3133"/>
                  <a:pt x="1080" y="3133"/>
                </a:cubicBezTo>
                <a:cubicBezTo>
                  <a:pt x="1048" y="3117"/>
                  <a:pt x="1017" y="3101"/>
                  <a:pt x="969" y="3085"/>
                </a:cubicBezTo>
                <a:cubicBezTo>
                  <a:pt x="937" y="3085"/>
                  <a:pt x="905" y="3069"/>
                  <a:pt x="873" y="3053"/>
                </a:cubicBezTo>
                <a:cubicBezTo>
                  <a:pt x="858" y="3053"/>
                  <a:pt x="842" y="3037"/>
                  <a:pt x="842" y="3021"/>
                </a:cubicBezTo>
                <a:cubicBezTo>
                  <a:pt x="826" y="3005"/>
                  <a:pt x="842" y="2990"/>
                  <a:pt x="842" y="2974"/>
                </a:cubicBezTo>
                <a:cubicBezTo>
                  <a:pt x="873" y="2942"/>
                  <a:pt x="953" y="2942"/>
                  <a:pt x="985" y="2942"/>
                </a:cubicBezTo>
                <a:cubicBezTo>
                  <a:pt x="1048" y="2958"/>
                  <a:pt x="1096" y="2990"/>
                  <a:pt x="1112" y="2990"/>
                </a:cubicBezTo>
                <a:cubicBezTo>
                  <a:pt x="1144" y="3005"/>
                  <a:pt x="1191" y="3005"/>
                  <a:pt x="1208" y="2974"/>
                </a:cubicBezTo>
                <a:cubicBezTo>
                  <a:pt x="1239" y="2942"/>
                  <a:pt x="1239" y="2878"/>
                  <a:pt x="1191" y="2862"/>
                </a:cubicBezTo>
                <a:cubicBezTo>
                  <a:pt x="1191" y="2847"/>
                  <a:pt x="1128" y="2815"/>
                  <a:pt x="1033" y="2783"/>
                </a:cubicBezTo>
                <a:lnTo>
                  <a:pt x="1033" y="2703"/>
                </a:lnTo>
                <a:cubicBezTo>
                  <a:pt x="1033" y="2656"/>
                  <a:pt x="1001" y="2624"/>
                  <a:pt x="953" y="2624"/>
                </a:cubicBezTo>
                <a:cubicBezTo>
                  <a:pt x="905" y="2624"/>
                  <a:pt x="873" y="2656"/>
                  <a:pt x="873" y="2703"/>
                </a:cubicBezTo>
                <a:lnTo>
                  <a:pt x="873" y="2783"/>
                </a:lnTo>
                <a:cubicBezTo>
                  <a:pt x="810" y="2799"/>
                  <a:pt x="762" y="2830"/>
                  <a:pt x="730" y="2862"/>
                </a:cubicBezTo>
                <a:cubicBezTo>
                  <a:pt x="667" y="2926"/>
                  <a:pt x="667" y="3021"/>
                  <a:pt x="699" y="3085"/>
                </a:cubicBezTo>
                <a:cubicBezTo>
                  <a:pt x="715" y="3133"/>
                  <a:pt x="762" y="3181"/>
                  <a:pt x="826" y="3196"/>
                </a:cubicBezTo>
                <a:cubicBezTo>
                  <a:pt x="858" y="3212"/>
                  <a:pt x="890" y="3228"/>
                  <a:pt x="921" y="3244"/>
                </a:cubicBezTo>
                <a:cubicBezTo>
                  <a:pt x="953" y="3244"/>
                  <a:pt x="985" y="3260"/>
                  <a:pt x="1017" y="3276"/>
                </a:cubicBezTo>
                <a:cubicBezTo>
                  <a:pt x="1048" y="3276"/>
                  <a:pt x="1049" y="3287"/>
                  <a:pt x="1064" y="3292"/>
                </a:cubicBezTo>
                <a:cubicBezTo>
                  <a:pt x="1080" y="3308"/>
                  <a:pt x="1080" y="3324"/>
                  <a:pt x="1080" y="3356"/>
                </a:cubicBezTo>
                <a:cubicBezTo>
                  <a:pt x="1064" y="3403"/>
                  <a:pt x="1017" y="3419"/>
                  <a:pt x="969" y="3419"/>
                </a:cubicBezTo>
                <a:cubicBezTo>
                  <a:pt x="905" y="3419"/>
                  <a:pt x="826" y="3387"/>
                  <a:pt x="762" y="3339"/>
                </a:cubicBezTo>
                <a:cubicBezTo>
                  <a:pt x="730" y="3324"/>
                  <a:pt x="682" y="3324"/>
                  <a:pt x="651" y="3356"/>
                </a:cubicBezTo>
                <a:cubicBezTo>
                  <a:pt x="619" y="3387"/>
                  <a:pt x="635" y="3435"/>
                  <a:pt x="667" y="3467"/>
                </a:cubicBezTo>
                <a:cubicBezTo>
                  <a:pt x="730" y="3514"/>
                  <a:pt x="794" y="3546"/>
                  <a:pt x="873" y="3562"/>
                </a:cubicBezTo>
                <a:lnTo>
                  <a:pt x="873" y="3657"/>
                </a:lnTo>
                <a:cubicBezTo>
                  <a:pt x="873" y="3705"/>
                  <a:pt x="905" y="3737"/>
                  <a:pt x="953" y="3737"/>
                </a:cubicBezTo>
                <a:cubicBezTo>
                  <a:pt x="1001" y="3737"/>
                  <a:pt x="1033" y="3705"/>
                  <a:pt x="1033" y="3657"/>
                </a:cubicBezTo>
                <a:lnTo>
                  <a:pt x="1033" y="3578"/>
                </a:lnTo>
                <a:cubicBezTo>
                  <a:pt x="1112" y="3562"/>
                  <a:pt x="1208" y="3499"/>
                  <a:pt x="1239" y="3387"/>
                </a:cubicBezTo>
                <a:lnTo>
                  <a:pt x="1239" y="3371"/>
                </a:lnTo>
                <a:cubicBezTo>
                  <a:pt x="1255" y="3292"/>
                  <a:pt x="1223" y="3228"/>
                  <a:pt x="1176" y="318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1" name="TextBox 70">
            <a:extLst>
              <a:ext uri="{FF2B5EF4-FFF2-40B4-BE49-F238E27FC236}">
                <a16:creationId xmlns:a16="http://schemas.microsoft.com/office/drawing/2014/main" id="{4244A222-1B91-0E4D-9C2F-CD94419131E7}"/>
              </a:ext>
            </a:extLst>
          </p:cNvPr>
          <p:cNvSpPr txBox="1"/>
          <p:nvPr/>
        </p:nvSpPr>
        <p:spPr>
          <a:xfrm>
            <a:off x="20398539" y="5301034"/>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ile +</a:t>
            </a:r>
          </a:p>
        </p:txBody>
      </p:sp>
      <p:sp>
        <p:nvSpPr>
          <p:cNvPr id="72" name="TextBox 71">
            <a:extLst>
              <a:ext uri="{FF2B5EF4-FFF2-40B4-BE49-F238E27FC236}">
                <a16:creationId xmlns:a16="http://schemas.microsoft.com/office/drawing/2014/main" id="{5DEC27C3-310C-5D47-94E8-C96E0BA77695}"/>
              </a:ext>
            </a:extLst>
          </p:cNvPr>
          <p:cNvSpPr txBox="1"/>
          <p:nvPr/>
        </p:nvSpPr>
        <p:spPr>
          <a:xfrm>
            <a:off x="2045470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ile –</a:t>
            </a:r>
          </a:p>
        </p:txBody>
      </p:sp>
      <p:sp>
        <p:nvSpPr>
          <p:cNvPr id="73" name="Freeform: Shape 11">
            <a:extLst>
              <a:ext uri="{FF2B5EF4-FFF2-40B4-BE49-F238E27FC236}">
                <a16:creationId xmlns:a16="http://schemas.microsoft.com/office/drawing/2014/main" id="{9A56D67C-D1A3-0543-894B-DB3198711372}"/>
              </a:ext>
            </a:extLst>
          </p:cNvPr>
          <p:cNvSpPr/>
          <p:nvPr/>
        </p:nvSpPr>
        <p:spPr>
          <a:xfrm>
            <a:off x="21646708" y="3119252"/>
            <a:ext cx="1328040" cy="1665719"/>
          </a:xfrm>
          <a:custGeom>
            <a:avLst/>
            <a:gdLst/>
            <a:ahLst/>
            <a:cxnLst>
              <a:cxn ang="3cd4">
                <a:pos x="hc" y="t"/>
              </a:cxn>
              <a:cxn ang="cd2">
                <a:pos x="l" y="vc"/>
              </a:cxn>
              <a:cxn ang="cd4">
                <a:pos x="hc" y="b"/>
              </a:cxn>
              <a:cxn ang="0">
                <a:pos x="r" y="vc"/>
              </a:cxn>
            </a:cxnLst>
            <a:rect l="l" t="t" r="r" b="b"/>
            <a:pathLst>
              <a:path w="3690" h="4628">
                <a:moveTo>
                  <a:pt x="3341" y="1225"/>
                </a:moveTo>
                <a:cubicBezTo>
                  <a:pt x="3341" y="1193"/>
                  <a:pt x="3325" y="1177"/>
                  <a:pt x="3309" y="1161"/>
                </a:cubicBezTo>
                <a:lnTo>
                  <a:pt x="2164" y="16"/>
                </a:lnTo>
                <a:cubicBezTo>
                  <a:pt x="2148" y="0"/>
                  <a:pt x="2116" y="0"/>
                  <a:pt x="2100" y="0"/>
                </a:cubicBezTo>
                <a:lnTo>
                  <a:pt x="80" y="0"/>
                </a:lnTo>
                <a:cubicBezTo>
                  <a:pt x="48" y="0"/>
                  <a:pt x="0" y="32"/>
                  <a:pt x="0" y="80"/>
                </a:cubicBezTo>
                <a:lnTo>
                  <a:pt x="0" y="4135"/>
                </a:lnTo>
                <a:cubicBezTo>
                  <a:pt x="0" y="4167"/>
                  <a:pt x="48" y="4215"/>
                  <a:pt x="80" y="4215"/>
                </a:cubicBezTo>
                <a:lnTo>
                  <a:pt x="2386" y="4215"/>
                </a:lnTo>
                <a:cubicBezTo>
                  <a:pt x="2482" y="4453"/>
                  <a:pt x="2720" y="4628"/>
                  <a:pt x="3007" y="4628"/>
                </a:cubicBezTo>
                <a:cubicBezTo>
                  <a:pt x="3389" y="4628"/>
                  <a:pt x="3690" y="4326"/>
                  <a:pt x="3690" y="3961"/>
                </a:cubicBezTo>
                <a:cubicBezTo>
                  <a:pt x="3690" y="3706"/>
                  <a:pt x="3547" y="3483"/>
                  <a:pt x="3341" y="3372"/>
                </a:cubicBezTo>
                <a:lnTo>
                  <a:pt x="3341" y="3356"/>
                </a:lnTo>
                <a:close/>
                <a:moveTo>
                  <a:pt x="2227" y="318"/>
                </a:moveTo>
                <a:lnTo>
                  <a:pt x="3054" y="1129"/>
                </a:lnTo>
                <a:lnTo>
                  <a:pt x="2227" y="1129"/>
                </a:lnTo>
                <a:close/>
                <a:moveTo>
                  <a:pt x="3532" y="3961"/>
                </a:moveTo>
                <a:cubicBezTo>
                  <a:pt x="3532" y="4247"/>
                  <a:pt x="3293" y="4470"/>
                  <a:pt x="3007" y="4470"/>
                </a:cubicBezTo>
                <a:cubicBezTo>
                  <a:pt x="2784" y="4470"/>
                  <a:pt x="2593" y="4326"/>
                  <a:pt x="2514" y="4120"/>
                </a:cubicBezTo>
                <a:lnTo>
                  <a:pt x="2514" y="4104"/>
                </a:lnTo>
                <a:cubicBezTo>
                  <a:pt x="2498" y="4056"/>
                  <a:pt x="2498" y="4008"/>
                  <a:pt x="2498" y="3961"/>
                </a:cubicBezTo>
                <a:cubicBezTo>
                  <a:pt x="2498" y="3674"/>
                  <a:pt x="2720" y="3435"/>
                  <a:pt x="3007" y="3435"/>
                </a:cubicBezTo>
                <a:cubicBezTo>
                  <a:pt x="3293" y="3435"/>
                  <a:pt x="3532" y="3674"/>
                  <a:pt x="3532" y="3961"/>
                </a:cubicBezTo>
                <a:close/>
                <a:moveTo>
                  <a:pt x="3007" y="3277"/>
                </a:moveTo>
                <a:cubicBezTo>
                  <a:pt x="2641" y="3277"/>
                  <a:pt x="2339" y="3579"/>
                  <a:pt x="2339" y="3961"/>
                </a:cubicBezTo>
                <a:lnTo>
                  <a:pt x="2339" y="4056"/>
                </a:lnTo>
                <a:lnTo>
                  <a:pt x="160" y="4056"/>
                </a:lnTo>
                <a:lnTo>
                  <a:pt x="160" y="159"/>
                </a:lnTo>
                <a:lnTo>
                  <a:pt x="2068" y="159"/>
                </a:lnTo>
                <a:lnTo>
                  <a:pt x="2068" y="1209"/>
                </a:lnTo>
                <a:cubicBezTo>
                  <a:pt x="2068" y="1257"/>
                  <a:pt x="2100" y="1289"/>
                  <a:pt x="2148" y="1289"/>
                </a:cubicBezTo>
                <a:lnTo>
                  <a:pt x="3181" y="1289"/>
                </a:lnTo>
                <a:lnTo>
                  <a:pt x="3181" y="3308"/>
                </a:lnTo>
                <a:cubicBezTo>
                  <a:pt x="3118" y="3292"/>
                  <a:pt x="3070" y="3277"/>
                  <a:pt x="3007" y="3277"/>
                </a:cubicBezTo>
                <a:close/>
                <a:moveTo>
                  <a:pt x="748" y="954"/>
                </a:moveTo>
                <a:lnTo>
                  <a:pt x="1639" y="954"/>
                </a:lnTo>
                <a:cubicBezTo>
                  <a:pt x="1687" y="954"/>
                  <a:pt x="1718" y="923"/>
                  <a:pt x="1718" y="875"/>
                </a:cubicBezTo>
                <a:cubicBezTo>
                  <a:pt x="1718" y="827"/>
                  <a:pt x="1687" y="796"/>
                  <a:pt x="1639" y="796"/>
                </a:cubicBezTo>
                <a:lnTo>
                  <a:pt x="748" y="796"/>
                </a:lnTo>
                <a:cubicBezTo>
                  <a:pt x="700" y="796"/>
                  <a:pt x="669" y="843"/>
                  <a:pt x="669" y="875"/>
                </a:cubicBezTo>
                <a:cubicBezTo>
                  <a:pt x="669" y="923"/>
                  <a:pt x="700" y="954"/>
                  <a:pt x="748" y="954"/>
                </a:cubicBezTo>
                <a:close/>
                <a:moveTo>
                  <a:pt x="748" y="1480"/>
                </a:moveTo>
                <a:lnTo>
                  <a:pt x="1639" y="1463"/>
                </a:lnTo>
                <a:cubicBezTo>
                  <a:pt x="1687" y="1463"/>
                  <a:pt x="1718" y="1432"/>
                  <a:pt x="1718" y="1384"/>
                </a:cubicBezTo>
                <a:cubicBezTo>
                  <a:pt x="1718" y="1352"/>
                  <a:pt x="1687" y="1304"/>
                  <a:pt x="1639" y="1304"/>
                </a:cubicBezTo>
                <a:lnTo>
                  <a:pt x="748" y="1320"/>
                </a:lnTo>
                <a:cubicBezTo>
                  <a:pt x="700" y="1320"/>
                  <a:pt x="669" y="1352"/>
                  <a:pt x="669" y="1400"/>
                </a:cubicBezTo>
                <a:cubicBezTo>
                  <a:pt x="669" y="1432"/>
                  <a:pt x="700" y="1480"/>
                  <a:pt x="748" y="1480"/>
                </a:cubicBezTo>
                <a:close/>
                <a:moveTo>
                  <a:pt x="2689" y="1829"/>
                </a:moveTo>
                <a:lnTo>
                  <a:pt x="732" y="1829"/>
                </a:lnTo>
                <a:cubicBezTo>
                  <a:pt x="684" y="1829"/>
                  <a:pt x="653" y="1861"/>
                  <a:pt x="653" y="1909"/>
                </a:cubicBezTo>
                <a:cubicBezTo>
                  <a:pt x="653" y="1941"/>
                  <a:pt x="684" y="1989"/>
                  <a:pt x="732" y="1989"/>
                </a:cubicBezTo>
                <a:lnTo>
                  <a:pt x="2689" y="1989"/>
                </a:lnTo>
                <a:cubicBezTo>
                  <a:pt x="2736" y="1989"/>
                  <a:pt x="2768" y="1956"/>
                  <a:pt x="2768" y="1909"/>
                </a:cubicBezTo>
                <a:cubicBezTo>
                  <a:pt x="2768" y="1861"/>
                  <a:pt x="2736" y="1829"/>
                  <a:pt x="2689" y="1829"/>
                </a:cubicBezTo>
                <a:close/>
                <a:moveTo>
                  <a:pt x="2689" y="2338"/>
                </a:moveTo>
                <a:lnTo>
                  <a:pt x="732" y="2338"/>
                </a:lnTo>
                <a:cubicBezTo>
                  <a:pt x="684" y="2338"/>
                  <a:pt x="653" y="2370"/>
                  <a:pt x="653" y="2418"/>
                </a:cubicBezTo>
                <a:cubicBezTo>
                  <a:pt x="653" y="2465"/>
                  <a:pt x="684" y="2497"/>
                  <a:pt x="732" y="2497"/>
                </a:cubicBezTo>
                <a:lnTo>
                  <a:pt x="2689" y="2497"/>
                </a:lnTo>
                <a:cubicBezTo>
                  <a:pt x="2736" y="2497"/>
                  <a:pt x="2768" y="2465"/>
                  <a:pt x="2768" y="2418"/>
                </a:cubicBezTo>
                <a:cubicBezTo>
                  <a:pt x="2768" y="2370"/>
                  <a:pt x="2736" y="2338"/>
                  <a:pt x="2689" y="2338"/>
                </a:cubicBezTo>
                <a:close/>
                <a:moveTo>
                  <a:pt x="2689" y="2847"/>
                </a:moveTo>
                <a:lnTo>
                  <a:pt x="732" y="2847"/>
                </a:lnTo>
                <a:cubicBezTo>
                  <a:pt x="684" y="2847"/>
                  <a:pt x="653" y="2879"/>
                  <a:pt x="653" y="2927"/>
                </a:cubicBezTo>
                <a:cubicBezTo>
                  <a:pt x="653" y="2974"/>
                  <a:pt x="684" y="3006"/>
                  <a:pt x="732" y="3006"/>
                </a:cubicBezTo>
                <a:lnTo>
                  <a:pt x="2689" y="3006"/>
                </a:lnTo>
                <a:cubicBezTo>
                  <a:pt x="2736" y="3006"/>
                  <a:pt x="2768" y="2974"/>
                  <a:pt x="2768" y="2927"/>
                </a:cubicBezTo>
                <a:cubicBezTo>
                  <a:pt x="2768" y="2879"/>
                  <a:pt x="2736" y="2847"/>
                  <a:pt x="2689" y="2847"/>
                </a:cubicBezTo>
                <a:close/>
                <a:moveTo>
                  <a:pt x="2180" y="3356"/>
                </a:moveTo>
                <a:lnTo>
                  <a:pt x="732" y="3356"/>
                </a:lnTo>
                <a:cubicBezTo>
                  <a:pt x="684" y="3356"/>
                  <a:pt x="653" y="3388"/>
                  <a:pt x="653" y="3435"/>
                </a:cubicBezTo>
                <a:cubicBezTo>
                  <a:pt x="653" y="3483"/>
                  <a:pt x="684" y="3515"/>
                  <a:pt x="732" y="3515"/>
                </a:cubicBezTo>
                <a:lnTo>
                  <a:pt x="2180" y="3515"/>
                </a:lnTo>
                <a:cubicBezTo>
                  <a:pt x="2227" y="3515"/>
                  <a:pt x="2259" y="3483"/>
                  <a:pt x="2259" y="3435"/>
                </a:cubicBezTo>
                <a:cubicBezTo>
                  <a:pt x="2259" y="3404"/>
                  <a:pt x="2227" y="3356"/>
                  <a:pt x="2180" y="3356"/>
                </a:cubicBezTo>
                <a:close/>
                <a:moveTo>
                  <a:pt x="2927" y="3690"/>
                </a:moveTo>
                <a:lnTo>
                  <a:pt x="2927" y="3881"/>
                </a:lnTo>
                <a:lnTo>
                  <a:pt x="2752" y="3881"/>
                </a:lnTo>
                <a:cubicBezTo>
                  <a:pt x="2705" y="3881"/>
                  <a:pt x="2672" y="3913"/>
                  <a:pt x="2672" y="3961"/>
                </a:cubicBezTo>
                <a:cubicBezTo>
                  <a:pt x="2672" y="4008"/>
                  <a:pt x="2705" y="4040"/>
                  <a:pt x="2752" y="4040"/>
                </a:cubicBezTo>
                <a:lnTo>
                  <a:pt x="2927" y="4040"/>
                </a:lnTo>
                <a:lnTo>
                  <a:pt x="2927" y="4215"/>
                </a:lnTo>
                <a:cubicBezTo>
                  <a:pt x="2927" y="4263"/>
                  <a:pt x="2959" y="4295"/>
                  <a:pt x="3007" y="4295"/>
                </a:cubicBezTo>
                <a:cubicBezTo>
                  <a:pt x="3054" y="4295"/>
                  <a:pt x="3086" y="4263"/>
                  <a:pt x="3086" y="4215"/>
                </a:cubicBezTo>
                <a:lnTo>
                  <a:pt x="3086" y="4040"/>
                </a:lnTo>
                <a:lnTo>
                  <a:pt x="3277" y="4040"/>
                </a:lnTo>
                <a:cubicBezTo>
                  <a:pt x="3309" y="4040"/>
                  <a:pt x="3357" y="4008"/>
                  <a:pt x="3357" y="3961"/>
                </a:cubicBezTo>
                <a:cubicBezTo>
                  <a:pt x="3357" y="3913"/>
                  <a:pt x="3309" y="3881"/>
                  <a:pt x="3277" y="3881"/>
                </a:cubicBezTo>
                <a:lnTo>
                  <a:pt x="3086" y="3881"/>
                </a:lnTo>
                <a:lnTo>
                  <a:pt x="3086" y="3690"/>
                </a:lnTo>
                <a:cubicBezTo>
                  <a:pt x="3086" y="3658"/>
                  <a:pt x="3054" y="3611"/>
                  <a:pt x="3007" y="3611"/>
                </a:cubicBezTo>
                <a:cubicBezTo>
                  <a:pt x="2959" y="3611"/>
                  <a:pt x="2927" y="3658"/>
                  <a:pt x="2927" y="369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4" name="Freeform: Shape 12">
            <a:extLst>
              <a:ext uri="{FF2B5EF4-FFF2-40B4-BE49-F238E27FC236}">
                <a16:creationId xmlns:a16="http://schemas.microsoft.com/office/drawing/2014/main" id="{20E58D35-6526-A449-A019-54EA9172AE20}"/>
              </a:ext>
            </a:extLst>
          </p:cNvPr>
          <p:cNvSpPr/>
          <p:nvPr/>
        </p:nvSpPr>
        <p:spPr>
          <a:xfrm>
            <a:off x="21572799" y="6479081"/>
            <a:ext cx="1322280" cy="1665719"/>
          </a:xfrm>
          <a:custGeom>
            <a:avLst/>
            <a:gdLst/>
            <a:ahLst/>
            <a:cxnLst>
              <a:cxn ang="3cd4">
                <a:pos x="hc" y="t"/>
              </a:cxn>
              <a:cxn ang="cd2">
                <a:pos x="l" y="vc"/>
              </a:cxn>
              <a:cxn ang="cd4">
                <a:pos x="hc" y="b"/>
              </a:cxn>
              <a:cxn ang="0">
                <a:pos x="r" y="vc"/>
              </a:cxn>
            </a:cxnLst>
            <a:rect l="l" t="t" r="r" b="b"/>
            <a:pathLst>
              <a:path w="3674" h="4628">
                <a:moveTo>
                  <a:pt x="3324" y="1225"/>
                </a:moveTo>
                <a:cubicBezTo>
                  <a:pt x="3324" y="1193"/>
                  <a:pt x="3324" y="1177"/>
                  <a:pt x="3309" y="1161"/>
                </a:cubicBezTo>
                <a:lnTo>
                  <a:pt x="2147" y="16"/>
                </a:lnTo>
                <a:cubicBezTo>
                  <a:pt x="2131" y="0"/>
                  <a:pt x="2116" y="0"/>
                  <a:pt x="2084" y="0"/>
                </a:cubicBezTo>
                <a:lnTo>
                  <a:pt x="80" y="0"/>
                </a:lnTo>
                <a:cubicBezTo>
                  <a:pt x="32" y="0"/>
                  <a:pt x="0" y="32"/>
                  <a:pt x="0" y="80"/>
                </a:cubicBezTo>
                <a:lnTo>
                  <a:pt x="0" y="4135"/>
                </a:lnTo>
                <a:cubicBezTo>
                  <a:pt x="0" y="4167"/>
                  <a:pt x="32" y="4215"/>
                  <a:pt x="80" y="4215"/>
                </a:cubicBezTo>
                <a:lnTo>
                  <a:pt x="2370" y="4215"/>
                </a:lnTo>
                <a:cubicBezTo>
                  <a:pt x="2482" y="4453"/>
                  <a:pt x="2720" y="4628"/>
                  <a:pt x="3006" y="4628"/>
                </a:cubicBezTo>
                <a:cubicBezTo>
                  <a:pt x="3372" y="4628"/>
                  <a:pt x="3674" y="4326"/>
                  <a:pt x="3674" y="3961"/>
                </a:cubicBezTo>
                <a:cubicBezTo>
                  <a:pt x="3674" y="3706"/>
                  <a:pt x="3531" y="3483"/>
                  <a:pt x="3324" y="3372"/>
                </a:cubicBezTo>
                <a:lnTo>
                  <a:pt x="3324" y="3356"/>
                </a:lnTo>
                <a:close/>
                <a:moveTo>
                  <a:pt x="2211" y="318"/>
                </a:moveTo>
                <a:lnTo>
                  <a:pt x="3038" y="1129"/>
                </a:lnTo>
                <a:lnTo>
                  <a:pt x="2211" y="1129"/>
                </a:lnTo>
                <a:close/>
                <a:moveTo>
                  <a:pt x="3515" y="3961"/>
                </a:moveTo>
                <a:cubicBezTo>
                  <a:pt x="3515" y="4247"/>
                  <a:pt x="3277" y="4470"/>
                  <a:pt x="3006" y="4470"/>
                </a:cubicBezTo>
                <a:cubicBezTo>
                  <a:pt x="2768" y="4470"/>
                  <a:pt x="2577" y="4326"/>
                  <a:pt x="2513" y="4120"/>
                </a:cubicBezTo>
                <a:cubicBezTo>
                  <a:pt x="2513" y="4104"/>
                  <a:pt x="2513" y="4104"/>
                  <a:pt x="2497" y="4088"/>
                </a:cubicBezTo>
                <a:cubicBezTo>
                  <a:pt x="2497" y="4056"/>
                  <a:pt x="2482" y="4008"/>
                  <a:pt x="2482" y="3961"/>
                </a:cubicBezTo>
                <a:cubicBezTo>
                  <a:pt x="2482" y="3674"/>
                  <a:pt x="2720" y="3435"/>
                  <a:pt x="3006" y="3435"/>
                </a:cubicBezTo>
                <a:cubicBezTo>
                  <a:pt x="3277" y="3435"/>
                  <a:pt x="3515" y="3674"/>
                  <a:pt x="3515" y="3961"/>
                </a:cubicBezTo>
                <a:close/>
                <a:moveTo>
                  <a:pt x="3006" y="3277"/>
                </a:moveTo>
                <a:cubicBezTo>
                  <a:pt x="2625" y="3277"/>
                  <a:pt x="2322" y="3579"/>
                  <a:pt x="2322" y="3961"/>
                </a:cubicBezTo>
                <a:cubicBezTo>
                  <a:pt x="2322" y="3992"/>
                  <a:pt x="2322" y="4024"/>
                  <a:pt x="2338" y="4056"/>
                </a:cubicBezTo>
                <a:lnTo>
                  <a:pt x="159" y="4056"/>
                </a:lnTo>
                <a:lnTo>
                  <a:pt x="159" y="159"/>
                </a:lnTo>
                <a:lnTo>
                  <a:pt x="2052" y="159"/>
                </a:lnTo>
                <a:lnTo>
                  <a:pt x="2052" y="1209"/>
                </a:lnTo>
                <a:cubicBezTo>
                  <a:pt x="2052" y="1257"/>
                  <a:pt x="2100" y="1289"/>
                  <a:pt x="2131" y="1289"/>
                </a:cubicBezTo>
                <a:lnTo>
                  <a:pt x="3165" y="1289"/>
                </a:lnTo>
                <a:lnTo>
                  <a:pt x="3165" y="3308"/>
                </a:lnTo>
                <a:cubicBezTo>
                  <a:pt x="3118" y="3292"/>
                  <a:pt x="3054" y="3277"/>
                  <a:pt x="3006" y="3277"/>
                </a:cubicBezTo>
                <a:close/>
                <a:moveTo>
                  <a:pt x="732" y="954"/>
                </a:moveTo>
                <a:lnTo>
                  <a:pt x="1623" y="954"/>
                </a:lnTo>
                <a:cubicBezTo>
                  <a:pt x="1670" y="954"/>
                  <a:pt x="1702" y="923"/>
                  <a:pt x="1702" y="875"/>
                </a:cubicBezTo>
                <a:cubicBezTo>
                  <a:pt x="1702" y="827"/>
                  <a:pt x="1670" y="796"/>
                  <a:pt x="1623" y="796"/>
                </a:cubicBezTo>
                <a:lnTo>
                  <a:pt x="732" y="796"/>
                </a:lnTo>
                <a:cubicBezTo>
                  <a:pt x="684" y="796"/>
                  <a:pt x="652" y="843"/>
                  <a:pt x="652" y="875"/>
                </a:cubicBezTo>
                <a:cubicBezTo>
                  <a:pt x="652" y="923"/>
                  <a:pt x="684" y="954"/>
                  <a:pt x="732" y="954"/>
                </a:cubicBezTo>
                <a:close/>
                <a:moveTo>
                  <a:pt x="732" y="1480"/>
                </a:moveTo>
                <a:lnTo>
                  <a:pt x="1623" y="1463"/>
                </a:lnTo>
                <a:cubicBezTo>
                  <a:pt x="1670" y="1463"/>
                  <a:pt x="1702" y="1432"/>
                  <a:pt x="1702" y="1384"/>
                </a:cubicBezTo>
                <a:cubicBezTo>
                  <a:pt x="1702" y="1352"/>
                  <a:pt x="1670" y="1304"/>
                  <a:pt x="1623" y="1304"/>
                </a:cubicBezTo>
                <a:lnTo>
                  <a:pt x="732" y="1320"/>
                </a:lnTo>
                <a:cubicBezTo>
                  <a:pt x="684" y="1320"/>
                  <a:pt x="652" y="1352"/>
                  <a:pt x="652" y="1400"/>
                </a:cubicBezTo>
                <a:cubicBezTo>
                  <a:pt x="652" y="1432"/>
                  <a:pt x="684" y="1480"/>
                  <a:pt x="732" y="1480"/>
                </a:cubicBezTo>
                <a:close/>
                <a:moveTo>
                  <a:pt x="2673" y="1829"/>
                </a:moveTo>
                <a:lnTo>
                  <a:pt x="716" y="1829"/>
                </a:lnTo>
                <a:cubicBezTo>
                  <a:pt x="668" y="1829"/>
                  <a:pt x="637" y="1861"/>
                  <a:pt x="637" y="1909"/>
                </a:cubicBezTo>
                <a:cubicBezTo>
                  <a:pt x="637" y="1941"/>
                  <a:pt x="668" y="1989"/>
                  <a:pt x="716" y="1989"/>
                </a:cubicBezTo>
                <a:lnTo>
                  <a:pt x="2673" y="1989"/>
                </a:lnTo>
                <a:cubicBezTo>
                  <a:pt x="2720" y="1989"/>
                  <a:pt x="2752" y="1956"/>
                  <a:pt x="2752" y="1909"/>
                </a:cubicBezTo>
                <a:cubicBezTo>
                  <a:pt x="2752" y="1861"/>
                  <a:pt x="2720" y="1829"/>
                  <a:pt x="2673" y="1829"/>
                </a:cubicBezTo>
                <a:close/>
                <a:moveTo>
                  <a:pt x="2673" y="2338"/>
                </a:moveTo>
                <a:lnTo>
                  <a:pt x="716" y="2338"/>
                </a:lnTo>
                <a:cubicBezTo>
                  <a:pt x="668" y="2338"/>
                  <a:pt x="637" y="2370"/>
                  <a:pt x="637" y="2418"/>
                </a:cubicBezTo>
                <a:cubicBezTo>
                  <a:pt x="637" y="2465"/>
                  <a:pt x="668" y="2497"/>
                  <a:pt x="716" y="2497"/>
                </a:cubicBezTo>
                <a:lnTo>
                  <a:pt x="2673" y="2497"/>
                </a:lnTo>
                <a:cubicBezTo>
                  <a:pt x="2720" y="2497"/>
                  <a:pt x="2752" y="2465"/>
                  <a:pt x="2752" y="2418"/>
                </a:cubicBezTo>
                <a:cubicBezTo>
                  <a:pt x="2752" y="2370"/>
                  <a:pt x="2720" y="2338"/>
                  <a:pt x="2673" y="2338"/>
                </a:cubicBezTo>
                <a:close/>
                <a:moveTo>
                  <a:pt x="2673" y="2847"/>
                </a:moveTo>
                <a:lnTo>
                  <a:pt x="716" y="2847"/>
                </a:lnTo>
                <a:cubicBezTo>
                  <a:pt x="668" y="2847"/>
                  <a:pt x="637" y="2879"/>
                  <a:pt x="637" y="2927"/>
                </a:cubicBezTo>
                <a:cubicBezTo>
                  <a:pt x="637" y="2974"/>
                  <a:pt x="668" y="3006"/>
                  <a:pt x="716" y="3006"/>
                </a:cubicBezTo>
                <a:lnTo>
                  <a:pt x="2673" y="3006"/>
                </a:lnTo>
                <a:cubicBezTo>
                  <a:pt x="2720" y="3006"/>
                  <a:pt x="2752" y="2974"/>
                  <a:pt x="2752" y="2927"/>
                </a:cubicBezTo>
                <a:cubicBezTo>
                  <a:pt x="2752" y="2879"/>
                  <a:pt x="2720" y="2847"/>
                  <a:pt x="2673" y="2847"/>
                </a:cubicBezTo>
                <a:close/>
                <a:moveTo>
                  <a:pt x="2179" y="3356"/>
                </a:moveTo>
                <a:lnTo>
                  <a:pt x="716" y="3356"/>
                </a:lnTo>
                <a:cubicBezTo>
                  <a:pt x="668" y="3356"/>
                  <a:pt x="637" y="3388"/>
                  <a:pt x="637" y="3435"/>
                </a:cubicBezTo>
                <a:cubicBezTo>
                  <a:pt x="637" y="3483"/>
                  <a:pt x="668" y="3515"/>
                  <a:pt x="716" y="3515"/>
                </a:cubicBezTo>
                <a:lnTo>
                  <a:pt x="2179" y="3515"/>
                </a:lnTo>
                <a:cubicBezTo>
                  <a:pt x="2227" y="3515"/>
                  <a:pt x="2259" y="3483"/>
                  <a:pt x="2259" y="3435"/>
                </a:cubicBezTo>
                <a:cubicBezTo>
                  <a:pt x="2259" y="3404"/>
                  <a:pt x="2227" y="3356"/>
                  <a:pt x="2179" y="3356"/>
                </a:cubicBezTo>
                <a:close/>
                <a:moveTo>
                  <a:pt x="2656" y="3961"/>
                </a:moveTo>
                <a:cubicBezTo>
                  <a:pt x="2656" y="4008"/>
                  <a:pt x="2688" y="4040"/>
                  <a:pt x="2736" y="4040"/>
                </a:cubicBezTo>
                <a:lnTo>
                  <a:pt x="3261" y="4040"/>
                </a:lnTo>
                <a:cubicBezTo>
                  <a:pt x="3309" y="4040"/>
                  <a:pt x="3340" y="4008"/>
                  <a:pt x="3340" y="3961"/>
                </a:cubicBezTo>
                <a:cubicBezTo>
                  <a:pt x="3340" y="3913"/>
                  <a:pt x="3309" y="3881"/>
                  <a:pt x="3261" y="3881"/>
                </a:cubicBezTo>
                <a:lnTo>
                  <a:pt x="2736" y="3881"/>
                </a:lnTo>
                <a:cubicBezTo>
                  <a:pt x="2688" y="3881"/>
                  <a:pt x="2656" y="3913"/>
                  <a:pt x="2656" y="396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5" name="TextBox 74">
            <a:extLst>
              <a:ext uri="{FF2B5EF4-FFF2-40B4-BE49-F238E27FC236}">
                <a16:creationId xmlns:a16="http://schemas.microsoft.com/office/drawing/2014/main" id="{2AF9128C-FF5D-694B-9F72-0A09B50B286C}"/>
              </a:ext>
            </a:extLst>
          </p:cNvPr>
          <p:cNvSpPr txBox="1"/>
          <p:nvPr/>
        </p:nvSpPr>
        <p:spPr>
          <a:xfrm>
            <a:off x="20682571" y="11695113"/>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andscape</a:t>
            </a:r>
          </a:p>
        </p:txBody>
      </p:sp>
      <p:sp>
        <p:nvSpPr>
          <p:cNvPr id="76" name="Freeform: Shape 1">
            <a:extLst>
              <a:ext uri="{FF2B5EF4-FFF2-40B4-BE49-F238E27FC236}">
                <a16:creationId xmlns:a16="http://schemas.microsoft.com/office/drawing/2014/main" id="{C8371FE2-E91E-7C41-BF63-71CD638D61E6}"/>
              </a:ext>
            </a:extLst>
          </p:cNvPr>
          <p:cNvSpPr/>
          <p:nvPr/>
        </p:nvSpPr>
        <p:spPr>
          <a:xfrm>
            <a:off x="21492584" y="9965633"/>
            <a:ext cx="1385280" cy="1018799"/>
          </a:xfrm>
          <a:custGeom>
            <a:avLst/>
            <a:gdLst/>
            <a:ahLst/>
            <a:cxnLst>
              <a:cxn ang="3cd4">
                <a:pos x="hc" y="t"/>
              </a:cxn>
              <a:cxn ang="cd2">
                <a:pos x="l" y="vc"/>
              </a:cxn>
              <a:cxn ang="cd4">
                <a:pos x="hc" y="b"/>
              </a:cxn>
              <a:cxn ang="0">
                <a:pos x="r" y="vc"/>
              </a:cxn>
            </a:cxnLst>
            <a:rect l="l" t="t" r="r" b="b"/>
            <a:pathLst>
              <a:path w="3849" h="2831">
                <a:moveTo>
                  <a:pt x="80" y="2831"/>
                </a:moveTo>
                <a:lnTo>
                  <a:pt x="3770" y="2831"/>
                </a:lnTo>
                <a:cubicBezTo>
                  <a:pt x="3802" y="2831"/>
                  <a:pt x="3849" y="2800"/>
                  <a:pt x="3849" y="2752"/>
                </a:cubicBezTo>
                <a:lnTo>
                  <a:pt x="3849" y="971"/>
                </a:lnTo>
                <a:cubicBezTo>
                  <a:pt x="3849" y="955"/>
                  <a:pt x="3833" y="923"/>
                  <a:pt x="3818" y="907"/>
                </a:cubicBezTo>
                <a:lnTo>
                  <a:pt x="2975" y="32"/>
                </a:lnTo>
                <a:cubicBezTo>
                  <a:pt x="2975" y="16"/>
                  <a:pt x="2943" y="0"/>
                  <a:pt x="2927" y="0"/>
                </a:cubicBezTo>
                <a:lnTo>
                  <a:pt x="80" y="0"/>
                </a:lnTo>
                <a:cubicBezTo>
                  <a:pt x="32" y="0"/>
                  <a:pt x="0" y="32"/>
                  <a:pt x="0" y="80"/>
                </a:cubicBezTo>
                <a:lnTo>
                  <a:pt x="0" y="2752"/>
                </a:lnTo>
                <a:cubicBezTo>
                  <a:pt x="0" y="2800"/>
                  <a:pt x="32" y="2831"/>
                  <a:pt x="80" y="2831"/>
                </a:cubicBezTo>
                <a:close/>
                <a:moveTo>
                  <a:pt x="3579" y="891"/>
                </a:moveTo>
                <a:lnTo>
                  <a:pt x="2959" y="891"/>
                </a:lnTo>
                <a:lnTo>
                  <a:pt x="2959" y="223"/>
                </a:lnTo>
                <a:close/>
                <a:moveTo>
                  <a:pt x="159" y="159"/>
                </a:moveTo>
                <a:lnTo>
                  <a:pt x="2800" y="159"/>
                </a:lnTo>
                <a:lnTo>
                  <a:pt x="2800" y="971"/>
                </a:lnTo>
                <a:cubicBezTo>
                  <a:pt x="2800" y="1018"/>
                  <a:pt x="2831" y="1050"/>
                  <a:pt x="2879" y="1050"/>
                </a:cubicBezTo>
                <a:lnTo>
                  <a:pt x="3690" y="1050"/>
                </a:lnTo>
                <a:lnTo>
                  <a:pt x="3690" y="2672"/>
                </a:lnTo>
                <a:lnTo>
                  <a:pt x="159" y="2672"/>
                </a:lnTo>
                <a:close/>
                <a:moveTo>
                  <a:pt x="652" y="668"/>
                </a:moveTo>
                <a:lnTo>
                  <a:pt x="2434" y="668"/>
                </a:lnTo>
                <a:cubicBezTo>
                  <a:pt x="2482" y="668"/>
                  <a:pt x="2513" y="637"/>
                  <a:pt x="2513" y="589"/>
                </a:cubicBezTo>
                <a:cubicBezTo>
                  <a:pt x="2513" y="541"/>
                  <a:pt x="2482" y="509"/>
                  <a:pt x="2434" y="509"/>
                </a:cubicBezTo>
                <a:lnTo>
                  <a:pt x="652" y="509"/>
                </a:lnTo>
                <a:cubicBezTo>
                  <a:pt x="605" y="509"/>
                  <a:pt x="573" y="541"/>
                  <a:pt x="573" y="589"/>
                </a:cubicBezTo>
                <a:cubicBezTo>
                  <a:pt x="573" y="637"/>
                  <a:pt x="605" y="668"/>
                  <a:pt x="652" y="668"/>
                </a:cubicBezTo>
                <a:close/>
                <a:moveTo>
                  <a:pt x="652" y="1177"/>
                </a:moveTo>
                <a:lnTo>
                  <a:pt x="2434" y="1177"/>
                </a:lnTo>
                <a:cubicBezTo>
                  <a:pt x="2482" y="1177"/>
                  <a:pt x="2513" y="1146"/>
                  <a:pt x="2513" y="1098"/>
                </a:cubicBezTo>
                <a:cubicBezTo>
                  <a:pt x="2513" y="1050"/>
                  <a:pt x="2482" y="1018"/>
                  <a:pt x="2434" y="1018"/>
                </a:cubicBezTo>
                <a:lnTo>
                  <a:pt x="652" y="1018"/>
                </a:lnTo>
                <a:cubicBezTo>
                  <a:pt x="605" y="1018"/>
                  <a:pt x="573" y="1050"/>
                  <a:pt x="573" y="1098"/>
                </a:cubicBezTo>
                <a:cubicBezTo>
                  <a:pt x="573" y="1146"/>
                  <a:pt x="605" y="1177"/>
                  <a:pt x="652" y="1177"/>
                </a:cubicBezTo>
                <a:close/>
                <a:moveTo>
                  <a:pt x="3197" y="1527"/>
                </a:moveTo>
                <a:lnTo>
                  <a:pt x="652" y="1527"/>
                </a:lnTo>
                <a:cubicBezTo>
                  <a:pt x="605" y="1527"/>
                  <a:pt x="573" y="1559"/>
                  <a:pt x="573" y="1607"/>
                </a:cubicBezTo>
                <a:cubicBezTo>
                  <a:pt x="573" y="1655"/>
                  <a:pt x="605" y="1686"/>
                  <a:pt x="652" y="1686"/>
                </a:cubicBezTo>
                <a:lnTo>
                  <a:pt x="3197" y="1686"/>
                </a:lnTo>
                <a:cubicBezTo>
                  <a:pt x="3245" y="1686"/>
                  <a:pt x="3277" y="1655"/>
                  <a:pt x="3277" y="1607"/>
                </a:cubicBezTo>
                <a:cubicBezTo>
                  <a:pt x="3277" y="1559"/>
                  <a:pt x="3245" y="1527"/>
                  <a:pt x="3197" y="1527"/>
                </a:cubicBezTo>
                <a:close/>
                <a:moveTo>
                  <a:pt x="3197" y="2036"/>
                </a:moveTo>
                <a:lnTo>
                  <a:pt x="652" y="2036"/>
                </a:lnTo>
                <a:cubicBezTo>
                  <a:pt x="605" y="2036"/>
                  <a:pt x="573" y="2068"/>
                  <a:pt x="573" y="2116"/>
                </a:cubicBezTo>
                <a:cubicBezTo>
                  <a:pt x="573" y="2164"/>
                  <a:pt x="605" y="2195"/>
                  <a:pt x="652" y="2195"/>
                </a:cubicBezTo>
                <a:lnTo>
                  <a:pt x="3197" y="2195"/>
                </a:lnTo>
                <a:cubicBezTo>
                  <a:pt x="3245" y="2195"/>
                  <a:pt x="3277" y="2164"/>
                  <a:pt x="3277" y="2116"/>
                </a:cubicBezTo>
                <a:cubicBezTo>
                  <a:pt x="3277" y="2068"/>
                  <a:pt x="3245" y="2036"/>
                  <a:pt x="3197" y="203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2517651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Documents / Windows - 2</a:t>
            </a:r>
          </a:p>
        </p:txBody>
      </p:sp>
      <p:sp>
        <p:nvSpPr>
          <p:cNvPr id="77" name="TextBox 76">
            <a:extLst>
              <a:ext uri="{FF2B5EF4-FFF2-40B4-BE49-F238E27FC236}">
                <a16:creationId xmlns:a16="http://schemas.microsoft.com/office/drawing/2014/main" id="{D8216780-7BE3-0E41-B56F-669302507ED1}"/>
              </a:ext>
            </a:extLst>
          </p:cNvPr>
          <p:cNvSpPr txBox="1"/>
          <p:nvPr/>
        </p:nvSpPr>
        <p:spPr>
          <a:xfrm>
            <a:off x="859968" y="11649840"/>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Landscape Doc</a:t>
            </a:r>
          </a:p>
        </p:txBody>
      </p:sp>
      <p:sp>
        <p:nvSpPr>
          <p:cNvPr id="78" name="TextBox 77">
            <a:extLst>
              <a:ext uri="{FF2B5EF4-FFF2-40B4-BE49-F238E27FC236}">
                <a16:creationId xmlns:a16="http://schemas.microsoft.com/office/drawing/2014/main" id="{F4DB8C1D-37B5-A946-9B94-B60D3F884123}"/>
              </a:ext>
            </a:extLst>
          </p:cNvPr>
          <p:cNvSpPr txBox="1"/>
          <p:nvPr/>
        </p:nvSpPr>
        <p:spPr>
          <a:xfrm>
            <a:off x="17176402" y="11649840"/>
            <a:ext cx="210666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Mark</a:t>
            </a:r>
          </a:p>
        </p:txBody>
      </p:sp>
      <p:sp>
        <p:nvSpPr>
          <p:cNvPr id="79" name="Freeform: Shape 2">
            <a:extLst>
              <a:ext uri="{FF2B5EF4-FFF2-40B4-BE49-F238E27FC236}">
                <a16:creationId xmlns:a16="http://schemas.microsoft.com/office/drawing/2014/main" id="{CF273932-EB3C-2B4A-A6EC-CC9D1A38A347}"/>
              </a:ext>
            </a:extLst>
          </p:cNvPr>
          <p:cNvSpPr/>
          <p:nvPr/>
        </p:nvSpPr>
        <p:spPr>
          <a:xfrm>
            <a:off x="1741536" y="10068961"/>
            <a:ext cx="1385280" cy="1018799"/>
          </a:xfrm>
          <a:custGeom>
            <a:avLst/>
            <a:gdLst/>
            <a:ahLst/>
            <a:cxnLst>
              <a:cxn ang="3cd4">
                <a:pos x="hc" y="t"/>
              </a:cxn>
              <a:cxn ang="cd2">
                <a:pos x="l" y="vc"/>
              </a:cxn>
              <a:cxn ang="cd4">
                <a:pos x="hc" y="b"/>
              </a:cxn>
              <a:cxn ang="0">
                <a:pos x="r" y="vc"/>
              </a:cxn>
            </a:cxnLst>
            <a:rect l="l" t="t" r="r" b="b"/>
            <a:pathLst>
              <a:path w="3849" h="2831">
                <a:moveTo>
                  <a:pt x="79" y="2831"/>
                </a:moveTo>
                <a:cubicBezTo>
                  <a:pt x="3769" y="2831"/>
                  <a:pt x="3769" y="2831"/>
                  <a:pt x="3769" y="2831"/>
                </a:cubicBezTo>
                <a:cubicBezTo>
                  <a:pt x="3817" y="2831"/>
                  <a:pt x="3849" y="2800"/>
                  <a:pt x="3849" y="2752"/>
                </a:cubicBezTo>
                <a:cubicBezTo>
                  <a:pt x="3849" y="971"/>
                  <a:pt x="3849" y="971"/>
                  <a:pt x="3849" y="971"/>
                </a:cubicBezTo>
                <a:cubicBezTo>
                  <a:pt x="3849" y="955"/>
                  <a:pt x="3849" y="923"/>
                  <a:pt x="3833" y="907"/>
                </a:cubicBezTo>
                <a:cubicBezTo>
                  <a:pt x="2990" y="32"/>
                  <a:pt x="2990" y="32"/>
                  <a:pt x="2990" y="32"/>
                </a:cubicBezTo>
                <a:cubicBezTo>
                  <a:pt x="2974" y="16"/>
                  <a:pt x="2958" y="0"/>
                  <a:pt x="2926" y="0"/>
                </a:cubicBezTo>
                <a:cubicBezTo>
                  <a:pt x="79" y="0"/>
                  <a:pt x="79" y="0"/>
                  <a:pt x="79" y="0"/>
                </a:cubicBezTo>
                <a:cubicBezTo>
                  <a:pt x="48" y="0"/>
                  <a:pt x="0" y="32"/>
                  <a:pt x="0" y="80"/>
                </a:cubicBezTo>
                <a:cubicBezTo>
                  <a:pt x="0" y="2752"/>
                  <a:pt x="0" y="2752"/>
                  <a:pt x="0" y="2752"/>
                </a:cubicBezTo>
                <a:cubicBezTo>
                  <a:pt x="0" y="2800"/>
                  <a:pt x="48" y="2831"/>
                  <a:pt x="79" y="2831"/>
                </a:cubicBezTo>
                <a:close/>
                <a:moveTo>
                  <a:pt x="3595" y="891"/>
                </a:moveTo>
                <a:cubicBezTo>
                  <a:pt x="2958" y="891"/>
                  <a:pt x="2958" y="891"/>
                  <a:pt x="2958" y="891"/>
                </a:cubicBezTo>
                <a:cubicBezTo>
                  <a:pt x="2958" y="223"/>
                  <a:pt x="2958" y="223"/>
                  <a:pt x="2958" y="223"/>
                </a:cubicBezTo>
                <a:close/>
                <a:moveTo>
                  <a:pt x="159" y="159"/>
                </a:moveTo>
                <a:cubicBezTo>
                  <a:pt x="2799" y="159"/>
                  <a:pt x="2799" y="159"/>
                  <a:pt x="2799" y="159"/>
                </a:cubicBezTo>
                <a:cubicBezTo>
                  <a:pt x="2799" y="971"/>
                  <a:pt x="2799" y="971"/>
                  <a:pt x="2799" y="971"/>
                </a:cubicBezTo>
                <a:cubicBezTo>
                  <a:pt x="2799" y="1018"/>
                  <a:pt x="2831" y="1050"/>
                  <a:pt x="2879" y="1050"/>
                </a:cubicBezTo>
                <a:cubicBezTo>
                  <a:pt x="3690" y="1050"/>
                  <a:pt x="3690" y="1050"/>
                  <a:pt x="3690" y="1050"/>
                </a:cubicBezTo>
                <a:cubicBezTo>
                  <a:pt x="3690" y="2672"/>
                  <a:pt x="3690" y="2672"/>
                  <a:pt x="3690" y="2672"/>
                </a:cubicBezTo>
                <a:cubicBezTo>
                  <a:pt x="159" y="2672"/>
                  <a:pt x="159" y="2672"/>
                  <a:pt x="159" y="26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0" name="Freeform: Shape 18">
            <a:extLst>
              <a:ext uri="{FF2B5EF4-FFF2-40B4-BE49-F238E27FC236}">
                <a16:creationId xmlns:a16="http://schemas.microsoft.com/office/drawing/2014/main" id="{D383FD63-C232-0C4E-886C-D15222A73078}"/>
              </a:ext>
            </a:extLst>
          </p:cNvPr>
          <p:cNvSpPr/>
          <p:nvPr/>
        </p:nvSpPr>
        <p:spPr>
          <a:xfrm>
            <a:off x="17704062" y="9703381"/>
            <a:ext cx="1196280" cy="1749960"/>
          </a:xfrm>
          <a:custGeom>
            <a:avLst/>
            <a:gdLst/>
            <a:ahLst/>
            <a:cxnLst>
              <a:cxn ang="3cd4">
                <a:pos x="hc" y="t"/>
              </a:cxn>
              <a:cxn ang="cd2">
                <a:pos x="l" y="vc"/>
              </a:cxn>
              <a:cxn ang="cd4">
                <a:pos x="hc" y="b"/>
              </a:cxn>
              <a:cxn ang="0">
                <a:pos x="r" y="vc"/>
              </a:cxn>
            </a:cxnLst>
            <a:rect l="l" t="t" r="r" b="b"/>
            <a:pathLst>
              <a:path w="3324" h="4862">
                <a:moveTo>
                  <a:pt x="3006" y="2958"/>
                </a:moveTo>
                <a:lnTo>
                  <a:pt x="2163" y="2958"/>
                </a:lnTo>
                <a:cubicBezTo>
                  <a:pt x="2131" y="2958"/>
                  <a:pt x="2084" y="2990"/>
                  <a:pt x="2084" y="3038"/>
                </a:cubicBezTo>
                <a:cubicBezTo>
                  <a:pt x="2084" y="3086"/>
                  <a:pt x="2131" y="3117"/>
                  <a:pt x="2163" y="3117"/>
                </a:cubicBezTo>
                <a:lnTo>
                  <a:pt x="2259" y="3117"/>
                </a:lnTo>
                <a:cubicBezTo>
                  <a:pt x="2259" y="3133"/>
                  <a:pt x="2291" y="3133"/>
                  <a:pt x="2306" y="3133"/>
                </a:cubicBezTo>
                <a:cubicBezTo>
                  <a:pt x="2370" y="3133"/>
                  <a:pt x="2449" y="3197"/>
                  <a:pt x="2449" y="3261"/>
                </a:cubicBezTo>
                <a:lnTo>
                  <a:pt x="2449" y="4771"/>
                </a:lnTo>
                <a:cubicBezTo>
                  <a:pt x="2449" y="4803"/>
                  <a:pt x="2466" y="4835"/>
                  <a:pt x="2497" y="4851"/>
                </a:cubicBezTo>
                <a:cubicBezTo>
                  <a:pt x="2529" y="4867"/>
                  <a:pt x="2561" y="4867"/>
                  <a:pt x="2577" y="4835"/>
                </a:cubicBezTo>
                <a:lnTo>
                  <a:pt x="2895" y="4597"/>
                </a:lnTo>
                <a:lnTo>
                  <a:pt x="3197" y="4835"/>
                </a:lnTo>
                <a:cubicBezTo>
                  <a:pt x="3213" y="4851"/>
                  <a:pt x="3229" y="4851"/>
                  <a:pt x="3245" y="4851"/>
                </a:cubicBezTo>
                <a:lnTo>
                  <a:pt x="3276" y="4851"/>
                </a:lnTo>
                <a:cubicBezTo>
                  <a:pt x="3309" y="4835"/>
                  <a:pt x="3324" y="4803"/>
                  <a:pt x="3324" y="4771"/>
                </a:cubicBezTo>
                <a:lnTo>
                  <a:pt x="3324" y="3261"/>
                </a:lnTo>
                <a:cubicBezTo>
                  <a:pt x="3324" y="3101"/>
                  <a:pt x="3149" y="2958"/>
                  <a:pt x="3006" y="2958"/>
                </a:cubicBezTo>
                <a:close/>
                <a:moveTo>
                  <a:pt x="3166" y="4613"/>
                </a:moveTo>
                <a:lnTo>
                  <a:pt x="2943" y="4437"/>
                </a:lnTo>
                <a:cubicBezTo>
                  <a:pt x="2927" y="4422"/>
                  <a:pt x="2911" y="4406"/>
                  <a:pt x="2895" y="4406"/>
                </a:cubicBezTo>
                <a:cubicBezTo>
                  <a:pt x="2879" y="4406"/>
                  <a:pt x="2847" y="4422"/>
                  <a:pt x="2847" y="4437"/>
                </a:cubicBezTo>
                <a:lnTo>
                  <a:pt x="2609" y="4613"/>
                </a:lnTo>
                <a:lnTo>
                  <a:pt x="2609" y="3261"/>
                </a:lnTo>
                <a:cubicBezTo>
                  <a:pt x="2609" y="3213"/>
                  <a:pt x="2593" y="3165"/>
                  <a:pt x="2561" y="3117"/>
                </a:cubicBezTo>
                <a:lnTo>
                  <a:pt x="3006" y="3117"/>
                </a:lnTo>
                <a:cubicBezTo>
                  <a:pt x="3070" y="3117"/>
                  <a:pt x="3166" y="3197"/>
                  <a:pt x="3166" y="3261"/>
                </a:cubicBezTo>
                <a:close/>
                <a:moveTo>
                  <a:pt x="2148" y="16"/>
                </a:moveTo>
                <a:cubicBezTo>
                  <a:pt x="2131" y="0"/>
                  <a:pt x="2116" y="0"/>
                  <a:pt x="2100" y="0"/>
                </a:cubicBezTo>
                <a:lnTo>
                  <a:pt x="80" y="0"/>
                </a:lnTo>
                <a:cubicBezTo>
                  <a:pt x="32" y="0"/>
                  <a:pt x="0" y="32"/>
                  <a:pt x="0" y="80"/>
                </a:cubicBezTo>
                <a:lnTo>
                  <a:pt x="0" y="4119"/>
                </a:lnTo>
                <a:cubicBezTo>
                  <a:pt x="0" y="4167"/>
                  <a:pt x="32" y="4199"/>
                  <a:pt x="80" y="4199"/>
                </a:cubicBezTo>
                <a:lnTo>
                  <a:pt x="1925" y="4199"/>
                </a:lnTo>
                <a:cubicBezTo>
                  <a:pt x="1973" y="4199"/>
                  <a:pt x="2004" y="4167"/>
                  <a:pt x="2004" y="4119"/>
                </a:cubicBezTo>
                <a:cubicBezTo>
                  <a:pt x="2004" y="4088"/>
                  <a:pt x="1973" y="4040"/>
                  <a:pt x="1925" y="4040"/>
                </a:cubicBezTo>
                <a:lnTo>
                  <a:pt x="159" y="4040"/>
                </a:lnTo>
                <a:lnTo>
                  <a:pt x="159" y="159"/>
                </a:lnTo>
                <a:lnTo>
                  <a:pt x="2052" y="159"/>
                </a:lnTo>
                <a:lnTo>
                  <a:pt x="2052" y="1209"/>
                </a:lnTo>
                <a:cubicBezTo>
                  <a:pt x="2052" y="1241"/>
                  <a:pt x="2100" y="1289"/>
                  <a:pt x="2131" y="1289"/>
                </a:cubicBezTo>
                <a:lnTo>
                  <a:pt x="3166" y="1289"/>
                </a:lnTo>
                <a:lnTo>
                  <a:pt x="3166" y="2656"/>
                </a:lnTo>
                <a:cubicBezTo>
                  <a:pt x="3166" y="2704"/>
                  <a:pt x="3213" y="2735"/>
                  <a:pt x="3245" y="2735"/>
                </a:cubicBezTo>
                <a:cubicBezTo>
                  <a:pt x="3293" y="2735"/>
                  <a:pt x="3324" y="2704"/>
                  <a:pt x="3324" y="2656"/>
                </a:cubicBezTo>
                <a:lnTo>
                  <a:pt x="3324" y="1209"/>
                </a:lnTo>
                <a:cubicBezTo>
                  <a:pt x="3324" y="1193"/>
                  <a:pt x="3324" y="1177"/>
                  <a:pt x="3309" y="1161"/>
                </a:cubicBezTo>
                <a:close/>
                <a:moveTo>
                  <a:pt x="2211" y="302"/>
                </a:moveTo>
                <a:lnTo>
                  <a:pt x="3038" y="1129"/>
                </a:lnTo>
                <a:lnTo>
                  <a:pt x="2211"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1" name="TextBox 80">
            <a:extLst>
              <a:ext uri="{FF2B5EF4-FFF2-40B4-BE49-F238E27FC236}">
                <a16:creationId xmlns:a16="http://schemas.microsoft.com/office/drawing/2014/main" id="{56624D3C-0CB7-A243-81C3-6C7A58400B88}"/>
              </a:ext>
            </a:extLst>
          </p:cNvPr>
          <p:cNvSpPr txBox="1"/>
          <p:nvPr/>
        </p:nvSpPr>
        <p:spPr>
          <a:xfrm>
            <a:off x="9343949" y="5144931"/>
            <a:ext cx="2465738" cy="89383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ument Secure</a:t>
            </a:r>
          </a:p>
        </p:txBody>
      </p:sp>
      <p:sp>
        <p:nvSpPr>
          <p:cNvPr id="82" name="TextBox 81">
            <a:extLst>
              <a:ext uri="{FF2B5EF4-FFF2-40B4-BE49-F238E27FC236}">
                <a16:creationId xmlns:a16="http://schemas.microsoft.com/office/drawing/2014/main" id="{7D1F4284-44BB-CB4D-91AB-01F0592D23CE}"/>
              </a:ext>
            </a:extLst>
          </p:cNvPr>
          <p:cNvSpPr txBox="1"/>
          <p:nvPr/>
        </p:nvSpPr>
        <p:spPr>
          <a:xfrm>
            <a:off x="5566758" y="5144931"/>
            <a:ext cx="2433170"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ument Upload</a:t>
            </a:r>
          </a:p>
        </p:txBody>
      </p:sp>
      <p:sp>
        <p:nvSpPr>
          <p:cNvPr id="83" name="Freeform: Shape 2">
            <a:extLst>
              <a:ext uri="{FF2B5EF4-FFF2-40B4-BE49-F238E27FC236}">
                <a16:creationId xmlns:a16="http://schemas.microsoft.com/office/drawing/2014/main" id="{77CCE0CC-949B-8D45-BC72-2EAEACD86748}"/>
              </a:ext>
            </a:extLst>
          </p:cNvPr>
          <p:cNvSpPr/>
          <p:nvPr/>
        </p:nvSpPr>
        <p:spPr>
          <a:xfrm>
            <a:off x="9975798" y="3156272"/>
            <a:ext cx="1202039" cy="1517039"/>
          </a:xfrm>
          <a:custGeom>
            <a:avLst/>
            <a:gdLst/>
            <a:ahLst/>
            <a:cxnLst>
              <a:cxn ang="3cd4">
                <a:pos x="hc" y="t"/>
              </a:cxn>
              <a:cxn ang="cd2">
                <a:pos x="l" y="vc"/>
              </a:cxn>
              <a:cxn ang="cd4">
                <a:pos x="hc" y="b"/>
              </a:cxn>
              <a:cxn ang="0">
                <a:pos x="r" y="vc"/>
              </a:cxn>
            </a:cxnLst>
            <a:rect l="l" t="t" r="r" b="b"/>
            <a:pathLst>
              <a:path w="3340" h="4215">
                <a:moveTo>
                  <a:pt x="0" y="80"/>
                </a:moveTo>
                <a:lnTo>
                  <a:pt x="0" y="4136"/>
                </a:lnTo>
                <a:cubicBezTo>
                  <a:pt x="0" y="4184"/>
                  <a:pt x="48" y="4215"/>
                  <a:pt x="80" y="4215"/>
                </a:cubicBezTo>
                <a:lnTo>
                  <a:pt x="1925" y="4215"/>
                </a:lnTo>
                <a:cubicBezTo>
                  <a:pt x="1972" y="4215"/>
                  <a:pt x="2004" y="4184"/>
                  <a:pt x="2004" y="4136"/>
                </a:cubicBezTo>
                <a:cubicBezTo>
                  <a:pt x="2004" y="4088"/>
                  <a:pt x="1972" y="4056"/>
                  <a:pt x="1925" y="4056"/>
                </a:cubicBezTo>
                <a:lnTo>
                  <a:pt x="159" y="4056"/>
                </a:lnTo>
                <a:lnTo>
                  <a:pt x="159" y="159"/>
                </a:lnTo>
                <a:lnTo>
                  <a:pt x="2068" y="159"/>
                </a:lnTo>
                <a:lnTo>
                  <a:pt x="2068" y="1209"/>
                </a:lnTo>
                <a:cubicBezTo>
                  <a:pt x="2068" y="1257"/>
                  <a:pt x="2100" y="1289"/>
                  <a:pt x="2147" y="1289"/>
                </a:cubicBezTo>
                <a:lnTo>
                  <a:pt x="3181" y="1289"/>
                </a:lnTo>
                <a:lnTo>
                  <a:pt x="3181" y="2672"/>
                </a:lnTo>
                <a:cubicBezTo>
                  <a:pt x="3181" y="2704"/>
                  <a:pt x="3213" y="2752"/>
                  <a:pt x="3261" y="2752"/>
                </a:cubicBezTo>
                <a:cubicBezTo>
                  <a:pt x="3293" y="2752"/>
                  <a:pt x="3340" y="2704"/>
                  <a:pt x="3340" y="2672"/>
                </a:cubicBezTo>
                <a:lnTo>
                  <a:pt x="3340" y="1225"/>
                </a:lnTo>
                <a:cubicBezTo>
                  <a:pt x="3340" y="1209"/>
                  <a:pt x="3324" y="1177"/>
                  <a:pt x="3308" y="1161"/>
                </a:cubicBezTo>
                <a:lnTo>
                  <a:pt x="2147" y="32"/>
                </a:lnTo>
                <a:cubicBezTo>
                  <a:pt x="2147" y="16"/>
                  <a:pt x="2115" y="0"/>
                  <a:pt x="2100" y="0"/>
                </a:cubicBezTo>
                <a:lnTo>
                  <a:pt x="80" y="0"/>
                </a:lnTo>
                <a:cubicBezTo>
                  <a:pt x="48" y="0"/>
                  <a:pt x="0" y="32"/>
                  <a:pt x="0" y="80"/>
                </a:cubicBezTo>
                <a:close/>
                <a:moveTo>
                  <a:pt x="2227" y="319"/>
                </a:moveTo>
                <a:lnTo>
                  <a:pt x="3054" y="1130"/>
                </a:lnTo>
                <a:lnTo>
                  <a:pt x="2227" y="1130"/>
                </a:lnTo>
                <a:close/>
                <a:moveTo>
                  <a:pt x="2784" y="2911"/>
                </a:moveTo>
                <a:cubicBezTo>
                  <a:pt x="2545" y="2911"/>
                  <a:pt x="2338" y="3134"/>
                  <a:pt x="2338" y="3388"/>
                </a:cubicBezTo>
                <a:cubicBezTo>
                  <a:pt x="2275" y="3404"/>
                  <a:pt x="2227" y="3452"/>
                  <a:pt x="2227" y="3515"/>
                </a:cubicBezTo>
                <a:lnTo>
                  <a:pt x="2227" y="4072"/>
                </a:lnTo>
                <a:cubicBezTo>
                  <a:pt x="2227" y="4151"/>
                  <a:pt x="2291" y="4215"/>
                  <a:pt x="2370" y="4215"/>
                </a:cubicBezTo>
                <a:lnTo>
                  <a:pt x="3197" y="4215"/>
                </a:lnTo>
                <a:cubicBezTo>
                  <a:pt x="3276" y="4215"/>
                  <a:pt x="3340" y="4151"/>
                  <a:pt x="3340" y="4072"/>
                </a:cubicBezTo>
                <a:lnTo>
                  <a:pt x="3340" y="3515"/>
                </a:lnTo>
                <a:cubicBezTo>
                  <a:pt x="3340" y="3452"/>
                  <a:pt x="3293" y="3404"/>
                  <a:pt x="3229" y="3388"/>
                </a:cubicBezTo>
                <a:cubicBezTo>
                  <a:pt x="3229" y="3134"/>
                  <a:pt x="3038" y="2911"/>
                  <a:pt x="2784" y="2911"/>
                </a:cubicBezTo>
                <a:close/>
                <a:moveTo>
                  <a:pt x="2784" y="3070"/>
                </a:moveTo>
                <a:cubicBezTo>
                  <a:pt x="2942" y="3070"/>
                  <a:pt x="3070" y="3213"/>
                  <a:pt x="3070" y="3388"/>
                </a:cubicBezTo>
                <a:lnTo>
                  <a:pt x="2497" y="3388"/>
                </a:lnTo>
                <a:cubicBezTo>
                  <a:pt x="2497" y="3213"/>
                  <a:pt x="2624" y="3070"/>
                  <a:pt x="2784" y="3070"/>
                </a:cubicBezTo>
                <a:close/>
                <a:moveTo>
                  <a:pt x="3181" y="4056"/>
                </a:moveTo>
                <a:lnTo>
                  <a:pt x="2386" y="4056"/>
                </a:lnTo>
                <a:lnTo>
                  <a:pt x="2386" y="3547"/>
                </a:lnTo>
                <a:lnTo>
                  <a:pt x="3181" y="3547"/>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4" name="Freeform: Shape 3">
            <a:extLst>
              <a:ext uri="{FF2B5EF4-FFF2-40B4-BE49-F238E27FC236}">
                <a16:creationId xmlns:a16="http://schemas.microsoft.com/office/drawing/2014/main" id="{079C9A0B-374B-6D42-B8B7-D05B2E95A0DE}"/>
              </a:ext>
            </a:extLst>
          </p:cNvPr>
          <p:cNvSpPr/>
          <p:nvPr/>
        </p:nvSpPr>
        <p:spPr>
          <a:xfrm>
            <a:off x="6096693" y="2867192"/>
            <a:ext cx="1556999" cy="2095199"/>
          </a:xfrm>
          <a:custGeom>
            <a:avLst/>
            <a:gdLst/>
            <a:ahLst/>
            <a:cxnLst>
              <a:cxn ang="3cd4">
                <a:pos x="hc" y="t"/>
              </a:cxn>
              <a:cxn ang="cd2">
                <a:pos x="l" y="vc"/>
              </a:cxn>
              <a:cxn ang="cd4">
                <a:pos x="hc" y="b"/>
              </a:cxn>
              <a:cxn ang="0">
                <a:pos x="r" y="vc"/>
              </a:cxn>
            </a:cxnLst>
            <a:rect l="l" t="t" r="r" b="b"/>
            <a:pathLst>
              <a:path w="4326" h="5821">
                <a:moveTo>
                  <a:pt x="3102" y="0"/>
                </a:moveTo>
                <a:lnTo>
                  <a:pt x="1082" y="0"/>
                </a:lnTo>
                <a:cubicBezTo>
                  <a:pt x="1034" y="0"/>
                  <a:pt x="1002" y="32"/>
                  <a:pt x="1002" y="80"/>
                </a:cubicBezTo>
                <a:lnTo>
                  <a:pt x="1002" y="589"/>
                </a:lnTo>
                <a:lnTo>
                  <a:pt x="588" y="589"/>
                </a:lnTo>
                <a:cubicBezTo>
                  <a:pt x="541" y="589"/>
                  <a:pt x="509" y="620"/>
                  <a:pt x="509" y="668"/>
                </a:cubicBezTo>
                <a:lnTo>
                  <a:pt x="509" y="1177"/>
                </a:lnTo>
                <a:lnTo>
                  <a:pt x="79" y="1177"/>
                </a:lnTo>
                <a:cubicBezTo>
                  <a:pt x="48" y="1177"/>
                  <a:pt x="0" y="1209"/>
                  <a:pt x="0" y="1256"/>
                </a:cubicBezTo>
                <a:lnTo>
                  <a:pt x="0" y="5312"/>
                </a:lnTo>
                <a:cubicBezTo>
                  <a:pt x="0" y="5360"/>
                  <a:pt x="48" y="5392"/>
                  <a:pt x="79" y="5392"/>
                </a:cubicBezTo>
                <a:lnTo>
                  <a:pt x="1225" y="5392"/>
                </a:lnTo>
                <a:cubicBezTo>
                  <a:pt x="1272" y="5392"/>
                  <a:pt x="1305" y="5360"/>
                  <a:pt x="1305" y="5312"/>
                </a:cubicBezTo>
                <a:cubicBezTo>
                  <a:pt x="1305" y="5264"/>
                  <a:pt x="1272" y="5233"/>
                  <a:pt x="1225" y="5233"/>
                </a:cubicBezTo>
                <a:lnTo>
                  <a:pt x="159" y="5233"/>
                </a:lnTo>
                <a:lnTo>
                  <a:pt x="159" y="1336"/>
                </a:lnTo>
                <a:lnTo>
                  <a:pt x="2068" y="1336"/>
                </a:lnTo>
                <a:lnTo>
                  <a:pt x="2068" y="2386"/>
                </a:lnTo>
                <a:cubicBezTo>
                  <a:pt x="2068" y="2434"/>
                  <a:pt x="2100" y="2465"/>
                  <a:pt x="2147" y="2465"/>
                </a:cubicBezTo>
                <a:lnTo>
                  <a:pt x="3181" y="2465"/>
                </a:lnTo>
                <a:lnTo>
                  <a:pt x="3181" y="5233"/>
                </a:lnTo>
                <a:lnTo>
                  <a:pt x="2211" y="5233"/>
                </a:lnTo>
                <a:cubicBezTo>
                  <a:pt x="2163" y="5233"/>
                  <a:pt x="2132" y="5264"/>
                  <a:pt x="2132" y="5312"/>
                </a:cubicBezTo>
                <a:cubicBezTo>
                  <a:pt x="2132" y="5360"/>
                  <a:pt x="2163" y="5392"/>
                  <a:pt x="2211" y="5392"/>
                </a:cubicBezTo>
                <a:lnTo>
                  <a:pt x="3260" y="5392"/>
                </a:lnTo>
                <a:cubicBezTo>
                  <a:pt x="3293" y="5392"/>
                  <a:pt x="3340" y="5360"/>
                  <a:pt x="3340" y="5312"/>
                </a:cubicBezTo>
                <a:lnTo>
                  <a:pt x="3340" y="4803"/>
                </a:lnTo>
                <a:lnTo>
                  <a:pt x="3754" y="4803"/>
                </a:lnTo>
                <a:cubicBezTo>
                  <a:pt x="3802" y="4803"/>
                  <a:pt x="3833" y="4772"/>
                  <a:pt x="3833" y="4724"/>
                </a:cubicBezTo>
                <a:lnTo>
                  <a:pt x="3833" y="4215"/>
                </a:lnTo>
                <a:lnTo>
                  <a:pt x="4247" y="4215"/>
                </a:lnTo>
                <a:cubicBezTo>
                  <a:pt x="4295" y="4215"/>
                  <a:pt x="4326" y="4183"/>
                  <a:pt x="4326" y="4136"/>
                </a:cubicBezTo>
                <a:lnTo>
                  <a:pt x="4326" y="1225"/>
                </a:lnTo>
                <a:cubicBezTo>
                  <a:pt x="4326" y="1209"/>
                  <a:pt x="4326" y="1177"/>
                  <a:pt x="4310" y="1161"/>
                </a:cubicBezTo>
                <a:lnTo>
                  <a:pt x="3150" y="32"/>
                </a:lnTo>
                <a:cubicBezTo>
                  <a:pt x="3133" y="16"/>
                  <a:pt x="3117" y="0"/>
                  <a:pt x="3102" y="0"/>
                </a:cubicBezTo>
                <a:close/>
                <a:moveTo>
                  <a:pt x="2720" y="907"/>
                </a:moveTo>
                <a:lnTo>
                  <a:pt x="3086" y="1256"/>
                </a:lnTo>
                <a:lnTo>
                  <a:pt x="3086" y="1272"/>
                </a:lnTo>
                <a:lnTo>
                  <a:pt x="3547" y="1718"/>
                </a:lnTo>
                <a:lnTo>
                  <a:pt x="2720" y="1718"/>
                </a:lnTo>
                <a:close/>
                <a:moveTo>
                  <a:pt x="3229" y="318"/>
                </a:moveTo>
                <a:lnTo>
                  <a:pt x="4040" y="1129"/>
                </a:lnTo>
                <a:lnTo>
                  <a:pt x="3229" y="1129"/>
                </a:lnTo>
                <a:close/>
                <a:moveTo>
                  <a:pt x="1161" y="159"/>
                </a:moveTo>
                <a:lnTo>
                  <a:pt x="3070" y="159"/>
                </a:lnTo>
                <a:lnTo>
                  <a:pt x="3070" y="1018"/>
                </a:lnTo>
                <a:lnTo>
                  <a:pt x="2656" y="620"/>
                </a:lnTo>
                <a:cubicBezTo>
                  <a:pt x="2641" y="604"/>
                  <a:pt x="2624" y="589"/>
                  <a:pt x="2593" y="589"/>
                </a:cubicBezTo>
                <a:lnTo>
                  <a:pt x="1161" y="589"/>
                </a:lnTo>
                <a:close/>
                <a:moveTo>
                  <a:pt x="668" y="1177"/>
                </a:moveTo>
                <a:lnTo>
                  <a:pt x="668" y="747"/>
                </a:lnTo>
                <a:lnTo>
                  <a:pt x="2561" y="747"/>
                </a:lnTo>
                <a:lnTo>
                  <a:pt x="2561" y="1607"/>
                </a:lnTo>
                <a:lnTo>
                  <a:pt x="2163" y="1209"/>
                </a:lnTo>
                <a:cubicBezTo>
                  <a:pt x="2147" y="1193"/>
                  <a:pt x="2115" y="1177"/>
                  <a:pt x="2100" y="1177"/>
                </a:cubicBezTo>
                <a:close/>
                <a:moveTo>
                  <a:pt x="2227" y="1495"/>
                </a:moveTo>
                <a:lnTo>
                  <a:pt x="2593" y="1845"/>
                </a:lnTo>
                <a:lnTo>
                  <a:pt x="2593" y="1861"/>
                </a:lnTo>
                <a:lnTo>
                  <a:pt x="3054" y="2306"/>
                </a:lnTo>
                <a:lnTo>
                  <a:pt x="2227" y="2306"/>
                </a:lnTo>
                <a:close/>
                <a:moveTo>
                  <a:pt x="3340" y="4645"/>
                </a:moveTo>
                <a:lnTo>
                  <a:pt x="3340" y="2402"/>
                </a:lnTo>
                <a:cubicBezTo>
                  <a:pt x="3340" y="2386"/>
                  <a:pt x="3324" y="2354"/>
                  <a:pt x="3308" y="2354"/>
                </a:cubicBezTo>
                <a:lnTo>
                  <a:pt x="2847" y="1877"/>
                </a:lnTo>
                <a:lnTo>
                  <a:pt x="3674" y="1877"/>
                </a:lnTo>
                <a:lnTo>
                  <a:pt x="3674" y="4645"/>
                </a:lnTo>
                <a:close/>
                <a:moveTo>
                  <a:pt x="3833" y="4056"/>
                </a:moveTo>
                <a:lnTo>
                  <a:pt x="3833" y="1813"/>
                </a:lnTo>
                <a:cubicBezTo>
                  <a:pt x="3833" y="1797"/>
                  <a:pt x="3833" y="1765"/>
                  <a:pt x="3817" y="1750"/>
                </a:cubicBezTo>
                <a:lnTo>
                  <a:pt x="3340" y="1288"/>
                </a:lnTo>
                <a:lnTo>
                  <a:pt x="4167" y="1288"/>
                </a:lnTo>
                <a:lnTo>
                  <a:pt x="4167" y="4056"/>
                </a:lnTo>
                <a:close/>
                <a:moveTo>
                  <a:pt x="1701" y="5821"/>
                </a:moveTo>
                <a:cubicBezTo>
                  <a:pt x="1749" y="5821"/>
                  <a:pt x="1780" y="5790"/>
                  <a:pt x="1780" y="5742"/>
                </a:cubicBezTo>
                <a:lnTo>
                  <a:pt x="1780" y="4326"/>
                </a:lnTo>
                <a:lnTo>
                  <a:pt x="2226" y="4660"/>
                </a:lnTo>
                <a:cubicBezTo>
                  <a:pt x="2242" y="4676"/>
                  <a:pt x="2258" y="4676"/>
                  <a:pt x="2274" y="4676"/>
                </a:cubicBezTo>
                <a:cubicBezTo>
                  <a:pt x="2289" y="4676"/>
                  <a:pt x="2321" y="4660"/>
                  <a:pt x="2337" y="4645"/>
                </a:cubicBezTo>
                <a:cubicBezTo>
                  <a:pt x="2353" y="4612"/>
                  <a:pt x="2353" y="4565"/>
                  <a:pt x="2321" y="4533"/>
                </a:cubicBezTo>
                <a:lnTo>
                  <a:pt x="1749" y="4088"/>
                </a:lnTo>
                <a:cubicBezTo>
                  <a:pt x="1717" y="4072"/>
                  <a:pt x="1669" y="4072"/>
                  <a:pt x="1653" y="4088"/>
                </a:cubicBezTo>
                <a:lnTo>
                  <a:pt x="1096" y="4533"/>
                </a:lnTo>
                <a:cubicBezTo>
                  <a:pt x="1065" y="4565"/>
                  <a:pt x="1049" y="4612"/>
                  <a:pt x="1081" y="4645"/>
                </a:cubicBezTo>
                <a:cubicBezTo>
                  <a:pt x="1113" y="4676"/>
                  <a:pt x="1160" y="4692"/>
                  <a:pt x="1192" y="4660"/>
                </a:cubicBezTo>
                <a:lnTo>
                  <a:pt x="1622" y="4310"/>
                </a:lnTo>
                <a:lnTo>
                  <a:pt x="1622" y="5742"/>
                </a:lnTo>
                <a:cubicBezTo>
                  <a:pt x="1622" y="5790"/>
                  <a:pt x="1669" y="5821"/>
                  <a:pt x="1701" y="582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TextBox 84">
            <a:extLst>
              <a:ext uri="{FF2B5EF4-FFF2-40B4-BE49-F238E27FC236}">
                <a16:creationId xmlns:a16="http://schemas.microsoft.com/office/drawing/2014/main" id="{1B0E4EFC-558B-7A4C-9A07-BAB91AC99682}"/>
              </a:ext>
            </a:extLst>
          </p:cNvPr>
          <p:cNvSpPr txBox="1"/>
          <p:nvPr/>
        </p:nvSpPr>
        <p:spPr>
          <a:xfrm>
            <a:off x="20246810" y="5144931"/>
            <a:ext cx="3502114"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Document Approved Revisions</a:t>
            </a:r>
            <a:endParaRPr lang="en-US" sz="2800" dirty="0"/>
          </a:p>
        </p:txBody>
      </p:sp>
      <p:sp>
        <p:nvSpPr>
          <p:cNvPr id="86" name="TextBox 85">
            <a:extLst>
              <a:ext uri="{FF2B5EF4-FFF2-40B4-BE49-F238E27FC236}">
                <a16:creationId xmlns:a16="http://schemas.microsoft.com/office/drawing/2014/main" id="{1F3EF34B-C0C1-084E-A533-F4C991DC0CE0}"/>
              </a:ext>
            </a:extLst>
          </p:cNvPr>
          <p:cNvSpPr txBox="1"/>
          <p:nvPr/>
        </p:nvSpPr>
        <p:spPr>
          <a:xfrm>
            <a:off x="13278849" y="5144931"/>
            <a:ext cx="2492540"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Document Download</a:t>
            </a:r>
            <a:endParaRPr lang="en-US" sz="2800" dirty="0"/>
          </a:p>
        </p:txBody>
      </p:sp>
      <p:sp>
        <p:nvSpPr>
          <p:cNvPr id="87" name="TextBox 86">
            <a:extLst>
              <a:ext uri="{FF2B5EF4-FFF2-40B4-BE49-F238E27FC236}">
                <a16:creationId xmlns:a16="http://schemas.microsoft.com/office/drawing/2014/main" id="{B2B4F4F6-6A97-024A-94AE-905F6D9507DA}"/>
              </a:ext>
            </a:extLst>
          </p:cNvPr>
          <p:cNvSpPr txBox="1"/>
          <p:nvPr/>
        </p:nvSpPr>
        <p:spPr>
          <a:xfrm>
            <a:off x="16300724" y="5144931"/>
            <a:ext cx="3636084"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Document Managed Revisions</a:t>
            </a:r>
            <a:endParaRPr lang="en-US" sz="2800" dirty="0"/>
          </a:p>
        </p:txBody>
      </p:sp>
      <p:sp>
        <p:nvSpPr>
          <p:cNvPr id="88" name="TextBox 87">
            <a:extLst>
              <a:ext uri="{FF2B5EF4-FFF2-40B4-BE49-F238E27FC236}">
                <a16:creationId xmlns:a16="http://schemas.microsoft.com/office/drawing/2014/main" id="{59894FD0-9428-0048-85D5-FC9983784511}"/>
              </a:ext>
            </a:extLst>
          </p:cNvPr>
          <p:cNvSpPr txBox="1"/>
          <p:nvPr/>
        </p:nvSpPr>
        <p:spPr>
          <a:xfrm>
            <a:off x="1429188" y="8444596"/>
            <a:ext cx="210666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Certificate</a:t>
            </a:r>
            <a:endParaRPr lang="en-US" sz="2800" dirty="0"/>
          </a:p>
        </p:txBody>
      </p:sp>
      <p:sp>
        <p:nvSpPr>
          <p:cNvPr id="89" name="Freeform: Shape 22">
            <a:extLst>
              <a:ext uri="{FF2B5EF4-FFF2-40B4-BE49-F238E27FC236}">
                <a16:creationId xmlns:a16="http://schemas.microsoft.com/office/drawing/2014/main" id="{B9C8BF23-3EEF-3F46-A0FF-A177F4266BDF}"/>
              </a:ext>
            </a:extLst>
          </p:cNvPr>
          <p:cNvSpPr/>
          <p:nvPr/>
        </p:nvSpPr>
        <p:spPr>
          <a:xfrm>
            <a:off x="2023268" y="6472174"/>
            <a:ext cx="1296000" cy="1794240"/>
          </a:xfrm>
          <a:custGeom>
            <a:avLst/>
            <a:gdLst/>
            <a:ahLst/>
            <a:cxnLst>
              <a:cxn ang="3cd4">
                <a:pos x="hc" y="t"/>
              </a:cxn>
              <a:cxn ang="cd2">
                <a:pos x="l" y="vc"/>
              </a:cxn>
              <a:cxn ang="cd4">
                <a:pos x="hc" y="b"/>
              </a:cxn>
              <a:cxn ang="0">
                <a:pos x="r" y="vc"/>
              </a:cxn>
            </a:cxnLst>
            <a:rect l="l" t="t" r="r" b="b"/>
            <a:pathLst>
              <a:path w="3601" h="4985">
                <a:moveTo>
                  <a:pt x="2099" y="0"/>
                </a:moveTo>
                <a:lnTo>
                  <a:pt x="79" y="0"/>
                </a:lnTo>
                <a:cubicBezTo>
                  <a:pt x="31" y="0"/>
                  <a:pt x="0" y="32"/>
                  <a:pt x="0" y="80"/>
                </a:cubicBezTo>
                <a:lnTo>
                  <a:pt x="0" y="4135"/>
                </a:lnTo>
                <a:cubicBezTo>
                  <a:pt x="0" y="4183"/>
                  <a:pt x="31" y="4215"/>
                  <a:pt x="79" y="4215"/>
                </a:cubicBezTo>
                <a:lnTo>
                  <a:pt x="1924" y="4215"/>
                </a:lnTo>
                <a:cubicBezTo>
                  <a:pt x="1972" y="4215"/>
                  <a:pt x="2004" y="4183"/>
                  <a:pt x="2004" y="4135"/>
                </a:cubicBezTo>
                <a:cubicBezTo>
                  <a:pt x="2004" y="4088"/>
                  <a:pt x="1972" y="4056"/>
                  <a:pt x="1924" y="4056"/>
                </a:cubicBezTo>
                <a:lnTo>
                  <a:pt x="159" y="4056"/>
                </a:lnTo>
                <a:lnTo>
                  <a:pt x="159" y="159"/>
                </a:lnTo>
                <a:lnTo>
                  <a:pt x="2067" y="159"/>
                </a:lnTo>
                <a:lnTo>
                  <a:pt x="2067" y="1209"/>
                </a:lnTo>
                <a:cubicBezTo>
                  <a:pt x="2067" y="1257"/>
                  <a:pt x="2099" y="1289"/>
                  <a:pt x="2147" y="1289"/>
                </a:cubicBezTo>
                <a:lnTo>
                  <a:pt x="3165" y="1289"/>
                </a:lnTo>
                <a:lnTo>
                  <a:pt x="3165" y="2672"/>
                </a:lnTo>
                <a:cubicBezTo>
                  <a:pt x="3165" y="2720"/>
                  <a:pt x="3212" y="2752"/>
                  <a:pt x="3244" y="2752"/>
                </a:cubicBezTo>
                <a:cubicBezTo>
                  <a:pt x="3292" y="2752"/>
                  <a:pt x="3324" y="2720"/>
                  <a:pt x="3324" y="2672"/>
                </a:cubicBezTo>
                <a:lnTo>
                  <a:pt x="3324" y="1225"/>
                </a:lnTo>
                <a:cubicBezTo>
                  <a:pt x="3324" y="1209"/>
                  <a:pt x="3324" y="1193"/>
                  <a:pt x="3308" y="1177"/>
                </a:cubicBezTo>
                <a:lnTo>
                  <a:pt x="2147" y="32"/>
                </a:lnTo>
                <a:cubicBezTo>
                  <a:pt x="2131" y="16"/>
                  <a:pt x="2115" y="0"/>
                  <a:pt x="2099" y="0"/>
                </a:cubicBezTo>
                <a:close/>
                <a:moveTo>
                  <a:pt x="2227" y="318"/>
                </a:moveTo>
                <a:lnTo>
                  <a:pt x="3037" y="1129"/>
                </a:lnTo>
                <a:lnTo>
                  <a:pt x="2227" y="1129"/>
                </a:lnTo>
                <a:close/>
                <a:moveTo>
                  <a:pt x="2815" y="3054"/>
                </a:moveTo>
                <a:cubicBezTo>
                  <a:pt x="2513" y="3054"/>
                  <a:pt x="2274" y="3292"/>
                  <a:pt x="2274" y="3595"/>
                </a:cubicBezTo>
                <a:cubicBezTo>
                  <a:pt x="2274" y="3897"/>
                  <a:pt x="2513" y="4135"/>
                  <a:pt x="2815" y="4135"/>
                </a:cubicBezTo>
                <a:cubicBezTo>
                  <a:pt x="3101" y="4135"/>
                  <a:pt x="3356" y="3897"/>
                  <a:pt x="3356" y="3595"/>
                </a:cubicBezTo>
                <a:cubicBezTo>
                  <a:pt x="3356" y="3292"/>
                  <a:pt x="3101" y="3054"/>
                  <a:pt x="2815" y="3054"/>
                </a:cubicBezTo>
                <a:close/>
                <a:moveTo>
                  <a:pt x="2815" y="3976"/>
                </a:moveTo>
                <a:cubicBezTo>
                  <a:pt x="2608" y="3976"/>
                  <a:pt x="2433" y="3801"/>
                  <a:pt x="2433" y="3595"/>
                </a:cubicBezTo>
                <a:cubicBezTo>
                  <a:pt x="2433" y="3388"/>
                  <a:pt x="2608" y="3213"/>
                  <a:pt x="2815" y="3213"/>
                </a:cubicBezTo>
                <a:cubicBezTo>
                  <a:pt x="3022" y="3213"/>
                  <a:pt x="3197" y="3388"/>
                  <a:pt x="3197" y="3595"/>
                </a:cubicBezTo>
                <a:cubicBezTo>
                  <a:pt x="3197" y="3801"/>
                  <a:pt x="3022" y="3976"/>
                  <a:pt x="2815" y="3976"/>
                </a:cubicBezTo>
                <a:close/>
                <a:moveTo>
                  <a:pt x="3466" y="3197"/>
                </a:moveTo>
                <a:lnTo>
                  <a:pt x="3450" y="3197"/>
                </a:lnTo>
                <a:lnTo>
                  <a:pt x="3450" y="3181"/>
                </a:lnTo>
                <a:cubicBezTo>
                  <a:pt x="3450" y="3117"/>
                  <a:pt x="3402" y="3070"/>
                  <a:pt x="3355" y="3054"/>
                </a:cubicBezTo>
                <a:lnTo>
                  <a:pt x="3339" y="3054"/>
                </a:lnTo>
                <a:lnTo>
                  <a:pt x="3323" y="3022"/>
                </a:lnTo>
                <a:cubicBezTo>
                  <a:pt x="3307" y="2974"/>
                  <a:pt x="3259" y="2927"/>
                  <a:pt x="3196" y="2927"/>
                </a:cubicBezTo>
                <a:lnTo>
                  <a:pt x="3180" y="2943"/>
                </a:lnTo>
                <a:lnTo>
                  <a:pt x="3164" y="2911"/>
                </a:lnTo>
                <a:cubicBezTo>
                  <a:pt x="3132" y="2863"/>
                  <a:pt x="3068" y="2847"/>
                  <a:pt x="3021" y="2863"/>
                </a:cubicBezTo>
                <a:lnTo>
                  <a:pt x="3005" y="2863"/>
                </a:lnTo>
                <a:lnTo>
                  <a:pt x="2989" y="2847"/>
                </a:lnTo>
                <a:cubicBezTo>
                  <a:pt x="2941" y="2816"/>
                  <a:pt x="2878" y="2799"/>
                  <a:pt x="2830" y="2831"/>
                </a:cubicBezTo>
                <a:lnTo>
                  <a:pt x="2814" y="2831"/>
                </a:lnTo>
                <a:lnTo>
                  <a:pt x="2798" y="2831"/>
                </a:lnTo>
                <a:cubicBezTo>
                  <a:pt x="2735" y="2799"/>
                  <a:pt x="2671" y="2816"/>
                  <a:pt x="2639" y="2847"/>
                </a:cubicBezTo>
                <a:lnTo>
                  <a:pt x="2623" y="2863"/>
                </a:lnTo>
                <a:lnTo>
                  <a:pt x="2607" y="2863"/>
                </a:lnTo>
                <a:cubicBezTo>
                  <a:pt x="2544" y="2847"/>
                  <a:pt x="2480" y="2863"/>
                  <a:pt x="2448" y="2911"/>
                </a:cubicBezTo>
                <a:lnTo>
                  <a:pt x="2448" y="2927"/>
                </a:lnTo>
                <a:lnTo>
                  <a:pt x="2432" y="2927"/>
                </a:lnTo>
                <a:cubicBezTo>
                  <a:pt x="2369" y="2927"/>
                  <a:pt x="2305" y="2974"/>
                  <a:pt x="2289" y="3022"/>
                </a:cubicBezTo>
                <a:lnTo>
                  <a:pt x="2289" y="3038"/>
                </a:lnTo>
                <a:lnTo>
                  <a:pt x="2273" y="3054"/>
                </a:lnTo>
                <a:cubicBezTo>
                  <a:pt x="2210" y="3070"/>
                  <a:pt x="2178" y="3117"/>
                  <a:pt x="2162" y="3181"/>
                </a:cubicBezTo>
                <a:lnTo>
                  <a:pt x="2178" y="3181"/>
                </a:lnTo>
                <a:lnTo>
                  <a:pt x="2146" y="3197"/>
                </a:lnTo>
                <a:cubicBezTo>
                  <a:pt x="2098" y="3229"/>
                  <a:pt x="2066" y="3292"/>
                  <a:pt x="2083" y="3340"/>
                </a:cubicBezTo>
                <a:lnTo>
                  <a:pt x="2083" y="3356"/>
                </a:lnTo>
                <a:lnTo>
                  <a:pt x="2066" y="3372"/>
                </a:lnTo>
                <a:cubicBezTo>
                  <a:pt x="2035" y="3420"/>
                  <a:pt x="2019" y="3483"/>
                  <a:pt x="2035" y="3531"/>
                </a:cubicBezTo>
                <a:lnTo>
                  <a:pt x="2050" y="3547"/>
                </a:lnTo>
                <a:lnTo>
                  <a:pt x="2035" y="3563"/>
                </a:lnTo>
                <a:cubicBezTo>
                  <a:pt x="2003" y="3611"/>
                  <a:pt x="2019" y="3690"/>
                  <a:pt x="2050" y="3738"/>
                </a:cubicBezTo>
                <a:lnTo>
                  <a:pt x="2066" y="3738"/>
                </a:lnTo>
                <a:lnTo>
                  <a:pt x="2050" y="3754"/>
                </a:lnTo>
                <a:cubicBezTo>
                  <a:pt x="2035" y="3817"/>
                  <a:pt x="2050" y="3881"/>
                  <a:pt x="2098" y="3913"/>
                </a:cubicBezTo>
                <a:lnTo>
                  <a:pt x="2114" y="3913"/>
                </a:lnTo>
                <a:lnTo>
                  <a:pt x="2114" y="3944"/>
                </a:lnTo>
                <a:cubicBezTo>
                  <a:pt x="2114" y="4008"/>
                  <a:pt x="2146" y="4056"/>
                  <a:pt x="2210" y="4088"/>
                </a:cubicBezTo>
                <a:lnTo>
                  <a:pt x="2226" y="4072"/>
                </a:lnTo>
                <a:lnTo>
                  <a:pt x="2226" y="4104"/>
                </a:lnTo>
                <a:cubicBezTo>
                  <a:pt x="2241" y="4167"/>
                  <a:pt x="2289" y="4215"/>
                  <a:pt x="2337" y="4215"/>
                </a:cubicBezTo>
                <a:lnTo>
                  <a:pt x="2353" y="4215"/>
                </a:lnTo>
                <a:lnTo>
                  <a:pt x="2369" y="4231"/>
                </a:lnTo>
                <a:cubicBezTo>
                  <a:pt x="2369" y="4247"/>
                  <a:pt x="2369" y="4247"/>
                  <a:pt x="2384" y="4247"/>
                </a:cubicBezTo>
                <a:lnTo>
                  <a:pt x="2384" y="4899"/>
                </a:lnTo>
                <a:cubicBezTo>
                  <a:pt x="2384" y="4931"/>
                  <a:pt x="2401" y="4962"/>
                  <a:pt x="2432" y="4979"/>
                </a:cubicBezTo>
                <a:cubicBezTo>
                  <a:pt x="2448" y="4994"/>
                  <a:pt x="2480" y="4979"/>
                  <a:pt x="2512" y="4962"/>
                </a:cubicBezTo>
                <a:lnTo>
                  <a:pt x="2814" y="4724"/>
                </a:lnTo>
                <a:lnTo>
                  <a:pt x="3116" y="4962"/>
                </a:lnTo>
                <a:cubicBezTo>
                  <a:pt x="3132" y="4979"/>
                  <a:pt x="3148" y="4979"/>
                  <a:pt x="3164" y="4979"/>
                </a:cubicBezTo>
                <a:lnTo>
                  <a:pt x="3196" y="4979"/>
                </a:lnTo>
                <a:cubicBezTo>
                  <a:pt x="3228" y="4962"/>
                  <a:pt x="3243" y="4931"/>
                  <a:pt x="3243" y="4899"/>
                </a:cubicBezTo>
                <a:lnTo>
                  <a:pt x="3243" y="4247"/>
                </a:lnTo>
                <a:lnTo>
                  <a:pt x="3259" y="4231"/>
                </a:lnTo>
                <a:lnTo>
                  <a:pt x="3243" y="4215"/>
                </a:lnTo>
                <a:lnTo>
                  <a:pt x="3275" y="4215"/>
                </a:lnTo>
                <a:cubicBezTo>
                  <a:pt x="3339" y="4215"/>
                  <a:pt x="3386" y="4167"/>
                  <a:pt x="3402" y="4104"/>
                </a:cubicBezTo>
                <a:lnTo>
                  <a:pt x="3386" y="4088"/>
                </a:lnTo>
                <a:lnTo>
                  <a:pt x="3419" y="4088"/>
                </a:lnTo>
                <a:cubicBezTo>
                  <a:pt x="3466" y="4056"/>
                  <a:pt x="3498" y="4008"/>
                  <a:pt x="3498" y="3944"/>
                </a:cubicBezTo>
                <a:lnTo>
                  <a:pt x="3498" y="3929"/>
                </a:lnTo>
                <a:lnTo>
                  <a:pt x="3514" y="3913"/>
                </a:lnTo>
                <a:cubicBezTo>
                  <a:pt x="3562" y="3881"/>
                  <a:pt x="3577" y="3817"/>
                  <a:pt x="3562" y="3754"/>
                </a:cubicBezTo>
                <a:lnTo>
                  <a:pt x="3577" y="3738"/>
                </a:lnTo>
                <a:cubicBezTo>
                  <a:pt x="3609" y="3690"/>
                  <a:pt x="3609" y="3611"/>
                  <a:pt x="3577" y="3563"/>
                </a:cubicBezTo>
                <a:lnTo>
                  <a:pt x="3562" y="3563"/>
                </a:lnTo>
                <a:lnTo>
                  <a:pt x="3577" y="3531"/>
                </a:lnTo>
                <a:cubicBezTo>
                  <a:pt x="3609" y="3483"/>
                  <a:pt x="3593" y="3420"/>
                  <a:pt x="3546" y="3372"/>
                </a:cubicBezTo>
                <a:lnTo>
                  <a:pt x="3529" y="3372"/>
                </a:lnTo>
                <a:lnTo>
                  <a:pt x="3546" y="3340"/>
                </a:lnTo>
                <a:cubicBezTo>
                  <a:pt x="3546" y="3292"/>
                  <a:pt x="3529" y="3229"/>
                  <a:pt x="3466" y="3197"/>
                </a:cubicBezTo>
                <a:close/>
                <a:moveTo>
                  <a:pt x="2862" y="4549"/>
                </a:moveTo>
                <a:cubicBezTo>
                  <a:pt x="2830" y="4533"/>
                  <a:pt x="2782" y="4533"/>
                  <a:pt x="2750" y="4549"/>
                </a:cubicBezTo>
                <a:lnTo>
                  <a:pt x="2544" y="4740"/>
                </a:lnTo>
                <a:lnTo>
                  <a:pt x="2544" y="4326"/>
                </a:lnTo>
                <a:cubicBezTo>
                  <a:pt x="2575" y="4374"/>
                  <a:pt x="2639" y="4390"/>
                  <a:pt x="2702" y="4358"/>
                </a:cubicBezTo>
                <a:lnTo>
                  <a:pt x="2735" y="4374"/>
                </a:lnTo>
                <a:cubicBezTo>
                  <a:pt x="2750" y="4390"/>
                  <a:pt x="2782" y="4390"/>
                  <a:pt x="2814" y="4390"/>
                </a:cubicBezTo>
                <a:cubicBezTo>
                  <a:pt x="2846" y="4390"/>
                  <a:pt x="2862" y="4390"/>
                  <a:pt x="2893" y="4374"/>
                </a:cubicBezTo>
                <a:lnTo>
                  <a:pt x="2893" y="4358"/>
                </a:lnTo>
                <a:lnTo>
                  <a:pt x="2925" y="4358"/>
                </a:lnTo>
                <a:cubicBezTo>
                  <a:pt x="2973" y="4390"/>
                  <a:pt x="3036" y="4374"/>
                  <a:pt x="3084" y="4326"/>
                </a:cubicBezTo>
                <a:lnTo>
                  <a:pt x="3084" y="4310"/>
                </a:lnTo>
                <a:lnTo>
                  <a:pt x="3084" y="4740"/>
                </a:lnTo>
                <a:close/>
                <a:moveTo>
                  <a:pt x="3434" y="3658"/>
                </a:moveTo>
                <a:cubicBezTo>
                  <a:pt x="3402" y="3690"/>
                  <a:pt x="3386" y="3738"/>
                  <a:pt x="3402" y="3786"/>
                </a:cubicBezTo>
                <a:lnTo>
                  <a:pt x="3419" y="3786"/>
                </a:lnTo>
                <a:lnTo>
                  <a:pt x="3402" y="3801"/>
                </a:lnTo>
                <a:cubicBezTo>
                  <a:pt x="3355" y="3833"/>
                  <a:pt x="3339" y="3881"/>
                  <a:pt x="3339" y="3929"/>
                </a:cubicBezTo>
                <a:lnTo>
                  <a:pt x="3355" y="3929"/>
                </a:lnTo>
                <a:lnTo>
                  <a:pt x="3323" y="3944"/>
                </a:lnTo>
                <a:cubicBezTo>
                  <a:pt x="3291" y="3961"/>
                  <a:pt x="3259" y="4008"/>
                  <a:pt x="3243" y="4040"/>
                </a:cubicBezTo>
                <a:lnTo>
                  <a:pt x="3259" y="4056"/>
                </a:lnTo>
                <a:lnTo>
                  <a:pt x="3228" y="4056"/>
                </a:lnTo>
                <a:cubicBezTo>
                  <a:pt x="3180" y="4072"/>
                  <a:pt x="3148" y="4104"/>
                  <a:pt x="3116" y="4135"/>
                </a:cubicBezTo>
                <a:lnTo>
                  <a:pt x="3132" y="4152"/>
                </a:lnTo>
                <a:lnTo>
                  <a:pt x="3116" y="4152"/>
                </a:lnTo>
                <a:lnTo>
                  <a:pt x="3100" y="4152"/>
                </a:lnTo>
                <a:cubicBezTo>
                  <a:pt x="3053" y="4152"/>
                  <a:pt x="3005" y="4167"/>
                  <a:pt x="2973" y="4199"/>
                </a:cubicBezTo>
                <a:lnTo>
                  <a:pt x="2973" y="4215"/>
                </a:lnTo>
                <a:lnTo>
                  <a:pt x="2957" y="4215"/>
                </a:lnTo>
                <a:cubicBezTo>
                  <a:pt x="2910" y="4183"/>
                  <a:pt x="2862" y="4199"/>
                  <a:pt x="2814" y="4231"/>
                </a:cubicBezTo>
                <a:lnTo>
                  <a:pt x="2798" y="4231"/>
                </a:lnTo>
                <a:cubicBezTo>
                  <a:pt x="2782" y="4199"/>
                  <a:pt x="2750" y="4199"/>
                  <a:pt x="2719" y="4199"/>
                </a:cubicBezTo>
                <a:cubicBezTo>
                  <a:pt x="2702" y="4199"/>
                  <a:pt x="2687" y="4199"/>
                  <a:pt x="2671" y="4215"/>
                </a:cubicBezTo>
                <a:lnTo>
                  <a:pt x="2655" y="4215"/>
                </a:lnTo>
                <a:lnTo>
                  <a:pt x="2639" y="4199"/>
                </a:lnTo>
                <a:cubicBezTo>
                  <a:pt x="2607" y="4167"/>
                  <a:pt x="2559" y="4152"/>
                  <a:pt x="2512" y="4152"/>
                </a:cubicBezTo>
                <a:lnTo>
                  <a:pt x="2512" y="4167"/>
                </a:lnTo>
                <a:lnTo>
                  <a:pt x="2496" y="4135"/>
                </a:lnTo>
                <a:cubicBezTo>
                  <a:pt x="2480" y="4104"/>
                  <a:pt x="2432" y="4072"/>
                  <a:pt x="2384" y="4056"/>
                </a:cubicBezTo>
                <a:lnTo>
                  <a:pt x="2384" y="4072"/>
                </a:lnTo>
                <a:lnTo>
                  <a:pt x="2369" y="4040"/>
                </a:lnTo>
                <a:cubicBezTo>
                  <a:pt x="2369" y="4008"/>
                  <a:pt x="2337" y="3961"/>
                  <a:pt x="2289" y="3944"/>
                </a:cubicBezTo>
                <a:lnTo>
                  <a:pt x="2273" y="3944"/>
                </a:lnTo>
                <a:lnTo>
                  <a:pt x="2273" y="3929"/>
                </a:lnTo>
                <a:cubicBezTo>
                  <a:pt x="2273" y="3881"/>
                  <a:pt x="2257" y="3833"/>
                  <a:pt x="2226" y="3801"/>
                </a:cubicBezTo>
                <a:lnTo>
                  <a:pt x="2210" y="3801"/>
                </a:lnTo>
                <a:lnTo>
                  <a:pt x="2210" y="3786"/>
                </a:lnTo>
                <a:cubicBezTo>
                  <a:pt x="2226" y="3738"/>
                  <a:pt x="2210" y="3690"/>
                  <a:pt x="2193" y="3658"/>
                </a:cubicBezTo>
                <a:lnTo>
                  <a:pt x="2178" y="3643"/>
                </a:lnTo>
                <a:lnTo>
                  <a:pt x="2193" y="3626"/>
                </a:lnTo>
                <a:cubicBezTo>
                  <a:pt x="2210" y="3595"/>
                  <a:pt x="2210" y="3531"/>
                  <a:pt x="2193" y="3499"/>
                </a:cubicBezTo>
                <a:lnTo>
                  <a:pt x="2178" y="3483"/>
                </a:lnTo>
                <a:lnTo>
                  <a:pt x="2193" y="3468"/>
                </a:lnTo>
                <a:cubicBezTo>
                  <a:pt x="2226" y="3435"/>
                  <a:pt x="2241" y="3388"/>
                  <a:pt x="2241" y="3340"/>
                </a:cubicBezTo>
                <a:lnTo>
                  <a:pt x="2226" y="3340"/>
                </a:lnTo>
                <a:lnTo>
                  <a:pt x="2257" y="3325"/>
                </a:lnTo>
                <a:cubicBezTo>
                  <a:pt x="2289" y="3308"/>
                  <a:pt x="2321" y="3261"/>
                  <a:pt x="2321" y="3213"/>
                </a:cubicBezTo>
                <a:lnTo>
                  <a:pt x="2305" y="3197"/>
                </a:lnTo>
                <a:lnTo>
                  <a:pt x="2337" y="3197"/>
                </a:lnTo>
                <a:cubicBezTo>
                  <a:pt x="2384" y="3181"/>
                  <a:pt x="2416" y="3149"/>
                  <a:pt x="2432" y="3102"/>
                </a:cubicBezTo>
                <a:lnTo>
                  <a:pt x="2432" y="3086"/>
                </a:lnTo>
                <a:lnTo>
                  <a:pt x="2448" y="3086"/>
                </a:lnTo>
                <a:cubicBezTo>
                  <a:pt x="2496" y="3086"/>
                  <a:pt x="2544" y="3070"/>
                  <a:pt x="2575" y="3022"/>
                </a:cubicBezTo>
                <a:lnTo>
                  <a:pt x="2559" y="3006"/>
                </a:lnTo>
                <a:lnTo>
                  <a:pt x="2591" y="3022"/>
                </a:lnTo>
                <a:cubicBezTo>
                  <a:pt x="2639" y="3022"/>
                  <a:pt x="2687" y="3022"/>
                  <a:pt x="2719" y="2990"/>
                </a:cubicBezTo>
                <a:lnTo>
                  <a:pt x="2719" y="2974"/>
                </a:lnTo>
                <a:lnTo>
                  <a:pt x="2750" y="2974"/>
                </a:lnTo>
                <a:cubicBezTo>
                  <a:pt x="2782" y="3006"/>
                  <a:pt x="2830" y="3006"/>
                  <a:pt x="2878" y="2974"/>
                </a:cubicBezTo>
                <a:lnTo>
                  <a:pt x="2878" y="2959"/>
                </a:lnTo>
                <a:lnTo>
                  <a:pt x="2893" y="2990"/>
                </a:lnTo>
                <a:cubicBezTo>
                  <a:pt x="2941" y="3022"/>
                  <a:pt x="2989" y="3022"/>
                  <a:pt x="3021" y="3022"/>
                </a:cubicBezTo>
                <a:lnTo>
                  <a:pt x="3036" y="3006"/>
                </a:lnTo>
                <a:lnTo>
                  <a:pt x="3053" y="3022"/>
                </a:lnTo>
                <a:cubicBezTo>
                  <a:pt x="3068" y="3070"/>
                  <a:pt x="3116" y="3086"/>
                  <a:pt x="3164" y="3086"/>
                </a:cubicBezTo>
                <a:lnTo>
                  <a:pt x="3180" y="3086"/>
                </a:lnTo>
                <a:lnTo>
                  <a:pt x="3180" y="3102"/>
                </a:lnTo>
                <a:cubicBezTo>
                  <a:pt x="3196" y="3149"/>
                  <a:pt x="3243" y="3181"/>
                  <a:pt x="3275" y="3197"/>
                </a:cubicBezTo>
                <a:lnTo>
                  <a:pt x="3291" y="3181"/>
                </a:lnTo>
                <a:lnTo>
                  <a:pt x="3291" y="3213"/>
                </a:lnTo>
                <a:cubicBezTo>
                  <a:pt x="3307" y="3261"/>
                  <a:pt x="3323" y="3308"/>
                  <a:pt x="3371" y="3325"/>
                </a:cubicBezTo>
                <a:lnTo>
                  <a:pt x="3386" y="3325"/>
                </a:lnTo>
                <a:lnTo>
                  <a:pt x="3386" y="3340"/>
                </a:lnTo>
                <a:cubicBezTo>
                  <a:pt x="3371" y="3388"/>
                  <a:pt x="3386" y="3435"/>
                  <a:pt x="3419" y="3468"/>
                </a:cubicBezTo>
                <a:lnTo>
                  <a:pt x="3434" y="3468"/>
                </a:lnTo>
                <a:lnTo>
                  <a:pt x="3419" y="3499"/>
                </a:lnTo>
                <a:cubicBezTo>
                  <a:pt x="3402" y="3531"/>
                  <a:pt x="3402" y="3595"/>
                  <a:pt x="3434" y="3626"/>
                </a:cubicBezTo>
                <a:lnTo>
                  <a:pt x="3450" y="362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0" name="Freeform: Shape 25">
            <a:extLst>
              <a:ext uri="{FF2B5EF4-FFF2-40B4-BE49-F238E27FC236}">
                <a16:creationId xmlns:a16="http://schemas.microsoft.com/office/drawing/2014/main" id="{4DDB2FF0-8B64-C848-99E9-BEB8E91811F7}"/>
              </a:ext>
            </a:extLst>
          </p:cNvPr>
          <p:cNvSpPr/>
          <p:nvPr/>
        </p:nvSpPr>
        <p:spPr>
          <a:xfrm>
            <a:off x="21140707" y="3104791"/>
            <a:ext cx="1714319" cy="1620000"/>
          </a:xfrm>
          <a:custGeom>
            <a:avLst/>
            <a:gdLst/>
            <a:ahLst/>
            <a:cxnLst>
              <a:cxn ang="3cd4">
                <a:pos x="hc" y="t"/>
              </a:cxn>
              <a:cxn ang="cd2">
                <a:pos x="l" y="vc"/>
              </a:cxn>
              <a:cxn ang="cd4">
                <a:pos x="hc" y="b"/>
              </a:cxn>
              <a:cxn ang="0">
                <a:pos x="r" y="vc"/>
              </a:cxn>
            </a:cxnLst>
            <a:rect l="l" t="t" r="r" b="b"/>
            <a:pathLst>
              <a:path w="4763" h="4501">
                <a:moveTo>
                  <a:pt x="79" y="2958"/>
                </a:moveTo>
                <a:lnTo>
                  <a:pt x="2004" y="2958"/>
                </a:lnTo>
                <a:cubicBezTo>
                  <a:pt x="2036" y="2958"/>
                  <a:pt x="2084" y="2926"/>
                  <a:pt x="2084" y="2879"/>
                </a:cubicBezTo>
                <a:lnTo>
                  <a:pt x="2084" y="1113"/>
                </a:lnTo>
                <a:cubicBezTo>
                  <a:pt x="2084" y="1098"/>
                  <a:pt x="2067" y="1081"/>
                  <a:pt x="2051" y="1066"/>
                </a:cubicBezTo>
                <a:lnTo>
                  <a:pt x="1352" y="366"/>
                </a:lnTo>
                <a:cubicBezTo>
                  <a:pt x="1336" y="350"/>
                  <a:pt x="1320" y="350"/>
                  <a:pt x="1288" y="350"/>
                </a:cubicBezTo>
                <a:lnTo>
                  <a:pt x="79" y="350"/>
                </a:lnTo>
                <a:cubicBezTo>
                  <a:pt x="31" y="350"/>
                  <a:pt x="0" y="382"/>
                  <a:pt x="0" y="429"/>
                </a:cubicBezTo>
                <a:lnTo>
                  <a:pt x="0" y="2879"/>
                </a:lnTo>
                <a:cubicBezTo>
                  <a:pt x="0" y="2926"/>
                  <a:pt x="31" y="2958"/>
                  <a:pt x="79" y="2958"/>
                </a:cubicBezTo>
                <a:close/>
                <a:moveTo>
                  <a:pt x="1400" y="652"/>
                </a:moveTo>
                <a:lnTo>
                  <a:pt x="1797" y="1034"/>
                </a:lnTo>
                <a:lnTo>
                  <a:pt x="1400" y="1034"/>
                </a:lnTo>
                <a:close/>
                <a:moveTo>
                  <a:pt x="159" y="509"/>
                </a:moveTo>
                <a:lnTo>
                  <a:pt x="1240" y="509"/>
                </a:lnTo>
                <a:lnTo>
                  <a:pt x="1240" y="1113"/>
                </a:lnTo>
                <a:cubicBezTo>
                  <a:pt x="1240" y="1161"/>
                  <a:pt x="1288" y="1193"/>
                  <a:pt x="1320" y="1193"/>
                </a:cubicBezTo>
                <a:lnTo>
                  <a:pt x="1924" y="1193"/>
                </a:lnTo>
                <a:lnTo>
                  <a:pt x="1924" y="2799"/>
                </a:lnTo>
                <a:lnTo>
                  <a:pt x="159" y="2799"/>
                </a:lnTo>
                <a:close/>
                <a:moveTo>
                  <a:pt x="4247" y="3881"/>
                </a:moveTo>
                <a:cubicBezTo>
                  <a:pt x="4262" y="3897"/>
                  <a:pt x="4278" y="3897"/>
                  <a:pt x="4294" y="3897"/>
                </a:cubicBezTo>
                <a:cubicBezTo>
                  <a:pt x="4326" y="3897"/>
                  <a:pt x="4342" y="3897"/>
                  <a:pt x="4358" y="3881"/>
                </a:cubicBezTo>
                <a:lnTo>
                  <a:pt x="4739" y="3499"/>
                </a:lnTo>
                <a:cubicBezTo>
                  <a:pt x="4771" y="3467"/>
                  <a:pt x="4771" y="3420"/>
                  <a:pt x="4739" y="3388"/>
                </a:cubicBezTo>
                <a:cubicBezTo>
                  <a:pt x="4708" y="3356"/>
                  <a:pt x="4660" y="3356"/>
                  <a:pt x="4628" y="3388"/>
                </a:cubicBezTo>
                <a:lnTo>
                  <a:pt x="4294" y="3722"/>
                </a:lnTo>
                <a:lnTo>
                  <a:pt x="4247" y="3674"/>
                </a:lnTo>
                <a:cubicBezTo>
                  <a:pt x="4215" y="3642"/>
                  <a:pt x="4167" y="3642"/>
                  <a:pt x="4135" y="3674"/>
                </a:cubicBezTo>
                <a:cubicBezTo>
                  <a:pt x="4119" y="3722"/>
                  <a:pt x="4119" y="3770"/>
                  <a:pt x="4151" y="3801"/>
                </a:cubicBezTo>
                <a:close/>
                <a:moveTo>
                  <a:pt x="3833" y="2370"/>
                </a:moveTo>
                <a:lnTo>
                  <a:pt x="4421" y="2370"/>
                </a:lnTo>
                <a:lnTo>
                  <a:pt x="4421" y="3181"/>
                </a:lnTo>
                <a:cubicBezTo>
                  <a:pt x="4421" y="3229"/>
                  <a:pt x="4469" y="3261"/>
                  <a:pt x="4501" y="3261"/>
                </a:cubicBezTo>
                <a:cubicBezTo>
                  <a:pt x="4548" y="3261"/>
                  <a:pt x="4581" y="3229"/>
                  <a:pt x="4581" y="3181"/>
                </a:cubicBezTo>
                <a:lnTo>
                  <a:pt x="4581" y="2306"/>
                </a:lnTo>
                <a:cubicBezTo>
                  <a:pt x="4581" y="2274"/>
                  <a:pt x="4581" y="2259"/>
                  <a:pt x="4565" y="2243"/>
                </a:cubicBezTo>
                <a:lnTo>
                  <a:pt x="3865" y="1559"/>
                </a:lnTo>
                <a:cubicBezTo>
                  <a:pt x="3849" y="1543"/>
                  <a:pt x="3833" y="1527"/>
                  <a:pt x="3801" y="1527"/>
                </a:cubicBezTo>
                <a:lnTo>
                  <a:pt x="2576" y="1527"/>
                </a:lnTo>
                <a:cubicBezTo>
                  <a:pt x="2545" y="1527"/>
                  <a:pt x="2497" y="1559"/>
                  <a:pt x="2497" y="1607"/>
                </a:cubicBezTo>
                <a:lnTo>
                  <a:pt x="2497" y="4072"/>
                </a:lnTo>
                <a:cubicBezTo>
                  <a:pt x="2497" y="4119"/>
                  <a:pt x="2545" y="4151"/>
                  <a:pt x="2576" y="4151"/>
                </a:cubicBezTo>
                <a:lnTo>
                  <a:pt x="3706" y="4151"/>
                </a:lnTo>
                <a:cubicBezTo>
                  <a:pt x="3753" y="4151"/>
                  <a:pt x="3785" y="4119"/>
                  <a:pt x="3785" y="4072"/>
                </a:cubicBezTo>
                <a:cubicBezTo>
                  <a:pt x="3785" y="4024"/>
                  <a:pt x="3753" y="3992"/>
                  <a:pt x="3706" y="3992"/>
                </a:cubicBezTo>
                <a:lnTo>
                  <a:pt x="2656" y="3992"/>
                </a:lnTo>
                <a:lnTo>
                  <a:pt x="2656" y="1686"/>
                </a:lnTo>
                <a:lnTo>
                  <a:pt x="3753" y="1686"/>
                </a:lnTo>
                <a:lnTo>
                  <a:pt x="3753" y="2290"/>
                </a:lnTo>
                <a:cubicBezTo>
                  <a:pt x="3753" y="2338"/>
                  <a:pt x="3785" y="2370"/>
                  <a:pt x="3833" y="2370"/>
                </a:cubicBezTo>
                <a:close/>
                <a:moveTo>
                  <a:pt x="3912" y="1829"/>
                </a:moveTo>
                <a:lnTo>
                  <a:pt x="4310" y="2211"/>
                </a:lnTo>
                <a:lnTo>
                  <a:pt x="3912" y="2211"/>
                </a:lnTo>
                <a:close/>
                <a:moveTo>
                  <a:pt x="1621" y="350"/>
                </a:moveTo>
                <a:cubicBezTo>
                  <a:pt x="1828" y="223"/>
                  <a:pt x="2050" y="159"/>
                  <a:pt x="2289" y="159"/>
                </a:cubicBezTo>
                <a:cubicBezTo>
                  <a:pt x="2814" y="159"/>
                  <a:pt x="3275" y="509"/>
                  <a:pt x="3419" y="1002"/>
                </a:cubicBezTo>
                <a:lnTo>
                  <a:pt x="3307" y="811"/>
                </a:lnTo>
                <a:cubicBezTo>
                  <a:pt x="3291" y="763"/>
                  <a:pt x="3228" y="748"/>
                  <a:pt x="3196" y="780"/>
                </a:cubicBezTo>
                <a:cubicBezTo>
                  <a:pt x="3164" y="795"/>
                  <a:pt x="3148" y="843"/>
                  <a:pt x="3164" y="891"/>
                </a:cubicBezTo>
                <a:lnTo>
                  <a:pt x="3482" y="1416"/>
                </a:lnTo>
                <a:cubicBezTo>
                  <a:pt x="3498" y="1447"/>
                  <a:pt x="3514" y="1463"/>
                  <a:pt x="3546" y="1463"/>
                </a:cubicBezTo>
                <a:cubicBezTo>
                  <a:pt x="3577" y="1463"/>
                  <a:pt x="3593" y="1447"/>
                  <a:pt x="3609" y="1416"/>
                </a:cubicBezTo>
                <a:lnTo>
                  <a:pt x="3928" y="891"/>
                </a:lnTo>
                <a:cubicBezTo>
                  <a:pt x="3943" y="843"/>
                  <a:pt x="3928" y="795"/>
                  <a:pt x="3895" y="780"/>
                </a:cubicBezTo>
                <a:cubicBezTo>
                  <a:pt x="3848" y="748"/>
                  <a:pt x="3800" y="763"/>
                  <a:pt x="3784" y="811"/>
                </a:cubicBezTo>
                <a:lnTo>
                  <a:pt x="3609" y="1113"/>
                </a:lnTo>
                <a:cubicBezTo>
                  <a:pt x="3498" y="477"/>
                  <a:pt x="2957" y="0"/>
                  <a:pt x="2289" y="0"/>
                </a:cubicBezTo>
                <a:cubicBezTo>
                  <a:pt x="2019" y="0"/>
                  <a:pt x="1764" y="80"/>
                  <a:pt x="1542" y="223"/>
                </a:cubicBezTo>
                <a:cubicBezTo>
                  <a:pt x="1510" y="254"/>
                  <a:pt x="1494" y="302"/>
                  <a:pt x="1526" y="334"/>
                </a:cubicBezTo>
                <a:cubicBezTo>
                  <a:pt x="1542" y="366"/>
                  <a:pt x="1589" y="382"/>
                  <a:pt x="1621" y="350"/>
                </a:cubicBezTo>
                <a:close/>
                <a:moveTo>
                  <a:pt x="1383" y="3706"/>
                </a:moveTo>
                <a:cubicBezTo>
                  <a:pt x="1414" y="3674"/>
                  <a:pt x="1430" y="3626"/>
                  <a:pt x="1414" y="3595"/>
                </a:cubicBezTo>
                <a:lnTo>
                  <a:pt x="1096" y="3054"/>
                </a:lnTo>
                <a:cubicBezTo>
                  <a:pt x="1080" y="3006"/>
                  <a:pt x="1001" y="3006"/>
                  <a:pt x="969" y="3054"/>
                </a:cubicBezTo>
                <a:lnTo>
                  <a:pt x="651" y="3595"/>
                </a:lnTo>
                <a:cubicBezTo>
                  <a:pt x="635" y="3626"/>
                  <a:pt x="651" y="3674"/>
                  <a:pt x="683" y="3706"/>
                </a:cubicBezTo>
                <a:lnTo>
                  <a:pt x="730" y="3706"/>
                </a:lnTo>
                <a:cubicBezTo>
                  <a:pt x="747" y="3706"/>
                  <a:pt x="778" y="3690"/>
                  <a:pt x="794" y="3674"/>
                </a:cubicBezTo>
                <a:lnTo>
                  <a:pt x="969" y="3372"/>
                </a:lnTo>
                <a:cubicBezTo>
                  <a:pt x="1065" y="4008"/>
                  <a:pt x="1621" y="4501"/>
                  <a:pt x="2289" y="4501"/>
                </a:cubicBezTo>
                <a:cubicBezTo>
                  <a:pt x="2432" y="4501"/>
                  <a:pt x="2592" y="4485"/>
                  <a:pt x="2735" y="4437"/>
                </a:cubicBezTo>
                <a:cubicBezTo>
                  <a:pt x="2766" y="4422"/>
                  <a:pt x="2798" y="4374"/>
                  <a:pt x="2782" y="4326"/>
                </a:cubicBezTo>
                <a:cubicBezTo>
                  <a:pt x="2766" y="4294"/>
                  <a:pt x="2719" y="4262"/>
                  <a:pt x="2671" y="4279"/>
                </a:cubicBezTo>
                <a:cubicBezTo>
                  <a:pt x="2544" y="4326"/>
                  <a:pt x="2416" y="4342"/>
                  <a:pt x="2289" y="4342"/>
                </a:cubicBezTo>
                <a:cubicBezTo>
                  <a:pt x="1732" y="4342"/>
                  <a:pt x="1271" y="3961"/>
                  <a:pt x="1144" y="3435"/>
                </a:cubicBezTo>
                <a:lnTo>
                  <a:pt x="1271" y="3674"/>
                </a:lnTo>
                <a:cubicBezTo>
                  <a:pt x="1287" y="3706"/>
                  <a:pt x="1351" y="3722"/>
                  <a:pt x="1383" y="370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1" name="Freeform: Shape 14">
            <a:extLst>
              <a:ext uri="{FF2B5EF4-FFF2-40B4-BE49-F238E27FC236}">
                <a16:creationId xmlns:a16="http://schemas.microsoft.com/office/drawing/2014/main" id="{295935E4-0484-6948-97E8-B050E48CDCCB}"/>
              </a:ext>
            </a:extLst>
          </p:cNvPr>
          <p:cNvSpPr/>
          <p:nvPr/>
        </p:nvSpPr>
        <p:spPr>
          <a:xfrm>
            <a:off x="13823839" y="2867192"/>
            <a:ext cx="1402559" cy="2095199"/>
          </a:xfrm>
          <a:custGeom>
            <a:avLst/>
            <a:gdLst/>
            <a:ahLst/>
            <a:cxnLst>
              <a:cxn ang="3cd4">
                <a:pos x="hc" y="t"/>
              </a:cxn>
              <a:cxn ang="cd2">
                <a:pos x="l" y="vc"/>
              </a:cxn>
              <a:cxn ang="cd4">
                <a:pos x="hc" y="b"/>
              </a:cxn>
              <a:cxn ang="0">
                <a:pos x="r" y="vc"/>
              </a:cxn>
            </a:cxnLst>
            <a:rect l="l" t="t" r="r" b="b"/>
            <a:pathLst>
              <a:path w="3897" h="5821">
                <a:moveTo>
                  <a:pt x="3897" y="3706"/>
                </a:moveTo>
                <a:lnTo>
                  <a:pt x="3897" y="1097"/>
                </a:lnTo>
                <a:cubicBezTo>
                  <a:pt x="3897" y="1081"/>
                  <a:pt x="3881" y="1066"/>
                  <a:pt x="3865" y="1049"/>
                </a:cubicBezTo>
                <a:lnTo>
                  <a:pt x="2831" y="16"/>
                </a:lnTo>
                <a:cubicBezTo>
                  <a:pt x="2815" y="16"/>
                  <a:pt x="2800" y="0"/>
                  <a:pt x="2784" y="0"/>
                </a:cubicBezTo>
                <a:lnTo>
                  <a:pt x="971" y="0"/>
                </a:lnTo>
                <a:cubicBezTo>
                  <a:pt x="923" y="0"/>
                  <a:pt x="891" y="31"/>
                  <a:pt x="891" y="79"/>
                </a:cubicBezTo>
                <a:lnTo>
                  <a:pt x="891" y="525"/>
                </a:lnTo>
                <a:lnTo>
                  <a:pt x="525" y="525"/>
                </a:lnTo>
                <a:cubicBezTo>
                  <a:pt x="477" y="525"/>
                  <a:pt x="446" y="557"/>
                  <a:pt x="446" y="604"/>
                </a:cubicBezTo>
                <a:lnTo>
                  <a:pt x="446" y="1049"/>
                </a:lnTo>
                <a:lnTo>
                  <a:pt x="80" y="1049"/>
                </a:lnTo>
                <a:cubicBezTo>
                  <a:pt x="32" y="1049"/>
                  <a:pt x="0" y="1097"/>
                  <a:pt x="0" y="1129"/>
                </a:cubicBezTo>
                <a:lnTo>
                  <a:pt x="0" y="4771"/>
                </a:lnTo>
                <a:cubicBezTo>
                  <a:pt x="0" y="4819"/>
                  <a:pt x="32" y="4851"/>
                  <a:pt x="80" y="4851"/>
                </a:cubicBezTo>
                <a:lnTo>
                  <a:pt x="1114" y="4851"/>
                </a:lnTo>
                <a:cubicBezTo>
                  <a:pt x="1146" y="4851"/>
                  <a:pt x="1193" y="4819"/>
                  <a:pt x="1193" y="4771"/>
                </a:cubicBezTo>
                <a:cubicBezTo>
                  <a:pt x="1193" y="4723"/>
                  <a:pt x="1146" y="4692"/>
                  <a:pt x="1114" y="4692"/>
                </a:cubicBezTo>
                <a:lnTo>
                  <a:pt x="159" y="4692"/>
                </a:lnTo>
                <a:lnTo>
                  <a:pt x="159" y="1209"/>
                </a:lnTo>
                <a:lnTo>
                  <a:pt x="1845" y="1209"/>
                </a:lnTo>
                <a:lnTo>
                  <a:pt x="1845" y="2147"/>
                </a:lnTo>
                <a:cubicBezTo>
                  <a:pt x="1845" y="2194"/>
                  <a:pt x="1877" y="2227"/>
                  <a:pt x="1925" y="2227"/>
                </a:cubicBezTo>
                <a:lnTo>
                  <a:pt x="2848" y="2227"/>
                </a:lnTo>
                <a:lnTo>
                  <a:pt x="2848" y="4692"/>
                </a:lnTo>
                <a:lnTo>
                  <a:pt x="1988" y="4692"/>
                </a:lnTo>
                <a:cubicBezTo>
                  <a:pt x="1941" y="4692"/>
                  <a:pt x="1909" y="4723"/>
                  <a:pt x="1909" y="4771"/>
                </a:cubicBezTo>
                <a:cubicBezTo>
                  <a:pt x="1909" y="4819"/>
                  <a:pt x="1941" y="4851"/>
                  <a:pt x="1988" y="4851"/>
                </a:cubicBezTo>
                <a:lnTo>
                  <a:pt x="2927" y="4851"/>
                </a:lnTo>
                <a:cubicBezTo>
                  <a:pt x="2959" y="4851"/>
                  <a:pt x="3006" y="4819"/>
                  <a:pt x="3006" y="4771"/>
                </a:cubicBezTo>
                <a:lnTo>
                  <a:pt x="3006" y="4326"/>
                </a:lnTo>
                <a:lnTo>
                  <a:pt x="3372" y="4326"/>
                </a:lnTo>
                <a:cubicBezTo>
                  <a:pt x="3420" y="4326"/>
                  <a:pt x="3452" y="4278"/>
                  <a:pt x="3452" y="4247"/>
                </a:cubicBezTo>
                <a:lnTo>
                  <a:pt x="3452" y="3785"/>
                </a:lnTo>
                <a:lnTo>
                  <a:pt x="3818" y="3785"/>
                </a:lnTo>
                <a:cubicBezTo>
                  <a:pt x="3865" y="3785"/>
                  <a:pt x="3897" y="3753"/>
                  <a:pt x="3897" y="3706"/>
                </a:cubicBezTo>
                <a:close/>
                <a:moveTo>
                  <a:pt x="2450" y="843"/>
                </a:moveTo>
                <a:lnTo>
                  <a:pt x="2768" y="1145"/>
                </a:lnTo>
                <a:lnTo>
                  <a:pt x="3166" y="1542"/>
                </a:lnTo>
                <a:lnTo>
                  <a:pt x="2450" y="1542"/>
                </a:lnTo>
                <a:close/>
                <a:moveTo>
                  <a:pt x="2895" y="318"/>
                </a:moveTo>
                <a:lnTo>
                  <a:pt x="3611" y="1018"/>
                </a:lnTo>
                <a:lnTo>
                  <a:pt x="2895" y="1018"/>
                </a:lnTo>
                <a:close/>
                <a:moveTo>
                  <a:pt x="1050" y="159"/>
                </a:moveTo>
                <a:lnTo>
                  <a:pt x="2736" y="159"/>
                </a:lnTo>
                <a:lnTo>
                  <a:pt x="2736" y="906"/>
                </a:lnTo>
                <a:lnTo>
                  <a:pt x="2386" y="557"/>
                </a:lnTo>
                <a:cubicBezTo>
                  <a:pt x="2370" y="540"/>
                  <a:pt x="2354" y="525"/>
                  <a:pt x="2339" y="525"/>
                </a:cubicBezTo>
                <a:lnTo>
                  <a:pt x="1050" y="525"/>
                </a:lnTo>
                <a:close/>
                <a:moveTo>
                  <a:pt x="605" y="684"/>
                </a:moveTo>
                <a:lnTo>
                  <a:pt x="2291" y="684"/>
                </a:lnTo>
                <a:lnTo>
                  <a:pt x="2291" y="1431"/>
                </a:lnTo>
                <a:lnTo>
                  <a:pt x="1941" y="1081"/>
                </a:lnTo>
                <a:cubicBezTo>
                  <a:pt x="1925" y="1066"/>
                  <a:pt x="1909" y="1049"/>
                  <a:pt x="1877" y="1049"/>
                </a:cubicBezTo>
                <a:lnTo>
                  <a:pt x="605" y="1049"/>
                </a:lnTo>
                <a:close/>
                <a:moveTo>
                  <a:pt x="2004" y="1367"/>
                </a:moveTo>
                <a:lnTo>
                  <a:pt x="2322" y="1670"/>
                </a:lnTo>
                <a:lnTo>
                  <a:pt x="2322" y="1685"/>
                </a:lnTo>
                <a:lnTo>
                  <a:pt x="2720" y="2067"/>
                </a:lnTo>
                <a:lnTo>
                  <a:pt x="2004" y="2067"/>
                </a:lnTo>
                <a:close/>
                <a:moveTo>
                  <a:pt x="3006" y="4167"/>
                </a:moveTo>
                <a:lnTo>
                  <a:pt x="3006" y="2163"/>
                </a:lnTo>
                <a:cubicBezTo>
                  <a:pt x="3006" y="2147"/>
                  <a:pt x="2991" y="2115"/>
                  <a:pt x="2975" y="2099"/>
                </a:cubicBezTo>
                <a:lnTo>
                  <a:pt x="2561" y="1702"/>
                </a:lnTo>
                <a:lnTo>
                  <a:pt x="3293" y="1702"/>
                </a:lnTo>
                <a:lnTo>
                  <a:pt x="3293" y="4167"/>
                </a:lnTo>
                <a:close/>
                <a:moveTo>
                  <a:pt x="3452" y="3626"/>
                </a:moveTo>
                <a:lnTo>
                  <a:pt x="3452" y="1638"/>
                </a:lnTo>
                <a:cubicBezTo>
                  <a:pt x="3452" y="1606"/>
                  <a:pt x="3436" y="1590"/>
                  <a:pt x="3420" y="1575"/>
                </a:cubicBezTo>
                <a:lnTo>
                  <a:pt x="3022" y="1177"/>
                </a:lnTo>
                <a:lnTo>
                  <a:pt x="3738" y="1177"/>
                </a:lnTo>
                <a:lnTo>
                  <a:pt x="3738" y="3626"/>
                </a:lnTo>
                <a:close/>
                <a:moveTo>
                  <a:pt x="1527" y="3563"/>
                </a:moveTo>
                <a:cubicBezTo>
                  <a:pt x="1495" y="3563"/>
                  <a:pt x="1448" y="3594"/>
                  <a:pt x="1448" y="3642"/>
                </a:cubicBezTo>
                <a:lnTo>
                  <a:pt x="1448" y="5566"/>
                </a:lnTo>
                <a:lnTo>
                  <a:pt x="1082" y="5280"/>
                </a:lnTo>
                <a:cubicBezTo>
                  <a:pt x="1034" y="5264"/>
                  <a:pt x="986" y="5264"/>
                  <a:pt x="971" y="5296"/>
                </a:cubicBezTo>
                <a:cubicBezTo>
                  <a:pt x="939" y="5328"/>
                  <a:pt x="939" y="5392"/>
                  <a:pt x="971" y="5407"/>
                </a:cubicBezTo>
                <a:lnTo>
                  <a:pt x="1495" y="5805"/>
                </a:lnTo>
                <a:cubicBezTo>
                  <a:pt x="1512" y="5821"/>
                  <a:pt x="1527" y="5821"/>
                  <a:pt x="1543" y="5821"/>
                </a:cubicBezTo>
                <a:cubicBezTo>
                  <a:pt x="1559" y="5821"/>
                  <a:pt x="1575" y="5821"/>
                  <a:pt x="1591" y="5805"/>
                </a:cubicBezTo>
                <a:lnTo>
                  <a:pt x="2084" y="5407"/>
                </a:lnTo>
                <a:cubicBezTo>
                  <a:pt x="2116" y="5375"/>
                  <a:pt x="2131" y="5328"/>
                  <a:pt x="2100" y="5296"/>
                </a:cubicBezTo>
                <a:cubicBezTo>
                  <a:pt x="2068" y="5264"/>
                  <a:pt x="2020" y="5264"/>
                  <a:pt x="1988" y="5280"/>
                </a:cubicBezTo>
                <a:lnTo>
                  <a:pt x="1607" y="5583"/>
                </a:lnTo>
                <a:lnTo>
                  <a:pt x="1607" y="3642"/>
                </a:lnTo>
                <a:cubicBezTo>
                  <a:pt x="1607" y="3594"/>
                  <a:pt x="1575" y="3563"/>
                  <a:pt x="1527" y="35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2" name="Freeform: Shape 17">
            <a:extLst>
              <a:ext uri="{FF2B5EF4-FFF2-40B4-BE49-F238E27FC236}">
                <a16:creationId xmlns:a16="http://schemas.microsoft.com/office/drawing/2014/main" id="{C7D62044-B2DE-404E-BCDE-F012DBE4D3D6}"/>
              </a:ext>
            </a:extLst>
          </p:cNvPr>
          <p:cNvSpPr/>
          <p:nvPr/>
        </p:nvSpPr>
        <p:spPr>
          <a:xfrm>
            <a:off x="17264939" y="3101911"/>
            <a:ext cx="1714319" cy="1625760"/>
          </a:xfrm>
          <a:custGeom>
            <a:avLst/>
            <a:gdLst/>
            <a:ahLst/>
            <a:cxnLst>
              <a:cxn ang="3cd4">
                <a:pos x="hc" y="t"/>
              </a:cxn>
              <a:cxn ang="cd2">
                <a:pos x="l" y="vc"/>
              </a:cxn>
              <a:cxn ang="cd4">
                <a:pos x="hc" y="b"/>
              </a:cxn>
              <a:cxn ang="0">
                <a:pos x="r" y="vc"/>
              </a:cxn>
            </a:cxnLst>
            <a:rect l="l" t="t" r="r" b="b"/>
            <a:pathLst>
              <a:path w="4763" h="4517">
                <a:moveTo>
                  <a:pt x="0" y="430"/>
                </a:moveTo>
                <a:lnTo>
                  <a:pt x="0" y="2895"/>
                </a:lnTo>
                <a:cubicBezTo>
                  <a:pt x="0" y="2943"/>
                  <a:pt x="32" y="2975"/>
                  <a:pt x="79" y="2975"/>
                </a:cubicBezTo>
                <a:lnTo>
                  <a:pt x="1193" y="2975"/>
                </a:lnTo>
                <a:cubicBezTo>
                  <a:pt x="1241" y="2975"/>
                  <a:pt x="1272" y="2943"/>
                  <a:pt x="1272" y="2895"/>
                </a:cubicBezTo>
                <a:cubicBezTo>
                  <a:pt x="1272" y="2848"/>
                  <a:pt x="1241" y="2815"/>
                  <a:pt x="1193" y="2815"/>
                </a:cubicBezTo>
                <a:lnTo>
                  <a:pt x="159" y="2815"/>
                </a:lnTo>
                <a:lnTo>
                  <a:pt x="159" y="509"/>
                </a:lnTo>
                <a:lnTo>
                  <a:pt x="1241" y="509"/>
                </a:lnTo>
                <a:lnTo>
                  <a:pt x="1241" y="1114"/>
                </a:lnTo>
                <a:cubicBezTo>
                  <a:pt x="1241" y="1161"/>
                  <a:pt x="1288" y="1193"/>
                  <a:pt x="1320" y="1193"/>
                </a:cubicBezTo>
                <a:lnTo>
                  <a:pt x="1924" y="1193"/>
                </a:lnTo>
                <a:lnTo>
                  <a:pt x="1924" y="2004"/>
                </a:lnTo>
                <a:cubicBezTo>
                  <a:pt x="1924" y="2052"/>
                  <a:pt x="1956" y="2084"/>
                  <a:pt x="2004" y="2084"/>
                </a:cubicBezTo>
                <a:cubicBezTo>
                  <a:pt x="2051" y="2084"/>
                  <a:pt x="2083" y="2052"/>
                  <a:pt x="2083" y="2004"/>
                </a:cubicBezTo>
                <a:lnTo>
                  <a:pt x="2083" y="1130"/>
                </a:lnTo>
                <a:cubicBezTo>
                  <a:pt x="2083" y="1098"/>
                  <a:pt x="2067" y="1082"/>
                  <a:pt x="2051" y="1066"/>
                </a:cubicBezTo>
                <a:lnTo>
                  <a:pt x="1352" y="382"/>
                </a:lnTo>
                <a:cubicBezTo>
                  <a:pt x="1336" y="366"/>
                  <a:pt x="1320" y="350"/>
                  <a:pt x="1304" y="350"/>
                </a:cubicBezTo>
                <a:lnTo>
                  <a:pt x="79" y="350"/>
                </a:lnTo>
                <a:cubicBezTo>
                  <a:pt x="32" y="350"/>
                  <a:pt x="0" y="382"/>
                  <a:pt x="0" y="430"/>
                </a:cubicBezTo>
                <a:close/>
                <a:moveTo>
                  <a:pt x="1399" y="652"/>
                </a:moveTo>
                <a:lnTo>
                  <a:pt x="1797" y="1034"/>
                </a:lnTo>
                <a:lnTo>
                  <a:pt x="1399" y="1034"/>
                </a:lnTo>
                <a:close/>
                <a:moveTo>
                  <a:pt x="1209" y="1973"/>
                </a:moveTo>
                <a:cubicBezTo>
                  <a:pt x="1129" y="2052"/>
                  <a:pt x="1097" y="2164"/>
                  <a:pt x="1097" y="2259"/>
                </a:cubicBezTo>
                <a:cubicBezTo>
                  <a:pt x="1097" y="2370"/>
                  <a:pt x="1129" y="2482"/>
                  <a:pt x="1209" y="2545"/>
                </a:cubicBezTo>
                <a:cubicBezTo>
                  <a:pt x="1288" y="2625"/>
                  <a:pt x="1384" y="2672"/>
                  <a:pt x="1495" y="2672"/>
                </a:cubicBezTo>
                <a:cubicBezTo>
                  <a:pt x="1575" y="2672"/>
                  <a:pt x="1654" y="2640"/>
                  <a:pt x="1718" y="2609"/>
                </a:cubicBezTo>
                <a:lnTo>
                  <a:pt x="2067" y="2943"/>
                </a:lnTo>
                <a:cubicBezTo>
                  <a:pt x="2083" y="2958"/>
                  <a:pt x="2099" y="2975"/>
                  <a:pt x="2115" y="2975"/>
                </a:cubicBezTo>
                <a:cubicBezTo>
                  <a:pt x="2147" y="2975"/>
                  <a:pt x="2163" y="2958"/>
                  <a:pt x="2179" y="2943"/>
                </a:cubicBezTo>
                <a:cubicBezTo>
                  <a:pt x="2211" y="2911"/>
                  <a:pt x="2211" y="2863"/>
                  <a:pt x="2179" y="2831"/>
                </a:cubicBezTo>
                <a:lnTo>
                  <a:pt x="1829" y="2497"/>
                </a:lnTo>
                <a:cubicBezTo>
                  <a:pt x="1877" y="2418"/>
                  <a:pt x="1893" y="2354"/>
                  <a:pt x="1893" y="2259"/>
                </a:cubicBezTo>
                <a:cubicBezTo>
                  <a:pt x="1893" y="2164"/>
                  <a:pt x="1861" y="2052"/>
                  <a:pt x="1781" y="1973"/>
                </a:cubicBezTo>
                <a:cubicBezTo>
                  <a:pt x="1622" y="1829"/>
                  <a:pt x="1367" y="1829"/>
                  <a:pt x="1209" y="1973"/>
                </a:cubicBezTo>
                <a:close/>
                <a:moveTo>
                  <a:pt x="1320" y="2434"/>
                </a:moveTo>
                <a:cubicBezTo>
                  <a:pt x="1272" y="2386"/>
                  <a:pt x="1256" y="2339"/>
                  <a:pt x="1256" y="2259"/>
                </a:cubicBezTo>
                <a:cubicBezTo>
                  <a:pt x="1256" y="2195"/>
                  <a:pt x="1272" y="2131"/>
                  <a:pt x="1320" y="2100"/>
                </a:cubicBezTo>
                <a:cubicBezTo>
                  <a:pt x="1367" y="2052"/>
                  <a:pt x="1432" y="2020"/>
                  <a:pt x="1495" y="2020"/>
                </a:cubicBezTo>
                <a:cubicBezTo>
                  <a:pt x="1559" y="2020"/>
                  <a:pt x="1622" y="2052"/>
                  <a:pt x="1670" y="2100"/>
                </a:cubicBezTo>
                <a:cubicBezTo>
                  <a:pt x="1718" y="2131"/>
                  <a:pt x="1733" y="2195"/>
                  <a:pt x="1733" y="2259"/>
                </a:cubicBezTo>
                <a:cubicBezTo>
                  <a:pt x="1733" y="2339"/>
                  <a:pt x="1718" y="2386"/>
                  <a:pt x="1670" y="2434"/>
                </a:cubicBezTo>
                <a:cubicBezTo>
                  <a:pt x="1575" y="2529"/>
                  <a:pt x="1415" y="2529"/>
                  <a:pt x="1320" y="2434"/>
                </a:cubicBezTo>
                <a:close/>
                <a:moveTo>
                  <a:pt x="4740" y="3420"/>
                </a:moveTo>
                <a:cubicBezTo>
                  <a:pt x="4723" y="3388"/>
                  <a:pt x="4660" y="3388"/>
                  <a:pt x="4628" y="3420"/>
                </a:cubicBezTo>
                <a:lnTo>
                  <a:pt x="4151" y="3897"/>
                </a:lnTo>
                <a:lnTo>
                  <a:pt x="4071" y="3818"/>
                </a:lnTo>
                <a:cubicBezTo>
                  <a:pt x="4040" y="3786"/>
                  <a:pt x="3976" y="3786"/>
                  <a:pt x="3960" y="3818"/>
                </a:cubicBezTo>
                <a:cubicBezTo>
                  <a:pt x="3928" y="3849"/>
                  <a:pt x="3928" y="3913"/>
                  <a:pt x="3960" y="3929"/>
                </a:cubicBezTo>
                <a:lnTo>
                  <a:pt x="4087" y="4056"/>
                </a:lnTo>
                <a:cubicBezTo>
                  <a:pt x="4104" y="4072"/>
                  <a:pt x="4135" y="4088"/>
                  <a:pt x="4151" y="4088"/>
                </a:cubicBezTo>
                <a:cubicBezTo>
                  <a:pt x="4167" y="4088"/>
                  <a:pt x="4183" y="4072"/>
                  <a:pt x="4199" y="4056"/>
                </a:cubicBezTo>
                <a:lnTo>
                  <a:pt x="4740" y="3531"/>
                </a:lnTo>
                <a:cubicBezTo>
                  <a:pt x="4771" y="3500"/>
                  <a:pt x="4771" y="3452"/>
                  <a:pt x="4740" y="3420"/>
                </a:cubicBezTo>
                <a:close/>
                <a:moveTo>
                  <a:pt x="4517" y="3261"/>
                </a:moveTo>
                <a:cubicBezTo>
                  <a:pt x="4549" y="3261"/>
                  <a:pt x="4596" y="3229"/>
                  <a:pt x="4596" y="3181"/>
                </a:cubicBezTo>
                <a:lnTo>
                  <a:pt x="4596" y="2307"/>
                </a:lnTo>
                <a:cubicBezTo>
                  <a:pt x="4596" y="2291"/>
                  <a:pt x="4580" y="2275"/>
                  <a:pt x="4565" y="2259"/>
                </a:cubicBezTo>
                <a:lnTo>
                  <a:pt x="3865" y="1559"/>
                </a:lnTo>
                <a:cubicBezTo>
                  <a:pt x="3849" y="1543"/>
                  <a:pt x="3833" y="1543"/>
                  <a:pt x="3817" y="1543"/>
                </a:cubicBezTo>
                <a:lnTo>
                  <a:pt x="2592" y="1543"/>
                </a:lnTo>
                <a:cubicBezTo>
                  <a:pt x="2545" y="1543"/>
                  <a:pt x="2513" y="1575"/>
                  <a:pt x="2513" y="1622"/>
                </a:cubicBezTo>
                <a:lnTo>
                  <a:pt x="2513" y="4072"/>
                </a:lnTo>
                <a:cubicBezTo>
                  <a:pt x="2513" y="4120"/>
                  <a:pt x="2545" y="4151"/>
                  <a:pt x="2592" y="4151"/>
                </a:cubicBezTo>
                <a:lnTo>
                  <a:pt x="3706" y="4151"/>
                </a:lnTo>
                <a:cubicBezTo>
                  <a:pt x="3753" y="4151"/>
                  <a:pt x="3785" y="4120"/>
                  <a:pt x="3785" y="4072"/>
                </a:cubicBezTo>
                <a:cubicBezTo>
                  <a:pt x="3785" y="4024"/>
                  <a:pt x="3753" y="3993"/>
                  <a:pt x="3706" y="3993"/>
                </a:cubicBezTo>
                <a:lnTo>
                  <a:pt x="2672" y="3993"/>
                </a:lnTo>
                <a:lnTo>
                  <a:pt x="2672" y="1702"/>
                </a:lnTo>
                <a:lnTo>
                  <a:pt x="3753" y="1702"/>
                </a:lnTo>
                <a:lnTo>
                  <a:pt x="3753" y="2307"/>
                </a:lnTo>
                <a:cubicBezTo>
                  <a:pt x="3753" y="2339"/>
                  <a:pt x="3801" y="2386"/>
                  <a:pt x="3833" y="2386"/>
                </a:cubicBezTo>
                <a:lnTo>
                  <a:pt x="4437" y="2386"/>
                </a:lnTo>
                <a:lnTo>
                  <a:pt x="4437" y="3181"/>
                </a:lnTo>
                <a:cubicBezTo>
                  <a:pt x="4437" y="3229"/>
                  <a:pt x="4469" y="3261"/>
                  <a:pt x="4517" y="3261"/>
                </a:cubicBezTo>
                <a:close/>
                <a:moveTo>
                  <a:pt x="3913" y="1829"/>
                </a:moveTo>
                <a:lnTo>
                  <a:pt x="4310" y="2227"/>
                </a:lnTo>
                <a:lnTo>
                  <a:pt x="3913" y="2227"/>
                </a:lnTo>
                <a:close/>
                <a:moveTo>
                  <a:pt x="969" y="3070"/>
                </a:moveTo>
                <a:lnTo>
                  <a:pt x="667" y="3595"/>
                </a:lnTo>
                <a:cubicBezTo>
                  <a:pt x="635" y="3627"/>
                  <a:pt x="651" y="3690"/>
                  <a:pt x="683" y="3706"/>
                </a:cubicBezTo>
                <a:cubicBezTo>
                  <a:pt x="731" y="3722"/>
                  <a:pt x="778" y="3706"/>
                  <a:pt x="794" y="3675"/>
                </a:cubicBezTo>
                <a:lnTo>
                  <a:pt x="969" y="3372"/>
                </a:lnTo>
                <a:cubicBezTo>
                  <a:pt x="1065" y="4024"/>
                  <a:pt x="1621" y="4517"/>
                  <a:pt x="2289" y="4517"/>
                </a:cubicBezTo>
                <a:cubicBezTo>
                  <a:pt x="2448" y="4517"/>
                  <a:pt x="2591" y="4485"/>
                  <a:pt x="2734" y="4438"/>
                </a:cubicBezTo>
                <a:cubicBezTo>
                  <a:pt x="2767" y="4422"/>
                  <a:pt x="2798" y="4374"/>
                  <a:pt x="2782" y="4342"/>
                </a:cubicBezTo>
                <a:cubicBezTo>
                  <a:pt x="2767" y="4295"/>
                  <a:pt x="2719" y="4279"/>
                  <a:pt x="2671" y="4295"/>
                </a:cubicBezTo>
                <a:cubicBezTo>
                  <a:pt x="2559" y="4327"/>
                  <a:pt x="2416" y="4358"/>
                  <a:pt x="2289" y="4358"/>
                </a:cubicBezTo>
                <a:cubicBezTo>
                  <a:pt x="1732" y="4358"/>
                  <a:pt x="1271" y="3961"/>
                  <a:pt x="1144" y="3452"/>
                </a:cubicBezTo>
                <a:lnTo>
                  <a:pt x="1271" y="3675"/>
                </a:lnTo>
                <a:cubicBezTo>
                  <a:pt x="1287" y="3706"/>
                  <a:pt x="1319" y="3722"/>
                  <a:pt x="1351" y="3722"/>
                </a:cubicBezTo>
                <a:cubicBezTo>
                  <a:pt x="1366" y="3722"/>
                  <a:pt x="1366" y="3706"/>
                  <a:pt x="1383" y="3706"/>
                </a:cubicBezTo>
                <a:cubicBezTo>
                  <a:pt x="1431" y="3690"/>
                  <a:pt x="1431" y="3627"/>
                  <a:pt x="1414" y="3595"/>
                </a:cubicBezTo>
                <a:lnTo>
                  <a:pt x="1112" y="3070"/>
                </a:lnTo>
                <a:cubicBezTo>
                  <a:pt x="1080" y="3006"/>
                  <a:pt x="1001" y="3006"/>
                  <a:pt x="969" y="3070"/>
                </a:cubicBezTo>
                <a:close/>
                <a:moveTo>
                  <a:pt x="3196" y="780"/>
                </a:moveTo>
                <a:cubicBezTo>
                  <a:pt x="3164" y="811"/>
                  <a:pt x="3148" y="859"/>
                  <a:pt x="3164" y="891"/>
                </a:cubicBezTo>
                <a:lnTo>
                  <a:pt x="3482" y="1432"/>
                </a:lnTo>
                <a:cubicBezTo>
                  <a:pt x="3498" y="1448"/>
                  <a:pt x="3514" y="1464"/>
                  <a:pt x="3546" y="1464"/>
                </a:cubicBezTo>
                <a:cubicBezTo>
                  <a:pt x="3577" y="1464"/>
                  <a:pt x="3609" y="1448"/>
                  <a:pt x="3609" y="1432"/>
                </a:cubicBezTo>
                <a:lnTo>
                  <a:pt x="3927" y="891"/>
                </a:lnTo>
                <a:cubicBezTo>
                  <a:pt x="3943" y="859"/>
                  <a:pt x="3927" y="811"/>
                  <a:pt x="3895" y="780"/>
                </a:cubicBezTo>
                <a:cubicBezTo>
                  <a:pt x="3864" y="764"/>
                  <a:pt x="3816" y="780"/>
                  <a:pt x="3784" y="811"/>
                </a:cubicBezTo>
                <a:lnTo>
                  <a:pt x="3609" y="1114"/>
                </a:lnTo>
                <a:cubicBezTo>
                  <a:pt x="3498" y="494"/>
                  <a:pt x="2957" y="0"/>
                  <a:pt x="2289" y="0"/>
                </a:cubicBezTo>
                <a:cubicBezTo>
                  <a:pt x="2019" y="0"/>
                  <a:pt x="1764" y="80"/>
                  <a:pt x="1541" y="223"/>
                </a:cubicBezTo>
                <a:cubicBezTo>
                  <a:pt x="1510" y="255"/>
                  <a:pt x="1494" y="302"/>
                  <a:pt x="1526" y="334"/>
                </a:cubicBezTo>
                <a:cubicBezTo>
                  <a:pt x="1541" y="382"/>
                  <a:pt x="1589" y="382"/>
                  <a:pt x="1637" y="366"/>
                </a:cubicBezTo>
                <a:cubicBezTo>
                  <a:pt x="1828" y="223"/>
                  <a:pt x="2050" y="159"/>
                  <a:pt x="2289" y="159"/>
                </a:cubicBezTo>
                <a:cubicBezTo>
                  <a:pt x="2830" y="159"/>
                  <a:pt x="3275" y="525"/>
                  <a:pt x="3419" y="1003"/>
                </a:cubicBezTo>
                <a:lnTo>
                  <a:pt x="3307" y="811"/>
                </a:lnTo>
                <a:cubicBezTo>
                  <a:pt x="3291" y="780"/>
                  <a:pt x="3243" y="764"/>
                  <a:pt x="3196" y="78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TextBox 92">
            <a:extLst>
              <a:ext uri="{FF2B5EF4-FFF2-40B4-BE49-F238E27FC236}">
                <a16:creationId xmlns:a16="http://schemas.microsoft.com/office/drawing/2014/main" id="{01F57F1F-99E4-3E44-8E65-685169B25A7E}"/>
              </a:ext>
            </a:extLst>
          </p:cNvPr>
          <p:cNvSpPr txBox="1"/>
          <p:nvPr/>
        </p:nvSpPr>
        <p:spPr>
          <a:xfrm>
            <a:off x="794154" y="5144931"/>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Official</a:t>
            </a:r>
          </a:p>
        </p:txBody>
      </p:sp>
      <p:sp>
        <p:nvSpPr>
          <p:cNvPr id="94" name="Freeform: Shape 1">
            <a:extLst>
              <a:ext uri="{FF2B5EF4-FFF2-40B4-BE49-F238E27FC236}">
                <a16:creationId xmlns:a16="http://schemas.microsoft.com/office/drawing/2014/main" id="{7A2A1562-D5F0-2A44-B538-C6F6E91F33A4}"/>
              </a:ext>
            </a:extLst>
          </p:cNvPr>
          <p:cNvSpPr/>
          <p:nvPr/>
        </p:nvSpPr>
        <p:spPr>
          <a:xfrm>
            <a:off x="2014268" y="3087511"/>
            <a:ext cx="1305000" cy="1654560"/>
          </a:xfrm>
          <a:custGeom>
            <a:avLst/>
            <a:gdLst/>
            <a:ahLst/>
            <a:cxnLst>
              <a:cxn ang="3cd4">
                <a:pos x="hc" y="t"/>
              </a:cxn>
              <a:cxn ang="cd2">
                <a:pos x="l" y="vc"/>
              </a:cxn>
              <a:cxn ang="cd4">
                <a:pos x="hc" y="b"/>
              </a:cxn>
              <a:cxn ang="0">
                <a:pos x="r" y="vc"/>
              </a:cxn>
            </a:cxnLst>
            <a:rect l="l" t="t" r="r" b="b"/>
            <a:pathLst>
              <a:path w="3626" h="4597">
                <a:moveTo>
                  <a:pt x="365" y="4342"/>
                </a:moveTo>
                <a:lnTo>
                  <a:pt x="3260" y="4342"/>
                </a:lnTo>
                <a:cubicBezTo>
                  <a:pt x="3308" y="4342"/>
                  <a:pt x="3340" y="4294"/>
                  <a:pt x="3340" y="4263"/>
                </a:cubicBezTo>
                <a:lnTo>
                  <a:pt x="3340" y="350"/>
                </a:lnTo>
                <a:cubicBezTo>
                  <a:pt x="3340" y="318"/>
                  <a:pt x="3324" y="303"/>
                  <a:pt x="3308" y="286"/>
                </a:cubicBezTo>
                <a:cubicBezTo>
                  <a:pt x="3292" y="271"/>
                  <a:pt x="3276" y="271"/>
                  <a:pt x="3260" y="271"/>
                </a:cubicBezTo>
                <a:lnTo>
                  <a:pt x="365" y="271"/>
                </a:lnTo>
                <a:cubicBezTo>
                  <a:pt x="318" y="271"/>
                  <a:pt x="286" y="303"/>
                  <a:pt x="286" y="350"/>
                </a:cubicBezTo>
                <a:lnTo>
                  <a:pt x="286" y="4263"/>
                </a:lnTo>
                <a:cubicBezTo>
                  <a:pt x="286" y="4294"/>
                  <a:pt x="318" y="4342"/>
                  <a:pt x="365" y="4342"/>
                </a:cubicBezTo>
                <a:close/>
                <a:moveTo>
                  <a:pt x="445" y="430"/>
                </a:moveTo>
                <a:lnTo>
                  <a:pt x="3181" y="414"/>
                </a:lnTo>
                <a:lnTo>
                  <a:pt x="3181" y="4184"/>
                </a:lnTo>
                <a:lnTo>
                  <a:pt x="445" y="4184"/>
                </a:lnTo>
                <a:close/>
                <a:moveTo>
                  <a:pt x="3626" y="4517"/>
                </a:moveTo>
                <a:lnTo>
                  <a:pt x="3626" y="80"/>
                </a:lnTo>
                <a:cubicBezTo>
                  <a:pt x="3626" y="64"/>
                  <a:pt x="3610" y="48"/>
                  <a:pt x="3594" y="32"/>
                </a:cubicBezTo>
                <a:cubicBezTo>
                  <a:pt x="3578" y="16"/>
                  <a:pt x="3563" y="0"/>
                  <a:pt x="3546" y="0"/>
                </a:cubicBezTo>
                <a:lnTo>
                  <a:pt x="79" y="0"/>
                </a:lnTo>
                <a:cubicBezTo>
                  <a:pt x="47" y="0"/>
                  <a:pt x="0" y="48"/>
                  <a:pt x="0" y="80"/>
                </a:cubicBezTo>
                <a:lnTo>
                  <a:pt x="0" y="4517"/>
                </a:lnTo>
                <a:cubicBezTo>
                  <a:pt x="0" y="4565"/>
                  <a:pt x="47" y="4597"/>
                  <a:pt x="79" y="4597"/>
                </a:cubicBezTo>
                <a:lnTo>
                  <a:pt x="3546" y="4597"/>
                </a:lnTo>
                <a:cubicBezTo>
                  <a:pt x="3578" y="4597"/>
                  <a:pt x="3626" y="4565"/>
                  <a:pt x="3626" y="4517"/>
                </a:cubicBezTo>
                <a:close/>
                <a:moveTo>
                  <a:pt x="3467" y="4438"/>
                </a:moveTo>
                <a:lnTo>
                  <a:pt x="159" y="4438"/>
                </a:lnTo>
                <a:lnTo>
                  <a:pt x="159" y="159"/>
                </a:lnTo>
                <a:lnTo>
                  <a:pt x="3467" y="159"/>
                </a:lnTo>
                <a:close/>
                <a:moveTo>
                  <a:pt x="922" y="1193"/>
                </a:moveTo>
                <a:lnTo>
                  <a:pt x="1670" y="1193"/>
                </a:lnTo>
                <a:cubicBezTo>
                  <a:pt x="1718" y="1193"/>
                  <a:pt x="1749" y="1161"/>
                  <a:pt x="1749" y="1113"/>
                </a:cubicBezTo>
                <a:cubicBezTo>
                  <a:pt x="1749" y="1082"/>
                  <a:pt x="1718" y="1034"/>
                  <a:pt x="1670" y="1034"/>
                </a:cubicBezTo>
                <a:lnTo>
                  <a:pt x="922" y="1034"/>
                </a:lnTo>
                <a:cubicBezTo>
                  <a:pt x="874" y="1050"/>
                  <a:pt x="843" y="1082"/>
                  <a:pt x="843" y="1113"/>
                </a:cubicBezTo>
                <a:cubicBezTo>
                  <a:pt x="843" y="1161"/>
                  <a:pt x="874" y="1193"/>
                  <a:pt x="922" y="1193"/>
                </a:cubicBezTo>
                <a:close/>
                <a:moveTo>
                  <a:pt x="2688" y="1527"/>
                </a:moveTo>
                <a:lnTo>
                  <a:pt x="922" y="1543"/>
                </a:lnTo>
                <a:cubicBezTo>
                  <a:pt x="874" y="1543"/>
                  <a:pt x="843" y="1575"/>
                  <a:pt x="843" y="1622"/>
                </a:cubicBezTo>
                <a:cubicBezTo>
                  <a:pt x="843" y="1655"/>
                  <a:pt x="874" y="1702"/>
                  <a:pt x="922" y="1702"/>
                </a:cubicBezTo>
                <a:lnTo>
                  <a:pt x="2688" y="1686"/>
                </a:lnTo>
                <a:cubicBezTo>
                  <a:pt x="2736" y="1686"/>
                  <a:pt x="2767" y="1655"/>
                  <a:pt x="2767" y="1607"/>
                </a:cubicBezTo>
                <a:cubicBezTo>
                  <a:pt x="2767" y="1575"/>
                  <a:pt x="2736" y="1527"/>
                  <a:pt x="2688" y="1527"/>
                </a:cubicBezTo>
                <a:close/>
                <a:moveTo>
                  <a:pt x="922" y="2179"/>
                </a:moveTo>
                <a:lnTo>
                  <a:pt x="2672" y="2195"/>
                </a:lnTo>
                <a:cubicBezTo>
                  <a:pt x="2719" y="2195"/>
                  <a:pt x="2751" y="2148"/>
                  <a:pt x="2751" y="2116"/>
                </a:cubicBezTo>
                <a:cubicBezTo>
                  <a:pt x="2751" y="2068"/>
                  <a:pt x="2719" y="2036"/>
                  <a:pt x="2672" y="2036"/>
                </a:cubicBezTo>
                <a:lnTo>
                  <a:pt x="922" y="2036"/>
                </a:lnTo>
                <a:cubicBezTo>
                  <a:pt x="874" y="2036"/>
                  <a:pt x="843" y="2068"/>
                  <a:pt x="843" y="2100"/>
                </a:cubicBezTo>
                <a:cubicBezTo>
                  <a:pt x="843" y="2148"/>
                  <a:pt x="874" y="2179"/>
                  <a:pt x="922" y="2179"/>
                </a:cubicBezTo>
                <a:close/>
                <a:moveTo>
                  <a:pt x="2688" y="2529"/>
                </a:moveTo>
                <a:lnTo>
                  <a:pt x="922" y="2529"/>
                </a:lnTo>
                <a:cubicBezTo>
                  <a:pt x="874" y="2529"/>
                  <a:pt x="843" y="2561"/>
                  <a:pt x="843" y="2609"/>
                </a:cubicBezTo>
                <a:cubicBezTo>
                  <a:pt x="843" y="2640"/>
                  <a:pt x="874" y="2688"/>
                  <a:pt x="922" y="2688"/>
                </a:cubicBezTo>
                <a:lnTo>
                  <a:pt x="2688" y="2688"/>
                </a:lnTo>
                <a:cubicBezTo>
                  <a:pt x="2736" y="2688"/>
                  <a:pt x="2767" y="2640"/>
                  <a:pt x="2767" y="2609"/>
                </a:cubicBezTo>
                <a:cubicBezTo>
                  <a:pt x="2767" y="2561"/>
                  <a:pt x="2736" y="2529"/>
                  <a:pt x="2688" y="2529"/>
                </a:cubicBezTo>
                <a:close/>
                <a:moveTo>
                  <a:pt x="2688" y="3022"/>
                </a:moveTo>
                <a:lnTo>
                  <a:pt x="922" y="3022"/>
                </a:lnTo>
                <a:cubicBezTo>
                  <a:pt x="874" y="3022"/>
                  <a:pt x="843" y="3054"/>
                  <a:pt x="843" y="3102"/>
                </a:cubicBezTo>
                <a:cubicBezTo>
                  <a:pt x="843" y="3149"/>
                  <a:pt x="874" y="3181"/>
                  <a:pt x="922" y="3181"/>
                </a:cubicBezTo>
                <a:lnTo>
                  <a:pt x="2688" y="3181"/>
                </a:lnTo>
                <a:cubicBezTo>
                  <a:pt x="2736" y="3181"/>
                  <a:pt x="2767" y="3134"/>
                  <a:pt x="2767" y="3102"/>
                </a:cubicBezTo>
                <a:cubicBezTo>
                  <a:pt x="2767" y="3054"/>
                  <a:pt x="2736" y="3022"/>
                  <a:pt x="2688" y="3022"/>
                </a:cubicBezTo>
                <a:close/>
                <a:moveTo>
                  <a:pt x="2672" y="3515"/>
                </a:moveTo>
                <a:lnTo>
                  <a:pt x="922" y="3515"/>
                </a:lnTo>
                <a:cubicBezTo>
                  <a:pt x="874" y="3515"/>
                  <a:pt x="843" y="3547"/>
                  <a:pt x="843" y="3595"/>
                </a:cubicBezTo>
                <a:cubicBezTo>
                  <a:pt x="843" y="3627"/>
                  <a:pt x="874" y="3675"/>
                  <a:pt x="922" y="3675"/>
                </a:cubicBezTo>
                <a:lnTo>
                  <a:pt x="2672" y="3675"/>
                </a:lnTo>
                <a:cubicBezTo>
                  <a:pt x="2719" y="3675"/>
                  <a:pt x="2751" y="3642"/>
                  <a:pt x="2751" y="3595"/>
                </a:cubicBezTo>
                <a:cubicBezTo>
                  <a:pt x="2751" y="3547"/>
                  <a:pt x="2719" y="3515"/>
                  <a:pt x="2672" y="351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5" name="TextBox 94">
            <a:extLst>
              <a:ext uri="{FF2B5EF4-FFF2-40B4-BE49-F238E27FC236}">
                <a16:creationId xmlns:a16="http://schemas.microsoft.com/office/drawing/2014/main" id="{8EC764FB-541C-2549-9590-DCFBE8F2DB86}"/>
              </a:ext>
            </a:extLst>
          </p:cNvPr>
          <p:cNvSpPr txBox="1"/>
          <p:nvPr/>
        </p:nvSpPr>
        <p:spPr>
          <a:xfrm>
            <a:off x="12739319" y="8444596"/>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ument PPT</a:t>
            </a:r>
          </a:p>
        </p:txBody>
      </p:sp>
      <p:sp>
        <p:nvSpPr>
          <p:cNvPr id="96" name="TextBox 95">
            <a:extLst>
              <a:ext uri="{FF2B5EF4-FFF2-40B4-BE49-F238E27FC236}">
                <a16:creationId xmlns:a16="http://schemas.microsoft.com/office/drawing/2014/main" id="{9B93F8D8-4DA6-2546-B50D-9D4DB62F3FF0}"/>
              </a:ext>
            </a:extLst>
          </p:cNvPr>
          <p:cNvSpPr txBox="1"/>
          <p:nvPr/>
        </p:nvSpPr>
        <p:spPr>
          <a:xfrm>
            <a:off x="21041651" y="8444596"/>
            <a:ext cx="2106666"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Document Doc</a:t>
            </a:r>
            <a:endParaRPr lang="en-US" sz="2800" dirty="0"/>
          </a:p>
        </p:txBody>
      </p:sp>
      <p:sp>
        <p:nvSpPr>
          <p:cNvPr id="97" name="TextBox 96">
            <a:extLst>
              <a:ext uri="{FF2B5EF4-FFF2-40B4-BE49-F238E27FC236}">
                <a16:creationId xmlns:a16="http://schemas.microsoft.com/office/drawing/2014/main" id="{BCD5EF93-971F-7D49-AEF1-94ABD68AE97C}"/>
              </a:ext>
            </a:extLst>
          </p:cNvPr>
          <p:cNvSpPr txBox="1"/>
          <p:nvPr/>
        </p:nvSpPr>
        <p:spPr>
          <a:xfrm>
            <a:off x="21041651" y="11649840"/>
            <a:ext cx="2106666"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ument PDF</a:t>
            </a:r>
          </a:p>
        </p:txBody>
      </p:sp>
      <p:sp>
        <p:nvSpPr>
          <p:cNvPr id="98" name="Freeform: Shape 11">
            <a:extLst>
              <a:ext uri="{FF2B5EF4-FFF2-40B4-BE49-F238E27FC236}">
                <a16:creationId xmlns:a16="http://schemas.microsoft.com/office/drawing/2014/main" id="{09593B38-5896-994F-BFEC-83570F48539A}"/>
              </a:ext>
            </a:extLst>
          </p:cNvPr>
          <p:cNvSpPr/>
          <p:nvPr/>
        </p:nvSpPr>
        <p:spPr>
          <a:xfrm>
            <a:off x="21313424" y="6472174"/>
            <a:ext cx="1563119" cy="1517039"/>
          </a:xfrm>
          <a:custGeom>
            <a:avLst/>
            <a:gdLst/>
            <a:ahLst/>
            <a:cxnLst>
              <a:cxn ang="3cd4">
                <a:pos x="hc" y="t"/>
              </a:cxn>
              <a:cxn ang="cd2">
                <a:pos x="l" y="vc"/>
              </a:cxn>
              <a:cxn ang="cd4">
                <a:pos x="hc" y="b"/>
              </a:cxn>
              <a:cxn ang="0">
                <a:pos x="r" y="vc"/>
              </a:cxn>
            </a:cxnLst>
            <a:rect l="l" t="t" r="r" b="b"/>
            <a:pathLst>
              <a:path w="4343" h="4215">
                <a:moveTo>
                  <a:pt x="3165" y="4056"/>
                </a:moveTo>
                <a:lnTo>
                  <a:pt x="160" y="4056"/>
                </a:lnTo>
                <a:lnTo>
                  <a:pt x="160" y="159"/>
                </a:lnTo>
                <a:lnTo>
                  <a:pt x="2052" y="159"/>
                </a:lnTo>
                <a:lnTo>
                  <a:pt x="2052" y="1209"/>
                </a:lnTo>
                <a:cubicBezTo>
                  <a:pt x="2052" y="1257"/>
                  <a:pt x="2100" y="1289"/>
                  <a:pt x="2132" y="1289"/>
                </a:cubicBezTo>
                <a:lnTo>
                  <a:pt x="3165" y="1289"/>
                </a:lnTo>
                <a:lnTo>
                  <a:pt x="3165" y="2100"/>
                </a:lnTo>
                <a:lnTo>
                  <a:pt x="3325" y="2100"/>
                </a:lnTo>
                <a:lnTo>
                  <a:pt x="3325" y="1225"/>
                </a:lnTo>
                <a:cubicBezTo>
                  <a:pt x="3325" y="1209"/>
                  <a:pt x="3325" y="1177"/>
                  <a:pt x="3308" y="1161"/>
                </a:cubicBezTo>
                <a:lnTo>
                  <a:pt x="2148" y="32"/>
                </a:lnTo>
                <a:cubicBezTo>
                  <a:pt x="2132" y="16"/>
                  <a:pt x="2116" y="0"/>
                  <a:pt x="2084" y="0"/>
                </a:cubicBezTo>
                <a:lnTo>
                  <a:pt x="80" y="0"/>
                </a:lnTo>
                <a:cubicBezTo>
                  <a:pt x="32" y="0"/>
                  <a:pt x="0" y="32"/>
                  <a:pt x="0" y="80"/>
                </a:cubicBezTo>
                <a:lnTo>
                  <a:pt x="0" y="4136"/>
                </a:lnTo>
                <a:cubicBezTo>
                  <a:pt x="0" y="4184"/>
                  <a:pt x="32" y="4215"/>
                  <a:pt x="80" y="4215"/>
                </a:cubicBezTo>
                <a:lnTo>
                  <a:pt x="3245" y="4215"/>
                </a:lnTo>
                <a:cubicBezTo>
                  <a:pt x="3293" y="4215"/>
                  <a:pt x="3325" y="4184"/>
                  <a:pt x="3325" y="4136"/>
                </a:cubicBezTo>
                <a:lnTo>
                  <a:pt x="3325" y="3658"/>
                </a:lnTo>
                <a:lnTo>
                  <a:pt x="3165" y="3658"/>
                </a:lnTo>
                <a:close/>
                <a:moveTo>
                  <a:pt x="2211" y="319"/>
                </a:moveTo>
                <a:lnTo>
                  <a:pt x="3038" y="1130"/>
                </a:lnTo>
                <a:lnTo>
                  <a:pt x="2211" y="1130"/>
                </a:lnTo>
                <a:close/>
                <a:moveTo>
                  <a:pt x="3325" y="2100"/>
                </a:moveTo>
                <a:lnTo>
                  <a:pt x="3165" y="2100"/>
                </a:lnTo>
                <a:lnTo>
                  <a:pt x="1464" y="2100"/>
                </a:lnTo>
                <a:cubicBezTo>
                  <a:pt x="1320" y="2100"/>
                  <a:pt x="1209" y="2211"/>
                  <a:pt x="1209" y="2354"/>
                </a:cubicBezTo>
                <a:lnTo>
                  <a:pt x="1209" y="3404"/>
                </a:lnTo>
                <a:cubicBezTo>
                  <a:pt x="1209" y="3531"/>
                  <a:pt x="1320" y="3658"/>
                  <a:pt x="1464" y="3658"/>
                </a:cubicBezTo>
                <a:lnTo>
                  <a:pt x="3165" y="3658"/>
                </a:lnTo>
                <a:lnTo>
                  <a:pt x="3325" y="3658"/>
                </a:lnTo>
                <a:lnTo>
                  <a:pt x="4088" y="3658"/>
                </a:lnTo>
                <a:cubicBezTo>
                  <a:pt x="4231" y="3658"/>
                  <a:pt x="4343" y="3531"/>
                  <a:pt x="4343" y="3404"/>
                </a:cubicBezTo>
                <a:lnTo>
                  <a:pt x="4343" y="2354"/>
                </a:lnTo>
                <a:cubicBezTo>
                  <a:pt x="4343" y="2211"/>
                  <a:pt x="4231" y="2100"/>
                  <a:pt x="4088" y="2100"/>
                </a:cubicBezTo>
                <a:close/>
                <a:moveTo>
                  <a:pt x="4183" y="2354"/>
                </a:moveTo>
                <a:lnTo>
                  <a:pt x="4183" y="3404"/>
                </a:lnTo>
                <a:cubicBezTo>
                  <a:pt x="4183" y="3452"/>
                  <a:pt x="4152" y="3500"/>
                  <a:pt x="4088" y="3500"/>
                </a:cubicBezTo>
                <a:lnTo>
                  <a:pt x="1464" y="3500"/>
                </a:lnTo>
                <a:cubicBezTo>
                  <a:pt x="1416" y="3500"/>
                  <a:pt x="1368" y="3452"/>
                  <a:pt x="1368" y="3404"/>
                </a:cubicBezTo>
                <a:lnTo>
                  <a:pt x="1368" y="2354"/>
                </a:lnTo>
                <a:cubicBezTo>
                  <a:pt x="1368" y="2291"/>
                  <a:pt x="1416" y="2259"/>
                  <a:pt x="1464" y="2259"/>
                </a:cubicBezTo>
                <a:lnTo>
                  <a:pt x="4088" y="2259"/>
                </a:lnTo>
                <a:cubicBezTo>
                  <a:pt x="4152" y="2259"/>
                  <a:pt x="4183" y="2291"/>
                  <a:pt x="4183" y="2354"/>
                </a:cubicBezTo>
                <a:close/>
                <a:moveTo>
                  <a:pt x="2338" y="2609"/>
                </a:moveTo>
                <a:cubicBezTo>
                  <a:pt x="2307" y="2593"/>
                  <a:pt x="2275" y="2561"/>
                  <a:pt x="2227" y="2545"/>
                </a:cubicBezTo>
                <a:cubicBezTo>
                  <a:pt x="2195" y="2529"/>
                  <a:pt x="2148" y="2529"/>
                  <a:pt x="2100" y="2529"/>
                </a:cubicBezTo>
                <a:lnTo>
                  <a:pt x="1877" y="2529"/>
                </a:lnTo>
                <a:cubicBezTo>
                  <a:pt x="1862" y="2529"/>
                  <a:pt x="1845" y="2545"/>
                  <a:pt x="1845" y="2561"/>
                </a:cubicBezTo>
                <a:lnTo>
                  <a:pt x="1845" y="3197"/>
                </a:lnTo>
                <a:cubicBezTo>
                  <a:pt x="1845" y="3213"/>
                  <a:pt x="1862" y="3229"/>
                  <a:pt x="1877" y="3229"/>
                </a:cubicBezTo>
                <a:lnTo>
                  <a:pt x="2084" y="3229"/>
                </a:lnTo>
                <a:cubicBezTo>
                  <a:pt x="2132" y="3229"/>
                  <a:pt x="2180" y="3213"/>
                  <a:pt x="2211" y="3197"/>
                </a:cubicBezTo>
                <a:cubicBezTo>
                  <a:pt x="2259" y="3181"/>
                  <a:pt x="2307" y="3166"/>
                  <a:pt x="2323" y="3134"/>
                </a:cubicBezTo>
                <a:cubicBezTo>
                  <a:pt x="2354" y="3102"/>
                  <a:pt x="2386" y="3070"/>
                  <a:pt x="2402" y="3022"/>
                </a:cubicBezTo>
                <a:cubicBezTo>
                  <a:pt x="2418" y="2975"/>
                  <a:pt x="2418" y="2927"/>
                  <a:pt x="2418" y="2879"/>
                </a:cubicBezTo>
                <a:cubicBezTo>
                  <a:pt x="2418" y="2815"/>
                  <a:pt x="2418" y="2768"/>
                  <a:pt x="2402" y="2720"/>
                </a:cubicBezTo>
                <a:cubicBezTo>
                  <a:pt x="2386" y="2688"/>
                  <a:pt x="2370" y="2640"/>
                  <a:pt x="2338" y="2609"/>
                </a:cubicBezTo>
                <a:close/>
                <a:moveTo>
                  <a:pt x="1989" y="2657"/>
                </a:moveTo>
                <a:lnTo>
                  <a:pt x="2100" y="2657"/>
                </a:lnTo>
                <a:cubicBezTo>
                  <a:pt x="2132" y="2657"/>
                  <a:pt x="2163" y="2657"/>
                  <a:pt x="2180" y="2672"/>
                </a:cubicBezTo>
                <a:cubicBezTo>
                  <a:pt x="2195" y="2688"/>
                  <a:pt x="2227" y="2688"/>
                  <a:pt x="2227" y="2720"/>
                </a:cubicBezTo>
                <a:cubicBezTo>
                  <a:pt x="2243" y="2736"/>
                  <a:pt x="2259" y="2752"/>
                  <a:pt x="2259" y="2784"/>
                </a:cubicBezTo>
                <a:cubicBezTo>
                  <a:pt x="2275" y="2800"/>
                  <a:pt x="2275" y="2831"/>
                  <a:pt x="2275" y="2879"/>
                </a:cubicBezTo>
                <a:cubicBezTo>
                  <a:pt x="2275" y="2943"/>
                  <a:pt x="2259" y="3006"/>
                  <a:pt x="2227" y="3038"/>
                </a:cubicBezTo>
                <a:cubicBezTo>
                  <a:pt x="2195" y="3070"/>
                  <a:pt x="2148" y="3102"/>
                  <a:pt x="2084" y="3102"/>
                </a:cubicBezTo>
                <a:lnTo>
                  <a:pt x="1989" y="3102"/>
                </a:lnTo>
                <a:close/>
                <a:moveTo>
                  <a:pt x="3022" y="2609"/>
                </a:moveTo>
                <a:cubicBezTo>
                  <a:pt x="2990" y="2577"/>
                  <a:pt x="2959" y="2545"/>
                  <a:pt x="2911" y="2529"/>
                </a:cubicBezTo>
                <a:cubicBezTo>
                  <a:pt x="2879" y="2513"/>
                  <a:pt x="2832" y="2513"/>
                  <a:pt x="2784" y="2513"/>
                </a:cubicBezTo>
                <a:cubicBezTo>
                  <a:pt x="2736" y="2513"/>
                  <a:pt x="2689" y="2513"/>
                  <a:pt x="2657" y="2529"/>
                </a:cubicBezTo>
                <a:cubicBezTo>
                  <a:pt x="2609" y="2561"/>
                  <a:pt x="2577" y="2577"/>
                  <a:pt x="2545" y="2609"/>
                </a:cubicBezTo>
                <a:cubicBezTo>
                  <a:pt x="2513" y="2640"/>
                  <a:pt x="2498" y="2672"/>
                  <a:pt x="2481" y="2720"/>
                </a:cubicBezTo>
                <a:cubicBezTo>
                  <a:pt x="2466" y="2768"/>
                  <a:pt x="2466" y="2815"/>
                  <a:pt x="2466" y="2879"/>
                </a:cubicBezTo>
                <a:cubicBezTo>
                  <a:pt x="2466" y="2943"/>
                  <a:pt x="2466" y="2991"/>
                  <a:pt x="2481" y="3038"/>
                </a:cubicBezTo>
                <a:cubicBezTo>
                  <a:pt x="2498" y="3070"/>
                  <a:pt x="2513" y="3118"/>
                  <a:pt x="2545" y="3149"/>
                </a:cubicBezTo>
                <a:cubicBezTo>
                  <a:pt x="2577" y="3181"/>
                  <a:pt x="2609" y="3197"/>
                  <a:pt x="2657" y="3213"/>
                </a:cubicBezTo>
                <a:cubicBezTo>
                  <a:pt x="2689" y="3229"/>
                  <a:pt x="2736" y="3245"/>
                  <a:pt x="2784" y="3245"/>
                </a:cubicBezTo>
                <a:cubicBezTo>
                  <a:pt x="2832" y="3245"/>
                  <a:pt x="2879" y="3229"/>
                  <a:pt x="2911" y="3213"/>
                </a:cubicBezTo>
                <a:cubicBezTo>
                  <a:pt x="2959" y="3197"/>
                  <a:pt x="2990" y="3181"/>
                  <a:pt x="3022" y="3149"/>
                </a:cubicBezTo>
                <a:cubicBezTo>
                  <a:pt x="3038" y="3118"/>
                  <a:pt x="3070" y="3070"/>
                  <a:pt x="3086" y="3022"/>
                </a:cubicBezTo>
                <a:cubicBezTo>
                  <a:pt x="3102" y="2991"/>
                  <a:pt x="3102" y="2927"/>
                  <a:pt x="3102" y="2879"/>
                </a:cubicBezTo>
                <a:cubicBezTo>
                  <a:pt x="3102" y="2815"/>
                  <a:pt x="3102" y="2768"/>
                  <a:pt x="3086" y="2720"/>
                </a:cubicBezTo>
                <a:cubicBezTo>
                  <a:pt x="3070" y="2672"/>
                  <a:pt x="3038" y="2640"/>
                  <a:pt x="3022" y="2609"/>
                </a:cubicBezTo>
                <a:close/>
                <a:moveTo>
                  <a:pt x="2784" y="3118"/>
                </a:moveTo>
                <a:cubicBezTo>
                  <a:pt x="2752" y="3118"/>
                  <a:pt x="2720" y="3102"/>
                  <a:pt x="2704" y="3102"/>
                </a:cubicBezTo>
                <a:cubicBezTo>
                  <a:pt x="2689" y="3086"/>
                  <a:pt x="2672" y="3070"/>
                  <a:pt x="2657" y="3054"/>
                </a:cubicBezTo>
                <a:cubicBezTo>
                  <a:pt x="2641" y="3038"/>
                  <a:pt x="2625" y="3006"/>
                  <a:pt x="2609" y="2975"/>
                </a:cubicBezTo>
                <a:lnTo>
                  <a:pt x="2609" y="2879"/>
                </a:lnTo>
                <a:lnTo>
                  <a:pt x="2609" y="2784"/>
                </a:lnTo>
                <a:cubicBezTo>
                  <a:pt x="2625" y="2752"/>
                  <a:pt x="2641" y="2720"/>
                  <a:pt x="2657" y="2704"/>
                </a:cubicBezTo>
                <a:cubicBezTo>
                  <a:pt x="2672" y="2688"/>
                  <a:pt x="2689" y="2672"/>
                  <a:pt x="2704" y="2657"/>
                </a:cubicBezTo>
                <a:cubicBezTo>
                  <a:pt x="2720" y="2657"/>
                  <a:pt x="2752" y="2640"/>
                  <a:pt x="2784" y="2640"/>
                </a:cubicBezTo>
                <a:cubicBezTo>
                  <a:pt x="2816" y="2640"/>
                  <a:pt x="2832" y="2657"/>
                  <a:pt x="2863" y="2657"/>
                </a:cubicBezTo>
                <a:cubicBezTo>
                  <a:pt x="2879" y="2672"/>
                  <a:pt x="2895" y="2688"/>
                  <a:pt x="2911" y="2704"/>
                </a:cubicBezTo>
                <a:cubicBezTo>
                  <a:pt x="2927" y="2720"/>
                  <a:pt x="2943" y="2752"/>
                  <a:pt x="2943" y="2784"/>
                </a:cubicBezTo>
                <a:cubicBezTo>
                  <a:pt x="2959" y="2800"/>
                  <a:pt x="2959" y="2848"/>
                  <a:pt x="2959" y="2879"/>
                </a:cubicBezTo>
                <a:cubicBezTo>
                  <a:pt x="2959" y="2911"/>
                  <a:pt x="2959" y="2943"/>
                  <a:pt x="2943" y="2975"/>
                </a:cubicBezTo>
                <a:cubicBezTo>
                  <a:pt x="2943" y="3006"/>
                  <a:pt x="2927" y="3038"/>
                  <a:pt x="2911" y="3054"/>
                </a:cubicBezTo>
                <a:lnTo>
                  <a:pt x="2863" y="3102"/>
                </a:lnTo>
                <a:cubicBezTo>
                  <a:pt x="2832" y="3102"/>
                  <a:pt x="2816" y="3118"/>
                  <a:pt x="2784" y="3118"/>
                </a:cubicBezTo>
                <a:close/>
                <a:moveTo>
                  <a:pt x="3722" y="2958"/>
                </a:moveTo>
                <a:lnTo>
                  <a:pt x="3627" y="2958"/>
                </a:lnTo>
                <a:cubicBezTo>
                  <a:pt x="3611" y="2958"/>
                  <a:pt x="3611" y="2975"/>
                  <a:pt x="3595" y="2975"/>
                </a:cubicBezTo>
                <a:cubicBezTo>
                  <a:pt x="3595" y="3006"/>
                  <a:pt x="3595" y="3022"/>
                  <a:pt x="3579" y="3038"/>
                </a:cubicBezTo>
                <a:cubicBezTo>
                  <a:pt x="3579" y="3054"/>
                  <a:pt x="3579" y="3070"/>
                  <a:pt x="3563" y="3070"/>
                </a:cubicBezTo>
                <a:cubicBezTo>
                  <a:pt x="3547" y="3086"/>
                  <a:pt x="3531" y="3102"/>
                  <a:pt x="3516" y="3102"/>
                </a:cubicBezTo>
                <a:cubicBezTo>
                  <a:pt x="3499" y="3102"/>
                  <a:pt x="3484" y="3118"/>
                  <a:pt x="3452" y="3118"/>
                </a:cubicBezTo>
                <a:cubicBezTo>
                  <a:pt x="3436" y="3118"/>
                  <a:pt x="3404" y="3102"/>
                  <a:pt x="3388" y="3102"/>
                </a:cubicBezTo>
                <a:cubicBezTo>
                  <a:pt x="3372" y="3086"/>
                  <a:pt x="3356" y="3070"/>
                  <a:pt x="3341" y="3054"/>
                </a:cubicBezTo>
                <a:cubicBezTo>
                  <a:pt x="3325" y="3038"/>
                  <a:pt x="3308" y="3006"/>
                  <a:pt x="3293" y="2975"/>
                </a:cubicBezTo>
                <a:lnTo>
                  <a:pt x="3293" y="2879"/>
                </a:lnTo>
                <a:lnTo>
                  <a:pt x="3293" y="2784"/>
                </a:lnTo>
                <a:cubicBezTo>
                  <a:pt x="3308" y="2752"/>
                  <a:pt x="3325" y="2720"/>
                  <a:pt x="3341" y="2704"/>
                </a:cubicBezTo>
                <a:cubicBezTo>
                  <a:pt x="3356" y="2688"/>
                  <a:pt x="3372" y="2672"/>
                  <a:pt x="3388" y="2657"/>
                </a:cubicBezTo>
                <a:cubicBezTo>
                  <a:pt x="3404" y="2657"/>
                  <a:pt x="3436" y="2640"/>
                  <a:pt x="3452" y="2640"/>
                </a:cubicBezTo>
                <a:cubicBezTo>
                  <a:pt x="3484" y="2640"/>
                  <a:pt x="3499" y="2640"/>
                  <a:pt x="3516" y="2657"/>
                </a:cubicBezTo>
                <a:cubicBezTo>
                  <a:pt x="3531" y="2657"/>
                  <a:pt x="3537" y="2667"/>
                  <a:pt x="3547" y="2672"/>
                </a:cubicBezTo>
                <a:cubicBezTo>
                  <a:pt x="3563" y="2688"/>
                  <a:pt x="3579" y="2704"/>
                  <a:pt x="3579" y="2720"/>
                </a:cubicBezTo>
                <a:cubicBezTo>
                  <a:pt x="3579" y="2736"/>
                  <a:pt x="3595" y="2752"/>
                  <a:pt x="3595" y="2768"/>
                </a:cubicBezTo>
                <a:cubicBezTo>
                  <a:pt x="3595" y="2784"/>
                  <a:pt x="3611" y="2800"/>
                  <a:pt x="3627" y="2800"/>
                </a:cubicBezTo>
                <a:lnTo>
                  <a:pt x="3706" y="2784"/>
                </a:lnTo>
                <a:cubicBezTo>
                  <a:pt x="3722" y="2784"/>
                  <a:pt x="3722" y="2768"/>
                  <a:pt x="3738" y="2768"/>
                </a:cubicBezTo>
                <a:lnTo>
                  <a:pt x="3738" y="2752"/>
                </a:lnTo>
                <a:cubicBezTo>
                  <a:pt x="3738" y="2704"/>
                  <a:pt x="3722" y="2688"/>
                  <a:pt x="3706" y="2657"/>
                </a:cubicBezTo>
                <a:cubicBezTo>
                  <a:pt x="3690" y="2625"/>
                  <a:pt x="3674" y="2593"/>
                  <a:pt x="3659" y="2577"/>
                </a:cubicBezTo>
                <a:lnTo>
                  <a:pt x="3563" y="2529"/>
                </a:lnTo>
                <a:cubicBezTo>
                  <a:pt x="3531" y="2513"/>
                  <a:pt x="3499" y="2513"/>
                  <a:pt x="3452" y="2513"/>
                </a:cubicBezTo>
                <a:cubicBezTo>
                  <a:pt x="3420" y="2513"/>
                  <a:pt x="3372" y="2513"/>
                  <a:pt x="3325" y="2529"/>
                </a:cubicBezTo>
                <a:cubicBezTo>
                  <a:pt x="3293" y="2561"/>
                  <a:pt x="3261" y="2577"/>
                  <a:pt x="3229" y="2609"/>
                </a:cubicBezTo>
                <a:cubicBezTo>
                  <a:pt x="3198" y="2640"/>
                  <a:pt x="3181" y="2672"/>
                  <a:pt x="3165" y="2720"/>
                </a:cubicBezTo>
                <a:cubicBezTo>
                  <a:pt x="3150" y="2768"/>
                  <a:pt x="3134" y="2815"/>
                  <a:pt x="3134" y="2879"/>
                </a:cubicBezTo>
                <a:cubicBezTo>
                  <a:pt x="3134" y="2927"/>
                  <a:pt x="3150" y="2991"/>
                  <a:pt x="3165" y="3022"/>
                </a:cubicBezTo>
                <a:cubicBezTo>
                  <a:pt x="3181" y="3070"/>
                  <a:pt x="3198" y="3118"/>
                  <a:pt x="3229" y="3149"/>
                </a:cubicBezTo>
                <a:cubicBezTo>
                  <a:pt x="3261" y="3181"/>
                  <a:pt x="3293" y="3197"/>
                  <a:pt x="3325" y="3213"/>
                </a:cubicBezTo>
                <a:cubicBezTo>
                  <a:pt x="3372" y="3229"/>
                  <a:pt x="3404" y="3245"/>
                  <a:pt x="3452" y="3245"/>
                </a:cubicBezTo>
                <a:cubicBezTo>
                  <a:pt x="3499" y="3245"/>
                  <a:pt x="3547" y="3229"/>
                  <a:pt x="3579" y="3229"/>
                </a:cubicBezTo>
                <a:cubicBezTo>
                  <a:pt x="3611" y="3213"/>
                  <a:pt x="3643" y="3197"/>
                  <a:pt x="3659" y="3166"/>
                </a:cubicBezTo>
                <a:cubicBezTo>
                  <a:pt x="3690" y="3149"/>
                  <a:pt x="3706" y="3118"/>
                  <a:pt x="3722" y="3086"/>
                </a:cubicBezTo>
                <a:cubicBezTo>
                  <a:pt x="3738" y="3054"/>
                  <a:pt x="3738" y="3022"/>
                  <a:pt x="3754" y="2991"/>
                </a:cubicBezTo>
                <a:cubicBezTo>
                  <a:pt x="3754" y="2975"/>
                  <a:pt x="3738" y="2975"/>
                  <a:pt x="3738" y="295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9" name="Freeform: Shape 12">
            <a:extLst>
              <a:ext uri="{FF2B5EF4-FFF2-40B4-BE49-F238E27FC236}">
                <a16:creationId xmlns:a16="http://schemas.microsoft.com/office/drawing/2014/main" id="{3F98AD7F-72D8-D04A-8E45-7AF4148B9035}"/>
              </a:ext>
            </a:extLst>
          </p:cNvPr>
          <p:cNvSpPr/>
          <p:nvPr/>
        </p:nvSpPr>
        <p:spPr>
          <a:xfrm>
            <a:off x="21363212" y="9703381"/>
            <a:ext cx="1568519" cy="1517039"/>
          </a:xfrm>
          <a:custGeom>
            <a:avLst/>
            <a:gdLst/>
            <a:ahLst/>
            <a:cxnLst>
              <a:cxn ang="3cd4">
                <a:pos x="hc" y="t"/>
              </a:cxn>
              <a:cxn ang="cd2">
                <a:pos x="l" y="vc"/>
              </a:cxn>
              <a:cxn ang="cd4">
                <a:pos x="hc" y="b"/>
              </a:cxn>
              <a:cxn ang="0">
                <a:pos x="r" y="vc"/>
              </a:cxn>
            </a:cxnLst>
            <a:rect l="l" t="t" r="r" b="b"/>
            <a:pathLst>
              <a:path w="4358" h="4215">
                <a:moveTo>
                  <a:pt x="3340" y="2100"/>
                </a:moveTo>
                <a:lnTo>
                  <a:pt x="3340" y="1225"/>
                </a:lnTo>
                <a:cubicBezTo>
                  <a:pt x="3340" y="1209"/>
                  <a:pt x="3324" y="1177"/>
                  <a:pt x="3308" y="1161"/>
                </a:cubicBezTo>
                <a:lnTo>
                  <a:pt x="2163" y="32"/>
                </a:lnTo>
                <a:cubicBezTo>
                  <a:pt x="2147" y="16"/>
                  <a:pt x="2115" y="0"/>
                  <a:pt x="2099" y="0"/>
                </a:cubicBezTo>
                <a:lnTo>
                  <a:pt x="80" y="0"/>
                </a:lnTo>
                <a:cubicBezTo>
                  <a:pt x="47" y="0"/>
                  <a:pt x="0" y="32"/>
                  <a:pt x="0" y="80"/>
                </a:cubicBezTo>
                <a:lnTo>
                  <a:pt x="0" y="4136"/>
                </a:lnTo>
                <a:cubicBezTo>
                  <a:pt x="0" y="4184"/>
                  <a:pt x="47" y="4215"/>
                  <a:pt x="80" y="4215"/>
                </a:cubicBezTo>
                <a:lnTo>
                  <a:pt x="3261" y="4215"/>
                </a:lnTo>
                <a:cubicBezTo>
                  <a:pt x="3308" y="4215"/>
                  <a:pt x="3340" y="4184"/>
                  <a:pt x="3340" y="4136"/>
                </a:cubicBezTo>
                <a:lnTo>
                  <a:pt x="3340" y="3658"/>
                </a:lnTo>
                <a:lnTo>
                  <a:pt x="4103" y="3658"/>
                </a:lnTo>
                <a:cubicBezTo>
                  <a:pt x="4246" y="3658"/>
                  <a:pt x="4358" y="3531"/>
                  <a:pt x="4358" y="3404"/>
                </a:cubicBezTo>
                <a:lnTo>
                  <a:pt x="4358" y="2354"/>
                </a:lnTo>
                <a:cubicBezTo>
                  <a:pt x="4358" y="2211"/>
                  <a:pt x="4246" y="2100"/>
                  <a:pt x="4103" y="2100"/>
                </a:cubicBezTo>
                <a:close/>
                <a:moveTo>
                  <a:pt x="2226" y="319"/>
                </a:moveTo>
                <a:lnTo>
                  <a:pt x="3053" y="1130"/>
                </a:lnTo>
                <a:lnTo>
                  <a:pt x="2226" y="1130"/>
                </a:lnTo>
                <a:close/>
                <a:moveTo>
                  <a:pt x="3181" y="4056"/>
                </a:moveTo>
                <a:lnTo>
                  <a:pt x="159" y="4056"/>
                </a:lnTo>
                <a:lnTo>
                  <a:pt x="159" y="159"/>
                </a:lnTo>
                <a:lnTo>
                  <a:pt x="2068" y="159"/>
                </a:lnTo>
                <a:lnTo>
                  <a:pt x="2068" y="1209"/>
                </a:lnTo>
                <a:cubicBezTo>
                  <a:pt x="2068" y="1257"/>
                  <a:pt x="2099" y="1289"/>
                  <a:pt x="2147" y="1289"/>
                </a:cubicBezTo>
                <a:lnTo>
                  <a:pt x="3181" y="1289"/>
                </a:lnTo>
                <a:lnTo>
                  <a:pt x="3181" y="2100"/>
                </a:lnTo>
                <a:lnTo>
                  <a:pt x="1479" y="2100"/>
                </a:lnTo>
                <a:cubicBezTo>
                  <a:pt x="1336" y="2100"/>
                  <a:pt x="1225" y="2211"/>
                  <a:pt x="1225" y="2354"/>
                </a:cubicBezTo>
                <a:lnTo>
                  <a:pt x="1225" y="3404"/>
                </a:lnTo>
                <a:cubicBezTo>
                  <a:pt x="1225" y="3531"/>
                  <a:pt x="1336" y="3658"/>
                  <a:pt x="1479" y="3658"/>
                </a:cubicBezTo>
                <a:lnTo>
                  <a:pt x="3181" y="3658"/>
                </a:lnTo>
                <a:close/>
                <a:moveTo>
                  <a:pt x="4199" y="2354"/>
                </a:moveTo>
                <a:lnTo>
                  <a:pt x="4199" y="3404"/>
                </a:lnTo>
                <a:cubicBezTo>
                  <a:pt x="4199" y="3452"/>
                  <a:pt x="4151" y="3500"/>
                  <a:pt x="4103" y="3500"/>
                </a:cubicBezTo>
                <a:lnTo>
                  <a:pt x="1479" y="3500"/>
                </a:lnTo>
                <a:cubicBezTo>
                  <a:pt x="1431" y="3500"/>
                  <a:pt x="1384" y="3452"/>
                  <a:pt x="1384" y="3404"/>
                </a:cubicBezTo>
                <a:lnTo>
                  <a:pt x="1384" y="2354"/>
                </a:lnTo>
                <a:cubicBezTo>
                  <a:pt x="1384" y="2291"/>
                  <a:pt x="1431" y="2259"/>
                  <a:pt x="1479" y="2259"/>
                </a:cubicBezTo>
                <a:lnTo>
                  <a:pt x="4103" y="2259"/>
                </a:lnTo>
                <a:cubicBezTo>
                  <a:pt x="4151" y="2259"/>
                  <a:pt x="4199" y="2291"/>
                  <a:pt x="4199" y="2354"/>
                </a:cubicBezTo>
                <a:close/>
                <a:moveTo>
                  <a:pt x="2433" y="2593"/>
                </a:moveTo>
                <a:cubicBezTo>
                  <a:pt x="2417" y="2577"/>
                  <a:pt x="2386" y="2561"/>
                  <a:pt x="2354" y="2545"/>
                </a:cubicBezTo>
                <a:cubicBezTo>
                  <a:pt x="2322" y="2529"/>
                  <a:pt x="2274" y="2529"/>
                  <a:pt x="2226" y="2529"/>
                </a:cubicBezTo>
                <a:lnTo>
                  <a:pt x="2004" y="2529"/>
                </a:lnTo>
                <a:cubicBezTo>
                  <a:pt x="1988" y="2529"/>
                  <a:pt x="1988" y="2545"/>
                  <a:pt x="1988" y="2561"/>
                </a:cubicBezTo>
                <a:lnTo>
                  <a:pt x="1988" y="3197"/>
                </a:lnTo>
                <a:cubicBezTo>
                  <a:pt x="1988" y="3213"/>
                  <a:pt x="1988" y="3229"/>
                  <a:pt x="2004" y="3229"/>
                </a:cubicBezTo>
                <a:lnTo>
                  <a:pt x="2099" y="3229"/>
                </a:lnTo>
                <a:cubicBezTo>
                  <a:pt x="2115" y="3229"/>
                  <a:pt x="2115" y="3213"/>
                  <a:pt x="2115" y="3197"/>
                </a:cubicBezTo>
                <a:lnTo>
                  <a:pt x="2115" y="2975"/>
                </a:lnTo>
                <a:lnTo>
                  <a:pt x="2226" y="2975"/>
                </a:lnTo>
                <a:cubicBezTo>
                  <a:pt x="2274" y="2975"/>
                  <a:pt x="2322" y="2975"/>
                  <a:pt x="2354" y="2958"/>
                </a:cubicBezTo>
                <a:cubicBezTo>
                  <a:pt x="2386" y="2943"/>
                  <a:pt x="2417" y="2927"/>
                  <a:pt x="2433" y="2911"/>
                </a:cubicBezTo>
                <a:cubicBezTo>
                  <a:pt x="2449" y="2895"/>
                  <a:pt x="2465" y="2863"/>
                  <a:pt x="2481" y="2831"/>
                </a:cubicBezTo>
                <a:cubicBezTo>
                  <a:pt x="2481" y="2800"/>
                  <a:pt x="2497" y="2784"/>
                  <a:pt x="2497" y="2752"/>
                </a:cubicBezTo>
                <a:cubicBezTo>
                  <a:pt x="2497" y="2720"/>
                  <a:pt x="2481" y="2688"/>
                  <a:pt x="2481" y="2672"/>
                </a:cubicBezTo>
                <a:cubicBezTo>
                  <a:pt x="2465" y="2640"/>
                  <a:pt x="2449" y="2609"/>
                  <a:pt x="2433" y="2593"/>
                </a:cubicBezTo>
                <a:close/>
                <a:moveTo>
                  <a:pt x="2115" y="2657"/>
                </a:moveTo>
                <a:lnTo>
                  <a:pt x="2226" y="2657"/>
                </a:lnTo>
                <a:cubicBezTo>
                  <a:pt x="2243" y="2657"/>
                  <a:pt x="2274" y="2657"/>
                  <a:pt x="2290" y="2672"/>
                </a:cubicBezTo>
                <a:cubicBezTo>
                  <a:pt x="2306" y="2672"/>
                  <a:pt x="2322" y="2672"/>
                  <a:pt x="2322" y="2688"/>
                </a:cubicBezTo>
                <a:cubicBezTo>
                  <a:pt x="2338" y="2688"/>
                  <a:pt x="2338" y="2688"/>
                  <a:pt x="2338" y="2704"/>
                </a:cubicBezTo>
                <a:cubicBezTo>
                  <a:pt x="2338" y="2720"/>
                  <a:pt x="2354" y="2736"/>
                  <a:pt x="2354" y="2752"/>
                </a:cubicBezTo>
                <a:cubicBezTo>
                  <a:pt x="2354" y="2768"/>
                  <a:pt x="2338" y="2784"/>
                  <a:pt x="2338" y="2800"/>
                </a:cubicBezTo>
                <a:cubicBezTo>
                  <a:pt x="2333" y="2805"/>
                  <a:pt x="2338" y="2815"/>
                  <a:pt x="2322" y="2815"/>
                </a:cubicBezTo>
                <a:cubicBezTo>
                  <a:pt x="2322" y="2831"/>
                  <a:pt x="2306" y="2831"/>
                  <a:pt x="2290" y="2848"/>
                </a:cubicBezTo>
                <a:lnTo>
                  <a:pt x="2226" y="2848"/>
                </a:lnTo>
                <a:lnTo>
                  <a:pt x="2115" y="2848"/>
                </a:lnTo>
                <a:close/>
                <a:moveTo>
                  <a:pt x="3038" y="2609"/>
                </a:moveTo>
                <a:cubicBezTo>
                  <a:pt x="3006" y="2593"/>
                  <a:pt x="2974" y="2561"/>
                  <a:pt x="2926" y="2545"/>
                </a:cubicBezTo>
                <a:cubicBezTo>
                  <a:pt x="2895" y="2529"/>
                  <a:pt x="2847" y="2529"/>
                  <a:pt x="2799" y="2529"/>
                </a:cubicBezTo>
                <a:lnTo>
                  <a:pt x="2577" y="2529"/>
                </a:lnTo>
                <a:cubicBezTo>
                  <a:pt x="2544" y="2529"/>
                  <a:pt x="2544" y="2545"/>
                  <a:pt x="2544" y="2561"/>
                </a:cubicBezTo>
                <a:lnTo>
                  <a:pt x="2544" y="3197"/>
                </a:lnTo>
                <a:cubicBezTo>
                  <a:pt x="2544" y="3213"/>
                  <a:pt x="2544" y="3229"/>
                  <a:pt x="2577" y="3229"/>
                </a:cubicBezTo>
                <a:lnTo>
                  <a:pt x="2767" y="3229"/>
                </a:lnTo>
                <a:cubicBezTo>
                  <a:pt x="2831" y="3229"/>
                  <a:pt x="2879" y="3213"/>
                  <a:pt x="2910" y="3197"/>
                </a:cubicBezTo>
                <a:cubicBezTo>
                  <a:pt x="2958" y="3181"/>
                  <a:pt x="2990" y="3166"/>
                  <a:pt x="3022" y="3134"/>
                </a:cubicBezTo>
                <a:cubicBezTo>
                  <a:pt x="3053" y="3102"/>
                  <a:pt x="3085" y="3070"/>
                  <a:pt x="3101" y="3022"/>
                </a:cubicBezTo>
                <a:cubicBezTo>
                  <a:pt x="3117" y="2975"/>
                  <a:pt x="3117" y="2927"/>
                  <a:pt x="3117" y="2879"/>
                </a:cubicBezTo>
                <a:cubicBezTo>
                  <a:pt x="3117" y="2815"/>
                  <a:pt x="3117" y="2768"/>
                  <a:pt x="3101" y="2720"/>
                </a:cubicBezTo>
                <a:cubicBezTo>
                  <a:pt x="3085" y="2688"/>
                  <a:pt x="3053" y="2640"/>
                  <a:pt x="3038" y="2609"/>
                </a:cubicBezTo>
                <a:close/>
                <a:moveTo>
                  <a:pt x="2688" y="2657"/>
                </a:moveTo>
                <a:lnTo>
                  <a:pt x="2799" y="2657"/>
                </a:lnTo>
                <a:cubicBezTo>
                  <a:pt x="2831" y="2657"/>
                  <a:pt x="2847" y="2657"/>
                  <a:pt x="2879" y="2672"/>
                </a:cubicBezTo>
                <a:cubicBezTo>
                  <a:pt x="2895" y="2688"/>
                  <a:pt x="2910" y="2688"/>
                  <a:pt x="2926" y="2720"/>
                </a:cubicBezTo>
                <a:cubicBezTo>
                  <a:pt x="2942" y="2736"/>
                  <a:pt x="2958" y="2752"/>
                  <a:pt x="2958" y="2784"/>
                </a:cubicBezTo>
                <a:cubicBezTo>
                  <a:pt x="2974" y="2800"/>
                  <a:pt x="2974" y="2831"/>
                  <a:pt x="2974" y="2879"/>
                </a:cubicBezTo>
                <a:cubicBezTo>
                  <a:pt x="2974" y="2943"/>
                  <a:pt x="2958" y="3006"/>
                  <a:pt x="2926" y="3038"/>
                </a:cubicBezTo>
                <a:cubicBezTo>
                  <a:pt x="2895" y="3070"/>
                  <a:pt x="2847" y="3102"/>
                  <a:pt x="2783" y="3102"/>
                </a:cubicBezTo>
                <a:lnTo>
                  <a:pt x="2688" y="3102"/>
                </a:lnTo>
                <a:close/>
                <a:moveTo>
                  <a:pt x="3610" y="2529"/>
                </a:moveTo>
                <a:lnTo>
                  <a:pt x="3213" y="2529"/>
                </a:lnTo>
                <a:cubicBezTo>
                  <a:pt x="3197" y="2529"/>
                  <a:pt x="3181" y="2545"/>
                  <a:pt x="3181" y="2561"/>
                </a:cubicBezTo>
                <a:lnTo>
                  <a:pt x="3181" y="3197"/>
                </a:lnTo>
                <a:cubicBezTo>
                  <a:pt x="3181" y="3213"/>
                  <a:pt x="3197" y="3229"/>
                  <a:pt x="3213" y="3229"/>
                </a:cubicBezTo>
                <a:lnTo>
                  <a:pt x="3292" y="3229"/>
                </a:lnTo>
                <a:cubicBezTo>
                  <a:pt x="3308" y="3229"/>
                  <a:pt x="3324" y="3213"/>
                  <a:pt x="3324" y="3197"/>
                </a:cubicBezTo>
                <a:lnTo>
                  <a:pt x="3324" y="2943"/>
                </a:lnTo>
                <a:lnTo>
                  <a:pt x="3579" y="2943"/>
                </a:lnTo>
                <a:cubicBezTo>
                  <a:pt x="3594" y="2943"/>
                  <a:pt x="3610" y="2927"/>
                  <a:pt x="3610" y="2911"/>
                </a:cubicBezTo>
                <a:lnTo>
                  <a:pt x="3610" y="2848"/>
                </a:lnTo>
                <a:cubicBezTo>
                  <a:pt x="3610" y="2815"/>
                  <a:pt x="3594" y="2815"/>
                  <a:pt x="3579" y="2815"/>
                </a:cubicBezTo>
                <a:lnTo>
                  <a:pt x="3324" y="2815"/>
                </a:lnTo>
                <a:lnTo>
                  <a:pt x="3324" y="2657"/>
                </a:lnTo>
                <a:lnTo>
                  <a:pt x="3610" y="2657"/>
                </a:lnTo>
                <a:cubicBezTo>
                  <a:pt x="3626" y="2657"/>
                  <a:pt x="3626" y="2640"/>
                  <a:pt x="3626" y="2625"/>
                </a:cubicBezTo>
                <a:lnTo>
                  <a:pt x="3626" y="2561"/>
                </a:lnTo>
                <a:cubicBezTo>
                  <a:pt x="3626" y="2545"/>
                  <a:pt x="3626" y="2529"/>
                  <a:pt x="3610" y="252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0" name="Freeform: Shape 13">
            <a:extLst>
              <a:ext uri="{FF2B5EF4-FFF2-40B4-BE49-F238E27FC236}">
                <a16:creationId xmlns:a16="http://schemas.microsoft.com/office/drawing/2014/main" id="{1350053F-2471-9843-8234-430309340C74}"/>
              </a:ext>
            </a:extLst>
          </p:cNvPr>
          <p:cNvSpPr/>
          <p:nvPr/>
        </p:nvSpPr>
        <p:spPr>
          <a:xfrm>
            <a:off x="13890794" y="6472174"/>
            <a:ext cx="1563119" cy="1517039"/>
          </a:xfrm>
          <a:custGeom>
            <a:avLst/>
            <a:gdLst/>
            <a:ahLst/>
            <a:cxnLst>
              <a:cxn ang="3cd4">
                <a:pos x="hc" y="t"/>
              </a:cxn>
              <a:cxn ang="cd2">
                <a:pos x="l" y="vc"/>
              </a:cxn>
              <a:cxn ang="cd4">
                <a:pos x="hc" y="b"/>
              </a:cxn>
              <a:cxn ang="0">
                <a:pos x="r" y="vc"/>
              </a:cxn>
            </a:cxnLst>
            <a:rect l="l" t="t" r="r" b="b"/>
            <a:pathLst>
              <a:path w="4343" h="4215">
                <a:moveTo>
                  <a:pt x="3325" y="2100"/>
                </a:moveTo>
                <a:lnTo>
                  <a:pt x="3325" y="1225"/>
                </a:lnTo>
                <a:cubicBezTo>
                  <a:pt x="3325" y="1209"/>
                  <a:pt x="3309" y="1177"/>
                  <a:pt x="3293" y="1161"/>
                </a:cubicBezTo>
                <a:lnTo>
                  <a:pt x="2148" y="32"/>
                </a:lnTo>
                <a:cubicBezTo>
                  <a:pt x="2132" y="16"/>
                  <a:pt x="2100" y="0"/>
                  <a:pt x="2084" y="0"/>
                </a:cubicBezTo>
                <a:lnTo>
                  <a:pt x="64" y="0"/>
                </a:lnTo>
                <a:cubicBezTo>
                  <a:pt x="32" y="0"/>
                  <a:pt x="0" y="32"/>
                  <a:pt x="0" y="80"/>
                </a:cubicBezTo>
                <a:lnTo>
                  <a:pt x="0" y="4136"/>
                </a:lnTo>
                <a:cubicBezTo>
                  <a:pt x="0" y="4184"/>
                  <a:pt x="32" y="4215"/>
                  <a:pt x="64" y="4215"/>
                </a:cubicBezTo>
                <a:lnTo>
                  <a:pt x="3245" y="4215"/>
                </a:lnTo>
                <a:cubicBezTo>
                  <a:pt x="3293" y="4215"/>
                  <a:pt x="3325" y="4184"/>
                  <a:pt x="3325" y="4136"/>
                </a:cubicBezTo>
                <a:lnTo>
                  <a:pt x="3325" y="3658"/>
                </a:lnTo>
                <a:lnTo>
                  <a:pt x="4088" y="3658"/>
                </a:lnTo>
                <a:cubicBezTo>
                  <a:pt x="4231" y="3658"/>
                  <a:pt x="4343" y="3531"/>
                  <a:pt x="4343" y="3404"/>
                </a:cubicBezTo>
                <a:lnTo>
                  <a:pt x="4343" y="2354"/>
                </a:lnTo>
                <a:cubicBezTo>
                  <a:pt x="4343" y="2211"/>
                  <a:pt x="4231" y="2100"/>
                  <a:pt x="4088" y="2100"/>
                </a:cubicBezTo>
                <a:close/>
                <a:moveTo>
                  <a:pt x="2211" y="319"/>
                </a:moveTo>
                <a:lnTo>
                  <a:pt x="3038" y="1130"/>
                </a:lnTo>
                <a:lnTo>
                  <a:pt x="2211" y="1130"/>
                </a:lnTo>
                <a:close/>
                <a:moveTo>
                  <a:pt x="3166" y="4056"/>
                </a:moveTo>
                <a:lnTo>
                  <a:pt x="144" y="4056"/>
                </a:lnTo>
                <a:lnTo>
                  <a:pt x="144" y="159"/>
                </a:lnTo>
                <a:lnTo>
                  <a:pt x="2053" y="159"/>
                </a:lnTo>
                <a:lnTo>
                  <a:pt x="2053" y="1209"/>
                </a:lnTo>
                <a:cubicBezTo>
                  <a:pt x="2053" y="1257"/>
                  <a:pt x="2084" y="1289"/>
                  <a:pt x="2132" y="1289"/>
                </a:cubicBezTo>
                <a:lnTo>
                  <a:pt x="3166" y="1289"/>
                </a:lnTo>
                <a:lnTo>
                  <a:pt x="3166" y="2100"/>
                </a:lnTo>
                <a:lnTo>
                  <a:pt x="1464" y="2100"/>
                </a:lnTo>
                <a:cubicBezTo>
                  <a:pt x="1321" y="2100"/>
                  <a:pt x="1209" y="2211"/>
                  <a:pt x="1209" y="2354"/>
                </a:cubicBezTo>
                <a:lnTo>
                  <a:pt x="1209" y="3404"/>
                </a:lnTo>
                <a:cubicBezTo>
                  <a:pt x="1209" y="3531"/>
                  <a:pt x="1321" y="3658"/>
                  <a:pt x="1464" y="3658"/>
                </a:cubicBezTo>
                <a:lnTo>
                  <a:pt x="3166" y="3658"/>
                </a:lnTo>
                <a:close/>
                <a:moveTo>
                  <a:pt x="4184" y="2354"/>
                </a:moveTo>
                <a:lnTo>
                  <a:pt x="4184" y="3404"/>
                </a:lnTo>
                <a:cubicBezTo>
                  <a:pt x="4184" y="3452"/>
                  <a:pt x="4136" y="3500"/>
                  <a:pt x="4088" y="3500"/>
                </a:cubicBezTo>
                <a:lnTo>
                  <a:pt x="1464" y="3500"/>
                </a:lnTo>
                <a:cubicBezTo>
                  <a:pt x="1416" y="3500"/>
                  <a:pt x="1368" y="3452"/>
                  <a:pt x="1368" y="3404"/>
                </a:cubicBezTo>
                <a:lnTo>
                  <a:pt x="1368" y="2354"/>
                </a:lnTo>
                <a:cubicBezTo>
                  <a:pt x="1368" y="2291"/>
                  <a:pt x="1416" y="2259"/>
                  <a:pt x="1464" y="2259"/>
                </a:cubicBezTo>
                <a:lnTo>
                  <a:pt x="4088" y="2259"/>
                </a:lnTo>
                <a:cubicBezTo>
                  <a:pt x="4136" y="2259"/>
                  <a:pt x="4184" y="2291"/>
                  <a:pt x="4184" y="2354"/>
                </a:cubicBezTo>
                <a:close/>
                <a:moveTo>
                  <a:pt x="2450" y="2593"/>
                </a:moveTo>
                <a:lnTo>
                  <a:pt x="2354" y="2545"/>
                </a:lnTo>
                <a:cubicBezTo>
                  <a:pt x="2323" y="2529"/>
                  <a:pt x="2275" y="2529"/>
                  <a:pt x="2227" y="2529"/>
                </a:cubicBezTo>
                <a:lnTo>
                  <a:pt x="2020" y="2529"/>
                </a:lnTo>
                <a:cubicBezTo>
                  <a:pt x="2005" y="2529"/>
                  <a:pt x="1989" y="2545"/>
                  <a:pt x="1989" y="2561"/>
                </a:cubicBezTo>
                <a:lnTo>
                  <a:pt x="1989" y="3197"/>
                </a:lnTo>
                <a:cubicBezTo>
                  <a:pt x="1989" y="3213"/>
                  <a:pt x="2005" y="3229"/>
                  <a:pt x="2020" y="3229"/>
                </a:cubicBezTo>
                <a:lnTo>
                  <a:pt x="2100" y="3229"/>
                </a:lnTo>
                <a:cubicBezTo>
                  <a:pt x="2116" y="3229"/>
                  <a:pt x="2132" y="3213"/>
                  <a:pt x="2132" y="3197"/>
                </a:cubicBezTo>
                <a:lnTo>
                  <a:pt x="2132" y="2975"/>
                </a:lnTo>
                <a:lnTo>
                  <a:pt x="2227" y="2975"/>
                </a:lnTo>
                <a:cubicBezTo>
                  <a:pt x="2275" y="2975"/>
                  <a:pt x="2323" y="2975"/>
                  <a:pt x="2354" y="2958"/>
                </a:cubicBezTo>
                <a:cubicBezTo>
                  <a:pt x="2386" y="2943"/>
                  <a:pt x="2418" y="2927"/>
                  <a:pt x="2434" y="2911"/>
                </a:cubicBezTo>
                <a:cubicBezTo>
                  <a:pt x="2466" y="2895"/>
                  <a:pt x="2482" y="2863"/>
                  <a:pt x="2482" y="2831"/>
                </a:cubicBezTo>
                <a:cubicBezTo>
                  <a:pt x="2498" y="2800"/>
                  <a:pt x="2498" y="2784"/>
                  <a:pt x="2498" y="2752"/>
                </a:cubicBezTo>
                <a:cubicBezTo>
                  <a:pt x="2498" y="2720"/>
                  <a:pt x="2498" y="2688"/>
                  <a:pt x="2482" y="2672"/>
                </a:cubicBezTo>
                <a:cubicBezTo>
                  <a:pt x="2482" y="2640"/>
                  <a:pt x="2466" y="2609"/>
                  <a:pt x="2450" y="2593"/>
                </a:cubicBezTo>
                <a:close/>
                <a:moveTo>
                  <a:pt x="2132" y="2657"/>
                </a:moveTo>
                <a:lnTo>
                  <a:pt x="2227" y="2657"/>
                </a:lnTo>
                <a:cubicBezTo>
                  <a:pt x="2259" y="2657"/>
                  <a:pt x="2275" y="2657"/>
                  <a:pt x="2291" y="2672"/>
                </a:cubicBezTo>
                <a:cubicBezTo>
                  <a:pt x="2307" y="2672"/>
                  <a:pt x="2323" y="2672"/>
                  <a:pt x="2339" y="2688"/>
                </a:cubicBezTo>
                <a:cubicBezTo>
                  <a:pt x="2344" y="2693"/>
                  <a:pt x="2354" y="2688"/>
                  <a:pt x="2354" y="2704"/>
                </a:cubicBezTo>
                <a:lnTo>
                  <a:pt x="2354" y="2752"/>
                </a:lnTo>
                <a:lnTo>
                  <a:pt x="2354" y="2800"/>
                </a:lnTo>
                <a:lnTo>
                  <a:pt x="2339" y="2815"/>
                </a:lnTo>
                <a:cubicBezTo>
                  <a:pt x="2323" y="2831"/>
                  <a:pt x="2307" y="2831"/>
                  <a:pt x="2307" y="2848"/>
                </a:cubicBezTo>
                <a:lnTo>
                  <a:pt x="2227" y="2848"/>
                </a:lnTo>
                <a:lnTo>
                  <a:pt x="2132" y="2848"/>
                </a:lnTo>
                <a:close/>
                <a:moveTo>
                  <a:pt x="3007" y="2593"/>
                </a:moveTo>
                <a:cubicBezTo>
                  <a:pt x="2975" y="2577"/>
                  <a:pt x="2959" y="2561"/>
                  <a:pt x="2911" y="2545"/>
                </a:cubicBezTo>
                <a:cubicBezTo>
                  <a:pt x="2880" y="2529"/>
                  <a:pt x="2848" y="2529"/>
                  <a:pt x="2784" y="2529"/>
                </a:cubicBezTo>
                <a:lnTo>
                  <a:pt x="2577" y="2529"/>
                </a:lnTo>
                <a:cubicBezTo>
                  <a:pt x="2561" y="2529"/>
                  <a:pt x="2545" y="2545"/>
                  <a:pt x="2545" y="2561"/>
                </a:cubicBezTo>
                <a:lnTo>
                  <a:pt x="2545" y="3197"/>
                </a:lnTo>
                <a:cubicBezTo>
                  <a:pt x="2545" y="3213"/>
                  <a:pt x="2561" y="3229"/>
                  <a:pt x="2577" y="3229"/>
                </a:cubicBezTo>
                <a:lnTo>
                  <a:pt x="2657" y="3229"/>
                </a:lnTo>
                <a:cubicBezTo>
                  <a:pt x="2672" y="3229"/>
                  <a:pt x="2689" y="3213"/>
                  <a:pt x="2689" y="3197"/>
                </a:cubicBezTo>
                <a:lnTo>
                  <a:pt x="2689" y="2975"/>
                </a:lnTo>
                <a:lnTo>
                  <a:pt x="2784" y="2975"/>
                </a:lnTo>
                <a:cubicBezTo>
                  <a:pt x="2848" y="2975"/>
                  <a:pt x="2880" y="2975"/>
                  <a:pt x="2911" y="2958"/>
                </a:cubicBezTo>
                <a:cubicBezTo>
                  <a:pt x="2959" y="2943"/>
                  <a:pt x="2975" y="2927"/>
                  <a:pt x="3007" y="2911"/>
                </a:cubicBezTo>
                <a:cubicBezTo>
                  <a:pt x="3023" y="2895"/>
                  <a:pt x="3038" y="2863"/>
                  <a:pt x="3038" y="2831"/>
                </a:cubicBezTo>
                <a:cubicBezTo>
                  <a:pt x="3054" y="2800"/>
                  <a:pt x="3054" y="2784"/>
                  <a:pt x="3054" y="2752"/>
                </a:cubicBezTo>
                <a:cubicBezTo>
                  <a:pt x="3054" y="2720"/>
                  <a:pt x="3054" y="2688"/>
                  <a:pt x="3038" y="2672"/>
                </a:cubicBezTo>
                <a:cubicBezTo>
                  <a:pt x="3038" y="2640"/>
                  <a:pt x="3023" y="2609"/>
                  <a:pt x="3007" y="2593"/>
                </a:cubicBezTo>
                <a:close/>
                <a:moveTo>
                  <a:pt x="2689" y="2657"/>
                </a:moveTo>
                <a:lnTo>
                  <a:pt x="2784" y="2657"/>
                </a:lnTo>
                <a:cubicBezTo>
                  <a:pt x="2816" y="2657"/>
                  <a:pt x="2848" y="2657"/>
                  <a:pt x="2863" y="2672"/>
                </a:cubicBezTo>
                <a:cubicBezTo>
                  <a:pt x="2880" y="2672"/>
                  <a:pt x="2880" y="2672"/>
                  <a:pt x="2895" y="2688"/>
                </a:cubicBezTo>
                <a:cubicBezTo>
                  <a:pt x="2900" y="2693"/>
                  <a:pt x="2911" y="2688"/>
                  <a:pt x="2911" y="2704"/>
                </a:cubicBezTo>
                <a:lnTo>
                  <a:pt x="2911" y="2752"/>
                </a:lnTo>
                <a:lnTo>
                  <a:pt x="2911" y="2800"/>
                </a:lnTo>
                <a:lnTo>
                  <a:pt x="2895" y="2815"/>
                </a:lnTo>
                <a:cubicBezTo>
                  <a:pt x="2880" y="2831"/>
                  <a:pt x="2880" y="2831"/>
                  <a:pt x="2863" y="2848"/>
                </a:cubicBezTo>
                <a:lnTo>
                  <a:pt x="2784" y="2848"/>
                </a:lnTo>
                <a:lnTo>
                  <a:pt x="2689" y="2848"/>
                </a:lnTo>
                <a:close/>
                <a:moveTo>
                  <a:pt x="3579" y="2529"/>
                </a:moveTo>
                <a:lnTo>
                  <a:pt x="3086" y="2529"/>
                </a:lnTo>
                <a:cubicBezTo>
                  <a:pt x="3070" y="2529"/>
                  <a:pt x="3054" y="2545"/>
                  <a:pt x="3054" y="2561"/>
                </a:cubicBezTo>
                <a:lnTo>
                  <a:pt x="3054" y="2625"/>
                </a:lnTo>
                <a:cubicBezTo>
                  <a:pt x="3054" y="2657"/>
                  <a:pt x="3070" y="2657"/>
                  <a:pt x="3086" y="2657"/>
                </a:cubicBezTo>
                <a:lnTo>
                  <a:pt x="3261" y="2657"/>
                </a:lnTo>
                <a:lnTo>
                  <a:pt x="3261" y="3197"/>
                </a:lnTo>
                <a:cubicBezTo>
                  <a:pt x="3261" y="3213"/>
                  <a:pt x="3277" y="3229"/>
                  <a:pt x="3293" y="3229"/>
                </a:cubicBezTo>
                <a:lnTo>
                  <a:pt x="3372" y="3229"/>
                </a:lnTo>
                <a:cubicBezTo>
                  <a:pt x="3389" y="3229"/>
                  <a:pt x="3404" y="3213"/>
                  <a:pt x="3404" y="3197"/>
                </a:cubicBezTo>
                <a:lnTo>
                  <a:pt x="3404" y="2657"/>
                </a:lnTo>
                <a:lnTo>
                  <a:pt x="3579" y="2657"/>
                </a:lnTo>
                <a:cubicBezTo>
                  <a:pt x="3611" y="2657"/>
                  <a:pt x="3611" y="2657"/>
                  <a:pt x="3611" y="2625"/>
                </a:cubicBezTo>
                <a:lnTo>
                  <a:pt x="3611" y="2561"/>
                </a:lnTo>
                <a:cubicBezTo>
                  <a:pt x="3611" y="2545"/>
                  <a:pt x="3611" y="2529"/>
                  <a:pt x="3579" y="252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1" name="TextBox 100">
            <a:extLst>
              <a:ext uri="{FF2B5EF4-FFF2-40B4-BE49-F238E27FC236}">
                <a16:creationId xmlns:a16="http://schemas.microsoft.com/office/drawing/2014/main" id="{16444C49-14A8-094D-86A2-5F894D5AA400}"/>
              </a:ext>
            </a:extLst>
          </p:cNvPr>
          <p:cNvSpPr txBox="1"/>
          <p:nvPr/>
        </p:nvSpPr>
        <p:spPr>
          <a:xfrm>
            <a:off x="16991418" y="8444596"/>
            <a:ext cx="2465738"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JPG</a:t>
            </a:r>
          </a:p>
        </p:txBody>
      </p:sp>
      <p:sp>
        <p:nvSpPr>
          <p:cNvPr id="102" name="TextBox 101">
            <a:extLst>
              <a:ext uri="{FF2B5EF4-FFF2-40B4-BE49-F238E27FC236}">
                <a16:creationId xmlns:a16="http://schemas.microsoft.com/office/drawing/2014/main" id="{D6979C26-62F1-244D-A732-BDA0FD165C74}"/>
              </a:ext>
            </a:extLst>
          </p:cNvPr>
          <p:cNvSpPr txBox="1"/>
          <p:nvPr/>
        </p:nvSpPr>
        <p:spPr>
          <a:xfrm>
            <a:off x="9295916" y="8444596"/>
            <a:ext cx="243317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TXT</a:t>
            </a:r>
          </a:p>
        </p:txBody>
      </p:sp>
      <p:sp>
        <p:nvSpPr>
          <p:cNvPr id="103" name="Freeform: Shape 12">
            <a:extLst>
              <a:ext uri="{FF2B5EF4-FFF2-40B4-BE49-F238E27FC236}">
                <a16:creationId xmlns:a16="http://schemas.microsoft.com/office/drawing/2014/main" id="{26882AB5-0242-A64D-981D-28D46ADD2ECA}"/>
              </a:ext>
            </a:extLst>
          </p:cNvPr>
          <p:cNvSpPr/>
          <p:nvPr/>
        </p:nvSpPr>
        <p:spPr>
          <a:xfrm>
            <a:off x="17610869" y="6472174"/>
            <a:ext cx="1568519" cy="1517039"/>
          </a:xfrm>
          <a:custGeom>
            <a:avLst/>
            <a:gdLst/>
            <a:ahLst/>
            <a:cxnLst>
              <a:cxn ang="3cd4">
                <a:pos x="hc" y="t"/>
              </a:cxn>
              <a:cxn ang="cd2">
                <a:pos x="l" y="vc"/>
              </a:cxn>
              <a:cxn ang="cd4">
                <a:pos x="hc" y="b"/>
              </a:cxn>
              <a:cxn ang="0">
                <a:pos x="r" y="vc"/>
              </a:cxn>
            </a:cxnLst>
            <a:rect l="l" t="t" r="r" b="b"/>
            <a:pathLst>
              <a:path w="4358" h="4215">
                <a:moveTo>
                  <a:pt x="79" y="4215"/>
                </a:moveTo>
                <a:lnTo>
                  <a:pt x="3245" y="4215"/>
                </a:lnTo>
                <a:cubicBezTo>
                  <a:pt x="3292" y="4215"/>
                  <a:pt x="3324" y="4183"/>
                  <a:pt x="3324" y="4135"/>
                </a:cubicBezTo>
                <a:lnTo>
                  <a:pt x="3324" y="3658"/>
                </a:lnTo>
                <a:lnTo>
                  <a:pt x="4103" y="3658"/>
                </a:lnTo>
                <a:cubicBezTo>
                  <a:pt x="4246" y="3658"/>
                  <a:pt x="4358" y="3547"/>
                  <a:pt x="4358" y="3404"/>
                </a:cubicBezTo>
                <a:lnTo>
                  <a:pt x="4358" y="2354"/>
                </a:lnTo>
                <a:cubicBezTo>
                  <a:pt x="4358" y="2211"/>
                  <a:pt x="4246" y="2099"/>
                  <a:pt x="4103" y="2099"/>
                </a:cubicBezTo>
                <a:lnTo>
                  <a:pt x="3324" y="2099"/>
                </a:lnTo>
                <a:lnTo>
                  <a:pt x="3324" y="1225"/>
                </a:lnTo>
                <a:cubicBezTo>
                  <a:pt x="3324" y="1209"/>
                  <a:pt x="3324" y="1177"/>
                  <a:pt x="3308" y="1177"/>
                </a:cubicBezTo>
                <a:lnTo>
                  <a:pt x="2147" y="32"/>
                </a:lnTo>
                <a:cubicBezTo>
                  <a:pt x="2131" y="16"/>
                  <a:pt x="2115" y="0"/>
                  <a:pt x="2099" y="0"/>
                </a:cubicBezTo>
                <a:lnTo>
                  <a:pt x="79" y="0"/>
                </a:lnTo>
                <a:cubicBezTo>
                  <a:pt x="32" y="0"/>
                  <a:pt x="0" y="32"/>
                  <a:pt x="0" y="80"/>
                </a:cubicBezTo>
                <a:lnTo>
                  <a:pt x="0" y="4135"/>
                </a:lnTo>
                <a:cubicBezTo>
                  <a:pt x="0" y="4183"/>
                  <a:pt x="32" y="4215"/>
                  <a:pt x="79" y="4215"/>
                </a:cubicBezTo>
                <a:close/>
                <a:moveTo>
                  <a:pt x="4199" y="2354"/>
                </a:moveTo>
                <a:lnTo>
                  <a:pt x="4199" y="3404"/>
                </a:lnTo>
                <a:cubicBezTo>
                  <a:pt x="4199" y="3452"/>
                  <a:pt x="4151" y="3499"/>
                  <a:pt x="4103" y="3499"/>
                </a:cubicBezTo>
                <a:lnTo>
                  <a:pt x="1479" y="3499"/>
                </a:lnTo>
                <a:cubicBezTo>
                  <a:pt x="1415" y="3499"/>
                  <a:pt x="1383" y="3452"/>
                  <a:pt x="1383" y="3404"/>
                </a:cubicBezTo>
                <a:lnTo>
                  <a:pt x="1383" y="2354"/>
                </a:lnTo>
                <a:cubicBezTo>
                  <a:pt x="1383" y="2306"/>
                  <a:pt x="1415" y="2259"/>
                  <a:pt x="1479" y="2259"/>
                </a:cubicBezTo>
                <a:lnTo>
                  <a:pt x="4103" y="2259"/>
                </a:lnTo>
                <a:cubicBezTo>
                  <a:pt x="4151" y="2259"/>
                  <a:pt x="4199" y="2306"/>
                  <a:pt x="4199" y="2354"/>
                </a:cubicBezTo>
                <a:close/>
                <a:moveTo>
                  <a:pt x="2227" y="318"/>
                </a:moveTo>
                <a:lnTo>
                  <a:pt x="3037" y="1129"/>
                </a:lnTo>
                <a:lnTo>
                  <a:pt x="2227" y="1129"/>
                </a:lnTo>
                <a:close/>
                <a:moveTo>
                  <a:pt x="159" y="159"/>
                </a:moveTo>
                <a:lnTo>
                  <a:pt x="2067" y="159"/>
                </a:lnTo>
                <a:lnTo>
                  <a:pt x="2067" y="1209"/>
                </a:lnTo>
                <a:cubicBezTo>
                  <a:pt x="2067" y="1256"/>
                  <a:pt x="2099" y="1288"/>
                  <a:pt x="2147" y="1288"/>
                </a:cubicBezTo>
                <a:lnTo>
                  <a:pt x="3181" y="1288"/>
                </a:lnTo>
                <a:lnTo>
                  <a:pt x="3181" y="2099"/>
                </a:lnTo>
                <a:lnTo>
                  <a:pt x="1479" y="2099"/>
                </a:lnTo>
                <a:cubicBezTo>
                  <a:pt x="1336" y="2099"/>
                  <a:pt x="1225" y="2211"/>
                  <a:pt x="1225" y="2354"/>
                </a:cubicBezTo>
                <a:lnTo>
                  <a:pt x="1225" y="3404"/>
                </a:lnTo>
                <a:cubicBezTo>
                  <a:pt x="1225" y="3547"/>
                  <a:pt x="1336" y="3658"/>
                  <a:pt x="1479" y="3658"/>
                </a:cubicBezTo>
                <a:lnTo>
                  <a:pt x="3181" y="3658"/>
                </a:lnTo>
                <a:lnTo>
                  <a:pt x="3181" y="4056"/>
                </a:lnTo>
                <a:lnTo>
                  <a:pt x="159" y="4056"/>
                </a:lnTo>
                <a:close/>
                <a:moveTo>
                  <a:pt x="2386" y="2529"/>
                </a:moveTo>
                <a:lnTo>
                  <a:pt x="2306" y="2529"/>
                </a:lnTo>
                <a:cubicBezTo>
                  <a:pt x="2290" y="2529"/>
                  <a:pt x="2274" y="2545"/>
                  <a:pt x="2274" y="2561"/>
                </a:cubicBezTo>
                <a:lnTo>
                  <a:pt x="2274" y="2974"/>
                </a:lnTo>
                <a:cubicBezTo>
                  <a:pt x="2274" y="3022"/>
                  <a:pt x="2274" y="3054"/>
                  <a:pt x="2258" y="3086"/>
                </a:cubicBezTo>
                <a:cubicBezTo>
                  <a:pt x="2243" y="3101"/>
                  <a:pt x="2210" y="3117"/>
                  <a:pt x="2179" y="3117"/>
                </a:cubicBezTo>
                <a:cubicBezTo>
                  <a:pt x="2147" y="3117"/>
                  <a:pt x="2131" y="3101"/>
                  <a:pt x="2115" y="3101"/>
                </a:cubicBezTo>
                <a:cubicBezTo>
                  <a:pt x="2104" y="3096"/>
                  <a:pt x="2099" y="3086"/>
                  <a:pt x="2083" y="3086"/>
                </a:cubicBezTo>
                <a:cubicBezTo>
                  <a:pt x="2083" y="3070"/>
                  <a:pt x="2083" y="3070"/>
                  <a:pt x="2067" y="3054"/>
                </a:cubicBezTo>
                <a:lnTo>
                  <a:pt x="2067" y="3006"/>
                </a:lnTo>
                <a:cubicBezTo>
                  <a:pt x="2052" y="2990"/>
                  <a:pt x="2052" y="2974"/>
                  <a:pt x="2036" y="2974"/>
                </a:cubicBezTo>
                <a:lnTo>
                  <a:pt x="1940" y="2974"/>
                </a:lnTo>
                <a:cubicBezTo>
                  <a:pt x="1935" y="2979"/>
                  <a:pt x="1924" y="2974"/>
                  <a:pt x="1924" y="2990"/>
                </a:cubicBezTo>
                <a:lnTo>
                  <a:pt x="1924" y="3006"/>
                </a:lnTo>
                <a:cubicBezTo>
                  <a:pt x="1924" y="3086"/>
                  <a:pt x="1956" y="3149"/>
                  <a:pt x="2004" y="3181"/>
                </a:cubicBezTo>
                <a:cubicBezTo>
                  <a:pt x="2036" y="3229"/>
                  <a:pt x="2099" y="3244"/>
                  <a:pt x="2179" y="3244"/>
                </a:cubicBezTo>
                <a:cubicBezTo>
                  <a:pt x="2258" y="3244"/>
                  <a:pt x="2306" y="3229"/>
                  <a:pt x="2354" y="3181"/>
                </a:cubicBezTo>
                <a:cubicBezTo>
                  <a:pt x="2401" y="3133"/>
                  <a:pt x="2418" y="3070"/>
                  <a:pt x="2418" y="2990"/>
                </a:cubicBezTo>
                <a:lnTo>
                  <a:pt x="2418" y="2561"/>
                </a:lnTo>
                <a:cubicBezTo>
                  <a:pt x="2418" y="2545"/>
                  <a:pt x="2418" y="2529"/>
                  <a:pt x="2386" y="2529"/>
                </a:cubicBezTo>
                <a:close/>
                <a:moveTo>
                  <a:pt x="2958" y="2592"/>
                </a:moveTo>
                <a:cubicBezTo>
                  <a:pt x="2927" y="2577"/>
                  <a:pt x="2894" y="2561"/>
                  <a:pt x="2863" y="2545"/>
                </a:cubicBezTo>
                <a:cubicBezTo>
                  <a:pt x="2831" y="2529"/>
                  <a:pt x="2783" y="2529"/>
                  <a:pt x="2736" y="2529"/>
                </a:cubicBezTo>
                <a:lnTo>
                  <a:pt x="2529" y="2529"/>
                </a:lnTo>
                <a:cubicBezTo>
                  <a:pt x="2513" y="2529"/>
                  <a:pt x="2497" y="2545"/>
                  <a:pt x="2497" y="2561"/>
                </a:cubicBezTo>
                <a:lnTo>
                  <a:pt x="2497" y="3197"/>
                </a:lnTo>
                <a:cubicBezTo>
                  <a:pt x="2497" y="3213"/>
                  <a:pt x="2513" y="3229"/>
                  <a:pt x="2529" y="3229"/>
                </a:cubicBezTo>
                <a:lnTo>
                  <a:pt x="2608" y="3229"/>
                </a:lnTo>
                <a:cubicBezTo>
                  <a:pt x="2624" y="3229"/>
                  <a:pt x="2640" y="3213"/>
                  <a:pt x="2640" y="3197"/>
                </a:cubicBezTo>
                <a:lnTo>
                  <a:pt x="2640" y="2974"/>
                </a:lnTo>
                <a:lnTo>
                  <a:pt x="2736" y="2974"/>
                </a:lnTo>
                <a:cubicBezTo>
                  <a:pt x="2783" y="2974"/>
                  <a:pt x="2831" y="2974"/>
                  <a:pt x="2863" y="2958"/>
                </a:cubicBezTo>
                <a:cubicBezTo>
                  <a:pt x="2894" y="2958"/>
                  <a:pt x="2927" y="2926"/>
                  <a:pt x="2958" y="2910"/>
                </a:cubicBezTo>
                <a:cubicBezTo>
                  <a:pt x="2974" y="2895"/>
                  <a:pt x="2990" y="2863"/>
                  <a:pt x="2990" y="2831"/>
                </a:cubicBezTo>
                <a:cubicBezTo>
                  <a:pt x="3006" y="2815"/>
                  <a:pt x="3006" y="2783"/>
                  <a:pt x="3006" y="2752"/>
                </a:cubicBezTo>
                <a:cubicBezTo>
                  <a:pt x="3006" y="2720"/>
                  <a:pt x="3006" y="2688"/>
                  <a:pt x="2990" y="2672"/>
                </a:cubicBezTo>
                <a:cubicBezTo>
                  <a:pt x="2990" y="2640"/>
                  <a:pt x="2974" y="2608"/>
                  <a:pt x="2958" y="2592"/>
                </a:cubicBezTo>
                <a:close/>
                <a:moveTo>
                  <a:pt x="2640" y="2656"/>
                </a:moveTo>
                <a:lnTo>
                  <a:pt x="2736" y="2656"/>
                </a:lnTo>
                <a:cubicBezTo>
                  <a:pt x="2767" y="2656"/>
                  <a:pt x="2783" y="2656"/>
                  <a:pt x="2815" y="2672"/>
                </a:cubicBezTo>
                <a:cubicBezTo>
                  <a:pt x="2826" y="2677"/>
                  <a:pt x="2831" y="2672"/>
                  <a:pt x="2847" y="2688"/>
                </a:cubicBezTo>
                <a:lnTo>
                  <a:pt x="2863" y="2704"/>
                </a:lnTo>
                <a:lnTo>
                  <a:pt x="2863" y="2752"/>
                </a:lnTo>
                <a:lnTo>
                  <a:pt x="2863" y="2799"/>
                </a:lnTo>
                <a:cubicBezTo>
                  <a:pt x="2863" y="2815"/>
                  <a:pt x="2847" y="2815"/>
                  <a:pt x="2847" y="2831"/>
                </a:cubicBezTo>
                <a:cubicBezTo>
                  <a:pt x="2831" y="2831"/>
                  <a:pt x="2831" y="2831"/>
                  <a:pt x="2815" y="2847"/>
                </a:cubicBezTo>
                <a:lnTo>
                  <a:pt x="2736" y="2847"/>
                </a:lnTo>
                <a:lnTo>
                  <a:pt x="2640" y="2847"/>
                </a:lnTo>
                <a:close/>
                <a:moveTo>
                  <a:pt x="3117" y="2608"/>
                </a:moveTo>
                <a:cubicBezTo>
                  <a:pt x="3085" y="2640"/>
                  <a:pt x="3070" y="2688"/>
                  <a:pt x="3054" y="2720"/>
                </a:cubicBezTo>
                <a:cubicBezTo>
                  <a:pt x="3037" y="2767"/>
                  <a:pt x="3022" y="2815"/>
                  <a:pt x="3022" y="2879"/>
                </a:cubicBezTo>
                <a:cubicBezTo>
                  <a:pt x="3022" y="2943"/>
                  <a:pt x="3037" y="2990"/>
                  <a:pt x="3054" y="3022"/>
                </a:cubicBezTo>
                <a:cubicBezTo>
                  <a:pt x="3054" y="3070"/>
                  <a:pt x="3085" y="3117"/>
                  <a:pt x="3117" y="3149"/>
                </a:cubicBezTo>
                <a:cubicBezTo>
                  <a:pt x="3133" y="3181"/>
                  <a:pt x="3181" y="3197"/>
                  <a:pt x="3213" y="3213"/>
                </a:cubicBezTo>
                <a:cubicBezTo>
                  <a:pt x="3260" y="3229"/>
                  <a:pt x="3292" y="3244"/>
                  <a:pt x="3356" y="3244"/>
                </a:cubicBezTo>
                <a:lnTo>
                  <a:pt x="3419" y="3244"/>
                </a:lnTo>
                <a:cubicBezTo>
                  <a:pt x="3451" y="3229"/>
                  <a:pt x="3467" y="3229"/>
                  <a:pt x="3499" y="3213"/>
                </a:cubicBezTo>
                <a:cubicBezTo>
                  <a:pt x="3515" y="3213"/>
                  <a:pt x="3531" y="3197"/>
                  <a:pt x="3563" y="3197"/>
                </a:cubicBezTo>
                <a:cubicBezTo>
                  <a:pt x="3579" y="3181"/>
                  <a:pt x="3594" y="3165"/>
                  <a:pt x="3610" y="3149"/>
                </a:cubicBezTo>
                <a:cubicBezTo>
                  <a:pt x="3626" y="3149"/>
                  <a:pt x="3621" y="3138"/>
                  <a:pt x="3626" y="3133"/>
                </a:cubicBezTo>
                <a:lnTo>
                  <a:pt x="3626" y="2863"/>
                </a:lnTo>
                <a:cubicBezTo>
                  <a:pt x="3626" y="2847"/>
                  <a:pt x="3610" y="2847"/>
                  <a:pt x="3594" y="2847"/>
                </a:cubicBezTo>
                <a:lnTo>
                  <a:pt x="3356" y="2847"/>
                </a:lnTo>
                <a:cubicBezTo>
                  <a:pt x="3340" y="2847"/>
                  <a:pt x="3324" y="2847"/>
                  <a:pt x="3324" y="2863"/>
                </a:cubicBezTo>
                <a:lnTo>
                  <a:pt x="3324" y="2943"/>
                </a:lnTo>
                <a:cubicBezTo>
                  <a:pt x="3324" y="2958"/>
                  <a:pt x="3340" y="2974"/>
                  <a:pt x="3356" y="2974"/>
                </a:cubicBezTo>
                <a:lnTo>
                  <a:pt x="3483" y="2974"/>
                </a:lnTo>
                <a:lnTo>
                  <a:pt x="3483" y="3086"/>
                </a:lnTo>
                <a:cubicBezTo>
                  <a:pt x="3467" y="3086"/>
                  <a:pt x="3451" y="3101"/>
                  <a:pt x="3436" y="3101"/>
                </a:cubicBezTo>
                <a:cubicBezTo>
                  <a:pt x="3403" y="3101"/>
                  <a:pt x="3388" y="3117"/>
                  <a:pt x="3356" y="3117"/>
                </a:cubicBezTo>
                <a:cubicBezTo>
                  <a:pt x="3324" y="3117"/>
                  <a:pt x="3292" y="3101"/>
                  <a:pt x="3276" y="3101"/>
                </a:cubicBezTo>
                <a:cubicBezTo>
                  <a:pt x="3245" y="3086"/>
                  <a:pt x="3228" y="3070"/>
                  <a:pt x="3213" y="3054"/>
                </a:cubicBezTo>
                <a:cubicBezTo>
                  <a:pt x="3197" y="3038"/>
                  <a:pt x="3197" y="3006"/>
                  <a:pt x="3181" y="2974"/>
                </a:cubicBezTo>
                <a:cubicBezTo>
                  <a:pt x="3181" y="2943"/>
                  <a:pt x="3165" y="2910"/>
                  <a:pt x="3165" y="2879"/>
                </a:cubicBezTo>
                <a:cubicBezTo>
                  <a:pt x="3165" y="2847"/>
                  <a:pt x="3181" y="2815"/>
                  <a:pt x="3181" y="2783"/>
                </a:cubicBezTo>
                <a:cubicBezTo>
                  <a:pt x="3197" y="2752"/>
                  <a:pt x="3197" y="2720"/>
                  <a:pt x="3213" y="2704"/>
                </a:cubicBezTo>
                <a:cubicBezTo>
                  <a:pt x="3228" y="2688"/>
                  <a:pt x="3245" y="2672"/>
                  <a:pt x="3260" y="2656"/>
                </a:cubicBezTo>
                <a:cubicBezTo>
                  <a:pt x="3292" y="2656"/>
                  <a:pt x="3308" y="2640"/>
                  <a:pt x="3340" y="2640"/>
                </a:cubicBezTo>
                <a:cubicBezTo>
                  <a:pt x="3372" y="2640"/>
                  <a:pt x="3388" y="2640"/>
                  <a:pt x="3403" y="2656"/>
                </a:cubicBezTo>
                <a:cubicBezTo>
                  <a:pt x="3419" y="2656"/>
                  <a:pt x="3419" y="2656"/>
                  <a:pt x="3436" y="2672"/>
                </a:cubicBezTo>
                <a:cubicBezTo>
                  <a:pt x="3436" y="2688"/>
                  <a:pt x="3451" y="2688"/>
                  <a:pt x="3451" y="2704"/>
                </a:cubicBezTo>
                <a:cubicBezTo>
                  <a:pt x="3467" y="2720"/>
                  <a:pt x="3467" y="2735"/>
                  <a:pt x="3467" y="2752"/>
                </a:cubicBezTo>
                <a:cubicBezTo>
                  <a:pt x="3483" y="2767"/>
                  <a:pt x="3499" y="2767"/>
                  <a:pt x="3515" y="2767"/>
                </a:cubicBezTo>
                <a:lnTo>
                  <a:pt x="3594" y="2752"/>
                </a:lnTo>
                <a:cubicBezTo>
                  <a:pt x="3599" y="2746"/>
                  <a:pt x="3610" y="2752"/>
                  <a:pt x="3610" y="2735"/>
                </a:cubicBezTo>
                <a:lnTo>
                  <a:pt x="3610" y="2720"/>
                </a:lnTo>
                <a:cubicBezTo>
                  <a:pt x="3610" y="2688"/>
                  <a:pt x="3594" y="2656"/>
                  <a:pt x="3579" y="2640"/>
                </a:cubicBezTo>
                <a:cubicBezTo>
                  <a:pt x="3563" y="2608"/>
                  <a:pt x="3546" y="2592"/>
                  <a:pt x="3531" y="2577"/>
                </a:cubicBezTo>
                <a:cubicBezTo>
                  <a:pt x="3499" y="2545"/>
                  <a:pt x="3483" y="2545"/>
                  <a:pt x="3451" y="2529"/>
                </a:cubicBezTo>
                <a:cubicBezTo>
                  <a:pt x="3419" y="2513"/>
                  <a:pt x="3388" y="2513"/>
                  <a:pt x="3340" y="2513"/>
                </a:cubicBezTo>
                <a:cubicBezTo>
                  <a:pt x="3292" y="2513"/>
                  <a:pt x="3260" y="2529"/>
                  <a:pt x="3213" y="2545"/>
                </a:cubicBezTo>
                <a:cubicBezTo>
                  <a:pt x="3181" y="2561"/>
                  <a:pt x="3149" y="2577"/>
                  <a:pt x="3117" y="260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4" name="Freeform: Shape 13">
            <a:extLst>
              <a:ext uri="{FF2B5EF4-FFF2-40B4-BE49-F238E27FC236}">
                <a16:creationId xmlns:a16="http://schemas.microsoft.com/office/drawing/2014/main" id="{EC5F1F28-65E7-754C-920E-2A36144D2CD1}"/>
              </a:ext>
            </a:extLst>
          </p:cNvPr>
          <p:cNvSpPr/>
          <p:nvPr/>
        </p:nvSpPr>
        <p:spPr>
          <a:xfrm>
            <a:off x="9975798" y="6472174"/>
            <a:ext cx="1568879" cy="1517039"/>
          </a:xfrm>
          <a:custGeom>
            <a:avLst/>
            <a:gdLst/>
            <a:ahLst/>
            <a:cxnLst>
              <a:cxn ang="3cd4">
                <a:pos x="hc" y="t"/>
              </a:cxn>
              <a:cxn ang="cd2">
                <a:pos x="l" y="vc"/>
              </a:cxn>
              <a:cxn ang="cd4">
                <a:pos x="hc" y="b"/>
              </a:cxn>
              <a:cxn ang="0">
                <a:pos x="r" y="vc"/>
              </a:cxn>
            </a:cxnLst>
            <a:rect l="l" t="t" r="r" b="b"/>
            <a:pathLst>
              <a:path w="4359" h="4215">
                <a:moveTo>
                  <a:pt x="80" y="4215"/>
                </a:moveTo>
                <a:lnTo>
                  <a:pt x="3261" y="4215"/>
                </a:lnTo>
                <a:cubicBezTo>
                  <a:pt x="3293" y="4215"/>
                  <a:pt x="3341" y="4183"/>
                  <a:pt x="3341" y="4135"/>
                </a:cubicBezTo>
                <a:lnTo>
                  <a:pt x="3341" y="3658"/>
                </a:lnTo>
                <a:lnTo>
                  <a:pt x="4104" y="3658"/>
                </a:lnTo>
                <a:cubicBezTo>
                  <a:pt x="4247" y="3658"/>
                  <a:pt x="4359" y="3547"/>
                  <a:pt x="4359" y="3404"/>
                </a:cubicBezTo>
                <a:lnTo>
                  <a:pt x="4359" y="2354"/>
                </a:lnTo>
                <a:cubicBezTo>
                  <a:pt x="4359" y="2211"/>
                  <a:pt x="4247" y="2099"/>
                  <a:pt x="4104" y="2099"/>
                </a:cubicBezTo>
                <a:lnTo>
                  <a:pt x="3341" y="2099"/>
                </a:lnTo>
                <a:lnTo>
                  <a:pt x="3341" y="1225"/>
                </a:lnTo>
                <a:cubicBezTo>
                  <a:pt x="3341" y="1209"/>
                  <a:pt x="3325" y="1177"/>
                  <a:pt x="3309" y="1177"/>
                </a:cubicBezTo>
                <a:lnTo>
                  <a:pt x="2164" y="32"/>
                </a:lnTo>
                <a:cubicBezTo>
                  <a:pt x="2148" y="16"/>
                  <a:pt x="2116" y="0"/>
                  <a:pt x="2100" y="0"/>
                </a:cubicBezTo>
                <a:lnTo>
                  <a:pt x="80" y="0"/>
                </a:lnTo>
                <a:cubicBezTo>
                  <a:pt x="48" y="0"/>
                  <a:pt x="0" y="32"/>
                  <a:pt x="0" y="80"/>
                </a:cubicBezTo>
                <a:lnTo>
                  <a:pt x="0" y="4135"/>
                </a:lnTo>
                <a:cubicBezTo>
                  <a:pt x="0" y="4183"/>
                  <a:pt x="48" y="4215"/>
                  <a:pt x="80" y="4215"/>
                </a:cubicBezTo>
                <a:close/>
                <a:moveTo>
                  <a:pt x="4199" y="2354"/>
                </a:moveTo>
                <a:lnTo>
                  <a:pt x="4199" y="3404"/>
                </a:lnTo>
                <a:cubicBezTo>
                  <a:pt x="4199" y="3452"/>
                  <a:pt x="4152" y="3499"/>
                  <a:pt x="4104" y="3499"/>
                </a:cubicBezTo>
                <a:lnTo>
                  <a:pt x="1480" y="3499"/>
                </a:lnTo>
                <a:cubicBezTo>
                  <a:pt x="1416" y="3499"/>
                  <a:pt x="1384" y="3452"/>
                  <a:pt x="1384" y="3404"/>
                </a:cubicBezTo>
                <a:lnTo>
                  <a:pt x="1384" y="2354"/>
                </a:lnTo>
                <a:cubicBezTo>
                  <a:pt x="1384" y="2306"/>
                  <a:pt x="1416" y="2259"/>
                  <a:pt x="1480" y="2259"/>
                </a:cubicBezTo>
                <a:lnTo>
                  <a:pt x="4104" y="2259"/>
                </a:lnTo>
                <a:cubicBezTo>
                  <a:pt x="4152" y="2259"/>
                  <a:pt x="4199" y="2306"/>
                  <a:pt x="4199" y="2354"/>
                </a:cubicBezTo>
                <a:close/>
                <a:moveTo>
                  <a:pt x="2227" y="318"/>
                </a:moveTo>
                <a:lnTo>
                  <a:pt x="3054" y="1129"/>
                </a:lnTo>
                <a:lnTo>
                  <a:pt x="2227" y="1129"/>
                </a:lnTo>
                <a:close/>
                <a:moveTo>
                  <a:pt x="160" y="159"/>
                </a:moveTo>
                <a:lnTo>
                  <a:pt x="2068" y="159"/>
                </a:lnTo>
                <a:lnTo>
                  <a:pt x="2068" y="1209"/>
                </a:lnTo>
                <a:cubicBezTo>
                  <a:pt x="2068" y="1256"/>
                  <a:pt x="2100" y="1288"/>
                  <a:pt x="2148" y="1288"/>
                </a:cubicBezTo>
                <a:lnTo>
                  <a:pt x="3181" y="1288"/>
                </a:lnTo>
                <a:lnTo>
                  <a:pt x="3181" y="2099"/>
                </a:lnTo>
                <a:lnTo>
                  <a:pt x="1480" y="2099"/>
                </a:lnTo>
                <a:cubicBezTo>
                  <a:pt x="1337" y="2099"/>
                  <a:pt x="1226" y="2211"/>
                  <a:pt x="1226" y="2354"/>
                </a:cubicBezTo>
                <a:lnTo>
                  <a:pt x="1226" y="3404"/>
                </a:lnTo>
                <a:cubicBezTo>
                  <a:pt x="1226" y="3547"/>
                  <a:pt x="1337" y="3658"/>
                  <a:pt x="1480" y="3658"/>
                </a:cubicBezTo>
                <a:lnTo>
                  <a:pt x="3181" y="3658"/>
                </a:lnTo>
                <a:lnTo>
                  <a:pt x="3181" y="4056"/>
                </a:lnTo>
                <a:lnTo>
                  <a:pt x="160" y="4056"/>
                </a:lnTo>
                <a:close/>
                <a:moveTo>
                  <a:pt x="3071" y="2545"/>
                </a:moveTo>
                <a:cubicBezTo>
                  <a:pt x="3071" y="2529"/>
                  <a:pt x="3060" y="2534"/>
                  <a:pt x="3054" y="2529"/>
                </a:cubicBezTo>
                <a:lnTo>
                  <a:pt x="2959" y="2529"/>
                </a:lnTo>
                <a:cubicBezTo>
                  <a:pt x="2943" y="2529"/>
                  <a:pt x="2943" y="2529"/>
                  <a:pt x="2927" y="2545"/>
                </a:cubicBezTo>
                <a:lnTo>
                  <a:pt x="2800" y="2752"/>
                </a:lnTo>
                <a:lnTo>
                  <a:pt x="2657" y="2545"/>
                </a:lnTo>
                <a:cubicBezTo>
                  <a:pt x="2657" y="2529"/>
                  <a:pt x="2646" y="2534"/>
                  <a:pt x="2641" y="2529"/>
                </a:cubicBezTo>
                <a:lnTo>
                  <a:pt x="2545" y="2529"/>
                </a:lnTo>
                <a:cubicBezTo>
                  <a:pt x="2530" y="2529"/>
                  <a:pt x="2514" y="2529"/>
                  <a:pt x="2514" y="2545"/>
                </a:cubicBezTo>
                <a:cubicBezTo>
                  <a:pt x="2503" y="2540"/>
                  <a:pt x="2498" y="2529"/>
                  <a:pt x="2482" y="2529"/>
                </a:cubicBezTo>
                <a:lnTo>
                  <a:pt x="1973" y="2529"/>
                </a:lnTo>
                <a:cubicBezTo>
                  <a:pt x="1957" y="2529"/>
                  <a:pt x="1941" y="2545"/>
                  <a:pt x="1941" y="2561"/>
                </a:cubicBezTo>
                <a:lnTo>
                  <a:pt x="1941" y="2640"/>
                </a:lnTo>
                <a:cubicBezTo>
                  <a:pt x="1941" y="2656"/>
                  <a:pt x="1957" y="2656"/>
                  <a:pt x="1973" y="2656"/>
                </a:cubicBezTo>
                <a:lnTo>
                  <a:pt x="2164" y="2656"/>
                </a:lnTo>
                <a:lnTo>
                  <a:pt x="2164" y="3197"/>
                </a:lnTo>
                <a:cubicBezTo>
                  <a:pt x="2164" y="3213"/>
                  <a:pt x="2164" y="3229"/>
                  <a:pt x="2196" y="3229"/>
                </a:cubicBezTo>
                <a:lnTo>
                  <a:pt x="2275" y="3229"/>
                </a:lnTo>
                <a:cubicBezTo>
                  <a:pt x="2291" y="3229"/>
                  <a:pt x="2307" y="3213"/>
                  <a:pt x="2307" y="3197"/>
                </a:cubicBezTo>
                <a:lnTo>
                  <a:pt x="2307" y="2656"/>
                </a:lnTo>
                <a:lnTo>
                  <a:pt x="2482" y="2656"/>
                </a:lnTo>
                <a:cubicBezTo>
                  <a:pt x="2498" y="2656"/>
                  <a:pt x="2514" y="2656"/>
                  <a:pt x="2514" y="2640"/>
                </a:cubicBezTo>
                <a:lnTo>
                  <a:pt x="2514" y="2577"/>
                </a:lnTo>
                <a:lnTo>
                  <a:pt x="2705" y="2863"/>
                </a:lnTo>
                <a:lnTo>
                  <a:pt x="2498" y="3181"/>
                </a:lnTo>
                <a:cubicBezTo>
                  <a:pt x="2482" y="3197"/>
                  <a:pt x="2482" y="3197"/>
                  <a:pt x="2498" y="3213"/>
                </a:cubicBezTo>
                <a:cubicBezTo>
                  <a:pt x="2498" y="3229"/>
                  <a:pt x="2509" y="3224"/>
                  <a:pt x="2514" y="3229"/>
                </a:cubicBezTo>
                <a:lnTo>
                  <a:pt x="2609" y="3229"/>
                </a:lnTo>
                <a:cubicBezTo>
                  <a:pt x="2625" y="3229"/>
                  <a:pt x="2625" y="3229"/>
                  <a:pt x="2641" y="3213"/>
                </a:cubicBezTo>
                <a:lnTo>
                  <a:pt x="2784" y="2974"/>
                </a:lnTo>
                <a:lnTo>
                  <a:pt x="2943" y="3213"/>
                </a:lnTo>
                <a:cubicBezTo>
                  <a:pt x="2959" y="3229"/>
                  <a:pt x="2959" y="3229"/>
                  <a:pt x="2975" y="3229"/>
                </a:cubicBezTo>
                <a:lnTo>
                  <a:pt x="3071" y="3229"/>
                </a:lnTo>
                <a:cubicBezTo>
                  <a:pt x="3086" y="3229"/>
                  <a:pt x="3086" y="3229"/>
                  <a:pt x="3102" y="3213"/>
                </a:cubicBezTo>
                <a:lnTo>
                  <a:pt x="3102" y="3181"/>
                </a:lnTo>
                <a:lnTo>
                  <a:pt x="2880" y="2863"/>
                </a:lnTo>
                <a:lnTo>
                  <a:pt x="3071" y="2592"/>
                </a:lnTo>
                <a:lnTo>
                  <a:pt x="3071" y="2640"/>
                </a:lnTo>
                <a:cubicBezTo>
                  <a:pt x="3071" y="2656"/>
                  <a:pt x="3086" y="2656"/>
                  <a:pt x="3102" y="2656"/>
                </a:cubicBezTo>
                <a:lnTo>
                  <a:pt x="3277" y="2656"/>
                </a:lnTo>
                <a:lnTo>
                  <a:pt x="3277" y="3197"/>
                </a:lnTo>
                <a:cubicBezTo>
                  <a:pt x="3277" y="3213"/>
                  <a:pt x="3293" y="3229"/>
                  <a:pt x="3309" y="3229"/>
                </a:cubicBezTo>
                <a:lnTo>
                  <a:pt x="3389" y="3229"/>
                </a:lnTo>
                <a:cubicBezTo>
                  <a:pt x="3404" y="3229"/>
                  <a:pt x="3420" y="3213"/>
                  <a:pt x="3420" y="3197"/>
                </a:cubicBezTo>
                <a:lnTo>
                  <a:pt x="3420" y="2656"/>
                </a:lnTo>
                <a:lnTo>
                  <a:pt x="3595" y="2656"/>
                </a:lnTo>
                <a:cubicBezTo>
                  <a:pt x="3611" y="2656"/>
                  <a:pt x="3627" y="2656"/>
                  <a:pt x="3627" y="2640"/>
                </a:cubicBezTo>
                <a:lnTo>
                  <a:pt x="3627" y="2561"/>
                </a:lnTo>
                <a:cubicBezTo>
                  <a:pt x="3627" y="2545"/>
                  <a:pt x="3611" y="2529"/>
                  <a:pt x="3595" y="2529"/>
                </a:cubicBezTo>
                <a:lnTo>
                  <a:pt x="3102" y="2529"/>
                </a:lnTo>
                <a:cubicBezTo>
                  <a:pt x="3086" y="2529"/>
                  <a:pt x="3071" y="2529"/>
                  <a:pt x="3071" y="254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5" name="TextBox 104">
            <a:extLst>
              <a:ext uri="{FF2B5EF4-FFF2-40B4-BE49-F238E27FC236}">
                <a16:creationId xmlns:a16="http://schemas.microsoft.com/office/drawing/2014/main" id="{94790F52-C250-3C48-B609-4FC030DACD09}"/>
              </a:ext>
            </a:extLst>
          </p:cNvPr>
          <p:cNvSpPr txBox="1"/>
          <p:nvPr/>
        </p:nvSpPr>
        <p:spPr>
          <a:xfrm>
            <a:off x="13521280" y="11649840"/>
            <a:ext cx="2164374"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ument XLS</a:t>
            </a:r>
          </a:p>
        </p:txBody>
      </p:sp>
      <p:sp>
        <p:nvSpPr>
          <p:cNvPr id="106" name="Freeform: Shape 26">
            <a:extLst>
              <a:ext uri="{FF2B5EF4-FFF2-40B4-BE49-F238E27FC236}">
                <a16:creationId xmlns:a16="http://schemas.microsoft.com/office/drawing/2014/main" id="{DF6FCD8A-32A8-6249-AB87-00E7EE054DFB}"/>
              </a:ext>
            </a:extLst>
          </p:cNvPr>
          <p:cNvSpPr/>
          <p:nvPr/>
        </p:nvSpPr>
        <p:spPr>
          <a:xfrm>
            <a:off x="14603467" y="9940735"/>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rgbClr val="01010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7" name="Freeform: Shape 1">
            <a:extLst>
              <a:ext uri="{FF2B5EF4-FFF2-40B4-BE49-F238E27FC236}">
                <a16:creationId xmlns:a16="http://schemas.microsoft.com/office/drawing/2014/main" id="{1C76164B-1081-5749-8406-0DC7A043E546}"/>
              </a:ext>
            </a:extLst>
          </p:cNvPr>
          <p:cNvSpPr/>
          <p:nvPr/>
        </p:nvSpPr>
        <p:spPr>
          <a:xfrm>
            <a:off x="13873567" y="9703381"/>
            <a:ext cx="1563119" cy="1516680"/>
          </a:xfrm>
          <a:custGeom>
            <a:avLst/>
            <a:gdLst/>
            <a:ahLst/>
            <a:cxnLst>
              <a:cxn ang="3cd4">
                <a:pos x="hc" y="t"/>
              </a:cxn>
              <a:cxn ang="cd2">
                <a:pos x="l" y="vc"/>
              </a:cxn>
              <a:cxn ang="cd4">
                <a:pos x="hc" y="b"/>
              </a:cxn>
              <a:cxn ang="0">
                <a:pos x="r" y="vc"/>
              </a:cxn>
            </a:cxnLst>
            <a:rect l="l" t="t" r="r" b="b"/>
            <a:pathLst>
              <a:path w="4343" h="4214">
                <a:moveTo>
                  <a:pt x="3308" y="1161"/>
                </a:moveTo>
                <a:lnTo>
                  <a:pt x="2148" y="16"/>
                </a:lnTo>
                <a:cubicBezTo>
                  <a:pt x="2132" y="0"/>
                  <a:pt x="2116" y="0"/>
                  <a:pt x="2084" y="0"/>
                </a:cubicBezTo>
                <a:lnTo>
                  <a:pt x="80" y="0"/>
                </a:lnTo>
                <a:cubicBezTo>
                  <a:pt x="32" y="0"/>
                  <a:pt x="0" y="31"/>
                  <a:pt x="0" y="79"/>
                </a:cubicBezTo>
                <a:lnTo>
                  <a:pt x="0" y="4135"/>
                </a:lnTo>
                <a:cubicBezTo>
                  <a:pt x="0" y="4167"/>
                  <a:pt x="32" y="4214"/>
                  <a:pt x="80" y="4214"/>
                </a:cubicBezTo>
                <a:lnTo>
                  <a:pt x="3245" y="4214"/>
                </a:lnTo>
                <a:cubicBezTo>
                  <a:pt x="3293" y="4214"/>
                  <a:pt x="3325" y="4167"/>
                  <a:pt x="3325" y="4135"/>
                </a:cubicBezTo>
                <a:lnTo>
                  <a:pt x="3325" y="3642"/>
                </a:lnTo>
                <a:lnTo>
                  <a:pt x="4088" y="3642"/>
                </a:lnTo>
                <a:cubicBezTo>
                  <a:pt x="4231" y="3642"/>
                  <a:pt x="4343" y="3530"/>
                  <a:pt x="4343" y="3387"/>
                </a:cubicBezTo>
                <a:lnTo>
                  <a:pt x="4343" y="2354"/>
                </a:lnTo>
                <a:cubicBezTo>
                  <a:pt x="4343" y="2211"/>
                  <a:pt x="4231" y="2099"/>
                  <a:pt x="4088" y="2099"/>
                </a:cubicBezTo>
                <a:lnTo>
                  <a:pt x="3325" y="2099"/>
                </a:lnTo>
                <a:lnTo>
                  <a:pt x="3325" y="1224"/>
                </a:lnTo>
                <a:cubicBezTo>
                  <a:pt x="3325" y="1193"/>
                  <a:pt x="3325" y="1176"/>
                  <a:pt x="3308" y="1161"/>
                </a:cubicBezTo>
                <a:close/>
                <a:moveTo>
                  <a:pt x="2211" y="318"/>
                </a:moveTo>
                <a:lnTo>
                  <a:pt x="3038" y="1129"/>
                </a:lnTo>
                <a:lnTo>
                  <a:pt x="2211" y="1129"/>
                </a:lnTo>
                <a:close/>
                <a:moveTo>
                  <a:pt x="3165" y="4056"/>
                </a:moveTo>
                <a:lnTo>
                  <a:pt x="160" y="4056"/>
                </a:lnTo>
                <a:lnTo>
                  <a:pt x="160" y="159"/>
                </a:lnTo>
                <a:lnTo>
                  <a:pt x="2052" y="159"/>
                </a:lnTo>
                <a:lnTo>
                  <a:pt x="2052" y="1209"/>
                </a:lnTo>
                <a:cubicBezTo>
                  <a:pt x="2052" y="1256"/>
                  <a:pt x="2100" y="1288"/>
                  <a:pt x="2132" y="1288"/>
                </a:cubicBezTo>
                <a:lnTo>
                  <a:pt x="3165" y="1288"/>
                </a:lnTo>
                <a:lnTo>
                  <a:pt x="3165" y="2099"/>
                </a:lnTo>
                <a:lnTo>
                  <a:pt x="1464" y="2099"/>
                </a:lnTo>
                <a:cubicBezTo>
                  <a:pt x="1320" y="2099"/>
                  <a:pt x="1209" y="2211"/>
                  <a:pt x="1209" y="2354"/>
                </a:cubicBezTo>
                <a:lnTo>
                  <a:pt x="1209" y="3387"/>
                </a:lnTo>
                <a:cubicBezTo>
                  <a:pt x="1209" y="3530"/>
                  <a:pt x="1320" y="3642"/>
                  <a:pt x="1464" y="3642"/>
                </a:cubicBezTo>
                <a:lnTo>
                  <a:pt x="3165" y="3642"/>
                </a:lnTo>
                <a:close/>
                <a:moveTo>
                  <a:pt x="4183" y="2354"/>
                </a:moveTo>
                <a:lnTo>
                  <a:pt x="4183" y="3387"/>
                </a:lnTo>
                <a:cubicBezTo>
                  <a:pt x="4183" y="3451"/>
                  <a:pt x="4152" y="3483"/>
                  <a:pt x="4088" y="3483"/>
                </a:cubicBezTo>
                <a:lnTo>
                  <a:pt x="1464" y="3483"/>
                </a:lnTo>
                <a:cubicBezTo>
                  <a:pt x="1416" y="3483"/>
                  <a:pt x="1368" y="3451"/>
                  <a:pt x="1368" y="3387"/>
                </a:cubicBezTo>
                <a:lnTo>
                  <a:pt x="1368" y="2354"/>
                </a:lnTo>
                <a:cubicBezTo>
                  <a:pt x="1368" y="2290"/>
                  <a:pt x="1416" y="2258"/>
                  <a:pt x="1464" y="2258"/>
                </a:cubicBezTo>
                <a:lnTo>
                  <a:pt x="4088" y="2258"/>
                </a:lnTo>
                <a:cubicBezTo>
                  <a:pt x="4152" y="2258"/>
                  <a:pt x="4183" y="2290"/>
                  <a:pt x="4183" y="2354"/>
                </a:cubicBezTo>
                <a:close/>
                <a:moveTo>
                  <a:pt x="2323" y="2863"/>
                </a:moveTo>
                <a:lnTo>
                  <a:pt x="2529" y="2576"/>
                </a:lnTo>
                <a:lnTo>
                  <a:pt x="2529" y="2545"/>
                </a:lnTo>
                <a:cubicBezTo>
                  <a:pt x="2513" y="2529"/>
                  <a:pt x="2513" y="2529"/>
                  <a:pt x="2498" y="2529"/>
                </a:cubicBezTo>
                <a:lnTo>
                  <a:pt x="2402" y="2529"/>
                </a:lnTo>
                <a:cubicBezTo>
                  <a:pt x="2397" y="2534"/>
                  <a:pt x="2386" y="2529"/>
                  <a:pt x="2386" y="2545"/>
                </a:cubicBezTo>
                <a:lnTo>
                  <a:pt x="2243" y="2735"/>
                </a:lnTo>
                <a:lnTo>
                  <a:pt x="2116" y="2545"/>
                </a:lnTo>
                <a:cubicBezTo>
                  <a:pt x="2100" y="2529"/>
                  <a:pt x="2100" y="2529"/>
                  <a:pt x="2084" y="2529"/>
                </a:cubicBezTo>
                <a:lnTo>
                  <a:pt x="1989" y="2529"/>
                </a:lnTo>
                <a:cubicBezTo>
                  <a:pt x="1972" y="2529"/>
                  <a:pt x="1972" y="2529"/>
                  <a:pt x="1957" y="2545"/>
                </a:cubicBezTo>
                <a:lnTo>
                  <a:pt x="1957" y="2576"/>
                </a:lnTo>
                <a:lnTo>
                  <a:pt x="2163" y="2863"/>
                </a:lnTo>
                <a:lnTo>
                  <a:pt x="1941" y="3181"/>
                </a:lnTo>
                <a:lnTo>
                  <a:pt x="1941" y="3212"/>
                </a:lnTo>
                <a:cubicBezTo>
                  <a:pt x="1957" y="3212"/>
                  <a:pt x="1957" y="3229"/>
                  <a:pt x="1972" y="3229"/>
                </a:cubicBezTo>
                <a:lnTo>
                  <a:pt x="2068" y="3229"/>
                </a:lnTo>
                <a:lnTo>
                  <a:pt x="2084" y="3212"/>
                </a:lnTo>
                <a:lnTo>
                  <a:pt x="2243" y="2974"/>
                </a:lnTo>
                <a:lnTo>
                  <a:pt x="2402" y="3212"/>
                </a:lnTo>
                <a:cubicBezTo>
                  <a:pt x="2413" y="3218"/>
                  <a:pt x="2418" y="3229"/>
                  <a:pt x="2434" y="3229"/>
                </a:cubicBezTo>
                <a:lnTo>
                  <a:pt x="2529" y="3229"/>
                </a:lnTo>
                <a:lnTo>
                  <a:pt x="2545" y="3212"/>
                </a:lnTo>
                <a:cubicBezTo>
                  <a:pt x="2561" y="3197"/>
                  <a:pt x="2561" y="3181"/>
                  <a:pt x="2545" y="3181"/>
                </a:cubicBezTo>
                <a:close/>
                <a:moveTo>
                  <a:pt x="3022" y="3085"/>
                </a:moveTo>
                <a:lnTo>
                  <a:pt x="2720" y="3085"/>
                </a:lnTo>
                <a:lnTo>
                  <a:pt x="2720" y="2560"/>
                </a:lnTo>
                <a:cubicBezTo>
                  <a:pt x="2720" y="2545"/>
                  <a:pt x="2704" y="2529"/>
                  <a:pt x="2689" y="2529"/>
                </a:cubicBezTo>
                <a:lnTo>
                  <a:pt x="2609" y="2529"/>
                </a:lnTo>
                <a:cubicBezTo>
                  <a:pt x="2593" y="2529"/>
                  <a:pt x="2577" y="2545"/>
                  <a:pt x="2577" y="2560"/>
                </a:cubicBezTo>
                <a:lnTo>
                  <a:pt x="2577" y="3197"/>
                </a:lnTo>
                <a:cubicBezTo>
                  <a:pt x="2577" y="3212"/>
                  <a:pt x="2593" y="3229"/>
                  <a:pt x="2609" y="3229"/>
                </a:cubicBezTo>
                <a:lnTo>
                  <a:pt x="3007" y="3229"/>
                </a:lnTo>
                <a:cubicBezTo>
                  <a:pt x="3022" y="3229"/>
                  <a:pt x="3022" y="3212"/>
                  <a:pt x="3038" y="3197"/>
                </a:cubicBezTo>
                <a:lnTo>
                  <a:pt x="3038" y="3117"/>
                </a:lnTo>
                <a:lnTo>
                  <a:pt x="3038" y="3101"/>
                </a:lnTo>
                <a:cubicBezTo>
                  <a:pt x="3038" y="3085"/>
                  <a:pt x="3027" y="3090"/>
                  <a:pt x="3022" y="3085"/>
                </a:cubicBezTo>
                <a:close/>
                <a:moveTo>
                  <a:pt x="3118" y="2560"/>
                </a:moveTo>
                <a:cubicBezTo>
                  <a:pt x="3102" y="2576"/>
                  <a:pt x="3086" y="2592"/>
                  <a:pt x="3070" y="2624"/>
                </a:cubicBezTo>
                <a:cubicBezTo>
                  <a:pt x="3054" y="2656"/>
                  <a:pt x="3038" y="2688"/>
                  <a:pt x="3038" y="2720"/>
                </a:cubicBezTo>
                <a:cubicBezTo>
                  <a:pt x="3038" y="2751"/>
                  <a:pt x="3054" y="2783"/>
                  <a:pt x="3054" y="2799"/>
                </a:cubicBezTo>
                <a:cubicBezTo>
                  <a:pt x="3070" y="2831"/>
                  <a:pt x="3086" y="2847"/>
                  <a:pt x="3102" y="2863"/>
                </a:cubicBezTo>
                <a:cubicBezTo>
                  <a:pt x="3118" y="2878"/>
                  <a:pt x="3150" y="2894"/>
                  <a:pt x="3181" y="2910"/>
                </a:cubicBezTo>
                <a:cubicBezTo>
                  <a:pt x="3198" y="2910"/>
                  <a:pt x="3229" y="2926"/>
                  <a:pt x="3261" y="2926"/>
                </a:cubicBezTo>
                <a:lnTo>
                  <a:pt x="3341" y="2942"/>
                </a:lnTo>
                <a:cubicBezTo>
                  <a:pt x="3372" y="2942"/>
                  <a:pt x="3388" y="2958"/>
                  <a:pt x="3404" y="2958"/>
                </a:cubicBezTo>
                <a:lnTo>
                  <a:pt x="3420" y="2974"/>
                </a:lnTo>
                <a:cubicBezTo>
                  <a:pt x="3436" y="2974"/>
                  <a:pt x="3431" y="2985"/>
                  <a:pt x="3436" y="2990"/>
                </a:cubicBezTo>
                <a:lnTo>
                  <a:pt x="3436" y="3021"/>
                </a:lnTo>
                <a:lnTo>
                  <a:pt x="3436" y="3054"/>
                </a:lnTo>
                <a:cubicBezTo>
                  <a:pt x="3436" y="3069"/>
                  <a:pt x="3420" y="3069"/>
                  <a:pt x="3420" y="3085"/>
                </a:cubicBezTo>
                <a:cubicBezTo>
                  <a:pt x="3404" y="3085"/>
                  <a:pt x="3399" y="3096"/>
                  <a:pt x="3388" y="3101"/>
                </a:cubicBezTo>
                <a:lnTo>
                  <a:pt x="3325" y="3101"/>
                </a:lnTo>
                <a:cubicBezTo>
                  <a:pt x="3277" y="3101"/>
                  <a:pt x="3229" y="3101"/>
                  <a:pt x="3213" y="3085"/>
                </a:cubicBezTo>
                <a:cubicBezTo>
                  <a:pt x="3198" y="3069"/>
                  <a:pt x="3181" y="3038"/>
                  <a:pt x="3165" y="3006"/>
                </a:cubicBezTo>
                <a:cubicBezTo>
                  <a:pt x="3165" y="2990"/>
                  <a:pt x="3150" y="2974"/>
                  <a:pt x="3134" y="2974"/>
                </a:cubicBezTo>
                <a:lnTo>
                  <a:pt x="3054" y="2974"/>
                </a:lnTo>
                <a:lnTo>
                  <a:pt x="3038" y="2990"/>
                </a:lnTo>
                <a:lnTo>
                  <a:pt x="3022" y="3006"/>
                </a:lnTo>
                <a:cubicBezTo>
                  <a:pt x="3038" y="3054"/>
                  <a:pt x="3038" y="3085"/>
                  <a:pt x="3054" y="3117"/>
                </a:cubicBezTo>
                <a:cubicBezTo>
                  <a:pt x="3070" y="3149"/>
                  <a:pt x="3102" y="3165"/>
                  <a:pt x="3118" y="3181"/>
                </a:cubicBezTo>
                <a:cubicBezTo>
                  <a:pt x="3150" y="3197"/>
                  <a:pt x="3181" y="3212"/>
                  <a:pt x="3213" y="3229"/>
                </a:cubicBezTo>
                <a:cubicBezTo>
                  <a:pt x="3245" y="3229"/>
                  <a:pt x="3277" y="3244"/>
                  <a:pt x="3325" y="3244"/>
                </a:cubicBezTo>
                <a:cubicBezTo>
                  <a:pt x="3356" y="3244"/>
                  <a:pt x="3404" y="3229"/>
                  <a:pt x="3436" y="3229"/>
                </a:cubicBezTo>
                <a:cubicBezTo>
                  <a:pt x="3468" y="3212"/>
                  <a:pt x="3499" y="3197"/>
                  <a:pt x="3516" y="3181"/>
                </a:cubicBezTo>
                <a:cubicBezTo>
                  <a:pt x="3531" y="3165"/>
                  <a:pt x="3563" y="3133"/>
                  <a:pt x="3563" y="3101"/>
                </a:cubicBezTo>
                <a:cubicBezTo>
                  <a:pt x="3579" y="3085"/>
                  <a:pt x="3579" y="3054"/>
                  <a:pt x="3579" y="3021"/>
                </a:cubicBezTo>
                <a:cubicBezTo>
                  <a:pt x="3579" y="2958"/>
                  <a:pt x="3563" y="2910"/>
                  <a:pt x="3531" y="2878"/>
                </a:cubicBezTo>
                <a:cubicBezTo>
                  <a:pt x="3499" y="2847"/>
                  <a:pt x="3436" y="2815"/>
                  <a:pt x="3372" y="2799"/>
                </a:cubicBezTo>
                <a:lnTo>
                  <a:pt x="3277" y="2783"/>
                </a:lnTo>
                <a:lnTo>
                  <a:pt x="3229" y="2783"/>
                </a:lnTo>
                <a:cubicBezTo>
                  <a:pt x="3213" y="2767"/>
                  <a:pt x="3213" y="2767"/>
                  <a:pt x="3198" y="2767"/>
                </a:cubicBezTo>
                <a:lnTo>
                  <a:pt x="3198" y="2735"/>
                </a:lnTo>
                <a:cubicBezTo>
                  <a:pt x="3181" y="2735"/>
                  <a:pt x="3181" y="2720"/>
                  <a:pt x="3181" y="2703"/>
                </a:cubicBezTo>
                <a:cubicBezTo>
                  <a:pt x="3187" y="2698"/>
                  <a:pt x="3181" y="2688"/>
                  <a:pt x="3198" y="2688"/>
                </a:cubicBezTo>
                <a:cubicBezTo>
                  <a:pt x="3198" y="2672"/>
                  <a:pt x="3198" y="2672"/>
                  <a:pt x="3213" y="2656"/>
                </a:cubicBezTo>
                <a:cubicBezTo>
                  <a:pt x="3224" y="2651"/>
                  <a:pt x="3229" y="2656"/>
                  <a:pt x="3245" y="2640"/>
                </a:cubicBezTo>
                <a:lnTo>
                  <a:pt x="3308" y="2640"/>
                </a:lnTo>
                <a:lnTo>
                  <a:pt x="3372" y="2640"/>
                </a:lnTo>
                <a:cubicBezTo>
                  <a:pt x="3388" y="2656"/>
                  <a:pt x="3388" y="2656"/>
                  <a:pt x="3404" y="2656"/>
                </a:cubicBezTo>
                <a:cubicBezTo>
                  <a:pt x="3404" y="2672"/>
                  <a:pt x="3420" y="2672"/>
                  <a:pt x="3420" y="2688"/>
                </a:cubicBezTo>
                <a:cubicBezTo>
                  <a:pt x="3436" y="2703"/>
                  <a:pt x="3436" y="2703"/>
                  <a:pt x="3436" y="2720"/>
                </a:cubicBezTo>
                <a:cubicBezTo>
                  <a:pt x="3436" y="2735"/>
                  <a:pt x="3452" y="2751"/>
                  <a:pt x="3468" y="2751"/>
                </a:cubicBezTo>
                <a:lnTo>
                  <a:pt x="3547" y="2735"/>
                </a:lnTo>
                <a:cubicBezTo>
                  <a:pt x="3563" y="2735"/>
                  <a:pt x="3558" y="2725"/>
                  <a:pt x="3563" y="2720"/>
                </a:cubicBezTo>
                <a:cubicBezTo>
                  <a:pt x="3579" y="2720"/>
                  <a:pt x="3574" y="2709"/>
                  <a:pt x="3579" y="2703"/>
                </a:cubicBezTo>
                <a:cubicBezTo>
                  <a:pt x="3563" y="2672"/>
                  <a:pt x="3563" y="2656"/>
                  <a:pt x="3547" y="2624"/>
                </a:cubicBezTo>
                <a:cubicBezTo>
                  <a:pt x="3547" y="2608"/>
                  <a:pt x="3531" y="2592"/>
                  <a:pt x="3499" y="2560"/>
                </a:cubicBezTo>
                <a:cubicBezTo>
                  <a:pt x="3484" y="2545"/>
                  <a:pt x="3452" y="2529"/>
                  <a:pt x="3420" y="2529"/>
                </a:cubicBezTo>
                <a:cubicBezTo>
                  <a:pt x="3388" y="2512"/>
                  <a:pt x="3356" y="2512"/>
                  <a:pt x="3308" y="2512"/>
                </a:cubicBezTo>
                <a:lnTo>
                  <a:pt x="3213" y="2512"/>
                </a:lnTo>
                <a:cubicBezTo>
                  <a:pt x="3181" y="2529"/>
                  <a:pt x="3150" y="2545"/>
                  <a:pt x="3118" y="256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8" name="TextBox 107">
            <a:extLst>
              <a:ext uri="{FF2B5EF4-FFF2-40B4-BE49-F238E27FC236}">
                <a16:creationId xmlns:a16="http://schemas.microsoft.com/office/drawing/2014/main" id="{2B025DC7-780B-964D-A294-875358399EF7}"/>
              </a:ext>
            </a:extLst>
          </p:cNvPr>
          <p:cNvSpPr txBox="1"/>
          <p:nvPr/>
        </p:nvSpPr>
        <p:spPr>
          <a:xfrm>
            <a:off x="5152598" y="8444596"/>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Download PDF</a:t>
            </a:r>
            <a:endParaRPr lang="en-US" sz="2800" dirty="0"/>
          </a:p>
        </p:txBody>
      </p:sp>
      <p:sp>
        <p:nvSpPr>
          <p:cNvPr id="109" name="Freeform: Shape 5">
            <a:extLst>
              <a:ext uri="{FF2B5EF4-FFF2-40B4-BE49-F238E27FC236}">
                <a16:creationId xmlns:a16="http://schemas.microsoft.com/office/drawing/2014/main" id="{DD8282D6-B2B3-EA43-87F1-3F925BE08563}"/>
              </a:ext>
            </a:extLst>
          </p:cNvPr>
          <p:cNvSpPr/>
          <p:nvPr/>
        </p:nvSpPr>
        <p:spPr>
          <a:xfrm>
            <a:off x="6058476" y="6472174"/>
            <a:ext cx="1551599" cy="1888920"/>
          </a:xfrm>
          <a:custGeom>
            <a:avLst/>
            <a:gdLst/>
            <a:ahLst/>
            <a:cxnLst>
              <a:cxn ang="3cd4">
                <a:pos x="hc" y="t"/>
              </a:cxn>
              <a:cxn ang="cd2">
                <a:pos x="l" y="vc"/>
              </a:cxn>
              <a:cxn ang="cd4">
                <a:pos x="hc" y="b"/>
              </a:cxn>
              <a:cxn ang="0">
                <a:pos x="r" y="vc"/>
              </a:cxn>
            </a:cxnLst>
            <a:rect l="l" t="t" r="r" b="b"/>
            <a:pathLst>
              <a:path w="4311" h="5248">
                <a:moveTo>
                  <a:pt x="4056" y="2083"/>
                </a:moveTo>
                <a:lnTo>
                  <a:pt x="3293" y="2083"/>
                </a:lnTo>
                <a:lnTo>
                  <a:pt x="3293" y="1208"/>
                </a:lnTo>
                <a:cubicBezTo>
                  <a:pt x="3293" y="1192"/>
                  <a:pt x="3277" y="1176"/>
                  <a:pt x="3277" y="1161"/>
                </a:cubicBezTo>
                <a:lnTo>
                  <a:pt x="2132" y="31"/>
                </a:lnTo>
                <a:cubicBezTo>
                  <a:pt x="2116" y="15"/>
                  <a:pt x="2084" y="0"/>
                  <a:pt x="2068" y="0"/>
                </a:cubicBezTo>
                <a:lnTo>
                  <a:pt x="80" y="0"/>
                </a:lnTo>
                <a:cubicBezTo>
                  <a:pt x="33" y="0"/>
                  <a:pt x="0" y="47"/>
                  <a:pt x="0" y="79"/>
                </a:cubicBezTo>
                <a:lnTo>
                  <a:pt x="0" y="4087"/>
                </a:lnTo>
                <a:cubicBezTo>
                  <a:pt x="0" y="4135"/>
                  <a:pt x="33" y="4166"/>
                  <a:pt x="80" y="4166"/>
                </a:cubicBezTo>
                <a:lnTo>
                  <a:pt x="1209" y="4166"/>
                </a:lnTo>
                <a:cubicBezTo>
                  <a:pt x="1257" y="4166"/>
                  <a:pt x="1289" y="4135"/>
                  <a:pt x="1289" y="4087"/>
                </a:cubicBezTo>
                <a:cubicBezTo>
                  <a:pt x="1289" y="4055"/>
                  <a:pt x="1257" y="4008"/>
                  <a:pt x="1209" y="4008"/>
                </a:cubicBezTo>
                <a:lnTo>
                  <a:pt x="160" y="4008"/>
                </a:lnTo>
                <a:lnTo>
                  <a:pt x="160" y="158"/>
                </a:lnTo>
                <a:lnTo>
                  <a:pt x="2036" y="158"/>
                </a:lnTo>
                <a:lnTo>
                  <a:pt x="2036" y="1208"/>
                </a:lnTo>
                <a:cubicBezTo>
                  <a:pt x="2036" y="1240"/>
                  <a:pt x="2068" y="1288"/>
                  <a:pt x="2116" y="1288"/>
                </a:cubicBezTo>
                <a:lnTo>
                  <a:pt x="3134" y="1288"/>
                </a:lnTo>
                <a:lnTo>
                  <a:pt x="3134" y="2083"/>
                </a:lnTo>
                <a:lnTo>
                  <a:pt x="1464" y="2083"/>
                </a:lnTo>
                <a:cubicBezTo>
                  <a:pt x="1321" y="2083"/>
                  <a:pt x="1209" y="2194"/>
                  <a:pt x="1209" y="2337"/>
                </a:cubicBezTo>
                <a:lnTo>
                  <a:pt x="1209" y="3371"/>
                </a:lnTo>
                <a:cubicBezTo>
                  <a:pt x="1209" y="3514"/>
                  <a:pt x="1321" y="3626"/>
                  <a:pt x="1464" y="3626"/>
                </a:cubicBezTo>
                <a:lnTo>
                  <a:pt x="1607" y="3626"/>
                </a:lnTo>
                <a:lnTo>
                  <a:pt x="1607" y="4993"/>
                </a:lnTo>
                <a:lnTo>
                  <a:pt x="1178" y="4675"/>
                </a:lnTo>
                <a:cubicBezTo>
                  <a:pt x="1130" y="4644"/>
                  <a:pt x="1082" y="4644"/>
                  <a:pt x="1066" y="4675"/>
                </a:cubicBezTo>
                <a:cubicBezTo>
                  <a:pt x="1035" y="4723"/>
                  <a:pt x="1035" y="4771"/>
                  <a:pt x="1066" y="4787"/>
                </a:cubicBezTo>
                <a:lnTo>
                  <a:pt x="1639" y="5232"/>
                </a:lnTo>
                <a:cubicBezTo>
                  <a:pt x="1655" y="5232"/>
                  <a:pt x="1671" y="5248"/>
                  <a:pt x="1687" y="5248"/>
                </a:cubicBezTo>
                <a:cubicBezTo>
                  <a:pt x="1702" y="5248"/>
                  <a:pt x="1718" y="5232"/>
                  <a:pt x="1734" y="5232"/>
                </a:cubicBezTo>
                <a:lnTo>
                  <a:pt x="2291" y="4787"/>
                </a:lnTo>
                <a:cubicBezTo>
                  <a:pt x="2323" y="4771"/>
                  <a:pt x="2323" y="4723"/>
                  <a:pt x="2307" y="4675"/>
                </a:cubicBezTo>
                <a:cubicBezTo>
                  <a:pt x="2275" y="4644"/>
                  <a:pt x="2227" y="4644"/>
                  <a:pt x="2196" y="4675"/>
                </a:cubicBezTo>
                <a:lnTo>
                  <a:pt x="1766" y="5009"/>
                </a:lnTo>
                <a:lnTo>
                  <a:pt x="1766" y="3626"/>
                </a:lnTo>
                <a:lnTo>
                  <a:pt x="3134" y="3626"/>
                </a:lnTo>
                <a:lnTo>
                  <a:pt x="3134" y="4008"/>
                </a:lnTo>
                <a:lnTo>
                  <a:pt x="2180" y="4008"/>
                </a:lnTo>
                <a:cubicBezTo>
                  <a:pt x="2132" y="4008"/>
                  <a:pt x="2100" y="4055"/>
                  <a:pt x="2100" y="4087"/>
                </a:cubicBezTo>
                <a:cubicBezTo>
                  <a:pt x="2100" y="4135"/>
                  <a:pt x="2132" y="4166"/>
                  <a:pt x="2180" y="4166"/>
                </a:cubicBezTo>
                <a:lnTo>
                  <a:pt x="3214" y="4166"/>
                </a:lnTo>
                <a:cubicBezTo>
                  <a:pt x="3261" y="4166"/>
                  <a:pt x="3293" y="4135"/>
                  <a:pt x="3293" y="4087"/>
                </a:cubicBezTo>
                <a:lnTo>
                  <a:pt x="3293" y="3626"/>
                </a:lnTo>
                <a:lnTo>
                  <a:pt x="4056" y="3626"/>
                </a:lnTo>
                <a:cubicBezTo>
                  <a:pt x="4199" y="3626"/>
                  <a:pt x="4311" y="3514"/>
                  <a:pt x="4311" y="3371"/>
                </a:cubicBezTo>
                <a:lnTo>
                  <a:pt x="4311" y="2337"/>
                </a:lnTo>
                <a:cubicBezTo>
                  <a:pt x="4311" y="2194"/>
                  <a:pt x="4199" y="2083"/>
                  <a:pt x="4056" y="2083"/>
                </a:cubicBezTo>
                <a:close/>
                <a:moveTo>
                  <a:pt x="2196" y="318"/>
                </a:moveTo>
                <a:lnTo>
                  <a:pt x="3007" y="1128"/>
                </a:lnTo>
                <a:lnTo>
                  <a:pt x="2196" y="1128"/>
                </a:lnTo>
                <a:close/>
                <a:moveTo>
                  <a:pt x="4152" y="3371"/>
                </a:moveTo>
                <a:cubicBezTo>
                  <a:pt x="4152" y="3419"/>
                  <a:pt x="4120" y="3467"/>
                  <a:pt x="4056" y="3467"/>
                </a:cubicBezTo>
                <a:lnTo>
                  <a:pt x="1464" y="3467"/>
                </a:lnTo>
                <a:cubicBezTo>
                  <a:pt x="1400" y="3467"/>
                  <a:pt x="1369" y="3419"/>
                  <a:pt x="1369" y="3371"/>
                </a:cubicBezTo>
                <a:lnTo>
                  <a:pt x="1369" y="2337"/>
                </a:lnTo>
                <a:cubicBezTo>
                  <a:pt x="1369" y="2274"/>
                  <a:pt x="1400" y="2242"/>
                  <a:pt x="1464" y="2242"/>
                </a:cubicBezTo>
                <a:lnTo>
                  <a:pt x="4056" y="2242"/>
                </a:lnTo>
                <a:cubicBezTo>
                  <a:pt x="4120" y="2242"/>
                  <a:pt x="4152" y="2274"/>
                  <a:pt x="4152" y="2337"/>
                </a:cubicBezTo>
                <a:close/>
                <a:moveTo>
                  <a:pt x="2402" y="2576"/>
                </a:moveTo>
                <a:cubicBezTo>
                  <a:pt x="2386" y="2544"/>
                  <a:pt x="2354" y="2528"/>
                  <a:pt x="2323" y="2528"/>
                </a:cubicBezTo>
                <a:cubicBezTo>
                  <a:pt x="2291" y="2512"/>
                  <a:pt x="2243" y="2512"/>
                  <a:pt x="2196" y="2512"/>
                </a:cubicBezTo>
                <a:lnTo>
                  <a:pt x="1989" y="2512"/>
                </a:lnTo>
                <a:cubicBezTo>
                  <a:pt x="1973" y="2512"/>
                  <a:pt x="1957" y="2528"/>
                  <a:pt x="1957" y="2544"/>
                </a:cubicBezTo>
                <a:lnTo>
                  <a:pt x="1957" y="3164"/>
                </a:lnTo>
                <a:cubicBezTo>
                  <a:pt x="1957" y="3181"/>
                  <a:pt x="1973" y="3196"/>
                  <a:pt x="1989" y="3196"/>
                </a:cubicBezTo>
                <a:lnTo>
                  <a:pt x="2068" y="3196"/>
                </a:lnTo>
                <a:cubicBezTo>
                  <a:pt x="2084" y="3196"/>
                  <a:pt x="2100" y="3181"/>
                  <a:pt x="2100" y="3164"/>
                </a:cubicBezTo>
                <a:lnTo>
                  <a:pt x="2100" y="2958"/>
                </a:lnTo>
                <a:lnTo>
                  <a:pt x="2196" y="2958"/>
                </a:lnTo>
                <a:cubicBezTo>
                  <a:pt x="2243" y="2958"/>
                  <a:pt x="2291" y="2942"/>
                  <a:pt x="2323" y="2942"/>
                </a:cubicBezTo>
                <a:cubicBezTo>
                  <a:pt x="2354" y="2926"/>
                  <a:pt x="2386" y="2910"/>
                  <a:pt x="2402" y="2878"/>
                </a:cubicBezTo>
                <a:cubicBezTo>
                  <a:pt x="2434" y="2862"/>
                  <a:pt x="2434" y="2830"/>
                  <a:pt x="2450" y="2815"/>
                </a:cubicBezTo>
                <a:cubicBezTo>
                  <a:pt x="2466" y="2783"/>
                  <a:pt x="2466" y="2751"/>
                  <a:pt x="2466" y="2719"/>
                </a:cubicBezTo>
                <a:cubicBezTo>
                  <a:pt x="2466" y="2703"/>
                  <a:pt x="2466" y="2672"/>
                  <a:pt x="2450" y="2640"/>
                </a:cubicBezTo>
                <a:cubicBezTo>
                  <a:pt x="2450" y="2624"/>
                  <a:pt x="2434" y="2592"/>
                  <a:pt x="2402" y="2576"/>
                </a:cubicBezTo>
                <a:close/>
                <a:moveTo>
                  <a:pt x="2100" y="2640"/>
                </a:moveTo>
                <a:lnTo>
                  <a:pt x="2196" y="2640"/>
                </a:lnTo>
                <a:lnTo>
                  <a:pt x="2259" y="2640"/>
                </a:lnTo>
                <a:cubicBezTo>
                  <a:pt x="2275" y="2640"/>
                  <a:pt x="2291" y="2655"/>
                  <a:pt x="2307" y="2655"/>
                </a:cubicBezTo>
                <a:lnTo>
                  <a:pt x="2307" y="2687"/>
                </a:lnTo>
                <a:cubicBezTo>
                  <a:pt x="2323" y="2703"/>
                  <a:pt x="2323" y="2703"/>
                  <a:pt x="2323" y="2735"/>
                </a:cubicBezTo>
                <a:lnTo>
                  <a:pt x="2323" y="2767"/>
                </a:lnTo>
                <a:cubicBezTo>
                  <a:pt x="2307" y="2783"/>
                  <a:pt x="2312" y="2788"/>
                  <a:pt x="2307" y="2799"/>
                </a:cubicBezTo>
                <a:cubicBezTo>
                  <a:pt x="2291" y="2799"/>
                  <a:pt x="2275" y="2815"/>
                  <a:pt x="2259" y="2815"/>
                </a:cubicBezTo>
                <a:cubicBezTo>
                  <a:pt x="2243" y="2815"/>
                  <a:pt x="2227" y="2830"/>
                  <a:pt x="2196" y="2830"/>
                </a:cubicBezTo>
                <a:lnTo>
                  <a:pt x="2100" y="2830"/>
                </a:lnTo>
                <a:close/>
                <a:moveTo>
                  <a:pt x="2991" y="2592"/>
                </a:moveTo>
                <a:cubicBezTo>
                  <a:pt x="2975" y="2560"/>
                  <a:pt x="2927" y="2544"/>
                  <a:pt x="2895" y="2528"/>
                </a:cubicBezTo>
                <a:cubicBezTo>
                  <a:pt x="2848" y="2512"/>
                  <a:pt x="2816" y="2512"/>
                  <a:pt x="2768" y="2512"/>
                </a:cubicBezTo>
                <a:lnTo>
                  <a:pt x="2545" y="2512"/>
                </a:lnTo>
                <a:cubicBezTo>
                  <a:pt x="2529" y="2512"/>
                  <a:pt x="2514" y="2528"/>
                  <a:pt x="2514" y="2544"/>
                </a:cubicBezTo>
                <a:lnTo>
                  <a:pt x="2514" y="3164"/>
                </a:lnTo>
                <a:cubicBezTo>
                  <a:pt x="2514" y="3181"/>
                  <a:pt x="2529" y="3196"/>
                  <a:pt x="2545" y="3196"/>
                </a:cubicBezTo>
                <a:lnTo>
                  <a:pt x="2736" y="3196"/>
                </a:lnTo>
                <a:cubicBezTo>
                  <a:pt x="2800" y="3196"/>
                  <a:pt x="2832" y="3196"/>
                  <a:pt x="2880" y="3181"/>
                </a:cubicBezTo>
                <a:cubicBezTo>
                  <a:pt x="2927" y="3164"/>
                  <a:pt x="2959" y="3133"/>
                  <a:pt x="2991" y="3117"/>
                </a:cubicBezTo>
                <a:cubicBezTo>
                  <a:pt x="3023" y="3085"/>
                  <a:pt x="3038" y="3037"/>
                  <a:pt x="3054" y="3006"/>
                </a:cubicBezTo>
                <a:cubicBezTo>
                  <a:pt x="3070" y="2958"/>
                  <a:pt x="3086" y="2910"/>
                  <a:pt x="3086" y="2846"/>
                </a:cubicBezTo>
                <a:cubicBezTo>
                  <a:pt x="3086" y="2799"/>
                  <a:pt x="3070" y="2751"/>
                  <a:pt x="3070" y="2703"/>
                </a:cubicBezTo>
                <a:cubicBezTo>
                  <a:pt x="3054" y="2655"/>
                  <a:pt x="3023" y="2624"/>
                  <a:pt x="2991" y="2592"/>
                </a:cubicBezTo>
                <a:close/>
                <a:moveTo>
                  <a:pt x="2657" y="2640"/>
                </a:moveTo>
                <a:lnTo>
                  <a:pt x="2768" y="2640"/>
                </a:lnTo>
                <a:cubicBezTo>
                  <a:pt x="2800" y="2640"/>
                  <a:pt x="2816" y="2640"/>
                  <a:pt x="2848" y="2655"/>
                </a:cubicBezTo>
                <a:cubicBezTo>
                  <a:pt x="2863" y="2655"/>
                  <a:pt x="2880" y="2672"/>
                  <a:pt x="2895" y="2687"/>
                </a:cubicBezTo>
                <a:cubicBezTo>
                  <a:pt x="2911" y="2703"/>
                  <a:pt x="2927" y="2735"/>
                  <a:pt x="2927" y="2751"/>
                </a:cubicBezTo>
                <a:cubicBezTo>
                  <a:pt x="2943" y="2783"/>
                  <a:pt x="2943" y="2815"/>
                  <a:pt x="2943" y="2846"/>
                </a:cubicBezTo>
                <a:cubicBezTo>
                  <a:pt x="2943" y="2926"/>
                  <a:pt x="2927" y="2973"/>
                  <a:pt x="2895" y="3006"/>
                </a:cubicBezTo>
                <a:cubicBezTo>
                  <a:pt x="2863" y="3053"/>
                  <a:pt x="2816" y="3069"/>
                  <a:pt x="2752" y="3069"/>
                </a:cubicBezTo>
                <a:lnTo>
                  <a:pt x="2657" y="3069"/>
                </a:lnTo>
                <a:close/>
                <a:moveTo>
                  <a:pt x="3563" y="2512"/>
                </a:moveTo>
                <a:lnTo>
                  <a:pt x="3166" y="2512"/>
                </a:lnTo>
                <a:cubicBezTo>
                  <a:pt x="3150" y="2512"/>
                  <a:pt x="3134" y="2528"/>
                  <a:pt x="3134" y="2544"/>
                </a:cubicBezTo>
                <a:lnTo>
                  <a:pt x="3134" y="3164"/>
                </a:lnTo>
                <a:cubicBezTo>
                  <a:pt x="3134" y="3181"/>
                  <a:pt x="3150" y="3196"/>
                  <a:pt x="3166" y="3196"/>
                </a:cubicBezTo>
                <a:lnTo>
                  <a:pt x="3245" y="3196"/>
                </a:lnTo>
                <a:cubicBezTo>
                  <a:pt x="3261" y="3196"/>
                  <a:pt x="3277" y="3181"/>
                  <a:pt x="3277" y="3164"/>
                </a:cubicBezTo>
                <a:lnTo>
                  <a:pt x="3277" y="2926"/>
                </a:lnTo>
                <a:lnTo>
                  <a:pt x="3547" y="2926"/>
                </a:lnTo>
                <a:cubicBezTo>
                  <a:pt x="3563" y="2926"/>
                  <a:pt x="3579" y="2910"/>
                  <a:pt x="3579" y="2894"/>
                </a:cubicBezTo>
                <a:lnTo>
                  <a:pt x="3579" y="2815"/>
                </a:lnTo>
                <a:cubicBezTo>
                  <a:pt x="3579" y="2799"/>
                  <a:pt x="3563" y="2783"/>
                  <a:pt x="3547" y="2783"/>
                </a:cubicBezTo>
                <a:lnTo>
                  <a:pt x="3277" y="2783"/>
                </a:lnTo>
                <a:lnTo>
                  <a:pt x="3277" y="2640"/>
                </a:lnTo>
                <a:lnTo>
                  <a:pt x="3563" y="2640"/>
                </a:lnTo>
                <a:cubicBezTo>
                  <a:pt x="3579" y="2640"/>
                  <a:pt x="3595" y="2624"/>
                  <a:pt x="3595" y="2608"/>
                </a:cubicBezTo>
                <a:lnTo>
                  <a:pt x="3595" y="2544"/>
                </a:lnTo>
                <a:cubicBezTo>
                  <a:pt x="3595" y="2528"/>
                  <a:pt x="3579" y="2512"/>
                  <a:pt x="3563" y="251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0" name="TextBox 109">
            <a:extLst>
              <a:ext uri="{FF2B5EF4-FFF2-40B4-BE49-F238E27FC236}">
                <a16:creationId xmlns:a16="http://schemas.microsoft.com/office/drawing/2014/main" id="{77EC500F-2048-2748-A7AD-E1C827AAB4D7}"/>
              </a:ext>
            </a:extLst>
          </p:cNvPr>
          <p:cNvSpPr txBox="1"/>
          <p:nvPr/>
        </p:nvSpPr>
        <p:spPr>
          <a:xfrm>
            <a:off x="8799191" y="11649840"/>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HTML</a:t>
            </a:r>
          </a:p>
        </p:txBody>
      </p:sp>
      <p:sp>
        <p:nvSpPr>
          <p:cNvPr id="111" name="TextBox 110">
            <a:extLst>
              <a:ext uri="{FF2B5EF4-FFF2-40B4-BE49-F238E27FC236}">
                <a16:creationId xmlns:a16="http://schemas.microsoft.com/office/drawing/2014/main" id="{F26BF4A6-FF27-4641-98EE-1CAD95E75846}"/>
              </a:ext>
            </a:extLst>
          </p:cNvPr>
          <p:cNvSpPr txBox="1"/>
          <p:nvPr/>
        </p:nvSpPr>
        <p:spPr>
          <a:xfrm>
            <a:off x="5505285" y="11649840"/>
            <a:ext cx="210666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CSV</a:t>
            </a:r>
          </a:p>
        </p:txBody>
      </p:sp>
      <p:sp>
        <p:nvSpPr>
          <p:cNvPr id="112" name="Freeform: Shape 3">
            <a:extLst>
              <a:ext uri="{FF2B5EF4-FFF2-40B4-BE49-F238E27FC236}">
                <a16:creationId xmlns:a16="http://schemas.microsoft.com/office/drawing/2014/main" id="{75F988F1-0628-994B-81F3-6E9109DE3FD1}"/>
              </a:ext>
            </a:extLst>
          </p:cNvPr>
          <p:cNvSpPr/>
          <p:nvPr/>
        </p:nvSpPr>
        <p:spPr>
          <a:xfrm>
            <a:off x="5934738" y="9703381"/>
            <a:ext cx="1562760" cy="1517039"/>
          </a:xfrm>
          <a:custGeom>
            <a:avLst/>
            <a:gdLst/>
            <a:ahLst/>
            <a:cxnLst>
              <a:cxn ang="3cd4">
                <a:pos x="hc" y="t"/>
              </a:cxn>
              <a:cxn ang="cd2">
                <a:pos x="l" y="vc"/>
              </a:cxn>
              <a:cxn ang="cd4">
                <a:pos x="hc" y="b"/>
              </a:cxn>
              <a:cxn ang="0">
                <a:pos x="r" y="vc"/>
              </a:cxn>
            </a:cxnLst>
            <a:rect l="l" t="t" r="r" b="b"/>
            <a:pathLst>
              <a:path w="4342" h="4215">
                <a:moveTo>
                  <a:pt x="3324" y="2099"/>
                </a:moveTo>
                <a:lnTo>
                  <a:pt x="3324" y="1225"/>
                </a:lnTo>
                <a:cubicBezTo>
                  <a:pt x="3324" y="1209"/>
                  <a:pt x="3324" y="1177"/>
                  <a:pt x="3308" y="1177"/>
                </a:cubicBezTo>
                <a:lnTo>
                  <a:pt x="2147" y="32"/>
                </a:lnTo>
                <a:cubicBezTo>
                  <a:pt x="2132" y="16"/>
                  <a:pt x="2115" y="0"/>
                  <a:pt x="2084" y="0"/>
                </a:cubicBezTo>
                <a:lnTo>
                  <a:pt x="80" y="0"/>
                </a:lnTo>
                <a:cubicBezTo>
                  <a:pt x="32" y="0"/>
                  <a:pt x="0" y="32"/>
                  <a:pt x="0" y="80"/>
                </a:cubicBezTo>
                <a:lnTo>
                  <a:pt x="0" y="4135"/>
                </a:lnTo>
                <a:cubicBezTo>
                  <a:pt x="0" y="4183"/>
                  <a:pt x="32" y="4215"/>
                  <a:pt x="80" y="4215"/>
                </a:cubicBezTo>
                <a:lnTo>
                  <a:pt x="3245" y="4215"/>
                </a:lnTo>
                <a:cubicBezTo>
                  <a:pt x="3293" y="4215"/>
                  <a:pt x="3324" y="4183"/>
                  <a:pt x="3324" y="4135"/>
                </a:cubicBezTo>
                <a:lnTo>
                  <a:pt x="3324" y="3658"/>
                </a:lnTo>
                <a:lnTo>
                  <a:pt x="4088" y="3658"/>
                </a:lnTo>
                <a:cubicBezTo>
                  <a:pt x="4231" y="3658"/>
                  <a:pt x="4342" y="3547"/>
                  <a:pt x="4342" y="3404"/>
                </a:cubicBezTo>
                <a:lnTo>
                  <a:pt x="4342" y="2354"/>
                </a:lnTo>
                <a:cubicBezTo>
                  <a:pt x="4342" y="2211"/>
                  <a:pt x="4231" y="2099"/>
                  <a:pt x="4088" y="2099"/>
                </a:cubicBezTo>
                <a:close/>
                <a:moveTo>
                  <a:pt x="2211" y="318"/>
                </a:moveTo>
                <a:lnTo>
                  <a:pt x="3038" y="1129"/>
                </a:lnTo>
                <a:lnTo>
                  <a:pt x="2211" y="1129"/>
                </a:lnTo>
                <a:close/>
                <a:moveTo>
                  <a:pt x="3165" y="4056"/>
                </a:moveTo>
                <a:lnTo>
                  <a:pt x="159" y="4056"/>
                </a:lnTo>
                <a:lnTo>
                  <a:pt x="159" y="159"/>
                </a:lnTo>
                <a:lnTo>
                  <a:pt x="2052" y="159"/>
                </a:lnTo>
                <a:lnTo>
                  <a:pt x="2052" y="1209"/>
                </a:lnTo>
                <a:cubicBezTo>
                  <a:pt x="2052" y="1256"/>
                  <a:pt x="2100" y="1288"/>
                  <a:pt x="2132" y="1288"/>
                </a:cubicBezTo>
                <a:lnTo>
                  <a:pt x="3165" y="1288"/>
                </a:lnTo>
                <a:lnTo>
                  <a:pt x="3165" y="2099"/>
                </a:lnTo>
                <a:lnTo>
                  <a:pt x="1463" y="2099"/>
                </a:lnTo>
                <a:cubicBezTo>
                  <a:pt x="1320" y="2099"/>
                  <a:pt x="1209" y="2211"/>
                  <a:pt x="1209" y="2354"/>
                </a:cubicBezTo>
                <a:lnTo>
                  <a:pt x="1209" y="3404"/>
                </a:lnTo>
                <a:cubicBezTo>
                  <a:pt x="1209" y="3547"/>
                  <a:pt x="1320" y="3658"/>
                  <a:pt x="1463" y="3658"/>
                </a:cubicBezTo>
                <a:lnTo>
                  <a:pt x="3165" y="3658"/>
                </a:lnTo>
                <a:close/>
                <a:moveTo>
                  <a:pt x="4183" y="2354"/>
                </a:moveTo>
                <a:lnTo>
                  <a:pt x="4183" y="3404"/>
                </a:lnTo>
                <a:cubicBezTo>
                  <a:pt x="4183" y="3452"/>
                  <a:pt x="4151" y="3499"/>
                  <a:pt x="4088" y="3499"/>
                </a:cubicBezTo>
                <a:lnTo>
                  <a:pt x="1463" y="3499"/>
                </a:lnTo>
                <a:cubicBezTo>
                  <a:pt x="1416" y="3499"/>
                  <a:pt x="1368" y="3452"/>
                  <a:pt x="1368" y="3404"/>
                </a:cubicBezTo>
                <a:lnTo>
                  <a:pt x="1368" y="2354"/>
                </a:lnTo>
                <a:cubicBezTo>
                  <a:pt x="1368" y="2306"/>
                  <a:pt x="1416" y="2259"/>
                  <a:pt x="1463" y="2259"/>
                </a:cubicBezTo>
                <a:lnTo>
                  <a:pt x="4088" y="2259"/>
                </a:lnTo>
                <a:cubicBezTo>
                  <a:pt x="4151" y="2259"/>
                  <a:pt x="4183" y="2306"/>
                  <a:pt x="4183" y="2354"/>
                </a:cubicBezTo>
                <a:close/>
                <a:moveTo>
                  <a:pt x="2466" y="2958"/>
                </a:moveTo>
                <a:lnTo>
                  <a:pt x="2386" y="2958"/>
                </a:lnTo>
                <a:cubicBezTo>
                  <a:pt x="2370" y="2958"/>
                  <a:pt x="2354" y="2974"/>
                  <a:pt x="2354" y="2990"/>
                </a:cubicBezTo>
                <a:cubicBezTo>
                  <a:pt x="2354" y="3006"/>
                  <a:pt x="2338" y="3022"/>
                  <a:pt x="2338" y="3038"/>
                </a:cubicBezTo>
                <a:cubicBezTo>
                  <a:pt x="2338" y="3054"/>
                  <a:pt x="2322" y="3070"/>
                  <a:pt x="2306" y="3086"/>
                </a:cubicBezTo>
                <a:cubicBezTo>
                  <a:pt x="2296" y="3091"/>
                  <a:pt x="2290" y="3101"/>
                  <a:pt x="2275" y="3101"/>
                </a:cubicBezTo>
                <a:cubicBezTo>
                  <a:pt x="2259" y="3101"/>
                  <a:pt x="2227" y="3117"/>
                  <a:pt x="2211" y="3117"/>
                </a:cubicBezTo>
                <a:cubicBezTo>
                  <a:pt x="2179" y="3117"/>
                  <a:pt x="2163" y="3101"/>
                  <a:pt x="2132" y="3101"/>
                </a:cubicBezTo>
                <a:cubicBezTo>
                  <a:pt x="2115" y="3086"/>
                  <a:pt x="2100" y="3070"/>
                  <a:pt x="2084" y="3054"/>
                </a:cubicBezTo>
                <a:cubicBezTo>
                  <a:pt x="2068" y="3038"/>
                  <a:pt x="2052" y="3006"/>
                  <a:pt x="2052" y="2974"/>
                </a:cubicBezTo>
                <a:cubicBezTo>
                  <a:pt x="2036" y="2943"/>
                  <a:pt x="2036" y="2910"/>
                  <a:pt x="2036" y="2879"/>
                </a:cubicBezTo>
                <a:cubicBezTo>
                  <a:pt x="2036" y="2847"/>
                  <a:pt x="2036" y="2815"/>
                  <a:pt x="2052" y="2783"/>
                </a:cubicBezTo>
                <a:cubicBezTo>
                  <a:pt x="2052" y="2752"/>
                  <a:pt x="2068" y="2720"/>
                  <a:pt x="2084" y="2704"/>
                </a:cubicBezTo>
                <a:cubicBezTo>
                  <a:pt x="2100" y="2688"/>
                  <a:pt x="2115" y="2672"/>
                  <a:pt x="2132" y="2656"/>
                </a:cubicBezTo>
                <a:cubicBezTo>
                  <a:pt x="2163" y="2656"/>
                  <a:pt x="2179" y="2640"/>
                  <a:pt x="2211" y="2640"/>
                </a:cubicBezTo>
                <a:cubicBezTo>
                  <a:pt x="2227" y="2640"/>
                  <a:pt x="2243" y="2656"/>
                  <a:pt x="2259" y="2656"/>
                </a:cubicBezTo>
                <a:cubicBezTo>
                  <a:pt x="2275" y="2656"/>
                  <a:pt x="2290" y="2672"/>
                  <a:pt x="2306" y="2672"/>
                </a:cubicBezTo>
                <a:cubicBezTo>
                  <a:pt x="2306" y="2688"/>
                  <a:pt x="2322" y="2704"/>
                  <a:pt x="2322" y="2720"/>
                </a:cubicBezTo>
                <a:cubicBezTo>
                  <a:pt x="2338" y="2735"/>
                  <a:pt x="2338" y="2752"/>
                  <a:pt x="2354" y="2767"/>
                </a:cubicBezTo>
                <a:cubicBezTo>
                  <a:pt x="2354" y="2783"/>
                  <a:pt x="2370" y="2799"/>
                  <a:pt x="2386" y="2799"/>
                </a:cubicBezTo>
                <a:lnTo>
                  <a:pt x="2466" y="2783"/>
                </a:lnTo>
                <a:cubicBezTo>
                  <a:pt x="2471" y="2778"/>
                  <a:pt x="2481" y="2783"/>
                  <a:pt x="2481" y="2767"/>
                </a:cubicBezTo>
                <a:cubicBezTo>
                  <a:pt x="2481" y="2762"/>
                  <a:pt x="2497" y="2752"/>
                  <a:pt x="2481" y="2752"/>
                </a:cubicBezTo>
                <a:cubicBezTo>
                  <a:pt x="2481" y="2720"/>
                  <a:pt x="2466" y="2688"/>
                  <a:pt x="2466" y="2656"/>
                </a:cubicBezTo>
                <a:cubicBezTo>
                  <a:pt x="2450" y="2624"/>
                  <a:pt x="2433" y="2608"/>
                  <a:pt x="2402" y="2577"/>
                </a:cubicBezTo>
                <a:cubicBezTo>
                  <a:pt x="2386" y="2561"/>
                  <a:pt x="2354" y="2545"/>
                  <a:pt x="2322" y="2529"/>
                </a:cubicBezTo>
                <a:cubicBezTo>
                  <a:pt x="2290" y="2513"/>
                  <a:pt x="2243" y="2513"/>
                  <a:pt x="2211" y="2513"/>
                </a:cubicBezTo>
                <a:cubicBezTo>
                  <a:pt x="2163" y="2513"/>
                  <a:pt x="2115" y="2529"/>
                  <a:pt x="2084" y="2545"/>
                </a:cubicBezTo>
                <a:cubicBezTo>
                  <a:pt x="2052" y="2561"/>
                  <a:pt x="2004" y="2577"/>
                  <a:pt x="1988" y="2608"/>
                </a:cubicBezTo>
                <a:cubicBezTo>
                  <a:pt x="1957" y="2640"/>
                  <a:pt x="1924" y="2688"/>
                  <a:pt x="1909" y="2720"/>
                </a:cubicBezTo>
                <a:cubicBezTo>
                  <a:pt x="1893" y="2767"/>
                  <a:pt x="1893" y="2815"/>
                  <a:pt x="1893" y="2879"/>
                </a:cubicBezTo>
                <a:cubicBezTo>
                  <a:pt x="1893" y="2943"/>
                  <a:pt x="1893" y="2990"/>
                  <a:pt x="1909" y="3038"/>
                </a:cubicBezTo>
                <a:cubicBezTo>
                  <a:pt x="1924" y="3070"/>
                  <a:pt x="1957" y="3117"/>
                  <a:pt x="1972" y="3149"/>
                </a:cubicBezTo>
                <a:cubicBezTo>
                  <a:pt x="2004" y="3181"/>
                  <a:pt x="2036" y="3197"/>
                  <a:pt x="2084" y="3213"/>
                </a:cubicBezTo>
                <a:cubicBezTo>
                  <a:pt x="2115" y="3229"/>
                  <a:pt x="2163" y="3244"/>
                  <a:pt x="2211" y="3244"/>
                </a:cubicBezTo>
                <a:cubicBezTo>
                  <a:pt x="2259" y="3244"/>
                  <a:pt x="2290" y="3244"/>
                  <a:pt x="2322" y="3229"/>
                </a:cubicBezTo>
                <a:cubicBezTo>
                  <a:pt x="2354" y="3213"/>
                  <a:pt x="2386" y="3197"/>
                  <a:pt x="2418" y="3165"/>
                </a:cubicBezTo>
                <a:cubicBezTo>
                  <a:pt x="2433" y="3149"/>
                  <a:pt x="2450" y="3117"/>
                  <a:pt x="2466" y="3086"/>
                </a:cubicBezTo>
                <a:cubicBezTo>
                  <a:pt x="2481" y="3054"/>
                  <a:pt x="2497" y="3022"/>
                  <a:pt x="2497" y="2990"/>
                </a:cubicBezTo>
                <a:lnTo>
                  <a:pt x="2497" y="2974"/>
                </a:lnTo>
                <a:cubicBezTo>
                  <a:pt x="2481" y="2958"/>
                  <a:pt x="2481" y="2958"/>
                  <a:pt x="2466" y="2958"/>
                </a:cubicBezTo>
                <a:close/>
                <a:moveTo>
                  <a:pt x="2863" y="2815"/>
                </a:moveTo>
                <a:lnTo>
                  <a:pt x="2784" y="2799"/>
                </a:lnTo>
                <a:cubicBezTo>
                  <a:pt x="2752" y="2783"/>
                  <a:pt x="2736" y="2783"/>
                  <a:pt x="2720" y="2783"/>
                </a:cubicBezTo>
                <a:lnTo>
                  <a:pt x="2704" y="2767"/>
                </a:lnTo>
                <a:cubicBezTo>
                  <a:pt x="2688" y="2767"/>
                  <a:pt x="2693" y="2757"/>
                  <a:pt x="2688" y="2752"/>
                </a:cubicBezTo>
                <a:lnTo>
                  <a:pt x="2688" y="2720"/>
                </a:lnTo>
                <a:lnTo>
                  <a:pt x="2688" y="2688"/>
                </a:lnTo>
                <a:lnTo>
                  <a:pt x="2704" y="2672"/>
                </a:lnTo>
                <a:cubicBezTo>
                  <a:pt x="2720" y="2656"/>
                  <a:pt x="2720" y="2656"/>
                  <a:pt x="2736" y="2656"/>
                </a:cubicBezTo>
                <a:cubicBezTo>
                  <a:pt x="2768" y="2640"/>
                  <a:pt x="2784" y="2640"/>
                  <a:pt x="2815" y="2640"/>
                </a:cubicBezTo>
                <a:cubicBezTo>
                  <a:pt x="2831" y="2640"/>
                  <a:pt x="2847" y="2640"/>
                  <a:pt x="2863" y="2656"/>
                </a:cubicBezTo>
                <a:cubicBezTo>
                  <a:pt x="2879" y="2656"/>
                  <a:pt x="2895" y="2656"/>
                  <a:pt x="2895" y="2672"/>
                </a:cubicBezTo>
                <a:cubicBezTo>
                  <a:pt x="2911" y="2672"/>
                  <a:pt x="2911" y="2688"/>
                  <a:pt x="2927" y="2688"/>
                </a:cubicBezTo>
                <a:cubicBezTo>
                  <a:pt x="2927" y="2704"/>
                  <a:pt x="2927" y="2720"/>
                  <a:pt x="2942" y="2735"/>
                </a:cubicBezTo>
                <a:cubicBezTo>
                  <a:pt x="2942" y="2752"/>
                  <a:pt x="2959" y="2752"/>
                  <a:pt x="2974" y="2752"/>
                </a:cubicBezTo>
                <a:lnTo>
                  <a:pt x="3054" y="2735"/>
                </a:lnTo>
                <a:cubicBezTo>
                  <a:pt x="3059" y="2730"/>
                  <a:pt x="3070" y="2735"/>
                  <a:pt x="3070" y="2720"/>
                </a:cubicBezTo>
                <a:lnTo>
                  <a:pt x="3070" y="2704"/>
                </a:lnTo>
                <a:cubicBezTo>
                  <a:pt x="3070" y="2672"/>
                  <a:pt x="3054" y="2656"/>
                  <a:pt x="3054" y="2640"/>
                </a:cubicBezTo>
                <a:cubicBezTo>
                  <a:pt x="3038" y="2608"/>
                  <a:pt x="3022" y="2592"/>
                  <a:pt x="3006" y="2577"/>
                </a:cubicBezTo>
                <a:cubicBezTo>
                  <a:pt x="2974" y="2561"/>
                  <a:pt x="2959" y="2545"/>
                  <a:pt x="2927" y="2529"/>
                </a:cubicBezTo>
                <a:cubicBezTo>
                  <a:pt x="2895" y="2513"/>
                  <a:pt x="2847" y="2513"/>
                  <a:pt x="2799" y="2513"/>
                </a:cubicBezTo>
                <a:cubicBezTo>
                  <a:pt x="2768" y="2513"/>
                  <a:pt x="2736" y="2513"/>
                  <a:pt x="2704" y="2529"/>
                </a:cubicBezTo>
                <a:cubicBezTo>
                  <a:pt x="2672" y="2529"/>
                  <a:pt x="2641" y="2545"/>
                  <a:pt x="2624" y="2561"/>
                </a:cubicBezTo>
                <a:cubicBezTo>
                  <a:pt x="2593" y="2577"/>
                  <a:pt x="2577" y="2608"/>
                  <a:pt x="2561" y="2624"/>
                </a:cubicBezTo>
                <a:cubicBezTo>
                  <a:pt x="2545" y="2656"/>
                  <a:pt x="2545" y="2688"/>
                  <a:pt x="2545" y="2720"/>
                </a:cubicBezTo>
                <a:cubicBezTo>
                  <a:pt x="2545" y="2752"/>
                  <a:pt x="2545" y="2783"/>
                  <a:pt x="2561" y="2815"/>
                </a:cubicBezTo>
                <a:cubicBezTo>
                  <a:pt x="2561" y="2831"/>
                  <a:pt x="2577" y="2847"/>
                  <a:pt x="2609" y="2879"/>
                </a:cubicBezTo>
                <a:cubicBezTo>
                  <a:pt x="2624" y="2895"/>
                  <a:pt x="2641" y="2895"/>
                  <a:pt x="2672" y="2910"/>
                </a:cubicBezTo>
                <a:cubicBezTo>
                  <a:pt x="2704" y="2926"/>
                  <a:pt x="2736" y="2926"/>
                  <a:pt x="2768" y="2926"/>
                </a:cubicBezTo>
                <a:lnTo>
                  <a:pt x="2847" y="2943"/>
                </a:lnTo>
                <a:cubicBezTo>
                  <a:pt x="2863" y="2958"/>
                  <a:pt x="2879" y="2958"/>
                  <a:pt x="2895" y="2958"/>
                </a:cubicBezTo>
                <a:cubicBezTo>
                  <a:pt x="2911" y="2974"/>
                  <a:pt x="2911" y="2974"/>
                  <a:pt x="2927" y="2974"/>
                </a:cubicBezTo>
                <a:lnTo>
                  <a:pt x="2927" y="3006"/>
                </a:lnTo>
                <a:lnTo>
                  <a:pt x="2942" y="3022"/>
                </a:lnTo>
                <a:cubicBezTo>
                  <a:pt x="2942" y="3038"/>
                  <a:pt x="2927" y="3054"/>
                  <a:pt x="2927" y="3070"/>
                </a:cubicBezTo>
                <a:cubicBezTo>
                  <a:pt x="2922" y="3075"/>
                  <a:pt x="2927" y="3086"/>
                  <a:pt x="2911" y="3086"/>
                </a:cubicBezTo>
                <a:cubicBezTo>
                  <a:pt x="2911" y="3101"/>
                  <a:pt x="2895" y="3101"/>
                  <a:pt x="2879" y="3101"/>
                </a:cubicBezTo>
                <a:cubicBezTo>
                  <a:pt x="2863" y="3117"/>
                  <a:pt x="2847" y="3117"/>
                  <a:pt x="2815" y="3117"/>
                </a:cubicBezTo>
                <a:cubicBezTo>
                  <a:pt x="2768" y="3117"/>
                  <a:pt x="2736" y="3101"/>
                  <a:pt x="2704" y="3086"/>
                </a:cubicBezTo>
                <a:cubicBezTo>
                  <a:pt x="2688" y="3070"/>
                  <a:pt x="2672" y="3054"/>
                  <a:pt x="2672" y="3006"/>
                </a:cubicBezTo>
                <a:cubicBezTo>
                  <a:pt x="2672" y="2990"/>
                  <a:pt x="2656" y="2990"/>
                  <a:pt x="2641" y="2990"/>
                </a:cubicBezTo>
                <a:lnTo>
                  <a:pt x="2561" y="2990"/>
                </a:lnTo>
                <a:lnTo>
                  <a:pt x="2529" y="2990"/>
                </a:lnTo>
                <a:lnTo>
                  <a:pt x="2529" y="3022"/>
                </a:lnTo>
                <a:cubicBezTo>
                  <a:pt x="2529" y="3054"/>
                  <a:pt x="2545" y="3086"/>
                  <a:pt x="2561" y="3117"/>
                </a:cubicBezTo>
                <a:cubicBezTo>
                  <a:pt x="2577" y="3149"/>
                  <a:pt x="2593" y="3181"/>
                  <a:pt x="2624" y="3197"/>
                </a:cubicBezTo>
                <a:cubicBezTo>
                  <a:pt x="2641" y="3213"/>
                  <a:pt x="2672" y="3229"/>
                  <a:pt x="2704" y="3229"/>
                </a:cubicBezTo>
                <a:cubicBezTo>
                  <a:pt x="2736" y="3244"/>
                  <a:pt x="2784" y="3244"/>
                  <a:pt x="2815" y="3244"/>
                </a:cubicBezTo>
                <a:cubicBezTo>
                  <a:pt x="2863" y="3244"/>
                  <a:pt x="2895" y="3244"/>
                  <a:pt x="2927" y="3229"/>
                </a:cubicBezTo>
                <a:cubicBezTo>
                  <a:pt x="2959" y="3213"/>
                  <a:pt x="2990" y="3197"/>
                  <a:pt x="3006" y="3181"/>
                </a:cubicBezTo>
                <a:cubicBezTo>
                  <a:pt x="3038" y="3165"/>
                  <a:pt x="3054" y="3133"/>
                  <a:pt x="3070" y="3117"/>
                </a:cubicBezTo>
                <a:cubicBezTo>
                  <a:pt x="3070" y="3086"/>
                  <a:pt x="3086" y="3054"/>
                  <a:pt x="3086" y="3022"/>
                </a:cubicBezTo>
                <a:cubicBezTo>
                  <a:pt x="3086" y="2958"/>
                  <a:pt x="3070" y="2910"/>
                  <a:pt x="3022" y="2879"/>
                </a:cubicBezTo>
                <a:cubicBezTo>
                  <a:pt x="2990" y="2847"/>
                  <a:pt x="2942" y="2831"/>
                  <a:pt x="2863" y="2815"/>
                </a:cubicBezTo>
                <a:close/>
                <a:moveTo>
                  <a:pt x="3674" y="2529"/>
                </a:moveTo>
                <a:lnTo>
                  <a:pt x="3579" y="2529"/>
                </a:lnTo>
                <a:cubicBezTo>
                  <a:pt x="3563" y="2529"/>
                  <a:pt x="3563" y="2545"/>
                  <a:pt x="3547" y="2545"/>
                </a:cubicBezTo>
                <a:lnTo>
                  <a:pt x="3388" y="3006"/>
                </a:lnTo>
                <a:lnTo>
                  <a:pt x="3213" y="2545"/>
                </a:lnTo>
                <a:lnTo>
                  <a:pt x="3197" y="2529"/>
                </a:lnTo>
                <a:lnTo>
                  <a:pt x="3102" y="2529"/>
                </a:lnTo>
                <a:cubicBezTo>
                  <a:pt x="3086" y="2529"/>
                  <a:pt x="3086" y="2529"/>
                  <a:pt x="3070" y="2545"/>
                </a:cubicBezTo>
                <a:lnTo>
                  <a:pt x="3070" y="2577"/>
                </a:lnTo>
                <a:lnTo>
                  <a:pt x="3308" y="3213"/>
                </a:lnTo>
                <a:cubicBezTo>
                  <a:pt x="3324" y="3213"/>
                  <a:pt x="3324" y="3229"/>
                  <a:pt x="3340" y="3229"/>
                </a:cubicBezTo>
                <a:lnTo>
                  <a:pt x="3420" y="3229"/>
                </a:lnTo>
                <a:cubicBezTo>
                  <a:pt x="3436" y="3229"/>
                  <a:pt x="3441" y="3218"/>
                  <a:pt x="3451" y="3213"/>
                </a:cubicBezTo>
                <a:lnTo>
                  <a:pt x="3706" y="2577"/>
                </a:lnTo>
                <a:cubicBezTo>
                  <a:pt x="3706" y="2561"/>
                  <a:pt x="3706" y="2545"/>
                  <a:pt x="3690" y="2545"/>
                </a:cubicBezTo>
                <a:cubicBezTo>
                  <a:pt x="3690" y="2529"/>
                  <a:pt x="3679" y="2534"/>
                  <a:pt x="3674" y="252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3" name="Freeform: Shape 4">
            <a:extLst>
              <a:ext uri="{FF2B5EF4-FFF2-40B4-BE49-F238E27FC236}">
                <a16:creationId xmlns:a16="http://schemas.microsoft.com/office/drawing/2014/main" id="{7C4CFE93-16C3-8742-BE14-1942A8420EF4}"/>
              </a:ext>
            </a:extLst>
          </p:cNvPr>
          <p:cNvSpPr/>
          <p:nvPr/>
        </p:nvSpPr>
        <p:spPr>
          <a:xfrm>
            <a:off x="9922310" y="9703381"/>
            <a:ext cx="1562760" cy="1517039"/>
          </a:xfrm>
          <a:custGeom>
            <a:avLst/>
            <a:gdLst/>
            <a:ahLst/>
            <a:cxnLst>
              <a:cxn ang="3cd4">
                <a:pos x="hc" y="t"/>
              </a:cxn>
              <a:cxn ang="cd2">
                <a:pos x="l" y="vc"/>
              </a:cxn>
              <a:cxn ang="cd4">
                <a:pos x="hc" y="b"/>
              </a:cxn>
              <a:cxn ang="0">
                <a:pos x="r" y="vc"/>
              </a:cxn>
            </a:cxnLst>
            <a:rect l="l" t="t" r="r" b="b"/>
            <a:pathLst>
              <a:path w="4342" h="4215">
                <a:moveTo>
                  <a:pt x="79" y="4215"/>
                </a:moveTo>
                <a:lnTo>
                  <a:pt x="3245" y="4215"/>
                </a:lnTo>
                <a:cubicBezTo>
                  <a:pt x="3293" y="4215"/>
                  <a:pt x="3324" y="4183"/>
                  <a:pt x="3324" y="4135"/>
                </a:cubicBezTo>
                <a:lnTo>
                  <a:pt x="3324" y="3658"/>
                </a:lnTo>
                <a:lnTo>
                  <a:pt x="4088" y="3658"/>
                </a:lnTo>
                <a:cubicBezTo>
                  <a:pt x="4231" y="3658"/>
                  <a:pt x="4342" y="3547"/>
                  <a:pt x="4342" y="3404"/>
                </a:cubicBezTo>
                <a:lnTo>
                  <a:pt x="4342" y="2354"/>
                </a:lnTo>
                <a:cubicBezTo>
                  <a:pt x="4342" y="2211"/>
                  <a:pt x="4231" y="2099"/>
                  <a:pt x="4088" y="2099"/>
                </a:cubicBezTo>
                <a:lnTo>
                  <a:pt x="3324" y="2099"/>
                </a:lnTo>
                <a:lnTo>
                  <a:pt x="3324" y="1225"/>
                </a:lnTo>
                <a:cubicBezTo>
                  <a:pt x="3324" y="1209"/>
                  <a:pt x="3324" y="1177"/>
                  <a:pt x="3308" y="1177"/>
                </a:cubicBezTo>
                <a:lnTo>
                  <a:pt x="2147" y="32"/>
                </a:lnTo>
                <a:cubicBezTo>
                  <a:pt x="2131" y="16"/>
                  <a:pt x="2115" y="0"/>
                  <a:pt x="2100" y="0"/>
                </a:cubicBezTo>
                <a:lnTo>
                  <a:pt x="79" y="0"/>
                </a:lnTo>
                <a:cubicBezTo>
                  <a:pt x="32" y="0"/>
                  <a:pt x="0" y="32"/>
                  <a:pt x="0" y="80"/>
                </a:cubicBezTo>
                <a:lnTo>
                  <a:pt x="0" y="4135"/>
                </a:lnTo>
                <a:cubicBezTo>
                  <a:pt x="0" y="4183"/>
                  <a:pt x="32" y="4215"/>
                  <a:pt x="79" y="4215"/>
                </a:cubicBezTo>
                <a:close/>
                <a:moveTo>
                  <a:pt x="4183" y="2354"/>
                </a:moveTo>
                <a:lnTo>
                  <a:pt x="4183" y="3404"/>
                </a:lnTo>
                <a:cubicBezTo>
                  <a:pt x="4183" y="3452"/>
                  <a:pt x="4151" y="3499"/>
                  <a:pt x="4088" y="3499"/>
                </a:cubicBezTo>
                <a:lnTo>
                  <a:pt x="1463" y="3499"/>
                </a:lnTo>
                <a:cubicBezTo>
                  <a:pt x="1415" y="3499"/>
                  <a:pt x="1368" y="3452"/>
                  <a:pt x="1368" y="3404"/>
                </a:cubicBezTo>
                <a:lnTo>
                  <a:pt x="1368" y="2354"/>
                </a:lnTo>
                <a:cubicBezTo>
                  <a:pt x="1368" y="2306"/>
                  <a:pt x="1415" y="2259"/>
                  <a:pt x="1463" y="2259"/>
                </a:cubicBezTo>
                <a:lnTo>
                  <a:pt x="4088" y="2259"/>
                </a:lnTo>
                <a:cubicBezTo>
                  <a:pt x="4151" y="2259"/>
                  <a:pt x="4183" y="2306"/>
                  <a:pt x="4183" y="2354"/>
                </a:cubicBezTo>
                <a:close/>
                <a:moveTo>
                  <a:pt x="2227" y="318"/>
                </a:moveTo>
                <a:lnTo>
                  <a:pt x="3038" y="1129"/>
                </a:lnTo>
                <a:lnTo>
                  <a:pt x="2227" y="1129"/>
                </a:lnTo>
                <a:close/>
                <a:moveTo>
                  <a:pt x="159" y="159"/>
                </a:moveTo>
                <a:lnTo>
                  <a:pt x="2067" y="159"/>
                </a:lnTo>
                <a:lnTo>
                  <a:pt x="2067" y="1209"/>
                </a:lnTo>
                <a:cubicBezTo>
                  <a:pt x="2067" y="1256"/>
                  <a:pt x="2100" y="1288"/>
                  <a:pt x="2147" y="1288"/>
                </a:cubicBezTo>
                <a:lnTo>
                  <a:pt x="3165" y="1288"/>
                </a:lnTo>
                <a:lnTo>
                  <a:pt x="3165" y="2099"/>
                </a:lnTo>
                <a:lnTo>
                  <a:pt x="1463" y="2099"/>
                </a:lnTo>
                <a:cubicBezTo>
                  <a:pt x="1336" y="2099"/>
                  <a:pt x="1209" y="2211"/>
                  <a:pt x="1209" y="2354"/>
                </a:cubicBezTo>
                <a:lnTo>
                  <a:pt x="1209" y="3404"/>
                </a:lnTo>
                <a:cubicBezTo>
                  <a:pt x="1209" y="3547"/>
                  <a:pt x="1336" y="3658"/>
                  <a:pt x="1463" y="3658"/>
                </a:cubicBezTo>
                <a:lnTo>
                  <a:pt x="3165" y="3658"/>
                </a:lnTo>
                <a:lnTo>
                  <a:pt x="3165" y="4056"/>
                </a:lnTo>
                <a:lnTo>
                  <a:pt x="159" y="4056"/>
                </a:lnTo>
                <a:close/>
                <a:moveTo>
                  <a:pt x="2131" y="2529"/>
                </a:moveTo>
                <a:lnTo>
                  <a:pt x="2052" y="2529"/>
                </a:lnTo>
                <a:cubicBezTo>
                  <a:pt x="2036" y="2529"/>
                  <a:pt x="2020" y="2545"/>
                  <a:pt x="2020" y="2561"/>
                </a:cubicBezTo>
                <a:lnTo>
                  <a:pt x="2020" y="2799"/>
                </a:lnTo>
                <a:lnTo>
                  <a:pt x="1749" y="2799"/>
                </a:lnTo>
                <a:lnTo>
                  <a:pt x="1749" y="2561"/>
                </a:lnTo>
                <a:cubicBezTo>
                  <a:pt x="1749" y="2545"/>
                  <a:pt x="1734" y="2529"/>
                  <a:pt x="1718" y="2529"/>
                </a:cubicBezTo>
                <a:lnTo>
                  <a:pt x="1638" y="2529"/>
                </a:lnTo>
                <a:cubicBezTo>
                  <a:pt x="1622" y="2529"/>
                  <a:pt x="1606" y="2545"/>
                  <a:pt x="1606" y="2561"/>
                </a:cubicBezTo>
                <a:lnTo>
                  <a:pt x="1606" y="3197"/>
                </a:lnTo>
                <a:cubicBezTo>
                  <a:pt x="1606" y="3213"/>
                  <a:pt x="1622" y="3229"/>
                  <a:pt x="1638" y="3229"/>
                </a:cubicBezTo>
                <a:lnTo>
                  <a:pt x="1718" y="3229"/>
                </a:lnTo>
                <a:cubicBezTo>
                  <a:pt x="1734" y="3229"/>
                  <a:pt x="1749" y="3213"/>
                  <a:pt x="1749" y="3197"/>
                </a:cubicBezTo>
                <a:lnTo>
                  <a:pt x="1749" y="2943"/>
                </a:lnTo>
                <a:lnTo>
                  <a:pt x="2020" y="2943"/>
                </a:lnTo>
                <a:lnTo>
                  <a:pt x="2020" y="3197"/>
                </a:lnTo>
                <a:cubicBezTo>
                  <a:pt x="2020" y="3213"/>
                  <a:pt x="2036" y="3229"/>
                  <a:pt x="2052" y="3229"/>
                </a:cubicBezTo>
                <a:lnTo>
                  <a:pt x="2131" y="3229"/>
                </a:lnTo>
                <a:cubicBezTo>
                  <a:pt x="2147" y="3229"/>
                  <a:pt x="2163" y="3213"/>
                  <a:pt x="2163" y="3197"/>
                </a:cubicBezTo>
                <a:lnTo>
                  <a:pt x="2163" y="2561"/>
                </a:lnTo>
                <a:cubicBezTo>
                  <a:pt x="2163" y="2545"/>
                  <a:pt x="2147" y="2529"/>
                  <a:pt x="2131" y="2529"/>
                </a:cubicBezTo>
                <a:close/>
                <a:moveTo>
                  <a:pt x="2720" y="2529"/>
                </a:moveTo>
                <a:lnTo>
                  <a:pt x="2211" y="2529"/>
                </a:lnTo>
                <a:cubicBezTo>
                  <a:pt x="2195" y="2529"/>
                  <a:pt x="2179" y="2545"/>
                  <a:pt x="2179" y="2561"/>
                </a:cubicBezTo>
                <a:lnTo>
                  <a:pt x="2179" y="2640"/>
                </a:lnTo>
                <a:cubicBezTo>
                  <a:pt x="2179" y="2656"/>
                  <a:pt x="2195" y="2656"/>
                  <a:pt x="2211" y="2656"/>
                </a:cubicBezTo>
                <a:lnTo>
                  <a:pt x="2402" y="2656"/>
                </a:lnTo>
                <a:lnTo>
                  <a:pt x="2402" y="3197"/>
                </a:lnTo>
                <a:cubicBezTo>
                  <a:pt x="2402" y="3213"/>
                  <a:pt x="2402" y="3229"/>
                  <a:pt x="2433" y="3229"/>
                </a:cubicBezTo>
                <a:lnTo>
                  <a:pt x="2513" y="3229"/>
                </a:lnTo>
                <a:cubicBezTo>
                  <a:pt x="2529" y="3229"/>
                  <a:pt x="2545" y="3213"/>
                  <a:pt x="2545" y="3197"/>
                </a:cubicBezTo>
                <a:lnTo>
                  <a:pt x="2545" y="2656"/>
                </a:lnTo>
                <a:lnTo>
                  <a:pt x="2720" y="2656"/>
                </a:lnTo>
                <a:cubicBezTo>
                  <a:pt x="2736" y="2656"/>
                  <a:pt x="2752" y="2656"/>
                  <a:pt x="2752" y="2640"/>
                </a:cubicBezTo>
                <a:lnTo>
                  <a:pt x="2752" y="2561"/>
                </a:lnTo>
                <a:cubicBezTo>
                  <a:pt x="2752" y="2545"/>
                  <a:pt x="2736" y="2529"/>
                  <a:pt x="2720" y="2529"/>
                </a:cubicBezTo>
                <a:close/>
                <a:moveTo>
                  <a:pt x="2942" y="2545"/>
                </a:moveTo>
                <a:cubicBezTo>
                  <a:pt x="2927" y="2545"/>
                  <a:pt x="2927" y="2529"/>
                  <a:pt x="2911" y="2529"/>
                </a:cubicBezTo>
                <a:lnTo>
                  <a:pt x="2799" y="2529"/>
                </a:lnTo>
                <a:cubicBezTo>
                  <a:pt x="2784" y="2529"/>
                  <a:pt x="2784" y="2545"/>
                  <a:pt x="2784" y="2561"/>
                </a:cubicBezTo>
                <a:lnTo>
                  <a:pt x="2784" y="3197"/>
                </a:lnTo>
                <a:cubicBezTo>
                  <a:pt x="2784" y="3213"/>
                  <a:pt x="2784" y="3229"/>
                  <a:pt x="2799" y="3229"/>
                </a:cubicBezTo>
                <a:lnTo>
                  <a:pt x="2879" y="3229"/>
                </a:lnTo>
                <a:cubicBezTo>
                  <a:pt x="2895" y="3229"/>
                  <a:pt x="2911" y="3213"/>
                  <a:pt x="2911" y="3197"/>
                </a:cubicBezTo>
                <a:lnTo>
                  <a:pt x="2911" y="2863"/>
                </a:lnTo>
                <a:lnTo>
                  <a:pt x="3054" y="3213"/>
                </a:lnTo>
                <a:lnTo>
                  <a:pt x="3070" y="3229"/>
                </a:lnTo>
                <a:lnTo>
                  <a:pt x="3149" y="3229"/>
                </a:lnTo>
                <a:lnTo>
                  <a:pt x="3165" y="3213"/>
                </a:lnTo>
                <a:lnTo>
                  <a:pt x="3308" y="2847"/>
                </a:lnTo>
                <a:lnTo>
                  <a:pt x="3308" y="3197"/>
                </a:lnTo>
                <a:cubicBezTo>
                  <a:pt x="3308" y="3213"/>
                  <a:pt x="3324" y="3229"/>
                  <a:pt x="3340" y="3229"/>
                </a:cubicBezTo>
                <a:lnTo>
                  <a:pt x="3420" y="3229"/>
                </a:lnTo>
                <a:cubicBezTo>
                  <a:pt x="3436" y="3229"/>
                  <a:pt x="3451" y="3213"/>
                  <a:pt x="3451" y="3197"/>
                </a:cubicBezTo>
                <a:lnTo>
                  <a:pt x="3451" y="2561"/>
                </a:lnTo>
                <a:cubicBezTo>
                  <a:pt x="3451" y="2545"/>
                  <a:pt x="3436" y="2529"/>
                  <a:pt x="3420" y="2529"/>
                </a:cubicBezTo>
                <a:lnTo>
                  <a:pt x="3324" y="2529"/>
                </a:lnTo>
                <a:cubicBezTo>
                  <a:pt x="3308" y="2529"/>
                  <a:pt x="3303" y="2540"/>
                  <a:pt x="3293" y="2545"/>
                </a:cubicBezTo>
                <a:lnTo>
                  <a:pt x="3117" y="3022"/>
                </a:lnTo>
                <a:close/>
                <a:moveTo>
                  <a:pt x="3563" y="3229"/>
                </a:moveTo>
                <a:lnTo>
                  <a:pt x="3960" y="3229"/>
                </a:lnTo>
                <a:cubicBezTo>
                  <a:pt x="3976" y="3229"/>
                  <a:pt x="3992" y="3213"/>
                  <a:pt x="3992" y="3197"/>
                </a:cubicBezTo>
                <a:lnTo>
                  <a:pt x="4008" y="3133"/>
                </a:lnTo>
                <a:cubicBezTo>
                  <a:pt x="4008" y="3117"/>
                  <a:pt x="4008" y="3117"/>
                  <a:pt x="3992" y="3101"/>
                </a:cubicBezTo>
                <a:lnTo>
                  <a:pt x="3976" y="3101"/>
                </a:lnTo>
                <a:lnTo>
                  <a:pt x="3674" y="3101"/>
                </a:lnTo>
                <a:lnTo>
                  <a:pt x="3674" y="2561"/>
                </a:lnTo>
                <a:cubicBezTo>
                  <a:pt x="3674" y="2545"/>
                  <a:pt x="3658" y="2529"/>
                  <a:pt x="3642" y="2529"/>
                </a:cubicBezTo>
                <a:lnTo>
                  <a:pt x="3563" y="2529"/>
                </a:lnTo>
                <a:cubicBezTo>
                  <a:pt x="3547" y="2529"/>
                  <a:pt x="3531" y="2545"/>
                  <a:pt x="3531" y="2561"/>
                </a:cubicBezTo>
                <a:lnTo>
                  <a:pt x="3531" y="3197"/>
                </a:lnTo>
                <a:cubicBezTo>
                  <a:pt x="3531" y="3213"/>
                  <a:pt x="3547" y="3229"/>
                  <a:pt x="3563" y="322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278375870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Documents / Windows - 3</a:t>
            </a:r>
          </a:p>
        </p:txBody>
      </p:sp>
      <p:sp>
        <p:nvSpPr>
          <p:cNvPr id="40" name="TextBox 39">
            <a:extLst>
              <a:ext uri="{FF2B5EF4-FFF2-40B4-BE49-F238E27FC236}">
                <a16:creationId xmlns:a16="http://schemas.microsoft.com/office/drawing/2014/main" id="{D20F2DCC-90AB-F645-94D2-15BBC909F5F6}"/>
              </a:ext>
            </a:extLst>
          </p:cNvPr>
          <p:cNvSpPr txBox="1"/>
          <p:nvPr/>
        </p:nvSpPr>
        <p:spPr>
          <a:xfrm>
            <a:off x="1396461" y="5164929"/>
            <a:ext cx="2465738"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Hot</a:t>
            </a:r>
          </a:p>
        </p:txBody>
      </p:sp>
      <p:sp>
        <p:nvSpPr>
          <p:cNvPr id="41" name="TextBox 40">
            <a:extLst>
              <a:ext uri="{FF2B5EF4-FFF2-40B4-BE49-F238E27FC236}">
                <a16:creationId xmlns:a16="http://schemas.microsoft.com/office/drawing/2014/main" id="{A851325C-38E3-1A48-B370-0F06567C87CA}"/>
              </a:ext>
            </a:extLst>
          </p:cNvPr>
          <p:cNvSpPr txBox="1"/>
          <p:nvPr/>
        </p:nvSpPr>
        <p:spPr>
          <a:xfrm>
            <a:off x="5566758" y="5164929"/>
            <a:ext cx="243317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Link</a:t>
            </a:r>
          </a:p>
        </p:txBody>
      </p:sp>
      <p:sp>
        <p:nvSpPr>
          <p:cNvPr id="42" name="TextBox 41">
            <a:extLst>
              <a:ext uri="{FF2B5EF4-FFF2-40B4-BE49-F238E27FC236}">
                <a16:creationId xmlns:a16="http://schemas.microsoft.com/office/drawing/2014/main" id="{3A28BD2D-9372-DF4D-A200-6886984BA7FD}"/>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Trash</a:t>
            </a:r>
          </a:p>
        </p:txBody>
      </p:sp>
      <p:sp>
        <p:nvSpPr>
          <p:cNvPr id="43" name="TextBox 42">
            <a:extLst>
              <a:ext uri="{FF2B5EF4-FFF2-40B4-BE49-F238E27FC236}">
                <a16:creationId xmlns:a16="http://schemas.microsoft.com/office/drawing/2014/main" id="{DF92F77D-C9EE-BA41-BB8C-6F32E19EE9AD}"/>
              </a:ext>
            </a:extLst>
          </p:cNvPr>
          <p:cNvSpPr txBox="1"/>
          <p:nvPr/>
        </p:nvSpPr>
        <p:spPr>
          <a:xfrm>
            <a:off x="13303555" y="5164929"/>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Cloud</a:t>
            </a:r>
          </a:p>
        </p:txBody>
      </p:sp>
      <p:sp>
        <p:nvSpPr>
          <p:cNvPr id="44" name="TextBox 43">
            <a:extLst>
              <a:ext uri="{FF2B5EF4-FFF2-40B4-BE49-F238E27FC236}">
                <a16:creationId xmlns:a16="http://schemas.microsoft.com/office/drawing/2014/main" id="{1ED7AE2F-939A-914B-AC95-0BE5705C3038}"/>
              </a:ext>
            </a:extLst>
          </p:cNvPr>
          <p:cNvSpPr txBox="1"/>
          <p:nvPr/>
        </p:nvSpPr>
        <p:spPr>
          <a:xfrm>
            <a:off x="20809186" y="5164929"/>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Pie</a:t>
            </a:r>
          </a:p>
        </p:txBody>
      </p:sp>
      <p:sp>
        <p:nvSpPr>
          <p:cNvPr id="45" name="TextBox 44">
            <a:extLst>
              <a:ext uri="{FF2B5EF4-FFF2-40B4-BE49-F238E27FC236}">
                <a16:creationId xmlns:a16="http://schemas.microsoft.com/office/drawing/2014/main" id="{D6EBBDD0-E91D-0A46-9EF7-E776CF69A10C}"/>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Graph</a:t>
            </a:r>
          </a:p>
        </p:txBody>
      </p:sp>
      <p:sp>
        <p:nvSpPr>
          <p:cNvPr id="46" name="TextBox 45">
            <a:extLst>
              <a:ext uri="{FF2B5EF4-FFF2-40B4-BE49-F238E27FC236}">
                <a16:creationId xmlns:a16="http://schemas.microsoft.com/office/drawing/2014/main" id="{3DC29785-2D00-8D44-B4BA-547B1E15DFFC}"/>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Bar</a:t>
            </a:r>
          </a:p>
        </p:txBody>
      </p:sp>
      <p:sp>
        <p:nvSpPr>
          <p:cNvPr id="47" name="TextBox 46">
            <a:extLst>
              <a:ext uri="{FF2B5EF4-FFF2-40B4-BE49-F238E27FC236}">
                <a16:creationId xmlns:a16="http://schemas.microsoft.com/office/drawing/2014/main" id="{B231C400-5A72-4843-B989-354C9B73A917}"/>
              </a:ext>
            </a:extLst>
          </p:cNvPr>
          <p:cNvSpPr txBox="1"/>
          <p:nvPr/>
        </p:nvSpPr>
        <p:spPr>
          <a:xfrm>
            <a:off x="9811176" y="8292956"/>
            <a:ext cx="211138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Blank</a:t>
            </a:r>
          </a:p>
        </p:txBody>
      </p:sp>
      <p:sp>
        <p:nvSpPr>
          <p:cNvPr id="48" name="TextBox 47">
            <a:extLst>
              <a:ext uri="{FF2B5EF4-FFF2-40B4-BE49-F238E27FC236}">
                <a16:creationId xmlns:a16="http://schemas.microsoft.com/office/drawing/2014/main" id="{BBC6B273-F097-234D-B797-2511FF159428}"/>
              </a:ext>
            </a:extLst>
          </p:cNvPr>
          <p:cNvSpPr txBox="1"/>
          <p:nvPr/>
        </p:nvSpPr>
        <p:spPr>
          <a:xfrm>
            <a:off x="13560944" y="8292956"/>
            <a:ext cx="2106666"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Corner Blank</a:t>
            </a:r>
          </a:p>
        </p:txBody>
      </p:sp>
      <p:sp>
        <p:nvSpPr>
          <p:cNvPr id="49" name="TextBox 48">
            <a:extLst>
              <a:ext uri="{FF2B5EF4-FFF2-40B4-BE49-F238E27FC236}">
                <a16:creationId xmlns:a16="http://schemas.microsoft.com/office/drawing/2014/main" id="{967D69BB-89FB-1F4E-BE32-8891369FBC43}"/>
              </a:ext>
            </a:extLst>
          </p:cNvPr>
          <p:cNvSpPr txBox="1"/>
          <p:nvPr/>
        </p:nvSpPr>
        <p:spPr>
          <a:xfrm>
            <a:off x="20809186" y="8292956"/>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a:t>
            </a:r>
          </a:p>
        </p:txBody>
      </p:sp>
      <p:sp>
        <p:nvSpPr>
          <p:cNvPr id="50" name="TextBox 49">
            <a:extLst>
              <a:ext uri="{FF2B5EF4-FFF2-40B4-BE49-F238E27FC236}">
                <a16:creationId xmlns:a16="http://schemas.microsoft.com/office/drawing/2014/main" id="{CFED0F2F-74D9-9749-8F84-98384DE683DB}"/>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x</a:t>
            </a:r>
          </a:p>
        </p:txBody>
      </p:sp>
      <p:sp>
        <p:nvSpPr>
          <p:cNvPr id="51" name="TextBox 50">
            <a:extLst>
              <a:ext uri="{FF2B5EF4-FFF2-40B4-BE49-F238E27FC236}">
                <a16:creationId xmlns:a16="http://schemas.microsoft.com/office/drawing/2014/main" id="{FF3A08AA-F9F9-A740-8A65-2B765D3B7F0C}"/>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Down</a:t>
            </a:r>
          </a:p>
        </p:txBody>
      </p:sp>
      <p:sp>
        <p:nvSpPr>
          <p:cNvPr id="52" name="TextBox 51">
            <a:extLst>
              <a:ext uri="{FF2B5EF4-FFF2-40B4-BE49-F238E27FC236}">
                <a16:creationId xmlns:a16="http://schemas.microsoft.com/office/drawing/2014/main" id="{099B3A3F-31C0-564A-89BA-5009EB87A2F9}"/>
              </a:ext>
            </a:extLst>
          </p:cNvPr>
          <p:cNvSpPr txBox="1"/>
          <p:nvPr/>
        </p:nvSpPr>
        <p:spPr>
          <a:xfrm>
            <a:off x="9013116"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Up</a:t>
            </a:r>
          </a:p>
        </p:txBody>
      </p:sp>
      <p:sp>
        <p:nvSpPr>
          <p:cNvPr id="53" name="TextBox 52">
            <a:extLst>
              <a:ext uri="{FF2B5EF4-FFF2-40B4-BE49-F238E27FC236}">
                <a16:creationId xmlns:a16="http://schemas.microsoft.com/office/drawing/2014/main" id="{7D2D1D8A-3061-6349-9582-4B4A21EB199E}"/>
              </a:ext>
            </a:extLst>
          </p:cNvPr>
          <p:cNvSpPr txBox="1"/>
          <p:nvPr/>
        </p:nvSpPr>
        <p:spPr>
          <a:xfrm>
            <a:off x="13303555"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Right</a:t>
            </a:r>
          </a:p>
        </p:txBody>
      </p:sp>
      <p:sp>
        <p:nvSpPr>
          <p:cNvPr id="54" name="Freeform: Shape 26">
            <a:extLst>
              <a:ext uri="{FF2B5EF4-FFF2-40B4-BE49-F238E27FC236}">
                <a16:creationId xmlns:a16="http://schemas.microsoft.com/office/drawing/2014/main" id="{CD5B7CD2-E114-A647-8346-67F23AAFE96F}"/>
              </a:ext>
            </a:extLst>
          </p:cNvPr>
          <p:cNvSpPr/>
          <p:nvPr/>
        </p:nvSpPr>
        <p:spPr>
          <a:xfrm>
            <a:off x="10866869" y="394484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5" name="TextBox 54">
            <a:extLst>
              <a:ext uri="{FF2B5EF4-FFF2-40B4-BE49-F238E27FC236}">
                <a16:creationId xmlns:a16="http://schemas.microsoft.com/office/drawing/2014/main" id="{F66716AC-8F0F-0C45-A9E5-019C23AF8138}"/>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Sync</a:t>
            </a:r>
          </a:p>
        </p:txBody>
      </p:sp>
      <p:sp>
        <p:nvSpPr>
          <p:cNvPr id="56" name="TextBox 55">
            <a:extLst>
              <a:ext uri="{FF2B5EF4-FFF2-40B4-BE49-F238E27FC236}">
                <a16:creationId xmlns:a16="http://schemas.microsoft.com/office/drawing/2014/main" id="{D61AB813-D648-F649-B608-3F72FA5F360A}"/>
              </a:ext>
            </a:extLst>
          </p:cNvPr>
          <p:cNvSpPr txBox="1"/>
          <p:nvPr/>
        </p:nvSpPr>
        <p:spPr>
          <a:xfrm>
            <a:off x="17264939" y="8292956"/>
            <a:ext cx="210666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a:t>
            </a:r>
          </a:p>
        </p:txBody>
      </p:sp>
      <p:sp>
        <p:nvSpPr>
          <p:cNvPr id="57" name="TextBox 56">
            <a:extLst>
              <a:ext uri="{FF2B5EF4-FFF2-40B4-BE49-F238E27FC236}">
                <a16:creationId xmlns:a16="http://schemas.microsoft.com/office/drawing/2014/main" id="{7FD0907B-8DEC-204D-B10D-6327C5A1AC6D}"/>
              </a:ext>
            </a:extLst>
          </p:cNvPr>
          <p:cNvSpPr txBox="1"/>
          <p:nvPr/>
        </p:nvSpPr>
        <p:spPr>
          <a:xfrm>
            <a:off x="17264939" y="11657695"/>
            <a:ext cx="210666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Minus</a:t>
            </a:r>
          </a:p>
        </p:txBody>
      </p:sp>
      <p:sp>
        <p:nvSpPr>
          <p:cNvPr id="58" name="Freeform: Shape 3">
            <a:extLst>
              <a:ext uri="{FF2B5EF4-FFF2-40B4-BE49-F238E27FC236}">
                <a16:creationId xmlns:a16="http://schemas.microsoft.com/office/drawing/2014/main" id="{8451325F-95E5-0040-BED3-92FB2932D84B}"/>
              </a:ext>
            </a:extLst>
          </p:cNvPr>
          <p:cNvSpPr/>
          <p:nvPr/>
        </p:nvSpPr>
        <p:spPr>
          <a:xfrm>
            <a:off x="2042889" y="3228757"/>
            <a:ext cx="1202039" cy="1517039"/>
          </a:xfrm>
          <a:custGeom>
            <a:avLst/>
            <a:gdLst/>
            <a:ahLst/>
            <a:cxnLst>
              <a:cxn ang="3cd4">
                <a:pos x="hc" y="t"/>
              </a:cxn>
              <a:cxn ang="cd2">
                <a:pos x="l" y="vc"/>
              </a:cxn>
              <a:cxn ang="cd4">
                <a:pos x="hc" y="b"/>
              </a:cxn>
              <a:cxn ang="0">
                <a:pos x="r" y="vc"/>
              </a:cxn>
            </a:cxnLst>
            <a:rect l="l" t="t" r="r" b="b"/>
            <a:pathLst>
              <a:path w="3340" h="4215">
                <a:moveTo>
                  <a:pt x="3054" y="2831"/>
                </a:moveTo>
                <a:cubicBezTo>
                  <a:pt x="3022" y="2799"/>
                  <a:pt x="2990" y="2799"/>
                  <a:pt x="2959" y="2815"/>
                </a:cubicBezTo>
                <a:cubicBezTo>
                  <a:pt x="2927" y="2831"/>
                  <a:pt x="2911" y="2847"/>
                  <a:pt x="2911" y="2879"/>
                </a:cubicBezTo>
                <a:cubicBezTo>
                  <a:pt x="2911" y="3038"/>
                  <a:pt x="2911" y="3165"/>
                  <a:pt x="2799" y="3292"/>
                </a:cubicBezTo>
                <a:cubicBezTo>
                  <a:pt x="2704" y="3228"/>
                  <a:pt x="2545" y="2847"/>
                  <a:pt x="2545" y="2338"/>
                </a:cubicBezTo>
                <a:cubicBezTo>
                  <a:pt x="2545" y="2306"/>
                  <a:pt x="2529" y="2274"/>
                  <a:pt x="2497" y="2258"/>
                </a:cubicBezTo>
                <a:cubicBezTo>
                  <a:pt x="2450" y="2258"/>
                  <a:pt x="2418" y="2258"/>
                  <a:pt x="2402" y="2290"/>
                </a:cubicBezTo>
                <a:cubicBezTo>
                  <a:pt x="2100" y="2752"/>
                  <a:pt x="2052" y="3197"/>
                  <a:pt x="2132" y="3531"/>
                </a:cubicBezTo>
                <a:cubicBezTo>
                  <a:pt x="2068" y="3435"/>
                  <a:pt x="2020" y="3324"/>
                  <a:pt x="2020" y="3228"/>
                </a:cubicBezTo>
                <a:cubicBezTo>
                  <a:pt x="2020" y="3197"/>
                  <a:pt x="2004" y="3165"/>
                  <a:pt x="1972" y="3165"/>
                </a:cubicBezTo>
                <a:cubicBezTo>
                  <a:pt x="1941" y="3149"/>
                  <a:pt x="1909" y="3149"/>
                  <a:pt x="1893" y="3181"/>
                </a:cubicBezTo>
                <a:cubicBezTo>
                  <a:pt x="1638" y="3419"/>
                  <a:pt x="1623" y="3785"/>
                  <a:pt x="1718" y="4008"/>
                </a:cubicBezTo>
                <a:cubicBezTo>
                  <a:pt x="1766" y="4135"/>
                  <a:pt x="1845" y="4215"/>
                  <a:pt x="1941" y="4215"/>
                </a:cubicBezTo>
                <a:lnTo>
                  <a:pt x="3165" y="4215"/>
                </a:lnTo>
                <a:cubicBezTo>
                  <a:pt x="3197" y="4215"/>
                  <a:pt x="3229" y="4198"/>
                  <a:pt x="3245" y="4167"/>
                </a:cubicBezTo>
                <a:cubicBezTo>
                  <a:pt x="3420" y="3722"/>
                  <a:pt x="3245" y="3038"/>
                  <a:pt x="3054" y="2831"/>
                </a:cubicBezTo>
                <a:close/>
                <a:moveTo>
                  <a:pt x="3117" y="4055"/>
                </a:moveTo>
                <a:lnTo>
                  <a:pt x="1941" y="4055"/>
                </a:lnTo>
                <a:cubicBezTo>
                  <a:pt x="1914" y="4018"/>
                  <a:pt x="1893" y="4024"/>
                  <a:pt x="1861" y="3944"/>
                </a:cubicBezTo>
                <a:cubicBezTo>
                  <a:pt x="1797" y="3801"/>
                  <a:pt x="1797" y="3594"/>
                  <a:pt x="1893" y="3419"/>
                </a:cubicBezTo>
                <a:cubicBezTo>
                  <a:pt x="1972" y="3610"/>
                  <a:pt x="2115" y="3817"/>
                  <a:pt x="2290" y="3817"/>
                </a:cubicBezTo>
                <a:cubicBezTo>
                  <a:pt x="2322" y="3817"/>
                  <a:pt x="2338" y="3801"/>
                  <a:pt x="2354" y="3785"/>
                </a:cubicBezTo>
                <a:cubicBezTo>
                  <a:pt x="2370" y="3769"/>
                  <a:pt x="2370" y="3737"/>
                  <a:pt x="2370" y="3706"/>
                </a:cubicBezTo>
                <a:cubicBezTo>
                  <a:pt x="2243" y="3451"/>
                  <a:pt x="2195" y="3053"/>
                  <a:pt x="2402" y="2608"/>
                </a:cubicBezTo>
                <a:cubicBezTo>
                  <a:pt x="2450" y="3022"/>
                  <a:pt x="2593" y="3467"/>
                  <a:pt x="2815" y="3467"/>
                </a:cubicBezTo>
                <a:cubicBezTo>
                  <a:pt x="2831" y="3467"/>
                  <a:pt x="2863" y="3451"/>
                  <a:pt x="2879" y="3435"/>
                </a:cubicBezTo>
                <a:cubicBezTo>
                  <a:pt x="2974" y="3340"/>
                  <a:pt x="3022" y="3228"/>
                  <a:pt x="3054" y="3133"/>
                </a:cubicBezTo>
                <a:cubicBezTo>
                  <a:pt x="3149" y="3388"/>
                  <a:pt x="3213" y="3769"/>
                  <a:pt x="3117" y="4055"/>
                </a:cubicBezTo>
                <a:close/>
                <a:moveTo>
                  <a:pt x="3340" y="1225"/>
                </a:moveTo>
                <a:cubicBezTo>
                  <a:pt x="3340" y="1208"/>
                  <a:pt x="3324" y="1177"/>
                  <a:pt x="3308" y="1161"/>
                </a:cubicBezTo>
                <a:lnTo>
                  <a:pt x="2163" y="16"/>
                </a:lnTo>
                <a:cubicBezTo>
                  <a:pt x="2147" y="16"/>
                  <a:pt x="2115" y="0"/>
                  <a:pt x="2100" y="0"/>
                </a:cubicBezTo>
                <a:lnTo>
                  <a:pt x="79" y="0"/>
                </a:lnTo>
                <a:cubicBezTo>
                  <a:pt x="48" y="0"/>
                  <a:pt x="0" y="32"/>
                  <a:pt x="0" y="79"/>
                </a:cubicBezTo>
                <a:lnTo>
                  <a:pt x="0" y="4135"/>
                </a:lnTo>
                <a:cubicBezTo>
                  <a:pt x="0" y="4183"/>
                  <a:pt x="48" y="4215"/>
                  <a:pt x="79" y="4215"/>
                </a:cubicBezTo>
                <a:lnTo>
                  <a:pt x="1368" y="4215"/>
                </a:lnTo>
                <a:cubicBezTo>
                  <a:pt x="1415" y="4215"/>
                  <a:pt x="1448" y="4183"/>
                  <a:pt x="1448" y="4135"/>
                </a:cubicBezTo>
                <a:cubicBezTo>
                  <a:pt x="1448" y="4088"/>
                  <a:pt x="1415" y="4055"/>
                  <a:pt x="1368" y="4055"/>
                </a:cubicBezTo>
                <a:lnTo>
                  <a:pt x="159" y="4055"/>
                </a:lnTo>
                <a:lnTo>
                  <a:pt x="159" y="159"/>
                </a:lnTo>
                <a:lnTo>
                  <a:pt x="2068" y="159"/>
                </a:lnTo>
                <a:lnTo>
                  <a:pt x="2068" y="1208"/>
                </a:lnTo>
                <a:cubicBezTo>
                  <a:pt x="2068" y="1256"/>
                  <a:pt x="2100" y="1288"/>
                  <a:pt x="2147" y="1288"/>
                </a:cubicBezTo>
                <a:lnTo>
                  <a:pt x="3181" y="1288"/>
                </a:lnTo>
                <a:lnTo>
                  <a:pt x="3181" y="2672"/>
                </a:lnTo>
                <a:cubicBezTo>
                  <a:pt x="3181" y="2704"/>
                  <a:pt x="3213" y="2752"/>
                  <a:pt x="3260" y="2752"/>
                </a:cubicBezTo>
                <a:cubicBezTo>
                  <a:pt x="3308" y="2752"/>
                  <a:pt x="3340" y="2704"/>
                  <a:pt x="3340" y="2672"/>
                </a:cubicBezTo>
                <a:close/>
                <a:moveTo>
                  <a:pt x="2227" y="318"/>
                </a:moveTo>
                <a:lnTo>
                  <a:pt x="3054" y="1129"/>
                </a:lnTo>
                <a:lnTo>
                  <a:pt x="2227"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9" name="Freeform: Shape 4">
            <a:extLst>
              <a:ext uri="{FF2B5EF4-FFF2-40B4-BE49-F238E27FC236}">
                <a16:creationId xmlns:a16="http://schemas.microsoft.com/office/drawing/2014/main" id="{440207F6-7B0A-F649-B0D3-0CA1E1A0A5F5}"/>
              </a:ext>
            </a:extLst>
          </p:cNvPr>
          <p:cNvSpPr/>
          <p:nvPr/>
        </p:nvSpPr>
        <p:spPr>
          <a:xfrm>
            <a:off x="6239281" y="3227524"/>
            <a:ext cx="1327680" cy="1517039"/>
          </a:xfrm>
          <a:custGeom>
            <a:avLst/>
            <a:gdLst/>
            <a:ahLst/>
            <a:cxnLst>
              <a:cxn ang="3cd4">
                <a:pos x="hc" y="t"/>
              </a:cxn>
              <a:cxn ang="cd2">
                <a:pos x="l" y="vc"/>
              </a:cxn>
              <a:cxn ang="cd4">
                <a:pos x="hc" y="b"/>
              </a:cxn>
              <a:cxn ang="0">
                <a:pos x="r" y="vc"/>
              </a:cxn>
            </a:cxnLst>
            <a:rect l="l" t="t" r="r" b="b"/>
            <a:pathLst>
              <a:path w="3689" h="4215">
                <a:moveTo>
                  <a:pt x="2482" y="3053"/>
                </a:moveTo>
                <a:cubicBezTo>
                  <a:pt x="2418" y="3006"/>
                  <a:pt x="2354" y="2958"/>
                  <a:pt x="2243" y="2958"/>
                </a:cubicBezTo>
                <a:cubicBezTo>
                  <a:pt x="2004" y="2958"/>
                  <a:pt x="1813" y="3149"/>
                  <a:pt x="1813" y="3403"/>
                </a:cubicBezTo>
                <a:cubicBezTo>
                  <a:pt x="1813" y="3642"/>
                  <a:pt x="2020" y="3833"/>
                  <a:pt x="2259" y="3833"/>
                </a:cubicBezTo>
                <a:cubicBezTo>
                  <a:pt x="2354" y="3833"/>
                  <a:pt x="2450" y="3801"/>
                  <a:pt x="2513" y="3737"/>
                </a:cubicBezTo>
                <a:cubicBezTo>
                  <a:pt x="2561" y="3722"/>
                  <a:pt x="2561" y="3674"/>
                  <a:pt x="2529" y="3626"/>
                </a:cubicBezTo>
                <a:cubicBezTo>
                  <a:pt x="2513" y="3594"/>
                  <a:pt x="2466" y="3594"/>
                  <a:pt x="2418" y="3610"/>
                </a:cubicBezTo>
                <a:cubicBezTo>
                  <a:pt x="2370" y="3658"/>
                  <a:pt x="2322" y="3674"/>
                  <a:pt x="2259" y="3674"/>
                </a:cubicBezTo>
                <a:cubicBezTo>
                  <a:pt x="2100" y="3674"/>
                  <a:pt x="1973" y="3547"/>
                  <a:pt x="1973" y="3403"/>
                </a:cubicBezTo>
                <a:cubicBezTo>
                  <a:pt x="1973" y="3244"/>
                  <a:pt x="2100" y="3117"/>
                  <a:pt x="2243" y="3117"/>
                </a:cubicBezTo>
                <a:cubicBezTo>
                  <a:pt x="2291" y="3117"/>
                  <a:pt x="2339" y="3133"/>
                  <a:pt x="2386" y="3181"/>
                </a:cubicBezTo>
                <a:cubicBezTo>
                  <a:pt x="2418" y="3213"/>
                  <a:pt x="2482" y="3197"/>
                  <a:pt x="2497" y="3165"/>
                </a:cubicBezTo>
                <a:cubicBezTo>
                  <a:pt x="2529" y="3133"/>
                  <a:pt x="2513" y="3085"/>
                  <a:pt x="2482" y="3053"/>
                </a:cubicBezTo>
                <a:close/>
                <a:moveTo>
                  <a:pt x="3244" y="2958"/>
                </a:moveTo>
                <a:cubicBezTo>
                  <a:pt x="3165" y="2958"/>
                  <a:pt x="3037" y="2990"/>
                  <a:pt x="2957" y="3053"/>
                </a:cubicBezTo>
                <a:cubicBezTo>
                  <a:pt x="2926" y="3085"/>
                  <a:pt x="2910" y="3133"/>
                  <a:pt x="2942" y="3165"/>
                </a:cubicBezTo>
                <a:cubicBezTo>
                  <a:pt x="2973" y="3197"/>
                  <a:pt x="3021" y="3213"/>
                  <a:pt x="3053" y="3181"/>
                </a:cubicBezTo>
                <a:cubicBezTo>
                  <a:pt x="3101" y="3149"/>
                  <a:pt x="3180" y="3117"/>
                  <a:pt x="3244" y="3117"/>
                </a:cubicBezTo>
                <a:cubicBezTo>
                  <a:pt x="3403" y="3117"/>
                  <a:pt x="3530" y="3244"/>
                  <a:pt x="3530" y="3403"/>
                </a:cubicBezTo>
                <a:cubicBezTo>
                  <a:pt x="3530" y="3547"/>
                  <a:pt x="3403" y="3674"/>
                  <a:pt x="3244" y="3674"/>
                </a:cubicBezTo>
                <a:cubicBezTo>
                  <a:pt x="3196" y="3674"/>
                  <a:pt x="3133" y="3658"/>
                  <a:pt x="3085" y="3610"/>
                </a:cubicBezTo>
                <a:cubicBezTo>
                  <a:pt x="3053" y="3594"/>
                  <a:pt x="3005" y="3594"/>
                  <a:pt x="2973" y="3626"/>
                </a:cubicBezTo>
                <a:cubicBezTo>
                  <a:pt x="2957" y="3674"/>
                  <a:pt x="2957" y="3722"/>
                  <a:pt x="2990" y="3737"/>
                </a:cubicBezTo>
                <a:cubicBezTo>
                  <a:pt x="3069" y="3801"/>
                  <a:pt x="3165" y="3833"/>
                  <a:pt x="3244" y="3833"/>
                </a:cubicBezTo>
                <a:cubicBezTo>
                  <a:pt x="3483" y="3833"/>
                  <a:pt x="3689" y="3642"/>
                  <a:pt x="3689" y="3403"/>
                </a:cubicBezTo>
                <a:cubicBezTo>
                  <a:pt x="3689" y="3165"/>
                  <a:pt x="3483" y="2958"/>
                  <a:pt x="3244" y="2958"/>
                </a:cubicBezTo>
                <a:close/>
                <a:moveTo>
                  <a:pt x="2259" y="3435"/>
                </a:moveTo>
                <a:cubicBezTo>
                  <a:pt x="2259" y="3483"/>
                  <a:pt x="2291" y="3515"/>
                  <a:pt x="2339" y="3515"/>
                </a:cubicBezTo>
                <a:lnTo>
                  <a:pt x="3038" y="3515"/>
                </a:lnTo>
                <a:cubicBezTo>
                  <a:pt x="3086" y="3515"/>
                  <a:pt x="3118" y="3483"/>
                  <a:pt x="3118" y="3435"/>
                </a:cubicBezTo>
                <a:cubicBezTo>
                  <a:pt x="3118" y="3388"/>
                  <a:pt x="3086" y="3356"/>
                  <a:pt x="3038" y="3356"/>
                </a:cubicBezTo>
                <a:lnTo>
                  <a:pt x="2339" y="3356"/>
                </a:lnTo>
                <a:cubicBezTo>
                  <a:pt x="2291" y="3356"/>
                  <a:pt x="2259" y="3388"/>
                  <a:pt x="2259" y="3435"/>
                </a:cubicBezTo>
                <a:close/>
                <a:moveTo>
                  <a:pt x="2148" y="16"/>
                </a:moveTo>
                <a:cubicBezTo>
                  <a:pt x="2131" y="16"/>
                  <a:pt x="2116" y="0"/>
                  <a:pt x="2084" y="0"/>
                </a:cubicBezTo>
                <a:lnTo>
                  <a:pt x="80" y="0"/>
                </a:lnTo>
                <a:cubicBezTo>
                  <a:pt x="32" y="0"/>
                  <a:pt x="0" y="32"/>
                  <a:pt x="0" y="79"/>
                </a:cubicBezTo>
                <a:lnTo>
                  <a:pt x="0" y="4135"/>
                </a:lnTo>
                <a:cubicBezTo>
                  <a:pt x="0" y="4183"/>
                  <a:pt x="32" y="4215"/>
                  <a:pt x="80" y="4215"/>
                </a:cubicBezTo>
                <a:lnTo>
                  <a:pt x="1925" y="4215"/>
                </a:lnTo>
                <a:cubicBezTo>
                  <a:pt x="1957" y="4215"/>
                  <a:pt x="2004" y="4183"/>
                  <a:pt x="2004" y="4135"/>
                </a:cubicBezTo>
                <a:cubicBezTo>
                  <a:pt x="2004" y="4088"/>
                  <a:pt x="1957" y="4055"/>
                  <a:pt x="1925" y="4055"/>
                </a:cubicBezTo>
                <a:lnTo>
                  <a:pt x="159" y="4055"/>
                </a:lnTo>
                <a:lnTo>
                  <a:pt x="159" y="159"/>
                </a:lnTo>
                <a:lnTo>
                  <a:pt x="2052" y="159"/>
                </a:lnTo>
                <a:lnTo>
                  <a:pt x="2052" y="1208"/>
                </a:lnTo>
                <a:cubicBezTo>
                  <a:pt x="2052" y="1256"/>
                  <a:pt x="2100" y="1288"/>
                  <a:pt x="2131" y="1288"/>
                </a:cubicBezTo>
                <a:lnTo>
                  <a:pt x="3166" y="1288"/>
                </a:lnTo>
                <a:lnTo>
                  <a:pt x="3166" y="2672"/>
                </a:lnTo>
                <a:cubicBezTo>
                  <a:pt x="3166" y="2704"/>
                  <a:pt x="3197" y="2752"/>
                  <a:pt x="3245" y="2752"/>
                </a:cubicBezTo>
                <a:cubicBezTo>
                  <a:pt x="3293" y="2752"/>
                  <a:pt x="3324" y="2704"/>
                  <a:pt x="3324" y="2672"/>
                </a:cubicBezTo>
                <a:lnTo>
                  <a:pt x="3324" y="1225"/>
                </a:lnTo>
                <a:cubicBezTo>
                  <a:pt x="3324" y="1208"/>
                  <a:pt x="3324" y="1177"/>
                  <a:pt x="3309" y="1161"/>
                </a:cubicBezTo>
                <a:close/>
                <a:moveTo>
                  <a:pt x="2211" y="318"/>
                </a:moveTo>
                <a:lnTo>
                  <a:pt x="3038" y="1129"/>
                </a:lnTo>
                <a:lnTo>
                  <a:pt x="2211"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Freeform: Shape 18">
            <a:extLst>
              <a:ext uri="{FF2B5EF4-FFF2-40B4-BE49-F238E27FC236}">
                <a16:creationId xmlns:a16="http://schemas.microsoft.com/office/drawing/2014/main" id="{6E024325-A83A-6B4B-B712-122F68C10A29}"/>
              </a:ext>
            </a:extLst>
          </p:cNvPr>
          <p:cNvSpPr/>
          <p:nvPr/>
        </p:nvSpPr>
        <p:spPr>
          <a:xfrm>
            <a:off x="10272912" y="3205998"/>
            <a:ext cx="1196280" cy="1517039"/>
          </a:xfrm>
          <a:custGeom>
            <a:avLst/>
            <a:gdLst/>
            <a:ahLst/>
            <a:cxnLst>
              <a:cxn ang="3cd4">
                <a:pos x="hc" y="t"/>
              </a:cxn>
              <a:cxn ang="cd2">
                <a:pos x="l" y="vc"/>
              </a:cxn>
              <a:cxn ang="cd4">
                <a:pos x="hc" y="b"/>
              </a:cxn>
              <a:cxn ang="0">
                <a:pos x="r" y="vc"/>
              </a:cxn>
            </a:cxnLst>
            <a:rect l="l" t="t" r="r" b="b"/>
            <a:pathLst>
              <a:path w="3324" h="4215">
                <a:moveTo>
                  <a:pt x="3324" y="2179"/>
                </a:moveTo>
                <a:lnTo>
                  <a:pt x="3324" y="1225"/>
                </a:lnTo>
                <a:cubicBezTo>
                  <a:pt x="3324" y="1208"/>
                  <a:pt x="3324" y="1177"/>
                  <a:pt x="3309" y="1161"/>
                </a:cubicBezTo>
                <a:lnTo>
                  <a:pt x="2147" y="16"/>
                </a:lnTo>
                <a:cubicBezTo>
                  <a:pt x="2131" y="16"/>
                  <a:pt x="2116" y="0"/>
                  <a:pt x="2084" y="0"/>
                </a:cubicBezTo>
                <a:lnTo>
                  <a:pt x="80" y="0"/>
                </a:lnTo>
                <a:cubicBezTo>
                  <a:pt x="32" y="0"/>
                  <a:pt x="0" y="32"/>
                  <a:pt x="0" y="79"/>
                </a:cubicBezTo>
                <a:lnTo>
                  <a:pt x="0" y="4135"/>
                </a:lnTo>
                <a:cubicBezTo>
                  <a:pt x="0" y="4183"/>
                  <a:pt x="32" y="4215"/>
                  <a:pt x="80" y="4215"/>
                </a:cubicBezTo>
                <a:lnTo>
                  <a:pt x="1432" y="4215"/>
                </a:lnTo>
                <a:cubicBezTo>
                  <a:pt x="1479" y="4215"/>
                  <a:pt x="1511" y="4183"/>
                  <a:pt x="1511" y="4135"/>
                </a:cubicBezTo>
                <a:cubicBezTo>
                  <a:pt x="1511" y="4088"/>
                  <a:pt x="1479" y="4055"/>
                  <a:pt x="1432" y="4055"/>
                </a:cubicBezTo>
                <a:lnTo>
                  <a:pt x="159" y="4055"/>
                </a:lnTo>
                <a:lnTo>
                  <a:pt x="159" y="159"/>
                </a:lnTo>
                <a:lnTo>
                  <a:pt x="2052" y="159"/>
                </a:lnTo>
                <a:lnTo>
                  <a:pt x="2052" y="1208"/>
                </a:lnTo>
                <a:cubicBezTo>
                  <a:pt x="2052" y="1256"/>
                  <a:pt x="2100" y="1288"/>
                  <a:pt x="2131" y="1288"/>
                </a:cubicBezTo>
                <a:lnTo>
                  <a:pt x="3165" y="1288"/>
                </a:lnTo>
                <a:lnTo>
                  <a:pt x="3165" y="2179"/>
                </a:lnTo>
                <a:cubicBezTo>
                  <a:pt x="3165" y="2226"/>
                  <a:pt x="3197" y="2258"/>
                  <a:pt x="3245" y="2258"/>
                </a:cubicBezTo>
                <a:cubicBezTo>
                  <a:pt x="3292" y="2258"/>
                  <a:pt x="3324" y="2226"/>
                  <a:pt x="3324" y="2179"/>
                </a:cubicBezTo>
                <a:close/>
                <a:moveTo>
                  <a:pt x="2211" y="318"/>
                </a:moveTo>
                <a:lnTo>
                  <a:pt x="3038" y="1129"/>
                </a:lnTo>
                <a:lnTo>
                  <a:pt x="2211" y="1129"/>
                </a:lnTo>
                <a:close/>
                <a:moveTo>
                  <a:pt x="2259" y="4103"/>
                </a:moveTo>
                <a:lnTo>
                  <a:pt x="2863" y="4103"/>
                </a:lnTo>
                <a:cubicBezTo>
                  <a:pt x="2991" y="4103"/>
                  <a:pt x="3102" y="3992"/>
                  <a:pt x="3117" y="3865"/>
                </a:cubicBezTo>
                <a:lnTo>
                  <a:pt x="3245" y="2783"/>
                </a:lnTo>
                <a:cubicBezTo>
                  <a:pt x="3245" y="2767"/>
                  <a:pt x="3245" y="2735"/>
                  <a:pt x="3229" y="2719"/>
                </a:cubicBezTo>
                <a:cubicBezTo>
                  <a:pt x="3213" y="2704"/>
                  <a:pt x="3197" y="2704"/>
                  <a:pt x="3165" y="2704"/>
                </a:cubicBezTo>
                <a:lnTo>
                  <a:pt x="1973" y="2704"/>
                </a:lnTo>
                <a:cubicBezTo>
                  <a:pt x="1941" y="2704"/>
                  <a:pt x="1925" y="2704"/>
                  <a:pt x="1909" y="2719"/>
                </a:cubicBezTo>
                <a:cubicBezTo>
                  <a:pt x="1893" y="2735"/>
                  <a:pt x="1877" y="2767"/>
                  <a:pt x="1893" y="2783"/>
                </a:cubicBezTo>
                <a:lnTo>
                  <a:pt x="2020" y="3865"/>
                </a:lnTo>
                <a:lnTo>
                  <a:pt x="2020" y="3880"/>
                </a:lnTo>
                <a:cubicBezTo>
                  <a:pt x="2020" y="3992"/>
                  <a:pt x="2131" y="4103"/>
                  <a:pt x="2259" y="4103"/>
                </a:cubicBezTo>
                <a:close/>
                <a:moveTo>
                  <a:pt x="3086" y="2862"/>
                </a:moveTo>
                <a:lnTo>
                  <a:pt x="2959" y="3849"/>
                </a:lnTo>
                <a:cubicBezTo>
                  <a:pt x="2959" y="3897"/>
                  <a:pt x="2911" y="3944"/>
                  <a:pt x="2863" y="3944"/>
                </a:cubicBezTo>
                <a:lnTo>
                  <a:pt x="2259" y="3944"/>
                </a:lnTo>
                <a:cubicBezTo>
                  <a:pt x="2227" y="3944"/>
                  <a:pt x="2179" y="3897"/>
                  <a:pt x="2164" y="3849"/>
                </a:cubicBezTo>
                <a:lnTo>
                  <a:pt x="2052" y="2862"/>
                </a:lnTo>
                <a:close/>
                <a:moveTo>
                  <a:pt x="2800" y="3801"/>
                </a:moveTo>
                <a:cubicBezTo>
                  <a:pt x="2847" y="3801"/>
                  <a:pt x="2879" y="3769"/>
                  <a:pt x="2879" y="3737"/>
                </a:cubicBezTo>
                <a:lnTo>
                  <a:pt x="2943" y="3070"/>
                </a:lnTo>
                <a:cubicBezTo>
                  <a:pt x="2943" y="3022"/>
                  <a:pt x="2911" y="2990"/>
                  <a:pt x="2863" y="2990"/>
                </a:cubicBezTo>
                <a:cubicBezTo>
                  <a:pt x="2816" y="2974"/>
                  <a:pt x="2783" y="3022"/>
                  <a:pt x="2783" y="3053"/>
                </a:cubicBezTo>
                <a:lnTo>
                  <a:pt x="2720" y="3722"/>
                </a:lnTo>
                <a:cubicBezTo>
                  <a:pt x="2720" y="3753"/>
                  <a:pt x="2752" y="3801"/>
                  <a:pt x="2800" y="3801"/>
                </a:cubicBezTo>
                <a:close/>
                <a:moveTo>
                  <a:pt x="2561" y="3801"/>
                </a:moveTo>
                <a:cubicBezTo>
                  <a:pt x="2609" y="3801"/>
                  <a:pt x="2640" y="3769"/>
                  <a:pt x="2640" y="3722"/>
                </a:cubicBezTo>
                <a:lnTo>
                  <a:pt x="2640" y="3053"/>
                </a:lnTo>
                <a:cubicBezTo>
                  <a:pt x="2640" y="3022"/>
                  <a:pt x="2609" y="2974"/>
                  <a:pt x="2561" y="2974"/>
                </a:cubicBezTo>
                <a:cubicBezTo>
                  <a:pt x="2529" y="2974"/>
                  <a:pt x="2482" y="3022"/>
                  <a:pt x="2482" y="3053"/>
                </a:cubicBezTo>
                <a:lnTo>
                  <a:pt x="2482" y="3722"/>
                </a:lnTo>
                <a:cubicBezTo>
                  <a:pt x="2482" y="3769"/>
                  <a:pt x="2529" y="3801"/>
                  <a:pt x="2561" y="3801"/>
                </a:cubicBezTo>
                <a:close/>
                <a:moveTo>
                  <a:pt x="2338" y="3801"/>
                </a:moveTo>
                <a:cubicBezTo>
                  <a:pt x="2386" y="3801"/>
                  <a:pt x="2418" y="3753"/>
                  <a:pt x="2418" y="3722"/>
                </a:cubicBezTo>
                <a:lnTo>
                  <a:pt x="2354" y="3053"/>
                </a:lnTo>
                <a:cubicBezTo>
                  <a:pt x="2354" y="3022"/>
                  <a:pt x="2322" y="2974"/>
                  <a:pt x="2274" y="2990"/>
                </a:cubicBezTo>
                <a:cubicBezTo>
                  <a:pt x="2227" y="2990"/>
                  <a:pt x="2195" y="3022"/>
                  <a:pt x="2195" y="3070"/>
                </a:cubicBezTo>
                <a:lnTo>
                  <a:pt x="2259" y="3737"/>
                </a:lnTo>
                <a:cubicBezTo>
                  <a:pt x="2259" y="3769"/>
                  <a:pt x="2291" y="3801"/>
                  <a:pt x="2338" y="3801"/>
                </a:cubicBezTo>
                <a:close/>
                <a:moveTo>
                  <a:pt x="3291" y="2529"/>
                </a:moveTo>
                <a:cubicBezTo>
                  <a:pt x="3260" y="2465"/>
                  <a:pt x="3196" y="2417"/>
                  <a:pt x="3101" y="2417"/>
                </a:cubicBezTo>
                <a:lnTo>
                  <a:pt x="2035" y="2417"/>
                </a:lnTo>
                <a:cubicBezTo>
                  <a:pt x="1940" y="2417"/>
                  <a:pt x="1876" y="2465"/>
                  <a:pt x="1844" y="2529"/>
                </a:cubicBezTo>
                <a:cubicBezTo>
                  <a:pt x="1828" y="2561"/>
                  <a:pt x="1844" y="2608"/>
                  <a:pt x="1876" y="2640"/>
                </a:cubicBezTo>
                <a:lnTo>
                  <a:pt x="1908" y="2640"/>
                </a:lnTo>
                <a:cubicBezTo>
                  <a:pt x="1940" y="2640"/>
                  <a:pt x="1972" y="2624"/>
                  <a:pt x="1987" y="2592"/>
                </a:cubicBezTo>
                <a:cubicBezTo>
                  <a:pt x="1987" y="2576"/>
                  <a:pt x="2003" y="2576"/>
                  <a:pt x="2035" y="2576"/>
                </a:cubicBezTo>
                <a:lnTo>
                  <a:pt x="3101" y="2576"/>
                </a:lnTo>
                <a:cubicBezTo>
                  <a:pt x="3116" y="2576"/>
                  <a:pt x="3148" y="2576"/>
                  <a:pt x="3148" y="2592"/>
                </a:cubicBezTo>
                <a:cubicBezTo>
                  <a:pt x="3164" y="2624"/>
                  <a:pt x="3196" y="2640"/>
                  <a:pt x="3228" y="2640"/>
                </a:cubicBezTo>
                <a:lnTo>
                  <a:pt x="3260" y="2640"/>
                </a:lnTo>
                <a:cubicBezTo>
                  <a:pt x="3291" y="2608"/>
                  <a:pt x="3308" y="2561"/>
                  <a:pt x="3291" y="252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Freeform: Shape 5">
            <a:extLst>
              <a:ext uri="{FF2B5EF4-FFF2-40B4-BE49-F238E27FC236}">
                <a16:creationId xmlns:a16="http://schemas.microsoft.com/office/drawing/2014/main" id="{F7554C07-B073-C04A-A602-D881BB178CC6}"/>
              </a:ext>
            </a:extLst>
          </p:cNvPr>
          <p:cNvSpPr/>
          <p:nvPr/>
        </p:nvSpPr>
        <p:spPr>
          <a:xfrm>
            <a:off x="14070368" y="3227524"/>
            <a:ext cx="1242359" cy="1517039"/>
          </a:xfrm>
          <a:custGeom>
            <a:avLst/>
            <a:gdLst/>
            <a:ahLst/>
            <a:cxnLst>
              <a:cxn ang="3cd4">
                <a:pos x="hc" y="t"/>
              </a:cxn>
              <a:cxn ang="cd2">
                <a:pos x="l" y="vc"/>
              </a:cxn>
              <a:cxn ang="cd4">
                <a:pos x="hc" y="b"/>
              </a:cxn>
              <a:cxn ang="0">
                <a:pos x="r" y="vc"/>
              </a:cxn>
            </a:cxnLst>
            <a:rect l="l" t="t" r="r" b="b"/>
            <a:pathLst>
              <a:path w="3452" h="4215">
                <a:moveTo>
                  <a:pt x="3006" y="2799"/>
                </a:moveTo>
                <a:cubicBezTo>
                  <a:pt x="2958" y="2799"/>
                  <a:pt x="2926" y="2799"/>
                  <a:pt x="2879" y="2815"/>
                </a:cubicBezTo>
                <a:cubicBezTo>
                  <a:pt x="2767" y="2640"/>
                  <a:pt x="2592" y="2529"/>
                  <a:pt x="2402" y="2529"/>
                </a:cubicBezTo>
                <a:cubicBezTo>
                  <a:pt x="2116" y="2529"/>
                  <a:pt x="1877" y="2767"/>
                  <a:pt x="1845" y="3070"/>
                </a:cubicBezTo>
                <a:cubicBezTo>
                  <a:pt x="1702" y="3117"/>
                  <a:pt x="1590" y="3260"/>
                  <a:pt x="1590" y="3435"/>
                </a:cubicBezTo>
                <a:cubicBezTo>
                  <a:pt x="1590" y="3626"/>
                  <a:pt x="1734" y="3785"/>
                  <a:pt x="1908" y="3785"/>
                </a:cubicBezTo>
                <a:lnTo>
                  <a:pt x="3006" y="3785"/>
                </a:lnTo>
                <a:cubicBezTo>
                  <a:pt x="3244" y="3785"/>
                  <a:pt x="3452" y="3547"/>
                  <a:pt x="3452" y="3276"/>
                </a:cubicBezTo>
                <a:cubicBezTo>
                  <a:pt x="3452" y="3006"/>
                  <a:pt x="3244" y="2799"/>
                  <a:pt x="3006" y="2799"/>
                </a:cubicBezTo>
                <a:close/>
                <a:moveTo>
                  <a:pt x="3006" y="3626"/>
                </a:moveTo>
                <a:lnTo>
                  <a:pt x="1908" y="3626"/>
                </a:lnTo>
                <a:cubicBezTo>
                  <a:pt x="1829" y="3626"/>
                  <a:pt x="1750" y="3531"/>
                  <a:pt x="1750" y="3435"/>
                </a:cubicBezTo>
                <a:cubicBezTo>
                  <a:pt x="1750" y="3324"/>
                  <a:pt x="1829" y="3228"/>
                  <a:pt x="1908" y="3228"/>
                </a:cubicBezTo>
                <a:cubicBezTo>
                  <a:pt x="1956" y="3228"/>
                  <a:pt x="1988" y="3197"/>
                  <a:pt x="1988" y="3149"/>
                </a:cubicBezTo>
                <a:cubicBezTo>
                  <a:pt x="1988" y="2895"/>
                  <a:pt x="2179" y="2688"/>
                  <a:pt x="2402" y="2688"/>
                </a:cubicBezTo>
                <a:cubicBezTo>
                  <a:pt x="2561" y="2688"/>
                  <a:pt x="2704" y="2783"/>
                  <a:pt x="2767" y="2958"/>
                </a:cubicBezTo>
                <a:cubicBezTo>
                  <a:pt x="2767" y="2974"/>
                  <a:pt x="2799" y="2990"/>
                  <a:pt x="2815" y="2990"/>
                </a:cubicBezTo>
                <a:cubicBezTo>
                  <a:pt x="2831" y="3006"/>
                  <a:pt x="2863" y="3006"/>
                  <a:pt x="2879" y="2990"/>
                </a:cubicBezTo>
                <a:cubicBezTo>
                  <a:pt x="2926" y="2958"/>
                  <a:pt x="2974" y="2942"/>
                  <a:pt x="3006" y="2942"/>
                </a:cubicBezTo>
                <a:cubicBezTo>
                  <a:pt x="3165" y="2942"/>
                  <a:pt x="3292" y="3101"/>
                  <a:pt x="3292" y="3276"/>
                </a:cubicBezTo>
                <a:cubicBezTo>
                  <a:pt x="3292" y="3451"/>
                  <a:pt x="3149" y="3626"/>
                  <a:pt x="3006" y="3626"/>
                </a:cubicBezTo>
                <a:close/>
                <a:moveTo>
                  <a:pt x="2163" y="16"/>
                </a:moveTo>
                <a:cubicBezTo>
                  <a:pt x="2147" y="16"/>
                  <a:pt x="2131" y="0"/>
                  <a:pt x="2099" y="0"/>
                </a:cubicBezTo>
                <a:lnTo>
                  <a:pt x="80" y="0"/>
                </a:lnTo>
                <a:cubicBezTo>
                  <a:pt x="48" y="0"/>
                  <a:pt x="0" y="32"/>
                  <a:pt x="0" y="79"/>
                </a:cubicBezTo>
                <a:lnTo>
                  <a:pt x="0" y="4135"/>
                </a:lnTo>
                <a:cubicBezTo>
                  <a:pt x="0" y="4183"/>
                  <a:pt x="48" y="4215"/>
                  <a:pt x="80" y="4215"/>
                </a:cubicBezTo>
                <a:lnTo>
                  <a:pt x="1925" y="4215"/>
                </a:lnTo>
                <a:cubicBezTo>
                  <a:pt x="1972" y="4215"/>
                  <a:pt x="2004" y="4183"/>
                  <a:pt x="2004" y="4135"/>
                </a:cubicBezTo>
                <a:cubicBezTo>
                  <a:pt x="2004" y="4088"/>
                  <a:pt x="1972" y="4055"/>
                  <a:pt x="1925" y="4055"/>
                </a:cubicBezTo>
                <a:lnTo>
                  <a:pt x="159" y="4055"/>
                </a:lnTo>
                <a:lnTo>
                  <a:pt x="159" y="159"/>
                </a:lnTo>
                <a:lnTo>
                  <a:pt x="2068" y="159"/>
                </a:lnTo>
                <a:lnTo>
                  <a:pt x="2068" y="1208"/>
                </a:lnTo>
                <a:cubicBezTo>
                  <a:pt x="2068" y="1256"/>
                  <a:pt x="2099" y="1288"/>
                  <a:pt x="2147" y="1288"/>
                </a:cubicBezTo>
                <a:lnTo>
                  <a:pt x="3181" y="1288"/>
                </a:lnTo>
                <a:lnTo>
                  <a:pt x="3181" y="2417"/>
                </a:lnTo>
                <a:cubicBezTo>
                  <a:pt x="3181" y="2465"/>
                  <a:pt x="3213" y="2497"/>
                  <a:pt x="3261" y="2497"/>
                </a:cubicBezTo>
                <a:cubicBezTo>
                  <a:pt x="3308" y="2497"/>
                  <a:pt x="3340" y="2465"/>
                  <a:pt x="3340" y="2417"/>
                </a:cubicBezTo>
                <a:lnTo>
                  <a:pt x="3340" y="1225"/>
                </a:lnTo>
                <a:cubicBezTo>
                  <a:pt x="3340" y="1208"/>
                  <a:pt x="3324" y="1177"/>
                  <a:pt x="3308" y="1161"/>
                </a:cubicBezTo>
                <a:close/>
                <a:moveTo>
                  <a:pt x="2226" y="318"/>
                </a:moveTo>
                <a:lnTo>
                  <a:pt x="3054" y="1129"/>
                </a:lnTo>
                <a:lnTo>
                  <a:pt x="2226"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6">
            <a:extLst>
              <a:ext uri="{FF2B5EF4-FFF2-40B4-BE49-F238E27FC236}">
                <a16:creationId xmlns:a16="http://schemas.microsoft.com/office/drawing/2014/main" id="{A7B74DD1-5ECA-4D4F-95E6-A53D2FB85E54}"/>
              </a:ext>
            </a:extLst>
          </p:cNvPr>
          <p:cNvSpPr/>
          <p:nvPr/>
        </p:nvSpPr>
        <p:spPr>
          <a:xfrm>
            <a:off x="17694392" y="3227524"/>
            <a:ext cx="1247760" cy="1517039"/>
          </a:xfrm>
          <a:custGeom>
            <a:avLst/>
            <a:gdLst/>
            <a:ahLst/>
            <a:cxnLst>
              <a:cxn ang="3cd4">
                <a:pos x="hc" y="t"/>
              </a:cxn>
              <a:cxn ang="cd2">
                <a:pos x="l" y="vc"/>
              </a:cxn>
              <a:cxn ang="cd4">
                <a:pos x="hc" y="b"/>
              </a:cxn>
              <a:cxn ang="0">
                <a:pos x="r" y="vc"/>
              </a:cxn>
            </a:cxnLst>
            <a:rect l="l" t="t" r="r" b="b"/>
            <a:pathLst>
              <a:path w="3467" h="4215">
                <a:moveTo>
                  <a:pt x="3467" y="3356"/>
                </a:moveTo>
                <a:cubicBezTo>
                  <a:pt x="3467" y="3324"/>
                  <a:pt x="3435" y="3276"/>
                  <a:pt x="3387" y="3276"/>
                </a:cubicBezTo>
                <a:cubicBezTo>
                  <a:pt x="3339" y="3276"/>
                  <a:pt x="3308" y="3324"/>
                  <a:pt x="3308" y="3356"/>
                </a:cubicBezTo>
                <a:lnTo>
                  <a:pt x="3308" y="3403"/>
                </a:lnTo>
                <a:cubicBezTo>
                  <a:pt x="3308" y="3737"/>
                  <a:pt x="3021" y="4024"/>
                  <a:pt x="2687" y="4024"/>
                </a:cubicBezTo>
                <a:cubicBezTo>
                  <a:pt x="2337" y="4024"/>
                  <a:pt x="2067" y="3753"/>
                  <a:pt x="2067" y="3419"/>
                </a:cubicBezTo>
                <a:cubicBezTo>
                  <a:pt x="2067" y="3085"/>
                  <a:pt x="2322" y="2815"/>
                  <a:pt x="2672" y="2815"/>
                </a:cubicBezTo>
                <a:lnTo>
                  <a:pt x="2385" y="3228"/>
                </a:lnTo>
                <a:cubicBezTo>
                  <a:pt x="2369" y="3276"/>
                  <a:pt x="2369" y="3324"/>
                  <a:pt x="2401" y="3340"/>
                </a:cubicBezTo>
                <a:cubicBezTo>
                  <a:pt x="2417" y="3356"/>
                  <a:pt x="2433" y="3356"/>
                  <a:pt x="2449" y="3356"/>
                </a:cubicBezTo>
                <a:cubicBezTo>
                  <a:pt x="2481" y="3356"/>
                  <a:pt x="2497" y="3340"/>
                  <a:pt x="2512" y="3324"/>
                </a:cubicBezTo>
                <a:lnTo>
                  <a:pt x="2910" y="2752"/>
                </a:lnTo>
                <a:cubicBezTo>
                  <a:pt x="2926" y="2719"/>
                  <a:pt x="2926" y="2672"/>
                  <a:pt x="2894" y="2640"/>
                </a:cubicBezTo>
                <a:lnTo>
                  <a:pt x="2433" y="2179"/>
                </a:lnTo>
                <a:cubicBezTo>
                  <a:pt x="2401" y="2147"/>
                  <a:pt x="2354" y="2147"/>
                  <a:pt x="2322" y="2179"/>
                </a:cubicBezTo>
                <a:cubicBezTo>
                  <a:pt x="2290" y="2210"/>
                  <a:pt x="2290" y="2258"/>
                  <a:pt x="2322" y="2290"/>
                </a:cubicBezTo>
                <a:lnTo>
                  <a:pt x="2687" y="2656"/>
                </a:lnTo>
                <a:lnTo>
                  <a:pt x="2672" y="2656"/>
                </a:lnTo>
                <a:cubicBezTo>
                  <a:pt x="2242" y="2656"/>
                  <a:pt x="1908" y="2990"/>
                  <a:pt x="1908" y="3419"/>
                </a:cubicBezTo>
                <a:cubicBezTo>
                  <a:pt x="1908" y="3833"/>
                  <a:pt x="2258" y="4183"/>
                  <a:pt x="2687" y="4183"/>
                </a:cubicBezTo>
                <a:cubicBezTo>
                  <a:pt x="3101" y="4183"/>
                  <a:pt x="3467" y="3833"/>
                  <a:pt x="3467" y="3403"/>
                </a:cubicBezTo>
                <a:close/>
                <a:moveTo>
                  <a:pt x="3244" y="2752"/>
                </a:moveTo>
                <a:cubicBezTo>
                  <a:pt x="3292" y="2752"/>
                  <a:pt x="3324" y="2704"/>
                  <a:pt x="3324" y="2672"/>
                </a:cubicBezTo>
                <a:lnTo>
                  <a:pt x="3324" y="1225"/>
                </a:lnTo>
                <a:cubicBezTo>
                  <a:pt x="3324" y="1208"/>
                  <a:pt x="3324" y="1177"/>
                  <a:pt x="3308" y="1161"/>
                </a:cubicBezTo>
                <a:lnTo>
                  <a:pt x="2146" y="16"/>
                </a:lnTo>
                <a:cubicBezTo>
                  <a:pt x="2131" y="16"/>
                  <a:pt x="2115" y="0"/>
                  <a:pt x="2083" y="0"/>
                </a:cubicBezTo>
                <a:lnTo>
                  <a:pt x="79" y="0"/>
                </a:lnTo>
                <a:cubicBezTo>
                  <a:pt x="31" y="0"/>
                  <a:pt x="0" y="32"/>
                  <a:pt x="0" y="79"/>
                </a:cubicBezTo>
                <a:lnTo>
                  <a:pt x="0" y="4135"/>
                </a:lnTo>
                <a:cubicBezTo>
                  <a:pt x="0" y="4183"/>
                  <a:pt x="31" y="4215"/>
                  <a:pt x="79" y="4215"/>
                </a:cubicBezTo>
                <a:lnTo>
                  <a:pt x="1924" y="4215"/>
                </a:lnTo>
                <a:cubicBezTo>
                  <a:pt x="1956" y="4215"/>
                  <a:pt x="2003" y="4183"/>
                  <a:pt x="2003" y="4135"/>
                </a:cubicBezTo>
                <a:cubicBezTo>
                  <a:pt x="2003" y="4088"/>
                  <a:pt x="1956" y="4055"/>
                  <a:pt x="1924" y="4055"/>
                </a:cubicBezTo>
                <a:lnTo>
                  <a:pt x="158" y="4055"/>
                </a:lnTo>
                <a:lnTo>
                  <a:pt x="158" y="159"/>
                </a:lnTo>
                <a:lnTo>
                  <a:pt x="2051" y="159"/>
                </a:lnTo>
                <a:lnTo>
                  <a:pt x="2051" y="1208"/>
                </a:lnTo>
                <a:cubicBezTo>
                  <a:pt x="2051" y="1256"/>
                  <a:pt x="2099" y="1288"/>
                  <a:pt x="2131" y="1288"/>
                </a:cubicBezTo>
                <a:lnTo>
                  <a:pt x="3164" y="1288"/>
                </a:lnTo>
                <a:lnTo>
                  <a:pt x="3164" y="2672"/>
                </a:lnTo>
                <a:cubicBezTo>
                  <a:pt x="3164" y="2704"/>
                  <a:pt x="3196" y="2752"/>
                  <a:pt x="3244" y="2752"/>
                </a:cubicBezTo>
                <a:close/>
                <a:moveTo>
                  <a:pt x="2210" y="318"/>
                </a:moveTo>
                <a:lnTo>
                  <a:pt x="3037" y="1129"/>
                </a:lnTo>
                <a:lnTo>
                  <a:pt x="2210"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3" name="Freeform: Shape 7">
            <a:extLst>
              <a:ext uri="{FF2B5EF4-FFF2-40B4-BE49-F238E27FC236}">
                <a16:creationId xmlns:a16="http://schemas.microsoft.com/office/drawing/2014/main" id="{0013745D-35DB-5842-A2D6-7DD22ADCFE68}"/>
              </a:ext>
            </a:extLst>
          </p:cNvPr>
          <p:cNvSpPr/>
          <p:nvPr/>
        </p:nvSpPr>
        <p:spPr>
          <a:xfrm>
            <a:off x="21492056" y="3162163"/>
            <a:ext cx="1390680" cy="1517039"/>
          </a:xfrm>
          <a:custGeom>
            <a:avLst/>
            <a:gdLst/>
            <a:ahLst/>
            <a:cxnLst>
              <a:cxn ang="3cd4">
                <a:pos x="hc" y="t"/>
              </a:cxn>
              <a:cxn ang="cd2">
                <a:pos x="l" y="vc"/>
              </a:cxn>
              <a:cxn ang="cd4">
                <a:pos x="hc" y="b"/>
              </a:cxn>
              <a:cxn ang="0">
                <a:pos x="r" y="vc"/>
              </a:cxn>
            </a:cxnLst>
            <a:rect l="l" t="t" r="r" b="b"/>
            <a:pathLst>
              <a:path w="3864" h="4215">
                <a:moveTo>
                  <a:pt x="2608" y="2466"/>
                </a:moveTo>
                <a:cubicBezTo>
                  <a:pt x="2592" y="2450"/>
                  <a:pt x="2560" y="2434"/>
                  <a:pt x="2545" y="2450"/>
                </a:cubicBezTo>
                <a:cubicBezTo>
                  <a:pt x="2242" y="2482"/>
                  <a:pt x="1781" y="2863"/>
                  <a:pt x="1781" y="3309"/>
                </a:cubicBezTo>
                <a:cubicBezTo>
                  <a:pt x="1781" y="3802"/>
                  <a:pt x="2163" y="4184"/>
                  <a:pt x="2640" y="4184"/>
                </a:cubicBezTo>
                <a:cubicBezTo>
                  <a:pt x="3101" y="4184"/>
                  <a:pt x="3451" y="3754"/>
                  <a:pt x="3515" y="3452"/>
                </a:cubicBezTo>
                <a:cubicBezTo>
                  <a:pt x="3515" y="3420"/>
                  <a:pt x="3499" y="3404"/>
                  <a:pt x="3483" y="3389"/>
                </a:cubicBezTo>
                <a:cubicBezTo>
                  <a:pt x="3467" y="3372"/>
                  <a:pt x="3451" y="3357"/>
                  <a:pt x="3435" y="3357"/>
                </a:cubicBezTo>
                <a:lnTo>
                  <a:pt x="2624" y="3357"/>
                </a:lnTo>
                <a:lnTo>
                  <a:pt x="2624" y="2514"/>
                </a:lnTo>
                <a:cubicBezTo>
                  <a:pt x="2624" y="2498"/>
                  <a:pt x="2624" y="2482"/>
                  <a:pt x="2608" y="2466"/>
                </a:cubicBezTo>
                <a:close/>
                <a:moveTo>
                  <a:pt x="3324" y="3516"/>
                </a:moveTo>
                <a:cubicBezTo>
                  <a:pt x="3244" y="3738"/>
                  <a:pt x="2958" y="4025"/>
                  <a:pt x="2640" y="4025"/>
                </a:cubicBezTo>
                <a:cubicBezTo>
                  <a:pt x="2258" y="4025"/>
                  <a:pt x="1940" y="3707"/>
                  <a:pt x="1940" y="3309"/>
                </a:cubicBezTo>
                <a:cubicBezTo>
                  <a:pt x="1940" y="2991"/>
                  <a:pt x="2226" y="2705"/>
                  <a:pt x="2465" y="2625"/>
                </a:cubicBezTo>
                <a:lnTo>
                  <a:pt x="2465" y="3436"/>
                </a:lnTo>
                <a:cubicBezTo>
                  <a:pt x="2465" y="3484"/>
                  <a:pt x="2512" y="3516"/>
                  <a:pt x="2545" y="3516"/>
                </a:cubicBezTo>
                <a:close/>
                <a:moveTo>
                  <a:pt x="2894" y="2258"/>
                </a:moveTo>
                <a:lnTo>
                  <a:pt x="2894" y="3022"/>
                </a:lnTo>
                <a:cubicBezTo>
                  <a:pt x="2894" y="3053"/>
                  <a:pt x="2926" y="3101"/>
                  <a:pt x="2974" y="3101"/>
                </a:cubicBezTo>
                <a:lnTo>
                  <a:pt x="3785" y="3101"/>
                </a:lnTo>
                <a:cubicBezTo>
                  <a:pt x="3833" y="3101"/>
                  <a:pt x="3864" y="3053"/>
                  <a:pt x="3864" y="3022"/>
                </a:cubicBezTo>
                <a:cubicBezTo>
                  <a:pt x="3864" y="2704"/>
                  <a:pt x="3451" y="2179"/>
                  <a:pt x="2974" y="2179"/>
                </a:cubicBezTo>
                <a:cubicBezTo>
                  <a:pt x="2926" y="2179"/>
                  <a:pt x="2894" y="2226"/>
                  <a:pt x="2894" y="2258"/>
                </a:cubicBezTo>
                <a:close/>
                <a:moveTo>
                  <a:pt x="3053" y="2354"/>
                </a:moveTo>
                <a:cubicBezTo>
                  <a:pt x="3355" y="2401"/>
                  <a:pt x="3642" y="2704"/>
                  <a:pt x="3690" y="2942"/>
                </a:cubicBezTo>
                <a:lnTo>
                  <a:pt x="3053" y="2942"/>
                </a:lnTo>
                <a:close/>
                <a:moveTo>
                  <a:pt x="3244" y="2067"/>
                </a:moveTo>
                <a:cubicBezTo>
                  <a:pt x="3292" y="2067"/>
                  <a:pt x="3324" y="2035"/>
                  <a:pt x="3324" y="1988"/>
                </a:cubicBezTo>
                <a:lnTo>
                  <a:pt x="3324" y="1225"/>
                </a:lnTo>
                <a:cubicBezTo>
                  <a:pt x="3324" y="1208"/>
                  <a:pt x="3324" y="1177"/>
                  <a:pt x="3308" y="1161"/>
                </a:cubicBezTo>
                <a:lnTo>
                  <a:pt x="2147" y="16"/>
                </a:lnTo>
                <a:cubicBezTo>
                  <a:pt x="2131" y="16"/>
                  <a:pt x="2115" y="0"/>
                  <a:pt x="2099" y="0"/>
                </a:cubicBezTo>
                <a:lnTo>
                  <a:pt x="79" y="0"/>
                </a:lnTo>
                <a:cubicBezTo>
                  <a:pt x="31" y="0"/>
                  <a:pt x="0" y="32"/>
                  <a:pt x="0" y="79"/>
                </a:cubicBezTo>
                <a:lnTo>
                  <a:pt x="0" y="4135"/>
                </a:lnTo>
                <a:cubicBezTo>
                  <a:pt x="0" y="4183"/>
                  <a:pt x="31" y="4215"/>
                  <a:pt x="79" y="4215"/>
                </a:cubicBezTo>
                <a:lnTo>
                  <a:pt x="1924" y="4215"/>
                </a:lnTo>
                <a:cubicBezTo>
                  <a:pt x="1972" y="4215"/>
                  <a:pt x="2004" y="4183"/>
                  <a:pt x="2004" y="4135"/>
                </a:cubicBezTo>
                <a:cubicBezTo>
                  <a:pt x="2004" y="4088"/>
                  <a:pt x="1972" y="4055"/>
                  <a:pt x="1924" y="4055"/>
                </a:cubicBezTo>
                <a:lnTo>
                  <a:pt x="159" y="4055"/>
                </a:lnTo>
                <a:lnTo>
                  <a:pt x="159" y="159"/>
                </a:lnTo>
                <a:lnTo>
                  <a:pt x="2067" y="159"/>
                </a:lnTo>
                <a:lnTo>
                  <a:pt x="2067" y="1208"/>
                </a:lnTo>
                <a:cubicBezTo>
                  <a:pt x="2067" y="1256"/>
                  <a:pt x="2099" y="1288"/>
                  <a:pt x="2147" y="1288"/>
                </a:cubicBezTo>
                <a:lnTo>
                  <a:pt x="3164" y="1288"/>
                </a:lnTo>
                <a:lnTo>
                  <a:pt x="3164" y="1988"/>
                </a:lnTo>
                <a:cubicBezTo>
                  <a:pt x="3164" y="2035"/>
                  <a:pt x="3212" y="2067"/>
                  <a:pt x="3244" y="2067"/>
                </a:cubicBezTo>
                <a:close/>
                <a:moveTo>
                  <a:pt x="2226" y="318"/>
                </a:moveTo>
                <a:lnTo>
                  <a:pt x="3037" y="1129"/>
                </a:lnTo>
                <a:lnTo>
                  <a:pt x="2226"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4" name="Freeform: Shape 8">
            <a:extLst>
              <a:ext uri="{FF2B5EF4-FFF2-40B4-BE49-F238E27FC236}">
                <a16:creationId xmlns:a16="http://schemas.microsoft.com/office/drawing/2014/main" id="{E9F22D5F-D981-2649-BE9C-C1B25866B6B8}"/>
              </a:ext>
            </a:extLst>
          </p:cNvPr>
          <p:cNvSpPr/>
          <p:nvPr/>
        </p:nvSpPr>
        <p:spPr>
          <a:xfrm>
            <a:off x="2036612" y="6460546"/>
            <a:ext cx="1335600" cy="1517039"/>
          </a:xfrm>
          <a:custGeom>
            <a:avLst/>
            <a:gdLst/>
            <a:ahLst/>
            <a:cxnLst>
              <a:cxn ang="3cd4">
                <a:pos x="hc" y="t"/>
              </a:cxn>
              <a:cxn ang="cd2">
                <a:pos x="l" y="vc"/>
              </a:cxn>
              <a:cxn ang="cd4">
                <a:pos x="hc" y="b"/>
              </a:cxn>
              <a:cxn ang="0">
                <a:pos x="r" y="vc"/>
              </a:cxn>
            </a:cxnLst>
            <a:rect l="l" t="t" r="r" b="b"/>
            <a:pathLst>
              <a:path w="3711" h="4215">
                <a:moveTo>
                  <a:pt x="3404" y="2991"/>
                </a:moveTo>
                <a:lnTo>
                  <a:pt x="3705" y="2482"/>
                </a:lnTo>
                <a:cubicBezTo>
                  <a:pt x="3722" y="2434"/>
                  <a:pt x="3705" y="2387"/>
                  <a:pt x="3674" y="2371"/>
                </a:cubicBezTo>
                <a:cubicBezTo>
                  <a:pt x="3642" y="2355"/>
                  <a:pt x="3594" y="2355"/>
                  <a:pt x="3562" y="2402"/>
                </a:cubicBezTo>
                <a:lnTo>
                  <a:pt x="3292" y="2863"/>
                </a:lnTo>
                <a:lnTo>
                  <a:pt x="2958" y="2832"/>
                </a:lnTo>
                <a:cubicBezTo>
                  <a:pt x="2910" y="2832"/>
                  <a:pt x="2878" y="2848"/>
                  <a:pt x="2863" y="2896"/>
                </a:cubicBezTo>
                <a:lnTo>
                  <a:pt x="2656" y="3611"/>
                </a:lnTo>
                <a:lnTo>
                  <a:pt x="2338" y="3452"/>
                </a:lnTo>
                <a:cubicBezTo>
                  <a:pt x="2322" y="3436"/>
                  <a:pt x="2274" y="3436"/>
                  <a:pt x="2258" y="3468"/>
                </a:cubicBezTo>
                <a:lnTo>
                  <a:pt x="1860" y="3786"/>
                </a:lnTo>
                <a:cubicBezTo>
                  <a:pt x="1829" y="3818"/>
                  <a:pt x="1829" y="3866"/>
                  <a:pt x="1845" y="3898"/>
                </a:cubicBezTo>
                <a:cubicBezTo>
                  <a:pt x="1860" y="3913"/>
                  <a:pt x="1893" y="3929"/>
                  <a:pt x="1908" y="3929"/>
                </a:cubicBezTo>
                <a:cubicBezTo>
                  <a:pt x="1924" y="3929"/>
                  <a:pt x="1940" y="3918"/>
                  <a:pt x="1956" y="3913"/>
                </a:cubicBezTo>
                <a:lnTo>
                  <a:pt x="2322" y="3627"/>
                </a:lnTo>
                <a:lnTo>
                  <a:pt x="2672" y="3802"/>
                </a:lnTo>
                <a:cubicBezTo>
                  <a:pt x="2687" y="3818"/>
                  <a:pt x="2720" y="3818"/>
                  <a:pt x="2735" y="3802"/>
                </a:cubicBezTo>
                <a:cubicBezTo>
                  <a:pt x="2767" y="3802"/>
                  <a:pt x="2783" y="3770"/>
                  <a:pt x="2783" y="3754"/>
                </a:cubicBezTo>
                <a:lnTo>
                  <a:pt x="3006" y="2991"/>
                </a:lnTo>
                <a:lnTo>
                  <a:pt x="3324" y="3023"/>
                </a:lnTo>
                <a:cubicBezTo>
                  <a:pt x="3356" y="3023"/>
                  <a:pt x="3387" y="3007"/>
                  <a:pt x="3404" y="2991"/>
                </a:cubicBezTo>
                <a:close/>
                <a:moveTo>
                  <a:pt x="3244" y="2497"/>
                </a:moveTo>
                <a:cubicBezTo>
                  <a:pt x="3292" y="2497"/>
                  <a:pt x="3324" y="2465"/>
                  <a:pt x="3324" y="2417"/>
                </a:cubicBezTo>
                <a:lnTo>
                  <a:pt x="3324" y="1225"/>
                </a:lnTo>
                <a:cubicBezTo>
                  <a:pt x="3324" y="1208"/>
                  <a:pt x="3308" y="1177"/>
                  <a:pt x="3292" y="1161"/>
                </a:cubicBezTo>
                <a:lnTo>
                  <a:pt x="2147" y="16"/>
                </a:lnTo>
                <a:cubicBezTo>
                  <a:pt x="2131" y="16"/>
                  <a:pt x="2115" y="0"/>
                  <a:pt x="2083" y="0"/>
                </a:cubicBezTo>
                <a:lnTo>
                  <a:pt x="79" y="0"/>
                </a:lnTo>
                <a:cubicBezTo>
                  <a:pt x="32" y="0"/>
                  <a:pt x="0" y="32"/>
                  <a:pt x="0" y="79"/>
                </a:cubicBezTo>
                <a:lnTo>
                  <a:pt x="0" y="4135"/>
                </a:lnTo>
                <a:cubicBezTo>
                  <a:pt x="0" y="4183"/>
                  <a:pt x="32" y="4215"/>
                  <a:pt x="79" y="4215"/>
                </a:cubicBezTo>
                <a:lnTo>
                  <a:pt x="1908" y="4215"/>
                </a:lnTo>
                <a:cubicBezTo>
                  <a:pt x="1956" y="4215"/>
                  <a:pt x="1988" y="4183"/>
                  <a:pt x="1988" y="4135"/>
                </a:cubicBezTo>
                <a:cubicBezTo>
                  <a:pt x="1988" y="4088"/>
                  <a:pt x="1956" y="4055"/>
                  <a:pt x="1908" y="4055"/>
                </a:cubicBezTo>
                <a:lnTo>
                  <a:pt x="143" y="4055"/>
                </a:lnTo>
                <a:lnTo>
                  <a:pt x="143" y="159"/>
                </a:lnTo>
                <a:lnTo>
                  <a:pt x="2051" y="159"/>
                </a:lnTo>
                <a:lnTo>
                  <a:pt x="2051" y="1208"/>
                </a:lnTo>
                <a:cubicBezTo>
                  <a:pt x="2051" y="1256"/>
                  <a:pt x="2083" y="1288"/>
                  <a:pt x="2131" y="1288"/>
                </a:cubicBezTo>
                <a:lnTo>
                  <a:pt x="3165" y="1288"/>
                </a:lnTo>
                <a:lnTo>
                  <a:pt x="3165" y="2417"/>
                </a:lnTo>
                <a:cubicBezTo>
                  <a:pt x="3165" y="2465"/>
                  <a:pt x="3196" y="2497"/>
                  <a:pt x="3244" y="2497"/>
                </a:cubicBezTo>
                <a:close/>
                <a:moveTo>
                  <a:pt x="2211" y="318"/>
                </a:moveTo>
                <a:lnTo>
                  <a:pt x="3038" y="1129"/>
                </a:lnTo>
                <a:lnTo>
                  <a:pt x="2211"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5" name="Freeform: Shape 9">
            <a:extLst>
              <a:ext uri="{FF2B5EF4-FFF2-40B4-BE49-F238E27FC236}">
                <a16:creationId xmlns:a16="http://schemas.microsoft.com/office/drawing/2014/main" id="{0362D69B-2DD6-F042-972C-884D11B914BD}"/>
              </a:ext>
            </a:extLst>
          </p:cNvPr>
          <p:cNvSpPr/>
          <p:nvPr/>
        </p:nvSpPr>
        <p:spPr>
          <a:xfrm>
            <a:off x="6208239" y="6413345"/>
            <a:ext cx="1202039" cy="1517039"/>
          </a:xfrm>
          <a:custGeom>
            <a:avLst/>
            <a:gdLst/>
            <a:ahLst/>
            <a:cxnLst>
              <a:cxn ang="3cd4">
                <a:pos x="hc" y="t"/>
              </a:cxn>
              <a:cxn ang="cd2">
                <a:pos x="l" y="vc"/>
              </a:cxn>
              <a:cxn ang="cd4">
                <a:pos x="hc" y="b"/>
              </a:cxn>
              <a:cxn ang="0">
                <a:pos x="r" y="vc"/>
              </a:cxn>
            </a:cxnLst>
            <a:rect l="l" t="t" r="r" b="b"/>
            <a:pathLst>
              <a:path w="3340" h="4215">
                <a:moveTo>
                  <a:pt x="2052" y="2942"/>
                </a:moveTo>
                <a:lnTo>
                  <a:pt x="2052" y="3785"/>
                </a:lnTo>
                <a:cubicBezTo>
                  <a:pt x="2052" y="3833"/>
                  <a:pt x="2100" y="3865"/>
                  <a:pt x="2131" y="3865"/>
                </a:cubicBezTo>
                <a:cubicBezTo>
                  <a:pt x="2179" y="3865"/>
                  <a:pt x="2211" y="3833"/>
                  <a:pt x="2211" y="3785"/>
                </a:cubicBezTo>
                <a:lnTo>
                  <a:pt x="2211" y="2942"/>
                </a:lnTo>
                <a:cubicBezTo>
                  <a:pt x="2211" y="2895"/>
                  <a:pt x="2179" y="2862"/>
                  <a:pt x="2131" y="2862"/>
                </a:cubicBezTo>
                <a:cubicBezTo>
                  <a:pt x="2100" y="2862"/>
                  <a:pt x="2052" y="2895"/>
                  <a:pt x="2052" y="2942"/>
                </a:cubicBezTo>
                <a:close/>
                <a:moveTo>
                  <a:pt x="2433" y="3499"/>
                </a:moveTo>
                <a:lnTo>
                  <a:pt x="2433" y="3785"/>
                </a:lnTo>
                <a:cubicBezTo>
                  <a:pt x="2433" y="3833"/>
                  <a:pt x="2465" y="3865"/>
                  <a:pt x="2513" y="3865"/>
                </a:cubicBezTo>
                <a:cubicBezTo>
                  <a:pt x="2561" y="3865"/>
                  <a:pt x="2592" y="3833"/>
                  <a:pt x="2592" y="3785"/>
                </a:cubicBezTo>
                <a:lnTo>
                  <a:pt x="2592" y="3499"/>
                </a:lnTo>
                <a:cubicBezTo>
                  <a:pt x="2592" y="3467"/>
                  <a:pt x="2561" y="3419"/>
                  <a:pt x="2513" y="3419"/>
                </a:cubicBezTo>
                <a:cubicBezTo>
                  <a:pt x="2465" y="3419"/>
                  <a:pt x="2433" y="3467"/>
                  <a:pt x="2433" y="3499"/>
                </a:cubicBezTo>
                <a:close/>
                <a:moveTo>
                  <a:pt x="2799" y="2672"/>
                </a:moveTo>
                <a:lnTo>
                  <a:pt x="2799" y="3785"/>
                </a:lnTo>
                <a:cubicBezTo>
                  <a:pt x="2799" y="3833"/>
                  <a:pt x="2847" y="3865"/>
                  <a:pt x="2879" y="3865"/>
                </a:cubicBezTo>
                <a:cubicBezTo>
                  <a:pt x="2927" y="3865"/>
                  <a:pt x="2958" y="3833"/>
                  <a:pt x="2958" y="3785"/>
                </a:cubicBezTo>
                <a:lnTo>
                  <a:pt x="2958" y="2672"/>
                </a:lnTo>
                <a:cubicBezTo>
                  <a:pt x="2958" y="2624"/>
                  <a:pt x="2927" y="2592"/>
                  <a:pt x="2879" y="2592"/>
                </a:cubicBezTo>
                <a:cubicBezTo>
                  <a:pt x="2847" y="2592"/>
                  <a:pt x="2799" y="2624"/>
                  <a:pt x="2799" y="2672"/>
                </a:cubicBezTo>
                <a:close/>
                <a:moveTo>
                  <a:pt x="3261" y="2862"/>
                </a:moveTo>
                <a:cubicBezTo>
                  <a:pt x="3213" y="2862"/>
                  <a:pt x="3181" y="2895"/>
                  <a:pt x="3181" y="2942"/>
                </a:cubicBezTo>
                <a:lnTo>
                  <a:pt x="3181" y="3785"/>
                </a:lnTo>
                <a:cubicBezTo>
                  <a:pt x="3181" y="3833"/>
                  <a:pt x="3213" y="3865"/>
                  <a:pt x="3261" y="3865"/>
                </a:cubicBezTo>
                <a:cubicBezTo>
                  <a:pt x="3292" y="3865"/>
                  <a:pt x="3340" y="3833"/>
                  <a:pt x="3340" y="3785"/>
                </a:cubicBezTo>
                <a:lnTo>
                  <a:pt x="3340" y="2942"/>
                </a:lnTo>
                <a:cubicBezTo>
                  <a:pt x="3340" y="2895"/>
                  <a:pt x="3292" y="2862"/>
                  <a:pt x="3261" y="2862"/>
                </a:cubicBezTo>
                <a:close/>
                <a:moveTo>
                  <a:pt x="3340" y="1225"/>
                </a:moveTo>
                <a:cubicBezTo>
                  <a:pt x="3340" y="1208"/>
                  <a:pt x="3324" y="1177"/>
                  <a:pt x="3308" y="1161"/>
                </a:cubicBezTo>
                <a:lnTo>
                  <a:pt x="2147" y="16"/>
                </a:lnTo>
                <a:cubicBezTo>
                  <a:pt x="2131" y="11"/>
                  <a:pt x="2115" y="0"/>
                  <a:pt x="2100" y="0"/>
                </a:cubicBezTo>
                <a:lnTo>
                  <a:pt x="80" y="0"/>
                </a:lnTo>
                <a:cubicBezTo>
                  <a:pt x="32" y="0"/>
                  <a:pt x="0" y="32"/>
                  <a:pt x="0" y="79"/>
                </a:cubicBezTo>
                <a:lnTo>
                  <a:pt x="0" y="4135"/>
                </a:lnTo>
                <a:cubicBezTo>
                  <a:pt x="0" y="4183"/>
                  <a:pt x="32" y="4215"/>
                  <a:pt x="80" y="4215"/>
                </a:cubicBezTo>
                <a:lnTo>
                  <a:pt x="1924" y="4215"/>
                </a:lnTo>
                <a:cubicBezTo>
                  <a:pt x="1972" y="4215"/>
                  <a:pt x="2004" y="4183"/>
                  <a:pt x="2004" y="4135"/>
                </a:cubicBezTo>
                <a:cubicBezTo>
                  <a:pt x="2004" y="4088"/>
                  <a:pt x="1972" y="4055"/>
                  <a:pt x="1924" y="4055"/>
                </a:cubicBezTo>
                <a:lnTo>
                  <a:pt x="159" y="4055"/>
                </a:lnTo>
                <a:lnTo>
                  <a:pt x="159" y="159"/>
                </a:lnTo>
                <a:lnTo>
                  <a:pt x="2068" y="159"/>
                </a:lnTo>
                <a:lnTo>
                  <a:pt x="2068" y="1208"/>
                </a:lnTo>
                <a:cubicBezTo>
                  <a:pt x="2068" y="1256"/>
                  <a:pt x="2100" y="1288"/>
                  <a:pt x="2147" y="1288"/>
                </a:cubicBezTo>
                <a:lnTo>
                  <a:pt x="3181" y="1288"/>
                </a:lnTo>
                <a:lnTo>
                  <a:pt x="3181" y="2417"/>
                </a:lnTo>
                <a:cubicBezTo>
                  <a:pt x="3181" y="2465"/>
                  <a:pt x="3213" y="2497"/>
                  <a:pt x="3261" y="2497"/>
                </a:cubicBezTo>
                <a:cubicBezTo>
                  <a:pt x="3292" y="2497"/>
                  <a:pt x="3340" y="2465"/>
                  <a:pt x="3340" y="2417"/>
                </a:cubicBezTo>
                <a:close/>
                <a:moveTo>
                  <a:pt x="2227" y="318"/>
                </a:moveTo>
                <a:lnTo>
                  <a:pt x="3054" y="1129"/>
                </a:lnTo>
                <a:lnTo>
                  <a:pt x="2227"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6" name="Freeform: Shape 2">
            <a:extLst>
              <a:ext uri="{FF2B5EF4-FFF2-40B4-BE49-F238E27FC236}">
                <a16:creationId xmlns:a16="http://schemas.microsoft.com/office/drawing/2014/main" id="{7D2E462E-504E-4E43-AD5F-D21E891E30A1}"/>
              </a:ext>
            </a:extLst>
          </p:cNvPr>
          <p:cNvSpPr/>
          <p:nvPr/>
        </p:nvSpPr>
        <p:spPr>
          <a:xfrm>
            <a:off x="10174189" y="6382834"/>
            <a:ext cx="1196280" cy="1516680"/>
          </a:xfrm>
          <a:custGeom>
            <a:avLst/>
            <a:gdLst/>
            <a:ahLst/>
            <a:cxnLst>
              <a:cxn ang="3cd4">
                <a:pos x="hc" y="t"/>
              </a:cxn>
              <a:cxn ang="cd2">
                <a:pos x="l" y="vc"/>
              </a:cxn>
              <a:cxn ang="cd4">
                <a:pos x="hc" y="b"/>
              </a:cxn>
              <a:cxn ang="0">
                <a:pos x="r" y="vc"/>
              </a:cxn>
            </a:cxnLst>
            <a:rect l="l" t="t" r="r" b="b"/>
            <a:pathLst>
              <a:path w="3324" h="4214">
                <a:moveTo>
                  <a:pt x="3324" y="4135"/>
                </a:moveTo>
                <a:cubicBezTo>
                  <a:pt x="3324" y="1224"/>
                  <a:pt x="3324" y="1224"/>
                  <a:pt x="3324" y="1224"/>
                </a:cubicBezTo>
                <a:cubicBezTo>
                  <a:pt x="3324" y="1209"/>
                  <a:pt x="3324" y="1177"/>
                  <a:pt x="3308" y="1161"/>
                </a:cubicBezTo>
                <a:cubicBezTo>
                  <a:pt x="2147" y="32"/>
                  <a:pt x="2147" y="32"/>
                  <a:pt x="2147" y="32"/>
                </a:cubicBezTo>
                <a:cubicBezTo>
                  <a:pt x="2131" y="16"/>
                  <a:pt x="2115" y="0"/>
                  <a:pt x="2099" y="0"/>
                </a:cubicBezTo>
                <a:cubicBezTo>
                  <a:pt x="79" y="0"/>
                  <a:pt x="79" y="0"/>
                  <a:pt x="79" y="0"/>
                </a:cubicBezTo>
                <a:cubicBezTo>
                  <a:pt x="31" y="0"/>
                  <a:pt x="0" y="32"/>
                  <a:pt x="0" y="79"/>
                </a:cubicBezTo>
                <a:cubicBezTo>
                  <a:pt x="0" y="4135"/>
                  <a:pt x="0" y="4135"/>
                  <a:pt x="0" y="4135"/>
                </a:cubicBezTo>
                <a:cubicBezTo>
                  <a:pt x="0" y="4183"/>
                  <a:pt x="31" y="4214"/>
                  <a:pt x="79" y="4214"/>
                </a:cubicBezTo>
                <a:cubicBezTo>
                  <a:pt x="3245" y="4214"/>
                  <a:pt x="3245" y="4214"/>
                  <a:pt x="3245" y="4214"/>
                </a:cubicBezTo>
                <a:cubicBezTo>
                  <a:pt x="3292" y="4214"/>
                  <a:pt x="3324" y="4183"/>
                  <a:pt x="3324" y="4135"/>
                </a:cubicBezTo>
                <a:close/>
                <a:moveTo>
                  <a:pt x="2227" y="318"/>
                </a:moveTo>
                <a:cubicBezTo>
                  <a:pt x="3038" y="1129"/>
                  <a:pt x="3038" y="1129"/>
                  <a:pt x="3038" y="1129"/>
                </a:cubicBezTo>
                <a:cubicBezTo>
                  <a:pt x="2227" y="1129"/>
                  <a:pt x="2227" y="1129"/>
                  <a:pt x="2227" y="1129"/>
                </a:cubicBezTo>
                <a:close/>
                <a:moveTo>
                  <a:pt x="159" y="4056"/>
                </a:moveTo>
                <a:cubicBezTo>
                  <a:pt x="159" y="159"/>
                  <a:pt x="159" y="159"/>
                  <a:pt x="159" y="159"/>
                </a:cubicBezTo>
                <a:cubicBezTo>
                  <a:pt x="2067" y="159"/>
                  <a:pt x="2067" y="159"/>
                  <a:pt x="2067" y="159"/>
                </a:cubicBezTo>
                <a:cubicBezTo>
                  <a:pt x="2067" y="1209"/>
                  <a:pt x="2067" y="1209"/>
                  <a:pt x="2067" y="1209"/>
                </a:cubicBezTo>
                <a:cubicBezTo>
                  <a:pt x="2067" y="1256"/>
                  <a:pt x="2099" y="1288"/>
                  <a:pt x="2147" y="1288"/>
                </a:cubicBezTo>
                <a:cubicBezTo>
                  <a:pt x="3165" y="1288"/>
                  <a:pt x="3165" y="1288"/>
                  <a:pt x="3165" y="1288"/>
                </a:cubicBezTo>
                <a:cubicBezTo>
                  <a:pt x="3165" y="4056"/>
                  <a:pt x="3165" y="4056"/>
                  <a:pt x="3165" y="405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7" name="Freeform: Shape 10">
            <a:extLst>
              <a:ext uri="{FF2B5EF4-FFF2-40B4-BE49-F238E27FC236}">
                <a16:creationId xmlns:a16="http://schemas.microsoft.com/office/drawing/2014/main" id="{2B717884-D415-D34E-85EC-20CEEFDA9C9A}"/>
              </a:ext>
            </a:extLst>
          </p:cNvPr>
          <p:cNvSpPr/>
          <p:nvPr/>
        </p:nvSpPr>
        <p:spPr>
          <a:xfrm>
            <a:off x="17694392" y="9727667"/>
            <a:ext cx="1202039" cy="1516680"/>
          </a:xfrm>
          <a:custGeom>
            <a:avLst/>
            <a:gdLst/>
            <a:ahLst/>
            <a:cxnLst>
              <a:cxn ang="3cd4">
                <a:pos x="hc" y="t"/>
              </a:cxn>
              <a:cxn ang="cd2">
                <a:pos x="l" y="vc"/>
              </a:cxn>
              <a:cxn ang="cd4">
                <a:pos x="hc" y="b"/>
              </a:cxn>
              <a:cxn ang="0">
                <a:pos x="r" y="vc"/>
              </a:cxn>
            </a:cxnLst>
            <a:rect l="l" t="t" r="r" b="b"/>
            <a:pathLst>
              <a:path w="3340" h="4214">
                <a:moveTo>
                  <a:pt x="2751" y="2974"/>
                </a:moveTo>
                <a:cubicBezTo>
                  <a:pt x="2417" y="2974"/>
                  <a:pt x="2147" y="3244"/>
                  <a:pt x="2147" y="3578"/>
                </a:cubicBezTo>
                <a:cubicBezTo>
                  <a:pt x="2147" y="3913"/>
                  <a:pt x="2417" y="4167"/>
                  <a:pt x="2751" y="4167"/>
                </a:cubicBezTo>
                <a:cubicBezTo>
                  <a:pt x="3069" y="4167"/>
                  <a:pt x="3340" y="3913"/>
                  <a:pt x="3340" y="3578"/>
                </a:cubicBezTo>
                <a:cubicBezTo>
                  <a:pt x="3340" y="3244"/>
                  <a:pt x="3069" y="2974"/>
                  <a:pt x="2751" y="2974"/>
                </a:cubicBezTo>
                <a:close/>
                <a:moveTo>
                  <a:pt x="2751" y="4024"/>
                </a:moveTo>
                <a:cubicBezTo>
                  <a:pt x="2513" y="4024"/>
                  <a:pt x="2306" y="3817"/>
                  <a:pt x="2306" y="3578"/>
                </a:cubicBezTo>
                <a:cubicBezTo>
                  <a:pt x="2306" y="3340"/>
                  <a:pt x="2513" y="3133"/>
                  <a:pt x="2751" y="3133"/>
                </a:cubicBezTo>
                <a:cubicBezTo>
                  <a:pt x="2990" y="3133"/>
                  <a:pt x="3181" y="3340"/>
                  <a:pt x="3181" y="3578"/>
                </a:cubicBezTo>
                <a:cubicBezTo>
                  <a:pt x="3181" y="3817"/>
                  <a:pt x="2990" y="4024"/>
                  <a:pt x="2751" y="4024"/>
                </a:cubicBezTo>
                <a:close/>
                <a:moveTo>
                  <a:pt x="2894" y="3499"/>
                </a:moveTo>
                <a:lnTo>
                  <a:pt x="2608" y="3499"/>
                </a:lnTo>
                <a:cubicBezTo>
                  <a:pt x="2560" y="3499"/>
                  <a:pt x="2529" y="3531"/>
                  <a:pt x="2529" y="3578"/>
                </a:cubicBezTo>
                <a:cubicBezTo>
                  <a:pt x="2529" y="3626"/>
                  <a:pt x="2560" y="3658"/>
                  <a:pt x="2608" y="3658"/>
                </a:cubicBezTo>
                <a:lnTo>
                  <a:pt x="2894" y="3658"/>
                </a:lnTo>
                <a:cubicBezTo>
                  <a:pt x="2926" y="3658"/>
                  <a:pt x="2974" y="3626"/>
                  <a:pt x="2974" y="3578"/>
                </a:cubicBezTo>
                <a:cubicBezTo>
                  <a:pt x="2974" y="3531"/>
                  <a:pt x="2926" y="3499"/>
                  <a:pt x="2894" y="3499"/>
                </a:cubicBezTo>
                <a:close/>
                <a:moveTo>
                  <a:pt x="0" y="4135"/>
                </a:moveTo>
                <a:cubicBezTo>
                  <a:pt x="0" y="4183"/>
                  <a:pt x="31" y="4214"/>
                  <a:pt x="79" y="4214"/>
                </a:cubicBezTo>
                <a:lnTo>
                  <a:pt x="1924" y="4214"/>
                </a:lnTo>
                <a:cubicBezTo>
                  <a:pt x="1972" y="4214"/>
                  <a:pt x="2004" y="4183"/>
                  <a:pt x="2004" y="4135"/>
                </a:cubicBezTo>
                <a:cubicBezTo>
                  <a:pt x="2004" y="4087"/>
                  <a:pt x="1972" y="4056"/>
                  <a:pt x="1924" y="4056"/>
                </a:cubicBezTo>
                <a:lnTo>
                  <a:pt x="159" y="4056"/>
                </a:lnTo>
                <a:lnTo>
                  <a:pt x="159" y="159"/>
                </a:lnTo>
                <a:lnTo>
                  <a:pt x="2067" y="159"/>
                </a:lnTo>
                <a:lnTo>
                  <a:pt x="2067" y="1209"/>
                </a:lnTo>
                <a:cubicBezTo>
                  <a:pt x="2067" y="1256"/>
                  <a:pt x="2099" y="1288"/>
                  <a:pt x="2147" y="1288"/>
                </a:cubicBezTo>
                <a:lnTo>
                  <a:pt x="3165" y="1288"/>
                </a:lnTo>
                <a:lnTo>
                  <a:pt x="3165" y="2672"/>
                </a:lnTo>
                <a:cubicBezTo>
                  <a:pt x="3165" y="2704"/>
                  <a:pt x="3212" y="2751"/>
                  <a:pt x="3245" y="2751"/>
                </a:cubicBezTo>
                <a:cubicBezTo>
                  <a:pt x="3292" y="2751"/>
                  <a:pt x="3324" y="2704"/>
                  <a:pt x="3324" y="2672"/>
                </a:cubicBezTo>
                <a:lnTo>
                  <a:pt x="3324" y="1224"/>
                </a:lnTo>
                <a:cubicBezTo>
                  <a:pt x="3324" y="1209"/>
                  <a:pt x="3324" y="1177"/>
                  <a:pt x="3308" y="1161"/>
                </a:cubicBezTo>
                <a:lnTo>
                  <a:pt x="2147" y="32"/>
                </a:lnTo>
                <a:cubicBezTo>
                  <a:pt x="2131" y="16"/>
                  <a:pt x="2115" y="0"/>
                  <a:pt x="2099" y="0"/>
                </a:cubicBezTo>
                <a:lnTo>
                  <a:pt x="79" y="0"/>
                </a:lnTo>
                <a:cubicBezTo>
                  <a:pt x="31" y="0"/>
                  <a:pt x="0" y="32"/>
                  <a:pt x="0" y="79"/>
                </a:cubicBezTo>
                <a:close/>
                <a:moveTo>
                  <a:pt x="2227" y="318"/>
                </a:moveTo>
                <a:lnTo>
                  <a:pt x="3038" y="1129"/>
                </a:lnTo>
                <a:lnTo>
                  <a:pt x="2227"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8" name="Freeform: Shape 11">
            <a:extLst>
              <a:ext uri="{FF2B5EF4-FFF2-40B4-BE49-F238E27FC236}">
                <a16:creationId xmlns:a16="http://schemas.microsoft.com/office/drawing/2014/main" id="{2FB5DA44-3850-A544-9470-07743EBC9665}"/>
              </a:ext>
            </a:extLst>
          </p:cNvPr>
          <p:cNvSpPr/>
          <p:nvPr/>
        </p:nvSpPr>
        <p:spPr>
          <a:xfrm>
            <a:off x="13940850" y="9727667"/>
            <a:ext cx="1196280" cy="1516680"/>
          </a:xfrm>
          <a:custGeom>
            <a:avLst/>
            <a:gdLst/>
            <a:ahLst/>
            <a:cxnLst>
              <a:cxn ang="3cd4">
                <a:pos x="hc" y="t"/>
              </a:cxn>
              <a:cxn ang="cd2">
                <a:pos x="l" y="vc"/>
              </a:cxn>
              <a:cxn ang="cd4">
                <a:pos x="hc" y="b"/>
              </a:cxn>
              <a:cxn ang="0">
                <a:pos x="r" y="vc"/>
              </a:cxn>
            </a:cxnLst>
            <a:rect l="l" t="t" r="r" b="b"/>
            <a:pathLst>
              <a:path w="3324" h="4214">
                <a:moveTo>
                  <a:pt x="2719" y="3833"/>
                </a:moveTo>
                <a:cubicBezTo>
                  <a:pt x="2735" y="3849"/>
                  <a:pt x="2751" y="3865"/>
                  <a:pt x="2783" y="3865"/>
                </a:cubicBezTo>
                <a:cubicBezTo>
                  <a:pt x="2799" y="3865"/>
                  <a:pt x="2815" y="3849"/>
                  <a:pt x="2830" y="3833"/>
                </a:cubicBezTo>
                <a:lnTo>
                  <a:pt x="3181" y="3499"/>
                </a:lnTo>
                <a:cubicBezTo>
                  <a:pt x="3196" y="3483"/>
                  <a:pt x="3212" y="3451"/>
                  <a:pt x="3212" y="3435"/>
                </a:cubicBezTo>
                <a:cubicBezTo>
                  <a:pt x="3212" y="3419"/>
                  <a:pt x="3196" y="3387"/>
                  <a:pt x="3181" y="3372"/>
                </a:cubicBezTo>
                <a:lnTo>
                  <a:pt x="2830" y="3038"/>
                </a:lnTo>
                <a:cubicBezTo>
                  <a:pt x="2799" y="3006"/>
                  <a:pt x="2751" y="3006"/>
                  <a:pt x="2719" y="3038"/>
                </a:cubicBezTo>
                <a:cubicBezTo>
                  <a:pt x="2687" y="3069"/>
                  <a:pt x="2687" y="3117"/>
                  <a:pt x="2719" y="3149"/>
                </a:cubicBezTo>
                <a:lnTo>
                  <a:pt x="2926" y="3356"/>
                </a:lnTo>
                <a:cubicBezTo>
                  <a:pt x="2544" y="3356"/>
                  <a:pt x="2210" y="3674"/>
                  <a:pt x="2210" y="4056"/>
                </a:cubicBezTo>
                <a:cubicBezTo>
                  <a:pt x="2210" y="4087"/>
                  <a:pt x="2242" y="4135"/>
                  <a:pt x="2290" y="4135"/>
                </a:cubicBezTo>
                <a:cubicBezTo>
                  <a:pt x="2322" y="4135"/>
                  <a:pt x="2369" y="4087"/>
                  <a:pt x="2369" y="4056"/>
                </a:cubicBezTo>
                <a:cubicBezTo>
                  <a:pt x="2369" y="3769"/>
                  <a:pt x="2624" y="3515"/>
                  <a:pt x="2926" y="3515"/>
                </a:cubicBezTo>
                <a:lnTo>
                  <a:pt x="2719" y="3722"/>
                </a:lnTo>
                <a:cubicBezTo>
                  <a:pt x="2687" y="3753"/>
                  <a:pt x="2687" y="3801"/>
                  <a:pt x="2719" y="3833"/>
                </a:cubicBezTo>
                <a:close/>
                <a:moveTo>
                  <a:pt x="3324" y="2672"/>
                </a:moveTo>
                <a:lnTo>
                  <a:pt x="3324" y="1224"/>
                </a:lnTo>
                <a:cubicBezTo>
                  <a:pt x="3324" y="1209"/>
                  <a:pt x="3324" y="1177"/>
                  <a:pt x="3308" y="1161"/>
                </a:cubicBezTo>
                <a:lnTo>
                  <a:pt x="2146" y="32"/>
                </a:lnTo>
                <a:cubicBezTo>
                  <a:pt x="2131" y="16"/>
                  <a:pt x="2115" y="0"/>
                  <a:pt x="2083" y="0"/>
                </a:cubicBezTo>
                <a:lnTo>
                  <a:pt x="79" y="0"/>
                </a:lnTo>
                <a:cubicBezTo>
                  <a:pt x="31" y="0"/>
                  <a:pt x="0" y="32"/>
                  <a:pt x="0" y="79"/>
                </a:cubicBezTo>
                <a:lnTo>
                  <a:pt x="0" y="4135"/>
                </a:lnTo>
                <a:cubicBezTo>
                  <a:pt x="0" y="4183"/>
                  <a:pt x="31" y="4214"/>
                  <a:pt x="79" y="4214"/>
                </a:cubicBezTo>
                <a:lnTo>
                  <a:pt x="1924" y="4214"/>
                </a:lnTo>
                <a:cubicBezTo>
                  <a:pt x="1956" y="4214"/>
                  <a:pt x="2003" y="4183"/>
                  <a:pt x="2003" y="4135"/>
                </a:cubicBezTo>
                <a:cubicBezTo>
                  <a:pt x="2003" y="4087"/>
                  <a:pt x="1956" y="4056"/>
                  <a:pt x="1924" y="4056"/>
                </a:cubicBezTo>
                <a:lnTo>
                  <a:pt x="158" y="4056"/>
                </a:lnTo>
                <a:lnTo>
                  <a:pt x="158" y="159"/>
                </a:lnTo>
                <a:lnTo>
                  <a:pt x="2051" y="159"/>
                </a:lnTo>
                <a:lnTo>
                  <a:pt x="2051" y="1209"/>
                </a:lnTo>
                <a:cubicBezTo>
                  <a:pt x="2051" y="1256"/>
                  <a:pt x="2099" y="1288"/>
                  <a:pt x="2131" y="1288"/>
                </a:cubicBezTo>
                <a:lnTo>
                  <a:pt x="3164" y="1288"/>
                </a:lnTo>
                <a:lnTo>
                  <a:pt x="3164" y="2672"/>
                </a:lnTo>
                <a:cubicBezTo>
                  <a:pt x="3164" y="2704"/>
                  <a:pt x="3196" y="2751"/>
                  <a:pt x="3244" y="2751"/>
                </a:cubicBezTo>
                <a:cubicBezTo>
                  <a:pt x="3292" y="2751"/>
                  <a:pt x="3324" y="2704"/>
                  <a:pt x="3324" y="2672"/>
                </a:cubicBezTo>
                <a:close/>
                <a:moveTo>
                  <a:pt x="2210" y="318"/>
                </a:moveTo>
                <a:lnTo>
                  <a:pt x="3037" y="1129"/>
                </a:lnTo>
                <a:lnTo>
                  <a:pt x="2210"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9" name="Freeform: Shape 12">
            <a:extLst>
              <a:ext uri="{FF2B5EF4-FFF2-40B4-BE49-F238E27FC236}">
                <a16:creationId xmlns:a16="http://schemas.microsoft.com/office/drawing/2014/main" id="{C2CFCD73-B9C1-E94D-B496-B4942F73D994}"/>
              </a:ext>
            </a:extLst>
          </p:cNvPr>
          <p:cNvSpPr/>
          <p:nvPr/>
        </p:nvSpPr>
        <p:spPr>
          <a:xfrm>
            <a:off x="10171141" y="9758727"/>
            <a:ext cx="1202039" cy="1516680"/>
          </a:xfrm>
          <a:custGeom>
            <a:avLst/>
            <a:gdLst/>
            <a:ahLst/>
            <a:cxnLst>
              <a:cxn ang="3cd4">
                <a:pos x="hc" y="t"/>
              </a:cxn>
              <a:cxn ang="cd2">
                <a:pos x="l" y="vc"/>
              </a:cxn>
              <a:cxn ang="cd4">
                <a:pos x="hc" y="b"/>
              </a:cxn>
              <a:cxn ang="0">
                <a:pos x="r" y="vc"/>
              </a:cxn>
            </a:cxnLst>
            <a:rect l="l" t="t" r="r" b="b"/>
            <a:pathLst>
              <a:path w="3340" h="4214">
                <a:moveTo>
                  <a:pt x="2688" y="4151"/>
                </a:moveTo>
                <a:cubicBezTo>
                  <a:pt x="2736" y="4151"/>
                  <a:pt x="2767" y="4104"/>
                  <a:pt x="2767" y="4071"/>
                </a:cubicBezTo>
                <a:lnTo>
                  <a:pt x="2767" y="3086"/>
                </a:lnTo>
                <a:lnTo>
                  <a:pt x="3086" y="3276"/>
                </a:lnTo>
                <a:cubicBezTo>
                  <a:pt x="3133" y="3292"/>
                  <a:pt x="3181" y="3276"/>
                  <a:pt x="3197" y="3244"/>
                </a:cubicBezTo>
                <a:cubicBezTo>
                  <a:pt x="3213" y="3213"/>
                  <a:pt x="3213" y="3165"/>
                  <a:pt x="3165" y="3133"/>
                </a:cubicBezTo>
                <a:lnTo>
                  <a:pt x="2736" y="2878"/>
                </a:lnTo>
                <a:lnTo>
                  <a:pt x="2720" y="2878"/>
                </a:lnTo>
                <a:lnTo>
                  <a:pt x="2720" y="2863"/>
                </a:lnTo>
                <a:lnTo>
                  <a:pt x="2704" y="2863"/>
                </a:lnTo>
                <a:lnTo>
                  <a:pt x="2688" y="2863"/>
                </a:lnTo>
                <a:lnTo>
                  <a:pt x="2672" y="2863"/>
                </a:lnTo>
                <a:lnTo>
                  <a:pt x="2672" y="2878"/>
                </a:lnTo>
                <a:lnTo>
                  <a:pt x="2656" y="2878"/>
                </a:lnTo>
                <a:lnTo>
                  <a:pt x="2227" y="3133"/>
                </a:lnTo>
                <a:cubicBezTo>
                  <a:pt x="2179" y="3165"/>
                  <a:pt x="2163" y="3213"/>
                  <a:pt x="2195" y="3244"/>
                </a:cubicBezTo>
                <a:cubicBezTo>
                  <a:pt x="2211" y="3276"/>
                  <a:pt x="2227" y="3276"/>
                  <a:pt x="2259" y="3276"/>
                </a:cubicBezTo>
                <a:lnTo>
                  <a:pt x="2306" y="3276"/>
                </a:lnTo>
                <a:lnTo>
                  <a:pt x="2609" y="3086"/>
                </a:lnTo>
                <a:lnTo>
                  <a:pt x="2609" y="4071"/>
                </a:lnTo>
                <a:cubicBezTo>
                  <a:pt x="2609" y="4104"/>
                  <a:pt x="2656" y="4151"/>
                  <a:pt x="2688" y="4151"/>
                </a:cubicBezTo>
                <a:close/>
                <a:moveTo>
                  <a:pt x="3340" y="2672"/>
                </a:moveTo>
                <a:lnTo>
                  <a:pt x="3340" y="1224"/>
                </a:lnTo>
                <a:cubicBezTo>
                  <a:pt x="3340" y="1209"/>
                  <a:pt x="3324" y="1177"/>
                  <a:pt x="3309" y="1161"/>
                </a:cubicBezTo>
                <a:lnTo>
                  <a:pt x="2147" y="32"/>
                </a:lnTo>
                <a:cubicBezTo>
                  <a:pt x="2131" y="16"/>
                  <a:pt x="2116" y="0"/>
                  <a:pt x="2100" y="0"/>
                </a:cubicBezTo>
                <a:lnTo>
                  <a:pt x="80" y="0"/>
                </a:lnTo>
                <a:cubicBezTo>
                  <a:pt x="32" y="0"/>
                  <a:pt x="0" y="32"/>
                  <a:pt x="0" y="79"/>
                </a:cubicBezTo>
                <a:lnTo>
                  <a:pt x="0" y="4135"/>
                </a:lnTo>
                <a:cubicBezTo>
                  <a:pt x="0" y="4183"/>
                  <a:pt x="32" y="4214"/>
                  <a:pt x="80" y="4214"/>
                </a:cubicBezTo>
                <a:lnTo>
                  <a:pt x="1925" y="4214"/>
                </a:lnTo>
                <a:cubicBezTo>
                  <a:pt x="1972" y="4214"/>
                  <a:pt x="2004" y="4183"/>
                  <a:pt x="2004" y="4135"/>
                </a:cubicBezTo>
                <a:cubicBezTo>
                  <a:pt x="2004" y="4087"/>
                  <a:pt x="1972" y="4056"/>
                  <a:pt x="1925" y="4056"/>
                </a:cubicBezTo>
                <a:lnTo>
                  <a:pt x="159" y="4056"/>
                </a:lnTo>
                <a:lnTo>
                  <a:pt x="159" y="159"/>
                </a:lnTo>
                <a:lnTo>
                  <a:pt x="2068" y="159"/>
                </a:lnTo>
                <a:lnTo>
                  <a:pt x="2068" y="1209"/>
                </a:lnTo>
                <a:cubicBezTo>
                  <a:pt x="2068" y="1256"/>
                  <a:pt x="2100" y="1288"/>
                  <a:pt x="2147" y="1288"/>
                </a:cubicBezTo>
                <a:lnTo>
                  <a:pt x="3181" y="1288"/>
                </a:lnTo>
                <a:lnTo>
                  <a:pt x="3181" y="2672"/>
                </a:lnTo>
                <a:cubicBezTo>
                  <a:pt x="3181" y="2704"/>
                  <a:pt x="3213" y="2751"/>
                  <a:pt x="3261" y="2751"/>
                </a:cubicBezTo>
                <a:cubicBezTo>
                  <a:pt x="3292" y="2751"/>
                  <a:pt x="3340" y="2704"/>
                  <a:pt x="3340" y="2672"/>
                </a:cubicBezTo>
                <a:close/>
                <a:moveTo>
                  <a:pt x="2227" y="318"/>
                </a:moveTo>
                <a:lnTo>
                  <a:pt x="3054" y="1129"/>
                </a:lnTo>
                <a:lnTo>
                  <a:pt x="2227"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0" name="Freeform: Shape 13">
            <a:extLst>
              <a:ext uri="{FF2B5EF4-FFF2-40B4-BE49-F238E27FC236}">
                <a16:creationId xmlns:a16="http://schemas.microsoft.com/office/drawing/2014/main" id="{C62FC6A8-6BF4-AB46-BAC5-888DF9A07723}"/>
              </a:ext>
            </a:extLst>
          </p:cNvPr>
          <p:cNvSpPr/>
          <p:nvPr/>
        </p:nvSpPr>
        <p:spPr>
          <a:xfrm>
            <a:off x="6208239" y="9875367"/>
            <a:ext cx="1202039" cy="1516680"/>
          </a:xfrm>
          <a:custGeom>
            <a:avLst/>
            <a:gdLst/>
            <a:ahLst/>
            <a:cxnLst>
              <a:cxn ang="3cd4">
                <a:pos x="hc" y="t"/>
              </a:cxn>
              <a:cxn ang="cd2">
                <a:pos x="l" y="vc"/>
              </a:cxn>
              <a:cxn ang="cd4">
                <a:pos x="hc" y="b"/>
              </a:cxn>
              <a:cxn ang="0">
                <a:pos x="r" y="vc"/>
              </a:cxn>
            </a:cxnLst>
            <a:rect l="l" t="t" r="r" b="b"/>
            <a:pathLst>
              <a:path w="3340" h="4214">
                <a:moveTo>
                  <a:pt x="2704" y="2720"/>
                </a:moveTo>
                <a:cubicBezTo>
                  <a:pt x="2656" y="2720"/>
                  <a:pt x="2625" y="2767"/>
                  <a:pt x="2625" y="2799"/>
                </a:cubicBezTo>
                <a:lnTo>
                  <a:pt x="2625" y="3706"/>
                </a:lnTo>
                <a:lnTo>
                  <a:pt x="2290" y="3499"/>
                </a:lnTo>
                <a:cubicBezTo>
                  <a:pt x="2243" y="3483"/>
                  <a:pt x="2195" y="3499"/>
                  <a:pt x="2179" y="3531"/>
                </a:cubicBezTo>
                <a:cubicBezTo>
                  <a:pt x="2147" y="3578"/>
                  <a:pt x="2163" y="3626"/>
                  <a:pt x="2211" y="3642"/>
                </a:cubicBezTo>
                <a:lnTo>
                  <a:pt x="2640" y="3896"/>
                </a:lnTo>
                <a:cubicBezTo>
                  <a:pt x="2656" y="3913"/>
                  <a:pt x="2661" y="3907"/>
                  <a:pt x="2672" y="3913"/>
                </a:cubicBezTo>
                <a:cubicBezTo>
                  <a:pt x="2688" y="3913"/>
                  <a:pt x="2704" y="3913"/>
                  <a:pt x="2720" y="3896"/>
                </a:cubicBezTo>
                <a:lnTo>
                  <a:pt x="3149" y="3642"/>
                </a:lnTo>
                <a:cubicBezTo>
                  <a:pt x="3197" y="3626"/>
                  <a:pt x="3197" y="3578"/>
                  <a:pt x="3181" y="3531"/>
                </a:cubicBezTo>
                <a:cubicBezTo>
                  <a:pt x="3165" y="3499"/>
                  <a:pt x="3117" y="3483"/>
                  <a:pt x="3070" y="3499"/>
                </a:cubicBezTo>
                <a:lnTo>
                  <a:pt x="2784" y="3674"/>
                </a:lnTo>
                <a:lnTo>
                  <a:pt x="2784" y="2799"/>
                </a:lnTo>
                <a:cubicBezTo>
                  <a:pt x="2784" y="2767"/>
                  <a:pt x="2752" y="2720"/>
                  <a:pt x="2704" y="2720"/>
                </a:cubicBezTo>
                <a:close/>
                <a:moveTo>
                  <a:pt x="3340" y="1224"/>
                </a:moveTo>
                <a:cubicBezTo>
                  <a:pt x="3340" y="1209"/>
                  <a:pt x="3325" y="1177"/>
                  <a:pt x="3308" y="1161"/>
                </a:cubicBezTo>
                <a:lnTo>
                  <a:pt x="2163" y="32"/>
                </a:lnTo>
                <a:cubicBezTo>
                  <a:pt x="2147" y="16"/>
                  <a:pt x="2132" y="0"/>
                  <a:pt x="2099" y="0"/>
                </a:cubicBezTo>
                <a:lnTo>
                  <a:pt x="80" y="0"/>
                </a:lnTo>
                <a:cubicBezTo>
                  <a:pt x="48" y="0"/>
                  <a:pt x="0" y="32"/>
                  <a:pt x="0" y="79"/>
                </a:cubicBezTo>
                <a:lnTo>
                  <a:pt x="0" y="4135"/>
                </a:lnTo>
                <a:cubicBezTo>
                  <a:pt x="0" y="4183"/>
                  <a:pt x="48" y="4214"/>
                  <a:pt x="80" y="4214"/>
                </a:cubicBezTo>
                <a:lnTo>
                  <a:pt x="1925" y="4214"/>
                </a:lnTo>
                <a:cubicBezTo>
                  <a:pt x="1972" y="4214"/>
                  <a:pt x="2004" y="4183"/>
                  <a:pt x="2004" y="4135"/>
                </a:cubicBezTo>
                <a:cubicBezTo>
                  <a:pt x="2004" y="4087"/>
                  <a:pt x="1972" y="4056"/>
                  <a:pt x="1925" y="4056"/>
                </a:cubicBezTo>
                <a:lnTo>
                  <a:pt x="159" y="4056"/>
                </a:lnTo>
                <a:lnTo>
                  <a:pt x="159" y="159"/>
                </a:lnTo>
                <a:lnTo>
                  <a:pt x="2068" y="159"/>
                </a:lnTo>
                <a:lnTo>
                  <a:pt x="2068" y="1209"/>
                </a:lnTo>
                <a:cubicBezTo>
                  <a:pt x="2068" y="1256"/>
                  <a:pt x="2099" y="1288"/>
                  <a:pt x="2147" y="1288"/>
                </a:cubicBezTo>
                <a:lnTo>
                  <a:pt x="3181" y="1288"/>
                </a:lnTo>
                <a:lnTo>
                  <a:pt x="3181" y="2672"/>
                </a:lnTo>
                <a:cubicBezTo>
                  <a:pt x="3181" y="2704"/>
                  <a:pt x="3213" y="2751"/>
                  <a:pt x="3261" y="2751"/>
                </a:cubicBezTo>
                <a:cubicBezTo>
                  <a:pt x="3308" y="2751"/>
                  <a:pt x="3340" y="2704"/>
                  <a:pt x="3340" y="2672"/>
                </a:cubicBezTo>
                <a:close/>
                <a:moveTo>
                  <a:pt x="2227" y="318"/>
                </a:moveTo>
                <a:lnTo>
                  <a:pt x="3054" y="1129"/>
                </a:lnTo>
                <a:lnTo>
                  <a:pt x="2227"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1" name="Freeform: Shape 14">
            <a:extLst>
              <a:ext uri="{FF2B5EF4-FFF2-40B4-BE49-F238E27FC236}">
                <a16:creationId xmlns:a16="http://schemas.microsoft.com/office/drawing/2014/main" id="{3CC7BDFE-E855-4444-A169-570CF771B99E}"/>
              </a:ext>
            </a:extLst>
          </p:cNvPr>
          <p:cNvSpPr/>
          <p:nvPr/>
        </p:nvSpPr>
        <p:spPr>
          <a:xfrm>
            <a:off x="2036612" y="9875367"/>
            <a:ext cx="1201679" cy="1516680"/>
          </a:xfrm>
          <a:custGeom>
            <a:avLst/>
            <a:gdLst/>
            <a:ahLst/>
            <a:cxnLst>
              <a:cxn ang="3cd4">
                <a:pos x="hc" y="t"/>
              </a:cxn>
              <a:cxn ang="cd2">
                <a:pos x="l" y="vc"/>
              </a:cxn>
              <a:cxn ang="cd4">
                <a:pos x="hc" y="b"/>
              </a:cxn>
              <a:cxn ang="0">
                <a:pos x="r" y="vc"/>
              </a:cxn>
            </a:cxnLst>
            <a:rect l="l" t="t" r="r" b="b"/>
            <a:pathLst>
              <a:path w="3339" h="4214">
                <a:moveTo>
                  <a:pt x="2481" y="3944"/>
                </a:moveTo>
                <a:cubicBezTo>
                  <a:pt x="2497" y="3960"/>
                  <a:pt x="2529" y="3960"/>
                  <a:pt x="2545" y="3960"/>
                </a:cubicBezTo>
                <a:cubicBezTo>
                  <a:pt x="2560" y="3960"/>
                  <a:pt x="2576" y="3960"/>
                  <a:pt x="2592" y="3944"/>
                </a:cubicBezTo>
                <a:lnTo>
                  <a:pt x="2846" y="3690"/>
                </a:lnTo>
                <a:lnTo>
                  <a:pt x="3101" y="3944"/>
                </a:lnTo>
                <a:cubicBezTo>
                  <a:pt x="3117" y="3960"/>
                  <a:pt x="3133" y="3960"/>
                  <a:pt x="3165" y="3960"/>
                </a:cubicBezTo>
                <a:cubicBezTo>
                  <a:pt x="3181" y="3960"/>
                  <a:pt x="3196" y="3960"/>
                  <a:pt x="3212" y="3944"/>
                </a:cubicBezTo>
                <a:cubicBezTo>
                  <a:pt x="3244" y="3913"/>
                  <a:pt x="3244" y="3865"/>
                  <a:pt x="3212" y="3833"/>
                </a:cubicBezTo>
                <a:lnTo>
                  <a:pt x="2958" y="3578"/>
                </a:lnTo>
                <a:lnTo>
                  <a:pt x="3212" y="3324"/>
                </a:lnTo>
                <a:cubicBezTo>
                  <a:pt x="3244" y="3292"/>
                  <a:pt x="3244" y="3244"/>
                  <a:pt x="3212" y="3213"/>
                </a:cubicBezTo>
                <a:cubicBezTo>
                  <a:pt x="3181" y="3181"/>
                  <a:pt x="3133" y="3181"/>
                  <a:pt x="3101" y="3213"/>
                </a:cubicBezTo>
                <a:lnTo>
                  <a:pt x="2846" y="3467"/>
                </a:lnTo>
                <a:lnTo>
                  <a:pt x="2592" y="3213"/>
                </a:lnTo>
                <a:cubicBezTo>
                  <a:pt x="2560" y="3181"/>
                  <a:pt x="2512" y="3181"/>
                  <a:pt x="2481" y="3213"/>
                </a:cubicBezTo>
                <a:cubicBezTo>
                  <a:pt x="2449" y="3244"/>
                  <a:pt x="2449" y="3292"/>
                  <a:pt x="2481" y="3324"/>
                </a:cubicBezTo>
                <a:lnTo>
                  <a:pt x="2735" y="3578"/>
                </a:lnTo>
                <a:lnTo>
                  <a:pt x="2481" y="3833"/>
                </a:lnTo>
                <a:cubicBezTo>
                  <a:pt x="2449" y="3865"/>
                  <a:pt x="2449" y="3913"/>
                  <a:pt x="2481" y="3944"/>
                </a:cubicBezTo>
                <a:close/>
                <a:moveTo>
                  <a:pt x="3339" y="1224"/>
                </a:moveTo>
                <a:cubicBezTo>
                  <a:pt x="3339" y="1209"/>
                  <a:pt x="3324" y="1177"/>
                  <a:pt x="3308" y="1161"/>
                </a:cubicBezTo>
                <a:lnTo>
                  <a:pt x="2147" y="32"/>
                </a:lnTo>
                <a:cubicBezTo>
                  <a:pt x="2131" y="16"/>
                  <a:pt x="2115" y="0"/>
                  <a:pt x="2099" y="0"/>
                </a:cubicBezTo>
                <a:lnTo>
                  <a:pt x="79" y="0"/>
                </a:lnTo>
                <a:cubicBezTo>
                  <a:pt x="31" y="0"/>
                  <a:pt x="0" y="32"/>
                  <a:pt x="0" y="79"/>
                </a:cubicBezTo>
                <a:lnTo>
                  <a:pt x="0" y="4135"/>
                </a:lnTo>
                <a:cubicBezTo>
                  <a:pt x="0" y="4183"/>
                  <a:pt x="31" y="4214"/>
                  <a:pt x="79" y="4214"/>
                </a:cubicBezTo>
                <a:lnTo>
                  <a:pt x="1924" y="4214"/>
                </a:lnTo>
                <a:cubicBezTo>
                  <a:pt x="1972" y="4214"/>
                  <a:pt x="2003" y="4183"/>
                  <a:pt x="2003" y="4135"/>
                </a:cubicBezTo>
                <a:cubicBezTo>
                  <a:pt x="2003" y="4087"/>
                  <a:pt x="1972" y="4056"/>
                  <a:pt x="1924" y="4056"/>
                </a:cubicBezTo>
                <a:lnTo>
                  <a:pt x="159" y="4056"/>
                </a:lnTo>
                <a:lnTo>
                  <a:pt x="159" y="159"/>
                </a:lnTo>
                <a:lnTo>
                  <a:pt x="2067" y="159"/>
                </a:lnTo>
                <a:lnTo>
                  <a:pt x="2067" y="1209"/>
                </a:lnTo>
                <a:cubicBezTo>
                  <a:pt x="2067" y="1256"/>
                  <a:pt x="2099" y="1288"/>
                  <a:pt x="2147" y="1288"/>
                </a:cubicBezTo>
                <a:lnTo>
                  <a:pt x="3181" y="1288"/>
                </a:lnTo>
                <a:lnTo>
                  <a:pt x="3181" y="2672"/>
                </a:lnTo>
                <a:cubicBezTo>
                  <a:pt x="3181" y="2704"/>
                  <a:pt x="3212" y="2751"/>
                  <a:pt x="3260" y="2751"/>
                </a:cubicBezTo>
                <a:cubicBezTo>
                  <a:pt x="3292" y="2751"/>
                  <a:pt x="3339" y="2704"/>
                  <a:pt x="3339" y="2672"/>
                </a:cubicBezTo>
                <a:close/>
                <a:moveTo>
                  <a:pt x="2226" y="318"/>
                </a:moveTo>
                <a:lnTo>
                  <a:pt x="3053" y="1129"/>
                </a:lnTo>
                <a:lnTo>
                  <a:pt x="2226"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2" name="Freeform: Shape 15">
            <a:extLst>
              <a:ext uri="{FF2B5EF4-FFF2-40B4-BE49-F238E27FC236}">
                <a16:creationId xmlns:a16="http://schemas.microsoft.com/office/drawing/2014/main" id="{1925C0DF-DC8E-444D-BAE2-CA4AD18FA27E}"/>
              </a:ext>
            </a:extLst>
          </p:cNvPr>
          <p:cNvSpPr/>
          <p:nvPr/>
        </p:nvSpPr>
        <p:spPr>
          <a:xfrm>
            <a:off x="21486115" y="6429307"/>
            <a:ext cx="1219320" cy="1516680"/>
          </a:xfrm>
          <a:custGeom>
            <a:avLst/>
            <a:gdLst/>
            <a:ahLst/>
            <a:cxnLst>
              <a:cxn ang="3cd4">
                <a:pos x="hc" y="t"/>
              </a:cxn>
              <a:cxn ang="cd2">
                <a:pos x="l" y="vc"/>
              </a:cxn>
              <a:cxn ang="cd4">
                <a:pos x="hc" y="b"/>
              </a:cxn>
              <a:cxn ang="0">
                <a:pos x="r" y="vc"/>
              </a:cxn>
            </a:cxnLst>
            <a:rect l="l" t="t" r="r" b="b"/>
            <a:pathLst>
              <a:path w="3388" h="4214">
                <a:moveTo>
                  <a:pt x="2338" y="3499"/>
                </a:moveTo>
                <a:cubicBezTo>
                  <a:pt x="2290" y="3499"/>
                  <a:pt x="2258" y="3531"/>
                  <a:pt x="2258" y="3578"/>
                </a:cubicBezTo>
                <a:cubicBezTo>
                  <a:pt x="2258" y="3626"/>
                  <a:pt x="2290" y="3658"/>
                  <a:pt x="2338" y="3658"/>
                </a:cubicBezTo>
                <a:lnTo>
                  <a:pt x="3308" y="3658"/>
                </a:lnTo>
                <a:cubicBezTo>
                  <a:pt x="3356" y="3658"/>
                  <a:pt x="3388" y="3626"/>
                  <a:pt x="3388" y="3578"/>
                </a:cubicBezTo>
                <a:cubicBezTo>
                  <a:pt x="3388" y="3531"/>
                  <a:pt x="3356" y="3499"/>
                  <a:pt x="3308" y="3499"/>
                </a:cubicBezTo>
                <a:close/>
                <a:moveTo>
                  <a:pt x="2147" y="32"/>
                </a:moveTo>
                <a:cubicBezTo>
                  <a:pt x="2131" y="16"/>
                  <a:pt x="2115" y="0"/>
                  <a:pt x="2083" y="0"/>
                </a:cubicBezTo>
                <a:lnTo>
                  <a:pt x="79" y="0"/>
                </a:lnTo>
                <a:cubicBezTo>
                  <a:pt x="32" y="0"/>
                  <a:pt x="0" y="32"/>
                  <a:pt x="0" y="79"/>
                </a:cubicBezTo>
                <a:lnTo>
                  <a:pt x="0" y="4135"/>
                </a:lnTo>
                <a:cubicBezTo>
                  <a:pt x="0" y="4183"/>
                  <a:pt x="32" y="4214"/>
                  <a:pt x="79" y="4214"/>
                </a:cubicBezTo>
                <a:lnTo>
                  <a:pt x="1924" y="4214"/>
                </a:lnTo>
                <a:cubicBezTo>
                  <a:pt x="1956" y="4214"/>
                  <a:pt x="2004" y="4183"/>
                  <a:pt x="2004" y="4135"/>
                </a:cubicBezTo>
                <a:cubicBezTo>
                  <a:pt x="2004" y="4087"/>
                  <a:pt x="1956" y="4056"/>
                  <a:pt x="1924" y="4056"/>
                </a:cubicBezTo>
                <a:lnTo>
                  <a:pt x="159" y="4056"/>
                </a:lnTo>
                <a:lnTo>
                  <a:pt x="159" y="159"/>
                </a:lnTo>
                <a:lnTo>
                  <a:pt x="2052" y="159"/>
                </a:lnTo>
                <a:lnTo>
                  <a:pt x="2052" y="1209"/>
                </a:lnTo>
                <a:cubicBezTo>
                  <a:pt x="2052" y="1256"/>
                  <a:pt x="2083" y="1288"/>
                  <a:pt x="2131" y="1288"/>
                </a:cubicBezTo>
                <a:lnTo>
                  <a:pt x="3165" y="1288"/>
                </a:lnTo>
                <a:lnTo>
                  <a:pt x="3165" y="2672"/>
                </a:lnTo>
                <a:cubicBezTo>
                  <a:pt x="3165" y="2704"/>
                  <a:pt x="3197" y="2751"/>
                  <a:pt x="3244" y="2751"/>
                </a:cubicBezTo>
                <a:cubicBezTo>
                  <a:pt x="3292" y="2751"/>
                  <a:pt x="3324" y="2704"/>
                  <a:pt x="3324" y="2672"/>
                </a:cubicBezTo>
                <a:lnTo>
                  <a:pt x="3324" y="1224"/>
                </a:lnTo>
                <a:cubicBezTo>
                  <a:pt x="3324" y="1209"/>
                  <a:pt x="3308" y="1177"/>
                  <a:pt x="3308" y="1161"/>
                </a:cubicBezTo>
                <a:close/>
                <a:moveTo>
                  <a:pt x="2210" y="318"/>
                </a:moveTo>
                <a:lnTo>
                  <a:pt x="3037" y="1129"/>
                </a:lnTo>
                <a:lnTo>
                  <a:pt x="2210"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3" name="Freeform: Shape 16">
            <a:extLst>
              <a:ext uri="{FF2B5EF4-FFF2-40B4-BE49-F238E27FC236}">
                <a16:creationId xmlns:a16="http://schemas.microsoft.com/office/drawing/2014/main" id="{94DF01BC-131E-D94D-9A76-29E45A6C83BA}"/>
              </a:ext>
            </a:extLst>
          </p:cNvPr>
          <p:cNvSpPr/>
          <p:nvPr/>
        </p:nvSpPr>
        <p:spPr>
          <a:xfrm>
            <a:off x="17719475" y="6407761"/>
            <a:ext cx="1219320" cy="1516680"/>
          </a:xfrm>
          <a:custGeom>
            <a:avLst/>
            <a:gdLst/>
            <a:ahLst/>
            <a:cxnLst>
              <a:cxn ang="3cd4">
                <a:pos x="hc" y="t"/>
              </a:cxn>
              <a:cxn ang="cd2">
                <a:pos x="l" y="vc"/>
              </a:cxn>
              <a:cxn ang="cd4">
                <a:pos x="hc" y="b"/>
              </a:cxn>
              <a:cxn ang="0">
                <a:pos x="r" y="vc"/>
              </a:cxn>
            </a:cxnLst>
            <a:rect l="l" t="t" r="r" b="b"/>
            <a:pathLst>
              <a:path w="3388" h="4214">
                <a:moveTo>
                  <a:pt x="2815" y="4151"/>
                </a:moveTo>
                <a:cubicBezTo>
                  <a:pt x="2862" y="4151"/>
                  <a:pt x="2895" y="4104"/>
                  <a:pt x="2895" y="4071"/>
                </a:cubicBezTo>
                <a:lnTo>
                  <a:pt x="2895" y="3658"/>
                </a:lnTo>
                <a:lnTo>
                  <a:pt x="3308" y="3658"/>
                </a:lnTo>
                <a:cubicBezTo>
                  <a:pt x="3340" y="3658"/>
                  <a:pt x="3388" y="3626"/>
                  <a:pt x="3388" y="3578"/>
                </a:cubicBezTo>
                <a:cubicBezTo>
                  <a:pt x="3388" y="3531"/>
                  <a:pt x="3340" y="3499"/>
                  <a:pt x="3308" y="3499"/>
                </a:cubicBezTo>
                <a:lnTo>
                  <a:pt x="2895" y="3499"/>
                </a:lnTo>
                <a:lnTo>
                  <a:pt x="2895" y="3086"/>
                </a:lnTo>
                <a:cubicBezTo>
                  <a:pt x="2895" y="3038"/>
                  <a:pt x="2862" y="3006"/>
                  <a:pt x="2815" y="3006"/>
                </a:cubicBezTo>
                <a:cubicBezTo>
                  <a:pt x="2767" y="3006"/>
                  <a:pt x="2735" y="3038"/>
                  <a:pt x="2735" y="3086"/>
                </a:cubicBezTo>
                <a:lnTo>
                  <a:pt x="2735" y="3499"/>
                </a:lnTo>
                <a:lnTo>
                  <a:pt x="2322" y="3499"/>
                </a:lnTo>
                <a:cubicBezTo>
                  <a:pt x="2274" y="3499"/>
                  <a:pt x="2243" y="3531"/>
                  <a:pt x="2243" y="3578"/>
                </a:cubicBezTo>
                <a:cubicBezTo>
                  <a:pt x="2243" y="3626"/>
                  <a:pt x="2274" y="3658"/>
                  <a:pt x="2322" y="3658"/>
                </a:cubicBezTo>
                <a:lnTo>
                  <a:pt x="2735" y="3658"/>
                </a:lnTo>
                <a:lnTo>
                  <a:pt x="2735" y="4071"/>
                </a:lnTo>
                <a:cubicBezTo>
                  <a:pt x="2735" y="4104"/>
                  <a:pt x="2767" y="4151"/>
                  <a:pt x="2815" y="4151"/>
                </a:cubicBezTo>
                <a:close/>
                <a:moveTo>
                  <a:pt x="0" y="79"/>
                </a:moveTo>
                <a:lnTo>
                  <a:pt x="0" y="4135"/>
                </a:lnTo>
                <a:cubicBezTo>
                  <a:pt x="0" y="4183"/>
                  <a:pt x="32" y="4214"/>
                  <a:pt x="79" y="4214"/>
                </a:cubicBezTo>
                <a:lnTo>
                  <a:pt x="1924" y="4214"/>
                </a:lnTo>
                <a:cubicBezTo>
                  <a:pt x="1956" y="4214"/>
                  <a:pt x="2004" y="4183"/>
                  <a:pt x="2004" y="4135"/>
                </a:cubicBezTo>
                <a:cubicBezTo>
                  <a:pt x="2004" y="4087"/>
                  <a:pt x="1956" y="4056"/>
                  <a:pt x="1924" y="4056"/>
                </a:cubicBezTo>
                <a:lnTo>
                  <a:pt x="159" y="4056"/>
                </a:lnTo>
                <a:lnTo>
                  <a:pt x="159" y="159"/>
                </a:lnTo>
                <a:lnTo>
                  <a:pt x="2052" y="159"/>
                </a:lnTo>
                <a:lnTo>
                  <a:pt x="2052" y="1209"/>
                </a:lnTo>
                <a:cubicBezTo>
                  <a:pt x="2052" y="1256"/>
                  <a:pt x="2099" y="1288"/>
                  <a:pt x="2131" y="1288"/>
                </a:cubicBezTo>
                <a:lnTo>
                  <a:pt x="3165" y="1288"/>
                </a:lnTo>
                <a:lnTo>
                  <a:pt x="3165" y="2672"/>
                </a:lnTo>
                <a:cubicBezTo>
                  <a:pt x="3165" y="2704"/>
                  <a:pt x="3197" y="2751"/>
                  <a:pt x="3244" y="2751"/>
                </a:cubicBezTo>
                <a:cubicBezTo>
                  <a:pt x="3292" y="2751"/>
                  <a:pt x="3324" y="2704"/>
                  <a:pt x="3324" y="2672"/>
                </a:cubicBezTo>
                <a:lnTo>
                  <a:pt x="3324" y="1224"/>
                </a:lnTo>
                <a:cubicBezTo>
                  <a:pt x="3324" y="1209"/>
                  <a:pt x="3324" y="1177"/>
                  <a:pt x="3308" y="1161"/>
                </a:cubicBezTo>
                <a:lnTo>
                  <a:pt x="2147" y="32"/>
                </a:lnTo>
                <a:cubicBezTo>
                  <a:pt x="2131" y="16"/>
                  <a:pt x="2115" y="0"/>
                  <a:pt x="2083" y="0"/>
                </a:cubicBezTo>
                <a:lnTo>
                  <a:pt x="79" y="0"/>
                </a:lnTo>
                <a:cubicBezTo>
                  <a:pt x="32" y="0"/>
                  <a:pt x="0" y="32"/>
                  <a:pt x="0" y="79"/>
                </a:cubicBezTo>
                <a:close/>
                <a:moveTo>
                  <a:pt x="2211" y="318"/>
                </a:moveTo>
                <a:lnTo>
                  <a:pt x="3038" y="1129"/>
                </a:lnTo>
                <a:lnTo>
                  <a:pt x="2211"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4" name="Freeform: Shape 17">
            <a:extLst>
              <a:ext uri="{FF2B5EF4-FFF2-40B4-BE49-F238E27FC236}">
                <a16:creationId xmlns:a16="http://schemas.microsoft.com/office/drawing/2014/main" id="{7756806C-2F89-6745-B421-35719D367E64}"/>
              </a:ext>
            </a:extLst>
          </p:cNvPr>
          <p:cNvSpPr/>
          <p:nvPr/>
        </p:nvSpPr>
        <p:spPr>
          <a:xfrm>
            <a:off x="13975245" y="6382834"/>
            <a:ext cx="1196280" cy="1516680"/>
          </a:xfrm>
          <a:custGeom>
            <a:avLst/>
            <a:gdLst/>
            <a:ahLst/>
            <a:cxnLst>
              <a:cxn ang="3cd4">
                <a:pos x="hc" y="t"/>
              </a:cxn>
              <a:cxn ang="cd2">
                <a:pos x="l" y="vc"/>
              </a:cxn>
              <a:cxn ang="cd4">
                <a:pos x="hc" y="b"/>
              </a:cxn>
              <a:cxn ang="0">
                <a:pos x="r" y="vc"/>
              </a:cxn>
            </a:cxnLst>
            <a:rect l="l" t="t" r="r" b="b"/>
            <a:pathLst>
              <a:path w="3324" h="4214">
                <a:moveTo>
                  <a:pt x="0" y="79"/>
                </a:moveTo>
                <a:cubicBezTo>
                  <a:pt x="0" y="4135"/>
                  <a:pt x="0" y="4135"/>
                  <a:pt x="0" y="4135"/>
                </a:cubicBezTo>
                <a:cubicBezTo>
                  <a:pt x="0" y="4183"/>
                  <a:pt x="32" y="4214"/>
                  <a:pt x="79" y="4214"/>
                </a:cubicBezTo>
                <a:cubicBezTo>
                  <a:pt x="1924" y="4214"/>
                  <a:pt x="1924" y="4214"/>
                  <a:pt x="1924" y="4214"/>
                </a:cubicBezTo>
                <a:cubicBezTo>
                  <a:pt x="1956" y="4214"/>
                  <a:pt x="2004" y="4183"/>
                  <a:pt x="2004" y="4135"/>
                </a:cubicBezTo>
                <a:cubicBezTo>
                  <a:pt x="2004" y="4087"/>
                  <a:pt x="1956" y="4056"/>
                  <a:pt x="1924" y="4056"/>
                </a:cubicBezTo>
                <a:cubicBezTo>
                  <a:pt x="159" y="4056"/>
                  <a:pt x="159" y="4056"/>
                  <a:pt x="159" y="4056"/>
                </a:cubicBezTo>
                <a:cubicBezTo>
                  <a:pt x="159" y="159"/>
                  <a:pt x="159" y="159"/>
                  <a:pt x="159" y="159"/>
                </a:cubicBezTo>
                <a:cubicBezTo>
                  <a:pt x="2052" y="159"/>
                  <a:pt x="2052" y="159"/>
                  <a:pt x="2052" y="159"/>
                </a:cubicBezTo>
                <a:cubicBezTo>
                  <a:pt x="2052" y="1209"/>
                  <a:pt x="2052" y="1209"/>
                  <a:pt x="2052" y="1209"/>
                </a:cubicBezTo>
                <a:cubicBezTo>
                  <a:pt x="2052" y="1256"/>
                  <a:pt x="2084" y="1288"/>
                  <a:pt x="2132" y="1288"/>
                </a:cubicBezTo>
                <a:cubicBezTo>
                  <a:pt x="3165" y="1288"/>
                  <a:pt x="3165" y="1288"/>
                  <a:pt x="3165" y="1288"/>
                </a:cubicBezTo>
                <a:cubicBezTo>
                  <a:pt x="3165" y="2672"/>
                  <a:pt x="3165" y="2672"/>
                  <a:pt x="3165" y="2672"/>
                </a:cubicBezTo>
                <a:cubicBezTo>
                  <a:pt x="3165" y="2704"/>
                  <a:pt x="3197" y="2751"/>
                  <a:pt x="3245" y="2751"/>
                </a:cubicBezTo>
                <a:cubicBezTo>
                  <a:pt x="3292" y="2751"/>
                  <a:pt x="3324" y="2704"/>
                  <a:pt x="3324" y="2672"/>
                </a:cubicBezTo>
                <a:cubicBezTo>
                  <a:pt x="3324" y="1224"/>
                  <a:pt x="3324" y="1224"/>
                  <a:pt x="3324" y="1224"/>
                </a:cubicBezTo>
                <a:cubicBezTo>
                  <a:pt x="3324" y="1209"/>
                  <a:pt x="3308" y="1177"/>
                  <a:pt x="3308" y="1161"/>
                </a:cubicBezTo>
                <a:cubicBezTo>
                  <a:pt x="2147" y="32"/>
                  <a:pt x="2147" y="32"/>
                  <a:pt x="2147" y="32"/>
                </a:cubicBezTo>
                <a:cubicBezTo>
                  <a:pt x="2132" y="16"/>
                  <a:pt x="2115" y="0"/>
                  <a:pt x="2084" y="0"/>
                </a:cubicBezTo>
                <a:cubicBezTo>
                  <a:pt x="79" y="0"/>
                  <a:pt x="79" y="0"/>
                  <a:pt x="79" y="0"/>
                </a:cubicBezTo>
                <a:cubicBezTo>
                  <a:pt x="32" y="0"/>
                  <a:pt x="0" y="32"/>
                  <a:pt x="0" y="79"/>
                </a:cubicBezTo>
                <a:close/>
                <a:moveTo>
                  <a:pt x="2211" y="318"/>
                </a:moveTo>
                <a:cubicBezTo>
                  <a:pt x="3038" y="1129"/>
                  <a:pt x="3038" y="1129"/>
                  <a:pt x="3038" y="1129"/>
                </a:cubicBezTo>
                <a:cubicBezTo>
                  <a:pt x="2211" y="1129"/>
                  <a:pt x="2211" y="1129"/>
                  <a:pt x="2211" y="112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5" name="TextBox 74">
            <a:extLst>
              <a:ext uri="{FF2B5EF4-FFF2-40B4-BE49-F238E27FC236}">
                <a16:creationId xmlns:a16="http://schemas.microsoft.com/office/drawing/2014/main" id="{76A7EC62-394E-BD46-B0FA-E836C9A3813B}"/>
              </a:ext>
            </a:extLst>
          </p:cNvPr>
          <p:cNvSpPr txBox="1"/>
          <p:nvPr/>
        </p:nvSpPr>
        <p:spPr>
          <a:xfrm>
            <a:off x="20835988" y="11657695"/>
            <a:ext cx="2465738"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Find</a:t>
            </a:r>
          </a:p>
        </p:txBody>
      </p:sp>
      <p:sp>
        <p:nvSpPr>
          <p:cNvPr id="76" name="Freeform: Shape 5">
            <a:extLst>
              <a:ext uri="{FF2B5EF4-FFF2-40B4-BE49-F238E27FC236}">
                <a16:creationId xmlns:a16="http://schemas.microsoft.com/office/drawing/2014/main" id="{A514F7DD-850D-C74F-BE02-8F150DBD6BC0}"/>
              </a:ext>
            </a:extLst>
          </p:cNvPr>
          <p:cNvSpPr/>
          <p:nvPr/>
        </p:nvSpPr>
        <p:spPr>
          <a:xfrm>
            <a:off x="21476139" y="9739389"/>
            <a:ext cx="1256759" cy="1517039"/>
          </a:xfrm>
          <a:custGeom>
            <a:avLst/>
            <a:gdLst/>
            <a:ahLst/>
            <a:cxnLst>
              <a:cxn ang="3cd4">
                <a:pos x="hc" y="t"/>
              </a:cxn>
              <a:cxn ang="cd2">
                <a:pos x="l" y="vc"/>
              </a:cxn>
              <a:cxn ang="cd4">
                <a:pos x="hc" y="b"/>
              </a:cxn>
              <a:cxn ang="0">
                <a:pos x="r" y="vc"/>
              </a:cxn>
            </a:cxnLst>
            <a:rect l="l" t="t" r="r" b="b"/>
            <a:pathLst>
              <a:path w="3492" h="4215">
                <a:moveTo>
                  <a:pt x="2831" y="2656"/>
                </a:moveTo>
                <a:cubicBezTo>
                  <a:pt x="2609" y="2433"/>
                  <a:pt x="2211" y="2433"/>
                  <a:pt x="1988" y="2656"/>
                </a:cubicBezTo>
                <a:cubicBezTo>
                  <a:pt x="1877" y="2767"/>
                  <a:pt x="1813" y="2926"/>
                  <a:pt x="1813" y="3085"/>
                </a:cubicBezTo>
                <a:cubicBezTo>
                  <a:pt x="1813" y="3245"/>
                  <a:pt x="1877" y="3388"/>
                  <a:pt x="1988" y="3499"/>
                </a:cubicBezTo>
                <a:cubicBezTo>
                  <a:pt x="2100" y="3626"/>
                  <a:pt x="2259" y="3690"/>
                  <a:pt x="2418" y="3690"/>
                </a:cubicBezTo>
                <a:cubicBezTo>
                  <a:pt x="2545" y="3690"/>
                  <a:pt x="2672" y="3642"/>
                  <a:pt x="2784" y="3563"/>
                </a:cubicBezTo>
                <a:lnTo>
                  <a:pt x="3357" y="4135"/>
                </a:lnTo>
                <a:cubicBezTo>
                  <a:pt x="3372" y="4151"/>
                  <a:pt x="3388" y="4167"/>
                  <a:pt x="3420" y="4167"/>
                </a:cubicBezTo>
                <a:cubicBezTo>
                  <a:pt x="3436" y="4167"/>
                  <a:pt x="3452" y="4151"/>
                  <a:pt x="3467" y="4135"/>
                </a:cubicBezTo>
                <a:cubicBezTo>
                  <a:pt x="3500" y="4103"/>
                  <a:pt x="3500" y="4056"/>
                  <a:pt x="3467" y="4024"/>
                </a:cubicBezTo>
                <a:lnTo>
                  <a:pt x="2895" y="3451"/>
                </a:lnTo>
                <a:cubicBezTo>
                  <a:pt x="2975" y="3340"/>
                  <a:pt x="3006" y="3213"/>
                  <a:pt x="3006" y="3085"/>
                </a:cubicBezTo>
                <a:cubicBezTo>
                  <a:pt x="3006" y="2926"/>
                  <a:pt x="2959" y="2767"/>
                  <a:pt x="2831" y="2656"/>
                </a:cubicBezTo>
                <a:close/>
                <a:moveTo>
                  <a:pt x="2100" y="3388"/>
                </a:moveTo>
                <a:cubicBezTo>
                  <a:pt x="2021" y="3308"/>
                  <a:pt x="1973" y="3197"/>
                  <a:pt x="1973" y="3085"/>
                </a:cubicBezTo>
                <a:cubicBezTo>
                  <a:pt x="1973" y="2958"/>
                  <a:pt x="2021" y="2847"/>
                  <a:pt x="2100" y="2767"/>
                </a:cubicBezTo>
                <a:cubicBezTo>
                  <a:pt x="2179" y="2688"/>
                  <a:pt x="2291" y="2640"/>
                  <a:pt x="2418" y="2640"/>
                </a:cubicBezTo>
                <a:cubicBezTo>
                  <a:pt x="2529" y="2640"/>
                  <a:pt x="2640" y="2688"/>
                  <a:pt x="2720" y="2767"/>
                </a:cubicBezTo>
                <a:cubicBezTo>
                  <a:pt x="2816" y="2847"/>
                  <a:pt x="2848" y="2958"/>
                  <a:pt x="2848" y="3085"/>
                </a:cubicBezTo>
                <a:cubicBezTo>
                  <a:pt x="2848" y="3197"/>
                  <a:pt x="2816" y="3308"/>
                  <a:pt x="2720" y="3388"/>
                </a:cubicBezTo>
                <a:cubicBezTo>
                  <a:pt x="2545" y="3563"/>
                  <a:pt x="2275" y="3563"/>
                  <a:pt x="2100" y="3388"/>
                </a:cubicBezTo>
                <a:close/>
                <a:moveTo>
                  <a:pt x="0" y="79"/>
                </a:moveTo>
                <a:lnTo>
                  <a:pt x="0" y="4135"/>
                </a:lnTo>
                <a:cubicBezTo>
                  <a:pt x="0" y="4183"/>
                  <a:pt x="32" y="4215"/>
                  <a:pt x="80" y="4215"/>
                </a:cubicBezTo>
                <a:lnTo>
                  <a:pt x="1925" y="4215"/>
                </a:lnTo>
                <a:cubicBezTo>
                  <a:pt x="1973" y="4215"/>
                  <a:pt x="2004" y="4183"/>
                  <a:pt x="2004" y="4135"/>
                </a:cubicBezTo>
                <a:cubicBezTo>
                  <a:pt x="2004" y="4087"/>
                  <a:pt x="1973" y="4056"/>
                  <a:pt x="1925" y="4056"/>
                </a:cubicBezTo>
                <a:lnTo>
                  <a:pt x="159" y="4056"/>
                </a:lnTo>
                <a:lnTo>
                  <a:pt x="159" y="159"/>
                </a:lnTo>
                <a:lnTo>
                  <a:pt x="2068" y="159"/>
                </a:lnTo>
                <a:lnTo>
                  <a:pt x="2068" y="1209"/>
                </a:lnTo>
                <a:cubicBezTo>
                  <a:pt x="2068" y="1257"/>
                  <a:pt x="2100" y="1288"/>
                  <a:pt x="2148" y="1288"/>
                </a:cubicBezTo>
                <a:lnTo>
                  <a:pt x="3181" y="1288"/>
                </a:lnTo>
                <a:lnTo>
                  <a:pt x="3181" y="2672"/>
                </a:lnTo>
                <a:cubicBezTo>
                  <a:pt x="3181" y="2720"/>
                  <a:pt x="3213" y="2751"/>
                  <a:pt x="3261" y="2751"/>
                </a:cubicBezTo>
                <a:cubicBezTo>
                  <a:pt x="3293" y="2751"/>
                  <a:pt x="3340" y="2720"/>
                  <a:pt x="3340" y="2672"/>
                </a:cubicBezTo>
                <a:lnTo>
                  <a:pt x="3340" y="1225"/>
                </a:lnTo>
                <a:cubicBezTo>
                  <a:pt x="3340" y="1209"/>
                  <a:pt x="3324" y="1177"/>
                  <a:pt x="3309" y="1177"/>
                </a:cubicBezTo>
                <a:lnTo>
                  <a:pt x="2148" y="32"/>
                </a:lnTo>
                <a:cubicBezTo>
                  <a:pt x="2131" y="16"/>
                  <a:pt x="2116" y="0"/>
                  <a:pt x="2100" y="0"/>
                </a:cubicBezTo>
                <a:lnTo>
                  <a:pt x="80" y="0"/>
                </a:lnTo>
                <a:cubicBezTo>
                  <a:pt x="32" y="0"/>
                  <a:pt x="0" y="32"/>
                  <a:pt x="0" y="79"/>
                </a:cubicBezTo>
                <a:close/>
                <a:moveTo>
                  <a:pt x="2227" y="318"/>
                </a:moveTo>
                <a:lnTo>
                  <a:pt x="3054" y="1129"/>
                </a:lnTo>
                <a:lnTo>
                  <a:pt x="2227"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9017614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Documents / Windows - 4</a:t>
            </a:r>
          </a:p>
        </p:txBody>
      </p:sp>
      <p:sp>
        <p:nvSpPr>
          <p:cNvPr id="77" name="TextBox 76">
            <a:extLst>
              <a:ext uri="{FF2B5EF4-FFF2-40B4-BE49-F238E27FC236}">
                <a16:creationId xmlns:a16="http://schemas.microsoft.com/office/drawing/2014/main" id="{1C60BF31-8253-1E45-B9B0-A5B1F01EC08C}"/>
              </a:ext>
            </a:extLst>
          </p:cNvPr>
          <p:cNvSpPr txBox="1"/>
          <p:nvPr/>
        </p:nvSpPr>
        <p:spPr>
          <a:xfrm>
            <a:off x="5566758" y="5164929"/>
            <a:ext cx="243317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Music</a:t>
            </a:r>
          </a:p>
        </p:txBody>
      </p:sp>
      <p:sp>
        <p:nvSpPr>
          <p:cNvPr id="78" name="TextBox 77">
            <a:extLst>
              <a:ext uri="{FF2B5EF4-FFF2-40B4-BE49-F238E27FC236}">
                <a16:creationId xmlns:a16="http://schemas.microsoft.com/office/drawing/2014/main" id="{50602661-ACC4-304E-9F6C-6BB60B652617}"/>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Pict</a:t>
            </a:r>
          </a:p>
        </p:txBody>
      </p:sp>
      <p:sp>
        <p:nvSpPr>
          <p:cNvPr id="79" name="TextBox 78">
            <a:extLst>
              <a:ext uri="{FF2B5EF4-FFF2-40B4-BE49-F238E27FC236}">
                <a16:creationId xmlns:a16="http://schemas.microsoft.com/office/drawing/2014/main" id="{DAA20188-2E8D-AA4B-A2BF-BE9A5475516E}"/>
              </a:ext>
            </a:extLst>
          </p:cNvPr>
          <p:cNvSpPr txBox="1"/>
          <p:nvPr/>
        </p:nvSpPr>
        <p:spPr>
          <a:xfrm>
            <a:off x="13471996" y="5164929"/>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Vid</a:t>
            </a:r>
          </a:p>
        </p:txBody>
      </p:sp>
      <p:sp>
        <p:nvSpPr>
          <p:cNvPr id="80" name="TextBox 79">
            <a:extLst>
              <a:ext uri="{FF2B5EF4-FFF2-40B4-BE49-F238E27FC236}">
                <a16:creationId xmlns:a16="http://schemas.microsoft.com/office/drawing/2014/main" id="{190EC24B-0BC1-B643-A7C5-91F77C13605C}"/>
              </a:ext>
            </a:extLst>
          </p:cNvPr>
          <p:cNvSpPr txBox="1"/>
          <p:nvPr/>
        </p:nvSpPr>
        <p:spPr>
          <a:xfrm>
            <a:off x="20809186" y="5164929"/>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Connect</a:t>
            </a:r>
          </a:p>
        </p:txBody>
      </p:sp>
      <p:sp>
        <p:nvSpPr>
          <p:cNvPr id="81" name="TextBox 80">
            <a:extLst>
              <a:ext uri="{FF2B5EF4-FFF2-40B4-BE49-F238E27FC236}">
                <a16:creationId xmlns:a16="http://schemas.microsoft.com/office/drawing/2014/main" id="{E0FBF300-D332-7747-BB4B-3ABD9273CCEE}"/>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Star</a:t>
            </a:r>
          </a:p>
        </p:txBody>
      </p:sp>
      <p:sp>
        <p:nvSpPr>
          <p:cNvPr id="82" name="TextBox 81">
            <a:extLst>
              <a:ext uri="{FF2B5EF4-FFF2-40B4-BE49-F238E27FC236}">
                <a16:creationId xmlns:a16="http://schemas.microsoft.com/office/drawing/2014/main" id="{2C55AFD3-191F-534F-8226-E7332BAAA440}"/>
              </a:ext>
            </a:extLst>
          </p:cNvPr>
          <p:cNvSpPr txBox="1"/>
          <p:nvPr/>
        </p:nvSpPr>
        <p:spPr>
          <a:xfrm>
            <a:off x="5893487" y="8292956"/>
            <a:ext cx="211138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Gear</a:t>
            </a:r>
          </a:p>
        </p:txBody>
      </p:sp>
      <p:sp>
        <p:nvSpPr>
          <p:cNvPr id="83" name="TextBox 82">
            <a:extLst>
              <a:ext uri="{FF2B5EF4-FFF2-40B4-BE49-F238E27FC236}">
                <a16:creationId xmlns:a16="http://schemas.microsoft.com/office/drawing/2014/main" id="{A8BFE863-4ACC-7E40-9995-B2FBBE7D6B82}"/>
              </a:ext>
            </a:extLst>
          </p:cNvPr>
          <p:cNvSpPr txBox="1"/>
          <p:nvPr/>
        </p:nvSpPr>
        <p:spPr>
          <a:xfrm>
            <a:off x="9811696" y="8292956"/>
            <a:ext cx="210666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Time</a:t>
            </a:r>
          </a:p>
        </p:txBody>
      </p:sp>
      <p:sp>
        <p:nvSpPr>
          <p:cNvPr id="84" name="TextBox 83">
            <a:extLst>
              <a:ext uri="{FF2B5EF4-FFF2-40B4-BE49-F238E27FC236}">
                <a16:creationId xmlns:a16="http://schemas.microsoft.com/office/drawing/2014/main" id="{EE836274-C50F-6D49-8EF6-F12F34E3EB36}"/>
              </a:ext>
            </a:extLst>
          </p:cNvPr>
          <p:cNvSpPr txBox="1"/>
          <p:nvPr/>
        </p:nvSpPr>
        <p:spPr>
          <a:xfrm>
            <a:off x="17117724" y="8292956"/>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Write</a:t>
            </a:r>
          </a:p>
        </p:txBody>
      </p:sp>
      <p:sp>
        <p:nvSpPr>
          <p:cNvPr id="85" name="TextBox 84">
            <a:extLst>
              <a:ext uri="{FF2B5EF4-FFF2-40B4-BE49-F238E27FC236}">
                <a16:creationId xmlns:a16="http://schemas.microsoft.com/office/drawing/2014/main" id="{D5C95077-394E-1E40-BD7C-B3D4C6E8A466}"/>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Dupe</a:t>
            </a:r>
          </a:p>
        </p:txBody>
      </p:sp>
      <p:sp>
        <p:nvSpPr>
          <p:cNvPr id="86" name="TextBox 85">
            <a:extLst>
              <a:ext uri="{FF2B5EF4-FFF2-40B4-BE49-F238E27FC236}">
                <a16:creationId xmlns:a16="http://schemas.microsoft.com/office/drawing/2014/main" id="{582CA82B-291C-5243-9A52-7B52392CBC89}"/>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3</a:t>
            </a:r>
          </a:p>
        </p:txBody>
      </p:sp>
      <p:sp>
        <p:nvSpPr>
          <p:cNvPr id="87" name="TextBox 86">
            <a:extLst>
              <a:ext uri="{FF2B5EF4-FFF2-40B4-BE49-F238E27FC236}">
                <a16:creationId xmlns:a16="http://schemas.microsoft.com/office/drawing/2014/main" id="{1670A022-9116-874B-8B10-C1485FA2B6DF}"/>
              </a:ext>
            </a:extLst>
          </p:cNvPr>
          <p:cNvSpPr txBox="1"/>
          <p:nvPr/>
        </p:nvSpPr>
        <p:spPr>
          <a:xfrm>
            <a:off x="13096732"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ok</a:t>
            </a:r>
          </a:p>
        </p:txBody>
      </p:sp>
      <p:sp>
        <p:nvSpPr>
          <p:cNvPr id="88" name="TextBox 87">
            <a:extLst>
              <a:ext uri="{FF2B5EF4-FFF2-40B4-BE49-F238E27FC236}">
                <a16:creationId xmlns:a16="http://schemas.microsoft.com/office/drawing/2014/main" id="{D5744325-CF3F-E94B-AFD3-D650752FCBB2}"/>
              </a:ext>
            </a:extLst>
          </p:cNvPr>
          <p:cNvSpPr txBox="1"/>
          <p:nvPr/>
        </p:nvSpPr>
        <p:spPr>
          <a:xfrm>
            <a:off x="17555612"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Tab Booklet</a:t>
            </a:r>
          </a:p>
        </p:txBody>
      </p:sp>
      <p:sp>
        <p:nvSpPr>
          <p:cNvPr id="89" name="Freeform: Shape 26">
            <a:extLst>
              <a:ext uri="{FF2B5EF4-FFF2-40B4-BE49-F238E27FC236}">
                <a16:creationId xmlns:a16="http://schemas.microsoft.com/office/drawing/2014/main" id="{3E877505-0116-B14F-9AE7-8681A1F6C52D}"/>
              </a:ext>
            </a:extLst>
          </p:cNvPr>
          <p:cNvSpPr/>
          <p:nvPr/>
        </p:nvSpPr>
        <p:spPr>
          <a:xfrm>
            <a:off x="10866869" y="394484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0" name="TextBox 89">
            <a:extLst>
              <a:ext uri="{FF2B5EF4-FFF2-40B4-BE49-F238E27FC236}">
                <a16:creationId xmlns:a16="http://schemas.microsoft.com/office/drawing/2014/main" id="{B50908AF-83A2-764C-A9EA-4F1743A5473F}"/>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Zip</a:t>
            </a:r>
          </a:p>
        </p:txBody>
      </p:sp>
      <p:sp>
        <p:nvSpPr>
          <p:cNvPr id="91" name="TextBox 90">
            <a:extLst>
              <a:ext uri="{FF2B5EF4-FFF2-40B4-BE49-F238E27FC236}">
                <a16:creationId xmlns:a16="http://schemas.microsoft.com/office/drawing/2014/main" id="{7CFC5A4B-F48A-AA45-ADEF-B91392D72DFA}"/>
              </a:ext>
            </a:extLst>
          </p:cNvPr>
          <p:cNvSpPr txBox="1"/>
          <p:nvPr/>
        </p:nvSpPr>
        <p:spPr>
          <a:xfrm>
            <a:off x="13797504" y="8292956"/>
            <a:ext cx="210666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a:t>
            </a:r>
            <a:r>
              <a:rPr lang="en-US" sz="2800" dirty="0" err="1"/>
              <a:t>Preso</a:t>
            </a:r>
            <a:endParaRPr lang="en-US" sz="2800" dirty="0"/>
          </a:p>
        </p:txBody>
      </p:sp>
      <p:sp>
        <p:nvSpPr>
          <p:cNvPr id="92" name="Freeform: Shape 1">
            <a:extLst>
              <a:ext uri="{FF2B5EF4-FFF2-40B4-BE49-F238E27FC236}">
                <a16:creationId xmlns:a16="http://schemas.microsoft.com/office/drawing/2014/main" id="{8572A662-4E2C-6B49-B147-8310533B9C62}"/>
              </a:ext>
            </a:extLst>
          </p:cNvPr>
          <p:cNvSpPr/>
          <p:nvPr/>
        </p:nvSpPr>
        <p:spPr>
          <a:xfrm>
            <a:off x="14148916" y="9775827"/>
            <a:ext cx="1305000" cy="1482479"/>
          </a:xfrm>
          <a:custGeom>
            <a:avLst/>
            <a:gdLst/>
            <a:ahLst/>
            <a:cxnLst>
              <a:cxn ang="3cd4">
                <a:pos x="hc" y="t"/>
              </a:cxn>
              <a:cxn ang="cd2">
                <a:pos x="l" y="vc"/>
              </a:cxn>
              <a:cxn ang="cd4">
                <a:pos x="hc" y="b"/>
              </a:cxn>
              <a:cxn ang="0">
                <a:pos x="r" y="vc"/>
              </a:cxn>
            </a:cxnLst>
            <a:rect l="l" t="t" r="r" b="b"/>
            <a:pathLst>
              <a:path w="3626" h="4119">
                <a:moveTo>
                  <a:pt x="0" y="541"/>
                </a:moveTo>
                <a:cubicBezTo>
                  <a:pt x="0" y="3578"/>
                  <a:pt x="0" y="3578"/>
                  <a:pt x="0" y="3578"/>
                </a:cubicBezTo>
                <a:cubicBezTo>
                  <a:pt x="0" y="3881"/>
                  <a:pt x="334" y="4119"/>
                  <a:pt x="732" y="4119"/>
                </a:cubicBezTo>
                <a:cubicBezTo>
                  <a:pt x="1082" y="4119"/>
                  <a:pt x="1082" y="4119"/>
                  <a:pt x="1082" y="4119"/>
                </a:cubicBezTo>
                <a:cubicBezTo>
                  <a:pt x="3547" y="4119"/>
                  <a:pt x="3547" y="4119"/>
                  <a:pt x="3547" y="4119"/>
                </a:cubicBezTo>
                <a:cubicBezTo>
                  <a:pt x="3595" y="4119"/>
                  <a:pt x="3626" y="4072"/>
                  <a:pt x="3626" y="4040"/>
                </a:cubicBezTo>
                <a:cubicBezTo>
                  <a:pt x="3626" y="986"/>
                  <a:pt x="3626" y="986"/>
                  <a:pt x="3626" y="986"/>
                </a:cubicBezTo>
                <a:cubicBezTo>
                  <a:pt x="3626" y="79"/>
                  <a:pt x="3626" y="79"/>
                  <a:pt x="3626" y="79"/>
                </a:cubicBezTo>
                <a:cubicBezTo>
                  <a:pt x="3626" y="32"/>
                  <a:pt x="3595" y="0"/>
                  <a:pt x="3547" y="0"/>
                </a:cubicBezTo>
                <a:cubicBezTo>
                  <a:pt x="732" y="0"/>
                  <a:pt x="732" y="0"/>
                  <a:pt x="732" y="0"/>
                </a:cubicBezTo>
                <a:cubicBezTo>
                  <a:pt x="334" y="0"/>
                  <a:pt x="0" y="239"/>
                  <a:pt x="0" y="541"/>
                </a:cubicBezTo>
                <a:close/>
                <a:moveTo>
                  <a:pt x="159" y="3578"/>
                </a:moveTo>
                <a:cubicBezTo>
                  <a:pt x="159" y="875"/>
                  <a:pt x="159" y="875"/>
                  <a:pt x="159" y="875"/>
                </a:cubicBezTo>
                <a:cubicBezTo>
                  <a:pt x="302" y="986"/>
                  <a:pt x="493" y="1066"/>
                  <a:pt x="732" y="1066"/>
                </a:cubicBezTo>
                <a:cubicBezTo>
                  <a:pt x="1002" y="1066"/>
                  <a:pt x="1002" y="1066"/>
                  <a:pt x="1002" y="1066"/>
                </a:cubicBezTo>
                <a:cubicBezTo>
                  <a:pt x="1002" y="3960"/>
                  <a:pt x="1002" y="3960"/>
                  <a:pt x="1002" y="3960"/>
                </a:cubicBezTo>
                <a:cubicBezTo>
                  <a:pt x="732" y="3960"/>
                  <a:pt x="732" y="3960"/>
                  <a:pt x="732" y="3960"/>
                </a:cubicBezTo>
                <a:cubicBezTo>
                  <a:pt x="430" y="3960"/>
                  <a:pt x="159" y="3785"/>
                  <a:pt x="159" y="3578"/>
                </a:cubicBezTo>
                <a:close/>
                <a:moveTo>
                  <a:pt x="3468" y="3960"/>
                </a:moveTo>
                <a:cubicBezTo>
                  <a:pt x="1161" y="3960"/>
                  <a:pt x="1161" y="3960"/>
                  <a:pt x="1161" y="3960"/>
                </a:cubicBezTo>
                <a:cubicBezTo>
                  <a:pt x="1161" y="1066"/>
                  <a:pt x="1161" y="1066"/>
                  <a:pt x="1161" y="1066"/>
                </a:cubicBezTo>
                <a:cubicBezTo>
                  <a:pt x="3468" y="1066"/>
                  <a:pt x="3468" y="1066"/>
                  <a:pt x="3468" y="1066"/>
                </a:cubicBezTo>
                <a:close/>
                <a:moveTo>
                  <a:pt x="732" y="159"/>
                </a:moveTo>
                <a:cubicBezTo>
                  <a:pt x="3468" y="159"/>
                  <a:pt x="3468" y="159"/>
                  <a:pt x="3468" y="159"/>
                </a:cubicBezTo>
                <a:cubicBezTo>
                  <a:pt x="3468" y="906"/>
                  <a:pt x="3468" y="906"/>
                  <a:pt x="3468" y="906"/>
                </a:cubicBezTo>
                <a:cubicBezTo>
                  <a:pt x="1082" y="906"/>
                  <a:pt x="1082" y="906"/>
                  <a:pt x="1082" y="906"/>
                </a:cubicBezTo>
                <a:cubicBezTo>
                  <a:pt x="732" y="906"/>
                  <a:pt x="732" y="906"/>
                  <a:pt x="732" y="906"/>
                </a:cubicBezTo>
                <a:cubicBezTo>
                  <a:pt x="430" y="906"/>
                  <a:pt x="159" y="748"/>
                  <a:pt x="159" y="541"/>
                </a:cubicBezTo>
                <a:cubicBezTo>
                  <a:pt x="159" y="334"/>
                  <a:pt x="430" y="159"/>
                  <a:pt x="732" y="1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Freeform: Shape 2">
            <a:extLst>
              <a:ext uri="{FF2B5EF4-FFF2-40B4-BE49-F238E27FC236}">
                <a16:creationId xmlns:a16="http://schemas.microsoft.com/office/drawing/2014/main" id="{FED70AC1-AB1A-394B-890A-A86D25E40C92}"/>
              </a:ext>
            </a:extLst>
          </p:cNvPr>
          <p:cNvSpPr/>
          <p:nvPr/>
        </p:nvSpPr>
        <p:spPr>
          <a:xfrm>
            <a:off x="17897721" y="9734552"/>
            <a:ext cx="1533960" cy="1551240"/>
          </a:xfrm>
          <a:custGeom>
            <a:avLst/>
            <a:gdLst/>
            <a:ahLst/>
            <a:cxnLst>
              <a:cxn ang="3cd4">
                <a:pos x="hc" y="t"/>
              </a:cxn>
              <a:cxn ang="cd2">
                <a:pos x="l" y="vc"/>
              </a:cxn>
              <a:cxn ang="cd4">
                <a:pos x="hc" y="b"/>
              </a:cxn>
              <a:cxn ang="0">
                <a:pos x="r" y="vc"/>
              </a:cxn>
            </a:cxnLst>
            <a:rect l="l" t="t" r="r" b="b"/>
            <a:pathLst>
              <a:path w="4262" h="4310">
                <a:moveTo>
                  <a:pt x="302" y="4310"/>
                </a:moveTo>
                <a:cubicBezTo>
                  <a:pt x="3499" y="4310"/>
                  <a:pt x="3499" y="4310"/>
                  <a:pt x="3499" y="4310"/>
                </a:cubicBezTo>
                <a:cubicBezTo>
                  <a:pt x="3658" y="4310"/>
                  <a:pt x="3785" y="4183"/>
                  <a:pt x="3817" y="4024"/>
                </a:cubicBezTo>
                <a:cubicBezTo>
                  <a:pt x="4183" y="4024"/>
                  <a:pt x="4183" y="4024"/>
                  <a:pt x="4183" y="4024"/>
                </a:cubicBezTo>
                <a:cubicBezTo>
                  <a:pt x="4214" y="4024"/>
                  <a:pt x="4262" y="3992"/>
                  <a:pt x="4262" y="3945"/>
                </a:cubicBezTo>
                <a:cubicBezTo>
                  <a:pt x="4262" y="3372"/>
                  <a:pt x="4262" y="3372"/>
                  <a:pt x="4262" y="3372"/>
                </a:cubicBezTo>
                <a:cubicBezTo>
                  <a:pt x="4262" y="2800"/>
                  <a:pt x="4262" y="2800"/>
                  <a:pt x="4262" y="2800"/>
                </a:cubicBezTo>
                <a:cubicBezTo>
                  <a:pt x="4262" y="2227"/>
                  <a:pt x="4262" y="2227"/>
                  <a:pt x="4262" y="2227"/>
                </a:cubicBezTo>
                <a:cubicBezTo>
                  <a:pt x="4262" y="1655"/>
                  <a:pt x="4262" y="1655"/>
                  <a:pt x="4262" y="1655"/>
                </a:cubicBezTo>
                <a:cubicBezTo>
                  <a:pt x="4262" y="1082"/>
                  <a:pt x="4262" y="1082"/>
                  <a:pt x="4262" y="1082"/>
                </a:cubicBezTo>
                <a:cubicBezTo>
                  <a:pt x="4262" y="509"/>
                  <a:pt x="4262" y="509"/>
                  <a:pt x="4262" y="509"/>
                </a:cubicBezTo>
                <a:cubicBezTo>
                  <a:pt x="4262" y="462"/>
                  <a:pt x="4214" y="429"/>
                  <a:pt x="4183" y="429"/>
                </a:cubicBezTo>
                <a:cubicBezTo>
                  <a:pt x="3833" y="429"/>
                  <a:pt x="3833" y="429"/>
                  <a:pt x="3833" y="429"/>
                </a:cubicBezTo>
                <a:cubicBezTo>
                  <a:pt x="3833" y="350"/>
                  <a:pt x="3833" y="350"/>
                  <a:pt x="3833" y="350"/>
                </a:cubicBezTo>
                <a:cubicBezTo>
                  <a:pt x="3833" y="143"/>
                  <a:pt x="3690" y="0"/>
                  <a:pt x="3499" y="0"/>
                </a:cubicBezTo>
                <a:cubicBezTo>
                  <a:pt x="302" y="0"/>
                  <a:pt x="302" y="0"/>
                  <a:pt x="302" y="0"/>
                </a:cubicBezTo>
                <a:cubicBezTo>
                  <a:pt x="254" y="0"/>
                  <a:pt x="223" y="32"/>
                  <a:pt x="223" y="80"/>
                </a:cubicBezTo>
                <a:cubicBezTo>
                  <a:pt x="223" y="286"/>
                  <a:pt x="223" y="286"/>
                  <a:pt x="223" y="286"/>
                </a:cubicBezTo>
                <a:cubicBezTo>
                  <a:pt x="79" y="286"/>
                  <a:pt x="79" y="286"/>
                  <a:pt x="79" y="286"/>
                </a:cubicBezTo>
                <a:cubicBezTo>
                  <a:pt x="47" y="286"/>
                  <a:pt x="0" y="319"/>
                  <a:pt x="0" y="366"/>
                </a:cubicBezTo>
                <a:cubicBezTo>
                  <a:pt x="0" y="398"/>
                  <a:pt x="47" y="446"/>
                  <a:pt x="79" y="446"/>
                </a:cubicBezTo>
                <a:cubicBezTo>
                  <a:pt x="223" y="446"/>
                  <a:pt x="223" y="446"/>
                  <a:pt x="223" y="446"/>
                </a:cubicBezTo>
                <a:cubicBezTo>
                  <a:pt x="223" y="859"/>
                  <a:pt x="223" y="859"/>
                  <a:pt x="223" y="859"/>
                </a:cubicBezTo>
                <a:cubicBezTo>
                  <a:pt x="79" y="859"/>
                  <a:pt x="79" y="859"/>
                  <a:pt x="79" y="859"/>
                </a:cubicBezTo>
                <a:cubicBezTo>
                  <a:pt x="47" y="859"/>
                  <a:pt x="0" y="891"/>
                  <a:pt x="0" y="938"/>
                </a:cubicBezTo>
                <a:cubicBezTo>
                  <a:pt x="0" y="986"/>
                  <a:pt x="47" y="1018"/>
                  <a:pt x="79" y="1018"/>
                </a:cubicBezTo>
                <a:cubicBezTo>
                  <a:pt x="223" y="1018"/>
                  <a:pt x="223" y="1018"/>
                  <a:pt x="223" y="1018"/>
                </a:cubicBezTo>
                <a:cubicBezTo>
                  <a:pt x="223" y="1432"/>
                  <a:pt x="223" y="1432"/>
                  <a:pt x="223" y="1432"/>
                </a:cubicBezTo>
                <a:cubicBezTo>
                  <a:pt x="79" y="1432"/>
                  <a:pt x="79" y="1432"/>
                  <a:pt x="79" y="1432"/>
                </a:cubicBezTo>
                <a:cubicBezTo>
                  <a:pt x="47" y="1432"/>
                  <a:pt x="0" y="1464"/>
                  <a:pt x="0" y="1511"/>
                </a:cubicBezTo>
                <a:cubicBezTo>
                  <a:pt x="0" y="1559"/>
                  <a:pt x="47" y="1591"/>
                  <a:pt x="79" y="1591"/>
                </a:cubicBezTo>
                <a:cubicBezTo>
                  <a:pt x="223" y="1591"/>
                  <a:pt x="223" y="1591"/>
                  <a:pt x="223" y="1591"/>
                </a:cubicBezTo>
                <a:cubicBezTo>
                  <a:pt x="223" y="2004"/>
                  <a:pt x="223" y="2004"/>
                  <a:pt x="223" y="2004"/>
                </a:cubicBezTo>
                <a:cubicBezTo>
                  <a:pt x="79" y="2004"/>
                  <a:pt x="79" y="2004"/>
                  <a:pt x="79" y="2004"/>
                </a:cubicBezTo>
                <a:cubicBezTo>
                  <a:pt x="47" y="2004"/>
                  <a:pt x="0" y="2036"/>
                  <a:pt x="0" y="2084"/>
                </a:cubicBezTo>
                <a:cubicBezTo>
                  <a:pt x="0" y="2131"/>
                  <a:pt x="47" y="2164"/>
                  <a:pt x="79" y="2164"/>
                </a:cubicBezTo>
                <a:cubicBezTo>
                  <a:pt x="223" y="2164"/>
                  <a:pt x="223" y="2164"/>
                  <a:pt x="223" y="2164"/>
                </a:cubicBezTo>
                <a:cubicBezTo>
                  <a:pt x="223" y="2577"/>
                  <a:pt x="223" y="2577"/>
                  <a:pt x="223" y="2577"/>
                </a:cubicBezTo>
                <a:cubicBezTo>
                  <a:pt x="79" y="2577"/>
                  <a:pt x="79" y="2577"/>
                  <a:pt x="79" y="2577"/>
                </a:cubicBezTo>
                <a:cubicBezTo>
                  <a:pt x="47" y="2577"/>
                  <a:pt x="0" y="2609"/>
                  <a:pt x="0" y="2656"/>
                </a:cubicBezTo>
                <a:cubicBezTo>
                  <a:pt x="0" y="2704"/>
                  <a:pt x="47" y="2736"/>
                  <a:pt x="79" y="2736"/>
                </a:cubicBezTo>
                <a:cubicBezTo>
                  <a:pt x="223" y="2736"/>
                  <a:pt x="223" y="2736"/>
                  <a:pt x="223" y="2736"/>
                </a:cubicBezTo>
                <a:cubicBezTo>
                  <a:pt x="223" y="3149"/>
                  <a:pt x="223" y="3149"/>
                  <a:pt x="223" y="3149"/>
                </a:cubicBezTo>
                <a:cubicBezTo>
                  <a:pt x="79" y="3149"/>
                  <a:pt x="79" y="3149"/>
                  <a:pt x="79" y="3149"/>
                </a:cubicBezTo>
                <a:cubicBezTo>
                  <a:pt x="47" y="3149"/>
                  <a:pt x="0" y="3181"/>
                  <a:pt x="0" y="3229"/>
                </a:cubicBezTo>
                <a:cubicBezTo>
                  <a:pt x="0" y="3277"/>
                  <a:pt x="47" y="3309"/>
                  <a:pt x="79" y="3309"/>
                </a:cubicBezTo>
                <a:cubicBezTo>
                  <a:pt x="223" y="3309"/>
                  <a:pt x="223" y="3309"/>
                  <a:pt x="223" y="3309"/>
                </a:cubicBezTo>
                <a:cubicBezTo>
                  <a:pt x="223" y="3722"/>
                  <a:pt x="223" y="3722"/>
                  <a:pt x="223" y="3722"/>
                </a:cubicBezTo>
                <a:cubicBezTo>
                  <a:pt x="79" y="3722"/>
                  <a:pt x="79" y="3722"/>
                  <a:pt x="79" y="3722"/>
                </a:cubicBezTo>
                <a:cubicBezTo>
                  <a:pt x="47" y="3722"/>
                  <a:pt x="0" y="3770"/>
                  <a:pt x="0" y="3801"/>
                </a:cubicBezTo>
                <a:cubicBezTo>
                  <a:pt x="0" y="3849"/>
                  <a:pt x="47" y="3881"/>
                  <a:pt x="79" y="3881"/>
                </a:cubicBezTo>
                <a:cubicBezTo>
                  <a:pt x="223" y="3881"/>
                  <a:pt x="223" y="3881"/>
                  <a:pt x="223" y="3881"/>
                </a:cubicBezTo>
                <a:cubicBezTo>
                  <a:pt x="223" y="4231"/>
                  <a:pt x="223" y="4231"/>
                  <a:pt x="223" y="4231"/>
                </a:cubicBezTo>
                <a:cubicBezTo>
                  <a:pt x="223" y="4279"/>
                  <a:pt x="254" y="4310"/>
                  <a:pt x="302" y="4310"/>
                </a:cubicBezTo>
                <a:close/>
                <a:moveTo>
                  <a:pt x="4103" y="2147"/>
                </a:moveTo>
                <a:cubicBezTo>
                  <a:pt x="3833" y="2147"/>
                  <a:pt x="3833" y="2147"/>
                  <a:pt x="3833" y="2147"/>
                </a:cubicBezTo>
                <a:cubicBezTo>
                  <a:pt x="3833" y="1734"/>
                  <a:pt x="3833" y="1734"/>
                  <a:pt x="3833" y="1734"/>
                </a:cubicBezTo>
                <a:cubicBezTo>
                  <a:pt x="4103" y="1734"/>
                  <a:pt x="4103" y="1734"/>
                  <a:pt x="4103" y="1734"/>
                </a:cubicBezTo>
                <a:close/>
                <a:moveTo>
                  <a:pt x="4103" y="2720"/>
                </a:moveTo>
                <a:cubicBezTo>
                  <a:pt x="3833" y="2720"/>
                  <a:pt x="3833" y="2720"/>
                  <a:pt x="3833" y="2720"/>
                </a:cubicBezTo>
                <a:cubicBezTo>
                  <a:pt x="3833" y="2307"/>
                  <a:pt x="3833" y="2307"/>
                  <a:pt x="3833" y="2307"/>
                </a:cubicBezTo>
                <a:cubicBezTo>
                  <a:pt x="4103" y="2307"/>
                  <a:pt x="4103" y="2307"/>
                  <a:pt x="4103" y="2307"/>
                </a:cubicBezTo>
                <a:close/>
                <a:moveTo>
                  <a:pt x="3833" y="2879"/>
                </a:moveTo>
                <a:cubicBezTo>
                  <a:pt x="4103" y="2879"/>
                  <a:pt x="4103" y="2879"/>
                  <a:pt x="4103" y="2879"/>
                </a:cubicBezTo>
                <a:cubicBezTo>
                  <a:pt x="4103" y="3292"/>
                  <a:pt x="4103" y="3292"/>
                  <a:pt x="4103" y="3292"/>
                </a:cubicBezTo>
                <a:cubicBezTo>
                  <a:pt x="3833" y="3292"/>
                  <a:pt x="3833" y="3292"/>
                  <a:pt x="3833" y="3292"/>
                </a:cubicBezTo>
                <a:close/>
                <a:moveTo>
                  <a:pt x="4103" y="1575"/>
                </a:moveTo>
                <a:cubicBezTo>
                  <a:pt x="3833" y="1575"/>
                  <a:pt x="3833" y="1575"/>
                  <a:pt x="3833" y="1575"/>
                </a:cubicBezTo>
                <a:cubicBezTo>
                  <a:pt x="3833" y="1161"/>
                  <a:pt x="3833" y="1161"/>
                  <a:pt x="3833" y="1161"/>
                </a:cubicBezTo>
                <a:cubicBezTo>
                  <a:pt x="4103" y="1161"/>
                  <a:pt x="4103" y="1161"/>
                  <a:pt x="4103" y="1161"/>
                </a:cubicBezTo>
                <a:close/>
                <a:moveTo>
                  <a:pt x="4103" y="3865"/>
                </a:moveTo>
                <a:cubicBezTo>
                  <a:pt x="3833" y="3865"/>
                  <a:pt x="3833" y="3865"/>
                  <a:pt x="3833" y="3865"/>
                </a:cubicBezTo>
                <a:cubicBezTo>
                  <a:pt x="3833" y="3452"/>
                  <a:pt x="3833" y="3452"/>
                  <a:pt x="3833" y="3452"/>
                </a:cubicBezTo>
                <a:cubicBezTo>
                  <a:pt x="4103" y="3452"/>
                  <a:pt x="4103" y="3452"/>
                  <a:pt x="4103" y="3452"/>
                </a:cubicBezTo>
                <a:close/>
                <a:moveTo>
                  <a:pt x="4103" y="589"/>
                </a:moveTo>
                <a:cubicBezTo>
                  <a:pt x="4103" y="1002"/>
                  <a:pt x="4103" y="1002"/>
                  <a:pt x="4103" y="1002"/>
                </a:cubicBezTo>
                <a:cubicBezTo>
                  <a:pt x="3833" y="1002"/>
                  <a:pt x="3833" y="1002"/>
                  <a:pt x="3833" y="1002"/>
                </a:cubicBezTo>
                <a:cubicBezTo>
                  <a:pt x="3833" y="589"/>
                  <a:pt x="3833" y="589"/>
                  <a:pt x="3833" y="589"/>
                </a:cubicBezTo>
                <a:close/>
                <a:moveTo>
                  <a:pt x="381" y="3309"/>
                </a:moveTo>
                <a:cubicBezTo>
                  <a:pt x="668" y="3309"/>
                  <a:pt x="668" y="3309"/>
                  <a:pt x="668" y="3309"/>
                </a:cubicBezTo>
                <a:cubicBezTo>
                  <a:pt x="699" y="3309"/>
                  <a:pt x="747" y="3277"/>
                  <a:pt x="747" y="3229"/>
                </a:cubicBezTo>
                <a:cubicBezTo>
                  <a:pt x="747" y="3181"/>
                  <a:pt x="699" y="3149"/>
                  <a:pt x="668" y="3149"/>
                </a:cubicBezTo>
                <a:cubicBezTo>
                  <a:pt x="381" y="3149"/>
                  <a:pt x="381" y="3149"/>
                  <a:pt x="381" y="3149"/>
                </a:cubicBezTo>
                <a:cubicBezTo>
                  <a:pt x="381" y="2736"/>
                  <a:pt x="381" y="2736"/>
                  <a:pt x="381" y="2736"/>
                </a:cubicBezTo>
                <a:cubicBezTo>
                  <a:pt x="668" y="2736"/>
                  <a:pt x="668" y="2736"/>
                  <a:pt x="668" y="2736"/>
                </a:cubicBezTo>
                <a:cubicBezTo>
                  <a:pt x="699" y="2736"/>
                  <a:pt x="747" y="2704"/>
                  <a:pt x="747" y="2656"/>
                </a:cubicBezTo>
                <a:cubicBezTo>
                  <a:pt x="747" y="2609"/>
                  <a:pt x="699" y="2577"/>
                  <a:pt x="668" y="2577"/>
                </a:cubicBezTo>
                <a:cubicBezTo>
                  <a:pt x="381" y="2577"/>
                  <a:pt x="381" y="2577"/>
                  <a:pt x="381" y="2577"/>
                </a:cubicBezTo>
                <a:cubicBezTo>
                  <a:pt x="381" y="2164"/>
                  <a:pt x="381" y="2164"/>
                  <a:pt x="381" y="2164"/>
                </a:cubicBezTo>
                <a:cubicBezTo>
                  <a:pt x="668" y="2164"/>
                  <a:pt x="668" y="2164"/>
                  <a:pt x="668" y="2164"/>
                </a:cubicBezTo>
                <a:cubicBezTo>
                  <a:pt x="699" y="2164"/>
                  <a:pt x="747" y="2131"/>
                  <a:pt x="747" y="2084"/>
                </a:cubicBezTo>
                <a:cubicBezTo>
                  <a:pt x="747" y="2036"/>
                  <a:pt x="699" y="2004"/>
                  <a:pt x="668" y="2004"/>
                </a:cubicBezTo>
                <a:cubicBezTo>
                  <a:pt x="381" y="2004"/>
                  <a:pt x="381" y="2004"/>
                  <a:pt x="381" y="2004"/>
                </a:cubicBezTo>
                <a:cubicBezTo>
                  <a:pt x="381" y="1591"/>
                  <a:pt x="381" y="1591"/>
                  <a:pt x="381" y="1591"/>
                </a:cubicBezTo>
                <a:cubicBezTo>
                  <a:pt x="668" y="1591"/>
                  <a:pt x="668" y="1591"/>
                  <a:pt x="668" y="1591"/>
                </a:cubicBezTo>
                <a:cubicBezTo>
                  <a:pt x="699" y="1591"/>
                  <a:pt x="747" y="1559"/>
                  <a:pt x="747" y="1511"/>
                </a:cubicBezTo>
                <a:cubicBezTo>
                  <a:pt x="747" y="1464"/>
                  <a:pt x="699" y="1432"/>
                  <a:pt x="668" y="1432"/>
                </a:cubicBezTo>
                <a:cubicBezTo>
                  <a:pt x="381" y="1432"/>
                  <a:pt x="381" y="1432"/>
                  <a:pt x="381" y="1432"/>
                </a:cubicBezTo>
                <a:cubicBezTo>
                  <a:pt x="381" y="1018"/>
                  <a:pt x="381" y="1018"/>
                  <a:pt x="381" y="1018"/>
                </a:cubicBezTo>
                <a:cubicBezTo>
                  <a:pt x="668" y="1018"/>
                  <a:pt x="668" y="1018"/>
                  <a:pt x="668" y="1018"/>
                </a:cubicBezTo>
                <a:cubicBezTo>
                  <a:pt x="699" y="1018"/>
                  <a:pt x="747" y="986"/>
                  <a:pt x="747" y="938"/>
                </a:cubicBezTo>
                <a:cubicBezTo>
                  <a:pt x="747" y="891"/>
                  <a:pt x="699" y="859"/>
                  <a:pt x="668" y="859"/>
                </a:cubicBezTo>
                <a:cubicBezTo>
                  <a:pt x="381" y="859"/>
                  <a:pt x="381" y="859"/>
                  <a:pt x="381" y="859"/>
                </a:cubicBezTo>
                <a:cubicBezTo>
                  <a:pt x="381" y="446"/>
                  <a:pt x="381" y="446"/>
                  <a:pt x="381" y="446"/>
                </a:cubicBezTo>
                <a:cubicBezTo>
                  <a:pt x="668" y="446"/>
                  <a:pt x="668" y="446"/>
                  <a:pt x="668" y="446"/>
                </a:cubicBezTo>
                <a:cubicBezTo>
                  <a:pt x="699" y="446"/>
                  <a:pt x="747" y="398"/>
                  <a:pt x="747" y="366"/>
                </a:cubicBezTo>
                <a:cubicBezTo>
                  <a:pt x="747" y="319"/>
                  <a:pt x="699" y="286"/>
                  <a:pt x="668" y="286"/>
                </a:cubicBezTo>
                <a:cubicBezTo>
                  <a:pt x="381" y="286"/>
                  <a:pt x="381" y="286"/>
                  <a:pt x="381" y="286"/>
                </a:cubicBezTo>
                <a:cubicBezTo>
                  <a:pt x="381" y="159"/>
                  <a:pt x="381" y="159"/>
                  <a:pt x="381" y="159"/>
                </a:cubicBezTo>
                <a:cubicBezTo>
                  <a:pt x="3499" y="159"/>
                  <a:pt x="3499" y="159"/>
                  <a:pt x="3499" y="159"/>
                </a:cubicBezTo>
                <a:cubicBezTo>
                  <a:pt x="3594" y="159"/>
                  <a:pt x="3674" y="239"/>
                  <a:pt x="3674" y="350"/>
                </a:cubicBezTo>
                <a:cubicBezTo>
                  <a:pt x="3674" y="509"/>
                  <a:pt x="3674" y="509"/>
                  <a:pt x="3674" y="509"/>
                </a:cubicBezTo>
                <a:cubicBezTo>
                  <a:pt x="3674" y="1082"/>
                  <a:pt x="3674" y="1082"/>
                  <a:pt x="3674" y="1082"/>
                </a:cubicBezTo>
                <a:cubicBezTo>
                  <a:pt x="3674" y="1655"/>
                  <a:pt x="3674" y="1655"/>
                  <a:pt x="3674" y="1655"/>
                </a:cubicBezTo>
                <a:cubicBezTo>
                  <a:pt x="3674" y="2227"/>
                  <a:pt x="3674" y="2227"/>
                  <a:pt x="3674" y="2227"/>
                </a:cubicBezTo>
                <a:cubicBezTo>
                  <a:pt x="3674" y="2800"/>
                  <a:pt x="3674" y="2800"/>
                  <a:pt x="3674" y="2800"/>
                </a:cubicBezTo>
                <a:cubicBezTo>
                  <a:pt x="3674" y="3372"/>
                  <a:pt x="3674" y="3372"/>
                  <a:pt x="3674" y="3372"/>
                </a:cubicBezTo>
                <a:cubicBezTo>
                  <a:pt x="3674" y="3929"/>
                  <a:pt x="3674" y="3929"/>
                  <a:pt x="3674" y="3929"/>
                </a:cubicBezTo>
                <a:cubicBezTo>
                  <a:pt x="3674" y="4040"/>
                  <a:pt x="3594" y="4151"/>
                  <a:pt x="3499" y="4151"/>
                </a:cubicBezTo>
                <a:cubicBezTo>
                  <a:pt x="381" y="4151"/>
                  <a:pt x="381" y="4151"/>
                  <a:pt x="381" y="4151"/>
                </a:cubicBezTo>
                <a:cubicBezTo>
                  <a:pt x="381" y="3881"/>
                  <a:pt x="381" y="3881"/>
                  <a:pt x="381" y="3881"/>
                </a:cubicBezTo>
                <a:cubicBezTo>
                  <a:pt x="668" y="3881"/>
                  <a:pt x="668" y="3881"/>
                  <a:pt x="668" y="3881"/>
                </a:cubicBezTo>
                <a:cubicBezTo>
                  <a:pt x="699" y="3881"/>
                  <a:pt x="747" y="3849"/>
                  <a:pt x="747" y="3801"/>
                </a:cubicBezTo>
                <a:cubicBezTo>
                  <a:pt x="747" y="3770"/>
                  <a:pt x="699" y="3722"/>
                  <a:pt x="668" y="3722"/>
                </a:cubicBezTo>
                <a:cubicBezTo>
                  <a:pt x="381" y="3722"/>
                  <a:pt x="381" y="3722"/>
                  <a:pt x="381" y="372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4" name="Freeform: Shape 6">
            <a:extLst>
              <a:ext uri="{FF2B5EF4-FFF2-40B4-BE49-F238E27FC236}">
                <a16:creationId xmlns:a16="http://schemas.microsoft.com/office/drawing/2014/main" id="{0A78F0FD-F1CE-0D45-A4A4-D9DAA4C74D86}"/>
              </a:ext>
            </a:extLst>
          </p:cNvPr>
          <p:cNvSpPr/>
          <p:nvPr/>
        </p:nvSpPr>
        <p:spPr>
          <a:xfrm>
            <a:off x="6256331" y="3246622"/>
            <a:ext cx="1402559" cy="1517039"/>
          </a:xfrm>
          <a:custGeom>
            <a:avLst/>
            <a:gdLst/>
            <a:ahLst/>
            <a:cxnLst>
              <a:cxn ang="3cd4">
                <a:pos x="hc" y="t"/>
              </a:cxn>
              <a:cxn ang="cd2">
                <a:pos x="l" y="vc"/>
              </a:cxn>
              <a:cxn ang="cd4">
                <a:pos x="hc" y="b"/>
              </a:cxn>
              <a:cxn ang="0">
                <a:pos x="r" y="vc"/>
              </a:cxn>
            </a:cxnLst>
            <a:rect l="l" t="t" r="r" b="b"/>
            <a:pathLst>
              <a:path w="3897" h="4215">
                <a:moveTo>
                  <a:pt x="3897" y="2084"/>
                </a:moveTo>
                <a:cubicBezTo>
                  <a:pt x="3897" y="2052"/>
                  <a:pt x="3881" y="2020"/>
                  <a:pt x="3849" y="2020"/>
                </a:cubicBezTo>
                <a:cubicBezTo>
                  <a:pt x="3833" y="2004"/>
                  <a:pt x="3801" y="2004"/>
                  <a:pt x="3769" y="2004"/>
                </a:cubicBezTo>
                <a:lnTo>
                  <a:pt x="2656" y="2640"/>
                </a:lnTo>
                <a:cubicBezTo>
                  <a:pt x="2624" y="2640"/>
                  <a:pt x="2608" y="2672"/>
                  <a:pt x="2608" y="2704"/>
                </a:cubicBezTo>
                <a:lnTo>
                  <a:pt x="2608" y="3563"/>
                </a:lnTo>
                <a:cubicBezTo>
                  <a:pt x="2561" y="3515"/>
                  <a:pt x="2481" y="3499"/>
                  <a:pt x="2401" y="3499"/>
                </a:cubicBezTo>
                <a:cubicBezTo>
                  <a:pt x="2163" y="3499"/>
                  <a:pt x="1972" y="3658"/>
                  <a:pt x="1972" y="3833"/>
                </a:cubicBezTo>
                <a:cubicBezTo>
                  <a:pt x="1972" y="4024"/>
                  <a:pt x="2163" y="4183"/>
                  <a:pt x="2401" y="4183"/>
                </a:cubicBezTo>
                <a:cubicBezTo>
                  <a:pt x="2624" y="4183"/>
                  <a:pt x="2767" y="4040"/>
                  <a:pt x="2767" y="3833"/>
                </a:cubicBezTo>
                <a:lnTo>
                  <a:pt x="2767" y="3801"/>
                </a:lnTo>
                <a:lnTo>
                  <a:pt x="2767" y="3785"/>
                </a:lnTo>
                <a:lnTo>
                  <a:pt x="2767" y="3308"/>
                </a:lnTo>
                <a:lnTo>
                  <a:pt x="2783" y="3292"/>
                </a:lnTo>
                <a:lnTo>
                  <a:pt x="3737" y="2736"/>
                </a:lnTo>
                <a:lnTo>
                  <a:pt x="3737" y="3403"/>
                </a:lnTo>
                <a:cubicBezTo>
                  <a:pt x="3658" y="3356"/>
                  <a:pt x="3563" y="3324"/>
                  <a:pt x="3451" y="3324"/>
                </a:cubicBezTo>
                <a:cubicBezTo>
                  <a:pt x="3213" y="3324"/>
                  <a:pt x="3022" y="3483"/>
                  <a:pt x="3022" y="3658"/>
                </a:cubicBezTo>
                <a:cubicBezTo>
                  <a:pt x="3022" y="3849"/>
                  <a:pt x="3213" y="4008"/>
                  <a:pt x="3451" y="4008"/>
                </a:cubicBezTo>
                <a:cubicBezTo>
                  <a:pt x="3690" y="4008"/>
                  <a:pt x="3897" y="3849"/>
                  <a:pt x="3897" y="3658"/>
                </a:cubicBezTo>
                <a:lnTo>
                  <a:pt x="3897" y="3642"/>
                </a:lnTo>
                <a:close/>
                <a:moveTo>
                  <a:pt x="2401" y="4024"/>
                </a:moveTo>
                <a:cubicBezTo>
                  <a:pt x="2258" y="4024"/>
                  <a:pt x="2131" y="3929"/>
                  <a:pt x="2131" y="3833"/>
                </a:cubicBezTo>
                <a:cubicBezTo>
                  <a:pt x="2131" y="3738"/>
                  <a:pt x="2258" y="3658"/>
                  <a:pt x="2401" y="3658"/>
                </a:cubicBezTo>
                <a:cubicBezTo>
                  <a:pt x="2529" y="3658"/>
                  <a:pt x="2608" y="3721"/>
                  <a:pt x="2608" y="3833"/>
                </a:cubicBezTo>
                <a:cubicBezTo>
                  <a:pt x="2608" y="3944"/>
                  <a:pt x="2529" y="4024"/>
                  <a:pt x="2401" y="4024"/>
                </a:cubicBezTo>
                <a:close/>
                <a:moveTo>
                  <a:pt x="2767" y="3117"/>
                </a:moveTo>
                <a:lnTo>
                  <a:pt x="2767" y="2751"/>
                </a:lnTo>
                <a:lnTo>
                  <a:pt x="3737" y="2211"/>
                </a:lnTo>
                <a:lnTo>
                  <a:pt x="3737" y="2545"/>
                </a:lnTo>
                <a:close/>
                <a:moveTo>
                  <a:pt x="3451" y="3849"/>
                </a:moveTo>
                <a:cubicBezTo>
                  <a:pt x="3308" y="3849"/>
                  <a:pt x="3181" y="3754"/>
                  <a:pt x="3181" y="3658"/>
                </a:cubicBezTo>
                <a:cubicBezTo>
                  <a:pt x="3181" y="3563"/>
                  <a:pt x="3308" y="3483"/>
                  <a:pt x="3451" y="3483"/>
                </a:cubicBezTo>
                <a:cubicBezTo>
                  <a:pt x="3594" y="3483"/>
                  <a:pt x="3737" y="3563"/>
                  <a:pt x="3737" y="3658"/>
                </a:cubicBezTo>
                <a:cubicBezTo>
                  <a:pt x="3737" y="3754"/>
                  <a:pt x="3594" y="3849"/>
                  <a:pt x="3451" y="3849"/>
                </a:cubicBezTo>
                <a:close/>
                <a:moveTo>
                  <a:pt x="3245" y="2052"/>
                </a:moveTo>
                <a:cubicBezTo>
                  <a:pt x="3292" y="2052"/>
                  <a:pt x="3324" y="2020"/>
                  <a:pt x="3324" y="1972"/>
                </a:cubicBezTo>
                <a:lnTo>
                  <a:pt x="3324" y="1225"/>
                </a:lnTo>
                <a:cubicBezTo>
                  <a:pt x="3324" y="1209"/>
                  <a:pt x="3324" y="1177"/>
                  <a:pt x="3308" y="1177"/>
                </a:cubicBezTo>
                <a:lnTo>
                  <a:pt x="2147" y="32"/>
                </a:lnTo>
                <a:cubicBezTo>
                  <a:pt x="2131" y="16"/>
                  <a:pt x="2115" y="0"/>
                  <a:pt x="2099" y="0"/>
                </a:cubicBezTo>
                <a:lnTo>
                  <a:pt x="79" y="0"/>
                </a:lnTo>
                <a:cubicBezTo>
                  <a:pt x="32" y="0"/>
                  <a:pt x="0" y="32"/>
                  <a:pt x="0" y="79"/>
                </a:cubicBezTo>
                <a:lnTo>
                  <a:pt x="0" y="4135"/>
                </a:lnTo>
                <a:cubicBezTo>
                  <a:pt x="0" y="4183"/>
                  <a:pt x="32" y="4215"/>
                  <a:pt x="79" y="4215"/>
                </a:cubicBezTo>
                <a:lnTo>
                  <a:pt x="1686" y="4215"/>
                </a:lnTo>
                <a:cubicBezTo>
                  <a:pt x="1718" y="4215"/>
                  <a:pt x="1765" y="4183"/>
                  <a:pt x="1765" y="4135"/>
                </a:cubicBezTo>
                <a:cubicBezTo>
                  <a:pt x="1765" y="4087"/>
                  <a:pt x="1718" y="4056"/>
                  <a:pt x="1686" y="4056"/>
                </a:cubicBezTo>
                <a:lnTo>
                  <a:pt x="159" y="4056"/>
                </a:lnTo>
                <a:lnTo>
                  <a:pt x="159" y="159"/>
                </a:lnTo>
                <a:lnTo>
                  <a:pt x="2067" y="159"/>
                </a:lnTo>
                <a:lnTo>
                  <a:pt x="2067" y="1209"/>
                </a:lnTo>
                <a:cubicBezTo>
                  <a:pt x="2067" y="1257"/>
                  <a:pt x="2099" y="1288"/>
                  <a:pt x="2147" y="1288"/>
                </a:cubicBezTo>
                <a:lnTo>
                  <a:pt x="3165" y="1288"/>
                </a:lnTo>
                <a:lnTo>
                  <a:pt x="3165" y="1972"/>
                </a:lnTo>
                <a:cubicBezTo>
                  <a:pt x="3165" y="2020"/>
                  <a:pt x="3213" y="2052"/>
                  <a:pt x="3245" y="2052"/>
                </a:cubicBezTo>
                <a:close/>
                <a:moveTo>
                  <a:pt x="2227" y="318"/>
                </a:moveTo>
                <a:lnTo>
                  <a:pt x="3037" y="1129"/>
                </a:lnTo>
                <a:lnTo>
                  <a:pt x="2227"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5" name="Freeform: Shape 7">
            <a:extLst>
              <a:ext uri="{FF2B5EF4-FFF2-40B4-BE49-F238E27FC236}">
                <a16:creationId xmlns:a16="http://schemas.microsoft.com/office/drawing/2014/main" id="{03F5A80F-17F0-B64C-9A83-42747029FED3}"/>
              </a:ext>
            </a:extLst>
          </p:cNvPr>
          <p:cNvSpPr/>
          <p:nvPr/>
        </p:nvSpPr>
        <p:spPr>
          <a:xfrm>
            <a:off x="17794653" y="6417608"/>
            <a:ext cx="1333080" cy="1516680"/>
          </a:xfrm>
          <a:custGeom>
            <a:avLst/>
            <a:gdLst/>
            <a:ahLst/>
            <a:cxnLst>
              <a:cxn ang="3cd4">
                <a:pos x="hc" y="t"/>
              </a:cxn>
              <a:cxn ang="cd2">
                <a:pos x="l" y="vc"/>
              </a:cxn>
              <a:cxn ang="cd4">
                <a:pos x="hc" y="b"/>
              </a:cxn>
              <a:cxn ang="0">
                <a:pos x="r" y="vc"/>
              </a:cxn>
            </a:cxnLst>
            <a:rect l="l" t="t" r="r" b="b"/>
            <a:pathLst>
              <a:path w="3704" h="4214">
                <a:moveTo>
                  <a:pt x="2179" y="3865"/>
                </a:moveTo>
                <a:lnTo>
                  <a:pt x="2211" y="3865"/>
                </a:lnTo>
                <a:lnTo>
                  <a:pt x="2815" y="3610"/>
                </a:lnTo>
                <a:cubicBezTo>
                  <a:pt x="2831" y="3610"/>
                  <a:pt x="2831" y="3610"/>
                  <a:pt x="2847" y="3594"/>
                </a:cubicBezTo>
                <a:lnTo>
                  <a:pt x="3515" y="2926"/>
                </a:lnTo>
                <a:lnTo>
                  <a:pt x="3626" y="2815"/>
                </a:lnTo>
                <a:cubicBezTo>
                  <a:pt x="3754" y="2687"/>
                  <a:pt x="3706" y="2449"/>
                  <a:pt x="3610" y="2338"/>
                </a:cubicBezTo>
                <a:cubicBezTo>
                  <a:pt x="3515" y="2242"/>
                  <a:pt x="3276" y="2195"/>
                  <a:pt x="3149" y="2338"/>
                </a:cubicBezTo>
                <a:lnTo>
                  <a:pt x="3022" y="2449"/>
                </a:lnTo>
                <a:lnTo>
                  <a:pt x="2974" y="2496"/>
                </a:lnTo>
                <a:lnTo>
                  <a:pt x="2974" y="2513"/>
                </a:lnTo>
                <a:lnTo>
                  <a:pt x="2354" y="3117"/>
                </a:lnTo>
                <a:cubicBezTo>
                  <a:pt x="2349" y="3128"/>
                  <a:pt x="2354" y="3133"/>
                  <a:pt x="2338" y="3149"/>
                </a:cubicBezTo>
                <a:lnTo>
                  <a:pt x="2100" y="3753"/>
                </a:lnTo>
                <a:cubicBezTo>
                  <a:pt x="2083" y="3785"/>
                  <a:pt x="2100" y="3817"/>
                  <a:pt x="2115" y="3832"/>
                </a:cubicBezTo>
                <a:cubicBezTo>
                  <a:pt x="2131" y="3849"/>
                  <a:pt x="2147" y="3865"/>
                  <a:pt x="2179" y="3865"/>
                </a:cubicBezTo>
                <a:close/>
                <a:moveTo>
                  <a:pt x="3085" y="2608"/>
                </a:moveTo>
                <a:lnTo>
                  <a:pt x="3340" y="2878"/>
                </a:lnTo>
                <a:lnTo>
                  <a:pt x="3213" y="3005"/>
                </a:lnTo>
                <a:lnTo>
                  <a:pt x="3197" y="3005"/>
                </a:lnTo>
                <a:lnTo>
                  <a:pt x="2958" y="2751"/>
                </a:lnTo>
                <a:close/>
                <a:moveTo>
                  <a:pt x="2847" y="2862"/>
                </a:moveTo>
                <a:lnTo>
                  <a:pt x="3085" y="3117"/>
                </a:lnTo>
                <a:lnTo>
                  <a:pt x="3101" y="3117"/>
                </a:lnTo>
                <a:lnTo>
                  <a:pt x="2831" y="3371"/>
                </a:lnTo>
                <a:lnTo>
                  <a:pt x="2592" y="3133"/>
                </a:lnTo>
                <a:lnTo>
                  <a:pt x="2576" y="3117"/>
                </a:lnTo>
                <a:close/>
                <a:moveTo>
                  <a:pt x="3499" y="2465"/>
                </a:moveTo>
                <a:cubicBezTo>
                  <a:pt x="3547" y="2513"/>
                  <a:pt x="3579" y="2640"/>
                  <a:pt x="3515" y="2704"/>
                </a:cubicBezTo>
                <a:lnTo>
                  <a:pt x="3451" y="2767"/>
                </a:lnTo>
                <a:lnTo>
                  <a:pt x="3197" y="2496"/>
                </a:lnTo>
                <a:lnTo>
                  <a:pt x="3261" y="2449"/>
                </a:lnTo>
                <a:cubicBezTo>
                  <a:pt x="3324" y="2386"/>
                  <a:pt x="3451" y="2417"/>
                  <a:pt x="3499" y="2465"/>
                </a:cubicBezTo>
                <a:close/>
                <a:moveTo>
                  <a:pt x="2481" y="3244"/>
                </a:moveTo>
                <a:lnTo>
                  <a:pt x="2720" y="3483"/>
                </a:lnTo>
                <a:lnTo>
                  <a:pt x="2322" y="3642"/>
                </a:lnTo>
                <a:close/>
                <a:moveTo>
                  <a:pt x="2147" y="1288"/>
                </a:moveTo>
                <a:lnTo>
                  <a:pt x="3181" y="1288"/>
                </a:lnTo>
                <a:lnTo>
                  <a:pt x="3181" y="1956"/>
                </a:lnTo>
                <a:cubicBezTo>
                  <a:pt x="3181" y="2004"/>
                  <a:pt x="3213" y="2035"/>
                  <a:pt x="3261" y="2035"/>
                </a:cubicBezTo>
                <a:cubicBezTo>
                  <a:pt x="3292" y="2035"/>
                  <a:pt x="3340" y="2004"/>
                  <a:pt x="3340" y="1956"/>
                </a:cubicBezTo>
                <a:lnTo>
                  <a:pt x="3340" y="1224"/>
                </a:lnTo>
                <a:cubicBezTo>
                  <a:pt x="3340" y="1193"/>
                  <a:pt x="3324" y="1177"/>
                  <a:pt x="3308" y="1160"/>
                </a:cubicBezTo>
                <a:lnTo>
                  <a:pt x="2147" y="15"/>
                </a:lnTo>
                <a:cubicBezTo>
                  <a:pt x="2131" y="0"/>
                  <a:pt x="2115" y="0"/>
                  <a:pt x="2100" y="0"/>
                </a:cubicBezTo>
                <a:lnTo>
                  <a:pt x="80" y="0"/>
                </a:lnTo>
                <a:cubicBezTo>
                  <a:pt x="32" y="0"/>
                  <a:pt x="0" y="32"/>
                  <a:pt x="0" y="79"/>
                </a:cubicBezTo>
                <a:lnTo>
                  <a:pt x="0" y="4135"/>
                </a:lnTo>
                <a:cubicBezTo>
                  <a:pt x="0" y="4167"/>
                  <a:pt x="32" y="4214"/>
                  <a:pt x="80" y="4214"/>
                </a:cubicBezTo>
                <a:lnTo>
                  <a:pt x="1925" y="4214"/>
                </a:lnTo>
                <a:cubicBezTo>
                  <a:pt x="1972" y="4214"/>
                  <a:pt x="2004" y="4167"/>
                  <a:pt x="2004" y="4135"/>
                </a:cubicBezTo>
                <a:cubicBezTo>
                  <a:pt x="2004" y="4087"/>
                  <a:pt x="1972" y="4055"/>
                  <a:pt x="1925" y="4055"/>
                </a:cubicBezTo>
                <a:lnTo>
                  <a:pt x="159" y="4055"/>
                </a:lnTo>
                <a:lnTo>
                  <a:pt x="159" y="159"/>
                </a:lnTo>
                <a:lnTo>
                  <a:pt x="2068" y="159"/>
                </a:lnTo>
                <a:lnTo>
                  <a:pt x="2068" y="1208"/>
                </a:lnTo>
                <a:cubicBezTo>
                  <a:pt x="2068" y="1256"/>
                  <a:pt x="2100" y="1288"/>
                  <a:pt x="2147" y="1288"/>
                </a:cubicBezTo>
                <a:close/>
                <a:moveTo>
                  <a:pt x="2227" y="318"/>
                </a:moveTo>
                <a:lnTo>
                  <a:pt x="3054" y="1129"/>
                </a:lnTo>
                <a:lnTo>
                  <a:pt x="2227"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6" name="Freeform: Shape 8">
            <a:extLst>
              <a:ext uri="{FF2B5EF4-FFF2-40B4-BE49-F238E27FC236}">
                <a16:creationId xmlns:a16="http://schemas.microsoft.com/office/drawing/2014/main" id="{81678AB3-EEF4-5B48-8A04-ACB9AF2CFFA8}"/>
              </a:ext>
            </a:extLst>
          </p:cNvPr>
          <p:cNvSpPr/>
          <p:nvPr/>
        </p:nvSpPr>
        <p:spPr>
          <a:xfrm>
            <a:off x="2015912" y="9905590"/>
            <a:ext cx="1305000" cy="1516680"/>
          </a:xfrm>
          <a:custGeom>
            <a:avLst/>
            <a:gdLst/>
            <a:ahLst/>
            <a:cxnLst>
              <a:cxn ang="3cd4">
                <a:pos x="hc" y="t"/>
              </a:cxn>
              <a:cxn ang="cd2">
                <a:pos x="l" y="vc"/>
              </a:cxn>
              <a:cxn ang="cd4">
                <a:pos x="hc" y="b"/>
              </a:cxn>
              <a:cxn ang="0">
                <a:pos x="r" y="vc"/>
              </a:cxn>
            </a:cxnLst>
            <a:rect l="l" t="t" r="r" b="b"/>
            <a:pathLst>
              <a:path w="3626" h="4214">
                <a:moveTo>
                  <a:pt x="3339" y="3308"/>
                </a:moveTo>
                <a:lnTo>
                  <a:pt x="3339" y="2338"/>
                </a:lnTo>
                <a:cubicBezTo>
                  <a:pt x="3339" y="2306"/>
                  <a:pt x="3324" y="2290"/>
                  <a:pt x="3308" y="2274"/>
                </a:cubicBezTo>
                <a:lnTo>
                  <a:pt x="2942" y="1972"/>
                </a:lnTo>
                <a:cubicBezTo>
                  <a:pt x="2926" y="1956"/>
                  <a:pt x="2910" y="1956"/>
                  <a:pt x="2894" y="1956"/>
                </a:cubicBezTo>
                <a:lnTo>
                  <a:pt x="2433" y="1956"/>
                </a:lnTo>
                <a:cubicBezTo>
                  <a:pt x="2433" y="1940"/>
                  <a:pt x="2449" y="1924"/>
                  <a:pt x="2449" y="1908"/>
                </a:cubicBezTo>
                <a:lnTo>
                  <a:pt x="2449" y="1844"/>
                </a:lnTo>
                <a:cubicBezTo>
                  <a:pt x="2449" y="1813"/>
                  <a:pt x="2433" y="1797"/>
                  <a:pt x="2401" y="1781"/>
                </a:cubicBezTo>
                <a:lnTo>
                  <a:pt x="2449" y="1733"/>
                </a:lnTo>
                <a:cubicBezTo>
                  <a:pt x="2481" y="1717"/>
                  <a:pt x="2512" y="1686"/>
                  <a:pt x="2512" y="1654"/>
                </a:cubicBezTo>
                <a:cubicBezTo>
                  <a:pt x="2512" y="1606"/>
                  <a:pt x="2465" y="1574"/>
                  <a:pt x="2433" y="1574"/>
                </a:cubicBezTo>
                <a:lnTo>
                  <a:pt x="2369" y="1574"/>
                </a:lnTo>
                <a:cubicBezTo>
                  <a:pt x="2322" y="1574"/>
                  <a:pt x="2290" y="1606"/>
                  <a:pt x="2290" y="1654"/>
                </a:cubicBezTo>
                <a:lnTo>
                  <a:pt x="2290" y="1717"/>
                </a:lnTo>
                <a:cubicBezTo>
                  <a:pt x="2290" y="1733"/>
                  <a:pt x="2306" y="1765"/>
                  <a:pt x="2322" y="1781"/>
                </a:cubicBezTo>
                <a:cubicBezTo>
                  <a:pt x="2306" y="1797"/>
                  <a:pt x="2290" y="1813"/>
                  <a:pt x="2290" y="1844"/>
                </a:cubicBezTo>
                <a:lnTo>
                  <a:pt x="2290" y="1908"/>
                </a:lnTo>
                <a:lnTo>
                  <a:pt x="2290" y="1956"/>
                </a:lnTo>
                <a:lnTo>
                  <a:pt x="1860" y="1956"/>
                </a:lnTo>
                <a:cubicBezTo>
                  <a:pt x="1813" y="1956"/>
                  <a:pt x="1781" y="1988"/>
                  <a:pt x="1781" y="2035"/>
                </a:cubicBezTo>
                <a:lnTo>
                  <a:pt x="1781" y="3705"/>
                </a:lnTo>
                <a:cubicBezTo>
                  <a:pt x="1781" y="3753"/>
                  <a:pt x="1813" y="3785"/>
                  <a:pt x="1860" y="3785"/>
                </a:cubicBezTo>
                <a:lnTo>
                  <a:pt x="3260" y="3785"/>
                </a:lnTo>
                <a:cubicBezTo>
                  <a:pt x="3292" y="3785"/>
                  <a:pt x="3339" y="3753"/>
                  <a:pt x="3339" y="3705"/>
                </a:cubicBezTo>
                <a:lnTo>
                  <a:pt x="3339" y="3467"/>
                </a:lnTo>
                <a:lnTo>
                  <a:pt x="3355" y="3467"/>
                </a:lnTo>
                <a:cubicBezTo>
                  <a:pt x="3387" y="3467"/>
                  <a:pt x="3403" y="3451"/>
                  <a:pt x="3419" y="3435"/>
                </a:cubicBezTo>
                <a:cubicBezTo>
                  <a:pt x="3435" y="3451"/>
                  <a:pt x="3467" y="3467"/>
                  <a:pt x="3482" y="3467"/>
                </a:cubicBezTo>
                <a:lnTo>
                  <a:pt x="3546" y="3467"/>
                </a:lnTo>
                <a:cubicBezTo>
                  <a:pt x="3594" y="3467"/>
                  <a:pt x="3626" y="3435"/>
                  <a:pt x="3626" y="3387"/>
                </a:cubicBezTo>
                <a:lnTo>
                  <a:pt x="3626" y="3324"/>
                </a:lnTo>
                <a:cubicBezTo>
                  <a:pt x="3626" y="3292"/>
                  <a:pt x="3594" y="3244"/>
                  <a:pt x="3546" y="3244"/>
                </a:cubicBezTo>
                <a:cubicBezTo>
                  <a:pt x="3515" y="3244"/>
                  <a:pt x="3482" y="3276"/>
                  <a:pt x="3467" y="3324"/>
                </a:cubicBezTo>
                <a:cubicBezTo>
                  <a:pt x="3451" y="3324"/>
                  <a:pt x="3435" y="3340"/>
                  <a:pt x="3419" y="3356"/>
                </a:cubicBezTo>
                <a:cubicBezTo>
                  <a:pt x="3403" y="3324"/>
                  <a:pt x="3387" y="3308"/>
                  <a:pt x="3355" y="3308"/>
                </a:cubicBezTo>
                <a:close/>
                <a:moveTo>
                  <a:pt x="3006" y="2226"/>
                </a:moveTo>
                <a:lnTo>
                  <a:pt x="2910" y="2226"/>
                </a:lnTo>
                <a:lnTo>
                  <a:pt x="2910" y="2163"/>
                </a:lnTo>
                <a:close/>
                <a:moveTo>
                  <a:pt x="1940" y="3626"/>
                </a:moveTo>
                <a:lnTo>
                  <a:pt x="1940" y="2115"/>
                </a:lnTo>
                <a:lnTo>
                  <a:pt x="2751" y="2115"/>
                </a:lnTo>
                <a:lnTo>
                  <a:pt x="2751" y="2306"/>
                </a:lnTo>
                <a:cubicBezTo>
                  <a:pt x="2751" y="2353"/>
                  <a:pt x="2799" y="2386"/>
                  <a:pt x="2831" y="2386"/>
                </a:cubicBezTo>
                <a:lnTo>
                  <a:pt x="3181" y="2386"/>
                </a:lnTo>
                <a:lnTo>
                  <a:pt x="3181" y="3626"/>
                </a:lnTo>
                <a:close/>
                <a:moveTo>
                  <a:pt x="3546" y="2369"/>
                </a:moveTo>
                <a:cubicBezTo>
                  <a:pt x="3594" y="2369"/>
                  <a:pt x="3626" y="2338"/>
                  <a:pt x="3626" y="2290"/>
                </a:cubicBezTo>
                <a:lnTo>
                  <a:pt x="3626" y="2178"/>
                </a:lnTo>
                <a:cubicBezTo>
                  <a:pt x="3626" y="2131"/>
                  <a:pt x="3594" y="2099"/>
                  <a:pt x="3546" y="2099"/>
                </a:cubicBezTo>
                <a:cubicBezTo>
                  <a:pt x="3515" y="2099"/>
                  <a:pt x="3467" y="2131"/>
                  <a:pt x="3467" y="2178"/>
                </a:cubicBezTo>
                <a:lnTo>
                  <a:pt x="3467" y="2290"/>
                </a:lnTo>
                <a:cubicBezTo>
                  <a:pt x="3467" y="2338"/>
                  <a:pt x="3515" y="2369"/>
                  <a:pt x="3546" y="2369"/>
                </a:cubicBezTo>
                <a:close/>
                <a:moveTo>
                  <a:pt x="3467" y="2862"/>
                </a:moveTo>
                <a:cubicBezTo>
                  <a:pt x="3467" y="2910"/>
                  <a:pt x="3515" y="2942"/>
                  <a:pt x="3546" y="2942"/>
                </a:cubicBezTo>
                <a:cubicBezTo>
                  <a:pt x="3594" y="2942"/>
                  <a:pt x="3626" y="2910"/>
                  <a:pt x="3626" y="2862"/>
                </a:cubicBezTo>
                <a:lnTo>
                  <a:pt x="3626" y="2751"/>
                </a:lnTo>
                <a:cubicBezTo>
                  <a:pt x="3626" y="2704"/>
                  <a:pt x="3594" y="2672"/>
                  <a:pt x="3546" y="2672"/>
                </a:cubicBezTo>
                <a:cubicBezTo>
                  <a:pt x="3515" y="2672"/>
                  <a:pt x="3467" y="2704"/>
                  <a:pt x="3467" y="2751"/>
                </a:cubicBezTo>
                <a:close/>
                <a:moveTo>
                  <a:pt x="3546" y="1574"/>
                </a:moveTo>
                <a:lnTo>
                  <a:pt x="3482" y="1574"/>
                </a:lnTo>
                <a:cubicBezTo>
                  <a:pt x="3451" y="1574"/>
                  <a:pt x="3403" y="1606"/>
                  <a:pt x="3403" y="1654"/>
                </a:cubicBezTo>
                <a:cubicBezTo>
                  <a:pt x="3403" y="1686"/>
                  <a:pt x="3435" y="1717"/>
                  <a:pt x="3467" y="1733"/>
                </a:cubicBezTo>
                <a:cubicBezTo>
                  <a:pt x="3482" y="1765"/>
                  <a:pt x="3515" y="1797"/>
                  <a:pt x="3546" y="1797"/>
                </a:cubicBezTo>
                <a:cubicBezTo>
                  <a:pt x="3594" y="1797"/>
                  <a:pt x="3626" y="1749"/>
                  <a:pt x="3626" y="1717"/>
                </a:cubicBezTo>
                <a:lnTo>
                  <a:pt x="3626" y="1654"/>
                </a:lnTo>
                <a:cubicBezTo>
                  <a:pt x="3626" y="1606"/>
                  <a:pt x="3594" y="1574"/>
                  <a:pt x="3546" y="1574"/>
                </a:cubicBezTo>
                <a:close/>
                <a:moveTo>
                  <a:pt x="3021" y="1733"/>
                </a:moveTo>
                <a:cubicBezTo>
                  <a:pt x="3053" y="1733"/>
                  <a:pt x="3101" y="1686"/>
                  <a:pt x="3101" y="1654"/>
                </a:cubicBezTo>
                <a:cubicBezTo>
                  <a:pt x="3101" y="1606"/>
                  <a:pt x="3053" y="1574"/>
                  <a:pt x="3021" y="1574"/>
                </a:cubicBezTo>
                <a:lnTo>
                  <a:pt x="2894" y="1574"/>
                </a:lnTo>
                <a:cubicBezTo>
                  <a:pt x="2863" y="1574"/>
                  <a:pt x="2815" y="1606"/>
                  <a:pt x="2815" y="1654"/>
                </a:cubicBezTo>
                <a:cubicBezTo>
                  <a:pt x="2815" y="1686"/>
                  <a:pt x="2863" y="1733"/>
                  <a:pt x="2894" y="1733"/>
                </a:cubicBezTo>
                <a:close/>
                <a:moveTo>
                  <a:pt x="2146" y="15"/>
                </a:moveTo>
                <a:cubicBezTo>
                  <a:pt x="2146" y="0"/>
                  <a:pt x="2115" y="0"/>
                  <a:pt x="2099" y="0"/>
                </a:cubicBezTo>
                <a:lnTo>
                  <a:pt x="79" y="0"/>
                </a:lnTo>
                <a:cubicBezTo>
                  <a:pt x="47" y="0"/>
                  <a:pt x="0" y="32"/>
                  <a:pt x="0" y="79"/>
                </a:cubicBezTo>
                <a:lnTo>
                  <a:pt x="0" y="4135"/>
                </a:lnTo>
                <a:cubicBezTo>
                  <a:pt x="0" y="4167"/>
                  <a:pt x="47" y="4214"/>
                  <a:pt x="79" y="4214"/>
                </a:cubicBezTo>
                <a:lnTo>
                  <a:pt x="1924" y="4214"/>
                </a:lnTo>
                <a:cubicBezTo>
                  <a:pt x="1972" y="4214"/>
                  <a:pt x="2003" y="4167"/>
                  <a:pt x="2003" y="4135"/>
                </a:cubicBezTo>
                <a:cubicBezTo>
                  <a:pt x="2003" y="4087"/>
                  <a:pt x="1972" y="4055"/>
                  <a:pt x="1924" y="4055"/>
                </a:cubicBezTo>
                <a:lnTo>
                  <a:pt x="158" y="4055"/>
                </a:lnTo>
                <a:lnTo>
                  <a:pt x="158" y="159"/>
                </a:lnTo>
                <a:lnTo>
                  <a:pt x="2067" y="159"/>
                </a:lnTo>
                <a:lnTo>
                  <a:pt x="2067" y="1208"/>
                </a:lnTo>
                <a:cubicBezTo>
                  <a:pt x="2067" y="1256"/>
                  <a:pt x="2099" y="1288"/>
                  <a:pt x="2146" y="1288"/>
                </a:cubicBezTo>
                <a:lnTo>
                  <a:pt x="3181" y="1288"/>
                </a:lnTo>
                <a:lnTo>
                  <a:pt x="3181" y="1399"/>
                </a:lnTo>
                <a:cubicBezTo>
                  <a:pt x="3181" y="1447"/>
                  <a:pt x="3212" y="1479"/>
                  <a:pt x="3260" y="1479"/>
                </a:cubicBezTo>
                <a:cubicBezTo>
                  <a:pt x="3292" y="1479"/>
                  <a:pt x="3339" y="1447"/>
                  <a:pt x="3339" y="1399"/>
                </a:cubicBezTo>
                <a:lnTo>
                  <a:pt x="3339" y="1224"/>
                </a:lnTo>
                <a:cubicBezTo>
                  <a:pt x="3339" y="1193"/>
                  <a:pt x="3324" y="1177"/>
                  <a:pt x="3308" y="1160"/>
                </a:cubicBezTo>
                <a:close/>
                <a:moveTo>
                  <a:pt x="2226" y="318"/>
                </a:moveTo>
                <a:lnTo>
                  <a:pt x="3053" y="1129"/>
                </a:lnTo>
                <a:lnTo>
                  <a:pt x="2226"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7" name="Freeform: Shape 9">
            <a:extLst>
              <a:ext uri="{FF2B5EF4-FFF2-40B4-BE49-F238E27FC236}">
                <a16:creationId xmlns:a16="http://schemas.microsoft.com/office/drawing/2014/main" id="{548FABFC-FE2C-8E4A-BA8F-050F41923D35}"/>
              </a:ext>
            </a:extLst>
          </p:cNvPr>
          <p:cNvSpPr/>
          <p:nvPr/>
        </p:nvSpPr>
        <p:spPr>
          <a:xfrm>
            <a:off x="6204692" y="9905590"/>
            <a:ext cx="1299240" cy="1516680"/>
          </a:xfrm>
          <a:custGeom>
            <a:avLst/>
            <a:gdLst/>
            <a:ahLst/>
            <a:cxnLst>
              <a:cxn ang="3cd4">
                <a:pos x="hc" y="t"/>
              </a:cxn>
              <a:cxn ang="cd2">
                <a:pos x="l" y="vc"/>
              </a:cxn>
              <a:cxn ang="cd4">
                <a:pos x="hc" y="b"/>
              </a:cxn>
              <a:cxn ang="0">
                <a:pos x="r" y="vc"/>
              </a:cxn>
            </a:cxnLst>
            <a:rect l="l" t="t" r="r" b="b"/>
            <a:pathLst>
              <a:path w="3610" h="4214">
                <a:moveTo>
                  <a:pt x="2338" y="1749"/>
                </a:moveTo>
                <a:lnTo>
                  <a:pt x="2338" y="1956"/>
                </a:lnTo>
                <a:lnTo>
                  <a:pt x="1988" y="1956"/>
                </a:lnTo>
                <a:cubicBezTo>
                  <a:pt x="1956" y="1956"/>
                  <a:pt x="1909" y="1988"/>
                  <a:pt x="1909" y="2035"/>
                </a:cubicBezTo>
                <a:lnTo>
                  <a:pt x="1909" y="3705"/>
                </a:lnTo>
                <a:cubicBezTo>
                  <a:pt x="1909" y="3753"/>
                  <a:pt x="1956" y="3785"/>
                  <a:pt x="1988" y="3785"/>
                </a:cubicBezTo>
                <a:lnTo>
                  <a:pt x="3261" y="3785"/>
                </a:lnTo>
                <a:cubicBezTo>
                  <a:pt x="3292" y="3785"/>
                  <a:pt x="3340" y="3753"/>
                  <a:pt x="3340" y="3705"/>
                </a:cubicBezTo>
                <a:lnTo>
                  <a:pt x="3340" y="3514"/>
                </a:lnTo>
                <a:lnTo>
                  <a:pt x="3531" y="3514"/>
                </a:lnTo>
                <a:cubicBezTo>
                  <a:pt x="3579" y="3514"/>
                  <a:pt x="3610" y="3467"/>
                  <a:pt x="3610" y="3435"/>
                </a:cubicBezTo>
                <a:lnTo>
                  <a:pt x="3610" y="1749"/>
                </a:lnTo>
                <a:cubicBezTo>
                  <a:pt x="3610" y="1701"/>
                  <a:pt x="3579" y="1669"/>
                  <a:pt x="3531" y="1669"/>
                </a:cubicBezTo>
                <a:lnTo>
                  <a:pt x="2417" y="1669"/>
                </a:lnTo>
                <a:cubicBezTo>
                  <a:pt x="2370" y="1669"/>
                  <a:pt x="2338" y="1701"/>
                  <a:pt x="2338" y="1749"/>
                </a:cubicBezTo>
                <a:close/>
                <a:moveTo>
                  <a:pt x="2068" y="3626"/>
                </a:moveTo>
                <a:lnTo>
                  <a:pt x="2068" y="2115"/>
                </a:lnTo>
                <a:lnTo>
                  <a:pt x="2895" y="2115"/>
                </a:lnTo>
                <a:lnTo>
                  <a:pt x="2895" y="2306"/>
                </a:lnTo>
                <a:cubicBezTo>
                  <a:pt x="2895" y="2353"/>
                  <a:pt x="2927" y="2386"/>
                  <a:pt x="2974" y="2386"/>
                </a:cubicBezTo>
                <a:lnTo>
                  <a:pt x="3181" y="2386"/>
                </a:lnTo>
                <a:lnTo>
                  <a:pt x="3181" y="3626"/>
                </a:lnTo>
                <a:close/>
                <a:moveTo>
                  <a:pt x="3054" y="2195"/>
                </a:moveTo>
                <a:lnTo>
                  <a:pt x="3070" y="2226"/>
                </a:lnTo>
                <a:lnTo>
                  <a:pt x="3054" y="2226"/>
                </a:lnTo>
                <a:close/>
                <a:moveTo>
                  <a:pt x="3451" y="1829"/>
                </a:moveTo>
                <a:lnTo>
                  <a:pt x="3451" y="3356"/>
                </a:lnTo>
                <a:lnTo>
                  <a:pt x="3340" y="3356"/>
                </a:lnTo>
                <a:lnTo>
                  <a:pt x="3340" y="2338"/>
                </a:lnTo>
                <a:cubicBezTo>
                  <a:pt x="3340" y="2322"/>
                  <a:pt x="3324" y="2306"/>
                  <a:pt x="3324" y="2290"/>
                </a:cubicBezTo>
                <a:lnTo>
                  <a:pt x="3086" y="1988"/>
                </a:lnTo>
                <a:cubicBezTo>
                  <a:pt x="3070" y="1972"/>
                  <a:pt x="3054" y="1956"/>
                  <a:pt x="3022" y="1956"/>
                </a:cubicBezTo>
                <a:lnTo>
                  <a:pt x="2497" y="1956"/>
                </a:lnTo>
                <a:lnTo>
                  <a:pt x="2497" y="1829"/>
                </a:lnTo>
                <a:close/>
                <a:moveTo>
                  <a:pt x="2147" y="15"/>
                </a:moveTo>
                <a:cubicBezTo>
                  <a:pt x="2131" y="0"/>
                  <a:pt x="2115" y="0"/>
                  <a:pt x="2100" y="0"/>
                </a:cubicBezTo>
                <a:lnTo>
                  <a:pt x="80" y="0"/>
                </a:lnTo>
                <a:cubicBezTo>
                  <a:pt x="32" y="0"/>
                  <a:pt x="0" y="32"/>
                  <a:pt x="0" y="79"/>
                </a:cubicBezTo>
                <a:lnTo>
                  <a:pt x="0" y="4135"/>
                </a:lnTo>
                <a:cubicBezTo>
                  <a:pt x="0" y="4167"/>
                  <a:pt x="32" y="4214"/>
                  <a:pt x="80" y="4214"/>
                </a:cubicBezTo>
                <a:lnTo>
                  <a:pt x="1925" y="4214"/>
                </a:lnTo>
                <a:cubicBezTo>
                  <a:pt x="1972" y="4214"/>
                  <a:pt x="2004" y="4167"/>
                  <a:pt x="2004" y="4135"/>
                </a:cubicBezTo>
                <a:cubicBezTo>
                  <a:pt x="2004" y="4087"/>
                  <a:pt x="1972" y="4055"/>
                  <a:pt x="1925" y="4055"/>
                </a:cubicBezTo>
                <a:lnTo>
                  <a:pt x="159" y="4055"/>
                </a:lnTo>
                <a:lnTo>
                  <a:pt x="159" y="159"/>
                </a:lnTo>
                <a:lnTo>
                  <a:pt x="2068" y="159"/>
                </a:lnTo>
                <a:lnTo>
                  <a:pt x="2068" y="1208"/>
                </a:lnTo>
                <a:cubicBezTo>
                  <a:pt x="2068" y="1256"/>
                  <a:pt x="2100" y="1288"/>
                  <a:pt x="2147" y="1288"/>
                </a:cubicBezTo>
                <a:lnTo>
                  <a:pt x="3181" y="1288"/>
                </a:lnTo>
                <a:lnTo>
                  <a:pt x="3181" y="1399"/>
                </a:lnTo>
                <a:cubicBezTo>
                  <a:pt x="3181" y="1447"/>
                  <a:pt x="3213" y="1479"/>
                  <a:pt x="3261" y="1479"/>
                </a:cubicBezTo>
                <a:cubicBezTo>
                  <a:pt x="3292" y="1479"/>
                  <a:pt x="3340" y="1447"/>
                  <a:pt x="3340" y="1399"/>
                </a:cubicBezTo>
                <a:lnTo>
                  <a:pt x="3340" y="1224"/>
                </a:lnTo>
                <a:cubicBezTo>
                  <a:pt x="3340" y="1193"/>
                  <a:pt x="3324" y="1177"/>
                  <a:pt x="3308" y="1160"/>
                </a:cubicBezTo>
                <a:close/>
                <a:moveTo>
                  <a:pt x="2227" y="318"/>
                </a:moveTo>
                <a:lnTo>
                  <a:pt x="3054" y="1129"/>
                </a:lnTo>
                <a:lnTo>
                  <a:pt x="2227"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8" name="Freeform: Shape 10">
            <a:extLst>
              <a:ext uri="{FF2B5EF4-FFF2-40B4-BE49-F238E27FC236}">
                <a16:creationId xmlns:a16="http://schemas.microsoft.com/office/drawing/2014/main" id="{5B498A96-B47E-524F-B821-DEE101FE40EE}"/>
              </a:ext>
            </a:extLst>
          </p:cNvPr>
          <p:cNvSpPr/>
          <p:nvPr/>
        </p:nvSpPr>
        <p:spPr>
          <a:xfrm>
            <a:off x="14252040" y="6417608"/>
            <a:ext cx="1328040" cy="1516680"/>
          </a:xfrm>
          <a:custGeom>
            <a:avLst/>
            <a:gdLst/>
            <a:ahLst/>
            <a:cxnLst>
              <a:cxn ang="3cd4">
                <a:pos x="hc" y="t"/>
              </a:cxn>
              <a:cxn ang="cd2">
                <a:pos x="l" y="vc"/>
              </a:cxn>
              <a:cxn ang="cd4">
                <a:pos x="hc" y="b"/>
              </a:cxn>
              <a:cxn ang="0">
                <a:pos x="r" y="vc"/>
              </a:cxn>
            </a:cxnLst>
            <a:rect l="l" t="t" r="r" b="b"/>
            <a:pathLst>
              <a:path w="3690" h="4214">
                <a:moveTo>
                  <a:pt x="3484" y="3435"/>
                </a:moveTo>
                <a:lnTo>
                  <a:pt x="3484" y="2386"/>
                </a:lnTo>
                <a:lnTo>
                  <a:pt x="3611" y="2386"/>
                </a:lnTo>
                <a:cubicBezTo>
                  <a:pt x="3658" y="2386"/>
                  <a:pt x="3690" y="2353"/>
                  <a:pt x="3690" y="2306"/>
                </a:cubicBezTo>
                <a:cubicBezTo>
                  <a:pt x="3690" y="2274"/>
                  <a:pt x="3658" y="2226"/>
                  <a:pt x="3611" y="2226"/>
                </a:cubicBezTo>
                <a:lnTo>
                  <a:pt x="3404" y="2226"/>
                </a:lnTo>
                <a:lnTo>
                  <a:pt x="2148" y="2226"/>
                </a:lnTo>
                <a:lnTo>
                  <a:pt x="1925" y="2226"/>
                </a:lnTo>
                <a:cubicBezTo>
                  <a:pt x="1893" y="2226"/>
                  <a:pt x="1845" y="2274"/>
                  <a:pt x="1845" y="2306"/>
                </a:cubicBezTo>
                <a:cubicBezTo>
                  <a:pt x="1845" y="2353"/>
                  <a:pt x="1893" y="2386"/>
                  <a:pt x="1925" y="2386"/>
                </a:cubicBezTo>
                <a:lnTo>
                  <a:pt x="2068" y="2386"/>
                </a:lnTo>
                <a:lnTo>
                  <a:pt x="2068" y="3435"/>
                </a:lnTo>
                <a:cubicBezTo>
                  <a:pt x="2068" y="3467"/>
                  <a:pt x="2100" y="3514"/>
                  <a:pt x="2148" y="3514"/>
                </a:cubicBezTo>
                <a:lnTo>
                  <a:pt x="2640" y="3514"/>
                </a:lnTo>
                <a:lnTo>
                  <a:pt x="2354" y="3880"/>
                </a:lnTo>
                <a:cubicBezTo>
                  <a:pt x="2322" y="3912"/>
                  <a:pt x="2338" y="3960"/>
                  <a:pt x="2370" y="3992"/>
                </a:cubicBezTo>
                <a:cubicBezTo>
                  <a:pt x="2402" y="4023"/>
                  <a:pt x="2449" y="4008"/>
                  <a:pt x="2481" y="3976"/>
                </a:cubicBezTo>
                <a:lnTo>
                  <a:pt x="2768" y="3610"/>
                </a:lnTo>
                <a:lnTo>
                  <a:pt x="3054" y="3976"/>
                </a:lnTo>
                <a:cubicBezTo>
                  <a:pt x="3070" y="3992"/>
                  <a:pt x="3086" y="4008"/>
                  <a:pt x="3118" y="4008"/>
                </a:cubicBezTo>
                <a:cubicBezTo>
                  <a:pt x="3133" y="4008"/>
                  <a:pt x="3149" y="4008"/>
                  <a:pt x="3166" y="3992"/>
                </a:cubicBezTo>
                <a:cubicBezTo>
                  <a:pt x="3197" y="3960"/>
                  <a:pt x="3213" y="3912"/>
                  <a:pt x="3181" y="3880"/>
                </a:cubicBezTo>
                <a:lnTo>
                  <a:pt x="2895" y="3514"/>
                </a:lnTo>
                <a:lnTo>
                  <a:pt x="3404" y="3514"/>
                </a:lnTo>
                <a:cubicBezTo>
                  <a:pt x="3436" y="3514"/>
                  <a:pt x="3484" y="3467"/>
                  <a:pt x="3484" y="3435"/>
                </a:cubicBezTo>
                <a:close/>
                <a:moveTo>
                  <a:pt x="3324" y="3356"/>
                </a:moveTo>
                <a:lnTo>
                  <a:pt x="2227" y="3356"/>
                </a:lnTo>
                <a:lnTo>
                  <a:pt x="2227" y="2386"/>
                </a:lnTo>
                <a:lnTo>
                  <a:pt x="3324" y="2386"/>
                </a:lnTo>
                <a:close/>
                <a:moveTo>
                  <a:pt x="80" y="4214"/>
                </a:moveTo>
                <a:lnTo>
                  <a:pt x="1925" y="4214"/>
                </a:lnTo>
                <a:cubicBezTo>
                  <a:pt x="1973" y="4214"/>
                  <a:pt x="2004" y="4167"/>
                  <a:pt x="2004" y="4135"/>
                </a:cubicBezTo>
                <a:cubicBezTo>
                  <a:pt x="2004" y="4087"/>
                  <a:pt x="1973" y="4055"/>
                  <a:pt x="1925" y="4055"/>
                </a:cubicBezTo>
                <a:lnTo>
                  <a:pt x="159" y="4055"/>
                </a:lnTo>
                <a:lnTo>
                  <a:pt x="159" y="159"/>
                </a:lnTo>
                <a:lnTo>
                  <a:pt x="2068" y="159"/>
                </a:lnTo>
                <a:lnTo>
                  <a:pt x="2068" y="1208"/>
                </a:lnTo>
                <a:cubicBezTo>
                  <a:pt x="2068" y="1256"/>
                  <a:pt x="2100" y="1288"/>
                  <a:pt x="2148" y="1288"/>
                </a:cubicBezTo>
                <a:lnTo>
                  <a:pt x="3181" y="1288"/>
                </a:lnTo>
                <a:lnTo>
                  <a:pt x="3181" y="1956"/>
                </a:lnTo>
                <a:cubicBezTo>
                  <a:pt x="3181" y="2004"/>
                  <a:pt x="3213" y="2035"/>
                  <a:pt x="3261" y="2035"/>
                </a:cubicBezTo>
                <a:cubicBezTo>
                  <a:pt x="3309" y="2035"/>
                  <a:pt x="3340" y="2004"/>
                  <a:pt x="3340" y="1956"/>
                </a:cubicBezTo>
                <a:lnTo>
                  <a:pt x="3340" y="1224"/>
                </a:lnTo>
                <a:cubicBezTo>
                  <a:pt x="3340" y="1193"/>
                  <a:pt x="3324" y="1177"/>
                  <a:pt x="3309" y="1160"/>
                </a:cubicBezTo>
                <a:lnTo>
                  <a:pt x="2163" y="15"/>
                </a:lnTo>
                <a:cubicBezTo>
                  <a:pt x="2148" y="0"/>
                  <a:pt x="2116" y="0"/>
                  <a:pt x="2100" y="0"/>
                </a:cubicBezTo>
                <a:lnTo>
                  <a:pt x="80" y="0"/>
                </a:lnTo>
                <a:cubicBezTo>
                  <a:pt x="48" y="0"/>
                  <a:pt x="0" y="32"/>
                  <a:pt x="0" y="79"/>
                </a:cubicBezTo>
                <a:lnTo>
                  <a:pt x="0" y="4135"/>
                </a:lnTo>
                <a:cubicBezTo>
                  <a:pt x="0" y="4167"/>
                  <a:pt x="48" y="4214"/>
                  <a:pt x="80" y="4214"/>
                </a:cubicBezTo>
                <a:close/>
                <a:moveTo>
                  <a:pt x="2227" y="318"/>
                </a:moveTo>
                <a:lnTo>
                  <a:pt x="3054" y="1129"/>
                </a:lnTo>
                <a:lnTo>
                  <a:pt x="2227"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9" name="Freeform: Shape 11">
            <a:extLst>
              <a:ext uri="{FF2B5EF4-FFF2-40B4-BE49-F238E27FC236}">
                <a16:creationId xmlns:a16="http://schemas.microsoft.com/office/drawing/2014/main" id="{1F082909-25A0-5A45-91C5-750D4080E0A0}"/>
              </a:ext>
            </a:extLst>
          </p:cNvPr>
          <p:cNvSpPr/>
          <p:nvPr/>
        </p:nvSpPr>
        <p:spPr>
          <a:xfrm>
            <a:off x="10258780" y="3193547"/>
            <a:ext cx="1196280" cy="1517039"/>
          </a:xfrm>
          <a:custGeom>
            <a:avLst/>
            <a:gdLst/>
            <a:ahLst/>
            <a:cxnLst>
              <a:cxn ang="3cd4">
                <a:pos x="hc" y="t"/>
              </a:cxn>
              <a:cxn ang="cd2">
                <a:pos x="l" y="vc"/>
              </a:cxn>
              <a:cxn ang="cd4">
                <a:pos x="hc" y="b"/>
              </a:cxn>
              <a:cxn ang="0">
                <a:pos x="r" y="vc"/>
              </a:cxn>
            </a:cxnLst>
            <a:rect l="l" t="t" r="r" b="b"/>
            <a:pathLst>
              <a:path w="3324" h="4215">
                <a:moveTo>
                  <a:pt x="2704" y="1543"/>
                </a:moveTo>
                <a:lnTo>
                  <a:pt x="748" y="1543"/>
                </a:lnTo>
                <a:cubicBezTo>
                  <a:pt x="700" y="1543"/>
                  <a:pt x="668" y="1575"/>
                  <a:pt x="668" y="1622"/>
                </a:cubicBezTo>
                <a:lnTo>
                  <a:pt x="668" y="3578"/>
                </a:lnTo>
                <a:cubicBezTo>
                  <a:pt x="668" y="3626"/>
                  <a:pt x="700" y="3658"/>
                  <a:pt x="748" y="3658"/>
                </a:cubicBezTo>
                <a:lnTo>
                  <a:pt x="2704" y="3658"/>
                </a:lnTo>
                <a:cubicBezTo>
                  <a:pt x="2752" y="3658"/>
                  <a:pt x="2784" y="3626"/>
                  <a:pt x="2784" y="3578"/>
                </a:cubicBezTo>
                <a:lnTo>
                  <a:pt x="2784" y="1622"/>
                </a:lnTo>
                <a:cubicBezTo>
                  <a:pt x="2784" y="1575"/>
                  <a:pt x="2752" y="1543"/>
                  <a:pt x="2704" y="1543"/>
                </a:cubicBezTo>
                <a:close/>
                <a:moveTo>
                  <a:pt x="2624" y="1702"/>
                </a:moveTo>
                <a:lnTo>
                  <a:pt x="2624" y="3213"/>
                </a:lnTo>
                <a:lnTo>
                  <a:pt x="827" y="3213"/>
                </a:lnTo>
                <a:lnTo>
                  <a:pt x="827" y="1702"/>
                </a:lnTo>
                <a:close/>
                <a:moveTo>
                  <a:pt x="827" y="3499"/>
                </a:moveTo>
                <a:lnTo>
                  <a:pt x="827" y="3372"/>
                </a:lnTo>
                <a:lnTo>
                  <a:pt x="2624" y="3372"/>
                </a:lnTo>
                <a:lnTo>
                  <a:pt x="2624" y="3499"/>
                </a:lnTo>
                <a:close/>
                <a:moveTo>
                  <a:pt x="1161" y="2959"/>
                </a:moveTo>
                <a:lnTo>
                  <a:pt x="2227" y="2959"/>
                </a:lnTo>
                <a:cubicBezTo>
                  <a:pt x="2258" y="2959"/>
                  <a:pt x="2290" y="2943"/>
                  <a:pt x="2306" y="2927"/>
                </a:cubicBezTo>
                <a:cubicBezTo>
                  <a:pt x="2322" y="2895"/>
                  <a:pt x="2322" y="2864"/>
                  <a:pt x="2306" y="2848"/>
                </a:cubicBezTo>
                <a:lnTo>
                  <a:pt x="2020" y="2291"/>
                </a:lnTo>
                <a:cubicBezTo>
                  <a:pt x="2004" y="2276"/>
                  <a:pt x="1988" y="2259"/>
                  <a:pt x="1957" y="2259"/>
                </a:cubicBezTo>
                <a:cubicBezTo>
                  <a:pt x="1940" y="2243"/>
                  <a:pt x="1909" y="2259"/>
                  <a:pt x="1893" y="2276"/>
                </a:cubicBezTo>
                <a:lnTo>
                  <a:pt x="1638" y="2562"/>
                </a:lnTo>
                <a:lnTo>
                  <a:pt x="1479" y="2482"/>
                </a:lnTo>
                <a:cubicBezTo>
                  <a:pt x="1448" y="2466"/>
                  <a:pt x="1416" y="2482"/>
                  <a:pt x="1400" y="2498"/>
                </a:cubicBezTo>
                <a:lnTo>
                  <a:pt x="1097" y="2832"/>
                </a:lnTo>
                <a:cubicBezTo>
                  <a:pt x="1082" y="2848"/>
                  <a:pt x="1082" y="2880"/>
                  <a:pt x="1097" y="2912"/>
                </a:cubicBezTo>
                <a:cubicBezTo>
                  <a:pt x="1097" y="2943"/>
                  <a:pt x="1130" y="2959"/>
                  <a:pt x="1161" y="2959"/>
                </a:cubicBezTo>
                <a:close/>
                <a:moveTo>
                  <a:pt x="1479" y="2657"/>
                </a:moveTo>
                <a:lnTo>
                  <a:pt x="1638" y="2721"/>
                </a:lnTo>
                <a:cubicBezTo>
                  <a:pt x="1670" y="2737"/>
                  <a:pt x="1702" y="2737"/>
                  <a:pt x="1718" y="2705"/>
                </a:cubicBezTo>
                <a:lnTo>
                  <a:pt x="1940" y="2466"/>
                </a:lnTo>
                <a:lnTo>
                  <a:pt x="2100" y="2800"/>
                </a:lnTo>
                <a:lnTo>
                  <a:pt x="1336" y="2800"/>
                </a:lnTo>
                <a:close/>
                <a:moveTo>
                  <a:pt x="1384" y="2433"/>
                </a:moveTo>
                <a:cubicBezTo>
                  <a:pt x="1527" y="2433"/>
                  <a:pt x="1638" y="2322"/>
                  <a:pt x="1638" y="2179"/>
                </a:cubicBezTo>
                <a:cubicBezTo>
                  <a:pt x="1638" y="2036"/>
                  <a:pt x="1527" y="1924"/>
                  <a:pt x="1384" y="1924"/>
                </a:cubicBezTo>
                <a:cubicBezTo>
                  <a:pt x="1240" y="1924"/>
                  <a:pt x="1130" y="2036"/>
                  <a:pt x="1130" y="2179"/>
                </a:cubicBezTo>
                <a:cubicBezTo>
                  <a:pt x="1130" y="2322"/>
                  <a:pt x="1240" y="2433"/>
                  <a:pt x="1384" y="2433"/>
                </a:cubicBezTo>
                <a:close/>
                <a:moveTo>
                  <a:pt x="1384" y="2084"/>
                </a:moveTo>
                <a:cubicBezTo>
                  <a:pt x="1431" y="2084"/>
                  <a:pt x="1479" y="2131"/>
                  <a:pt x="1479" y="2179"/>
                </a:cubicBezTo>
                <a:cubicBezTo>
                  <a:pt x="1479" y="2227"/>
                  <a:pt x="1431" y="2275"/>
                  <a:pt x="1384" y="2275"/>
                </a:cubicBezTo>
                <a:cubicBezTo>
                  <a:pt x="1336" y="2275"/>
                  <a:pt x="1288" y="2227"/>
                  <a:pt x="1288" y="2179"/>
                </a:cubicBezTo>
                <a:cubicBezTo>
                  <a:pt x="1288" y="2131"/>
                  <a:pt x="1336" y="2084"/>
                  <a:pt x="1384" y="2084"/>
                </a:cubicBezTo>
                <a:close/>
                <a:moveTo>
                  <a:pt x="80" y="4215"/>
                </a:moveTo>
                <a:lnTo>
                  <a:pt x="3245" y="4215"/>
                </a:lnTo>
                <a:cubicBezTo>
                  <a:pt x="3293" y="4215"/>
                  <a:pt x="3324" y="4183"/>
                  <a:pt x="3324" y="4135"/>
                </a:cubicBezTo>
                <a:lnTo>
                  <a:pt x="3324" y="1225"/>
                </a:lnTo>
                <a:cubicBezTo>
                  <a:pt x="3324" y="1209"/>
                  <a:pt x="3324" y="1177"/>
                  <a:pt x="3308" y="1177"/>
                </a:cubicBezTo>
                <a:lnTo>
                  <a:pt x="2147" y="32"/>
                </a:lnTo>
                <a:cubicBezTo>
                  <a:pt x="2131" y="16"/>
                  <a:pt x="2115" y="0"/>
                  <a:pt x="2100" y="0"/>
                </a:cubicBezTo>
                <a:lnTo>
                  <a:pt x="80" y="0"/>
                </a:lnTo>
                <a:cubicBezTo>
                  <a:pt x="32" y="0"/>
                  <a:pt x="0" y="32"/>
                  <a:pt x="0" y="79"/>
                </a:cubicBezTo>
                <a:lnTo>
                  <a:pt x="0" y="4135"/>
                </a:lnTo>
                <a:cubicBezTo>
                  <a:pt x="0" y="4183"/>
                  <a:pt x="32" y="4215"/>
                  <a:pt x="80" y="4215"/>
                </a:cubicBezTo>
                <a:close/>
                <a:moveTo>
                  <a:pt x="2227" y="318"/>
                </a:moveTo>
                <a:lnTo>
                  <a:pt x="3038" y="1129"/>
                </a:lnTo>
                <a:lnTo>
                  <a:pt x="2227" y="1129"/>
                </a:lnTo>
                <a:close/>
                <a:moveTo>
                  <a:pt x="159" y="159"/>
                </a:moveTo>
                <a:lnTo>
                  <a:pt x="2068" y="159"/>
                </a:lnTo>
                <a:lnTo>
                  <a:pt x="2068" y="1209"/>
                </a:lnTo>
                <a:cubicBezTo>
                  <a:pt x="2068" y="1257"/>
                  <a:pt x="2100" y="1288"/>
                  <a:pt x="2147" y="1288"/>
                </a:cubicBezTo>
                <a:lnTo>
                  <a:pt x="3165" y="1288"/>
                </a:lnTo>
                <a:lnTo>
                  <a:pt x="3165" y="4056"/>
                </a:lnTo>
                <a:lnTo>
                  <a:pt x="159" y="405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0" name="Freeform: Shape 12">
            <a:extLst>
              <a:ext uri="{FF2B5EF4-FFF2-40B4-BE49-F238E27FC236}">
                <a16:creationId xmlns:a16="http://schemas.microsoft.com/office/drawing/2014/main" id="{BF6510E6-154A-CF42-A574-E7CF5AE17EF2}"/>
              </a:ext>
            </a:extLst>
          </p:cNvPr>
          <p:cNvSpPr/>
          <p:nvPr/>
        </p:nvSpPr>
        <p:spPr>
          <a:xfrm>
            <a:off x="14252040" y="3234667"/>
            <a:ext cx="1202039" cy="1517039"/>
          </a:xfrm>
          <a:custGeom>
            <a:avLst/>
            <a:gdLst/>
            <a:ahLst/>
            <a:cxnLst>
              <a:cxn ang="3cd4">
                <a:pos x="hc" y="t"/>
              </a:cxn>
              <a:cxn ang="cd2">
                <a:pos x="l" y="vc"/>
              </a:cxn>
              <a:cxn ang="cd4">
                <a:pos x="hc" y="b"/>
              </a:cxn>
              <a:cxn ang="0">
                <a:pos x="r" y="vc"/>
              </a:cxn>
            </a:cxnLst>
            <a:rect l="l" t="t" r="r" b="b"/>
            <a:pathLst>
              <a:path w="3340" h="4215">
                <a:moveTo>
                  <a:pt x="2688" y="1543"/>
                </a:moveTo>
                <a:lnTo>
                  <a:pt x="731" y="1543"/>
                </a:lnTo>
                <a:cubicBezTo>
                  <a:pt x="700" y="1543"/>
                  <a:pt x="652" y="1575"/>
                  <a:pt x="652" y="1622"/>
                </a:cubicBezTo>
                <a:lnTo>
                  <a:pt x="652" y="3578"/>
                </a:lnTo>
                <a:cubicBezTo>
                  <a:pt x="652" y="3626"/>
                  <a:pt x="700" y="3658"/>
                  <a:pt x="731" y="3658"/>
                </a:cubicBezTo>
                <a:lnTo>
                  <a:pt x="2688" y="3658"/>
                </a:lnTo>
                <a:cubicBezTo>
                  <a:pt x="2735" y="3658"/>
                  <a:pt x="2767" y="3626"/>
                  <a:pt x="2767" y="3578"/>
                </a:cubicBezTo>
                <a:lnTo>
                  <a:pt x="2767" y="1622"/>
                </a:lnTo>
                <a:cubicBezTo>
                  <a:pt x="2767" y="1575"/>
                  <a:pt x="2735" y="1543"/>
                  <a:pt x="2688" y="1543"/>
                </a:cubicBezTo>
                <a:close/>
                <a:moveTo>
                  <a:pt x="2608" y="3499"/>
                </a:moveTo>
                <a:lnTo>
                  <a:pt x="810" y="3499"/>
                </a:lnTo>
                <a:lnTo>
                  <a:pt x="810" y="1702"/>
                </a:lnTo>
                <a:lnTo>
                  <a:pt x="2608" y="1702"/>
                </a:lnTo>
                <a:close/>
                <a:moveTo>
                  <a:pt x="1256" y="3133"/>
                </a:moveTo>
                <a:lnTo>
                  <a:pt x="1304" y="3133"/>
                </a:lnTo>
                <a:lnTo>
                  <a:pt x="1336" y="3133"/>
                </a:lnTo>
                <a:lnTo>
                  <a:pt x="2210" y="2688"/>
                </a:lnTo>
                <a:cubicBezTo>
                  <a:pt x="2226" y="2672"/>
                  <a:pt x="2242" y="2640"/>
                  <a:pt x="2242" y="2624"/>
                </a:cubicBezTo>
                <a:cubicBezTo>
                  <a:pt x="2242" y="2593"/>
                  <a:pt x="2226" y="2561"/>
                  <a:pt x="2210" y="2545"/>
                </a:cubicBezTo>
                <a:lnTo>
                  <a:pt x="1336" y="2099"/>
                </a:lnTo>
                <a:cubicBezTo>
                  <a:pt x="1304" y="2099"/>
                  <a:pt x="1272" y="2099"/>
                  <a:pt x="1256" y="2115"/>
                </a:cubicBezTo>
                <a:cubicBezTo>
                  <a:pt x="1240" y="2115"/>
                  <a:pt x="1224" y="2147"/>
                  <a:pt x="1224" y="2179"/>
                </a:cubicBezTo>
                <a:lnTo>
                  <a:pt x="1224" y="3054"/>
                </a:lnTo>
                <a:cubicBezTo>
                  <a:pt x="1224" y="3085"/>
                  <a:pt x="1240" y="3117"/>
                  <a:pt x="1256" y="3133"/>
                </a:cubicBezTo>
                <a:close/>
                <a:moveTo>
                  <a:pt x="1383" y="2306"/>
                </a:moveTo>
                <a:lnTo>
                  <a:pt x="1988" y="2624"/>
                </a:lnTo>
                <a:lnTo>
                  <a:pt x="1383" y="2926"/>
                </a:lnTo>
                <a:close/>
                <a:moveTo>
                  <a:pt x="79" y="4215"/>
                </a:moveTo>
                <a:lnTo>
                  <a:pt x="3260" y="4215"/>
                </a:lnTo>
                <a:cubicBezTo>
                  <a:pt x="3292" y="4215"/>
                  <a:pt x="3340" y="4183"/>
                  <a:pt x="3340" y="4135"/>
                </a:cubicBezTo>
                <a:lnTo>
                  <a:pt x="3340" y="1225"/>
                </a:lnTo>
                <a:cubicBezTo>
                  <a:pt x="3340" y="1209"/>
                  <a:pt x="3324" y="1177"/>
                  <a:pt x="3308" y="1177"/>
                </a:cubicBezTo>
                <a:lnTo>
                  <a:pt x="2147" y="32"/>
                </a:lnTo>
                <a:cubicBezTo>
                  <a:pt x="2131" y="16"/>
                  <a:pt x="2115" y="0"/>
                  <a:pt x="2099" y="0"/>
                </a:cubicBezTo>
                <a:lnTo>
                  <a:pt x="79" y="0"/>
                </a:lnTo>
                <a:cubicBezTo>
                  <a:pt x="31" y="0"/>
                  <a:pt x="0" y="32"/>
                  <a:pt x="0" y="79"/>
                </a:cubicBezTo>
                <a:lnTo>
                  <a:pt x="0" y="4135"/>
                </a:lnTo>
                <a:cubicBezTo>
                  <a:pt x="0" y="4183"/>
                  <a:pt x="31" y="4215"/>
                  <a:pt x="79" y="4215"/>
                </a:cubicBezTo>
                <a:close/>
                <a:moveTo>
                  <a:pt x="2226" y="318"/>
                </a:moveTo>
                <a:lnTo>
                  <a:pt x="3053" y="1129"/>
                </a:lnTo>
                <a:lnTo>
                  <a:pt x="2226" y="1129"/>
                </a:lnTo>
                <a:close/>
                <a:moveTo>
                  <a:pt x="159" y="159"/>
                </a:moveTo>
                <a:lnTo>
                  <a:pt x="2067" y="159"/>
                </a:lnTo>
                <a:lnTo>
                  <a:pt x="2067" y="1209"/>
                </a:lnTo>
                <a:cubicBezTo>
                  <a:pt x="2067" y="1257"/>
                  <a:pt x="2099" y="1288"/>
                  <a:pt x="2147" y="1288"/>
                </a:cubicBezTo>
                <a:lnTo>
                  <a:pt x="3149" y="1288"/>
                </a:lnTo>
                <a:lnTo>
                  <a:pt x="3181" y="2672"/>
                </a:lnTo>
                <a:lnTo>
                  <a:pt x="3181" y="4056"/>
                </a:lnTo>
                <a:lnTo>
                  <a:pt x="159" y="405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1" name="Freeform: Shape 13">
            <a:extLst>
              <a:ext uri="{FF2B5EF4-FFF2-40B4-BE49-F238E27FC236}">
                <a16:creationId xmlns:a16="http://schemas.microsoft.com/office/drawing/2014/main" id="{B194A7B7-FEB1-B84F-9324-32BBBC676418}"/>
              </a:ext>
            </a:extLst>
          </p:cNvPr>
          <p:cNvSpPr/>
          <p:nvPr/>
        </p:nvSpPr>
        <p:spPr>
          <a:xfrm>
            <a:off x="17694752" y="3234667"/>
            <a:ext cx="1201679" cy="1517039"/>
          </a:xfrm>
          <a:custGeom>
            <a:avLst/>
            <a:gdLst/>
            <a:ahLst/>
            <a:cxnLst>
              <a:cxn ang="3cd4">
                <a:pos x="hc" y="t"/>
              </a:cxn>
              <a:cxn ang="cd2">
                <a:pos x="l" y="vc"/>
              </a:cxn>
              <a:cxn ang="cd4">
                <a:pos x="hc" y="b"/>
              </a:cxn>
              <a:cxn ang="0">
                <a:pos x="r" y="vc"/>
              </a:cxn>
            </a:cxnLst>
            <a:rect l="l" t="t" r="r" b="b"/>
            <a:pathLst>
              <a:path w="3339" h="4215">
                <a:moveTo>
                  <a:pt x="3339" y="4135"/>
                </a:moveTo>
                <a:cubicBezTo>
                  <a:pt x="3339" y="1225"/>
                  <a:pt x="3339" y="1225"/>
                  <a:pt x="3339" y="1225"/>
                </a:cubicBezTo>
                <a:cubicBezTo>
                  <a:pt x="3339" y="1209"/>
                  <a:pt x="3324" y="1177"/>
                  <a:pt x="3308" y="1177"/>
                </a:cubicBezTo>
                <a:cubicBezTo>
                  <a:pt x="2147" y="32"/>
                  <a:pt x="2147" y="32"/>
                  <a:pt x="2147" y="32"/>
                </a:cubicBezTo>
                <a:cubicBezTo>
                  <a:pt x="2131" y="16"/>
                  <a:pt x="2115" y="0"/>
                  <a:pt x="2099" y="0"/>
                </a:cubicBezTo>
                <a:cubicBezTo>
                  <a:pt x="79" y="0"/>
                  <a:pt x="79" y="0"/>
                  <a:pt x="79" y="0"/>
                </a:cubicBezTo>
                <a:cubicBezTo>
                  <a:pt x="31" y="0"/>
                  <a:pt x="0" y="32"/>
                  <a:pt x="0" y="79"/>
                </a:cubicBezTo>
                <a:cubicBezTo>
                  <a:pt x="0" y="4135"/>
                  <a:pt x="0" y="4135"/>
                  <a:pt x="0" y="4135"/>
                </a:cubicBezTo>
                <a:cubicBezTo>
                  <a:pt x="0" y="4183"/>
                  <a:pt x="31" y="4215"/>
                  <a:pt x="79" y="4215"/>
                </a:cubicBezTo>
                <a:cubicBezTo>
                  <a:pt x="3260" y="4215"/>
                  <a:pt x="3260" y="4215"/>
                  <a:pt x="3260" y="4215"/>
                </a:cubicBezTo>
                <a:cubicBezTo>
                  <a:pt x="3292" y="4215"/>
                  <a:pt x="3339" y="4183"/>
                  <a:pt x="3339" y="4135"/>
                </a:cubicBezTo>
                <a:close/>
                <a:moveTo>
                  <a:pt x="2226" y="318"/>
                </a:moveTo>
                <a:cubicBezTo>
                  <a:pt x="3053" y="1129"/>
                  <a:pt x="3053" y="1129"/>
                  <a:pt x="3053" y="1129"/>
                </a:cubicBezTo>
                <a:cubicBezTo>
                  <a:pt x="2226" y="1129"/>
                  <a:pt x="2226" y="1129"/>
                  <a:pt x="2226" y="1129"/>
                </a:cubicBezTo>
                <a:close/>
                <a:moveTo>
                  <a:pt x="1240" y="843"/>
                </a:moveTo>
                <a:cubicBezTo>
                  <a:pt x="970" y="843"/>
                  <a:pt x="970" y="843"/>
                  <a:pt x="970" y="843"/>
                </a:cubicBezTo>
                <a:cubicBezTo>
                  <a:pt x="970" y="159"/>
                  <a:pt x="970" y="159"/>
                  <a:pt x="970" y="159"/>
                </a:cubicBezTo>
                <a:cubicBezTo>
                  <a:pt x="1240" y="159"/>
                  <a:pt x="1240" y="159"/>
                  <a:pt x="1240" y="159"/>
                </a:cubicBezTo>
                <a:close/>
                <a:moveTo>
                  <a:pt x="159" y="159"/>
                </a:moveTo>
                <a:cubicBezTo>
                  <a:pt x="827" y="159"/>
                  <a:pt x="827" y="159"/>
                  <a:pt x="827" y="159"/>
                </a:cubicBezTo>
                <a:cubicBezTo>
                  <a:pt x="827" y="922"/>
                  <a:pt x="827" y="922"/>
                  <a:pt x="827" y="922"/>
                </a:cubicBezTo>
                <a:cubicBezTo>
                  <a:pt x="827" y="970"/>
                  <a:pt x="858" y="1002"/>
                  <a:pt x="890" y="1002"/>
                </a:cubicBezTo>
                <a:cubicBezTo>
                  <a:pt x="1049" y="1002"/>
                  <a:pt x="1049" y="1002"/>
                  <a:pt x="1049" y="1002"/>
                </a:cubicBezTo>
                <a:cubicBezTo>
                  <a:pt x="1033" y="1018"/>
                  <a:pt x="1033" y="1034"/>
                  <a:pt x="1033" y="1066"/>
                </a:cubicBezTo>
                <a:cubicBezTo>
                  <a:pt x="1033" y="1082"/>
                  <a:pt x="1033" y="1113"/>
                  <a:pt x="1049" y="1129"/>
                </a:cubicBezTo>
                <a:cubicBezTo>
                  <a:pt x="970" y="1129"/>
                  <a:pt x="970" y="1129"/>
                  <a:pt x="970" y="1129"/>
                </a:cubicBezTo>
                <a:cubicBezTo>
                  <a:pt x="922" y="1129"/>
                  <a:pt x="890" y="1161"/>
                  <a:pt x="890" y="1209"/>
                </a:cubicBezTo>
                <a:cubicBezTo>
                  <a:pt x="890" y="1240"/>
                  <a:pt x="922" y="1288"/>
                  <a:pt x="970" y="1288"/>
                </a:cubicBezTo>
                <a:cubicBezTo>
                  <a:pt x="1049" y="1288"/>
                  <a:pt x="1049" y="1288"/>
                  <a:pt x="1049" y="1288"/>
                </a:cubicBezTo>
                <a:cubicBezTo>
                  <a:pt x="1033" y="1288"/>
                  <a:pt x="1033" y="1320"/>
                  <a:pt x="1033" y="1336"/>
                </a:cubicBezTo>
                <a:cubicBezTo>
                  <a:pt x="1033" y="1368"/>
                  <a:pt x="1033" y="1384"/>
                  <a:pt x="1049" y="1400"/>
                </a:cubicBezTo>
                <a:cubicBezTo>
                  <a:pt x="970" y="1400"/>
                  <a:pt x="970" y="1400"/>
                  <a:pt x="970" y="1400"/>
                </a:cubicBezTo>
                <a:cubicBezTo>
                  <a:pt x="922" y="1400"/>
                  <a:pt x="890" y="1431"/>
                  <a:pt x="890" y="1479"/>
                </a:cubicBezTo>
                <a:cubicBezTo>
                  <a:pt x="890" y="1527"/>
                  <a:pt x="922" y="1558"/>
                  <a:pt x="970" y="1558"/>
                </a:cubicBezTo>
                <a:cubicBezTo>
                  <a:pt x="1049" y="1558"/>
                  <a:pt x="1049" y="1558"/>
                  <a:pt x="1049" y="1558"/>
                </a:cubicBezTo>
                <a:cubicBezTo>
                  <a:pt x="1033" y="1575"/>
                  <a:pt x="1033" y="1590"/>
                  <a:pt x="1033" y="1622"/>
                </a:cubicBezTo>
                <a:cubicBezTo>
                  <a:pt x="1033" y="1638"/>
                  <a:pt x="1033" y="1670"/>
                  <a:pt x="1049" y="1686"/>
                </a:cubicBezTo>
                <a:cubicBezTo>
                  <a:pt x="970" y="1686"/>
                  <a:pt x="970" y="1686"/>
                  <a:pt x="970" y="1686"/>
                </a:cubicBezTo>
                <a:cubicBezTo>
                  <a:pt x="922" y="1686"/>
                  <a:pt x="890" y="1718"/>
                  <a:pt x="890" y="1766"/>
                </a:cubicBezTo>
                <a:cubicBezTo>
                  <a:pt x="890" y="1797"/>
                  <a:pt x="922" y="1845"/>
                  <a:pt x="970" y="1845"/>
                </a:cubicBezTo>
                <a:cubicBezTo>
                  <a:pt x="1049" y="1845"/>
                  <a:pt x="1049" y="1845"/>
                  <a:pt x="1049" y="1845"/>
                </a:cubicBezTo>
                <a:cubicBezTo>
                  <a:pt x="1033" y="1861"/>
                  <a:pt x="1033" y="1877"/>
                  <a:pt x="1033" y="1893"/>
                </a:cubicBezTo>
                <a:cubicBezTo>
                  <a:pt x="1033" y="1924"/>
                  <a:pt x="1033" y="1940"/>
                  <a:pt x="1049" y="1956"/>
                </a:cubicBezTo>
                <a:cubicBezTo>
                  <a:pt x="970" y="1956"/>
                  <a:pt x="970" y="1956"/>
                  <a:pt x="970" y="1956"/>
                </a:cubicBezTo>
                <a:cubicBezTo>
                  <a:pt x="922" y="1956"/>
                  <a:pt x="890" y="1988"/>
                  <a:pt x="890" y="2036"/>
                </a:cubicBezTo>
                <a:cubicBezTo>
                  <a:pt x="890" y="2084"/>
                  <a:pt x="922" y="2115"/>
                  <a:pt x="970" y="2115"/>
                </a:cubicBezTo>
                <a:cubicBezTo>
                  <a:pt x="1049" y="2115"/>
                  <a:pt x="1049" y="2115"/>
                  <a:pt x="1049" y="2115"/>
                </a:cubicBezTo>
                <a:cubicBezTo>
                  <a:pt x="1033" y="2131"/>
                  <a:pt x="1033" y="2147"/>
                  <a:pt x="1033" y="2179"/>
                </a:cubicBezTo>
                <a:cubicBezTo>
                  <a:pt x="1033" y="2211"/>
                  <a:pt x="1033" y="2227"/>
                  <a:pt x="1049" y="2242"/>
                </a:cubicBezTo>
                <a:cubicBezTo>
                  <a:pt x="970" y="2242"/>
                  <a:pt x="970" y="2242"/>
                  <a:pt x="970" y="2242"/>
                </a:cubicBezTo>
                <a:cubicBezTo>
                  <a:pt x="922" y="2242"/>
                  <a:pt x="890" y="2275"/>
                  <a:pt x="890" y="2322"/>
                </a:cubicBezTo>
                <a:cubicBezTo>
                  <a:pt x="890" y="2370"/>
                  <a:pt x="922" y="2402"/>
                  <a:pt x="970" y="2402"/>
                </a:cubicBezTo>
                <a:cubicBezTo>
                  <a:pt x="1049" y="2402"/>
                  <a:pt x="1049" y="2402"/>
                  <a:pt x="1049" y="2402"/>
                </a:cubicBezTo>
                <a:cubicBezTo>
                  <a:pt x="1033" y="2418"/>
                  <a:pt x="1033" y="2433"/>
                  <a:pt x="1033" y="2465"/>
                </a:cubicBezTo>
                <a:cubicBezTo>
                  <a:pt x="1033" y="2481"/>
                  <a:pt x="1033" y="2497"/>
                  <a:pt x="1049" y="2513"/>
                </a:cubicBezTo>
                <a:cubicBezTo>
                  <a:pt x="970" y="2513"/>
                  <a:pt x="970" y="2513"/>
                  <a:pt x="970" y="2513"/>
                </a:cubicBezTo>
                <a:cubicBezTo>
                  <a:pt x="922" y="2513"/>
                  <a:pt x="890" y="2561"/>
                  <a:pt x="890" y="2593"/>
                </a:cubicBezTo>
                <a:cubicBezTo>
                  <a:pt x="890" y="2640"/>
                  <a:pt x="922" y="2672"/>
                  <a:pt x="970" y="2672"/>
                </a:cubicBezTo>
                <a:cubicBezTo>
                  <a:pt x="1049" y="2672"/>
                  <a:pt x="1049" y="2672"/>
                  <a:pt x="1049" y="2672"/>
                </a:cubicBezTo>
                <a:cubicBezTo>
                  <a:pt x="1033" y="2688"/>
                  <a:pt x="1033" y="2720"/>
                  <a:pt x="1033" y="2736"/>
                </a:cubicBezTo>
                <a:cubicBezTo>
                  <a:pt x="1033" y="2767"/>
                  <a:pt x="1033" y="2783"/>
                  <a:pt x="1049" y="2799"/>
                </a:cubicBezTo>
                <a:cubicBezTo>
                  <a:pt x="970" y="2799"/>
                  <a:pt x="970" y="2799"/>
                  <a:pt x="970" y="2799"/>
                </a:cubicBezTo>
                <a:cubicBezTo>
                  <a:pt x="922" y="2799"/>
                  <a:pt x="890" y="2831"/>
                  <a:pt x="890" y="2879"/>
                </a:cubicBezTo>
                <a:cubicBezTo>
                  <a:pt x="890" y="2926"/>
                  <a:pt x="922" y="2958"/>
                  <a:pt x="970" y="2958"/>
                </a:cubicBezTo>
                <a:cubicBezTo>
                  <a:pt x="1049" y="2958"/>
                  <a:pt x="1049" y="2958"/>
                  <a:pt x="1049" y="2958"/>
                </a:cubicBezTo>
                <a:cubicBezTo>
                  <a:pt x="1033" y="2974"/>
                  <a:pt x="1033" y="2990"/>
                  <a:pt x="1033" y="3022"/>
                </a:cubicBezTo>
                <a:cubicBezTo>
                  <a:pt x="1033" y="3038"/>
                  <a:pt x="1033" y="3070"/>
                  <a:pt x="1049" y="3085"/>
                </a:cubicBezTo>
                <a:cubicBezTo>
                  <a:pt x="970" y="3085"/>
                  <a:pt x="970" y="3085"/>
                  <a:pt x="970" y="3085"/>
                </a:cubicBezTo>
                <a:cubicBezTo>
                  <a:pt x="922" y="3085"/>
                  <a:pt x="890" y="3117"/>
                  <a:pt x="890" y="3165"/>
                </a:cubicBezTo>
                <a:cubicBezTo>
                  <a:pt x="890" y="3197"/>
                  <a:pt x="922" y="3245"/>
                  <a:pt x="970" y="3245"/>
                </a:cubicBezTo>
                <a:cubicBezTo>
                  <a:pt x="1049" y="3245"/>
                  <a:pt x="1049" y="3245"/>
                  <a:pt x="1049" y="3245"/>
                </a:cubicBezTo>
                <a:cubicBezTo>
                  <a:pt x="1033" y="3245"/>
                  <a:pt x="1033" y="3276"/>
                  <a:pt x="1033" y="3292"/>
                </a:cubicBezTo>
                <a:cubicBezTo>
                  <a:pt x="1033" y="3324"/>
                  <a:pt x="1033" y="3340"/>
                  <a:pt x="1049" y="3356"/>
                </a:cubicBezTo>
                <a:cubicBezTo>
                  <a:pt x="970" y="3356"/>
                  <a:pt x="970" y="3356"/>
                  <a:pt x="970" y="3356"/>
                </a:cubicBezTo>
                <a:cubicBezTo>
                  <a:pt x="922" y="3356"/>
                  <a:pt x="890" y="3388"/>
                  <a:pt x="890" y="3435"/>
                </a:cubicBezTo>
                <a:cubicBezTo>
                  <a:pt x="890" y="3483"/>
                  <a:pt x="922" y="3515"/>
                  <a:pt x="970" y="3515"/>
                </a:cubicBezTo>
                <a:cubicBezTo>
                  <a:pt x="1049" y="3515"/>
                  <a:pt x="1049" y="3515"/>
                  <a:pt x="1049" y="3515"/>
                </a:cubicBezTo>
                <a:cubicBezTo>
                  <a:pt x="1033" y="3531"/>
                  <a:pt x="1033" y="3547"/>
                  <a:pt x="1033" y="3578"/>
                </a:cubicBezTo>
                <a:cubicBezTo>
                  <a:pt x="1033" y="3594"/>
                  <a:pt x="1033" y="3626"/>
                  <a:pt x="1049" y="3642"/>
                </a:cubicBezTo>
                <a:cubicBezTo>
                  <a:pt x="970" y="3642"/>
                  <a:pt x="970" y="3642"/>
                  <a:pt x="970" y="3642"/>
                </a:cubicBezTo>
                <a:cubicBezTo>
                  <a:pt x="922" y="3642"/>
                  <a:pt x="890" y="3674"/>
                  <a:pt x="890" y="3721"/>
                </a:cubicBezTo>
                <a:cubicBezTo>
                  <a:pt x="890" y="3754"/>
                  <a:pt x="922" y="3801"/>
                  <a:pt x="970" y="3801"/>
                </a:cubicBezTo>
                <a:cubicBezTo>
                  <a:pt x="1049" y="3801"/>
                  <a:pt x="1049" y="3801"/>
                  <a:pt x="1049" y="3801"/>
                </a:cubicBezTo>
                <a:cubicBezTo>
                  <a:pt x="1033" y="3817"/>
                  <a:pt x="1033" y="3833"/>
                  <a:pt x="1033" y="3849"/>
                </a:cubicBezTo>
                <a:cubicBezTo>
                  <a:pt x="1033" y="3881"/>
                  <a:pt x="1033" y="3897"/>
                  <a:pt x="1049" y="3912"/>
                </a:cubicBezTo>
                <a:cubicBezTo>
                  <a:pt x="970" y="3912"/>
                  <a:pt x="970" y="3912"/>
                  <a:pt x="970" y="3912"/>
                </a:cubicBezTo>
                <a:cubicBezTo>
                  <a:pt x="922" y="3912"/>
                  <a:pt x="890" y="3944"/>
                  <a:pt x="890" y="3992"/>
                </a:cubicBezTo>
                <a:cubicBezTo>
                  <a:pt x="890" y="4024"/>
                  <a:pt x="906" y="4040"/>
                  <a:pt x="922" y="4056"/>
                </a:cubicBezTo>
                <a:cubicBezTo>
                  <a:pt x="159" y="4056"/>
                  <a:pt x="159" y="4056"/>
                  <a:pt x="159" y="4056"/>
                </a:cubicBezTo>
                <a:close/>
                <a:moveTo>
                  <a:pt x="1161" y="4056"/>
                </a:moveTo>
                <a:cubicBezTo>
                  <a:pt x="1176" y="4040"/>
                  <a:pt x="1192" y="4024"/>
                  <a:pt x="1192" y="3992"/>
                </a:cubicBezTo>
                <a:cubicBezTo>
                  <a:pt x="1192" y="3976"/>
                  <a:pt x="1176" y="3944"/>
                  <a:pt x="1161" y="3929"/>
                </a:cubicBezTo>
                <a:cubicBezTo>
                  <a:pt x="1240" y="3929"/>
                  <a:pt x="1240" y="3929"/>
                  <a:pt x="1240" y="3929"/>
                </a:cubicBezTo>
                <a:cubicBezTo>
                  <a:pt x="1288" y="3929"/>
                  <a:pt x="1320" y="3897"/>
                  <a:pt x="1320" y="3849"/>
                </a:cubicBezTo>
                <a:cubicBezTo>
                  <a:pt x="1320" y="3817"/>
                  <a:pt x="1288" y="3769"/>
                  <a:pt x="1240" y="3769"/>
                </a:cubicBezTo>
                <a:cubicBezTo>
                  <a:pt x="1161" y="3769"/>
                  <a:pt x="1161" y="3769"/>
                  <a:pt x="1161" y="3769"/>
                </a:cubicBezTo>
                <a:cubicBezTo>
                  <a:pt x="1176" y="3769"/>
                  <a:pt x="1192" y="3738"/>
                  <a:pt x="1192" y="3721"/>
                </a:cubicBezTo>
                <a:cubicBezTo>
                  <a:pt x="1192" y="3690"/>
                  <a:pt x="1176" y="3674"/>
                  <a:pt x="1161" y="3658"/>
                </a:cubicBezTo>
                <a:cubicBezTo>
                  <a:pt x="1240" y="3658"/>
                  <a:pt x="1240" y="3658"/>
                  <a:pt x="1240" y="3658"/>
                </a:cubicBezTo>
                <a:cubicBezTo>
                  <a:pt x="1288" y="3658"/>
                  <a:pt x="1320" y="3626"/>
                  <a:pt x="1320" y="3578"/>
                </a:cubicBezTo>
                <a:cubicBezTo>
                  <a:pt x="1320" y="3531"/>
                  <a:pt x="1288" y="3499"/>
                  <a:pt x="1240" y="3499"/>
                </a:cubicBezTo>
                <a:cubicBezTo>
                  <a:pt x="1161" y="3499"/>
                  <a:pt x="1161" y="3499"/>
                  <a:pt x="1161" y="3499"/>
                </a:cubicBezTo>
                <a:cubicBezTo>
                  <a:pt x="1176" y="3483"/>
                  <a:pt x="1192" y="3467"/>
                  <a:pt x="1192" y="3435"/>
                </a:cubicBezTo>
                <a:cubicBezTo>
                  <a:pt x="1192" y="3420"/>
                  <a:pt x="1176" y="3388"/>
                  <a:pt x="1161" y="3372"/>
                </a:cubicBezTo>
                <a:cubicBezTo>
                  <a:pt x="1240" y="3372"/>
                  <a:pt x="1240" y="3372"/>
                  <a:pt x="1240" y="3372"/>
                </a:cubicBezTo>
                <a:cubicBezTo>
                  <a:pt x="1288" y="3372"/>
                  <a:pt x="1320" y="3340"/>
                  <a:pt x="1320" y="3292"/>
                </a:cubicBezTo>
                <a:cubicBezTo>
                  <a:pt x="1320" y="3260"/>
                  <a:pt x="1288" y="3213"/>
                  <a:pt x="1240" y="3213"/>
                </a:cubicBezTo>
                <a:cubicBezTo>
                  <a:pt x="1161" y="3213"/>
                  <a:pt x="1161" y="3213"/>
                  <a:pt x="1161" y="3213"/>
                </a:cubicBezTo>
                <a:cubicBezTo>
                  <a:pt x="1176" y="3197"/>
                  <a:pt x="1192" y="3181"/>
                  <a:pt x="1192" y="3165"/>
                </a:cubicBezTo>
                <a:cubicBezTo>
                  <a:pt x="1192" y="3133"/>
                  <a:pt x="1176" y="3117"/>
                  <a:pt x="1161" y="3102"/>
                </a:cubicBezTo>
                <a:cubicBezTo>
                  <a:pt x="1240" y="3102"/>
                  <a:pt x="1240" y="3102"/>
                  <a:pt x="1240" y="3102"/>
                </a:cubicBezTo>
                <a:cubicBezTo>
                  <a:pt x="1288" y="3102"/>
                  <a:pt x="1320" y="3054"/>
                  <a:pt x="1320" y="3022"/>
                </a:cubicBezTo>
                <a:cubicBezTo>
                  <a:pt x="1320" y="2974"/>
                  <a:pt x="1288" y="2942"/>
                  <a:pt x="1240" y="2942"/>
                </a:cubicBezTo>
                <a:cubicBezTo>
                  <a:pt x="1161" y="2942"/>
                  <a:pt x="1161" y="2942"/>
                  <a:pt x="1161" y="2942"/>
                </a:cubicBezTo>
                <a:cubicBezTo>
                  <a:pt x="1176" y="2926"/>
                  <a:pt x="1192" y="2894"/>
                  <a:pt x="1192" y="2879"/>
                </a:cubicBezTo>
                <a:cubicBezTo>
                  <a:pt x="1192" y="2847"/>
                  <a:pt x="1176" y="2831"/>
                  <a:pt x="1161" y="2815"/>
                </a:cubicBezTo>
                <a:cubicBezTo>
                  <a:pt x="1240" y="2815"/>
                  <a:pt x="1240" y="2815"/>
                  <a:pt x="1240" y="2815"/>
                </a:cubicBezTo>
                <a:cubicBezTo>
                  <a:pt x="1288" y="2815"/>
                  <a:pt x="1320" y="2783"/>
                  <a:pt x="1320" y="2736"/>
                </a:cubicBezTo>
                <a:cubicBezTo>
                  <a:pt x="1320" y="2688"/>
                  <a:pt x="1288" y="2656"/>
                  <a:pt x="1240" y="2656"/>
                </a:cubicBezTo>
                <a:cubicBezTo>
                  <a:pt x="1161" y="2656"/>
                  <a:pt x="1161" y="2656"/>
                  <a:pt x="1161" y="2656"/>
                </a:cubicBezTo>
                <a:cubicBezTo>
                  <a:pt x="1176" y="2640"/>
                  <a:pt x="1192" y="2624"/>
                  <a:pt x="1192" y="2593"/>
                </a:cubicBezTo>
                <a:cubicBezTo>
                  <a:pt x="1192" y="2576"/>
                  <a:pt x="1176" y="2561"/>
                  <a:pt x="1161" y="2545"/>
                </a:cubicBezTo>
                <a:cubicBezTo>
                  <a:pt x="1240" y="2545"/>
                  <a:pt x="1240" y="2545"/>
                  <a:pt x="1240" y="2545"/>
                </a:cubicBezTo>
                <a:cubicBezTo>
                  <a:pt x="1288" y="2545"/>
                  <a:pt x="1320" y="2497"/>
                  <a:pt x="1320" y="2465"/>
                </a:cubicBezTo>
                <a:cubicBezTo>
                  <a:pt x="1320" y="2418"/>
                  <a:pt x="1288" y="2385"/>
                  <a:pt x="1240" y="2385"/>
                </a:cubicBezTo>
                <a:cubicBezTo>
                  <a:pt x="1161" y="2385"/>
                  <a:pt x="1161" y="2385"/>
                  <a:pt x="1161" y="2385"/>
                </a:cubicBezTo>
                <a:cubicBezTo>
                  <a:pt x="1176" y="2370"/>
                  <a:pt x="1192" y="2338"/>
                  <a:pt x="1192" y="2322"/>
                </a:cubicBezTo>
                <a:cubicBezTo>
                  <a:pt x="1192" y="2290"/>
                  <a:pt x="1176" y="2275"/>
                  <a:pt x="1161" y="2258"/>
                </a:cubicBezTo>
                <a:cubicBezTo>
                  <a:pt x="1240" y="2258"/>
                  <a:pt x="1240" y="2258"/>
                  <a:pt x="1240" y="2258"/>
                </a:cubicBezTo>
                <a:cubicBezTo>
                  <a:pt x="1288" y="2258"/>
                  <a:pt x="1320" y="2227"/>
                  <a:pt x="1320" y="2179"/>
                </a:cubicBezTo>
                <a:cubicBezTo>
                  <a:pt x="1320" y="2131"/>
                  <a:pt x="1288" y="2099"/>
                  <a:pt x="1240" y="2099"/>
                </a:cubicBezTo>
                <a:cubicBezTo>
                  <a:pt x="1161" y="2099"/>
                  <a:pt x="1161" y="2099"/>
                  <a:pt x="1161" y="2099"/>
                </a:cubicBezTo>
                <a:cubicBezTo>
                  <a:pt x="1176" y="2084"/>
                  <a:pt x="1192" y="2067"/>
                  <a:pt x="1192" y="2036"/>
                </a:cubicBezTo>
                <a:cubicBezTo>
                  <a:pt x="1192" y="2020"/>
                  <a:pt x="1176" y="1988"/>
                  <a:pt x="1161" y="1972"/>
                </a:cubicBezTo>
                <a:cubicBezTo>
                  <a:pt x="1240" y="1972"/>
                  <a:pt x="1240" y="1972"/>
                  <a:pt x="1240" y="1972"/>
                </a:cubicBezTo>
                <a:cubicBezTo>
                  <a:pt x="1288" y="1972"/>
                  <a:pt x="1320" y="1940"/>
                  <a:pt x="1320" y="1893"/>
                </a:cubicBezTo>
                <a:cubicBezTo>
                  <a:pt x="1320" y="1861"/>
                  <a:pt x="1288" y="1813"/>
                  <a:pt x="1240" y="1813"/>
                </a:cubicBezTo>
                <a:cubicBezTo>
                  <a:pt x="1161" y="1813"/>
                  <a:pt x="1161" y="1813"/>
                  <a:pt x="1161" y="1813"/>
                </a:cubicBezTo>
                <a:cubicBezTo>
                  <a:pt x="1176" y="1813"/>
                  <a:pt x="1192" y="1781"/>
                  <a:pt x="1192" y="1766"/>
                </a:cubicBezTo>
                <a:cubicBezTo>
                  <a:pt x="1192" y="1734"/>
                  <a:pt x="1176" y="1718"/>
                  <a:pt x="1161" y="1702"/>
                </a:cubicBezTo>
                <a:cubicBezTo>
                  <a:pt x="1240" y="1702"/>
                  <a:pt x="1240" y="1702"/>
                  <a:pt x="1240" y="1702"/>
                </a:cubicBezTo>
                <a:cubicBezTo>
                  <a:pt x="1288" y="1702"/>
                  <a:pt x="1320" y="1670"/>
                  <a:pt x="1320" y="1622"/>
                </a:cubicBezTo>
                <a:cubicBezTo>
                  <a:pt x="1320" y="1575"/>
                  <a:pt x="1288" y="1543"/>
                  <a:pt x="1240" y="1543"/>
                </a:cubicBezTo>
                <a:cubicBezTo>
                  <a:pt x="1161" y="1543"/>
                  <a:pt x="1161" y="1543"/>
                  <a:pt x="1161" y="1543"/>
                </a:cubicBezTo>
                <a:cubicBezTo>
                  <a:pt x="1176" y="1527"/>
                  <a:pt x="1192" y="1511"/>
                  <a:pt x="1192" y="1479"/>
                </a:cubicBezTo>
                <a:cubicBezTo>
                  <a:pt x="1192" y="1463"/>
                  <a:pt x="1176" y="1431"/>
                  <a:pt x="1161" y="1415"/>
                </a:cubicBezTo>
                <a:cubicBezTo>
                  <a:pt x="1240" y="1415"/>
                  <a:pt x="1240" y="1415"/>
                  <a:pt x="1240" y="1415"/>
                </a:cubicBezTo>
                <a:cubicBezTo>
                  <a:pt x="1288" y="1415"/>
                  <a:pt x="1320" y="1384"/>
                  <a:pt x="1320" y="1336"/>
                </a:cubicBezTo>
                <a:cubicBezTo>
                  <a:pt x="1320" y="1304"/>
                  <a:pt x="1288" y="1257"/>
                  <a:pt x="1240" y="1257"/>
                </a:cubicBezTo>
                <a:cubicBezTo>
                  <a:pt x="1161" y="1257"/>
                  <a:pt x="1161" y="1257"/>
                  <a:pt x="1161" y="1257"/>
                </a:cubicBezTo>
                <a:cubicBezTo>
                  <a:pt x="1176" y="1240"/>
                  <a:pt x="1192" y="1225"/>
                  <a:pt x="1192" y="1209"/>
                </a:cubicBezTo>
                <a:cubicBezTo>
                  <a:pt x="1192" y="1177"/>
                  <a:pt x="1176" y="1161"/>
                  <a:pt x="1161" y="1145"/>
                </a:cubicBezTo>
                <a:cubicBezTo>
                  <a:pt x="1240" y="1145"/>
                  <a:pt x="1240" y="1145"/>
                  <a:pt x="1240" y="1145"/>
                </a:cubicBezTo>
                <a:cubicBezTo>
                  <a:pt x="1288" y="1145"/>
                  <a:pt x="1320" y="1097"/>
                  <a:pt x="1320" y="1066"/>
                </a:cubicBezTo>
                <a:cubicBezTo>
                  <a:pt x="1320" y="1034"/>
                  <a:pt x="1320" y="1018"/>
                  <a:pt x="1304" y="1002"/>
                </a:cubicBezTo>
                <a:cubicBezTo>
                  <a:pt x="1320" y="1002"/>
                  <a:pt x="1320" y="1002"/>
                  <a:pt x="1320" y="1002"/>
                </a:cubicBezTo>
                <a:cubicBezTo>
                  <a:pt x="1367" y="1002"/>
                  <a:pt x="1399" y="970"/>
                  <a:pt x="1399" y="922"/>
                </a:cubicBezTo>
                <a:cubicBezTo>
                  <a:pt x="1399" y="159"/>
                  <a:pt x="1399" y="159"/>
                  <a:pt x="1399" y="159"/>
                </a:cubicBezTo>
                <a:cubicBezTo>
                  <a:pt x="2067" y="159"/>
                  <a:pt x="2067" y="159"/>
                  <a:pt x="2067" y="159"/>
                </a:cubicBezTo>
                <a:cubicBezTo>
                  <a:pt x="2067" y="1209"/>
                  <a:pt x="2067" y="1209"/>
                  <a:pt x="2067" y="1209"/>
                </a:cubicBezTo>
                <a:cubicBezTo>
                  <a:pt x="2067" y="1257"/>
                  <a:pt x="2099" y="1288"/>
                  <a:pt x="2147" y="1288"/>
                </a:cubicBezTo>
                <a:cubicBezTo>
                  <a:pt x="3181" y="1288"/>
                  <a:pt x="3181" y="1288"/>
                  <a:pt x="3181" y="1288"/>
                </a:cubicBezTo>
                <a:cubicBezTo>
                  <a:pt x="3181" y="4056"/>
                  <a:pt x="3181" y="4056"/>
                  <a:pt x="3181" y="405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2" name="Freeform: Shape 14">
            <a:extLst>
              <a:ext uri="{FF2B5EF4-FFF2-40B4-BE49-F238E27FC236}">
                <a16:creationId xmlns:a16="http://schemas.microsoft.com/office/drawing/2014/main" id="{C84C787A-BF61-C14A-B8BB-8338C650BEE8}"/>
              </a:ext>
            </a:extLst>
          </p:cNvPr>
          <p:cNvSpPr/>
          <p:nvPr/>
        </p:nvSpPr>
        <p:spPr>
          <a:xfrm>
            <a:off x="21486115" y="3162162"/>
            <a:ext cx="1368000" cy="1517039"/>
          </a:xfrm>
          <a:custGeom>
            <a:avLst/>
            <a:gdLst/>
            <a:ahLst/>
            <a:cxnLst>
              <a:cxn ang="3cd4">
                <a:pos x="hc" y="t"/>
              </a:cxn>
              <a:cxn ang="cd2">
                <a:pos x="l" y="vc"/>
              </a:cxn>
              <a:cxn ang="cd4">
                <a:pos x="hc" y="b"/>
              </a:cxn>
              <a:cxn ang="0">
                <a:pos x="r" y="vc"/>
              </a:cxn>
            </a:cxnLst>
            <a:rect l="l" t="t" r="r" b="b"/>
            <a:pathLst>
              <a:path w="3801" h="4215">
                <a:moveTo>
                  <a:pt x="2497" y="3674"/>
                </a:moveTo>
                <a:cubicBezTo>
                  <a:pt x="2354" y="3674"/>
                  <a:pt x="2242" y="3785"/>
                  <a:pt x="2242" y="3929"/>
                </a:cubicBezTo>
                <a:cubicBezTo>
                  <a:pt x="2242" y="4072"/>
                  <a:pt x="2354" y="4183"/>
                  <a:pt x="2497" y="4183"/>
                </a:cubicBezTo>
                <a:cubicBezTo>
                  <a:pt x="2608" y="4183"/>
                  <a:pt x="2704" y="4103"/>
                  <a:pt x="2736" y="4008"/>
                </a:cubicBezTo>
                <a:lnTo>
                  <a:pt x="3277" y="4008"/>
                </a:lnTo>
                <a:lnTo>
                  <a:pt x="3308" y="4008"/>
                </a:lnTo>
                <a:cubicBezTo>
                  <a:pt x="3340" y="4103"/>
                  <a:pt x="3435" y="4183"/>
                  <a:pt x="3547" y="4183"/>
                </a:cubicBezTo>
                <a:cubicBezTo>
                  <a:pt x="3690" y="4183"/>
                  <a:pt x="3801" y="4072"/>
                  <a:pt x="3801" y="3929"/>
                </a:cubicBezTo>
                <a:cubicBezTo>
                  <a:pt x="3801" y="3785"/>
                  <a:pt x="3690" y="3674"/>
                  <a:pt x="3547" y="3674"/>
                </a:cubicBezTo>
                <a:lnTo>
                  <a:pt x="3483" y="3674"/>
                </a:lnTo>
                <a:lnTo>
                  <a:pt x="3213" y="3229"/>
                </a:lnTo>
                <a:cubicBezTo>
                  <a:pt x="3245" y="3181"/>
                  <a:pt x="3277" y="3117"/>
                  <a:pt x="3277" y="3054"/>
                </a:cubicBezTo>
                <a:cubicBezTo>
                  <a:pt x="3277" y="2911"/>
                  <a:pt x="3165" y="2799"/>
                  <a:pt x="3022" y="2799"/>
                </a:cubicBezTo>
                <a:cubicBezTo>
                  <a:pt x="2879" y="2799"/>
                  <a:pt x="2768" y="2911"/>
                  <a:pt x="2768" y="3054"/>
                </a:cubicBezTo>
                <a:cubicBezTo>
                  <a:pt x="2768" y="3102"/>
                  <a:pt x="2783" y="3165"/>
                  <a:pt x="2815" y="3197"/>
                </a:cubicBezTo>
                <a:lnTo>
                  <a:pt x="2513" y="3674"/>
                </a:lnTo>
                <a:close/>
                <a:moveTo>
                  <a:pt x="2497" y="4024"/>
                </a:moveTo>
                <a:cubicBezTo>
                  <a:pt x="2450" y="4024"/>
                  <a:pt x="2402" y="3976"/>
                  <a:pt x="2402" y="3929"/>
                </a:cubicBezTo>
                <a:cubicBezTo>
                  <a:pt x="2402" y="3881"/>
                  <a:pt x="2450" y="3833"/>
                  <a:pt x="2497" y="3833"/>
                </a:cubicBezTo>
                <a:cubicBezTo>
                  <a:pt x="2545" y="3833"/>
                  <a:pt x="2593" y="3881"/>
                  <a:pt x="2593" y="3929"/>
                </a:cubicBezTo>
                <a:cubicBezTo>
                  <a:pt x="2593" y="3976"/>
                  <a:pt x="2545" y="4024"/>
                  <a:pt x="2497" y="4024"/>
                </a:cubicBezTo>
                <a:close/>
                <a:moveTo>
                  <a:pt x="3642" y="3929"/>
                </a:moveTo>
                <a:cubicBezTo>
                  <a:pt x="3642" y="3976"/>
                  <a:pt x="3595" y="4024"/>
                  <a:pt x="3547" y="4024"/>
                </a:cubicBezTo>
                <a:cubicBezTo>
                  <a:pt x="3483" y="4024"/>
                  <a:pt x="3451" y="3976"/>
                  <a:pt x="3451" y="3929"/>
                </a:cubicBezTo>
                <a:cubicBezTo>
                  <a:pt x="3451" y="3881"/>
                  <a:pt x="3483" y="3833"/>
                  <a:pt x="3547" y="3833"/>
                </a:cubicBezTo>
                <a:cubicBezTo>
                  <a:pt x="3595" y="3833"/>
                  <a:pt x="3642" y="3881"/>
                  <a:pt x="3642" y="3929"/>
                </a:cubicBezTo>
                <a:close/>
                <a:moveTo>
                  <a:pt x="3022" y="2958"/>
                </a:moveTo>
                <a:cubicBezTo>
                  <a:pt x="3069" y="2958"/>
                  <a:pt x="3117" y="3006"/>
                  <a:pt x="3117" y="3054"/>
                </a:cubicBezTo>
                <a:cubicBezTo>
                  <a:pt x="3117" y="3085"/>
                  <a:pt x="3101" y="3117"/>
                  <a:pt x="3086" y="3133"/>
                </a:cubicBezTo>
                <a:lnTo>
                  <a:pt x="3069" y="3133"/>
                </a:lnTo>
                <a:cubicBezTo>
                  <a:pt x="3054" y="3133"/>
                  <a:pt x="3054" y="3133"/>
                  <a:pt x="3054" y="3149"/>
                </a:cubicBezTo>
                <a:lnTo>
                  <a:pt x="3022" y="3149"/>
                </a:lnTo>
                <a:cubicBezTo>
                  <a:pt x="2974" y="3149"/>
                  <a:pt x="2926" y="3102"/>
                  <a:pt x="2926" y="3054"/>
                </a:cubicBezTo>
                <a:cubicBezTo>
                  <a:pt x="2926" y="3006"/>
                  <a:pt x="2974" y="2958"/>
                  <a:pt x="3022" y="2958"/>
                </a:cubicBezTo>
                <a:close/>
                <a:moveTo>
                  <a:pt x="2942" y="3292"/>
                </a:moveTo>
                <a:cubicBezTo>
                  <a:pt x="2974" y="3308"/>
                  <a:pt x="2990" y="3308"/>
                  <a:pt x="3022" y="3308"/>
                </a:cubicBezTo>
                <a:lnTo>
                  <a:pt x="3069" y="3308"/>
                </a:lnTo>
                <a:lnTo>
                  <a:pt x="3356" y="3769"/>
                </a:lnTo>
                <a:cubicBezTo>
                  <a:pt x="3324" y="3785"/>
                  <a:pt x="3308" y="3817"/>
                  <a:pt x="3308" y="3849"/>
                </a:cubicBezTo>
                <a:lnTo>
                  <a:pt x="3277" y="3849"/>
                </a:lnTo>
                <a:lnTo>
                  <a:pt x="2736" y="3849"/>
                </a:lnTo>
                <a:cubicBezTo>
                  <a:pt x="2720" y="3801"/>
                  <a:pt x="2704" y="3769"/>
                  <a:pt x="2656" y="3738"/>
                </a:cubicBezTo>
                <a:close/>
                <a:moveTo>
                  <a:pt x="0" y="79"/>
                </a:moveTo>
                <a:lnTo>
                  <a:pt x="0" y="4135"/>
                </a:lnTo>
                <a:cubicBezTo>
                  <a:pt x="0" y="4183"/>
                  <a:pt x="32" y="4215"/>
                  <a:pt x="79" y="4215"/>
                </a:cubicBezTo>
                <a:lnTo>
                  <a:pt x="1924" y="4215"/>
                </a:lnTo>
                <a:cubicBezTo>
                  <a:pt x="1972" y="4215"/>
                  <a:pt x="2004" y="4183"/>
                  <a:pt x="2004" y="4135"/>
                </a:cubicBezTo>
                <a:cubicBezTo>
                  <a:pt x="2004" y="4087"/>
                  <a:pt x="1972" y="4056"/>
                  <a:pt x="1924" y="4056"/>
                </a:cubicBezTo>
                <a:lnTo>
                  <a:pt x="159" y="4056"/>
                </a:lnTo>
                <a:lnTo>
                  <a:pt x="159" y="159"/>
                </a:lnTo>
                <a:lnTo>
                  <a:pt x="2052" y="159"/>
                </a:lnTo>
                <a:lnTo>
                  <a:pt x="2052" y="1209"/>
                </a:lnTo>
                <a:cubicBezTo>
                  <a:pt x="2052" y="1257"/>
                  <a:pt x="2099" y="1288"/>
                  <a:pt x="2131" y="1288"/>
                </a:cubicBezTo>
                <a:lnTo>
                  <a:pt x="3165" y="1288"/>
                </a:lnTo>
                <a:lnTo>
                  <a:pt x="3165" y="2672"/>
                </a:lnTo>
                <a:cubicBezTo>
                  <a:pt x="3165" y="2720"/>
                  <a:pt x="3197" y="2751"/>
                  <a:pt x="3245" y="2751"/>
                </a:cubicBezTo>
                <a:cubicBezTo>
                  <a:pt x="3292" y="2751"/>
                  <a:pt x="3324" y="2720"/>
                  <a:pt x="3324" y="2672"/>
                </a:cubicBezTo>
                <a:lnTo>
                  <a:pt x="3324" y="1225"/>
                </a:lnTo>
                <a:cubicBezTo>
                  <a:pt x="3324" y="1209"/>
                  <a:pt x="3324" y="1177"/>
                  <a:pt x="3308" y="1177"/>
                </a:cubicBezTo>
                <a:lnTo>
                  <a:pt x="2147" y="32"/>
                </a:lnTo>
                <a:cubicBezTo>
                  <a:pt x="2131" y="16"/>
                  <a:pt x="2115" y="0"/>
                  <a:pt x="2084" y="0"/>
                </a:cubicBezTo>
                <a:lnTo>
                  <a:pt x="79" y="0"/>
                </a:lnTo>
                <a:cubicBezTo>
                  <a:pt x="32" y="0"/>
                  <a:pt x="0" y="32"/>
                  <a:pt x="0" y="79"/>
                </a:cubicBezTo>
                <a:close/>
                <a:moveTo>
                  <a:pt x="2211" y="318"/>
                </a:moveTo>
                <a:lnTo>
                  <a:pt x="3038" y="1129"/>
                </a:lnTo>
                <a:lnTo>
                  <a:pt x="2211"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3" name="Freeform: Shape 15">
            <a:extLst>
              <a:ext uri="{FF2B5EF4-FFF2-40B4-BE49-F238E27FC236}">
                <a16:creationId xmlns:a16="http://schemas.microsoft.com/office/drawing/2014/main" id="{EAE41F64-C553-2247-B3FA-B5383E3C89DC}"/>
              </a:ext>
            </a:extLst>
          </p:cNvPr>
          <p:cNvSpPr/>
          <p:nvPr/>
        </p:nvSpPr>
        <p:spPr>
          <a:xfrm>
            <a:off x="2087912" y="6460546"/>
            <a:ext cx="1233000" cy="1517039"/>
          </a:xfrm>
          <a:custGeom>
            <a:avLst/>
            <a:gdLst/>
            <a:ahLst/>
            <a:cxnLst>
              <a:cxn ang="3cd4">
                <a:pos x="hc" y="t"/>
              </a:cxn>
              <a:cxn ang="cd2">
                <a:pos x="l" y="vc"/>
              </a:cxn>
              <a:cxn ang="cd4">
                <a:pos x="hc" y="b"/>
              </a:cxn>
              <a:cxn ang="0">
                <a:pos x="r" y="vc"/>
              </a:cxn>
            </a:cxnLst>
            <a:rect l="l" t="t" r="r" b="b"/>
            <a:pathLst>
              <a:path w="3426" h="4215">
                <a:moveTo>
                  <a:pt x="3420" y="3276"/>
                </a:moveTo>
                <a:cubicBezTo>
                  <a:pt x="3420" y="3245"/>
                  <a:pt x="3388" y="3213"/>
                  <a:pt x="3357" y="3213"/>
                </a:cubicBezTo>
                <a:lnTo>
                  <a:pt x="2975" y="3213"/>
                </a:lnTo>
                <a:lnTo>
                  <a:pt x="2863" y="2863"/>
                </a:lnTo>
                <a:cubicBezTo>
                  <a:pt x="2848" y="2831"/>
                  <a:pt x="2815" y="2799"/>
                  <a:pt x="2784" y="2799"/>
                </a:cubicBezTo>
                <a:cubicBezTo>
                  <a:pt x="2752" y="2799"/>
                  <a:pt x="2720" y="2831"/>
                  <a:pt x="2704" y="2863"/>
                </a:cubicBezTo>
                <a:lnTo>
                  <a:pt x="2593" y="3213"/>
                </a:lnTo>
                <a:lnTo>
                  <a:pt x="2211" y="3213"/>
                </a:lnTo>
                <a:cubicBezTo>
                  <a:pt x="2179" y="3213"/>
                  <a:pt x="2148" y="3245"/>
                  <a:pt x="2131" y="3276"/>
                </a:cubicBezTo>
                <a:cubicBezTo>
                  <a:pt x="2131" y="3308"/>
                  <a:pt x="2131" y="3340"/>
                  <a:pt x="2164" y="3372"/>
                </a:cubicBezTo>
                <a:lnTo>
                  <a:pt x="2466" y="3563"/>
                </a:lnTo>
                <a:lnTo>
                  <a:pt x="2354" y="3881"/>
                </a:lnTo>
                <a:cubicBezTo>
                  <a:pt x="2339" y="3912"/>
                  <a:pt x="2354" y="3960"/>
                  <a:pt x="2386" y="3976"/>
                </a:cubicBezTo>
                <a:cubicBezTo>
                  <a:pt x="2402" y="3992"/>
                  <a:pt x="2450" y="3992"/>
                  <a:pt x="2482" y="3976"/>
                </a:cubicBezTo>
                <a:lnTo>
                  <a:pt x="2784" y="3754"/>
                </a:lnTo>
                <a:lnTo>
                  <a:pt x="3086" y="3992"/>
                </a:lnTo>
                <a:cubicBezTo>
                  <a:pt x="3102" y="3992"/>
                  <a:pt x="3118" y="4008"/>
                  <a:pt x="3134" y="4008"/>
                </a:cubicBezTo>
                <a:cubicBezTo>
                  <a:pt x="3149" y="4008"/>
                  <a:pt x="3166" y="3992"/>
                  <a:pt x="3181" y="3992"/>
                </a:cubicBezTo>
                <a:cubicBezTo>
                  <a:pt x="3213" y="3960"/>
                  <a:pt x="3213" y="3929"/>
                  <a:pt x="3213" y="3897"/>
                </a:cubicBezTo>
                <a:lnTo>
                  <a:pt x="3086" y="3563"/>
                </a:lnTo>
                <a:lnTo>
                  <a:pt x="3388" y="3372"/>
                </a:lnTo>
                <a:cubicBezTo>
                  <a:pt x="3420" y="3340"/>
                  <a:pt x="3436" y="3308"/>
                  <a:pt x="3420" y="3276"/>
                </a:cubicBezTo>
                <a:close/>
                <a:moveTo>
                  <a:pt x="2927" y="3547"/>
                </a:moveTo>
                <a:lnTo>
                  <a:pt x="2975" y="3706"/>
                </a:lnTo>
                <a:lnTo>
                  <a:pt x="2831" y="3594"/>
                </a:lnTo>
                <a:cubicBezTo>
                  <a:pt x="2815" y="3578"/>
                  <a:pt x="2800" y="3578"/>
                  <a:pt x="2784" y="3578"/>
                </a:cubicBezTo>
                <a:cubicBezTo>
                  <a:pt x="2768" y="3578"/>
                  <a:pt x="2752" y="3578"/>
                  <a:pt x="2736" y="3594"/>
                </a:cubicBezTo>
                <a:lnTo>
                  <a:pt x="2593" y="3706"/>
                </a:lnTo>
                <a:lnTo>
                  <a:pt x="2640" y="3547"/>
                </a:lnTo>
                <a:cubicBezTo>
                  <a:pt x="2657" y="3515"/>
                  <a:pt x="2640" y="3483"/>
                  <a:pt x="2609" y="3451"/>
                </a:cubicBezTo>
                <a:lnTo>
                  <a:pt x="2482" y="3372"/>
                </a:lnTo>
                <a:lnTo>
                  <a:pt x="2640" y="3372"/>
                </a:lnTo>
                <a:cubicBezTo>
                  <a:pt x="2672" y="3372"/>
                  <a:pt x="2704" y="3356"/>
                  <a:pt x="2720" y="3324"/>
                </a:cubicBezTo>
                <a:lnTo>
                  <a:pt x="2784" y="3133"/>
                </a:lnTo>
                <a:lnTo>
                  <a:pt x="2831" y="3324"/>
                </a:lnTo>
                <a:cubicBezTo>
                  <a:pt x="2848" y="3356"/>
                  <a:pt x="2879" y="3372"/>
                  <a:pt x="2911" y="3372"/>
                </a:cubicBezTo>
                <a:lnTo>
                  <a:pt x="3086" y="3372"/>
                </a:lnTo>
                <a:lnTo>
                  <a:pt x="2958" y="3451"/>
                </a:lnTo>
                <a:cubicBezTo>
                  <a:pt x="2927" y="3483"/>
                  <a:pt x="2911" y="3515"/>
                  <a:pt x="2927" y="3547"/>
                </a:cubicBezTo>
                <a:close/>
                <a:moveTo>
                  <a:pt x="2148" y="1288"/>
                </a:moveTo>
                <a:lnTo>
                  <a:pt x="3181" y="1288"/>
                </a:lnTo>
                <a:lnTo>
                  <a:pt x="3181" y="2672"/>
                </a:lnTo>
                <a:cubicBezTo>
                  <a:pt x="3181" y="2720"/>
                  <a:pt x="3213" y="2751"/>
                  <a:pt x="3261" y="2751"/>
                </a:cubicBezTo>
                <a:cubicBezTo>
                  <a:pt x="3293" y="2751"/>
                  <a:pt x="3340" y="2720"/>
                  <a:pt x="3340" y="2672"/>
                </a:cubicBezTo>
                <a:lnTo>
                  <a:pt x="3340" y="1225"/>
                </a:lnTo>
                <a:cubicBezTo>
                  <a:pt x="3340" y="1209"/>
                  <a:pt x="3324" y="1177"/>
                  <a:pt x="3309" y="1177"/>
                </a:cubicBezTo>
                <a:lnTo>
                  <a:pt x="2148" y="32"/>
                </a:lnTo>
                <a:cubicBezTo>
                  <a:pt x="2131" y="16"/>
                  <a:pt x="2116" y="0"/>
                  <a:pt x="2100" y="0"/>
                </a:cubicBezTo>
                <a:lnTo>
                  <a:pt x="80" y="0"/>
                </a:lnTo>
                <a:cubicBezTo>
                  <a:pt x="32" y="0"/>
                  <a:pt x="0" y="32"/>
                  <a:pt x="0" y="79"/>
                </a:cubicBezTo>
                <a:lnTo>
                  <a:pt x="0" y="4135"/>
                </a:lnTo>
                <a:cubicBezTo>
                  <a:pt x="0" y="4183"/>
                  <a:pt x="32" y="4215"/>
                  <a:pt x="80" y="4215"/>
                </a:cubicBezTo>
                <a:lnTo>
                  <a:pt x="1925" y="4215"/>
                </a:lnTo>
                <a:cubicBezTo>
                  <a:pt x="1973" y="4215"/>
                  <a:pt x="2004" y="4183"/>
                  <a:pt x="2004" y="4135"/>
                </a:cubicBezTo>
                <a:cubicBezTo>
                  <a:pt x="2004" y="4087"/>
                  <a:pt x="1973" y="4056"/>
                  <a:pt x="1925" y="4056"/>
                </a:cubicBezTo>
                <a:lnTo>
                  <a:pt x="159" y="4056"/>
                </a:lnTo>
                <a:lnTo>
                  <a:pt x="159" y="159"/>
                </a:lnTo>
                <a:lnTo>
                  <a:pt x="2068" y="159"/>
                </a:lnTo>
                <a:lnTo>
                  <a:pt x="2068" y="1209"/>
                </a:lnTo>
                <a:cubicBezTo>
                  <a:pt x="2068" y="1257"/>
                  <a:pt x="2100" y="1288"/>
                  <a:pt x="2148" y="1288"/>
                </a:cubicBezTo>
                <a:close/>
                <a:moveTo>
                  <a:pt x="2227" y="318"/>
                </a:moveTo>
                <a:lnTo>
                  <a:pt x="3054" y="1129"/>
                </a:lnTo>
                <a:lnTo>
                  <a:pt x="2227"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4" name="Freeform: Shape 17">
            <a:extLst>
              <a:ext uri="{FF2B5EF4-FFF2-40B4-BE49-F238E27FC236}">
                <a16:creationId xmlns:a16="http://schemas.microsoft.com/office/drawing/2014/main" id="{C7291CB3-5365-7547-8593-F236FCABCFCC}"/>
              </a:ext>
            </a:extLst>
          </p:cNvPr>
          <p:cNvSpPr/>
          <p:nvPr/>
        </p:nvSpPr>
        <p:spPr>
          <a:xfrm>
            <a:off x="6256331" y="6393629"/>
            <a:ext cx="1196280" cy="1517039"/>
          </a:xfrm>
          <a:custGeom>
            <a:avLst/>
            <a:gdLst/>
            <a:ahLst/>
            <a:cxnLst>
              <a:cxn ang="3cd4">
                <a:pos x="hc" y="t"/>
              </a:cxn>
              <a:cxn ang="cd2">
                <a:pos x="l" y="vc"/>
              </a:cxn>
              <a:cxn ang="cd4">
                <a:pos x="hc" y="b"/>
              </a:cxn>
              <a:cxn ang="0">
                <a:pos x="r" y="vc"/>
              </a:cxn>
            </a:cxnLst>
            <a:rect l="l" t="t" r="r" b="b"/>
            <a:pathLst>
              <a:path w="3324" h="4215">
                <a:moveTo>
                  <a:pt x="3245" y="3499"/>
                </a:moveTo>
                <a:cubicBezTo>
                  <a:pt x="3292" y="3499"/>
                  <a:pt x="3324" y="3467"/>
                  <a:pt x="3324" y="3420"/>
                </a:cubicBezTo>
                <a:cubicBezTo>
                  <a:pt x="3324" y="3388"/>
                  <a:pt x="3292" y="3340"/>
                  <a:pt x="3245" y="3340"/>
                </a:cubicBezTo>
                <a:lnTo>
                  <a:pt x="3133" y="3340"/>
                </a:lnTo>
                <a:cubicBezTo>
                  <a:pt x="3117" y="3260"/>
                  <a:pt x="3085" y="3197"/>
                  <a:pt x="3054" y="3133"/>
                </a:cubicBezTo>
                <a:lnTo>
                  <a:pt x="3117" y="3054"/>
                </a:lnTo>
                <a:cubicBezTo>
                  <a:pt x="3149" y="3022"/>
                  <a:pt x="3149" y="2974"/>
                  <a:pt x="3117" y="2942"/>
                </a:cubicBezTo>
                <a:cubicBezTo>
                  <a:pt x="3085" y="2911"/>
                  <a:pt x="3038" y="2911"/>
                  <a:pt x="3006" y="2942"/>
                </a:cubicBezTo>
                <a:lnTo>
                  <a:pt x="2926" y="3022"/>
                </a:lnTo>
                <a:cubicBezTo>
                  <a:pt x="2863" y="2974"/>
                  <a:pt x="2799" y="2942"/>
                  <a:pt x="2720" y="2926"/>
                </a:cubicBezTo>
                <a:lnTo>
                  <a:pt x="2720" y="2815"/>
                </a:lnTo>
                <a:cubicBezTo>
                  <a:pt x="2720" y="2767"/>
                  <a:pt x="2672" y="2736"/>
                  <a:pt x="2640" y="2736"/>
                </a:cubicBezTo>
                <a:cubicBezTo>
                  <a:pt x="2593" y="2736"/>
                  <a:pt x="2560" y="2767"/>
                  <a:pt x="2560" y="2815"/>
                </a:cubicBezTo>
                <a:lnTo>
                  <a:pt x="2560" y="2926"/>
                </a:lnTo>
                <a:cubicBezTo>
                  <a:pt x="2481" y="2942"/>
                  <a:pt x="2402" y="2974"/>
                  <a:pt x="2338" y="3022"/>
                </a:cubicBezTo>
                <a:lnTo>
                  <a:pt x="2258" y="2942"/>
                </a:lnTo>
                <a:cubicBezTo>
                  <a:pt x="2227" y="2911"/>
                  <a:pt x="2179" y="2911"/>
                  <a:pt x="2147" y="2942"/>
                </a:cubicBezTo>
                <a:cubicBezTo>
                  <a:pt x="2115" y="2974"/>
                  <a:pt x="2115" y="3022"/>
                  <a:pt x="2147" y="3054"/>
                </a:cubicBezTo>
                <a:lnTo>
                  <a:pt x="2227" y="3133"/>
                </a:lnTo>
                <a:cubicBezTo>
                  <a:pt x="2179" y="3197"/>
                  <a:pt x="2147" y="3260"/>
                  <a:pt x="2131" y="3340"/>
                </a:cubicBezTo>
                <a:lnTo>
                  <a:pt x="2020" y="3340"/>
                </a:lnTo>
                <a:cubicBezTo>
                  <a:pt x="1988" y="3340"/>
                  <a:pt x="1940" y="3388"/>
                  <a:pt x="1940" y="3420"/>
                </a:cubicBezTo>
                <a:cubicBezTo>
                  <a:pt x="1940" y="3467"/>
                  <a:pt x="1988" y="3499"/>
                  <a:pt x="2020" y="3499"/>
                </a:cubicBezTo>
                <a:lnTo>
                  <a:pt x="2131" y="3499"/>
                </a:lnTo>
                <a:cubicBezTo>
                  <a:pt x="2147" y="3578"/>
                  <a:pt x="2179" y="3658"/>
                  <a:pt x="2227" y="3721"/>
                </a:cubicBezTo>
                <a:lnTo>
                  <a:pt x="2147" y="3801"/>
                </a:lnTo>
                <a:cubicBezTo>
                  <a:pt x="2115" y="3833"/>
                  <a:pt x="2115" y="3881"/>
                  <a:pt x="2147" y="3912"/>
                </a:cubicBezTo>
                <a:cubicBezTo>
                  <a:pt x="2163" y="3929"/>
                  <a:pt x="2179" y="3944"/>
                  <a:pt x="2211" y="3944"/>
                </a:cubicBezTo>
                <a:cubicBezTo>
                  <a:pt x="2227" y="3944"/>
                  <a:pt x="2242" y="3929"/>
                  <a:pt x="2258" y="3912"/>
                </a:cubicBezTo>
                <a:lnTo>
                  <a:pt x="2338" y="3833"/>
                </a:lnTo>
                <a:cubicBezTo>
                  <a:pt x="2402" y="3881"/>
                  <a:pt x="2481" y="3912"/>
                  <a:pt x="2560" y="3929"/>
                </a:cubicBezTo>
                <a:lnTo>
                  <a:pt x="2560" y="4040"/>
                </a:lnTo>
                <a:cubicBezTo>
                  <a:pt x="2560" y="4087"/>
                  <a:pt x="2593" y="4119"/>
                  <a:pt x="2640" y="4119"/>
                </a:cubicBezTo>
                <a:cubicBezTo>
                  <a:pt x="2672" y="4119"/>
                  <a:pt x="2720" y="4087"/>
                  <a:pt x="2720" y="4040"/>
                </a:cubicBezTo>
                <a:lnTo>
                  <a:pt x="2720" y="3929"/>
                </a:lnTo>
                <a:cubicBezTo>
                  <a:pt x="2799" y="3912"/>
                  <a:pt x="2863" y="3881"/>
                  <a:pt x="2926" y="3833"/>
                </a:cubicBezTo>
                <a:lnTo>
                  <a:pt x="3006" y="3912"/>
                </a:lnTo>
                <a:cubicBezTo>
                  <a:pt x="3022" y="3929"/>
                  <a:pt x="3054" y="3944"/>
                  <a:pt x="3069" y="3944"/>
                </a:cubicBezTo>
                <a:cubicBezTo>
                  <a:pt x="3085" y="3944"/>
                  <a:pt x="3102" y="3929"/>
                  <a:pt x="3117" y="3912"/>
                </a:cubicBezTo>
                <a:cubicBezTo>
                  <a:pt x="3149" y="3881"/>
                  <a:pt x="3149" y="3833"/>
                  <a:pt x="3117" y="3801"/>
                </a:cubicBezTo>
                <a:lnTo>
                  <a:pt x="3054" y="3721"/>
                </a:lnTo>
                <a:cubicBezTo>
                  <a:pt x="3085" y="3658"/>
                  <a:pt x="3117" y="3578"/>
                  <a:pt x="3133" y="3499"/>
                </a:cubicBezTo>
                <a:close/>
                <a:moveTo>
                  <a:pt x="2640" y="3769"/>
                </a:moveTo>
                <a:cubicBezTo>
                  <a:pt x="2449" y="3769"/>
                  <a:pt x="2290" y="3626"/>
                  <a:pt x="2290" y="3420"/>
                </a:cubicBezTo>
                <a:cubicBezTo>
                  <a:pt x="2290" y="3229"/>
                  <a:pt x="2449" y="3070"/>
                  <a:pt x="2640" y="3070"/>
                </a:cubicBezTo>
                <a:cubicBezTo>
                  <a:pt x="2831" y="3070"/>
                  <a:pt x="2990" y="3229"/>
                  <a:pt x="2990" y="3420"/>
                </a:cubicBezTo>
                <a:cubicBezTo>
                  <a:pt x="2990" y="3626"/>
                  <a:pt x="2831" y="3769"/>
                  <a:pt x="2640" y="3769"/>
                </a:cubicBezTo>
                <a:close/>
                <a:moveTo>
                  <a:pt x="3324" y="1225"/>
                </a:moveTo>
                <a:cubicBezTo>
                  <a:pt x="3324" y="1209"/>
                  <a:pt x="3324" y="1177"/>
                  <a:pt x="3308" y="1177"/>
                </a:cubicBezTo>
                <a:lnTo>
                  <a:pt x="2147" y="32"/>
                </a:lnTo>
                <a:cubicBezTo>
                  <a:pt x="2131" y="16"/>
                  <a:pt x="2115" y="0"/>
                  <a:pt x="2084" y="0"/>
                </a:cubicBezTo>
                <a:lnTo>
                  <a:pt x="79" y="0"/>
                </a:lnTo>
                <a:cubicBezTo>
                  <a:pt x="31" y="0"/>
                  <a:pt x="0" y="32"/>
                  <a:pt x="0" y="79"/>
                </a:cubicBezTo>
                <a:lnTo>
                  <a:pt x="0" y="4135"/>
                </a:lnTo>
                <a:cubicBezTo>
                  <a:pt x="0" y="4183"/>
                  <a:pt x="31" y="4215"/>
                  <a:pt x="79" y="4215"/>
                </a:cubicBezTo>
                <a:lnTo>
                  <a:pt x="1924" y="4215"/>
                </a:lnTo>
                <a:cubicBezTo>
                  <a:pt x="1956" y="4215"/>
                  <a:pt x="2004" y="4183"/>
                  <a:pt x="2004" y="4135"/>
                </a:cubicBezTo>
                <a:cubicBezTo>
                  <a:pt x="2004" y="4087"/>
                  <a:pt x="1956" y="4056"/>
                  <a:pt x="1924" y="4056"/>
                </a:cubicBezTo>
                <a:lnTo>
                  <a:pt x="159" y="4056"/>
                </a:lnTo>
                <a:lnTo>
                  <a:pt x="159" y="159"/>
                </a:lnTo>
                <a:lnTo>
                  <a:pt x="2052" y="159"/>
                </a:lnTo>
                <a:lnTo>
                  <a:pt x="2052" y="1209"/>
                </a:lnTo>
                <a:cubicBezTo>
                  <a:pt x="2052" y="1257"/>
                  <a:pt x="2099" y="1288"/>
                  <a:pt x="2131" y="1288"/>
                </a:cubicBezTo>
                <a:lnTo>
                  <a:pt x="3165" y="1288"/>
                </a:lnTo>
                <a:lnTo>
                  <a:pt x="3165" y="2672"/>
                </a:lnTo>
                <a:cubicBezTo>
                  <a:pt x="3165" y="2720"/>
                  <a:pt x="3197" y="2751"/>
                  <a:pt x="3245" y="2751"/>
                </a:cubicBezTo>
                <a:cubicBezTo>
                  <a:pt x="3292" y="2751"/>
                  <a:pt x="3324" y="2720"/>
                  <a:pt x="3324" y="2672"/>
                </a:cubicBezTo>
                <a:close/>
                <a:moveTo>
                  <a:pt x="2211" y="318"/>
                </a:moveTo>
                <a:lnTo>
                  <a:pt x="3038" y="1129"/>
                </a:lnTo>
                <a:lnTo>
                  <a:pt x="2211" y="112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5" name="Freeform: Shape 18">
            <a:extLst>
              <a:ext uri="{FF2B5EF4-FFF2-40B4-BE49-F238E27FC236}">
                <a16:creationId xmlns:a16="http://schemas.microsoft.com/office/drawing/2014/main" id="{48FDCAEE-78EF-9748-AD3D-9524EEABD95C}"/>
              </a:ext>
            </a:extLst>
          </p:cNvPr>
          <p:cNvSpPr/>
          <p:nvPr/>
        </p:nvSpPr>
        <p:spPr>
          <a:xfrm>
            <a:off x="10191602" y="6393629"/>
            <a:ext cx="1202039" cy="1517039"/>
          </a:xfrm>
          <a:custGeom>
            <a:avLst/>
            <a:gdLst/>
            <a:ahLst/>
            <a:cxnLst>
              <a:cxn ang="3cd4">
                <a:pos x="hc" y="t"/>
              </a:cxn>
              <a:cxn ang="cd2">
                <a:pos x="l" y="vc"/>
              </a:cxn>
              <a:cxn ang="cd4">
                <a:pos x="hc" y="b"/>
              </a:cxn>
              <a:cxn ang="0">
                <a:pos x="r" y="vc"/>
              </a:cxn>
            </a:cxnLst>
            <a:rect l="l" t="t" r="r" b="b"/>
            <a:pathLst>
              <a:path w="3340" h="4215">
                <a:moveTo>
                  <a:pt x="2449" y="1718"/>
                </a:moveTo>
                <a:cubicBezTo>
                  <a:pt x="2449" y="1702"/>
                  <a:pt x="2417" y="1686"/>
                  <a:pt x="2385" y="1686"/>
                </a:cubicBezTo>
                <a:lnTo>
                  <a:pt x="1066" y="1686"/>
                </a:lnTo>
                <a:cubicBezTo>
                  <a:pt x="1034" y="1686"/>
                  <a:pt x="1002" y="1702"/>
                  <a:pt x="1002" y="1718"/>
                </a:cubicBezTo>
                <a:cubicBezTo>
                  <a:pt x="986" y="1749"/>
                  <a:pt x="986" y="1781"/>
                  <a:pt x="1002" y="1813"/>
                </a:cubicBezTo>
                <a:lnTo>
                  <a:pt x="1622" y="2672"/>
                </a:lnTo>
                <a:lnTo>
                  <a:pt x="1002" y="3531"/>
                </a:lnTo>
                <a:cubicBezTo>
                  <a:pt x="986" y="3547"/>
                  <a:pt x="986" y="3578"/>
                  <a:pt x="1002" y="3611"/>
                </a:cubicBezTo>
                <a:cubicBezTo>
                  <a:pt x="1002" y="3642"/>
                  <a:pt x="1034" y="3658"/>
                  <a:pt x="1066" y="3658"/>
                </a:cubicBezTo>
                <a:lnTo>
                  <a:pt x="2385" y="3658"/>
                </a:lnTo>
                <a:cubicBezTo>
                  <a:pt x="2417" y="3658"/>
                  <a:pt x="2449" y="3642"/>
                  <a:pt x="2449" y="3611"/>
                </a:cubicBezTo>
                <a:cubicBezTo>
                  <a:pt x="2465" y="3578"/>
                  <a:pt x="2465" y="3547"/>
                  <a:pt x="2449" y="3531"/>
                </a:cubicBezTo>
                <a:lnTo>
                  <a:pt x="1829" y="2672"/>
                </a:lnTo>
                <a:lnTo>
                  <a:pt x="2449" y="1813"/>
                </a:lnTo>
                <a:cubicBezTo>
                  <a:pt x="2465" y="1781"/>
                  <a:pt x="2465" y="1749"/>
                  <a:pt x="2449" y="1718"/>
                </a:cubicBezTo>
                <a:close/>
                <a:moveTo>
                  <a:pt x="1733" y="2799"/>
                </a:moveTo>
                <a:lnTo>
                  <a:pt x="2036" y="3213"/>
                </a:lnTo>
                <a:lnTo>
                  <a:pt x="1415" y="3213"/>
                </a:lnTo>
                <a:close/>
                <a:moveTo>
                  <a:pt x="1224" y="3499"/>
                </a:moveTo>
                <a:lnTo>
                  <a:pt x="1304" y="3372"/>
                </a:lnTo>
                <a:lnTo>
                  <a:pt x="2147" y="3372"/>
                </a:lnTo>
                <a:lnTo>
                  <a:pt x="2227" y="3499"/>
                </a:lnTo>
                <a:close/>
                <a:moveTo>
                  <a:pt x="1733" y="2545"/>
                </a:moveTo>
                <a:lnTo>
                  <a:pt x="1224" y="1845"/>
                </a:lnTo>
                <a:lnTo>
                  <a:pt x="2227" y="1845"/>
                </a:lnTo>
                <a:close/>
                <a:moveTo>
                  <a:pt x="2099" y="0"/>
                </a:moveTo>
                <a:lnTo>
                  <a:pt x="79" y="0"/>
                </a:lnTo>
                <a:cubicBezTo>
                  <a:pt x="31" y="0"/>
                  <a:pt x="0" y="32"/>
                  <a:pt x="0" y="79"/>
                </a:cubicBezTo>
                <a:lnTo>
                  <a:pt x="0" y="4135"/>
                </a:lnTo>
                <a:cubicBezTo>
                  <a:pt x="0" y="4183"/>
                  <a:pt x="31" y="4215"/>
                  <a:pt x="79" y="4215"/>
                </a:cubicBezTo>
                <a:lnTo>
                  <a:pt x="3260" y="4215"/>
                </a:lnTo>
                <a:cubicBezTo>
                  <a:pt x="3292" y="4215"/>
                  <a:pt x="3340" y="4183"/>
                  <a:pt x="3340" y="4135"/>
                </a:cubicBezTo>
                <a:lnTo>
                  <a:pt x="3340" y="1225"/>
                </a:lnTo>
                <a:cubicBezTo>
                  <a:pt x="3340" y="1209"/>
                  <a:pt x="3324" y="1177"/>
                  <a:pt x="3308" y="1177"/>
                </a:cubicBezTo>
                <a:lnTo>
                  <a:pt x="2147" y="32"/>
                </a:lnTo>
                <a:cubicBezTo>
                  <a:pt x="2147" y="16"/>
                  <a:pt x="2115" y="0"/>
                  <a:pt x="2099" y="0"/>
                </a:cubicBezTo>
                <a:close/>
                <a:moveTo>
                  <a:pt x="2227" y="318"/>
                </a:moveTo>
                <a:lnTo>
                  <a:pt x="3054" y="1129"/>
                </a:lnTo>
                <a:lnTo>
                  <a:pt x="2227" y="1129"/>
                </a:lnTo>
                <a:close/>
                <a:moveTo>
                  <a:pt x="159" y="4056"/>
                </a:moveTo>
                <a:lnTo>
                  <a:pt x="159" y="159"/>
                </a:lnTo>
                <a:lnTo>
                  <a:pt x="2067" y="159"/>
                </a:lnTo>
                <a:lnTo>
                  <a:pt x="2067" y="1209"/>
                </a:lnTo>
                <a:cubicBezTo>
                  <a:pt x="2067" y="1257"/>
                  <a:pt x="2099" y="1288"/>
                  <a:pt x="2147" y="1288"/>
                </a:cubicBezTo>
                <a:lnTo>
                  <a:pt x="3181" y="1288"/>
                </a:lnTo>
                <a:lnTo>
                  <a:pt x="3181" y="405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6" name="TextBox 105">
            <a:extLst>
              <a:ext uri="{FF2B5EF4-FFF2-40B4-BE49-F238E27FC236}">
                <a16:creationId xmlns:a16="http://schemas.microsoft.com/office/drawing/2014/main" id="{97B5CE78-2AE5-3344-8AEB-300B0551B605}"/>
              </a:ext>
            </a:extLst>
          </p:cNvPr>
          <p:cNvSpPr txBox="1"/>
          <p:nvPr/>
        </p:nvSpPr>
        <p:spPr>
          <a:xfrm>
            <a:off x="8916058"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Doc Alias</a:t>
            </a:r>
          </a:p>
        </p:txBody>
      </p:sp>
      <p:sp>
        <p:nvSpPr>
          <p:cNvPr id="107" name="Freeform: Shape 17">
            <a:extLst>
              <a:ext uri="{FF2B5EF4-FFF2-40B4-BE49-F238E27FC236}">
                <a16:creationId xmlns:a16="http://schemas.microsoft.com/office/drawing/2014/main" id="{06855AD6-F824-DC48-888A-836A42E4BA1D}"/>
              </a:ext>
            </a:extLst>
          </p:cNvPr>
          <p:cNvSpPr/>
          <p:nvPr/>
        </p:nvSpPr>
        <p:spPr>
          <a:xfrm>
            <a:off x="10230851" y="9848400"/>
            <a:ext cx="1196280" cy="1511279"/>
          </a:xfrm>
          <a:custGeom>
            <a:avLst/>
            <a:gdLst/>
            <a:ahLst/>
            <a:cxnLst>
              <a:cxn ang="3cd4">
                <a:pos x="hc" y="t"/>
              </a:cxn>
              <a:cxn ang="cd2">
                <a:pos x="l" y="vc"/>
              </a:cxn>
              <a:cxn ang="cd4">
                <a:pos x="hc" y="b"/>
              </a:cxn>
              <a:cxn ang="0">
                <a:pos x="r" y="vc"/>
              </a:cxn>
            </a:cxnLst>
            <a:rect l="l" t="t" r="r" b="b"/>
            <a:pathLst>
              <a:path w="3324" h="4199">
                <a:moveTo>
                  <a:pt x="0" y="1018"/>
                </a:moveTo>
                <a:cubicBezTo>
                  <a:pt x="0" y="1066"/>
                  <a:pt x="32" y="1098"/>
                  <a:pt x="80" y="1098"/>
                </a:cubicBezTo>
                <a:cubicBezTo>
                  <a:pt x="111" y="1098"/>
                  <a:pt x="159" y="1066"/>
                  <a:pt x="159" y="1018"/>
                </a:cubicBezTo>
                <a:lnTo>
                  <a:pt x="159" y="890"/>
                </a:lnTo>
                <a:cubicBezTo>
                  <a:pt x="159" y="843"/>
                  <a:pt x="111" y="811"/>
                  <a:pt x="80" y="811"/>
                </a:cubicBezTo>
                <a:cubicBezTo>
                  <a:pt x="32" y="811"/>
                  <a:pt x="0" y="843"/>
                  <a:pt x="0" y="890"/>
                </a:cubicBezTo>
                <a:close/>
                <a:moveTo>
                  <a:pt x="0" y="1781"/>
                </a:moveTo>
                <a:cubicBezTo>
                  <a:pt x="0" y="1813"/>
                  <a:pt x="32" y="1861"/>
                  <a:pt x="80" y="1861"/>
                </a:cubicBezTo>
                <a:cubicBezTo>
                  <a:pt x="111" y="1861"/>
                  <a:pt x="159" y="1813"/>
                  <a:pt x="159" y="1781"/>
                </a:cubicBezTo>
                <a:lnTo>
                  <a:pt x="159" y="1654"/>
                </a:lnTo>
                <a:cubicBezTo>
                  <a:pt x="159" y="1607"/>
                  <a:pt x="111" y="1575"/>
                  <a:pt x="80" y="1575"/>
                </a:cubicBezTo>
                <a:cubicBezTo>
                  <a:pt x="32" y="1575"/>
                  <a:pt x="0" y="1607"/>
                  <a:pt x="0" y="1654"/>
                </a:cubicBezTo>
                <a:close/>
                <a:moveTo>
                  <a:pt x="80" y="334"/>
                </a:moveTo>
                <a:cubicBezTo>
                  <a:pt x="111" y="334"/>
                  <a:pt x="159" y="302"/>
                  <a:pt x="159" y="254"/>
                </a:cubicBezTo>
                <a:lnTo>
                  <a:pt x="159" y="127"/>
                </a:lnTo>
                <a:cubicBezTo>
                  <a:pt x="159" y="80"/>
                  <a:pt x="111" y="48"/>
                  <a:pt x="80" y="48"/>
                </a:cubicBezTo>
                <a:cubicBezTo>
                  <a:pt x="32" y="48"/>
                  <a:pt x="0" y="80"/>
                  <a:pt x="0" y="127"/>
                </a:cubicBezTo>
                <a:lnTo>
                  <a:pt x="0" y="254"/>
                </a:lnTo>
                <a:cubicBezTo>
                  <a:pt x="0" y="302"/>
                  <a:pt x="32" y="334"/>
                  <a:pt x="80" y="334"/>
                </a:cubicBezTo>
                <a:close/>
                <a:moveTo>
                  <a:pt x="0" y="1399"/>
                </a:moveTo>
                <a:cubicBezTo>
                  <a:pt x="0" y="1432"/>
                  <a:pt x="32" y="1479"/>
                  <a:pt x="80" y="1479"/>
                </a:cubicBezTo>
                <a:cubicBezTo>
                  <a:pt x="111" y="1479"/>
                  <a:pt x="159" y="1432"/>
                  <a:pt x="159" y="1399"/>
                </a:cubicBezTo>
                <a:lnTo>
                  <a:pt x="159" y="1272"/>
                </a:lnTo>
                <a:cubicBezTo>
                  <a:pt x="159" y="1225"/>
                  <a:pt x="111" y="1193"/>
                  <a:pt x="80" y="1193"/>
                </a:cubicBezTo>
                <a:cubicBezTo>
                  <a:pt x="32" y="1193"/>
                  <a:pt x="0" y="1225"/>
                  <a:pt x="0" y="1272"/>
                </a:cubicBezTo>
                <a:close/>
                <a:moveTo>
                  <a:pt x="270" y="159"/>
                </a:moveTo>
                <a:lnTo>
                  <a:pt x="398" y="159"/>
                </a:lnTo>
                <a:cubicBezTo>
                  <a:pt x="445" y="159"/>
                  <a:pt x="477" y="111"/>
                  <a:pt x="477" y="80"/>
                </a:cubicBezTo>
                <a:cubicBezTo>
                  <a:pt x="477" y="32"/>
                  <a:pt x="445" y="0"/>
                  <a:pt x="398" y="0"/>
                </a:cubicBezTo>
                <a:lnTo>
                  <a:pt x="270" y="0"/>
                </a:lnTo>
                <a:cubicBezTo>
                  <a:pt x="238" y="0"/>
                  <a:pt x="191" y="32"/>
                  <a:pt x="191" y="80"/>
                </a:cubicBezTo>
                <a:cubicBezTo>
                  <a:pt x="191" y="111"/>
                  <a:pt x="238" y="159"/>
                  <a:pt x="270" y="159"/>
                </a:cubicBezTo>
                <a:close/>
                <a:moveTo>
                  <a:pt x="270" y="4199"/>
                </a:moveTo>
                <a:lnTo>
                  <a:pt x="398" y="4199"/>
                </a:lnTo>
                <a:cubicBezTo>
                  <a:pt x="429" y="4199"/>
                  <a:pt x="477" y="4167"/>
                  <a:pt x="477" y="4119"/>
                </a:cubicBezTo>
                <a:cubicBezTo>
                  <a:pt x="477" y="4088"/>
                  <a:pt x="429" y="4040"/>
                  <a:pt x="398" y="4040"/>
                </a:cubicBezTo>
                <a:lnTo>
                  <a:pt x="270" y="4040"/>
                </a:lnTo>
                <a:cubicBezTo>
                  <a:pt x="223" y="4040"/>
                  <a:pt x="191" y="4088"/>
                  <a:pt x="191" y="4119"/>
                </a:cubicBezTo>
                <a:cubicBezTo>
                  <a:pt x="191" y="4167"/>
                  <a:pt x="223" y="4199"/>
                  <a:pt x="270" y="4199"/>
                </a:cubicBezTo>
                <a:close/>
                <a:moveTo>
                  <a:pt x="1034" y="4199"/>
                </a:moveTo>
                <a:lnTo>
                  <a:pt x="1161" y="4199"/>
                </a:lnTo>
                <a:cubicBezTo>
                  <a:pt x="1193" y="4199"/>
                  <a:pt x="1240" y="4167"/>
                  <a:pt x="1240" y="4119"/>
                </a:cubicBezTo>
                <a:cubicBezTo>
                  <a:pt x="1240" y="4088"/>
                  <a:pt x="1193" y="4040"/>
                  <a:pt x="1161" y="4040"/>
                </a:cubicBezTo>
                <a:lnTo>
                  <a:pt x="1034" y="4040"/>
                </a:lnTo>
                <a:cubicBezTo>
                  <a:pt x="986" y="4040"/>
                  <a:pt x="954" y="4088"/>
                  <a:pt x="954" y="4119"/>
                </a:cubicBezTo>
                <a:cubicBezTo>
                  <a:pt x="954" y="4167"/>
                  <a:pt x="986" y="4199"/>
                  <a:pt x="1034" y="4199"/>
                </a:cubicBezTo>
                <a:close/>
                <a:moveTo>
                  <a:pt x="1034" y="159"/>
                </a:moveTo>
                <a:lnTo>
                  <a:pt x="1161" y="159"/>
                </a:lnTo>
                <a:cubicBezTo>
                  <a:pt x="1209" y="159"/>
                  <a:pt x="1240" y="111"/>
                  <a:pt x="1240" y="80"/>
                </a:cubicBezTo>
                <a:cubicBezTo>
                  <a:pt x="1240" y="32"/>
                  <a:pt x="1209" y="0"/>
                  <a:pt x="1161" y="0"/>
                </a:cubicBezTo>
                <a:lnTo>
                  <a:pt x="1034" y="0"/>
                </a:lnTo>
                <a:cubicBezTo>
                  <a:pt x="1002" y="0"/>
                  <a:pt x="954" y="32"/>
                  <a:pt x="954" y="80"/>
                </a:cubicBezTo>
                <a:cubicBezTo>
                  <a:pt x="954" y="111"/>
                  <a:pt x="1002" y="159"/>
                  <a:pt x="1034" y="159"/>
                </a:cubicBezTo>
                <a:close/>
                <a:moveTo>
                  <a:pt x="0" y="2545"/>
                </a:moveTo>
                <a:cubicBezTo>
                  <a:pt x="0" y="2577"/>
                  <a:pt x="32" y="2625"/>
                  <a:pt x="80" y="2625"/>
                </a:cubicBezTo>
                <a:cubicBezTo>
                  <a:pt x="111" y="2625"/>
                  <a:pt x="159" y="2577"/>
                  <a:pt x="159" y="2545"/>
                </a:cubicBezTo>
                <a:lnTo>
                  <a:pt x="159" y="2417"/>
                </a:lnTo>
                <a:cubicBezTo>
                  <a:pt x="159" y="2370"/>
                  <a:pt x="111" y="2338"/>
                  <a:pt x="80" y="2338"/>
                </a:cubicBezTo>
                <a:cubicBezTo>
                  <a:pt x="32" y="2338"/>
                  <a:pt x="0" y="2370"/>
                  <a:pt x="0" y="2417"/>
                </a:cubicBezTo>
                <a:close/>
                <a:moveTo>
                  <a:pt x="0" y="3690"/>
                </a:moveTo>
                <a:cubicBezTo>
                  <a:pt x="0" y="3722"/>
                  <a:pt x="32" y="3770"/>
                  <a:pt x="80" y="3770"/>
                </a:cubicBezTo>
                <a:cubicBezTo>
                  <a:pt x="111" y="3770"/>
                  <a:pt x="159" y="3722"/>
                  <a:pt x="159" y="3690"/>
                </a:cubicBezTo>
                <a:lnTo>
                  <a:pt x="159" y="3563"/>
                </a:lnTo>
                <a:cubicBezTo>
                  <a:pt x="159" y="3515"/>
                  <a:pt x="111" y="3483"/>
                  <a:pt x="80" y="3483"/>
                </a:cubicBezTo>
                <a:cubicBezTo>
                  <a:pt x="32" y="3483"/>
                  <a:pt x="0" y="3515"/>
                  <a:pt x="0" y="3563"/>
                </a:cubicBezTo>
                <a:close/>
                <a:moveTo>
                  <a:pt x="0" y="636"/>
                </a:moveTo>
                <a:cubicBezTo>
                  <a:pt x="0" y="684"/>
                  <a:pt x="32" y="716"/>
                  <a:pt x="80" y="716"/>
                </a:cubicBezTo>
                <a:cubicBezTo>
                  <a:pt x="111" y="716"/>
                  <a:pt x="159" y="684"/>
                  <a:pt x="159" y="636"/>
                </a:cubicBezTo>
                <a:lnTo>
                  <a:pt x="159" y="509"/>
                </a:lnTo>
                <a:cubicBezTo>
                  <a:pt x="159" y="461"/>
                  <a:pt x="111" y="429"/>
                  <a:pt x="80" y="429"/>
                </a:cubicBezTo>
                <a:cubicBezTo>
                  <a:pt x="32" y="429"/>
                  <a:pt x="0" y="461"/>
                  <a:pt x="0" y="509"/>
                </a:cubicBezTo>
                <a:close/>
                <a:moveTo>
                  <a:pt x="652" y="4199"/>
                </a:moveTo>
                <a:lnTo>
                  <a:pt x="779" y="4199"/>
                </a:lnTo>
                <a:cubicBezTo>
                  <a:pt x="811" y="4199"/>
                  <a:pt x="859" y="4167"/>
                  <a:pt x="859" y="4119"/>
                </a:cubicBezTo>
                <a:cubicBezTo>
                  <a:pt x="859" y="4088"/>
                  <a:pt x="811" y="4040"/>
                  <a:pt x="779" y="4040"/>
                </a:cubicBezTo>
                <a:lnTo>
                  <a:pt x="652" y="4040"/>
                </a:lnTo>
                <a:cubicBezTo>
                  <a:pt x="604" y="4040"/>
                  <a:pt x="573" y="4088"/>
                  <a:pt x="573" y="4119"/>
                </a:cubicBezTo>
                <a:cubicBezTo>
                  <a:pt x="573" y="4167"/>
                  <a:pt x="604" y="4199"/>
                  <a:pt x="652" y="4199"/>
                </a:cubicBezTo>
                <a:close/>
                <a:moveTo>
                  <a:pt x="652" y="159"/>
                </a:moveTo>
                <a:lnTo>
                  <a:pt x="779" y="159"/>
                </a:lnTo>
                <a:cubicBezTo>
                  <a:pt x="827" y="159"/>
                  <a:pt x="859" y="111"/>
                  <a:pt x="859" y="80"/>
                </a:cubicBezTo>
                <a:cubicBezTo>
                  <a:pt x="859" y="32"/>
                  <a:pt x="827" y="0"/>
                  <a:pt x="779" y="0"/>
                </a:cubicBezTo>
                <a:lnTo>
                  <a:pt x="652" y="0"/>
                </a:lnTo>
                <a:cubicBezTo>
                  <a:pt x="620" y="0"/>
                  <a:pt x="573" y="32"/>
                  <a:pt x="573" y="80"/>
                </a:cubicBezTo>
                <a:cubicBezTo>
                  <a:pt x="573" y="111"/>
                  <a:pt x="620" y="159"/>
                  <a:pt x="652" y="159"/>
                </a:cubicBezTo>
                <a:close/>
                <a:moveTo>
                  <a:pt x="0" y="4056"/>
                </a:moveTo>
                <a:cubicBezTo>
                  <a:pt x="0" y="4104"/>
                  <a:pt x="32" y="4135"/>
                  <a:pt x="80" y="4135"/>
                </a:cubicBezTo>
                <a:cubicBezTo>
                  <a:pt x="111" y="4135"/>
                  <a:pt x="159" y="4104"/>
                  <a:pt x="159" y="4056"/>
                </a:cubicBezTo>
                <a:lnTo>
                  <a:pt x="159" y="3928"/>
                </a:lnTo>
                <a:cubicBezTo>
                  <a:pt x="159" y="3897"/>
                  <a:pt x="111" y="3849"/>
                  <a:pt x="80" y="3849"/>
                </a:cubicBezTo>
                <a:cubicBezTo>
                  <a:pt x="32" y="3849"/>
                  <a:pt x="0" y="3897"/>
                  <a:pt x="0" y="3928"/>
                </a:cubicBezTo>
                <a:close/>
                <a:moveTo>
                  <a:pt x="1416" y="4199"/>
                </a:moveTo>
                <a:lnTo>
                  <a:pt x="1543" y="4199"/>
                </a:lnTo>
                <a:cubicBezTo>
                  <a:pt x="1574" y="4199"/>
                  <a:pt x="1622" y="4167"/>
                  <a:pt x="1622" y="4119"/>
                </a:cubicBezTo>
                <a:cubicBezTo>
                  <a:pt x="1622" y="4088"/>
                  <a:pt x="1574" y="4040"/>
                  <a:pt x="1543" y="4040"/>
                </a:cubicBezTo>
                <a:lnTo>
                  <a:pt x="1416" y="4040"/>
                </a:lnTo>
                <a:cubicBezTo>
                  <a:pt x="1368" y="4040"/>
                  <a:pt x="1336" y="4088"/>
                  <a:pt x="1336" y="4119"/>
                </a:cubicBezTo>
                <a:cubicBezTo>
                  <a:pt x="1336" y="4167"/>
                  <a:pt x="1368" y="4199"/>
                  <a:pt x="1416" y="4199"/>
                </a:cubicBezTo>
                <a:close/>
                <a:moveTo>
                  <a:pt x="0" y="2163"/>
                </a:moveTo>
                <a:cubicBezTo>
                  <a:pt x="0" y="2195"/>
                  <a:pt x="32" y="2243"/>
                  <a:pt x="80" y="2243"/>
                </a:cubicBezTo>
                <a:cubicBezTo>
                  <a:pt x="111" y="2243"/>
                  <a:pt x="159" y="2195"/>
                  <a:pt x="159" y="2163"/>
                </a:cubicBezTo>
                <a:lnTo>
                  <a:pt x="159" y="2036"/>
                </a:lnTo>
                <a:cubicBezTo>
                  <a:pt x="159" y="1988"/>
                  <a:pt x="111" y="1956"/>
                  <a:pt x="80" y="1956"/>
                </a:cubicBezTo>
                <a:cubicBezTo>
                  <a:pt x="32" y="1956"/>
                  <a:pt x="0" y="1988"/>
                  <a:pt x="0" y="2036"/>
                </a:cubicBezTo>
                <a:close/>
                <a:moveTo>
                  <a:pt x="0" y="3308"/>
                </a:moveTo>
                <a:cubicBezTo>
                  <a:pt x="0" y="3340"/>
                  <a:pt x="32" y="3388"/>
                  <a:pt x="80" y="3388"/>
                </a:cubicBezTo>
                <a:cubicBezTo>
                  <a:pt x="111" y="3388"/>
                  <a:pt x="159" y="3340"/>
                  <a:pt x="159" y="3308"/>
                </a:cubicBezTo>
                <a:lnTo>
                  <a:pt x="159" y="3181"/>
                </a:lnTo>
                <a:cubicBezTo>
                  <a:pt x="159" y="3133"/>
                  <a:pt x="111" y="3101"/>
                  <a:pt x="80" y="3101"/>
                </a:cubicBezTo>
                <a:cubicBezTo>
                  <a:pt x="32" y="3101"/>
                  <a:pt x="0" y="3133"/>
                  <a:pt x="0" y="3181"/>
                </a:cubicBezTo>
                <a:close/>
                <a:moveTo>
                  <a:pt x="0" y="2926"/>
                </a:moveTo>
                <a:cubicBezTo>
                  <a:pt x="0" y="2958"/>
                  <a:pt x="32" y="3006"/>
                  <a:pt x="80" y="3006"/>
                </a:cubicBezTo>
                <a:cubicBezTo>
                  <a:pt x="111" y="3006"/>
                  <a:pt x="159" y="2958"/>
                  <a:pt x="159" y="2926"/>
                </a:cubicBezTo>
                <a:lnTo>
                  <a:pt x="159" y="2799"/>
                </a:lnTo>
                <a:cubicBezTo>
                  <a:pt x="159" y="2752"/>
                  <a:pt x="111" y="2720"/>
                  <a:pt x="80" y="2720"/>
                </a:cubicBezTo>
                <a:cubicBezTo>
                  <a:pt x="32" y="2720"/>
                  <a:pt x="0" y="2752"/>
                  <a:pt x="0" y="2799"/>
                </a:cubicBezTo>
                <a:close/>
                <a:moveTo>
                  <a:pt x="1416" y="159"/>
                </a:moveTo>
                <a:lnTo>
                  <a:pt x="1543" y="159"/>
                </a:lnTo>
                <a:cubicBezTo>
                  <a:pt x="1591" y="159"/>
                  <a:pt x="1622" y="111"/>
                  <a:pt x="1622" y="80"/>
                </a:cubicBezTo>
                <a:cubicBezTo>
                  <a:pt x="1622" y="32"/>
                  <a:pt x="1591" y="0"/>
                  <a:pt x="1543" y="0"/>
                </a:cubicBezTo>
                <a:lnTo>
                  <a:pt x="1416" y="0"/>
                </a:lnTo>
                <a:cubicBezTo>
                  <a:pt x="1383" y="0"/>
                  <a:pt x="1336" y="32"/>
                  <a:pt x="1336" y="80"/>
                </a:cubicBezTo>
                <a:cubicBezTo>
                  <a:pt x="1336" y="111"/>
                  <a:pt x="1383" y="159"/>
                  <a:pt x="1416" y="159"/>
                </a:cubicBezTo>
                <a:close/>
                <a:moveTo>
                  <a:pt x="2736" y="827"/>
                </a:moveTo>
                <a:cubicBezTo>
                  <a:pt x="2752" y="843"/>
                  <a:pt x="2767" y="843"/>
                  <a:pt x="2783" y="843"/>
                </a:cubicBezTo>
                <a:cubicBezTo>
                  <a:pt x="2815" y="843"/>
                  <a:pt x="2831" y="843"/>
                  <a:pt x="2847" y="827"/>
                </a:cubicBezTo>
                <a:cubicBezTo>
                  <a:pt x="2879" y="795"/>
                  <a:pt x="2879" y="747"/>
                  <a:pt x="2847" y="716"/>
                </a:cubicBezTo>
                <a:lnTo>
                  <a:pt x="2752" y="620"/>
                </a:lnTo>
                <a:cubicBezTo>
                  <a:pt x="2720" y="589"/>
                  <a:pt x="2672" y="589"/>
                  <a:pt x="2640" y="620"/>
                </a:cubicBezTo>
                <a:cubicBezTo>
                  <a:pt x="2609" y="652"/>
                  <a:pt x="2609" y="700"/>
                  <a:pt x="2640" y="732"/>
                </a:cubicBezTo>
                <a:close/>
                <a:moveTo>
                  <a:pt x="1797" y="4199"/>
                </a:moveTo>
                <a:lnTo>
                  <a:pt x="1972" y="4199"/>
                </a:lnTo>
                <a:cubicBezTo>
                  <a:pt x="2004" y="4199"/>
                  <a:pt x="2052" y="4167"/>
                  <a:pt x="2052" y="4119"/>
                </a:cubicBezTo>
                <a:cubicBezTo>
                  <a:pt x="2052" y="4088"/>
                  <a:pt x="2004" y="4040"/>
                  <a:pt x="1972" y="4040"/>
                </a:cubicBezTo>
                <a:lnTo>
                  <a:pt x="1797" y="4040"/>
                </a:lnTo>
                <a:cubicBezTo>
                  <a:pt x="1749" y="4040"/>
                  <a:pt x="1718" y="4088"/>
                  <a:pt x="1718" y="4119"/>
                </a:cubicBezTo>
                <a:cubicBezTo>
                  <a:pt x="1718" y="4167"/>
                  <a:pt x="1749" y="4199"/>
                  <a:pt x="1797" y="4199"/>
                </a:cubicBezTo>
                <a:close/>
                <a:moveTo>
                  <a:pt x="3324" y="2354"/>
                </a:moveTo>
                <a:cubicBezTo>
                  <a:pt x="3324" y="2306"/>
                  <a:pt x="3292" y="2274"/>
                  <a:pt x="3245" y="2274"/>
                </a:cubicBezTo>
                <a:cubicBezTo>
                  <a:pt x="3197" y="2274"/>
                  <a:pt x="3165" y="2306"/>
                  <a:pt x="3165" y="2354"/>
                </a:cubicBezTo>
                <a:lnTo>
                  <a:pt x="3165" y="2481"/>
                </a:lnTo>
                <a:cubicBezTo>
                  <a:pt x="3165" y="2529"/>
                  <a:pt x="3197" y="2561"/>
                  <a:pt x="3245" y="2561"/>
                </a:cubicBezTo>
                <a:cubicBezTo>
                  <a:pt x="3292" y="2561"/>
                  <a:pt x="3324" y="2529"/>
                  <a:pt x="3324" y="2481"/>
                </a:cubicBezTo>
                <a:close/>
                <a:moveTo>
                  <a:pt x="3324" y="2735"/>
                </a:moveTo>
                <a:cubicBezTo>
                  <a:pt x="3324" y="2688"/>
                  <a:pt x="3292" y="2656"/>
                  <a:pt x="3245" y="2656"/>
                </a:cubicBezTo>
                <a:cubicBezTo>
                  <a:pt x="3197" y="2656"/>
                  <a:pt x="3165" y="2688"/>
                  <a:pt x="3165" y="2735"/>
                </a:cubicBezTo>
                <a:lnTo>
                  <a:pt x="3165" y="2863"/>
                </a:lnTo>
                <a:cubicBezTo>
                  <a:pt x="3165" y="2911"/>
                  <a:pt x="3197" y="2943"/>
                  <a:pt x="3245" y="2943"/>
                </a:cubicBezTo>
                <a:cubicBezTo>
                  <a:pt x="3292" y="2943"/>
                  <a:pt x="3324" y="2911"/>
                  <a:pt x="3324" y="2863"/>
                </a:cubicBezTo>
                <a:close/>
                <a:moveTo>
                  <a:pt x="1797" y="159"/>
                </a:moveTo>
                <a:lnTo>
                  <a:pt x="1925" y="159"/>
                </a:lnTo>
                <a:cubicBezTo>
                  <a:pt x="1972" y="159"/>
                  <a:pt x="2004" y="111"/>
                  <a:pt x="2004" y="80"/>
                </a:cubicBezTo>
                <a:cubicBezTo>
                  <a:pt x="2004" y="32"/>
                  <a:pt x="1972" y="0"/>
                  <a:pt x="1925" y="0"/>
                </a:cubicBezTo>
                <a:lnTo>
                  <a:pt x="1797" y="0"/>
                </a:lnTo>
                <a:cubicBezTo>
                  <a:pt x="1765" y="0"/>
                  <a:pt x="1718" y="32"/>
                  <a:pt x="1718" y="80"/>
                </a:cubicBezTo>
                <a:cubicBezTo>
                  <a:pt x="1718" y="111"/>
                  <a:pt x="1765" y="159"/>
                  <a:pt x="1797" y="159"/>
                </a:cubicBezTo>
                <a:close/>
                <a:moveTo>
                  <a:pt x="3324" y="3117"/>
                </a:moveTo>
                <a:cubicBezTo>
                  <a:pt x="3324" y="3070"/>
                  <a:pt x="3292" y="3038"/>
                  <a:pt x="3245" y="3038"/>
                </a:cubicBezTo>
                <a:cubicBezTo>
                  <a:pt x="3197" y="3038"/>
                  <a:pt x="3165" y="3070"/>
                  <a:pt x="3165" y="3117"/>
                </a:cubicBezTo>
                <a:lnTo>
                  <a:pt x="3165" y="3244"/>
                </a:lnTo>
                <a:cubicBezTo>
                  <a:pt x="3165" y="3292"/>
                  <a:pt x="3197" y="3324"/>
                  <a:pt x="3245" y="3324"/>
                </a:cubicBezTo>
                <a:cubicBezTo>
                  <a:pt x="3292" y="3324"/>
                  <a:pt x="3324" y="3292"/>
                  <a:pt x="3324" y="3244"/>
                </a:cubicBezTo>
                <a:close/>
                <a:moveTo>
                  <a:pt x="3118" y="4040"/>
                </a:moveTo>
                <a:lnTo>
                  <a:pt x="2990" y="4040"/>
                </a:lnTo>
                <a:cubicBezTo>
                  <a:pt x="2942" y="4040"/>
                  <a:pt x="2910" y="4088"/>
                  <a:pt x="2910" y="4119"/>
                </a:cubicBezTo>
                <a:cubicBezTo>
                  <a:pt x="2910" y="4167"/>
                  <a:pt x="2942" y="4199"/>
                  <a:pt x="2990" y="4199"/>
                </a:cubicBezTo>
                <a:lnTo>
                  <a:pt x="3118" y="4199"/>
                </a:lnTo>
                <a:cubicBezTo>
                  <a:pt x="3149" y="4199"/>
                  <a:pt x="3197" y="4167"/>
                  <a:pt x="3197" y="4119"/>
                </a:cubicBezTo>
                <a:cubicBezTo>
                  <a:pt x="3197" y="4088"/>
                  <a:pt x="3149" y="4040"/>
                  <a:pt x="3118" y="4040"/>
                </a:cubicBezTo>
                <a:close/>
                <a:moveTo>
                  <a:pt x="3324" y="3499"/>
                </a:moveTo>
                <a:cubicBezTo>
                  <a:pt x="3324" y="3452"/>
                  <a:pt x="3292" y="3420"/>
                  <a:pt x="3245" y="3420"/>
                </a:cubicBezTo>
                <a:cubicBezTo>
                  <a:pt x="3197" y="3420"/>
                  <a:pt x="3165" y="3452"/>
                  <a:pt x="3165" y="3499"/>
                </a:cubicBezTo>
                <a:lnTo>
                  <a:pt x="3165" y="3626"/>
                </a:lnTo>
                <a:cubicBezTo>
                  <a:pt x="3165" y="3674"/>
                  <a:pt x="3197" y="3706"/>
                  <a:pt x="3245" y="3706"/>
                </a:cubicBezTo>
                <a:cubicBezTo>
                  <a:pt x="3292" y="3706"/>
                  <a:pt x="3324" y="3674"/>
                  <a:pt x="3324" y="3626"/>
                </a:cubicBezTo>
                <a:close/>
                <a:moveTo>
                  <a:pt x="3324" y="1590"/>
                </a:moveTo>
                <a:cubicBezTo>
                  <a:pt x="3324" y="1543"/>
                  <a:pt x="3292" y="1511"/>
                  <a:pt x="3245" y="1511"/>
                </a:cubicBezTo>
                <a:cubicBezTo>
                  <a:pt x="3197" y="1511"/>
                  <a:pt x="3165" y="1543"/>
                  <a:pt x="3165" y="1590"/>
                </a:cubicBezTo>
                <a:lnTo>
                  <a:pt x="3165" y="1718"/>
                </a:lnTo>
                <a:cubicBezTo>
                  <a:pt x="3165" y="1765"/>
                  <a:pt x="3197" y="1797"/>
                  <a:pt x="3245" y="1797"/>
                </a:cubicBezTo>
                <a:cubicBezTo>
                  <a:pt x="3292" y="1797"/>
                  <a:pt x="3324" y="1765"/>
                  <a:pt x="3324" y="1718"/>
                </a:cubicBezTo>
                <a:close/>
                <a:moveTo>
                  <a:pt x="2609" y="4040"/>
                </a:moveTo>
                <a:cubicBezTo>
                  <a:pt x="2561" y="4040"/>
                  <a:pt x="2529" y="4088"/>
                  <a:pt x="2529" y="4119"/>
                </a:cubicBezTo>
                <a:cubicBezTo>
                  <a:pt x="2529" y="4167"/>
                  <a:pt x="2561" y="4199"/>
                  <a:pt x="2609" y="4199"/>
                </a:cubicBezTo>
                <a:lnTo>
                  <a:pt x="2736" y="4199"/>
                </a:lnTo>
                <a:cubicBezTo>
                  <a:pt x="2767" y="4199"/>
                  <a:pt x="2815" y="4167"/>
                  <a:pt x="2815" y="4119"/>
                </a:cubicBezTo>
                <a:cubicBezTo>
                  <a:pt x="2815" y="4088"/>
                  <a:pt x="2767" y="4040"/>
                  <a:pt x="2736" y="4040"/>
                </a:cubicBezTo>
                <a:close/>
                <a:moveTo>
                  <a:pt x="2354" y="4040"/>
                </a:moveTo>
                <a:lnTo>
                  <a:pt x="2227" y="4040"/>
                </a:lnTo>
                <a:cubicBezTo>
                  <a:pt x="2179" y="4040"/>
                  <a:pt x="2147" y="4088"/>
                  <a:pt x="2147" y="4119"/>
                </a:cubicBezTo>
                <a:cubicBezTo>
                  <a:pt x="2147" y="4167"/>
                  <a:pt x="2179" y="4199"/>
                  <a:pt x="2227" y="4199"/>
                </a:cubicBezTo>
                <a:lnTo>
                  <a:pt x="2354" y="4199"/>
                </a:lnTo>
                <a:cubicBezTo>
                  <a:pt x="2386" y="4199"/>
                  <a:pt x="2433" y="4167"/>
                  <a:pt x="2433" y="4119"/>
                </a:cubicBezTo>
                <a:cubicBezTo>
                  <a:pt x="2433" y="4088"/>
                  <a:pt x="2386" y="4040"/>
                  <a:pt x="2354" y="4040"/>
                </a:cubicBezTo>
                <a:close/>
                <a:moveTo>
                  <a:pt x="2481" y="350"/>
                </a:moveTo>
                <a:cubicBezTo>
                  <a:pt x="2449" y="318"/>
                  <a:pt x="2401" y="318"/>
                  <a:pt x="2370" y="350"/>
                </a:cubicBezTo>
                <a:cubicBezTo>
                  <a:pt x="2338" y="382"/>
                  <a:pt x="2338" y="429"/>
                  <a:pt x="2370" y="461"/>
                </a:cubicBezTo>
                <a:lnTo>
                  <a:pt x="2465" y="557"/>
                </a:lnTo>
                <a:cubicBezTo>
                  <a:pt x="2481" y="572"/>
                  <a:pt x="2497" y="572"/>
                  <a:pt x="2513" y="572"/>
                </a:cubicBezTo>
                <a:cubicBezTo>
                  <a:pt x="2545" y="572"/>
                  <a:pt x="2561" y="572"/>
                  <a:pt x="2576" y="557"/>
                </a:cubicBezTo>
                <a:cubicBezTo>
                  <a:pt x="2609" y="525"/>
                  <a:pt x="2609" y="477"/>
                  <a:pt x="2576" y="445"/>
                </a:cubicBezTo>
                <a:close/>
                <a:moveTo>
                  <a:pt x="2211" y="80"/>
                </a:moveTo>
                <a:cubicBezTo>
                  <a:pt x="2179" y="48"/>
                  <a:pt x="2131" y="48"/>
                  <a:pt x="2100" y="80"/>
                </a:cubicBezTo>
                <a:cubicBezTo>
                  <a:pt x="2068" y="96"/>
                  <a:pt x="2052" y="127"/>
                  <a:pt x="2052" y="159"/>
                </a:cubicBezTo>
                <a:lnTo>
                  <a:pt x="2052" y="286"/>
                </a:lnTo>
                <a:cubicBezTo>
                  <a:pt x="2052" y="334"/>
                  <a:pt x="2100" y="366"/>
                  <a:pt x="2131" y="366"/>
                </a:cubicBezTo>
                <a:cubicBezTo>
                  <a:pt x="2179" y="366"/>
                  <a:pt x="2211" y="334"/>
                  <a:pt x="2211" y="302"/>
                </a:cubicBezTo>
                <a:lnTo>
                  <a:pt x="2243" y="302"/>
                </a:lnTo>
                <a:cubicBezTo>
                  <a:pt x="2258" y="302"/>
                  <a:pt x="2290" y="302"/>
                  <a:pt x="2306" y="286"/>
                </a:cubicBezTo>
                <a:cubicBezTo>
                  <a:pt x="2338" y="254"/>
                  <a:pt x="2338" y="207"/>
                  <a:pt x="2306" y="175"/>
                </a:cubicBezTo>
                <a:close/>
                <a:moveTo>
                  <a:pt x="3324" y="4008"/>
                </a:moveTo>
                <a:lnTo>
                  <a:pt x="3324" y="3881"/>
                </a:lnTo>
                <a:cubicBezTo>
                  <a:pt x="3324" y="3833"/>
                  <a:pt x="3292" y="3801"/>
                  <a:pt x="3245" y="3801"/>
                </a:cubicBezTo>
                <a:cubicBezTo>
                  <a:pt x="3197" y="3801"/>
                  <a:pt x="3165" y="3833"/>
                  <a:pt x="3165" y="3881"/>
                </a:cubicBezTo>
                <a:lnTo>
                  <a:pt x="3165" y="4008"/>
                </a:lnTo>
                <a:cubicBezTo>
                  <a:pt x="3165" y="4056"/>
                  <a:pt x="3197" y="4088"/>
                  <a:pt x="3245" y="4088"/>
                </a:cubicBezTo>
                <a:cubicBezTo>
                  <a:pt x="3292" y="4088"/>
                  <a:pt x="3324" y="4056"/>
                  <a:pt x="3324" y="4008"/>
                </a:cubicBezTo>
                <a:close/>
                <a:moveTo>
                  <a:pt x="3324" y="1972"/>
                </a:moveTo>
                <a:cubicBezTo>
                  <a:pt x="3324" y="1925"/>
                  <a:pt x="3292" y="1893"/>
                  <a:pt x="3245" y="1893"/>
                </a:cubicBezTo>
                <a:cubicBezTo>
                  <a:pt x="3197" y="1893"/>
                  <a:pt x="3165" y="1925"/>
                  <a:pt x="3165" y="1972"/>
                </a:cubicBezTo>
                <a:lnTo>
                  <a:pt x="3165" y="2099"/>
                </a:lnTo>
                <a:cubicBezTo>
                  <a:pt x="3165" y="2147"/>
                  <a:pt x="3197" y="2179"/>
                  <a:pt x="3245" y="2179"/>
                </a:cubicBezTo>
                <a:cubicBezTo>
                  <a:pt x="3292" y="2179"/>
                  <a:pt x="3324" y="2147"/>
                  <a:pt x="3324" y="2099"/>
                </a:cubicBezTo>
                <a:close/>
                <a:moveTo>
                  <a:pt x="3022" y="890"/>
                </a:moveTo>
                <a:cubicBezTo>
                  <a:pt x="2990" y="859"/>
                  <a:pt x="2942" y="859"/>
                  <a:pt x="2910" y="890"/>
                </a:cubicBezTo>
                <a:cubicBezTo>
                  <a:pt x="2879" y="923"/>
                  <a:pt x="2879" y="970"/>
                  <a:pt x="2910" y="1002"/>
                </a:cubicBezTo>
                <a:lnTo>
                  <a:pt x="3006" y="1098"/>
                </a:lnTo>
                <a:cubicBezTo>
                  <a:pt x="3022" y="1098"/>
                  <a:pt x="3038" y="1113"/>
                  <a:pt x="3054" y="1113"/>
                </a:cubicBezTo>
                <a:cubicBezTo>
                  <a:pt x="3085" y="1113"/>
                  <a:pt x="3101" y="1098"/>
                  <a:pt x="3118" y="1081"/>
                </a:cubicBezTo>
                <a:cubicBezTo>
                  <a:pt x="3149" y="1066"/>
                  <a:pt x="3149" y="1002"/>
                  <a:pt x="3118" y="970"/>
                </a:cubicBezTo>
                <a:close/>
                <a:moveTo>
                  <a:pt x="3324" y="1225"/>
                </a:moveTo>
                <a:cubicBezTo>
                  <a:pt x="3324" y="1193"/>
                  <a:pt x="3308" y="1177"/>
                  <a:pt x="3292" y="1161"/>
                </a:cubicBezTo>
                <a:cubicBezTo>
                  <a:pt x="3276" y="1145"/>
                  <a:pt x="3261" y="1129"/>
                  <a:pt x="3245" y="1129"/>
                </a:cubicBezTo>
                <a:lnTo>
                  <a:pt x="3213" y="1129"/>
                </a:lnTo>
                <a:lnTo>
                  <a:pt x="3070" y="1129"/>
                </a:lnTo>
                <a:cubicBezTo>
                  <a:pt x="3022" y="1129"/>
                  <a:pt x="2990" y="1161"/>
                  <a:pt x="2990" y="1209"/>
                </a:cubicBezTo>
                <a:cubicBezTo>
                  <a:pt x="2990" y="1241"/>
                  <a:pt x="3022" y="1289"/>
                  <a:pt x="3070" y="1289"/>
                </a:cubicBezTo>
                <a:lnTo>
                  <a:pt x="3165" y="1289"/>
                </a:lnTo>
                <a:lnTo>
                  <a:pt x="3165" y="1336"/>
                </a:lnTo>
                <a:cubicBezTo>
                  <a:pt x="3165" y="1384"/>
                  <a:pt x="3197" y="1416"/>
                  <a:pt x="3245" y="1416"/>
                </a:cubicBezTo>
                <a:cubicBezTo>
                  <a:pt x="3292" y="1416"/>
                  <a:pt x="3324" y="1384"/>
                  <a:pt x="3324" y="1336"/>
                </a:cubicBezTo>
                <a:close/>
                <a:moveTo>
                  <a:pt x="2052" y="684"/>
                </a:moveTo>
                <a:cubicBezTo>
                  <a:pt x="2052" y="732"/>
                  <a:pt x="2100" y="763"/>
                  <a:pt x="2131" y="763"/>
                </a:cubicBezTo>
                <a:cubicBezTo>
                  <a:pt x="2179" y="763"/>
                  <a:pt x="2211" y="732"/>
                  <a:pt x="2211" y="684"/>
                </a:cubicBezTo>
                <a:lnTo>
                  <a:pt x="2211" y="557"/>
                </a:lnTo>
                <a:cubicBezTo>
                  <a:pt x="2211" y="509"/>
                  <a:pt x="2179" y="477"/>
                  <a:pt x="2131" y="477"/>
                </a:cubicBezTo>
                <a:cubicBezTo>
                  <a:pt x="2100" y="477"/>
                  <a:pt x="2052" y="509"/>
                  <a:pt x="2052" y="557"/>
                </a:cubicBezTo>
                <a:close/>
                <a:moveTo>
                  <a:pt x="2672" y="1289"/>
                </a:moveTo>
                <a:lnTo>
                  <a:pt x="2815" y="1289"/>
                </a:lnTo>
                <a:cubicBezTo>
                  <a:pt x="2863" y="1289"/>
                  <a:pt x="2895" y="1241"/>
                  <a:pt x="2895" y="1209"/>
                </a:cubicBezTo>
                <a:cubicBezTo>
                  <a:pt x="2895" y="1161"/>
                  <a:pt x="2863" y="1129"/>
                  <a:pt x="2815" y="1129"/>
                </a:cubicBezTo>
                <a:lnTo>
                  <a:pt x="2672" y="1129"/>
                </a:lnTo>
                <a:cubicBezTo>
                  <a:pt x="2624" y="1129"/>
                  <a:pt x="2592" y="1161"/>
                  <a:pt x="2592" y="1209"/>
                </a:cubicBezTo>
                <a:cubicBezTo>
                  <a:pt x="2592" y="1241"/>
                  <a:pt x="2624" y="1289"/>
                  <a:pt x="2672" y="1289"/>
                </a:cubicBezTo>
                <a:close/>
                <a:moveTo>
                  <a:pt x="2195" y="1209"/>
                </a:moveTo>
                <a:cubicBezTo>
                  <a:pt x="2195" y="1241"/>
                  <a:pt x="2227" y="1289"/>
                  <a:pt x="2274" y="1289"/>
                </a:cubicBezTo>
                <a:lnTo>
                  <a:pt x="2418" y="1289"/>
                </a:lnTo>
                <a:cubicBezTo>
                  <a:pt x="2465" y="1289"/>
                  <a:pt x="2497" y="1241"/>
                  <a:pt x="2497" y="1209"/>
                </a:cubicBezTo>
                <a:cubicBezTo>
                  <a:pt x="2497" y="1161"/>
                  <a:pt x="2465" y="1129"/>
                  <a:pt x="2418" y="1129"/>
                </a:cubicBezTo>
                <a:lnTo>
                  <a:pt x="2274" y="1129"/>
                </a:lnTo>
                <a:cubicBezTo>
                  <a:pt x="2227" y="1129"/>
                  <a:pt x="2195" y="1161"/>
                  <a:pt x="2195" y="1209"/>
                </a:cubicBezTo>
                <a:close/>
                <a:moveTo>
                  <a:pt x="2052" y="1081"/>
                </a:moveTo>
                <a:cubicBezTo>
                  <a:pt x="2052" y="1129"/>
                  <a:pt x="2100" y="1161"/>
                  <a:pt x="2131" y="1161"/>
                </a:cubicBezTo>
                <a:cubicBezTo>
                  <a:pt x="2179" y="1161"/>
                  <a:pt x="2211" y="1129"/>
                  <a:pt x="2211" y="1081"/>
                </a:cubicBezTo>
                <a:lnTo>
                  <a:pt x="2211" y="954"/>
                </a:lnTo>
                <a:cubicBezTo>
                  <a:pt x="2211" y="907"/>
                  <a:pt x="2179" y="875"/>
                  <a:pt x="2131" y="875"/>
                </a:cubicBezTo>
                <a:cubicBezTo>
                  <a:pt x="2100" y="875"/>
                  <a:pt x="2052" y="907"/>
                  <a:pt x="2052" y="95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8" name="TextBox 107">
            <a:extLst>
              <a:ext uri="{FF2B5EF4-FFF2-40B4-BE49-F238E27FC236}">
                <a16:creationId xmlns:a16="http://schemas.microsoft.com/office/drawing/2014/main" id="{85876019-4412-6941-AB77-FBFC45234BF1}"/>
              </a:ext>
            </a:extLst>
          </p:cNvPr>
          <p:cNvSpPr txBox="1"/>
          <p:nvPr/>
        </p:nvSpPr>
        <p:spPr>
          <a:xfrm>
            <a:off x="1416550" y="5139610"/>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File Zip</a:t>
            </a:r>
          </a:p>
        </p:txBody>
      </p:sp>
      <p:sp>
        <p:nvSpPr>
          <p:cNvPr id="109" name="Freeform: Shape 6">
            <a:extLst>
              <a:ext uri="{FF2B5EF4-FFF2-40B4-BE49-F238E27FC236}">
                <a16:creationId xmlns:a16="http://schemas.microsoft.com/office/drawing/2014/main" id="{C67F0FF3-C32E-544D-8D8C-D5E4BD4BEB66}"/>
              </a:ext>
            </a:extLst>
          </p:cNvPr>
          <p:cNvSpPr/>
          <p:nvPr/>
        </p:nvSpPr>
        <p:spPr>
          <a:xfrm>
            <a:off x="2061979" y="3183824"/>
            <a:ext cx="1201679" cy="1522800"/>
          </a:xfrm>
          <a:custGeom>
            <a:avLst/>
            <a:gdLst/>
            <a:ahLst/>
            <a:cxnLst>
              <a:cxn ang="3cd4">
                <a:pos x="hc" y="t"/>
              </a:cxn>
              <a:cxn ang="cd2">
                <a:pos x="l" y="vc"/>
              </a:cxn>
              <a:cxn ang="cd4">
                <a:pos x="hc" y="b"/>
              </a:cxn>
              <a:cxn ang="0">
                <a:pos x="r" y="vc"/>
              </a:cxn>
            </a:cxnLst>
            <a:rect l="l" t="t" r="r" b="b"/>
            <a:pathLst>
              <a:path w="3339" h="4231">
                <a:moveTo>
                  <a:pt x="2210" y="17"/>
                </a:moveTo>
                <a:cubicBezTo>
                  <a:pt x="2194" y="0"/>
                  <a:pt x="2178" y="0"/>
                  <a:pt x="2146" y="0"/>
                </a:cubicBezTo>
                <a:lnTo>
                  <a:pt x="79" y="0"/>
                </a:lnTo>
                <a:cubicBezTo>
                  <a:pt x="47" y="0"/>
                  <a:pt x="0" y="32"/>
                  <a:pt x="0" y="80"/>
                </a:cubicBezTo>
                <a:lnTo>
                  <a:pt x="0" y="4152"/>
                </a:lnTo>
                <a:cubicBezTo>
                  <a:pt x="0" y="4184"/>
                  <a:pt x="47" y="4231"/>
                  <a:pt x="79" y="4231"/>
                </a:cubicBezTo>
                <a:lnTo>
                  <a:pt x="3260" y="4231"/>
                </a:lnTo>
                <a:cubicBezTo>
                  <a:pt x="3308" y="4231"/>
                  <a:pt x="3339" y="4184"/>
                  <a:pt x="3339" y="4152"/>
                </a:cubicBezTo>
                <a:lnTo>
                  <a:pt x="3339" y="1178"/>
                </a:lnTo>
                <a:cubicBezTo>
                  <a:pt x="3339" y="1162"/>
                  <a:pt x="3324" y="1130"/>
                  <a:pt x="3308" y="1130"/>
                </a:cubicBezTo>
                <a:close/>
                <a:moveTo>
                  <a:pt x="3181" y="1209"/>
                </a:moveTo>
                <a:lnTo>
                  <a:pt x="3181" y="1273"/>
                </a:lnTo>
                <a:lnTo>
                  <a:pt x="2146" y="1273"/>
                </a:lnTo>
                <a:lnTo>
                  <a:pt x="2146" y="191"/>
                </a:lnTo>
                <a:close/>
                <a:moveTo>
                  <a:pt x="158" y="4072"/>
                </a:moveTo>
                <a:lnTo>
                  <a:pt x="158" y="160"/>
                </a:lnTo>
                <a:lnTo>
                  <a:pt x="1988" y="160"/>
                </a:lnTo>
                <a:lnTo>
                  <a:pt x="1988" y="1353"/>
                </a:lnTo>
                <a:cubicBezTo>
                  <a:pt x="1988" y="1400"/>
                  <a:pt x="2035" y="1432"/>
                  <a:pt x="2067" y="1432"/>
                </a:cubicBezTo>
                <a:lnTo>
                  <a:pt x="3181" y="1432"/>
                </a:lnTo>
                <a:lnTo>
                  <a:pt x="3181" y="4072"/>
                </a:lnTo>
                <a:close/>
                <a:moveTo>
                  <a:pt x="1399" y="2371"/>
                </a:moveTo>
                <a:lnTo>
                  <a:pt x="938" y="2371"/>
                </a:lnTo>
                <a:cubicBezTo>
                  <a:pt x="906" y="2371"/>
                  <a:pt x="874" y="2402"/>
                  <a:pt x="858" y="2450"/>
                </a:cubicBezTo>
                <a:lnTo>
                  <a:pt x="779" y="3086"/>
                </a:lnTo>
                <a:cubicBezTo>
                  <a:pt x="779" y="3293"/>
                  <a:pt x="938" y="3468"/>
                  <a:pt x="1160" y="3468"/>
                </a:cubicBezTo>
                <a:lnTo>
                  <a:pt x="1176" y="3468"/>
                </a:lnTo>
                <a:cubicBezTo>
                  <a:pt x="1383" y="3468"/>
                  <a:pt x="1558" y="3293"/>
                  <a:pt x="1558" y="3086"/>
                </a:cubicBezTo>
                <a:lnTo>
                  <a:pt x="1479" y="2450"/>
                </a:lnTo>
                <a:cubicBezTo>
                  <a:pt x="1479" y="2402"/>
                  <a:pt x="1431" y="2371"/>
                  <a:pt x="1399" y="2371"/>
                </a:cubicBezTo>
                <a:close/>
                <a:moveTo>
                  <a:pt x="1176" y="3309"/>
                </a:moveTo>
                <a:lnTo>
                  <a:pt x="1160" y="3309"/>
                </a:lnTo>
                <a:cubicBezTo>
                  <a:pt x="1033" y="3309"/>
                  <a:pt x="938" y="3213"/>
                  <a:pt x="938" y="3102"/>
                </a:cubicBezTo>
                <a:lnTo>
                  <a:pt x="1017" y="2529"/>
                </a:lnTo>
                <a:lnTo>
                  <a:pt x="1336" y="2529"/>
                </a:lnTo>
                <a:lnTo>
                  <a:pt x="1399" y="3086"/>
                </a:lnTo>
                <a:cubicBezTo>
                  <a:pt x="1399" y="3213"/>
                  <a:pt x="1303" y="3309"/>
                  <a:pt x="1176" y="3309"/>
                </a:cubicBezTo>
                <a:close/>
                <a:moveTo>
                  <a:pt x="1001" y="2275"/>
                </a:moveTo>
                <a:cubicBezTo>
                  <a:pt x="1001" y="2307"/>
                  <a:pt x="1049" y="2354"/>
                  <a:pt x="1081" y="2354"/>
                </a:cubicBezTo>
                <a:lnTo>
                  <a:pt x="1240" y="2354"/>
                </a:lnTo>
                <a:cubicBezTo>
                  <a:pt x="1288" y="2354"/>
                  <a:pt x="1319" y="2307"/>
                  <a:pt x="1319" y="2275"/>
                </a:cubicBezTo>
                <a:cubicBezTo>
                  <a:pt x="1319" y="2227"/>
                  <a:pt x="1303" y="2211"/>
                  <a:pt x="1256" y="2196"/>
                </a:cubicBezTo>
                <a:lnTo>
                  <a:pt x="1399" y="2196"/>
                </a:lnTo>
                <a:cubicBezTo>
                  <a:pt x="1446" y="2196"/>
                  <a:pt x="1479" y="2163"/>
                  <a:pt x="1479" y="2116"/>
                </a:cubicBezTo>
                <a:cubicBezTo>
                  <a:pt x="1479" y="2068"/>
                  <a:pt x="1446" y="2036"/>
                  <a:pt x="1399" y="2036"/>
                </a:cubicBezTo>
                <a:lnTo>
                  <a:pt x="1272" y="2036"/>
                </a:lnTo>
                <a:cubicBezTo>
                  <a:pt x="1303" y="2020"/>
                  <a:pt x="1319" y="1989"/>
                  <a:pt x="1319" y="1957"/>
                </a:cubicBezTo>
                <a:cubicBezTo>
                  <a:pt x="1319" y="1925"/>
                  <a:pt x="1303" y="1893"/>
                  <a:pt x="1272" y="1877"/>
                </a:cubicBezTo>
                <a:lnTo>
                  <a:pt x="1399" y="1877"/>
                </a:lnTo>
                <a:cubicBezTo>
                  <a:pt x="1446" y="1877"/>
                  <a:pt x="1479" y="1845"/>
                  <a:pt x="1479" y="1798"/>
                </a:cubicBezTo>
                <a:cubicBezTo>
                  <a:pt x="1479" y="1766"/>
                  <a:pt x="1446" y="1718"/>
                  <a:pt x="1399" y="1718"/>
                </a:cubicBezTo>
                <a:lnTo>
                  <a:pt x="1272" y="1718"/>
                </a:lnTo>
                <a:cubicBezTo>
                  <a:pt x="1303" y="1718"/>
                  <a:pt x="1319" y="1687"/>
                  <a:pt x="1319" y="1655"/>
                </a:cubicBezTo>
                <a:cubicBezTo>
                  <a:pt x="1319" y="1607"/>
                  <a:pt x="1303" y="1575"/>
                  <a:pt x="1272" y="1575"/>
                </a:cubicBezTo>
                <a:lnTo>
                  <a:pt x="1399" y="1575"/>
                </a:lnTo>
                <a:cubicBezTo>
                  <a:pt x="1446" y="1575"/>
                  <a:pt x="1479" y="1544"/>
                  <a:pt x="1479" y="1496"/>
                </a:cubicBezTo>
                <a:cubicBezTo>
                  <a:pt x="1479" y="1448"/>
                  <a:pt x="1446" y="1416"/>
                  <a:pt x="1399" y="1416"/>
                </a:cubicBezTo>
                <a:lnTo>
                  <a:pt x="1256" y="1416"/>
                </a:lnTo>
                <a:cubicBezTo>
                  <a:pt x="1303" y="1400"/>
                  <a:pt x="1319" y="1368"/>
                  <a:pt x="1319" y="1336"/>
                </a:cubicBezTo>
                <a:cubicBezTo>
                  <a:pt x="1319" y="1305"/>
                  <a:pt x="1303" y="1273"/>
                  <a:pt x="1272" y="1257"/>
                </a:cubicBezTo>
                <a:lnTo>
                  <a:pt x="1399" y="1257"/>
                </a:lnTo>
                <a:cubicBezTo>
                  <a:pt x="1446" y="1257"/>
                  <a:pt x="1479" y="1225"/>
                  <a:pt x="1479" y="1178"/>
                </a:cubicBezTo>
                <a:cubicBezTo>
                  <a:pt x="1479" y="1146"/>
                  <a:pt x="1446" y="1098"/>
                  <a:pt x="1399" y="1098"/>
                </a:cubicBezTo>
                <a:lnTo>
                  <a:pt x="1272" y="1098"/>
                </a:lnTo>
                <a:cubicBezTo>
                  <a:pt x="1303" y="1098"/>
                  <a:pt x="1319" y="1066"/>
                  <a:pt x="1319" y="1018"/>
                </a:cubicBezTo>
                <a:cubicBezTo>
                  <a:pt x="1319" y="987"/>
                  <a:pt x="1303" y="955"/>
                  <a:pt x="1272" y="955"/>
                </a:cubicBezTo>
                <a:lnTo>
                  <a:pt x="1399" y="955"/>
                </a:lnTo>
                <a:cubicBezTo>
                  <a:pt x="1446" y="955"/>
                  <a:pt x="1479" y="907"/>
                  <a:pt x="1479" y="875"/>
                </a:cubicBezTo>
                <a:cubicBezTo>
                  <a:pt x="1479" y="827"/>
                  <a:pt x="1446" y="796"/>
                  <a:pt x="1399" y="796"/>
                </a:cubicBezTo>
                <a:lnTo>
                  <a:pt x="1256" y="796"/>
                </a:lnTo>
                <a:cubicBezTo>
                  <a:pt x="1303" y="780"/>
                  <a:pt x="1319" y="748"/>
                  <a:pt x="1319" y="716"/>
                </a:cubicBezTo>
                <a:cubicBezTo>
                  <a:pt x="1319" y="669"/>
                  <a:pt x="1288" y="637"/>
                  <a:pt x="1240" y="637"/>
                </a:cubicBezTo>
                <a:lnTo>
                  <a:pt x="1081" y="637"/>
                </a:lnTo>
                <a:cubicBezTo>
                  <a:pt x="1049" y="637"/>
                  <a:pt x="1001" y="669"/>
                  <a:pt x="1001" y="716"/>
                </a:cubicBezTo>
                <a:cubicBezTo>
                  <a:pt x="1001" y="764"/>
                  <a:pt x="1049" y="796"/>
                  <a:pt x="1081" y="796"/>
                </a:cubicBezTo>
                <a:lnTo>
                  <a:pt x="1224" y="796"/>
                </a:lnTo>
                <a:cubicBezTo>
                  <a:pt x="1192" y="796"/>
                  <a:pt x="1160" y="827"/>
                  <a:pt x="1160" y="875"/>
                </a:cubicBezTo>
                <a:cubicBezTo>
                  <a:pt x="1160" y="907"/>
                  <a:pt x="1192" y="939"/>
                  <a:pt x="1224" y="939"/>
                </a:cubicBezTo>
                <a:lnTo>
                  <a:pt x="1081" y="939"/>
                </a:lnTo>
                <a:cubicBezTo>
                  <a:pt x="1049" y="939"/>
                  <a:pt x="1001" y="987"/>
                  <a:pt x="1001" y="1018"/>
                </a:cubicBezTo>
                <a:cubicBezTo>
                  <a:pt x="1001" y="1066"/>
                  <a:pt x="1049" y="1098"/>
                  <a:pt x="1081" y="1098"/>
                </a:cubicBezTo>
                <a:lnTo>
                  <a:pt x="1224" y="1098"/>
                </a:lnTo>
                <a:cubicBezTo>
                  <a:pt x="1192" y="1114"/>
                  <a:pt x="1160" y="1146"/>
                  <a:pt x="1160" y="1178"/>
                </a:cubicBezTo>
                <a:cubicBezTo>
                  <a:pt x="1160" y="1225"/>
                  <a:pt x="1192" y="1241"/>
                  <a:pt x="1224" y="1257"/>
                </a:cubicBezTo>
                <a:lnTo>
                  <a:pt x="1081" y="1257"/>
                </a:lnTo>
                <a:cubicBezTo>
                  <a:pt x="1049" y="1257"/>
                  <a:pt x="1001" y="1289"/>
                  <a:pt x="1001" y="1336"/>
                </a:cubicBezTo>
                <a:cubicBezTo>
                  <a:pt x="1001" y="1384"/>
                  <a:pt x="1049" y="1416"/>
                  <a:pt x="1081" y="1416"/>
                </a:cubicBezTo>
                <a:lnTo>
                  <a:pt x="1224" y="1416"/>
                </a:lnTo>
                <a:cubicBezTo>
                  <a:pt x="1192" y="1432"/>
                  <a:pt x="1160" y="1464"/>
                  <a:pt x="1160" y="1496"/>
                </a:cubicBezTo>
                <a:cubicBezTo>
                  <a:pt x="1160" y="1527"/>
                  <a:pt x="1192" y="1559"/>
                  <a:pt x="1224" y="1575"/>
                </a:cubicBezTo>
                <a:lnTo>
                  <a:pt x="1081" y="1575"/>
                </a:lnTo>
                <a:cubicBezTo>
                  <a:pt x="1049" y="1575"/>
                  <a:pt x="1001" y="1607"/>
                  <a:pt x="1001" y="1655"/>
                </a:cubicBezTo>
                <a:cubicBezTo>
                  <a:pt x="1001" y="1687"/>
                  <a:pt x="1049" y="1734"/>
                  <a:pt x="1081" y="1734"/>
                </a:cubicBezTo>
                <a:lnTo>
                  <a:pt x="1224" y="1734"/>
                </a:lnTo>
                <a:cubicBezTo>
                  <a:pt x="1192" y="1734"/>
                  <a:pt x="1160" y="1766"/>
                  <a:pt x="1160" y="1798"/>
                </a:cubicBezTo>
                <a:cubicBezTo>
                  <a:pt x="1160" y="1845"/>
                  <a:pt x="1192" y="1877"/>
                  <a:pt x="1224" y="1877"/>
                </a:cubicBezTo>
                <a:lnTo>
                  <a:pt x="1081" y="1877"/>
                </a:lnTo>
                <a:cubicBezTo>
                  <a:pt x="1049" y="1877"/>
                  <a:pt x="1001" y="1909"/>
                  <a:pt x="1001" y="1957"/>
                </a:cubicBezTo>
                <a:cubicBezTo>
                  <a:pt x="1001" y="2005"/>
                  <a:pt x="1049" y="2036"/>
                  <a:pt x="1081" y="2036"/>
                </a:cubicBezTo>
                <a:lnTo>
                  <a:pt x="1224" y="2036"/>
                </a:lnTo>
                <a:cubicBezTo>
                  <a:pt x="1192" y="2053"/>
                  <a:pt x="1160" y="2084"/>
                  <a:pt x="1160" y="2116"/>
                </a:cubicBezTo>
                <a:cubicBezTo>
                  <a:pt x="1160" y="2148"/>
                  <a:pt x="1192" y="2180"/>
                  <a:pt x="1224" y="2196"/>
                </a:cubicBezTo>
                <a:lnTo>
                  <a:pt x="1081" y="2196"/>
                </a:lnTo>
                <a:cubicBezTo>
                  <a:pt x="1049" y="2196"/>
                  <a:pt x="1001" y="2227"/>
                  <a:pt x="1001" y="2275"/>
                </a:cubicBezTo>
                <a:close/>
                <a:moveTo>
                  <a:pt x="1303" y="478"/>
                </a:moveTo>
                <a:cubicBezTo>
                  <a:pt x="1256" y="478"/>
                  <a:pt x="1224" y="509"/>
                  <a:pt x="1224" y="557"/>
                </a:cubicBezTo>
                <a:cubicBezTo>
                  <a:pt x="1224" y="605"/>
                  <a:pt x="1256" y="637"/>
                  <a:pt x="1303" y="637"/>
                </a:cubicBezTo>
                <a:lnTo>
                  <a:pt x="1463" y="637"/>
                </a:lnTo>
                <a:cubicBezTo>
                  <a:pt x="1510" y="637"/>
                  <a:pt x="1542" y="605"/>
                  <a:pt x="1542" y="557"/>
                </a:cubicBezTo>
                <a:cubicBezTo>
                  <a:pt x="1542" y="509"/>
                  <a:pt x="1510" y="478"/>
                  <a:pt x="1463" y="478"/>
                </a:cubicBezTo>
                <a:close/>
                <a:moveTo>
                  <a:pt x="1081" y="478"/>
                </a:moveTo>
                <a:lnTo>
                  <a:pt x="1240" y="478"/>
                </a:lnTo>
                <a:cubicBezTo>
                  <a:pt x="1288" y="478"/>
                  <a:pt x="1319" y="446"/>
                  <a:pt x="1319" y="398"/>
                </a:cubicBezTo>
                <a:cubicBezTo>
                  <a:pt x="1319" y="366"/>
                  <a:pt x="1303" y="335"/>
                  <a:pt x="1256" y="335"/>
                </a:cubicBezTo>
                <a:lnTo>
                  <a:pt x="1399" y="335"/>
                </a:lnTo>
                <a:cubicBezTo>
                  <a:pt x="1446" y="335"/>
                  <a:pt x="1479" y="287"/>
                  <a:pt x="1479" y="255"/>
                </a:cubicBezTo>
                <a:cubicBezTo>
                  <a:pt x="1479" y="208"/>
                  <a:pt x="1446" y="175"/>
                  <a:pt x="1399" y="175"/>
                </a:cubicBezTo>
                <a:lnTo>
                  <a:pt x="1240" y="175"/>
                </a:lnTo>
                <a:cubicBezTo>
                  <a:pt x="1192" y="175"/>
                  <a:pt x="1160" y="208"/>
                  <a:pt x="1160" y="255"/>
                </a:cubicBezTo>
                <a:cubicBezTo>
                  <a:pt x="1160" y="287"/>
                  <a:pt x="1192" y="318"/>
                  <a:pt x="1224" y="318"/>
                </a:cubicBezTo>
                <a:lnTo>
                  <a:pt x="1081" y="318"/>
                </a:lnTo>
                <a:cubicBezTo>
                  <a:pt x="1049" y="318"/>
                  <a:pt x="1001" y="366"/>
                  <a:pt x="1001" y="398"/>
                </a:cubicBezTo>
                <a:cubicBezTo>
                  <a:pt x="1001" y="446"/>
                  <a:pt x="1049" y="478"/>
                  <a:pt x="1081" y="478"/>
                </a:cubicBezTo>
                <a:close/>
                <a:moveTo>
                  <a:pt x="1224" y="2943"/>
                </a:moveTo>
                <a:lnTo>
                  <a:pt x="1113" y="2943"/>
                </a:lnTo>
                <a:cubicBezTo>
                  <a:pt x="1081" y="2943"/>
                  <a:pt x="1049" y="2975"/>
                  <a:pt x="1049" y="3007"/>
                </a:cubicBezTo>
                <a:lnTo>
                  <a:pt x="1049" y="3102"/>
                </a:lnTo>
                <a:cubicBezTo>
                  <a:pt x="1049" y="3134"/>
                  <a:pt x="1081" y="3166"/>
                  <a:pt x="1113" y="3166"/>
                </a:cubicBezTo>
                <a:lnTo>
                  <a:pt x="1224" y="3166"/>
                </a:lnTo>
                <a:cubicBezTo>
                  <a:pt x="1256" y="3166"/>
                  <a:pt x="1272" y="3134"/>
                  <a:pt x="1272" y="3102"/>
                </a:cubicBezTo>
                <a:lnTo>
                  <a:pt x="1272" y="3007"/>
                </a:lnTo>
                <a:cubicBezTo>
                  <a:pt x="1272" y="2975"/>
                  <a:pt x="1256" y="2943"/>
                  <a:pt x="1224" y="294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0" name="TextBox 109">
            <a:extLst>
              <a:ext uri="{FF2B5EF4-FFF2-40B4-BE49-F238E27FC236}">
                <a16:creationId xmlns:a16="http://schemas.microsoft.com/office/drawing/2014/main" id="{01DE7D04-8138-0F4E-8661-8BDE1EFB9102}"/>
              </a:ext>
            </a:extLst>
          </p:cNvPr>
          <p:cNvSpPr txBox="1"/>
          <p:nvPr/>
        </p:nvSpPr>
        <p:spPr>
          <a:xfrm>
            <a:off x="21340106" y="8292956"/>
            <a:ext cx="17844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apture</a:t>
            </a:r>
          </a:p>
        </p:txBody>
      </p:sp>
      <p:sp>
        <p:nvSpPr>
          <p:cNvPr id="111" name="Freeform: Shape 8">
            <a:extLst>
              <a:ext uri="{FF2B5EF4-FFF2-40B4-BE49-F238E27FC236}">
                <a16:creationId xmlns:a16="http://schemas.microsoft.com/office/drawing/2014/main" id="{D5CF447F-2E74-6B4E-B3DE-85C6B6215AE6}"/>
              </a:ext>
            </a:extLst>
          </p:cNvPr>
          <p:cNvSpPr/>
          <p:nvPr/>
        </p:nvSpPr>
        <p:spPr>
          <a:xfrm>
            <a:off x="21372284" y="6206535"/>
            <a:ext cx="1832040" cy="1835640"/>
          </a:xfrm>
          <a:custGeom>
            <a:avLst/>
            <a:gdLst/>
            <a:ahLst/>
            <a:cxnLst>
              <a:cxn ang="3cd4">
                <a:pos x="hc" y="t"/>
              </a:cxn>
              <a:cxn ang="cd2">
                <a:pos x="l" y="vc"/>
              </a:cxn>
              <a:cxn ang="cd4">
                <a:pos x="hc" y="b"/>
              </a:cxn>
              <a:cxn ang="0">
                <a:pos x="r" y="vc"/>
              </a:cxn>
            </a:cxnLst>
            <a:rect l="l" t="t" r="r" b="b"/>
            <a:pathLst>
              <a:path w="5090" h="5100">
                <a:moveTo>
                  <a:pt x="1070" y="623"/>
                </a:moveTo>
                <a:lnTo>
                  <a:pt x="3181" y="1488"/>
                </a:lnTo>
                <a:cubicBezTo>
                  <a:pt x="3195" y="1502"/>
                  <a:pt x="3195" y="1502"/>
                  <a:pt x="3208" y="1502"/>
                </a:cubicBezTo>
                <a:cubicBezTo>
                  <a:pt x="3236" y="1502"/>
                  <a:pt x="3249" y="1488"/>
                  <a:pt x="3262" y="1474"/>
                </a:cubicBezTo>
                <a:cubicBezTo>
                  <a:pt x="3290" y="1448"/>
                  <a:pt x="3290" y="1420"/>
                  <a:pt x="3276" y="1394"/>
                </a:cubicBezTo>
                <a:lnTo>
                  <a:pt x="2734" y="54"/>
                </a:lnTo>
                <a:cubicBezTo>
                  <a:pt x="2721" y="27"/>
                  <a:pt x="2694" y="13"/>
                  <a:pt x="2667" y="13"/>
                </a:cubicBezTo>
                <a:cubicBezTo>
                  <a:pt x="2626" y="0"/>
                  <a:pt x="2585" y="0"/>
                  <a:pt x="2545" y="0"/>
                </a:cubicBezTo>
                <a:cubicBezTo>
                  <a:pt x="2004" y="0"/>
                  <a:pt x="1489" y="176"/>
                  <a:pt x="1056" y="487"/>
                </a:cubicBezTo>
                <a:cubicBezTo>
                  <a:pt x="1029" y="500"/>
                  <a:pt x="1015" y="528"/>
                  <a:pt x="1029" y="555"/>
                </a:cubicBezTo>
                <a:cubicBezTo>
                  <a:pt x="1029" y="582"/>
                  <a:pt x="1042" y="609"/>
                  <a:pt x="1070" y="623"/>
                </a:cubicBezTo>
                <a:close/>
                <a:moveTo>
                  <a:pt x="2545" y="162"/>
                </a:moveTo>
                <a:lnTo>
                  <a:pt x="2599" y="162"/>
                </a:lnTo>
                <a:lnTo>
                  <a:pt x="3059" y="1272"/>
                </a:lnTo>
                <a:lnTo>
                  <a:pt x="1272" y="528"/>
                </a:lnTo>
                <a:cubicBezTo>
                  <a:pt x="1651" y="298"/>
                  <a:pt x="2098" y="162"/>
                  <a:pt x="2545" y="162"/>
                </a:cubicBezTo>
                <a:close/>
                <a:moveTo>
                  <a:pt x="54" y="2219"/>
                </a:moveTo>
                <a:cubicBezTo>
                  <a:pt x="68" y="2219"/>
                  <a:pt x="95" y="2232"/>
                  <a:pt x="108" y="2232"/>
                </a:cubicBezTo>
                <a:cubicBezTo>
                  <a:pt x="122" y="2232"/>
                  <a:pt x="122" y="2232"/>
                  <a:pt x="135" y="2219"/>
                </a:cubicBezTo>
                <a:lnTo>
                  <a:pt x="2247" y="1353"/>
                </a:lnTo>
                <a:cubicBezTo>
                  <a:pt x="2274" y="1339"/>
                  <a:pt x="2288" y="1312"/>
                  <a:pt x="2288" y="1272"/>
                </a:cubicBezTo>
                <a:cubicBezTo>
                  <a:pt x="2288" y="1245"/>
                  <a:pt x="2274" y="1218"/>
                  <a:pt x="2247" y="1204"/>
                </a:cubicBezTo>
                <a:lnTo>
                  <a:pt x="907" y="649"/>
                </a:lnTo>
                <a:cubicBezTo>
                  <a:pt x="880" y="636"/>
                  <a:pt x="853" y="649"/>
                  <a:pt x="826" y="663"/>
                </a:cubicBezTo>
                <a:cubicBezTo>
                  <a:pt x="555" y="920"/>
                  <a:pt x="338" y="1231"/>
                  <a:pt x="189" y="1569"/>
                </a:cubicBezTo>
                <a:cubicBezTo>
                  <a:pt x="108" y="1759"/>
                  <a:pt x="54" y="1948"/>
                  <a:pt x="27" y="2138"/>
                </a:cubicBezTo>
                <a:cubicBezTo>
                  <a:pt x="27" y="2165"/>
                  <a:pt x="41" y="2192"/>
                  <a:pt x="54" y="2219"/>
                </a:cubicBezTo>
                <a:close/>
                <a:moveTo>
                  <a:pt x="338" y="1637"/>
                </a:moveTo>
                <a:cubicBezTo>
                  <a:pt x="460" y="1326"/>
                  <a:pt x="650" y="1055"/>
                  <a:pt x="893" y="825"/>
                </a:cubicBezTo>
                <a:lnTo>
                  <a:pt x="2004" y="1272"/>
                </a:lnTo>
                <a:lnTo>
                  <a:pt x="217" y="2016"/>
                </a:lnTo>
                <a:cubicBezTo>
                  <a:pt x="243" y="1894"/>
                  <a:pt x="284" y="1759"/>
                  <a:pt x="338" y="1637"/>
                </a:cubicBezTo>
                <a:close/>
                <a:moveTo>
                  <a:pt x="3736" y="2259"/>
                </a:moveTo>
                <a:cubicBezTo>
                  <a:pt x="3750" y="2286"/>
                  <a:pt x="3777" y="2300"/>
                  <a:pt x="3817" y="2300"/>
                </a:cubicBezTo>
                <a:cubicBezTo>
                  <a:pt x="3845" y="2300"/>
                  <a:pt x="3871" y="2286"/>
                  <a:pt x="3885" y="2259"/>
                </a:cubicBezTo>
                <a:lnTo>
                  <a:pt x="4440" y="920"/>
                </a:lnTo>
                <a:cubicBezTo>
                  <a:pt x="4454" y="893"/>
                  <a:pt x="4440" y="866"/>
                  <a:pt x="4427" y="839"/>
                </a:cubicBezTo>
                <a:cubicBezTo>
                  <a:pt x="4169" y="555"/>
                  <a:pt x="3858" y="338"/>
                  <a:pt x="3520" y="203"/>
                </a:cubicBezTo>
                <a:cubicBezTo>
                  <a:pt x="3330" y="122"/>
                  <a:pt x="3141" y="68"/>
                  <a:pt x="2951" y="41"/>
                </a:cubicBezTo>
                <a:cubicBezTo>
                  <a:pt x="2924" y="41"/>
                  <a:pt x="2897" y="41"/>
                  <a:pt x="2883" y="68"/>
                </a:cubicBezTo>
                <a:cubicBezTo>
                  <a:pt x="2856" y="95"/>
                  <a:pt x="2856" y="122"/>
                  <a:pt x="2870" y="149"/>
                </a:cubicBezTo>
                <a:close/>
                <a:moveTo>
                  <a:pt x="3452" y="352"/>
                </a:moveTo>
                <a:cubicBezTo>
                  <a:pt x="3763" y="474"/>
                  <a:pt x="4034" y="663"/>
                  <a:pt x="4278" y="906"/>
                </a:cubicBezTo>
                <a:lnTo>
                  <a:pt x="3817" y="2016"/>
                </a:lnTo>
                <a:lnTo>
                  <a:pt x="3073" y="230"/>
                </a:lnTo>
                <a:cubicBezTo>
                  <a:pt x="3195" y="257"/>
                  <a:pt x="3330" y="298"/>
                  <a:pt x="3452" y="352"/>
                </a:cubicBezTo>
                <a:close/>
                <a:moveTo>
                  <a:pt x="1462" y="1826"/>
                </a:moveTo>
                <a:cubicBezTo>
                  <a:pt x="1449" y="1799"/>
                  <a:pt x="1408" y="1799"/>
                  <a:pt x="1381" y="1813"/>
                </a:cubicBezTo>
                <a:lnTo>
                  <a:pt x="41" y="2354"/>
                </a:lnTo>
                <a:cubicBezTo>
                  <a:pt x="13" y="2368"/>
                  <a:pt x="0" y="2394"/>
                  <a:pt x="0" y="2435"/>
                </a:cubicBezTo>
                <a:lnTo>
                  <a:pt x="0" y="2543"/>
                </a:lnTo>
                <a:cubicBezTo>
                  <a:pt x="0" y="3084"/>
                  <a:pt x="162" y="3599"/>
                  <a:pt x="474" y="4031"/>
                </a:cubicBezTo>
                <a:cubicBezTo>
                  <a:pt x="487" y="4058"/>
                  <a:pt x="514" y="4058"/>
                  <a:pt x="541" y="4058"/>
                </a:cubicBezTo>
                <a:cubicBezTo>
                  <a:pt x="582" y="4058"/>
                  <a:pt x="596" y="4045"/>
                  <a:pt x="609" y="4018"/>
                </a:cubicBezTo>
                <a:lnTo>
                  <a:pt x="1489" y="1907"/>
                </a:lnTo>
                <a:cubicBezTo>
                  <a:pt x="1503" y="1881"/>
                  <a:pt x="1489" y="1853"/>
                  <a:pt x="1462" y="1826"/>
                </a:cubicBezTo>
                <a:close/>
                <a:moveTo>
                  <a:pt x="528" y="3815"/>
                </a:moveTo>
                <a:cubicBezTo>
                  <a:pt x="284" y="3436"/>
                  <a:pt x="149" y="3003"/>
                  <a:pt x="149" y="2543"/>
                </a:cubicBezTo>
                <a:lnTo>
                  <a:pt x="149" y="2489"/>
                </a:lnTo>
                <a:lnTo>
                  <a:pt x="1259" y="2029"/>
                </a:lnTo>
                <a:close/>
                <a:moveTo>
                  <a:pt x="5022" y="2881"/>
                </a:moveTo>
                <a:cubicBezTo>
                  <a:pt x="4995" y="2868"/>
                  <a:pt x="4968" y="2868"/>
                  <a:pt x="4941" y="2881"/>
                </a:cubicBezTo>
                <a:lnTo>
                  <a:pt x="2829" y="3747"/>
                </a:lnTo>
                <a:cubicBezTo>
                  <a:pt x="2802" y="3761"/>
                  <a:pt x="2788" y="3788"/>
                  <a:pt x="2788" y="3815"/>
                </a:cubicBezTo>
                <a:cubicBezTo>
                  <a:pt x="2788" y="3855"/>
                  <a:pt x="2802" y="3883"/>
                  <a:pt x="2829" y="3896"/>
                </a:cubicBezTo>
                <a:lnTo>
                  <a:pt x="4169" y="4451"/>
                </a:lnTo>
                <a:lnTo>
                  <a:pt x="4196" y="4451"/>
                </a:lnTo>
                <a:cubicBezTo>
                  <a:pt x="4224" y="4451"/>
                  <a:pt x="4237" y="4451"/>
                  <a:pt x="4250" y="4437"/>
                </a:cubicBezTo>
                <a:cubicBezTo>
                  <a:pt x="4535" y="4180"/>
                  <a:pt x="4752" y="3869"/>
                  <a:pt x="4887" y="3517"/>
                </a:cubicBezTo>
                <a:cubicBezTo>
                  <a:pt x="4968" y="3342"/>
                  <a:pt x="5022" y="3152"/>
                  <a:pt x="5049" y="2963"/>
                </a:cubicBezTo>
                <a:cubicBezTo>
                  <a:pt x="5063" y="2935"/>
                  <a:pt x="5049" y="2909"/>
                  <a:pt x="5022" y="2881"/>
                </a:cubicBezTo>
                <a:close/>
                <a:moveTo>
                  <a:pt x="4752" y="3463"/>
                </a:moveTo>
                <a:cubicBezTo>
                  <a:pt x="4616" y="3774"/>
                  <a:pt x="4427" y="4045"/>
                  <a:pt x="4183" y="4275"/>
                </a:cubicBezTo>
                <a:lnTo>
                  <a:pt x="3073" y="3815"/>
                </a:lnTo>
                <a:lnTo>
                  <a:pt x="4873" y="3084"/>
                </a:lnTo>
                <a:cubicBezTo>
                  <a:pt x="4833" y="3206"/>
                  <a:pt x="4792" y="3342"/>
                  <a:pt x="4752" y="3463"/>
                </a:cubicBezTo>
                <a:close/>
                <a:moveTo>
                  <a:pt x="4603" y="1069"/>
                </a:moveTo>
                <a:cubicBezTo>
                  <a:pt x="4589" y="1042"/>
                  <a:pt x="4562" y="1028"/>
                  <a:pt x="4535" y="1028"/>
                </a:cubicBezTo>
                <a:cubicBezTo>
                  <a:pt x="4508" y="1042"/>
                  <a:pt x="4481" y="1055"/>
                  <a:pt x="4467" y="1082"/>
                </a:cubicBezTo>
                <a:lnTo>
                  <a:pt x="3601" y="3193"/>
                </a:lnTo>
                <a:cubicBezTo>
                  <a:pt x="3587" y="3220"/>
                  <a:pt x="3587" y="3247"/>
                  <a:pt x="3615" y="3274"/>
                </a:cubicBezTo>
                <a:cubicBezTo>
                  <a:pt x="3628" y="3287"/>
                  <a:pt x="3655" y="3301"/>
                  <a:pt x="3669" y="3301"/>
                </a:cubicBezTo>
                <a:cubicBezTo>
                  <a:pt x="3682" y="3301"/>
                  <a:pt x="3696" y="3301"/>
                  <a:pt x="3696" y="3287"/>
                </a:cubicBezTo>
                <a:lnTo>
                  <a:pt x="5036" y="2733"/>
                </a:lnTo>
                <a:cubicBezTo>
                  <a:pt x="5063" y="2733"/>
                  <a:pt x="5077" y="2706"/>
                  <a:pt x="5090" y="2665"/>
                </a:cubicBezTo>
                <a:lnTo>
                  <a:pt x="5090" y="2557"/>
                </a:lnTo>
                <a:cubicBezTo>
                  <a:pt x="5090" y="2029"/>
                  <a:pt x="4914" y="1502"/>
                  <a:pt x="4603" y="1069"/>
                </a:cubicBezTo>
                <a:close/>
                <a:moveTo>
                  <a:pt x="4928" y="2611"/>
                </a:moveTo>
                <a:lnTo>
                  <a:pt x="3817" y="3071"/>
                </a:lnTo>
                <a:lnTo>
                  <a:pt x="4562" y="1285"/>
                </a:lnTo>
                <a:cubicBezTo>
                  <a:pt x="4792" y="1664"/>
                  <a:pt x="4928" y="2110"/>
                  <a:pt x="4928" y="2557"/>
                </a:cubicBezTo>
                <a:close/>
                <a:moveTo>
                  <a:pt x="1340" y="2841"/>
                </a:moveTo>
                <a:cubicBezTo>
                  <a:pt x="1326" y="2814"/>
                  <a:pt x="1300" y="2800"/>
                  <a:pt x="1272" y="2800"/>
                </a:cubicBezTo>
                <a:cubicBezTo>
                  <a:pt x="1232" y="2800"/>
                  <a:pt x="1205" y="2814"/>
                  <a:pt x="1191" y="2841"/>
                </a:cubicBezTo>
                <a:lnTo>
                  <a:pt x="636" y="4180"/>
                </a:lnTo>
                <a:cubicBezTo>
                  <a:pt x="636" y="4207"/>
                  <a:pt x="636" y="4234"/>
                  <a:pt x="663" y="4261"/>
                </a:cubicBezTo>
                <a:cubicBezTo>
                  <a:pt x="907" y="4545"/>
                  <a:pt x="1218" y="4762"/>
                  <a:pt x="1570" y="4897"/>
                </a:cubicBezTo>
                <a:cubicBezTo>
                  <a:pt x="1746" y="4978"/>
                  <a:pt x="1936" y="5032"/>
                  <a:pt x="2125" y="5060"/>
                </a:cubicBezTo>
                <a:lnTo>
                  <a:pt x="2139" y="5060"/>
                </a:lnTo>
                <a:cubicBezTo>
                  <a:pt x="2166" y="5060"/>
                  <a:pt x="2193" y="5046"/>
                  <a:pt x="2207" y="5032"/>
                </a:cubicBezTo>
                <a:cubicBezTo>
                  <a:pt x="2220" y="5006"/>
                  <a:pt x="2220" y="4978"/>
                  <a:pt x="2220" y="4952"/>
                </a:cubicBezTo>
                <a:close/>
                <a:moveTo>
                  <a:pt x="1624" y="4748"/>
                </a:moveTo>
                <a:cubicBezTo>
                  <a:pt x="1313" y="4627"/>
                  <a:pt x="1042" y="4437"/>
                  <a:pt x="812" y="4194"/>
                </a:cubicBezTo>
                <a:lnTo>
                  <a:pt x="1272" y="3084"/>
                </a:lnTo>
                <a:lnTo>
                  <a:pt x="2017" y="4870"/>
                </a:lnTo>
                <a:cubicBezTo>
                  <a:pt x="1882" y="4843"/>
                  <a:pt x="1746" y="4803"/>
                  <a:pt x="1624" y="4748"/>
                </a:cubicBezTo>
                <a:close/>
                <a:moveTo>
                  <a:pt x="4007" y="4478"/>
                </a:moveTo>
                <a:lnTo>
                  <a:pt x="1895" y="3612"/>
                </a:lnTo>
                <a:cubicBezTo>
                  <a:pt x="1868" y="3599"/>
                  <a:pt x="1841" y="3599"/>
                  <a:pt x="1814" y="3626"/>
                </a:cubicBezTo>
                <a:cubicBezTo>
                  <a:pt x="1787" y="3639"/>
                  <a:pt x="1787" y="3680"/>
                  <a:pt x="1800" y="3707"/>
                </a:cubicBezTo>
                <a:lnTo>
                  <a:pt x="2355" y="5046"/>
                </a:lnTo>
                <a:cubicBezTo>
                  <a:pt x="2369" y="5073"/>
                  <a:pt x="2396" y="5087"/>
                  <a:pt x="2423" y="5087"/>
                </a:cubicBezTo>
                <a:cubicBezTo>
                  <a:pt x="2464" y="5087"/>
                  <a:pt x="2504" y="5100"/>
                  <a:pt x="2545" y="5100"/>
                </a:cubicBezTo>
                <a:cubicBezTo>
                  <a:pt x="3059" y="5100"/>
                  <a:pt x="3587" y="4924"/>
                  <a:pt x="4020" y="4613"/>
                </a:cubicBezTo>
                <a:cubicBezTo>
                  <a:pt x="4048" y="4600"/>
                  <a:pt x="4061" y="4573"/>
                  <a:pt x="4061" y="4545"/>
                </a:cubicBezTo>
                <a:cubicBezTo>
                  <a:pt x="4048" y="4519"/>
                  <a:pt x="4034" y="4491"/>
                  <a:pt x="4007" y="4478"/>
                </a:cubicBezTo>
                <a:close/>
                <a:moveTo>
                  <a:pt x="2545" y="4938"/>
                </a:moveTo>
                <a:lnTo>
                  <a:pt x="2477" y="4938"/>
                </a:lnTo>
                <a:lnTo>
                  <a:pt x="2017" y="3829"/>
                </a:lnTo>
                <a:lnTo>
                  <a:pt x="3804" y="4573"/>
                </a:lnTo>
                <a:cubicBezTo>
                  <a:pt x="3425" y="4803"/>
                  <a:pt x="2978" y="4938"/>
                  <a:pt x="2545" y="4938"/>
                </a:cubicBezTo>
                <a:close/>
                <a:moveTo>
                  <a:pt x="2775" y="1677"/>
                </a:moveTo>
                <a:cubicBezTo>
                  <a:pt x="2762" y="1664"/>
                  <a:pt x="2748" y="1651"/>
                  <a:pt x="2721" y="1651"/>
                </a:cubicBezTo>
                <a:lnTo>
                  <a:pt x="1990" y="1651"/>
                </a:lnTo>
                <a:cubicBezTo>
                  <a:pt x="1949" y="1651"/>
                  <a:pt x="1909" y="1691"/>
                  <a:pt x="1909" y="1732"/>
                </a:cubicBezTo>
                <a:lnTo>
                  <a:pt x="1909" y="3220"/>
                </a:lnTo>
                <a:cubicBezTo>
                  <a:pt x="1909" y="3260"/>
                  <a:pt x="1949" y="3301"/>
                  <a:pt x="1990" y="3301"/>
                </a:cubicBezTo>
                <a:lnTo>
                  <a:pt x="3154" y="3301"/>
                </a:lnTo>
                <a:cubicBezTo>
                  <a:pt x="3195" y="3301"/>
                  <a:pt x="3222" y="3260"/>
                  <a:pt x="3222" y="3220"/>
                </a:cubicBezTo>
                <a:lnTo>
                  <a:pt x="3222" y="2151"/>
                </a:lnTo>
                <a:cubicBezTo>
                  <a:pt x="3222" y="2138"/>
                  <a:pt x="3222" y="2110"/>
                  <a:pt x="3208" y="2097"/>
                </a:cubicBezTo>
                <a:close/>
                <a:moveTo>
                  <a:pt x="2816" y="1948"/>
                </a:moveTo>
                <a:lnTo>
                  <a:pt x="2951" y="2070"/>
                </a:lnTo>
                <a:lnTo>
                  <a:pt x="2816" y="2070"/>
                </a:lnTo>
                <a:close/>
                <a:moveTo>
                  <a:pt x="2071" y="3139"/>
                </a:moveTo>
                <a:lnTo>
                  <a:pt x="2071" y="1813"/>
                </a:lnTo>
                <a:lnTo>
                  <a:pt x="2667" y="1813"/>
                </a:lnTo>
                <a:lnTo>
                  <a:pt x="2667" y="2151"/>
                </a:lnTo>
                <a:cubicBezTo>
                  <a:pt x="2667" y="2192"/>
                  <a:pt x="2694" y="2232"/>
                  <a:pt x="2748" y="2232"/>
                </a:cubicBezTo>
                <a:lnTo>
                  <a:pt x="3073" y="2232"/>
                </a:lnTo>
                <a:lnTo>
                  <a:pt x="3073" y="313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149869762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Documents / Windows - 5</a:t>
            </a:r>
          </a:p>
        </p:txBody>
      </p:sp>
      <p:sp>
        <p:nvSpPr>
          <p:cNvPr id="38" name="TextBox 37">
            <a:extLst>
              <a:ext uri="{FF2B5EF4-FFF2-40B4-BE49-F238E27FC236}">
                <a16:creationId xmlns:a16="http://schemas.microsoft.com/office/drawing/2014/main" id="{BB1356ED-C198-FE49-90CE-2A5F7771AA63}"/>
              </a:ext>
            </a:extLst>
          </p:cNvPr>
          <p:cNvSpPr txBox="1"/>
          <p:nvPr/>
        </p:nvSpPr>
        <p:spPr>
          <a:xfrm>
            <a:off x="13729385" y="8292956"/>
            <a:ext cx="210666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ie Chart 1</a:t>
            </a:r>
          </a:p>
        </p:txBody>
      </p:sp>
      <p:sp>
        <p:nvSpPr>
          <p:cNvPr id="39" name="TextBox 38">
            <a:extLst>
              <a:ext uri="{FF2B5EF4-FFF2-40B4-BE49-F238E27FC236}">
                <a16:creationId xmlns:a16="http://schemas.microsoft.com/office/drawing/2014/main" id="{E14BFC98-B56D-384B-A96D-5FAA4960E1C9}"/>
              </a:ext>
            </a:extLst>
          </p:cNvPr>
          <p:cNvSpPr txBox="1"/>
          <p:nvPr/>
        </p:nvSpPr>
        <p:spPr>
          <a:xfrm>
            <a:off x="20809186" y="8292956"/>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ie Chart 3</a:t>
            </a:r>
          </a:p>
        </p:txBody>
      </p:sp>
      <p:sp>
        <p:nvSpPr>
          <p:cNvPr id="40" name="TextBox 39">
            <a:extLst>
              <a:ext uri="{FF2B5EF4-FFF2-40B4-BE49-F238E27FC236}">
                <a16:creationId xmlns:a16="http://schemas.microsoft.com/office/drawing/2014/main" id="{74E83F80-EC93-844E-A82E-120443A98936}"/>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arch Document</a:t>
            </a:r>
          </a:p>
        </p:txBody>
      </p:sp>
      <p:sp>
        <p:nvSpPr>
          <p:cNvPr id="41" name="TextBox 40">
            <a:extLst>
              <a:ext uri="{FF2B5EF4-FFF2-40B4-BE49-F238E27FC236}">
                <a16:creationId xmlns:a16="http://schemas.microsoft.com/office/drawing/2014/main" id="{0E8D0475-867B-F94B-9AFB-EDA0C212BC85}"/>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Search Internet</a:t>
            </a:r>
            <a:endParaRPr lang="en-US" sz="2800" dirty="0"/>
          </a:p>
        </p:txBody>
      </p:sp>
      <p:sp>
        <p:nvSpPr>
          <p:cNvPr id="42" name="TextBox 41">
            <a:extLst>
              <a:ext uri="{FF2B5EF4-FFF2-40B4-BE49-F238E27FC236}">
                <a16:creationId xmlns:a16="http://schemas.microsoft.com/office/drawing/2014/main" id="{EF9D82F7-D56C-DE4C-9C00-03EE486D36FB}"/>
              </a:ext>
            </a:extLst>
          </p:cNvPr>
          <p:cNvSpPr txBox="1"/>
          <p:nvPr/>
        </p:nvSpPr>
        <p:spPr>
          <a:xfrm>
            <a:off x="9013116"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earch</a:t>
            </a:r>
          </a:p>
        </p:txBody>
      </p:sp>
      <p:sp>
        <p:nvSpPr>
          <p:cNvPr id="43" name="TextBox 42">
            <a:extLst>
              <a:ext uri="{FF2B5EF4-FFF2-40B4-BE49-F238E27FC236}">
                <a16:creationId xmlns:a16="http://schemas.microsoft.com/office/drawing/2014/main" id="{5535C13A-8DBC-224C-A178-E9F3400C3697}"/>
              </a:ext>
            </a:extLst>
          </p:cNvPr>
          <p:cNvSpPr txBox="1"/>
          <p:nvPr/>
        </p:nvSpPr>
        <p:spPr>
          <a:xfrm>
            <a:off x="13729385" y="11657695"/>
            <a:ext cx="210666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pproved</a:t>
            </a:r>
          </a:p>
        </p:txBody>
      </p:sp>
      <p:sp>
        <p:nvSpPr>
          <p:cNvPr id="44" name="TextBox 43">
            <a:extLst>
              <a:ext uri="{FF2B5EF4-FFF2-40B4-BE49-F238E27FC236}">
                <a16:creationId xmlns:a16="http://schemas.microsoft.com/office/drawing/2014/main" id="{D98A3E59-DA26-A34C-A151-DAC2E8896B2C}"/>
              </a:ext>
            </a:extLst>
          </p:cNvPr>
          <p:cNvSpPr txBox="1"/>
          <p:nvPr/>
        </p:nvSpPr>
        <p:spPr>
          <a:xfrm>
            <a:off x="915420" y="5168652"/>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mail</a:t>
            </a:r>
          </a:p>
        </p:txBody>
      </p:sp>
      <p:sp>
        <p:nvSpPr>
          <p:cNvPr id="45" name="TextBox 44">
            <a:extLst>
              <a:ext uri="{FF2B5EF4-FFF2-40B4-BE49-F238E27FC236}">
                <a16:creationId xmlns:a16="http://schemas.microsoft.com/office/drawing/2014/main" id="{B510FE4E-27AB-514E-A44D-2A7986334616}"/>
              </a:ext>
            </a:extLst>
          </p:cNvPr>
          <p:cNvSpPr txBox="1"/>
          <p:nvPr/>
        </p:nvSpPr>
        <p:spPr>
          <a:xfrm>
            <a:off x="17264939" y="8292956"/>
            <a:ext cx="210666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Pie Chart 2</a:t>
            </a:r>
          </a:p>
        </p:txBody>
      </p:sp>
      <p:sp>
        <p:nvSpPr>
          <p:cNvPr id="46" name="TextBox 45">
            <a:extLst>
              <a:ext uri="{FF2B5EF4-FFF2-40B4-BE49-F238E27FC236}">
                <a16:creationId xmlns:a16="http://schemas.microsoft.com/office/drawing/2014/main" id="{0E334EA4-A2DF-6D4C-81E3-71A8304A34AC}"/>
              </a:ext>
            </a:extLst>
          </p:cNvPr>
          <p:cNvSpPr txBox="1"/>
          <p:nvPr/>
        </p:nvSpPr>
        <p:spPr>
          <a:xfrm>
            <a:off x="17264939" y="11657695"/>
            <a:ext cx="210666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ttachment</a:t>
            </a:r>
          </a:p>
        </p:txBody>
      </p:sp>
      <p:sp>
        <p:nvSpPr>
          <p:cNvPr id="47" name="Freeform: Shape 8">
            <a:extLst>
              <a:ext uri="{FF2B5EF4-FFF2-40B4-BE49-F238E27FC236}">
                <a16:creationId xmlns:a16="http://schemas.microsoft.com/office/drawing/2014/main" id="{1304E031-F89E-5342-BA65-AB861A93E610}"/>
              </a:ext>
            </a:extLst>
          </p:cNvPr>
          <p:cNvSpPr/>
          <p:nvPr/>
        </p:nvSpPr>
        <p:spPr>
          <a:xfrm>
            <a:off x="13998457" y="6309486"/>
            <a:ext cx="1562760" cy="1562760"/>
          </a:xfrm>
          <a:custGeom>
            <a:avLst/>
            <a:gdLst/>
            <a:ahLst/>
            <a:cxnLst>
              <a:cxn ang="3cd4">
                <a:pos x="hc" y="t"/>
              </a:cxn>
              <a:cxn ang="cd2">
                <a:pos x="l" y="vc"/>
              </a:cxn>
              <a:cxn ang="cd4">
                <a:pos x="hc" y="b"/>
              </a:cxn>
              <a:cxn ang="0">
                <a:pos x="r" y="vc"/>
              </a:cxn>
            </a:cxnLst>
            <a:rect l="l" t="t" r="r" b="b"/>
            <a:pathLst>
              <a:path w="4342" h="4342">
                <a:moveTo>
                  <a:pt x="2163" y="0"/>
                </a:moveTo>
                <a:cubicBezTo>
                  <a:pt x="970" y="0"/>
                  <a:pt x="0" y="970"/>
                  <a:pt x="0" y="2179"/>
                </a:cubicBezTo>
                <a:cubicBezTo>
                  <a:pt x="0" y="3372"/>
                  <a:pt x="970" y="4342"/>
                  <a:pt x="2163" y="4342"/>
                </a:cubicBezTo>
                <a:cubicBezTo>
                  <a:pt x="3372" y="4342"/>
                  <a:pt x="4342" y="3372"/>
                  <a:pt x="4342" y="2179"/>
                </a:cubicBezTo>
                <a:cubicBezTo>
                  <a:pt x="4342" y="970"/>
                  <a:pt x="3372" y="0"/>
                  <a:pt x="2163" y="0"/>
                </a:cubicBezTo>
                <a:close/>
                <a:moveTo>
                  <a:pt x="2163" y="159"/>
                </a:moveTo>
                <a:cubicBezTo>
                  <a:pt x="2927" y="159"/>
                  <a:pt x="3595" y="573"/>
                  <a:pt x="3929" y="1209"/>
                </a:cubicBezTo>
                <a:cubicBezTo>
                  <a:pt x="2163" y="2084"/>
                  <a:pt x="2163" y="2084"/>
                  <a:pt x="2163" y="2084"/>
                </a:cubicBezTo>
                <a:cubicBezTo>
                  <a:pt x="398" y="1209"/>
                  <a:pt x="398" y="1209"/>
                  <a:pt x="398" y="1209"/>
                </a:cubicBezTo>
                <a:cubicBezTo>
                  <a:pt x="748" y="573"/>
                  <a:pt x="1416" y="159"/>
                  <a:pt x="2163" y="159"/>
                </a:cubicBezTo>
                <a:close/>
                <a:moveTo>
                  <a:pt x="160" y="2179"/>
                </a:moveTo>
                <a:cubicBezTo>
                  <a:pt x="160" y="1877"/>
                  <a:pt x="223" y="1591"/>
                  <a:pt x="334" y="1336"/>
                </a:cubicBezTo>
                <a:cubicBezTo>
                  <a:pt x="2068" y="2211"/>
                  <a:pt x="2068" y="2211"/>
                  <a:pt x="2068" y="2211"/>
                </a:cubicBezTo>
                <a:cubicBezTo>
                  <a:pt x="1193" y="3945"/>
                  <a:pt x="1193" y="3945"/>
                  <a:pt x="1193" y="3945"/>
                </a:cubicBezTo>
                <a:cubicBezTo>
                  <a:pt x="573" y="3595"/>
                  <a:pt x="160" y="2927"/>
                  <a:pt x="160" y="2179"/>
                </a:cubicBezTo>
                <a:close/>
                <a:moveTo>
                  <a:pt x="2163" y="4183"/>
                </a:moveTo>
                <a:cubicBezTo>
                  <a:pt x="1877" y="4183"/>
                  <a:pt x="1591" y="4120"/>
                  <a:pt x="1336" y="4008"/>
                </a:cubicBezTo>
                <a:cubicBezTo>
                  <a:pt x="2227" y="2227"/>
                  <a:pt x="2227" y="2227"/>
                  <a:pt x="2227" y="2227"/>
                </a:cubicBezTo>
                <a:cubicBezTo>
                  <a:pt x="4008" y="1336"/>
                  <a:pt x="4008" y="1336"/>
                  <a:pt x="4008" y="1336"/>
                </a:cubicBezTo>
                <a:cubicBezTo>
                  <a:pt x="4120" y="1591"/>
                  <a:pt x="4184" y="1877"/>
                  <a:pt x="4184" y="2179"/>
                </a:cubicBezTo>
                <a:cubicBezTo>
                  <a:pt x="4184" y="3293"/>
                  <a:pt x="3277" y="4183"/>
                  <a:pt x="2163" y="418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8" name="Freeform: Shape 9">
            <a:extLst>
              <a:ext uri="{FF2B5EF4-FFF2-40B4-BE49-F238E27FC236}">
                <a16:creationId xmlns:a16="http://schemas.microsoft.com/office/drawing/2014/main" id="{D45A1939-4B12-BC4E-8A24-6840B4CEA767}"/>
              </a:ext>
            </a:extLst>
          </p:cNvPr>
          <p:cNvSpPr/>
          <p:nvPr/>
        </p:nvSpPr>
        <p:spPr>
          <a:xfrm>
            <a:off x="17566339" y="6365792"/>
            <a:ext cx="1625760" cy="1620000"/>
          </a:xfrm>
          <a:custGeom>
            <a:avLst/>
            <a:gdLst/>
            <a:ahLst/>
            <a:cxnLst>
              <a:cxn ang="3cd4">
                <a:pos x="hc" y="t"/>
              </a:cxn>
              <a:cxn ang="cd2">
                <a:pos x="l" y="vc"/>
              </a:cxn>
              <a:cxn ang="cd4">
                <a:pos x="hc" y="b"/>
              </a:cxn>
              <a:cxn ang="0">
                <a:pos x="r" y="vc"/>
              </a:cxn>
            </a:cxnLst>
            <a:rect l="l" t="t" r="r" b="b"/>
            <a:pathLst>
              <a:path w="4517" h="4501">
                <a:moveTo>
                  <a:pt x="2274" y="4501"/>
                </a:moveTo>
                <a:cubicBezTo>
                  <a:pt x="3515" y="4501"/>
                  <a:pt x="4517" y="3499"/>
                  <a:pt x="4517" y="2243"/>
                </a:cubicBezTo>
                <a:cubicBezTo>
                  <a:pt x="4517" y="1623"/>
                  <a:pt x="4262" y="1034"/>
                  <a:pt x="3801" y="605"/>
                </a:cubicBezTo>
                <a:cubicBezTo>
                  <a:pt x="3769" y="573"/>
                  <a:pt x="3721" y="573"/>
                  <a:pt x="3690" y="605"/>
                </a:cubicBezTo>
                <a:lnTo>
                  <a:pt x="2242" y="2052"/>
                </a:lnTo>
                <a:lnTo>
                  <a:pt x="2242" y="80"/>
                </a:lnTo>
                <a:cubicBezTo>
                  <a:pt x="2242" y="48"/>
                  <a:pt x="2226" y="32"/>
                  <a:pt x="2210" y="16"/>
                </a:cubicBezTo>
                <a:cubicBezTo>
                  <a:pt x="2194" y="0"/>
                  <a:pt x="2179" y="0"/>
                  <a:pt x="2163" y="0"/>
                </a:cubicBezTo>
                <a:cubicBezTo>
                  <a:pt x="970" y="48"/>
                  <a:pt x="0" y="1050"/>
                  <a:pt x="0" y="2243"/>
                </a:cubicBezTo>
                <a:cubicBezTo>
                  <a:pt x="0" y="3499"/>
                  <a:pt x="1018" y="4501"/>
                  <a:pt x="2274" y="4501"/>
                </a:cubicBezTo>
                <a:close/>
                <a:moveTo>
                  <a:pt x="2083" y="159"/>
                </a:moveTo>
                <a:lnTo>
                  <a:pt x="2083" y="2243"/>
                </a:lnTo>
                <a:cubicBezTo>
                  <a:pt x="2083" y="2275"/>
                  <a:pt x="2099" y="2306"/>
                  <a:pt x="2131" y="2323"/>
                </a:cubicBezTo>
                <a:cubicBezTo>
                  <a:pt x="2163" y="2338"/>
                  <a:pt x="2194" y="2323"/>
                  <a:pt x="2210" y="2306"/>
                </a:cubicBezTo>
                <a:lnTo>
                  <a:pt x="3753" y="779"/>
                </a:lnTo>
                <a:cubicBezTo>
                  <a:pt x="4151" y="1177"/>
                  <a:pt x="4357" y="1686"/>
                  <a:pt x="4357" y="2243"/>
                </a:cubicBezTo>
                <a:cubicBezTo>
                  <a:pt x="4357" y="3404"/>
                  <a:pt x="3419" y="4342"/>
                  <a:pt x="2274" y="4342"/>
                </a:cubicBezTo>
                <a:cubicBezTo>
                  <a:pt x="1113" y="4342"/>
                  <a:pt x="159" y="3404"/>
                  <a:pt x="159" y="2243"/>
                </a:cubicBezTo>
                <a:cubicBezTo>
                  <a:pt x="159" y="1177"/>
                  <a:pt x="1018" y="255"/>
                  <a:pt x="2083" y="159"/>
                </a:cubicBezTo>
                <a:close/>
                <a:moveTo>
                  <a:pt x="2497" y="1448"/>
                </a:moveTo>
                <a:lnTo>
                  <a:pt x="2528" y="1448"/>
                </a:lnTo>
                <a:cubicBezTo>
                  <a:pt x="2560" y="1448"/>
                  <a:pt x="2576" y="1448"/>
                  <a:pt x="2592" y="1432"/>
                </a:cubicBezTo>
                <a:lnTo>
                  <a:pt x="3530" y="493"/>
                </a:lnTo>
                <a:cubicBezTo>
                  <a:pt x="3546" y="478"/>
                  <a:pt x="3546" y="445"/>
                  <a:pt x="3546" y="430"/>
                </a:cubicBezTo>
                <a:cubicBezTo>
                  <a:pt x="3546" y="398"/>
                  <a:pt x="3530" y="382"/>
                  <a:pt x="3515" y="366"/>
                </a:cubicBezTo>
                <a:cubicBezTo>
                  <a:pt x="3244" y="191"/>
                  <a:pt x="2894" y="64"/>
                  <a:pt x="2545" y="16"/>
                </a:cubicBezTo>
                <a:cubicBezTo>
                  <a:pt x="2528" y="0"/>
                  <a:pt x="2497" y="16"/>
                  <a:pt x="2481" y="32"/>
                </a:cubicBezTo>
                <a:cubicBezTo>
                  <a:pt x="2465" y="48"/>
                  <a:pt x="2449" y="64"/>
                  <a:pt x="2449" y="96"/>
                </a:cubicBezTo>
                <a:lnTo>
                  <a:pt x="2449" y="1368"/>
                </a:lnTo>
                <a:cubicBezTo>
                  <a:pt x="2449" y="1400"/>
                  <a:pt x="2481" y="1432"/>
                  <a:pt x="2497" y="1448"/>
                </a:cubicBezTo>
                <a:close/>
                <a:moveTo>
                  <a:pt x="2608" y="175"/>
                </a:moveTo>
                <a:cubicBezTo>
                  <a:pt x="2878" y="223"/>
                  <a:pt x="3133" y="318"/>
                  <a:pt x="3340" y="445"/>
                </a:cubicBezTo>
                <a:lnTo>
                  <a:pt x="2608" y="1177"/>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9" name="Freeform: Shape 10">
            <a:extLst>
              <a:ext uri="{FF2B5EF4-FFF2-40B4-BE49-F238E27FC236}">
                <a16:creationId xmlns:a16="http://schemas.microsoft.com/office/drawing/2014/main" id="{5B3DEB20-E1C6-5D4A-AF0D-0B990AF143FE}"/>
              </a:ext>
            </a:extLst>
          </p:cNvPr>
          <p:cNvSpPr/>
          <p:nvPr/>
        </p:nvSpPr>
        <p:spPr>
          <a:xfrm>
            <a:off x="21242575" y="6303725"/>
            <a:ext cx="1625760" cy="1620000"/>
          </a:xfrm>
          <a:custGeom>
            <a:avLst/>
            <a:gdLst/>
            <a:ahLst/>
            <a:cxnLst>
              <a:cxn ang="3cd4">
                <a:pos x="hc" y="t"/>
              </a:cxn>
              <a:cxn ang="cd2">
                <a:pos x="l" y="vc"/>
              </a:cxn>
              <a:cxn ang="cd4">
                <a:pos x="hc" y="b"/>
              </a:cxn>
              <a:cxn ang="0">
                <a:pos x="r" y="vc"/>
              </a:cxn>
            </a:cxnLst>
            <a:rect l="l" t="t" r="r" b="b"/>
            <a:pathLst>
              <a:path w="4517" h="4501">
                <a:moveTo>
                  <a:pt x="1129" y="334"/>
                </a:moveTo>
                <a:cubicBezTo>
                  <a:pt x="1113" y="349"/>
                  <a:pt x="1129" y="381"/>
                  <a:pt x="1129" y="397"/>
                </a:cubicBezTo>
                <a:lnTo>
                  <a:pt x="2210" y="1845"/>
                </a:lnTo>
                <a:cubicBezTo>
                  <a:pt x="2226" y="1861"/>
                  <a:pt x="2258" y="1876"/>
                  <a:pt x="2274" y="1876"/>
                </a:cubicBezTo>
                <a:cubicBezTo>
                  <a:pt x="2306" y="1876"/>
                  <a:pt x="2322" y="1861"/>
                  <a:pt x="2338" y="1845"/>
                </a:cubicBezTo>
                <a:lnTo>
                  <a:pt x="3562" y="540"/>
                </a:lnTo>
                <a:cubicBezTo>
                  <a:pt x="3578" y="509"/>
                  <a:pt x="3594" y="493"/>
                  <a:pt x="3594" y="477"/>
                </a:cubicBezTo>
                <a:cubicBezTo>
                  <a:pt x="3594" y="445"/>
                  <a:pt x="3578" y="429"/>
                  <a:pt x="3562" y="413"/>
                </a:cubicBezTo>
                <a:cubicBezTo>
                  <a:pt x="3180" y="143"/>
                  <a:pt x="2719" y="0"/>
                  <a:pt x="2258" y="0"/>
                </a:cubicBezTo>
                <a:cubicBezTo>
                  <a:pt x="1877" y="0"/>
                  <a:pt x="1495" y="95"/>
                  <a:pt x="1160" y="286"/>
                </a:cubicBezTo>
                <a:cubicBezTo>
                  <a:pt x="1145" y="286"/>
                  <a:pt x="1129" y="318"/>
                  <a:pt x="1129" y="334"/>
                </a:cubicBezTo>
                <a:close/>
                <a:moveTo>
                  <a:pt x="2258" y="159"/>
                </a:moveTo>
                <a:cubicBezTo>
                  <a:pt x="2656" y="159"/>
                  <a:pt x="3053" y="270"/>
                  <a:pt x="3387" y="493"/>
                </a:cubicBezTo>
                <a:lnTo>
                  <a:pt x="2290" y="1670"/>
                </a:lnTo>
                <a:lnTo>
                  <a:pt x="1320" y="381"/>
                </a:lnTo>
                <a:cubicBezTo>
                  <a:pt x="1606" y="238"/>
                  <a:pt x="1924" y="159"/>
                  <a:pt x="2258" y="159"/>
                </a:cubicBezTo>
                <a:close/>
                <a:moveTo>
                  <a:pt x="3945" y="811"/>
                </a:moveTo>
                <a:cubicBezTo>
                  <a:pt x="3929" y="795"/>
                  <a:pt x="3897" y="811"/>
                  <a:pt x="3881" y="827"/>
                </a:cubicBezTo>
                <a:lnTo>
                  <a:pt x="2561" y="2242"/>
                </a:lnTo>
                <a:cubicBezTo>
                  <a:pt x="2529" y="2274"/>
                  <a:pt x="2529" y="2306"/>
                  <a:pt x="2545" y="2338"/>
                </a:cubicBezTo>
                <a:lnTo>
                  <a:pt x="3420" y="4087"/>
                </a:lnTo>
                <a:cubicBezTo>
                  <a:pt x="3420" y="4103"/>
                  <a:pt x="3436" y="4119"/>
                  <a:pt x="3468" y="4119"/>
                </a:cubicBezTo>
                <a:lnTo>
                  <a:pt x="3484" y="4119"/>
                </a:lnTo>
                <a:lnTo>
                  <a:pt x="3532" y="4119"/>
                </a:lnTo>
                <a:cubicBezTo>
                  <a:pt x="4136" y="3690"/>
                  <a:pt x="4517" y="2990"/>
                  <a:pt x="4517" y="2258"/>
                </a:cubicBezTo>
                <a:cubicBezTo>
                  <a:pt x="4517" y="1733"/>
                  <a:pt x="4327" y="1240"/>
                  <a:pt x="4009" y="827"/>
                </a:cubicBezTo>
                <a:cubicBezTo>
                  <a:pt x="3993" y="811"/>
                  <a:pt x="3977" y="811"/>
                  <a:pt x="3945" y="811"/>
                </a:cubicBezTo>
                <a:close/>
                <a:moveTo>
                  <a:pt x="3515" y="3928"/>
                </a:moveTo>
                <a:lnTo>
                  <a:pt x="2705" y="2322"/>
                </a:lnTo>
                <a:lnTo>
                  <a:pt x="3945" y="1002"/>
                </a:lnTo>
                <a:cubicBezTo>
                  <a:pt x="4215" y="1367"/>
                  <a:pt x="4359" y="1797"/>
                  <a:pt x="4359" y="2258"/>
                </a:cubicBezTo>
                <a:cubicBezTo>
                  <a:pt x="4359" y="2910"/>
                  <a:pt x="4041" y="3530"/>
                  <a:pt x="3515" y="3928"/>
                </a:cubicBezTo>
                <a:close/>
                <a:moveTo>
                  <a:pt x="732" y="620"/>
                </a:moveTo>
                <a:cubicBezTo>
                  <a:pt x="700" y="620"/>
                  <a:pt x="685" y="636"/>
                  <a:pt x="669" y="652"/>
                </a:cubicBezTo>
                <a:cubicBezTo>
                  <a:pt x="239" y="1081"/>
                  <a:pt x="0" y="1654"/>
                  <a:pt x="0" y="2258"/>
                </a:cubicBezTo>
                <a:cubicBezTo>
                  <a:pt x="0" y="3499"/>
                  <a:pt x="1018" y="4501"/>
                  <a:pt x="2259" y="4501"/>
                </a:cubicBezTo>
                <a:cubicBezTo>
                  <a:pt x="2497" y="4501"/>
                  <a:pt x="2736" y="4469"/>
                  <a:pt x="2975" y="4390"/>
                </a:cubicBezTo>
                <a:cubicBezTo>
                  <a:pt x="3006" y="4374"/>
                  <a:pt x="3023" y="4357"/>
                  <a:pt x="3023" y="4342"/>
                </a:cubicBezTo>
                <a:cubicBezTo>
                  <a:pt x="3038" y="4326"/>
                  <a:pt x="3038" y="4294"/>
                  <a:pt x="3023" y="4278"/>
                </a:cubicBezTo>
                <a:lnTo>
                  <a:pt x="2068" y="2369"/>
                </a:lnTo>
                <a:lnTo>
                  <a:pt x="2068" y="2354"/>
                </a:lnTo>
                <a:lnTo>
                  <a:pt x="796" y="652"/>
                </a:lnTo>
                <a:cubicBezTo>
                  <a:pt x="780" y="636"/>
                  <a:pt x="748" y="636"/>
                  <a:pt x="732" y="620"/>
                </a:cubicBezTo>
                <a:close/>
                <a:moveTo>
                  <a:pt x="2848" y="4262"/>
                </a:moveTo>
                <a:cubicBezTo>
                  <a:pt x="2657" y="4326"/>
                  <a:pt x="2450" y="4342"/>
                  <a:pt x="2259" y="4342"/>
                </a:cubicBezTo>
                <a:cubicBezTo>
                  <a:pt x="1098" y="4342"/>
                  <a:pt x="160" y="3403"/>
                  <a:pt x="160" y="2258"/>
                </a:cubicBezTo>
                <a:cubicBezTo>
                  <a:pt x="160" y="1717"/>
                  <a:pt x="351" y="1224"/>
                  <a:pt x="716" y="827"/>
                </a:cubicBezTo>
                <a:lnTo>
                  <a:pt x="1941" y="2449"/>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0" name="Freeform: Shape 17">
            <a:extLst>
              <a:ext uri="{FF2B5EF4-FFF2-40B4-BE49-F238E27FC236}">
                <a16:creationId xmlns:a16="http://schemas.microsoft.com/office/drawing/2014/main" id="{1BC5284B-50A1-8A46-B3BD-A3A1462A1ADB}"/>
              </a:ext>
            </a:extLst>
          </p:cNvPr>
          <p:cNvSpPr/>
          <p:nvPr/>
        </p:nvSpPr>
        <p:spPr>
          <a:xfrm>
            <a:off x="1724109" y="9422340"/>
            <a:ext cx="1810440" cy="1941480"/>
          </a:xfrm>
          <a:custGeom>
            <a:avLst/>
            <a:gdLst/>
            <a:ahLst/>
            <a:cxnLst>
              <a:cxn ang="3cd4">
                <a:pos x="hc" y="t"/>
              </a:cxn>
              <a:cxn ang="cd2">
                <a:pos x="l" y="vc"/>
              </a:cxn>
              <a:cxn ang="cd4">
                <a:pos x="hc" y="b"/>
              </a:cxn>
              <a:cxn ang="0">
                <a:pos x="r" y="vc"/>
              </a:cxn>
            </a:cxnLst>
            <a:rect l="l" t="t" r="r" b="b"/>
            <a:pathLst>
              <a:path w="5030" h="5394">
                <a:moveTo>
                  <a:pt x="2529" y="2976"/>
                </a:moveTo>
                <a:cubicBezTo>
                  <a:pt x="2736" y="3088"/>
                  <a:pt x="2958" y="3119"/>
                  <a:pt x="3165" y="3119"/>
                </a:cubicBezTo>
                <a:cubicBezTo>
                  <a:pt x="3340" y="3119"/>
                  <a:pt x="3499" y="3104"/>
                  <a:pt x="3658" y="3040"/>
                </a:cubicBezTo>
                <a:cubicBezTo>
                  <a:pt x="3833" y="3453"/>
                  <a:pt x="3833" y="3453"/>
                  <a:pt x="3833" y="3453"/>
                </a:cubicBezTo>
                <a:cubicBezTo>
                  <a:pt x="3785" y="3501"/>
                  <a:pt x="3738" y="3565"/>
                  <a:pt x="3706" y="3628"/>
                </a:cubicBezTo>
                <a:cubicBezTo>
                  <a:pt x="3674" y="3724"/>
                  <a:pt x="3674" y="3835"/>
                  <a:pt x="3722" y="3931"/>
                </a:cubicBezTo>
                <a:cubicBezTo>
                  <a:pt x="4278" y="5155"/>
                  <a:pt x="4278" y="5155"/>
                  <a:pt x="4278" y="5155"/>
                </a:cubicBezTo>
                <a:cubicBezTo>
                  <a:pt x="4310" y="5251"/>
                  <a:pt x="4374" y="5315"/>
                  <a:pt x="4469" y="5362"/>
                </a:cubicBezTo>
                <a:cubicBezTo>
                  <a:pt x="4517" y="5378"/>
                  <a:pt x="4581" y="5394"/>
                  <a:pt x="4629" y="5394"/>
                </a:cubicBezTo>
                <a:cubicBezTo>
                  <a:pt x="4692" y="5394"/>
                  <a:pt x="4739" y="5378"/>
                  <a:pt x="4787" y="5362"/>
                </a:cubicBezTo>
                <a:cubicBezTo>
                  <a:pt x="4883" y="5315"/>
                  <a:pt x="4962" y="5235"/>
                  <a:pt x="4994" y="5139"/>
                </a:cubicBezTo>
                <a:cubicBezTo>
                  <a:pt x="5042" y="5044"/>
                  <a:pt x="5042" y="4933"/>
                  <a:pt x="4994" y="4837"/>
                </a:cubicBezTo>
                <a:cubicBezTo>
                  <a:pt x="4438" y="3613"/>
                  <a:pt x="4438" y="3613"/>
                  <a:pt x="4438" y="3613"/>
                </a:cubicBezTo>
                <a:cubicBezTo>
                  <a:pt x="4358" y="3438"/>
                  <a:pt x="4167" y="3342"/>
                  <a:pt x="3976" y="3390"/>
                </a:cubicBezTo>
                <a:cubicBezTo>
                  <a:pt x="3817" y="2992"/>
                  <a:pt x="3817" y="2992"/>
                  <a:pt x="3817" y="2992"/>
                </a:cubicBezTo>
                <a:cubicBezTo>
                  <a:pt x="4151" y="2833"/>
                  <a:pt x="4438" y="2579"/>
                  <a:pt x="4596" y="2213"/>
                </a:cubicBezTo>
                <a:cubicBezTo>
                  <a:pt x="4772" y="1831"/>
                  <a:pt x="4787" y="1417"/>
                  <a:pt x="4644" y="1020"/>
                </a:cubicBezTo>
                <a:cubicBezTo>
                  <a:pt x="4485" y="622"/>
                  <a:pt x="4199" y="320"/>
                  <a:pt x="3817" y="145"/>
                </a:cubicBezTo>
                <a:cubicBezTo>
                  <a:pt x="3038" y="-220"/>
                  <a:pt x="2115" y="129"/>
                  <a:pt x="1749" y="908"/>
                </a:cubicBezTo>
                <a:cubicBezTo>
                  <a:pt x="1670" y="1099"/>
                  <a:pt x="1622" y="1306"/>
                  <a:pt x="1606" y="1513"/>
                </a:cubicBezTo>
                <a:cubicBezTo>
                  <a:pt x="1606" y="1577"/>
                  <a:pt x="1606" y="1640"/>
                  <a:pt x="1622" y="1704"/>
                </a:cubicBezTo>
                <a:cubicBezTo>
                  <a:pt x="79" y="1688"/>
                  <a:pt x="79" y="1688"/>
                  <a:pt x="79" y="1688"/>
                </a:cubicBezTo>
                <a:cubicBezTo>
                  <a:pt x="32" y="1688"/>
                  <a:pt x="0" y="1736"/>
                  <a:pt x="0" y="1768"/>
                </a:cubicBezTo>
                <a:cubicBezTo>
                  <a:pt x="0" y="1815"/>
                  <a:pt x="32" y="1847"/>
                  <a:pt x="79" y="1847"/>
                </a:cubicBezTo>
                <a:cubicBezTo>
                  <a:pt x="1638" y="1863"/>
                  <a:pt x="1638" y="1863"/>
                  <a:pt x="1638" y="1863"/>
                </a:cubicBezTo>
                <a:cubicBezTo>
                  <a:pt x="1654" y="1943"/>
                  <a:pt x="1686" y="2038"/>
                  <a:pt x="1718" y="2117"/>
                </a:cubicBezTo>
                <a:cubicBezTo>
                  <a:pt x="79" y="2117"/>
                  <a:pt x="79" y="2117"/>
                  <a:pt x="79" y="2117"/>
                </a:cubicBezTo>
                <a:cubicBezTo>
                  <a:pt x="32" y="2117"/>
                  <a:pt x="0" y="2149"/>
                  <a:pt x="0" y="2197"/>
                </a:cubicBezTo>
                <a:cubicBezTo>
                  <a:pt x="0" y="2245"/>
                  <a:pt x="32" y="2277"/>
                  <a:pt x="79" y="2277"/>
                </a:cubicBezTo>
                <a:cubicBezTo>
                  <a:pt x="1781" y="2277"/>
                  <a:pt x="1781" y="2277"/>
                  <a:pt x="1781" y="2277"/>
                </a:cubicBezTo>
                <a:cubicBezTo>
                  <a:pt x="1829" y="2372"/>
                  <a:pt x="1893" y="2467"/>
                  <a:pt x="1956" y="2547"/>
                </a:cubicBezTo>
                <a:cubicBezTo>
                  <a:pt x="79" y="2547"/>
                  <a:pt x="79" y="2547"/>
                  <a:pt x="79" y="2547"/>
                </a:cubicBezTo>
                <a:cubicBezTo>
                  <a:pt x="32" y="2547"/>
                  <a:pt x="0" y="2579"/>
                  <a:pt x="0" y="2626"/>
                </a:cubicBezTo>
                <a:cubicBezTo>
                  <a:pt x="0" y="2658"/>
                  <a:pt x="32" y="2706"/>
                  <a:pt x="79" y="2706"/>
                </a:cubicBezTo>
                <a:cubicBezTo>
                  <a:pt x="2100" y="2706"/>
                  <a:pt x="2100" y="2706"/>
                  <a:pt x="2100" y="2706"/>
                </a:cubicBezTo>
                <a:cubicBezTo>
                  <a:pt x="2227" y="2817"/>
                  <a:pt x="2370" y="2913"/>
                  <a:pt x="2529" y="2976"/>
                </a:cubicBezTo>
                <a:close/>
                <a:moveTo>
                  <a:pt x="4072" y="3533"/>
                </a:moveTo>
                <a:cubicBezTo>
                  <a:pt x="4167" y="3533"/>
                  <a:pt x="4247" y="3597"/>
                  <a:pt x="4294" y="3676"/>
                </a:cubicBezTo>
                <a:cubicBezTo>
                  <a:pt x="4851" y="4901"/>
                  <a:pt x="4851" y="4901"/>
                  <a:pt x="4851" y="4901"/>
                </a:cubicBezTo>
                <a:cubicBezTo>
                  <a:pt x="4867" y="4964"/>
                  <a:pt x="4867" y="5028"/>
                  <a:pt x="4851" y="5092"/>
                </a:cubicBezTo>
                <a:cubicBezTo>
                  <a:pt x="4835" y="5139"/>
                  <a:pt x="4787" y="5187"/>
                  <a:pt x="4724" y="5219"/>
                </a:cubicBezTo>
                <a:cubicBezTo>
                  <a:pt x="4660" y="5235"/>
                  <a:pt x="4596" y="5235"/>
                  <a:pt x="4533" y="5219"/>
                </a:cubicBezTo>
                <a:cubicBezTo>
                  <a:pt x="4485" y="5187"/>
                  <a:pt x="4438" y="5139"/>
                  <a:pt x="4421" y="5092"/>
                </a:cubicBezTo>
                <a:cubicBezTo>
                  <a:pt x="3865" y="3867"/>
                  <a:pt x="3865" y="3867"/>
                  <a:pt x="3865" y="3867"/>
                </a:cubicBezTo>
                <a:cubicBezTo>
                  <a:pt x="3833" y="3803"/>
                  <a:pt x="3833" y="3740"/>
                  <a:pt x="3865" y="3676"/>
                </a:cubicBezTo>
                <a:cubicBezTo>
                  <a:pt x="3881" y="3628"/>
                  <a:pt x="3929" y="3581"/>
                  <a:pt x="3976" y="3549"/>
                </a:cubicBezTo>
                <a:cubicBezTo>
                  <a:pt x="4008" y="3549"/>
                  <a:pt x="4040" y="3533"/>
                  <a:pt x="4072" y="3533"/>
                </a:cubicBezTo>
                <a:close/>
                <a:moveTo>
                  <a:pt x="3181" y="161"/>
                </a:moveTo>
                <a:cubicBezTo>
                  <a:pt x="3372" y="161"/>
                  <a:pt x="3563" y="209"/>
                  <a:pt x="3754" y="289"/>
                </a:cubicBezTo>
                <a:cubicBezTo>
                  <a:pt x="4103" y="447"/>
                  <a:pt x="4358" y="718"/>
                  <a:pt x="4485" y="1068"/>
                </a:cubicBezTo>
                <a:cubicBezTo>
                  <a:pt x="4612" y="1434"/>
                  <a:pt x="4612" y="1815"/>
                  <a:pt x="4453" y="2149"/>
                </a:cubicBezTo>
                <a:cubicBezTo>
                  <a:pt x="4120" y="2849"/>
                  <a:pt x="3293" y="3167"/>
                  <a:pt x="2593" y="2833"/>
                </a:cubicBezTo>
                <a:cubicBezTo>
                  <a:pt x="2322" y="2722"/>
                  <a:pt x="2115" y="2515"/>
                  <a:pt x="1972" y="2277"/>
                </a:cubicBezTo>
                <a:cubicBezTo>
                  <a:pt x="3722" y="2277"/>
                  <a:pt x="3722" y="2277"/>
                  <a:pt x="3722" y="2277"/>
                </a:cubicBezTo>
                <a:cubicBezTo>
                  <a:pt x="3769" y="2277"/>
                  <a:pt x="3801" y="2245"/>
                  <a:pt x="3801" y="2197"/>
                </a:cubicBezTo>
                <a:cubicBezTo>
                  <a:pt x="3801" y="2149"/>
                  <a:pt x="3769" y="2117"/>
                  <a:pt x="3722" y="2117"/>
                </a:cubicBezTo>
                <a:cubicBezTo>
                  <a:pt x="1893" y="2117"/>
                  <a:pt x="1893" y="2117"/>
                  <a:pt x="1893" y="2117"/>
                </a:cubicBezTo>
                <a:cubicBezTo>
                  <a:pt x="1813" y="1958"/>
                  <a:pt x="1781" y="1768"/>
                  <a:pt x="1766" y="1593"/>
                </a:cubicBezTo>
                <a:cubicBezTo>
                  <a:pt x="3722" y="1593"/>
                  <a:pt x="3722" y="1593"/>
                  <a:pt x="3722" y="1593"/>
                </a:cubicBezTo>
                <a:cubicBezTo>
                  <a:pt x="3769" y="1593"/>
                  <a:pt x="3801" y="1545"/>
                  <a:pt x="3801" y="1513"/>
                </a:cubicBezTo>
                <a:cubicBezTo>
                  <a:pt x="3801" y="1465"/>
                  <a:pt x="3769" y="1434"/>
                  <a:pt x="3722" y="1434"/>
                </a:cubicBezTo>
                <a:cubicBezTo>
                  <a:pt x="1781" y="1434"/>
                  <a:pt x="1781" y="1434"/>
                  <a:pt x="1781" y="1434"/>
                </a:cubicBezTo>
                <a:cubicBezTo>
                  <a:pt x="1797" y="1274"/>
                  <a:pt x="1829" y="1131"/>
                  <a:pt x="1893" y="972"/>
                </a:cubicBezTo>
                <a:cubicBezTo>
                  <a:pt x="1909" y="956"/>
                  <a:pt x="1924" y="925"/>
                  <a:pt x="1940" y="893"/>
                </a:cubicBezTo>
                <a:cubicBezTo>
                  <a:pt x="3722" y="893"/>
                  <a:pt x="3722" y="893"/>
                  <a:pt x="3722" y="893"/>
                </a:cubicBezTo>
                <a:cubicBezTo>
                  <a:pt x="3769" y="893"/>
                  <a:pt x="3801" y="861"/>
                  <a:pt x="3801" y="813"/>
                </a:cubicBezTo>
                <a:cubicBezTo>
                  <a:pt x="3801" y="765"/>
                  <a:pt x="3769" y="734"/>
                  <a:pt x="3722" y="734"/>
                </a:cubicBezTo>
                <a:cubicBezTo>
                  <a:pt x="2036" y="734"/>
                  <a:pt x="2036" y="734"/>
                  <a:pt x="2036" y="734"/>
                </a:cubicBezTo>
                <a:cubicBezTo>
                  <a:pt x="2306" y="368"/>
                  <a:pt x="2736" y="161"/>
                  <a:pt x="3181" y="16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1" name="Freeform: Shape 11">
            <a:extLst>
              <a:ext uri="{FF2B5EF4-FFF2-40B4-BE49-F238E27FC236}">
                <a16:creationId xmlns:a16="http://schemas.microsoft.com/office/drawing/2014/main" id="{1AFCAB13-EF70-6446-A175-8E4FAA821DDE}"/>
              </a:ext>
            </a:extLst>
          </p:cNvPr>
          <p:cNvSpPr/>
          <p:nvPr/>
        </p:nvSpPr>
        <p:spPr>
          <a:xfrm>
            <a:off x="5825922" y="9421620"/>
            <a:ext cx="1914840" cy="1941480"/>
          </a:xfrm>
          <a:custGeom>
            <a:avLst/>
            <a:gdLst/>
            <a:ahLst/>
            <a:cxnLst>
              <a:cxn ang="3cd4">
                <a:pos x="hc" y="t"/>
              </a:cxn>
              <a:cxn ang="cd2">
                <a:pos x="l" y="vc"/>
              </a:cxn>
              <a:cxn ang="cd4">
                <a:pos x="hc" y="b"/>
              </a:cxn>
              <a:cxn ang="0">
                <a:pos x="r" y="vc"/>
              </a:cxn>
            </a:cxnLst>
            <a:rect l="l" t="t" r="r" b="b"/>
            <a:pathLst>
              <a:path w="5320" h="5394">
                <a:moveTo>
                  <a:pt x="159" y="2150"/>
                </a:moveTo>
                <a:cubicBezTo>
                  <a:pt x="350" y="2500"/>
                  <a:pt x="732" y="2738"/>
                  <a:pt x="1162" y="2755"/>
                </a:cubicBezTo>
                <a:cubicBezTo>
                  <a:pt x="1177" y="2755"/>
                  <a:pt x="1177" y="2755"/>
                  <a:pt x="1193" y="2755"/>
                </a:cubicBezTo>
                <a:lnTo>
                  <a:pt x="1209" y="2755"/>
                </a:lnTo>
                <a:cubicBezTo>
                  <a:pt x="1559" y="2755"/>
                  <a:pt x="1893" y="2595"/>
                  <a:pt x="2100" y="2325"/>
                </a:cubicBezTo>
                <a:cubicBezTo>
                  <a:pt x="2259" y="2611"/>
                  <a:pt x="2513" y="2850"/>
                  <a:pt x="2816" y="2977"/>
                </a:cubicBezTo>
                <a:cubicBezTo>
                  <a:pt x="3022" y="3073"/>
                  <a:pt x="3245" y="3120"/>
                  <a:pt x="3468" y="3120"/>
                </a:cubicBezTo>
                <a:cubicBezTo>
                  <a:pt x="3626" y="3120"/>
                  <a:pt x="3801" y="3104"/>
                  <a:pt x="3961" y="3041"/>
                </a:cubicBezTo>
                <a:cubicBezTo>
                  <a:pt x="4135" y="3454"/>
                  <a:pt x="4135" y="3454"/>
                  <a:pt x="4135" y="3454"/>
                </a:cubicBezTo>
                <a:cubicBezTo>
                  <a:pt x="4072" y="3502"/>
                  <a:pt x="4040" y="3550"/>
                  <a:pt x="4008" y="3629"/>
                </a:cubicBezTo>
                <a:cubicBezTo>
                  <a:pt x="3977" y="3725"/>
                  <a:pt x="3977" y="3820"/>
                  <a:pt x="4008" y="3931"/>
                </a:cubicBezTo>
                <a:cubicBezTo>
                  <a:pt x="4565" y="5156"/>
                  <a:pt x="4565" y="5156"/>
                  <a:pt x="4565" y="5156"/>
                </a:cubicBezTo>
                <a:cubicBezTo>
                  <a:pt x="4613" y="5236"/>
                  <a:pt x="4676" y="5315"/>
                  <a:pt x="4772" y="5347"/>
                </a:cubicBezTo>
                <a:cubicBezTo>
                  <a:pt x="4819" y="5379"/>
                  <a:pt x="4867" y="5394"/>
                  <a:pt x="4931" y="5394"/>
                </a:cubicBezTo>
                <a:cubicBezTo>
                  <a:pt x="4979" y="5394"/>
                  <a:pt x="5042" y="5379"/>
                  <a:pt x="5090" y="5363"/>
                </a:cubicBezTo>
                <a:cubicBezTo>
                  <a:pt x="5185" y="5315"/>
                  <a:pt x="5249" y="5236"/>
                  <a:pt x="5297" y="5140"/>
                </a:cubicBezTo>
                <a:cubicBezTo>
                  <a:pt x="5328" y="5045"/>
                  <a:pt x="5328" y="4933"/>
                  <a:pt x="5297" y="4838"/>
                </a:cubicBezTo>
                <a:cubicBezTo>
                  <a:pt x="4740" y="3613"/>
                  <a:pt x="4740" y="3613"/>
                  <a:pt x="4740" y="3613"/>
                </a:cubicBezTo>
                <a:cubicBezTo>
                  <a:pt x="4661" y="3438"/>
                  <a:pt x="4470" y="3343"/>
                  <a:pt x="4279" y="3391"/>
                </a:cubicBezTo>
                <a:cubicBezTo>
                  <a:pt x="4104" y="2993"/>
                  <a:pt x="4104" y="2993"/>
                  <a:pt x="4104" y="2993"/>
                </a:cubicBezTo>
                <a:cubicBezTo>
                  <a:pt x="4453" y="2834"/>
                  <a:pt x="4724" y="2564"/>
                  <a:pt x="4883" y="2213"/>
                </a:cubicBezTo>
                <a:cubicBezTo>
                  <a:pt x="5249" y="1434"/>
                  <a:pt x="4899" y="496"/>
                  <a:pt x="4120" y="146"/>
                </a:cubicBezTo>
                <a:cubicBezTo>
                  <a:pt x="3372" y="-204"/>
                  <a:pt x="2498" y="98"/>
                  <a:pt x="2100" y="798"/>
                </a:cubicBezTo>
                <a:cubicBezTo>
                  <a:pt x="1893" y="544"/>
                  <a:pt x="1559" y="369"/>
                  <a:pt x="1193" y="369"/>
                </a:cubicBezTo>
                <a:cubicBezTo>
                  <a:pt x="525" y="369"/>
                  <a:pt x="0" y="910"/>
                  <a:pt x="0" y="1562"/>
                </a:cubicBezTo>
                <a:cubicBezTo>
                  <a:pt x="0" y="1768"/>
                  <a:pt x="48" y="1959"/>
                  <a:pt x="144" y="2134"/>
                </a:cubicBezTo>
                <a:cubicBezTo>
                  <a:pt x="144" y="2150"/>
                  <a:pt x="144" y="2150"/>
                  <a:pt x="159" y="2150"/>
                </a:cubicBezTo>
                <a:close/>
                <a:moveTo>
                  <a:pt x="271" y="1100"/>
                </a:moveTo>
                <a:cubicBezTo>
                  <a:pt x="557" y="1100"/>
                  <a:pt x="557" y="1100"/>
                  <a:pt x="557" y="1100"/>
                </a:cubicBezTo>
                <a:cubicBezTo>
                  <a:pt x="525" y="1228"/>
                  <a:pt x="509" y="1355"/>
                  <a:pt x="509" y="1482"/>
                </a:cubicBezTo>
                <a:cubicBezTo>
                  <a:pt x="159" y="1482"/>
                  <a:pt x="159" y="1482"/>
                  <a:pt x="159" y="1482"/>
                </a:cubicBezTo>
                <a:cubicBezTo>
                  <a:pt x="175" y="1355"/>
                  <a:pt x="207" y="1228"/>
                  <a:pt x="271" y="1100"/>
                </a:cubicBezTo>
                <a:close/>
                <a:moveTo>
                  <a:pt x="2116" y="2023"/>
                </a:moveTo>
                <a:cubicBezTo>
                  <a:pt x="1813" y="2023"/>
                  <a:pt x="1813" y="2023"/>
                  <a:pt x="1813" y="2023"/>
                </a:cubicBezTo>
                <a:cubicBezTo>
                  <a:pt x="1845" y="1911"/>
                  <a:pt x="1861" y="1784"/>
                  <a:pt x="1861" y="1641"/>
                </a:cubicBezTo>
                <a:cubicBezTo>
                  <a:pt x="2211" y="1641"/>
                  <a:pt x="2211" y="1641"/>
                  <a:pt x="2211" y="1641"/>
                </a:cubicBezTo>
                <a:cubicBezTo>
                  <a:pt x="2211" y="1784"/>
                  <a:pt x="2163" y="1911"/>
                  <a:pt x="2116" y="2023"/>
                </a:cubicBezTo>
                <a:close/>
                <a:moveTo>
                  <a:pt x="1114" y="2182"/>
                </a:moveTo>
                <a:cubicBezTo>
                  <a:pt x="1114" y="2579"/>
                  <a:pt x="1114" y="2579"/>
                  <a:pt x="1114" y="2579"/>
                </a:cubicBezTo>
                <a:cubicBezTo>
                  <a:pt x="971" y="2547"/>
                  <a:pt x="859" y="2389"/>
                  <a:pt x="780" y="2182"/>
                </a:cubicBezTo>
                <a:close/>
                <a:moveTo>
                  <a:pt x="716" y="2023"/>
                </a:moveTo>
                <a:cubicBezTo>
                  <a:pt x="684" y="1911"/>
                  <a:pt x="668" y="1784"/>
                  <a:pt x="668" y="1641"/>
                </a:cubicBezTo>
                <a:cubicBezTo>
                  <a:pt x="1114" y="1641"/>
                  <a:pt x="1114" y="1641"/>
                  <a:pt x="1114" y="1641"/>
                </a:cubicBezTo>
                <a:cubicBezTo>
                  <a:pt x="1114" y="2023"/>
                  <a:pt x="1114" y="2023"/>
                  <a:pt x="1114" y="2023"/>
                </a:cubicBezTo>
                <a:close/>
                <a:moveTo>
                  <a:pt x="1272" y="2579"/>
                </a:moveTo>
                <a:cubicBezTo>
                  <a:pt x="1272" y="2182"/>
                  <a:pt x="1272" y="2182"/>
                  <a:pt x="1272" y="2182"/>
                </a:cubicBezTo>
                <a:cubicBezTo>
                  <a:pt x="1607" y="2182"/>
                  <a:pt x="1607" y="2182"/>
                  <a:pt x="1607" y="2182"/>
                </a:cubicBezTo>
                <a:cubicBezTo>
                  <a:pt x="1527" y="2389"/>
                  <a:pt x="1400" y="2547"/>
                  <a:pt x="1272" y="2579"/>
                </a:cubicBezTo>
                <a:close/>
                <a:moveTo>
                  <a:pt x="1272" y="2023"/>
                </a:moveTo>
                <a:cubicBezTo>
                  <a:pt x="1272" y="1641"/>
                  <a:pt x="1272" y="1641"/>
                  <a:pt x="1272" y="1641"/>
                </a:cubicBezTo>
                <a:cubicBezTo>
                  <a:pt x="1702" y="1641"/>
                  <a:pt x="1702" y="1641"/>
                  <a:pt x="1702" y="1641"/>
                </a:cubicBezTo>
                <a:cubicBezTo>
                  <a:pt x="1702" y="1784"/>
                  <a:pt x="1686" y="1911"/>
                  <a:pt x="1654" y="2023"/>
                </a:cubicBezTo>
                <a:close/>
                <a:moveTo>
                  <a:pt x="2211" y="1482"/>
                </a:moveTo>
                <a:cubicBezTo>
                  <a:pt x="1861" y="1482"/>
                  <a:pt x="1861" y="1482"/>
                  <a:pt x="1861" y="1482"/>
                </a:cubicBezTo>
                <a:cubicBezTo>
                  <a:pt x="1861" y="1355"/>
                  <a:pt x="1845" y="1228"/>
                  <a:pt x="1813" y="1100"/>
                </a:cubicBezTo>
                <a:cubicBezTo>
                  <a:pt x="2116" y="1100"/>
                  <a:pt x="2116" y="1100"/>
                  <a:pt x="2116" y="1100"/>
                </a:cubicBezTo>
                <a:cubicBezTo>
                  <a:pt x="2163" y="1228"/>
                  <a:pt x="2211" y="1355"/>
                  <a:pt x="2211" y="1482"/>
                </a:cubicBezTo>
                <a:close/>
                <a:moveTo>
                  <a:pt x="1702" y="1482"/>
                </a:moveTo>
                <a:cubicBezTo>
                  <a:pt x="1272" y="1482"/>
                  <a:pt x="1272" y="1482"/>
                  <a:pt x="1272" y="1482"/>
                </a:cubicBezTo>
                <a:cubicBezTo>
                  <a:pt x="1272" y="1100"/>
                  <a:pt x="1272" y="1100"/>
                  <a:pt x="1272" y="1100"/>
                </a:cubicBezTo>
                <a:cubicBezTo>
                  <a:pt x="1654" y="1100"/>
                  <a:pt x="1654" y="1100"/>
                  <a:pt x="1654" y="1100"/>
                </a:cubicBezTo>
                <a:cubicBezTo>
                  <a:pt x="1686" y="1228"/>
                  <a:pt x="1702" y="1355"/>
                  <a:pt x="1702" y="1482"/>
                </a:cubicBezTo>
                <a:close/>
                <a:moveTo>
                  <a:pt x="1272" y="941"/>
                </a:moveTo>
                <a:cubicBezTo>
                  <a:pt x="1272" y="544"/>
                  <a:pt x="1272" y="544"/>
                  <a:pt x="1272" y="544"/>
                </a:cubicBezTo>
                <a:cubicBezTo>
                  <a:pt x="1400" y="591"/>
                  <a:pt x="1527" y="734"/>
                  <a:pt x="1607" y="941"/>
                </a:cubicBezTo>
                <a:close/>
                <a:moveTo>
                  <a:pt x="1114" y="544"/>
                </a:moveTo>
                <a:cubicBezTo>
                  <a:pt x="1114" y="941"/>
                  <a:pt x="1114" y="941"/>
                  <a:pt x="1114" y="941"/>
                </a:cubicBezTo>
                <a:cubicBezTo>
                  <a:pt x="764" y="941"/>
                  <a:pt x="764" y="941"/>
                  <a:pt x="764" y="941"/>
                </a:cubicBezTo>
                <a:cubicBezTo>
                  <a:pt x="859" y="734"/>
                  <a:pt x="971" y="591"/>
                  <a:pt x="1114" y="544"/>
                </a:cubicBezTo>
                <a:close/>
                <a:moveTo>
                  <a:pt x="1114" y="1100"/>
                </a:moveTo>
                <a:cubicBezTo>
                  <a:pt x="1114" y="1482"/>
                  <a:pt x="1114" y="1482"/>
                  <a:pt x="1114" y="1482"/>
                </a:cubicBezTo>
                <a:cubicBezTo>
                  <a:pt x="668" y="1482"/>
                  <a:pt x="668" y="1482"/>
                  <a:pt x="668" y="1482"/>
                </a:cubicBezTo>
                <a:cubicBezTo>
                  <a:pt x="668" y="1355"/>
                  <a:pt x="684" y="1228"/>
                  <a:pt x="716" y="1100"/>
                </a:cubicBezTo>
                <a:close/>
                <a:moveTo>
                  <a:pt x="509" y="1641"/>
                </a:moveTo>
                <a:cubicBezTo>
                  <a:pt x="509" y="1784"/>
                  <a:pt x="525" y="1911"/>
                  <a:pt x="557" y="2023"/>
                </a:cubicBezTo>
                <a:cubicBezTo>
                  <a:pt x="271" y="2023"/>
                  <a:pt x="271" y="2023"/>
                  <a:pt x="271" y="2023"/>
                </a:cubicBezTo>
                <a:cubicBezTo>
                  <a:pt x="207" y="1911"/>
                  <a:pt x="175" y="1784"/>
                  <a:pt x="159" y="1641"/>
                </a:cubicBezTo>
                <a:close/>
                <a:moveTo>
                  <a:pt x="366" y="2182"/>
                </a:moveTo>
                <a:cubicBezTo>
                  <a:pt x="605" y="2182"/>
                  <a:pt x="605" y="2182"/>
                  <a:pt x="605" y="2182"/>
                </a:cubicBezTo>
                <a:cubicBezTo>
                  <a:pt x="636" y="2309"/>
                  <a:pt x="700" y="2420"/>
                  <a:pt x="764" y="2500"/>
                </a:cubicBezTo>
                <a:cubicBezTo>
                  <a:pt x="605" y="2436"/>
                  <a:pt x="462" y="2325"/>
                  <a:pt x="366" y="2182"/>
                </a:cubicBezTo>
                <a:close/>
                <a:moveTo>
                  <a:pt x="1607" y="2500"/>
                </a:moveTo>
                <a:cubicBezTo>
                  <a:pt x="1670" y="2420"/>
                  <a:pt x="1734" y="2309"/>
                  <a:pt x="1766" y="2182"/>
                </a:cubicBezTo>
                <a:cubicBezTo>
                  <a:pt x="2004" y="2182"/>
                  <a:pt x="2004" y="2182"/>
                  <a:pt x="2004" y="2182"/>
                </a:cubicBezTo>
                <a:cubicBezTo>
                  <a:pt x="1909" y="2325"/>
                  <a:pt x="1766" y="2436"/>
                  <a:pt x="1607" y="2500"/>
                </a:cubicBezTo>
                <a:close/>
                <a:moveTo>
                  <a:pt x="4374" y="3534"/>
                </a:moveTo>
                <a:cubicBezTo>
                  <a:pt x="4470" y="3534"/>
                  <a:pt x="4549" y="3582"/>
                  <a:pt x="4581" y="3677"/>
                </a:cubicBezTo>
                <a:cubicBezTo>
                  <a:pt x="5138" y="4901"/>
                  <a:pt x="5138" y="4901"/>
                  <a:pt x="5138" y="4901"/>
                </a:cubicBezTo>
                <a:cubicBezTo>
                  <a:pt x="5170" y="4965"/>
                  <a:pt x="5170" y="5029"/>
                  <a:pt x="5153" y="5076"/>
                </a:cubicBezTo>
                <a:cubicBezTo>
                  <a:pt x="5122" y="5140"/>
                  <a:pt x="5074" y="5188"/>
                  <a:pt x="5026" y="5219"/>
                </a:cubicBezTo>
                <a:cubicBezTo>
                  <a:pt x="4962" y="5236"/>
                  <a:pt x="4899" y="5236"/>
                  <a:pt x="4835" y="5204"/>
                </a:cubicBezTo>
                <a:cubicBezTo>
                  <a:pt x="4772" y="5188"/>
                  <a:pt x="4740" y="5140"/>
                  <a:pt x="4708" y="5092"/>
                </a:cubicBezTo>
                <a:cubicBezTo>
                  <a:pt x="4152" y="3868"/>
                  <a:pt x="4152" y="3868"/>
                  <a:pt x="4152" y="3868"/>
                </a:cubicBezTo>
                <a:cubicBezTo>
                  <a:pt x="4135" y="3804"/>
                  <a:pt x="4135" y="3740"/>
                  <a:pt x="4152" y="3677"/>
                </a:cubicBezTo>
                <a:cubicBezTo>
                  <a:pt x="4183" y="3629"/>
                  <a:pt x="4215" y="3582"/>
                  <a:pt x="4279" y="3550"/>
                </a:cubicBezTo>
                <a:cubicBezTo>
                  <a:pt x="4310" y="3534"/>
                  <a:pt x="4343" y="3534"/>
                  <a:pt x="4374" y="3534"/>
                </a:cubicBezTo>
                <a:close/>
                <a:moveTo>
                  <a:pt x="4056" y="289"/>
                </a:moveTo>
                <a:cubicBezTo>
                  <a:pt x="4756" y="607"/>
                  <a:pt x="5074" y="1450"/>
                  <a:pt x="4740" y="2150"/>
                </a:cubicBezTo>
                <a:cubicBezTo>
                  <a:pt x="4597" y="2484"/>
                  <a:pt x="4310" y="2755"/>
                  <a:pt x="3961" y="2882"/>
                </a:cubicBezTo>
                <a:cubicBezTo>
                  <a:pt x="3611" y="3009"/>
                  <a:pt x="3229" y="2993"/>
                  <a:pt x="2879" y="2834"/>
                </a:cubicBezTo>
                <a:cubicBezTo>
                  <a:pt x="2593" y="2707"/>
                  <a:pt x="2354" y="2468"/>
                  <a:pt x="2211" y="2182"/>
                </a:cubicBezTo>
                <a:cubicBezTo>
                  <a:pt x="2322" y="1991"/>
                  <a:pt x="2370" y="1784"/>
                  <a:pt x="2370" y="1562"/>
                </a:cubicBezTo>
                <a:cubicBezTo>
                  <a:pt x="2370" y="1339"/>
                  <a:pt x="2322" y="1132"/>
                  <a:pt x="2211" y="957"/>
                </a:cubicBezTo>
                <a:cubicBezTo>
                  <a:pt x="2545" y="273"/>
                  <a:pt x="3356" y="-29"/>
                  <a:pt x="4056" y="289"/>
                </a:cubicBezTo>
                <a:close/>
                <a:moveTo>
                  <a:pt x="2020" y="941"/>
                </a:moveTo>
                <a:cubicBezTo>
                  <a:pt x="1766" y="941"/>
                  <a:pt x="1766" y="941"/>
                  <a:pt x="1766" y="941"/>
                </a:cubicBezTo>
                <a:cubicBezTo>
                  <a:pt x="1734" y="814"/>
                  <a:pt x="1670" y="719"/>
                  <a:pt x="1607" y="623"/>
                </a:cubicBezTo>
                <a:cubicBezTo>
                  <a:pt x="1766" y="702"/>
                  <a:pt x="1909" y="814"/>
                  <a:pt x="2020" y="941"/>
                </a:cubicBezTo>
                <a:close/>
                <a:moveTo>
                  <a:pt x="764" y="623"/>
                </a:moveTo>
                <a:cubicBezTo>
                  <a:pt x="700" y="719"/>
                  <a:pt x="636" y="814"/>
                  <a:pt x="605" y="941"/>
                </a:cubicBezTo>
                <a:cubicBezTo>
                  <a:pt x="366" y="941"/>
                  <a:pt x="366" y="941"/>
                  <a:pt x="366" y="941"/>
                </a:cubicBezTo>
                <a:cubicBezTo>
                  <a:pt x="462" y="814"/>
                  <a:pt x="605" y="702"/>
                  <a:pt x="764" y="62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2" name="Freeform: Shape 16">
            <a:extLst>
              <a:ext uri="{FF2B5EF4-FFF2-40B4-BE49-F238E27FC236}">
                <a16:creationId xmlns:a16="http://schemas.microsoft.com/office/drawing/2014/main" id="{99C11427-AACC-E943-964F-86BF9631917B}"/>
              </a:ext>
            </a:extLst>
          </p:cNvPr>
          <p:cNvSpPr/>
          <p:nvPr/>
        </p:nvSpPr>
        <p:spPr>
          <a:xfrm>
            <a:off x="10215378" y="9421620"/>
            <a:ext cx="1231560" cy="1941119"/>
          </a:xfrm>
          <a:custGeom>
            <a:avLst/>
            <a:gdLst/>
            <a:ahLst/>
            <a:cxnLst>
              <a:cxn ang="3cd4">
                <a:pos x="hc" y="t"/>
              </a:cxn>
              <a:cxn ang="cd2">
                <a:pos x="l" y="vc"/>
              </a:cxn>
              <a:cxn ang="cd4">
                <a:pos x="hc" y="b"/>
              </a:cxn>
              <a:cxn ang="0">
                <a:pos x="r" y="vc"/>
              </a:cxn>
            </a:cxnLst>
            <a:rect l="l" t="t" r="r" b="b"/>
            <a:pathLst>
              <a:path w="3422" h="5393">
                <a:moveTo>
                  <a:pt x="110" y="2101"/>
                </a:moveTo>
                <a:cubicBezTo>
                  <a:pt x="253" y="2499"/>
                  <a:pt x="540" y="2801"/>
                  <a:pt x="921" y="2976"/>
                </a:cubicBezTo>
                <a:cubicBezTo>
                  <a:pt x="1128" y="3072"/>
                  <a:pt x="1351" y="3119"/>
                  <a:pt x="1558" y="3119"/>
                </a:cubicBezTo>
                <a:cubicBezTo>
                  <a:pt x="1733" y="3119"/>
                  <a:pt x="1891" y="3103"/>
                  <a:pt x="2051" y="3040"/>
                </a:cubicBezTo>
                <a:cubicBezTo>
                  <a:pt x="2225" y="3453"/>
                  <a:pt x="2225" y="3453"/>
                  <a:pt x="2225" y="3453"/>
                </a:cubicBezTo>
                <a:cubicBezTo>
                  <a:pt x="2178" y="3501"/>
                  <a:pt x="2130" y="3549"/>
                  <a:pt x="2098" y="3628"/>
                </a:cubicBezTo>
                <a:cubicBezTo>
                  <a:pt x="2066" y="3724"/>
                  <a:pt x="2066" y="3819"/>
                  <a:pt x="2114" y="3930"/>
                </a:cubicBezTo>
                <a:cubicBezTo>
                  <a:pt x="2671" y="5155"/>
                  <a:pt x="2671" y="5155"/>
                  <a:pt x="2671" y="5155"/>
                </a:cubicBezTo>
                <a:cubicBezTo>
                  <a:pt x="2703" y="5235"/>
                  <a:pt x="2766" y="5314"/>
                  <a:pt x="2861" y="5346"/>
                </a:cubicBezTo>
                <a:cubicBezTo>
                  <a:pt x="2909" y="5378"/>
                  <a:pt x="2973" y="5393"/>
                  <a:pt x="3021" y="5393"/>
                </a:cubicBezTo>
                <a:cubicBezTo>
                  <a:pt x="3084" y="5393"/>
                  <a:pt x="3132" y="5378"/>
                  <a:pt x="3180" y="5362"/>
                </a:cubicBezTo>
                <a:cubicBezTo>
                  <a:pt x="3275" y="5314"/>
                  <a:pt x="3355" y="5235"/>
                  <a:pt x="3387" y="5139"/>
                </a:cubicBezTo>
                <a:cubicBezTo>
                  <a:pt x="3434" y="5044"/>
                  <a:pt x="3434" y="4932"/>
                  <a:pt x="3387" y="4837"/>
                </a:cubicBezTo>
                <a:cubicBezTo>
                  <a:pt x="2830" y="3612"/>
                  <a:pt x="2830" y="3612"/>
                  <a:pt x="2830" y="3612"/>
                </a:cubicBezTo>
                <a:cubicBezTo>
                  <a:pt x="2751" y="3437"/>
                  <a:pt x="2560" y="3342"/>
                  <a:pt x="2369" y="3390"/>
                </a:cubicBezTo>
                <a:cubicBezTo>
                  <a:pt x="2210" y="2992"/>
                  <a:pt x="2210" y="2992"/>
                  <a:pt x="2210" y="2992"/>
                </a:cubicBezTo>
                <a:cubicBezTo>
                  <a:pt x="2543" y="2833"/>
                  <a:pt x="2830" y="2563"/>
                  <a:pt x="2989" y="2212"/>
                </a:cubicBezTo>
                <a:cubicBezTo>
                  <a:pt x="3164" y="1831"/>
                  <a:pt x="3180" y="1401"/>
                  <a:pt x="3037" y="1019"/>
                </a:cubicBezTo>
                <a:cubicBezTo>
                  <a:pt x="2878" y="622"/>
                  <a:pt x="2591" y="320"/>
                  <a:pt x="2210" y="145"/>
                </a:cubicBezTo>
                <a:cubicBezTo>
                  <a:pt x="1430" y="-220"/>
                  <a:pt x="508" y="129"/>
                  <a:pt x="142" y="909"/>
                </a:cubicBezTo>
                <a:cubicBezTo>
                  <a:pt x="-33" y="1290"/>
                  <a:pt x="-49" y="1719"/>
                  <a:pt x="110" y="2101"/>
                </a:cubicBezTo>
                <a:close/>
                <a:moveTo>
                  <a:pt x="2464" y="3533"/>
                </a:moveTo>
                <a:cubicBezTo>
                  <a:pt x="2560" y="3533"/>
                  <a:pt x="2639" y="3581"/>
                  <a:pt x="2687" y="3676"/>
                </a:cubicBezTo>
                <a:cubicBezTo>
                  <a:pt x="3243" y="4900"/>
                  <a:pt x="3243" y="4900"/>
                  <a:pt x="3243" y="4900"/>
                </a:cubicBezTo>
                <a:cubicBezTo>
                  <a:pt x="3259" y="4964"/>
                  <a:pt x="3259" y="5028"/>
                  <a:pt x="3243" y="5075"/>
                </a:cubicBezTo>
                <a:cubicBezTo>
                  <a:pt x="3227" y="5139"/>
                  <a:pt x="3180" y="5187"/>
                  <a:pt x="3116" y="5218"/>
                </a:cubicBezTo>
                <a:cubicBezTo>
                  <a:pt x="3052" y="5235"/>
                  <a:pt x="2989" y="5235"/>
                  <a:pt x="2925" y="5203"/>
                </a:cubicBezTo>
                <a:cubicBezTo>
                  <a:pt x="2878" y="5187"/>
                  <a:pt x="2830" y="5139"/>
                  <a:pt x="2814" y="5091"/>
                </a:cubicBezTo>
                <a:cubicBezTo>
                  <a:pt x="2257" y="3867"/>
                  <a:pt x="2257" y="3867"/>
                  <a:pt x="2257" y="3867"/>
                </a:cubicBezTo>
                <a:cubicBezTo>
                  <a:pt x="2225" y="3803"/>
                  <a:pt x="2225" y="3739"/>
                  <a:pt x="2257" y="3676"/>
                </a:cubicBezTo>
                <a:cubicBezTo>
                  <a:pt x="2273" y="3628"/>
                  <a:pt x="2321" y="3581"/>
                  <a:pt x="2385" y="3549"/>
                </a:cubicBezTo>
                <a:cubicBezTo>
                  <a:pt x="2400" y="3533"/>
                  <a:pt x="2432" y="3533"/>
                  <a:pt x="2464" y="3533"/>
                </a:cubicBezTo>
                <a:close/>
                <a:moveTo>
                  <a:pt x="285" y="972"/>
                </a:moveTo>
                <a:cubicBezTo>
                  <a:pt x="524" y="463"/>
                  <a:pt x="1033" y="161"/>
                  <a:pt x="1573" y="161"/>
                </a:cubicBezTo>
                <a:cubicBezTo>
                  <a:pt x="1764" y="161"/>
                  <a:pt x="1955" y="192"/>
                  <a:pt x="2146" y="288"/>
                </a:cubicBezTo>
                <a:cubicBezTo>
                  <a:pt x="2861" y="606"/>
                  <a:pt x="3164" y="1449"/>
                  <a:pt x="2846" y="2149"/>
                </a:cubicBezTo>
                <a:cubicBezTo>
                  <a:pt x="2687" y="2483"/>
                  <a:pt x="2400" y="2754"/>
                  <a:pt x="2051" y="2881"/>
                </a:cubicBezTo>
                <a:cubicBezTo>
                  <a:pt x="1701" y="3008"/>
                  <a:pt x="1319" y="2992"/>
                  <a:pt x="985" y="2833"/>
                </a:cubicBezTo>
                <a:cubicBezTo>
                  <a:pt x="285" y="2515"/>
                  <a:pt x="-33" y="1688"/>
                  <a:pt x="285" y="9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3" name="Freeform: Shape 12">
            <a:extLst>
              <a:ext uri="{FF2B5EF4-FFF2-40B4-BE49-F238E27FC236}">
                <a16:creationId xmlns:a16="http://schemas.microsoft.com/office/drawing/2014/main" id="{68221C53-BDB6-2644-B5F8-5E61B26B7EAC}"/>
              </a:ext>
            </a:extLst>
          </p:cNvPr>
          <p:cNvSpPr/>
          <p:nvPr/>
        </p:nvSpPr>
        <p:spPr>
          <a:xfrm>
            <a:off x="13921554" y="10109219"/>
            <a:ext cx="1670040" cy="1253520"/>
          </a:xfrm>
          <a:custGeom>
            <a:avLst/>
            <a:gdLst/>
            <a:ahLst/>
            <a:cxnLst>
              <a:cxn ang="3cd4">
                <a:pos x="hc" y="t"/>
              </a:cxn>
              <a:cxn ang="cd2">
                <a:pos x="l" y="vc"/>
              </a:cxn>
              <a:cxn ang="cd4">
                <a:pos x="hc" y="b"/>
              </a:cxn>
              <a:cxn ang="0">
                <a:pos x="r" y="vc"/>
              </a:cxn>
            </a:cxnLst>
            <a:rect l="l" t="t" r="r" b="b"/>
            <a:pathLst>
              <a:path w="4640" h="3483">
                <a:moveTo>
                  <a:pt x="4072" y="96"/>
                </a:moveTo>
                <a:cubicBezTo>
                  <a:pt x="1591" y="2561"/>
                  <a:pt x="1591" y="2561"/>
                  <a:pt x="1591" y="2561"/>
                </a:cubicBezTo>
                <a:cubicBezTo>
                  <a:pt x="573" y="1543"/>
                  <a:pt x="573" y="1543"/>
                  <a:pt x="573" y="1543"/>
                </a:cubicBezTo>
                <a:cubicBezTo>
                  <a:pt x="446" y="1416"/>
                  <a:pt x="238" y="1416"/>
                  <a:pt x="111" y="1543"/>
                </a:cubicBezTo>
                <a:cubicBezTo>
                  <a:pt x="48" y="1607"/>
                  <a:pt x="0" y="1702"/>
                  <a:pt x="0" y="1782"/>
                </a:cubicBezTo>
                <a:cubicBezTo>
                  <a:pt x="0" y="1877"/>
                  <a:pt x="48" y="1956"/>
                  <a:pt x="111" y="2020"/>
                </a:cubicBezTo>
                <a:cubicBezTo>
                  <a:pt x="1543" y="3452"/>
                  <a:pt x="1543" y="3452"/>
                  <a:pt x="1543" y="3452"/>
                </a:cubicBezTo>
                <a:cubicBezTo>
                  <a:pt x="1559" y="3467"/>
                  <a:pt x="1574" y="3483"/>
                  <a:pt x="1591" y="3483"/>
                </a:cubicBezTo>
                <a:cubicBezTo>
                  <a:pt x="1622" y="3483"/>
                  <a:pt x="1638" y="3467"/>
                  <a:pt x="1654" y="3452"/>
                </a:cubicBezTo>
                <a:cubicBezTo>
                  <a:pt x="1845" y="3261"/>
                  <a:pt x="1845" y="3261"/>
                  <a:pt x="1845" y="3261"/>
                </a:cubicBezTo>
                <a:cubicBezTo>
                  <a:pt x="4533" y="573"/>
                  <a:pt x="4533" y="573"/>
                  <a:pt x="4533" y="573"/>
                </a:cubicBezTo>
                <a:cubicBezTo>
                  <a:pt x="4676" y="429"/>
                  <a:pt x="4676" y="223"/>
                  <a:pt x="4533" y="96"/>
                </a:cubicBezTo>
                <a:cubicBezTo>
                  <a:pt x="4406" y="-32"/>
                  <a:pt x="4199" y="-32"/>
                  <a:pt x="4072" y="96"/>
                </a:cubicBezTo>
                <a:close/>
                <a:moveTo>
                  <a:pt x="4422" y="462"/>
                </a:moveTo>
                <a:cubicBezTo>
                  <a:pt x="1734" y="3149"/>
                  <a:pt x="1734" y="3149"/>
                  <a:pt x="1734" y="3149"/>
                </a:cubicBezTo>
                <a:cubicBezTo>
                  <a:pt x="1591" y="3292"/>
                  <a:pt x="1591" y="3292"/>
                  <a:pt x="1591" y="3292"/>
                </a:cubicBezTo>
                <a:cubicBezTo>
                  <a:pt x="223" y="1909"/>
                  <a:pt x="223" y="1909"/>
                  <a:pt x="223" y="1909"/>
                </a:cubicBezTo>
                <a:cubicBezTo>
                  <a:pt x="191" y="1877"/>
                  <a:pt x="159" y="1829"/>
                  <a:pt x="159" y="1782"/>
                </a:cubicBezTo>
                <a:cubicBezTo>
                  <a:pt x="159" y="1734"/>
                  <a:pt x="191" y="1686"/>
                  <a:pt x="223" y="1655"/>
                </a:cubicBezTo>
                <a:cubicBezTo>
                  <a:pt x="255" y="1622"/>
                  <a:pt x="302" y="1607"/>
                  <a:pt x="350" y="1607"/>
                </a:cubicBezTo>
                <a:cubicBezTo>
                  <a:pt x="382" y="1607"/>
                  <a:pt x="429" y="1622"/>
                  <a:pt x="461" y="1655"/>
                </a:cubicBezTo>
                <a:cubicBezTo>
                  <a:pt x="1543" y="2736"/>
                  <a:pt x="1543" y="2736"/>
                  <a:pt x="1543" y="2736"/>
                </a:cubicBezTo>
                <a:cubicBezTo>
                  <a:pt x="1574" y="2768"/>
                  <a:pt x="1622" y="2768"/>
                  <a:pt x="1654" y="2736"/>
                </a:cubicBezTo>
                <a:cubicBezTo>
                  <a:pt x="4183" y="207"/>
                  <a:pt x="4183" y="207"/>
                  <a:pt x="4183" y="207"/>
                </a:cubicBezTo>
                <a:cubicBezTo>
                  <a:pt x="4246" y="143"/>
                  <a:pt x="4358" y="143"/>
                  <a:pt x="4422" y="207"/>
                </a:cubicBezTo>
                <a:cubicBezTo>
                  <a:pt x="4501" y="271"/>
                  <a:pt x="4501" y="382"/>
                  <a:pt x="4422" y="46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4" name="Freeform: Shape 13">
            <a:extLst>
              <a:ext uri="{FF2B5EF4-FFF2-40B4-BE49-F238E27FC236}">
                <a16:creationId xmlns:a16="http://schemas.microsoft.com/office/drawing/2014/main" id="{9CAC0441-7E7C-8B43-8160-5F8337552887}"/>
              </a:ext>
            </a:extLst>
          </p:cNvPr>
          <p:cNvSpPr/>
          <p:nvPr/>
        </p:nvSpPr>
        <p:spPr>
          <a:xfrm>
            <a:off x="17466439" y="9580739"/>
            <a:ext cx="1808639" cy="1622880"/>
          </a:xfrm>
          <a:custGeom>
            <a:avLst/>
            <a:gdLst/>
            <a:ahLst/>
            <a:cxnLst>
              <a:cxn ang="3cd4">
                <a:pos x="hc" y="t"/>
              </a:cxn>
              <a:cxn ang="cd2">
                <a:pos x="l" y="vc"/>
              </a:cxn>
              <a:cxn ang="cd4">
                <a:pos x="hc" y="b"/>
              </a:cxn>
              <a:cxn ang="0">
                <a:pos x="r" y="vc"/>
              </a:cxn>
            </a:cxnLst>
            <a:rect l="l" t="t" r="r" b="b"/>
            <a:pathLst>
              <a:path w="5025" h="4509">
                <a:moveTo>
                  <a:pt x="858" y="4509"/>
                </a:moveTo>
                <a:cubicBezTo>
                  <a:pt x="874" y="4509"/>
                  <a:pt x="905" y="4509"/>
                  <a:pt x="937" y="4509"/>
                </a:cubicBezTo>
                <a:cubicBezTo>
                  <a:pt x="1064" y="4493"/>
                  <a:pt x="1176" y="4462"/>
                  <a:pt x="1287" y="4414"/>
                </a:cubicBezTo>
                <a:cubicBezTo>
                  <a:pt x="1573" y="4303"/>
                  <a:pt x="3641" y="2251"/>
                  <a:pt x="3864" y="2028"/>
                </a:cubicBezTo>
                <a:cubicBezTo>
                  <a:pt x="3864" y="2012"/>
                  <a:pt x="4070" y="1821"/>
                  <a:pt x="4070" y="1567"/>
                </a:cubicBezTo>
                <a:cubicBezTo>
                  <a:pt x="4070" y="1424"/>
                  <a:pt x="4007" y="1297"/>
                  <a:pt x="3895" y="1185"/>
                </a:cubicBezTo>
                <a:cubicBezTo>
                  <a:pt x="3784" y="1058"/>
                  <a:pt x="3657" y="994"/>
                  <a:pt x="3498" y="1010"/>
                </a:cubicBezTo>
                <a:cubicBezTo>
                  <a:pt x="3195" y="1010"/>
                  <a:pt x="2957" y="1265"/>
                  <a:pt x="2957" y="1281"/>
                </a:cubicBezTo>
                <a:cubicBezTo>
                  <a:pt x="1351" y="2744"/>
                  <a:pt x="1351" y="2744"/>
                  <a:pt x="1351" y="2744"/>
                </a:cubicBezTo>
                <a:cubicBezTo>
                  <a:pt x="1319" y="2776"/>
                  <a:pt x="1303" y="2823"/>
                  <a:pt x="1335" y="2855"/>
                </a:cubicBezTo>
                <a:cubicBezTo>
                  <a:pt x="1367" y="2887"/>
                  <a:pt x="1414" y="2887"/>
                  <a:pt x="1446" y="2855"/>
                </a:cubicBezTo>
                <a:cubicBezTo>
                  <a:pt x="3068" y="1392"/>
                  <a:pt x="3068" y="1392"/>
                  <a:pt x="3068" y="1392"/>
                </a:cubicBezTo>
                <a:cubicBezTo>
                  <a:pt x="3068" y="1392"/>
                  <a:pt x="3275" y="1169"/>
                  <a:pt x="3498" y="1169"/>
                </a:cubicBezTo>
                <a:cubicBezTo>
                  <a:pt x="3609" y="1154"/>
                  <a:pt x="3704" y="1201"/>
                  <a:pt x="3784" y="1297"/>
                </a:cubicBezTo>
                <a:cubicBezTo>
                  <a:pt x="4070" y="1583"/>
                  <a:pt x="3784" y="1885"/>
                  <a:pt x="3752" y="1917"/>
                </a:cubicBezTo>
                <a:cubicBezTo>
                  <a:pt x="3275" y="2394"/>
                  <a:pt x="1446" y="4191"/>
                  <a:pt x="1240" y="4271"/>
                </a:cubicBezTo>
                <a:cubicBezTo>
                  <a:pt x="1128" y="4303"/>
                  <a:pt x="1032" y="4335"/>
                  <a:pt x="921" y="4350"/>
                </a:cubicBezTo>
                <a:cubicBezTo>
                  <a:pt x="587" y="4382"/>
                  <a:pt x="365" y="4160"/>
                  <a:pt x="253" y="3953"/>
                </a:cubicBezTo>
                <a:cubicBezTo>
                  <a:pt x="94" y="3666"/>
                  <a:pt x="142" y="3332"/>
                  <a:pt x="333" y="3094"/>
                </a:cubicBezTo>
                <a:cubicBezTo>
                  <a:pt x="699" y="2696"/>
                  <a:pt x="2400" y="1185"/>
                  <a:pt x="3037" y="613"/>
                </a:cubicBezTo>
                <a:cubicBezTo>
                  <a:pt x="3212" y="470"/>
                  <a:pt x="3212" y="470"/>
                  <a:pt x="3212" y="470"/>
                </a:cubicBezTo>
                <a:cubicBezTo>
                  <a:pt x="3275" y="406"/>
                  <a:pt x="3371" y="310"/>
                  <a:pt x="3498" y="231"/>
                </a:cubicBezTo>
                <a:cubicBezTo>
                  <a:pt x="3721" y="104"/>
                  <a:pt x="4118" y="119"/>
                  <a:pt x="4436" y="422"/>
                </a:cubicBezTo>
                <a:cubicBezTo>
                  <a:pt x="4707" y="676"/>
                  <a:pt x="4866" y="946"/>
                  <a:pt x="4866" y="1217"/>
                </a:cubicBezTo>
                <a:cubicBezTo>
                  <a:pt x="4882" y="1599"/>
                  <a:pt x="4643" y="1901"/>
                  <a:pt x="4531" y="2012"/>
                </a:cubicBezTo>
                <a:cubicBezTo>
                  <a:pt x="4373" y="2187"/>
                  <a:pt x="2591" y="3969"/>
                  <a:pt x="2576" y="3984"/>
                </a:cubicBezTo>
                <a:cubicBezTo>
                  <a:pt x="2544" y="4016"/>
                  <a:pt x="2544" y="4064"/>
                  <a:pt x="2576" y="4096"/>
                </a:cubicBezTo>
                <a:cubicBezTo>
                  <a:pt x="2607" y="4127"/>
                  <a:pt x="2655" y="4127"/>
                  <a:pt x="2687" y="4096"/>
                </a:cubicBezTo>
                <a:cubicBezTo>
                  <a:pt x="2766" y="4032"/>
                  <a:pt x="4484" y="2299"/>
                  <a:pt x="4643" y="2124"/>
                </a:cubicBezTo>
                <a:cubicBezTo>
                  <a:pt x="4770" y="1996"/>
                  <a:pt x="5040" y="1663"/>
                  <a:pt x="5025" y="1217"/>
                </a:cubicBezTo>
                <a:cubicBezTo>
                  <a:pt x="5009" y="899"/>
                  <a:pt x="4850" y="581"/>
                  <a:pt x="4548" y="294"/>
                </a:cubicBezTo>
                <a:cubicBezTo>
                  <a:pt x="4213" y="-8"/>
                  <a:pt x="3737" y="-87"/>
                  <a:pt x="3418" y="104"/>
                </a:cubicBezTo>
                <a:cubicBezTo>
                  <a:pt x="3275" y="183"/>
                  <a:pt x="3164" y="279"/>
                  <a:pt x="3100" y="342"/>
                </a:cubicBezTo>
                <a:cubicBezTo>
                  <a:pt x="2925" y="485"/>
                  <a:pt x="2925" y="485"/>
                  <a:pt x="2925" y="485"/>
                </a:cubicBezTo>
                <a:cubicBezTo>
                  <a:pt x="2289" y="1058"/>
                  <a:pt x="587" y="2585"/>
                  <a:pt x="222" y="2999"/>
                </a:cubicBezTo>
                <a:cubicBezTo>
                  <a:pt x="-33" y="3269"/>
                  <a:pt x="-65" y="3666"/>
                  <a:pt x="110" y="4016"/>
                </a:cubicBezTo>
                <a:cubicBezTo>
                  <a:pt x="269" y="4335"/>
                  <a:pt x="540" y="4509"/>
                  <a:pt x="858" y="45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5" name="Freeform: Shape 18">
            <a:extLst>
              <a:ext uri="{FF2B5EF4-FFF2-40B4-BE49-F238E27FC236}">
                <a16:creationId xmlns:a16="http://schemas.microsoft.com/office/drawing/2014/main" id="{04BDF554-DDEE-2041-B41A-6AA0CF1BE75E}"/>
              </a:ext>
            </a:extLst>
          </p:cNvPr>
          <p:cNvSpPr/>
          <p:nvPr/>
        </p:nvSpPr>
        <p:spPr>
          <a:xfrm>
            <a:off x="1879989" y="3618800"/>
            <a:ext cx="1654560" cy="1144800"/>
          </a:xfrm>
          <a:custGeom>
            <a:avLst/>
            <a:gdLst/>
            <a:ahLst/>
            <a:cxnLst>
              <a:cxn ang="3cd4">
                <a:pos x="hc" y="t"/>
              </a:cxn>
              <a:cxn ang="cd2">
                <a:pos x="l" y="vc"/>
              </a:cxn>
              <a:cxn ang="cd4">
                <a:pos x="hc" y="b"/>
              </a:cxn>
              <a:cxn ang="0">
                <a:pos x="r" y="vc"/>
              </a:cxn>
            </a:cxnLst>
            <a:rect l="l" t="t" r="r" b="b"/>
            <a:pathLst>
              <a:path w="4597" h="3181">
                <a:moveTo>
                  <a:pt x="4120" y="0"/>
                </a:moveTo>
                <a:cubicBezTo>
                  <a:pt x="509" y="0"/>
                  <a:pt x="509" y="0"/>
                  <a:pt x="509" y="0"/>
                </a:cubicBezTo>
                <a:cubicBezTo>
                  <a:pt x="271" y="0"/>
                  <a:pt x="0" y="207"/>
                  <a:pt x="0" y="477"/>
                </a:cubicBezTo>
                <a:cubicBezTo>
                  <a:pt x="0" y="2672"/>
                  <a:pt x="0" y="2672"/>
                  <a:pt x="0" y="2672"/>
                </a:cubicBezTo>
                <a:cubicBezTo>
                  <a:pt x="0" y="2927"/>
                  <a:pt x="255" y="3181"/>
                  <a:pt x="509" y="3181"/>
                </a:cubicBezTo>
                <a:cubicBezTo>
                  <a:pt x="4120" y="3181"/>
                  <a:pt x="4120" y="3181"/>
                  <a:pt x="4120" y="3181"/>
                </a:cubicBezTo>
                <a:cubicBezTo>
                  <a:pt x="4374" y="3181"/>
                  <a:pt x="4597" y="2927"/>
                  <a:pt x="4597" y="2672"/>
                </a:cubicBezTo>
                <a:cubicBezTo>
                  <a:pt x="4597" y="477"/>
                  <a:pt x="4597" y="477"/>
                  <a:pt x="4597" y="477"/>
                </a:cubicBezTo>
                <a:cubicBezTo>
                  <a:pt x="4597" y="223"/>
                  <a:pt x="4374" y="0"/>
                  <a:pt x="4120" y="0"/>
                </a:cubicBezTo>
                <a:close/>
                <a:moveTo>
                  <a:pt x="4120" y="159"/>
                </a:moveTo>
                <a:cubicBezTo>
                  <a:pt x="4136" y="159"/>
                  <a:pt x="4136" y="159"/>
                  <a:pt x="4136" y="159"/>
                </a:cubicBezTo>
                <a:cubicBezTo>
                  <a:pt x="2689" y="1813"/>
                  <a:pt x="2689" y="1813"/>
                  <a:pt x="2689" y="1813"/>
                </a:cubicBezTo>
                <a:cubicBezTo>
                  <a:pt x="2498" y="2052"/>
                  <a:pt x="2148" y="2052"/>
                  <a:pt x="1941" y="1813"/>
                </a:cubicBezTo>
                <a:cubicBezTo>
                  <a:pt x="494" y="159"/>
                  <a:pt x="494" y="159"/>
                  <a:pt x="494" y="159"/>
                </a:cubicBezTo>
                <a:lnTo>
                  <a:pt x="509" y="159"/>
                </a:lnTo>
                <a:close/>
                <a:moveTo>
                  <a:pt x="4438" y="2672"/>
                </a:moveTo>
                <a:cubicBezTo>
                  <a:pt x="4438" y="2848"/>
                  <a:pt x="4279" y="3022"/>
                  <a:pt x="4120" y="3022"/>
                </a:cubicBezTo>
                <a:cubicBezTo>
                  <a:pt x="509" y="3022"/>
                  <a:pt x="509" y="3022"/>
                  <a:pt x="509" y="3022"/>
                </a:cubicBezTo>
                <a:cubicBezTo>
                  <a:pt x="350" y="3022"/>
                  <a:pt x="160" y="2831"/>
                  <a:pt x="160" y="2672"/>
                </a:cubicBezTo>
                <a:cubicBezTo>
                  <a:pt x="160" y="477"/>
                  <a:pt x="160" y="477"/>
                  <a:pt x="160" y="477"/>
                </a:cubicBezTo>
                <a:cubicBezTo>
                  <a:pt x="160" y="366"/>
                  <a:pt x="239" y="271"/>
                  <a:pt x="335" y="223"/>
                </a:cubicBezTo>
                <a:cubicBezTo>
                  <a:pt x="1639" y="1702"/>
                  <a:pt x="1639" y="1702"/>
                  <a:pt x="1639" y="1702"/>
                </a:cubicBezTo>
                <a:cubicBezTo>
                  <a:pt x="653" y="2657"/>
                  <a:pt x="653" y="2657"/>
                  <a:pt x="653" y="2657"/>
                </a:cubicBezTo>
                <a:cubicBezTo>
                  <a:pt x="621" y="2688"/>
                  <a:pt x="621" y="2736"/>
                  <a:pt x="653" y="2768"/>
                </a:cubicBezTo>
                <a:cubicBezTo>
                  <a:pt x="669" y="2784"/>
                  <a:pt x="684" y="2784"/>
                  <a:pt x="700" y="2784"/>
                </a:cubicBezTo>
                <a:cubicBezTo>
                  <a:pt x="716" y="2784"/>
                  <a:pt x="748" y="2784"/>
                  <a:pt x="764" y="2768"/>
                </a:cubicBezTo>
                <a:cubicBezTo>
                  <a:pt x="1734" y="1830"/>
                  <a:pt x="1734" y="1830"/>
                  <a:pt x="1734" y="1830"/>
                </a:cubicBezTo>
                <a:cubicBezTo>
                  <a:pt x="1814" y="1925"/>
                  <a:pt x="1814" y="1925"/>
                  <a:pt x="1814" y="1925"/>
                </a:cubicBezTo>
                <a:cubicBezTo>
                  <a:pt x="1957" y="2068"/>
                  <a:pt x="2132" y="2148"/>
                  <a:pt x="2323" y="2148"/>
                </a:cubicBezTo>
                <a:cubicBezTo>
                  <a:pt x="2514" y="2148"/>
                  <a:pt x="2689" y="2068"/>
                  <a:pt x="2816" y="1925"/>
                </a:cubicBezTo>
                <a:cubicBezTo>
                  <a:pt x="2895" y="1830"/>
                  <a:pt x="2895" y="1830"/>
                  <a:pt x="2895" y="1830"/>
                </a:cubicBezTo>
                <a:cubicBezTo>
                  <a:pt x="3881" y="2768"/>
                  <a:pt x="3881" y="2768"/>
                  <a:pt x="3881" y="2768"/>
                </a:cubicBezTo>
                <a:cubicBezTo>
                  <a:pt x="3897" y="2784"/>
                  <a:pt x="3913" y="2784"/>
                  <a:pt x="3929" y="2784"/>
                </a:cubicBezTo>
                <a:cubicBezTo>
                  <a:pt x="3961" y="2784"/>
                  <a:pt x="3977" y="2784"/>
                  <a:pt x="3993" y="2768"/>
                </a:cubicBezTo>
                <a:cubicBezTo>
                  <a:pt x="4025" y="2736"/>
                  <a:pt x="4025" y="2688"/>
                  <a:pt x="3993" y="2657"/>
                </a:cubicBezTo>
                <a:cubicBezTo>
                  <a:pt x="3007" y="1702"/>
                  <a:pt x="3007" y="1702"/>
                  <a:pt x="3007" y="1702"/>
                </a:cubicBezTo>
                <a:cubicBezTo>
                  <a:pt x="4295" y="223"/>
                  <a:pt x="4295" y="223"/>
                  <a:pt x="4295" y="223"/>
                </a:cubicBezTo>
                <a:cubicBezTo>
                  <a:pt x="4390" y="286"/>
                  <a:pt x="4438" y="382"/>
                  <a:pt x="4438" y="47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6" name="TextBox 55">
            <a:extLst>
              <a:ext uri="{FF2B5EF4-FFF2-40B4-BE49-F238E27FC236}">
                <a16:creationId xmlns:a16="http://schemas.microsoft.com/office/drawing/2014/main" id="{FAAA340D-5E28-8A47-ACD4-47FB842ECF36}"/>
              </a:ext>
            </a:extLst>
          </p:cNvPr>
          <p:cNvSpPr txBox="1"/>
          <p:nvPr/>
        </p:nvSpPr>
        <p:spPr>
          <a:xfrm>
            <a:off x="16387633" y="5078009"/>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Address Book</a:t>
            </a:r>
          </a:p>
        </p:txBody>
      </p:sp>
      <p:sp>
        <p:nvSpPr>
          <p:cNvPr id="57" name="TextBox 56">
            <a:extLst>
              <a:ext uri="{FF2B5EF4-FFF2-40B4-BE49-F238E27FC236}">
                <a16:creationId xmlns:a16="http://schemas.microsoft.com/office/drawing/2014/main" id="{9867C3AF-89CC-4746-94C3-9231A98891AF}"/>
              </a:ext>
            </a:extLst>
          </p:cNvPr>
          <p:cNvSpPr txBox="1"/>
          <p:nvPr/>
        </p:nvSpPr>
        <p:spPr>
          <a:xfrm>
            <a:off x="20846513" y="5078009"/>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a:t>Presentation</a:t>
            </a:r>
            <a:endParaRPr lang="en-US" sz="2800" dirty="0"/>
          </a:p>
        </p:txBody>
      </p:sp>
      <p:sp>
        <p:nvSpPr>
          <p:cNvPr id="58" name="Freeform: Shape 3">
            <a:extLst>
              <a:ext uri="{FF2B5EF4-FFF2-40B4-BE49-F238E27FC236}">
                <a16:creationId xmlns:a16="http://schemas.microsoft.com/office/drawing/2014/main" id="{16970D5E-E99F-5245-B76F-C359A0F02186}"/>
              </a:ext>
            </a:extLst>
          </p:cNvPr>
          <p:cNvSpPr/>
          <p:nvPr/>
        </p:nvSpPr>
        <p:spPr>
          <a:xfrm>
            <a:off x="17548706" y="3268714"/>
            <a:ext cx="1379519" cy="1528200"/>
          </a:xfrm>
          <a:custGeom>
            <a:avLst/>
            <a:gdLst/>
            <a:ahLst/>
            <a:cxnLst>
              <a:cxn ang="3cd4">
                <a:pos x="hc" y="t"/>
              </a:cxn>
              <a:cxn ang="cd2">
                <a:pos x="l" y="vc"/>
              </a:cxn>
              <a:cxn ang="cd4">
                <a:pos x="hc" y="b"/>
              </a:cxn>
              <a:cxn ang="0">
                <a:pos x="r" y="vc"/>
              </a:cxn>
            </a:cxnLst>
            <a:rect l="l" t="t" r="r" b="b"/>
            <a:pathLst>
              <a:path w="3833" h="4246">
                <a:moveTo>
                  <a:pt x="79" y="4246"/>
                </a:moveTo>
                <a:lnTo>
                  <a:pt x="3531" y="4246"/>
                </a:lnTo>
                <a:cubicBezTo>
                  <a:pt x="3706" y="4246"/>
                  <a:pt x="3833" y="4088"/>
                  <a:pt x="3833" y="3865"/>
                </a:cubicBezTo>
                <a:lnTo>
                  <a:pt x="3833" y="509"/>
                </a:lnTo>
                <a:cubicBezTo>
                  <a:pt x="3833" y="207"/>
                  <a:pt x="3626" y="0"/>
                  <a:pt x="3356" y="0"/>
                </a:cubicBezTo>
                <a:lnTo>
                  <a:pt x="79" y="0"/>
                </a:lnTo>
                <a:cubicBezTo>
                  <a:pt x="32" y="0"/>
                  <a:pt x="0" y="32"/>
                  <a:pt x="0" y="80"/>
                </a:cubicBezTo>
                <a:lnTo>
                  <a:pt x="0" y="4167"/>
                </a:lnTo>
                <a:cubicBezTo>
                  <a:pt x="0" y="4215"/>
                  <a:pt x="32" y="4246"/>
                  <a:pt x="79" y="4246"/>
                </a:cubicBezTo>
                <a:close/>
                <a:moveTo>
                  <a:pt x="3674" y="509"/>
                </a:moveTo>
                <a:lnTo>
                  <a:pt x="3674" y="3865"/>
                </a:lnTo>
                <a:cubicBezTo>
                  <a:pt x="3674" y="3944"/>
                  <a:pt x="3642" y="4088"/>
                  <a:pt x="3531" y="4088"/>
                </a:cubicBezTo>
                <a:lnTo>
                  <a:pt x="588" y="4088"/>
                </a:lnTo>
                <a:lnTo>
                  <a:pt x="588" y="159"/>
                </a:lnTo>
                <a:lnTo>
                  <a:pt x="3356" y="159"/>
                </a:lnTo>
                <a:cubicBezTo>
                  <a:pt x="3578" y="159"/>
                  <a:pt x="3674" y="334"/>
                  <a:pt x="3674" y="509"/>
                </a:cubicBezTo>
                <a:close/>
                <a:moveTo>
                  <a:pt x="159" y="159"/>
                </a:moveTo>
                <a:lnTo>
                  <a:pt x="430" y="159"/>
                </a:lnTo>
                <a:lnTo>
                  <a:pt x="430" y="4088"/>
                </a:lnTo>
                <a:lnTo>
                  <a:pt x="159" y="4088"/>
                </a:lnTo>
                <a:close/>
                <a:moveTo>
                  <a:pt x="2099" y="1765"/>
                </a:moveTo>
                <a:cubicBezTo>
                  <a:pt x="2338" y="1765"/>
                  <a:pt x="2513" y="1574"/>
                  <a:pt x="2513" y="1352"/>
                </a:cubicBezTo>
                <a:cubicBezTo>
                  <a:pt x="2513" y="1129"/>
                  <a:pt x="2338" y="938"/>
                  <a:pt x="2099" y="938"/>
                </a:cubicBezTo>
                <a:cubicBezTo>
                  <a:pt x="1876" y="938"/>
                  <a:pt x="1702" y="1129"/>
                  <a:pt x="1702" y="1352"/>
                </a:cubicBezTo>
                <a:cubicBezTo>
                  <a:pt x="1702" y="1574"/>
                  <a:pt x="1876" y="1765"/>
                  <a:pt x="2099" y="1765"/>
                </a:cubicBezTo>
                <a:close/>
                <a:moveTo>
                  <a:pt x="2099" y="1098"/>
                </a:moveTo>
                <a:cubicBezTo>
                  <a:pt x="2242" y="1098"/>
                  <a:pt x="2354" y="1208"/>
                  <a:pt x="2354" y="1352"/>
                </a:cubicBezTo>
                <a:cubicBezTo>
                  <a:pt x="2354" y="1495"/>
                  <a:pt x="2242" y="1606"/>
                  <a:pt x="2099" y="1606"/>
                </a:cubicBezTo>
                <a:cubicBezTo>
                  <a:pt x="1972" y="1606"/>
                  <a:pt x="1861" y="1495"/>
                  <a:pt x="1861" y="1352"/>
                </a:cubicBezTo>
                <a:cubicBezTo>
                  <a:pt x="1861" y="1208"/>
                  <a:pt x="1972" y="1098"/>
                  <a:pt x="2099" y="1098"/>
                </a:cubicBezTo>
                <a:close/>
                <a:moveTo>
                  <a:pt x="1495" y="3292"/>
                </a:moveTo>
                <a:lnTo>
                  <a:pt x="2704" y="3292"/>
                </a:lnTo>
                <a:cubicBezTo>
                  <a:pt x="2751" y="3292"/>
                  <a:pt x="2783" y="3261"/>
                  <a:pt x="2783" y="3213"/>
                </a:cubicBezTo>
                <a:lnTo>
                  <a:pt x="2783" y="2401"/>
                </a:lnTo>
                <a:cubicBezTo>
                  <a:pt x="2783" y="2052"/>
                  <a:pt x="2513" y="1781"/>
                  <a:pt x="2163" y="1781"/>
                </a:cubicBezTo>
                <a:lnTo>
                  <a:pt x="2036" y="1781"/>
                </a:lnTo>
                <a:cubicBezTo>
                  <a:pt x="1702" y="1781"/>
                  <a:pt x="1415" y="2052"/>
                  <a:pt x="1415" y="2401"/>
                </a:cubicBezTo>
                <a:lnTo>
                  <a:pt x="1415" y="3213"/>
                </a:lnTo>
                <a:cubicBezTo>
                  <a:pt x="1415" y="3261"/>
                  <a:pt x="1463" y="3292"/>
                  <a:pt x="1495" y="3292"/>
                </a:cubicBezTo>
                <a:close/>
                <a:moveTo>
                  <a:pt x="1575" y="2401"/>
                </a:moveTo>
                <a:cubicBezTo>
                  <a:pt x="1575" y="2147"/>
                  <a:pt x="1781" y="1940"/>
                  <a:pt x="2036" y="1940"/>
                </a:cubicBezTo>
                <a:lnTo>
                  <a:pt x="2163" y="1940"/>
                </a:lnTo>
                <a:cubicBezTo>
                  <a:pt x="2418" y="1940"/>
                  <a:pt x="2624" y="2147"/>
                  <a:pt x="2624" y="2401"/>
                </a:cubicBezTo>
                <a:lnTo>
                  <a:pt x="2624" y="3133"/>
                </a:lnTo>
                <a:lnTo>
                  <a:pt x="1575" y="3133"/>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9" name="Freeform: Shape 19">
            <a:extLst>
              <a:ext uri="{FF2B5EF4-FFF2-40B4-BE49-F238E27FC236}">
                <a16:creationId xmlns:a16="http://schemas.microsoft.com/office/drawing/2014/main" id="{8DC5C980-149E-8648-97F7-04431DCD00FE}"/>
              </a:ext>
            </a:extLst>
          </p:cNvPr>
          <p:cNvSpPr/>
          <p:nvPr/>
        </p:nvSpPr>
        <p:spPr>
          <a:xfrm>
            <a:off x="21203540" y="3251433"/>
            <a:ext cx="1558800" cy="1528560"/>
          </a:xfrm>
          <a:custGeom>
            <a:avLst/>
            <a:gdLst/>
            <a:ahLst/>
            <a:cxnLst>
              <a:cxn ang="3cd4">
                <a:pos x="hc" y="t"/>
              </a:cxn>
              <a:cxn ang="cd2">
                <a:pos x="l" y="vc"/>
              </a:cxn>
              <a:cxn ang="cd4">
                <a:pos x="hc" y="b"/>
              </a:cxn>
              <a:cxn ang="0">
                <a:pos x="r" y="vc"/>
              </a:cxn>
            </a:cxnLst>
            <a:rect l="l" t="t" r="r" b="b"/>
            <a:pathLst>
              <a:path w="4331" h="4247">
                <a:moveTo>
                  <a:pt x="1197" y="1463"/>
                </a:moveTo>
                <a:lnTo>
                  <a:pt x="2995" y="1463"/>
                </a:lnTo>
                <a:cubicBezTo>
                  <a:pt x="3042" y="1463"/>
                  <a:pt x="3074" y="1432"/>
                  <a:pt x="3074" y="1384"/>
                </a:cubicBezTo>
                <a:cubicBezTo>
                  <a:pt x="3074" y="1336"/>
                  <a:pt x="3042" y="1305"/>
                  <a:pt x="2995" y="1305"/>
                </a:cubicBezTo>
                <a:lnTo>
                  <a:pt x="1197" y="1305"/>
                </a:lnTo>
                <a:cubicBezTo>
                  <a:pt x="1150" y="1305"/>
                  <a:pt x="1118" y="1336"/>
                  <a:pt x="1118" y="1384"/>
                </a:cubicBezTo>
                <a:cubicBezTo>
                  <a:pt x="1118" y="1432"/>
                  <a:pt x="1150" y="1463"/>
                  <a:pt x="1197" y="1463"/>
                </a:cubicBezTo>
                <a:close/>
                <a:moveTo>
                  <a:pt x="3360" y="1463"/>
                </a:moveTo>
                <a:lnTo>
                  <a:pt x="3615" y="1463"/>
                </a:lnTo>
                <a:cubicBezTo>
                  <a:pt x="3663" y="1463"/>
                  <a:pt x="3694" y="1432"/>
                  <a:pt x="3694" y="1384"/>
                </a:cubicBezTo>
                <a:cubicBezTo>
                  <a:pt x="3694" y="1336"/>
                  <a:pt x="3663" y="1305"/>
                  <a:pt x="3615" y="1305"/>
                </a:cubicBezTo>
                <a:lnTo>
                  <a:pt x="3360" y="1305"/>
                </a:lnTo>
                <a:cubicBezTo>
                  <a:pt x="3329" y="1305"/>
                  <a:pt x="3281" y="1336"/>
                  <a:pt x="3281" y="1384"/>
                </a:cubicBezTo>
                <a:cubicBezTo>
                  <a:pt x="3281" y="1432"/>
                  <a:pt x="3329" y="1463"/>
                  <a:pt x="3360" y="1463"/>
                </a:cubicBezTo>
                <a:close/>
                <a:moveTo>
                  <a:pt x="1197" y="1893"/>
                </a:moveTo>
                <a:lnTo>
                  <a:pt x="2995" y="1893"/>
                </a:lnTo>
                <a:cubicBezTo>
                  <a:pt x="3042" y="1893"/>
                  <a:pt x="3074" y="1861"/>
                  <a:pt x="3074" y="1814"/>
                </a:cubicBezTo>
                <a:cubicBezTo>
                  <a:pt x="3074" y="1766"/>
                  <a:pt x="3042" y="1734"/>
                  <a:pt x="2995" y="1734"/>
                </a:cubicBezTo>
                <a:lnTo>
                  <a:pt x="1197" y="1734"/>
                </a:lnTo>
                <a:cubicBezTo>
                  <a:pt x="1150" y="1734"/>
                  <a:pt x="1118" y="1766"/>
                  <a:pt x="1118" y="1814"/>
                </a:cubicBezTo>
                <a:cubicBezTo>
                  <a:pt x="1118" y="1861"/>
                  <a:pt x="1150" y="1893"/>
                  <a:pt x="1197" y="1893"/>
                </a:cubicBezTo>
                <a:close/>
                <a:moveTo>
                  <a:pt x="3360" y="1893"/>
                </a:moveTo>
                <a:lnTo>
                  <a:pt x="3615" y="1893"/>
                </a:lnTo>
                <a:cubicBezTo>
                  <a:pt x="3663" y="1893"/>
                  <a:pt x="3694" y="1861"/>
                  <a:pt x="3694" y="1814"/>
                </a:cubicBezTo>
                <a:cubicBezTo>
                  <a:pt x="3694" y="1766"/>
                  <a:pt x="3663" y="1734"/>
                  <a:pt x="3615" y="1734"/>
                </a:cubicBezTo>
                <a:lnTo>
                  <a:pt x="3360" y="1734"/>
                </a:lnTo>
                <a:cubicBezTo>
                  <a:pt x="3329" y="1734"/>
                  <a:pt x="3281" y="1766"/>
                  <a:pt x="3281" y="1814"/>
                </a:cubicBezTo>
                <a:cubicBezTo>
                  <a:pt x="3281" y="1861"/>
                  <a:pt x="3329" y="1893"/>
                  <a:pt x="3360" y="1893"/>
                </a:cubicBezTo>
                <a:close/>
                <a:moveTo>
                  <a:pt x="3360" y="2323"/>
                </a:moveTo>
                <a:lnTo>
                  <a:pt x="3615" y="2323"/>
                </a:lnTo>
                <a:cubicBezTo>
                  <a:pt x="3663" y="2323"/>
                  <a:pt x="3694" y="2290"/>
                  <a:pt x="3694" y="2243"/>
                </a:cubicBezTo>
                <a:cubicBezTo>
                  <a:pt x="3694" y="2195"/>
                  <a:pt x="3663" y="2163"/>
                  <a:pt x="3615" y="2163"/>
                </a:cubicBezTo>
                <a:lnTo>
                  <a:pt x="3360" y="2163"/>
                </a:lnTo>
                <a:cubicBezTo>
                  <a:pt x="3329" y="2163"/>
                  <a:pt x="3281" y="2195"/>
                  <a:pt x="3281" y="2243"/>
                </a:cubicBezTo>
                <a:cubicBezTo>
                  <a:pt x="3281" y="2290"/>
                  <a:pt x="3329" y="2323"/>
                  <a:pt x="3360" y="2323"/>
                </a:cubicBezTo>
                <a:close/>
                <a:moveTo>
                  <a:pt x="3360" y="2752"/>
                </a:moveTo>
                <a:lnTo>
                  <a:pt x="3615" y="2752"/>
                </a:lnTo>
                <a:cubicBezTo>
                  <a:pt x="3663" y="2752"/>
                  <a:pt x="3694" y="2720"/>
                  <a:pt x="3694" y="2672"/>
                </a:cubicBezTo>
                <a:cubicBezTo>
                  <a:pt x="3694" y="2641"/>
                  <a:pt x="3663" y="2593"/>
                  <a:pt x="3615" y="2593"/>
                </a:cubicBezTo>
                <a:lnTo>
                  <a:pt x="3360" y="2593"/>
                </a:lnTo>
                <a:cubicBezTo>
                  <a:pt x="3329" y="2593"/>
                  <a:pt x="3281" y="2641"/>
                  <a:pt x="3281" y="2672"/>
                </a:cubicBezTo>
                <a:cubicBezTo>
                  <a:pt x="3281" y="2720"/>
                  <a:pt x="3329" y="2752"/>
                  <a:pt x="3360" y="2752"/>
                </a:cubicBezTo>
                <a:close/>
                <a:moveTo>
                  <a:pt x="100" y="4151"/>
                </a:moveTo>
                <a:cubicBezTo>
                  <a:pt x="164" y="4215"/>
                  <a:pt x="243" y="4247"/>
                  <a:pt x="339" y="4247"/>
                </a:cubicBezTo>
                <a:lnTo>
                  <a:pt x="355" y="4247"/>
                </a:lnTo>
                <a:cubicBezTo>
                  <a:pt x="450" y="4231"/>
                  <a:pt x="545" y="4199"/>
                  <a:pt x="609" y="4135"/>
                </a:cubicBezTo>
                <a:lnTo>
                  <a:pt x="641" y="4088"/>
                </a:lnTo>
                <a:lnTo>
                  <a:pt x="657" y="4088"/>
                </a:lnTo>
                <a:lnTo>
                  <a:pt x="1197" y="3531"/>
                </a:lnTo>
                <a:lnTo>
                  <a:pt x="4251" y="3531"/>
                </a:lnTo>
                <a:cubicBezTo>
                  <a:pt x="4283" y="3531"/>
                  <a:pt x="4331" y="3499"/>
                  <a:pt x="4331" y="3451"/>
                </a:cubicBezTo>
                <a:lnTo>
                  <a:pt x="4331" y="684"/>
                </a:lnTo>
                <a:lnTo>
                  <a:pt x="4331" y="239"/>
                </a:lnTo>
                <a:cubicBezTo>
                  <a:pt x="4331" y="112"/>
                  <a:pt x="4220" y="0"/>
                  <a:pt x="4092" y="0"/>
                </a:cubicBezTo>
                <a:lnTo>
                  <a:pt x="784" y="0"/>
                </a:lnTo>
                <a:cubicBezTo>
                  <a:pt x="641" y="0"/>
                  <a:pt x="545" y="112"/>
                  <a:pt x="545" y="239"/>
                </a:cubicBezTo>
                <a:lnTo>
                  <a:pt x="545" y="684"/>
                </a:lnTo>
                <a:lnTo>
                  <a:pt x="545" y="3213"/>
                </a:lnTo>
                <a:lnTo>
                  <a:pt x="116" y="3642"/>
                </a:lnTo>
                <a:cubicBezTo>
                  <a:pt x="-27" y="3786"/>
                  <a:pt x="-43" y="4008"/>
                  <a:pt x="100" y="4151"/>
                </a:cubicBezTo>
                <a:close/>
                <a:moveTo>
                  <a:pt x="704" y="239"/>
                </a:moveTo>
                <a:cubicBezTo>
                  <a:pt x="704" y="207"/>
                  <a:pt x="736" y="159"/>
                  <a:pt x="784" y="159"/>
                </a:cubicBezTo>
                <a:lnTo>
                  <a:pt x="4092" y="159"/>
                </a:lnTo>
                <a:cubicBezTo>
                  <a:pt x="4124" y="159"/>
                  <a:pt x="4172" y="207"/>
                  <a:pt x="4172" y="239"/>
                </a:cubicBezTo>
                <a:lnTo>
                  <a:pt x="4172" y="605"/>
                </a:lnTo>
                <a:lnTo>
                  <a:pt x="704" y="605"/>
                </a:lnTo>
                <a:close/>
                <a:moveTo>
                  <a:pt x="704" y="764"/>
                </a:moveTo>
                <a:lnTo>
                  <a:pt x="4172" y="764"/>
                </a:lnTo>
                <a:lnTo>
                  <a:pt x="4172" y="3372"/>
                </a:lnTo>
                <a:lnTo>
                  <a:pt x="1357" y="3372"/>
                </a:lnTo>
                <a:lnTo>
                  <a:pt x="1977" y="2752"/>
                </a:lnTo>
                <a:lnTo>
                  <a:pt x="2995" y="2752"/>
                </a:lnTo>
                <a:cubicBezTo>
                  <a:pt x="3042" y="2752"/>
                  <a:pt x="3074" y="2720"/>
                  <a:pt x="3074" y="2672"/>
                </a:cubicBezTo>
                <a:cubicBezTo>
                  <a:pt x="3074" y="2641"/>
                  <a:pt x="3042" y="2593"/>
                  <a:pt x="2995" y="2593"/>
                </a:cubicBezTo>
                <a:lnTo>
                  <a:pt x="2057" y="2593"/>
                </a:lnTo>
                <a:lnTo>
                  <a:pt x="2136" y="2323"/>
                </a:lnTo>
                <a:lnTo>
                  <a:pt x="2995" y="2323"/>
                </a:lnTo>
                <a:cubicBezTo>
                  <a:pt x="3042" y="2323"/>
                  <a:pt x="3074" y="2290"/>
                  <a:pt x="3074" y="2243"/>
                </a:cubicBezTo>
                <a:cubicBezTo>
                  <a:pt x="3074" y="2195"/>
                  <a:pt x="3042" y="2163"/>
                  <a:pt x="2995" y="2163"/>
                </a:cubicBezTo>
                <a:lnTo>
                  <a:pt x="2167" y="2163"/>
                </a:lnTo>
                <a:cubicBezTo>
                  <a:pt x="2167" y="2147"/>
                  <a:pt x="2167" y="2115"/>
                  <a:pt x="2152" y="2100"/>
                </a:cubicBezTo>
                <a:cubicBezTo>
                  <a:pt x="2120" y="2084"/>
                  <a:pt x="2104" y="2068"/>
                  <a:pt x="2072" y="2084"/>
                </a:cubicBezTo>
                <a:lnTo>
                  <a:pt x="1738" y="2163"/>
                </a:lnTo>
                <a:lnTo>
                  <a:pt x="1197" y="2163"/>
                </a:lnTo>
                <a:cubicBezTo>
                  <a:pt x="1150" y="2163"/>
                  <a:pt x="1118" y="2195"/>
                  <a:pt x="1118" y="2243"/>
                </a:cubicBezTo>
                <a:cubicBezTo>
                  <a:pt x="1118" y="2290"/>
                  <a:pt x="1150" y="2323"/>
                  <a:pt x="1197" y="2323"/>
                </a:cubicBezTo>
                <a:lnTo>
                  <a:pt x="1436" y="2323"/>
                </a:lnTo>
                <a:lnTo>
                  <a:pt x="704" y="3054"/>
                </a:lnTo>
                <a:close/>
                <a:moveTo>
                  <a:pt x="227" y="3754"/>
                </a:moveTo>
                <a:lnTo>
                  <a:pt x="1611" y="2370"/>
                </a:lnTo>
                <a:lnTo>
                  <a:pt x="1977" y="2275"/>
                </a:lnTo>
                <a:lnTo>
                  <a:pt x="1881" y="2624"/>
                </a:lnTo>
                <a:lnTo>
                  <a:pt x="545" y="3960"/>
                </a:lnTo>
                <a:cubicBezTo>
                  <a:pt x="545" y="3977"/>
                  <a:pt x="545" y="3977"/>
                  <a:pt x="530" y="3977"/>
                </a:cubicBezTo>
                <a:lnTo>
                  <a:pt x="498" y="4024"/>
                </a:lnTo>
                <a:cubicBezTo>
                  <a:pt x="450" y="4056"/>
                  <a:pt x="402" y="4088"/>
                  <a:pt x="339" y="4088"/>
                </a:cubicBezTo>
                <a:cubicBezTo>
                  <a:pt x="291" y="4088"/>
                  <a:pt x="243" y="4072"/>
                  <a:pt x="212" y="4040"/>
                </a:cubicBezTo>
                <a:cubicBezTo>
                  <a:pt x="132" y="3960"/>
                  <a:pt x="148" y="3833"/>
                  <a:pt x="227" y="375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0" name="TextBox 59">
            <a:extLst>
              <a:ext uri="{FF2B5EF4-FFF2-40B4-BE49-F238E27FC236}">
                <a16:creationId xmlns:a16="http://schemas.microsoft.com/office/drawing/2014/main" id="{13FBF295-4BA6-EC42-A4A2-D646168DD4CB}"/>
              </a:ext>
            </a:extLst>
          </p:cNvPr>
          <p:cNvSpPr txBox="1"/>
          <p:nvPr/>
        </p:nvSpPr>
        <p:spPr>
          <a:xfrm>
            <a:off x="5430176" y="5164929"/>
            <a:ext cx="2465738"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Email 2</a:t>
            </a:r>
          </a:p>
        </p:txBody>
      </p:sp>
      <p:sp>
        <p:nvSpPr>
          <p:cNvPr id="61" name="TextBox 60">
            <a:extLst>
              <a:ext uri="{FF2B5EF4-FFF2-40B4-BE49-F238E27FC236}">
                <a16:creationId xmlns:a16="http://schemas.microsoft.com/office/drawing/2014/main" id="{04894A4A-1EC8-D641-B60E-B1AF14AC784A}"/>
              </a:ext>
            </a:extLst>
          </p:cNvPr>
          <p:cNvSpPr txBox="1"/>
          <p:nvPr/>
        </p:nvSpPr>
        <p:spPr>
          <a:xfrm>
            <a:off x="9600473" y="5164929"/>
            <a:ext cx="243317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Graph</a:t>
            </a:r>
          </a:p>
        </p:txBody>
      </p:sp>
      <p:sp>
        <p:nvSpPr>
          <p:cNvPr id="62" name="Freeform: Shape 18">
            <a:extLst>
              <a:ext uri="{FF2B5EF4-FFF2-40B4-BE49-F238E27FC236}">
                <a16:creationId xmlns:a16="http://schemas.microsoft.com/office/drawing/2014/main" id="{1CCA6A5D-4CB1-D645-991B-CE06351DFF17}"/>
              </a:ext>
            </a:extLst>
          </p:cNvPr>
          <p:cNvSpPr/>
          <p:nvPr/>
        </p:nvSpPr>
        <p:spPr>
          <a:xfrm>
            <a:off x="5807144" y="3552068"/>
            <a:ext cx="1711800" cy="1196640"/>
          </a:xfrm>
          <a:custGeom>
            <a:avLst/>
            <a:gdLst/>
            <a:ahLst/>
            <a:cxnLst>
              <a:cxn ang="3cd4">
                <a:pos x="hc" y="t"/>
              </a:cxn>
              <a:cxn ang="cd2">
                <a:pos x="l" y="vc"/>
              </a:cxn>
              <a:cxn ang="cd4">
                <a:pos x="hc" y="b"/>
              </a:cxn>
              <a:cxn ang="0">
                <a:pos x="r" y="vc"/>
              </a:cxn>
            </a:cxnLst>
            <a:rect l="l" t="t" r="r" b="b"/>
            <a:pathLst>
              <a:path w="4756" h="3325">
                <a:moveTo>
                  <a:pt x="366" y="3325"/>
                </a:moveTo>
                <a:lnTo>
                  <a:pt x="4311" y="3325"/>
                </a:lnTo>
                <a:cubicBezTo>
                  <a:pt x="4533" y="3325"/>
                  <a:pt x="4756" y="3117"/>
                  <a:pt x="4756" y="2911"/>
                </a:cubicBezTo>
                <a:lnTo>
                  <a:pt x="4756" y="2784"/>
                </a:lnTo>
                <a:cubicBezTo>
                  <a:pt x="4756" y="2736"/>
                  <a:pt x="4724" y="2704"/>
                  <a:pt x="4676" y="2704"/>
                </a:cubicBezTo>
                <a:lnTo>
                  <a:pt x="4438" y="2704"/>
                </a:lnTo>
                <a:lnTo>
                  <a:pt x="4438" y="350"/>
                </a:lnTo>
                <a:cubicBezTo>
                  <a:pt x="4438" y="144"/>
                  <a:pt x="4294" y="0"/>
                  <a:pt x="4072" y="0"/>
                </a:cubicBezTo>
                <a:lnTo>
                  <a:pt x="652" y="0"/>
                </a:lnTo>
                <a:cubicBezTo>
                  <a:pt x="445" y="0"/>
                  <a:pt x="318" y="144"/>
                  <a:pt x="318" y="350"/>
                </a:cubicBezTo>
                <a:lnTo>
                  <a:pt x="318" y="2704"/>
                </a:lnTo>
                <a:lnTo>
                  <a:pt x="80" y="2704"/>
                </a:lnTo>
                <a:cubicBezTo>
                  <a:pt x="48" y="2704"/>
                  <a:pt x="0" y="2736"/>
                  <a:pt x="0" y="2784"/>
                </a:cubicBezTo>
                <a:lnTo>
                  <a:pt x="0" y="2911"/>
                </a:lnTo>
                <a:cubicBezTo>
                  <a:pt x="0" y="3117"/>
                  <a:pt x="143" y="3325"/>
                  <a:pt x="366" y="3325"/>
                </a:cubicBezTo>
                <a:close/>
                <a:moveTo>
                  <a:pt x="477" y="350"/>
                </a:moveTo>
                <a:cubicBezTo>
                  <a:pt x="477" y="223"/>
                  <a:pt x="541" y="159"/>
                  <a:pt x="652" y="159"/>
                </a:cubicBezTo>
                <a:lnTo>
                  <a:pt x="4072" y="159"/>
                </a:lnTo>
                <a:cubicBezTo>
                  <a:pt x="4135" y="159"/>
                  <a:pt x="4278" y="191"/>
                  <a:pt x="4278" y="350"/>
                </a:cubicBezTo>
                <a:lnTo>
                  <a:pt x="4278" y="2704"/>
                </a:lnTo>
                <a:lnTo>
                  <a:pt x="477" y="2704"/>
                </a:lnTo>
                <a:close/>
                <a:moveTo>
                  <a:pt x="159" y="2863"/>
                </a:moveTo>
                <a:lnTo>
                  <a:pt x="398" y="2863"/>
                </a:lnTo>
                <a:lnTo>
                  <a:pt x="4358" y="2863"/>
                </a:lnTo>
                <a:lnTo>
                  <a:pt x="4597" y="2863"/>
                </a:lnTo>
                <a:lnTo>
                  <a:pt x="4597" y="2911"/>
                </a:lnTo>
                <a:cubicBezTo>
                  <a:pt x="4597" y="3038"/>
                  <a:pt x="4438" y="3165"/>
                  <a:pt x="4311" y="3165"/>
                </a:cubicBezTo>
                <a:lnTo>
                  <a:pt x="366" y="3165"/>
                </a:lnTo>
                <a:cubicBezTo>
                  <a:pt x="239" y="3165"/>
                  <a:pt x="159" y="3038"/>
                  <a:pt x="159" y="2911"/>
                </a:cubicBezTo>
                <a:close/>
                <a:moveTo>
                  <a:pt x="3340" y="557"/>
                </a:moveTo>
                <a:lnTo>
                  <a:pt x="1448" y="557"/>
                </a:lnTo>
                <a:cubicBezTo>
                  <a:pt x="1288" y="557"/>
                  <a:pt x="1130" y="684"/>
                  <a:pt x="1130" y="843"/>
                </a:cubicBezTo>
                <a:lnTo>
                  <a:pt x="1130" y="1989"/>
                </a:lnTo>
                <a:cubicBezTo>
                  <a:pt x="1130" y="2147"/>
                  <a:pt x="1288" y="2307"/>
                  <a:pt x="1448" y="2307"/>
                </a:cubicBezTo>
                <a:lnTo>
                  <a:pt x="3340" y="2307"/>
                </a:lnTo>
                <a:cubicBezTo>
                  <a:pt x="3483" y="2307"/>
                  <a:pt x="3626" y="2163"/>
                  <a:pt x="3626" y="1989"/>
                </a:cubicBezTo>
                <a:lnTo>
                  <a:pt x="3626" y="843"/>
                </a:lnTo>
                <a:cubicBezTo>
                  <a:pt x="3626" y="684"/>
                  <a:pt x="3499" y="557"/>
                  <a:pt x="3340" y="557"/>
                </a:cubicBezTo>
                <a:close/>
                <a:moveTo>
                  <a:pt x="2561" y="1527"/>
                </a:moveTo>
                <a:cubicBezTo>
                  <a:pt x="2513" y="1575"/>
                  <a:pt x="2449" y="1607"/>
                  <a:pt x="2386" y="1607"/>
                </a:cubicBezTo>
                <a:cubicBezTo>
                  <a:pt x="2322" y="1607"/>
                  <a:pt x="2258" y="1575"/>
                  <a:pt x="2227" y="1527"/>
                </a:cubicBezTo>
                <a:lnTo>
                  <a:pt x="1511" y="716"/>
                </a:lnTo>
                <a:lnTo>
                  <a:pt x="3261" y="716"/>
                </a:lnTo>
                <a:close/>
                <a:moveTo>
                  <a:pt x="3467" y="1989"/>
                </a:moveTo>
                <a:cubicBezTo>
                  <a:pt x="3467" y="2068"/>
                  <a:pt x="3404" y="2147"/>
                  <a:pt x="3340" y="2147"/>
                </a:cubicBezTo>
                <a:lnTo>
                  <a:pt x="1448" y="2147"/>
                </a:lnTo>
                <a:cubicBezTo>
                  <a:pt x="1368" y="2147"/>
                  <a:pt x="1288" y="2068"/>
                  <a:pt x="1288" y="1989"/>
                </a:cubicBezTo>
                <a:lnTo>
                  <a:pt x="1288" y="843"/>
                </a:lnTo>
                <a:cubicBezTo>
                  <a:pt x="1288" y="811"/>
                  <a:pt x="1304" y="780"/>
                  <a:pt x="1336" y="764"/>
                </a:cubicBezTo>
                <a:lnTo>
                  <a:pt x="1972" y="1495"/>
                </a:lnTo>
                <a:lnTo>
                  <a:pt x="1479" y="1957"/>
                </a:lnTo>
                <a:cubicBezTo>
                  <a:pt x="1448" y="1989"/>
                  <a:pt x="1448" y="2036"/>
                  <a:pt x="1479" y="2068"/>
                </a:cubicBezTo>
                <a:cubicBezTo>
                  <a:pt x="1495" y="2084"/>
                  <a:pt x="1527" y="2100"/>
                  <a:pt x="1543" y="2100"/>
                </a:cubicBezTo>
                <a:cubicBezTo>
                  <a:pt x="1559" y="2100"/>
                  <a:pt x="1575" y="2084"/>
                  <a:pt x="1591" y="2068"/>
                </a:cubicBezTo>
                <a:lnTo>
                  <a:pt x="2084" y="1607"/>
                </a:lnTo>
                <a:lnTo>
                  <a:pt x="2100" y="1623"/>
                </a:lnTo>
                <a:cubicBezTo>
                  <a:pt x="2179" y="1718"/>
                  <a:pt x="2275" y="1766"/>
                  <a:pt x="2386" y="1766"/>
                </a:cubicBezTo>
                <a:cubicBezTo>
                  <a:pt x="2497" y="1766"/>
                  <a:pt x="2609" y="1718"/>
                  <a:pt x="2672" y="1623"/>
                </a:cubicBezTo>
                <a:lnTo>
                  <a:pt x="2704" y="1607"/>
                </a:lnTo>
                <a:lnTo>
                  <a:pt x="3181" y="2068"/>
                </a:lnTo>
                <a:cubicBezTo>
                  <a:pt x="3197" y="2084"/>
                  <a:pt x="3213" y="2100"/>
                  <a:pt x="3245" y="2100"/>
                </a:cubicBezTo>
                <a:cubicBezTo>
                  <a:pt x="3261" y="2100"/>
                  <a:pt x="3276" y="2084"/>
                  <a:pt x="3293" y="2068"/>
                </a:cubicBezTo>
                <a:cubicBezTo>
                  <a:pt x="3324" y="2036"/>
                  <a:pt x="3324" y="1989"/>
                  <a:pt x="3293" y="1957"/>
                </a:cubicBezTo>
                <a:lnTo>
                  <a:pt x="2799" y="1495"/>
                </a:lnTo>
                <a:lnTo>
                  <a:pt x="3436" y="764"/>
                </a:lnTo>
                <a:cubicBezTo>
                  <a:pt x="3451" y="780"/>
                  <a:pt x="3467" y="811"/>
                  <a:pt x="3467" y="84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3" name="Freeform: Shape 14">
            <a:extLst>
              <a:ext uri="{FF2B5EF4-FFF2-40B4-BE49-F238E27FC236}">
                <a16:creationId xmlns:a16="http://schemas.microsoft.com/office/drawing/2014/main" id="{CA63B9AA-88E6-6B42-8886-CE606629A151}"/>
              </a:ext>
            </a:extLst>
          </p:cNvPr>
          <p:cNvSpPr/>
          <p:nvPr/>
        </p:nvSpPr>
        <p:spPr>
          <a:xfrm>
            <a:off x="10170313" y="3063670"/>
            <a:ext cx="1288080" cy="1671480"/>
          </a:xfrm>
          <a:custGeom>
            <a:avLst/>
            <a:gdLst/>
            <a:ahLst/>
            <a:cxnLst>
              <a:cxn ang="3cd4">
                <a:pos x="hc" y="t"/>
              </a:cxn>
              <a:cxn ang="cd2">
                <a:pos x="l" y="vc"/>
              </a:cxn>
              <a:cxn ang="cd4">
                <a:pos x="hc" y="b"/>
              </a:cxn>
              <a:cxn ang="0">
                <a:pos x="r" y="vc"/>
              </a:cxn>
            </a:cxnLst>
            <a:rect l="l" t="t" r="r" b="b"/>
            <a:pathLst>
              <a:path w="3579" h="4644">
                <a:moveTo>
                  <a:pt x="430" y="4215"/>
                </a:moveTo>
                <a:lnTo>
                  <a:pt x="430" y="80"/>
                </a:lnTo>
                <a:cubicBezTo>
                  <a:pt x="430" y="32"/>
                  <a:pt x="398" y="0"/>
                  <a:pt x="350" y="0"/>
                </a:cubicBezTo>
                <a:cubicBezTo>
                  <a:pt x="318" y="0"/>
                  <a:pt x="287" y="32"/>
                  <a:pt x="287" y="80"/>
                </a:cubicBezTo>
                <a:lnTo>
                  <a:pt x="287" y="4215"/>
                </a:lnTo>
                <a:cubicBezTo>
                  <a:pt x="287" y="4262"/>
                  <a:pt x="318" y="4295"/>
                  <a:pt x="350" y="4295"/>
                </a:cubicBezTo>
                <a:cubicBezTo>
                  <a:pt x="398" y="4295"/>
                  <a:pt x="430" y="4262"/>
                  <a:pt x="430" y="4215"/>
                </a:cubicBezTo>
                <a:close/>
                <a:moveTo>
                  <a:pt x="3579" y="4565"/>
                </a:moveTo>
                <a:cubicBezTo>
                  <a:pt x="3579" y="4517"/>
                  <a:pt x="3547" y="4485"/>
                  <a:pt x="3499" y="4485"/>
                </a:cubicBezTo>
                <a:lnTo>
                  <a:pt x="79" y="4485"/>
                </a:lnTo>
                <a:cubicBezTo>
                  <a:pt x="32" y="4485"/>
                  <a:pt x="0" y="4517"/>
                  <a:pt x="0" y="4565"/>
                </a:cubicBezTo>
                <a:cubicBezTo>
                  <a:pt x="0" y="4613"/>
                  <a:pt x="32" y="4644"/>
                  <a:pt x="79" y="4644"/>
                </a:cubicBezTo>
                <a:lnTo>
                  <a:pt x="3499" y="4644"/>
                </a:lnTo>
                <a:cubicBezTo>
                  <a:pt x="3547" y="4644"/>
                  <a:pt x="3579" y="4613"/>
                  <a:pt x="3579" y="4565"/>
                </a:cubicBezTo>
                <a:close/>
                <a:moveTo>
                  <a:pt x="1018" y="4215"/>
                </a:moveTo>
                <a:lnTo>
                  <a:pt x="1018" y="811"/>
                </a:lnTo>
                <a:cubicBezTo>
                  <a:pt x="1018" y="780"/>
                  <a:pt x="986" y="732"/>
                  <a:pt x="939" y="732"/>
                </a:cubicBezTo>
                <a:cubicBezTo>
                  <a:pt x="891" y="732"/>
                  <a:pt x="859" y="780"/>
                  <a:pt x="859" y="811"/>
                </a:cubicBezTo>
                <a:lnTo>
                  <a:pt x="859" y="4215"/>
                </a:lnTo>
                <a:cubicBezTo>
                  <a:pt x="859" y="4262"/>
                  <a:pt x="891" y="4295"/>
                  <a:pt x="939" y="4295"/>
                </a:cubicBezTo>
                <a:cubicBezTo>
                  <a:pt x="986" y="4295"/>
                  <a:pt x="1018" y="4262"/>
                  <a:pt x="1018" y="4215"/>
                </a:cubicBezTo>
                <a:close/>
                <a:moveTo>
                  <a:pt x="1702" y="4215"/>
                </a:moveTo>
                <a:lnTo>
                  <a:pt x="1702" y="2290"/>
                </a:lnTo>
                <a:cubicBezTo>
                  <a:pt x="1702" y="2259"/>
                  <a:pt x="1670" y="2211"/>
                  <a:pt x="1623" y="2211"/>
                </a:cubicBezTo>
                <a:cubicBezTo>
                  <a:pt x="1575" y="2211"/>
                  <a:pt x="1543" y="2259"/>
                  <a:pt x="1543" y="2290"/>
                </a:cubicBezTo>
                <a:lnTo>
                  <a:pt x="1543" y="4215"/>
                </a:lnTo>
                <a:cubicBezTo>
                  <a:pt x="1543" y="4262"/>
                  <a:pt x="1575" y="4295"/>
                  <a:pt x="1623" y="4295"/>
                </a:cubicBezTo>
                <a:cubicBezTo>
                  <a:pt x="1670" y="4295"/>
                  <a:pt x="1702" y="4262"/>
                  <a:pt x="1702" y="4215"/>
                </a:cubicBezTo>
                <a:close/>
                <a:moveTo>
                  <a:pt x="2386" y="4215"/>
                </a:moveTo>
                <a:lnTo>
                  <a:pt x="2386" y="1845"/>
                </a:lnTo>
                <a:cubicBezTo>
                  <a:pt x="2386" y="1798"/>
                  <a:pt x="2354" y="1765"/>
                  <a:pt x="2306" y="1765"/>
                </a:cubicBezTo>
                <a:cubicBezTo>
                  <a:pt x="2259" y="1765"/>
                  <a:pt x="2227" y="1798"/>
                  <a:pt x="2227" y="1845"/>
                </a:cubicBezTo>
                <a:lnTo>
                  <a:pt x="2227" y="4215"/>
                </a:lnTo>
                <a:cubicBezTo>
                  <a:pt x="2227" y="4262"/>
                  <a:pt x="2259" y="4295"/>
                  <a:pt x="2306" y="4295"/>
                </a:cubicBezTo>
                <a:cubicBezTo>
                  <a:pt x="2354" y="4295"/>
                  <a:pt x="2386" y="4262"/>
                  <a:pt x="2386" y="4215"/>
                </a:cubicBezTo>
                <a:close/>
                <a:moveTo>
                  <a:pt x="3070" y="4215"/>
                </a:moveTo>
                <a:lnTo>
                  <a:pt x="3070" y="2417"/>
                </a:lnTo>
                <a:cubicBezTo>
                  <a:pt x="3070" y="2370"/>
                  <a:pt x="3038" y="2338"/>
                  <a:pt x="2990" y="2338"/>
                </a:cubicBezTo>
                <a:cubicBezTo>
                  <a:pt x="2942" y="2338"/>
                  <a:pt x="2911" y="2370"/>
                  <a:pt x="2911" y="2417"/>
                </a:cubicBezTo>
                <a:lnTo>
                  <a:pt x="2911" y="4215"/>
                </a:lnTo>
                <a:cubicBezTo>
                  <a:pt x="2911" y="4262"/>
                  <a:pt x="2942" y="4295"/>
                  <a:pt x="2990" y="4295"/>
                </a:cubicBezTo>
                <a:cubicBezTo>
                  <a:pt x="3038" y="4295"/>
                  <a:pt x="3070" y="4262"/>
                  <a:pt x="3070" y="421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4" name="TextBox 63">
            <a:extLst>
              <a:ext uri="{FF2B5EF4-FFF2-40B4-BE49-F238E27FC236}">
                <a16:creationId xmlns:a16="http://schemas.microsoft.com/office/drawing/2014/main" id="{20D65B40-D493-B94C-9CF6-2DC03FFA8773}"/>
              </a:ext>
            </a:extLst>
          </p:cNvPr>
          <p:cNvSpPr txBox="1"/>
          <p:nvPr/>
        </p:nvSpPr>
        <p:spPr>
          <a:xfrm>
            <a:off x="13564245" y="5116090"/>
            <a:ext cx="2492540"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News Multiple Pages</a:t>
            </a:r>
          </a:p>
        </p:txBody>
      </p:sp>
      <p:sp>
        <p:nvSpPr>
          <p:cNvPr id="65" name="Freeform: Shape 12">
            <a:extLst>
              <a:ext uri="{FF2B5EF4-FFF2-40B4-BE49-F238E27FC236}">
                <a16:creationId xmlns:a16="http://schemas.microsoft.com/office/drawing/2014/main" id="{40097390-B9E9-DC45-B99E-C17E021C3C8D}"/>
              </a:ext>
            </a:extLst>
          </p:cNvPr>
          <p:cNvSpPr/>
          <p:nvPr/>
        </p:nvSpPr>
        <p:spPr>
          <a:xfrm>
            <a:off x="14106534" y="3252164"/>
            <a:ext cx="1407959" cy="1511279"/>
          </a:xfrm>
          <a:custGeom>
            <a:avLst/>
            <a:gdLst/>
            <a:ahLst/>
            <a:cxnLst>
              <a:cxn ang="3cd4">
                <a:pos x="hc" y="t"/>
              </a:cxn>
              <a:cxn ang="cd2">
                <a:pos x="l" y="vc"/>
              </a:cxn>
              <a:cxn ang="cd4">
                <a:pos x="hc" y="b"/>
              </a:cxn>
              <a:cxn ang="0">
                <a:pos x="r" y="vc"/>
              </a:cxn>
            </a:cxnLst>
            <a:rect l="l" t="t" r="r" b="b"/>
            <a:pathLst>
              <a:path w="3912" h="4199">
                <a:moveTo>
                  <a:pt x="3848" y="413"/>
                </a:moveTo>
                <a:lnTo>
                  <a:pt x="3642" y="413"/>
                </a:lnTo>
                <a:lnTo>
                  <a:pt x="3642" y="79"/>
                </a:lnTo>
                <a:cubicBezTo>
                  <a:pt x="3642" y="32"/>
                  <a:pt x="3610" y="0"/>
                  <a:pt x="3562" y="0"/>
                </a:cubicBezTo>
                <a:lnTo>
                  <a:pt x="79" y="0"/>
                </a:lnTo>
                <a:cubicBezTo>
                  <a:pt x="31" y="0"/>
                  <a:pt x="0" y="32"/>
                  <a:pt x="0" y="79"/>
                </a:cubicBezTo>
                <a:lnTo>
                  <a:pt x="0" y="3706"/>
                </a:lnTo>
                <a:cubicBezTo>
                  <a:pt x="0" y="3754"/>
                  <a:pt x="31" y="3785"/>
                  <a:pt x="79" y="3785"/>
                </a:cubicBezTo>
                <a:lnTo>
                  <a:pt x="333" y="3785"/>
                </a:lnTo>
                <a:lnTo>
                  <a:pt x="333" y="4135"/>
                </a:lnTo>
                <a:cubicBezTo>
                  <a:pt x="333" y="4167"/>
                  <a:pt x="366" y="4199"/>
                  <a:pt x="397" y="4199"/>
                </a:cubicBezTo>
                <a:lnTo>
                  <a:pt x="3848" y="4199"/>
                </a:lnTo>
                <a:cubicBezTo>
                  <a:pt x="3880" y="4199"/>
                  <a:pt x="3912" y="4167"/>
                  <a:pt x="3912" y="4135"/>
                </a:cubicBezTo>
                <a:lnTo>
                  <a:pt x="3912" y="493"/>
                </a:lnTo>
                <a:cubicBezTo>
                  <a:pt x="3912" y="461"/>
                  <a:pt x="3880" y="413"/>
                  <a:pt x="3848" y="413"/>
                </a:cubicBezTo>
                <a:close/>
                <a:moveTo>
                  <a:pt x="143" y="159"/>
                </a:moveTo>
                <a:lnTo>
                  <a:pt x="3483" y="159"/>
                </a:lnTo>
                <a:lnTo>
                  <a:pt x="3483" y="3626"/>
                </a:lnTo>
                <a:lnTo>
                  <a:pt x="143" y="3626"/>
                </a:lnTo>
                <a:close/>
                <a:moveTo>
                  <a:pt x="3769" y="4056"/>
                </a:moveTo>
                <a:lnTo>
                  <a:pt x="476" y="4056"/>
                </a:lnTo>
                <a:lnTo>
                  <a:pt x="476" y="3785"/>
                </a:lnTo>
                <a:lnTo>
                  <a:pt x="3562" y="3785"/>
                </a:lnTo>
                <a:cubicBezTo>
                  <a:pt x="3610" y="3785"/>
                  <a:pt x="3642" y="3754"/>
                  <a:pt x="3642" y="3706"/>
                </a:cubicBezTo>
                <a:lnTo>
                  <a:pt x="3642" y="573"/>
                </a:lnTo>
                <a:lnTo>
                  <a:pt x="3769" y="573"/>
                </a:lnTo>
                <a:close/>
                <a:moveTo>
                  <a:pt x="1606" y="1495"/>
                </a:moveTo>
                <a:lnTo>
                  <a:pt x="493" y="1495"/>
                </a:lnTo>
                <a:cubicBezTo>
                  <a:pt x="445" y="1495"/>
                  <a:pt x="413" y="1543"/>
                  <a:pt x="413" y="1575"/>
                </a:cubicBezTo>
                <a:lnTo>
                  <a:pt x="413" y="2418"/>
                </a:lnTo>
                <a:cubicBezTo>
                  <a:pt x="413" y="2465"/>
                  <a:pt x="445" y="2497"/>
                  <a:pt x="493" y="2497"/>
                </a:cubicBezTo>
                <a:lnTo>
                  <a:pt x="1606" y="2497"/>
                </a:lnTo>
                <a:cubicBezTo>
                  <a:pt x="1654" y="2497"/>
                  <a:pt x="1685" y="2465"/>
                  <a:pt x="1685" y="2418"/>
                </a:cubicBezTo>
                <a:lnTo>
                  <a:pt x="1685" y="1575"/>
                </a:lnTo>
                <a:cubicBezTo>
                  <a:pt x="1685" y="1543"/>
                  <a:pt x="1654" y="1495"/>
                  <a:pt x="1606" y="1495"/>
                </a:cubicBezTo>
                <a:close/>
                <a:moveTo>
                  <a:pt x="1526" y="2354"/>
                </a:moveTo>
                <a:lnTo>
                  <a:pt x="572" y="2354"/>
                </a:lnTo>
                <a:lnTo>
                  <a:pt x="572" y="1654"/>
                </a:lnTo>
                <a:lnTo>
                  <a:pt x="1526" y="1654"/>
                </a:lnTo>
                <a:close/>
                <a:moveTo>
                  <a:pt x="3069" y="3149"/>
                </a:moveTo>
                <a:lnTo>
                  <a:pt x="2099" y="3149"/>
                </a:lnTo>
                <a:cubicBezTo>
                  <a:pt x="2051" y="3149"/>
                  <a:pt x="2020" y="3181"/>
                  <a:pt x="2020" y="3229"/>
                </a:cubicBezTo>
                <a:cubicBezTo>
                  <a:pt x="2020" y="3276"/>
                  <a:pt x="2051" y="3308"/>
                  <a:pt x="2099" y="3308"/>
                </a:cubicBezTo>
                <a:lnTo>
                  <a:pt x="3069" y="3308"/>
                </a:lnTo>
                <a:cubicBezTo>
                  <a:pt x="3117" y="3308"/>
                  <a:pt x="3148" y="3276"/>
                  <a:pt x="3148" y="3229"/>
                </a:cubicBezTo>
                <a:cubicBezTo>
                  <a:pt x="3148" y="3181"/>
                  <a:pt x="3117" y="3149"/>
                  <a:pt x="3069" y="3149"/>
                </a:cubicBezTo>
                <a:close/>
                <a:moveTo>
                  <a:pt x="1542" y="3149"/>
                </a:moveTo>
                <a:lnTo>
                  <a:pt x="556" y="3149"/>
                </a:lnTo>
                <a:cubicBezTo>
                  <a:pt x="524" y="3149"/>
                  <a:pt x="493" y="3181"/>
                  <a:pt x="493" y="3229"/>
                </a:cubicBezTo>
                <a:cubicBezTo>
                  <a:pt x="493" y="3276"/>
                  <a:pt x="524" y="3308"/>
                  <a:pt x="556" y="3308"/>
                </a:cubicBezTo>
                <a:lnTo>
                  <a:pt x="1542" y="3308"/>
                </a:lnTo>
                <a:cubicBezTo>
                  <a:pt x="1574" y="3308"/>
                  <a:pt x="1606" y="3276"/>
                  <a:pt x="1606" y="3229"/>
                </a:cubicBezTo>
                <a:cubicBezTo>
                  <a:pt x="1606" y="3181"/>
                  <a:pt x="1574" y="3149"/>
                  <a:pt x="1542" y="3149"/>
                </a:cubicBezTo>
                <a:close/>
                <a:moveTo>
                  <a:pt x="1542" y="2736"/>
                </a:moveTo>
                <a:lnTo>
                  <a:pt x="556" y="2736"/>
                </a:lnTo>
                <a:cubicBezTo>
                  <a:pt x="524" y="2736"/>
                  <a:pt x="493" y="2767"/>
                  <a:pt x="493" y="2815"/>
                </a:cubicBezTo>
                <a:cubicBezTo>
                  <a:pt x="493" y="2863"/>
                  <a:pt x="524" y="2894"/>
                  <a:pt x="556" y="2894"/>
                </a:cubicBezTo>
                <a:lnTo>
                  <a:pt x="1542" y="2894"/>
                </a:lnTo>
                <a:cubicBezTo>
                  <a:pt x="1574" y="2894"/>
                  <a:pt x="1606" y="2863"/>
                  <a:pt x="1606" y="2815"/>
                </a:cubicBezTo>
                <a:cubicBezTo>
                  <a:pt x="1606" y="2767"/>
                  <a:pt x="1574" y="2736"/>
                  <a:pt x="1542" y="2736"/>
                </a:cubicBezTo>
                <a:close/>
                <a:moveTo>
                  <a:pt x="3069" y="2736"/>
                </a:moveTo>
                <a:lnTo>
                  <a:pt x="2099" y="2736"/>
                </a:lnTo>
                <a:cubicBezTo>
                  <a:pt x="2051" y="2736"/>
                  <a:pt x="2020" y="2767"/>
                  <a:pt x="2020" y="2815"/>
                </a:cubicBezTo>
                <a:cubicBezTo>
                  <a:pt x="2020" y="2863"/>
                  <a:pt x="2051" y="2894"/>
                  <a:pt x="2099" y="2894"/>
                </a:cubicBezTo>
                <a:lnTo>
                  <a:pt x="3069" y="2894"/>
                </a:lnTo>
                <a:cubicBezTo>
                  <a:pt x="3117" y="2894"/>
                  <a:pt x="3148" y="2863"/>
                  <a:pt x="3148" y="2815"/>
                </a:cubicBezTo>
                <a:cubicBezTo>
                  <a:pt x="3148" y="2767"/>
                  <a:pt x="3117" y="2736"/>
                  <a:pt x="3069" y="2736"/>
                </a:cubicBezTo>
                <a:close/>
                <a:moveTo>
                  <a:pt x="3069" y="2322"/>
                </a:moveTo>
                <a:lnTo>
                  <a:pt x="2099" y="2322"/>
                </a:lnTo>
                <a:cubicBezTo>
                  <a:pt x="2051" y="2322"/>
                  <a:pt x="2020" y="2354"/>
                  <a:pt x="2020" y="2402"/>
                </a:cubicBezTo>
                <a:cubicBezTo>
                  <a:pt x="2020" y="2449"/>
                  <a:pt x="2051" y="2481"/>
                  <a:pt x="2099" y="2481"/>
                </a:cubicBezTo>
                <a:lnTo>
                  <a:pt x="3069" y="2481"/>
                </a:lnTo>
                <a:cubicBezTo>
                  <a:pt x="3117" y="2481"/>
                  <a:pt x="3148" y="2449"/>
                  <a:pt x="3148" y="2402"/>
                </a:cubicBezTo>
                <a:cubicBezTo>
                  <a:pt x="3148" y="2354"/>
                  <a:pt x="3117" y="2322"/>
                  <a:pt x="3069" y="2322"/>
                </a:cubicBezTo>
                <a:close/>
                <a:moveTo>
                  <a:pt x="3069" y="1909"/>
                </a:moveTo>
                <a:lnTo>
                  <a:pt x="2099" y="1909"/>
                </a:lnTo>
                <a:cubicBezTo>
                  <a:pt x="2051" y="1909"/>
                  <a:pt x="2020" y="1940"/>
                  <a:pt x="2020" y="1988"/>
                </a:cubicBezTo>
                <a:cubicBezTo>
                  <a:pt x="2020" y="2036"/>
                  <a:pt x="2051" y="2067"/>
                  <a:pt x="2099" y="2067"/>
                </a:cubicBezTo>
                <a:lnTo>
                  <a:pt x="3069" y="2067"/>
                </a:lnTo>
                <a:cubicBezTo>
                  <a:pt x="3117" y="2067"/>
                  <a:pt x="3148" y="2036"/>
                  <a:pt x="3148" y="1988"/>
                </a:cubicBezTo>
                <a:cubicBezTo>
                  <a:pt x="3148" y="1940"/>
                  <a:pt x="3117" y="1909"/>
                  <a:pt x="3069" y="1909"/>
                </a:cubicBezTo>
                <a:close/>
                <a:moveTo>
                  <a:pt x="3069" y="1495"/>
                </a:moveTo>
                <a:lnTo>
                  <a:pt x="2099" y="1495"/>
                </a:lnTo>
                <a:cubicBezTo>
                  <a:pt x="2051" y="1495"/>
                  <a:pt x="2020" y="1543"/>
                  <a:pt x="2020" y="1575"/>
                </a:cubicBezTo>
                <a:cubicBezTo>
                  <a:pt x="2020" y="1622"/>
                  <a:pt x="2051" y="1654"/>
                  <a:pt x="2099" y="1654"/>
                </a:cubicBezTo>
                <a:lnTo>
                  <a:pt x="3069" y="1654"/>
                </a:lnTo>
                <a:cubicBezTo>
                  <a:pt x="3117" y="1654"/>
                  <a:pt x="3148" y="1622"/>
                  <a:pt x="3148" y="1575"/>
                </a:cubicBezTo>
                <a:cubicBezTo>
                  <a:pt x="3148" y="1543"/>
                  <a:pt x="3117" y="1495"/>
                  <a:pt x="3069" y="1495"/>
                </a:cubicBezTo>
                <a:close/>
                <a:moveTo>
                  <a:pt x="509" y="1082"/>
                </a:moveTo>
                <a:cubicBezTo>
                  <a:pt x="540" y="1082"/>
                  <a:pt x="572" y="1049"/>
                  <a:pt x="572" y="1018"/>
                </a:cubicBezTo>
                <a:lnTo>
                  <a:pt x="572" y="731"/>
                </a:lnTo>
                <a:lnTo>
                  <a:pt x="827" y="1066"/>
                </a:lnTo>
                <a:cubicBezTo>
                  <a:pt x="842" y="1082"/>
                  <a:pt x="874" y="1082"/>
                  <a:pt x="906" y="1082"/>
                </a:cubicBezTo>
                <a:cubicBezTo>
                  <a:pt x="938" y="1082"/>
                  <a:pt x="970" y="1049"/>
                  <a:pt x="970" y="1018"/>
                </a:cubicBezTo>
                <a:lnTo>
                  <a:pt x="970" y="509"/>
                </a:lnTo>
                <a:cubicBezTo>
                  <a:pt x="970" y="477"/>
                  <a:pt x="922" y="445"/>
                  <a:pt x="890" y="445"/>
                </a:cubicBezTo>
                <a:cubicBezTo>
                  <a:pt x="842" y="445"/>
                  <a:pt x="811" y="477"/>
                  <a:pt x="811" y="509"/>
                </a:cubicBezTo>
                <a:lnTo>
                  <a:pt x="811" y="795"/>
                </a:lnTo>
                <a:lnTo>
                  <a:pt x="556" y="461"/>
                </a:lnTo>
                <a:cubicBezTo>
                  <a:pt x="540" y="445"/>
                  <a:pt x="524" y="445"/>
                  <a:pt x="493" y="445"/>
                </a:cubicBezTo>
                <a:cubicBezTo>
                  <a:pt x="445" y="445"/>
                  <a:pt x="413" y="477"/>
                  <a:pt x="413" y="509"/>
                </a:cubicBezTo>
                <a:lnTo>
                  <a:pt x="413" y="1018"/>
                </a:lnTo>
                <a:cubicBezTo>
                  <a:pt x="413" y="1049"/>
                  <a:pt x="461" y="1082"/>
                  <a:pt x="509" y="1082"/>
                </a:cubicBezTo>
                <a:close/>
                <a:moveTo>
                  <a:pt x="1240" y="1082"/>
                </a:moveTo>
                <a:lnTo>
                  <a:pt x="1606" y="1082"/>
                </a:lnTo>
                <a:cubicBezTo>
                  <a:pt x="1638" y="1082"/>
                  <a:pt x="1669" y="1049"/>
                  <a:pt x="1669" y="1002"/>
                </a:cubicBezTo>
                <a:cubicBezTo>
                  <a:pt x="1669" y="970"/>
                  <a:pt x="1638" y="939"/>
                  <a:pt x="1606" y="939"/>
                </a:cubicBezTo>
                <a:lnTo>
                  <a:pt x="1336" y="939"/>
                </a:lnTo>
                <a:lnTo>
                  <a:pt x="1336" y="843"/>
                </a:lnTo>
                <a:lnTo>
                  <a:pt x="1574" y="843"/>
                </a:lnTo>
                <a:cubicBezTo>
                  <a:pt x="1606" y="843"/>
                  <a:pt x="1638" y="795"/>
                  <a:pt x="1638" y="748"/>
                </a:cubicBezTo>
                <a:cubicBezTo>
                  <a:pt x="1638" y="716"/>
                  <a:pt x="1606" y="684"/>
                  <a:pt x="1574" y="684"/>
                </a:cubicBezTo>
                <a:lnTo>
                  <a:pt x="1336" y="684"/>
                </a:lnTo>
                <a:lnTo>
                  <a:pt x="1336" y="588"/>
                </a:lnTo>
                <a:lnTo>
                  <a:pt x="1590" y="588"/>
                </a:lnTo>
                <a:cubicBezTo>
                  <a:pt x="1638" y="588"/>
                  <a:pt x="1669" y="540"/>
                  <a:pt x="1669" y="509"/>
                </a:cubicBezTo>
                <a:cubicBezTo>
                  <a:pt x="1669" y="477"/>
                  <a:pt x="1638" y="445"/>
                  <a:pt x="1590" y="445"/>
                </a:cubicBezTo>
                <a:lnTo>
                  <a:pt x="1240" y="445"/>
                </a:lnTo>
                <a:cubicBezTo>
                  <a:pt x="1208" y="445"/>
                  <a:pt x="1176" y="477"/>
                  <a:pt x="1176" y="509"/>
                </a:cubicBezTo>
                <a:lnTo>
                  <a:pt x="1176" y="1018"/>
                </a:lnTo>
                <a:cubicBezTo>
                  <a:pt x="1176" y="1049"/>
                  <a:pt x="1208" y="1082"/>
                  <a:pt x="1240" y="1082"/>
                </a:cubicBezTo>
                <a:close/>
                <a:moveTo>
                  <a:pt x="2115" y="1049"/>
                </a:moveTo>
                <a:lnTo>
                  <a:pt x="2210" y="763"/>
                </a:lnTo>
                <a:lnTo>
                  <a:pt x="2290" y="1049"/>
                </a:lnTo>
                <a:cubicBezTo>
                  <a:pt x="2306" y="1066"/>
                  <a:pt x="2338" y="1097"/>
                  <a:pt x="2369" y="1097"/>
                </a:cubicBezTo>
                <a:cubicBezTo>
                  <a:pt x="2401" y="1097"/>
                  <a:pt x="2433" y="1066"/>
                  <a:pt x="2433" y="1049"/>
                </a:cubicBezTo>
                <a:lnTo>
                  <a:pt x="2608" y="525"/>
                </a:lnTo>
                <a:cubicBezTo>
                  <a:pt x="2624" y="509"/>
                  <a:pt x="2608" y="493"/>
                  <a:pt x="2592" y="461"/>
                </a:cubicBezTo>
                <a:cubicBezTo>
                  <a:pt x="2560" y="430"/>
                  <a:pt x="2481" y="430"/>
                  <a:pt x="2465" y="493"/>
                </a:cubicBezTo>
                <a:lnTo>
                  <a:pt x="2369" y="763"/>
                </a:lnTo>
                <a:lnTo>
                  <a:pt x="2274" y="493"/>
                </a:lnTo>
                <a:cubicBezTo>
                  <a:pt x="2274" y="461"/>
                  <a:pt x="2226" y="430"/>
                  <a:pt x="2194" y="430"/>
                </a:cubicBezTo>
                <a:cubicBezTo>
                  <a:pt x="2163" y="430"/>
                  <a:pt x="2147" y="461"/>
                  <a:pt x="2131" y="493"/>
                </a:cubicBezTo>
                <a:lnTo>
                  <a:pt x="2035" y="763"/>
                </a:lnTo>
                <a:lnTo>
                  <a:pt x="1956" y="493"/>
                </a:lnTo>
                <a:cubicBezTo>
                  <a:pt x="1940" y="461"/>
                  <a:pt x="1908" y="445"/>
                  <a:pt x="1876" y="445"/>
                </a:cubicBezTo>
                <a:lnTo>
                  <a:pt x="1860" y="445"/>
                </a:lnTo>
                <a:cubicBezTo>
                  <a:pt x="1845" y="445"/>
                  <a:pt x="1829" y="445"/>
                  <a:pt x="1812" y="461"/>
                </a:cubicBezTo>
                <a:cubicBezTo>
                  <a:pt x="1797" y="493"/>
                  <a:pt x="1797" y="509"/>
                  <a:pt x="1797" y="525"/>
                </a:cubicBezTo>
                <a:lnTo>
                  <a:pt x="1972" y="1049"/>
                </a:lnTo>
                <a:cubicBezTo>
                  <a:pt x="1972" y="1066"/>
                  <a:pt x="2020" y="1097"/>
                  <a:pt x="2051" y="1097"/>
                </a:cubicBezTo>
                <a:cubicBezTo>
                  <a:pt x="2083" y="1097"/>
                  <a:pt x="2115" y="1066"/>
                  <a:pt x="2115" y="1049"/>
                </a:cubicBezTo>
                <a:close/>
                <a:moveTo>
                  <a:pt x="2990" y="684"/>
                </a:moveTo>
                <a:cubicBezTo>
                  <a:pt x="2878" y="668"/>
                  <a:pt x="2915" y="652"/>
                  <a:pt x="2878" y="636"/>
                </a:cubicBezTo>
                <a:cubicBezTo>
                  <a:pt x="2878" y="604"/>
                  <a:pt x="2910" y="588"/>
                  <a:pt x="2958" y="588"/>
                </a:cubicBezTo>
                <a:cubicBezTo>
                  <a:pt x="3021" y="588"/>
                  <a:pt x="3053" y="604"/>
                  <a:pt x="3085" y="636"/>
                </a:cubicBezTo>
                <a:cubicBezTo>
                  <a:pt x="3117" y="652"/>
                  <a:pt x="3165" y="636"/>
                  <a:pt x="3196" y="604"/>
                </a:cubicBezTo>
                <a:cubicBezTo>
                  <a:pt x="3196" y="588"/>
                  <a:pt x="3212" y="573"/>
                  <a:pt x="3212" y="557"/>
                </a:cubicBezTo>
                <a:cubicBezTo>
                  <a:pt x="3196" y="525"/>
                  <a:pt x="3196" y="509"/>
                  <a:pt x="3181" y="509"/>
                </a:cubicBezTo>
                <a:cubicBezTo>
                  <a:pt x="3117" y="461"/>
                  <a:pt x="3038" y="430"/>
                  <a:pt x="2958" y="430"/>
                </a:cubicBezTo>
                <a:cubicBezTo>
                  <a:pt x="2830" y="430"/>
                  <a:pt x="2719" y="525"/>
                  <a:pt x="2719" y="636"/>
                </a:cubicBezTo>
                <a:cubicBezTo>
                  <a:pt x="2719" y="795"/>
                  <a:pt x="2894" y="827"/>
                  <a:pt x="2958" y="843"/>
                </a:cubicBezTo>
                <a:cubicBezTo>
                  <a:pt x="3069" y="859"/>
                  <a:pt x="3069" y="875"/>
                  <a:pt x="3069" y="891"/>
                </a:cubicBezTo>
                <a:cubicBezTo>
                  <a:pt x="3069" y="922"/>
                  <a:pt x="3021" y="939"/>
                  <a:pt x="2974" y="939"/>
                </a:cubicBezTo>
                <a:cubicBezTo>
                  <a:pt x="2926" y="939"/>
                  <a:pt x="2878" y="922"/>
                  <a:pt x="2830" y="875"/>
                </a:cubicBezTo>
                <a:cubicBezTo>
                  <a:pt x="2815" y="859"/>
                  <a:pt x="2767" y="859"/>
                  <a:pt x="2735" y="891"/>
                </a:cubicBezTo>
                <a:cubicBezTo>
                  <a:pt x="2719" y="906"/>
                  <a:pt x="2703" y="922"/>
                  <a:pt x="2703" y="939"/>
                </a:cubicBezTo>
                <a:cubicBezTo>
                  <a:pt x="2703" y="970"/>
                  <a:pt x="2719" y="986"/>
                  <a:pt x="2735" y="1002"/>
                </a:cubicBezTo>
                <a:cubicBezTo>
                  <a:pt x="2799" y="1066"/>
                  <a:pt x="2878" y="1097"/>
                  <a:pt x="2974" y="1097"/>
                </a:cubicBezTo>
                <a:cubicBezTo>
                  <a:pt x="3117" y="1097"/>
                  <a:pt x="3228" y="1002"/>
                  <a:pt x="3228" y="891"/>
                </a:cubicBezTo>
                <a:cubicBezTo>
                  <a:pt x="3228" y="731"/>
                  <a:pt x="3053" y="700"/>
                  <a:pt x="2990" y="68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6" name="TextBox 65">
            <a:extLst>
              <a:ext uri="{FF2B5EF4-FFF2-40B4-BE49-F238E27FC236}">
                <a16:creationId xmlns:a16="http://schemas.microsoft.com/office/drawing/2014/main" id="{1F4663D8-747A-FE4F-837F-51531D3D719F}"/>
              </a:ext>
            </a:extLst>
          </p:cNvPr>
          <p:cNvSpPr txBox="1"/>
          <p:nvPr/>
        </p:nvSpPr>
        <p:spPr>
          <a:xfrm>
            <a:off x="20514483"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Recycle</a:t>
            </a:r>
          </a:p>
        </p:txBody>
      </p:sp>
      <p:sp>
        <p:nvSpPr>
          <p:cNvPr id="67" name="TextBox 66">
            <a:extLst>
              <a:ext uri="{FF2B5EF4-FFF2-40B4-BE49-F238E27FC236}">
                <a16:creationId xmlns:a16="http://schemas.microsoft.com/office/drawing/2014/main" id="{8EB24054-3389-CD47-8B5E-C179F837B646}"/>
              </a:ext>
            </a:extLst>
          </p:cNvPr>
          <p:cNvSpPr txBox="1"/>
          <p:nvPr/>
        </p:nvSpPr>
        <p:spPr>
          <a:xfrm>
            <a:off x="1766038" y="8292956"/>
            <a:ext cx="210666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ipboard</a:t>
            </a:r>
          </a:p>
        </p:txBody>
      </p:sp>
      <p:sp>
        <p:nvSpPr>
          <p:cNvPr id="68" name="TextBox 67">
            <a:extLst>
              <a:ext uri="{FF2B5EF4-FFF2-40B4-BE49-F238E27FC236}">
                <a16:creationId xmlns:a16="http://schemas.microsoft.com/office/drawing/2014/main" id="{9A5BDC5A-0FCB-294C-BDDD-99BDEDB5714F}"/>
              </a:ext>
            </a:extLst>
          </p:cNvPr>
          <p:cNvSpPr txBox="1"/>
          <p:nvPr/>
        </p:nvSpPr>
        <p:spPr>
          <a:xfrm>
            <a:off x="8970607" y="8292956"/>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ipboard X</a:t>
            </a:r>
          </a:p>
        </p:txBody>
      </p:sp>
      <p:sp>
        <p:nvSpPr>
          <p:cNvPr id="69" name="TextBox 68">
            <a:extLst>
              <a:ext uri="{FF2B5EF4-FFF2-40B4-BE49-F238E27FC236}">
                <a16:creationId xmlns:a16="http://schemas.microsoft.com/office/drawing/2014/main" id="{EEAD6D71-4979-544A-8C52-52F2D5FF597F}"/>
              </a:ext>
            </a:extLst>
          </p:cNvPr>
          <p:cNvSpPr txBox="1"/>
          <p:nvPr/>
        </p:nvSpPr>
        <p:spPr>
          <a:xfrm>
            <a:off x="5595506" y="8292956"/>
            <a:ext cx="2106666" cy="89383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ipboard Check</a:t>
            </a:r>
          </a:p>
        </p:txBody>
      </p:sp>
      <p:sp>
        <p:nvSpPr>
          <p:cNvPr id="70" name="Freeform: Shape 10">
            <a:extLst>
              <a:ext uri="{FF2B5EF4-FFF2-40B4-BE49-F238E27FC236}">
                <a16:creationId xmlns:a16="http://schemas.microsoft.com/office/drawing/2014/main" id="{68EB218D-23B7-CC45-9F88-41A12EA64A74}"/>
              </a:ext>
            </a:extLst>
          </p:cNvPr>
          <p:cNvSpPr/>
          <p:nvPr/>
        </p:nvSpPr>
        <p:spPr>
          <a:xfrm>
            <a:off x="21401276" y="10037759"/>
            <a:ext cx="1240200" cy="1321920"/>
          </a:xfrm>
          <a:custGeom>
            <a:avLst/>
            <a:gdLst/>
            <a:ahLst/>
            <a:cxnLst>
              <a:cxn ang="3cd4">
                <a:pos x="hc" y="t"/>
              </a:cxn>
              <a:cxn ang="cd2">
                <a:pos x="l" y="vc"/>
              </a:cxn>
              <a:cxn ang="cd4">
                <a:pos x="hc" y="b"/>
              </a:cxn>
              <a:cxn ang="0">
                <a:pos x="r" y="vc"/>
              </a:cxn>
            </a:cxnLst>
            <a:rect l="l" t="t" r="r" b="b"/>
            <a:pathLst>
              <a:path w="3446" h="3673">
                <a:moveTo>
                  <a:pt x="3054" y="1828"/>
                </a:moveTo>
                <a:cubicBezTo>
                  <a:pt x="3022" y="1860"/>
                  <a:pt x="3022" y="1907"/>
                  <a:pt x="3038" y="1939"/>
                </a:cubicBezTo>
                <a:cubicBezTo>
                  <a:pt x="3107" y="2210"/>
                  <a:pt x="3404" y="2416"/>
                  <a:pt x="3245" y="2750"/>
                </a:cubicBezTo>
                <a:cubicBezTo>
                  <a:pt x="3102" y="3053"/>
                  <a:pt x="2673" y="3020"/>
                  <a:pt x="2656" y="3020"/>
                </a:cubicBezTo>
                <a:lnTo>
                  <a:pt x="1861" y="3037"/>
                </a:lnTo>
                <a:lnTo>
                  <a:pt x="2147" y="2655"/>
                </a:lnTo>
                <a:cubicBezTo>
                  <a:pt x="2164" y="2623"/>
                  <a:pt x="2164" y="2575"/>
                  <a:pt x="2132" y="2544"/>
                </a:cubicBezTo>
                <a:cubicBezTo>
                  <a:pt x="2084" y="2528"/>
                  <a:pt x="2036" y="2528"/>
                  <a:pt x="2020" y="2559"/>
                </a:cubicBezTo>
                <a:lnTo>
                  <a:pt x="1638" y="3068"/>
                </a:lnTo>
                <a:lnTo>
                  <a:pt x="1623" y="3068"/>
                </a:lnTo>
                <a:lnTo>
                  <a:pt x="1623" y="3084"/>
                </a:lnTo>
                <a:lnTo>
                  <a:pt x="1623" y="3100"/>
                </a:lnTo>
                <a:lnTo>
                  <a:pt x="1623" y="3132"/>
                </a:lnTo>
                <a:lnTo>
                  <a:pt x="1623" y="3148"/>
                </a:lnTo>
                <a:cubicBezTo>
                  <a:pt x="1638" y="3148"/>
                  <a:pt x="1638" y="3148"/>
                  <a:pt x="1638" y="3164"/>
                </a:cubicBezTo>
                <a:lnTo>
                  <a:pt x="2020" y="3641"/>
                </a:lnTo>
                <a:cubicBezTo>
                  <a:pt x="2036" y="3657"/>
                  <a:pt x="2052" y="3673"/>
                  <a:pt x="2084" y="3673"/>
                </a:cubicBezTo>
                <a:cubicBezTo>
                  <a:pt x="2100" y="3673"/>
                  <a:pt x="2116" y="3657"/>
                  <a:pt x="2132" y="3657"/>
                </a:cubicBezTo>
                <a:cubicBezTo>
                  <a:pt x="2164" y="3625"/>
                  <a:pt x="2164" y="3577"/>
                  <a:pt x="2132" y="3546"/>
                </a:cubicBezTo>
                <a:lnTo>
                  <a:pt x="1861" y="3196"/>
                </a:lnTo>
                <a:lnTo>
                  <a:pt x="2656" y="3180"/>
                </a:lnTo>
                <a:cubicBezTo>
                  <a:pt x="2673" y="3180"/>
                  <a:pt x="3197" y="3228"/>
                  <a:pt x="3388" y="2830"/>
                </a:cubicBezTo>
                <a:cubicBezTo>
                  <a:pt x="3595" y="2401"/>
                  <a:pt x="3181" y="1860"/>
                  <a:pt x="3165" y="1844"/>
                </a:cubicBezTo>
                <a:cubicBezTo>
                  <a:pt x="3134" y="1812"/>
                  <a:pt x="3086" y="1796"/>
                  <a:pt x="3054" y="1828"/>
                </a:cubicBezTo>
                <a:close/>
                <a:moveTo>
                  <a:pt x="111" y="2878"/>
                </a:moveTo>
                <a:cubicBezTo>
                  <a:pt x="287" y="3133"/>
                  <a:pt x="637" y="3181"/>
                  <a:pt x="875" y="3181"/>
                </a:cubicBezTo>
                <a:cubicBezTo>
                  <a:pt x="986" y="3181"/>
                  <a:pt x="1002" y="3170"/>
                  <a:pt x="1066" y="3165"/>
                </a:cubicBezTo>
                <a:cubicBezTo>
                  <a:pt x="1114" y="3165"/>
                  <a:pt x="1146" y="3117"/>
                  <a:pt x="1146" y="3069"/>
                </a:cubicBezTo>
                <a:cubicBezTo>
                  <a:pt x="1129" y="3038"/>
                  <a:pt x="1098" y="3006"/>
                  <a:pt x="1050" y="3006"/>
                </a:cubicBezTo>
                <a:cubicBezTo>
                  <a:pt x="780" y="2932"/>
                  <a:pt x="446" y="3085"/>
                  <a:pt x="239" y="2783"/>
                </a:cubicBezTo>
                <a:cubicBezTo>
                  <a:pt x="48" y="2497"/>
                  <a:pt x="271" y="2359"/>
                  <a:pt x="287" y="2147"/>
                </a:cubicBezTo>
                <a:lnTo>
                  <a:pt x="684" y="1447"/>
                </a:lnTo>
                <a:lnTo>
                  <a:pt x="859" y="1861"/>
                </a:lnTo>
                <a:cubicBezTo>
                  <a:pt x="875" y="1893"/>
                  <a:pt x="907" y="1908"/>
                  <a:pt x="939" y="1908"/>
                </a:cubicBezTo>
                <a:lnTo>
                  <a:pt x="955" y="1908"/>
                </a:lnTo>
                <a:cubicBezTo>
                  <a:pt x="1002" y="1893"/>
                  <a:pt x="1018" y="1845"/>
                  <a:pt x="1002" y="1797"/>
                </a:cubicBezTo>
                <a:lnTo>
                  <a:pt x="764" y="1224"/>
                </a:lnTo>
                <a:lnTo>
                  <a:pt x="748" y="1224"/>
                </a:lnTo>
                <a:lnTo>
                  <a:pt x="748" y="1209"/>
                </a:lnTo>
                <a:cubicBezTo>
                  <a:pt x="732" y="1193"/>
                  <a:pt x="732" y="1193"/>
                  <a:pt x="716" y="1193"/>
                </a:cubicBezTo>
                <a:cubicBezTo>
                  <a:pt x="716" y="1177"/>
                  <a:pt x="700" y="1177"/>
                  <a:pt x="684" y="1177"/>
                </a:cubicBezTo>
                <a:lnTo>
                  <a:pt x="668" y="1177"/>
                </a:lnTo>
                <a:lnTo>
                  <a:pt x="64" y="1272"/>
                </a:lnTo>
                <a:cubicBezTo>
                  <a:pt x="32" y="1288"/>
                  <a:pt x="0" y="1320"/>
                  <a:pt x="0" y="1367"/>
                </a:cubicBezTo>
                <a:cubicBezTo>
                  <a:pt x="16" y="1415"/>
                  <a:pt x="48" y="1447"/>
                  <a:pt x="96" y="1431"/>
                </a:cubicBezTo>
                <a:lnTo>
                  <a:pt x="541" y="1367"/>
                </a:lnTo>
                <a:lnTo>
                  <a:pt x="159" y="2067"/>
                </a:lnTo>
                <a:cubicBezTo>
                  <a:pt x="144" y="2083"/>
                  <a:pt x="-143" y="2497"/>
                  <a:pt x="111" y="2878"/>
                </a:cubicBezTo>
                <a:close/>
                <a:moveTo>
                  <a:pt x="3070" y="779"/>
                </a:moveTo>
                <a:cubicBezTo>
                  <a:pt x="3038" y="747"/>
                  <a:pt x="2991" y="763"/>
                  <a:pt x="2974" y="811"/>
                </a:cubicBezTo>
                <a:lnTo>
                  <a:pt x="2768" y="1209"/>
                </a:lnTo>
                <a:lnTo>
                  <a:pt x="2418" y="493"/>
                </a:lnTo>
                <a:cubicBezTo>
                  <a:pt x="2418" y="477"/>
                  <a:pt x="2211" y="0"/>
                  <a:pt x="1782" y="0"/>
                </a:cubicBezTo>
                <a:cubicBezTo>
                  <a:pt x="1304" y="0"/>
                  <a:pt x="1002" y="588"/>
                  <a:pt x="986" y="620"/>
                </a:cubicBezTo>
                <a:cubicBezTo>
                  <a:pt x="971" y="652"/>
                  <a:pt x="986" y="700"/>
                  <a:pt x="1018" y="731"/>
                </a:cubicBezTo>
                <a:cubicBezTo>
                  <a:pt x="1066" y="747"/>
                  <a:pt x="1114" y="731"/>
                  <a:pt x="1129" y="684"/>
                </a:cubicBezTo>
                <a:cubicBezTo>
                  <a:pt x="1347" y="504"/>
                  <a:pt x="1416" y="143"/>
                  <a:pt x="1782" y="143"/>
                </a:cubicBezTo>
                <a:cubicBezTo>
                  <a:pt x="2100" y="159"/>
                  <a:pt x="2111" y="419"/>
                  <a:pt x="2275" y="557"/>
                </a:cubicBezTo>
                <a:lnTo>
                  <a:pt x="2625" y="1288"/>
                </a:lnTo>
                <a:lnTo>
                  <a:pt x="2179" y="1193"/>
                </a:lnTo>
                <a:cubicBezTo>
                  <a:pt x="2132" y="1177"/>
                  <a:pt x="2084" y="1209"/>
                  <a:pt x="2084" y="1256"/>
                </a:cubicBezTo>
                <a:cubicBezTo>
                  <a:pt x="2068" y="1288"/>
                  <a:pt x="2100" y="1336"/>
                  <a:pt x="2147" y="1336"/>
                </a:cubicBezTo>
                <a:lnTo>
                  <a:pt x="2752" y="1479"/>
                </a:lnTo>
                <a:lnTo>
                  <a:pt x="2768" y="1479"/>
                </a:lnTo>
                <a:cubicBezTo>
                  <a:pt x="2783" y="1479"/>
                  <a:pt x="2783" y="1479"/>
                  <a:pt x="2783" y="1463"/>
                </a:cubicBezTo>
                <a:lnTo>
                  <a:pt x="2800" y="1463"/>
                </a:lnTo>
                <a:lnTo>
                  <a:pt x="2816" y="1463"/>
                </a:lnTo>
                <a:lnTo>
                  <a:pt x="2831" y="1447"/>
                </a:lnTo>
                <a:lnTo>
                  <a:pt x="2831" y="1431"/>
                </a:lnTo>
                <a:lnTo>
                  <a:pt x="2847" y="1431"/>
                </a:lnTo>
                <a:lnTo>
                  <a:pt x="3118" y="875"/>
                </a:lnTo>
                <a:cubicBezTo>
                  <a:pt x="3134" y="843"/>
                  <a:pt x="3118" y="795"/>
                  <a:pt x="3070" y="77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1" name="Freeform: Shape 2">
            <a:extLst>
              <a:ext uri="{FF2B5EF4-FFF2-40B4-BE49-F238E27FC236}">
                <a16:creationId xmlns:a16="http://schemas.microsoft.com/office/drawing/2014/main" id="{0D0911B7-C97B-C548-B9DB-31ED253DC5A9}"/>
              </a:ext>
            </a:extLst>
          </p:cNvPr>
          <p:cNvSpPr/>
          <p:nvPr/>
        </p:nvSpPr>
        <p:spPr>
          <a:xfrm>
            <a:off x="2172227" y="6169020"/>
            <a:ext cx="1236599" cy="1825920"/>
          </a:xfrm>
          <a:custGeom>
            <a:avLst/>
            <a:gdLst/>
            <a:ahLst/>
            <a:cxnLst>
              <a:cxn ang="3cd4">
                <a:pos x="hc" y="t"/>
              </a:cxn>
              <a:cxn ang="cd2">
                <a:pos x="l" y="vc"/>
              </a:cxn>
              <a:cxn ang="cd4">
                <a:pos x="hc" y="b"/>
              </a:cxn>
              <a:cxn ang="0">
                <a:pos x="r" y="vc"/>
              </a:cxn>
            </a:cxnLst>
            <a:rect l="l" t="t" r="r" b="b"/>
            <a:pathLst>
              <a:path w="3436" h="5073">
                <a:moveTo>
                  <a:pt x="1718" y="668"/>
                </a:moveTo>
                <a:cubicBezTo>
                  <a:pt x="1813" y="668"/>
                  <a:pt x="1877" y="604"/>
                  <a:pt x="1877" y="509"/>
                </a:cubicBezTo>
                <a:cubicBezTo>
                  <a:pt x="1877" y="413"/>
                  <a:pt x="1813" y="350"/>
                  <a:pt x="1718" y="350"/>
                </a:cubicBezTo>
                <a:cubicBezTo>
                  <a:pt x="1622" y="350"/>
                  <a:pt x="1559" y="413"/>
                  <a:pt x="1559" y="509"/>
                </a:cubicBezTo>
                <a:cubicBezTo>
                  <a:pt x="1559" y="604"/>
                  <a:pt x="1622" y="668"/>
                  <a:pt x="1718" y="668"/>
                </a:cubicBezTo>
                <a:close/>
                <a:moveTo>
                  <a:pt x="2227" y="700"/>
                </a:moveTo>
                <a:lnTo>
                  <a:pt x="2227" y="509"/>
                </a:lnTo>
                <a:cubicBezTo>
                  <a:pt x="2227" y="222"/>
                  <a:pt x="2004" y="0"/>
                  <a:pt x="1718" y="0"/>
                </a:cubicBezTo>
                <a:cubicBezTo>
                  <a:pt x="1431" y="0"/>
                  <a:pt x="1209" y="222"/>
                  <a:pt x="1209" y="509"/>
                </a:cubicBezTo>
                <a:lnTo>
                  <a:pt x="1209" y="700"/>
                </a:lnTo>
                <a:lnTo>
                  <a:pt x="238" y="700"/>
                </a:lnTo>
                <a:cubicBezTo>
                  <a:pt x="95" y="700"/>
                  <a:pt x="0" y="811"/>
                  <a:pt x="0" y="938"/>
                </a:cubicBezTo>
                <a:lnTo>
                  <a:pt x="0" y="4835"/>
                </a:lnTo>
                <a:cubicBezTo>
                  <a:pt x="0" y="4962"/>
                  <a:pt x="95" y="5073"/>
                  <a:pt x="238" y="5073"/>
                </a:cubicBezTo>
                <a:lnTo>
                  <a:pt x="3197" y="5073"/>
                </a:lnTo>
                <a:cubicBezTo>
                  <a:pt x="3340" y="5073"/>
                  <a:pt x="3436" y="4962"/>
                  <a:pt x="3436" y="4835"/>
                </a:cubicBezTo>
                <a:lnTo>
                  <a:pt x="3436" y="938"/>
                </a:lnTo>
                <a:cubicBezTo>
                  <a:pt x="3436" y="795"/>
                  <a:pt x="3340" y="700"/>
                  <a:pt x="3197" y="700"/>
                </a:cubicBezTo>
                <a:close/>
                <a:moveTo>
                  <a:pt x="1368" y="509"/>
                </a:moveTo>
                <a:cubicBezTo>
                  <a:pt x="1368" y="318"/>
                  <a:pt x="1527" y="159"/>
                  <a:pt x="1718" y="159"/>
                </a:cubicBezTo>
                <a:cubicBezTo>
                  <a:pt x="1909" y="159"/>
                  <a:pt x="2068" y="318"/>
                  <a:pt x="2068" y="509"/>
                </a:cubicBezTo>
                <a:cubicBezTo>
                  <a:pt x="2068" y="716"/>
                  <a:pt x="2068" y="1082"/>
                  <a:pt x="2497" y="1193"/>
                </a:cubicBezTo>
                <a:cubicBezTo>
                  <a:pt x="2624" y="1225"/>
                  <a:pt x="2720" y="1336"/>
                  <a:pt x="2720" y="1479"/>
                </a:cubicBezTo>
                <a:lnTo>
                  <a:pt x="700" y="1479"/>
                </a:lnTo>
                <a:cubicBezTo>
                  <a:pt x="716" y="1352"/>
                  <a:pt x="811" y="1225"/>
                  <a:pt x="938" y="1193"/>
                </a:cubicBezTo>
                <a:cubicBezTo>
                  <a:pt x="1368" y="1082"/>
                  <a:pt x="1368" y="716"/>
                  <a:pt x="1368" y="509"/>
                </a:cubicBezTo>
                <a:close/>
                <a:moveTo>
                  <a:pt x="668" y="1638"/>
                </a:moveTo>
                <a:lnTo>
                  <a:pt x="2767" y="1638"/>
                </a:lnTo>
                <a:cubicBezTo>
                  <a:pt x="2831" y="1638"/>
                  <a:pt x="2895" y="1591"/>
                  <a:pt x="2895" y="1511"/>
                </a:cubicBezTo>
                <a:cubicBezTo>
                  <a:pt x="2895" y="1383"/>
                  <a:pt x="2831" y="1256"/>
                  <a:pt x="2752" y="1177"/>
                </a:cubicBezTo>
                <a:lnTo>
                  <a:pt x="2879" y="1177"/>
                </a:lnTo>
                <a:cubicBezTo>
                  <a:pt x="2895" y="1177"/>
                  <a:pt x="2927" y="1177"/>
                  <a:pt x="2942" y="1193"/>
                </a:cubicBezTo>
                <a:cubicBezTo>
                  <a:pt x="2958" y="1209"/>
                  <a:pt x="2958" y="1240"/>
                  <a:pt x="2958" y="1256"/>
                </a:cubicBezTo>
                <a:lnTo>
                  <a:pt x="2958" y="4517"/>
                </a:lnTo>
                <a:cubicBezTo>
                  <a:pt x="2958" y="4564"/>
                  <a:pt x="2927" y="4596"/>
                  <a:pt x="2879" y="4596"/>
                </a:cubicBezTo>
                <a:lnTo>
                  <a:pt x="556" y="4596"/>
                </a:lnTo>
                <a:cubicBezTo>
                  <a:pt x="509" y="4596"/>
                  <a:pt x="477" y="4564"/>
                  <a:pt x="477" y="4517"/>
                </a:cubicBezTo>
                <a:lnTo>
                  <a:pt x="477" y="1256"/>
                </a:lnTo>
                <a:cubicBezTo>
                  <a:pt x="477" y="1209"/>
                  <a:pt x="509" y="1177"/>
                  <a:pt x="556" y="1177"/>
                </a:cubicBezTo>
                <a:lnTo>
                  <a:pt x="684" y="1177"/>
                </a:lnTo>
                <a:cubicBezTo>
                  <a:pt x="604" y="1272"/>
                  <a:pt x="541" y="1383"/>
                  <a:pt x="541" y="1511"/>
                </a:cubicBezTo>
                <a:cubicBezTo>
                  <a:pt x="541" y="1574"/>
                  <a:pt x="604" y="1638"/>
                  <a:pt x="668" y="1638"/>
                </a:cubicBezTo>
                <a:close/>
                <a:moveTo>
                  <a:pt x="3276" y="938"/>
                </a:moveTo>
                <a:lnTo>
                  <a:pt x="3276" y="4835"/>
                </a:lnTo>
                <a:cubicBezTo>
                  <a:pt x="3276" y="4883"/>
                  <a:pt x="3245" y="4915"/>
                  <a:pt x="3197" y="4915"/>
                </a:cubicBezTo>
                <a:lnTo>
                  <a:pt x="238" y="4915"/>
                </a:lnTo>
                <a:cubicBezTo>
                  <a:pt x="191" y="4915"/>
                  <a:pt x="159" y="4883"/>
                  <a:pt x="159" y="4835"/>
                </a:cubicBezTo>
                <a:lnTo>
                  <a:pt x="159" y="938"/>
                </a:lnTo>
                <a:cubicBezTo>
                  <a:pt x="159" y="891"/>
                  <a:pt x="191" y="859"/>
                  <a:pt x="238" y="859"/>
                </a:cubicBezTo>
                <a:lnTo>
                  <a:pt x="1161" y="859"/>
                </a:lnTo>
                <a:cubicBezTo>
                  <a:pt x="1129" y="922"/>
                  <a:pt x="1065" y="986"/>
                  <a:pt x="970" y="1018"/>
                </a:cubicBezTo>
                <a:lnTo>
                  <a:pt x="556" y="1018"/>
                </a:lnTo>
                <a:cubicBezTo>
                  <a:pt x="429" y="1018"/>
                  <a:pt x="318" y="1129"/>
                  <a:pt x="318" y="1256"/>
                </a:cubicBezTo>
                <a:lnTo>
                  <a:pt x="318" y="4517"/>
                </a:lnTo>
                <a:cubicBezTo>
                  <a:pt x="318" y="4644"/>
                  <a:pt x="429" y="4755"/>
                  <a:pt x="556" y="4755"/>
                </a:cubicBezTo>
                <a:lnTo>
                  <a:pt x="2879" y="4755"/>
                </a:lnTo>
                <a:cubicBezTo>
                  <a:pt x="3006" y="4755"/>
                  <a:pt x="3118" y="4644"/>
                  <a:pt x="3118" y="4517"/>
                </a:cubicBezTo>
                <a:lnTo>
                  <a:pt x="3118" y="1256"/>
                </a:lnTo>
                <a:cubicBezTo>
                  <a:pt x="3118" y="1193"/>
                  <a:pt x="3101" y="1129"/>
                  <a:pt x="3054" y="1082"/>
                </a:cubicBezTo>
                <a:cubicBezTo>
                  <a:pt x="3006" y="1034"/>
                  <a:pt x="2942" y="1018"/>
                  <a:pt x="2879" y="1018"/>
                </a:cubicBezTo>
                <a:lnTo>
                  <a:pt x="2449" y="1018"/>
                </a:lnTo>
                <a:cubicBezTo>
                  <a:pt x="2370" y="986"/>
                  <a:pt x="2306" y="922"/>
                  <a:pt x="2274" y="859"/>
                </a:cubicBezTo>
                <a:lnTo>
                  <a:pt x="3197" y="859"/>
                </a:lnTo>
                <a:cubicBezTo>
                  <a:pt x="3245" y="859"/>
                  <a:pt x="3276" y="891"/>
                  <a:pt x="3276" y="93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2" name="Freeform: Shape 8">
            <a:extLst>
              <a:ext uri="{FF2B5EF4-FFF2-40B4-BE49-F238E27FC236}">
                <a16:creationId xmlns:a16="http://schemas.microsoft.com/office/drawing/2014/main" id="{245778C7-0E1F-BF44-918E-C875032B37C8}"/>
              </a:ext>
            </a:extLst>
          </p:cNvPr>
          <p:cNvSpPr/>
          <p:nvPr/>
        </p:nvSpPr>
        <p:spPr>
          <a:xfrm>
            <a:off x="6027839" y="6169020"/>
            <a:ext cx="1242000" cy="1825920"/>
          </a:xfrm>
          <a:custGeom>
            <a:avLst/>
            <a:gdLst/>
            <a:ahLst/>
            <a:cxnLst>
              <a:cxn ang="3cd4">
                <a:pos x="hc" y="t"/>
              </a:cxn>
              <a:cxn ang="cd2">
                <a:pos x="l" y="vc"/>
              </a:cxn>
              <a:cxn ang="cd4">
                <a:pos x="hc" y="b"/>
              </a:cxn>
              <a:cxn ang="0">
                <a:pos x="r" y="vc"/>
              </a:cxn>
            </a:cxnLst>
            <a:rect l="l" t="t" r="r" b="b"/>
            <a:pathLst>
              <a:path w="3451" h="5073">
                <a:moveTo>
                  <a:pt x="1718" y="668"/>
                </a:moveTo>
                <a:cubicBezTo>
                  <a:pt x="1813" y="668"/>
                  <a:pt x="1892" y="604"/>
                  <a:pt x="1892" y="509"/>
                </a:cubicBezTo>
                <a:cubicBezTo>
                  <a:pt x="1892" y="413"/>
                  <a:pt x="1813" y="350"/>
                  <a:pt x="1718" y="350"/>
                </a:cubicBezTo>
                <a:cubicBezTo>
                  <a:pt x="1638" y="350"/>
                  <a:pt x="1558" y="413"/>
                  <a:pt x="1558" y="509"/>
                </a:cubicBezTo>
                <a:cubicBezTo>
                  <a:pt x="1558" y="604"/>
                  <a:pt x="1638" y="668"/>
                  <a:pt x="1718" y="668"/>
                </a:cubicBezTo>
                <a:close/>
                <a:moveTo>
                  <a:pt x="2242" y="700"/>
                </a:moveTo>
                <a:cubicBezTo>
                  <a:pt x="2227" y="636"/>
                  <a:pt x="2227" y="573"/>
                  <a:pt x="2227" y="509"/>
                </a:cubicBezTo>
                <a:cubicBezTo>
                  <a:pt x="2227" y="222"/>
                  <a:pt x="2004" y="0"/>
                  <a:pt x="1733" y="0"/>
                </a:cubicBezTo>
                <a:cubicBezTo>
                  <a:pt x="1447" y="0"/>
                  <a:pt x="1209" y="222"/>
                  <a:pt x="1209" y="509"/>
                </a:cubicBezTo>
                <a:lnTo>
                  <a:pt x="1209" y="700"/>
                </a:lnTo>
                <a:lnTo>
                  <a:pt x="238" y="700"/>
                </a:lnTo>
                <a:cubicBezTo>
                  <a:pt x="111" y="700"/>
                  <a:pt x="0" y="811"/>
                  <a:pt x="0" y="938"/>
                </a:cubicBezTo>
                <a:lnTo>
                  <a:pt x="0" y="4835"/>
                </a:lnTo>
                <a:cubicBezTo>
                  <a:pt x="0" y="4962"/>
                  <a:pt x="111" y="5073"/>
                  <a:pt x="238" y="5073"/>
                </a:cubicBezTo>
                <a:lnTo>
                  <a:pt x="3212" y="5073"/>
                </a:lnTo>
                <a:cubicBezTo>
                  <a:pt x="3340" y="5073"/>
                  <a:pt x="3451" y="4962"/>
                  <a:pt x="3451" y="4835"/>
                </a:cubicBezTo>
                <a:lnTo>
                  <a:pt x="3451" y="938"/>
                </a:lnTo>
                <a:cubicBezTo>
                  <a:pt x="3451" y="795"/>
                  <a:pt x="3340" y="700"/>
                  <a:pt x="3212" y="700"/>
                </a:cubicBezTo>
                <a:close/>
                <a:moveTo>
                  <a:pt x="1367" y="509"/>
                </a:moveTo>
                <a:cubicBezTo>
                  <a:pt x="1367" y="318"/>
                  <a:pt x="1527" y="159"/>
                  <a:pt x="1733" y="159"/>
                </a:cubicBezTo>
                <a:cubicBezTo>
                  <a:pt x="1908" y="159"/>
                  <a:pt x="2067" y="318"/>
                  <a:pt x="2067" y="509"/>
                </a:cubicBezTo>
                <a:cubicBezTo>
                  <a:pt x="2067" y="716"/>
                  <a:pt x="2067" y="1082"/>
                  <a:pt x="2497" y="1193"/>
                </a:cubicBezTo>
                <a:cubicBezTo>
                  <a:pt x="2624" y="1225"/>
                  <a:pt x="2719" y="1336"/>
                  <a:pt x="2736" y="1479"/>
                </a:cubicBezTo>
                <a:lnTo>
                  <a:pt x="715" y="1479"/>
                </a:lnTo>
                <a:cubicBezTo>
                  <a:pt x="731" y="1352"/>
                  <a:pt x="811" y="1225"/>
                  <a:pt x="938" y="1193"/>
                </a:cubicBezTo>
                <a:cubicBezTo>
                  <a:pt x="1367" y="1082"/>
                  <a:pt x="1367" y="716"/>
                  <a:pt x="1367" y="509"/>
                </a:cubicBezTo>
                <a:close/>
                <a:moveTo>
                  <a:pt x="668" y="1638"/>
                </a:moveTo>
                <a:lnTo>
                  <a:pt x="2767" y="1638"/>
                </a:lnTo>
                <a:cubicBezTo>
                  <a:pt x="2846" y="1638"/>
                  <a:pt x="2894" y="1591"/>
                  <a:pt x="2894" y="1511"/>
                </a:cubicBezTo>
                <a:cubicBezTo>
                  <a:pt x="2894" y="1383"/>
                  <a:pt x="2846" y="1256"/>
                  <a:pt x="2767" y="1177"/>
                </a:cubicBezTo>
                <a:lnTo>
                  <a:pt x="2879" y="1177"/>
                </a:lnTo>
                <a:cubicBezTo>
                  <a:pt x="2910" y="1177"/>
                  <a:pt x="2926" y="1177"/>
                  <a:pt x="2942" y="1193"/>
                </a:cubicBezTo>
                <a:cubicBezTo>
                  <a:pt x="2958" y="1209"/>
                  <a:pt x="2974" y="1240"/>
                  <a:pt x="2974" y="1256"/>
                </a:cubicBezTo>
                <a:lnTo>
                  <a:pt x="2974" y="4517"/>
                </a:lnTo>
                <a:cubicBezTo>
                  <a:pt x="2974" y="4564"/>
                  <a:pt x="2926" y="4596"/>
                  <a:pt x="2879" y="4596"/>
                </a:cubicBezTo>
                <a:lnTo>
                  <a:pt x="556" y="4596"/>
                </a:lnTo>
                <a:cubicBezTo>
                  <a:pt x="509" y="4596"/>
                  <a:pt x="477" y="4564"/>
                  <a:pt x="477" y="4517"/>
                </a:cubicBezTo>
                <a:lnTo>
                  <a:pt x="477" y="1256"/>
                </a:lnTo>
                <a:cubicBezTo>
                  <a:pt x="477" y="1209"/>
                  <a:pt x="509" y="1177"/>
                  <a:pt x="556" y="1177"/>
                </a:cubicBezTo>
                <a:lnTo>
                  <a:pt x="683" y="1177"/>
                </a:lnTo>
                <a:cubicBezTo>
                  <a:pt x="604" y="1272"/>
                  <a:pt x="556" y="1383"/>
                  <a:pt x="556" y="1511"/>
                </a:cubicBezTo>
                <a:cubicBezTo>
                  <a:pt x="556" y="1574"/>
                  <a:pt x="604" y="1638"/>
                  <a:pt x="668" y="1638"/>
                </a:cubicBezTo>
                <a:close/>
                <a:moveTo>
                  <a:pt x="3292" y="938"/>
                </a:moveTo>
                <a:lnTo>
                  <a:pt x="3292" y="4835"/>
                </a:lnTo>
                <a:cubicBezTo>
                  <a:pt x="3292" y="4883"/>
                  <a:pt x="3244" y="4915"/>
                  <a:pt x="3212" y="4915"/>
                </a:cubicBezTo>
                <a:lnTo>
                  <a:pt x="238" y="4915"/>
                </a:lnTo>
                <a:cubicBezTo>
                  <a:pt x="191" y="4915"/>
                  <a:pt x="159" y="4883"/>
                  <a:pt x="159" y="4835"/>
                </a:cubicBezTo>
                <a:lnTo>
                  <a:pt x="159" y="938"/>
                </a:lnTo>
                <a:cubicBezTo>
                  <a:pt x="159" y="891"/>
                  <a:pt x="191" y="859"/>
                  <a:pt x="238" y="859"/>
                </a:cubicBezTo>
                <a:lnTo>
                  <a:pt x="1161" y="859"/>
                </a:lnTo>
                <a:cubicBezTo>
                  <a:pt x="1129" y="922"/>
                  <a:pt x="1065" y="986"/>
                  <a:pt x="986" y="1018"/>
                </a:cubicBezTo>
                <a:lnTo>
                  <a:pt x="970" y="1018"/>
                </a:lnTo>
                <a:lnTo>
                  <a:pt x="556" y="1018"/>
                </a:lnTo>
                <a:cubicBezTo>
                  <a:pt x="429" y="1018"/>
                  <a:pt x="318" y="1129"/>
                  <a:pt x="318" y="1256"/>
                </a:cubicBezTo>
                <a:lnTo>
                  <a:pt x="318" y="4517"/>
                </a:lnTo>
                <a:cubicBezTo>
                  <a:pt x="318" y="4644"/>
                  <a:pt x="429" y="4755"/>
                  <a:pt x="556" y="4755"/>
                </a:cubicBezTo>
                <a:lnTo>
                  <a:pt x="2879" y="4755"/>
                </a:lnTo>
                <a:cubicBezTo>
                  <a:pt x="3022" y="4755"/>
                  <a:pt x="3133" y="4644"/>
                  <a:pt x="3133" y="4517"/>
                </a:cubicBezTo>
                <a:lnTo>
                  <a:pt x="3133" y="1256"/>
                </a:lnTo>
                <a:cubicBezTo>
                  <a:pt x="3133" y="1193"/>
                  <a:pt x="3101" y="1129"/>
                  <a:pt x="3054" y="1082"/>
                </a:cubicBezTo>
                <a:cubicBezTo>
                  <a:pt x="3006" y="1034"/>
                  <a:pt x="2958" y="1018"/>
                  <a:pt x="2879" y="1018"/>
                </a:cubicBezTo>
                <a:lnTo>
                  <a:pt x="2465" y="1018"/>
                </a:lnTo>
                <a:cubicBezTo>
                  <a:pt x="2370" y="986"/>
                  <a:pt x="2306" y="922"/>
                  <a:pt x="2274" y="859"/>
                </a:cubicBezTo>
                <a:lnTo>
                  <a:pt x="3212" y="859"/>
                </a:lnTo>
                <a:cubicBezTo>
                  <a:pt x="3244" y="859"/>
                  <a:pt x="3292" y="891"/>
                  <a:pt x="3292" y="938"/>
                </a:cubicBezTo>
                <a:close/>
                <a:moveTo>
                  <a:pt x="1400" y="3737"/>
                </a:moveTo>
                <a:cubicBezTo>
                  <a:pt x="1415" y="3754"/>
                  <a:pt x="1431" y="3769"/>
                  <a:pt x="1447" y="3769"/>
                </a:cubicBezTo>
                <a:cubicBezTo>
                  <a:pt x="1463" y="3769"/>
                  <a:pt x="1495" y="3754"/>
                  <a:pt x="1510" y="3737"/>
                </a:cubicBezTo>
                <a:lnTo>
                  <a:pt x="2560" y="2688"/>
                </a:lnTo>
                <a:cubicBezTo>
                  <a:pt x="2592" y="2656"/>
                  <a:pt x="2592" y="2592"/>
                  <a:pt x="2560" y="2561"/>
                </a:cubicBezTo>
                <a:cubicBezTo>
                  <a:pt x="2545" y="2545"/>
                  <a:pt x="2481" y="2545"/>
                  <a:pt x="2449" y="2561"/>
                </a:cubicBezTo>
                <a:lnTo>
                  <a:pt x="1447" y="3579"/>
                </a:lnTo>
                <a:lnTo>
                  <a:pt x="1018" y="3133"/>
                </a:lnTo>
                <a:cubicBezTo>
                  <a:pt x="986" y="3101"/>
                  <a:pt x="938" y="3101"/>
                  <a:pt x="906" y="3133"/>
                </a:cubicBezTo>
                <a:cubicBezTo>
                  <a:pt x="874" y="3165"/>
                  <a:pt x="874" y="3228"/>
                  <a:pt x="906" y="324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3" name="Freeform: Shape 9">
            <a:extLst>
              <a:ext uri="{FF2B5EF4-FFF2-40B4-BE49-F238E27FC236}">
                <a16:creationId xmlns:a16="http://schemas.microsoft.com/office/drawing/2014/main" id="{07973713-7D1D-F046-8993-7D916382B512}"/>
              </a:ext>
            </a:extLst>
          </p:cNvPr>
          <p:cNvSpPr/>
          <p:nvPr/>
        </p:nvSpPr>
        <p:spPr>
          <a:xfrm>
            <a:off x="10242380" y="6169020"/>
            <a:ext cx="1242000" cy="1825920"/>
          </a:xfrm>
          <a:custGeom>
            <a:avLst/>
            <a:gdLst/>
            <a:ahLst/>
            <a:cxnLst>
              <a:cxn ang="3cd4">
                <a:pos x="hc" y="t"/>
              </a:cxn>
              <a:cxn ang="cd2">
                <a:pos x="l" y="vc"/>
              </a:cxn>
              <a:cxn ang="cd4">
                <a:pos x="hc" y="b"/>
              </a:cxn>
              <a:cxn ang="0">
                <a:pos x="r" y="vc"/>
              </a:cxn>
            </a:cxnLst>
            <a:rect l="l" t="t" r="r" b="b"/>
            <a:pathLst>
              <a:path w="3451" h="5073">
                <a:moveTo>
                  <a:pt x="1718" y="668"/>
                </a:moveTo>
                <a:cubicBezTo>
                  <a:pt x="1813" y="668"/>
                  <a:pt x="1892" y="604"/>
                  <a:pt x="1892" y="509"/>
                </a:cubicBezTo>
                <a:cubicBezTo>
                  <a:pt x="1892" y="413"/>
                  <a:pt x="1813" y="350"/>
                  <a:pt x="1718" y="350"/>
                </a:cubicBezTo>
                <a:cubicBezTo>
                  <a:pt x="1638" y="350"/>
                  <a:pt x="1558" y="413"/>
                  <a:pt x="1558" y="509"/>
                </a:cubicBezTo>
                <a:cubicBezTo>
                  <a:pt x="1558" y="604"/>
                  <a:pt x="1638" y="668"/>
                  <a:pt x="1718" y="668"/>
                </a:cubicBezTo>
                <a:close/>
                <a:moveTo>
                  <a:pt x="0" y="4835"/>
                </a:moveTo>
                <a:cubicBezTo>
                  <a:pt x="0" y="4962"/>
                  <a:pt x="111" y="5073"/>
                  <a:pt x="238" y="5073"/>
                </a:cubicBezTo>
                <a:lnTo>
                  <a:pt x="3212" y="5073"/>
                </a:lnTo>
                <a:cubicBezTo>
                  <a:pt x="3340" y="5073"/>
                  <a:pt x="3451" y="4962"/>
                  <a:pt x="3451" y="4835"/>
                </a:cubicBezTo>
                <a:lnTo>
                  <a:pt x="3451" y="938"/>
                </a:lnTo>
                <a:cubicBezTo>
                  <a:pt x="3451" y="795"/>
                  <a:pt x="3340" y="700"/>
                  <a:pt x="3212" y="700"/>
                </a:cubicBezTo>
                <a:lnTo>
                  <a:pt x="2242" y="700"/>
                </a:lnTo>
                <a:cubicBezTo>
                  <a:pt x="2227" y="636"/>
                  <a:pt x="2227" y="573"/>
                  <a:pt x="2227" y="509"/>
                </a:cubicBezTo>
                <a:cubicBezTo>
                  <a:pt x="2227" y="222"/>
                  <a:pt x="2004" y="0"/>
                  <a:pt x="1733" y="0"/>
                </a:cubicBezTo>
                <a:cubicBezTo>
                  <a:pt x="1447" y="0"/>
                  <a:pt x="1208" y="222"/>
                  <a:pt x="1208" y="509"/>
                </a:cubicBezTo>
                <a:lnTo>
                  <a:pt x="1208" y="700"/>
                </a:lnTo>
                <a:lnTo>
                  <a:pt x="238" y="700"/>
                </a:lnTo>
                <a:cubicBezTo>
                  <a:pt x="111" y="700"/>
                  <a:pt x="0" y="811"/>
                  <a:pt x="0" y="938"/>
                </a:cubicBezTo>
                <a:close/>
                <a:moveTo>
                  <a:pt x="1367" y="509"/>
                </a:moveTo>
                <a:cubicBezTo>
                  <a:pt x="1367" y="318"/>
                  <a:pt x="1527" y="159"/>
                  <a:pt x="1733" y="159"/>
                </a:cubicBezTo>
                <a:cubicBezTo>
                  <a:pt x="1908" y="159"/>
                  <a:pt x="2067" y="318"/>
                  <a:pt x="2067" y="509"/>
                </a:cubicBezTo>
                <a:cubicBezTo>
                  <a:pt x="2067" y="716"/>
                  <a:pt x="2067" y="1082"/>
                  <a:pt x="2497" y="1193"/>
                </a:cubicBezTo>
                <a:cubicBezTo>
                  <a:pt x="2624" y="1225"/>
                  <a:pt x="2719" y="1336"/>
                  <a:pt x="2736" y="1479"/>
                </a:cubicBezTo>
                <a:lnTo>
                  <a:pt x="715" y="1479"/>
                </a:lnTo>
                <a:cubicBezTo>
                  <a:pt x="731" y="1352"/>
                  <a:pt x="827" y="1225"/>
                  <a:pt x="938" y="1193"/>
                </a:cubicBezTo>
                <a:cubicBezTo>
                  <a:pt x="1367" y="1082"/>
                  <a:pt x="1367" y="716"/>
                  <a:pt x="1367" y="509"/>
                </a:cubicBezTo>
                <a:close/>
                <a:moveTo>
                  <a:pt x="668" y="1638"/>
                </a:moveTo>
                <a:lnTo>
                  <a:pt x="2767" y="1638"/>
                </a:lnTo>
                <a:cubicBezTo>
                  <a:pt x="2846" y="1638"/>
                  <a:pt x="2894" y="1591"/>
                  <a:pt x="2894" y="1511"/>
                </a:cubicBezTo>
                <a:cubicBezTo>
                  <a:pt x="2894" y="1383"/>
                  <a:pt x="2846" y="1256"/>
                  <a:pt x="2767" y="1177"/>
                </a:cubicBezTo>
                <a:lnTo>
                  <a:pt x="2894" y="1177"/>
                </a:lnTo>
                <a:cubicBezTo>
                  <a:pt x="2910" y="1177"/>
                  <a:pt x="2926" y="1177"/>
                  <a:pt x="2942" y="1193"/>
                </a:cubicBezTo>
                <a:cubicBezTo>
                  <a:pt x="2958" y="1209"/>
                  <a:pt x="2974" y="1240"/>
                  <a:pt x="2974" y="1256"/>
                </a:cubicBezTo>
                <a:lnTo>
                  <a:pt x="2974" y="4517"/>
                </a:lnTo>
                <a:cubicBezTo>
                  <a:pt x="2974" y="4564"/>
                  <a:pt x="2926" y="4596"/>
                  <a:pt x="2894" y="4596"/>
                </a:cubicBezTo>
                <a:lnTo>
                  <a:pt x="556" y="4596"/>
                </a:lnTo>
                <a:cubicBezTo>
                  <a:pt x="509" y="4596"/>
                  <a:pt x="477" y="4564"/>
                  <a:pt x="477" y="4517"/>
                </a:cubicBezTo>
                <a:lnTo>
                  <a:pt x="477" y="1256"/>
                </a:lnTo>
                <a:cubicBezTo>
                  <a:pt x="477" y="1209"/>
                  <a:pt x="509" y="1177"/>
                  <a:pt x="556" y="1177"/>
                </a:cubicBezTo>
                <a:lnTo>
                  <a:pt x="683" y="1177"/>
                </a:lnTo>
                <a:cubicBezTo>
                  <a:pt x="604" y="1272"/>
                  <a:pt x="556" y="1383"/>
                  <a:pt x="556" y="1511"/>
                </a:cubicBezTo>
                <a:cubicBezTo>
                  <a:pt x="556" y="1574"/>
                  <a:pt x="604" y="1638"/>
                  <a:pt x="668" y="1638"/>
                </a:cubicBezTo>
                <a:close/>
                <a:moveTo>
                  <a:pt x="159" y="938"/>
                </a:moveTo>
                <a:cubicBezTo>
                  <a:pt x="159" y="891"/>
                  <a:pt x="191" y="859"/>
                  <a:pt x="238" y="859"/>
                </a:cubicBezTo>
                <a:lnTo>
                  <a:pt x="1161" y="859"/>
                </a:lnTo>
                <a:cubicBezTo>
                  <a:pt x="1129" y="922"/>
                  <a:pt x="1065" y="986"/>
                  <a:pt x="986" y="1018"/>
                </a:cubicBezTo>
                <a:lnTo>
                  <a:pt x="970" y="1018"/>
                </a:lnTo>
                <a:lnTo>
                  <a:pt x="556" y="1018"/>
                </a:lnTo>
                <a:cubicBezTo>
                  <a:pt x="429" y="1018"/>
                  <a:pt x="318" y="1129"/>
                  <a:pt x="318" y="1256"/>
                </a:cubicBezTo>
                <a:lnTo>
                  <a:pt x="318" y="4517"/>
                </a:lnTo>
                <a:cubicBezTo>
                  <a:pt x="318" y="4644"/>
                  <a:pt x="429" y="4755"/>
                  <a:pt x="556" y="4755"/>
                </a:cubicBezTo>
                <a:lnTo>
                  <a:pt x="2894" y="4755"/>
                </a:lnTo>
                <a:cubicBezTo>
                  <a:pt x="3022" y="4755"/>
                  <a:pt x="3133" y="4644"/>
                  <a:pt x="3133" y="4517"/>
                </a:cubicBezTo>
                <a:lnTo>
                  <a:pt x="3133" y="1256"/>
                </a:lnTo>
                <a:cubicBezTo>
                  <a:pt x="3133" y="1193"/>
                  <a:pt x="3101" y="1129"/>
                  <a:pt x="3054" y="1082"/>
                </a:cubicBezTo>
                <a:cubicBezTo>
                  <a:pt x="3006" y="1034"/>
                  <a:pt x="2958" y="1018"/>
                  <a:pt x="2894" y="1018"/>
                </a:cubicBezTo>
                <a:lnTo>
                  <a:pt x="2465" y="1018"/>
                </a:lnTo>
                <a:cubicBezTo>
                  <a:pt x="2370" y="986"/>
                  <a:pt x="2322" y="922"/>
                  <a:pt x="2274" y="859"/>
                </a:cubicBezTo>
                <a:lnTo>
                  <a:pt x="3212" y="859"/>
                </a:lnTo>
                <a:cubicBezTo>
                  <a:pt x="3244" y="859"/>
                  <a:pt x="3292" y="891"/>
                  <a:pt x="3292" y="938"/>
                </a:cubicBezTo>
                <a:lnTo>
                  <a:pt x="3292" y="4835"/>
                </a:lnTo>
                <a:cubicBezTo>
                  <a:pt x="3292" y="4883"/>
                  <a:pt x="3244" y="4915"/>
                  <a:pt x="3212" y="4915"/>
                </a:cubicBezTo>
                <a:lnTo>
                  <a:pt x="238" y="4915"/>
                </a:lnTo>
                <a:cubicBezTo>
                  <a:pt x="191" y="4915"/>
                  <a:pt x="159" y="4883"/>
                  <a:pt x="159" y="4835"/>
                </a:cubicBezTo>
                <a:close/>
                <a:moveTo>
                  <a:pt x="954" y="3960"/>
                </a:moveTo>
                <a:cubicBezTo>
                  <a:pt x="970" y="3976"/>
                  <a:pt x="986" y="3992"/>
                  <a:pt x="1018" y="3992"/>
                </a:cubicBezTo>
                <a:cubicBezTo>
                  <a:pt x="1034" y="3992"/>
                  <a:pt x="1049" y="3976"/>
                  <a:pt x="1065" y="3960"/>
                </a:cubicBezTo>
                <a:lnTo>
                  <a:pt x="1718" y="3308"/>
                </a:lnTo>
                <a:lnTo>
                  <a:pt x="2385" y="3960"/>
                </a:lnTo>
                <a:cubicBezTo>
                  <a:pt x="2385" y="3976"/>
                  <a:pt x="2417" y="3992"/>
                  <a:pt x="2433" y="3992"/>
                </a:cubicBezTo>
                <a:cubicBezTo>
                  <a:pt x="2449" y="3992"/>
                  <a:pt x="2481" y="3976"/>
                  <a:pt x="2497" y="3960"/>
                </a:cubicBezTo>
                <a:cubicBezTo>
                  <a:pt x="2528" y="3928"/>
                  <a:pt x="2528" y="3881"/>
                  <a:pt x="2497" y="3849"/>
                </a:cubicBezTo>
                <a:lnTo>
                  <a:pt x="1829" y="3197"/>
                </a:lnTo>
                <a:lnTo>
                  <a:pt x="2497" y="2545"/>
                </a:lnTo>
                <a:cubicBezTo>
                  <a:pt x="2528" y="2513"/>
                  <a:pt x="2528" y="2465"/>
                  <a:pt x="2497" y="2433"/>
                </a:cubicBezTo>
                <a:cubicBezTo>
                  <a:pt x="2465" y="2401"/>
                  <a:pt x="2401" y="2401"/>
                  <a:pt x="2385" y="2433"/>
                </a:cubicBezTo>
                <a:lnTo>
                  <a:pt x="1718" y="3085"/>
                </a:lnTo>
                <a:lnTo>
                  <a:pt x="1065" y="2433"/>
                </a:lnTo>
                <a:cubicBezTo>
                  <a:pt x="1034" y="2401"/>
                  <a:pt x="986" y="2401"/>
                  <a:pt x="954" y="2433"/>
                </a:cubicBezTo>
                <a:cubicBezTo>
                  <a:pt x="922" y="2465"/>
                  <a:pt x="922" y="2513"/>
                  <a:pt x="954" y="2545"/>
                </a:cubicBezTo>
                <a:lnTo>
                  <a:pt x="1606" y="3197"/>
                </a:lnTo>
                <a:lnTo>
                  <a:pt x="954" y="3849"/>
                </a:lnTo>
                <a:cubicBezTo>
                  <a:pt x="922" y="3881"/>
                  <a:pt x="922" y="3928"/>
                  <a:pt x="954" y="396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408239282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Documents / Windows - 6</a:t>
            </a:r>
          </a:p>
        </p:txBody>
      </p:sp>
      <p:sp>
        <p:nvSpPr>
          <p:cNvPr id="74" name="TextBox 73">
            <a:extLst>
              <a:ext uri="{FF2B5EF4-FFF2-40B4-BE49-F238E27FC236}">
                <a16:creationId xmlns:a16="http://schemas.microsoft.com/office/drawing/2014/main" id="{6B98C0E9-A0F3-814F-A172-F3FD92125233}"/>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a:t>
            </a:r>
          </a:p>
        </p:txBody>
      </p:sp>
      <p:sp>
        <p:nvSpPr>
          <p:cNvPr id="75" name="TextBox 74">
            <a:extLst>
              <a:ext uri="{FF2B5EF4-FFF2-40B4-BE49-F238E27FC236}">
                <a16:creationId xmlns:a16="http://schemas.microsoft.com/office/drawing/2014/main" id="{965EC504-6658-AC48-9679-4CDFA9B482C6}"/>
              </a:ext>
            </a:extLst>
          </p:cNvPr>
          <p:cNvSpPr txBox="1"/>
          <p:nvPr/>
        </p:nvSpPr>
        <p:spPr>
          <a:xfrm>
            <a:off x="13471996" y="5164929"/>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Dupe</a:t>
            </a:r>
          </a:p>
        </p:txBody>
      </p:sp>
      <p:sp>
        <p:nvSpPr>
          <p:cNvPr id="76" name="TextBox 75">
            <a:extLst>
              <a:ext uri="{FF2B5EF4-FFF2-40B4-BE49-F238E27FC236}">
                <a16:creationId xmlns:a16="http://schemas.microsoft.com/office/drawing/2014/main" id="{C7CF5FA3-ABCF-E745-9924-0ED271CFCE18}"/>
              </a:ext>
            </a:extLst>
          </p:cNvPr>
          <p:cNvSpPr txBox="1"/>
          <p:nvPr/>
        </p:nvSpPr>
        <p:spPr>
          <a:xfrm>
            <a:off x="20809186" y="5164929"/>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a:t>
            </a:r>
          </a:p>
        </p:txBody>
      </p:sp>
      <p:sp>
        <p:nvSpPr>
          <p:cNvPr id="77" name="TextBox 76">
            <a:extLst>
              <a:ext uri="{FF2B5EF4-FFF2-40B4-BE49-F238E27FC236}">
                <a16:creationId xmlns:a16="http://schemas.microsoft.com/office/drawing/2014/main" id="{6B975D12-E688-C34E-9BD6-C74A00786AF4}"/>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a:t>
            </a:r>
          </a:p>
        </p:txBody>
      </p:sp>
      <p:sp>
        <p:nvSpPr>
          <p:cNvPr id="78" name="TextBox 77">
            <a:extLst>
              <a:ext uri="{FF2B5EF4-FFF2-40B4-BE49-F238E27FC236}">
                <a16:creationId xmlns:a16="http://schemas.microsoft.com/office/drawing/2014/main" id="{0941CCCC-6D5A-EE42-BDD9-0D4245706185}"/>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X</a:t>
            </a:r>
          </a:p>
        </p:txBody>
      </p:sp>
      <p:sp>
        <p:nvSpPr>
          <p:cNvPr id="79" name="TextBox 78">
            <a:extLst>
              <a:ext uri="{FF2B5EF4-FFF2-40B4-BE49-F238E27FC236}">
                <a16:creationId xmlns:a16="http://schemas.microsoft.com/office/drawing/2014/main" id="{0771D772-4427-4342-99AA-731D864D9C3F}"/>
              </a:ext>
            </a:extLst>
          </p:cNvPr>
          <p:cNvSpPr txBox="1"/>
          <p:nvPr/>
        </p:nvSpPr>
        <p:spPr>
          <a:xfrm>
            <a:off x="9811176" y="8292956"/>
            <a:ext cx="211138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Up</a:t>
            </a:r>
          </a:p>
        </p:txBody>
      </p:sp>
      <p:sp>
        <p:nvSpPr>
          <p:cNvPr id="80" name="TextBox 79">
            <a:extLst>
              <a:ext uri="{FF2B5EF4-FFF2-40B4-BE49-F238E27FC236}">
                <a16:creationId xmlns:a16="http://schemas.microsoft.com/office/drawing/2014/main" id="{B48BCF73-3666-EB46-834C-DD279ABD361E}"/>
              </a:ext>
            </a:extLst>
          </p:cNvPr>
          <p:cNvSpPr txBox="1"/>
          <p:nvPr/>
        </p:nvSpPr>
        <p:spPr>
          <a:xfrm>
            <a:off x="13226552" y="8292956"/>
            <a:ext cx="311233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Down</a:t>
            </a:r>
          </a:p>
        </p:txBody>
      </p:sp>
      <p:sp>
        <p:nvSpPr>
          <p:cNvPr id="81" name="TextBox 80">
            <a:extLst>
              <a:ext uri="{FF2B5EF4-FFF2-40B4-BE49-F238E27FC236}">
                <a16:creationId xmlns:a16="http://schemas.microsoft.com/office/drawing/2014/main" id="{E2979563-076E-8242-8F17-A80861F8F7C8}"/>
              </a:ext>
            </a:extLst>
          </p:cNvPr>
          <p:cNvSpPr txBox="1"/>
          <p:nvPr/>
        </p:nvSpPr>
        <p:spPr>
          <a:xfrm>
            <a:off x="20809186" y="8292956"/>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Time</a:t>
            </a:r>
          </a:p>
        </p:txBody>
      </p:sp>
      <p:sp>
        <p:nvSpPr>
          <p:cNvPr id="82" name="TextBox 81">
            <a:extLst>
              <a:ext uri="{FF2B5EF4-FFF2-40B4-BE49-F238E27FC236}">
                <a16:creationId xmlns:a16="http://schemas.microsoft.com/office/drawing/2014/main" id="{3A660D9C-AC0D-AE4D-8F07-14D1296C7396}"/>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Sync</a:t>
            </a:r>
          </a:p>
        </p:txBody>
      </p:sp>
      <p:sp>
        <p:nvSpPr>
          <p:cNvPr id="83" name="TextBox 82">
            <a:extLst>
              <a:ext uri="{FF2B5EF4-FFF2-40B4-BE49-F238E27FC236}">
                <a16:creationId xmlns:a16="http://schemas.microsoft.com/office/drawing/2014/main" id="{5AF423C9-4886-6F4F-99F1-EF1AAEB84E7C}"/>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Lock</a:t>
            </a:r>
          </a:p>
        </p:txBody>
      </p:sp>
      <p:sp>
        <p:nvSpPr>
          <p:cNvPr id="84" name="TextBox 83">
            <a:extLst>
              <a:ext uri="{FF2B5EF4-FFF2-40B4-BE49-F238E27FC236}">
                <a16:creationId xmlns:a16="http://schemas.microsoft.com/office/drawing/2014/main" id="{3AB1328D-EA53-354F-8144-11753245CA8D}"/>
              </a:ext>
            </a:extLst>
          </p:cNvPr>
          <p:cNvSpPr txBox="1"/>
          <p:nvPr/>
        </p:nvSpPr>
        <p:spPr>
          <a:xfrm>
            <a:off x="9013116"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Alias</a:t>
            </a:r>
          </a:p>
        </p:txBody>
      </p:sp>
      <p:sp>
        <p:nvSpPr>
          <p:cNvPr id="85" name="TextBox 84">
            <a:extLst>
              <a:ext uri="{FF2B5EF4-FFF2-40B4-BE49-F238E27FC236}">
                <a16:creationId xmlns:a16="http://schemas.microsoft.com/office/drawing/2014/main" id="{D70FF344-0672-2043-A610-3E094967D3B6}"/>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Check</a:t>
            </a:r>
          </a:p>
        </p:txBody>
      </p:sp>
      <p:sp>
        <p:nvSpPr>
          <p:cNvPr id="86" name="Freeform: Shape 26">
            <a:extLst>
              <a:ext uri="{FF2B5EF4-FFF2-40B4-BE49-F238E27FC236}">
                <a16:creationId xmlns:a16="http://schemas.microsoft.com/office/drawing/2014/main" id="{3F2AB61B-DCA4-6B41-9645-7BF3CAE43F25}"/>
              </a:ext>
            </a:extLst>
          </p:cNvPr>
          <p:cNvSpPr/>
          <p:nvPr/>
        </p:nvSpPr>
        <p:spPr>
          <a:xfrm>
            <a:off x="10866869" y="3944848"/>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7" name="TextBox 86">
            <a:extLst>
              <a:ext uri="{FF2B5EF4-FFF2-40B4-BE49-F238E27FC236}">
                <a16:creationId xmlns:a16="http://schemas.microsoft.com/office/drawing/2014/main" id="{D11FF86D-F7EB-BD44-9E9A-A94BD9EDBBF2}"/>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2</a:t>
            </a:r>
          </a:p>
        </p:txBody>
      </p:sp>
      <p:sp>
        <p:nvSpPr>
          <p:cNvPr id="88" name="TextBox 87">
            <a:extLst>
              <a:ext uri="{FF2B5EF4-FFF2-40B4-BE49-F238E27FC236}">
                <a16:creationId xmlns:a16="http://schemas.microsoft.com/office/drawing/2014/main" id="{6112C340-20F9-2046-98DB-C2C21472A44B}"/>
              </a:ext>
            </a:extLst>
          </p:cNvPr>
          <p:cNvSpPr txBox="1"/>
          <p:nvPr/>
        </p:nvSpPr>
        <p:spPr>
          <a:xfrm>
            <a:off x="16697542" y="8292956"/>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Minus</a:t>
            </a:r>
          </a:p>
        </p:txBody>
      </p:sp>
      <p:sp>
        <p:nvSpPr>
          <p:cNvPr id="89" name="TextBox 88">
            <a:extLst>
              <a:ext uri="{FF2B5EF4-FFF2-40B4-BE49-F238E27FC236}">
                <a16:creationId xmlns:a16="http://schemas.microsoft.com/office/drawing/2014/main" id="{2BFC326B-F66E-FB45-B205-A283468ECD7D}"/>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Headers</a:t>
            </a:r>
          </a:p>
        </p:txBody>
      </p:sp>
      <p:sp>
        <p:nvSpPr>
          <p:cNvPr id="90" name="Freeform: Shape 1">
            <a:extLst>
              <a:ext uri="{FF2B5EF4-FFF2-40B4-BE49-F238E27FC236}">
                <a16:creationId xmlns:a16="http://schemas.microsoft.com/office/drawing/2014/main" id="{3FC3488F-BAF5-BB40-97DE-CDB8CFAD2DA6}"/>
              </a:ext>
            </a:extLst>
          </p:cNvPr>
          <p:cNvSpPr/>
          <p:nvPr/>
        </p:nvSpPr>
        <p:spPr>
          <a:xfrm>
            <a:off x="17571451" y="9923128"/>
            <a:ext cx="1516680" cy="1517400"/>
          </a:xfrm>
          <a:custGeom>
            <a:avLst/>
            <a:gdLst/>
            <a:ahLst/>
            <a:cxnLst>
              <a:cxn ang="3cd4">
                <a:pos x="hc" y="t"/>
              </a:cxn>
              <a:cxn ang="cd2">
                <a:pos x="l" y="vc"/>
              </a:cxn>
              <a:cxn ang="cd4">
                <a:pos x="hc" y="b"/>
              </a:cxn>
              <a:cxn ang="0">
                <a:pos x="r" y="vc"/>
              </a:cxn>
            </a:cxnLst>
            <a:rect l="l" t="t" r="r" b="b"/>
            <a:pathLst>
              <a:path w="4214" h="4216">
                <a:moveTo>
                  <a:pt x="79" y="0"/>
                </a:moveTo>
                <a:cubicBezTo>
                  <a:pt x="32" y="0"/>
                  <a:pt x="0" y="32"/>
                  <a:pt x="0" y="80"/>
                </a:cubicBezTo>
                <a:lnTo>
                  <a:pt x="0" y="4136"/>
                </a:lnTo>
                <a:cubicBezTo>
                  <a:pt x="0" y="4183"/>
                  <a:pt x="32" y="4216"/>
                  <a:pt x="79" y="4216"/>
                </a:cubicBezTo>
                <a:lnTo>
                  <a:pt x="4135" y="4216"/>
                </a:lnTo>
                <a:cubicBezTo>
                  <a:pt x="4183" y="4216"/>
                  <a:pt x="4214" y="4183"/>
                  <a:pt x="4214" y="4136"/>
                </a:cubicBezTo>
                <a:lnTo>
                  <a:pt x="4214" y="80"/>
                </a:lnTo>
                <a:cubicBezTo>
                  <a:pt x="4214" y="32"/>
                  <a:pt x="4183" y="0"/>
                  <a:pt x="4135" y="0"/>
                </a:cubicBezTo>
                <a:close/>
                <a:moveTo>
                  <a:pt x="4056" y="1257"/>
                </a:moveTo>
                <a:lnTo>
                  <a:pt x="159" y="1257"/>
                </a:lnTo>
                <a:lnTo>
                  <a:pt x="159" y="859"/>
                </a:lnTo>
                <a:lnTo>
                  <a:pt x="4056" y="859"/>
                </a:lnTo>
                <a:close/>
                <a:moveTo>
                  <a:pt x="159" y="1416"/>
                </a:moveTo>
                <a:lnTo>
                  <a:pt x="4056" y="1416"/>
                </a:lnTo>
                <a:lnTo>
                  <a:pt x="4056" y="2100"/>
                </a:lnTo>
                <a:lnTo>
                  <a:pt x="159" y="2100"/>
                </a:lnTo>
                <a:close/>
                <a:moveTo>
                  <a:pt x="4056" y="160"/>
                </a:moveTo>
                <a:lnTo>
                  <a:pt x="4056" y="700"/>
                </a:lnTo>
                <a:lnTo>
                  <a:pt x="159" y="700"/>
                </a:lnTo>
                <a:lnTo>
                  <a:pt x="159" y="160"/>
                </a:lnTo>
                <a:close/>
                <a:moveTo>
                  <a:pt x="159" y="4056"/>
                </a:moveTo>
                <a:lnTo>
                  <a:pt x="159" y="2259"/>
                </a:lnTo>
                <a:lnTo>
                  <a:pt x="4056" y="2259"/>
                </a:lnTo>
                <a:lnTo>
                  <a:pt x="4056" y="4056"/>
                </a:lnTo>
                <a:close/>
                <a:moveTo>
                  <a:pt x="3372" y="589"/>
                </a:moveTo>
                <a:lnTo>
                  <a:pt x="3642" y="589"/>
                </a:lnTo>
                <a:cubicBezTo>
                  <a:pt x="3690" y="589"/>
                  <a:pt x="3722" y="541"/>
                  <a:pt x="3722" y="509"/>
                </a:cubicBezTo>
                <a:cubicBezTo>
                  <a:pt x="3722" y="462"/>
                  <a:pt x="3690" y="430"/>
                  <a:pt x="3642" y="430"/>
                </a:cubicBezTo>
                <a:lnTo>
                  <a:pt x="3372" y="430"/>
                </a:lnTo>
                <a:cubicBezTo>
                  <a:pt x="3324" y="430"/>
                  <a:pt x="3292" y="462"/>
                  <a:pt x="3292" y="509"/>
                </a:cubicBezTo>
                <a:cubicBezTo>
                  <a:pt x="3292" y="541"/>
                  <a:pt x="3324" y="589"/>
                  <a:pt x="3372" y="589"/>
                </a:cubicBezTo>
                <a:close/>
                <a:moveTo>
                  <a:pt x="3642" y="1814"/>
                </a:moveTo>
                <a:lnTo>
                  <a:pt x="3372" y="1814"/>
                </a:lnTo>
                <a:cubicBezTo>
                  <a:pt x="3324" y="1814"/>
                  <a:pt x="3292" y="1862"/>
                  <a:pt x="3292" y="1893"/>
                </a:cubicBezTo>
                <a:cubicBezTo>
                  <a:pt x="3292" y="1941"/>
                  <a:pt x="3324" y="1973"/>
                  <a:pt x="3372" y="1973"/>
                </a:cubicBezTo>
                <a:lnTo>
                  <a:pt x="3642" y="1973"/>
                </a:lnTo>
                <a:cubicBezTo>
                  <a:pt x="3690" y="1973"/>
                  <a:pt x="3722" y="1941"/>
                  <a:pt x="3722" y="1893"/>
                </a:cubicBezTo>
                <a:cubicBezTo>
                  <a:pt x="3722" y="1862"/>
                  <a:pt x="3690" y="1814"/>
                  <a:pt x="3642" y="1814"/>
                </a:cubicBezTo>
                <a:close/>
                <a:moveTo>
                  <a:pt x="3499" y="2657"/>
                </a:moveTo>
                <a:lnTo>
                  <a:pt x="715" y="2657"/>
                </a:lnTo>
                <a:cubicBezTo>
                  <a:pt x="668" y="2657"/>
                  <a:pt x="636" y="2689"/>
                  <a:pt x="636" y="2736"/>
                </a:cubicBezTo>
                <a:cubicBezTo>
                  <a:pt x="636" y="2784"/>
                  <a:pt x="668" y="2816"/>
                  <a:pt x="715" y="2816"/>
                </a:cubicBezTo>
                <a:lnTo>
                  <a:pt x="3499" y="2816"/>
                </a:lnTo>
                <a:cubicBezTo>
                  <a:pt x="3547" y="2816"/>
                  <a:pt x="3578" y="2784"/>
                  <a:pt x="3578" y="2736"/>
                </a:cubicBezTo>
                <a:cubicBezTo>
                  <a:pt x="3578" y="2689"/>
                  <a:pt x="3547" y="2657"/>
                  <a:pt x="3499" y="2657"/>
                </a:cubicBezTo>
                <a:close/>
                <a:moveTo>
                  <a:pt x="2672" y="3499"/>
                </a:moveTo>
                <a:lnTo>
                  <a:pt x="715" y="3499"/>
                </a:lnTo>
                <a:cubicBezTo>
                  <a:pt x="668" y="3499"/>
                  <a:pt x="636" y="3532"/>
                  <a:pt x="636" y="3579"/>
                </a:cubicBezTo>
                <a:cubicBezTo>
                  <a:pt x="636" y="3627"/>
                  <a:pt x="668" y="3659"/>
                  <a:pt x="715" y="3659"/>
                </a:cubicBezTo>
                <a:lnTo>
                  <a:pt x="2672" y="3659"/>
                </a:lnTo>
                <a:cubicBezTo>
                  <a:pt x="2720" y="3659"/>
                  <a:pt x="2751" y="3627"/>
                  <a:pt x="2751" y="3579"/>
                </a:cubicBezTo>
                <a:cubicBezTo>
                  <a:pt x="2751" y="3532"/>
                  <a:pt x="2720" y="3499"/>
                  <a:pt x="2672" y="3499"/>
                </a:cubicBezTo>
                <a:close/>
                <a:moveTo>
                  <a:pt x="2672" y="3086"/>
                </a:moveTo>
                <a:lnTo>
                  <a:pt x="715" y="3086"/>
                </a:lnTo>
                <a:cubicBezTo>
                  <a:pt x="668" y="3086"/>
                  <a:pt x="636" y="3118"/>
                  <a:pt x="636" y="3166"/>
                </a:cubicBezTo>
                <a:cubicBezTo>
                  <a:pt x="636" y="3198"/>
                  <a:pt x="668" y="3245"/>
                  <a:pt x="715" y="3245"/>
                </a:cubicBezTo>
                <a:lnTo>
                  <a:pt x="2672" y="3245"/>
                </a:lnTo>
                <a:cubicBezTo>
                  <a:pt x="2720" y="3245"/>
                  <a:pt x="2751" y="3198"/>
                  <a:pt x="2751" y="3166"/>
                </a:cubicBezTo>
                <a:cubicBezTo>
                  <a:pt x="2751" y="3118"/>
                  <a:pt x="2720" y="3086"/>
                  <a:pt x="2672" y="308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1" name="Freeform: Shape 2">
            <a:extLst>
              <a:ext uri="{FF2B5EF4-FFF2-40B4-BE49-F238E27FC236}">
                <a16:creationId xmlns:a16="http://schemas.microsoft.com/office/drawing/2014/main" id="{F8EDA707-FA4D-A149-9451-CAA3087F48D5}"/>
              </a:ext>
            </a:extLst>
          </p:cNvPr>
          <p:cNvSpPr/>
          <p:nvPr/>
        </p:nvSpPr>
        <p:spPr>
          <a:xfrm>
            <a:off x="17327912" y="6529305"/>
            <a:ext cx="1980720" cy="1448280"/>
          </a:xfrm>
          <a:custGeom>
            <a:avLst/>
            <a:gdLst/>
            <a:ahLst/>
            <a:cxnLst>
              <a:cxn ang="3cd4">
                <a:pos x="hc" y="t"/>
              </a:cxn>
              <a:cxn ang="cd2">
                <a:pos x="l" y="vc"/>
              </a:cxn>
              <a:cxn ang="cd4">
                <a:pos x="hc" y="b"/>
              </a:cxn>
              <a:cxn ang="0">
                <a:pos x="r" y="vc"/>
              </a:cxn>
            </a:cxnLst>
            <a:rect l="l" t="t" r="r" b="b"/>
            <a:pathLst>
              <a:path w="5503" h="4024">
                <a:moveTo>
                  <a:pt x="605" y="573"/>
                </a:moveTo>
                <a:cubicBezTo>
                  <a:pt x="668" y="573"/>
                  <a:pt x="732" y="509"/>
                  <a:pt x="732" y="445"/>
                </a:cubicBezTo>
                <a:cubicBezTo>
                  <a:pt x="732" y="382"/>
                  <a:pt x="668" y="334"/>
                  <a:pt x="605" y="334"/>
                </a:cubicBezTo>
                <a:cubicBezTo>
                  <a:pt x="541" y="334"/>
                  <a:pt x="494" y="382"/>
                  <a:pt x="494" y="445"/>
                </a:cubicBezTo>
                <a:cubicBezTo>
                  <a:pt x="494" y="509"/>
                  <a:pt x="541" y="573"/>
                  <a:pt x="605" y="573"/>
                </a:cubicBezTo>
                <a:close/>
                <a:moveTo>
                  <a:pt x="1066" y="573"/>
                </a:moveTo>
                <a:cubicBezTo>
                  <a:pt x="1130" y="573"/>
                  <a:pt x="1193" y="509"/>
                  <a:pt x="1193" y="445"/>
                </a:cubicBezTo>
                <a:cubicBezTo>
                  <a:pt x="1193" y="382"/>
                  <a:pt x="1130" y="334"/>
                  <a:pt x="1066" y="334"/>
                </a:cubicBezTo>
                <a:cubicBezTo>
                  <a:pt x="1003" y="334"/>
                  <a:pt x="955" y="382"/>
                  <a:pt x="955" y="445"/>
                </a:cubicBezTo>
                <a:cubicBezTo>
                  <a:pt x="955" y="509"/>
                  <a:pt x="1003" y="573"/>
                  <a:pt x="1066" y="573"/>
                </a:cubicBezTo>
                <a:close/>
                <a:moveTo>
                  <a:pt x="1527" y="573"/>
                </a:moveTo>
                <a:cubicBezTo>
                  <a:pt x="1591" y="573"/>
                  <a:pt x="1654" y="509"/>
                  <a:pt x="1654" y="445"/>
                </a:cubicBezTo>
                <a:cubicBezTo>
                  <a:pt x="1654" y="382"/>
                  <a:pt x="1591" y="334"/>
                  <a:pt x="1527" y="334"/>
                </a:cubicBezTo>
                <a:cubicBezTo>
                  <a:pt x="1464" y="334"/>
                  <a:pt x="1416" y="382"/>
                  <a:pt x="1416" y="445"/>
                </a:cubicBezTo>
                <a:cubicBezTo>
                  <a:pt x="1416" y="509"/>
                  <a:pt x="1464" y="573"/>
                  <a:pt x="1527" y="573"/>
                </a:cubicBezTo>
                <a:close/>
                <a:moveTo>
                  <a:pt x="5424" y="0"/>
                </a:moveTo>
                <a:lnTo>
                  <a:pt x="80" y="0"/>
                </a:lnTo>
                <a:cubicBezTo>
                  <a:pt x="48" y="0"/>
                  <a:pt x="0" y="48"/>
                  <a:pt x="0" y="79"/>
                </a:cubicBezTo>
                <a:lnTo>
                  <a:pt x="0" y="3944"/>
                </a:lnTo>
                <a:cubicBezTo>
                  <a:pt x="0" y="3992"/>
                  <a:pt x="48" y="4024"/>
                  <a:pt x="80" y="4024"/>
                </a:cubicBezTo>
                <a:lnTo>
                  <a:pt x="5424" y="4024"/>
                </a:lnTo>
                <a:cubicBezTo>
                  <a:pt x="5472" y="4024"/>
                  <a:pt x="5503" y="3992"/>
                  <a:pt x="5503" y="3944"/>
                </a:cubicBezTo>
                <a:lnTo>
                  <a:pt x="5503" y="79"/>
                </a:lnTo>
                <a:cubicBezTo>
                  <a:pt x="5503" y="48"/>
                  <a:pt x="5472" y="0"/>
                  <a:pt x="5424" y="0"/>
                </a:cubicBezTo>
                <a:close/>
                <a:moveTo>
                  <a:pt x="5344" y="159"/>
                </a:moveTo>
                <a:lnTo>
                  <a:pt x="5344" y="922"/>
                </a:lnTo>
                <a:lnTo>
                  <a:pt x="5329" y="922"/>
                </a:lnTo>
                <a:lnTo>
                  <a:pt x="175" y="922"/>
                </a:lnTo>
                <a:lnTo>
                  <a:pt x="159" y="922"/>
                </a:lnTo>
                <a:lnTo>
                  <a:pt x="159" y="159"/>
                </a:lnTo>
                <a:close/>
                <a:moveTo>
                  <a:pt x="159" y="3865"/>
                </a:moveTo>
                <a:lnTo>
                  <a:pt x="159" y="1082"/>
                </a:lnTo>
                <a:lnTo>
                  <a:pt x="175" y="1082"/>
                </a:lnTo>
                <a:lnTo>
                  <a:pt x="5329" y="1082"/>
                </a:lnTo>
                <a:lnTo>
                  <a:pt x="5344" y="1082"/>
                </a:lnTo>
                <a:lnTo>
                  <a:pt x="5344" y="3865"/>
                </a:lnTo>
                <a:close/>
                <a:moveTo>
                  <a:pt x="2688" y="1368"/>
                </a:moveTo>
                <a:cubicBezTo>
                  <a:pt x="2068" y="1368"/>
                  <a:pt x="1575" y="1861"/>
                  <a:pt x="1575" y="2481"/>
                </a:cubicBezTo>
                <a:cubicBezTo>
                  <a:pt x="1575" y="3085"/>
                  <a:pt x="2068" y="3594"/>
                  <a:pt x="2688" y="3594"/>
                </a:cubicBezTo>
                <a:cubicBezTo>
                  <a:pt x="3293" y="3594"/>
                  <a:pt x="3802" y="3085"/>
                  <a:pt x="3802" y="2481"/>
                </a:cubicBezTo>
                <a:cubicBezTo>
                  <a:pt x="3802" y="1861"/>
                  <a:pt x="3293" y="1368"/>
                  <a:pt x="2688" y="1368"/>
                </a:cubicBezTo>
                <a:close/>
                <a:moveTo>
                  <a:pt x="2688" y="3436"/>
                </a:moveTo>
                <a:cubicBezTo>
                  <a:pt x="2163" y="3436"/>
                  <a:pt x="1734" y="3006"/>
                  <a:pt x="1734" y="2481"/>
                </a:cubicBezTo>
                <a:cubicBezTo>
                  <a:pt x="1734" y="1956"/>
                  <a:pt x="2163" y="1527"/>
                  <a:pt x="2688" y="1527"/>
                </a:cubicBezTo>
                <a:cubicBezTo>
                  <a:pt x="3213" y="1527"/>
                  <a:pt x="3642" y="1956"/>
                  <a:pt x="3642" y="2481"/>
                </a:cubicBezTo>
                <a:cubicBezTo>
                  <a:pt x="3642" y="3006"/>
                  <a:pt x="3213" y="3436"/>
                  <a:pt x="2688" y="3436"/>
                </a:cubicBezTo>
                <a:close/>
                <a:moveTo>
                  <a:pt x="2943" y="2354"/>
                </a:moveTo>
                <a:lnTo>
                  <a:pt x="2386" y="2354"/>
                </a:lnTo>
                <a:cubicBezTo>
                  <a:pt x="2339" y="2354"/>
                  <a:pt x="2306" y="2386"/>
                  <a:pt x="2306" y="2433"/>
                </a:cubicBezTo>
                <a:cubicBezTo>
                  <a:pt x="2306" y="2481"/>
                  <a:pt x="2339" y="2513"/>
                  <a:pt x="2386" y="2513"/>
                </a:cubicBezTo>
                <a:lnTo>
                  <a:pt x="2943" y="2513"/>
                </a:lnTo>
                <a:cubicBezTo>
                  <a:pt x="2975" y="2513"/>
                  <a:pt x="3022" y="2481"/>
                  <a:pt x="3022" y="2433"/>
                </a:cubicBezTo>
                <a:cubicBezTo>
                  <a:pt x="3022" y="2386"/>
                  <a:pt x="2975" y="2354"/>
                  <a:pt x="2943" y="235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2" name="Freeform: Shape 3">
            <a:extLst>
              <a:ext uri="{FF2B5EF4-FFF2-40B4-BE49-F238E27FC236}">
                <a16:creationId xmlns:a16="http://schemas.microsoft.com/office/drawing/2014/main" id="{6CC4C230-3CC2-214E-8EF8-320A795807A8}"/>
              </a:ext>
            </a:extLst>
          </p:cNvPr>
          <p:cNvSpPr/>
          <p:nvPr/>
        </p:nvSpPr>
        <p:spPr>
          <a:xfrm>
            <a:off x="13710961" y="6529305"/>
            <a:ext cx="1974960" cy="1448280"/>
          </a:xfrm>
          <a:custGeom>
            <a:avLst/>
            <a:gdLst/>
            <a:ahLst/>
            <a:cxnLst>
              <a:cxn ang="3cd4">
                <a:pos x="hc" y="t"/>
              </a:cxn>
              <a:cxn ang="cd2">
                <a:pos x="l" y="vc"/>
              </a:cxn>
              <a:cxn ang="cd4">
                <a:pos x="hc" y="b"/>
              </a:cxn>
              <a:cxn ang="0">
                <a:pos x="r" y="vc"/>
              </a:cxn>
            </a:cxnLst>
            <a:rect l="l" t="t" r="r" b="b"/>
            <a:pathLst>
              <a:path w="5487" h="4024">
                <a:moveTo>
                  <a:pt x="5408" y="0"/>
                </a:moveTo>
                <a:lnTo>
                  <a:pt x="80" y="0"/>
                </a:lnTo>
                <a:cubicBezTo>
                  <a:pt x="32" y="0"/>
                  <a:pt x="0" y="48"/>
                  <a:pt x="0" y="79"/>
                </a:cubicBezTo>
                <a:lnTo>
                  <a:pt x="0" y="3944"/>
                </a:lnTo>
                <a:cubicBezTo>
                  <a:pt x="0" y="3992"/>
                  <a:pt x="32" y="4024"/>
                  <a:pt x="80" y="4024"/>
                </a:cubicBezTo>
                <a:lnTo>
                  <a:pt x="5408" y="4024"/>
                </a:lnTo>
                <a:cubicBezTo>
                  <a:pt x="5456" y="4024"/>
                  <a:pt x="5487" y="3992"/>
                  <a:pt x="5487" y="3944"/>
                </a:cubicBezTo>
                <a:lnTo>
                  <a:pt x="5487" y="79"/>
                </a:lnTo>
                <a:cubicBezTo>
                  <a:pt x="5487" y="48"/>
                  <a:pt x="5456" y="0"/>
                  <a:pt x="5408" y="0"/>
                </a:cubicBezTo>
                <a:close/>
                <a:moveTo>
                  <a:pt x="5329" y="159"/>
                </a:moveTo>
                <a:lnTo>
                  <a:pt x="5329" y="922"/>
                </a:lnTo>
                <a:lnTo>
                  <a:pt x="160" y="922"/>
                </a:lnTo>
                <a:lnTo>
                  <a:pt x="160" y="159"/>
                </a:lnTo>
                <a:close/>
                <a:moveTo>
                  <a:pt x="160" y="3865"/>
                </a:moveTo>
                <a:lnTo>
                  <a:pt x="160" y="1082"/>
                </a:lnTo>
                <a:lnTo>
                  <a:pt x="5329" y="1082"/>
                </a:lnTo>
                <a:lnTo>
                  <a:pt x="5329" y="3865"/>
                </a:lnTo>
                <a:close/>
                <a:moveTo>
                  <a:pt x="827" y="573"/>
                </a:moveTo>
                <a:cubicBezTo>
                  <a:pt x="891" y="573"/>
                  <a:pt x="939" y="509"/>
                  <a:pt x="939" y="445"/>
                </a:cubicBezTo>
                <a:cubicBezTo>
                  <a:pt x="939" y="382"/>
                  <a:pt x="891" y="334"/>
                  <a:pt x="827" y="334"/>
                </a:cubicBezTo>
                <a:cubicBezTo>
                  <a:pt x="764" y="334"/>
                  <a:pt x="716" y="382"/>
                  <a:pt x="716" y="445"/>
                </a:cubicBezTo>
                <a:cubicBezTo>
                  <a:pt x="716" y="509"/>
                  <a:pt x="764" y="573"/>
                  <a:pt x="827" y="573"/>
                </a:cubicBezTo>
                <a:close/>
                <a:moveTo>
                  <a:pt x="1289" y="573"/>
                </a:moveTo>
                <a:cubicBezTo>
                  <a:pt x="1352" y="573"/>
                  <a:pt x="1400" y="509"/>
                  <a:pt x="1400" y="445"/>
                </a:cubicBezTo>
                <a:cubicBezTo>
                  <a:pt x="1400" y="382"/>
                  <a:pt x="1352" y="334"/>
                  <a:pt x="1289" y="334"/>
                </a:cubicBezTo>
                <a:cubicBezTo>
                  <a:pt x="1225" y="334"/>
                  <a:pt x="1178" y="382"/>
                  <a:pt x="1178" y="445"/>
                </a:cubicBezTo>
                <a:cubicBezTo>
                  <a:pt x="1178" y="509"/>
                  <a:pt x="1225" y="573"/>
                  <a:pt x="1289" y="573"/>
                </a:cubicBezTo>
                <a:close/>
                <a:moveTo>
                  <a:pt x="1750" y="573"/>
                </a:moveTo>
                <a:cubicBezTo>
                  <a:pt x="1814" y="573"/>
                  <a:pt x="1861" y="509"/>
                  <a:pt x="1861" y="445"/>
                </a:cubicBezTo>
                <a:cubicBezTo>
                  <a:pt x="1861" y="382"/>
                  <a:pt x="1814" y="334"/>
                  <a:pt x="1750" y="334"/>
                </a:cubicBezTo>
                <a:cubicBezTo>
                  <a:pt x="1687" y="334"/>
                  <a:pt x="1639" y="382"/>
                  <a:pt x="1639" y="445"/>
                </a:cubicBezTo>
                <a:cubicBezTo>
                  <a:pt x="1639" y="509"/>
                  <a:pt x="1687" y="573"/>
                  <a:pt x="1750" y="573"/>
                </a:cubicBezTo>
                <a:close/>
                <a:moveTo>
                  <a:pt x="3355" y="2576"/>
                </a:moveTo>
                <a:lnTo>
                  <a:pt x="2910" y="2927"/>
                </a:lnTo>
                <a:lnTo>
                  <a:pt x="2910" y="1654"/>
                </a:lnTo>
                <a:cubicBezTo>
                  <a:pt x="2910" y="1606"/>
                  <a:pt x="2878" y="1575"/>
                  <a:pt x="2831" y="1575"/>
                </a:cubicBezTo>
                <a:cubicBezTo>
                  <a:pt x="2799" y="1575"/>
                  <a:pt x="2751" y="1606"/>
                  <a:pt x="2751" y="1654"/>
                </a:cubicBezTo>
                <a:lnTo>
                  <a:pt x="2751" y="2927"/>
                </a:lnTo>
                <a:lnTo>
                  <a:pt x="2306" y="2576"/>
                </a:lnTo>
                <a:cubicBezTo>
                  <a:pt x="2274" y="2545"/>
                  <a:pt x="2226" y="2561"/>
                  <a:pt x="2195" y="2593"/>
                </a:cubicBezTo>
                <a:cubicBezTo>
                  <a:pt x="2178" y="2624"/>
                  <a:pt x="2178" y="2672"/>
                  <a:pt x="2210" y="2704"/>
                </a:cubicBezTo>
                <a:lnTo>
                  <a:pt x="2783" y="3165"/>
                </a:lnTo>
                <a:cubicBezTo>
                  <a:pt x="2799" y="3165"/>
                  <a:pt x="2814" y="3181"/>
                  <a:pt x="2831" y="3181"/>
                </a:cubicBezTo>
                <a:cubicBezTo>
                  <a:pt x="2847" y="3181"/>
                  <a:pt x="2862" y="3165"/>
                  <a:pt x="2878" y="3165"/>
                </a:cubicBezTo>
                <a:lnTo>
                  <a:pt x="3451" y="2704"/>
                </a:lnTo>
                <a:cubicBezTo>
                  <a:pt x="3483" y="2672"/>
                  <a:pt x="3499" y="2624"/>
                  <a:pt x="3467" y="2593"/>
                </a:cubicBezTo>
                <a:cubicBezTo>
                  <a:pt x="3435" y="2561"/>
                  <a:pt x="3387" y="2545"/>
                  <a:pt x="3355" y="257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3" name="Freeform: Shape 4">
            <a:extLst>
              <a:ext uri="{FF2B5EF4-FFF2-40B4-BE49-F238E27FC236}">
                <a16:creationId xmlns:a16="http://schemas.microsoft.com/office/drawing/2014/main" id="{BFCFAF0A-10C4-BF4C-BA6D-3FA0CA74CB84}"/>
              </a:ext>
            </a:extLst>
          </p:cNvPr>
          <p:cNvSpPr/>
          <p:nvPr/>
        </p:nvSpPr>
        <p:spPr>
          <a:xfrm>
            <a:off x="9842371" y="6529305"/>
            <a:ext cx="1980720" cy="1448280"/>
          </a:xfrm>
          <a:custGeom>
            <a:avLst/>
            <a:gdLst/>
            <a:ahLst/>
            <a:cxnLst>
              <a:cxn ang="3cd4">
                <a:pos x="hc" y="t"/>
              </a:cxn>
              <a:cxn ang="cd2">
                <a:pos x="l" y="vc"/>
              </a:cxn>
              <a:cxn ang="cd4">
                <a:pos x="hc" y="b"/>
              </a:cxn>
              <a:cxn ang="0">
                <a:pos x="r" y="vc"/>
              </a:cxn>
            </a:cxnLst>
            <a:rect l="l" t="t" r="r" b="b"/>
            <a:pathLst>
              <a:path w="5503" h="4024">
                <a:moveTo>
                  <a:pt x="5424" y="0"/>
                </a:moveTo>
                <a:lnTo>
                  <a:pt x="80" y="0"/>
                </a:lnTo>
                <a:cubicBezTo>
                  <a:pt x="32" y="0"/>
                  <a:pt x="0" y="48"/>
                  <a:pt x="0" y="79"/>
                </a:cubicBezTo>
                <a:lnTo>
                  <a:pt x="0" y="3944"/>
                </a:lnTo>
                <a:cubicBezTo>
                  <a:pt x="0" y="3992"/>
                  <a:pt x="32" y="4024"/>
                  <a:pt x="80" y="4024"/>
                </a:cubicBezTo>
                <a:lnTo>
                  <a:pt x="5424" y="4024"/>
                </a:lnTo>
                <a:cubicBezTo>
                  <a:pt x="5471" y="4024"/>
                  <a:pt x="5503" y="3992"/>
                  <a:pt x="5503" y="3944"/>
                </a:cubicBezTo>
                <a:lnTo>
                  <a:pt x="5503" y="79"/>
                </a:lnTo>
                <a:cubicBezTo>
                  <a:pt x="5503" y="48"/>
                  <a:pt x="5471" y="0"/>
                  <a:pt x="5424" y="0"/>
                </a:cubicBezTo>
                <a:close/>
                <a:moveTo>
                  <a:pt x="5344" y="159"/>
                </a:moveTo>
                <a:lnTo>
                  <a:pt x="5344" y="907"/>
                </a:lnTo>
                <a:lnTo>
                  <a:pt x="5328" y="907"/>
                </a:lnTo>
                <a:lnTo>
                  <a:pt x="175" y="907"/>
                </a:lnTo>
                <a:lnTo>
                  <a:pt x="159" y="907"/>
                </a:lnTo>
                <a:lnTo>
                  <a:pt x="159" y="159"/>
                </a:lnTo>
                <a:close/>
                <a:moveTo>
                  <a:pt x="159" y="3865"/>
                </a:moveTo>
                <a:lnTo>
                  <a:pt x="159" y="1066"/>
                </a:lnTo>
                <a:lnTo>
                  <a:pt x="175" y="1066"/>
                </a:lnTo>
                <a:lnTo>
                  <a:pt x="5328" y="1066"/>
                </a:lnTo>
                <a:lnTo>
                  <a:pt x="5344" y="1066"/>
                </a:lnTo>
                <a:lnTo>
                  <a:pt x="5344" y="3865"/>
                </a:lnTo>
                <a:close/>
                <a:moveTo>
                  <a:pt x="843" y="573"/>
                </a:moveTo>
                <a:cubicBezTo>
                  <a:pt x="907" y="573"/>
                  <a:pt x="954" y="509"/>
                  <a:pt x="954" y="445"/>
                </a:cubicBezTo>
                <a:cubicBezTo>
                  <a:pt x="954" y="382"/>
                  <a:pt x="907" y="334"/>
                  <a:pt x="843" y="334"/>
                </a:cubicBezTo>
                <a:cubicBezTo>
                  <a:pt x="780" y="334"/>
                  <a:pt x="716" y="382"/>
                  <a:pt x="716" y="445"/>
                </a:cubicBezTo>
                <a:cubicBezTo>
                  <a:pt x="716" y="509"/>
                  <a:pt x="780" y="573"/>
                  <a:pt x="843" y="573"/>
                </a:cubicBezTo>
                <a:close/>
                <a:moveTo>
                  <a:pt x="1304" y="573"/>
                </a:moveTo>
                <a:cubicBezTo>
                  <a:pt x="1368" y="573"/>
                  <a:pt x="1416" y="509"/>
                  <a:pt x="1416" y="445"/>
                </a:cubicBezTo>
                <a:cubicBezTo>
                  <a:pt x="1416" y="382"/>
                  <a:pt x="1368" y="334"/>
                  <a:pt x="1304" y="334"/>
                </a:cubicBezTo>
                <a:cubicBezTo>
                  <a:pt x="1241" y="334"/>
                  <a:pt x="1177" y="382"/>
                  <a:pt x="1177" y="445"/>
                </a:cubicBezTo>
                <a:cubicBezTo>
                  <a:pt x="1177" y="509"/>
                  <a:pt x="1241" y="573"/>
                  <a:pt x="1304" y="573"/>
                </a:cubicBezTo>
                <a:close/>
                <a:moveTo>
                  <a:pt x="1766" y="573"/>
                </a:moveTo>
                <a:cubicBezTo>
                  <a:pt x="1829" y="573"/>
                  <a:pt x="1877" y="509"/>
                  <a:pt x="1877" y="445"/>
                </a:cubicBezTo>
                <a:cubicBezTo>
                  <a:pt x="1877" y="382"/>
                  <a:pt x="1829" y="334"/>
                  <a:pt x="1766" y="334"/>
                </a:cubicBezTo>
                <a:cubicBezTo>
                  <a:pt x="1702" y="334"/>
                  <a:pt x="1638" y="382"/>
                  <a:pt x="1638" y="445"/>
                </a:cubicBezTo>
                <a:cubicBezTo>
                  <a:pt x="1638" y="509"/>
                  <a:pt x="1702" y="573"/>
                  <a:pt x="1766" y="573"/>
                </a:cubicBezTo>
                <a:close/>
                <a:moveTo>
                  <a:pt x="3467" y="2306"/>
                </a:moveTo>
                <a:lnTo>
                  <a:pt x="2894" y="1845"/>
                </a:lnTo>
                <a:cubicBezTo>
                  <a:pt x="2862" y="1813"/>
                  <a:pt x="2815" y="1813"/>
                  <a:pt x="2798" y="1845"/>
                </a:cubicBezTo>
                <a:lnTo>
                  <a:pt x="2226" y="2306"/>
                </a:lnTo>
                <a:cubicBezTo>
                  <a:pt x="2194" y="2322"/>
                  <a:pt x="2178" y="2386"/>
                  <a:pt x="2210" y="2418"/>
                </a:cubicBezTo>
                <a:cubicBezTo>
                  <a:pt x="2242" y="2449"/>
                  <a:pt x="2289" y="2449"/>
                  <a:pt x="2321" y="2418"/>
                </a:cubicBezTo>
                <a:lnTo>
                  <a:pt x="2767" y="2067"/>
                </a:lnTo>
                <a:lnTo>
                  <a:pt x="2767" y="3117"/>
                </a:lnTo>
                <a:cubicBezTo>
                  <a:pt x="2767" y="3165"/>
                  <a:pt x="2798" y="3197"/>
                  <a:pt x="2846" y="3197"/>
                </a:cubicBezTo>
                <a:cubicBezTo>
                  <a:pt x="2894" y="3197"/>
                  <a:pt x="2925" y="3165"/>
                  <a:pt x="2925" y="3117"/>
                </a:cubicBezTo>
                <a:lnTo>
                  <a:pt x="2925" y="2067"/>
                </a:lnTo>
                <a:lnTo>
                  <a:pt x="3371" y="2418"/>
                </a:lnTo>
                <a:cubicBezTo>
                  <a:pt x="3371" y="2433"/>
                  <a:pt x="3403" y="2449"/>
                  <a:pt x="3419" y="2449"/>
                </a:cubicBezTo>
                <a:cubicBezTo>
                  <a:pt x="3434" y="2449"/>
                  <a:pt x="3467" y="2433"/>
                  <a:pt x="3482" y="2418"/>
                </a:cubicBezTo>
                <a:cubicBezTo>
                  <a:pt x="3498" y="2386"/>
                  <a:pt x="3498" y="2322"/>
                  <a:pt x="3467" y="230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4" name="Freeform: Shape 5">
            <a:extLst>
              <a:ext uri="{FF2B5EF4-FFF2-40B4-BE49-F238E27FC236}">
                <a16:creationId xmlns:a16="http://schemas.microsoft.com/office/drawing/2014/main" id="{5F539C54-A6E3-4B44-90A1-F9634F52173D}"/>
              </a:ext>
            </a:extLst>
          </p:cNvPr>
          <p:cNvSpPr/>
          <p:nvPr/>
        </p:nvSpPr>
        <p:spPr>
          <a:xfrm>
            <a:off x="5790555" y="6529305"/>
            <a:ext cx="1975320" cy="1448280"/>
          </a:xfrm>
          <a:custGeom>
            <a:avLst/>
            <a:gdLst/>
            <a:ahLst/>
            <a:cxnLst>
              <a:cxn ang="3cd4">
                <a:pos x="hc" y="t"/>
              </a:cxn>
              <a:cxn ang="cd2">
                <a:pos x="l" y="vc"/>
              </a:cxn>
              <a:cxn ang="cd4">
                <a:pos x="hc" y="b"/>
              </a:cxn>
              <a:cxn ang="0">
                <a:pos x="r" y="vc"/>
              </a:cxn>
            </a:cxnLst>
            <a:rect l="l" t="t" r="r" b="b"/>
            <a:pathLst>
              <a:path w="5488" h="4024">
                <a:moveTo>
                  <a:pt x="5408" y="0"/>
                </a:moveTo>
                <a:lnTo>
                  <a:pt x="80" y="0"/>
                </a:lnTo>
                <a:cubicBezTo>
                  <a:pt x="33" y="0"/>
                  <a:pt x="0" y="48"/>
                  <a:pt x="0" y="79"/>
                </a:cubicBezTo>
                <a:lnTo>
                  <a:pt x="0" y="3944"/>
                </a:lnTo>
                <a:cubicBezTo>
                  <a:pt x="0" y="3992"/>
                  <a:pt x="33" y="4024"/>
                  <a:pt x="80" y="4024"/>
                </a:cubicBezTo>
                <a:lnTo>
                  <a:pt x="5408" y="4024"/>
                </a:lnTo>
                <a:cubicBezTo>
                  <a:pt x="5456" y="4024"/>
                  <a:pt x="5488" y="3992"/>
                  <a:pt x="5488" y="3944"/>
                </a:cubicBezTo>
                <a:lnTo>
                  <a:pt x="5488" y="79"/>
                </a:lnTo>
                <a:cubicBezTo>
                  <a:pt x="5488" y="48"/>
                  <a:pt x="5456" y="0"/>
                  <a:pt x="5408" y="0"/>
                </a:cubicBezTo>
                <a:close/>
                <a:moveTo>
                  <a:pt x="5329" y="159"/>
                </a:moveTo>
                <a:lnTo>
                  <a:pt x="5329" y="922"/>
                </a:lnTo>
                <a:lnTo>
                  <a:pt x="160" y="922"/>
                </a:lnTo>
                <a:lnTo>
                  <a:pt x="160" y="159"/>
                </a:lnTo>
                <a:close/>
                <a:moveTo>
                  <a:pt x="160" y="3865"/>
                </a:moveTo>
                <a:lnTo>
                  <a:pt x="160" y="1082"/>
                </a:lnTo>
                <a:lnTo>
                  <a:pt x="5329" y="1082"/>
                </a:lnTo>
                <a:lnTo>
                  <a:pt x="5329" y="3865"/>
                </a:lnTo>
                <a:close/>
                <a:moveTo>
                  <a:pt x="828" y="573"/>
                </a:moveTo>
                <a:cubicBezTo>
                  <a:pt x="891" y="573"/>
                  <a:pt x="955" y="509"/>
                  <a:pt x="955" y="445"/>
                </a:cubicBezTo>
                <a:cubicBezTo>
                  <a:pt x="955" y="382"/>
                  <a:pt x="891" y="334"/>
                  <a:pt x="828" y="334"/>
                </a:cubicBezTo>
                <a:cubicBezTo>
                  <a:pt x="764" y="334"/>
                  <a:pt x="716" y="382"/>
                  <a:pt x="716" y="445"/>
                </a:cubicBezTo>
                <a:cubicBezTo>
                  <a:pt x="716" y="509"/>
                  <a:pt x="764" y="573"/>
                  <a:pt x="828" y="573"/>
                </a:cubicBezTo>
                <a:close/>
                <a:moveTo>
                  <a:pt x="1289" y="573"/>
                </a:moveTo>
                <a:cubicBezTo>
                  <a:pt x="1352" y="573"/>
                  <a:pt x="1400" y="509"/>
                  <a:pt x="1400" y="445"/>
                </a:cubicBezTo>
                <a:cubicBezTo>
                  <a:pt x="1400" y="382"/>
                  <a:pt x="1352" y="334"/>
                  <a:pt x="1289" y="334"/>
                </a:cubicBezTo>
                <a:cubicBezTo>
                  <a:pt x="1225" y="334"/>
                  <a:pt x="1178" y="382"/>
                  <a:pt x="1178" y="445"/>
                </a:cubicBezTo>
                <a:cubicBezTo>
                  <a:pt x="1178" y="509"/>
                  <a:pt x="1225" y="573"/>
                  <a:pt x="1289" y="573"/>
                </a:cubicBezTo>
                <a:close/>
                <a:moveTo>
                  <a:pt x="1750" y="573"/>
                </a:moveTo>
                <a:cubicBezTo>
                  <a:pt x="1814" y="573"/>
                  <a:pt x="1861" y="509"/>
                  <a:pt x="1861" y="445"/>
                </a:cubicBezTo>
                <a:cubicBezTo>
                  <a:pt x="1861" y="382"/>
                  <a:pt x="1814" y="334"/>
                  <a:pt x="1750" y="334"/>
                </a:cubicBezTo>
                <a:cubicBezTo>
                  <a:pt x="1687" y="334"/>
                  <a:pt x="1639" y="382"/>
                  <a:pt x="1639" y="445"/>
                </a:cubicBezTo>
                <a:cubicBezTo>
                  <a:pt x="1639" y="509"/>
                  <a:pt x="1687" y="573"/>
                  <a:pt x="1750" y="573"/>
                </a:cubicBezTo>
                <a:close/>
                <a:moveTo>
                  <a:pt x="4740" y="2290"/>
                </a:moveTo>
                <a:cubicBezTo>
                  <a:pt x="4724" y="2258"/>
                  <a:pt x="4660" y="2258"/>
                  <a:pt x="4629" y="2290"/>
                </a:cubicBezTo>
                <a:lnTo>
                  <a:pt x="4279" y="2640"/>
                </a:lnTo>
                <a:lnTo>
                  <a:pt x="3929" y="2290"/>
                </a:lnTo>
                <a:cubicBezTo>
                  <a:pt x="3897" y="2258"/>
                  <a:pt x="3850" y="2258"/>
                  <a:pt x="3818" y="2290"/>
                </a:cubicBezTo>
                <a:cubicBezTo>
                  <a:pt x="3786" y="2322"/>
                  <a:pt x="3786" y="2370"/>
                  <a:pt x="3818" y="2402"/>
                </a:cubicBezTo>
                <a:lnTo>
                  <a:pt x="4168" y="2751"/>
                </a:lnTo>
                <a:lnTo>
                  <a:pt x="3818" y="3102"/>
                </a:lnTo>
                <a:cubicBezTo>
                  <a:pt x="3786" y="3133"/>
                  <a:pt x="3786" y="3181"/>
                  <a:pt x="3818" y="3213"/>
                </a:cubicBezTo>
                <a:cubicBezTo>
                  <a:pt x="3833" y="3229"/>
                  <a:pt x="3865" y="3245"/>
                  <a:pt x="3881" y="3245"/>
                </a:cubicBezTo>
                <a:cubicBezTo>
                  <a:pt x="3897" y="3245"/>
                  <a:pt x="3913" y="3229"/>
                  <a:pt x="3929" y="3213"/>
                </a:cubicBezTo>
                <a:lnTo>
                  <a:pt x="4279" y="2863"/>
                </a:lnTo>
                <a:lnTo>
                  <a:pt x="4629" y="3213"/>
                </a:lnTo>
                <a:cubicBezTo>
                  <a:pt x="4645" y="3229"/>
                  <a:pt x="4677" y="3245"/>
                  <a:pt x="4693" y="3245"/>
                </a:cubicBezTo>
                <a:cubicBezTo>
                  <a:pt x="4708" y="3245"/>
                  <a:pt x="4740" y="3229"/>
                  <a:pt x="4740" y="3213"/>
                </a:cubicBezTo>
                <a:cubicBezTo>
                  <a:pt x="4772" y="3181"/>
                  <a:pt x="4772" y="3133"/>
                  <a:pt x="4740" y="3102"/>
                </a:cubicBezTo>
                <a:lnTo>
                  <a:pt x="4390" y="2751"/>
                </a:lnTo>
                <a:lnTo>
                  <a:pt x="4740" y="2402"/>
                </a:lnTo>
                <a:cubicBezTo>
                  <a:pt x="4772" y="2370"/>
                  <a:pt x="4772" y="2322"/>
                  <a:pt x="4740" y="229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5" name="Freeform: Shape 6">
            <a:extLst>
              <a:ext uri="{FF2B5EF4-FFF2-40B4-BE49-F238E27FC236}">
                <a16:creationId xmlns:a16="http://schemas.microsoft.com/office/drawing/2014/main" id="{9DBED98C-FD04-FD48-A85D-F0D1B9C18A0F}"/>
              </a:ext>
            </a:extLst>
          </p:cNvPr>
          <p:cNvSpPr/>
          <p:nvPr/>
        </p:nvSpPr>
        <p:spPr>
          <a:xfrm>
            <a:off x="1677872" y="6529305"/>
            <a:ext cx="1981080" cy="1448280"/>
          </a:xfrm>
          <a:custGeom>
            <a:avLst/>
            <a:gdLst/>
            <a:ahLst/>
            <a:cxnLst>
              <a:cxn ang="3cd4">
                <a:pos x="hc" y="t"/>
              </a:cxn>
              <a:cxn ang="cd2">
                <a:pos x="l" y="vc"/>
              </a:cxn>
              <a:cxn ang="cd4">
                <a:pos x="hc" y="b"/>
              </a:cxn>
              <a:cxn ang="0">
                <a:pos x="r" y="vc"/>
              </a:cxn>
            </a:cxnLst>
            <a:rect l="l" t="t" r="r" b="b"/>
            <a:pathLst>
              <a:path w="5504" h="4024">
                <a:moveTo>
                  <a:pt x="80" y="4024"/>
                </a:moveTo>
                <a:lnTo>
                  <a:pt x="5424" y="4024"/>
                </a:lnTo>
                <a:cubicBezTo>
                  <a:pt x="5456" y="4024"/>
                  <a:pt x="5504" y="3992"/>
                  <a:pt x="5504" y="3944"/>
                </a:cubicBezTo>
                <a:lnTo>
                  <a:pt x="5504" y="79"/>
                </a:lnTo>
                <a:cubicBezTo>
                  <a:pt x="5504" y="48"/>
                  <a:pt x="5456" y="0"/>
                  <a:pt x="5424" y="0"/>
                </a:cubicBezTo>
                <a:lnTo>
                  <a:pt x="80" y="0"/>
                </a:lnTo>
                <a:cubicBezTo>
                  <a:pt x="33" y="0"/>
                  <a:pt x="0" y="48"/>
                  <a:pt x="0" y="79"/>
                </a:cubicBezTo>
                <a:lnTo>
                  <a:pt x="0" y="3944"/>
                </a:lnTo>
                <a:cubicBezTo>
                  <a:pt x="0" y="3992"/>
                  <a:pt x="33" y="4024"/>
                  <a:pt x="80" y="4024"/>
                </a:cubicBezTo>
                <a:close/>
                <a:moveTo>
                  <a:pt x="159" y="3865"/>
                </a:moveTo>
                <a:lnTo>
                  <a:pt x="159" y="1082"/>
                </a:lnTo>
                <a:lnTo>
                  <a:pt x="176" y="1082"/>
                </a:lnTo>
                <a:lnTo>
                  <a:pt x="5329" y="1082"/>
                </a:lnTo>
                <a:lnTo>
                  <a:pt x="5345" y="1082"/>
                </a:lnTo>
                <a:lnTo>
                  <a:pt x="5345" y="3865"/>
                </a:lnTo>
                <a:close/>
                <a:moveTo>
                  <a:pt x="5345" y="159"/>
                </a:moveTo>
                <a:lnTo>
                  <a:pt x="5345" y="922"/>
                </a:lnTo>
                <a:lnTo>
                  <a:pt x="5329" y="922"/>
                </a:lnTo>
                <a:lnTo>
                  <a:pt x="176" y="922"/>
                </a:lnTo>
                <a:lnTo>
                  <a:pt x="159" y="922"/>
                </a:lnTo>
                <a:lnTo>
                  <a:pt x="159" y="159"/>
                </a:lnTo>
                <a:close/>
                <a:moveTo>
                  <a:pt x="828" y="573"/>
                </a:moveTo>
                <a:cubicBezTo>
                  <a:pt x="891" y="573"/>
                  <a:pt x="955" y="509"/>
                  <a:pt x="955" y="445"/>
                </a:cubicBezTo>
                <a:cubicBezTo>
                  <a:pt x="955" y="382"/>
                  <a:pt x="891" y="334"/>
                  <a:pt x="828" y="334"/>
                </a:cubicBezTo>
                <a:cubicBezTo>
                  <a:pt x="764" y="334"/>
                  <a:pt x="716" y="382"/>
                  <a:pt x="716" y="445"/>
                </a:cubicBezTo>
                <a:cubicBezTo>
                  <a:pt x="716" y="509"/>
                  <a:pt x="764" y="573"/>
                  <a:pt x="828" y="573"/>
                </a:cubicBezTo>
                <a:close/>
                <a:moveTo>
                  <a:pt x="1289" y="573"/>
                </a:moveTo>
                <a:cubicBezTo>
                  <a:pt x="1352" y="573"/>
                  <a:pt x="1416" y="509"/>
                  <a:pt x="1416" y="445"/>
                </a:cubicBezTo>
                <a:cubicBezTo>
                  <a:pt x="1416" y="382"/>
                  <a:pt x="1352" y="334"/>
                  <a:pt x="1289" y="334"/>
                </a:cubicBezTo>
                <a:cubicBezTo>
                  <a:pt x="1225" y="334"/>
                  <a:pt x="1178" y="382"/>
                  <a:pt x="1178" y="445"/>
                </a:cubicBezTo>
                <a:cubicBezTo>
                  <a:pt x="1178" y="509"/>
                  <a:pt x="1225" y="573"/>
                  <a:pt x="1289" y="573"/>
                </a:cubicBezTo>
                <a:close/>
                <a:moveTo>
                  <a:pt x="1750" y="573"/>
                </a:moveTo>
                <a:cubicBezTo>
                  <a:pt x="1813" y="573"/>
                  <a:pt x="1861" y="509"/>
                  <a:pt x="1861" y="445"/>
                </a:cubicBezTo>
                <a:cubicBezTo>
                  <a:pt x="1861" y="382"/>
                  <a:pt x="1813" y="334"/>
                  <a:pt x="1750" y="334"/>
                </a:cubicBezTo>
                <a:cubicBezTo>
                  <a:pt x="1687" y="334"/>
                  <a:pt x="1639" y="382"/>
                  <a:pt x="1639" y="445"/>
                </a:cubicBezTo>
                <a:cubicBezTo>
                  <a:pt x="1639" y="509"/>
                  <a:pt x="1687" y="573"/>
                  <a:pt x="1750" y="573"/>
                </a:cubicBezTo>
                <a:close/>
                <a:moveTo>
                  <a:pt x="4772" y="2767"/>
                </a:moveTo>
                <a:lnTo>
                  <a:pt x="3675" y="2767"/>
                </a:lnTo>
                <a:cubicBezTo>
                  <a:pt x="3627" y="2767"/>
                  <a:pt x="3595" y="2799"/>
                  <a:pt x="3595" y="2847"/>
                </a:cubicBezTo>
                <a:cubicBezTo>
                  <a:pt x="3595" y="2894"/>
                  <a:pt x="3627" y="2927"/>
                  <a:pt x="3675" y="2927"/>
                </a:cubicBezTo>
                <a:lnTo>
                  <a:pt x="4772" y="2927"/>
                </a:lnTo>
                <a:cubicBezTo>
                  <a:pt x="4820" y="2927"/>
                  <a:pt x="4851" y="2894"/>
                  <a:pt x="4851" y="2847"/>
                </a:cubicBezTo>
                <a:cubicBezTo>
                  <a:pt x="4851" y="2799"/>
                  <a:pt x="4820" y="2767"/>
                  <a:pt x="4772" y="276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6" name="Freeform: Shape 7">
            <a:extLst>
              <a:ext uri="{FF2B5EF4-FFF2-40B4-BE49-F238E27FC236}">
                <a16:creationId xmlns:a16="http://schemas.microsoft.com/office/drawing/2014/main" id="{778516DC-4D1E-B34C-A516-1F710E7EE242}"/>
              </a:ext>
            </a:extLst>
          </p:cNvPr>
          <p:cNvSpPr/>
          <p:nvPr/>
        </p:nvSpPr>
        <p:spPr>
          <a:xfrm>
            <a:off x="21064916" y="3253557"/>
            <a:ext cx="1981080" cy="1448280"/>
          </a:xfrm>
          <a:custGeom>
            <a:avLst/>
            <a:gdLst/>
            <a:ahLst/>
            <a:cxnLst>
              <a:cxn ang="3cd4">
                <a:pos x="hc" y="t"/>
              </a:cxn>
              <a:cxn ang="cd2">
                <a:pos x="l" y="vc"/>
              </a:cxn>
              <a:cxn ang="cd4">
                <a:pos x="hc" y="b"/>
              </a:cxn>
              <a:cxn ang="0">
                <a:pos x="r" y="vc"/>
              </a:cxn>
            </a:cxnLst>
            <a:rect l="l" t="t" r="r" b="b"/>
            <a:pathLst>
              <a:path w="5504" h="4024">
                <a:moveTo>
                  <a:pt x="5424" y="4024"/>
                </a:moveTo>
                <a:cubicBezTo>
                  <a:pt x="5456" y="4024"/>
                  <a:pt x="5504" y="3992"/>
                  <a:pt x="5504" y="3944"/>
                </a:cubicBezTo>
                <a:lnTo>
                  <a:pt x="5504" y="79"/>
                </a:lnTo>
                <a:cubicBezTo>
                  <a:pt x="5504" y="48"/>
                  <a:pt x="5456" y="0"/>
                  <a:pt x="5424" y="0"/>
                </a:cubicBezTo>
                <a:lnTo>
                  <a:pt x="80" y="0"/>
                </a:lnTo>
                <a:cubicBezTo>
                  <a:pt x="32" y="0"/>
                  <a:pt x="0" y="48"/>
                  <a:pt x="0" y="79"/>
                </a:cubicBezTo>
                <a:lnTo>
                  <a:pt x="0" y="3944"/>
                </a:lnTo>
                <a:cubicBezTo>
                  <a:pt x="0" y="3992"/>
                  <a:pt x="32" y="4024"/>
                  <a:pt x="80" y="4024"/>
                </a:cubicBezTo>
                <a:close/>
                <a:moveTo>
                  <a:pt x="160" y="3865"/>
                </a:moveTo>
                <a:lnTo>
                  <a:pt x="160" y="1082"/>
                </a:lnTo>
                <a:lnTo>
                  <a:pt x="175" y="1082"/>
                </a:lnTo>
                <a:lnTo>
                  <a:pt x="5329" y="1082"/>
                </a:lnTo>
                <a:lnTo>
                  <a:pt x="5344" y="1082"/>
                </a:lnTo>
                <a:lnTo>
                  <a:pt x="5344" y="3865"/>
                </a:lnTo>
                <a:close/>
                <a:moveTo>
                  <a:pt x="5344" y="159"/>
                </a:moveTo>
                <a:lnTo>
                  <a:pt x="5344" y="922"/>
                </a:lnTo>
                <a:lnTo>
                  <a:pt x="5329" y="922"/>
                </a:lnTo>
                <a:lnTo>
                  <a:pt x="175" y="922"/>
                </a:lnTo>
                <a:lnTo>
                  <a:pt x="160" y="922"/>
                </a:lnTo>
                <a:lnTo>
                  <a:pt x="160" y="159"/>
                </a:lnTo>
                <a:close/>
                <a:moveTo>
                  <a:pt x="827" y="573"/>
                </a:moveTo>
                <a:cubicBezTo>
                  <a:pt x="891" y="573"/>
                  <a:pt x="955" y="509"/>
                  <a:pt x="955" y="445"/>
                </a:cubicBezTo>
                <a:cubicBezTo>
                  <a:pt x="955" y="382"/>
                  <a:pt x="891" y="334"/>
                  <a:pt x="827" y="334"/>
                </a:cubicBezTo>
                <a:cubicBezTo>
                  <a:pt x="764" y="334"/>
                  <a:pt x="716" y="382"/>
                  <a:pt x="716" y="445"/>
                </a:cubicBezTo>
                <a:cubicBezTo>
                  <a:pt x="716" y="509"/>
                  <a:pt x="764" y="573"/>
                  <a:pt x="827" y="573"/>
                </a:cubicBezTo>
                <a:close/>
                <a:moveTo>
                  <a:pt x="1288" y="573"/>
                </a:moveTo>
                <a:cubicBezTo>
                  <a:pt x="1352" y="573"/>
                  <a:pt x="1416" y="509"/>
                  <a:pt x="1416" y="445"/>
                </a:cubicBezTo>
                <a:cubicBezTo>
                  <a:pt x="1416" y="382"/>
                  <a:pt x="1352" y="334"/>
                  <a:pt x="1288" y="334"/>
                </a:cubicBezTo>
                <a:cubicBezTo>
                  <a:pt x="1225" y="334"/>
                  <a:pt x="1177" y="382"/>
                  <a:pt x="1177" y="445"/>
                </a:cubicBezTo>
                <a:cubicBezTo>
                  <a:pt x="1177" y="509"/>
                  <a:pt x="1225" y="573"/>
                  <a:pt x="1288" y="573"/>
                </a:cubicBezTo>
                <a:close/>
                <a:moveTo>
                  <a:pt x="1750" y="573"/>
                </a:moveTo>
                <a:cubicBezTo>
                  <a:pt x="1814" y="573"/>
                  <a:pt x="1877" y="509"/>
                  <a:pt x="1877" y="445"/>
                </a:cubicBezTo>
                <a:cubicBezTo>
                  <a:pt x="1877" y="382"/>
                  <a:pt x="1814" y="334"/>
                  <a:pt x="1750" y="334"/>
                </a:cubicBezTo>
                <a:cubicBezTo>
                  <a:pt x="1686" y="334"/>
                  <a:pt x="1639" y="382"/>
                  <a:pt x="1639" y="445"/>
                </a:cubicBezTo>
                <a:cubicBezTo>
                  <a:pt x="1639" y="509"/>
                  <a:pt x="1686" y="573"/>
                  <a:pt x="1750" y="573"/>
                </a:cubicBezTo>
                <a:close/>
                <a:moveTo>
                  <a:pt x="4963" y="2767"/>
                </a:moveTo>
                <a:lnTo>
                  <a:pt x="4390" y="2767"/>
                </a:lnTo>
                <a:lnTo>
                  <a:pt x="4390" y="2195"/>
                </a:lnTo>
                <a:cubicBezTo>
                  <a:pt x="4390" y="2163"/>
                  <a:pt x="4358" y="2115"/>
                  <a:pt x="4311" y="2115"/>
                </a:cubicBezTo>
                <a:cubicBezTo>
                  <a:pt x="4263" y="2115"/>
                  <a:pt x="4231" y="2163"/>
                  <a:pt x="4231" y="2195"/>
                </a:cubicBezTo>
                <a:lnTo>
                  <a:pt x="4231" y="2767"/>
                </a:lnTo>
                <a:lnTo>
                  <a:pt x="3674" y="2767"/>
                </a:lnTo>
                <a:cubicBezTo>
                  <a:pt x="3627" y="2767"/>
                  <a:pt x="3595" y="2799"/>
                  <a:pt x="3595" y="2847"/>
                </a:cubicBezTo>
                <a:cubicBezTo>
                  <a:pt x="3595" y="2894"/>
                  <a:pt x="3627" y="2927"/>
                  <a:pt x="3674" y="2927"/>
                </a:cubicBezTo>
                <a:lnTo>
                  <a:pt x="4231" y="2927"/>
                </a:lnTo>
                <a:lnTo>
                  <a:pt x="4231" y="3483"/>
                </a:lnTo>
                <a:cubicBezTo>
                  <a:pt x="4231" y="3531"/>
                  <a:pt x="4263" y="3563"/>
                  <a:pt x="4311" y="3563"/>
                </a:cubicBezTo>
                <a:cubicBezTo>
                  <a:pt x="4358" y="3563"/>
                  <a:pt x="4390" y="3531"/>
                  <a:pt x="4390" y="3483"/>
                </a:cubicBezTo>
                <a:lnTo>
                  <a:pt x="4390" y="2927"/>
                </a:lnTo>
                <a:lnTo>
                  <a:pt x="4963" y="2927"/>
                </a:lnTo>
                <a:cubicBezTo>
                  <a:pt x="4995" y="2927"/>
                  <a:pt x="5042" y="2894"/>
                  <a:pt x="5042" y="2847"/>
                </a:cubicBezTo>
                <a:cubicBezTo>
                  <a:pt x="5042" y="2799"/>
                  <a:pt x="4995" y="2767"/>
                  <a:pt x="4963" y="276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7" name="Freeform: Shape 8">
            <a:extLst>
              <a:ext uri="{FF2B5EF4-FFF2-40B4-BE49-F238E27FC236}">
                <a16:creationId xmlns:a16="http://schemas.microsoft.com/office/drawing/2014/main" id="{B9359ABB-CA3F-E74B-8940-A5FDA5DA5F1E}"/>
              </a:ext>
            </a:extLst>
          </p:cNvPr>
          <p:cNvSpPr/>
          <p:nvPr/>
        </p:nvSpPr>
        <p:spPr>
          <a:xfrm>
            <a:off x="9842371" y="3225046"/>
            <a:ext cx="1980720" cy="1454040"/>
          </a:xfrm>
          <a:custGeom>
            <a:avLst/>
            <a:gdLst/>
            <a:ahLst/>
            <a:cxnLst>
              <a:cxn ang="3cd4">
                <a:pos x="hc" y="t"/>
              </a:cxn>
              <a:cxn ang="cd2">
                <a:pos x="l" y="vc"/>
              </a:cxn>
              <a:cxn ang="cd4">
                <a:pos x="hc" y="b"/>
              </a:cxn>
              <a:cxn ang="0">
                <a:pos x="r" y="vc"/>
              </a:cxn>
            </a:cxnLst>
            <a:rect l="l" t="t" r="r" b="b"/>
            <a:pathLst>
              <a:path w="5503" h="4040">
                <a:moveTo>
                  <a:pt x="5424" y="0"/>
                </a:moveTo>
                <a:lnTo>
                  <a:pt x="80" y="0"/>
                </a:lnTo>
                <a:cubicBezTo>
                  <a:pt x="32" y="0"/>
                  <a:pt x="0" y="48"/>
                  <a:pt x="0" y="80"/>
                </a:cubicBezTo>
                <a:lnTo>
                  <a:pt x="0" y="3960"/>
                </a:lnTo>
                <a:cubicBezTo>
                  <a:pt x="0" y="3992"/>
                  <a:pt x="32" y="4040"/>
                  <a:pt x="80" y="4040"/>
                </a:cubicBezTo>
                <a:lnTo>
                  <a:pt x="5424" y="4040"/>
                </a:lnTo>
                <a:cubicBezTo>
                  <a:pt x="5455" y="4040"/>
                  <a:pt x="5503" y="3992"/>
                  <a:pt x="5503" y="3960"/>
                </a:cubicBezTo>
                <a:lnTo>
                  <a:pt x="5503" y="80"/>
                </a:lnTo>
                <a:cubicBezTo>
                  <a:pt x="5503" y="48"/>
                  <a:pt x="5455" y="0"/>
                  <a:pt x="5424" y="0"/>
                </a:cubicBezTo>
                <a:close/>
                <a:moveTo>
                  <a:pt x="5344" y="159"/>
                </a:moveTo>
                <a:lnTo>
                  <a:pt x="5344" y="923"/>
                </a:lnTo>
                <a:lnTo>
                  <a:pt x="5328" y="923"/>
                </a:lnTo>
                <a:lnTo>
                  <a:pt x="175" y="923"/>
                </a:lnTo>
                <a:lnTo>
                  <a:pt x="159" y="923"/>
                </a:lnTo>
                <a:lnTo>
                  <a:pt x="159" y="159"/>
                </a:lnTo>
                <a:close/>
                <a:moveTo>
                  <a:pt x="159" y="3881"/>
                </a:moveTo>
                <a:lnTo>
                  <a:pt x="159" y="1082"/>
                </a:lnTo>
                <a:lnTo>
                  <a:pt x="175" y="1082"/>
                </a:lnTo>
                <a:lnTo>
                  <a:pt x="5328" y="1082"/>
                </a:lnTo>
                <a:lnTo>
                  <a:pt x="5344" y="1082"/>
                </a:lnTo>
                <a:lnTo>
                  <a:pt x="5344" y="3881"/>
                </a:lnTo>
                <a:close/>
                <a:moveTo>
                  <a:pt x="843" y="573"/>
                </a:moveTo>
                <a:cubicBezTo>
                  <a:pt x="907" y="573"/>
                  <a:pt x="954" y="525"/>
                  <a:pt x="954" y="461"/>
                </a:cubicBezTo>
                <a:cubicBezTo>
                  <a:pt x="954" y="398"/>
                  <a:pt x="907" y="334"/>
                  <a:pt x="843" y="334"/>
                </a:cubicBezTo>
                <a:cubicBezTo>
                  <a:pt x="780" y="334"/>
                  <a:pt x="716" y="398"/>
                  <a:pt x="716" y="461"/>
                </a:cubicBezTo>
                <a:cubicBezTo>
                  <a:pt x="716" y="525"/>
                  <a:pt x="780" y="573"/>
                  <a:pt x="843" y="573"/>
                </a:cubicBezTo>
                <a:close/>
                <a:moveTo>
                  <a:pt x="1289" y="573"/>
                </a:moveTo>
                <a:cubicBezTo>
                  <a:pt x="1352" y="573"/>
                  <a:pt x="1416" y="525"/>
                  <a:pt x="1416" y="461"/>
                </a:cubicBezTo>
                <a:cubicBezTo>
                  <a:pt x="1416" y="398"/>
                  <a:pt x="1352" y="334"/>
                  <a:pt x="1289" y="334"/>
                </a:cubicBezTo>
                <a:cubicBezTo>
                  <a:pt x="1225" y="334"/>
                  <a:pt x="1177" y="398"/>
                  <a:pt x="1177" y="461"/>
                </a:cubicBezTo>
                <a:cubicBezTo>
                  <a:pt x="1177" y="525"/>
                  <a:pt x="1225" y="573"/>
                  <a:pt x="1289" y="573"/>
                </a:cubicBezTo>
                <a:close/>
                <a:moveTo>
                  <a:pt x="1750" y="573"/>
                </a:moveTo>
                <a:cubicBezTo>
                  <a:pt x="1813" y="573"/>
                  <a:pt x="1877" y="525"/>
                  <a:pt x="1877" y="461"/>
                </a:cubicBezTo>
                <a:cubicBezTo>
                  <a:pt x="1877" y="398"/>
                  <a:pt x="1813" y="334"/>
                  <a:pt x="1750" y="334"/>
                </a:cubicBezTo>
                <a:cubicBezTo>
                  <a:pt x="1686" y="334"/>
                  <a:pt x="1638" y="398"/>
                  <a:pt x="1638" y="461"/>
                </a:cubicBezTo>
                <a:cubicBezTo>
                  <a:pt x="1638" y="525"/>
                  <a:pt x="1686" y="573"/>
                  <a:pt x="1750" y="57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8" name="Freeform: Shape 9">
            <a:extLst>
              <a:ext uri="{FF2B5EF4-FFF2-40B4-BE49-F238E27FC236}">
                <a16:creationId xmlns:a16="http://schemas.microsoft.com/office/drawing/2014/main" id="{390990AA-6E03-9D40-9B40-37B04EC18D21}"/>
              </a:ext>
            </a:extLst>
          </p:cNvPr>
          <p:cNvSpPr/>
          <p:nvPr/>
        </p:nvSpPr>
        <p:spPr>
          <a:xfrm>
            <a:off x="1678232" y="9986128"/>
            <a:ext cx="1980720" cy="1448280"/>
          </a:xfrm>
          <a:custGeom>
            <a:avLst/>
            <a:gdLst/>
            <a:ahLst/>
            <a:cxnLst>
              <a:cxn ang="3cd4">
                <a:pos x="hc" y="t"/>
              </a:cxn>
              <a:cxn ang="cd2">
                <a:pos x="l" y="vc"/>
              </a:cxn>
              <a:cxn ang="cd4">
                <a:pos x="hc" y="b"/>
              </a:cxn>
              <a:cxn ang="0">
                <a:pos x="r" y="vc"/>
              </a:cxn>
            </a:cxnLst>
            <a:rect l="l" t="t" r="r" b="b"/>
            <a:pathLst>
              <a:path w="5503" h="4024">
                <a:moveTo>
                  <a:pt x="3134" y="2991"/>
                </a:moveTo>
                <a:cubicBezTo>
                  <a:pt x="2879" y="3261"/>
                  <a:pt x="2450" y="3261"/>
                  <a:pt x="2195" y="2991"/>
                </a:cubicBezTo>
                <a:cubicBezTo>
                  <a:pt x="2068" y="2879"/>
                  <a:pt x="2004" y="2705"/>
                  <a:pt x="2004" y="2529"/>
                </a:cubicBezTo>
                <a:cubicBezTo>
                  <a:pt x="2004" y="2402"/>
                  <a:pt x="2036" y="2275"/>
                  <a:pt x="2116" y="2164"/>
                </a:cubicBezTo>
                <a:lnTo>
                  <a:pt x="2179" y="2497"/>
                </a:lnTo>
                <a:cubicBezTo>
                  <a:pt x="2179" y="2545"/>
                  <a:pt x="2211" y="2577"/>
                  <a:pt x="2259" y="2577"/>
                </a:cubicBezTo>
                <a:lnTo>
                  <a:pt x="2275" y="2561"/>
                </a:lnTo>
                <a:cubicBezTo>
                  <a:pt x="2306" y="2561"/>
                  <a:pt x="2339" y="2514"/>
                  <a:pt x="2339" y="2482"/>
                </a:cubicBezTo>
                <a:lnTo>
                  <a:pt x="2243" y="1957"/>
                </a:lnTo>
                <a:cubicBezTo>
                  <a:pt x="2227" y="1925"/>
                  <a:pt x="2195" y="1893"/>
                  <a:pt x="2163" y="1893"/>
                </a:cubicBezTo>
                <a:lnTo>
                  <a:pt x="1702" y="1845"/>
                </a:lnTo>
                <a:cubicBezTo>
                  <a:pt x="1655" y="1845"/>
                  <a:pt x="1622" y="1877"/>
                  <a:pt x="1607" y="1925"/>
                </a:cubicBezTo>
                <a:cubicBezTo>
                  <a:pt x="1607" y="1957"/>
                  <a:pt x="1639" y="2005"/>
                  <a:pt x="1686" y="2005"/>
                </a:cubicBezTo>
                <a:lnTo>
                  <a:pt x="2004" y="2036"/>
                </a:lnTo>
                <a:cubicBezTo>
                  <a:pt x="1909" y="2179"/>
                  <a:pt x="1845" y="2354"/>
                  <a:pt x="1845" y="2529"/>
                </a:cubicBezTo>
                <a:cubicBezTo>
                  <a:pt x="1845" y="2752"/>
                  <a:pt x="1925" y="2959"/>
                  <a:pt x="2084" y="3102"/>
                </a:cubicBezTo>
                <a:cubicBezTo>
                  <a:pt x="2243" y="3277"/>
                  <a:pt x="2450" y="3357"/>
                  <a:pt x="2672" y="3357"/>
                </a:cubicBezTo>
                <a:cubicBezTo>
                  <a:pt x="2879" y="3357"/>
                  <a:pt x="3086" y="3277"/>
                  <a:pt x="3245" y="3102"/>
                </a:cubicBezTo>
                <a:cubicBezTo>
                  <a:pt x="3277" y="3086"/>
                  <a:pt x="3277" y="3023"/>
                  <a:pt x="3245" y="2991"/>
                </a:cubicBezTo>
                <a:cubicBezTo>
                  <a:pt x="3213" y="2959"/>
                  <a:pt x="3166" y="2959"/>
                  <a:pt x="3134" y="2991"/>
                </a:cubicBezTo>
                <a:close/>
                <a:moveTo>
                  <a:pt x="3897" y="2895"/>
                </a:moveTo>
                <a:lnTo>
                  <a:pt x="3547" y="2832"/>
                </a:lnTo>
                <a:cubicBezTo>
                  <a:pt x="3786" y="2514"/>
                  <a:pt x="3770" y="2036"/>
                  <a:pt x="3467" y="1750"/>
                </a:cubicBezTo>
                <a:cubicBezTo>
                  <a:pt x="3149" y="1433"/>
                  <a:pt x="2625" y="1433"/>
                  <a:pt x="2306" y="1750"/>
                </a:cubicBezTo>
                <a:cubicBezTo>
                  <a:pt x="2275" y="1782"/>
                  <a:pt x="2275" y="1830"/>
                  <a:pt x="2306" y="1861"/>
                </a:cubicBezTo>
                <a:cubicBezTo>
                  <a:pt x="2339" y="1893"/>
                  <a:pt x="2386" y="1893"/>
                  <a:pt x="2418" y="1861"/>
                </a:cubicBezTo>
                <a:cubicBezTo>
                  <a:pt x="2672" y="1607"/>
                  <a:pt x="3102" y="1607"/>
                  <a:pt x="3356" y="1861"/>
                </a:cubicBezTo>
                <a:cubicBezTo>
                  <a:pt x="3595" y="2084"/>
                  <a:pt x="3611" y="2450"/>
                  <a:pt x="3436" y="2705"/>
                </a:cubicBezTo>
                <a:lnTo>
                  <a:pt x="3340" y="2339"/>
                </a:lnTo>
                <a:cubicBezTo>
                  <a:pt x="3324" y="2291"/>
                  <a:pt x="3277" y="2259"/>
                  <a:pt x="3245" y="2275"/>
                </a:cubicBezTo>
                <a:cubicBezTo>
                  <a:pt x="3197" y="2291"/>
                  <a:pt x="3166" y="2323"/>
                  <a:pt x="3181" y="2370"/>
                </a:cubicBezTo>
                <a:lnTo>
                  <a:pt x="3324" y="2911"/>
                </a:lnTo>
                <a:cubicBezTo>
                  <a:pt x="3324" y="2927"/>
                  <a:pt x="3356" y="2959"/>
                  <a:pt x="3388" y="2959"/>
                </a:cubicBezTo>
                <a:lnTo>
                  <a:pt x="3865" y="3054"/>
                </a:lnTo>
                <a:lnTo>
                  <a:pt x="3881" y="3054"/>
                </a:lnTo>
                <a:cubicBezTo>
                  <a:pt x="3929" y="3054"/>
                  <a:pt x="3961" y="3038"/>
                  <a:pt x="3961" y="2991"/>
                </a:cubicBezTo>
                <a:cubicBezTo>
                  <a:pt x="3976" y="2959"/>
                  <a:pt x="3945" y="2911"/>
                  <a:pt x="3897" y="2895"/>
                </a:cubicBezTo>
                <a:close/>
                <a:moveTo>
                  <a:pt x="80" y="4024"/>
                </a:moveTo>
                <a:lnTo>
                  <a:pt x="5424" y="4024"/>
                </a:lnTo>
                <a:cubicBezTo>
                  <a:pt x="5456" y="4024"/>
                  <a:pt x="5503" y="3993"/>
                  <a:pt x="5503" y="3945"/>
                </a:cubicBezTo>
                <a:lnTo>
                  <a:pt x="5503" y="80"/>
                </a:lnTo>
                <a:cubicBezTo>
                  <a:pt x="5503" y="32"/>
                  <a:pt x="5456" y="0"/>
                  <a:pt x="5424" y="0"/>
                </a:cubicBezTo>
                <a:lnTo>
                  <a:pt x="80" y="0"/>
                </a:lnTo>
                <a:cubicBezTo>
                  <a:pt x="32" y="0"/>
                  <a:pt x="0" y="32"/>
                  <a:pt x="0" y="80"/>
                </a:cubicBezTo>
                <a:lnTo>
                  <a:pt x="0" y="3945"/>
                </a:lnTo>
                <a:cubicBezTo>
                  <a:pt x="0" y="3993"/>
                  <a:pt x="32" y="4024"/>
                  <a:pt x="80" y="4024"/>
                </a:cubicBezTo>
                <a:close/>
                <a:moveTo>
                  <a:pt x="159" y="3865"/>
                </a:moveTo>
                <a:lnTo>
                  <a:pt x="159" y="1082"/>
                </a:lnTo>
                <a:lnTo>
                  <a:pt x="175" y="1082"/>
                </a:lnTo>
                <a:lnTo>
                  <a:pt x="5329" y="1082"/>
                </a:lnTo>
                <a:lnTo>
                  <a:pt x="5344" y="1082"/>
                </a:lnTo>
                <a:lnTo>
                  <a:pt x="5344" y="3865"/>
                </a:lnTo>
                <a:close/>
                <a:moveTo>
                  <a:pt x="5344" y="160"/>
                </a:moveTo>
                <a:lnTo>
                  <a:pt x="5344" y="923"/>
                </a:lnTo>
                <a:lnTo>
                  <a:pt x="5329" y="923"/>
                </a:lnTo>
                <a:lnTo>
                  <a:pt x="175" y="923"/>
                </a:lnTo>
                <a:lnTo>
                  <a:pt x="159" y="923"/>
                </a:lnTo>
                <a:lnTo>
                  <a:pt x="159" y="160"/>
                </a:lnTo>
                <a:close/>
                <a:moveTo>
                  <a:pt x="827" y="557"/>
                </a:moveTo>
                <a:cubicBezTo>
                  <a:pt x="891" y="557"/>
                  <a:pt x="955" y="509"/>
                  <a:pt x="955" y="446"/>
                </a:cubicBezTo>
                <a:cubicBezTo>
                  <a:pt x="955" y="382"/>
                  <a:pt x="891" y="334"/>
                  <a:pt x="827" y="334"/>
                </a:cubicBezTo>
                <a:cubicBezTo>
                  <a:pt x="764" y="334"/>
                  <a:pt x="716" y="382"/>
                  <a:pt x="716" y="446"/>
                </a:cubicBezTo>
                <a:cubicBezTo>
                  <a:pt x="716" y="509"/>
                  <a:pt x="764" y="557"/>
                  <a:pt x="827" y="557"/>
                </a:cubicBezTo>
                <a:close/>
                <a:moveTo>
                  <a:pt x="1289" y="557"/>
                </a:moveTo>
                <a:cubicBezTo>
                  <a:pt x="1352" y="557"/>
                  <a:pt x="1416" y="509"/>
                  <a:pt x="1416" y="446"/>
                </a:cubicBezTo>
                <a:cubicBezTo>
                  <a:pt x="1416" y="382"/>
                  <a:pt x="1352" y="334"/>
                  <a:pt x="1289" y="334"/>
                </a:cubicBezTo>
                <a:cubicBezTo>
                  <a:pt x="1225" y="334"/>
                  <a:pt x="1177" y="382"/>
                  <a:pt x="1177" y="446"/>
                </a:cubicBezTo>
                <a:cubicBezTo>
                  <a:pt x="1177" y="509"/>
                  <a:pt x="1225" y="557"/>
                  <a:pt x="1289" y="557"/>
                </a:cubicBezTo>
                <a:close/>
                <a:moveTo>
                  <a:pt x="1750" y="557"/>
                </a:moveTo>
                <a:cubicBezTo>
                  <a:pt x="1813" y="557"/>
                  <a:pt x="1861" y="509"/>
                  <a:pt x="1861" y="446"/>
                </a:cubicBezTo>
                <a:cubicBezTo>
                  <a:pt x="1861" y="382"/>
                  <a:pt x="1813" y="334"/>
                  <a:pt x="1750" y="334"/>
                </a:cubicBezTo>
                <a:cubicBezTo>
                  <a:pt x="1686" y="334"/>
                  <a:pt x="1639" y="382"/>
                  <a:pt x="1639" y="446"/>
                </a:cubicBezTo>
                <a:cubicBezTo>
                  <a:pt x="1639" y="509"/>
                  <a:pt x="1686" y="557"/>
                  <a:pt x="1750" y="55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99" name="Freeform: Shape 10">
            <a:extLst>
              <a:ext uri="{FF2B5EF4-FFF2-40B4-BE49-F238E27FC236}">
                <a16:creationId xmlns:a16="http://schemas.microsoft.com/office/drawing/2014/main" id="{4A926B1C-F068-C54A-A71C-14120A066B1A}"/>
              </a:ext>
            </a:extLst>
          </p:cNvPr>
          <p:cNvSpPr/>
          <p:nvPr/>
        </p:nvSpPr>
        <p:spPr>
          <a:xfrm>
            <a:off x="13654127" y="9917728"/>
            <a:ext cx="1974960" cy="1447919"/>
          </a:xfrm>
          <a:custGeom>
            <a:avLst/>
            <a:gdLst/>
            <a:ahLst/>
            <a:cxnLst>
              <a:cxn ang="3cd4">
                <a:pos x="hc" y="t"/>
              </a:cxn>
              <a:cxn ang="cd2">
                <a:pos x="l" y="vc"/>
              </a:cxn>
              <a:cxn ang="cd4">
                <a:pos x="hc" y="b"/>
              </a:cxn>
              <a:cxn ang="0">
                <a:pos x="r" y="vc"/>
              </a:cxn>
            </a:cxnLst>
            <a:rect l="l" t="t" r="r" b="b"/>
            <a:pathLst>
              <a:path w="5487" h="4023">
                <a:moveTo>
                  <a:pt x="4740" y="2210"/>
                </a:moveTo>
                <a:lnTo>
                  <a:pt x="4485" y="2465"/>
                </a:lnTo>
                <a:cubicBezTo>
                  <a:pt x="4358" y="2290"/>
                  <a:pt x="4151" y="2178"/>
                  <a:pt x="3929" y="2178"/>
                </a:cubicBezTo>
                <a:cubicBezTo>
                  <a:pt x="3547" y="2178"/>
                  <a:pt x="3245" y="2497"/>
                  <a:pt x="3245" y="2862"/>
                </a:cubicBezTo>
                <a:cubicBezTo>
                  <a:pt x="3245" y="3244"/>
                  <a:pt x="3547" y="3547"/>
                  <a:pt x="3929" y="3547"/>
                </a:cubicBezTo>
                <a:cubicBezTo>
                  <a:pt x="4310" y="3547"/>
                  <a:pt x="4613" y="3244"/>
                  <a:pt x="4613" y="2862"/>
                </a:cubicBezTo>
                <a:cubicBezTo>
                  <a:pt x="4613" y="2783"/>
                  <a:pt x="4597" y="2687"/>
                  <a:pt x="4565" y="2608"/>
                </a:cubicBezTo>
                <a:lnTo>
                  <a:pt x="4851" y="2322"/>
                </a:lnTo>
                <a:cubicBezTo>
                  <a:pt x="4883" y="2290"/>
                  <a:pt x="4883" y="2242"/>
                  <a:pt x="4851" y="2210"/>
                </a:cubicBezTo>
                <a:cubicBezTo>
                  <a:pt x="4819" y="2178"/>
                  <a:pt x="4772" y="2178"/>
                  <a:pt x="4740" y="2210"/>
                </a:cubicBezTo>
                <a:close/>
                <a:moveTo>
                  <a:pt x="4454" y="2862"/>
                </a:moveTo>
                <a:cubicBezTo>
                  <a:pt x="4454" y="3165"/>
                  <a:pt x="4215" y="3387"/>
                  <a:pt x="3929" y="3387"/>
                </a:cubicBezTo>
                <a:cubicBezTo>
                  <a:pt x="3642" y="3387"/>
                  <a:pt x="3404" y="3165"/>
                  <a:pt x="3404" y="2862"/>
                </a:cubicBezTo>
                <a:cubicBezTo>
                  <a:pt x="3404" y="2576"/>
                  <a:pt x="3642" y="2338"/>
                  <a:pt x="3929" y="2338"/>
                </a:cubicBezTo>
                <a:cubicBezTo>
                  <a:pt x="4104" y="2338"/>
                  <a:pt x="4263" y="2433"/>
                  <a:pt x="4358" y="2576"/>
                </a:cubicBezTo>
                <a:lnTo>
                  <a:pt x="3992" y="2942"/>
                </a:lnTo>
                <a:lnTo>
                  <a:pt x="3849" y="2815"/>
                </a:lnTo>
                <a:cubicBezTo>
                  <a:pt x="3817" y="2783"/>
                  <a:pt x="3754" y="2783"/>
                  <a:pt x="3738" y="2815"/>
                </a:cubicBezTo>
                <a:cubicBezTo>
                  <a:pt x="3706" y="2847"/>
                  <a:pt x="3706" y="2895"/>
                  <a:pt x="3738" y="2926"/>
                </a:cubicBezTo>
                <a:lnTo>
                  <a:pt x="3929" y="3117"/>
                </a:lnTo>
                <a:cubicBezTo>
                  <a:pt x="3945" y="3133"/>
                  <a:pt x="3977" y="3133"/>
                  <a:pt x="3992" y="3133"/>
                </a:cubicBezTo>
                <a:cubicBezTo>
                  <a:pt x="4008" y="3133"/>
                  <a:pt x="4024" y="3117"/>
                  <a:pt x="4040" y="3117"/>
                </a:cubicBezTo>
                <a:lnTo>
                  <a:pt x="4438" y="2735"/>
                </a:lnTo>
                <a:cubicBezTo>
                  <a:pt x="4438" y="2767"/>
                  <a:pt x="4454" y="2815"/>
                  <a:pt x="4454" y="2862"/>
                </a:cubicBezTo>
                <a:close/>
                <a:moveTo>
                  <a:pt x="5408" y="0"/>
                </a:moveTo>
                <a:lnTo>
                  <a:pt x="80" y="0"/>
                </a:lnTo>
                <a:cubicBezTo>
                  <a:pt x="32" y="0"/>
                  <a:pt x="0" y="47"/>
                  <a:pt x="0" y="79"/>
                </a:cubicBezTo>
                <a:lnTo>
                  <a:pt x="0" y="3944"/>
                </a:lnTo>
                <a:cubicBezTo>
                  <a:pt x="0" y="3992"/>
                  <a:pt x="32" y="4023"/>
                  <a:pt x="80" y="4023"/>
                </a:cubicBezTo>
                <a:lnTo>
                  <a:pt x="5408" y="4023"/>
                </a:lnTo>
                <a:cubicBezTo>
                  <a:pt x="5456" y="4023"/>
                  <a:pt x="5487" y="3992"/>
                  <a:pt x="5487" y="3944"/>
                </a:cubicBezTo>
                <a:lnTo>
                  <a:pt x="5487" y="79"/>
                </a:lnTo>
                <a:cubicBezTo>
                  <a:pt x="5487" y="47"/>
                  <a:pt x="5456" y="0"/>
                  <a:pt x="5408" y="0"/>
                </a:cubicBezTo>
                <a:close/>
                <a:moveTo>
                  <a:pt x="5328" y="159"/>
                </a:moveTo>
                <a:lnTo>
                  <a:pt x="5328" y="922"/>
                </a:lnTo>
                <a:lnTo>
                  <a:pt x="159" y="922"/>
                </a:lnTo>
                <a:lnTo>
                  <a:pt x="159" y="159"/>
                </a:lnTo>
                <a:close/>
                <a:moveTo>
                  <a:pt x="159" y="3865"/>
                </a:moveTo>
                <a:lnTo>
                  <a:pt x="159" y="1081"/>
                </a:lnTo>
                <a:lnTo>
                  <a:pt x="5328" y="1081"/>
                </a:lnTo>
                <a:lnTo>
                  <a:pt x="5328" y="3865"/>
                </a:lnTo>
                <a:close/>
                <a:moveTo>
                  <a:pt x="827" y="572"/>
                </a:moveTo>
                <a:cubicBezTo>
                  <a:pt x="891" y="572"/>
                  <a:pt x="939" y="509"/>
                  <a:pt x="939" y="445"/>
                </a:cubicBezTo>
                <a:cubicBezTo>
                  <a:pt x="939" y="381"/>
                  <a:pt x="891" y="333"/>
                  <a:pt x="827" y="333"/>
                </a:cubicBezTo>
                <a:cubicBezTo>
                  <a:pt x="764" y="333"/>
                  <a:pt x="716" y="381"/>
                  <a:pt x="716" y="445"/>
                </a:cubicBezTo>
                <a:cubicBezTo>
                  <a:pt x="716" y="509"/>
                  <a:pt x="764" y="572"/>
                  <a:pt x="827" y="572"/>
                </a:cubicBezTo>
                <a:close/>
                <a:moveTo>
                  <a:pt x="1288" y="572"/>
                </a:moveTo>
                <a:cubicBezTo>
                  <a:pt x="1352" y="572"/>
                  <a:pt x="1400" y="509"/>
                  <a:pt x="1400" y="445"/>
                </a:cubicBezTo>
                <a:cubicBezTo>
                  <a:pt x="1400" y="381"/>
                  <a:pt x="1352" y="333"/>
                  <a:pt x="1288" y="333"/>
                </a:cubicBezTo>
                <a:cubicBezTo>
                  <a:pt x="1225" y="333"/>
                  <a:pt x="1177" y="381"/>
                  <a:pt x="1177" y="445"/>
                </a:cubicBezTo>
                <a:cubicBezTo>
                  <a:pt x="1177" y="509"/>
                  <a:pt x="1225" y="572"/>
                  <a:pt x="1288" y="572"/>
                </a:cubicBezTo>
                <a:close/>
                <a:moveTo>
                  <a:pt x="1750" y="572"/>
                </a:moveTo>
                <a:cubicBezTo>
                  <a:pt x="1814" y="572"/>
                  <a:pt x="1861" y="509"/>
                  <a:pt x="1861" y="445"/>
                </a:cubicBezTo>
                <a:cubicBezTo>
                  <a:pt x="1861" y="381"/>
                  <a:pt x="1814" y="333"/>
                  <a:pt x="1750" y="333"/>
                </a:cubicBezTo>
                <a:cubicBezTo>
                  <a:pt x="1686" y="333"/>
                  <a:pt x="1638" y="381"/>
                  <a:pt x="1638" y="445"/>
                </a:cubicBezTo>
                <a:cubicBezTo>
                  <a:pt x="1638" y="509"/>
                  <a:pt x="1686" y="572"/>
                  <a:pt x="1750" y="5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0" name="Freeform: Shape 14">
            <a:extLst>
              <a:ext uri="{FF2B5EF4-FFF2-40B4-BE49-F238E27FC236}">
                <a16:creationId xmlns:a16="http://schemas.microsoft.com/office/drawing/2014/main" id="{DA81B98C-2F20-E241-A724-3E3FD512374F}"/>
              </a:ext>
            </a:extLst>
          </p:cNvPr>
          <p:cNvSpPr/>
          <p:nvPr/>
        </p:nvSpPr>
        <p:spPr>
          <a:xfrm>
            <a:off x="13946087" y="3269046"/>
            <a:ext cx="1683000" cy="1448280"/>
          </a:xfrm>
          <a:custGeom>
            <a:avLst/>
            <a:gdLst/>
            <a:ahLst/>
            <a:cxnLst>
              <a:cxn ang="3cd4">
                <a:pos x="hc" y="t"/>
              </a:cxn>
              <a:cxn ang="cd2">
                <a:pos x="l" y="vc"/>
              </a:cxn>
              <a:cxn ang="cd4">
                <a:pos x="hc" y="b"/>
              </a:cxn>
              <a:cxn ang="0">
                <a:pos x="r" y="vc"/>
              </a:cxn>
            </a:cxnLst>
            <a:rect l="l" t="t" r="r" b="b"/>
            <a:pathLst>
              <a:path w="4676" h="4024">
                <a:moveTo>
                  <a:pt x="811" y="80"/>
                </a:moveTo>
                <a:lnTo>
                  <a:pt x="811" y="318"/>
                </a:lnTo>
                <a:lnTo>
                  <a:pt x="556" y="318"/>
                </a:lnTo>
                <a:cubicBezTo>
                  <a:pt x="524" y="318"/>
                  <a:pt x="477" y="350"/>
                  <a:pt x="477" y="398"/>
                </a:cubicBezTo>
                <a:lnTo>
                  <a:pt x="477" y="636"/>
                </a:lnTo>
                <a:lnTo>
                  <a:pt x="79" y="636"/>
                </a:lnTo>
                <a:cubicBezTo>
                  <a:pt x="32" y="636"/>
                  <a:pt x="0" y="684"/>
                  <a:pt x="0" y="716"/>
                </a:cubicBezTo>
                <a:lnTo>
                  <a:pt x="0" y="3945"/>
                </a:lnTo>
                <a:cubicBezTo>
                  <a:pt x="0" y="3992"/>
                  <a:pt x="32" y="4024"/>
                  <a:pt x="79" y="4024"/>
                </a:cubicBezTo>
                <a:lnTo>
                  <a:pt x="3944" y="4024"/>
                </a:lnTo>
                <a:cubicBezTo>
                  <a:pt x="3992" y="4024"/>
                  <a:pt x="4023" y="3992"/>
                  <a:pt x="4023" y="3945"/>
                </a:cubicBezTo>
                <a:lnTo>
                  <a:pt x="4023" y="3531"/>
                </a:lnTo>
                <a:lnTo>
                  <a:pt x="4262" y="3531"/>
                </a:lnTo>
                <a:cubicBezTo>
                  <a:pt x="4310" y="3531"/>
                  <a:pt x="4342" y="3499"/>
                  <a:pt x="4342" y="3467"/>
                </a:cubicBezTo>
                <a:lnTo>
                  <a:pt x="4342" y="3213"/>
                </a:lnTo>
                <a:lnTo>
                  <a:pt x="4596" y="3213"/>
                </a:lnTo>
                <a:cubicBezTo>
                  <a:pt x="4628" y="3213"/>
                  <a:pt x="4676" y="3181"/>
                  <a:pt x="4676" y="3133"/>
                </a:cubicBezTo>
                <a:lnTo>
                  <a:pt x="4676" y="80"/>
                </a:lnTo>
                <a:cubicBezTo>
                  <a:pt x="4676" y="32"/>
                  <a:pt x="4628" y="0"/>
                  <a:pt x="4596" y="0"/>
                </a:cubicBezTo>
                <a:lnTo>
                  <a:pt x="890" y="0"/>
                </a:lnTo>
                <a:cubicBezTo>
                  <a:pt x="842" y="0"/>
                  <a:pt x="811" y="32"/>
                  <a:pt x="811" y="80"/>
                </a:cubicBezTo>
                <a:close/>
                <a:moveTo>
                  <a:pt x="3865" y="795"/>
                </a:moveTo>
                <a:lnTo>
                  <a:pt x="3865" y="1447"/>
                </a:lnTo>
                <a:lnTo>
                  <a:pt x="159" y="1447"/>
                </a:lnTo>
                <a:lnTo>
                  <a:pt x="159" y="795"/>
                </a:lnTo>
                <a:close/>
                <a:moveTo>
                  <a:pt x="159" y="3865"/>
                </a:moveTo>
                <a:lnTo>
                  <a:pt x="159" y="1607"/>
                </a:lnTo>
                <a:lnTo>
                  <a:pt x="3865" y="1607"/>
                </a:lnTo>
                <a:lnTo>
                  <a:pt x="3865" y="3865"/>
                </a:lnTo>
                <a:close/>
                <a:moveTo>
                  <a:pt x="4183" y="3388"/>
                </a:moveTo>
                <a:lnTo>
                  <a:pt x="4023" y="3388"/>
                </a:lnTo>
                <a:lnTo>
                  <a:pt x="4023" y="716"/>
                </a:lnTo>
                <a:cubicBezTo>
                  <a:pt x="4023" y="684"/>
                  <a:pt x="3992" y="636"/>
                  <a:pt x="3944" y="636"/>
                </a:cubicBezTo>
                <a:lnTo>
                  <a:pt x="636" y="636"/>
                </a:lnTo>
                <a:lnTo>
                  <a:pt x="636" y="477"/>
                </a:lnTo>
                <a:lnTo>
                  <a:pt x="4183" y="477"/>
                </a:lnTo>
                <a:close/>
                <a:moveTo>
                  <a:pt x="970" y="159"/>
                </a:moveTo>
                <a:lnTo>
                  <a:pt x="4517" y="159"/>
                </a:lnTo>
                <a:lnTo>
                  <a:pt x="4517" y="3054"/>
                </a:lnTo>
                <a:lnTo>
                  <a:pt x="4342" y="3054"/>
                </a:lnTo>
                <a:lnTo>
                  <a:pt x="4342" y="398"/>
                </a:lnTo>
                <a:cubicBezTo>
                  <a:pt x="4342" y="350"/>
                  <a:pt x="4310" y="318"/>
                  <a:pt x="4262" y="318"/>
                </a:cubicBezTo>
                <a:lnTo>
                  <a:pt x="970" y="318"/>
                </a:lnTo>
                <a:close/>
                <a:moveTo>
                  <a:pt x="747" y="1145"/>
                </a:moveTo>
                <a:cubicBezTo>
                  <a:pt x="795" y="1145"/>
                  <a:pt x="842" y="1098"/>
                  <a:pt x="842" y="1050"/>
                </a:cubicBezTo>
                <a:cubicBezTo>
                  <a:pt x="842" y="986"/>
                  <a:pt x="795" y="938"/>
                  <a:pt x="747" y="938"/>
                </a:cubicBezTo>
                <a:cubicBezTo>
                  <a:pt x="684" y="938"/>
                  <a:pt x="636" y="986"/>
                  <a:pt x="636" y="1050"/>
                </a:cubicBezTo>
                <a:cubicBezTo>
                  <a:pt x="636" y="1098"/>
                  <a:pt x="684" y="1145"/>
                  <a:pt x="747" y="1145"/>
                </a:cubicBezTo>
                <a:close/>
                <a:moveTo>
                  <a:pt x="1145" y="1145"/>
                </a:moveTo>
                <a:cubicBezTo>
                  <a:pt x="1193" y="1145"/>
                  <a:pt x="1240" y="1098"/>
                  <a:pt x="1240" y="1050"/>
                </a:cubicBezTo>
                <a:cubicBezTo>
                  <a:pt x="1240" y="986"/>
                  <a:pt x="1193" y="938"/>
                  <a:pt x="1145" y="938"/>
                </a:cubicBezTo>
                <a:cubicBezTo>
                  <a:pt x="1081" y="938"/>
                  <a:pt x="1050" y="986"/>
                  <a:pt x="1050" y="1050"/>
                </a:cubicBezTo>
                <a:cubicBezTo>
                  <a:pt x="1050" y="1098"/>
                  <a:pt x="1081" y="1145"/>
                  <a:pt x="1145" y="1145"/>
                </a:cubicBezTo>
                <a:close/>
                <a:moveTo>
                  <a:pt x="1542" y="1145"/>
                </a:moveTo>
                <a:cubicBezTo>
                  <a:pt x="1606" y="1145"/>
                  <a:pt x="1654" y="1098"/>
                  <a:pt x="1654" y="1050"/>
                </a:cubicBezTo>
                <a:cubicBezTo>
                  <a:pt x="1654" y="986"/>
                  <a:pt x="1606" y="938"/>
                  <a:pt x="1542" y="938"/>
                </a:cubicBezTo>
                <a:cubicBezTo>
                  <a:pt x="1495" y="938"/>
                  <a:pt x="1447" y="986"/>
                  <a:pt x="1447" y="1050"/>
                </a:cubicBezTo>
                <a:cubicBezTo>
                  <a:pt x="1447" y="1098"/>
                  <a:pt x="1495" y="1145"/>
                  <a:pt x="1542" y="114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1" name="Freeform: Shape 15">
            <a:extLst>
              <a:ext uri="{FF2B5EF4-FFF2-40B4-BE49-F238E27FC236}">
                <a16:creationId xmlns:a16="http://schemas.microsoft.com/office/drawing/2014/main" id="{D6E8147C-BB4B-3249-AECD-FC22F1762C29}"/>
              </a:ext>
            </a:extLst>
          </p:cNvPr>
          <p:cNvSpPr/>
          <p:nvPr/>
        </p:nvSpPr>
        <p:spPr>
          <a:xfrm>
            <a:off x="9892078" y="10009168"/>
            <a:ext cx="1671839" cy="1448280"/>
          </a:xfrm>
          <a:custGeom>
            <a:avLst/>
            <a:gdLst/>
            <a:ahLst/>
            <a:cxnLst>
              <a:cxn ang="3cd4">
                <a:pos x="hc" y="t"/>
              </a:cxn>
              <a:cxn ang="cd2">
                <a:pos x="l" y="vc"/>
              </a:cxn>
              <a:cxn ang="cd4">
                <a:pos x="hc" y="b"/>
              </a:cxn>
              <a:cxn ang="0">
                <a:pos x="r" y="vc"/>
              </a:cxn>
            </a:cxnLst>
            <a:rect l="l" t="t" r="r" b="b"/>
            <a:pathLst>
              <a:path w="4645" h="4024">
                <a:moveTo>
                  <a:pt x="4645" y="732"/>
                </a:moveTo>
                <a:cubicBezTo>
                  <a:pt x="4645" y="684"/>
                  <a:pt x="4613" y="652"/>
                  <a:pt x="4565" y="652"/>
                </a:cubicBezTo>
                <a:lnTo>
                  <a:pt x="4501" y="652"/>
                </a:lnTo>
                <a:cubicBezTo>
                  <a:pt x="4454" y="652"/>
                  <a:pt x="4422" y="684"/>
                  <a:pt x="4422" y="732"/>
                </a:cubicBezTo>
                <a:cubicBezTo>
                  <a:pt x="4422" y="763"/>
                  <a:pt x="4454" y="796"/>
                  <a:pt x="4485" y="811"/>
                </a:cubicBezTo>
                <a:cubicBezTo>
                  <a:pt x="4501" y="843"/>
                  <a:pt x="4533" y="875"/>
                  <a:pt x="4565" y="875"/>
                </a:cubicBezTo>
                <a:cubicBezTo>
                  <a:pt x="4613" y="875"/>
                  <a:pt x="4645" y="827"/>
                  <a:pt x="4645" y="796"/>
                </a:cubicBezTo>
                <a:close/>
                <a:moveTo>
                  <a:pt x="4645" y="3340"/>
                </a:moveTo>
                <a:cubicBezTo>
                  <a:pt x="4645" y="3308"/>
                  <a:pt x="4613" y="3260"/>
                  <a:pt x="4565" y="3260"/>
                </a:cubicBezTo>
                <a:cubicBezTo>
                  <a:pt x="4517" y="3260"/>
                  <a:pt x="4485" y="3308"/>
                  <a:pt x="4485" y="3340"/>
                </a:cubicBezTo>
                <a:lnTo>
                  <a:pt x="4485" y="3483"/>
                </a:lnTo>
                <a:cubicBezTo>
                  <a:pt x="4485" y="3531"/>
                  <a:pt x="4517" y="3563"/>
                  <a:pt x="4565" y="3563"/>
                </a:cubicBezTo>
                <a:cubicBezTo>
                  <a:pt x="4613" y="3563"/>
                  <a:pt x="4645" y="3531"/>
                  <a:pt x="4645" y="3483"/>
                </a:cubicBezTo>
                <a:close/>
                <a:moveTo>
                  <a:pt x="4645" y="2275"/>
                </a:moveTo>
                <a:cubicBezTo>
                  <a:pt x="4645" y="2227"/>
                  <a:pt x="4613" y="2195"/>
                  <a:pt x="4565" y="2195"/>
                </a:cubicBezTo>
                <a:cubicBezTo>
                  <a:pt x="4517" y="2195"/>
                  <a:pt x="4485" y="2227"/>
                  <a:pt x="4485" y="2275"/>
                </a:cubicBezTo>
                <a:lnTo>
                  <a:pt x="4485" y="2402"/>
                </a:lnTo>
                <a:cubicBezTo>
                  <a:pt x="4485" y="2450"/>
                  <a:pt x="4517" y="2481"/>
                  <a:pt x="4565" y="2481"/>
                </a:cubicBezTo>
                <a:cubicBezTo>
                  <a:pt x="4613" y="2481"/>
                  <a:pt x="4645" y="2450"/>
                  <a:pt x="4645" y="2402"/>
                </a:cubicBezTo>
                <a:close/>
                <a:moveTo>
                  <a:pt x="4645" y="2815"/>
                </a:moveTo>
                <a:cubicBezTo>
                  <a:pt x="4645" y="2768"/>
                  <a:pt x="4613" y="2736"/>
                  <a:pt x="4565" y="2736"/>
                </a:cubicBezTo>
                <a:cubicBezTo>
                  <a:pt x="4517" y="2736"/>
                  <a:pt x="4485" y="2768"/>
                  <a:pt x="4485" y="2815"/>
                </a:cubicBezTo>
                <a:lnTo>
                  <a:pt x="4485" y="2942"/>
                </a:lnTo>
                <a:cubicBezTo>
                  <a:pt x="4485" y="2990"/>
                  <a:pt x="4517" y="3022"/>
                  <a:pt x="4565" y="3022"/>
                </a:cubicBezTo>
                <a:cubicBezTo>
                  <a:pt x="4613" y="3022"/>
                  <a:pt x="4645" y="2990"/>
                  <a:pt x="4645" y="2942"/>
                </a:cubicBezTo>
                <a:close/>
                <a:moveTo>
                  <a:pt x="4645" y="1734"/>
                </a:moveTo>
                <a:cubicBezTo>
                  <a:pt x="4645" y="1686"/>
                  <a:pt x="4613" y="1654"/>
                  <a:pt x="4565" y="1654"/>
                </a:cubicBezTo>
                <a:cubicBezTo>
                  <a:pt x="4517" y="1654"/>
                  <a:pt x="4485" y="1686"/>
                  <a:pt x="4485" y="1734"/>
                </a:cubicBezTo>
                <a:lnTo>
                  <a:pt x="4485" y="1861"/>
                </a:lnTo>
                <a:cubicBezTo>
                  <a:pt x="4485" y="1909"/>
                  <a:pt x="4517" y="1941"/>
                  <a:pt x="4565" y="1941"/>
                </a:cubicBezTo>
                <a:cubicBezTo>
                  <a:pt x="4613" y="1941"/>
                  <a:pt x="4645" y="1909"/>
                  <a:pt x="4645" y="1861"/>
                </a:cubicBezTo>
                <a:close/>
                <a:moveTo>
                  <a:pt x="4645" y="1193"/>
                </a:moveTo>
                <a:cubicBezTo>
                  <a:pt x="4645" y="1145"/>
                  <a:pt x="4613" y="1114"/>
                  <a:pt x="4565" y="1114"/>
                </a:cubicBezTo>
                <a:cubicBezTo>
                  <a:pt x="4517" y="1114"/>
                  <a:pt x="4485" y="1145"/>
                  <a:pt x="4485" y="1193"/>
                </a:cubicBezTo>
                <a:lnTo>
                  <a:pt x="4485" y="1320"/>
                </a:lnTo>
                <a:cubicBezTo>
                  <a:pt x="4485" y="1368"/>
                  <a:pt x="4517" y="1400"/>
                  <a:pt x="4565" y="1400"/>
                </a:cubicBezTo>
                <a:cubicBezTo>
                  <a:pt x="4613" y="1400"/>
                  <a:pt x="4645" y="1368"/>
                  <a:pt x="4645" y="1320"/>
                </a:cubicBezTo>
                <a:close/>
                <a:moveTo>
                  <a:pt x="4565" y="3801"/>
                </a:moveTo>
                <a:cubicBezTo>
                  <a:pt x="4533" y="3801"/>
                  <a:pt x="4501" y="3833"/>
                  <a:pt x="4485" y="3865"/>
                </a:cubicBezTo>
                <a:cubicBezTo>
                  <a:pt x="4454" y="3881"/>
                  <a:pt x="4422" y="3913"/>
                  <a:pt x="4422" y="3944"/>
                </a:cubicBezTo>
                <a:cubicBezTo>
                  <a:pt x="4422" y="3992"/>
                  <a:pt x="4454" y="4024"/>
                  <a:pt x="4501" y="4024"/>
                </a:cubicBezTo>
                <a:lnTo>
                  <a:pt x="4565" y="4024"/>
                </a:lnTo>
                <a:cubicBezTo>
                  <a:pt x="4613" y="4024"/>
                  <a:pt x="4645" y="3992"/>
                  <a:pt x="4645" y="3944"/>
                </a:cubicBezTo>
                <a:lnTo>
                  <a:pt x="4645" y="3881"/>
                </a:lnTo>
                <a:cubicBezTo>
                  <a:pt x="4645" y="3833"/>
                  <a:pt x="4613" y="3801"/>
                  <a:pt x="4565" y="3801"/>
                </a:cubicBezTo>
                <a:close/>
                <a:moveTo>
                  <a:pt x="986" y="3865"/>
                </a:moveTo>
                <a:cubicBezTo>
                  <a:pt x="938" y="3865"/>
                  <a:pt x="907" y="3897"/>
                  <a:pt x="907" y="3944"/>
                </a:cubicBezTo>
                <a:cubicBezTo>
                  <a:pt x="907" y="3992"/>
                  <a:pt x="938" y="4024"/>
                  <a:pt x="986" y="4024"/>
                </a:cubicBezTo>
                <a:lnTo>
                  <a:pt x="1098" y="4024"/>
                </a:lnTo>
                <a:cubicBezTo>
                  <a:pt x="1146" y="4024"/>
                  <a:pt x="1177" y="3992"/>
                  <a:pt x="1177" y="3944"/>
                </a:cubicBezTo>
                <a:cubicBezTo>
                  <a:pt x="1177" y="3897"/>
                  <a:pt x="1146" y="3865"/>
                  <a:pt x="1098" y="3865"/>
                </a:cubicBezTo>
                <a:close/>
                <a:moveTo>
                  <a:pt x="3499" y="3865"/>
                </a:moveTo>
                <a:cubicBezTo>
                  <a:pt x="3452" y="3865"/>
                  <a:pt x="3420" y="3897"/>
                  <a:pt x="3420" y="3944"/>
                </a:cubicBezTo>
                <a:cubicBezTo>
                  <a:pt x="3420" y="3992"/>
                  <a:pt x="3452" y="4024"/>
                  <a:pt x="3499" y="4024"/>
                </a:cubicBezTo>
                <a:lnTo>
                  <a:pt x="3627" y="4024"/>
                </a:lnTo>
                <a:cubicBezTo>
                  <a:pt x="3658" y="4024"/>
                  <a:pt x="3706" y="3992"/>
                  <a:pt x="3706" y="3944"/>
                </a:cubicBezTo>
                <a:cubicBezTo>
                  <a:pt x="3706" y="3897"/>
                  <a:pt x="3658" y="3865"/>
                  <a:pt x="3627" y="3865"/>
                </a:cubicBezTo>
                <a:close/>
                <a:moveTo>
                  <a:pt x="1479" y="3865"/>
                </a:moveTo>
                <a:cubicBezTo>
                  <a:pt x="1432" y="3865"/>
                  <a:pt x="1400" y="3897"/>
                  <a:pt x="1400" y="3944"/>
                </a:cubicBezTo>
                <a:cubicBezTo>
                  <a:pt x="1400" y="3992"/>
                  <a:pt x="1432" y="4024"/>
                  <a:pt x="1479" y="4024"/>
                </a:cubicBezTo>
                <a:lnTo>
                  <a:pt x="1607" y="4024"/>
                </a:lnTo>
                <a:cubicBezTo>
                  <a:pt x="1655" y="4024"/>
                  <a:pt x="1686" y="3992"/>
                  <a:pt x="1686" y="3944"/>
                </a:cubicBezTo>
                <a:cubicBezTo>
                  <a:pt x="1686" y="3897"/>
                  <a:pt x="1655" y="3865"/>
                  <a:pt x="1607" y="3865"/>
                </a:cubicBezTo>
                <a:close/>
                <a:moveTo>
                  <a:pt x="1988" y="3865"/>
                </a:moveTo>
                <a:cubicBezTo>
                  <a:pt x="1941" y="3865"/>
                  <a:pt x="1909" y="3897"/>
                  <a:pt x="1909" y="3944"/>
                </a:cubicBezTo>
                <a:cubicBezTo>
                  <a:pt x="1909" y="3992"/>
                  <a:pt x="1941" y="4024"/>
                  <a:pt x="1988" y="4024"/>
                </a:cubicBezTo>
                <a:lnTo>
                  <a:pt x="2116" y="4024"/>
                </a:lnTo>
                <a:cubicBezTo>
                  <a:pt x="2163" y="4024"/>
                  <a:pt x="2195" y="3992"/>
                  <a:pt x="2195" y="3944"/>
                </a:cubicBezTo>
                <a:cubicBezTo>
                  <a:pt x="2195" y="3897"/>
                  <a:pt x="2163" y="3865"/>
                  <a:pt x="2116" y="3865"/>
                </a:cubicBezTo>
                <a:close/>
                <a:moveTo>
                  <a:pt x="2991" y="3865"/>
                </a:moveTo>
                <a:cubicBezTo>
                  <a:pt x="2943" y="3865"/>
                  <a:pt x="2911" y="3897"/>
                  <a:pt x="2911" y="3944"/>
                </a:cubicBezTo>
                <a:cubicBezTo>
                  <a:pt x="2911" y="3992"/>
                  <a:pt x="2943" y="4024"/>
                  <a:pt x="2991" y="4024"/>
                </a:cubicBezTo>
                <a:lnTo>
                  <a:pt x="3118" y="4024"/>
                </a:lnTo>
                <a:cubicBezTo>
                  <a:pt x="3165" y="4024"/>
                  <a:pt x="3197" y="3992"/>
                  <a:pt x="3197" y="3944"/>
                </a:cubicBezTo>
                <a:cubicBezTo>
                  <a:pt x="3197" y="3897"/>
                  <a:pt x="3165" y="3865"/>
                  <a:pt x="3118" y="3865"/>
                </a:cubicBezTo>
                <a:close/>
                <a:moveTo>
                  <a:pt x="4119" y="3865"/>
                </a:moveTo>
                <a:lnTo>
                  <a:pt x="3992" y="3865"/>
                </a:lnTo>
                <a:cubicBezTo>
                  <a:pt x="3961" y="3865"/>
                  <a:pt x="3913" y="3897"/>
                  <a:pt x="3913" y="3944"/>
                </a:cubicBezTo>
                <a:cubicBezTo>
                  <a:pt x="3913" y="3992"/>
                  <a:pt x="3961" y="4024"/>
                  <a:pt x="3992" y="4024"/>
                </a:cubicBezTo>
                <a:lnTo>
                  <a:pt x="4119" y="4024"/>
                </a:lnTo>
                <a:cubicBezTo>
                  <a:pt x="4167" y="4024"/>
                  <a:pt x="4199" y="3992"/>
                  <a:pt x="4199" y="3944"/>
                </a:cubicBezTo>
                <a:cubicBezTo>
                  <a:pt x="4199" y="3897"/>
                  <a:pt x="4167" y="3865"/>
                  <a:pt x="4119" y="3865"/>
                </a:cubicBezTo>
                <a:close/>
                <a:moveTo>
                  <a:pt x="2497" y="3865"/>
                </a:moveTo>
                <a:cubicBezTo>
                  <a:pt x="2450" y="3865"/>
                  <a:pt x="2418" y="3897"/>
                  <a:pt x="2418" y="3944"/>
                </a:cubicBezTo>
                <a:cubicBezTo>
                  <a:pt x="2418" y="3992"/>
                  <a:pt x="2450" y="4024"/>
                  <a:pt x="2497" y="4024"/>
                </a:cubicBezTo>
                <a:lnTo>
                  <a:pt x="2609" y="4024"/>
                </a:lnTo>
                <a:cubicBezTo>
                  <a:pt x="2656" y="4024"/>
                  <a:pt x="2688" y="3992"/>
                  <a:pt x="2688" y="3944"/>
                </a:cubicBezTo>
                <a:cubicBezTo>
                  <a:pt x="2688" y="3897"/>
                  <a:pt x="2656" y="3865"/>
                  <a:pt x="2609" y="3865"/>
                </a:cubicBezTo>
                <a:close/>
                <a:moveTo>
                  <a:pt x="541" y="3801"/>
                </a:moveTo>
                <a:cubicBezTo>
                  <a:pt x="493" y="3801"/>
                  <a:pt x="462" y="3833"/>
                  <a:pt x="462" y="3881"/>
                </a:cubicBezTo>
                <a:lnTo>
                  <a:pt x="462" y="3944"/>
                </a:lnTo>
                <a:cubicBezTo>
                  <a:pt x="462" y="3992"/>
                  <a:pt x="493" y="4024"/>
                  <a:pt x="541" y="4024"/>
                </a:cubicBezTo>
                <a:lnTo>
                  <a:pt x="605" y="4024"/>
                </a:lnTo>
                <a:cubicBezTo>
                  <a:pt x="652" y="4024"/>
                  <a:pt x="684" y="3992"/>
                  <a:pt x="684" y="3944"/>
                </a:cubicBezTo>
                <a:cubicBezTo>
                  <a:pt x="684" y="3913"/>
                  <a:pt x="652" y="3881"/>
                  <a:pt x="620" y="3865"/>
                </a:cubicBezTo>
                <a:cubicBezTo>
                  <a:pt x="605" y="3833"/>
                  <a:pt x="573" y="3801"/>
                  <a:pt x="541" y="3801"/>
                </a:cubicBezTo>
                <a:close/>
                <a:moveTo>
                  <a:pt x="0" y="79"/>
                </a:moveTo>
                <a:lnTo>
                  <a:pt x="0" y="3308"/>
                </a:lnTo>
                <a:cubicBezTo>
                  <a:pt x="0" y="3340"/>
                  <a:pt x="48" y="3388"/>
                  <a:pt x="80" y="3388"/>
                </a:cubicBezTo>
                <a:lnTo>
                  <a:pt x="493" y="3388"/>
                </a:lnTo>
                <a:cubicBezTo>
                  <a:pt x="477" y="3404"/>
                  <a:pt x="462" y="3420"/>
                  <a:pt x="462" y="3451"/>
                </a:cubicBezTo>
                <a:lnTo>
                  <a:pt x="462" y="3515"/>
                </a:lnTo>
                <a:cubicBezTo>
                  <a:pt x="462" y="3547"/>
                  <a:pt x="493" y="3595"/>
                  <a:pt x="541" y="3595"/>
                </a:cubicBezTo>
                <a:cubicBezTo>
                  <a:pt x="589" y="3595"/>
                  <a:pt x="620" y="3547"/>
                  <a:pt x="620" y="3515"/>
                </a:cubicBezTo>
                <a:lnTo>
                  <a:pt x="620" y="3451"/>
                </a:lnTo>
                <a:cubicBezTo>
                  <a:pt x="620" y="3420"/>
                  <a:pt x="605" y="3404"/>
                  <a:pt x="589" y="3388"/>
                </a:cubicBezTo>
                <a:lnTo>
                  <a:pt x="3961" y="3388"/>
                </a:lnTo>
                <a:cubicBezTo>
                  <a:pt x="3992" y="3388"/>
                  <a:pt x="4040" y="3340"/>
                  <a:pt x="4040" y="3308"/>
                </a:cubicBezTo>
                <a:lnTo>
                  <a:pt x="4040" y="796"/>
                </a:lnTo>
                <a:lnTo>
                  <a:pt x="4056" y="811"/>
                </a:lnTo>
                <a:lnTo>
                  <a:pt x="4119" y="811"/>
                </a:lnTo>
                <a:cubicBezTo>
                  <a:pt x="4167" y="811"/>
                  <a:pt x="4199" y="763"/>
                  <a:pt x="4199" y="732"/>
                </a:cubicBezTo>
                <a:cubicBezTo>
                  <a:pt x="4199" y="684"/>
                  <a:pt x="4167" y="652"/>
                  <a:pt x="4119" y="652"/>
                </a:cubicBezTo>
                <a:lnTo>
                  <a:pt x="4056" y="652"/>
                </a:lnTo>
                <a:lnTo>
                  <a:pt x="4040" y="652"/>
                </a:lnTo>
                <a:lnTo>
                  <a:pt x="4040" y="79"/>
                </a:lnTo>
                <a:cubicBezTo>
                  <a:pt x="4040" y="32"/>
                  <a:pt x="3992" y="0"/>
                  <a:pt x="3961" y="0"/>
                </a:cubicBezTo>
                <a:lnTo>
                  <a:pt x="80" y="0"/>
                </a:lnTo>
                <a:cubicBezTo>
                  <a:pt x="48" y="0"/>
                  <a:pt x="0" y="32"/>
                  <a:pt x="0" y="79"/>
                </a:cubicBezTo>
                <a:close/>
                <a:moveTo>
                  <a:pt x="159" y="3229"/>
                </a:moveTo>
                <a:lnTo>
                  <a:pt x="159" y="970"/>
                </a:lnTo>
                <a:lnTo>
                  <a:pt x="175" y="970"/>
                </a:lnTo>
                <a:lnTo>
                  <a:pt x="3881" y="970"/>
                </a:lnTo>
                <a:lnTo>
                  <a:pt x="3881" y="3229"/>
                </a:lnTo>
                <a:close/>
                <a:moveTo>
                  <a:pt x="3881" y="159"/>
                </a:moveTo>
                <a:lnTo>
                  <a:pt x="3881" y="811"/>
                </a:lnTo>
                <a:lnTo>
                  <a:pt x="175" y="811"/>
                </a:lnTo>
                <a:lnTo>
                  <a:pt x="159" y="811"/>
                </a:lnTo>
                <a:lnTo>
                  <a:pt x="159" y="159"/>
                </a:lnTo>
                <a:close/>
                <a:moveTo>
                  <a:pt x="748" y="509"/>
                </a:moveTo>
                <a:cubicBezTo>
                  <a:pt x="811" y="509"/>
                  <a:pt x="843" y="461"/>
                  <a:pt x="843" y="398"/>
                </a:cubicBezTo>
                <a:cubicBezTo>
                  <a:pt x="843" y="350"/>
                  <a:pt x="811" y="302"/>
                  <a:pt x="748" y="302"/>
                </a:cubicBezTo>
                <a:cubicBezTo>
                  <a:pt x="700" y="302"/>
                  <a:pt x="652" y="350"/>
                  <a:pt x="652" y="398"/>
                </a:cubicBezTo>
                <a:cubicBezTo>
                  <a:pt x="652" y="461"/>
                  <a:pt x="700" y="509"/>
                  <a:pt x="748" y="509"/>
                </a:cubicBezTo>
                <a:close/>
                <a:moveTo>
                  <a:pt x="1146" y="509"/>
                </a:moveTo>
                <a:cubicBezTo>
                  <a:pt x="1209" y="509"/>
                  <a:pt x="1257" y="461"/>
                  <a:pt x="1257" y="398"/>
                </a:cubicBezTo>
                <a:cubicBezTo>
                  <a:pt x="1257" y="350"/>
                  <a:pt x="1209" y="302"/>
                  <a:pt x="1146" y="302"/>
                </a:cubicBezTo>
                <a:cubicBezTo>
                  <a:pt x="1098" y="302"/>
                  <a:pt x="1050" y="350"/>
                  <a:pt x="1050" y="398"/>
                </a:cubicBezTo>
                <a:cubicBezTo>
                  <a:pt x="1050" y="461"/>
                  <a:pt x="1098" y="509"/>
                  <a:pt x="1146" y="509"/>
                </a:cubicBezTo>
                <a:close/>
                <a:moveTo>
                  <a:pt x="1559" y="509"/>
                </a:moveTo>
                <a:cubicBezTo>
                  <a:pt x="1607" y="509"/>
                  <a:pt x="1655" y="461"/>
                  <a:pt x="1655" y="398"/>
                </a:cubicBezTo>
                <a:cubicBezTo>
                  <a:pt x="1655" y="350"/>
                  <a:pt x="1607" y="302"/>
                  <a:pt x="1559" y="302"/>
                </a:cubicBezTo>
                <a:cubicBezTo>
                  <a:pt x="1495" y="302"/>
                  <a:pt x="1447" y="350"/>
                  <a:pt x="1447" y="398"/>
                </a:cubicBezTo>
                <a:cubicBezTo>
                  <a:pt x="1447" y="461"/>
                  <a:pt x="1495" y="509"/>
                  <a:pt x="1559" y="50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2" name="Freeform: Shape 16">
            <a:extLst>
              <a:ext uri="{FF2B5EF4-FFF2-40B4-BE49-F238E27FC236}">
                <a16:creationId xmlns:a16="http://schemas.microsoft.com/office/drawing/2014/main" id="{C3E74A6E-6349-E448-A57A-492E5BD74186}"/>
              </a:ext>
            </a:extLst>
          </p:cNvPr>
          <p:cNvSpPr/>
          <p:nvPr/>
        </p:nvSpPr>
        <p:spPr>
          <a:xfrm>
            <a:off x="17571451" y="3312454"/>
            <a:ext cx="1448280" cy="1447919"/>
          </a:xfrm>
          <a:custGeom>
            <a:avLst/>
            <a:gdLst/>
            <a:ahLst/>
            <a:cxnLst>
              <a:cxn ang="3cd4">
                <a:pos x="hc" y="t"/>
              </a:cxn>
              <a:cxn ang="cd2">
                <a:pos x="l" y="vc"/>
              </a:cxn>
              <a:cxn ang="cd4">
                <a:pos x="hc" y="b"/>
              </a:cxn>
              <a:cxn ang="0">
                <a:pos x="r" y="vc"/>
              </a:cxn>
            </a:cxnLst>
            <a:rect l="l" t="t" r="r" b="b"/>
            <a:pathLst>
              <a:path w="4024" h="4023">
                <a:moveTo>
                  <a:pt x="0" y="3944"/>
                </a:moveTo>
                <a:cubicBezTo>
                  <a:pt x="0" y="3992"/>
                  <a:pt x="48" y="4023"/>
                  <a:pt x="80" y="4023"/>
                </a:cubicBezTo>
                <a:lnTo>
                  <a:pt x="3022" y="4023"/>
                </a:lnTo>
                <a:cubicBezTo>
                  <a:pt x="3070" y="4023"/>
                  <a:pt x="3102" y="3992"/>
                  <a:pt x="3102" y="3944"/>
                </a:cubicBezTo>
                <a:lnTo>
                  <a:pt x="3102" y="2958"/>
                </a:lnTo>
                <a:lnTo>
                  <a:pt x="3945" y="2958"/>
                </a:lnTo>
                <a:cubicBezTo>
                  <a:pt x="3992" y="2958"/>
                  <a:pt x="4024" y="2926"/>
                  <a:pt x="4024" y="2878"/>
                </a:cubicBezTo>
                <a:lnTo>
                  <a:pt x="4024" y="79"/>
                </a:lnTo>
                <a:cubicBezTo>
                  <a:pt x="4024" y="32"/>
                  <a:pt x="3992" y="0"/>
                  <a:pt x="3945" y="0"/>
                </a:cubicBezTo>
                <a:lnTo>
                  <a:pt x="1145" y="0"/>
                </a:lnTo>
                <a:cubicBezTo>
                  <a:pt x="1114" y="0"/>
                  <a:pt x="1066" y="32"/>
                  <a:pt x="1066" y="79"/>
                </a:cubicBezTo>
                <a:lnTo>
                  <a:pt x="1066" y="668"/>
                </a:lnTo>
                <a:lnTo>
                  <a:pt x="80" y="668"/>
                </a:lnTo>
                <a:cubicBezTo>
                  <a:pt x="48" y="668"/>
                  <a:pt x="0" y="699"/>
                  <a:pt x="0" y="747"/>
                </a:cubicBezTo>
                <a:close/>
                <a:moveTo>
                  <a:pt x="159" y="3865"/>
                </a:moveTo>
                <a:lnTo>
                  <a:pt x="159" y="1495"/>
                </a:lnTo>
                <a:lnTo>
                  <a:pt x="2942" y="1495"/>
                </a:lnTo>
                <a:lnTo>
                  <a:pt x="2942" y="3865"/>
                </a:lnTo>
                <a:close/>
                <a:moveTo>
                  <a:pt x="3102" y="2799"/>
                </a:moveTo>
                <a:lnTo>
                  <a:pt x="3102" y="827"/>
                </a:lnTo>
                <a:lnTo>
                  <a:pt x="3881" y="827"/>
                </a:lnTo>
                <a:lnTo>
                  <a:pt x="3881" y="2799"/>
                </a:lnTo>
                <a:close/>
                <a:moveTo>
                  <a:pt x="1225" y="159"/>
                </a:moveTo>
                <a:lnTo>
                  <a:pt x="3881" y="159"/>
                </a:lnTo>
                <a:lnTo>
                  <a:pt x="3881" y="668"/>
                </a:lnTo>
                <a:lnTo>
                  <a:pt x="3022" y="668"/>
                </a:lnTo>
                <a:lnTo>
                  <a:pt x="2815" y="668"/>
                </a:lnTo>
                <a:lnTo>
                  <a:pt x="1225" y="668"/>
                </a:lnTo>
                <a:close/>
                <a:moveTo>
                  <a:pt x="2815" y="827"/>
                </a:moveTo>
                <a:lnTo>
                  <a:pt x="2942" y="827"/>
                </a:lnTo>
                <a:lnTo>
                  <a:pt x="2942" y="1336"/>
                </a:lnTo>
                <a:lnTo>
                  <a:pt x="159" y="1336"/>
                </a:lnTo>
                <a:lnTo>
                  <a:pt x="159" y="827"/>
                </a:lnTo>
                <a:close/>
                <a:moveTo>
                  <a:pt x="636" y="1097"/>
                </a:moveTo>
                <a:cubicBezTo>
                  <a:pt x="684" y="1097"/>
                  <a:pt x="716" y="1050"/>
                  <a:pt x="716" y="1018"/>
                </a:cubicBezTo>
                <a:cubicBezTo>
                  <a:pt x="716" y="970"/>
                  <a:pt x="684" y="922"/>
                  <a:pt x="636" y="922"/>
                </a:cubicBezTo>
                <a:cubicBezTo>
                  <a:pt x="589" y="922"/>
                  <a:pt x="557" y="970"/>
                  <a:pt x="557" y="1018"/>
                </a:cubicBezTo>
                <a:cubicBezTo>
                  <a:pt x="557" y="1050"/>
                  <a:pt x="589" y="1097"/>
                  <a:pt x="636" y="1097"/>
                </a:cubicBezTo>
                <a:close/>
                <a:moveTo>
                  <a:pt x="970" y="1097"/>
                </a:moveTo>
                <a:cubicBezTo>
                  <a:pt x="1018" y="1097"/>
                  <a:pt x="1050" y="1050"/>
                  <a:pt x="1050" y="1018"/>
                </a:cubicBezTo>
                <a:cubicBezTo>
                  <a:pt x="1050" y="970"/>
                  <a:pt x="1018" y="922"/>
                  <a:pt x="970" y="922"/>
                </a:cubicBezTo>
                <a:cubicBezTo>
                  <a:pt x="923" y="922"/>
                  <a:pt x="891" y="970"/>
                  <a:pt x="891" y="1018"/>
                </a:cubicBezTo>
                <a:cubicBezTo>
                  <a:pt x="891" y="1050"/>
                  <a:pt x="923" y="1097"/>
                  <a:pt x="970" y="1097"/>
                </a:cubicBezTo>
                <a:close/>
                <a:moveTo>
                  <a:pt x="1305" y="1097"/>
                </a:moveTo>
                <a:cubicBezTo>
                  <a:pt x="1352" y="1097"/>
                  <a:pt x="1384" y="1050"/>
                  <a:pt x="1384" y="1018"/>
                </a:cubicBezTo>
                <a:cubicBezTo>
                  <a:pt x="1384" y="970"/>
                  <a:pt x="1352" y="922"/>
                  <a:pt x="1305" y="922"/>
                </a:cubicBezTo>
                <a:cubicBezTo>
                  <a:pt x="1257" y="922"/>
                  <a:pt x="1225" y="970"/>
                  <a:pt x="1225" y="1018"/>
                </a:cubicBezTo>
                <a:cubicBezTo>
                  <a:pt x="1225" y="1050"/>
                  <a:pt x="1257" y="1097"/>
                  <a:pt x="1305" y="1097"/>
                </a:cubicBezTo>
                <a:close/>
                <a:moveTo>
                  <a:pt x="1702" y="254"/>
                </a:moveTo>
                <a:cubicBezTo>
                  <a:pt x="1654" y="254"/>
                  <a:pt x="1623" y="302"/>
                  <a:pt x="1623" y="350"/>
                </a:cubicBezTo>
                <a:cubicBezTo>
                  <a:pt x="1623" y="381"/>
                  <a:pt x="1654" y="429"/>
                  <a:pt x="1702" y="429"/>
                </a:cubicBezTo>
                <a:cubicBezTo>
                  <a:pt x="1750" y="429"/>
                  <a:pt x="1782" y="381"/>
                  <a:pt x="1782" y="350"/>
                </a:cubicBezTo>
                <a:cubicBezTo>
                  <a:pt x="1782" y="302"/>
                  <a:pt x="1750" y="254"/>
                  <a:pt x="1702" y="254"/>
                </a:cubicBezTo>
                <a:close/>
                <a:moveTo>
                  <a:pt x="2036" y="254"/>
                </a:moveTo>
                <a:cubicBezTo>
                  <a:pt x="1988" y="254"/>
                  <a:pt x="1957" y="302"/>
                  <a:pt x="1957" y="350"/>
                </a:cubicBezTo>
                <a:cubicBezTo>
                  <a:pt x="1957" y="381"/>
                  <a:pt x="1988" y="429"/>
                  <a:pt x="2036" y="429"/>
                </a:cubicBezTo>
                <a:cubicBezTo>
                  <a:pt x="2084" y="429"/>
                  <a:pt x="2115" y="381"/>
                  <a:pt x="2115" y="350"/>
                </a:cubicBezTo>
                <a:cubicBezTo>
                  <a:pt x="2115" y="302"/>
                  <a:pt x="2084" y="254"/>
                  <a:pt x="2036" y="254"/>
                </a:cubicBezTo>
                <a:close/>
                <a:moveTo>
                  <a:pt x="2370" y="254"/>
                </a:moveTo>
                <a:cubicBezTo>
                  <a:pt x="2323" y="254"/>
                  <a:pt x="2291" y="302"/>
                  <a:pt x="2291" y="350"/>
                </a:cubicBezTo>
                <a:cubicBezTo>
                  <a:pt x="2291" y="381"/>
                  <a:pt x="2323" y="429"/>
                  <a:pt x="2370" y="429"/>
                </a:cubicBezTo>
                <a:cubicBezTo>
                  <a:pt x="2418" y="429"/>
                  <a:pt x="2450" y="381"/>
                  <a:pt x="2450" y="350"/>
                </a:cubicBezTo>
                <a:cubicBezTo>
                  <a:pt x="2450" y="302"/>
                  <a:pt x="2418" y="254"/>
                  <a:pt x="2370" y="25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3" name="Freeform: Shape 17">
            <a:extLst>
              <a:ext uri="{FF2B5EF4-FFF2-40B4-BE49-F238E27FC236}">
                <a16:creationId xmlns:a16="http://schemas.microsoft.com/office/drawing/2014/main" id="{583FE601-E5A9-9448-8BE3-C1947AD1B2EA}"/>
              </a:ext>
            </a:extLst>
          </p:cNvPr>
          <p:cNvSpPr/>
          <p:nvPr/>
        </p:nvSpPr>
        <p:spPr>
          <a:xfrm>
            <a:off x="21065276" y="6492073"/>
            <a:ext cx="1980720" cy="1448280"/>
          </a:xfrm>
          <a:custGeom>
            <a:avLst/>
            <a:gdLst/>
            <a:ahLst/>
            <a:cxnLst>
              <a:cxn ang="3cd4">
                <a:pos x="hc" y="t"/>
              </a:cxn>
              <a:cxn ang="cd2">
                <a:pos x="l" y="vc"/>
              </a:cxn>
              <a:cxn ang="cd4">
                <a:pos x="hc" y="b"/>
              </a:cxn>
              <a:cxn ang="0">
                <a:pos x="r" y="vc"/>
              </a:cxn>
            </a:cxnLst>
            <a:rect l="l" t="t" r="r" b="b"/>
            <a:pathLst>
              <a:path w="5503" h="4024">
                <a:moveTo>
                  <a:pt x="620" y="573"/>
                </a:moveTo>
                <a:cubicBezTo>
                  <a:pt x="684" y="573"/>
                  <a:pt x="732" y="509"/>
                  <a:pt x="732" y="445"/>
                </a:cubicBezTo>
                <a:cubicBezTo>
                  <a:pt x="732" y="382"/>
                  <a:pt x="684" y="334"/>
                  <a:pt x="620" y="334"/>
                </a:cubicBezTo>
                <a:cubicBezTo>
                  <a:pt x="557" y="334"/>
                  <a:pt x="493" y="382"/>
                  <a:pt x="493" y="445"/>
                </a:cubicBezTo>
                <a:cubicBezTo>
                  <a:pt x="493" y="509"/>
                  <a:pt x="557" y="573"/>
                  <a:pt x="620" y="573"/>
                </a:cubicBezTo>
                <a:close/>
                <a:moveTo>
                  <a:pt x="1081" y="573"/>
                </a:moveTo>
                <a:cubicBezTo>
                  <a:pt x="1145" y="573"/>
                  <a:pt x="1193" y="509"/>
                  <a:pt x="1193" y="445"/>
                </a:cubicBezTo>
                <a:cubicBezTo>
                  <a:pt x="1193" y="382"/>
                  <a:pt x="1145" y="334"/>
                  <a:pt x="1081" y="334"/>
                </a:cubicBezTo>
                <a:cubicBezTo>
                  <a:pt x="1018" y="334"/>
                  <a:pt x="954" y="382"/>
                  <a:pt x="954" y="445"/>
                </a:cubicBezTo>
                <a:cubicBezTo>
                  <a:pt x="954" y="509"/>
                  <a:pt x="1018" y="573"/>
                  <a:pt x="1081" y="573"/>
                </a:cubicBezTo>
                <a:close/>
                <a:moveTo>
                  <a:pt x="1542" y="573"/>
                </a:moveTo>
                <a:cubicBezTo>
                  <a:pt x="1606" y="573"/>
                  <a:pt x="1654" y="509"/>
                  <a:pt x="1654" y="445"/>
                </a:cubicBezTo>
                <a:cubicBezTo>
                  <a:pt x="1654" y="382"/>
                  <a:pt x="1606" y="334"/>
                  <a:pt x="1542" y="334"/>
                </a:cubicBezTo>
                <a:cubicBezTo>
                  <a:pt x="1479" y="334"/>
                  <a:pt x="1415" y="382"/>
                  <a:pt x="1415" y="445"/>
                </a:cubicBezTo>
                <a:cubicBezTo>
                  <a:pt x="1415" y="509"/>
                  <a:pt x="1479" y="573"/>
                  <a:pt x="1542" y="573"/>
                </a:cubicBezTo>
                <a:close/>
                <a:moveTo>
                  <a:pt x="5423" y="0"/>
                </a:moveTo>
                <a:lnTo>
                  <a:pt x="79" y="0"/>
                </a:lnTo>
                <a:cubicBezTo>
                  <a:pt x="48" y="0"/>
                  <a:pt x="0" y="48"/>
                  <a:pt x="0" y="79"/>
                </a:cubicBezTo>
                <a:lnTo>
                  <a:pt x="0" y="3944"/>
                </a:lnTo>
                <a:cubicBezTo>
                  <a:pt x="0" y="3992"/>
                  <a:pt x="48" y="4024"/>
                  <a:pt x="79" y="4024"/>
                </a:cubicBezTo>
                <a:lnTo>
                  <a:pt x="5423" y="4024"/>
                </a:lnTo>
                <a:cubicBezTo>
                  <a:pt x="5471" y="4024"/>
                  <a:pt x="5503" y="3992"/>
                  <a:pt x="5503" y="3944"/>
                </a:cubicBezTo>
                <a:lnTo>
                  <a:pt x="5503" y="79"/>
                </a:lnTo>
                <a:cubicBezTo>
                  <a:pt x="5503" y="48"/>
                  <a:pt x="5471" y="0"/>
                  <a:pt x="5423" y="0"/>
                </a:cubicBezTo>
                <a:close/>
                <a:moveTo>
                  <a:pt x="5344" y="159"/>
                </a:moveTo>
                <a:lnTo>
                  <a:pt x="5344" y="922"/>
                </a:lnTo>
                <a:lnTo>
                  <a:pt x="5328" y="922"/>
                </a:lnTo>
                <a:lnTo>
                  <a:pt x="175" y="922"/>
                </a:lnTo>
                <a:lnTo>
                  <a:pt x="159" y="922"/>
                </a:lnTo>
                <a:lnTo>
                  <a:pt x="159" y="159"/>
                </a:lnTo>
                <a:close/>
                <a:moveTo>
                  <a:pt x="159" y="3865"/>
                </a:moveTo>
                <a:lnTo>
                  <a:pt x="159" y="1082"/>
                </a:lnTo>
                <a:lnTo>
                  <a:pt x="175" y="1082"/>
                </a:lnTo>
                <a:lnTo>
                  <a:pt x="5328" y="1082"/>
                </a:lnTo>
                <a:lnTo>
                  <a:pt x="5344" y="1082"/>
                </a:lnTo>
                <a:lnTo>
                  <a:pt x="5344" y="3865"/>
                </a:lnTo>
                <a:close/>
                <a:moveTo>
                  <a:pt x="2831" y="2497"/>
                </a:moveTo>
                <a:lnTo>
                  <a:pt x="3562" y="1495"/>
                </a:lnTo>
                <a:cubicBezTo>
                  <a:pt x="3578" y="1479"/>
                  <a:pt x="3578" y="1448"/>
                  <a:pt x="3562" y="1415"/>
                </a:cubicBezTo>
                <a:cubicBezTo>
                  <a:pt x="3547" y="1384"/>
                  <a:pt x="3515" y="1368"/>
                  <a:pt x="3499" y="1368"/>
                </a:cubicBezTo>
                <a:lnTo>
                  <a:pt x="1972" y="1368"/>
                </a:lnTo>
                <a:cubicBezTo>
                  <a:pt x="1940" y="1368"/>
                  <a:pt x="1908" y="1384"/>
                  <a:pt x="1893" y="1415"/>
                </a:cubicBezTo>
                <a:cubicBezTo>
                  <a:pt x="1893" y="1448"/>
                  <a:pt x="1893" y="1479"/>
                  <a:pt x="1908" y="1495"/>
                </a:cubicBezTo>
                <a:lnTo>
                  <a:pt x="2624" y="2497"/>
                </a:lnTo>
                <a:lnTo>
                  <a:pt x="1908" y="3499"/>
                </a:lnTo>
                <a:cubicBezTo>
                  <a:pt x="1893" y="3531"/>
                  <a:pt x="1893" y="3563"/>
                  <a:pt x="1893" y="3579"/>
                </a:cubicBezTo>
                <a:cubicBezTo>
                  <a:pt x="1908" y="3611"/>
                  <a:pt x="1940" y="3626"/>
                  <a:pt x="1972" y="3626"/>
                </a:cubicBezTo>
                <a:lnTo>
                  <a:pt x="3499" y="3626"/>
                </a:lnTo>
                <a:cubicBezTo>
                  <a:pt x="3515" y="3626"/>
                  <a:pt x="3547" y="3611"/>
                  <a:pt x="3562" y="3579"/>
                </a:cubicBezTo>
                <a:cubicBezTo>
                  <a:pt x="3578" y="3563"/>
                  <a:pt x="3578" y="3531"/>
                  <a:pt x="3562" y="3499"/>
                </a:cubicBezTo>
                <a:lnTo>
                  <a:pt x="3213" y="3022"/>
                </a:lnTo>
                <a:close/>
                <a:moveTo>
                  <a:pt x="2735" y="2624"/>
                </a:moveTo>
                <a:lnTo>
                  <a:pt x="2990" y="2990"/>
                </a:lnTo>
                <a:lnTo>
                  <a:pt x="2465" y="2990"/>
                </a:lnTo>
                <a:close/>
                <a:moveTo>
                  <a:pt x="3340" y="1527"/>
                </a:moveTo>
                <a:lnTo>
                  <a:pt x="2735" y="2370"/>
                </a:lnTo>
                <a:lnTo>
                  <a:pt x="2131" y="1527"/>
                </a:lnTo>
                <a:close/>
                <a:moveTo>
                  <a:pt x="2131" y="3467"/>
                </a:moveTo>
                <a:lnTo>
                  <a:pt x="2354" y="3149"/>
                </a:lnTo>
                <a:lnTo>
                  <a:pt x="2369" y="3149"/>
                </a:lnTo>
                <a:lnTo>
                  <a:pt x="3101" y="3149"/>
                </a:lnTo>
                <a:lnTo>
                  <a:pt x="3340" y="3467"/>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4" name="Freeform: Shape 18">
            <a:extLst>
              <a:ext uri="{FF2B5EF4-FFF2-40B4-BE49-F238E27FC236}">
                <a16:creationId xmlns:a16="http://schemas.microsoft.com/office/drawing/2014/main" id="{09EDABEF-CD20-F94E-A819-6F84944DAD1B}"/>
              </a:ext>
            </a:extLst>
          </p:cNvPr>
          <p:cNvSpPr/>
          <p:nvPr/>
        </p:nvSpPr>
        <p:spPr>
          <a:xfrm>
            <a:off x="5785155" y="9917728"/>
            <a:ext cx="1980720" cy="1447919"/>
          </a:xfrm>
          <a:custGeom>
            <a:avLst/>
            <a:gdLst/>
            <a:ahLst/>
            <a:cxnLst>
              <a:cxn ang="3cd4">
                <a:pos x="hc" y="t"/>
              </a:cxn>
              <a:cxn ang="cd2">
                <a:pos x="l" y="vc"/>
              </a:cxn>
              <a:cxn ang="cd4">
                <a:pos x="hc" y="b"/>
              </a:cxn>
              <a:cxn ang="0">
                <a:pos x="r" y="vc"/>
              </a:cxn>
            </a:cxnLst>
            <a:rect l="l" t="t" r="r" b="b"/>
            <a:pathLst>
              <a:path w="5503" h="4023">
                <a:moveTo>
                  <a:pt x="5423" y="0"/>
                </a:moveTo>
                <a:lnTo>
                  <a:pt x="79" y="0"/>
                </a:lnTo>
                <a:cubicBezTo>
                  <a:pt x="32" y="0"/>
                  <a:pt x="0" y="47"/>
                  <a:pt x="0" y="79"/>
                </a:cubicBezTo>
                <a:lnTo>
                  <a:pt x="0" y="3944"/>
                </a:lnTo>
                <a:cubicBezTo>
                  <a:pt x="0" y="3992"/>
                  <a:pt x="32" y="4023"/>
                  <a:pt x="79" y="4023"/>
                </a:cubicBezTo>
                <a:lnTo>
                  <a:pt x="5423" y="4023"/>
                </a:lnTo>
                <a:cubicBezTo>
                  <a:pt x="5471" y="4023"/>
                  <a:pt x="5503" y="3992"/>
                  <a:pt x="5503" y="3944"/>
                </a:cubicBezTo>
                <a:lnTo>
                  <a:pt x="5503" y="79"/>
                </a:lnTo>
                <a:cubicBezTo>
                  <a:pt x="5503" y="47"/>
                  <a:pt x="5471" y="0"/>
                  <a:pt x="5423" y="0"/>
                </a:cubicBezTo>
                <a:close/>
                <a:moveTo>
                  <a:pt x="5344" y="159"/>
                </a:moveTo>
                <a:lnTo>
                  <a:pt x="5344" y="922"/>
                </a:lnTo>
                <a:lnTo>
                  <a:pt x="175" y="922"/>
                </a:lnTo>
                <a:lnTo>
                  <a:pt x="159" y="922"/>
                </a:lnTo>
                <a:lnTo>
                  <a:pt x="159" y="159"/>
                </a:lnTo>
                <a:close/>
                <a:moveTo>
                  <a:pt x="159" y="3865"/>
                </a:moveTo>
                <a:lnTo>
                  <a:pt x="159" y="1081"/>
                </a:lnTo>
                <a:lnTo>
                  <a:pt x="175" y="1081"/>
                </a:lnTo>
                <a:lnTo>
                  <a:pt x="5344" y="1081"/>
                </a:lnTo>
                <a:lnTo>
                  <a:pt x="5344" y="3865"/>
                </a:lnTo>
                <a:close/>
                <a:moveTo>
                  <a:pt x="843" y="572"/>
                </a:moveTo>
                <a:cubicBezTo>
                  <a:pt x="906" y="572"/>
                  <a:pt x="954" y="509"/>
                  <a:pt x="954" y="445"/>
                </a:cubicBezTo>
                <a:cubicBezTo>
                  <a:pt x="954" y="381"/>
                  <a:pt x="906" y="333"/>
                  <a:pt x="843" y="333"/>
                </a:cubicBezTo>
                <a:cubicBezTo>
                  <a:pt x="779" y="333"/>
                  <a:pt x="731" y="381"/>
                  <a:pt x="731" y="445"/>
                </a:cubicBezTo>
                <a:cubicBezTo>
                  <a:pt x="731" y="509"/>
                  <a:pt x="779" y="572"/>
                  <a:pt x="843" y="572"/>
                </a:cubicBezTo>
                <a:close/>
                <a:moveTo>
                  <a:pt x="1304" y="572"/>
                </a:moveTo>
                <a:cubicBezTo>
                  <a:pt x="1368" y="572"/>
                  <a:pt x="1415" y="509"/>
                  <a:pt x="1415" y="445"/>
                </a:cubicBezTo>
                <a:cubicBezTo>
                  <a:pt x="1415" y="381"/>
                  <a:pt x="1368" y="333"/>
                  <a:pt x="1304" y="333"/>
                </a:cubicBezTo>
                <a:cubicBezTo>
                  <a:pt x="1240" y="333"/>
                  <a:pt x="1177" y="381"/>
                  <a:pt x="1177" y="445"/>
                </a:cubicBezTo>
                <a:cubicBezTo>
                  <a:pt x="1177" y="509"/>
                  <a:pt x="1240" y="572"/>
                  <a:pt x="1304" y="572"/>
                </a:cubicBezTo>
                <a:close/>
                <a:moveTo>
                  <a:pt x="1766" y="572"/>
                </a:moveTo>
                <a:cubicBezTo>
                  <a:pt x="1829" y="572"/>
                  <a:pt x="1877" y="509"/>
                  <a:pt x="1877" y="445"/>
                </a:cubicBezTo>
                <a:cubicBezTo>
                  <a:pt x="1877" y="381"/>
                  <a:pt x="1829" y="333"/>
                  <a:pt x="1766" y="333"/>
                </a:cubicBezTo>
                <a:cubicBezTo>
                  <a:pt x="1702" y="333"/>
                  <a:pt x="1638" y="381"/>
                  <a:pt x="1638" y="445"/>
                </a:cubicBezTo>
                <a:cubicBezTo>
                  <a:pt x="1638" y="509"/>
                  <a:pt x="1702" y="572"/>
                  <a:pt x="1766" y="572"/>
                </a:cubicBezTo>
                <a:close/>
                <a:moveTo>
                  <a:pt x="3451" y="2242"/>
                </a:moveTo>
                <a:lnTo>
                  <a:pt x="3451" y="2195"/>
                </a:lnTo>
                <a:cubicBezTo>
                  <a:pt x="3451" y="1781"/>
                  <a:pt x="3149" y="1447"/>
                  <a:pt x="2751" y="1447"/>
                </a:cubicBezTo>
                <a:cubicBezTo>
                  <a:pt x="2370" y="1447"/>
                  <a:pt x="2052" y="1781"/>
                  <a:pt x="2052" y="2195"/>
                </a:cubicBezTo>
                <a:lnTo>
                  <a:pt x="2052" y="2242"/>
                </a:lnTo>
                <a:cubicBezTo>
                  <a:pt x="1956" y="2242"/>
                  <a:pt x="1877" y="2322"/>
                  <a:pt x="1877" y="2433"/>
                </a:cubicBezTo>
                <a:lnTo>
                  <a:pt x="1877" y="3356"/>
                </a:lnTo>
                <a:cubicBezTo>
                  <a:pt x="1877" y="3467"/>
                  <a:pt x="1956" y="3547"/>
                  <a:pt x="2052" y="3547"/>
                </a:cubicBezTo>
                <a:lnTo>
                  <a:pt x="3451" y="3547"/>
                </a:lnTo>
                <a:cubicBezTo>
                  <a:pt x="3547" y="3547"/>
                  <a:pt x="3626" y="3467"/>
                  <a:pt x="3626" y="3356"/>
                </a:cubicBezTo>
                <a:lnTo>
                  <a:pt x="3626" y="2433"/>
                </a:lnTo>
                <a:cubicBezTo>
                  <a:pt x="3626" y="2338"/>
                  <a:pt x="3547" y="2258"/>
                  <a:pt x="3451" y="2242"/>
                </a:cubicBezTo>
                <a:close/>
                <a:moveTo>
                  <a:pt x="2211" y="2195"/>
                </a:moveTo>
                <a:cubicBezTo>
                  <a:pt x="2211" y="1877"/>
                  <a:pt x="2465" y="1606"/>
                  <a:pt x="2751" y="1606"/>
                </a:cubicBezTo>
                <a:cubicBezTo>
                  <a:pt x="3054" y="1606"/>
                  <a:pt x="3292" y="1877"/>
                  <a:pt x="3292" y="2195"/>
                </a:cubicBezTo>
                <a:lnTo>
                  <a:pt x="3292" y="2242"/>
                </a:lnTo>
                <a:lnTo>
                  <a:pt x="2211" y="2242"/>
                </a:lnTo>
                <a:close/>
                <a:moveTo>
                  <a:pt x="3467" y="3356"/>
                </a:moveTo>
                <a:cubicBezTo>
                  <a:pt x="3467" y="3371"/>
                  <a:pt x="3467" y="3387"/>
                  <a:pt x="3451" y="3387"/>
                </a:cubicBezTo>
                <a:lnTo>
                  <a:pt x="2052" y="3387"/>
                </a:lnTo>
                <a:cubicBezTo>
                  <a:pt x="2036" y="3387"/>
                  <a:pt x="2036" y="3371"/>
                  <a:pt x="2036" y="3356"/>
                </a:cubicBezTo>
                <a:lnTo>
                  <a:pt x="2036" y="2433"/>
                </a:lnTo>
                <a:cubicBezTo>
                  <a:pt x="2036" y="2417"/>
                  <a:pt x="2036" y="2401"/>
                  <a:pt x="2052" y="2401"/>
                </a:cubicBezTo>
                <a:lnTo>
                  <a:pt x="3451" y="2401"/>
                </a:lnTo>
                <a:cubicBezTo>
                  <a:pt x="3467" y="2401"/>
                  <a:pt x="3467" y="2417"/>
                  <a:pt x="3467" y="243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5" name="TextBox 104">
            <a:extLst>
              <a:ext uri="{FF2B5EF4-FFF2-40B4-BE49-F238E27FC236}">
                <a16:creationId xmlns:a16="http://schemas.microsoft.com/office/drawing/2014/main" id="{61F9E995-B0B2-1240-BF8C-40FE6D74D08B}"/>
              </a:ext>
            </a:extLst>
          </p:cNvPr>
          <p:cNvSpPr txBox="1"/>
          <p:nvPr/>
        </p:nvSpPr>
        <p:spPr>
          <a:xfrm>
            <a:off x="827542" y="5164929"/>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Booklet</a:t>
            </a:r>
          </a:p>
        </p:txBody>
      </p:sp>
      <p:sp>
        <p:nvSpPr>
          <p:cNvPr id="106" name="Freeform: Shape 13">
            <a:extLst>
              <a:ext uri="{FF2B5EF4-FFF2-40B4-BE49-F238E27FC236}">
                <a16:creationId xmlns:a16="http://schemas.microsoft.com/office/drawing/2014/main" id="{E381F9AA-3874-0C4D-B3EC-1BD3B0448D43}"/>
              </a:ext>
            </a:extLst>
          </p:cNvPr>
          <p:cNvSpPr/>
          <p:nvPr/>
        </p:nvSpPr>
        <p:spPr>
          <a:xfrm>
            <a:off x="1995964" y="3541933"/>
            <a:ext cx="1299240" cy="1328040"/>
          </a:xfrm>
          <a:custGeom>
            <a:avLst/>
            <a:gdLst/>
            <a:ahLst/>
            <a:cxnLst>
              <a:cxn ang="3cd4">
                <a:pos x="hc" y="t"/>
              </a:cxn>
              <a:cxn ang="cd2">
                <a:pos x="l" y="vc"/>
              </a:cxn>
              <a:cxn ang="cd4">
                <a:pos x="hc" y="b"/>
              </a:cxn>
              <a:cxn ang="0">
                <a:pos x="r" y="vc"/>
              </a:cxn>
            </a:cxnLst>
            <a:rect l="l" t="t" r="r" b="b"/>
            <a:pathLst>
              <a:path w="3610" h="3690">
                <a:moveTo>
                  <a:pt x="3499" y="0"/>
                </a:moveTo>
                <a:lnTo>
                  <a:pt x="1813" y="684"/>
                </a:lnTo>
                <a:lnTo>
                  <a:pt x="111" y="0"/>
                </a:lnTo>
                <a:cubicBezTo>
                  <a:pt x="79" y="0"/>
                  <a:pt x="64" y="0"/>
                  <a:pt x="31" y="17"/>
                </a:cubicBezTo>
                <a:cubicBezTo>
                  <a:pt x="16" y="32"/>
                  <a:pt x="0" y="48"/>
                  <a:pt x="0" y="80"/>
                </a:cubicBezTo>
                <a:lnTo>
                  <a:pt x="0" y="2911"/>
                </a:lnTo>
                <a:cubicBezTo>
                  <a:pt x="0" y="2959"/>
                  <a:pt x="16" y="2975"/>
                  <a:pt x="47" y="2990"/>
                </a:cubicBezTo>
                <a:lnTo>
                  <a:pt x="1781" y="3675"/>
                </a:lnTo>
                <a:cubicBezTo>
                  <a:pt x="1781" y="3690"/>
                  <a:pt x="1781" y="3690"/>
                  <a:pt x="1797" y="3690"/>
                </a:cubicBezTo>
                <a:lnTo>
                  <a:pt x="1813" y="3690"/>
                </a:lnTo>
                <a:lnTo>
                  <a:pt x="1829" y="3690"/>
                </a:lnTo>
                <a:lnTo>
                  <a:pt x="1829" y="3675"/>
                </a:lnTo>
                <a:lnTo>
                  <a:pt x="3563" y="2990"/>
                </a:lnTo>
                <a:cubicBezTo>
                  <a:pt x="3594" y="2975"/>
                  <a:pt x="3610" y="2959"/>
                  <a:pt x="3610" y="2911"/>
                </a:cubicBezTo>
                <a:lnTo>
                  <a:pt x="3610" y="80"/>
                </a:lnTo>
                <a:cubicBezTo>
                  <a:pt x="3610" y="48"/>
                  <a:pt x="3594" y="32"/>
                  <a:pt x="3578" y="17"/>
                </a:cubicBezTo>
                <a:cubicBezTo>
                  <a:pt x="3563" y="0"/>
                  <a:pt x="3531" y="0"/>
                  <a:pt x="3499" y="0"/>
                </a:cubicBezTo>
                <a:close/>
                <a:moveTo>
                  <a:pt x="159" y="191"/>
                </a:moveTo>
                <a:lnTo>
                  <a:pt x="1733" y="812"/>
                </a:lnTo>
                <a:lnTo>
                  <a:pt x="1733" y="3484"/>
                </a:lnTo>
                <a:lnTo>
                  <a:pt x="159" y="2863"/>
                </a:lnTo>
                <a:close/>
                <a:moveTo>
                  <a:pt x="3451" y="2863"/>
                </a:moveTo>
                <a:lnTo>
                  <a:pt x="1892" y="3484"/>
                </a:lnTo>
                <a:lnTo>
                  <a:pt x="1892" y="812"/>
                </a:lnTo>
                <a:lnTo>
                  <a:pt x="3451" y="191"/>
                </a:lnTo>
                <a:close/>
                <a:moveTo>
                  <a:pt x="2242" y="1623"/>
                </a:moveTo>
                <a:cubicBezTo>
                  <a:pt x="2258" y="1623"/>
                  <a:pt x="2274" y="1623"/>
                  <a:pt x="2274" y="1607"/>
                </a:cubicBezTo>
                <a:lnTo>
                  <a:pt x="3117" y="1273"/>
                </a:lnTo>
                <a:cubicBezTo>
                  <a:pt x="3165" y="1257"/>
                  <a:pt x="3181" y="1209"/>
                  <a:pt x="3165" y="1178"/>
                </a:cubicBezTo>
                <a:cubicBezTo>
                  <a:pt x="3149" y="1130"/>
                  <a:pt x="3101" y="1114"/>
                  <a:pt x="3069" y="1130"/>
                </a:cubicBezTo>
                <a:lnTo>
                  <a:pt x="2210" y="1464"/>
                </a:lnTo>
                <a:cubicBezTo>
                  <a:pt x="2179" y="1480"/>
                  <a:pt x="2163" y="1527"/>
                  <a:pt x="2179" y="1575"/>
                </a:cubicBezTo>
                <a:cubicBezTo>
                  <a:pt x="2179" y="1607"/>
                  <a:pt x="2210" y="1623"/>
                  <a:pt x="2242" y="1623"/>
                </a:cubicBezTo>
                <a:close/>
                <a:moveTo>
                  <a:pt x="2242" y="2099"/>
                </a:moveTo>
                <a:lnTo>
                  <a:pt x="2274" y="2099"/>
                </a:lnTo>
                <a:lnTo>
                  <a:pt x="3117" y="1765"/>
                </a:lnTo>
                <a:cubicBezTo>
                  <a:pt x="3165" y="1749"/>
                  <a:pt x="3181" y="1701"/>
                  <a:pt x="3165" y="1653"/>
                </a:cubicBezTo>
                <a:cubicBezTo>
                  <a:pt x="3149" y="1622"/>
                  <a:pt x="3101" y="1590"/>
                  <a:pt x="3069" y="1622"/>
                </a:cubicBezTo>
                <a:lnTo>
                  <a:pt x="2210" y="1956"/>
                </a:lnTo>
                <a:cubicBezTo>
                  <a:pt x="2179" y="1972"/>
                  <a:pt x="2163" y="2019"/>
                  <a:pt x="2179" y="2051"/>
                </a:cubicBezTo>
                <a:cubicBezTo>
                  <a:pt x="2179" y="2083"/>
                  <a:pt x="2210" y="2099"/>
                  <a:pt x="2242" y="2099"/>
                </a:cubicBezTo>
                <a:close/>
                <a:moveTo>
                  <a:pt x="2242" y="2593"/>
                </a:moveTo>
                <a:lnTo>
                  <a:pt x="2274" y="2593"/>
                </a:lnTo>
                <a:lnTo>
                  <a:pt x="3117" y="2243"/>
                </a:lnTo>
                <a:cubicBezTo>
                  <a:pt x="3165" y="2227"/>
                  <a:pt x="3181" y="2180"/>
                  <a:pt x="3165" y="2148"/>
                </a:cubicBezTo>
                <a:cubicBezTo>
                  <a:pt x="3149" y="2100"/>
                  <a:pt x="3101" y="2084"/>
                  <a:pt x="3069" y="2100"/>
                </a:cubicBezTo>
                <a:lnTo>
                  <a:pt x="2210" y="2434"/>
                </a:lnTo>
                <a:cubicBezTo>
                  <a:pt x="2179" y="2450"/>
                  <a:pt x="2163" y="2498"/>
                  <a:pt x="2179" y="2545"/>
                </a:cubicBezTo>
                <a:cubicBezTo>
                  <a:pt x="2179" y="2577"/>
                  <a:pt x="2210" y="2593"/>
                  <a:pt x="2242" y="2593"/>
                </a:cubicBezTo>
                <a:close/>
                <a:moveTo>
                  <a:pt x="1400" y="1464"/>
                </a:moveTo>
                <a:lnTo>
                  <a:pt x="556" y="1130"/>
                </a:lnTo>
                <a:cubicBezTo>
                  <a:pt x="509" y="1114"/>
                  <a:pt x="461" y="1130"/>
                  <a:pt x="445" y="1178"/>
                </a:cubicBezTo>
                <a:cubicBezTo>
                  <a:pt x="429" y="1209"/>
                  <a:pt x="445" y="1257"/>
                  <a:pt x="493" y="1273"/>
                </a:cubicBezTo>
                <a:lnTo>
                  <a:pt x="1336" y="1607"/>
                </a:lnTo>
                <a:cubicBezTo>
                  <a:pt x="1352" y="1623"/>
                  <a:pt x="1352" y="1623"/>
                  <a:pt x="1367" y="1623"/>
                </a:cubicBezTo>
                <a:cubicBezTo>
                  <a:pt x="1400" y="1623"/>
                  <a:pt x="1431" y="1607"/>
                  <a:pt x="1447" y="1575"/>
                </a:cubicBezTo>
                <a:cubicBezTo>
                  <a:pt x="1463" y="1527"/>
                  <a:pt x="1431" y="1480"/>
                  <a:pt x="1400" y="1464"/>
                </a:cubicBezTo>
                <a:close/>
                <a:moveTo>
                  <a:pt x="1400" y="1956"/>
                </a:moveTo>
                <a:lnTo>
                  <a:pt x="556" y="1622"/>
                </a:lnTo>
                <a:cubicBezTo>
                  <a:pt x="509" y="1590"/>
                  <a:pt x="461" y="1622"/>
                  <a:pt x="445" y="1653"/>
                </a:cubicBezTo>
                <a:cubicBezTo>
                  <a:pt x="429" y="1701"/>
                  <a:pt x="445" y="1749"/>
                  <a:pt x="493" y="1765"/>
                </a:cubicBezTo>
                <a:lnTo>
                  <a:pt x="1336" y="2099"/>
                </a:lnTo>
                <a:lnTo>
                  <a:pt x="1367" y="2099"/>
                </a:lnTo>
                <a:cubicBezTo>
                  <a:pt x="1400" y="2099"/>
                  <a:pt x="1431" y="2083"/>
                  <a:pt x="1447" y="2051"/>
                </a:cubicBezTo>
                <a:cubicBezTo>
                  <a:pt x="1463" y="2019"/>
                  <a:pt x="1431" y="1972"/>
                  <a:pt x="1400" y="1956"/>
                </a:cubicBezTo>
                <a:close/>
                <a:moveTo>
                  <a:pt x="1400" y="2434"/>
                </a:moveTo>
                <a:lnTo>
                  <a:pt x="556" y="2100"/>
                </a:lnTo>
                <a:cubicBezTo>
                  <a:pt x="509" y="2084"/>
                  <a:pt x="461" y="2100"/>
                  <a:pt x="445" y="2148"/>
                </a:cubicBezTo>
                <a:cubicBezTo>
                  <a:pt x="429" y="2180"/>
                  <a:pt x="445" y="2227"/>
                  <a:pt x="493" y="2243"/>
                </a:cubicBezTo>
                <a:lnTo>
                  <a:pt x="1336" y="2593"/>
                </a:lnTo>
                <a:lnTo>
                  <a:pt x="1367" y="2593"/>
                </a:lnTo>
                <a:cubicBezTo>
                  <a:pt x="1400" y="2593"/>
                  <a:pt x="1431" y="2577"/>
                  <a:pt x="1447" y="2545"/>
                </a:cubicBezTo>
                <a:cubicBezTo>
                  <a:pt x="1463" y="2498"/>
                  <a:pt x="1431" y="2450"/>
                  <a:pt x="1400" y="243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7" name="TextBox 106">
            <a:extLst>
              <a:ext uri="{FF2B5EF4-FFF2-40B4-BE49-F238E27FC236}">
                <a16:creationId xmlns:a16="http://schemas.microsoft.com/office/drawing/2014/main" id="{9B5D942D-792A-5F4C-AB14-5456D6B2C0E8}"/>
              </a:ext>
            </a:extLst>
          </p:cNvPr>
          <p:cNvSpPr txBox="1"/>
          <p:nvPr/>
        </p:nvSpPr>
        <p:spPr>
          <a:xfrm>
            <a:off x="5187234" y="5166322"/>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Close</a:t>
            </a:r>
          </a:p>
        </p:txBody>
      </p:sp>
      <p:sp>
        <p:nvSpPr>
          <p:cNvPr id="108" name="Freeform: Shape 16">
            <a:extLst>
              <a:ext uri="{FF2B5EF4-FFF2-40B4-BE49-F238E27FC236}">
                <a16:creationId xmlns:a16="http://schemas.microsoft.com/office/drawing/2014/main" id="{FADF6463-EC9A-4C40-8D33-0F41D93680A0}"/>
              </a:ext>
            </a:extLst>
          </p:cNvPr>
          <p:cNvSpPr/>
          <p:nvPr/>
        </p:nvSpPr>
        <p:spPr>
          <a:xfrm>
            <a:off x="6150531" y="3253557"/>
            <a:ext cx="1436759" cy="1436759"/>
          </a:xfrm>
          <a:custGeom>
            <a:avLst/>
            <a:gdLst/>
            <a:ahLst/>
            <a:cxnLst>
              <a:cxn ang="3cd4">
                <a:pos x="hc" y="t"/>
              </a:cxn>
              <a:cxn ang="cd2">
                <a:pos x="l" y="vc"/>
              </a:cxn>
              <a:cxn ang="cd4">
                <a:pos x="hc" y="b"/>
              </a:cxn>
              <a:cxn ang="0">
                <a:pos x="r" y="vc"/>
              </a:cxn>
            </a:cxnLst>
            <a:rect l="l" t="t" r="r" b="b"/>
            <a:pathLst>
              <a:path w="3992" h="3992">
                <a:moveTo>
                  <a:pt x="2736" y="1255"/>
                </a:moveTo>
                <a:cubicBezTo>
                  <a:pt x="2704" y="1224"/>
                  <a:pt x="2656" y="1224"/>
                  <a:pt x="2624" y="1255"/>
                </a:cubicBezTo>
                <a:lnTo>
                  <a:pt x="2004" y="1876"/>
                </a:lnTo>
                <a:lnTo>
                  <a:pt x="1368" y="1255"/>
                </a:lnTo>
                <a:cubicBezTo>
                  <a:pt x="1352" y="1224"/>
                  <a:pt x="1288" y="1224"/>
                  <a:pt x="1256" y="1255"/>
                </a:cubicBezTo>
                <a:cubicBezTo>
                  <a:pt x="1225" y="1287"/>
                  <a:pt x="1225" y="1335"/>
                  <a:pt x="1256" y="1367"/>
                </a:cubicBezTo>
                <a:lnTo>
                  <a:pt x="1892" y="2003"/>
                </a:lnTo>
                <a:lnTo>
                  <a:pt x="1256" y="2623"/>
                </a:lnTo>
                <a:cubicBezTo>
                  <a:pt x="1225" y="2655"/>
                  <a:pt x="1225" y="2703"/>
                  <a:pt x="1256" y="2735"/>
                </a:cubicBezTo>
                <a:cubicBezTo>
                  <a:pt x="1272" y="2751"/>
                  <a:pt x="1304" y="2751"/>
                  <a:pt x="1320" y="2751"/>
                </a:cubicBezTo>
                <a:cubicBezTo>
                  <a:pt x="1336" y="2751"/>
                  <a:pt x="1352" y="2751"/>
                  <a:pt x="1368" y="2735"/>
                </a:cubicBezTo>
                <a:lnTo>
                  <a:pt x="2004" y="2114"/>
                </a:lnTo>
                <a:lnTo>
                  <a:pt x="2624" y="2735"/>
                </a:lnTo>
                <a:cubicBezTo>
                  <a:pt x="2640" y="2751"/>
                  <a:pt x="2656" y="2751"/>
                  <a:pt x="2672" y="2751"/>
                </a:cubicBezTo>
                <a:cubicBezTo>
                  <a:pt x="2704" y="2751"/>
                  <a:pt x="2719" y="2751"/>
                  <a:pt x="2736" y="2735"/>
                </a:cubicBezTo>
                <a:cubicBezTo>
                  <a:pt x="2767" y="2703"/>
                  <a:pt x="2767" y="2655"/>
                  <a:pt x="2736" y="2623"/>
                </a:cubicBezTo>
                <a:lnTo>
                  <a:pt x="2115" y="2003"/>
                </a:lnTo>
                <a:lnTo>
                  <a:pt x="2736" y="1367"/>
                </a:lnTo>
                <a:cubicBezTo>
                  <a:pt x="2767" y="1335"/>
                  <a:pt x="2767" y="1287"/>
                  <a:pt x="2736" y="1255"/>
                </a:cubicBezTo>
                <a:close/>
                <a:moveTo>
                  <a:pt x="2004" y="0"/>
                </a:moveTo>
                <a:cubicBezTo>
                  <a:pt x="891" y="0"/>
                  <a:pt x="0" y="891"/>
                  <a:pt x="0" y="2004"/>
                </a:cubicBezTo>
                <a:cubicBezTo>
                  <a:pt x="0" y="3101"/>
                  <a:pt x="891" y="3992"/>
                  <a:pt x="2004" y="3992"/>
                </a:cubicBezTo>
                <a:cubicBezTo>
                  <a:pt x="3101" y="3992"/>
                  <a:pt x="3992" y="3101"/>
                  <a:pt x="3992" y="2004"/>
                </a:cubicBezTo>
                <a:cubicBezTo>
                  <a:pt x="3992" y="891"/>
                  <a:pt x="3101" y="0"/>
                  <a:pt x="2004" y="0"/>
                </a:cubicBezTo>
                <a:close/>
                <a:moveTo>
                  <a:pt x="2004" y="3833"/>
                </a:moveTo>
                <a:cubicBezTo>
                  <a:pt x="986" y="3833"/>
                  <a:pt x="159" y="3006"/>
                  <a:pt x="159" y="2004"/>
                </a:cubicBezTo>
                <a:cubicBezTo>
                  <a:pt x="159" y="986"/>
                  <a:pt x="986" y="159"/>
                  <a:pt x="2004" y="159"/>
                </a:cubicBezTo>
                <a:cubicBezTo>
                  <a:pt x="3006" y="159"/>
                  <a:pt x="3833" y="986"/>
                  <a:pt x="3833" y="2004"/>
                </a:cubicBezTo>
                <a:cubicBezTo>
                  <a:pt x="3833" y="3006"/>
                  <a:pt x="3006" y="3833"/>
                  <a:pt x="2004" y="383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09" name="TextBox 108">
            <a:extLst>
              <a:ext uri="{FF2B5EF4-FFF2-40B4-BE49-F238E27FC236}">
                <a16:creationId xmlns:a16="http://schemas.microsoft.com/office/drawing/2014/main" id="{6B3DD14F-9F3D-894F-9C5C-7E7E464F9F41}"/>
              </a:ext>
            </a:extLst>
          </p:cNvPr>
          <p:cNvSpPr txBox="1"/>
          <p:nvPr/>
        </p:nvSpPr>
        <p:spPr>
          <a:xfrm>
            <a:off x="21136328" y="11540873"/>
            <a:ext cx="211138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ync</a:t>
            </a:r>
          </a:p>
        </p:txBody>
      </p:sp>
      <p:sp>
        <p:nvSpPr>
          <p:cNvPr id="110" name="Freeform: Shape 1">
            <a:extLst>
              <a:ext uri="{FF2B5EF4-FFF2-40B4-BE49-F238E27FC236}">
                <a16:creationId xmlns:a16="http://schemas.microsoft.com/office/drawing/2014/main" id="{A7C176B9-A9D2-D14E-AD18-1986953B16E8}"/>
              </a:ext>
            </a:extLst>
          </p:cNvPr>
          <p:cNvSpPr/>
          <p:nvPr/>
        </p:nvSpPr>
        <p:spPr>
          <a:xfrm>
            <a:off x="21430009" y="9733863"/>
            <a:ext cx="1442519" cy="1442519"/>
          </a:xfrm>
          <a:custGeom>
            <a:avLst/>
            <a:gdLst/>
            <a:ahLst/>
            <a:cxnLst>
              <a:cxn ang="3cd4">
                <a:pos x="hc" y="t"/>
              </a:cxn>
              <a:cxn ang="cd2">
                <a:pos x="l" y="vc"/>
              </a:cxn>
              <a:cxn ang="cd4">
                <a:pos x="hc" y="b"/>
              </a:cxn>
              <a:cxn ang="0">
                <a:pos x="r" y="vc"/>
              </a:cxn>
            </a:cxnLst>
            <a:rect l="l" t="t" r="r" b="b"/>
            <a:pathLst>
              <a:path w="4008" h="4008">
                <a:moveTo>
                  <a:pt x="2005" y="0"/>
                </a:moveTo>
                <a:cubicBezTo>
                  <a:pt x="891" y="0"/>
                  <a:pt x="0" y="907"/>
                  <a:pt x="0" y="2004"/>
                </a:cubicBezTo>
                <a:cubicBezTo>
                  <a:pt x="0" y="3101"/>
                  <a:pt x="891" y="4008"/>
                  <a:pt x="2005" y="4008"/>
                </a:cubicBezTo>
                <a:cubicBezTo>
                  <a:pt x="3102" y="4008"/>
                  <a:pt x="4008" y="3101"/>
                  <a:pt x="4008" y="2004"/>
                </a:cubicBezTo>
                <a:cubicBezTo>
                  <a:pt x="4008" y="907"/>
                  <a:pt x="3102" y="0"/>
                  <a:pt x="2005" y="0"/>
                </a:cubicBezTo>
                <a:close/>
                <a:moveTo>
                  <a:pt x="2005" y="3849"/>
                </a:moveTo>
                <a:cubicBezTo>
                  <a:pt x="987" y="3849"/>
                  <a:pt x="160" y="3022"/>
                  <a:pt x="160" y="2004"/>
                </a:cubicBezTo>
                <a:cubicBezTo>
                  <a:pt x="160" y="986"/>
                  <a:pt x="987" y="159"/>
                  <a:pt x="2005" y="159"/>
                </a:cubicBezTo>
                <a:cubicBezTo>
                  <a:pt x="3023" y="159"/>
                  <a:pt x="3850" y="986"/>
                  <a:pt x="3850" y="2004"/>
                </a:cubicBezTo>
                <a:cubicBezTo>
                  <a:pt x="3850" y="3022"/>
                  <a:pt x="3023" y="3849"/>
                  <a:pt x="2005" y="3849"/>
                </a:cubicBezTo>
                <a:close/>
                <a:moveTo>
                  <a:pt x="2100" y="1161"/>
                </a:moveTo>
                <a:lnTo>
                  <a:pt x="2275" y="955"/>
                </a:lnTo>
                <a:cubicBezTo>
                  <a:pt x="2291" y="922"/>
                  <a:pt x="2291" y="875"/>
                  <a:pt x="2259" y="843"/>
                </a:cubicBezTo>
                <a:cubicBezTo>
                  <a:pt x="2227" y="811"/>
                  <a:pt x="2179" y="827"/>
                  <a:pt x="2148" y="859"/>
                </a:cubicBezTo>
                <a:lnTo>
                  <a:pt x="1877" y="1177"/>
                </a:lnTo>
                <a:cubicBezTo>
                  <a:pt x="1845" y="1209"/>
                  <a:pt x="1845" y="1241"/>
                  <a:pt x="1861" y="1273"/>
                </a:cubicBezTo>
                <a:lnTo>
                  <a:pt x="2068" y="1638"/>
                </a:lnTo>
                <a:cubicBezTo>
                  <a:pt x="2084" y="1670"/>
                  <a:pt x="2116" y="1686"/>
                  <a:pt x="2132" y="1686"/>
                </a:cubicBezTo>
                <a:cubicBezTo>
                  <a:pt x="2148" y="1686"/>
                  <a:pt x="2164" y="1670"/>
                  <a:pt x="2179" y="1670"/>
                </a:cubicBezTo>
                <a:cubicBezTo>
                  <a:pt x="2211" y="1654"/>
                  <a:pt x="2227" y="1606"/>
                  <a:pt x="2211" y="1559"/>
                </a:cubicBezTo>
                <a:lnTo>
                  <a:pt x="2084" y="1320"/>
                </a:lnTo>
                <a:cubicBezTo>
                  <a:pt x="2386" y="1384"/>
                  <a:pt x="2625" y="1638"/>
                  <a:pt x="2625" y="1972"/>
                </a:cubicBezTo>
                <a:cubicBezTo>
                  <a:pt x="2625" y="2322"/>
                  <a:pt x="2323" y="2624"/>
                  <a:pt x="1973" y="2624"/>
                </a:cubicBezTo>
                <a:cubicBezTo>
                  <a:pt x="1607" y="2624"/>
                  <a:pt x="1321" y="2322"/>
                  <a:pt x="1321" y="1972"/>
                </a:cubicBezTo>
                <a:cubicBezTo>
                  <a:pt x="1321" y="1925"/>
                  <a:pt x="1273" y="1893"/>
                  <a:pt x="1241" y="1893"/>
                </a:cubicBezTo>
                <a:cubicBezTo>
                  <a:pt x="1193" y="1893"/>
                  <a:pt x="1161" y="1925"/>
                  <a:pt x="1161" y="1972"/>
                </a:cubicBezTo>
                <a:cubicBezTo>
                  <a:pt x="1161" y="2418"/>
                  <a:pt x="1527" y="2783"/>
                  <a:pt x="1973" y="2783"/>
                </a:cubicBezTo>
                <a:cubicBezTo>
                  <a:pt x="2418" y="2783"/>
                  <a:pt x="2784" y="2418"/>
                  <a:pt x="2784" y="1972"/>
                </a:cubicBezTo>
                <a:cubicBezTo>
                  <a:pt x="2784" y="1559"/>
                  <a:pt x="2482" y="1225"/>
                  <a:pt x="2100" y="116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229373996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Documents / Windows - 7</a:t>
            </a:r>
          </a:p>
        </p:txBody>
      </p:sp>
      <p:sp>
        <p:nvSpPr>
          <p:cNvPr id="40" name="Freeform: Shape 12">
            <a:extLst>
              <a:ext uri="{FF2B5EF4-FFF2-40B4-BE49-F238E27FC236}">
                <a16:creationId xmlns:a16="http://schemas.microsoft.com/office/drawing/2014/main" id="{1E7330C0-CA7F-B448-AFE9-F0682B8005ED}"/>
              </a:ext>
            </a:extLst>
          </p:cNvPr>
          <p:cNvSpPr/>
          <p:nvPr/>
        </p:nvSpPr>
        <p:spPr>
          <a:xfrm>
            <a:off x="9838580" y="3297675"/>
            <a:ext cx="1980720" cy="1447919"/>
          </a:xfrm>
          <a:custGeom>
            <a:avLst/>
            <a:gdLst/>
            <a:ahLst/>
            <a:cxnLst>
              <a:cxn ang="3cd4">
                <a:pos x="hc" y="t"/>
              </a:cxn>
              <a:cxn ang="cd2">
                <a:pos x="l" y="vc"/>
              </a:cxn>
              <a:cxn ang="cd4">
                <a:pos x="hc" y="b"/>
              </a:cxn>
              <a:cxn ang="0">
                <a:pos x="r" y="vc"/>
              </a:cxn>
            </a:cxnLst>
            <a:rect l="l" t="t" r="r" b="b"/>
            <a:pathLst>
              <a:path w="5503" h="4023">
                <a:moveTo>
                  <a:pt x="5424" y="0"/>
                </a:moveTo>
                <a:lnTo>
                  <a:pt x="80" y="0"/>
                </a:lnTo>
                <a:cubicBezTo>
                  <a:pt x="48" y="0"/>
                  <a:pt x="0" y="47"/>
                  <a:pt x="0" y="79"/>
                </a:cubicBezTo>
                <a:lnTo>
                  <a:pt x="0" y="3944"/>
                </a:lnTo>
                <a:cubicBezTo>
                  <a:pt x="0" y="3992"/>
                  <a:pt x="48" y="4023"/>
                  <a:pt x="80" y="4023"/>
                </a:cubicBezTo>
                <a:lnTo>
                  <a:pt x="5424" y="4023"/>
                </a:lnTo>
                <a:cubicBezTo>
                  <a:pt x="5472" y="4023"/>
                  <a:pt x="5503" y="3992"/>
                  <a:pt x="5503" y="3944"/>
                </a:cubicBezTo>
                <a:lnTo>
                  <a:pt x="5503" y="79"/>
                </a:lnTo>
                <a:cubicBezTo>
                  <a:pt x="5503" y="47"/>
                  <a:pt x="5472" y="0"/>
                  <a:pt x="5424" y="0"/>
                </a:cubicBezTo>
                <a:close/>
                <a:moveTo>
                  <a:pt x="5344" y="159"/>
                </a:moveTo>
                <a:lnTo>
                  <a:pt x="5344" y="922"/>
                </a:lnTo>
                <a:lnTo>
                  <a:pt x="175" y="922"/>
                </a:lnTo>
                <a:lnTo>
                  <a:pt x="159" y="922"/>
                </a:lnTo>
                <a:lnTo>
                  <a:pt x="159" y="159"/>
                </a:lnTo>
                <a:close/>
                <a:moveTo>
                  <a:pt x="159" y="3865"/>
                </a:moveTo>
                <a:lnTo>
                  <a:pt x="159" y="1081"/>
                </a:lnTo>
                <a:lnTo>
                  <a:pt x="175" y="1081"/>
                </a:lnTo>
                <a:lnTo>
                  <a:pt x="5344" y="1081"/>
                </a:lnTo>
                <a:lnTo>
                  <a:pt x="5344" y="3865"/>
                </a:lnTo>
                <a:close/>
                <a:moveTo>
                  <a:pt x="843" y="572"/>
                </a:moveTo>
                <a:cubicBezTo>
                  <a:pt x="907" y="572"/>
                  <a:pt x="955" y="509"/>
                  <a:pt x="955" y="445"/>
                </a:cubicBezTo>
                <a:cubicBezTo>
                  <a:pt x="955" y="381"/>
                  <a:pt x="907" y="333"/>
                  <a:pt x="843" y="333"/>
                </a:cubicBezTo>
                <a:cubicBezTo>
                  <a:pt x="780" y="333"/>
                  <a:pt x="732" y="381"/>
                  <a:pt x="732" y="445"/>
                </a:cubicBezTo>
                <a:cubicBezTo>
                  <a:pt x="732" y="509"/>
                  <a:pt x="780" y="572"/>
                  <a:pt x="843" y="572"/>
                </a:cubicBezTo>
                <a:close/>
                <a:moveTo>
                  <a:pt x="1304" y="572"/>
                </a:moveTo>
                <a:cubicBezTo>
                  <a:pt x="1368" y="572"/>
                  <a:pt x="1416" y="509"/>
                  <a:pt x="1416" y="445"/>
                </a:cubicBezTo>
                <a:cubicBezTo>
                  <a:pt x="1416" y="381"/>
                  <a:pt x="1368" y="333"/>
                  <a:pt x="1304" y="333"/>
                </a:cubicBezTo>
                <a:cubicBezTo>
                  <a:pt x="1241" y="333"/>
                  <a:pt x="1193" y="381"/>
                  <a:pt x="1193" y="445"/>
                </a:cubicBezTo>
                <a:cubicBezTo>
                  <a:pt x="1193" y="509"/>
                  <a:pt x="1241" y="572"/>
                  <a:pt x="1304" y="572"/>
                </a:cubicBezTo>
                <a:close/>
                <a:moveTo>
                  <a:pt x="1766" y="572"/>
                </a:moveTo>
                <a:cubicBezTo>
                  <a:pt x="1830" y="572"/>
                  <a:pt x="1877" y="509"/>
                  <a:pt x="1877" y="445"/>
                </a:cubicBezTo>
                <a:cubicBezTo>
                  <a:pt x="1877" y="381"/>
                  <a:pt x="1830" y="333"/>
                  <a:pt x="1766" y="333"/>
                </a:cubicBezTo>
                <a:cubicBezTo>
                  <a:pt x="1702" y="333"/>
                  <a:pt x="1654" y="381"/>
                  <a:pt x="1654" y="445"/>
                </a:cubicBezTo>
                <a:cubicBezTo>
                  <a:pt x="1654" y="509"/>
                  <a:pt x="1702" y="572"/>
                  <a:pt x="1766" y="572"/>
                </a:cubicBezTo>
                <a:close/>
                <a:moveTo>
                  <a:pt x="2020" y="1399"/>
                </a:moveTo>
                <a:cubicBezTo>
                  <a:pt x="2020" y="1383"/>
                  <a:pt x="2004" y="1368"/>
                  <a:pt x="1973" y="1368"/>
                </a:cubicBezTo>
                <a:lnTo>
                  <a:pt x="1925" y="1368"/>
                </a:lnTo>
                <a:cubicBezTo>
                  <a:pt x="1909" y="1368"/>
                  <a:pt x="1877" y="1383"/>
                  <a:pt x="1877" y="1399"/>
                </a:cubicBezTo>
                <a:lnTo>
                  <a:pt x="939" y="3371"/>
                </a:lnTo>
                <a:cubicBezTo>
                  <a:pt x="923" y="3387"/>
                  <a:pt x="923" y="3403"/>
                  <a:pt x="939" y="3419"/>
                </a:cubicBezTo>
                <a:cubicBezTo>
                  <a:pt x="939" y="3435"/>
                  <a:pt x="970" y="3451"/>
                  <a:pt x="986" y="3451"/>
                </a:cubicBezTo>
                <a:lnTo>
                  <a:pt x="1050" y="3451"/>
                </a:lnTo>
                <a:cubicBezTo>
                  <a:pt x="1066" y="3451"/>
                  <a:pt x="1082" y="3435"/>
                  <a:pt x="1098" y="3419"/>
                </a:cubicBezTo>
                <a:lnTo>
                  <a:pt x="1368" y="2862"/>
                </a:lnTo>
                <a:lnTo>
                  <a:pt x="2529" y="2862"/>
                </a:lnTo>
                <a:lnTo>
                  <a:pt x="2800" y="3419"/>
                </a:lnTo>
                <a:cubicBezTo>
                  <a:pt x="2815" y="3435"/>
                  <a:pt x="2831" y="3451"/>
                  <a:pt x="2847" y="3451"/>
                </a:cubicBezTo>
                <a:lnTo>
                  <a:pt x="2911" y="3451"/>
                </a:lnTo>
                <a:cubicBezTo>
                  <a:pt x="2943" y="3451"/>
                  <a:pt x="2958" y="3435"/>
                  <a:pt x="2958" y="3419"/>
                </a:cubicBezTo>
                <a:cubicBezTo>
                  <a:pt x="2975" y="3403"/>
                  <a:pt x="2975" y="3387"/>
                  <a:pt x="2975" y="3371"/>
                </a:cubicBezTo>
                <a:close/>
                <a:moveTo>
                  <a:pt x="1448" y="2687"/>
                </a:moveTo>
                <a:lnTo>
                  <a:pt x="1957" y="1638"/>
                </a:lnTo>
                <a:lnTo>
                  <a:pt x="2449" y="2687"/>
                </a:lnTo>
                <a:close/>
                <a:moveTo>
                  <a:pt x="3865" y="1908"/>
                </a:moveTo>
                <a:cubicBezTo>
                  <a:pt x="3690" y="1908"/>
                  <a:pt x="3547" y="1956"/>
                  <a:pt x="3356" y="2035"/>
                </a:cubicBezTo>
                <a:cubicBezTo>
                  <a:pt x="3324" y="2051"/>
                  <a:pt x="3324" y="2083"/>
                  <a:pt x="3324" y="2115"/>
                </a:cubicBezTo>
                <a:lnTo>
                  <a:pt x="3356" y="2163"/>
                </a:lnTo>
                <a:cubicBezTo>
                  <a:pt x="3356" y="2178"/>
                  <a:pt x="3372" y="2195"/>
                  <a:pt x="3388" y="2195"/>
                </a:cubicBezTo>
                <a:cubicBezTo>
                  <a:pt x="3404" y="2210"/>
                  <a:pt x="3420" y="2195"/>
                  <a:pt x="3436" y="2195"/>
                </a:cubicBezTo>
                <a:cubicBezTo>
                  <a:pt x="3595" y="2115"/>
                  <a:pt x="3722" y="2083"/>
                  <a:pt x="3865" y="2083"/>
                </a:cubicBezTo>
                <a:cubicBezTo>
                  <a:pt x="4184" y="2083"/>
                  <a:pt x="4342" y="2226"/>
                  <a:pt x="4342" y="2529"/>
                </a:cubicBezTo>
                <a:lnTo>
                  <a:pt x="4342" y="2560"/>
                </a:lnTo>
                <a:cubicBezTo>
                  <a:pt x="4199" y="2529"/>
                  <a:pt x="4024" y="2497"/>
                  <a:pt x="3865" y="2497"/>
                </a:cubicBezTo>
                <a:cubicBezTo>
                  <a:pt x="3452" y="2497"/>
                  <a:pt x="3197" y="2687"/>
                  <a:pt x="3197" y="3005"/>
                </a:cubicBezTo>
                <a:cubicBezTo>
                  <a:pt x="3197" y="3292"/>
                  <a:pt x="3436" y="3483"/>
                  <a:pt x="3770" y="3483"/>
                </a:cubicBezTo>
                <a:cubicBezTo>
                  <a:pt x="4024" y="3483"/>
                  <a:pt x="4215" y="3387"/>
                  <a:pt x="4342" y="3260"/>
                </a:cubicBezTo>
                <a:lnTo>
                  <a:pt x="4342" y="3387"/>
                </a:lnTo>
                <a:cubicBezTo>
                  <a:pt x="4342" y="3419"/>
                  <a:pt x="4358" y="3451"/>
                  <a:pt x="4390" y="3451"/>
                </a:cubicBezTo>
                <a:lnTo>
                  <a:pt x="4454" y="3451"/>
                </a:lnTo>
                <a:cubicBezTo>
                  <a:pt x="4485" y="3451"/>
                  <a:pt x="4517" y="3419"/>
                  <a:pt x="4517" y="3387"/>
                </a:cubicBezTo>
                <a:lnTo>
                  <a:pt x="4517" y="2529"/>
                </a:lnTo>
                <a:cubicBezTo>
                  <a:pt x="4517" y="2338"/>
                  <a:pt x="4454" y="2178"/>
                  <a:pt x="4358" y="2083"/>
                </a:cubicBezTo>
                <a:cubicBezTo>
                  <a:pt x="4247" y="1972"/>
                  <a:pt x="4088" y="1908"/>
                  <a:pt x="3865" y="1908"/>
                </a:cubicBezTo>
                <a:close/>
                <a:moveTo>
                  <a:pt x="3770" y="3308"/>
                </a:moveTo>
                <a:cubicBezTo>
                  <a:pt x="3579" y="3308"/>
                  <a:pt x="3372" y="3228"/>
                  <a:pt x="3372" y="2990"/>
                </a:cubicBezTo>
                <a:cubicBezTo>
                  <a:pt x="3372" y="2751"/>
                  <a:pt x="3627" y="2672"/>
                  <a:pt x="3881" y="2672"/>
                </a:cubicBezTo>
                <a:cubicBezTo>
                  <a:pt x="4040" y="2672"/>
                  <a:pt x="4199" y="2687"/>
                  <a:pt x="4342" y="2735"/>
                </a:cubicBezTo>
                <a:lnTo>
                  <a:pt x="4342" y="2878"/>
                </a:lnTo>
                <a:cubicBezTo>
                  <a:pt x="4342" y="3085"/>
                  <a:pt x="4120" y="3308"/>
                  <a:pt x="3770" y="330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41" name="TextBox 40">
            <a:extLst>
              <a:ext uri="{FF2B5EF4-FFF2-40B4-BE49-F238E27FC236}">
                <a16:creationId xmlns:a16="http://schemas.microsoft.com/office/drawing/2014/main" id="{D091CDD8-AE6A-9149-B8DA-A2DF3D2ED789}"/>
              </a:ext>
            </a:extLst>
          </p:cNvPr>
          <p:cNvSpPr txBox="1"/>
          <p:nvPr/>
        </p:nvSpPr>
        <p:spPr>
          <a:xfrm>
            <a:off x="1396461" y="5164929"/>
            <a:ext cx="2465738"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Gears</a:t>
            </a:r>
          </a:p>
        </p:txBody>
      </p:sp>
      <p:sp>
        <p:nvSpPr>
          <p:cNvPr id="42" name="TextBox 41">
            <a:extLst>
              <a:ext uri="{FF2B5EF4-FFF2-40B4-BE49-F238E27FC236}">
                <a16:creationId xmlns:a16="http://schemas.microsoft.com/office/drawing/2014/main" id="{07759647-CD4E-5D4F-B0E9-34F29740B227}"/>
              </a:ext>
            </a:extLst>
          </p:cNvPr>
          <p:cNvSpPr txBox="1"/>
          <p:nvPr/>
        </p:nvSpPr>
        <p:spPr>
          <a:xfrm>
            <a:off x="5566758" y="5164929"/>
            <a:ext cx="243317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File</a:t>
            </a:r>
          </a:p>
        </p:txBody>
      </p:sp>
      <p:sp>
        <p:nvSpPr>
          <p:cNvPr id="43" name="TextBox 42">
            <a:extLst>
              <a:ext uri="{FF2B5EF4-FFF2-40B4-BE49-F238E27FC236}">
                <a16:creationId xmlns:a16="http://schemas.microsoft.com/office/drawing/2014/main" id="{DDB5AF32-6327-2642-B35F-D5768F82785A}"/>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Type</a:t>
            </a:r>
          </a:p>
        </p:txBody>
      </p:sp>
      <p:sp>
        <p:nvSpPr>
          <p:cNvPr id="44" name="TextBox 43">
            <a:extLst>
              <a:ext uri="{FF2B5EF4-FFF2-40B4-BE49-F238E27FC236}">
                <a16:creationId xmlns:a16="http://schemas.microsoft.com/office/drawing/2014/main" id="{4B60D001-70A3-8248-AA01-177982E1597F}"/>
              </a:ext>
            </a:extLst>
          </p:cNvPr>
          <p:cNvSpPr txBox="1"/>
          <p:nvPr/>
        </p:nvSpPr>
        <p:spPr>
          <a:xfrm>
            <a:off x="13471996" y="5164929"/>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Scroll</a:t>
            </a:r>
          </a:p>
        </p:txBody>
      </p:sp>
      <p:sp>
        <p:nvSpPr>
          <p:cNvPr id="45" name="TextBox 44">
            <a:extLst>
              <a:ext uri="{FF2B5EF4-FFF2-40B4-BE49-F238E27FC236}">
                <a16:creationId xmlns:a16="http://schemas.microsoft.com/office/drawing/2014/main" id="{01F81564-DA76-DC4C-9DC5-396DD9AABFC2}"/>
              </a:ext>
            </a:extLst>
          </p:cNvPr>
          <p:cNvSpPr txBox="1"/>
          <p:nvPr/>
        </p:nvSpPr>
        <p:spPr>
          <a:xfrm>
            <a:off x="20809186" y="5164929"/>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Right</a:t>
            </a:r>
          </a:p>
        </p:txBody>
      </p:sp>
      <p:sp>
        <p:nvSpPr>
          <p:cNvPr id="46" name="TextBox 45">
            <a:extLst>
              <a:ext uri="{FF2B5EF4-FFF2-40B4-BE49-F238E27FC236}">
                <a16:creationId xmlns:a16="http://schemas.microsoft.com/office/drawing/2014/main" id="{6E420645-A297-6F48-B1EC-DEECB92FCDB5}"/>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Chart</a:t>
            </a:r>
          </a:p>
        </p:txBody>
      </p:sp>
      <p:sp>
        <p:nvSpPr>
          <p:cNvPr id="47" name="TextBox 46">
            <a:extLst>
              <a:ext uri="{FF2B5EF4-FFF2-40B4-BE49-F238E27FC236}">
                <a16:creationId xmlns:a16="http://schemas.microsoft.com/office/drawing/2014/main" id="{0DECEE36-FAE9-004F-9865-EF7D036D69EA}"/>
              </a:ext>
            </a:extLst>
          </p:cNvPr>
          <p:cNvSpPr txBox="1"/>
          <p:nvPr/>
        </p:nvSpPr>
        <p:spPr>
          <a:xfrm>
            <a:off x="5032286" y="8292956"/>
            <a:ext cx="350211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Sidebar</a:t>
            </a:r>
          </a:p>
        </p:txBody>
      </p:sp>
      <p:sp>
        <p:nvSpPr>
          <p:cNvPr id="48" name="TextBox 47">
            <a:extLst>
              <a:ext uri="{FF2B5EF4-FFF2-40B4-BE49-F238E27FC236}">
                <a16:creationId xmlns:a16="http://schemas.microsoft.com/office/drawing/2014/main" id="{565D525E-3BAA-CE40-9F99-ADBC9FB1C85C}"/>
              </a:ext>
            </a:extLst>
          </p:cNvPr>
          <p:cNvSpPr txBox="1"/>
          <p:nvPr/>
        </p:nvSpPr>
        <p:spPr>
          <a:xfrm>
            <a:off x="9811176" y="8292956"/>
            <a:ext cx="211138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Fill</a:t>
            </a:r>
          </a:p>
        </p:txBody>
      </p:sp>
      <p:sp>
        <p:nvSpPr>
          <p:cNvPr id="49" name="TextBox 48">
            <a:extLst>
              <a:ext uri="{FF2B5EF4-FFF2-40B4-BE49-F238E27FC236}">
                <a16:creationId xmlns:a16="http://schemas.microsoft.com/office/drawing/2014/main" id="{022C2E75-2A5B-2C4F-9527-88050632791C}"/>
              </a:ext>
            </a:extLst>
          </p:cNvPr>
          <p:cNvSpPr txBox="1"/>
          <p:nvPr/>
        </p:nvSpPr>
        <p:spPr>
          <a:xfrm>
            <a:off x="13226552" y="8292956"/>
            <a:ext cx="311233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Split</a:t>
            </a:r>
          </a:p>
        </p:txBody>
      </p:sp>
      <p:sp>
        <p:nvSpPr>
          <p:cNvPr id="50" name="TextBox 49">
            <a:extLst>
              <a:ext uri="{FF2B5EF4-FFF2-40B4-BE49-F238E27FC236}">
                <a16:creationId xmlns:a16="http://schemas.microsoft.com/office/drawing/2014/main" id="{8AB15DC1-3D8A-CB43-BF0B-D53D98E0DCB0}"/>
              </a:ext>
            </a:extLst>
          </p:cNvPr>
          <p:cNvSpPr txBox="1"/>
          <p:nvPr/>
        </p:nvSpPr>
        <p:spPr>
          <a:xfrm>
            <a:off x="20809186" y="8292956"/>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Clock</a:t>
            </a:r>
          </a:p>
        </p:txBody>
      </p:sp>
      <p:sp>
        <p:nvSpPr>
          <p:cNvPr id="51" name="TextBox 50">
            <a:extLst>
              <a:ext uri="{FF2B5EF4-FFF2-40B4-BE49-F238E27FC236}">
                <a16:creationId xmlns:a16="http://schemas.microsoft.com/office/drawing/2014/main" id="{5C641BB1-5E28-B842-8FE8-166CA4434117}"/>
              </a:ext>
            </a:extLst>
          </p:cNvPr>
          <p:cNvSpPr txBox="1"/>
          <p:nvPr/>
        </p:nvSpPr>
        <p:spPr>
          <a:xfrm>
            <a:off x="1052420" y="11657695"/>
            <a:ext cx="315382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Wi-Fi</a:t>
            </a:r>
          </a:p>
        </p:txBody>
      </p:sp>
      <p:sp>
        <p:nvSpPr>
          <p:cNvPr id="52" name="TextBox 51">
            <a:extLst>
              <a:ext uri="{FF2B5EF4-FFF2-40B4-BE49-F238E27FC236}">
                <a16:creationId xmlns:a16="http://schemas.microsoft.com/office/drawing/2014/main" id="{F714E67F-53EE-1C47-8059-607845C681FE}"/>
              </a:ext>
            </a:extLst>
          </p:cNvPr>
          <p:cNvSpPr txBox="1"/>
          <p:nvPr/>
        </p:nvSpPr>
        <p:spPr>
          <a:xfrm>
            <a:off x="5306606" y="11657695"/>
            <a:ext cx="295347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Home</a:t>
            </a:r>
          </a:p>
        </p:txBody>
      </p:sp>
      <p:sp>
        <p:nvSpPr>
          <p:cNvPr id="53" name="TextBox 52">
            <a:extLst>
              <a:ext uri="{FF2B5EF4-FFF2-40B4-BE49-F238E27FC236}">
                <a16:creationId xmlns:a16="http://schemas.microsoft.com/office/drawing/2014/main" id="{29CBF867-3A06-1444-A56E-8533A2489A23}"/>
              </a:ext>
            </a:extLst>
          </p:cNvPr>
          <p:cNvSpPr txBox="1"/>
          <p:nvPr/>
        </p:nvSpPr>
        <p:spPr>
          <a:xfrm>
            <a:off x="9013116" y="11657695"/>
            <a:ext cx="363608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Yeah</a:t>
            </a:r>
          </a:p>
        </p:txBody>
      </p:sp>
      <p:sp>
        <p:nvSpPr>
          <p:cNvPr id="54" name="TextBox 53">
            <a:extLst>
              <a:ext uri="{FF2B5EF4-FFF2-40B4-BE49-F238E27FC236}">
                <a16:creationId xmlns:a16="http://schemas.microsoft.com/office/drawing/2014/main" id="{F180734B-6EFB-264E-A518-7B0D681AA516}"/>
              </a:ext>
            </a:extLst>
          </p:cNvPr>
          <p:cNvSpPr txBox="1"/>
          <p:nvPr/>
        </p:nvSpPr>
        <p:spPr>
          <a:xfrm>
            <a:off x="13471996" y="11657695"/>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404</a:t>
            </a:r>
          </a:p>
        </p:txBody>
      </p:sp>
      <p:sp>
        <p:nvSpPr>
          <p:cNvPr id="55" name="TextBox 54">
            <a:extLst>
              <a:ext uri="{FF2B5EF4-FFF2-40B4-BE49-F238E27FC236}">
                <a16:creationId xmlns:a16="http://schemas.microsoft.com/office/drawing/2014/main" id="{CADD3E89-129E-774B-A5D7-07AAF6FC335D}"/>
              </a:ext>
            </a:extLst>
          </p:cNvPr>
          <p:cNvSpPr txBox="1"/>
          <p:nvPr/>
        </p:nvSpPr>
        <p:spPr>
          <a:xfrm>
            <a:off x="20182842" y="11657695"/>
            <a:ext cx="3708396"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Info</a:t>
            </a:r>
          </a:p>
        </p:txBody>
      </p:sp>
      <p:sp>
        <p:nvSpPr>
          <p:cNvPr id="56" name="Freeform: Shape 26">
            <a:extLst>
              <a:ext uri="{FF2B5EF4-FFF2-40B4-BE49-F238E27FC236}">
                <a16:creationId xmlns:a16="http://schemas.microsoft.com/office/drawing/2014/main" id="{CFDD06D4-2A41-0641-8751-D9CC1E4EB3C9}"/>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57" name="TextBox 56">
            <a:extLst>
              <a:ext uri="{FF2B5EF4-FFF2-40B4-BE49-F238E27FC236}">
                <a16:creationId xmlns:a16="http://schemas.microsoft.com/office/drawing/2014/main" id="{F68EF887-A42B-4F44-86BF-345DCEC2428D}"/>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Pan</a:t>
            </a:r>
          </a:p>
        </p:txBody>
      </p:sp>
      <p:sp>
        <p:nvSpPr>
          <p:cNvPr id="58" name="TextBox 57">
            <a:extLst>
              <a:ext uri="{FF2B5EF4-FFF2-40B4-BE49-F238E27FC236}">
                <a16:creationId xmlns:a16="http://schemas.microsoft.com/office/drawing/2014/main" id="{73086128-2DEC-6244-954A-C44D050FF5A9}"/>
              </a:ext>
            </a:extLst>
          </p:cNvPr>
          <p:cNvSpPr txBox="1"/>
          <p:nvPr/>
        </p:nvSpPr>
        <p:spPr>
          <a:xfrm>
            <a:off x="16540096" y="8292956"/>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Star</a:t>
            </a:r>
          </a:p>
        </p:txBody>
      </p:sp>
      <p:sp>
        <p:nvSpPr>
          <p:cNvPr id="59" name="TextBox 58">
            <a:extLst>
              <a:ext uri="{FF2B5EF4-FFF2-40B4-BE49-F238E27FC236}">
                <a16:creationId xmlns:a16="http://schemas.microsoft.com/office/drawing/2014/main" id="{1D2B0496-F08F-8B45-861B-158FA4B5DFC4}"/>
              </a:ext>
            </a:extLst>
          </p:cNvPr>
          <p:cNvSpPr txBox="1"/>
          <p:nvPr/>
        </p:nvSpPr>
        <p:spPr>
          <a:xfrm>
            <a:off x="16453702" y="11657695"/>
            <a:ext cx="37291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Top</a:t>
            </a:r>
          </a:p>
        </p:txBody>
      </p:sp>
      <p:sp>
        <p:nvSpPr>
          <p:cNvPr id="60" name="Freeform: Shape 1">
            <a:extLst>
              <a:ext uri="{FF2B5EF4-FFF2-40B4-BE49-F238E27FC236}">
                <a16:creationId xmlns:a16="http://schemas.microsoft.com/office/drawing/2014/main" id="{002BCDE5-15D5-7D44-8EB5-390E8D7AF030}"/>
              </a:ext>
            </a:extLst>
          </p:cNvPr>
          <p:cNvSpPr/>
          <p:nvPr/>
        </p:nvSpPr>
        <p:spPr>
          <a:xfrm>
            <a:off x="17409580" y="10131754"/>
            <a:ext cx="1488239" cy="1087560"/>
          </a:xfrm>
          <a:custGeom>
            <a:avLst/>
            <a:gdLst/>
            <a:ahLst/>
            <a:cxnLst>
              <a:cxn ang="3cd4">
                <a:pos x="hc" y="t"/>
              </a:cxn>
              <a:cxn ang="cd2">
                <a:pos x="l" y="vc"/>
              </a:cxn>
              <a:cxn ang="cd4">
                <a:pos x="hc" y="b"/>
              </a:cxn>
              <a:cxn ang="0">
                <a:pos x="r" y="vc"/>
              </a:cxn>
            </a:cxnLst>
            <a:rect l="l" t="t" r="r" b="b"/>
            <a:pathLst>
              <a:path w="4135" h="3022">
                <a:moveTo>
                  <a:pt x="3977" y="2942"/>
                </a:moveTo>
                <a:cubicBezTo>
                  <a:pt x="3977" y="2990"/>
                  <a:pt x="4008" y="3022"/>
                  <a:pt x="4056" y="3022"/>
                </a:cubicBezTo>
                <a:cubicBezTo>
                  <a:pt x="4104" y="3022"/>
                  <a:pt x="4135" y="2990"/>
                  <a:pt x="4135" y="2942"/>
                </a:cubicBezTo>
                <a:lnTo>
                  <a:pt x="4135" y="79"/>
                </a:lnTo>
                <a:cubicBezTo>
                  <a:pt x="4135" y="31"/>
                  <a:pt x="4104" y="0"/>
                  <a:pt x="4056" y="0"/>
                </a:cubicBezTo>
                <a:lnTo>
                  <a:pt x="79" y="0"/>
                </a:lnTo>
                <a:cubicBezTo>
                  <a:pt x="32" y="0"/>
                  <a:pt x="0" y="31"/>
                  <a:pt x="0" y="79"/>
                </a:cubicBezTo>
                <a:cubicBezTo>
                  <a:pt x="0" y="127"/>
                  <a:pt x="32" y="159"/>
                  <a:pt x="79" y="159"/>
                </a:cubicBezTo>
                <a:lnTo>
                  <a:pt x="3977" y="159"/>
                </a:lnTo>
                <a:lnTo>
                  <a:pt x="3977" y="2099"/>
                </a:lnTo>
                <a:lnTo>
                  <a:pt x="79" y="2099"/>
                </a:lnTo>
                <a:cubicBezTo>
                  <a:pt x="32" y="2099"/>
                  <a:pt x="0" y="2131"/>
                  <a:pt x="0" y="2179"/>
                </a:cubicBezTo>
                <a:cubicBezTo>
                  <a:pt x="0" y="2227"/>
                  <a:pt x="32" y="2258"/>
                  <a:pt x="79" y="2258"/>
                </a:cubicBezTo>
                <a:lnTo>
                  <a:pt x="3977" y="2258"/>
                </a:lnTo>
                <a:close/>
                <a:moveTo>
                  <a:pt x="779" y="1415"/>
                </a:moveTo>
                <a:cubicBezTo>
                  <a:pt x="827" y="1415"/>
                  <a:pt x="859" y="1384"/>
                  <a:pt x="859" y="1336"/>
                </a:cubicBezTo>
                <a:cubicBezTo>
                  <a:pt x="859" y="1304"/>
                  <a:pt x="827" y="1256"/>
                  <a:pt x="779" y="1256"/>
                </a:cubicBezTo>
                <a:lnTo>
                  <a:pt x="493" y="1256"/>
                </a:lnTo>
                <a:cubicBezTo>
                  <a:pt x="445" y="1256"/>
                  <a:pt x="414" y="1304"/>
                  <a:pt x="414" y="1336"/>
                </a:cubicBezTo>
                <a:cubicBezTo>
                  <a:pt x="414" y="1384"/>
                  <a:pt x="445" y="1415"/>
                  <a:pt x="493" y="1415"/>
                </a:cubicBezTo>
                <a:close/>
                <a:moveTo>
                  <a:pt x="3133" y="1575"/>
                </a:moveTo>
                <a:cubicBezTo>
                  <a:pt x="3150" y="1590"/>
                  <a:pt x="3165" y="1606"/>
                  <a:pt x="3197" y="1606"/>
                </a:cubicBezTo>
                <a:cubicBezTo>
                  <a:pt x="3213" y="1606"/>
                  <a:pt x="3229" y="1590"/>
                  <a:pt x="3245" y="1575"/>
                </a:cubicBezTo>
                <a:lnTo>
                  <a:pt x="3372" y="1447"/>
                </a:lnTo>
                <a:lnTo>
                  <a:pt x="3499" y="1575"/>
                </a:lnTo>
                <a:cubicBezTo>
                  <a:pt x="3515" y="1590"/>
                  <a:pt x="3547" y="1606"/>
                  <a:pt x="3563" y="1606"/>
                </a:cubicBezTo>
                <a:cubicBezTo>
                  <a:pt x="3579" y="1606"/>
                  <a:pt x="3611" y="1590"/>
                  <a:pt x="3611" y="1575"/>
                </a:cubicBezTo>
                <a:cubicBezTo>
                  <a:pt x="3642" y="1558"/>
                  <a:pt x="3642" y="1495"/>
                  <a:pt x="3611" y="1463"/>
                </a:cubicBezTo>
                <a:lnTo>
                  <a:pt x="3483" y="1336"/>
                </a:lnTo>
                <a:lnTo>
                  <a:pt x="3611" y="1209"/>
                </a:lnTo>
                <a:cubicBezTo>
                  <a:pt x="3642" y="1177"/>
                  <a:pt x="3642" y="1129"/>
                  <a:pt x="3611" y="1097"/>
                </a:cubicBezTo>
                <a:cubicBezTo>
                  <a:pt x="3595" y="1066"/>
                  <a:pt x="3531" y="1066"/>
                  <a:pt x="3499" y="1097"/>
                </a:cubicBezTo>
                <a:lnTo>
                  <a:pt x="3372" y="1224"/>
                </a:lnTo>
                <a:lnTo>
                  <a:pt x="3245" y="1097"/>
                </a:lnTo>
                <a:cubicBezTo>
                  <a:pt x="3213" y="1066"/>
                  <a:pt x="3165" y="1066"/>
                  <a:pt x="3133" y="1097"/>
                </a:cubicBezTo>
                <a:cubicBezTo>
                  <a:pt x="3102" y="1129"/>
                  <a:pt x="3102" y="1177"/>
                  <a:pt x="3133" y="1209"/>
                </a:cubicBezTo>
                <a:lnTo>
                  <a:pt x="3260" y="1336"/>
                </a:lnTo>
                <a:lnTo>
                  <a:pt x="3133" y="1463"/>
                </a:lnTo>
                <a:cubicBezTo>
                  <a:pt x="3102" y="1495"/>
                  <a:pt x="3102" y="1558"/>
                  <a:pt x="3133" y="1575"/>
                </a:cubicBezTo>
                <a:close/>
                <a:moveTo>
                  <a:pt x="2100" y="1845"/>
                </a:moveTo>
                <a:cubicBezTo>
                  <a:pt x="2147" y="1845"/>
                  <a:pt x="2179" y="1797"/>
                  <a:pt x="2179" y="1765"/>
                </a:cubicBezTo>
                <a:lnTo>
                  <a:pt x="2179" y="1415"/>
                </a:lnTo>
                <a:lnTo>
                  <a:pt x="2529" y="1415"/>
                </a:lnTo>
                <a:cubicBezTo>
                  <a:pt x="2561" y="1415"/>
                  <a:pt x="2609" y="1384"/>
                  <a:pt x="2609" y="1336"/>
                </a:cubicBezTo>
                <a:lnTo>
                  <a:pt x="2609" y="636"/>
                </a:lnTo>
                <a:cubicBezTo>
                  <a:pt x="2609" y="604"/>
                  <a:pt x="2561" y="557"/>
                  <a:pt x="2529" y="557"/>
                </a:cubicBezTo>
                <a:lnTo>
                  <a:pt x="1829" y="557"/>
                </a:lnTo>
                <a:cubicBezTo>
                  <a:pt x="1781" y="557"/>
                  <a:pt x="1750" y="604"/>
                  <a:pt x="1750" y="636"/>
                </a:cubicBezTo>
                <a:lnTo>
                  <a:pt x="1750" y="986"/>
                </a:lnTo>
                <a:lnTo>
                  <a:pt x="1400" y="986"/>
                </a:lnTo>
                <a:cubicBezTo>
                  <a:pt x="1368" y="986"/>
                  <a:pt x="1320" y="1018"/>
                  <a:pt x="1320" y="1066"/>
                </a:cubicBezTo>
                <a:lnTo>
                  <a:pt x="1320" y="1765"/>
                </a:lnTo>
                <a:cubicBezTo>
                  <a:pt x="1320" y="1797"/>
                  <a:pt x="1368" y="1845"/>
                  <a:pt x="1400" y="1845"/>
                </a:cubicBezTo>
                <a:close/>
                <a:moveTo>
                  <a:pt x="1909" y="715"/>
                </a:moveTo>
                <a:lnTo>
                  <a:pt x="2450" y="715"/>
                </a:lnTo>
                <a:lnTo>
                  <a:pt x="2450" y="1256"/>
                </a:lnTo>
                <a:lnTo>
                  <a:pt x="2179" y="1256"/>
                </a:lnTo>
                <a:lnTo>
                  <a:pt x="2179" y="1066"/>
                </a:lnTo>
                <a:cubicBezTo>
                  <a:pt x="2179" y="1018"/>
                  <a:pt x="2147" y="986"/>
                  <a:pt x="2100" y="986"/>
                </a:cubicBezTo>
                <a:lnTo>
                  <a:pt x="1909" y="986"/>
                </a:lnTo>
                <a:close/>
                <a:moveTo>
                  <a:pt x="1479" y="1145"/>
                </a:moveTo>
                <a:lnTo>
                  <a:pt x="2020" y="1145"/>
                </a:lnTo>
                <a:lnTo>
                  <a:pt x="2020" y="1685"/>
                </a:lnTo>
                <a:lnTo>
                  <a:pt x="1479" y="1685"/>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1" name="Freeform: Shape 2">
            <a:extLst>
              <a:ext uri="{FF2B5EF4-FFF2-40B4-BE49-F238E27FC236}">
                <a16:creationId xmlns:a16="http://schemas.microsoft.com/office/drawing/2014/main" id="{762765C2-EA05-2044-8D56-EED981F90B07}"/>
              </a:ext>
            </a:extLst>
          </p:cNvPr>
          <p:cNvSpPr/>
          <p:nvPr/>
        </p:nvSpPr>
        <p:spPr>
          <a:xfrm>
            <a:off x="13951261" y="6486125"/>
            <a:ext cx="1494360" cy="1448280"/>
          </a:xfrm>
          <a:custGeom>
            <a:avLst/>
            <a:gdLst/>
            <a:ahLst/>
            <a:cxnLst>
              <a:cxn ang="3cd4">
                <a:pos x="hc" y="t"/>
              </a:cxn>
              <a:cxn ang="cd2">
                <a:pos x="l" y="vc"/>
              </a:cxn>
              <a:cxn ang="cd4">
                <a:pos x="hc" y="b"/>
              </a:cxn>
              <a:cxn ang="0">
                <a:pos x="r" y="vc"/>
              </a:cxn>
            </a:cxnLst>
            <a:rect l="l" t="t" r="r" b="b"/>
            <a:pathLst>
              <a:path w="4152" h="4024">
                <a:moveTo>
                  <a:pt x="2004" y="4024"/>
                </a:moveTo>
                <a:lnTo>
                  <a:pt x="4072" y="4024"/>
                </a:lnTo>
                <a:cubicBezTo>
                  <a:pt x="4120" y="4024"/>
                  <a:pt x="4152" y="3976"/>
                  <a:pt x="4152" y="3944"/>
                </a:cubicBezTo>
                <a:lnTo>
                  <a:pt x="4152" y="80"/>
                </a:lnTo>
                <a:cubicBezTo>
                  <a:pt x="4152" y="32"/>
                  <a:pt x="4120" y="0"/>
                  <a:pt x="4072" y="0"/>
                </a:cubicBezTo>
                <a:lnTo>
                  <a:pt x="2004" y="0"/>
                </a:lnTo>
                <a:lnTo>
                  <a:pt x="80" y="0"/>
                </a:lnTo>
                <a:cubicBezTo>
                  <a:pt x="32" y="0"/>
                  <a:pt x="0" y="32"/>
                  <a:pt x="0" y="80"/>
                </a:cubicBezTo>
                <a:lnTo>
                  <a:pt x="0" y="3944"/>
                </a:lnTo>
                <a:cubicBezTo>
                  <a:pt x="0" y="3976"/>
                  <a:pt x="32" y="4024"/>
                  <a:pt x="80" y="4024"/>
                </a:cubicBezTo>
                <a:close/>
                <a:moveTo>
                  <a:pt x="159" y="1034"/>
                </a:moveTo>
                <a:lnTo>
                  <a:pt x="1925" y="1034"/>
                </a:lnTo>
                <a:lnTo>
                  <a:pt x="1925" y="1241"/>
                </a:lnTo>
                <a:cubicBezTo>
                  <a:pt x="1305" y="1272"/>
                  <a:pt x="827" y="1798"/>
                  <a:pt x="827" y="2434"/>
                </a:cubicBezTo>
                <a:cubicBezTo>
                  <a:pt x="827" y="3070"/>
                  <a:pt x="1305" y="3595"/>
                  <a:pt x="1925" y="3626"/>
                </a:cubicBezTo>
                <a:lnTo>
                  <a:pt x="1925" y="3865"/>
                </a:lnTo>
                <a:lnTo>
                  <a:pt x="159" y="3865"/>
                </a:lnTo>
                <a:close/>
                <a:moveTo>
                  <a:pt x="2084" y="1781"/>
                </a:moveTo>
                <a:lnTo>
                  <a:pt x="3165" y="1781"/>
                </a:lnTo>
                <a:lnTo>
                  <a:pt x="3165" y="3006"/>
                </a:lnTo>
                <a:lnTo>
                  <a:pt x="2084" y="3006"/>
                </a:lnTo>
                <a:close/>
                <a:moveTo>
                  <a:pt x="1925" y="1702"/>
                </a:moveTo>
                <a:lnTo>
                  <a:pt x="1925" y="3086"/>
                </a:lnTo>
                <a:lnTo>
                  <a:pt x="1925" y="3467"/>
                </a:lnTo>
                <a:cubicBezTo>
                  <a:pt x="1384" y="3435"/>
                  <a:pt x="986" y="2990"/>
                  <a:pt x="986" y="2434"/>
                </a:cubicBezTo>
                <a:cubicBezTo>
                  <a:pt x="986" y="1877"/>
                  <a:pt x="1384" y="1432"/>
                  <a:pt x="1925" y="1400"/>
                </a:cubicBezTo>
                <a:close/>
                <a:moveTo>
                  <a:pt x="2084" y="3865"/>
                </a:moveTo>
                <a:lnTo>
                  <a:pt x="2084" y="3165"/>
                </a:lnTo>
                <a:lnTo>
                  <a:pt x="3245" y="3165"/>
                </a:lnTo>
                <a:cubicBezTo>
                  <a:pt x="3293" y="3165"/>
                  <a:pt x="3325" y="3117"/>
                  <a:pt x="3325" y="3086"/>
                </a:cubicBezTo>
                <a:lnTo>
                  <a:pt x="3325" y="1702"/>
                </a:lnTo>
                <a:cubicBezTo>
                  <a:pt x="3325" y="1654"/>
                  <a:pt x="3293" y="1623"/>
                  <a:pt x="3245" y="1623"/>
                </a:cubicBezTo>
                <a:lnTo>
                  <a:pt x="2084" y="1623"/>
                </a:lnTo>
                <a:lnTo>
                  <a:pt x="2084" y="1034"/>
                </a:lnTo>
                <a:lnTo>
                  <a:pt x="3992" y="1034"/>
                </a:lnTo>
                <a:lnTo>
                  <a:pt x="3992" y="3865"/>
                </a:lnTo>
                <a:close/>
                <a:moveTo>
                  <a:pt x="3992" y="875"/>
                </a:moveTo>
                <a:lnTo>
                  <a:pt x="2084" y="875"/>
                </a:lnTo>
                <a:lnTo>
                  <a:pt x="2084" y="143"/>
                </a:lnTo>
                <a:lnTo>
                  <a:pt x="3992" y="143"/>
                </a:lnTo>
                <a:close/>
                <a:moveTo>
                  <a:pt x="1925" y="143"/>
                </a:moveTo>
                <a:lnTo>
                  <a:pt x="1925" y="875"/>
                </a:lnTo>
                <a:lnTo>
                  <a:pt x="159" y="875"/>
                </a:lnTo>
                <a:lnTo>
                  <a:pt x="159" y="143"/>
                </a:lnTo>
                <a:close/>
                <a:moveTo>
                  <a:pt x="493" y="525"/>
                </a:moveTo>
                <a:cubicBezTo>
                  <a:pt x="557" y="525"/>
                  <a:pt x="605" y="477"/>
                  <a:pt x="605" y="414"/>
                </a:cubicBezTo>
                <a:cubicBezTo>
                  <a:pt x="605" y="350"/>
                  <a:pt x="557" y="302"/>
                  <a:pt x="493" y="302"/>
                </a:cubicBezTo>
                <a:cubicBezTo>
                  <a:pt x="430" y="302"/>
                  <a:pt x="382" y="350"/>
                  <a:pt x="382" y="414"/>
                </a:cubicBezTo>
                <a:cubicBezTo>
                  <a:pt x="382" y="477"/>
                  <a:pt x="430" y="525"/>
                  <a:pt x="493" y="525"/>
                </a:cubicBezTo>
                <a:close/>
                <a:moveTo>
                  <a:pt x="954" y="525"/>
                </a:moveTo>
                <a:cubicBezTo>
                  <a:pt x="1018" y="525"/>
                  <a:pt x="1066" y="477"/>
                  <a:pt x="1066" y="414"/>
                </a:cubicBezTo>
                <a:cubicBezTo>
                  <a:pt x="1066" y="350"/>
                  <a:pt x="1018" y="302"/>
                  <a:pt x="954" y="302"/>
                </a:cubicBezTo>
                <a:cubicBezTo>
                  <a:pt x="891" y="302"/>
                  <a:pt x="843" y="350"/>
                  <a:pt x="843" y="414"/>
                </a:cubicBezTo>
                <a:cubicBezTo>
                  <a:pt x="843" y="477"/>
                  <a:pt x="891" y="525"/>
                  <a:pt x="954" y="525"/>
                </a:cubicBezTo>
                <a:close/>
                <a:moveTo>
                  <a:pt x="1400" y="525"/>
                </a:moveTo>
                <a:cubicBezTo>
                  <a:pt x="1463" y="525"/>
                  <a:pt x="1527" y="477"/>
                  <a:pt x="1527" y="414"/>
                </a:cubicBezTo>
                <a:cubicBezTo>
                  <a:pt x="1527" y="350"/>
                  <a:pt x="1463" y="302"/>
                  <a:pt x="1400" y="302"/>
                </a:cubicBezTo>
                <a:cubicBezTo>
                  <a:pt x="1352" y="302"/>
                  <a:pt x="1289" y="350"/>
                  <a:pt x="1289" y="414"/>
                </a:cubicBezTo>
                <a:cubicBezTo>
                  <a:pt x="1289" y="477"/>
                  <a:pt x="1352" y="525"/>
                  <a:pt x="1400" y="525"/>
                </a:cubicBezTo>
                <a:close/>
                <a:moveTo>
                  <a:pt x="2402" y="525"/>
                </a:moveTo>
                <a:cubicBezTo>
                  <a:pt x="2465" y="525"/>
                  <a:pt x="2513" y="477"/>
                  <a:pt x="2513" y="414"/>
                </a:cubicBezTo>
                <a:cubicBezTo>
                  <a:pt x="2513" y="350"/>
                  <a:pt x="2465" y="302"/>
                  <a:pt x="2402" y="302"/>
                </a:cubicBezTo>
                <a:cubicBezTo>
                  <a:pt x="2338" y="302"/>
                  <a:pt x="2275" y="350"/>
                  <a:pt x="2275" y="414"/>
                </a:cubicBezTo>
                <a:cubicBezTo>
                  <a:pt x="2275" y="477"/>
                  <a:pt x="2338" y="525"/>
                  <a:pt x="2402" y="525"/>
                </a:cubicBezTo>
                <a:close/>
                <a:moveTo>
                  <a:pt x="2847" y="525"/>
                </a:moveTo>
                <a:cubicBezTo>
                  <a:pt x="2911" y="525"/>
                  <a:pt x="2959" y="477"/>
                  <a:pt x="2959" y="414"/>
                </a:cubicBezTo>
                <a:cubicBezTo>
                  <a:pt x="2959" y="350"/>
                  <a:pt x="2911" y="302"/>
                  <a:pt x="2847" y="302"/>
                </a:cubicBezTo>
                <a:cubicBezTo>
                  <a:pt x="2784" y="302"/>
                  <a:pt x="2736" y="350"/>
                  <a:pt x="2736" y="414"/>
                </a:cubicBezTo>
                <a:cubicBezTo>
                  <a:pt x="2736" y="477"/>
                  <a:pt x="2784" y="525"/>
                  <a:pt x="2847" y="525"/>
                </a:cubicBezTo>
                <a:close/>
                <a:moveTo>
                  <a:pt x="3308" y="525"/>
                </a:moveTo>
                <a:cubicBezTo>
                  <a:pt x="3372" y="525"/>
                  <a:pt x="3420" y="477"/>
                  <a:pt x="3420" y="414"/>
                </a:cubicBezTo>
                <a:cubicBezTo>
                  <a:pt x="3420" y="350"/>
                  <a:pt x="3372" y="302"/>
                  <a:pt x="3308" y="302"/>
                </a:cubicBezTo>
                <a:cubicBezTo>
                  <a:pt x="3245" y="302"/>
                  <a:pt x="3197" y="350"/>
                  <a:pt x="3197" y="414"/>
                </a:cubicBezTo>
                <a:cubicBezTo>
                  <a:pt x="3197" y="477"/>
                  <a:pt x="3245" y="525"/>
                  <a:pt x="3308" y="52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2" name="Freeform: Shape 3">
            <a:extLst>
              <a:ext uri="{FF2B5EF4-FFF2-40B4-BE49-F238E27FC236}">
                <a16:creationId xmlns:a16="http://schemas.microsoft.com/office/drawing/2014/main" id="{37960BA7-EB23-5E42-BE6C-371FBB3CCC73}"/>
              </a:ext>
            </a:extLst>
          </p:cNvPr>
          <p:cNvSpPr/>
          <p:nvPr/>
        </p:nvSpPr>
        <p:spPr>
          <a:xfrm>
            <a:off x="1677872" y="3297675"/>
            <a:ext cx="1980720" cy="1447919"/>
          </a:xfrm>
          <a:custGeom>
            <a:avLst/>
            <a:gdLst/>
            <a:ahLst/>
            <a:cxnLst>
              <a:cxn ang="3cd4">
                <a:pos x="hc" y="t"/>
              </a:cxn>
              <a:cxn ang="cd2">
                <a:pos x="l" y="vc"/>
              </a:cxn>
              <a:cxn ang="cd4">
                <a:pos x="hc" y="b"/>
              </a:cxn>
              <a:cxn ang="0">
                <a:pos x="r" y="vc"/>
              </a:cxn>
            </a:cxnLst>
            <a:rect l="l" t="t" r="r" b="b"/>
            <a:pathLst>
              <a:path w="5503" h="4023">
                <a:moveTo>
                  <a:pt x="3229" y="2767"/>
                </a:moveTo>
                <a:lnTo>
                  <a:pt x="3134" y="2767"/>
                </a:lnTo>
                <a:cubicBezTo>
                  <a:pt x="3117" y="2672"/>
                  <a:pt x="3086" y="2592"/>
                  <a:pt x="3038" y="2513"/>
                </a:cubicBezTo>
                <a:lnTo>
                  <a:pt x="3102" y="2465"/>
                </a:lnTo>
                <a:cubicBezTo>
                  <a:pt x="3134" y="2433"/>
                  <a:pt x="3134" y="2386"/>
                  <a:pt x="3102" y="2354"/>
                </a:cubicBezTo>
                <a:cubicBezTo>
                  <a:pt x="3070" y="2322"/>
                  <a:pt x="3022" y="2322"/>
                  <a:pt x="2990" y="2354"/>
                </a:cubicBezTo>
                <a:lnTo>
                  <a:pt x="2926" y="2401"/>
                </a:lnTo>
                <a:cubicBezTo>
                  <a:pt x="2863" y="2354"/>
                  <a:pt x="2768" y="2306"/>
                  <a:pt x="2688" y="2306"/>
                </a:cubicBezTo>
                <a:lnTo>
                  <a:pt x="2688" y="2226"/>
                </a:lnTo>
                <a:cubicBezTo>
                  <a:pt x="2688" y="2178"/>
                  <a:pt x="2640" y="2147"/>
                  <a:pt x="2608" y="2147"/>
                </a:cubicBezTo>
                <a:cubicBezTo>
                  <a:pt x="2561" y="2147"/>
                  <a:pt x="2529" y="2178"/>
                  <a:pt x="2529" y="2226"/>
                </a:cubicBezTo>
                <a:lnTo>
                  <a:pt x="2529" y="2306"/>
                </a:lnTo>
                <a:cubicBezTo>
                  <a:pt x="2434" y="2306"/>
                  <a:pt x="2354" y="2354"/>
                  <a:pt x="2275" y="2401"/>
                </a:cubicBezTo>
                <a:lnTo>
                  <a:pt x="2227" y="2354"/>
                </a:lnTo>
                <a:cubicBezTo>
                  <a:pt x="2195" y="2322"/>
                  <a:pt x="2147" y="2322"/>
                  <a:pt x="2116" y="2354"/>
                </a:cubicBezTo>
                <a:cubicBezTo>
                  <a:pt x="2084" y="2386"/>
                  <a:pt x="2084" y="2433"/>
                  <a:pt x="2116" y="2465"/>
                </a:cubicBezTo>
                <a:lnTo>
                  <a:pt x="2163" y="2513"/>
                </a:lnTo>
                <a:cubicBezTo>
                  <a:pt x="2116" y="2592"/>
                  <a:pt x="2084" y="2672"/>
                  <a:pt x="2068" y="2767"/>
                </a:cubicBezTo>
                <a:lnTo>
                  <a:pt x="1988" y="2767"/>
                </a:lnTo>
                <a:cubicBezTo>
                  <a:pt x="1941" y="2767"/>
                  <a:pt x="1909" y="2799"/>
                  <a:pt x="1909" y="2847"/>
                </a:cubicBezTo>
                <a:cubicBezTo>
                  <a:pt x="1909" y="2895"/>
                  <a:pt x="1941" y="2926"/>
                  <a:pt x="1988" y="2926"/>
                </a:cubicBezTo>
                <a:lnTo>
                  <a:pt x="2084" y="2926"/>
                </a:lnTo>
                <a:cubicBezTo>
                  <a:pt x="2099" y="3005"/>
                  <a:pt x="2131" y="3085"/>
                  <a:pt x="2179" y="3149"/>
                </a:cubicBezTo>
                <a:lnTo>
                  <a:pt x="2116" y="3228"/>
                </a:lnTo>
                <a:cubicBezTo>
                  <a:pt x="2084" y="3260"/>
                  <a:pt x="2084" y="3308"/>
                  <a:pt x="2116" y="3340"/>
                </a:cubicBezTo>
                <a:cubicBezTo>
                  <a:pt x="2131" y="3356"/>
                  <a:pt x="2147" y="3356"/>
                  <a:pt x="2163" y="3356"/>
                </a:cubicBezTo>
                <a:cubicBezTo>
                  <a:pt x="2179" y="3356"/>
                  <a:pt x="2211" y="3356"/>
                  <a:pt x="2227" y="3340"/>
                </a:cubicBezTo>
                <a:lnTo>
                  <a:pt x="2290" y="3260"/>
                </a:lnTo>
                <a:cubicBezTo>
                  <a:pt x="2370" y="3308"/>
                  <a:pt x="2434" y="3340"/>
                  <a:pt x="2529" y="3356"/>
                </a:cubicBezTo>
                <a:lnTo>
                  <a:pt x="2529" y="3467"/>
                </a:lnTo>
                <a:cubicBezTo>
                  <a:pt x="2529" y="3514"/>
                  <a:pt x="2561" y="3547"/>
                  <a:pt x="2608" y="3547"/>
                </a:cubicBezTo>
                <a:cubicBezTo>
                  <a:pt x="2640" y="3547"/>
                  <a:pt x="2688" y="3514"/>
                  <a:pt x="2688" y="3467"/>
                </a:cubicBezTo>
                <a:lnTo>
                  <a:pt x="2688" y="3356"/>
                </a:lnTo>
                <a:cubicBezTo>
                  <a:pt x="2768" y="3340"/>
                  <a:pt x="2847" y="3308"/>
                  <a:pt x="2911" y="3260"/>
                </a:cubicBezTo>
                <a:lnTo>
                  <a:pt x="2990" y="3340"/>
                </a:lnTo>
                <a:cubicBezTo>
                  <a:pt x="3006" y="3356"/>
                  <a:pt x="3022" y="3356"/>
                  <a:pt x="3038" y="3356"/>
                </a:cubicBezTo>
                <a:cubicBezTo>
                  <a:pt x="3070" y="3356"/>
                  <a:pt x="3086" y="3356"/>
                  <a:pt x="3102" y="3340"/>
                </a:cubicBezTo>
                <a:cubicBezTo>
                  <a:pt x="3134" y="3308"/>
                  <a:pt x="3134" y="3260"/>
                  <a:pt x="3102" y="3228"/>
                </a:cubicBezTo>
                <a:lnTo>
                  <a:pt x="3022" y="3149"/>
                </a:lnTo>
                <a:cubicBezTo>
                  <a:pt x="3070" y="3085"/>
                  <a:pt x="3117" y="3005"/>
                  <a:pt x="3134" y="2926"/>
                </a:cubicBezTo>
                <a:lnTo>
                  <a:pt x="3229" y="2926"/>
                </a:lnTo>
                <a:cubicBezTo>
                  <a:pt x="3277" y="2926"/>
                  <a:pt x="3308" y="2895"/>
                  <a:pt x="3308" y="2847"/>
                </a:cubicBezTo>
                <a:cubicBezTo>
                  <a:pt x="3308" y="2799"/>
                  <a:pt x="3277" y="2767"/>
                  <a:pt x="3229" y="2767"/>
                </a:cubicBezTo>
                <a:close/>
                <a:moveTo>
                  <a:pt x="2608" y="3196"/>
                </a:moveTo>
                <a:cubicBezTo>
                  <a:pt x="2402" y="3196"/>
                  <a:pt x="2227" y="3038"/>
                  <a:pt x="2227" y="2831"/>
                </a:cubicBezTo>
                <a:cubicBezTo>
                  <a:pt x="2227" y="2624"/>
                  <a:pt x="2402" y="2449"/>
                  <a:pt x="2608" y="2449"/>
                </a:cubicBezTo>
                <a:cubicBezTo>
                  <a:pt x="2816" y="2449"/>
                  <a:pt x="2974" y="2624"/>
                  <a:pt x="2974" y="2831"/>
                </a:cubicBezTo>
                <a:cubicBezTo>
                  <a:pt x="2974" y="3038"/>
                  <a:pt x="2816" y="3196"/>
                  <a:pt x="2608" y="3196"/>
                </a:cubicBezTo>
                <a:close/>
                <a:moveTo>
                  <a:pt x="3611" y="1733"/>
                </a:moveTo>
                <a:lnTo>
                  <a:pt x="3579" y="1733"/>
                </a:lnTo>
                <a:cubicBezTo>
                  <a:pt x="3579" y="1702"/>
                  <a:pt x="3547" y="1654"/>
                  <a:pt x="3531" y="1606"/>
                </a:cubicBezTo>
                <a:lnTo>
                  <a:pt x="3547" y="1590"/>
                </a:lnTo>
                <a:cubicBezTo>
                  <a:pt x="3579" y="1559"/>
                  <a:pt x="3579" y="1511"/>
                  <a:pt x="3547" y="1479"/>
                </a:cubicBezTo>
                <a:cubicBezTo>
                  <a:pt x="3515" y="1447"/>
                  <a:pt x="3468" y="1447"/>
                  <a:pt x="3435" y="1479"/>
                </a:cubicBezTo>
                <a:lnTo>
                  <a:pt x="3420" y="1495"/>
                </a:lnTo>
                <a:cubicBezTo>
                  <a:pt x="3372" y="1479"/>
                  <a:pt x="3340" y="1463"/>
                  <a:pt x="3292" y="1447"/>
                </a:cubicBezTo>
                <a:lnTo>
                  <a:pt x="3292" y="1415"/>
                </a:lnTo>
                <a:cubicBezTo>
                  <a:pt x="3292" y="1368"/>
                  <a:pt x="3245" y="1336"/>
                  <a:pt x="3213" y="1336"/>
                </a:cubicBezTo>
                <a:cubicBezTo>
                  <a:pt x="3165" y="1336"/>
                  <a:pt x="3134" y="1368"/>
                  <a:pt x="3134" y="1415"/>
                </a:cubicBezTo>
                <a:lnTo>
                  <a:pt x="3134" y="1447"/>
                </a:lnTo>
                <a:cubicBezTo>
                  <a:pt x="3086" y="1463"/>
                  <a:pt x="3038" y="1479"/>
                  <a:pt x="3006" y="1495"/>
                </a:cubicBezTo>
                <a:lnTo>
                  <a:pt x="2974" y="1479"/>
                </a:lnTo>
                <a:cubicBezTo>
                  <a:pt x="2943" y="1447"/>
                  <a:pt x="2895" y="1447"/>
                  <a:pt x="2863" y="1479"/>
                </a:cubicBezTo>
                <a:cubicBezTo>
                  <a:pt x="2831" y="1511"/>
                  <a:pt x="2831" y="1559"/>
                  <a:pt x="2863" y="1590"/>
                </a:cubicBezTo>
                <a:lnTo>
                  <a:pt x="2895" y="1606"/>
                </a:lnTo>
                <a:cubicBezTo>
                  <a:pt x="2863" y="1654"/>
                  <a:pt x="2847" y="1702"/>
                  <a:pt x="2831" y="1733"/>
                </a:cubicBezTo>
                <a:lnTo>
                  <a:pt x="2799" y="1733"/>
                </a:lnTo>
                <a:cubicBezTo>
                  <a:pt x="2768" y="1733"/>
                  <a:pt x="2720" y="1781"/>
                  <a:pt x="2720" y="1813"/>
                </a:cubicBezTo>
                <a:cubicBezTo>
                  <a:pt x="2720" y="1860"/>
                  <a:pt x="2768" y="1892"/>
                  <a:pt x="2799" y="1892"/>
                </a:cubicBezTo>
                <a:lnTo>
                  <a:pt x="2831" y="1892"/>
                </a:lnTo>
                <a:cubicBezTo>
                  <a:pt x="2847" y="1940"/>
                  <a:pt x="2863" y="1988"/>
                  <a:pt x="2895" y="2020"/>
                </a:cubicBezTo>
                <a:lnTo>
                  <a:pt x="2863" y="2051"/>
                </a:lnTo>
                <a:cubicBezTo>
                  <a:pt x="2831" y="2083"/>
                  <a:pt x="2831" y="2131"/>
                  <a:pt x="2863" y="2163"/>
                </a:cubicBezTo>
                <a:cubicBezTo>
                  <a:pt x="2879" y="2178"/>
                  <a:pt x="2911" y="2178"/>
                  <a:pt x="2926" y="2178"/>
                </a:cubicBezTo>
                <a:cubicBezTo>
                  <a:pt x="2943" y="2178"/>
                  <a:pt x="2959" y="2178"/>
                  <a:pt x="2974" y="2163"/>
                </a:cubicBezTo>
                <a:lnTo>
                  <a:pt x="3006" y="2147"/>
                </a:lnTo>
                <a:cubicBezTo>
                  <a:pt x="3038" y="2163"/>
                  <a:pt x="3086" y="2178"/>
                  <a:pt x="3134" y="2195"/>
                </a:cubicBezTo>
                <a:lnTo>
                  <a:pt x="3134" y="2226"/>
                </a:lnTo>
                <a:cubicBezTo>
                  <a:pt x="3134" y="2258"/>
                  <a:pt x="3165" y="2306"/>
                  <a:pt x="3213" y="2306"/>
                </a:cubicBezTo>
                <a:cubicBezTo>
                  <a:pt x="3245" y="2306"/>
                  <a:pt x="3292" y="2258"/>
                  <a:pt x="3292" y="2226"/>
                </a:cubicBezTo>
                <a:lnTo>
                  <a:pt x="3292" y="2195"/>
                </a:lnTo>
                <a:cubicBezTo>
                  <a:pt x="3340" y="2178"/>
                  <a:pt x="3372" y="2163"/>
                  <a:pt x="3420" y="2147"/>
                </a:cubicBezTo>
                <a:lnTo>
                  <a:pt x="3435" y="2163"/>
                </a:lnTo>
                <a:cubicBezTo>
                  <a:pt x="3452" y="2178"/>
                  <a:pt x="3468" y="2178"/>
                  <a:pt x="3499" y="2178"/>
                </a:cubicBezTo>
                <a:cubicBezTo>
                  <a:pt x="3515" y="2178"/>
                  <a:pt x="3531" y="2178"/>
                  <a:pt x="3547" y="2163"/>
                </a:cubicBezTo>
                <a:cubicBezTo>
                  <a:pt x="3579" y="2131"/>
                  <a:pt x="3579" y="2083"/>
                  <a:pt x="3547" y="2051"/>
                </a:cubicBezTo>
                <a:lnTo>
                  <a:pt x="3531" y="2020"/>
                </a:lnTo>
                <a:cubicBezTo>
                  <a:pt x="3547" y="1988"/>
                  <a:pt x="3579" y="1940"/>
                  <a:pt x="3579" y="1892"/>
                </a:cubicBezTo>
                <a:lnTo>
                  <a:pt x="3611" y="1892"/>
                </a:lnTo>
                <a:cubicBezTo>
                  <a:pt x="3658" y="1892"/>
                  <a:pt x="3690" y="1860"/>
                  <a:pt x="3690" y="1813"/>
                </a:cubicBezTo>
                <a:cubicBezTo>
                  <a:pt x="3690" y="1781"/>
                  <a:pt x="3658" y="1733"/>
                  <a:pt x="3611" y="1733"/>
                </a:cubicBezTo>
                <a:close/>
                <a:moveTo>
                  <a:pt x="3213" y="2035"/>
                </a:moveTo>
                <a:cubicBezTo>
                  <a:pt x="3086" y="2035"/>
                  <a:pt x="2990" y="1940"/>
                  <a:pt x="2990" y="1813"/>
                </a:cubicBezTo>
                <a:cubicBezTo>
                  <a:pt x="2990" y="1702"/>
                  <a:pt x="3086" y="1590"/>
                  <a:pt x="3213" y="1590"/>
                </a:cubicBezTo>
                <a:cubicBezTo>
                  <a:pt x="3324" y="1590"/>
                  <a:pt x="3435" y="1702"/>
                  <a:pt x="3435" y="1813"/>
                </a:cubicBezTo>
                <a:cubicBezTo>
                  <a:pt x="3435" y="1940"/>
                  <a:pt x="3324" y="2035"/>
                  <a:pt x="3213" y="2035"/>
                </a:cubicBezTo>
                <a:close/>
                <a:moveTo>
                  <a:pt x="5424" y="0"/>
                </a:moveTo>
                <a:lnTo>
                  <a:pt x="80" y="0"/>
                </a:lnTo>
                <a:cubicBezTo>
                  <a:pt x="32" y="0"/>
                  <a:pt x="0" y="47"/>
                  <a:pt x="0" y="79"/>
                </a:cubicBezTo>
                <a:lnTo>
                  <a:pt x="0" y="3944"/>
                </a:lnTo>
                <a:cubicBezTo>
                  <a:pt x="0" y="3992"/>
                  <a:pt x="32" y="4023"/>
                  <a:pt x="80" y="4023"/>
                </a:cubicBezTo>
                <a:lnTo>
                  <a:pt x="5424" y="4023"/>
                </a:lnTo>
                <a:cubicBezTo>
                  <a:pt x="5471" y="4023"/>
                  <a:pt x="5503" y="3992"/>
                  <a:pt x="5503" y="3944"/>
                </a:cubicBezTo>
                <a:lnTo>
                  <a:pt x="5503" y="79"/>
                </a:lnTo>
                <a:cubicBezTo>
                  <a:pt x="5503" y="47"/>
                  <a:pt x="5471" y="0"/>
                  <a:pt x="5424" y="0"/>
                </a:cubicBezTo>
                <a:close/>
                <a:moveTo>
                  <a:pt x="5344" y="159"/>
                </a:moveTo>
                <a:lnTo>
                  <a:pt x="5344" y="922"/>
                </a:lnTo>
                <a:lnTo>
                  <a:pt x="175" y="922"/>
                </a:lnTo>
                <a:lnTo>
                  <a:pt x="159" y="922"/>
                </a:lnTo>
                <a:lnTo>
                  <a:pt x="159" y="159"/>
                </a:lnTo>
                <a:close/>
                <a:moveTo>
                  <a:pt x="159" y="3865"/>
                </a:moveTo>
                <a:lnTo>
                  <a:pt x="159" y="1081"/>
                </a:lnTo>
                <a:lnTo>
                  <a:pt x="175" y="1081"/>
                </a:lnTo>
                <a:lnTo>
                  <a:pt x="5344" y="1081"/>
                </a:lnTo>
                <a:lnTo>
                  <a:pt x="5344" y="3865"/>
                </a:lnTo>
                <a:close/>
                <a:moveTo>
                  <a:pt x="843" y="572"/>
                </a:moveTo>
                <a:cubicBezTo>
                  <a:pt x="907" y="572"/>
                  <a:pt x="954" y="509"/>
                  <a:pt x="954" y="445"/>
                </a:cubicBezTo>
                <a:cubicBezTo>
                  <a:pt x="954" y="381"/>
                  <a:pt x="907" y="333"/>
                  <a:pt x="843" y="333"/>
                </a:cubicBezTo>
                <a:cubicBezTo>
                  <a:pt x="780" y="333"/>
                  <a:pt x="716" y="381"/>
                  <a:pt x="716" y="445"/>
                </a:cubicBezTo>
                <a:cubicBezTo>
                  <a:pt x="716" y="509"/>
                  <a:pt x="780" y="572"/>
                  <a:pt x="843" y="572"/>
                </a:cubicBezTo>
                <a:close/>
                <a:moveTo>
                  <a:pt x="1304" y="572"/>
                </a:moveTo>
                <a:cubicBezTo>
                  <a:pt x="1368" y="572"/>
                  <a:pt x="1416" y="509"/>
                  <a:pt x="1416" y="445"/>
                </a:cubicBezTo>
                <a:cubicBezTo>
                  <a:pt x="1416" y="381"/>
                  <a:pt x="1368" y="333"/>
                  <a:pt x="1304" y="333"/>
                </a:cubicBezTo>
                <a:cubicBezTo>
                  <a:pt x="1241" y="333"/>
                  <a:pt x="1177" y="381"/>
                  <a:pt x="1177" y="445"/>
                </a:cubicBezTo>
                <a:cubicBezTo>
                  <a:pt x="1177" y="509"/>
                  <a:pt x="1241" y="572"/>
                  <a:pt x="1304" y="572"/>
                </a:cubicBezTo>
                <a:close/>
                <a:moveTo>
                  <a:pt x="1766" y="572"/>
                </a:moveTo>
                <a:cubicBezTo>
                  <a:pt x="1829" y="572"/>
                  <a:pt x="1877" y="509"/>
                  <a:pt x="1877" y="445"/>
                </a:cubicBezTo>
                <a:cubicBezTo>
                  <a:pt x="1877" y="381"/>
                  <a:pt x="1829" y="333"/>
                  <a:pt x="1766" y="333"/>
                </a:cubicBezTo>
                <a:cubicBezTo>
                  <a:pt x="1702" y="333"/>
                  <a:pt x="1638" y="381"/>
                  <a:pt x="1638" y="445"/>
                </a:cubicBezTo>
                <a:cubicBezTo>
                  <a:pt x="1638" y="509"/>
                  <a:pt x="1702" y="572"/>
                  <a:pt x="1766" y="5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3" name="Freeform: Shape 4">
            <a:extLst>
              <a:ext uri="{FF2B5EF4-FFF2-40B4-BE49-F238E27FC236}">
                <a16:creationId xmlns:a16="http://schemas.microsoft.com/office/drawing/2014/main" id="{A98DB857-E7D8-824C-A9B7-9A15F933781B}"/>
              </a:ext>
            </a:extLst>
          </p:cNvPr>
          <p:cNvSpPr/>
          <p:nvPr/>
        </p:nvSpPr>
        <p:spPr>
          <a:xfrm>
            <a:off x="5761655" y="3297675"/>
            <a:ext cx="1974960" cy="1447919"/>
          </a:xfrm>
          <a:custGeom>
            <a:avLst/>
            <a:gdLst/>
            <a:ahLst/>
            <a:cxnLst>
              <a:cxn ang="3cd4">
                <a:pos x="hc" y="t"/>
              </a:cxn>
              <a:cxn ang="cd2">
                <a:pos x="l" y="vc"/>
              </a:cxn>
              <a:cxn ang="cd4">
                <a:pos x="hc" y="b"/>
              </a:cxn>
              <a:cxn ang="0">
                <a:pos x="r" y="vc"/>
              </a:cxn>
            </a:cxnLst>
            <a:rect l="l" t="t" r="r" b="b"/>
            <a:pathLst>
              <a:path w="5487" h="4023">
                <a:moveTo>
                  <a:pt x="3945" y="1351"/>
                </a:moveTo>
                <a:lnTo>
                  <a:pt x="3309" y="1351"/>
                </a:lnTo>
                <a:lnTo>
                  <a:pt x="2497" y="1351"/>
                </a:lnTo>
                <a:lnTo>
                  <a:pt x="1861" y="1351"/>
                </a:lnTo>
                <a:cubicBezTo>
                  <a:pt x="1813" y="1351"/>
                  <a:pt x="1782" y="1399"/>
                  <a:pt x="1782" y="1431"/>
                </a:cubicBezTo>
                <a:lnTo>
                  <a:pt x="1782" y="3531"/>
                </a:lnTo>
                <a:cubicBezTo>
                  <a:pt x="1782" y="3578"/>
                  <a:pt x="1813" y="3610"/>
                  <a:pt x="1861" y="3610"/>
                </a:cubicBezTo>
                <a:lnTo>
                  <a:pt x="2338" y="3610"/>
                </a:lnTo>
                <a:lnTo>
                  <a:pt x="3467" y="3610"/>
                </a:lnTo>
                <a:lnTo>
                  <a:pt x="3945" y="3610"/>
                </a:lnTo>
                <a:cubicBezTo>
                  <a:pt x="3992" y="3610"/>
                  <a:pt x="4024" y="3578"/>
                  <a:pt x="4024" y="3531"/>
                </a:cubicBezTo>
                <a:lnTo>
                  <a:pt x="4024" y="1431"/>
                </a:lnTo>
                <a:cubicBezTo>
                  <a:pt x="4024" y="1399"/>
                  <a:pt x="3992" y="1351"/>
                  <a:pt x="3945" y="1351"/>
                </a:cubicBezTo>
                <a:close/>
                <a:moveTo>
                  <a:pt x="3229" y="1511"/>
                </a:moveTo>
                <a:lnTo>
                  <a:pt x="3229" y="2163"/>
                </a:lnTo>
                <a:lnTo>
                  <a:pt x="2577" y="2163"/>
                </a:lnTo>
                <a:lnTo>
                  <a:pt x="2577" y="1511"/>
                </a:lnTo>
                <a:close/>
                <a:moveTo>
                  <a:pt x="2418" y="3451"/>
                </a:moveTo>
                <a:lnTo>
                  <a:pt x="2418" y="2799"/>
                </a:lnTo>
                <a:lnTo>
                  <a:pt x="3388" y="2799"/>
                </a:lnTo>
                <a:lnTo>
                  <a:pt x="3388" y="3451"/>
                </a:lnTo>
                <a:close/>
                <a:moveTo>
                  <a:pt x="3865" y="3451"/>
                </a:moveTo>
                <a:lnTo>
                  <a:pt x="3547" y="3451"/>
                </a:lnTo>
                <a:lnTo>
                  <a:pt x="3547" y="2719"/>
                </a:lnTo>
                <a:cubicBezTo>
                  <a:pt x="3547" y="2687"/>
                  <a:pt x="3515" y="2640"/>
                  <a:pt x="3467" y="2640"/>
                </a:cubicBezTo>
                <a:lnTo>
                  <a:pt x="2338" y="2640"/>
                </a:lnTo>
                <a:cubicBezTo>
                  <a:pt x="2291" y="2640"/>
                  <a:pt x="2259" y="2687"/>
                  <a:pt x="2259" y="2719"/>
                </a:cubicBezTo>
                <a:lnTo>
                  <a:pt x="2259" y="3451"/>
                </a:lnTo>
                <a:lnTo>
                  <a:pt x="1941" y="3451"/>
                </a:lnTo>
                <a:lnTo>
                  <a:pt x="1941" y="1511"/>
                </a:lnTo>
                <a:lnTo>
                  <a:pt x="2418" y="1511"/>
                </a:lnTo>
                <a:lnTo>
                  <a:pt x="2418" y="2242"/>
                </a:lnTo>
                <a:cubicBezTo>
                  <a:pt x="2418" y="2290"/>
                  <a:pt x="2465" y="2322"/>
                  <a:pt x="2497" y="2322"/>
                </a:cubicBezTo>
                <a:lnTo>
                  <a:pt x="3309" y="2322"/>
                </a:lnTo>
                <a:cubicBezTo>
                  <a:pt x="3356" y="2322"/>
                  <a:pt x="3388" y="2290"/>
                  <a:pt x="3388" y="2242"/>
                </a:cubicBezTo>
                <a:lnTo>
                  <a:pt x="3388" y="1511"/>
                </a:lnTo>
                <a:lnTo>
                  <a:pt x="3865" y="1511"/>
                </a:lnTo>
                <a:close/>
                <a:moveTo>
                  <a:pt x="5487" y="3944"/>
                </a:moveTo>
                <a:lnTo>
                  <a:pt x="5487" y="79"/>
                </a:lnTo>
                <a:cubicBezTo>
                  <a:pt x="5487" y="47"/>
                  <a:pt x="5455" y="0"/>
                  <a:pt x="5408" y="0"/>
                </a:cubicBezTo>
                <a:lnTo>
                  <a:pt x="80" y="0"/>
                </a:lnTo>
                <a:cubicBezTo>
                  <a:pt x="32" y="0"/>
                  <a:pt x="0" y="47"/>
                  <a:pt x="0" y="79"/>
                </a:cubicBezTo>
                <a:lnTo>
                  <a:pt x="0" y="3944"/>
                </a:lnTo>
                <a:cubicBezTo>
                  <a:pt x="0" y="3992"/>
                  <a:pt x="32" y="4023"/>
                  <a:pt x="80" y="4023"/>
                </a:cubicBezTo>
                <a:lnTo>
                  <a:pt x="5408" y="4023"/>
                </a:lnTo>
                <a:cubicBezTo>
                  <a:pt x="5455" y="4023"/>
                  <a:pt x="5487" y="3992"/>
                  <a:pt x="5487" y="3944"/>
                </a:cubicBezTo>
                <a:close/>
                <a:moveTo>
                  <a:pt x="5328" y="159"/>
                </a:moveTo>
                <a:lnTo>
                  <a:pt x="5328" y="922"/>
                </a:lnTo>
                <a:lnTo>
                  <a:pt x="159" y="922"/>
                </a:lnTo>
                <a:lnTo>
                  <a:pt x="159" y="159"/>
                </a:lnTo>
                <a:close/>
                <a:moveTo>
                  <a:pt x="159" y="3865"/>
                </a:moveTo>
                <a:lnTo>
                  <a:pt x="159" y="1081"/>
                </a:lnTo>
                <a:lnTo>
                  <a:pt x="5328" y="1081"/>
                </a:lnTo>
                <a:lnTo>
                  <a:pt x="5328" y="3865"/>
                </a:lnTo>
                <a:close/>
                <a:moveTo>
                  <a:pt x="827" y="572"/>
                </a:moveTo>
                <a:cubicBezTo>
                  <a:pt x="891" y="572"/>
                  <a:pt x="938" y="509"/>
                  <a:pt x="938" y="445"/>
                </a:cubicBezTo>
                <a:cubicBezTo>
                  <a:pt x="938" y="381"/>
                  <a:pt x="891" y="333"/>
                  <a:pt x="827" y="333"/>
                </a:cubicBezTo>
                <a:cubicBezTo>
                  <a:pt x="764" y="333"/>
                  <a:pt x="716" y="381"/>
                  <a:pt x="716" y="445"/>
                </a:cubicBezTo>
                <a:cubicBezTo>
                  <a:pt x="716" y="509"/>
                  <a:pt x="764" y="572"/>
                  <a:pt x="827" y="572"/>
                </a:cubicBezTo>
                <a:close/>
                <a:moveTo>
                  <a:pt x="1289" y="572"/>
                </a:moveTo>
                <a:cubicBezTo>
                  <a:pt x="1352" y="572"/>
                  <a:pt x="1400" y="509"/>
                  <a:pt x="1400" y="445"/>
                </a:cubicBezTo>
                <a:cubicBezTo>
                  <a:pt x="1400" y="381"/>
                  <a:pt x="1352" y="333"/>
                  <a:pt x="1289" y="333"/>
                </a:cubicBezTo>
                <a:cubicBezTo>
                  <a:pt x="1225" y="333"/>
                  <a:pt x="1177" y="381"/>
                  <a:pt x="1177" y="445"/>
                </a:cubicBezTo>
                <a:cubicBezTo>
                  <a:pt x="1177" y="509"/>
                  <a:pt x="1225" y="572"/>
                  <a:pt x="1289" y="572"/>
                </a:cubicBezTo>
                <a:close/>
                <a:moveTo>
                  <a:pt x="1750" y="572"/>
                </a:moveTo>
                <a:cubicBezTo>
                  <a:pt x="1813" y="572"/>
                  <a:pt x="1861" y="509"/>
                  <a:pt x="1861" y="445"/>
                </a:cubicBezTo>
                <a:cubicBezTo>
                  <a:pt x="1861" y="381"/>
                  <a:pt x="1813" y="333"/>
                  <a:pt x="1750" y="333"/>
                </a:cubicBezTo>
                <a:cubicBezTo>
                  <a:pt x="1686" y="333"/>
                  <a:pt x="1638" y="381"/>
                  <a:pt x="1638" y="445"/>
                </a:cubicBezTo>
                <a:cubicBezTo>
                  <a:pt x="1638" y="509"/>
                  <a:pt x="1686" y="572"/>
                  <a:pt x="1750" y="5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4" name="Freeform: Shape 5">
            <a:extLst>
              <a:ext uri="{FF2B5EF4-FFF2-40B4-BE49-F238E27FC236}">
                <a16:creationId xmlns:a16="http://schemas.microsoft.com/office/drawing/2014/main" id="{8B0E9AFC-8689-1345-87CD-586322EA6123}"/>
              </a:ext>
            </a:extLst>
          </p:cNvPr>
          <p:cNvSpPr/>
          <p:nvPr/>
        </p:nvSpPr>
        <p:spPr>
          <a:xfrm>
            <a:off x="5761655" y="9951394"/>
            <a:ext cx="1981080" cy="1448280"/>
          </a:xfrm>
          <a:custGeom>
            <a:avLst/>
            <a:gdLst/>
            <a:ahLst/>
            <a:cxnLst>
              <a:cxn ang="3cd4">
                <a:pos x="hc" y="t"/>
              </a:cxn>
              <a:cxn ang="cd2">
                <a:pos x="l" y="vc"/>
              </a:cxn>
              <a:cxn ang="cd4">
                <a:pos x="hc" y="b"/>
              </a:cxn>
              <a:cxn ang="0">
                <a:pos x="r" y="vc"/>
              </a:cxn>
            </a:cxnLst>
            <a:rect l="l" t="t" r="r" b="b"/>
            <a:pathLst>
              <a:path w="5504" h="4024">
                <a:moveTo>
                  <a:pt x="3992" y="2179"/>
                </a:moveTo>
                <a:lnTo>
                  <a:pt x="2878" y="1384"/>
                </a:lnTo>
                <a:cubicBezTo>
                  <a:pt x="2846" y="1368"/>
                  <a:pt x="2815" y="1368"/>
                  <a:pt x="2783" y="1384"/>
                </a:cubicBezTo>
                <a:lnTo>
                  <a:pt x="1670" y="2179"/>
                </a:lnTo>
                <a:cubicBezTo>
                  <a:pt x="1638" y="2195"/>
                  <a:pt x="1622" y="2227"/>
                  <a:pt x="1638" y="2259"/>
                </a:cubicBezTo>
                <a:cubicBezTo>
                  <a:pt x="1653" y="2291"/>
                  <a:pt x="1670" y="2322"/>
                  <a:pt x="1717" y="2322"/>
                </a:cubicBezTo>
                <a:lnTo>
                  <a:pt x="1956" y="2322"/>
                </a:lnTo>
                <a:lnTo>
                  <a:pt x="1956" y="3531"/>
                </a:lnTo>
                <a:cubicBezTo>
                  <a:pt x="1956" y="3563"/>
                  <a:pt x="1988" y="3611"/>
                  <a:pt x="2019" y="3611"/>
                </a:cubicBezTo>
                <a:lnTo>
                  <a:pt x="3642" y="3611"/>
                </a:lnTo>
                <a:cubicBezTo>
                  <a:pt x="3689" y="3611"/>
                  <a:pt x="3721" y="3563"/>
                  <a:pt x="3721" y="3531"/>
                </a:cubicBezTo>
                <a:lnTo>
                  <a:pt x="3721" y="2322"/>
                </a:lnTo>
                <a:lnTo>
                  <a:pt x="3960" y="2322"/>
                </a:lnTo>
                <a:cubicBezTo>
                  <a:pt x="3992" y="2322"/>
                  <a:pt x="4024" y="2291"/>
                  <a:pt x="4024" y="2259"/>
                </a:cubicBezTo>
                <a:cubicBezTo>
                  <a:pt x="4039" y="2227"/>
                  <a:pt x="4024" y="2195"/>
                  <a:pt x="3992" y="2179"/>
                </a:cubicBezTo>
                <a:close/>
                <a:moveTo>
                  <a:pt x="2831" y="1559"/>
                </a:moveTo>
                <a:lnTo>
                  <a:pt x="3706" y="2163"/>
                </a:lnTo>
                <a:lnTo>
                  <a:pt x="3642" y="2163"/>
                </a:lnTo>
                <a:lnTo>
                  <a:pt x="2019" y="2163"/>
                </a:lnTo>
                <a:lnTo>
                  <a:pt x="1972" y="2163"/>
                </a:lnTo>
                <a:close/>
                <a:moveTo>
                  <a:pt x="3562" y="3452"/>
                </a:moveTo>
                <a:lnTo>
                  <a:pt x="2099" y="3452"/>
                </a:lnTo>
                <a:lnTo>
                  <a:pt x="2099" y="2322"/>
                </a:lnTo>
                <a:lnTo>
                  <a:pt x="3562" y="2322"/>
                </a:lnTo>
                <a:close/>
                <a:moveTo>
                  <a:pt x="5424" y="0"/>
                </a:moveTo>
                <a:lnTo>
                  <a:pt x="80" y="0"/>
                </a:lnTo>
                <a:cubicBezTo>
                  <a:pt x="32" y="0"/>
                  <a:pt x="0" y="32"/>
                  <a:pt x="0" y="80"/>
                </a:cubicBezTo>
                <a:lnTo>
                  <a:pt x="0" y="3945"/>
                </a:lnTo>
                <a:cubicBezTo>
                  <a:pt x="0" y="3976"/>
                  <a:pt x="32" y="4024"/>
                  <a:pt x="80" y="4024"/>
                </a:cubicBezTo>
                <a:lnTo>
                  <a:pt x="5424" y="4024"/>
                </a:lnTo>
                <a:cubicBezTo>
                  <a:pt x="5472" y="4024"/>
                  <a:pt x="5504" y="3976"/>
                  <a:pt x="5504" y="3945"/>
                </a:cubicBezTo>
                <a:lnTo>
                  <a:pt x="5504" y="80"/>
                </a:lnTo>
                <a:cubicBezTo>
                  <a:pt x="5504" y="32"/>
                  <a:pt x="5472" y="0"/>
                  <a:pt x="5424" y="0"/>
                </a:cubicBezTo>
                <a:close/>
                <a:moveTo>
                  <a:pt x="5344" y="159"/>
                </a:moveTo>
                <a:lnTo>
                  <a:pt x="5344" y="907"/>
                </a:lnTo>
                <a:lnTo>
                  <a:pt x="175" y="907"/>
                </a:lnTo>
                <a:cubicBezTo>
                  <a:pt x="170" y="912"/>
                  <a:pt x="160" y="907"/>
                  <a:pt x="160" y="923"/>
                </a:cubicBezTo>
                <a:lnTo>
                  <a:pt x="160" y="159"/>
                </a:lnTo>
                <a:close/>
                <a:moveTo>
                  <a:pt x="160" y="3865"/>
                </a:moveTo>
                <a:lnTo>
                  <a:pt x="160" y="1066"/>
                </a:lnTo>
                <a:lnTo>
                  <a:pt x="175" y="1066"/>
                </a:lnTo>
                <a:lnTo>
                  <a:pt x="5344" y="1066"/>
                </a:lnTo>
                <a:lnTo>
                  <a:pt x="5344" y="3865"/>
                </a:lnTo>
                <a:close/>
                <a:moveTo>
                  <a:pt x="844" y="557"/>
                </a:moveTo>
                <a:cubicBezTo>
                  <a:pt x="907" y="557"/>
                  <a:pt x="955" y="509"/>
                  <a:pt x="955" y="446"/>
                </a:cubicBezTo>
                <a:cubicBezTo>
                  <a:pt x="955" y="382"/>
                  <a:pt x="907" y="318"/>
                  <a:pt x="844" y="318"/>
                </a:cubicBezTo>
                <a:cubicBezTo>
                  <a:pt x="780" y="318"/>
                  <a:pt x="732" y="382"/>
                  <a:pt x="732" y="446"/>
                </a:cubicBezTo>
                <a:cubicBezTo>
                  <a:pt x="732" y="509"/>
                  <a:pt x="780" y="557"/>
                  <a:pt x="844" y="557"/>
                </a:cubicBezTo>
                <a:close/>
                <a:moveTo>
                  <a:pt x="1305" y="557"/>
                </a:moveTo>
                <a:cubicBezTo>
                  <a:pt x="1368" y="557"/>
                  <a:pt x="1416" y="509"/>
                  <a:pt x="1416" y="446"/>
                </a:cubicBezTo>
                <a:cubicBezTo>
                  <a:pt x="1416" y="382"/>
                  <a:pt x="1368" y="318"/>
                  <a:pt x="1305" y="318"/>
                </a:cubicBezTo>
                <a:cubicBezTo>
                  <a:pt x="1241" y="318"/>
                  <a:pt x="1193" y="382"/>
                  <a:pt x="1193" y="446"/>
                </a:cubicBezTo>
                <a:cubicBezTo>
                  <a:pt x="1193" y="509"/>
                  <a:pt x="1241" y="557"/>
                  <a:pt x="1305" y="557"/>
                </a:cubicBezTo>
                <a:close/>
                <a:moveTo>
                  <a:pt x="1766" y="557"/>
                </a:moveTo>
                <a:cubicBezTo>
                  <a:pt x="1829" y="557"/>
                  <a:pt x="1877" y="509"/>
                  <a:pt x="1877" y="446"/>
                </a:cubicBezTo>
                <a:cubicBezTo>
                  <a:pt x="1877" y="382"/>
                  <a:pt x="1829" y="318"/>
                  <a:pt x="1766" y="318"/>
                </a:cubicBezTo>
                <a:cubicBezTo>
                  <a:pt x="1702" y="318"/>
                  <a:pt x="1639" y="382"/>
                  <a:pt x="1639" y="446"/>
                </a:cubicBezTo>
                <a:cubicBezTo>
                  <a:pt x="1639" y="509"/>
                  <a:pt x="1702" y="557"/>
                  <a:pt x="1766" y="55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5" name="Freeform: Shape 6">
            <a:extLst>
              <a:ext uri="{FF2B5EF4-FFF2-40B4-BE49-F238E27FC236}">
                <a16:creationId xmlns:a16="http://schemas.microsoft.com/office/drawing/2014/main" id="{712FFAF4-32CD-624A-A6BD-4661CA584C86}"/>
              </a:ext>
            </a:extLst>
          </p:cNvPr>
          <p:cNvSpPr/>
          <p:nvPr/>
        </p:nvSpPr>
        <p:spPr>
          <a:xfrm>
            <a:off x="21065096" y="6485946"/>
            <a:ext cx="1980720" cy="1448639"/>
          </a:xfrm>
          <a:custGeom>
            <a:avLst/>
            <a:gdLst/>
            <a:ahLst/>
            <a:cxnLst>
              <a:cxn ang="3cd4">
                <a:pos x="hc" y="t"/>
              </a:cxn>
              <a:cxn ang="cd2">
                <a:pos x="l" y="vc"/>
              </a:cxn>
              <a:cxn ang="cd4">
                <a:pos x="hc" y="b"/>
              </a:cxn>
              <a:cxn ang="0">
                <a:pos x="r" y="vc"/>
              </a:cxn>
            </a:cxnLst>
            <a:rect l="l" t="t" r="r" b="b"/>
            <a:pathLst>
              <a:path w="5503" h="4025">
                <a:moveTo>
                  <a:pt x="2720" y="1384"/>
                </a:moveTo>
                <a:cubicBezTo>
                  <a:pt x="2116" y="1384"/>
                  <a:pt x="1639" y="1862"/>
                  <a:pt x="1639" y="2466"/>
                </a:cubicBezTo>
                <a:cubicBezTo>
                  <a:pt x="1639" y="3070"/>
                  <a:pt x="2116" y="3547"/>
                  <a:pt x="2720" y="3547"/>
                </a:cubicBezTo>
                <a:cubicBezTo>
                  <a:pt x="3324" y="3547"/>
                  <a:pt x="3802" y="3070"/>
                  <a:pt x="3802" y="2466"/>
                </a:cubicBezTo>
                <a:cubicBezTo>
                  <a:pt x="3802" y="1862"/>
                  <a:pt x="3324" y="1384"/>
                  <a:pt x="2720" y="1384"/>
                </a:cubicBezTo>
                <a:close/>
                <a:moveTo>
                  <a:pt x="2720" y="3388"/>
                </a:moveTo>
                <a:cubicBezTo>
                  <a:pt x="2211" y="3388"/>
                  <a:pt x="1798" y="2975"/>
                  <a:pt x="1798" y="2466"/>
                </a:cubicBezTo>
                <a:cubicBezTo>
                  <a:pt x="1798" y="1957"/>
                  <a:pt x="2211" y="1543"/>
                  <a:pt x="2720" y="1543"/>
                </a:cubicBezTo>
                <a:cubicBezTo>
                  <a:pt x="3229" y="1543"/>
                  <a:pt x="3643" y="1957"/>
                  <a:pt x="3643" y="2466"/>
                </a:cubicBezTo>
                <a:cubicBezTo>
                  <a:pt x="3643" y="2975"/>
                  <a:pt x="3229" y="3388"/>
                  <a:pt x="2720" y="3388"/>
                </a:cubicBezTo>
                <a:close/>
                <a:moveTo>
                  <a:pt x="3134" y="2338"/>
                </a:moveTo>
                <a:lnTo>
                  <a:pt x="2752" y="2434"/>
                </a:lnTo>
                <a:lnTo>
                  <a:pt x="2752" y="2100"/>
                </a:lnTo>
                <a:cubicBezTo>
                  <a:pt x="2752" y="2052"/>
                  <a:pt x="2720" y="2020"/>
                  <a:pt x="2672" y="2020"/>
                </a:cubicBezTo>
                <a:cubicBezTo>
                  <a:pt x="2625" y="2020"/>
                  <a:pt x="2593" y="2052"/>
                  <a:pt x="2593" y="2100"/>
                </a:cubicBezTo>
                <a:lnTo>
                  <a:pt x="2593" y="2529"/>
                </a:lnTo>
                <a:cubicBezTo>
                  <a:pt x="2593" y="2561"/>
                  <a:pt x="2609" y="2593"/>
                  <a:pt x="2625" y="2593"/>
                </a:cubicBezTo>
                <a:cubicBezTo>
                  <a:pt x="2640" y="2609"/>
                  <a:pt x="2657" y="2609"/>
                  <a:pt x="2672" y="2609"/>
                </a:cubicBezTo>
                <a:lnTo>
                  <a:pt x="2688" y="2609"/>
                </a:lnTo>
                <a:lnTo>
                  <a:pt x="3166" y="2482"/>
                </a:lnTo>
                <a:cubicBezTo>
                  <a:pt x="3213" y="2482"/>
                  <a:pt x="3245" y="2434"/>
                  <a:pt x="3229" y="2386"/>
                </a:cubicBezTo>
                <a:cubicBezTo>
                  <a:pt x="3213" y="2338"/>
                  <a:pt x="3166" y="2323"/>
                  <a:pt x="3134" y="2338"/>
                </a:cubicBezTo>
                <a:close/>
                <a:moveTo>
                  <a:pt x="5424" y="0"/>
                </a:moveTo>
                <a:lnTo>
                  <a:pt x="80" y="0"/>
                </a:lnTo>
                <a:cubicBezTo>
                  <a:pt x="48" y="0"/>
                  <a:pt x="0" y="32"/>
                  <a:pt x="0" y="80"/>
                </a:cubicBezTo>
                <a:lnTo>
                  <a:pt x="0" y="3945"/>
                </a:lnTo>
                <a:cubicBezTo>
                  <a:pt x="0" y="3993"/>
                  <a:pt x="48" y="4025"/>
                  <a:pt x="80" y="4025"/>
                </a:cubicBezTo>
                <a:lnTo>
                  <a:pt x="5424" y="4025"/>
                </a:lnTo>
                <a:cubicBezTo>
                  <a:pt x="5472" y="4025"/>
                  <a:pt x="5503" y="3993"/>
                  <a:pt x="5503" y="3945"/>
                </a:cubicBezTo>
                <a:lnTo>
                  <a:pt x="5503" y="80"/>
                </a:lnTo>
                <a:cubicBezTo>
                  <a:pt x="5503" y="32"/>
                  <a:pt x="5472" y="0"/>
                  <a:pt x="5424" y="0"/>
                </a:cubicBezTo>
                <a:close/>
                <a:moveTo>
                  <a:pt x="5344" y="160"/>
                </a:moveTo>
                <a:lnTo>
                  <a:pt x="5344" y="923"/>
                </a:lnTo>
                <a:lnTo>
                  <a:pt x="175" y="923"/>
                </a:lnTo>
                <a:lnTo>
                  <a:pt x="159" y="923"/>
                </a:lnTo>
                <a:lnTo>
                  <a:pt x="159" y="160"/>
                </a:lnTo>
                <a:close/>
                <a:moveTo>
                  <a:pt x="159" y="3865"/>
                </a:moveTo>
                <a:lnTo>
                  <a:pt x="159" y="1082"/>
                </a:lnTo>
                <a:lnTo>
                  <a:pt x="175" y="1082"/>
                </a:lnTo>
                <a:lnTo>
                  <a:pt x="5344" y="1082"/>
                </a:lnTo>
                <a:lnTo>
                  <a:pt x="5344" y="3865"/>
                </a:lnTo>
                <a:close/>
                <a:moveTo>
                  <a:pt x="843" y="557"/>
                </a:moveTo>
                <a:cubicBezTo>
                  <a:pt x="907" y="557"/>
                  <a:pt x="955" y="509"/>
                  <a:pt x="955" y="446"/>
                </a:cubicBezTo>
                <a:cubicBezTo>
                  <a:pt x="955" y="382"/>
                  <a:pt x="907" y="335"/>
                  <a:pt x="843" y="335"/>
                </a:cubicBezTo>
                <a:cubicBezTo>
                  <a:pt x="780" y="335"/>
                  <a:pt x="732" y="382"/>
                  <a:pt x="732" y="446"/>
                </a:cubicBezTo>
                <a:cubicBezTo>
                  <a:pt x="732" y="509"/>
                  <a:pt x="780" y="557"/>
                  <a:pt x="843" y="557"/>
                </a:cubicBezTo>
                <a:close/>
                <a:moveTo>
                  <a:pt x="1304" y="557"/>
                </a:moveTo>
                <a:cubicBezTo>
                  <a:pt x="1368" y="557"/>
                  <a:pt x="1416" y="509"/>
                  <a:pt x="1416" y="446"/>
                </a:cubicBezTo>
                <a:cubicBezTo>
                  <a:pt x="1416" y="382"/>
                  <a:pt x="1368" y="335"/>
                  <a:pt x="1304" y="335"/>
                </a:cubicBezTo>
                <a:cubicBezTo>
                  <a:pt x="1241" y="335"/>
                  <a:pt x="1193" y="382"/>
                  <a:pt x="1193" y="446"/>
                </a:cubicBezTo>
                <a:cubicBezTo>
                  <a:pt x="1193" y="509"/>
                  <a:pt x="1241" y="557"/>
                  <a:pt x="1304" y="557"/>
                </a:cubicBezTo>
                <a:close/>
                <a:moveTo>
                  <a:pt x="1766" y="557"/>
                </a:moveTo>
                <a:cubicBezTo>
                  <a:pt x="1830" y="557"/>
                  <a:pt x="1877" y="509"/>
                  <a:pt x="1877" y="446"/>
                </a:cubicBezTo>
                <a:cubicBezTo>
                  <a:pt x="1877" y="382"/>
                  <a:pt x="1830" y="335"/>
                  <a:pt x="1766" y="335"/>
                </a:cubicBezTo>
                <a:cubicBezTo>
                  <a:pt x="1702" y="335"/>
                  <a:pt x="1655" y="382"/>
                  <a:pt x="1655" y="446"/>
                </a:cubicBezTo>
                <a:cubicBezTo>
                  <a:pt x="1655" y="509"/>
                  <a:pt x="1702" y="557"/>
                  <a:pt x="1766" y="55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6" name="Freeform: Shape 7">
            <a:extLst>
              <a:ext uri="{FF2B5EF4-FFF2-40B4-BE49-F238E27FC236}">
                <a16:creationId xmlns:a16="http://schemas.microsoft.com/office/drawing/2014/main" id="{28991C5F-B5E7-8A48-B3F6-4572F30873B8}"/>
              </a:ext>
            </a:extLst>
          </p:cNvPr>
          <p:cNvSpPr/>
          <p:nvPr/>
        </p:nvSpPr>
        <p:spPr>
          <a:xfrm>
            <a:off x="17163340" y="6486125"/>
            <a:ext cx="1980720" cy="1448280"/>
          </a:xfrm>
          <a:custGeom>
            <a:avLst/>
            <a:gdLst/>
            <a:ahLst/>
            <a:cxnLst>
              <a:cxn ang="3cd4">
                <a:pos x="hc" y="t"/>
              </a:cxn>
              <a:cxn ang="cd2">
                <a:pos x="l" y="vc"/>
              </a:cxn>
              <a:cxn ang="cd4">
                <a:pos x="hc" y="b"/>
              </a:cxn>
              <a:cxn ang="0">
                <a:pos x="r" y="vc"/>
              </a:cxn>
            </a:cxnLst>
            <a:rect l="l" t="t" r="r" b="b"/>
            <a:pathLst>
              <a:path w="5503" h="4024">
                <a:moveTo>
                  <a:pt x="3706" y="2179"/>
                </a:moveTo>
                <a:lnTo>
                  <a:pt x="3070" y="2179"/>
                </a:lnTo>
                <a:lnTo>
                  <a:pt x="2863" y="1559"/>
                </a:lnTo>
                <a:cubicBezTo>
                  <a:pt x="2847" y="1495"/>
                  <a:pt x="2736" y="1495"/>
                  <a:pt x="2720" y="1559"/>
                </a:cubicBezTo>
                <a:lnTo>
                  <a:pt x="2513" y="2179"/>
                </a:lnTo>
                <a:lnTo>
                  <a:pt x="1877" y="2179"/>
                </a:lnTo>
                <a:cubicBezTo>
                  <a:pt x="1845" y="2179"/>
                  <a:pt x="1813" y="2195"/>
                  <a:pt x="1798" y="2227"/>
                </a:cubicBezTo>
                <a:cubicBezTo>
                  <a:pt x="1781" y="2259"/>
                  <a:pt x="1798" y="2291"/>
                  <a:pt x="1829" y="2322"/>
                </a:cubicBezTo>
                <a:lnTo>
                  <a:pt x="2354" y="2704"/>
                </a:lnTo>
                <a:lnTo>
                  <a:pt x="2147" y="3324"/>
                </a:lnTo>
                <a:cubicBezTo>
                  <a:pt x="2131" y="3356"/>
                  <a:pt x="2147" y="3388"/>
                  <a:pt x="2179" y="3404"/>
                </a:cubicBezTo>
                <a:cubicBezTo>
                  <a:pt x="2195" y="3420"/>
                  <a:pt x="2211" y="3420"/>
                  <a:pt x="2227" y="3420"/>
                </a:cubicBezTo>
                <a:cubicBezTo>
                  <a:pt x="2243" y="3420"/>
                  <a:pt x="2259" y="3420"/>
                  <a:pt x="2275" y="3404"/>
                </a:cubicBezTo>
                <a:lnTo>
                  <a:pt x="2783" y="3022"/>
                </a:lnTo>
                <a:lnTo>
                  <a:pt x="3308" y="3404"/>
                </a:lnTo>
                <a:cubicBezTo>
                  <a:pt x="3340" y="3420"/>
                  <a:pt x="3372" y="3420"/>
                  <a:pt x="3404" y="3404"/>
                </a:cubicBezTo>
                <a:cubicBezTo>
                  <a:pt x="3435" y="3388"/>
                  <a:pt x="3435" y="3340"/>
                  <a:pt x="3435" y="3309"/>
                </a:cubicBezTo>
                <a:lnTo>
                  <a:pt x="3229" y="2704"/>
                </a:lnTo>
                <a:lnTo>
                  <a:pt x="3754" y="2322"/>
                </a:lnTo>
                <a:cubicBezTo>
                  <a:pt x="3786" y="2291"/>
                  <a:pt x="3786" y="2259"/>
                  <a:pt x="3786" y="2227"/>
                </a:cubicBezTo>
                <a:cubicBezTo>
                  <a:pt x="3770" y="2195"/>
                  <a:pt x="3738" y="2179"/>
                  <a:pt x="3706" y="2179"/>
                </a:cubicBezTo>
                <a:close/>
                <a:moveTo>
                  <a:pt x="3086" y="2609"/>
                </a:moveTo>
                <a:cubicBezTo>
                  <a:pt x="3070" y="2625"/>
                  <a:pt x="3054" y="2657"/>
                  <a:pt x="3070" y="2688"/>
                </a:cubicBezTo>
                <a:lnTo>
                  <a:pt x="3213" y="3134"/>
                </a:lnTo>
                <a:lnTo>
                  <a:pt x="2831" y="2863"/>
                </a:lnTo>
                <a:cubicBezTo>
                  <a:pt x="2816" y="2848"/>
                  <a:pt x="2768" y="2848"/>
                  <a:pt x="2736" y="2863"/>
                </a:cubicBezTo>
                <a:lnTo>
                  <a:pt x="2370" y="3134"/>
                </a:lnTo>
                <a:lnTo>
                  <a:pt x="2513" y="2688"/>
                </a:lnTo>
                <a:cubicBezTo>
                  <a:pt x="2529" y="2657"/>
                  <a:pt x="2513" y="2625"/>
                  <a:pt x="2481" y="2609"/>
                </a:cubicBezTo>
                <a:lnTo>
                  <a:pt x="2116" y="2339"/>
                </a:lnTo>
                <a:lnTo>
                  <a:pt x="2577" y="2339"/>
                </a:lnTo>
                <a:cubicBezTo>
                  <a:pt x="2608" y="2339"/>
                  <a:pt x="2640" y="2306"/>
                  <a:pt x="2656" y="2275"/>
                </a:cubicBezTo>
                <a:lnTo>
                  <a:pt x="2783" y="1845"/>
                </a:lnTo>
                <a:lnTo>
                  <a:pt x="2926" y="2275"/>
                </a:lnTo>
                <a:cubicBezTo>
                  <a:pt x="2943" y="2306"/>
                  <a:pt x="2974" y="2339"/>
                  <a:pt x="3006" y="2339"/>
                </a:cubicBezTo>
                <a:lnTo>
                  <a:pt x="3468" y="2339"/>
                </a:lnTo>
                <a:close/>
                <a:moveTo>
                  <a:pt x="5424" y="0"/>
                </a:moveTo>
                <a:lnTo>
                  <a:pt x="80" y="0"/>
                </a:lnTo>
                <a:cubicBezTo>
                  <a:pt x="32" y="0"/>
                  <a:pt x="0" y="32"/>
                  <a:pt x="0" y="80"/>
                </a:cubicBezTo>
                <a:lnTo>
                  <a:pt x="0" y="3945"/>
                </a:lnTo>
                <a:cubicBezTo>
                  <a:pt x="0" y="3976"/>
                  <a:pt x="32" y="4024"/>
                  <a:pt x="80" y="4024"/>
                </a:cubicBezTo>
                <a:lnTo>
                  <a:pt x="5424" y="4024"/>
                </a:lnTo>
                <a:cubicBezTo>
                  <a:pt x="5471" y="4024"/>
                  <a:pt x="5503" y="3976"/>
                  <a:pt x="5503" y="3945"/>
                </a:cubicBezTo>
                <a:lnTo>
                  <a:pt x="5503" y="80"/>
                </a:lnTo>
                <a:cubicBezTo>
                  <a:pt x="5503" y="32"/>
                  <a:pt x="5471" y="0"/>
                  <a:pt x="5424" y="0"/>
                </a:cubicBezTo>
                <a:close/>
                <a:moveTo>
                  <a:pt x="5344" y="159"/>
                </a:moveTo>
                <a:lnTo>
                  <a:pt x="5344" y="907"/>
                </a:lnTo>
                <a:lnTo>
                  <a:pt x="175" y="907"/>
                </a:lnTo>
                <a:cubicBezTo>
                  <a:pt x="170" y="912"/>
                  <a:pt x="159" y="907"/>
                  <a:pt x="159" y="923"/>
                </a:cubicBezTo>
                <a:lnTo>
                  <a:pt x="159" y="159"/>
                </a:lnTo>
                <a:close/>
                <a:moveTo>
                  <a:pt x="159" y="3865"/>
                </a:moveTo>
                <a:lnTo>
                  <a:pt x="159" y="1066"/>
                </a:lnTo>
                <a:lnTo>
                  <a:pt x="175" y="1066"/>
                </a:lnTo>
                <a:lnTo>
                  <a:pt x="5344" y="1066"/>
                </a:lnTo>
                <a:lnTo>
                  <a:pt x="5344" y="3865"/>
                </a:lnTo>
                <a:close/>
                <a:moveTo>
                  <a:pt x="843" y="557"/>
                </a:moveTo>
                <a:cubicBezTo>
                  <a:pt x="907" y="557"/>
                  <a:pt x="954" y="509"/>
                  <a:pt x="954" y="446"/>
                </a:cubicBezTo>
                <a:cubicBezTo>
                  <a:pt x="954" y="382"/>
                  <a:pt x="907" y="318"/>
                  <a:pt x="843" y="318"/>
                </a:cubicBezTo>
                <a:cubicBezTo>
                  <a:pt x="780" y="318"/>
                  <a:pt x="716" y="382"/>
                  <a:pt x="716" y="446"/>
                </a:cubicBezTo>
                <a:cubicBezTo>
                  <a:pt x="716" y="509"/>
                  <a:pt x="780" y="557"/>
                  <a:pt x="843" y="557"/>
                </a:cubicBezTo>
                <a:close/>
                <a:moveTo>
                  <a:pt x="1304" y="557"/>
                </a:moveTo>
                <a:cubicBezTo>
                  <a:pt x="1368" y="557"/>
                  <a:pt x="1416" y="509"/>
                  <a:pt x="1416" y="446"/>
                </a:cubicBezTo>
                <a:cubicBezTo>
                  <a:pt x="1416" y="382"/>
                  <a:pt x="1368" y="318"/>
                  <a:pt x="1304" y="318"/>
                </a:cubicBezTo>
                <a:cubicBezTo>
                  <a:pt x="1241" y="318"/>
                  <a:pt x="1177" y="382"/>
                  <a:pt x="1177" y="446"/>
                </a:cubicBezTo>
                <a:cubicBezTo>
                  <a:pt x="1177" y="509"/>
                  <a:pt x="1241" y="557"/>
                  <a:pt x="1304" y="557"/>
                </a:cubicBezTo>
                <a:close/>
                <a:moveTo>
                  <a:pt x="1766" y="557"/>
                </a:moveTo>
                <a:cubicBezTo>
                  <a:pt x="1829" y="557"/>
                  <a:pt x="1877" y="509"/>
                  <a:pt x="1877" y="446"/>
                </a:cubicBezTo>
                <a:cubicBezTo>
                  <a:pt x="1877" y="382"/>
                  <a:pt x="1829" y="318"/>
                  <a:pt x="1766" y="318"/>
                </a:cubicBezTo>
                <a:cubicBezTo>
                  <a:pt x="1702" y="318"/>
                  <a:pt x="1638" y="382"/>
                  <a:pt x="1638" y="446"/>
                </a:cubicBezTo>
                <a:cubicBezTo>
                  <a:pt x="1638" y="509"/>
                  <a:pt x="1702" y="557"/>
                  <a:pt x="1766" y="55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7" name="Freeform: Shape 8">
            <a:extLst>
              <a:ext uri="{FF2B5EF4-FFF2-40B4-BE49-F238E27FC236}">
                <a16:creationId xmlns:a16="http://schemas.microsoft.com/office/drawing/2014/main" id="{774CE71E-6E3E-704F-A75A-E1517668DC5F}"/>
              </a:ext>
            </a:extLst>
          </p:cNvPr>
          <p:cNvSpPr/>
          <p:nvPr/>
        </p:nvSpPr>
        <p:spPr>
          <a:xfrm>
            <a:off x="5785155" y="6486125"/>
            <a:ext cx="1980720" cy="1448280"/>
          </a:xfrm>
          <a:custGeom>
            <a:avLst/>
            <a:gdLst/>
            <a:ahLst/>
            <a:cxnLst>
              <a:cxn ang="3cd4">
                <a:pos x="hc" y="t"/>
              </a:cxn>
              <a:cxn ang="cd2">
                <a:pos x="l" y="vc"/>
              </a:cxn>
              <a:cxn ang="cd4">
                <a:pos x="hc" y="b"/>
              </a:cxn>
              <a:cxn ang="0">
                <a:pos x="r" y="vc"/>
              </a:cxn>
            </a:cxnLst>
            <a:rect l="l" t="t" r="r" b="b"/>
            <a:pathLst>
              <a:path w="5503" h="4024">
                <a:moveTo>
                  <a:pt x="4803" y="1925"/>
                </a:moveTo>
                <a:lnTo>
                  <a:pt x="4485" y="1925"/>
                </a:lnTo>
                <a:cubicBezTo>
                  <a:pt x="4437" y="1925"/>
                  <a:pt x="4405" y="1957"/>
                  <a:pt x="4405" y="2004"/>
                </a:cubicBezTo>
                <a:cubicBezTo>
                  <a:pt x="4405" y="2052"/>
                  <a:pt x="4437" y="2084"/>
                  <a:pt x="4485" y="2084"/>
                </a:cubicBezTo>
                <a:lnTo>
                  <a:pt x="4803" y="2084"/>
                </a:lnTo>
                <a:cubicBezTo>
                  <a:pt x="4851" y="2084"/>
                  <a:pt x="4883" y="2052"/>
                  <a:pt x="4883" y="2004"/>
                </a:cubicBezTo>
                <a:cubicBezTo>
                  <a:pt x="4883" y="1957"/>
                  <a:pt x="4851" y="1925"/>
                  <a:pt x="4803" y="1925"/>
                </a:cubicBezTo>
                <a:close/>
                <a:moveTo>
                  <a:pt x="4803" y="1607"/>
                </a:moveTo>
                <a:lnTo>
                  <a:pt x="4485" y="1607"/>
                </a:lnTo>
                <a:cubicBezTo>
                  <a:pt x="4437" y="1607"/>
                  <a:pt x="4405" y="1639"/>
                  <a:pt x="4405" y="1686"/>
                </a:cubicBezTo>
                <a:cubicBezTo>
                  <a:pt x="4405" y="1734"/>
                  <a:pt x="4437" y="1766"/>
                  <a:pt x="4485" y="1766"/>
                </a:cubicBezTo>
                <a:lnTo>
                  <a:pt x="4803" y="1766"/>
                </a:lnTo>
                <a:cubicBezTo>
                  <a:pt x="4851" y="1766"/>
                  <a:pt x="4883" y="1734"/>
                  <a:pt x="4883" y="1686"/>
                </a:cubicBezTo>
                <a:cubicBezTo>
                  <a:pt x="4883" y="1639"/>
                  <a:pt x="4851" y="1607"/>
                  <a:pt x="4803" y="1607"/>
                </a:cubicBezTo>
                <a:close/>
                <a:moveTo>
                  <a:pt x="4803" y="2243"/>
                </a:moveTo>
                <a:lnTo>
                  <a:pt x="4485" y="2243"/>
                </a:lnTo>
                <a:cubicBezTo>
                  <a:pt x="4437" y="2243"/>
                  <a:pt x="4405" y="2291"/>
                  <a:pt x="4405" y="2322"/>
                </a:cubicBezTo>
                <a:cubicBezTo>
                  <a:pt x="4405" y="2370"/>
                  <a:pt x="4437" y="2402"/>
                  <a:pt x="4485" y="2402"/>
                </a:cubicBezTo>
                <a:lnTo>
                  <a:pt x="4803" y="2402"/>
                </a:lnTo>
                <a:cubicBezTo>
                  <a:pt x="4851" y="2402"/>
                  <a:pt x="4883" y="2370"/>
                  <a:pt x="4883" y="2322"/>
                </a:cubicBezTo>
                <a:cubicBezTo>
                  <a:pt x="4883" y="2291"/>
                  <a:pt x="4851" y="2243"/>
                  <a:pt x="4803" y="2243"/>
                </a:cubicBezTo>
                <a:close/>
                <a:moveTo>
                  <a:pt x="4803" y="2577"/>
                </a:moveTo>
                <a:lnTo>
                  <a:pt x="4485" y="2577"/>
                </a:lnTo>
                <a:cubicBezTo>
                  <a:pt x="4437" y="2577"/>
                  <a:pt x="4405" y="2609"/>
                  <a:pt x="4405" y="2657"/>
                </a:cubicBezTo>
                <a:cubicBezTo>
                  <a:pt x="4405" y="2688"/>
                  <a:pt x="4437" y="2736"/>
                  <a:pt x="4485" y="2736"/>
                </a:cubicBezTo>
                <a:lnTo>
                  <a:pt x="4803" y="2736"/>
                </a:lnTo>
                <a:cubicBezTo>
                  <a:pt x="4851" y="2736"/>
                  <a:pt x="4883" y="2688"/>
                  <a:pt x="4883" y="2657"/>
                </a:cubicBezTo>
                <a:cubicBezTo>
                  <a:pt x="4883" y="2609"/>
                  <a:pt x="4851" y="2577"/>
                  <a:pt x="4803" y="2577"/>
                </a:cubicBezTo>
                <a:close/>
                <a:moveTo>
                  <a:pt x="4803" y="2895"/>
                </a:moveTo>
                <a:lnTo>
                  <a:pt x="4485" y="2895"/>
                </a:lnTo>
                <a:cubicBezTo>
                  <a:pt x="4437" y="2895"/>
                  <a:pt x="4405" y="2927"/>
                  <a:pt x="4405" y="2975"/>
                </a:cubicBezTo>
                <a:cubicBezTo>
                  <a:pt x="4405" y="3022"/>
                  <a:pt x="4437" y="3054"/>
                  <a:pt x="4485" y="3054"/>
                </a:cubicBezTo>
                <a:lnTo>
                  <a:pt x="4803" y="3054"/>
                </a:lnTo>
                <a:cubicBezTo>
                  <a:pt x="4851" y="3054"/>
                  <a:pt x="4883" y="3022"/>
                  <a:pt x="4883" y="2975"/>
                </a:cubicBezTo>
                <a:cubicBezTo>
                  <a:pt x="4883" y="2927"/>
                  <a:pt x="4851" y="2895"/>
                  <a:pt x="4803" y="2895"/>
                </a:cubicBezTo>
                <a:close/>
                <a:moveTo>
                  <a:pt x="4803" y="3213"/>
                </a:moveTo>
                <a:lnTo>
                  <a:pt x="4485" y="3213"/>
                </a:lnTo>
                <a:cubicBezTo>
                  <a:pt x="4437" y="3213"/>
                  <a:pt x="4405" y="3245"/>
                  <a:pt x="4405" y="3293"/>
                </a:cubicBezTo>
                <a:cubicBezTo>
                  <a:pt x="4405" y="3340"/>
                  <a:pt x="4437" y="3372"/>
                  <a:pt x="4485" y="3372"/>
                </a:cubicBezTo>
                <a:lnTo>
                  <a:pt x="4803" y="3372"/>
                </a:lnTo>
                <a:cubicBezTo>
                  <a:pt x="4851" y="3372"/>
                  <a:pt x="4883" y="3340"/>
                  <a:pt x="4883" y="3293"/>
                </a:cubicBezTo>
                <a:cubicBezTo>
                  <a:pt x="4883" y="3245"/>
                  <a:pt x="4851" y="3213"/>
                  <a:pt x="4803" y="3213"/>
                </a:cubicBezTo>
                <a:close/>
                <a:moveTo>
                  <a:pt x="5423" y="4024"/>
                </a:moveTo>
                <a:cubicBezTo>
                  <a:pt x="5455" y="4024"/>
                  <a:pt x="5503" y="3976"/>
                  <a:pt x="5503" y="3945"/>
                </a:cubicBezTo>
                <a:lnTo>
                  <a:pt x="5503" y="80"/>
                </a:lnTo>
                <a:cubicBezTo>
                  <a:pt x="5503" y="32"/>
                  <a:pt x="5455" y="0"/>
                  <a:pt x="5423" y="0"/>
                </a:cubicBezTo>
                <a:lnTo>
                  <a:pt x="79" y="0"/>
                </a:lnTo>
                <a:cubicBezTo>
                  <a:pt x="32" y="0"/>
                  <a:pt x="0" y="32"/>
                  <a:pt x="0" y="80"/>
                </a:cubicBezTo>
                <a:lnTo>
                  <a:pt x="0" y="3945"/>
                </a:lnTo>
                <a:cubicBezTo>
                  <a:pt x="0" y="3976"/>
                  <a:pt x="32" y="4024"/>
                  <a:pt x="79" y="4024"/>
                </a:cubicBezTo>
                <a:close/>
                <a:moveTo>
                  <a:pt x="159" y="1066"/>
                </a:moveTo>
                <a:lnTo>
                  <a:pt x="175" y="1066"/>
                </a:lnTo>
                <a:lnTo>
                  <a:pt x="3833" y="1066"/>
                </a:lnTo>
                <a:lnTo>
                  <a:pt x="3833" y="3865"/>
                </a:lnTo>
                <a:lnTo>
                  <a:pt x="159" y="3865"/>
                </a:lnTo>
                <a:close/>
                <a:moveTo>
                  <a:pt x="3992" y="3865"/>
                </a:moveTo>
                <a:lnTo>
                  <a:pt x="3992" y="1066"/>
                </a:lnTo>
                <a:lnTo>
                  <a:pt x="5344" y="1066"/>
                </a:lnTo>
                <a:lnTo>
                  <a:pt x="5344" y="3865"/>
                </a:lnTo>
                <a:close/>
                <a:moveTo>
                  <a:pt x="5344" y="159"/>
                </a:moveTo>
                <a:lnTo>
                  <a:pt x="5344" y="907"/>
                </a:lnTo>
                <a:lnTo>
                  <a:pt x="175" y="907"/>
                </a:lnTo>
                <a:cubicBezTo>
                  <a:pt x="159" y="907"/>
                  <a:pt x="159" y="907"/>
                  <a:pt x="159" y="923"/>
                </a:cubicBezTo>
                <a:lnTo>
                  <a:pt x="159" y="159"/>
                </a:lnTo>
                <a:close/>
                <a:moveTo>
                  <a:pt x="827" y="557"/>
                </a:moveTo>
                <a:cubicBezTo>
                  <a:pt x="906" y="557"/>
                  <a:pt x="954" y="509"/>
                  <a:pt x="954" y="446"/>
                </a:cubicBezTo>
                <a:cubicBezTo>
                  <a:pt x="954" y="382"/>
                  <a:pt x="906" y="318"/>
                  <a:pt x="827" y="318"/>
                </a:cubicBezTo>
                <a:cubicBezTo>
                  <a:pt x="779" y="318"/>
                  <a:pt x="715" y="382"/>
                  <a:pt x="715" y="446"/>
                </a:cubicBezTo>
                <a:cubicBezTo>
                  <a:pt x="715" y="509"/>
                  <a:pt x="779" y="557"/>
                  <a:pt x="827" y="557"/>
                </a:cubicBezTo>
                <a:close/>
                <a:moveTo>
                  <a:pt x="1288" y="557"/>
                </a:moveTo>
                <a:cubicBezTo>
                  <a:pt x="1352" y="557"/>
                  <a:pt x="1415" y="509"/>
                  <a:pt x="1415" y="446"/>
                </a:cubicBezTo>
                <a:cubicBezTo>
                  <a:pt x="1415" y="382"/>
                  <a:pt x="1352" y="318"/>
                  <a:pt x="1288" y="318"/>
                </a:cubicBezTo>
                <a:cubicBezTo>
                  <a:pt x="1224" y="318"/>
                  <a:pt x="1177" y="382"/>
                  <a:pt x="1177" y="446"/>
                </a:cubicBezTo>
                <a:cubicBezTo>
                  <a:pt x="1177" y="509"/>
                  <a:pt x="1224" y="557"/>
                  <a:pt x="1288" y="557"/>
                </a:cubicBezTo>
                <a:close/>
                <a:moveTo>
                  <a:pt x="1750" y="557"/>
                </a:moveTo>
                <a:cubicBezTo>
                  <a:pt x="1813" y="557"/>
                  <a:pt x="1877" y="509"/>
                  <a:pt x="1877" y="446"/>
                </a:cubicBezTo>
                <a:cubicBezTo>
                  <a:pt x="1877" y="382"/>
                  <a:pt x="1813" y="318"/>
                  <a:pt x="1750" y="318"/>
                </a:cubicBezTo>
                <a:cubicBezTo>
                  <a:pt x="1686" y="318"/>
                  <a:pt x="1638" y="382"/>
                  <a:pt x="1638" y="446"/>
                </a:cubicBezTo>
                <a:cubicBezTo>
                  <a:pt x="1638" y="509"/>
                  <a:pt x="1686" y="557"/>
                  <a:pt x="1750" y="55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8" name="Freeform: Shape 9">
            <a:extLst>
              <a:ext uri="{FF2B5EF4-FFF2-40B4-BE49-F238E27FC236}">
                <a16:creationId xmlns:a16="http://schemas.microsoft.com/office/drawing/2014/main" id="{7D3835EC-D596-3E4D-A57D-1406681ADE63}"/>
              </a:ext>
            </a:extLst>
          </p:cNvPr>
          <p:cNvSpPr/>
          <p:nvPr/>
        </p:nvSpPr>
        <p:spPr>
          <a:xfrm>
            <a:off x="21067737" y="3294794"/>
            <a:ext cx="1981080" cy="1453680"/>
          </a:xfrm>
          <a:custGeom>
            <a:avLst/>
            <a:gdLst/>
            <a:ahLst/>
            <a:cxnLst>
              <a:cxn ang="3cd4">
                <a:pos x="hc" y="t"/>
              </a:cxn>
              <a:cxn ang="cd2">
                <a:pos x="l" y="vc"/>
              </a:cxn>
              <a:cxn ang="cd4">
                <a:pos x="hc" y="b"/>
              </a:cxn>
              <a:cxn ang="0">
                <a:pos x="r" y="vc"/>
              </a:cxn>
            </a:cxnLst>
            <a:rect l="l" t="t" r="r" b="b"/>
            <a:pathLst>
              <a:path w="5504" h="4039">
                <a:moveTo>
                  <a:pt x="3245" y="1638"/>
                </a:moveTo>
                <a:cubicBezTo>
                  <a:pt x="3213" y="1606"/>
                  <a:pt x="3166" y="1590"/>
                  <a:pt x="3134" y="1622"/>
                </a:cubicBezTo>
                <a:cubicBezTo>
                  <a:pt x="3102" y="1654"/>
                  <a:pt x="3086" y="1702"/>
                  <a:pt x="3118" y="1733"/>
                </a:cubicBezTo>
                <a:lnTo>
                  <a:pt x="3436" y="2131"/>
                </a:lnTo>
                <a:lnTo>
                  <a:pt x="3118" y="2131"/>
                </a:lnTo>
                <a:cubicBezTo>
                  <a:pt x="2625" y="2131"/>
                  <a:pt x="2291" y="2481"/>
                  <a:pt x="2291" y="2974"/>
                </a:cubicBezTo>
                <a:lnTo>
                  <a:pt x="2291" y="3212"/>
                </a:lnTo>
                <a:cubicBezTo>
                  <a:pt x="2291" y="3260"/>
                  <a:pt x="2323" y="3292"/>
                  <a:pt x="2371" y="3292"/>
                </a:cubicBezTo>
                <a:cubicBezTo>
                  <a:pt x="2418" y="3292"/>
                  <a:pt x="2450" y="3260"/>
                  <a:pt x="2450" y="3212"/>
                </a:cubicBezTo>
                <a:lnTo>
                  <a:pt x="2450" y="2974"/>
                </a:lnTo>
                <a:cubicBezTo>
                  <a:pt x="2450" y="2576"/>
                  <a:pt x="2720" y="2290"/>
                  <a:pt x="3118" y="2290"/>
                </a:cubicBezTo>
                <a:lnTo>
                  <a:pt x="3372" y="2290"/>
                </a:lnTo>
                <a:lnTo>
                  <a:pt x="3118" y="2608"/>
                </a:lnTo>
                <a:cubicBezTo>
                  <a:pt x="3086" y="2640"/>
                  <a:pt x="3102" y="2687"/>
                  <a:pt x="3134" y="2720"/>
                </a:cubicBezTo>
                <a:cubicBezTo>
                  <a:pt x="3150" y="2735"/>
                  <a:pt x="3166" y="2735"/>
                  <a:pt x="3181" y="2735"/>
                </a:cubicBezTo>
                <a:cubicBezTo>
                  <a:pt x="3198" y="2735"/>
                  <a:pt x="3229" y="2720"/>
                  <a:pt x="3245" y="2703"/>
                </a:cubicBezTo>
                <a:lnTo>
                  <a:pt x="3627" y="2211"/>
                </a:lnTo>
                <a:cubicBezTo>
                  <a:pt x="3659" y="2178"/>
                  <a:pt x="3659" y="2147"/>
                  <a:pt x="3627" y="2115"/>
                </a:cubicBezTo>
                <a:close/>
                <a:moveTo>
                  <a:pt x="5424" y="0"/>
                </a:moveTo>
                <a:lnTo>
                  <a:pt x="80" y="0"/>
                </a:lnTo>
                <a:cubicBezTo>
                  <a:pt x="48" y="0"/>
                  <a:pt x="0" y="47"/>
                  <a:pt x="0" y="79"/>
                </a:cubicBezTo>
                <a:lnTo>
                  <a:pt x="0" y="3960"/>
                </a:lnTo>
                <a:cubicBezTo>
                  <a:pt x="0" y="3992"/>
                  <a:pt x="48" y="4039"/>
                  <a:pt x="80" y="4039"/>
                </a:cubicBezTo>
                <a:lnTo>
                  <a:pt x="5424" y="4039"/>
                </a:lnTo>
                <a:cubicBezTo>
                  <a:pt x="5472" y="4039"/>
                  <a:pt x="5504" y="3992"/>
                  <a:pt x="5504" y="3960"/>
                </a:cubicBezTo>
                <a:lnTo>
                  <a:pt x="5504" y="79"/>
                </a:lnTo>
                <a:cubicBezTo>
                  <a:pt x="5504" y="47"/>
                  <a:pt x="5472" y="0"/>
                  <a:pt x="5424" y="0"/>
                </a:cubicBezTo>
                <a:close/>
                <a:moveTo>
                  <a:pt x="5344" y="158"/>
                </a:moveTo>
                <a:lnTo>
                  <a:pt x="5344" y="922"/>
                </a:lnTo>
                <a:lnTo>
                  <a:pt x="175" y="922"/>
                </a:lnTo>
                <a:lnTo>
                  <a:pt x="160" y="922"/>
                </a:lnTo>
                <a:lnTo>
                  <a:pt x="160" y="158"/>
                </a:lnTo>
                <a:close/>
                <a:moveTo>
                  <a:pt x="160" y="3880"/>
                </a:moveTo>
                <a:lnTo>
                  <a:pt x="160" y="1081"/>
                </a:lnTo>
                <a:lnTo>
                  <a:pt x="175" y="1081"/>
                </a:lnTo>
                <a:lnTo>
                  <a:pt x="5344" y="1081"/>
                </a:lnTo>
                <a:lnTo>
                  <a:pt x="5344" y="3880"/>
                </a:lnTo>
                <a:close/>
                <a:moveTo>
                  <a:pt x="844" y="572"/>
                </a:moveTo>
                <a:cubicBezTo>
                  <a:pt x="907" y="572"/>
                  <a:pt x="955" y="524"/>
                  <a:pt x="955" y="461"/>
                </a:cubicBezTo>
                <a:cubicBezTo>
                  <a:pt x="955" y="397"/>
                  <a:pt x="907" y="334"/>
                  <a:pt x="844" y="334"/>
                </a:cubicBezTo>
                <a:cubicBezTo>
                  <a:pt x="780" y="334"/>
                  <a:pt x="732" y="397"/>
                  <a:pt x="732" y="461"/>
                </a:cubicBezTo>
                <a:cubicBezTo>
                  <a:pt x="732" y="524"/>
                  <a:pt x="780" y="572"/>
                  <a:pt x="844" y="572"/>
                </a:cubicBezTo>
                <a:close/>
                <a:moveTo>
                  <a:pt x="1305" y="572"/>
                </a:moveTo>
                <a:cubicBezTo>
                  <a:pt x="1368" y="572"/>
                  <a:pt x="1416" y="524"/>
                  <a:pt x="1416" y="461"/>
                </a:cubicBezTo>
                <a:cubicBezTo>
                  <a:pt x="1416" y="397"/>
                  <a:pt x="1368" y="334"/>
                  <a:pt x="1305" y="334"/>
                </a:cubicBezTo>
                <a:cubicBezTo>
                  <a:pt x="1241" y="334"/>
                  <a:pt x="1193" y="397"/>
                  <a:pt x="1193" y="461"/>
                </a:cubicBezTo>
                <a:cubicBezTo>
                  <a:pt x="1193" y="524"/>
                  <a:pt x="1241" y="572"/>
                  <a:pt x="1305" y="572"/>
                </a:cubicBezTo>
                <a:close/>
                <a:moveTo>
                  <a:pt x="1766" y="572"/>
                </a:moveTo>
                <a:cubicBezTo>
                  <a:pt x="1830" y="572"/>
                  <a:pt x="1877" y="524"/>
                  <a:pt x="1877" y="461"/>
                </a:cubicBezTo>
                <a:cubicBezTo>
                  <a:pt x="1877" y="397"/>
                  <a:pt x="1830" y="334"/>
                  <a:pt x="1766" y="334"/>
                </a:cubicBezTo>
                <a:cubicBezTo>
                  <a:pt x="1702" y="334"/>
                  <a:pt x="1654" y="397"/>
                  <a:pt x="1654" y="461"/>
                </a:cubicBezTo>
                <a:cubicBezTo>
                  <a:pt x="1654" y="524"/>
                  <a:pt x="1702" y="572"/>
                  <a:pt x="1766" y="5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69" name="Freeform: Shape 10">
            <a:extLst>
              <a:ext uri="{FF2B5EF4-FFF2-40B4-BE49-F238E27FC236}">
                <a16:creationId xmlns:a16="http://schemas.microsoft.com/office/drawing/2014/main" id="{D3F230A1-9F58-324B-8466-25AF5BF7A161}"/>
              </a:ext>
            </a:extLst>
          </p:cNvPr>
          <p:cNvSpPr/>
          <p:nvPr/>
        </p:nvSpPr>
        <p:spPr>
          <a:xfrm>
            <a:off x="17167932" y="3297675"/>
            <a:ext cx="1980720" cy="1447919"/>
          </a:xfrm>
          <a:custGeom>
            <a:avLst/>
            <a:gdLst/>
            <a:ahLst/>
            <a:cxnLst>
              <a:cxn ang="3cd4">
                <a:pos x="hc" y="t"/>
              </a:cxn>
              <a:cxn ang="cd2">
                <a:pos x="l" y="vc"/>
              </a:cxn>
              <a:cxn ang="cd4">
                <a:pos x="hc" y="b"/>
              </a:cxn>
              <a:cxn ang="0">
                <a:pos x="r" y="vc"/>
              </a:cxn>
            </a:cxnLst>
            <a:rect l="l" t="t" r="r" b="b"/>
            <a:pathLst>
              <a:path w="5503" h="4023">
                <a:moveTo>
                  <a:pt x="3690" y="2307"/>
                </a:moveTo>
                <a:cubicBezTo>
                  <a:pt x="3675" y="2275"/>
                  <a:pt x="3611" y="2275"/>
                  <a:pt x="3579" y="2291"/>
                </a:cubicBezTo>
                <a:cubicBezTo>
                  <a:pt x="3547" y="2322"/>
                  <a:pt x="3547" y="2370"/>
                  <a:pt x="3563" y="2402"/>
                </a:cubicBezTo>
                <a:lnTo>
                  <a:pt x="3690" y="2577"/>
                </a:lnTo>
                <a:lnTo>
                  <a:pt x="1734" y="2577"/>
                </a:lnTo>
                <a:lnTo>
                  <a:pt x="1861" y="2418"/>
                </a:lnTo>
                <a:cubicBezTo>
                  <a:pt x="1893" y="2386"/>
                  <a:pt x="1893" y="2338"/>
                  <a:pt x="1861" y="2307"/>
                </a:cubicBezTo>
                <a:cubicBezTo>
                  <a:pt x="1813" y="2275"/>
                  <a:pt x="1766" y="2275"/>
                  <a:pt x="1750" y="2307"/>
                </a:cubicBezTo>
                <a:lnTo>
                  <a:pt x="1479" y="2609"/>
                </a:lnTo>
                <a:cubicBezTo>
                  <a:pt x="1464" y="2641"/>
                  <a:pt x="1464" y="2688"/>
                  <a:pt x="1479" y="2720"/>
                </a:cubicBezTo>
                <a:lnTo>
                  <a:pt x="1750" y="3007"/>
                </a:lnTo>
                <a:cubicBezTo>
                  <a:pt x="1766" y="3022"/>
                  <a:pt x="1782" y="3038"/>
                  <a:pt x="1798" y="3038"/>
                </a:cubicBezTo>
                <a:cubicBezTo>
                  <a:pt x="1830" y="3038"/>
                  <a:pt x="1845" y="3038"/>
                  <a:pt x="1861" y="3022"/>
                </a:cubicBezTo>
                <a:cubicBezTo>
                  <a:pt x="1893" y="2991"/>
                  <a:pt x="1893" y="2943"/>
                  <a:pt x="1861" y="2911"/>
                </a:cubicBezTo>
                <a:lnTo>
                  <a:pt x="1702" y="2736"/>
                </a:lnTo>
                <a:lnTo>
                  <a:pt x="3706" y="2736"/>
                </a:lnTo>
                <a:lnTo>
                  <a:pt x="3563" y="2911"/>
                </a:lnTo>
                <a:cubicBezTo>
                  <a:pt x="3547" y="2959"/>
                  <a:pt x="3547" y="3007"/>
                  <a:pt x="3579" y="3022"/>
                </a:cubicBezTo>
                <a:cubicBezTo>
                  <a:pt x="3595" y="3038"/>
                  <a:pt x="3611" y="3038"/>
                  <a:pt x="3627" y="3038"/>
                </a:cubicBezTo>
                <a:cubicBezTo>
                  <a:pt x="3658" y="3038"/>
                  <a:pt x="3675" y="3038"/>
                  <a:pt x="3690" y="3007"/>
                </a:cubicBezTo>
                <a:lnTo>
                  <a:pt x="3913" y="2704"/>
                </a:lnTo>
                <a:cubicBezTo>
                  <a:pt x="3945" y="2688"/>
                  <a:pt x="3945" y="2641"/>
                  <a:pt x="3913" y="2609"/>
                </a:cubicBezTo>
                <a:close/>
                <a:moveTo>
                  <a:pt x="1050" y="2337"/>
                </a:moveTo>
                <a:cubicBezTo>
                  <a:pt x="1003" y="2337"/>
                  <a:pt x="970" y="2369"/>
                  <a:pt x="970" y="2417"/>
                </a:cubicBezTo>
                <a:lnTo>
                  <a:pt x="970" y="3053"/>
                </a:lnTo>
                <a:cubicBezTo>
                  <a:pt x="970" y="3101"/>
                  <a:pt x="1003" y="3133"/>
                  <a:pt x="1050" y="3133"/>
                </a:cubicBezTo>
                <a:cubicBezTo>
                  <a:pt x="1098" y="3133"/>
                  <a:pt x="1130" y="3101"/>
                  <a:pt x="1130" y="3053"/>
                </a:cubicBezTo>
                <a:lnTo>
                  <a:pt x="1130" y="2417"/>
                </a:lnTo>
                <a:cubicBezTo>
                  <a:pt x="1130" y="2369"/>
                  <a:pt x="1098" y="2337"/>
                  <a:pt x="1050" y="2337"/>
                </a:cubicBezTo>
                <a:close/>
                <a:moveTo>
                  <a:pt x="4279" y="2337"/>
                </a:moveTo>
                <a:cubicBezTo>
                  <a:pt x="4231" y="2337"/>
                  <a:pt x="4199" y="2369"/>
                  <a:pt x="4199" y="2417"/>
                </a:cubicBezTo>
                <a:lnTo>
                  <a:pt x="4199" y="3053"/>
                </a:lnTo>
                <a:cubicBezTo>
                  <a:pt x="4199" y="3101"/>
                  <a:pt x="4231" y="3133"/>
                  <a:pt x="4279" y="3133"/>
                </a:cubicBezTo>
                <a:cubicBezTo>
                  <a:pt x="4327" y="3133"/>
                  <a:pt x="4358" y="3101"/>
                  <a:pt x="4358" y="3053"/>
                </a:cubicBezTo>
                <a:lnTo>
                  <a:pt x="4358" y="2417"/>
                </a:lnTo>
                <a:cubicBezTo>
                  <a:pt x="4358" y="2369"/>
                  <a:pt x="4327" y="2337"/>
                  <a:pt x="4279" y="2337"/>
                </a:cubicBezTo>
                <a:close/>
                <a:moveTo>
                  <a:pt x="80" y="4023"/>
                </a:moveTo>
                <a:lnTo>
                  <a:pt x="5424" y="4023"/>
                </a:lnTo>
                <a:cubicBezTo>
                  <a:pt x="5456" y="4023"/>
                  <a:pt x="5503" y="3991"/>
                  <a:pt x="5503" y="3944"/>
                </a:cubicBezTo>
                <a:lnTo>
                  <a:pt x="5503" y="79"/>
                </a:lnTo>
                <a:cubicBezTo>
                  <a:pt x="5503" y="31"/>
                  <a:pt x="5456" y="0"/>
                  <a:pt x="5424" y="0"/>
                </a:cubicBezTo>
                <a:lnTo>
                  <a:pt x="80" y="0"/>
                </a:lnTo>
                <a:cubicBezTo>
                  <a:pt x="32" y="0"/>
                  <a:pt x="0" y="31"/>
                  <a:pt x="0" y="79"/>
                </a:cubicBezTo>
                <a:lnTo>
                  <a:pt x="0" y="3944"/>
                </a:lnTo>
                <a:cubicBezTo>
                  <a:pt x="0" y="3991"/>
                  <a:pt x="32" y="4023"/>
                  <a:pt x="80" y="4023"/>
                </a:cubicBezTo>
                <a:close/>
                <a:moveTo>
                  <a:pt x="159" y="3864"/>
                </a:moveTo>
                <a:lnTo>
                  <a:pt x="159" y="1065"/>
                </a:lnTo>
                <a:cubicBezTo>
                  <a:pt x="159" y="1081"/>
                  <a:pt x="159" y="1081"/>
                  <a:pt x="175" y="1081"/>
                </a:cubicBezTo>
                <a:lnTo>
                  <a:pt x="5344" y="1081"/>
                </a:lnTo>
                <a:lnTo>
                  <a:pt x="5344" y="3864"/>
                </a:lnTo>
                <a:close/>
                <a:moveTo>
                  <a:pt x="5344" y="158"/>
                </a:moveTo>
                <a:lnTo>
                  <a:pt x="5344" y="922"/>
                </a:lnTo>
                <a:lnTo>
                  <a:pt x="175" y="922"/>
                </a:lnTo>
                <a:lnTo>
                  <a:pt x="159" y="922"/>
                </a:lnTo>
                <a:lnTo>
                  <a:pt x="159" y="158"/>
                </a:lnTo>
                <a:close/>
                <a:moveTo>
                  <a:pt x="827" y="556"/>
                </a:moveTo>
                <a:cubicBezTo>
                  <a:pt x="891" y="556"/>
                  <a:pt x="955" y="509"/>
                  <a:pt x="955" y="445"/>
                </a:cubicBezTo>
                <a:cubicBezTo>
                  <a:pt x="955" y="381"/>
                  <a:pt x="891" y="333"/>
                  <a:pt x="827" y="333"/>
                </a:cubicBezTo>
                <a:cubicBezTo>
                  <a:pt x="764" y="333"/>
                  <a:pt x="716" y="381"/>
                  <a:pt x="716" y="445"/>
                </a:cubicBezTo>
                <a:cubicBezTo>
                  <a:pt x="716" y="509"/>
                  <a:pt x="764" y="556"/>
                  <a:pt x="827" y="556"/>
                </a:cubicBezTo>
                <a:close/>
                <a:moveTo>
                  <a:pt x="1289" y="556"/>
                </a:moveTo>
                <a:cubicBezTo>
                  <a:pt x="1352" y="556"/>
                  <a:pt x="1416" y="509"/>
                  <a:pt x="1416" y="445"/>
                </a:cubicBezTo>
                <a:cubicBezTo>
                  <a:pt x="1416" y="381"/>
                  <a:pt x="1352" y="333"/>
                  <a:pt x="1289" y="333"/>
                </a:cubicBezTo>
                <a:cubicBezTo>
                  <a:pt x="1225" y="333"/>
                  <a:pt x="1177" y="381"/>
                  <a:pt x="1177" y="445"/>
                </a:cubicBezTo>
                <a:cubicBezTo>
                  <a:pt x="1177" y="509"/>
                  <a:pt x="1225" y="556"/>
                  <a:pt x="1289" y="556"/>
                </a:cubicBezTo>
                <a:close/>
                <a:moveTo>
                  <a:pt x="1750" y="556"/>
                </a:moveTo>
                <a:cubicBezTo>
                  <a:pt x="1813" y="556"/>
                  <a:pt x="1861" y="509"/>
                  <a:pt x="1861" y="445"/>
                </a:cubicBezTo>
                <a:cubicBezTo>
                  <a:pt x="1861" y="381"/>
                  <a:pt x="1813" y="333"/>
                  <a:pt x="1750" y="333"/>
                </a:cubicBezTo>
                <a:cubicBezTo>
                  <a:pt x="1686" y="333"/>
                  <a:pt x="1639" y="381"/>
                  <a:pt x="1639" y="445"/>
                </a:cubicBezTo>
                <a:cubicBezTo>
                  <a:pt x="1639" y="509"/>
                  <a:pt x="1686" y="556"/>
                  <a:pt x="1750" y="55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0" name="Freeform: Shape 11">
            <a:extLst>
              <a:ext uri="{FF2B5EF4-FFF2-40B4-BE49-F238E27FC236}">
                <a16:creationId xmlns:a16="http://schemas.microsoft.com/office/drawing/2014/main" id="{73ABD9E9-BE0D-D34E-8025-E6CBE4D129B0}"/>
              </a:ext>
            </a:extLst>
          </p:cNvPr>
          <p:cNvSpPr/>
          <p:nvPr/>
        </p:nvSpPr>
        <p:spPr>
          <a:xfrm>
            <a:off x="9687091" y="9948514"/>
            <a:ext cx="1980720" cy="1454040"/>
          </a:xfrm>
          <a:custGeom>
            <a:avLst/>
            <a:gdLst/>
            <a:ahLst/>
            <a:cxnLst>
              <a:cxn ang="3cd4">
                <a:pos x="hc" y="t"/>
              </a:cxn>
              <a:cxn ang="cd2">
                <a:pos x="l" y="vc"/>
              </a:cxn>
              <a:cxn ang="cd4">
                <a:pos x="hc" y="b"/>
              </a:cxn>
              <a:cxn ang="0">
                <a:pos x="r" y="vc"/>
              </a:cxn>
            </a:cxnLst>
            <a:rect l="l" t="t" r="r" b="b"/>
            <a:pathLst>
              <a:path w="5503" h="4040">
                <a:moveTo>
                  <a:pt x="3102" y="1511"/>
                </a:moveTo>
                <a:lnTo>
                  <a:pt x="2497" y="1511"/>
                </a:lnTo>
                <a:cubicBezTo>
                  <a:pt x="2466" y="1511"/>
                  <a:pt x="2450" y="1527"/>
                  <a:pt x="2434" y="1543"/>
                </a:cubicBezTo>
                <a:cubicBezTo>
                  <a:pt x="2418" y="1559"/>
                  <a:pt x="2402" y="1591"/>
                  <a:pt x="2418" y="1606"/>
                </a:cubicBezTo>
                <a:lnTo>
                  <a:pt x="2609" y="2736"/>
                </a:lnTo>
                <a:cubicBezTo>
                  <a:pt x="2625" y="2767"/>
                  <a:pt x="2657" y="2799"/>
                  <a:pt x="2688" y="2799"/>
                </a:cubicBezTo>
                <a:lnTo>
                  <a:pt x="2895" y="2799"/>
                </a:lnTo>
                <a:cubicBezTo>
                  <a:pt x="2927" y="2799"/>
                  <a:pt x="2958" y="2767"/>
                  <a:pt x="2975" y="2736"/>
                </a:cubicBezTo>
                <a:lnTo>
                  <a:pt x="3166" y="1606"/>
                </a:lnTo>
                <a:cubicBezTo>
                  <a:pt x="3181" y="1591"/>
                  <a:pt x="3166" y="1559"/>
                  <a:pt x="3149" y="1543"/>
                </a:cubicBezTo>
                <a:cubicBezTo>
                  <a:pt x="3134" y="1527"/>
                  <a:pt x="3118" y="1511"/>
                  <a:pt x="3102" y="1511"/>
                </a:cubicBezTo>
                <a:close/>
                <a:moveTo>
                  <a:pt x="2831" y="2640"/>
                </a:moveTo>
                <a:lnTo>
                  <a:pt x="2752" y="2640"/>
                </a:lnTo>
                <a:lnTo>
                  <a:pt x="2577" y="1670"/>
                </a:lnTo>
                <a:lnTo>
                  <a:pt x="3006" y="1670"/>
                </a:lnTo>
                <a:close/>
                <a:moveTo>
                  <a:pt x="2800" y="2879"/>
                </a:moveTo>
                <a:cubicBezTo>
                  <a:pt x="2640" y="2879"/>
                  <a:pt x="2513" y="3006"/>
                  <a:pt x="2513" y="3149"/>
                </a:cubicBezTo>
                <a:cubicBezTo>
                  <a:pt x="2513" y="3308"/>
                  <a:pt x="2640" y="3436"/>
                  <a:pt x="2800" y="3436"/>
                </a:cubicBezTo>
                <a:cubicBezTo>
                  <a:pt x="2943" y="3436"/>
                  <a:pt x="3070" y="3308"/>
                  <a:pt x="3070" y="3149"/>
                </a:cubicBezTo>
                <a:cubicBezTo>
                  <a:pt x="3070" y="3006"/>
                  <a:pt x="2943" y="2879"/>
                  <a:pt x="2800" y="2879"/>
                </a:cubicBezTo>
                <a:close/>
                <a:moveTo>
                  <a:pt x="2800" y="3276"/>
                </a:moveTo>
                <a:cubicBezTo>
                  <a:pt x="2720" y="3276"/>
                  <a:pt x="2672" y="3229"/>
                  <a:pt x="2672" y="3149"/>
                </a:cubicBezTo>
                <a:cubicBezTo>
                  <a:pt x="2672" y="3086"/>
                  <a:pt x="2720" y="3038"/>
                  <a:pt x="2800" y="3038"/>
                </a:cubicBezTo>
                <a:cubicBezTo>
                  <a:pt x="2863" y="3038"/>
                  <a:pt x="2911" y="3086"/>
                  <a:pt x="2911" y="3149"/>
                </a:cubicBezTo>
                <a:cubicBezTo>
                  <a:pt x="2911" y="3229"/>
                  <a:pt x="2863" y="3276"/>
                  <a:pt x="2800" y="3276"/>
                </a:cubicBezTo>
                <a:close/>
                <a:moveTo>
                  <a:pt x="5424" y="0"/>
                </a:moveTo>
                <a:lnTo>
                  <a:pt x="80" y="0"/>
                </a:lnTo>
                <a:cubicBezTo>
                  <a:pt x="32" y="0"/>
                  <a:pt x="0" y="48"/>
                  <a:pt x="0" y="80"/>
                </a:cubicBezTo>
                <a:lnTo>
                  <a:pt x="0" y="3960"/>
                </a:lnTo>
                <a:cubicBezTo>
                  <a:pt x="0" y="3992"/>
                  <a:pt x="32" y="4040"/>
                  <a:pt x="80" y="4040"/>
                </a:cubicBezTo>
                <a:lnTo>
                  <a:pt x="5424" y="4040"/>
                </a:lnTo>
                <a:cubicBezTo>
                  <a:pt x="5472" y="4040"/>
                  <a:pt x="5503" y="3992"/>
                  <a:pt x="5503" y="3960"/>
                </a:cubicBezTo>
                <a:lnTo>
                  <a:pt x="5503" y="80"/>
                </a:lnTo>
                <a:cubicBezTo>
                  <a:pt x="5503" y="48"/>
                  <a:pt x="5472" y="0"/>
                  <a:pt x="5424" y="0"/>
                </a:cubicBezTo>
                <a:close/>
                <a:moveTo>
                  <a:pt x="5344" y="159"/>
                </a:moveTo>
                <a:lnTo>
                  <a:pt x="5344" y="922"/>
                </a:lnTo>
                <a:lnTo>
                  <a:pt x="175" y="922"/>
                </a:lnTo>
                <a:lnTo>
                  <a:pt x="159" y="922"/>
                </a:lnTo>
                <a:lnTo>
                  <a:pt x="159" y="159"/>
                </a:lnTo>
                <a:close/>
                <a:moveTo>
                  <a:pt x="159" y="3881"/>
                </a:moveTo>
                <a:lnTo>
                  <a:pt x="159" y="1082"/>
                </a:lnTo>
                <a:lnTo>
                  <a:pt x="175" y="1082"/>
                </a:lnTo>
                <a:lnTo>
                  <a:pt x="5344" y="1082"/>
                </a:lnTo>
                <a:lnTo>
                  <a:pt x="5344" y="3881"/>
                </a:lnTo>
                <a:close/>
                <a:moveTo>
                  <a:pt x="843" y="573"/>
                </a:moveTo>
                <a:cubicBezTo>
                  <a:pt x="907" y="573"/>
                  <a:pt x="955" y="525"/>
                  <a:pt x="955" y="461"/>
                </a:cubicBezTo>
                <a:cubicBezTo>
                  <a:pt x="955" y="398"/>
                  <a:pt x="907" y="334"/>
                  <a:pt x="843" y="334"/>
                </a:cubicBezTo>
                <a:cubicBezTo>
                  <a:pt x="780" y="334"/>
                  <a:pt x="732" y="398"/>
                  <a:pt x="732" y="461"/>
                </a:cubicBezTo>
                <a:cubicBezTo>
                  <a:pt x="732" y="525"/>
                  <a:pt x="780" y="573"/>
                  <a:pt x="843" y="573"/>
                </a:cubicBezTo>
                <a:close/>
                <a:moveTo>
                  <a:pt x="1304" y="573"/>
                </a:moveTo>
                <a:cubicBezTo>
                  <a:pt x="1368" y="573"/>
                  <a:pt x="1416" y="525"/>
                  <a:pt x="1416" y="461"/>
                </a:cubicBezTo>
                <a:cubicBezTo>
                  <a:pt x="1416" y="398"/>
                  <a:pt x="1368" y="334"/>
                  <a:pt x="1304" y="334"/>
                </a:cubicBezTo>
                <a:cubicBezTo>
                  <a:pt x="1241" y="334"/>
                  <a:pt x="1193" y="398"/>
                  <a:pt x="1193" y="461"/>
                </a:cubicBezTo>
                <a:cubicBezTo>
                  <a:pt x="1193" y="525"/>
                  <a:pt x="1241" y="573"/>
                  <a:pt x="1304" y="573"/>
                </a:cubicBezTo>
                <a:close/>
                <a:moveTo>
                  <a:pt x="1766" y="573"/>
                </a:moveTo>
                <a:cubicBezTo>
                  <a:pt x="1830" y="573"/>
                  <a:pt x="1877" y="525"/>
                  <a:pt x="1877" y="461"/>
                </a:cubicBezTo>
                <a:cubicBezTo>
                  <a:pt x="1877" y="398"/>
                  <a:pt x="1830" y="334"/>
                  <a:pt x="1766" y="334"/>
                </a:cubicBezTo>
                <a:cubicBezTo>
                  <a:pt x="1702" y="334"/>
                  <a:pt x="1655" y="398"/>
                  <a:pt x="1655" y="461"/>
                </a:cubicBezTo>
                <a:cubicBezTo>
                  <a:pt x="1655" y="525"/>
                  <a:pt x="1702" y="573"/>
                  <a:pt x="1766" y="57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1" name="Freeform: Shape 13">
            <a:extLst>
              <a:ext uri="{FF2B5EF4-FFF2-40B4-BE49-F238E27FC236}">
                <a16:creationId xmlns:a16="http://schemas.microsoft.com/office/drawing/2014/main" id="{28779D90-EC7B-5E47-9F2D-61CD16A75297}"/>
              </a:ext>
            </a:extLst>
          </p:cNvPr>
          <p:cNvSpPr/>
          <p:nvPr/>
        </p:nvSpPr>
        <p:spPr>
          <a:xfrm>
            <a:off x="13711376" y="3297675"/>
            <a:ext cx="1980360" cy="1447919"/>
          </a:xfrm>
          <a:custGeom>
            <a:avLst/>
            <a:gdLst/>
            <a:ahLst/>
            <a:cxnLst>
              <a:cxn ang="3cd4">
                <a:pos x="hc" y="t"/>
              </a:cxn>
              <a:cxn ang="cd2">
                <a:pos x="l" y="vc"/>
              </a:cxn>
              <a:cxn ang="cd4">
                <a:pos x="hc" y="b"/>
              </a:cxn>
              <a:cxn ang="0">
                <a:pos x="r" y="vc"/>
              </a:cxn>
            </a:cxnLst>
            <a:rect l="l" t="t" r="r" b="b"/>
            <a:pathLst>
              <a:path w="5502" h="4023">
                <a:moveTo>
                  <a:pt x="5423" y="0"/>
                </a:moveTo>
                <a:lnTo>
                  <a:pt x="79" y="0"/>
                </a:lnTo>
                <a:cubicBezTo>
                  <a:pt x="31" y="0"/>
                  <a:pt x="0" y="47"/>
                  <a:pt x="0" y="79"/>
                </a:cubicBezTo>
                <a:lnTo>
                  <a:pt x="0" y="3944"/>
                </a:lnTo>
                <a:cubicBezTo>
                  <a:pt x="0" y="3992"/>
                  <a:pt x="31" y="4023"/>
                  <a:pt x="79" y="4023"/>
                </a:cubicBezTo>
                <a:lnTo>
                  <a:pt x="5423" y="4023"/>
                </a:lnTo>
                <a:cubicBezTo>
                  <a:pt x="5471" y="4023"/>
                  <a:pt x="5502" y="3992"/>
                  <a:pt x="5502" y="3944"/>
                </a:cubicBezTo>
                <a:lnTo>
                  <a:pt x="5502" y="79"/>
                </a:lnTo>
                <a:cubicBezTo>
                  <a:pt x="5502" y="47"/>
                  <a:pt x="5471" y="0"/>
                  <a:pt x="5423" y="0"/>
                </a:cubicBezTo>
                <a:close/>
                <a:moveTo>
                  <a:pt x="5344" y="159"/>
                </a:moveTo>
                <a:lnTo>
                  <a:pt x="5344" y="922"/>
                </a:lnTo>
                <a:lnTo>
                  <a:pt x="174" y="922"/>
                </a:lnTo>
                <a:lnTo>
                  <a:pt x="158" y="922"/>
                </a:lnTo>
                <a:lnTo>
                  <a:pt x="158" y="159"/>
                </a:lnTo>
                <a:close/>
                <a:moveTo>
                  <a:pt x="158" y="3865"/>
                </a:moveTo>
                <a:lnTo>
                  <a:pt x="158" y="1081"/>
                </a:lnTo>
                <a:lnTo>
                  <a:pt x="174" y="1081"/>
                </a:lnTo>
                <a:lnTo>
                  <a:pt x="5344" y="1081"/>
                </a:lnTo>
                <a:lnTo>
                  <a:pt x="5344" y="3865"/>
                </a:lnTo>
                <a:close/>
                <a:moveTo>
                  <a:pt x="842" y="572"/>
                </a:moveTo>
                <a:cubicBezTo>
                  <a:pt x="906" y="572"/>
                  <a:pt x="954" y="509"/>
                  <a:pt x="954" y="445"/>
                </a:cubicBezTo>
                <a:cubicBezTo>
                  <a:pt x="954" y="381"/>
                  <a:pt x="906" y="333"/>
                  <a:pt x="842" y="333"/>
                </a:cubicBezTo>
                <a:cubicBezTo>
                  <a:pt x="779" y="333"/>
                  <a:pt x="715" y="381"/>
                  <a:pt x="715" y="445"/>
                </a:cubicBezTo>
                <a:cubicBezTo>
                  <a:pt x="715" y="509"/>
                  <a:pt x="779" y="572"/>
                  <a:pt x="842" y="572"/>
                </a:cubicBezTo>
                <a:close/>
                <a:moveTo>
                  <a:pt x="1304" y="572"/>
                </a:moveTo>
                <a:cubicBezTo>
                  <a:pt x="1367" y="572"/>
                  <a:pt x="1415" y="509"/>
                  <a:pt x="1415" y="445"/>
                </a:cubicBezTo>
                <a:cubicBezTo>
                  <a:pt x="1415" y="381"/>
                  <a:pt x="1367" y="333"/>
                  <a:pt x="1304" y="333"/>
                </a:cubicBezTo>
                <a:cubicBezTo>
                  <a:pt x="1240" y="333"/>
                  <a:pt x="1176" y="381"/>
                  <a:pt x="1176" y="445"/>
                </a:cubicBezTo>
                <a:cubicBezTo>
                  <a:pt x="1176" y="509"/>
                  <a:pt x="1240" y="572"/>
                  <a:pt x="1304" y="572"/>
                </a:cubicBezTo>
                <a:close/>
                <a:moveTo>
                  <a:pt x="1765" y="572"/>
                </a:moveTo>
                <a:cubicBezTo>
                  <a:pt x="1828" y="572"/>
                  <a:pt x="1876" y="509"/>
                  <a:pt x="1876" y="445"/>
                </a:cubicBezTo>
                <a:cubicBezTo>
                  <a:pt x="1876" y="381"/>
                  <a:pt x="1828" y="333"/>
                  <a:pt x="1765" y="333"/>
                </a:cubicBezTo>
                <a:cubicBezTo>
                  <a:pt x="1701" y="333"/>
                  <a:pt x="1637" y="381"/>
                  <a:pt x="1637" y="445"/>
                </a:cubicBezTo>
                <a:cubicBezTo>
                  <a:pt x="1637" y="509"/>
                  <a:pt x="1701" y="572"/>
                  <a:pt x="1765" y="572"/>
                </a:cubicBezTo>
                <a:close/>
                <a:moveTo>
                  <a:pt x="4405" y="2163"/>
                </a:moveTo>
                <a:cubicBezTo>
                  <a:pt x="4421" y="2178"/>
                  <a:pt x="4437" y="2178"/>
                  <a:pt x="4469" y="2178"/>
                </a:cubicBezTo>
                <a:cubicBezTo>
                  <a:pt x="4485" y="2178"/>
                  <a:pt x="4500" y="2178"/>
                  <a:pt x="4517" y="2147"/>
                </a:cubicBezTo>
                <a:cubicBezTo>
                  <a:pt x="4548" y="2115"/>
                  <a:pt x="4548" y="2067"/>
                  <a:pt x="4517" y="2035"/>
                </a:cubicBezTo>
                <a:lnTo>
                  <a:pt x="4214" y="1797"/>
                </a:lnTo>
                <a:cubicBezTo>
                  <a:pt x="4208" y="1792"/>
                  <a:pt x="4198" y="1797"/>
                  <a:pt x="4198" y="1781"/>
                </a:cubicBezTo>
                <a:lnTo>
                  <a:pt x="4182" y="1781"/>
                </a:lnTo>
                <a:lnTo>
                  <a:pt x="4166" y="1781"/>
                </a:lnTo>
                <a:lnTo>
                  <a:pt x="4151" y="1781"/>
                </a:lnTo>
                <a:lnTo>
                  <a:pt x="4135" y="1781"/>
                </a:lnTo>
                <a:lnTo>
                  <a:pt x="4119" y="1781"/>
                </a:lnTo>
                <a:lnTo>
                  <a:pt x="4103" y="1797"/>
                </a:lnTo>
                <a:lnTo>
                  <a:pt x="3800" y="2035"/>
                </a:lnTo>
                <a:cubicBezTo>
                  <a:pt x="3769" y="2067"/>
                  <a:pt x="3769" y="2115"/>
                  <a:pt x="3785" y="2147"/>
                </a:cubicBezTo>
                <a:cubicBezTo>
                  <a:pt x="3817" y="2178"/>
                  <a:pt x="3864" y="2195"/>
                  <a:pt x="3912" y="2163"/>
                </a:cubicBezTo>
                <a:lnTo>
                  <a:pt x="4071" y="2020"/>
                </a:lnTo>
                <a:lnTo>
                  <a:pt x="4071" y="2942"/>
                </a:lnTo>
                <a:lnTo>
                  <a:pt x="3912" y="2799"/>
                </a:lnTo>
                <a:cubicBezTo>
                  <a:pt x="3864" y="2767"/>
                  <a:pt x="3817" y="2783"/>
                  <a:pt x="3785" y="2815"/>
                </a:cubicBezTo>
                <a:cubicBezTo>
                  <a:pt x="3769" y="2847"/>
                  <a:pt x="3769" y="2895"/>
                  <a:pt x="3800" y="2926"/>
                </a:cubicBezTo>
                <a:lnTo>
                  <a:pt x="4103" y="3165"/>
                </a:lnTo>
                <a:lnTo>
                  <a:pt x="4119" y="3181"/>
                </a:lnTo>
                <a:lnTo>
                  <a:pt x="4135" y="3181"/>
                </a:lnTo>
                <a:lnTo>
                  <a:pt x="4151" y="3181"/>
                </a:lnTo>
                <a:lnTo>
                  <a:pt x="4151" y="3196"/>
                </a:lnTo>
                <a:cubicBezTo>
                  <a:pt x="4166" y="3196"/>
                  <a:pt x="4161" y="3186"/>
                  <a:pt x="4166" y="3181"/>
                </a:cubicBezTo>
                <a:lnTo>
                  <a:pt x="4182" y="3181"/>
                </a:lnTo>
                <a:lnTo>
                  <a:pt x="4198" y="3181"/>
                </a:lnTo>
                <a:cubicBezTo>
                  <a:pt x="4198" y="3165"/>
                  <a:pt x="4208" y="3170"/>
                  <a:pt x="4214" y="3165"/>
                </a:cubicBezTo>
                <a:lnTo>
                  <a:pt x="4517" y="2926"/>
                </a:lnTo>
                <a:cubicBezTo>
                  <a:pt x="4548" y="2895"/>
                  <a:pt x="4548" y="2847"/>
                  <a:pt x="4517" y="2815"/>
                </a:cubicBezTo>
                <a:cubicBezTo>
                  <a:pt x="4500" y="2783"/>
                  <a:pt x="4453" y="2767"/>
                  <a:pt x="4405" y="2799"/>
                </a:cubicBezTo>
                <a:lnTo>
                  <a:pt x="4230" y="2942"/>
                </a:lnTo>
                <a:lnTo>
                  <a:pt x="4230" y="2020"/>
                </a:lnTo>
                <a:close/>
                <a:moveTo>
                  <a:pt x="3912" y="1590"/>
                </a:moveTo>
                <a:lnTo>
                  <a:pt x="4405" y="1590"/>
                </a:lnTo>
                <a:cubicBezTo>
                  <a:pt x="4437" y="1590"/>
                  <a:pt x="4485" y="1559"/>
                  <a:pt x="4485" y="1511"/>
                </a:cubicBezTo>
                <a:cubicBezTo>
                  <a:pt x="4485" y="1463"/>
                  <a:pt x="4437" y="1431"/>
                  <a:pt x="4405" y="1431"/>
                </a:cubicBezTo>
                <a:lnTo>
                  <a:pt x="3912" y="1431"/>
                </a:lnTo>
                <a:cubicBezTo>
                  <a:pt x="3880" y="1431"/>
                  <a:pt x="3833" y="1463"/>
                  <a:pt x="3833" y="1511"/>
                </a:cubicBezTo>
                <a:cubicBezTo>
                  <a:pt x="3833" y="1559"/>
                  <a:pt x="3880" y="1590"/>
                  <a:pt x="3912" y="1590"/>
                </a:cubicBezTo>
                <a:close/>
                <a:moveTo>
                  <a:pt x="4405" y="3371"/>
                </a:moveTo>
                <a:lnTo>
                  <a:pt x="3912" y="3371"/>
                </a:lnTo>
                <a:cubicBezTo>
                  <a:pt x="3880" y="3371"/>
                  <a:pt x="3833" y="3403"/>
                  <a:pt x="3833" y="3451"/>
                </a:cubicBezTo>
                <a:cubicBezTo>
                  <a:pt x="3833" y="3499"/>
                  <a:pt x="3880" y="3531"/>
                  <a:pt x="3912" y="3531"/>
                </a:cubicBezTo>
                <a:lnTo>
                  <a:pt x="4405" y="3531"/>
                </a:lnTo>
                <a:cubicBezTo>
                  <a:pt x="4437" y="3531"/>
                  <a:pt x="4485" y="3499"/>
                  <a:pt x="4485" y="3451"/>
                </a:cubicBezTo>
                <a:cubicBezTo>
                  <a:pt x="4485" y="3403"/>
                  <a:pt x="4437" y="3371"/>
                  <a:pt x="4405" y="337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2" name="Freeform: Shape 14">
            <a:extLst>
              <a:ext uri="{FF2B5EF4-FFF2-40B4-BE49-F238E27FC236}">
                <a16:creationId xmlns:a16="http://schemas.microsoft.com/office/drawing/2014/main" id="{74B4F7B2-1A79-5241-9F42-BDCD0D9B6E3F}"/>
              </a:ext>
            </a:extLst>
          </p:cNvPr>
          <p:cNvSpPr/>
          <p:nvPr/>
        </p:nvSpPr>
        <p:spPr>
          <a:xfrm>
            <a:off x="1671347" y="6486125"/>
            <a:ext cx="1980720" cy="1448280"/>
          </a:xfrm>
          <a:custGeom>
            <a:avLst/>
            <a:gdLst/>
            <a:ahLst/>
            <a:cxnLst>
              <a:cxn ang="3cd4">
                <a:pos x="hc" y="t"/>
              </a:cxn>
              <a:cxn ang="cd2">
                <a:pos x="l" y="vc"/>
              </a:cxn>
              <a:cxn ang="cd4">
                <a:pos x="hc" y="b"/>
              </a:cxn>
              <a:cxn ang="0">
                <a:pos x="r" y="vc"/>
              </a:cxn>
            </a:cxnLst>
            <a:rect l="l" t="t" r="r" b="b"/>
            <a:pathLst>
              <a:path w="5503" h="4024">
                <a:moveTo>
                  <a:pt x="5423" y="0"/>
                </a:moveTo>
                <a:lnTo>
                  <a:pt x="79" y="0"/>
                </a:lnTo>
                <a:cubicBezTo>
                  <a:pt x="32" y="0"/>
                  <a:pt x="0" y="32"/>
                  <a:pt x="0" y="80"/>
                </a:cubicBezTo>
                <a:lnTo>
                  <a:pt x="0" y="3945"/>
                </a:lnTo>
                <a:cubicBezTo>
                  <a:pt x="0" y="3976"/>
                  <a:pt x="32" y="4024"/>
                  <a:pt x="79" y="4024"/>
                </a:cubicBezTo>
                <a:lnTo>
                  <a:pt x="5423" y="4024"/>
                </a:lnTo>
                <a:cubicBezTo>
                  <a:pt x="5471" y="4024"/>
                  <a:pt x="5503" y="3976"/>
                  <a:pt x="5503" y="3945"/>
                </a:cubicBezTo>
                <a:lnTo>
                  <a:pt x="5503" y="80"/>
                </a:lnTo>
                <a:cubicBezTo>
                  <a:pt x="5503" y="32"/>
                  <a:pt x="5471" y="0"/>
                  <a:pt x="5423" y="0"/>
                </a:cubicBezTo>
                <a:close/>
                <a:moveTo>
                  <a:pt x="5344" y="159"/>
                </a:moveTo>
                <a:lnTo>
                  <a:pt x="5344" y="907"/>
                </a:lnTo>
                <a:lnTo>
                  <a:pt x="175" y="907"/>
                </a:lnTo>
                <a:cubicBezTo>
                  <a:pt x="170" y="912"/>
                  <a:pt x="159" y="907"/>
                  <a:pt x="159" y="923"/>
                </a:cubicBezTo>
                <a:lnTo>
                  <a:pt x="159" y="159"/>
                </a:lnTo>
                <a:close/>
                <a:moveTo>
                  <a:pt x="159" y="3865"/>
                </a:moveTo>
                <a:lnTo>
                  <a:pt x="159" y="1066"/>
                </a:lnTo>
                <a:lnTo>
                  <a:pt x="175" y="1066"/>
                </a:lnTo>
                <a:lnTo>
                  <a:pt x="5344" y="1066"/>
                </a:lnTo>
                <a:lnTo>
                  <a:pt x="5344" y="3865"/>
                </a:lnTo>
                <a:close/>
                <a:moveTo>
                  <a:pt x="843" y="557"/>
                </a:moveTo>
                <a:cubicBezTo>
                  <a:pt x="906" y="557"/>
                  <a:pt x="954" y="509"/>
                  <a:pt x="954" y="446"/>
                </a:cubicBezTo>
                <a:cubicBezTo>
                  <a:pt x="954" y="382"/>
                  <a:pt x="906" y="318"/>
                  <a:pt x="843" y="318"/>
                </a:cubicBezTo>
                <a:cubicBezTo>
                  <a:pt x="779" y="318"/>
                  <a:pt x="715" y="382"/>
                  <a:pt x="715" y="446"/>
                </a:cubicBezTo>
                <a:cubicBezTo>
                  <a:pt x="715" y="509"/>
                  <a:pt x="779" y="557"/>
                  <a:pt x="843" y="557"/>
                </a:cubicBezTo>
                <a:close/>
                <a:moveTo>
                  <a:pt x="1304" y="557"/>
                </a:moveTo>
                <a:cubicBezTo>
                  <a:pt x="1368" y="557"/>
                  <a:pt x="1415" y="509"/>
                  <a:pt x="1415" y="446"/>
                </a:cubicBezTo>
                <a:cubicBezTo>
                  <a:pt x="1415" y="382"/>
                  <a:pt x="1368" y="318"/>
                  <a:pt x="1304" y="318"/>
                </a:cubicBezTo>
                <a:cubicBezTo>
                  <a:pt x="1241" y="318"/>
                  <a:pt x="1177" y="382"/>
                  <a:pt x="1177" y="446"/>
                </a:cubicBezTo>
                <a:cubicBezTo>
                  <a:pt x="1177" y="509"/>
                  <a:pt x="1241" y="557"/>
                  <a:pt x="1304" y="557"/>
                </a:cubicBezTo>
                <a:close/>
                <a:moveTo>
                  <a:pt x="1765" y="557"/>
                </a:moveTo>
                <a:cubicBezTo>
                  <a:pt x="1829" y="557"/>
                  <a:pt x="1877" y="509"/>
                  <a:pt x="1877" y="446"/>
                </a:cubicBezTo>
                <a:cubicBezTo>
                  <a:pt x="1877" y="382"/>
                  <a:pt x="1829" y="318"/>
                  <a:pt x="1765" y="318"/>
                </a:cubicBezTo>
                <a:cubicBezTo>
                  <a:pt x="1702" y="318"/>
                  <a:pt x="1638" y="382"/>
                  <a:pt x="1638" y="446"/>
                </a:cubicBezTo>
                <a:cubicBezTo>
                  <a:pt x="1638" y="509"/>
                  <a:pt x="1702" y="557"/>
                  <a:pt x="1765" y="557"/>
                </a:cubicBezTo>
                <a:close/>
                <a:moveTo>
                  <a:pt x="3960" y="2752"/>
                </a:moveTo>
                <a:lnTo>
                  <a:pt x="3642" y="2752"/>
                </a:lnTo>
                <a:lnTo>
                  <a:pt x="3642" y="2434"/>
                </a:lnTo>
                <a:cubicBezTo>
                  <a:pt x="3642" y="2386"/>
                  <a:pt x="3595" y="2354"/>
                  <a:pt x="3563" y="2354"/>
                </a:cubicBezTo>
                <a:lnTo>
                  <a:pt x="2831" y="2354"/>
                </a:lnTo>
                <a:lnTo>
                  <a:pt x="2831" y="2179"/>
                </a:lnTo>
                <a:lnTo>
                  <a:pt x="3149" y="2179"/>
                </a:lnTo>
                <a:cubicBezTo>
                  <a:pt x="3197" y="2179"/>
                  <a:pt x="3229" y="2148"/>
                  <a:pt x="3229" y="2100"/>
                </a:cubicBezTo>
                <a:lnTo>
                  <a:pt x="3229" y="1464"/>
                </a:lnTo>
                <a:cubicBezTo>
                  <a:pt x="3229" y="1416"/>
                  <a:pt x="3197" y="1384"/>
                  <a:pt x="3149" y="1384"/>
                </a:cubicBezTo>
                <a:lnTo>
                  <a:pt x="2354" y="1384"/>
                </a:lnTo>
                <a:cubicBezTo>
                  <a:pt x="2306" y="1384"/>
                  <a:pt x="2274" y="1416"/>
                  <a:pt x="2274" y="1464"/>
                </a:cubicBezTo>
                <a:lnTo>
                  <a:pt x="2274" y="2100"/>
                </a:lnTo>
                <a:cubicBezTo>
                  <a:pt x="2274" y="2148"/>
                  <a:pt x="2306" y="2179"/>
                  <a:pt x="2354" y="2179"/>
                </a:cubicBezTo>
                <a:lnTo>
                  <a:pt x="2672" y="2179"/>
                </a:lnTo>
                <a:lnTo>
                  <a:pt x="2672" y="2354"/>
                </a:lnTo>
                <a:lnTo>
                  <a:pt x="1941" y="2354"/>
                </a:lnTo>
                <a:cubicBezTo>
                  <a:pt x="1908" y="2354"/>
                  <a:pt x="1861" y="2386"/>
                  <a:pt x="1861" y="2434"/>
                </a:cubicBezTo>
                <a:lnTo>
                  <a:pt x="1861" y="2752"/>
                </a:lnTo>
                <a:lnTo>
                  <a:pt x="1543" y="2752"/>
                </a:lnTo>
                <a:cubicBezTo>
                  <a:pt x="1495" y="2752"/>
                  <a:pt x="1463" y="2784"/>
                  <a:pt x="1463" y="2831"/>
                </a:cubicBezTo>
                <a:lnTo>
                  <a:pt x="1463" y="3467"/>
                </a:lnTo>
                <a:cubicBezTo>
                  <a:pt x="1463" y="3515"/>
                  <a:pt x="1495" y="3547"/>
                  <a:pt x="1543" y="3547"/>
                </a:cubicBezTo>
                <a:lnTo>
                  <a:pt x="2354" y="3547"/>
                </a:lnTo>
                <a:cubicBezTo>
                  <a:pt x="2386" y="3547"/>
                  <a:pt x="2433" y="3515"/>
                  <a:pt x="2433" y="3467"/>
                </a:cubicBezTo>
                <a:lnTo>
                  <a:pt x="2433" y="2831"/>
                </a:lnTo>
                <a:cubicBezTo>
                  <a:pt x="2433" y="2784"/>
                  <a:pt x="2386" y="2752"/>
                  <a:pt x="2354" y="2752"/>
                </a:cubicBezTo>
                <a:lnTo>
                  <a:pt x="2020" y="2752"/>
                </a:lnTo>
                <a:lnTo>
                  <a:pt x="2020" y="2513"/>
                </a:lnTo>
                <a:lnTo>
                  <a:pt x="3483" y="2513"/>
                </a:lnTo>
                <a:lnTo>
                  <a:pt x="3483" y="2752"/>
                </a:lnTo>
                <a:lnTo>
                  <a:pt x="3149" y="2752"/>
                </a:lnTo>
                <a:cubicBezTo>
                  <a:pt x="3117" y="2752"/>
                  <a:pt x="3069" y="2784"/>
                  <a:pt x="3069" y="2831"/>
                </a:cubicBezTo>
                <a:lnTo>
                  <a:pt x="3069" y="3467"/>
                </a:lnTo>
                <a:cubicBezTo>
                  <a:pt x="3069" y="3515"/>
                  <a:pt x="3117" y="3547"/>
                  <a:pt x="3149" y="3547"/>
                </a:cubicBezTo>
                <a:lnTo>
                  <a:pt x="3960" y="3547"/>
                </a:lnTo>
                <a:cubicBezTo>
                  <a:pt x="4008" y="3547"/>
                  <a:pt x="4040" y="3515"/>
                  <a:pt x="4040" y="3467"/>
                </a:cubicBezTo>
                <a:lnTo>
                  <a:pt x="4040" y="2831"/>
                </a:lnTo>
                <a:cubicBezTo>
                  <a:pt x="4040" y="2784"/>
                  <a:pt x="4008" y="2752"/>
                  <a:pt x="3960" y="2752"/>
                </a:cubicBezTo>
                <a:close/>
                <a:moveTo>
                  <a:pt x="2433" y="1543"/>
                </a:moveTo>
                <a:lnTo>
                  <a:pt x="3069" y="1543"/>
                </a:lnTo>
                <a:lnTo>
                  <a:pt x="3069" y="2020"/>
                </a:lnTo>
                <a:lnTo>
                  <a:pt x="2433" y="2020"/>
                </a:lnTo>
                <a:close/>
                <a:moveTo>
                  <a:pt x="2274" y="3388"/>
                </a:moveTo>
                <a:lnTo>
                  <a:pt x="1622" y="3388"/>
                </a:lnTo>
                <a:lnTo>
                  <a:pt x="1622" y="2911"/>
                </a:lnTo>
                <a:lnTo>
                  <a:pt x="2274" y="2911"/>
                </a:lnTo>
                <a:close/>
                <a:moveTo>
                  <a:pt x="3881" y="3388"/>
                </a:moveTo>
                <a:lnTo>
                  <a:pt x="3229" y="3388"/>
                </a:lnTo>
                <a:lnTo>
                  <a:pt x="3229" y="2911"/>
                </a:lnTo>
                <a:lnTo>
                  <a:pt x="3881" y="2911"/>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73" name="Freeform: Shape 15">
            <a:extLst>
              <a:ext uri="{FF2B5EF4-FFF2-40B4-BE49-F238E27FC236}">
                <a16:creationId xmlns:a16="http://schemas.microsoft.com/office/drawing/2014/main" id="{EECCFBF3-211C-BA48-B614-FD0DD966044A}"/>
              </a:ext>
            </a:extLst>
          </p:cNvPr>
          <p:cNvSpPr/>
          <p:nvPr/>
        </p:nvSpPr>
        <p:spPr>
          <a:xfrm>
            <a:off x="9692851" y="6486125"/>
            <a:ext cx="1974960" cy="1448280"/>
          </a:xfrm>
          <a:custGeom>
            <a:avLst/>
            <a:gdLst/>
            <a:ahLst/>
            <a:cxnLst>
              <a:cxn ang="3cd4">
                <a:pos x="hc" y="t"/>
              </a:cxn>
              <a:cxn ang="cd2">
                <a:pos x="l" y="vc"/>
              </a:cxn>
              <a:cxn ang="cd4">
                <a:pos x="hc" y="b"/>
              </a:cxn>
              <a:cxn ang="0">
                <a:pos x="r" y="vc"/>
              </a:cxn>
            </a:cxnLst>
            <a:rect l="l" t="t" r="r" b="b"/>
            <a:pathLst>
              <a:path w="5487" h="4024">
                <a:moveTo>
                  <a:pt x="79" y="4024"/>
                </a:moveTo>
                <a:lnTo>
                  <a:pt x="5408" y="4024"/>
                </a:lnTo>
                <a:cubicBezTo>
                  <a:pt x="5455" y="4024"/>
                  <a:pt x="5487" y="3976"/>
                  <a:pt x="5487" y="3945"/>
                </a:cubicBezTo>
                <a:lnTo>
                  <a:pt x="5487" y="80"/>
                </a:lnTo>
                <a:cubicBezTo>
                  <a:pt x="5487" y="32"/>
                  <a:pt x="5455" y="0"/>
                  <a:pt x="5408" y="0"/>
                </a:cubicBezTo>
                <a:lnTo>
                  <a:pt x="79" y="0"/>
                </a:lnTo>
                <a:cubicBezTo>
                  <a:pt x="31" y="0"/>
                  <a:pt x="0" y="32"/>
                  <a:pt x="0" y="80"/>
                </a:cubicBezTo>
                <a:lnTo>
                  <a:pt x="0" y="3945"/>
                </a:lnTo>
                <a:cubicBezTo>
                  <a:pt x="0" y="3976"/>
                  <a:pt x="31" y="4024"/>
                  <a:pt x="79" y="4024"/>
                </a:cubicBezTo>
                <a:close/>
                <a:moveTo>
                  <a:pt x="159" y="3865"/>
                </a:moveTo>
                <a:lnTo>
                  <a:pt x="159" y="1066"/>
                </a:lnTo>
                <a:lnTo>
                  <a:pt x="5328" y="1066"/>
                </a:lnTo>
                <a:lnTo>
                  <a:pt x="5328" y="3865"/>
                </a:lnTo>
                <a:close/>
                <a:moveTo>
                  <a:pt x="5328" y="159"/>
                </a:moveTo>
                <a:lnTo>
                  <a:pt x="5328" y="907"/>
                </a:lnTo>
                <a:lnTo>
                  <a:pt x="159" y="907"/>
                </a:lnTo>
                <a:lnTo>
                  <a:pt x="159" y="923"/>
                </a:lnTo>
                <a:lnTo>
                  <a:pt x="159" y="159"/>
                </a:lnTo>
                <a:close/>
                <a:moveTo>
                  <a:pt x="827" y="557"/>
                </a:moveTo>
                <a:cubicBezTo>
                  <a:pt x="891" y="557"/>
                  <a:pt x="938" y="509"/>
                  <a:pt x="938" y="446"/>
                </a:cubicBezTo>
                <a:cubicBezTo>
                  <a:pt x="938" y="382"/>
                  <a:pt x="891" y="318"/>
                  <a:pt x="827" y="318"/>
                </a:cubicBezTo>
                <a:cubicBezTo>
                  <a:pt x="763" y="318"/>
                  <a:pt x="716" y="382"/>
                  <a:pt x="716" y="446"/>
                </a:cubicBezTo>
                <a:cubicBezTo>
                  <a:pt x="716" y="509"/>
                  <a:pt x="763" y="557"/>
                  <a:pt x="827" y="557"/>
                </a:cubicBezTo>
                <a:close/>
                <a:moveTo>
                  <a:pt x="1288" y="557"/>
                </a:moveTo>
                <a:cubicBezTo>
                  <a:pt x="1352" y="557"/>
                  <a:pt x="1400" y="509"/>
                  <a:pt x="1400" y="446"/>
                </a:cubicBezTo>
                <a:cubicBezTo>
                  <a:pt x="1400" y="382"/>
                  <a:pt x="1352" y="318"/>
                  <a:pt x="1288" y="318"/>
                </a:cubicBezTo>
                <a:cubicBezTo>
                  <a:pt x="1224" y="318"/>
                  <a:pt x="1177" y="382"/>
                  <a:pt x="1177" y="446"/>
                </a:cubicBezTo>
                <a:cubicBezTo>
                  <a:pt x="1177" y="509"/>
                  <a:pt x="1224" y="557"/>
                  <a:pt x="1288" y="557"/>
                </a:cubicBezTo>
                <a:close/>
                <a:moveTo>
                  <a:pt x="1749" y="557"/>
                </a:moveTo>
                <a:cubicBezTo>
                  <a:pt x="1813" y="557"/>
                  <a:pt x="1861" y="509"/>
                  <a:pt x="1861" y="446"/>
                </a:cubicBezTo>
                <a:cubicBezTo>
                  <a:pt x="1861" y="382"/>
                  <a:pt x="1813" y="318"/>
                  <a:pt x="1749" y="318"/>
                </a:cubicBezTo>
                <a:cubicBezTo>
                  <a:pt x="1686" y="318"/>
                  <a:pt x="1638" y="382"/>
                  <a:pt x="1638" y="446"/>
                </a:cubicBezTo>
                <a:cubicBezTo>
                  <a:pt x="1638" y="509"/>
                  <a:pt x="1686" y="557"/>
                  <a:pt x="1749" y="557"/>
                </a:cubicBezTo>
                <a:close/>
                <a:moveTo>
                  <a:pt x="4437" y="2815"/>
                </a:moveTo>
                <a:cubicBezTo>
                  <a:pt x="4390" y="2815"/>
                  <a:pt x="4358" y="2848"/>
                  <a:pt x="4358" y="2895"/>
                </a:cubicBezTo>
                <a:lnTo>
                  <a:pt x="4358" y="3102"/>
                </a:lnTo>
                <a:lnTo>
                  <a:pt x="3928" y="2672"/>
                </a:lnTo>
                <a:cubicBezTo>
                  <a:pt x="3897" y="2657"/>
                  <a:pt x="3849" y="2657"/>
                  <a:pt x="3817" y="2672"/>
                </a:cubicBezTo>
                <a:cubicBezTo>
                  <a:pt x="3785" y="2704"/>
                  <a:pt x="3785" y="2768"/>
                  <a:pt x="3817" y="2800"/>
                </a:cubicBezTo>
                <a:lnTo>
                  <a:pt x="4246" y="3213"/>
                </a:lnTo>
                <a:lnTo>
                  <a:pt x="4040" y="3213"/>
                </a:lnTo>
                <a:cubicBezTo>
                  <a:pt x="3992" y="3213"/>
                  <a:pt x="3960" y="3245"/>
                  <a:pt x="3960" y="3293"/>
                </a:cubicBezTo>
                <a:cubicBezTo>
                  <a:pt x="3960" y="3340"/>
                  <a:pt x="3992" y="3372"/>
                  <a:pt x="4040" y="3372"/>
                </a:cubicBezTo>
                <a:lnTo>
                  <a:pt x="4437" y="3372"/>
                </a:lnTo>
                <a:lnTo>
                  <a:pt x="4453" y="3372"/>
                </a:lnTo>
                <a:lnTo>
                  <a:pt x="4469" y="3372"/>
                </a:lnTo>
                <a:lnTo>
                  <a:pt x="4469" y="3356"/>
                </a:lnTo>
                <a:lnTo>
                  <a:pt x="4485" y="3356"/>
                </a:lnTo>
                <a:lnTo>
                  <a:pt x="4501" y="3340"/>
                </a:lnTo>
                <a:lnTo>
                  <a:pt x="4501" y="3324"/>
                </a:lnTo>
                <a:lnTo>
                  <a:pt x="4517" y="3324"/>
                </a:lnTo>
                <a:lnTo>
                  <a:pt x="4517" y="3309"/>
                </a:lnTo>
                <a:lnTo>
                  <a:pt x="4517" y="3293"/>
                </a:lnTo>
                <a:lnTo>
                  <a:pt x="4517" y="2895"/>
                </a:lnTo>
                <a:cubicBezTo>
                  <a:pt x="4517" y="2848"/>
                  <a:pt x="4485" y="2815"/>
                  <a:pt x="4437" y="2815"/>
                </a:cubicBezTo>
                <a:close/>
                <a:moveTo>
                  <a:pt x="4517" y="1670"/>
                </a:moveTo>
                <a:lnTo>
                  <a:pt x="4517" y="1655"/>
                </a:lnTo>
                <a:lnTo>
                  <a:pt x="4501" y="1655"/>
                </a:lnTo>
                <a:lnTo>
                  <a:pt x="4501" y="1639"/>
                </a:lnTo>
                <a:lnTo>
                  <a:pt x="4485" y="1622"/>
                </a:lnTo>
                <a:lnTo>
                  <a:pt x="4469" y="1622"/>
                </a:lnTo>
                <a:lnTo>
                  <a:pt x="4469" y="1607"/>
                </a:lnTo>
                <a:lnTo>
                  <a:pt x="4453" y="1607"/>
                </a:lnTo>
                <a:lnTo>
                  <a:pt x="4437" y="1607"/>
                </a:lnTo>
                <a:lnTo>
                  <a:pt x="4040" y="1607"/>
                </a:lnTo>
                <a:cubicBezTo>
                  <a:pt x="3992" y="1607"/>
                  <a:pt x="3960" y="1639"/>
                  <a:pt x="3960" y="1686"/>
                </a:cubicBezTo>
                <a:cubicBezTo>
                  <a:pt x="3960" y="1734"/>
                  <a:pt x="3992" y="1766"/>
                  <a:pt x="4040" y="1766"/>
                </a:cubicBezTo>
                <a:lnTo>
                  <a:pt x="4246" y="1766"/>
                </a:lnTo>
                <a:lnTo>
                  <a:pt x="3817" y="2179"/>
                </a:lnTo>
                <a:cubicBezTo>
                  <a:pt x="3785" y="2211"/>
                  <a:pt x="3785" y="2275"/>
                  <a:pt x="3817" y="2306"/>
                </a:cubicBezTo>
                <a:cubicBezTo>
                  <a:pt x="3833" y="2322"/>
                  <a:pt x="3849" y="2322"/>
                  <a:pt x="3881" y="2322"/>
                </a:cubicBezTo>
                <a:cubicBezTo>
                  <a:pt x="3897" y="2322"/>
                  <a:pt x="3912" y="2322"/>
                  <a:pt x="3928" y="2306"/>
                </a:cubicBezTo>
                <a:lnTo>
                  <a:pt x="4358" y="1877"/>
                </a:lnTo>
                <a:lnTo>
                  <a:pt x="4358" y="2084"/>
                </a:lnTo>
                <a:cubicBezTo>
                  <a:pt x="4358" y="2131"/>
                  <a:pt x="4390" y="2163"/>
                  <a:pt x="4437" y="2163"/>
                </a:cubicBezTo>
                <a:cubicBezTo>
                  <a:pt x="4485" y="2163"/>
                  <a:pt x="4517" y="2131"/>
                  <a:pt x="4517" y="2084"/>
                </a:cubicBezTo>
                <a:lnTo>
                  <a:pt x="4517" y="1686"/>
                </a:lnTo>
                <a:close/>
                <a:moveTo>
                  <a:pt x="1240" y="1766"/>
                </a:moveTo>
                <a:lnTo>
                  <a:pt x="1447" y="1766"/>
                </a:lnTo>
                <a:cubicBezTo>
                  <a:pt x="1495" y="1766"/>
                  <a:pt x="1527" y="1734"/>
                  <a:pt x="1527" y="1686"/>
                </a:cubicBezTo>
                <a:cubicBezTo>
                  <a:pt x="1527" y="1639"/>
                  <a:pt x="1495" y="1607"/>
                  <a:pt x="1447" y="1607"/>
                </a:cubicBezTo>
                <a:lnTo>
                  <a:pt x="1049" y="1607"/>
                </a:lnTo>
                <a:lnTo>
                  <a:pt x="1034" y="1607"/>
                </a:lnTo>
                <a:lnTo>
                  <a:pt x="1018" y="1607"/>
                </a:lnTo>
                <a:lnTo>
                  <a:pt x="1002" y="1622"/>
                </a:lnTo>
                <a:lnTo>
                  <a:pt x="986" y="1639"/>
                </a:lnTo>
                <a:cubicBezTo>
                  <a:pt x="986" y="1655"/>
                  <a:pt x="986" y="1655"/>
                  <a:pt x="970" y="1655"/>
                </a:cubicBezTo>
                <a:lnTo>
                  <a:pt x="970" y="1670"/>
                </a:lnTo>
                <a:lnTo>
                  <a:pt x="970" y="1686"/>
                </a:lnTo>
                <a:lnTo>
                  <a:pt x="970" y="2084"/>
                </a:lnTo>
                <a:cubicBezTo>
                  <a:pt x="970" y="2131"/>
                  <a:pt x="1002" y="2163"/>
                  <a:pt x="1049" y="2163"/>
                </a:cubicBezTo>
                <a:cubicBezTo>
                  <a:pt x="1097" y="2163"/>
                  <a:pt x="1129" y="2131"/>
                  <a:pt x="1129" y="2084"/>
                </a:cubicBezTo>
                <a:lnTo>
                  <a:pt x="1129" y="1877"/>
                </a:lnTo>
                <a:lnTo>
                  <a:pt x="1558" y="2306"/>
                </a:lnTo>
                <a:cubicBezTo>
                  <a:pt x="1574" y="2322"/>
                  <a:pt x="1590" y="2322"/>
                  <a:pt x="1606" y="2322"/>
                </a:cubicBezTo>
                <a:cubicBezTo>
                  <a:pt x="1638" y="2322"/>
                  <a:pt x="1654" y="2322"/>
                  <a:pt x="1670" y="2306"/>
                </a:cubicBezTo>
                <a:cubicBezTo>
                  <a:pt x="1701" y="2275"/>
                  <a:pt x="1701" y="2211"/>
                  <a:pt x="1670" y="2179"/>
                </a:cubicBezTo>
                <a:close/>
                <a:moveTo>
                  <a:pt x="1558" y="2672"/>
                </a:moveTo>
                <a:lnTo>
                  <a:pt x="1129" y="3102"/>
                </a:lnTo>
                <a:lnTo>
                  <a:pt x="1129" y="2895"/>
                </a:lnTo>
                <a:cubicBezTo>
                  <a:pt x="1129" y="2848"/>
                  <a:pt x="1097" y="2815"/>
                  <a:pt x="1049" y="2815"/>
                </a:cubicBezTo>
                <a:cubicBezTo>
                  <a:pt x="1002" y="2815"/>
                  <a:pt x="970" y="2848"/>
                  <a:pt x="970" y="2895"/>
                </a:cubicBezTo>
                <a:lnTo>
                  <a:pt x="970" y="3293"/>
                </a:lnTo>
                <a:lnTo>
                  <a:pt x="970" y="3309"/>
                </a:lnTo>
                <a:lnTo>
                  <a:pt x="970" y="3324"/>
                </a:lnTo>
                <a:cubicBezTo>
                  <a:pt x="986" y="3324"/>
                  <a:pt x="981" y="3335"/>
                  <a:pt x="986" y="3340"/>
                </a:cubicBezTo>
                <a:lnTo>
                  <a:pt x="1002" y="3356"/>
                </a:lnTo>
                <a:lnTo>
                  <a:pt x="1018" y="3356"/>
                </a:lnTo>
                <a:lnTo>
                  <a:pt x="1018" y="3372"/>
                </a:lnTo>
                <a:lnTo>
                  <a:pt x="1034" y="3372"/>
                </a:lnTo>
                <a:lnTo>
                  <a:pt x="1049" y="3372"/>
                </a:lnTo>
                <a:lnTo>
                  <a:pt x="1447" y="3372"/>
                </a:lnTo>
                <a:cubicBezTo>
                  <a:pt x="1495" y="3372"/>
                  <a:pt x="1527" y="3340"/>
                  <a:pt x="1527" y="3293"/>
                </a:cubicBezTo>
                <a:cubicBezTo>
                  <a:pt x="1527" y="3245"/>
                  <a:pt x="1495" y="3213"/>
                  <a:pt x="1447" y="3213"/>
                </a:cubicBezTo>
                <a:lnTo>
                  <a:pt x="1240" y="3213"/>
                </a:lnTo>
                <a:lnTo>
                  <a:pt x="1670" y="2800"/>
                </a:lnTo>
                <a:cubicBezTo>
                  <a:pt x="1701" y="2768"/>
                  <a:pt x="1701" y="2704"/>
                  <a:pt x="1670" y="2672"/>
                </a:cubicBezTo>
                <a:cubicBezTo>
                  <a:pt x="1638" y="2657"/>
                  <a:pt x="1590" y="2657"/>
                  <a:pt x="1558" y="26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1" name="Freeform: Shape 16">
            <a:extLst>
              <a:ext uri="{FF2B5EF4-FFF2-40B4-BE49-F238E27FC236}">
                <a16:creationId xmlns:a16="http://schemas.microsoft.com/office/drawing/2014/main" id="{335B7E85-6787-3945-BA51-F5D057AAA529}"/>
              </a:ext>
            </a:extLst>
          </p:cNvPr>
          <p:cNvSpPr/>
          <p:nvPr/>
        </p:nvSpPr>
        <p:spPr>
          <a:xfrm>
            <a:off x="1671707" y="9951575"/>
            <a:ext cx="1980360" cy="1447919"/>
          </a:xfrm>
          <a:custGeom>
            <a:avLst/>
            <a:gdLst/>
            <a:ahLst/>
            <a:cxnLst>
              <a:cxn ang="3cd4">
                <a:pos x="hc" y="t"/>
              </a:cxn>
              <a:cxn ang="cd2">
                <a:pos x="l" y="vc"/>
              </a:cxn>
              <a:cxn ang="cd4">
                <a:pos x="hc" y="b"/>
              </a:cxn>
              <a:cxn ang="0">
                <a:pos x="r" y="vc"/>
              </a:cxn>
            </a:cxnLst>
            <a:rect l="l" t="t" r="r" b="b"/>
            <a:pathLst>
              <a:path w="5502" h="4023">
                <a:moveTo>
                  <a:pt x="5423" y="0"/>
                </a:moveTo>
                <a:lnTo>
                  <a:pt x="79" y="0"/>
                </a:lnTo>
                <a:cubicBezTo>
                  <a:pt x="47" y="0"/>
                  <a:pt x="0" y="31"/>
                  <a:pt x="0" y="79"/>
                </a:cubicBezTo>
                <a:lnTo>
                  <a:pt x="0" y="3944"/>
                </a:lnTo>
                <a:cubicBezTo>
                  <a:pt x="0" y="3991"/>
                  <a:pt x="47" y="4023"/>
                  <a:pt x="79" y="4023"/>
                </a:cubicBezTo>
                <a:lnTo>
                  <a:pt x="5423" y="4023"/>
                </a:lnTo>
                <a:cubicBezTo>
                  <a:pt x="5471" y="4023"/>
                  <a:pt x="5502" y="3991"/>
                  <a:pt x="5502" y="3944"/>
                </a:cubicBezTo>
                <a:lnTo>
                  <a:pt x="5502" y="79"/>
                </a:lnTo>
                <a:cubicBezTo>
                  <a:pt x="5502" y="31"/>
                  <a:pt x="5471" y="0"/>
                  <a:pt x="5423" y="0"/>
                </a:cubicBezTo>
                <a:close/>
                <a:moveTo>
                  <a:pt x="5344" y="158"/>
                </a:moveTo>
                <a:lnTo>
                  <a:pt x="5344" y="922"/>
                </a:lnTo>
                <a:lnTo>
                  <a:pt x="174" y="922"/>
                </a:lnTo>
                <a:lnTo>
                  <a:pt x="158" y="922"/>
                </a:lnTo>
                <a:lnTo>
                  <a:pt x="158" y="158"/>
                </a:lnTo>
                <a:close/>
                <a:moveTo>
                  <a:pt x="158" y="3864"/>
                </a:moveTo>
                <a:lnTo>
                  <a:pt x="158" y="1081"/>
                </a:lnTo>
                <a:lnTo>
                  <a:pt x="174" y="1081"/>
                </a:lnTo>
                <a:lnTo>
                  <a:pt x="5344" y="1081"/>
                </a:lnTo>
                <a:lnTo>
                  <a:pt x="5344" y="3864"/>
                </a:lnTo>
                <a:close/>
                <a:moveTo>
                  <a:pt x="842" y="572"/>
                </a:moveTo>
                <a:cubicBezTo>
                  <a:pt x="906" y="572"/>
                  <a:pt x="954" y="509"/>
                  <a:pt x="954" y="445"/>
                </a:cubicBezTo>
                <a:cubicBezTo>
                  <a:pt x="954" y="381"/>
                  <a:pt x="906" y="333"/>
                  <a:pt x="842" y="333"/>
                </a:cubicBezTo>
                <a:cubicBezTo>
                  <a:pt x="779" y="333"/>
                  <a:pt x="731" y="381"/>
                  <a:pt x="731" y="445"/>
                </a:cubicBezTo>
                <a:cubicBezTo>
                  <a:pt x="731" y="509"/>
                  <a:pt x="779" y="572"/>
                  <a:pt x="842" y="572"/>
                </a:cubicBezTo>
                <a:close/>
                <a:moveTo>
                  <a:pt x="1304" y="572"/>
                </a:moveTo>
                <a:cubicBezTo>
                  <a:pt x="1367" y="572"/>
                  <a:pt x="1415" y="509"/>
                  <a:pt x="1415" y="445"/>
                </a:cubicBezTo>
                <a:cubicBezTo>
                  <a:pt x="1415" y="381"/>
                  <a:pt x="1367" y="333"/>
                  <a:pt x="1304" y="333"/>
                </a:cubicBezTo>
                <a:cubicBezTo>
                  <a:pt x="1240" y="333"/>
                  <a:pt x="1192" y="381"/>
                  <a:pt x="1192" y="445"/>
                </a:cubicBezTo>
                <a:cubicBezTo>
                  <a:pt x="1192" y="509"/>
                  <a:pt x="1240" y="572"/>
                  <a:pt x="1304" y="572"/>
                </a:cubicBezTo>
                <a:close/>
                <a:moveTo>
                  <a:pt x="1765" y="572"/>
                </a:moveTo>
                <a:cubicBezTo>
                  <a:pt x="1828" y="572"/>
                  <a:pt x="1876" y="509"/>
                  <a:pt x="1876" y="445"/>
                </a:cubicBezTo>
                <a:cubicBezTo>
                  <a:pt x="1876" y="381"/>
                  <a:pt x="1828" y="333"/>
                  <a:pt x="1765" y="333"/>
                </a:cubicBezTo>
                <a:cubicBezTo>
                  <a:pt x="1701" y="333"/>
                  <a:pt x="1654" y="381"/>
                  <a:pt x="1654" y="445"/>
                </a:cubicBezTo>
                <a:cubicBezTo>
                  <a:pt x="1654" y="509"/>
                  <a:pt x="1701" y="572"/>
                  <a:pt x="1765" y="572"/>
                </a:cubicBezTo>
                <a:close/>
                <a:moveTo>
                  <a:pt x="3069" y="2433"/>
                </a:moveTo>
                <a:cubicBezTo>
                  <a:pt x="3069" y="2290"/>
                  <a:pt x="2958" y="2163"/>
                  <a:pt x="2799" y="2163"/>
                </a:cubicBezTo>
                <a:cubicBezTo>
                  <a:pt x="2640" y="2163"/>
                  <a:pt x="2512" y="2290"/>
                  <a:pt x="2512" y="2433"/>
                </a:cubicBezTo>
                <a:cubicBezTo>
                  <a:pt x="2512" y="2592"/>
                  <a:pt x="2640" y="2719"/>
                  <a:pt x="2799" y="2719"/>
                </a:cubicBezTo>
                <a:cubicBezTo>
                  <a:pt x="2958" y="2719"/>
                  <a:pt x="3069" y="2592"/>
                  <a:pt x="3069" y="2433"/>
                </a:cubicBezTo>
                <a:close/>
                <a:moveTo>
                  <a:pt x="2672" y="2433"/>
                </a:moveTo>
                <a:cubicBezTo>
                  <a:pt x="2672" y="2369"/>
                  <a:pt x="2735" y="2321"/>
                  <a:pt x="2799" y="2321"/>
                </a:cubicBezTo>
                <a:cubicBezTo>
                  <a:pt x="2862" y="2321"/>
                  <a:pt x="2910" y="2369"/>
                  <a:pt x="2910" y="2433"/>
                </a:cubicBezTo>
                <a:cubicBezTo>
                  <a:pt x="2910" y="2512"/>
                  <a:pt x="2862" y="2560"/>
                  <a:pt x="2799" y="2560"/>
                </a:cubicBezTo>
                <a:cubicBezTo>
                  <a:pt x="2735" y="2560"/>
                  <a:pt x="2672" y="2512"/>
                  <a:pt x="2672" y="2433"/>
                </a:cubicBezTo>
                <a:close/>
                <a:moveTo>
                  <a:pt x="2734" y="1924"/>
                </a:moveTo>
                <a:cubicBezTo>
                  <a:pt x="2782" y="1908"/>
                  <a:pt x="2814" y="1876"/>
                  <a:pt x="2814" y="1828"/>
                </a:cubicBezTo>
                <a:cubicBezTo>
                  <a:pt x="2798" y="1781"/>
                  <a:pt x="2766" y="1749"/>
                  <a:pt x="2718" y="1765"/>
                </a:cubicBezTo>
                <a:cubicBezTo>
                  <a:pt x="2353" y="1797"/>
                  <a:pt x="2066" y="2146"/>
                  <a:pt x="2114" y="2512"/>
                </a:cubicBezTo>
                <a:cubicBezTo>
                  <a:pt x="2114" y="2560"/>
                  <a:pt x="2162" y="2592"/>
                  <a:pt x="2193" y="2592"/>
                </a:cubicBezTo>
                <a:lnTo>
                  <a:pt x="2209" y="2592"/>
                </a:lnTo>
                <a:cubicBezTo>
                  <a:pt x="2241" y="2576"/>
                  <a:pt x="2273" y="2544"/>
                  <a:pt x="2273" y="2497"/>
                </a:cubicBezTo>
                <a:cubicBezTo>
                  <a:pt x="2241" y="2210"/>
                  <a:pt x="2448" y="1956"/>
                  <a:pt x="2734" y="1924"/>
                </a:cubicBezTo>
                <a:close/>
                <a:moveTo>
                  <a:pt x="2783" y="3053"/>
                </a:moveTo>
                <a:cubicBezTo>
                  <a:pt x="2783" y="3085"/>
                  <a:pt x="2830" y="3117"/>
                  <a:pt x="2862" y="3117"/>
                </a:cubicBezTo>
                <a:lnTo>
                  <a:pt x="2878" y="3117"/>
                </a:lnTo>
                <a:cubicBezTo>
                  <a:pt x="3053" y="3101"/>
                  <a:pt x="3212" y="3006"/>
                  <a:pt x="3324" y="2863"/>
                </a:cubicBezTo>
                <a:cubicBezTo>
                  <a:pt x="3451" y="2719"/>
                  <a:pt x="3499" y="2544"/>
                  <a:pt x="3482" y="2369"/>
                </a:cubicBezTo>
                <a:cubicBezTo>
                  <a:pt x="3467" y="2321"/>
                  <a:pt x="3435" y="2290"/>
                  <a:pt x="3387" y="2290"/>
                </a:cubicBezTo>
                <a:cubicBezTo>
                  <a:pt x="3339" y="2290"/>
                  <a:pt x="3308" y="2337"/>
                  <a:pt x="3324" y="2385"/>
                </a:cubicBezTo>
                <a:cubicBezTo>
                  <a:pt x="3339" y="2512"/>
                  <a:pt x="3292" y="2655"/>
                  <a:pt x="3212" y="2767"/>
                </a:cubicBezTo>
                <a:cubicBezTo>
                  <a:pt x="3117" y="2878"/>
                  <a:pt x="2990" y="2942"/>
                  <a:pt x="2846" y="2958"/>
                </a:cubicBezTo>
                <a:cubicBezTo>
                  <a:pt x="2815" y="2958"/>
                  <a:pt x="2783" y="3006"/>
                  <a:pt x="2783" y="3053"/>
                </a:cubicBezTo>
                <a:close/>
                <a:moveTo>
                  <a:pt x="2115" y="1813"/>
                </a:moveTo>
                <a:cubicBezTo>
                  <a:pt x="2290" y="1622"/>
                  <a:pt x="2512" y="1526"/>
                  <a:pt x="2767" y="1510"/>
                </a:cubicBezTo>
                <a:cubicBezTo>
                  <a:pt x="2799" y="1510"/>
                  <a:pt x="2846" y="1479"/>
                  <a:pt x="2846" y="1431"/>
                </a:cubicBezTo>
                <a:cubicBezTo>
                  <a:pt x="2830" y="1383"/>
                  <a:pt x="2799" y="1351"/>
                  <a:pt x="2751" y="1351"/>
                </a:cubicBezTo>
                <a:cubicBezTo>
                  <a:pt x="2464" y="1367"/>
                  <a:pt x="2194" y="1479"/>
                  <a:pt x="2003" y="1701"/>
                </a:cubicBezTo>
                <a:cubicBezTo>
                  <a:pt x="1797" y="1908"/>
                  <a:pt x="1701" y="2194"/>
                  <a:pt x="1717" y="2481"/>
                </a:cubicBezTo>
                <a:cubicBezTo>
                  <a:pt x="1717" y="2512"/>
                  <a:pt x="1749" y="2560"/>
                  <a:pt x="1797" y="2560"/>
                </a:cubicBezTo>
                <a:cubicBezTo>
                  <a:pt x="1828" y="2560"/>
                  <a:pt x="1876" y="2512"/>
                  <a:pt x="1876" y="2465"/>
                </a:cubicBezTo>
                <a:cubicBezTo>
                  <a:pt x="1860" y="2226"/>
                  <a:pt x="1940" y="1988"/>
                  <a:pt x="2115" y="1813"/>
                </a:cubicBezTo>
                <a:close/>
                <a:moveTo>
                  <a:pt x="3800" y="2321"/>
                </a:moveTo>
                <a:cubicBezTo>
                  <a:pt x="3753" y="2321"/>
                  <a:pt x="3721" y="2369"/>
                  <a:pt x="3721" y="2401"/>
                </a:cubicBezTo>
                <a:cubicBezTo>
                  <a:pt x="3737" y="2910"/>
                  <a:pt x="3339" y="3339"/>
                  <a:pt x="2830" y="3371"/>
                </a:cubicBezTo>
                <a:cubicBezTo>
                  <a:pt x="2783" y="3371"/>
                  <a:pt x="2751" y="3403"/>
                  <a:pt x="2751" y="3451"/>
                </a:cubicBezTo>
                <a:cubicBezTo>
                  <a:pt x="2751" y="3499"/>
                  <a:pt x="2783" y="3530"/>
                  <a:pt x="2830" y="3530"/>
                </a:cubicBezTo>
                <a:cubicBezTo>
                  <a:pt x="3435" y="3499"/>
                  <a:pt x="3896" y="3006"/>
                  <a:pt x="3880" y="2401"/>
                </a:cubicBezTo>
                <a:cubicBezTo>
                  <a:pt x="3880" y="2354"/>
                  <a:pt x="3848" y="2321"/>
                  <a:pt x="3800" y="232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2" name="Freeform: Shape 17">
            <a:extLst>
              <a:ext uri="{FF2B5EF4-FFF2-40B4-BE49-F238E27FC236}">
                <a16:creationId xmlns:a16="http://schemas.microsoft.com/office/drawing/2014/main" id="{AB5A8C5E-3CD7-2C46-A5CE-964C9789B524}"/>
              </a:ext>
            </a:extLst>
          </p:cNvPr>
          <p:cNvSpPr/>
          <p:nvPr/>
        </p:nvSpPr>
        <p:spPr>
          <a:xfrm>
            <a:off x="13708081" y="9948514"/>
            <a:ext cx="1980720" cy="1454040"/>
          </a:xfrm>
          <a:custGeom>
            <a:avLst/>
            <a:gdLst/>
            <a:ahLst/>
            <a:cxnLst>
              <a:cxn ang="3cd4">
                <a:pos x="hc" y="t"/>
              </a:cxn>
              <a:cxn ang="cd2">
                <a:pos x="l" y="vc"/>
              </a:cxn>
              <a:cxn ang="cd4">
                <a:pos x="hc" y="b"/>
              </a:cxn>
              <a:cxn ang="0">
                <a:pos x="r" y="vc"/>
              </a:cxn>
            </a:cxnLst>
            <a:rect l="l" t="t" r="r" b="b"/>
            <a:pathLst>
              <a:path w="5503" h="4040">
                <a:moveTo>
                  <a:pt x="5424" y="0"/>
                </a:moveTo>
                <a:lnTo>
                  <a:pt x="80" y="0"/>
                </a:lnTo>
                <a:cubicBezTo>
                  <a:pt x="32" y="0"/>
                  <a:pt x="0" y="48"/>
                  <a:pt x="0" y="80"/>
                </a:cubicBezTo>
                <a:lnTo>
                  <a:pt x="0" y="3960"/>
                </a:lnTo>
                <a:cubicBezTo>
                  <a:pt x="0" y="3992"/>
                  <a:pt x="32" y="4040"/>
                  <a:pt x="80" y="4040"/>
                </a:cubicBezTo>
                <a:lnTo>
                  <a:pt x="5424" y="4040"/>
                </a:lnTo>
                <a:cubicBezTo>
                  <a:pt x="5471" y="4040"/>
                  <a:pt x="5503" y="3992"/>
                  <a:pt x="5503" y="3960"/>
                </a:cubicBezTo>
                <a:lnTo>
                  <a:pt x="5503" y="80"/>
                </a:lnTo>
                <a:cubicBezTo>
                  <a:pt x="5503" y="48"/>
                  <a:pt x="5471" y="0"/>
                  <a:pt x="5424" y="0"/>
                </a:cubicBezTo>
                <a:close/>
                <a:moveTo>
                  <a:pt x="5344" y="159"/>
                </a:moveTo>
                <a:lnTo>
                  <a:pt x="5344" y="922"/>
                </a:lnTo>
                <a:lnTo>
                  <a:pt x="175" y="922"/>
                </a:lnTo>
                <a:lnTo>
                  <a:pt x="159" y="922"/>
                </a:lnTo>
                <a:lnTo>
                  <a:pt x="159" y="159"/>
                </a:lnTo>
                <a:close/>
                <a:moveTo>
                  <a:pt x="159" y="3881"/>
                </a:moveTo>
                <a:lnTo>
                  <a:pt x="159" y="1082"/>
                </a:lnTo>
                <a:lnTo>
                  <a:pt x="175" y="1082"/>
                </a:lnTo>
                <a:lnTo>
                  <a:pt x="5344" y="1082"/>
                </a:lnTo>
                <a:lnTo>
                  <a:pt x="5344" y="3881"/>
                </a:lnTo>
                <a:close/>
                <a:moveTo>
                  <a:pt x="843" y="573"/>
                </a:moveTo>
                <a:cubicBezTo>
                  <a:pt x="907" y="573"/>
                  <a:pt x="954" y="525"/>
                  <a:pt x="954" y="461"/>
                </a:cubicBezTo>
                <a:cubicBezTo>
                  <a:pt x="954" y="398"/>
                  <a:pt x="907" y="334"/>
                  <a:pt x="843" y="334"/>
                </a:cubicBezTo>
                <a:cubicBezTo>
                  <a:pt x="779" y="334"/>
                  <a:pt x="716" y="398"/>
                  <a:pt x="716" y="461"/>
                </a:cubicBezTo>
                <a:cubicBezTo>
                  <a:pt x="716" y="525"/>
                  <a:pt x="779" y="573"/>
                  <a:pt x="843" y="573"/>
                </a:cubicBezTo>
                <a:close/>
                <a:moveTo>
                  <a:pt x="1304" y="573"/>
                </a:moveTo>
                <a:cubicBezTo>
                  <a:pt x="1368" y="573"/>
                  <a:pt x="1416" y="525"/>
                  <a:pt x="1416" y="461"/>
                </a:cubicBezTo>
                <a:cubicBezTo>
                  <a:pt x="1416" y="398"/>
                  <a:pt x="1368" y="334"/>
                  <a:pt x="1304" y="334"/>
                </a:cubicBezTo>
                <a:cubicBezTo>
                  <a:pt x="1241" y="334"/>
                  <a:pt x="1177" y="398"/>
                  <a:pt x="1177" y="461"/>
                </a:cubicBezTo>
                <a:cubicBezTo>
                  <a:pt x="1177" y="525"/>
                  <a:pt x="1241" y="573"/>
                  <a:pt x="1304" y="573"/>
                </a:cubicBezTo>
                <a:close/>
                <a:moveTo>
                  <a:pt x="1765" y="573"/>
                </a:moveTo>
                <a:cubicBezTo>
                  <a:pt x="1829" y="573"/>
                  <a:pt x="1877" y="525"/>
                  <a:pt x="1877" y="461"/>
                </a:cubicBezTo>
                <a:cubicBezTo>
                  <a:pt x="1877" y="398"/>
                  <a:pt x="1829" y="334"/>
                  <a:pt x="1765" y="334"/>
                </a:cubicBezTo>
                <a:cubicBezTo>
                  <a:pt x="1702" y="334"/>
                  <a:pt x="1638" y="398"/>
                  <a:pt x="1638" y="461"/>
                </a:cubicBezTo>
                <a:cubicBezTo>
                  <a:pt x="1638" y="525"/>
                  <a:pt x="1702" y="573"/>
                  <a:pt x="1765" y="573"/>
                </a:cubicBezTo>
                <a:close/>
                <a:moveTo>
                  <a:pt x="1925" y="2624"/>
                </a:moveTo>
                <a:lnTo>
                  <a:pt x="1781" y="2624"/>
                </a:lnTo>
                <a:lnTo>
                  <a:pt x="1781" y="1845"/>
                </a:lnTo>
                <a:cubicBezTo>
                  <a:pt x="1781" y="1813"/>
                  <a:pt x="1765" y="1797"/>
                  <a:pt x="1734" y="1797"/>
                </a:cubicBezTo>
                <a:lnTo>
                  <a:pt x="1702" y="1797"/>
                </a:lnTo>
                <a:cubicBezTo>
                  <a:pt x="1686" y="1797"/>
                  <a:pt x="1654" y="1797"/>
                  <a:pt x="1654" y="1813"/>
                </a:cubicBezTo>
                <a:lnTo>
                  <a:pt x="938" y="2672"/>
                </a:lnTo>
                <a:cubicBezTo>
                  <a:pt x="922" y="2688"/>
                  <a:pt x="922" y="2704"/>
                  <a:pt x="938" y="2736"/>
                </a:cubicBezTo>
                <a:lnTo>
                  <a:pt x="938" y="2752"/>
                </a:lnTo>
                <a:cubicBezTo>
                  <a:pt x="954" y="2767"/>
                  <a:pt x="970" y="2783"/>
                  <a:pt x="1002" y="2783"/>
                </a:cubicBezTo>
                <a:lnTo>
                  <a:pt x="1638" y="2783"/>
                </a:lnTo>
                <a:lnTo>
                  <a:pt x="1638" y="3038"/>
                </a:lnTo>
                <a:cubicBezTo>
                  <a:pt x="1638" y="3070"/>
                  <a:pt x="1654" y="3086"/>
                  <a:pt x="1686" y="3086"/>
                </a:cubicBezTo>
                <a:lnTo>
                  <a:pt x="1734" y="3086"/>
                </a:lnTo>
                <a:cubicBezTo>
                  <a:pt x="1765" y="3086"/>
                  <a:pt x="1781" y="3070"/>
                  <a:pt x="1781" y="3038"/>
                </a:cubicBezTo>
                <a:lnTo>
                  <a:pt x="1781" y="2783"/>
                </a:lnTo>
                <a:lnTo>
                  <a:pt x="1925" y="2783"/>
                </a:lnTo>
                <a:cubicBezTo>
                  <a:pt x="1956" y="2783"/>
                  <a:pt x="1972" y="2752"/>
                  <a:pt x="1972" y="2720"/>
                </a:cubicBezTo>
                <a:lnTo>
                  <a:pt x="1972" y="2688"/>
                </a:lnTo>
                <a:cubicBezTo>
                  <a:pt x="1972" y="2656"/>
                  <a:pt x="1956" y="2624"/>
                  <a:pt x="1925" y="2624"/>
                </a:cubicBezTo>
                <a:close/>
                <a:moveTo>
                  <a:pt x="1638" y="2083"/>
                </a:moveTo>
                <a:lnTo>
                  <a:pt x="1638" y="2624"/>
                </a:lnTo>
                <a:lnTo>
                  <a:pt x="1177" y="2624"/>
                </a:lnTo>
                <a:close/>
                <a:moveTo>
                  <a:pt x="2783" y="1782"/>
                </a:moveTo>
                <a:cubicBezTo>
                  <a:pt x="2434" y="1782"/>
                  <a:pt x="2243" y="2115"/>
                  <a:pt x="2243" y="2449"/>
                </a:cubicBezTo>
                <a:cubicBezTo>
                  <a:pt x="2243" y="2831"/>
                  <a:pt x="2465" y="3118"/>
                  <a:pt x="2783" y="3118"/>
                </a:cubicBezTo>
                <a:cubicBezTo>
                  <a:pt x="3133" y="3118"/>
                  <a:pt x="3324" y="2783"/>
                  <a:pt x="3324" y="2449"/>
                </a:cubicBezTo>
                <a:cubicBezTo>
                  <a:pt x="3324" y="2052"/>
                  <a:pt x="3101" y="1782"/>
                  <a:pt x="2783" y="1782"/>
                </a:cubicBezTo>
                <a:close/>
                <a:moveTo>
                  <a:pt x="2783" y="2958"/>
                </a:moveTo>
                <a:cubicBezTo>
                  <a:pt x="2529" y="2958"/>
                  <a:pt x="2401" y="2704"/>
                  <a:pt x="2401" y="2449"/>
                </a:cubicBezTo>
                <a:cubicBezTo>
                  <a:pt x="2401" y="2195"/>
                  <a:pt x="2529" y="1940"/>
                  <a:pt x="2783" y="1940"/>
                </a:cubicBezTo>
                <a:cubicBezTo>
                  <a:pt x="3038" y="1940"/>
                  <a:pt x="3165" y="2195"/>
                  <a:pt x="3165" y="2449"/>
                </a:cubicBezTo>
                <a:cubicBezTo>
                  <a:pt x="3165" y="2688"/>
                  <a:pt x="3053" y="2958"/>
                  <a:pt x="2783" y="2958"/>
                </a:cubicBezTo>
                <a:close/>
                <a:moveTo>
                  <a:pt x="4517" y="2624"/>
                </a:moveTo>
                <a:lnTo>
                  <a:pt x="4389" y="2624"/>
                </a:lnTo>
                <a:lnTo>
                  <a:pt x="4389" y="1845"/>
                </a:lnTo>
                <a:cubicBezTo>
                  <a:pt x="4389" y="1813"/>
                  <a:pt x="4358" y="1797"/>
                  <a:pt x="4326" y="1797"/>
                </a:cubicBezTo>
                <a:lnTo>
                  <a:pt x="4294" y="1797"/>
                </a:lnTo>
                <a:cubicBezTo>
                  <a:pt x="4279" y="1797"/>
                  <a:pt x="4262" y="1797"/>
                  <a:pt x="4246" y="1813"/>
                </a:cubicBezTo>
                <a:lnTo>
                  <a:pt x="3547" y="2672"/>
                </a:lnTo>
                <a:cubicBezTo>
                  <a:pt x="3531" y="2688"/>
                  <a:pt x="3531" y="2704"/>
                  <a:pt x="3531" y="2736"/>
                </a:cubicBezTo>
                <a:lnTo>
                  <a:pt x="3547" y="2752"/>
                </a:lnTo>
                <a:cubicBezTo>
                  <a:pt x="3547" y="2767"/>
                  <a:pt x="3579" y="2783"/>
                  <a:pt x="3594" y="2783"/>
                </a:cubicBezTo>
                <a:lnTo>
                  <a:pt x="4231" y="2783"/>
                </a:lnTo>
                <a:lnTo>
                  <a:pt x="4231" y="3038"/>
                </a:lnTo>
                <a:cubicBezTo>
                  <a:pt x="4231" y="3070"/>
                  <a:pt x="4262" y="3086"/>
                  <a:pt x="4294" y="3086"/>
                </a:cubicBezTo>
                <a:lnTo>
                  <a:pt x="4326" y="3086"/>
                </a:lnTo>
                <a:cubicBezTo>
                  <a:pt x="4358" y="3086"/>
                  <a:pt x="4389" y="3070"/>
                  <a:pt x="4389" y="3038"/>
                </a:cubicBezTo>
                <a:lnTo>
                  <a:pt x="4389" y="2783"/>
                </a:lnTo>
                <a:lnTo>
                  <a:pt x="4517" y="2783"/>
                </a:lnTo>
                <a:cubicBezTo>
                  <a:pt x="4549" y="2783"/>
                  <a:pt x="4580" y="2752"/>
                  <a:pt x="4580" y="2720"/>
                </a:cubicBezTo>
                <a:lnTo>
                  <a:pt x="4580" y="2688"/>
                </a:lnTo>
                <a:cubicBezTo>
                  <a:pt x="4580" y="2656"/>
                  <a:pt x="4549" y="2624"/>
                  <a:pt x="4517" y="2624"/>
                </a:cubicBezTo>
                <a:close/>
                <a:moveTo>
                  <a:pt x="4231" y="2068"/>
                </a:moveTo>
                <a:lnTo>
                  <a:pt x="4231" y="2624"/>
                </a:lnTo>
                <a:lnTo>
                  <a:pt x="3770" y="2624"/>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113" name="Freeform: Shape 18">
            <a:extLst>
              <a:ext uri="{FF2B5EF4-FFF2-40B4-BE49-F238E27FC236}">
                <a16:creationId xmlns:a16="http://schemas.microsoft.com/office/drawing/2014/main" id="{0B325D84-0F4E-AF46-903E-D1B27D5D5929}"/>
              </a:ext>
            </a:extLst>
          </p:cNvPr>
          <p:cNvSpPr/>
          <p:nvPr/>
        </p:nvSpPr>
        <p:spPr>
          <a:xfrm>
            <a:off x="21046680" y="9948514"/>
            <a:ext cx="1980720" cy="1454040"/>
          </a:xfrm>
          <a:custGeom>
            <a:avLst/>
            <a:gdLst/>
            <a:ahLst/>
            <a:cxnLst>
              <a:cxn ang="3cd4">
                <a:pos x="hc" y="t"/>
              </a:cxn>
              <a:cxn ang="cd2">
                <a:pos x="l" y="vc"/>
              </a:cxn>
              <a:cxn ang="cd4">
                <a:pos x="hc" y="b"/>
              </a:cxn>
              <a:cxn ang="0">
                <a:pos x="r" y="vc"/>
              </a:cxn>
            </a:cxnLst>
            <a:rect l="l" t="t" r="r" b="b"/>
            <a:pathLst>
              <a:path w="5503" h="4040">
                <a:moveTo>
                  <a:pt x="5423" y="0"/>
                </a:moveTo>
                <a:lnTo>
                  <a:pt x="79" y="0"/>
                </a:lnTo>
                <a:cubicBezTo>
                  <a:pt x="31" y="0"/>
                  <a:pt x="0" y="48"/>
                  <a:pt x="0" y="80"/>
                </a:cubicBezTo>
                <a:lnTo>
                  <a:pt x="0" y="3960"/>
                </a:lnTo>
                <a:cubicBezTo>
                  <a:pt x="0" y="3992"/>
                  <a:pt x="31" y="4040"/>
                  <a:pt x="79" y="4040"/>
                </a:cubicBezTo>
                <a:lnTo>
                  <a:pt x="5423" y="4040"/>
                </a:lnTo>
                <a:cubicBezTo>
                  <a:pt x="5455" y="4040"/>
                  <a:pt x="5503" y="3992"/>
                  <a:pt x="5503" y="3960"/>
                </a:cubicBezTo>
                <a:lnTo>
                  <a:pt x="5503" y="80"/>
                </a:lnTo>
                <a:cubicBezTo>
                  <a:pt x="5503" y="48"/>
                  <a:pt x="5455" y="0"/>
                  <a:pt x="5423" y="0"/>
                </a:cubicBezTo>
                <a:close/>
                <a:moveTo>
                  <a:pt x="5344" y="159"/>
                </a:moveTo>
                <a:lnTo>
                  <a:pt x="5344" y="922"/>
                </a:lnTo>
                <a:lnTo>
                  <a:pt x="175" y="922"/>
                </a:lnTo>
                <a:lnTo>
                  <a:pt x="159" y="922"/>
                </a:lnTo>
                <a:lnTo>
                  <a:pt x="159" y="159"/>
                </a:lnTo>
                <a:close/>
                <a:moveTo>
                  <a:pt x="159" y="3881"/>
                </a:moveTo>
                <a:lnTo>
                  <a:pt x="159" y="1082"/>
                </a:lnTo>
                <a:lnTo>
                  <a:pt x="175" y="1082"/>
                </a:lnTo>
                <a:lnTo>
                  <a:pt x="5344" y="1082"/>
                </a:lnTo>
                <a:lnTo>
                  <a:pt x="5344" y="3881"/>
                </a:lnTo>
                <a:close/>
                <a:moveTo>
                  <a:pt x="827" y="573"/>
                </a:moveTo>
                <a:cubicBezTo>
                  <a:pt x="890" y="573"/>
                  <a:pt x="954" y="525"/>
                  <a:pt x="954" y="461"/>
                </a:cubicBezTo>
                <a:cubicBezTo>
                  <a:pt x="954" y="398"/>
                  <a:pt x="890" y="334"/>
                  <a:pt x="827" y="334"/>
                </a:cubicBezTo>
                <a:cubicBezTo>
                  <a:pt x="763" y="334"/>
                  <a:pt x="715" y="398"/>
                  <a:pt x="715" y="461"/>
                </a:cubicBezTo>
                <a:cubicBezTo>
                  <a:pt x="715" y="525"/>
                  <a:pt x="763" y="573"/>
                  <a:pt x="827" y="573"/>
                </a:cubicBezTo>
                <a:close/>
                <a:moveTo>
                  <a:pt x="1288" y="573"/>
                </a:moveTo>
                <a:cubicBezTo>
                  <a:pt x="1352" y="573"/>
                  <a:pt x="1415" y="525"/>
                  <a:pt x="1415" y="461"/>
                </a:cubicBezTo>
                <a:cubicBezTo>
                  <a:pt x="1415" y="398"/>
                  <a:pt x="1352" y="334"/>
                  <a:pt x="1288" y="334"/>
                </a:cubicBezTo>
                <a:cubicBezTo>
                  <a:pt x="1224" y="334"/>
                  <a:pt x="1176" y="398"/>
                  <a:pt x="1176" y="461"/>
                </a:cubicBezTo>
                <a:cubicBezTo>
                  <a:pt x="1176" y="525"/>
                  <a:pt x="1224" y="573"/>
                  <a:pt x="1288" y="573"/>
                </a:cubicBezTo>
                <a:close/>
                <a:moveTo>
                  <a:pt x="1749" y="573"/>
                </a:moveTo>
                <a:cubicBezTo>
                  <a:pt x="1813" y="573"/>
                  <a:pt x="1876" y="525"/>
                  <a:pt x="1876" y="461"/>
                </a:cubicBezTo>
                <a:cubicBezTo>
                  <a:pt x="1876" y="398"/>
                  <a:pt x="1813" y="334"/>
                  <a:pt x="1749" y="334"/>
                </a:cubicBezTo>
                <a:cubicBezTo>
                  <a:pt x="1685" y="334"/>
                  <a:pt x="1638" y="398"/>
                  <a:pt x="1638" y="461"/>
                </a:cubicBezTo>
                <a:cubicBezTo>
                  <a:pt x="1638" y="525"/>
                  <a:pt x="1685" y="573"/>
                  <a:pt x="1749" y="573"/>
                </a:cubicBezTo>
                <a:close/>
                <a:moveTo>
                  <a:pt x="4405" y="1925"/>
                </a:moveTo>
                <a:cubicBezTo>
                  <a:pt x="4342" y="1925"/>
                  <a:pt x="4278" y="1988"/>
                  <a:pt x="4278" y="2052"/>
                </a:cubicBezTo>
                <a:cubicBezTo>
                  <a:pt x="4278" y="2115"/>
                  <a:pt x="4342" y="2179"/>
                  <a:pt x="4405" y="2179"/>
                </a:cubicBezTo>
                <a:cubicBezTo>
                  <a:pt x="4485" y="2179"/>
                  <a:pt x="4533" y="2115"/>
                  <a:pt x="4533" y="2052"/>
                </a:cubicBezTo>
                <a:cubicBezTo>
                  <a:pt x="4533" y="1988"/>
                  <a:pt x="4485" y="1925"/>
                  <a:pt x="4405" y="1925"/>
                </a:cubicBezTo>
                <a:close/>
                <a:moveTo>
                  <a:pt x="4374" y="3054"/>
                </a:moveTo>
                <a:lnTo>
                  <a:pt x="4342" y="3054"/>
                </a:lnTo>
                <a:lnTo>
                  <a:pt x="4469" y="2401"/>
                </a:lnTo>
                <a:cubicBezTo>
                  <a:pt x="4469" y="2370"/>
                  <a:pt x="4469" y="2338"/>
                  <a:pt x="4453" y="2322"/>
                </a:cubicBezTo>
                <a:cubicBezTo>
                  <a:pt x="4421" y="2306"/>
                  <a:pt x="4405" y="2291"/>
                  <a:pt x="4374" y="2291"/>
                </a:cubicBezTo>
                <a:lnTo>
                  <a:pt x="4230" y="2291"/>
                </a:lnTo>
                <a:cubicBezTo>
                  <a:pt x="4183" y="2291"/>
                  <a:pt x="4135" y="2338"/>
                  <a:pt x="4135" y="2386"/>
                </a:cubicBezTo>
                <a:cubicBezTo>
                  <a:pt x="4135" y="2434"/>
                  <a:pt x="4183" y="2481"/>
                  <a:pt x="4230" y="2481"/>
                </a:cubicBezTo>
                <a:lnTo>
                  <a:pt x="4262" y="2481"/>
                </a:lnTo>
                <a:lnTo>
                  <a:pt x="4135" y="3118"/>
                </a:lnTo>
                <a:cubicBezTo>
                  <a:pt x="4135" y="3149"/>
                  <a:pt x="4135" y="3181"/>
                  <a:pt x="4167" y="3197"/>
                </a:cubicBezTo>
                <a:cubicBezTo>
                  <a:pt x="4183" y="3229"/>
                  <a:pt x="4199" y="3229"/>
                  <a:pt x="4230" y="3229"/>
                </a:cubicBezTo>
                <a:lnTo>
                  <a:pt x="4374" y="3229"/>
                </a:lnTo>
                <a:cubicBezTo>
                  <a:pt x="4421" y="3229"/>
                  <a:pt x="4469" y="3197"/>
                  <a:pt x="4469" y="3149"/>
                </a:cubicBezTo>
                <a:cubicBezTo>
                  <a:pt x="4469" y="3086"/>
                  <a:pt x="4421" y="3054"/>
                  <a:pt x="4374" y="305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240555304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FA7FF-7CCB-AD43-95FB-09B94E37D775}"/>
              </a:ext>
            </a:extLst>
          </p:cNvPr>
          <p:cNvSpPr>
            <a:spLocks noGrp="1"/>
          </p:cNvSpPr>
          <p:nvPr>
            <p:ph type="title"/>
          </p:nvPr>
        </p:nvSpPr>
        <p:spPr/>
        <p:txBody>
          <a:bodyPr/>
          <a:lstStyle/>
          <a:p>
            <a:r>
              <a:rPr lang="en-US" dirty="0"/>
              <a:t>Documents / Windows - 8</a:t>
            </a:r>
          </a:p>
        </p:txBody>
      </p:sp>
      <p:sp>
        <p:nvSpPr>
          <p:cNvPr id="74" name="TextBox 73">
            <a:extLst>
              <a:ext uri="{FF2B5EF4-FFF2-40B4-BE49-F238E27FC236}">
                <a16:creationId xmlns:a16="http://schemas.microsoft.com/office/drawing/2014/main" id="{F51CC7F6-BB9B-DD49-98B5-8A59CAA6B61D}"/>
              </a:ext>
            </a:extLst>
          </p:cNvPr>
          <p:cNvSpPr txBox="1"/>
          <p:nvPr/>
        </p:nvSpPr>
        <p:spPr>
          <a:xfrm>
            <a:off x="1396461" y="5164929"/>
            <a:ext cx="2465738" cy="493084"/>
          </a:xfrm>
          <a:prstGeom prst="rect">
            <a:avLst/>
          </a:prstGeom>
          <a:noFill/>
          <a:ln>
            <a:noFill/>
          </a:ln>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Code</a:t>
            </a:r>
          </a:p>
        </p:txBody>
      </p:sp>
      <p:sp>
        <p:nvSpPr>
          <p:cNvPr id="75" name="TextBox 74">
            <a:extLst>
              <a:ext uri="{FF2B5EF4-FFF2-40B4-BE49-F238E27FC236}">
                <a16:creationId xmlns:a16="http://schemas.microsoft.com/office/drawing/2014/main" id="{DE131957-0178-D743-BFF9-CBA57BB55276}"/>
              </a:ext>
            </a:extLst>
          </p:cNvPr>
          <p:cNvSpPr txBox="1"/>
          <p:nvPr/>
        </p:nvSpPr>
        <p:spPr>
          <a:xfrm>
            <a:off x="5566758" y="5164929"/>
            <a:ext cx="243317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a:t>
            </a:r>
            <a:r>
              <a:rPr lang="en-US" sz="2800" dirty="0" err="1"/>
              <a:t>url</a:t>
            </a:r>
            <a:endParaRPr lang="en-US" sz="2800" dirty="0"/>
          </a:p>
        </p:txBody>
      </p:sp>
      <p:sp>
        <p:nvSpPr>
          <p:cNvPr id="76" name="TextBox 75">
            <a:extLst>
              <a:ext uri="{FF2B5EF4-FFF2-40B4-BE49-F238E27FC236}">
                <a16:creationId xmlns:a16="http://schemas.microsoft.com/office/drawing/2014/main" id="{96AF690E-6A13-2F4A-ABF0-590559630163}"/>
              </a:ext>
            </a:extLst>
          </p:cNvPr>
          <p:cNvSpPr txBox="1"/>
          <p:nvPr/>
        </p:nvSpPr>
        <p:spPr>
          <a:xfrm>
            <a:off x="9084538" y="5164929"/>
            <a:ext cx="3564662"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Split 1</a:t>
            </a:r>
          </a:p>
        </p:txBody>
      </p:sp>
      <p:sp>
        <p:nvSpPr>
          <p:cNvPr id="77" name="TextBox 76">
            <a:extLst>
              <a:ext uri="{FF2B5EF4-FFF2-40B4-BE49-F238E27FC236}">
                <a16:creationId xmlns:a16="http://schemas.microsoft.com/office/drawing/2014/main" id="{BB9DE98D-A14F-4643-B8EC-7F7B241E9053}"/>
              </a:ext>
            </a:extLst>
          </p:cNvPr>
          <p:cNvSpPr txBox="1"/>
          <p:nvPr/>
        </p:nvSpPr>
        <p:spPr>
          <a:xfrm>
            <a:off x="13471996" y="5164929"/>
            <a:ext cx="2621444"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Split 2</a:t>
            </a:r>
          </a:p>
        </p:txBody>
      </p:sp>
      <p:sp>
        <p:nvSpPr>
          <p:cNvPr id="78" name="TextBox 77">
            <a:extLst>
              <a:ext uri="{FF2B5EF4-FFF2-40B4-BE49-F238E27FC236}">
                <a16:creationId xmlns:a16="http://schemas.microsoft.com/office/drawing/2014/main" id="{FB6044BF-2005-3540-B187-EDF360B3D99B}"/>
              </a:ext>
            </a:extLst>
          </p:cNvPr>
          <p:cNvSpPr txBox="1"/>
          <p:nvPr/>
        </p:nvSpPr>
        <p:spPr>
          <a:xfrm>
            <a:off x="20809186" y="5164929"/>
            <a:ext cx="249254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Split 4</a:t>
            </a:r>
          </a:p>
        </p:txBody>
      </p:sp>
      <p:sp>
        <p:nvSpPr>
          <p:cNvPr id="79" name="TextBox 78">
            <a:extLst>
              <a:ext uri="{FF2B5EF4-FFF2-40B4-BE49-F238E27FC236}">
                <a16:creationId xmlns:a16="http://schemas.microsoft.com/office/drawing/2014/main" id="{4B457617-9D1F-9A48-9A27-50DD84E0873A}"/>
              </a:ext>
            </a:extLst>
          </p:cNvPr>
          <p:cNvSpPr txBox="1"/>
          <p:nvPr/>
        </p:nvSpPr>
        <p:spPr>
          <a:xfrm>
            <a:off x="717140" y="8292956"/>
            <a:ext cx="382438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Circle</a:t>
            </a:r>
          </a:p>
        </p:txBody>
      </p:sp>
      <p:sp>
        <p:nvSpPr>
          <p:cNvPr id="80" name="Freeform: Shape 26">
            <a:extLst>
              <a:ext uri="{FF2B5EF4-FFF2-40B4-BE49-F238E27FC236}">
                <a16:creationId xmlns:a16="http://schemas.microsoft.com/office/drawing/2014/main" id="{CCCEA790-2E41-EF41-A038-E651C52A4E22}"/>
              </a:ext>
            </a:extLst>
          </p:cNvPr>
          <p:cNvSpPr/>
          <p:nvPr/>
        </p:nvSpPr>
        <p:spPr>
          <a:xfrm>
            <a:off x="10866869" y="4021634"/>
            <a:ext cx="0" cy="0"/>
          </a:xfrm>
          <a:custGeom>
            <a:avLst/>
            <a:gdLst/>
            <a:ahLst/>
            <a:cxnLst>
              <a:cxn ang="3cd4">
                <a:pos x="hc" y="t"/>
              </a:cxn>
              <a:cxn ang="cd2">
                <a:pos x="l" y="vc"/>
              </a:cxn>
              <a:cxn ang="cd4">
                <a:pos x="hc" y="b"/>
              </a:cxn>
              <a:cxn ang="0">
                <a:pos x="r" y="vc"/>
              </a:cxn>
            </a:cxnLst>
            <a:rect l="l" t="t" r="r" b="b"/>
            <a:pathLst>
              <a:path>
                <a:moveTo>
                  <a:pt x="0" y="0"/>
                </a:move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1" name="TextBox 80">
            <a:extLst>
              <a:ext uri="{FF2B5EF4-FFF2-40B4-BE49-F238E27FC236}">
                <a16:creationId xmlns:a16="http://schemas.microsoft.com/office/drawing/2014/main" id="{0C91CAE7-0D4A-4340-B85C-E12537D8E17D}"/>
              </a:ext>
            </a:extLst>
          </p:cNvPr>
          <p:cNvSpPr txBox="1"/>
          <p:nvPr/>
        </p:nvSpPr>
        <p:spPr>
          <a:xfrm>
            <a:off x="16697542" y="5164929"/>
            <a:ext cx="3241460" cy="493084"/>
          </a:xfrm>
          <a:prstGeom prst="rect">
            <a:avLst/>
          </a:prstGeom>
          <a:noFill/>
        </p:spPr>
        <p:txBody>
          <a:bodyPr wrap="square">
            <a:spAutoFit/>
          </a:bodyPr>
          <a:lstStyle/>
          <a:p>
            <a:pPr algn="ctr" defTabSz="363858" eaLnBrk="1">
              <a:lnSpc>
                <a:spcPct val="93000"/>
              </a:lnSpc>
              <a:buClr>
                <a:srgbClr val="000000"/>
              </a:buClr>
              <a:buSzPct val="100000"/>
              <a:buFont typeface="Times New Roman" charset="0"/>
              <a:buNone/>
              <a:defRPr/>
            </a:pPr>
            <a:r>
              <a:rPr lang="en-US" sz="2800" dirty="0"/>
              <a:t>Screen Split 3</a:t>
            </a:r>
          </a:p>
        </p:txBody>
      </p:sp>
      <p:sp>
        <p:nvSpPr>
          <p:cNvPr id="82" name="Freeform: Shape 3">
            <a:extLst>
              <a:ext uri="{FF2B5EF4-FFF2-40B4-BE49-F238E27FC236}">
                <a16:creationId xmlns:a16="http://schemas.microsoft.com/office/drawing/2014/main" id="{C93CB540-363D-6E42-9833-B72E933E96E4}"/>
              </a:ext>
            </a:extLst>
          </p:cNvPr>
          <p:cNvSpPr/>
          <p:nvPr/>
        </p:nvSpPr>
        <p:spPr>
          <a:xfrm>
            <a:off x="1940447" y="6461201"/>
            <a:ext cx="1442519" cy="1442519"/>
          </a:xfrm>
          <a:custGeom>
            <a:avLst/>
            <a:gdLst/>
            <a:ahLst/>
            <a:cxnLst>
              <a:cxn ang="3cd4">
                <a:pos x="hc" y="t"/>
              </a:cxn>
              <a:cxn ang="cd2">
                <a:pos x="l" y="vc"/>
              </a:cxn>
              <a:cxn ang="cd4">
                <a:pos x="hc" y="b"/>
              </a:cxn>
              <a:cxn ang="0">
                <a:pos x="r" y="vc"/>
              </a:cxn>
            </a:cxnLst>
            <a:rect l="l" t="t" r="r" b="b"/>
            <a:pathLst>
              <a:path w="4008" h="4008">
                <a:moveTo>
                  <a:pt x="2004" y="0"/>
                </a:moveTo>
                <a:cubicBezTo>
                  <a:pt x="907" y="0"/>
                  <a:pt x="0" y="907"/>
                  <a:pt x="0" y="2004"/>
                </a:cubicBezTo>
                <a:cubicBezTo>
                  <a:pt x="0" y="3101"/>
                  <a:pt x="907" y="4008"/>
                  <a:pt x="2004" y="4008"/>
                </a:cubicBezTo>
                <a:cubicBezTo>
                  <a:pt x="3117" y="4008"/>
                  <a:pt x="4008" y="3101"/>
                  <a:pt x="4008" y="2004"/>
                </a:cubicBezTo>
                <a:cubicBezTo>
                  <a:pt x="4008" y="907"/>
                  <a:pt x="3117" y="0"/>
                  <a:pt x="2004" y="0"/>
                </a:cubicBezTo>
                <a:close/>
                <a:moveTo>
                  <a:pt x="2004" y="3849"/>
                </a:moveTo>
                <a:cubicBezTo>
                  <a:pt x="986" y="3849"/>
                  <a:pt x="159" y="3022"/>
                  <a:pt x="159" y="2004"/>
                </a:cubicBezTo>
                <a:cubicBezTo>
                  <a:pt x="159" y="986"/>
                  <a:pt x="986" y="159"/>
                  <a:pt x="2004" y="159"/>
                </a:cubicBezTo>
                <a:cubicBezTo>
                  <a:pt x="3022" y="159"/>
                  <a:pt x="3849" y="986"/>
                  <a:pt x="3849" y="2004"/>
                </a:cubicBezTo>
                <a:cubicBezTo>
                  <a:pt x="3849" y="3022"/>
                  <a:pt x="3022" y="3849"/>
                  <a:pt x="2004" y="3849"/>
                </a:cubicBezTo>
                <a:close/>
                <a:moveTo>
                  <a:pt x="3022" y="716"/>
                </a:moveTo>
                <a:lnTo>
                  <a:pt x="1765" y="716"/>
                </a:lnTo>
                <a:cubicBezTo>
                  <a:pt x="1717" y="716"/>
                  <a:pt x="1686" y="747"/>
                  <a:pt x="1686" y="795"/>
                </a:cubicBezTo>
                <a:lnTo>
                  <a:pt x="1686" y="1129"/>
                </a:lnTo>
                <a:lnTo>
                  <a:pt x="1208" y="1129"/>
                </a:lnTo>
                <a:cubicBezTo>
                  <a:pt x="1161" y="1129"/>
                  <a:pt x="1129" y="1161"/>
                  <a:pt x="1129" y="1209"/>
                </a:cubicBezTo>
                <a:lnTo>
                  <a:pt x="1129" y="3308"/>
                </a:lnTo>
                <a:cubicBezTo>
                  <a:pt x="1129" y="3356"/>
                  <a:pt x="1161" y="3388"/>
                  <a:pt x="1208" y="3388"/>
                </a:cubicBezTo>
                <a:lnTo>
                  <a:pt x="2608" y="3388"/>
                </a:lnTo>
                <a:cubicBezTo>
                  <a:pt x="2640" y="3388"/>
                  <a:pt x="2688" y="3356"/>
                  <a:pt x="2688" y="3308"/>
                </a:cubicBezTo>
                <a:lnTo>
                  <a:pt x="2688" y="2974"/>
                </a:lnTo>
                <a:lnTo>
                  <a:pt x="3022" y="2974"/>
                </a:lnTo>
                <a:cubicBezTo>
                  <a:pt x="3070" y="2974"/>
                  <a:pt x="3101" y="2927"/>
                  <a:pt x="3101" y="2895"/>
                </a:cubicBezTo>
                <a:lnTo>
                  <a:pt x="3101" y="795"/>
                </a:lnTo>
                <a:cubicBezTo>
                  <a:pt x="3101" y="747"/>
                  <a:pt x="3070" y="716"/>
                  <a:pt x="3022" y="716"/>
                </a:cubicBezTo>
                <a:close/>
                <a:moveTo>
                  <a:pt x="2529" y="1288"/>
                </a:moveTo>
                <a:lnTo>
                  <a:pt x="2529" y="1543"/>
                </a:lnTo>
                <a:lnTo>
                  <a:pt x="1288" y="1543"/>
                </a:lnTo>
                <a:lnTo>
                  <a:pt x="1288" y="1288"/>
                </a:lnTo>
                <a:close/>
                <a:moveTo>
                  <a:pt x="2529" y="3229"/>
                </a:moveTo>
                <a:lnTo>
                  <a:pt x="1288" y="3229"/>
                </a:lnTo>
                <a:lnTo>
                  <a:pt x="1288" y="1702"/>
                </a:lnTo>
                <a:lnTo>
                  <a:pt x="2529" y="1702"/>
                </a:lnTo>
                <a:close/>
                <a:moveTo>
                  <a:pt x="2942" y="2815"/>
                </a:moveTo>
                <a:lnTo>
                  <a:pt x="2688" y="2815"/>
                </a:lnTo>
                <a:lnTo>
                  <a:pt x="2688" y="1209"/>
                </a:lnTo>
                <a:cubicBezTo>
                  <a:pt x="2688" y="1161"/>
                  <a:pt x="2640" y="1129"/>
                  <a:pt x="2608" y="1129"/>
                </a:cubicBezTo>
                <a:lnTo>
                  <a:pt x="1845" y="1129"/>
                </a:lnTo>
                <a:lnTo>
                  <a:pt x="1845" y="875"/>
                </a:lnTo>
                <a:lnTo>
                  <a:pt x="2942" y="875"/>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3" name="Freeform: Shape 6">
            <a:extLst>
              <a:ext uri="{FF2B5EF4-FFF2-40B4-BE49-F238E27FC236}">
                <a16:creationId xmlns:a16="http://schemas.microsoft.com/office/drawing/2014/main" id="{6A421B1F-DB5D-C34E-A5C8-8980526B4BBF}"/>
              </a:ext>
            </a:extLst>
          </p:cNvPr>
          <p:cNvSpPr/>
          <p:nvPr/>
        </p:nvSpPr>
        <p:spPr>
          <a:xfrm>
            <a:off x="10104980" y="3211275"/>
            <a:ext cx="1447919" cy="1534319"/>
          </a:xfrm>
          <a:custGeom>
            <a:avLst/>
            <a:gdLst/>
            <a:ahLst/>
            <a:cxnLst>
              <a:cxn ang="3cd4">
                <a:pos x="hc" y="t"/>
              </a:cxn>
              <a:cxn ang="cd2">
                <a:pos x="l" y="vc"/>
              </a:cxn>
              <a:cxn ang="cd4">
                <a:pos x="hc" y="b"/>
              </a:cxn>
              <a:cxn ang="0">
                <a:pos x="r" y="vc"/>
              </a:cxn>
            </a:cxnLst>
            <a:rect l="l" t="t" r="r" b="b"/>
            <a:pathLst>
              <a:path w="4023" h="4263">
                <a:moveTo>
                  <a:pt x="4023" y="4199"/>
                </a:moveTo>
                <a:lnTo>
                  <a:pt x="4023" y="2672"/>
                </a:lnTo>
                <a:lnTo>
                  <a:pt x="4023" y="1750"/>
                </a:lnTo>
                <a:lnTo>
                  <a:pt x="4023" y="1003"/>
                </a:lnTo>
                <a:lnTo>
                  <a:pt x="4023" y="987"/>
                </a:lnTo>
                <a:lnTo>
                  <a:pt x="4023" y="80"/>
                </a:lnTo>
                <a:cubicBezTo>
                  <a:pt x="4023" y="33"/>
                  <a:pt x="3992" y="0"/>
                  <a:pt x="3944" y="0"/>
                </a:cubicBezTo>
                <a:lnTo>
                  <a:pt x="79" y="0"/>
                </a:lnTo>
                <a:cubicBezTo>
                  <a:pt x="31" y="0"/>
                  <a:pt x="0" y="33"/>
                  <a:pt x="0" y="80"/>
                </a:cubicBezTo>
                <a:lnTo>
                  <a:pt x="0" y="987"/>
                </a:lnTo>
                <a:lnTo>
                  <a:pt x="0" y="1003"/>
                </a:lnTo>
                <a:lnTo>
                  <a:pt x="0" y="1750"/>
                </a:lnTo>
                <a:lnTo>
                  <a:pt x="0" y="2672"/>
                </a:lnTo>
                <a:lnTo>
                  <a:pt x="0" y="4199"/>
                </a:lnTo>
                <a:cubicBezTo>
                  <a:pt x="0" y="4231"/>
                  <a:pt x="31" y="4263"/>
                  <a:pt x="79" y="4263"/>
                </a:cubicBezTo>
                <a:lnTo>
                  <a:pt x="3944" y="4263"/>
                </a:lnTo>
                <a:cubicBezTo>
                  <a:pt x="3992" y="4263"/>
                  <a:pt x="4023" y="4231"/>
                  <a:pt x="4023" y="4199"/>
                </a:cubicBezTo>
                <a:close/>
                <a:moveTo>
                  <a:pt x="158" y="1082"/>
                </a:moveTo>
                <a:lnTo>
                  <a:pt x="3865" y="1082"/>
                </a:lnTo>
                <a:lnTo>
                  <a:pt x="3865" y="1671"/>
                </a:lnTo>
                <a:lnTo>
                  <a:pt x="158" y="1671"/>
                </a:lnTo>
                <a:close/>
                <a:moveTo>
                  <a:pt x="158" y="1830"/>
                </a:moveTo>
                <a:lnTo>
                  <a:pt x="3865" y="1830"/>
                </a:lnTo>
                <a:lnTo>
                  <a:pt x="3865" y="2593"/>
                </a:lnTo>
                <a:lnTo>
                  <a:pt x="158" y="2593"/>
                </a:lnTo>
                <a:close/>
                <a:moveTo>
                  <a:pt x="3865" y="160"/>
                </a:moveTo>
                <a:lnTo>
                  <a:pt x="3865" y="907"/>
                </a:lnTo>
                <a:lnTo>
                  <a:pt x="158" y="907"/>
                </a:lnTo>
                <a:lnTo>
                  <a:pt x="158" y="160"/>
                </a:lnTo>
                <a:close/>
                <a:moveTo>
                  <a:pt x="158" y="4120"/>
                </a:moveTo>
                <a:lnTo>
                  <a:pt x="158" y="2752"/>
                </a:lnTo>
                <a:lnTo>
                  <a:pt x="3865" y="2752"/>
                </a:lnTo>
                <a:lnTo>
                  <a:pt x="3865" y="4120"/>
                </a:lnTo>
                <a:close/>
                <a:moveTo>
                  <a:pt x="842" y="557"/>
                </a:moveTo>
                <a:cubicBezTo>
                  <a:pt x="906" y="557"/>
                  <a:pt x="954" y="509"/>
                  <a:pt x="954" y="446"/>
                </a:cubicBezTo>
                <a:cubicBezTo>
                  <a:pt x="954" y="382"/>
                  <a:pt x="906" y="335"/>
                  <a:pt x="842" y="335"/>
                </a:cubicBezTo>
                <a:cubicBezTo>
                  <a:pt x="779" y="335"/>
                  <a:pt x="715" y="382"/>
                  <a:pt x="715" y="446"/>
                </a:cubicBezTo>
                <a:cubicBezTo>
                  <a:pt x="715" y="509"/>
                  <a:pt x="779" y="557"/>
                  <a:pt x="842" y="557"/>
                </a:cubicBezTo>
                <a:close/>
                <a:moveTo>
                  <a:pt x="1304" y="557"/>
                </a:moveTo>
                <a:cubicBezTo>
                  <a:pt x="1367" y="557"/>
                  <a:pt x="1415" y="509"/>
                  <a:pt x="1415" y="446"/>
                </a:cubicBezTo>
                <a:cubicBezTo>
                  <a:pt x="1415" y="382"/>
                  <a:pt x="1367" y="335"/>
                  <a:pt x="1304" y="335"/>
                </a:cubicBezTo>
                <a:cubicBezTo>
                  <a:pt x="1240" y="335"/>
                  <a:pt x="1176" y="382"/>
                  <a:pt x="1176" y="446"/>
                </a:cubicBezTo>
                <a:cubicBezTo>
                  <a:pt x="1176" y="509"/>
                  <a:pt x="1240" y="557"/>
                  <a:pt x="1304" y="557"/>
                </a:cubicBezTo>
                <a:close/>
                <a:moveTo>
                  <a:pt x="1765" y="557"/>
                </a:moveTo>
                <a:cubicBezTo>
                  <a:pt x="1829" y="557"/>
                  <a:pt x="1876" y="509"/>
                  <a:pt x="1876" y="446"/>
                </a:cubicBezTo>
                <a:cubicBezTo>
                  <a:pt x="1876" y="382"/>
                  <a:pt x="1829" y="335"/>
                  <a:pt x="1765" y="335"/>
                </a:cubicBezTo>
                <a:cubicBezTo>
                  <a:pt x="1702" y="335"/>
                  <a:pt x="1638" y="382"/>
                  <a:pt x="1638" y="446"/>
                </a:cubicBezTo>
                <a:cubicBezTo>
                  <a:pt x="1638" y="509"/>
                  <a:pt x="1702" y="557"/>
                  <a:pt x="1765" y="557"/>
                </a:cubicBezTo>
                <a:close/>
                <a:moveTo>
                  <a:pt x="842" y="2005"/>
                </a:moveTo>
                <a:cubicBezTo>
                  <a:pt x="779" y="2005"/>
                  <a:pt x="715" y="2053"/>
                  <a:pt x="715" y="2116"/>
                </a:cubicBezTo>
                <a:cubicBezTo>
                  <a:pt x="715" y="2180"/>
                  <a:pt x="779" y="2227"/>
                  <a:pt x="842" y="2227"/>
                </a:cubicBezTo>
                <a:cubicBezTo>
                  <a:pt x="906" y="2227"/>
                  <a:pt x="954" y="2180"/>
                  <a:pt x="954" y="2116"/>
                </a:cubicBezTo>
                <a:cubicBezTo>
                  <a:pt x="954" y="2053"/>
                  <a:pt x="906" y="2005"/>
                  <a:pt x="842" y="2005"/>
                </a:cubicBezTo>
                <a:close/>
                <a:moveTo>
                  <a:pt x="1304" y="2005"/>
                </a:moveTo>
                <a:cubicBezTo>
                  <a:pt x="1240" y="2005"/>
                  <a:pt x="1176" y="2053"/>
                  <a:pt x="1176" y="2116"/>
                </a:cubicBezTo>
                <a:cubicBezTo>
                  <a:pt x="1176" y="2180"/>
                  <a:pt x="1240" y="2227"/>
                  <a:pt x="1304" y="2227"/>
                </a:cubicBezTo>
                <a:cubicBezTo>
                  <a:pt x="1367" y="2227"/>
                  <a:pt x="1415" y="2180"/>
                  <a:pt x="1415" y="2116"/>
                </a:cubicBezTo>
                <a:cubicBezTo>
                  <a:pt x="1415" y="2053"/>
                  <a:pt x="1367" y="2005"/>
                  <a:pt x="1304" y="2005"/>
                </a:cubicBezTo>
                <a:close/>
                <a:moveTo>
                  <a:pt x="1765" y="2005"/>
                </a:moveTo>
                <a:cubicBezTo>
                  <a:pt x="1702" y="2005"/>
                  <a:pt x="1638" y="2053"/>
                  <a:pt x="1638" y="2116"/>
                </a:cubicBezTo>
                <a:cubicBezTo>
                  <a:pt x="1638" y="2180"/>
                  <a:pt x="1702" y="2227"/>
                  <a:pt x="1765" y="2227"/>
                </a:cubicBezTo>
                <a:cubicBezTo>
                  <a:pt x="1829" y="2227"/>
                  <a:pt x="1876" y="2180"/>
                  <a:pt x="1876" y="2116"/>
                </a:cubicBezTo>
                <a:cubicBezTo>
                  <a:pt x="1876" y="2053"/>
                  <a:pt x="1829" y="2005"/>
                  <a:pt x="1765" y="200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4" name="Freeform: Shape 7">
            <a:extLst>
              <a:ext uri="{FF2B5EF4-FFF2-40B4-BE49-F238E27FC236}">
                <a16:creationId xmlns:a16="http://schemas.microsoft.com/office/drawing/2014/main" id="{D7754CA8-E722-7746-8976-EC2C4D8A6CB2}"/>
              </a:ext>
            </a:extLst>
          </p:cNvPr>
          <p:cNvSpPr/>
          <p:nvPr/>
        </p:nvSpPr>
        <p:spPr>
          <a:xfrm>
            <a:off x="17439398" y="3294794"/>
            <a:ext cx="1448280" cy="1448280"/>
          </a:xfrm>
          <a:custGeom>
            <a:avLst/>
            <a:gdLst/>
            <a:ahLst/>
            <a:cxnLst>
              <a:cxn ang="3cd4">
                <a:pos x="hc" y="t"/>
              </a:cxn>
              <a:cxn ang="cd2">
                <a:pos x="l" y="vc"/>
              </a:cxn>
              <a:cxn ang="cd4">
                <a:pos x="hc" y="b"/>
              </a:cxn>
              <a:cxn ang="0">
                <a:pos x="r" y="vc"/>
              </a:cxn>
            </a:cxnLst>
            <a:rect l="l" t="t" r="r" b="b"/>
            <a:pathLst>
              <a:path w="4024" h="4024">
                <a:moveTo>
                  <a:pt x="3944" y="0"/>
                </a:moveTo>
                <a:lnTo>
                  <a:pt x="79" y="0"/>
                </a:lnTo>
                <a:cubicBezTo>
                  <a:pt x="31" y="0"/>
                  <a:pt x="0" y="48"/>
                  <a:pt x="0" y="80"/>
                </a:cubicBezTo>
                <a:lnTo>
                  <a:pt x="0" y="1002"/>
                </a:lnTo>
                <a:lnTo>
                  <a:pt x="0" y="3960"/>
                </a:lnTo>
                <a:cubicBezTo>
                  <a:pt x="0" y="3992"/>
                  <a:pt x="31" y="4024"/>
                  <a:pt x="79" y="4024"/>
                </a:cubicBezTo>
                <a:lnTo>
                  <a:pt x="3944" y="4024"/>
                </a:lnTo>
                <a:cubicBezTo>
                  <a:pt x="3992" y="4024"/>
                  <a:pt x="4024" y="3992"/>
                  <a:pt x="4024" y="3960"/>
                </a:cubicBezTo>
                <a:lnTo>
                  <a:pt x="4024" y="1002"/>
                </a:lnTo>
                <a:lnTo>
                  <a:pt x="4024" y="80"/>
                </a:lnTo>
                <a:cubicBezTo>
                  <a:pt x="4024" y="48"/>
                  <a:pt x="3992" y="0"/>
                  <a:pt x="3944" y="0"/>
                </a:cubicBezTo>
                <a:close/>
                <a:moveTo>
                  <a:pt x="3864" y="923"/>
                </a:moveTo>
                <a:lnTo>
                  <a:pt x="2592" y="923"/>
                </a:lnTo>
                <a:lnTo>
                  <a:pt x="2592" y="159"/>
                </a:lnTo>
                <a:lnTo>
                  <a:pt x="3864" y="159"/>
                </a:lnTo>
                <a:close/>
                <a:moveTo>
                  <a:pt x="159" y="159"/>
                </a:moveTo>
                <a:lnTo>
                  <a:pt x="2433" y="159"/>
                </a:lnTo>
                <a:lnTo>
                  <a:pt x="2433" y="923"/>
                </a:lnTo>
                <a:lnTo>
                  <a:pt x="159" y="923"/>
                </a:lnTo>
                <a:close/>
                <a:moveTo>
                  <a:pt x="159" y="1082"/>
                </a:moveTo>
                <a:lnTo>
                  <a:pt x="2433" y="1082"/>
                </a:lnTo>
                <a:lnTo>
                  <a:pt x="2433" y="3881"/>
                </a:lnTo>
                <a:lnTo>
                  <a:pt x="159" y="3881"/>
                </a:lnTo>
                <a:close/>
                <a:moveTo>
                  <a:pt x="2592" y="3881"/>
                </a:moveTo>
                <a:lnTo>
                  <a:pt x="2592" y="1082"/>
                </a:lnTo>
                <a:lnTo>
                  <a:pt x="3864" y="1082"/>
                </a:lnTo>
                <a:lnTo>
                  <a:pt x="3864" y="3881"/>
                </a:lnTo>
                <a:close/>
                <a:moveTo>
                  <a:pt x="827" y="334"/>
                </a:moveTo>
                <a:cubicBezTo>
                  <a:pt x="763" y="334"/>
                  <a:pt x="715" y="382"/>
                  <a:pt x="715" y="445"/>
                </a:cubicBezTo>
                <a:cubicBezTo>
                  <a:pt x="715" y="525"/>
                  <a:pt x="763" y="573"/>
                  <a:pt x="827" y="573"/>
                </a:cubicBezTo>
                <a:cubicBezTo>
                  <a:pt x="890" y="573"/>
                  <a:pt x="954" y="525"/>
                  <a:pt x="954" y="445"/>
                </a:cubicBezTo>
                <a:cubicBezTo>
                  <a:pt x="954" y="382"/>
                  <a:pt x="890" y="334"/>
                  <a:pt x="827" y="334"/>
                </a:cubicBezTo>
                <a:close/>
                <a:moveTo>
                  <a:pt x="1288" y="334"/>
                </a:moveTo>
                <a:cubicBezTo>
                  <a:pt x="1224" y="334"/>
                  <a:pt x="1177" y="382"/>
                  <a:pt x="1177" y="445"/>
                </a:cubicBezTo>
                <a:cubicBezTo>
                  <a:pt x="1177" y="525"/>
                  <a:pt x="1224" y="573"/>
                  <a:pt x="1288" y="573"/>
                </a:cubicBezTo>
                <a:cubicBezTo>
                  <a:pt x="1352" y="573"/>
                  <a:pt x="1415" y="525"/>
                  <a:pt x="1415" y="445"/>
                </a:cubicBezTo>
                <a:cubicBezTo>
                  <a:pt x="1415" y="382"/>
                  <a:pt x="1352" y="334"/>
                  <a:pt x="1288" y="334"/>
                </a:cubicBezTo>
                <a:close/>
                <a:moveTo>
                  <a:pt x="1749" y="334"/>
                </a:moveTo>
                <a:cubicBezTo>
                  <a:pt x="1685" y="334"/>
                  <a:pt x="1638" y="382"/>
                  <a:pt x="1638" y="445"/>
                </a:cubicBezTo>
                <a:cubicBezTo>
                  <a:pt x="1638" y="525"/>
                  <a:pt x="1685" y="573"/>
                  <a:pt x="1749" y="573"/>
                </a:cubicBezTo>
                <a:cubicBezTo>
                  <a:pt x="1813" y="573"/>
                  <a:pt x="1876" y="525"/>
                  <a:pt x="1876" y="445"/>
                </a:cubicBezTo>
                <a:cubicBezTo>
                  <a:pt x="1876" y="382"/>
                  <a:pt x="1813" y="334"/>
                  <a:pt x="1749" y="33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5" name="Freeform: Shape 8">
            <a:extLst>
              <a:ext uri="{FF2B5EF4-FFF2-40B4-BE49-F238E27FC236}">
                <a16:creationId xmlns:a16="http://schemas.microsoft.com/office/drawing/2014/main" id="{2CABCE61-E0FA-E74E-BB43-3BD42E33075B}"/>
              </a:ext>
            </a:extLst>
          </p:cNvPr>
          <p:cNvSpPr/>
          <p:nvPr/>
        </p:nvSpPr>
        <p:spPr>
          <a:xfrm>
            <a:off x="13793941" y="3297675"/>
            <a:ext cx="1808999" cy="1447919"/>
          </a:xfrm>
          <a:custGeom>
            <a:avLst/>
            <a:gdLst/>
            <a:ahLst/>
            <a:cxnLst>
              <a:cxn ang="3cd4">
                <a:pos x="hc" y="t"/>
              </a:cxn>
              <a:cxn ang="cd2">
                <a:pos x="l" y="vc"/>
              </a:cxn>
              <a:cxn ang="cd4">
                <a:pos x="hc" y="b"/>
              </a:cxn>
              <a:cxn ang="0">
                <a:pos x="r" y="vc"/>
              </a:cxn>
            </a:cxnLst>
            <a:rect l="l" t="t" r="r" b="b"/>
            <a:pathLst>
              <a:path w="5026" h="4023">
                <a:moveTo>
                  <a:pt x="827" y="333"/>
                </a:moveTo>
                <a:cubicBezTo>
                  <a:pt x="763" y="333"/>
                  <a:pt x="715" y="381"/>
                  <a:pt x="715" y="445"/>
                </a:cubicBezTo>
                <a:cubicBezTo>
                  <a:pt x="715" y="508"/>
                  <a:pt x="763" y="572"/>
                  <a:pt x="827" y="572"/>
                </a:cubicBezTo>
                <a:cubicBezTo>
                  <a:pt x="891" y="572"/>
                  <a:pt x="938" y="508"/>
                  <a:pt x="938" y="445"/>
                </a:cubicBezTo>
                <a:cubicBezTo>
                  <a:pt x="938" y="381"/>
                  <a:pt x="891" y="333"/>
                  <a:pt x="827" y="333"/>
                </a:cubicBezTo>
                <a:close/>
                <a:moveTo>
                  <a:pt x="1288" y="333"/>
                </a:moveTo>
                <a:cubicBezTo>
                  <a:pt x="1224" y="333"/>
                  <a:pt x="1177" y="381"/>
                  <a:pt x="1177" y="445"/>
                </a:cubicBezTo>
                <a:cubicBezTo>
                  <a:pt x="1177" y="508"/>
                  <a:pt x="1224" y="572"/>
                  <a:pt x="1288" y="572"/>
                </a:cubicBezTo>
                <a:cubicBezTo>
                  <a:pt x="1352" y="572"/>
                  <a:pt x="1400" y="508"/>
                  <a:pt x="1400" y="445"/>
                </a:cubicBezTo>
                <a:cubicBezTo>
                  <a:pt x="1400" y="381"/>
                  <a:pt x="1352" y="333"/>
                  <a:pt x="1288" y="333"/>
                </a:cubicBezTo>
                <a:close/>
                <a:moveTo>
                  <a:pt x="1749" y="333"/>
                </a:moveTo>
                <a:cubicBezTo>
                  <a:pt x="1686" y="333"/>
                  <a:pt x="1638" y="381"/>
                  <a:pt x="1638" y="445"/>
                </a:cubicBezTo>
                <a:cubicBezTo>
                  <a:pt x="1638" y="508"/>
                  <a:pt x="1686" y="572"/>
                  <a:pt x="1749" y="572"/>
                </a:cubicBezTo>
                <a:cubicBezTo>
                  <a:pt x="1813" y="572"/>
                  <a:pt x="1861" y="508"/>
                  <a:pt x="1861" y="445"/>
                </a:cubicBezTo>
                <a:cubicBezTo>
                  <a:pt x="1861" y="381"/>
                  <a:pt x="1813" y="333"/>
                  <a:pt x="1749" y="333"/>
                </a:cubicBezTo>
                <a:close/>
                <a:moveTo>
                  <a:pt x="4946" y="0"/>
                </a:moveTo>
                <a:lnTo>
                  <a:pt x="2513" y="0"/>
                </a:lnTo>
                <a:lnTo>
                  <a:pt x="79" y="0"/>
                </a:lnTo>
                <a:cubicBezTo>
                  <a:pt x="31" y="0"/>
                  <a:pt x="0" y="31"/>
                  <a:pt x="0" y="79"/>
                </a:cubicBezTo>
                <a:lnTo>
                  <a:pt x="0" y="1002"/>
                </a:lnTo>
                <a:lnTo>
                  <a:pt x="0" y="3944"/>
                </a:lnTo>
                <a:cubicBezTo>
                  <a:pt x="0" y="3992"/>
                  <a:pt x="31" y="4023"/>
                  <a:pt x="79" y="4023"/>
                </a:cubicBezTo>
                <a:lnTo>
                  <a:pt x="2513" y="4023"/>
                </a:lnTo>
                <a:lnTo>
                  <a:pt x="4946" y="4023"/>
                </a:lnTo>
                <a:cubicBezTo>
                  <a:pt x="4994" y="4023"/>
                  <a:pt x="5026" y="3992"/>
                  <a:pt x="5026" y="3944"/>
                </a:cubicBezTo>
                <a:lnTo>
                  <a:pt x="5026" y="1002"/>
                </a:lnTo>
                <a:lnTo>
                  <a:pt x="5026" y="79"/>
                </a:lnTo>
                <a:cubicBezTo>
                  <a:pt x="5026" y="31"/>
                  <a:pt x="4994" y="0"/>
                  <a:pt x="4946" y="0"/>
                </a:cubicBezTo>
                <a:close/>
                <a:moveTo>
                  <a:pt x="4867" y="922"/>
                </a:moveTo>
                <a:lnTo>
                  <a:pt x="2593" y="922"/>
                </a:lnTo>
                <a:lnTo>
                  <a:pt x="2593" y="158"/>
                </a:lnTo>
                <a:lnTo>
                  <a:pt x="4867" y="158"/>
                </a:lnTo>
                <a:close/>
                <a:moveTo>
                  <a:pt x="159" y="158"/>
                </a:moveTo>
                <a:lnTo>
                  <a:pt x="2433" y="158"/>
                </a:lnTo>
                <a:lnTo>
                  <a:pt x="2433" y="922"/>
                </a:lnTo>
                <a:lnTo>
                  <a:pt x="159" y="922"/>
                </a:lnTo>
                <a:close/>
                <a:moveTo>
                  <a:pt x="159" y="1081"/>
                </a:moveTo>
                <a:lnTo>
                  <a:pt x="2433" y="1081"/>
                </a:lnTo>
                <a:lnTo>
                  <a:pt x="2433" y="3865"/>
                </a:lnTo>
                <a:lnTo>
                  <a:pt x="159" y="3865"/>
                </a:lnTo>
                <a:close/>
                <a:moveTo>
                  <a:pt x="2593" y="3865"/>
                </a:moveTo>
                <a:lnTo>
                  <a:pt x="2593" y="1081"/>
                </a:lnTo>
                <a:lnTo>
                  <a:pt x="4867" y="1081"/>
                </a:lnTo>
                <a:lnTo>
                  <a:pt x="4867" y="3865"/>
                </a:lnTo>
                <a:close/>
                <a:moveTo>
                  <a:pt x="3260" y="572"/>
                </a:moveTo>
                <a:cubicBezTo>
                  <a:pt x="3324" y="572"/>
                  <a:pt x="3388" y="508"/>
                  <a:pt x="3388" y="445"/>
                </a:cubicBezTo>
                <a:cubicBezTo>
                  <a:pt x="3388" y="381"/>
                  <a:pt x="3324" y="333"/>
                  <a:pt x="3260" y="333"/>
                </a:cubicBezTo>
                <a:cubicBezTo>
                  <a:pt x="3197" y="333"/>
                  <a:pt x="3149" y="381"/>
                  <a:pt x="3149" y="445"/>
                </a:cubicBezTo>
                <a:cubicBezTo>
                  <a:pt x="3149" y="508"/>
                  <a:pt x="3197" y="572"/>
                  <a:pt x="3260" y="572"/>
                </a:cubicBezTo>
                <a:close/>
                <a:moveTo>
                  <a:pt x="3721" y="572"/>
                </a:moveTo>
                <a:cubicBezTo>
                  <a:pt x="3785" y="572"/>
                  <a:pt x="3833" y="508"/>
                  <a:pt x="3833" y="445"/>
                </a:cubicBezTo>
                <a:cubicBezTo>
                  <a:pt x="3833" y="381"/>
                  <a:pt x="3785" y="333"/>
                  <a:pt x="3721" y="333"/>
                </a:cubicBezTo>
                <a:cubicBezTo>
                  <a:pt x="3658" y="333"/>
                  <a:pt x="3610" y="381"/>
                  <a:pt x="3610" y="445"/>
                </a:cubicBezTo>
                <a:cubicBezTo>
                  <a:pt x="3610" y="508"/>
                  <a:pt x="3658" y="572"/>
                  <a:pt x="3721" y="572"/>
                </a:cubicBezTo>
                <a:close/>
                <a:moveTo>
                  <a:pt x="4183" y="572"/>
                </a:moveTo>
                <a:cubicBezTo>
                  <a:pt x="4247" y="572"/>
                  <a:pt x="4294" y="508"/>
                  <a:pt x="4294" y="445"/>
                </a:cubicBezTo>
                <a:cubicBezTo>
                  <a:pt x="4294" y="381"/>
                  <a:pt x="4247" y="333"/>
                  <a:pt x="4183" y="333"/>
                </a:cubicBezTo>
                <a:cubicBezTo>
                  <a:pt x="4119" y="333"/>
                  <a:pt x="4072" y="381"/>
                  <a:pt x="4072" y="445"/>
                </a:cubicBezTo>
                <a:cubicBezTo>
                  <a:pt x="4072" y="508"/>
                  <a:pt x="4119" y="572"/>
                  <a:pt x="4183" y="57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6" name="Freeform: Shape 9">
            <a:extLst>
              <a:ext uri="{FF2B5EF4-FFF2-40B4-BE49-F238E27FC236}">
                <a16:creationId xmlns:a16="http://schemas.microsoft.com/office/drawing/2014/main" id="{4C243C87-11E7-C94D-9DE4-313C634610E4}"/>
              </a:ext>
            </a:extLst>
          </p:cNvPr>
          <p:cNvSpPr/>
          <p:nvPr/>
        </p:nvSpPr>
        <p:spPr>
          <a:xfrm>
            <a:off x="21150956" y="3297674"/>
            <a:ext cx="1808999" cy="1447919"/>
          </a:xfrm>
          <a:custGeom>
            <a:avLst/>
            <a:gdLst/>
            <a:ahLst/>
            <a:cxnLst>
              <a:cxn ang="3cd4">
                <a:pos x="hc" y="t"/>
              </a:cxn>
              <a:cxn ang="cd2">
                <a:pos x="l" y="vc"/>
              </a:cxn>
              <a:cxn ang="cd4">
                <a:pos x="hc" y="b"/>
              </a:cxn>
              <a:cxn ang="0">
                <a:pos x="r" y="vc"/>
              </a:cxn>
            </a:cxnLst>
            <a:rect l="l" t="t" r="r" b="b"/>
            <a:pathLst>
              <a:path w="5026" h="4023">
                <a:moveTo>
                  <a:pt x="827" y="333"/>
                </a:moveTo>
                <a:cubicBezTo>
                  <a:pt x="763" y="333"/>
                  <a:pt x="716" y="381"/>
                  <a:pt x="716" y="445"/>
                </a:cubicBezTo>
                <a:cubicBezTo>
                  <a:pt x="716" y="508"/>
                  <a:pt x="763" y="572"/>
                  <a:pt x="827" y="572"/>
                </a:cubicBezTo>
                <a:cubicBezTo>
                  <a:pt x="890" y="572"/>
                  <a:pt x="954" y="508"/>
                  <a:pt x="954" y="445"/>
                </a:cubicBezTo>
                <a:cubicBezTo>
                  <a:pt x="954" y="381"/>
                  <a:pt x="890" y="333"/>
                  <a:pt x="827" y="333"/>
                </a:cubicBezTo>
                <a:close/>
                <a:moveTo>
                  <a:pt x="1288" y="333"/>
                </a:moveTo>
                <a:cubicBezTo>
                  <a:pt x="1225" y="333"/>
                  <a:pt x="1177" y="381"/>
                  <a:pt x="1177" y="445"/>
                </a:cubicBezTo>
                <a:cubicBezTo>
                  <a:pt x="1177" y="508"/>
                  <a:pt x="1225" y="572"/>
                  <a:pt x="1288" y="572"/>
                </a:cubicBezTo>
                <a:cubicBezTo>
                  <a:pt x="1352" y="572"/>
                  <a:pt x="1416" y="508"/>
                  <a:pt x="1416" y="445"/>
                </a:cubicBezTo>
                <a:cubicBezTo>
                  <a:pt x="1416" y="381"/>
                  <a:pt x="1352" y="333"/>
                  <a:pt x="1288" y="333"/>
                </a:cubicBezTo>
                <a:close/>
                <a:moveTo>
                  <a:pt x="1750" y="333"/>
                </a:moveTo>
                <a:cubicBezTo>
                  <a:pt x="1686" y="333"/>
                  <a:pt x="1638" y="381"/>
                  <a:pt x="1638" y="445"/>
                </a:cubicBezTo>
                <a:cubicBezTo>
                  <a:pt x="1638" y="508"/>
                  <a:pt x="1686" y="572"/>
                  <a:pt x="1750" y="572"/>
                </a:cubicBezTo>
                <a:cubicBezTo>
                  <a:pt x="1813" y="572"/>
                  <a:pt x="1877" y="508"/>
                  <a:pt x="1877" y="445"/>
                </a:cubicBezTo>
                <a:cubicBezTo>
                  <a:pt x="1877" y="381"/>
                  <a:pt x="1813" y="333"/>
                  <a:pt x="1750" y="333"/>
                </a:cubicBezTo>
                <a:close/>
                <a:moveTo>
                  <a:pt x="4946" y="0"/>
                </a:moveTo>
                <a:lnTo>
                  <a:pt x="2513" y="0"/>
                </a:lnTo>
                <a:lnTo>
                  <a:pt x="80" y="0"/>
                </a:lnTo>
                <a:cubicBezTo>
                  <a:pt x="32" y="0"/>
                  <a:pt x="0" y="31"/>
                  <a:pt x="0" y="79"/>
                </a:cubicBezTo>
                <a:lnTo>
                  <a:pt x="0" y="1002"/>
                </a:lnTo>
                <a:lnTo>
                  <a:pt x="0" y="2020"/>
                </a:lnTo>
                <a:lnTo>
                  <a:pt x="0" y="2942"/>
                </a:lnTo>
                <a:lnTo>
                  <a:pt x="0" y="3944"/>
                </a:lnTo>
                <a:cubicBezTo>
                  <a:pt x="0" y="3992"/>
                  <a:pt x="32" y="4023"/>
                  <a:pt x="80" y="4023"/>
                </a:cubicBezTo>
                <a:lnTo>
                  <a:pt x="2513" y="4023"/>
                </a:lnTo>
                <a:lnTo>
                  <a:pt x="4946" y="4023"/>
                </a:lnTo>
                <a:cubicBezTo>
                  <a:pt x="4994" y="4023"/>
                  <a:pt x="5026" y="3992"/>
                  <a:pt x="5026" y="3944"/>
                </a:cubicBezTo>
                <a:lnTo>
                  <a:pt x="5026" y="2942"/>
                </a:lnTo>
                <a:lnTo>
                  <a:pt x="5026" y="2020"/>
                </a:lnTo>
                <a:lnTo>
                  <a:pt x="5026" y="1002"/>
                </a:lnTo>
                <a:lnTo>
                  <a:pt x="5026" y="79"/>
                </a:lnTo>
                <a:cubicBezTo>
                  <a:pt x="5026" y="31"/>
                  <a:pt x="4994" y="0"/>
                  <a:pt x="4946" y="0"/>
                </a:cubicBezTo>
                <a:close/>
                <a:moveTo>
                  <a:pt x="4867" y="2862"/>
                </a:moveTo>
                <a:lnTo>
                  <a:pt x="2592" y="2862"/>
                </a:lnTo>
                <a:lnTo>
                  <a:pt x="2592" y="2099"/>
                </a:lnTo>
                <a:lnTo>
                  <a:pt x="4867" y="2099"/>
                </a:lnTo>
                <a:close/>
                <a:moveTo>
                  <a:pt x="2434" y="1940"/>
                </a:moveTo>
                <a:lnTo>
                  <a:pt x="159" y="1940"/>
                </a:lnTo>
                <a:lnTo>
                  <a:pt x="159" y="1081"/>
                </a:lnTo>
                <a:lnTo>
                  <a:pt x="2434" y="1081"/>
                </a:lnTo>
                <a:close/>
                <a:moveTo>
                  <a:pt x="159" y="2099"/>
                </a:moveTo>
                <a:lnTo>
                  <a:pt x="2434" y="2099"/>
                </a:lnTo>
                <a:lnTo>
                  <a:pt x="2434" y="2862"/>
                </a:lnTo>
                <a:lnTo>
                  <a:pt x="159" y="2862"/>
                </a:lnTo>
                <a:close/>
                <a:moveTo>
                  <a:pt x="2592" y="1940"/>
                </a:moveTo>
                <a:lnTo>
                  <a:pt x="2592" y="1081"/>
                </a:lnTo>
                <a:lnTo>
                  <a:pt x="4867" y="1081"/>
                </a:lnTo>
                <a:lnTo>
                  <a:pt x="4867" y="1940"/>
                </a:lnTo>
                <a:close/>
                <a:moveTo>
                  <a:pt x="4867" y="922"/>
                </a:moveTo>
                <a:lnTo>
                  <a:pt x="2592" y="922"/>
                </a:lnTo>
                <a:lnTo>
                  <a:pt x="2592" y="158"/>
                </a:lnTo>
                <a:lnTo>
                  <a:pt x="4867" y="158"/>
                </a:lnTo>
                <a:close/>
                <a:moveTo>
                  <a:pt x="159" y="158"/>
                </a:moveTo>
                <a:lnTo>
                  <a:pt x="2434" y="158"/>
                </a:lnTo>
                <a:lnTo>
                  <a:pt x="2434" y="922"/>
                </a:lnTo>
                <a:lnTo>
                  <a:pt x="159" y="922"/>
                </a:lnTo>
                <a:close/>
                <a:moveTo>
                  <a:pt x="159" y="3021"/>
                </a:moveTo>
                <a:lnTo>
                  <a:pt x="2434" y="3021"/>
                </a:lnTo>
                <a:lnTo>
                  <a:pt x="2434" y="3865"/>
                </a:lnTo>
                <a:lnTo>
                  <a:pt x="159" y="3865"/>
                </a:lnTo>
                <a:close/>
                <a:moveTo>
                  <a:pt x="2592" y="3865"/>
                </a:moveTo>
                <a:lnTo>
                  <a:pt x="2592" y="3021"/>
                </a:lnTo>
                <a:lnTo>
                  <a:pt x="4867" y="3021"/>
                </a:lnTo>
                <a:lnTo>
                  <a:pt x="4867" y="3865"/>
                </a:lnTo>
                <a:close/>
                <a:moveTo>
                  <a:pt x="3276" y="572"/>
                </a:moveTo>
                <a:cubicBezTo>
                  <a:pt x="3340" y="572"/>
                  <a:pt x="3388" y="508"/>
                  <a:pt x="3388" y="445"/>
                </a:cubicBezTo>
                <a:cubicBezTo>
                  <a:pt x="3388" y="381"/>
                  <a:pt x="3340" y="333"/>
                  <a:pt x="3276" y="333"/>
                </a:cubicBezTo>
                <a:cubicBezTo>
                  <a:pt x="3213" y="333"/>
                  <a:pt x="3149" y="381"/>
                  <a:pt x="3149" y="445"/>
                </a:cubicBezTo>
                <a:cubicBezTo>
                  <a:pt x="3149" y="508"/>
                  <a:pt x="3213" y="572"/>
                  <a:pt x="3276" y="572"/>
                </a:cubicBezTo>
                <a:close/>
                <a:moveTo>
                  <a:pt x="3738" y="572"/>
                </a:moveTo>
                <a:cubicBezTo>
                  <a:pt x="3801" y="572"/>
                  <a:pt x="3849" y="508"/>
                  <a:pt x="3849" y="445"/>
                </a:cubicBezTo>
                <a:cubicBezTo>
                  <a:pt x="3849" y="381"/>
                  <a:pt x="3801" y="333"/>
                  <a:pt x="3738" y="333"/>
                </a:cubicBezTo>
                <a:cubicBezTo>
                  <a:pt x="3674" y="333"/>
                  <a:pt x="3610" y="381"/>
                  <a:pt x="3610" y="445"/>
                </a:cubicBezTo>
                <a:cubicBezTo>
                  <a:pt x="3610" y="508"/>
                  <a:pt x="3674" y="572"/>
                  <a:pt x="3738" y="572"/>
                </a:cubicBezTo>
                <a:close/>
                <a:moveTo>
                  <a:pt x="4183" y="572"/>
                </a:moveTo>
                <a:cubicBezTo>
                  <a:pt x="4247" y="572"/>
                  <a:pt x="4310" y="508"/>
                  <a:pt x="4310" y="445"/>
                </a:cubicBezTo>
                <a:cubicBezTo>
                  <a:pt x="4310" y="381"/>
                  <a:pt x="4247" y="333"/>
                  <a:pt x="4183" y="333"/>
                </a:cubicBezTo>
                <a:cubicBezTo>
                  <a:pt x="4119" y="333"/>
                  <a:pt x="4071" y="381"/>
                  <a:pt x="4071" y="445"/>
                </a:cubicBezTo>
                <a:cubicBezTo>
                  <a:pt x="4071" y="508"/>
                  <a:pt x="4119" y="572"/>
                  <a:pt x="4183" y="572"/>
                </a:cubicBezTo>
                <a:close/>
                <a:moveTo>
                  <a:pt x="827" y="2274"/>
                </a:moveTo>
                <a:cubicBezTo>
                  <a:pt x="763" y="2274"/>
                  <a:pt x="716" y="2321"/>
                  <a:pt x="716" y="2385"/>
                </a:cubicBezTo>
                <a:cubicBezTo>
                  <a:pt x="716" y="2449"/>
                  <a:pt x="763" y="2496"/>
                  <a:pt x="827" y="2496"/>
                </a:cubicBezTo>
                <a:cubicBezTo>
                  <a:pt x="890" y="2496"/>
                  <a:pt x="954" y="2449"/>
                  <a:pt x="954" y="2385"/>
                </a:cubicBezTo>
                <a:cubicBezTo>
                  <a:pt x="954" y="2321"/>
                  <a:pt x="890" y="2274"/>
                  <a:pt x="827" y="2274"/>
                </a:cubicBezTo>
                <a:close/>
                <a:moveTo>
                  <a:pt x="1288" y="2274"/>
                </a:moveTo>
                <a:cubicBezTo>
                  <a:pt x="1225" y="2274"/>
                  <a:pt x="1177" y="2321"/>
                  <a:pt x="1177" y="2385"/>
                </a:cubicBezTo>
                <a:cubicBezTo>
                  <a:pt x="1177" y="2449"/>
                  <a:pt x="1225" y="2496"/>
                  <a:pt x="1288" y="2496"/>
                </a:cubicBezTo>
                <a:cubicBezTo>
                  <a:pt x="1352" y="2496"/>
                  <a:pt x="1416" y="2449"/>
                  <a:pt x="1416" y="2385"/>
                </a:cubicBezTo>
                <a:cubicBezTo>
                  <a:pt x="1416" y="2321"/>
                  <a:pt x="1352" y="2274"/>
                  <a:pt x="1288" y="2274"/>
                </a:cubicBezTo>
                <a:close/>
                <a:moveTo>
                  <a:pt x="1750" y="2274"/>
                </a:moveTo>
                <a:cubicBezTo>
                  <a:pt x="1686" y="2274"/>
                  <a:pt x="1638" y="2321"/>
                  <a:pt x="1638" y="2385"/>
                </a:cubicBezTo>
                <a:cubicBezTo>
                  <a:pt x="1638" y="2449"/>
                  <a:pt x="1686" y="2496"/>
                  <a:pt x="1750" y="2496"/>
                </a:cubicBezTo>
                <a:cubicBezTo>
                  <a:pt x="1813" y="2496"/>
                  <a:pt x="1877" y="2449"/>
                  <a:pt x="1877" y="2385"/>
                </a:cubicBezTo>
                <a:cubicBezTo>
                  <a:pt x="1877" y="2321"/>
                  <a:pt x="1813" y="2274"/>
                  <a:pt x="1750" y="2274"/>
                </a:cubicBezTo>
                <a:close/>
                <a:moveTo>
                  <a:pt x="3276" y="2496"/>
                </a:moveTo>
                <a:cubicBezTo>
                  <a:pt x="3340" y="2496"/>
                  <a:pt x="3388" y="2449"/>
                  <a:pt x="3388" y="2385"/>
                </a:cubicBezTo>
                <a:cubicBezTo>
                  <a:pt x="3388" y="2321"/>
                  <a:pt x="3340" y="2274"/>
                  <a:pt x="3276" y="2274"/>
                </a:cubicBezTo>
                <a:cubicBezTo>
                  <a:pt x="3213" y="2274"/>
                  <a:pt x="3149" y="2321"/>
                  <a:pt x="3149" y="2385"/>
                </a:cubicBezTo>
                <a:cubicBezTo>
                  <a:pt x="3149" y="2449"/>
                  <a:pt x="3213" y="2496"/>
                  <a:pt x="3276" y="2496"/>
                </a:cubicBezTo>
                <a:close/>
                <a:moveTo>
                  <a:pt x="3738" y="2496"/>
                </a:moveTo>
                <a:cubicBezTo>
                  <a:pt x="3801" y="2496"/>
                  <a:pt x="3849" y="2449"/>
                  <a:pt x="3849" y="2385"/>
                </a:cubicBezTo>
                <a:cubicBezTo>
                  <a:pt x="3849" y="2321"/>
                  <a:pt x="3801" y="2274"/>
                  <a:pt x="3738" y="2274"/>
                </a:cubicBezTo>
                <a:cubicBezTo>
                  <a:pt x="3674" y="2274"/>
                  <a:pt x="3610" y="2321"/>
                  <a:pt x="3610" y="2385"/>
                </a:cubicBezTo>
                <a:cubicBezTo>
                  <a:pt x="3610" y="2449"/>
                  <a:pt x="3674" y="2496"/>
                  <a:pt x="3738" y="2496"/>
                </a:cubicBezTo>
                <a:close/>
                <a:moveTo>
                  <a:pt x="4183" y="2496"/>
                </a:moveTo>
                <a:cubicBezTo>
                  <a:pt x="4247" y="2496"/>
                  <a:pt x="4310" y="2449"/>
                  <a:pt x="4310" y="2385"/>
                </a:cubicBezTo>
                <a:cubicBezTo>
                  <a:pt x="4310" y="2321"/>
                  <a:pt x="4247" y="2274"/>
                  <a:pt x="4183" y="2274"/>
                </a:cubicBezTo>
                <a:cubicBezTo>
                  <a:pt x="4119" y="2274"/>
                  <a:pt x="4071" y="2321"/>
                  <a:pt x="4071" y="2385"/>
                </a:cubicBezTo>
                <a:cubicBezTo>
                  <a:pt x="4071" y="2449"/>
                  <a:pt x="4119" y="2496"/>
                  <a:pt x="4183" y="249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7" name="Freeform: Shape 10">
            <a:extLst>
              <a:ext uri="{FF2B5EF4-FFF2-40B4-BE49-F238E27FC236}">
                <a16:creationId xmlns:a16="http://schemas.microsoft.com/office/drawing/2014/main" id="{81E4403A-BC24-AF46-A5DA-B0F2711A838C}"/>
              </a:ext>
            </a:extLst>
          </p:cNvPr>
          <p:cNvSpPr/>
          <p:nvPr/>
        </p:nvSpPr>
        <p:spPr>
          <a:xfrm>
            <a:off x="1720259" y="3294794"/>
            <a:ext cx="1974960" cy="1454040"/>
          </a:xfrm>
          <a:custGeom>
            <a:avLst/>
            <a:gdLst/>
            <a:ahLst/>
            <a:cxnLst>
              <a:cxn ang="3cd4">
                <a:pos x="hc" y="t"/>
              </a:cxn>
              <a:cxn ang="cd2">
                <a:pos x="l" y="vc"/>
              </a:cxn>
              <a:cxn ang="cd4">
                <a:pos x="hc" y="b"/>
              </a:cxn>
              <a:cxn ang="0">
                <a:pos x="r" y="vc"/>
              </a:cxn>
            </a:cxnLst>
            <a:rect l="l" t="t" r="r" b="b"/>
            <a:pathLst>
              <a:path w="5487" h="4040">
                <a:moveTo>
                  <a:pt x="5487" y="3960"/>
                </a:moveTo>
                <a:lnTo>
                  <a:pt x="5487" y="80"/>
                </a:lnTo>
                <a:cubicBezTo>
                  <a:pt x="5487" y="48"/>
                  <a:pt x="5455" y="0"/>
                  <a:pt x="5408" y="0"/>
                </a:cubicBezTo>
                <a:lnTo>
                  <a:pt x="79" y="0"/>
                </a:lnTo>
                <a:cubicBezTo>
                  <a:pt x="31" y="0"/>
                  <a:pt x="0" y="48"/>
                  <a:pt x="0" y="80"/>
                </a:cubicBezTo>
                <a:lnTo>
                  <a:pt x="0" y="3960"/>
                </a:lnTo>
                <a:cubicBezTo>
                  <a:pt x="0" y="3992"/>
                  <a:pt x="31" y="4040"/>
                  <a:pt x="79" y="4040"/>
                </a:cubicBezTo>
                <a:lnTo>
                  <a:pt x="5408" y="4040"/>
                </a:lnTo>
                <a:cubicBezTo>
                  <a:pt x="5455" y="4040"/>
                  <a:pt x="5487" y="3992"/>
                  <a:pt x="5487" y="3960"/>
                </a:cubicBezTo>
                <a:close/>
                <a:moveTo>
                  <a:pt x="5328" y="159"/>
                </a:moveTo>
                <a:lnTo>
                  <a:pt x="5328" y="922"/>
                </a:lnTo>
                <a:lnTo>
                  <a:pt x="159" y="922"/>
                </a:lnTo>
                <a:lnTo>
                  <a:pt x="159" y="159"/>
                </a:lnTo>
                <a:close/>
                <a:moveTo>
                  <a:pt x="159" y="3881"/>
                </a:moveTo>
                <a:lnTo>
                  <a:pt x="159" y="1082"/>
                </a:lnTo>
                <a:lnTo>
                  <a:pt x="5328" y="1082"/>
                </a:lnTo>
                <a:lnTo>
                  <a:pt x="5328" y="3881"/>
                </a:lnTo>
                <a:close/>
                <a:moveTo>
                  <a:pt x="827" y="573"/>
                </a:moveTo>
                <a:cubicBezTo>
                  <a:pt x="891" y="573"/>
                  <a:pt x="938" y="525"/>
                  <a:pt x="938" y="461"/>
                </a:cubicBezTo>
                <a:cubicBezTo>
                  <a:pt x="938" y="398"/>
                  <a:pt x="891" y="334"/>
                  <a:pt x="827" y="334"/>
                </a:cubicBezTo>
                <a:cubicBezTo>
                  <a:pt x="763" y="334"/>
                  <a:pt x="716" y="398"/>
                  <a:pt x="716" y="461"/>
                </a:cubicBezTo>
                <a:cubicBezTo>
                  <a:pt x="716" y="525"/>
                  <a:pt x="763" y="573"/>
                  <a:pt x="827" y="573"/>
                </a:cubicBezTo>
                <a:close/>
                <a:moveTo>
                  <a:pt x="1288" y="573"/>
                </a:moveTo>
                <a:cubicBezTo>
                  <a:pt x="1352" y="573"/>
                  <a:pt x="1400" y="525"/>
                  <a:pt x="1400" y="461"/>
                </a:cubicBezTo>
                <a:cubicBezTo>
                  <a:pt x="1400" y="398"/>
                  <a:pt x="1352" y="334"/>
                  <a:pt x="1288" y="334"/>
                </a:cubicBezTo>
                <a:cubicBezTo>
                  <a:pt x="1224" y="334"/>
                  <a:pt x="1177" y="398"/>
                  <a:pt x="1177" y="461"/>
                </a:cubicBezTo>
                <a:cubicBezTo>
                  <a:pt x="1177" y="525"/>
                  <a:pt x="1224" y="573"/>
                  <a:pt x="1288" y="573"/>
                </a:cubicBezTo>
                <a:close/>
                <a:moveTo>
                  <a:pt x="1749" y="573"/>
                </a:moveTo>
                <a:cubicBezTo>
                  <a:pt x="1813" y="573"/>
                  <a:pt x="1861" y="525"/>
                  <a:pt x="1861" y="461"/>
                </a:cubicBezTo>
                <a:cubicBezTo>
                  <a:pt x="1861" y="398"/>
                  <a:pt x="1813" y="334"/>
                  <a:pt x="1749" y="334"/>
                </a:cubicBezTo>
                <a:cubicBezTo>
                  <a:pt x="1686" y="334"/>
                  <a:pt x="1638" y="398"/>
                  <a:pt x="1638" y="461"/>
                </a:cubicBezTo>
                <a:cubicBezTo>
                  <a:pt x="1638" y="525"/>
                  <a:pt x="1686" y="573"/>
                  <a:pt x="1749" y="573"/>
                </a:cubicBezTo>
                <a:close/>
                <a:moveTo>
                  <a:pt x="1781" y="1702"/>
                </a:moveTo>
                <a:cubicBezTo>
                  <a:pt x="1765" y="1670"/>
                  <a:pt x="1701" y="1670"/>
                  <a:pt x="1670" y="1702"/>
                </a:cubicBezTo>
                <a:lnTo>
                  <a:pt x="859" y="2465"/>
                </a:lnTo>
                <a:cubicBezTo>
                  <a:pt x="827" y="2497"/>
                  <a:pt x="827" y="2545"/>
                  <a:pt x="859" y="2577"/>
                </a:cubicBezTo>
                <a:lnTo>
                  <a:pt x="1670" y="3467"/>
                </a:lnTo>
                <a:cubicBezTo>
                  <a:pt x="1686" y="3483"/>
                  <a:pt x="1701" y="3499"/>
                  <a:pt x="1733" y="3499"/>
                </a:cubicBezTo>
                <a:cubicBezTo>
                  <a:pt x="1749" y="3499"/>
                  <a:pt x="1765" y="3483"/>
                  <a:pt x="1781" y="3467"/>
                </a:cubicBezTo>
                <a:cubicBezTo>
                  <a:pt x="1813" y="3451"/>
                  <a:pt x="1813" y="3388"/>
                  <a:pt x="1781" y="3356"/>
                </a:cubicBezTo>
                <a:lnTo>
                  <a:pt x="1018" y="2529"/>
                </a:lnTo>
                <a:lnTo>
                  <a:pt x="1781" y="1813"/>
                </a:lnTo>
                <a:cubicBezTo>
                  <a:pt x="1813" y="1782"/>
                  <a:pt x="1813" y="1734"/>
                  <a:pt x="1781" y="1702"/>
                </a:cubicBezTo>
                <a:close/>
                <a:moveTo>
                  <a:pt x="3833" y="1702"/>
                </a:moveTo>
                <a:cubicBezTo>
                  <a:pt x="3801" y="1670"/>
                  <a:pt x="3753" y="1670"/>
                  <a:pt x="3721" y="1702"/>
                </a:cubicBezTo>
                <a:cubicBezTo>
                  <a:pt x="3690" y="1734"/>
                  <a:pt x="3690" y="1782"/>
                  <a:pt x="3721" y="1813"/>
                </a:cubicBezTo>
                <a:lnTo>
                  <a:pt x="4485" y="2529"/>
                </a:lnTo>
                <a:lnTo>
                  <a:pt x="3721" y="3356"/>
                </a:lnTo>
                <a:cubicBezTo>
                  <a:pt x="3690" y="3388"/>
                  <a:pt x="3690" y="3451"/>
                  <a:pt x="3721" y="3467"/>
                </a:cubicBezTo>
                <a:cubicBezTo>
                  <a:pt x="3737" y="3483"/>
                  <a:pt x="3753" y="3499"/>
                  <a:pt x="3769" y="3499"/>
                </a:cubicBezTo>
                <a:cubicBezTo>
                  <a:pt x="3801" y="3499"/>
                  <a:pt x="3817" y="3483"/>
                  <a:pt x="3833" y="3467"/>
                </a:cubicBezTo>
                <a:lnTo>
                  <a:pt x="4660" y="2577"/>
                </a:lnTo>
                <a:cubicBezTo>
                  <a:pt x="4676" y="2545"/>
                  <a:pt x="4676" y="2497"/>
                  <a:pt x="4644" y="2465"/>
                </a:cubicBezTo>
                <a:close/>
                <a:moveTo>
                  <a:pt x="3245" y="1702"/>
                </a:moveTo>
                <a:cubicBezTo>
                  <a:pt x="3197" y="1686"/>
                  <a:pt x="3149" y="1702"/>
                  <a:pt x="3133" y="1734"/>
                </a:cubicBezTo>
                <a:lnTo>
                  <a:pt x="2210" y="3372"/>
                </a:lnTo>
                <a:cubicBezTo>
                  <a:pt x="2195" y="3404"/>
                  <a:pt x="2210" y="3451"/>
                  <a:pt x="2242" y="3483"/>
                </a:cubicBezTo>
                <a:lnTo>
                  <a:pt x="2290" y="3483"/>
                </a:lnTo>
                <a:cubicBezTo>
                  <a:pt x="2306" y="3483"/>
                  <a:pt x="2338" y="3483"/>
                  <a:pt x="2354" y="3451"/>
                </a:cubicBezTo>
                <a:lnTo>
                  <a:pt x="3276" y="1813"/>
                </a:lnTo>
                <a:cubicBezTo>
                  <a:pt x="3292" y="1782"/>
                  <a:pt x="3276" y="1718"/>
                  <a:pt x="3245" y="170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
        <p:nvSpPr>
          <p:cNvPr id="88" name="Freeform: Shape 11">
            <a:extLst>
              <a:ext uri="{FF2B5EF4-FFF2-40B4-BE49-F238E27FC236}">
                <a16:creationId xmlns:a16="http://schemas.microsoft.com/office/drawing/2014/main" id="{BC8B6942-E995-B445-9679-A2A7838C3D54}"/>
              </a:ext>
            </a:extLst>
          </p:cNvPr>
          <p:cNvSpPr/>
          <p:nvPr/>
        </p:nvSpPr>
        <p:spPr>
          <a:xfrm>
            <a:off x="5732217" y="3294794"/>
            <a:ext cx="1980720" cy="1454040"/>
          </a:xfrm>
          <a:custGeom>
            <a:avLst/>
            <a:gdLst/>
            <a:ahLst/>
            <a:cxnLst>
              <a:cxn ang="3cd4">
                <a:pos x="hc" y="t"/>
              </a:cxn>
              <a:cxn ang="cd2">
                <a:pos x="l" y="vc"/>
              </a:cxn>
              <a:cxn ang="cd4">
                <a:pos x="hc" y="b"/>
              </a:cxn>
              <a:cxn ang="0">
                <a:pos x="r" y="vc"/>
              </a:cxn>
            </a:cxnLst>
            <a:rect l="l" t="t" r="r" b="b"/>
            <a:pathLst>
              <a:path w="5503" h="4040">
                <a:moveTo>
                  <a:pt x="5424" y="0"/>
                </a:moveTo>
                <a:lnTo>
                  <a:pt x="80" y="0"/>
                </a:lnTo>
                <a:cubicBezTo>
                  <a:pt x="32" y="0"/>
                  <a:pt x="0" y="48"/>
                  <a:pt x="0" y="80"/>
                </a:cubicBezTo>
                <a:lnTo>
                  <a:pt x="0" y="3960"/>
                </a:lnTo>
                <a:cubicBezTo>
                  <a:pt x="0" y="3992"/>
                  <a:pt x="32" y="4040"/>
                  <a:pt x="80" y="4040"/>
                </a:cubicBezTo>
                <a:lnTo>
                  <a:pt x="5424" y="4040"/>
                </a:lnTo>
                <a:cubicBezTo>
                  <a:pt x="5456" y="4040"/>
                  <a:pt x="5503" y="3992"/>
                  <a:pt x="5503" y="3960"/>
                </a:cubicBezTo>
                <a:lnTo>
                  <a:pt x="5503" y="80"/>
                </a:lnTo>
                <a:cubicBezTo>
                  <a:pt x="5503" y="48"/>
                  <a:pt x="5456" y="0"/>
                  <a:pt x="5424" y="0"/>
                </a:cubicBezTo>
                <a:close/>
                <a:moveTo>
                  <a:pt x="5344" y="159"/>
                </a:moveTo>
                <a:lnTo>
                  <a:pt x="5344" y="922"/>
                </a:lnTo>
                <a:lnTo>
                  <a:pt x="175" y="922"/>
                </a:lnTo>
                <a:lnTo>
                  <a:pt x="159" y="922"/>
                </a:lnTo>
                <a:lnTo>
                  <a:pt x="159" y="159"/>
                </a:lnTo>
                <a:close/>
                <a:moveTo>
                  <a:pt x="159" y="3881"/>
                </a:moveTo>
                <a:lnTo>
                  <a:pt x="159" y="1082"/>
                </a:lnTo>
                <a:lnTo>
                  <a:pt x="175" y="1082"/>
                </a:lnTo>
                <a:lnTo>
                  <a:pt x="5344" y="1082"/>
                </a:lnTo>
                <a:lnTo>
                  <a:pt x="5344" y="3881"/>
                </a:lnTo>
                <a:close/>
                <a:moveTo>
                  <a:pt x="827" y="573"/>
                </a:moveTo>
                <a:cubicBezTo>
                  <a:pt x="891" y="573"/>
                  <a:pt x="954" y="525"/>
                  <a:pt x="954" y="461"/>
                </a:cubicBezTo>
                <a:cubicBezTo>
                  <a:pt x="954" y="398"/>
                  <a:pt x="891" y="334"/>
                  <a:pt x="827" y="334"/>
                </a:cubicBezTo>
                <a:cubicBezTo>
                  <a:pt x="763" y="334"/>
                  <a:pt x="716" y="398"/>
                  <a:pt x="716" y="461"/>
                </a:cubicBezTo>
                <a:cubicBezTo>
                  <a:pt x="716" y="525"/>
                  <a:pt x="763" y="573"/>
                  <a:pt x="827" y="573"/>
                </a:cubicBezTo>
                <a:close/>
                <a:moveTo>
                  <a:pt x="1289" y="573"/>
                </a:moveTo>
                <a:cubicBezTo>
                  <a:pt x="1352" y="573"/>
                  <a:pt x="1416" y="525"/>
                  <a:pt x="1416" y="461"/>
                </a:cubicBezTo>
                <a:cubicBezTo>
                  <a:pt x="1416" y="398"/>
                  <a:pt x="1352" y="334"/>
                  <a:pt x="1289" y="334"/>
                </a:cubicBezTo>
                <a:cubicBezTo>
                  <a:pt x="1225" y="334"/>
                  <a:pt x="1177" y="398"/>
                  <a:pt x="1177" y="461"/>
                </a:cubicBezTo>
                <a:cubicBezTo>
                  <a:pt x="1177" y="525"/>
                  <a:pt x="1225" y="573"/>
                  <a:pt x="1289" y="573"/>
                </a:cubicBezTo>
                <a:close/>
                <a:moveTo>
                  <a:pt x="1750" y="573"/>
                </a:moveTo>
                <a:cubicBezTo>
                  <a:pt x="1813" y="573"/>
                  <a:pt x="1877" y="525"/>
                  <a:pt x="1877" y="461"/>
                </a:cubicBezTo>
                <a:cubicBezTo>
                  <a:pt x="1877" y="398"/>
                  <a:pt x="1813" y="334"/>
                  <a:pt x="1750" y="334"/>
                </a:cubicBezTo>
                <a:cubicBezTo>
                  <a:pt x="1686" y="334"/>
                  <a:pt x="1638" y="398"/>
                  <a:pt x="1638" y="461"/>
                </a:cubicBezTo>
                <a:cubicBezTo>
                  <a:pt x="1638" y="525"/>
                  <a:pt x="1686" y="573"/>
                  <a:pt x="1750" y="573"/>
                </a:cubicBezTo>
                <a:close/>
                <a:moveTo>
                  <a:pt x="1177" y="2592"/>
                </a:moveTo>
                <a:cubicBezTo>
                  <a:pt x="1129" y="2592"/>
                  <a:pt x="1082" y="2609"/>
                  <a:pt x="1050" y="2624"/>
                </a:cubicBezTo>
                <a:lnTo>
                  <a:pt x="1050" y="2449"/>
                </a:lnTo>
                <a:cubicBezTo>
                  <a:pt x="1050" y="2418"/>
                  <a:pt x="1018" y="2386"/>
                  <a:pt x="986" y="2386"/>
                </a:cubicBezTo>
                <a:lnTo>
                  <a:pt x="954" y="2386"/>
                </a:lnTo>
                <a:cubicBezTo>
                  <a:pt x="923" y="2386"/>
                  <a:pt x="907" y="2418"/>
                  <a:pt x="907" y="2449"/>
                </a:cubicBezTo>
                <a:lnTo>
                  <a:pt x="907" y="3165"/>
                </a:lnTo>
                <a:cubicBezTo>
                  <a:pt x="907" y="3197"/>
                  <a:pt x="923" y="3213"/>
                  <a:pt x="954" y="3213"/>
                </a:cubicBezTo>
                <a:lnTo>
                  <a:pt x="986" y="3213"/>
                </a:lnTo>
                <a:cubicBezTo>
                  <a:pt x="1018" y="3213"/>
                  <a:pt x="1050" y="3197"/>
                  <a:pt x="1050" y="3165"/>
                </a:cubicBezTo>
                <a:lnTo>
                  <a:pt x="1050" y="2895"/>
                </a:lnTo>
                <a:cubicBezTo>
                  <a:pt x="1050" y="2799"/>
                  <a:pt x="1098" y="2736"/>
                  <a:pt x="1177" y="2736"/>
                </a:cubicBezTo>
                <a:cubicBezTo>
                  <a:pt x="1257" y="2736"/>
                  <a:pt x="1304" y="2783"/>
                  <a:pt x="1304" y="2879"/>
                </a:cubicBezTo>
                <a:lnTo>
                  <a:pt x="1304" y="3165"/>
                </a:lnTo>
                <a:cubicBezTo>
                  <a:pt x="1304" y="3197"/>
                  <a:pt x="1336" y="3213"/>
                  <a:pt x="1368" y="3213"/>
                </a:cubicBezTo>
                <a:lnTo>
                  <a:pt x="1384" y="3213"/>
                </a:lnTo>
                <a:cubicBezTo>
                  <a:pt x="1416" y="3213"/>
                  <a:pt x="1447" y="3197"/>
                  <a:pt x="1447" y="3165"/>
                </a:cubicBezTo>
                <a:lnTo>
                  <a:pt x="1447" y="2879"/>
                </a:lnTo>
                <a:cubicBezTo>
                  <a:pt x="1447" y="2704"/>
                  <a:pt x="1336" y="2592"/>
                  <a:pt x="1177" y="2592"/>
                </a:cubicBezTo>
                <a:close/>
                <a:moveTo>
                  <a:pt x="1893" y="2609"/>
                </a:moveTo>
                <a:lnTo>
                  <a:pt x="1781" y="2609"/>
                </a:lnTo>
                <a:lnTo>
                  <a:pt x="1781" y="2497"/>
                </a:lnTo>
                <a:cubicBezTo>
                  <a:pt x="1781" y="2465"/>
                  <a:pt x="1750" y="2434"/>
                  <a:pt x="1718" y="2434"/>
                </a:cubicBezTo>
                <a:lnTo>
                  <a:pt x="1686" y="2434"/>
                </a:lnTo>
                <a:cubicBezTo>
                  <a:pt x="1654" y="2434"/>
                  <a:pt x="1623" y="2465"/>
                  <a:pt x="1623" y="2497"/>
                </a:cubicBezTo>
                <a:lnTo>
                  <a:pt x="1623" y="2609"/>
                </a:lnTo>
                <a:lnTo>
                  <a:pt x="1607" y="2609"/>
                </a:lnTo>
                <a:cubicBezTo>
                  <a:pt x="1575" y="2609"/>
                  <a:pt x="1543" y="2640"/>
                  <a:pt x="1543" y="2672"/>
                </a:cubicBezTo>
                <a:lnTo>
                  <a:pt x="1543" y="2688"/>
                </a:lnTo>
                <a:cubicBezTo>
                  <a:pt x="1543" y="2720"/>
                  <a:pt x="1575" y="2752"/>
                  <a:pt x="1607" y="2752"/>
                </a:cubicBezTo>
                <a:lnTo>
                  <a:pt x="1623" y="2752"/>
                </a:lnTo>
                <a:lnTo>
                  <a:pt x="1623" y="3038"/>
                </a:lnTo>
                <a:cubicBezTo>
                  <a:pt x="1623" y="3149"/>
                  <a:pt x="1702" y="3229"/>
                  <a:pt x="1813" y="3229"/>
                </a:cubicBezTo>
                <a:cubicBezTo>
                  <a:pt x="1845" y="3229"/>
                  <a:pt x="1877" y="3229"/>
                  <a:pt x="1909" y="3213"/>
                </a:cubicBezTo>
                <a:cubicBezTo>
                  <a:pt x="1941" y="3197"/>
                  <a:pt x="1956" y="3181"/>
                  <a:pt x="1956" y="3149"/>
                </a:cubicBezTo>
                <a:lnTo>
                  <a:pt x="1956" y="3133"/>
                </a:lnTo>
                <a:cubicBezTo>
                  <a:pt x="1956" y="3101"/>
                  <a:pt x="1941" y="3086"/>
                  <a:pt x="1925" y="3070"/>
                </a:cubicBezTo>
                <a:lnTo>
                  <a:pt x="1861" y="3070"/>
                </a:lnTo>
                <a:cubicBezTo>
                  <a:pt x="1845" y="3086"/>
                  <a:pt x="1829" y="3086"/>
                  <a:pt x="1813" y="3086"/>
                </a:cubicBezTo>
                <a:cubicBezTo>
                  <a:pt x="1798" y="3086"/>
                  <a:pt x="1781" y="3086"/>
                  <a:pt x="1781" y="3038"/>
                </a:cubicBezTo>
                <a:lnTo>
                  <a:pt x="1781" y="2752"/>
                </a:lnTo>
                <a:lnTo>
                  <a:pt x="1893" y="2752"/>
                </a:lnTo>
                <a:cubicBezTo>
                  <a:pt x="1925" y="2752"/>
                  <a:pt x="1956" y="2720"/>
                  <a:pt x="1956" y="2688"/>
                </a:cubicBezTo>
                <a:lnTo>
                  <a:pt x="1956" y="2672"/>
                </a:lnTo>
                <a:cubicBezTo>
                  <a:pt x="1956" y="2640"/>
                  <a:pt x="1925" y="2609"/>
                  <a:pt x="1893" y="2609"/>
                </a:cubicBezTo>
                <a:close/>
                <a:moveTo>
                  <a:pt x="2386" y="2609"/>
                </a:moveTo>
                <a:lnTo>
                  <a:pt x="2275" y="2609"/>
                </a:lnTo>
                <a:lnTo>
                  <a:pt x="2275" y="2497"/>
                </a:lnTo>
                <a:cubicBezTo>
                  <a:pt x="2275" y="2465"/>
                  <a:pt x="2242" y="2434"/>
                  <a:pt x="2211" y="2434"/>
                </a:cubicBezTo>
                <a:lnTo>
                  <a:pt x="2195" y="2434"/>
                </a:lnTo>
                <a:cubicBezTo>
                  <a:pt x="2163" y="2434"/>
                  <a:pt x="2132" y="2465"/>
                  <a:pt x="2132" y="2497"/>
                </a:cubicBezTo>
                <a:lnTo>
                  <a:pt x="2132" y="2609"/>
                </a:lnTo>
                <a:lnTo>
                  <a:pt x="2116" y="2609"/>
                </a:lnTo>
                <a:cubicBezTo>
                  <a:pt x="2084" y="2609"/>
                  <a:pt x="2052" y="2640"/>
                  <a:pt x="2052" y="2672"/>
                </a:cubicBezTo>
                <a:lnTo>
                  <a:pt x="2052" y="2688"/>
                </a:lnTo>
                <a:cubicBezTo>
                  <a:pt x="2052" y="2720"/>
                  <a:pt x="2084" y="2752"/>
                  <a:pt x="2116" y="2752"/>
                </a:cubicBezTo>
                <a:lnTo>
                  <a:pt x="2132" y="2752"/>
                </a:lnTo>
                <a:lnTo>
                  <a:pt x="2132" y="3038"/>
                </a:lnTo>
                <a:cubicBezTo>
                  <a:pt x="2132" y="3149"/>
                  <a:pt x="2195" y="3229"/>
                  <a:pt x="2322" y="3229"/>
                </a:cubicBezTo>
                <a:cubicBezTo>
                  <a:pt x="2354" y="3229"/>
                  <a:pt x="2386" y="3229"/>
                  <a:pt x="2418" y="3213"/>
                </a:cubicBezTo>
                <a:cubicBezTo>
                  <a:pt x="2434" y="3197"/>
                  <a:pt x="2450" y="3181"/>
                  <a:pt x="2450" y="3149"/>
                </a:cubicBezTo>
                <a:lnTo>
                  <a:pt x="2450" y="3133"/>
                </a:lnTo>
                <a:cubicBezTo>
                  <a:pt x="2450" y="3101"/>
                  <a:pt x="2450" y="3086"/>
                  <a:pt x="2418" y="3070"/>
                </a:cubicBezTo>
                <a:lnTo>
                  <a:pt x="2370" y="3070"/>
                </a:lnTo>
                <a:cubicBezTo>
                  <a:pt x="2354" y="3086"/>
                  <a:pt x="2338" y="3086"/>
                  <a:pt x="2322" y="3086"/>
                </a:cubicBezTo>
                <a:cubicBezTo>
                  <a:pt x="2290" y="3086"/>
                  <a:pt x="2275" y="3086"/>
                  <a:pt x="2275" y="3038"/>
                </a:cubicBezTo>
                <a:lnTo>
                  <a:pt x="2275" y="2752"/>
                </a:lnTo>
                <a:lnTo>
                  <a:pt x="2386" y="2752"/>
                </a:lnTo>
                <a:cubicBezTo>
                  <a:pt x="2434" y="2752"/>
                  <a:pt x="2450" y="2720"/>
                  <a:pt x="2450" y="2688"/>
                </a:cubicBezTo>
                <a:lnTo>
                  <a:pt x="2450" y="2672"/>
                </a:lnTo>
                <a:cubicBezTo>
                  <a:pt x="2450" y="2640"/>
                  <a:pt x="2434" y="2609"/>
                  <a:pt x="2386" y="2609"/>
                </a:cubicBezTo>
                <a:close/>
                <a:moveTo>
                  <a:pt x="2927" y="2592"/>
                </a:moveTo>
                <a:cubicBezTo>
                  <a:pt x="2863" y="2592"/>
                  <a:pt x="2799" y="2609"/>
                  <a:pt x="2752" y="2640"/>
                </a:cubicBezTo>
                <a:cubicBezTo>
                  <a:pt x="2752" y="2624"/>
                  <a:pt x="2720" y="2609"/>
                  <a:pt x="2704" y="2609"/>
                </a:cubicBezTo>
                <a:lnTo>
                  <a:pt x="2672" y="2609"/>
                </a:lnTo>
                <a:cubicBezTo>
                  <a:pt x="2640" y="2609"/>
                  <a:pt x="2608" y="2640"/>
                  <a:pt x="2608" y="2672"/>
                </a:cubicBezTo>
                <a:lnTo>
                  <a:pt x="2608" y="3308"/>
                </a:lnTo>
                <a:cubicBezTo>
                  <a:pt x="2608" y="3356"/>
                  <a:pt x="2640" y="3372"/>
                  <a:pt x="2672" y="3372"/>
                </a:cubicBezTo>
                <a:lnTo>
                  <a:pt x="2704" y="3372"/>
                </a:lnTo>
                <a:cubicBezTo>
                  <a:pt x="2736" y="3372"/>
                  <a:pt x="2768" y="3356"/>
                  <a:pt x="2768" y="3308"/>
                </a:cubicBezTo>
                <a:lnTo>
                  <a:pt x="2768" y="3181"/>
                </a:lnTo>
                <a:cubicBezTo>
                  <a:pt x="2799" y="3213"/>
                  <a:pt x="2863" y="3229"/>
                  <a:pt x="2927" y="3229"/>
                </a:cubicBezTo>
                <a:cubicBezTo>
                  <a:pt x="3102" y="3229"/>
                  <a:pt x="3229" y="3086"/>
                  <a:pt x="3229" y="2910"/>
                </a:cubicBezTo>
                <a:cubicBezTo>
                  <a:pt x="3229" y="2736"/>
                  <a:pt x="3102" y="2592"/>
                  <a:pt x="2927" y="2592"/>
                </a:cubicBezTo>
                <a:close/>
                <a:moveTo>
                  <a:pt x="3086" y="2910"/>
                </a:moveTo>
                <a:cubicBezTo>
                  <a:pt x="3086" y="3022"/>
                  <a:pt x="3022" y="3086"/>
                  <a:pt x="2927" y="3086"/>
                </a:cubicBezTo>
                <a:cubicBezTo>
                  <a:pt x="2816" y="3086"/>
                  <a:pt x="2752" y="3006"/>
                  <a:pt x="2752" y="2910"/>
                </a:cubicBezTo>
                <a:cubicBezTo>
                  <a:pt x="2752" y="2815"/>
                  <a:pt x="2831" y="2736"/>
                  <a:pt x="2927" y="2736"/>
                </a:cubicBezTo>
                <a:cubicBezTo>
                  <a:pt x="3022" y="2736"/>
                  <a:pt x="3086" y="2831"/>
                  <a:pt x="3086" y="2910"/>
                </a:cubicBezTo>
                <a:close/>
                <a:moveTo>
                  <a:pt x="4199" y="2338"/>
                </a:moveTo>
                <a:cubicBezTo>
                  <a:pt x="4183" y="2322"/>
                  <a:pt x="4167" y="2322"/>
                  <a:pt x="4135" y="2322"/>
                </a:cubicBezTo>
                <a:lnTo>
                  <a:pt x="4120" y="2322"/>
                </a:lnTo>
                <a:cubicBezTo>
                  <a:pt x="4088" y="2322"/>
                  <a:pt x="4072" y="2322"/>
                  <a:pt x="4056" y="2354"/>
                </a:cubicBezTo>
                <a:lnTo>
                  <a:pt x="3595" y="3261"/>
                </a:lnTo>
                <a:cubicBezTo>
                  <a:pt x="3595" y="3276"/>
                  <a:pt x="3595" y="3292"/>
                  <a:pt x="3611" y="3308"/>
                </a:cubicBezTo>
                <a:cubicBezTo>
                  <a:pt x="3611" y="3340"/>
                  <a:pt x="3643" y="3340"/>
                  <a:pt x="3658" y="3340"/>
                </a:cubicBezTo>
                <a:lnTo>
                  <a:pt x="3674" y="3340"/>
                </a:lnTo>
                <a:cubicBezTo>
                  <a:pt x="3706" y="3340"/>
                  <a:pt x="3722" y="3340"/>
                  <a:pt x="3738" y="3308"/>
                </a:cubicBezTo>
                <a:lnTo>
                  <a:pt x="4199" y="2401"/>
                </a:lnTo>
                <a:close/>
                <a:moveTo>
                  <a:pt x="4581" y="2322"/>
                </a:moveTo>
                <a:lnTo>
                  <a:pt x="4565" y="2322"/>
                </a:lnTo>
                <a:cubicBezTo>
                  <a:pt x="4533" y="2322"/>
                  <a:pt x="4517" y="2322"/>
                  <a:pt x="4501" y="2354"/>
                </a:cubicBezTo>
                <a:lnTo>
                  <a:pt x="4040" y="3261"/>
                </a:lnTo>
                <a:lnTo>
                  <a:pt x="4040" y="3308"/>
                </a:lnTo>
                <a:cubicBezTo>
                  <a:pt x="4056" y="3340"/>
                  <a:pt x="4072" y="3340"/>
                  <a:pt x="4104" y="3340"/>
                </a:cubicBezTo>
                <a:lnTo>
                  <a:pt x="4120" y="3340"/>
                </a:lnTo>
                <a:cubicBezTo>
                  <a:pt x="4152" y="3340"/>
                  <a:pt x="4167" y="3340"/>
                  <a:pt x="4183" y="3308"/>
                </a:cubicBezTo>
                <a:lnTo>
                  <a:pt x="4628" y="2401"/>
                </a:lnTo>
                <a:cubicBezTo>
                  <a:pt x="4644" y="2386"/>
                  <a:pt x="4644" y="2370"/>
                  <a:pt x="4628" y="2338"/>
                </a:cubicBezTo>
                <a:cubicBezTo>
                  <a:pt x="4628" y="2322"/>
                  <a:pt x="4597" y="2322"/>
                  <a:pt x="4581" y="2322"/>
                </a:cubicBezTo>
                <a:close/>
                <a:moveTo>
                  <a:pt x="3404" y="2609"/>
                </a:moveTo>
                <a:cubicBezTo>
                  <a:pt x="3356" y="2609"/>
                  <a:pt x="3325" y="2656"/>
                  <a:pt x="3325" y="2688"/>
                </a:cubicBezTo>
                <a:cubicBezTo>
                  <a:pt x="3325" y="2736"/>
                  <a:pt x="3356" y="2783"/>
                  <a:pt x="3404" y="2783"/>
                </a:cubicBezTo>
                <a:cubicBezTo>
                  <a:pt x="3452" y="2783"/>
                  <a:pt x="3483" y="2736"/>
                  <a:pt x="3483" y="2688"/>
                </a:cubicBezTo>
                <a:cubicBezTo>
                  <a:pt x="3483" y="2656"/>
                  <a:pt x="3452" y="2609"/>
                  <a:pt x="3404" y="2609"/>
                </a:cubicBezTo>
                <a:close/>
                <a:moveTo>
                  <a:pt x="3404" y="2990"/>
                </a:moveTo>
                <a:cubicBezTo>
                  <a:pt x="3356" y="2990"/>
                  <a:pt x="3325" y="3022"/>
                  <a:pt x="3325" y="3070"/>
                </a:cubicBezTo>
                <a:cubicBezTo>
                  <a:pt x="3325" y="3118"/>
                  <a:pt x="3356" y="3149"/>
                  <a:pt x="3404" y="3149"/>
                </a:cubicBezTo>
                <a:cubicBezTo>
                  <a:pt x="3452" y="3149"/>
                  <a:pt x="3483" y="3118"/>
                  <a:pt x="3483" y="3070"/>
                </a:cubicBezTo>
                <a:cubicBezTo>
                  <a:pt x="3483" y="3022"/>
                  <a:pt x="3452" y="2990"/>
                  <a:pt x="3404" y="299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CA" sz="1800" b="0" i="0" u="none" strike="noStrike" kern="1200">
              <a:ln>
                <a:noFill/>
              </a:ln>
              <a:latin typeface="Arial" pitchFamily="18"/>
              <a:ea typeface="SimSun" pitchFamily="2"/>
              <a:cs typeface="Lucida Sans" pitchFamily="2"/>
            </a:endParaRPr>
          </a:p>
        </p:txBody>
      </p:sp>
    </p:spTree>
    <p:extLst>
      <p:ext uri="{BB962C8B-B14F-4D97-AF65-F5344CB8AC3E}">
        <p14:creationId xmlns:p14="http://schemas.microsoft.com/office/powerpoint/2010/main" val="42818980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Custom 3">
      <a:dk1>
        <a:srgbClr val="000000"/>
      </a:dk1>
      <a:lt1>
        <a:srgbClr val="FFFFFF"/>
      </a:lt1>
      <a:dk2>
        <a:srgbClr val="111B58"/>
      </a:dk2>
      <a:lt2>
        <a:srgbClr val="FFFFFF"/>
      </a:lt2>
      <a:accent1>
        <a:srgbClr val="4F3690"/>
      </a:accent1>
      <a:accent2>
        <a:srgbClr val="2E3C98"/>
      </a:accent2>
      <a:accent3>
        <a:srgbClr val="09BCEF"/>
      </a:accent3>
      <a:accent4>
        <a:srgbClr val="00B8BA"/>
      </a:accent4>
      <a:accent5>
        <a:srgbClr val="7E929F"/>
      </a:accent5>
      <a:accent6>
        <a:srgbClr val="E1E8F6"/>
      </a:accent6>
      <a:hlink>
        <a:srgbClr val="09BCEF"/>
      </a:hlink>
      <a:folHlink>
        <a:srgbClr val="09BCE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40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66</TotalTime>
  <Words>9305</Words>
  <Application>Microsoft Macintosh PowerPoint</Application>
  <PresentationFormat>Custom</PresentationFormat>
  <Paragraphs>1931</Paragraphs>
  <Slides>165</Slides>
  <Notes>15</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65</vt:i4>
      </vt:variant>
    </vt:vector>
  </HeadingPairs>
  <TitlesOfParts>
    <vt:vector size="175" baseType="lpstr">
      <vt:lpstr>Arial</vt:lpstr>
      <vt:lpstr>Arial Black</vt:lpstr>
      <vt:lpstr>Calibri</vt:lpstr>
      <vt:lpstr>Calibri Light</vt:lpstr>
      <vt:lpstr>Gill Sans</vt:lpstr>
      <vt:lpstr>Segoe UI</vt:lpstr>
      <vt:lpstr>System Font Regular</vt:lpstr>
      <vt:lpstr>Times New Roman</vt:lpstr>
      <vt:lpstr>Wingdings</vt:lpstr>
      <vt:lpstr>Office Theme</vt:lpstr>
      <vt:lpstr>Release notes </vt:lpstr>
      <vt:lpstr>Saving your PPT into the new template</vt:lpstr>
      <vt:lpstr>PowerPoint Presentation</vt:lpstr>
      <vt:lpstr>PowerPoint Presentation</vt:lpstr>
      <vt:lpstr>The logo</vt:lpstr>
      <vt:lpstr>The tagline</vt:lpstr>
      <vt:lpstr>Slide design boundaries</vt:lpstr>
      <vt:lpstr>Typography</vt:lpstr>
      <vt:lpstr>Writing</vt:lpstr>
      <vt:lpstr>Official OpenText corporate color swatches</vt:lpstr>
      <vt:lpstr>Are other colors permitted?</vt:lpstr>
      <vt:lpstr>Two column layout</vt:lpstr>
      <vt:lpstr>Three column layout</vt:lpstr>
      <vt:lpstr>Slide with image example</vt:lpstr>
      <vt:lpstr>Slide with edge-to-edge photo example</vt:lpstr>
      <vt:lpstr>Two icon callouts</vt:lpstr>
      <vt:lpstr>Two icon callouts</vt:lpstr>
      <vt:lpstr>Three icon callouts</vt:lpstr>
      <vt:lpstr>Three icon callouts</vt:lpstr>
      <vt:lpstr>Four icon callouts</vt:lpstr>
      <vt:lpstr>Four icon callouts</vt:lpstr>
      <vt:lpstr>Timeline</vt:lpstr>
      <vt:lpstr>Process</vt:lpstr>
      <vt:lpstr>Section title to go here</vt:lpstr>
      <vt:lpstr>Example slide with table</vt:lpstr>
      <vt:lpstr>Text with no first level bullet layout</vt:lpstr>
      <vt:lpstr>Sample chart on a title and content layout</vt:lpstr>
      <vt:lpstr>Sample 2 column layout – two pieces of content (text and/or graphic)</vt:lpstr>
      <vt:lpstr>Flow chart</vt:lpstr>
      <vt:lpstr>Example diagram</vt:lpstr>
      <vt:lpstr>Example diagram (highlighted)</vt:lpstr>
      <vt:lpstr>PowerPoint Presentation</vt:lpstr>
      <vt:lpstr>PowerPoint Presentation</vt:lpstr>
      <vt:lpstr>PowerPoint Presentation</vt:lpstr>
      <vt:lpstr>PowerPoint Presentation</vt:lpstr>
      <vt:lpstr>List</vt:lpstr>
      <vt:lpstr>PowerPoint Presentation</vt:lpstr>
      <vt:lpstr>PowerPoint Presentation</vt:lpstr>
      <vt:lpstr>High level content with graphic</vt:lpstr>
      <vt:lpstr>PowerPoint Presentation</vt:lpstr>
      <vt:lpstr>PowerPoint Presentation</vt:lpstr>
      <vt:lpstr>3 columns of info with icons and footer</vt:lpstr>
      <vt:lpstr>PowerPoint Presentation</vt:lpstr>
      <vt:lpstr>PowerPoint Presentation</vt:lpstr>
      <vt:lpstr>PowerPoint Presentation</vt:lpstr>
      <vt:lpstr>PowerPoint Presentation</vt:lpstr>
      <vt:lpstr>Chart</vt:lpstr>
      <vt:lpstr>Graphs</vt:lpstr>
      <vt:lpstr>Pie charts with info</vt:lpstr>
      <vt:lpstr>Pie chart with info</vt:lpstr>
      <vt:lpstr>Pie charts with info</vt:lpstr>
      <vt:lpstr>World pie charts</vt:lpstr>
      <vt:lpstr>Bar chart with info</vt:lpstr>
      <vt:lpstr>Agenda/process</vt:lpstr>
      <vt:lpstr>Cycle/process</vt:lpstr>
      <vt:lpstr>Process</vt:lpstr>
      <vt:lpstr>Process</vt:lpstr>
      <vt:lpstr>Stat diagram</vt:lpstr>
      <vt:lpstr>Process/timeline</vt:lpstr>
      <vt:lpstr>Process/timeline</vt:lpstr>
      <vt:lpstr>Process</vt:lpstr>
      <vt:lpstr>Stat diagram</vt:lpstr>
      <vt:lpstr>Diagram</vt:lpstr>
      <vt:lpstr>Diagram</vt:lpstr>
      <vt:lpstr>Diagram</vt:lpstr>
      <vt:lpstr>Diagram</vt:lpstr>
      <vt:lpstr>Diagram</vt:lpstr>
      <vt:lpstr>Diagram</vt:lpstr>
      <vt:lpstr>SWOT Diagram</vt:lpstr>
      <vt:lpstr>Title</vt:lpstr>
      <vt:lpstr>Title</vt:lpstr>
      <vt:lpstr>PowerPoint Presentation</vt:lpstr>
      <vt:lpstr>PowerPoint Presentation</vt:lpstr>
      <vt:lpstr>PowerPoint Presentation</vt:lpstr>
      <vt:lpstr>Intro slide</vt:lpstr>
      <vt:lpstr>Team</vt:lpstr>
      <vt:lpstr>Tea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dustries</vt:lpstr>
      <vt:lpstr>Documents / Windows - 1</vt:lpstr>
      <vt:lpstr>Documents / Windows - 2</vt:lpstr>
      <vt:lpstr>Documents / Windows - 3</vt:lpstr>
      <vt:lpstr>Documents / Windows - 4</vt:lpstr>
      <vt:lpstr>Documents / Windows - 5</vt:lpstr>
      <vt:lpstr>Documents / Windows - 6</vt:lpstr>
      <vt:lpstr>Documents / Windows - 7</vt:lpstr>
      <vt:lpstr>Documents / Windows - 8</vt:lpstr>
      <vt:lpstr>Folders - 1</vt:lpstr>
      <vt:lpstr>Folders - 2</vt:lpstr>
      <vt:lpstr>Folders - 3</vt:lpstr>
      <vt:lpstr>Computers / Hardware - 1</vt:lpstr>
      <vt:lpstr>Computers / Hardware - 2</vt:lpstr>
      <vt:lpstr>Computers / Hardware - 3</vt:lpstr>
      <vt:lpstr>Computers / Hardware - 4</vt:lpstr>
      <vt:lpstr>Computers / Hardware - 5</vt:lpstr>
      <vt:lpstr>Computers / Hardware - 6</vt:lpstr>
      <vt:lpstr>Devices - 1</vt:lpstr>
      <vt:lpstr>Cloud - 1</vt:lpstr>
      <vt:lpstr>Cloud - 2</vt:lpstr>
      <vt:lpstr>Things - 1</vt:lpstr>
      <vt:lpstr>Things - 2</vt:lpstr>
      <vt:lpstr>People - 1</vt:lpstr>
      <vt:lpstr>People - 2</vt:lpstr>
      <vt:lpstr>People - 3</vt:lpstr>
      <vt:lpstr>Transportation / Buildings - 1</vt:lpstr>
      <vt:lpstr>Transportation / Buildings - 2</vt:lpstr>
      <vt:lpstr>Transportation / Buildings - 3</vt:lpstr>
      <vt:lpstr>Transportation / Buildings - 4</vt:lpstr>
      <vt:lpstr>Transportation / Buildings - 5</vt:lpstr>
      <vt:lpstr>Transportation / Buildings - 6</vt:lpstr>
      <vt:lpstr>Transportation / Buildings - 7</vt:lpstr>
      <vt:lpstr>Transportation / Buildings - 8</vt:lpstr>
      <vt:lpstr>Transportation / Buildings - 9</vt:lpstr>
      <vt:lpstr>Strategy and measurement - 1</vt:lpstr>
      <vt:lpstr>Strategy and measurement - 2</vt:lpstr>
      <vt:lpstr>Partners</vt:lpstr>
      <vt:lpstr>Education - 1</vt:lpstr>
      <vt:lpstr>Education - 2</vt:lpstr>
      <vt:lpstr>Storage - 1</vt:lpstr>
      <vt:lpstr>Storage - 2</vt:lpstr>
      <vt:lpstr>Storage - 3</vt:lpstr>
      <vt:lpstr>Finance / Security - 1</vt:lpstr>
      <vt:lpstr>Finance / Security - 2</vt:lpstr>
      <vt:lpstr>Finance / Security - 3</vt:lpstr>
      <vt:lpstr>Finance / Security - 4</vt:lpstr>
      <vt:lpstr>Finance / Security - 5</vt:lpstr>
      <vt:lpstr>Finance / Security - 6</vt:lpstr>
      <vt:lpstr>Medical - 1</vt:lpstr>
      <vt:lpstr>Medical - 2</vt:lpstr>
      <vt:lpstr>Email - 1</vt:lpstr>
      <vt:lpstr>Email - 2</vt:lpstr>
      <vt:lpstr>Email - 3</vt:lpstr>
      <vt:lpstr>Symbols - 1</vt:lpstr>
      <vt:lpstr>Symbols - 2</vt:lpstr>
      <vt:lpstr>Symbols - 3</vt:lpstr>
      <vt:lpstr>Symbols - 4</vt:lpstr>
      <vt:lpstr>Symbols - 5</vt:lpstr>
      <vt:lpstr>Time - 1</vt:lpstr>
      <vt:lpstr>Time - 2</vt:lpstr>
      <vt:lpstr>Security - 1</vt:lpstr>
      <vt:lpstr>Security - 2</vt:lpstr>
      <vt:lpstr>Music / Video - 1</vt:lpstr>
      <vt:lpstr>Music / Video - 2</vt:lpstr>
      <vt:lpstr>Music / Video - 3</vt:lpstr>
      <vt:lpstr>Magellan focused icons - 1</vt:lpstr>
      <vt:lpstr>Magellan focused icons - 2</vt:lpstr>
      <vt:lpstr>Magellan focused icons - 3</vt:lpstr>
      <vt:lpstr>Magellan focused icons - 4</vt:lpstr>
      <vt:lpstr>Magellan focused icons - 5</vt:lpstr>
      <vt:lpstr>Magellan focused icons - 6</vt:lpstr>
      <vt:lpstr>Magellan focused icons - 7</vt:lpstr>
      <vt:lpstr>Magellan focused icons - 8</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rgjan Spasik</dc:creator>
  <cp:lastModifiedBy>Simon Woodford</cp:lastModifiedBy>
  <cp:revision>54</cp:revision>
  <dcterms:created xsi:type="dcterms:W3CDTF">2019-04-08T17:11:46Z</dcterms:created>
  <dcterms:modified xsi:type="dcterms:W3CDTF">2020-04-29T19:48:23Z</dcterms:modified>
</cp:coreProperties>
</file>